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61" r:id="rId5"/>
  </p:sldMasterIdLst>
  <p:notesMasterIdLst>
    <p:notesMasterId r:id="rId73"/>
  </p:notesMasterIdLst>
  <p:sldIdLst>
    <p:sldId id="343" r:id="rId6"/>
    <p:sldId id="345" r:id="rId7"/>
    <p:sldId id="346" r:id="rId8"/>
    <p:sldId id="360" r:id="rId9"/>
    <p:sldId id="362" r:id="rId10"/>
    <p:sldId id="410" r:id="rId11"/>
    <p:sldId id="800" r:id="rId12"/>
    <p:sldId id="834" r:id="rId13"/>
    <p:sldId id="836" r:id="rId14"/>
    <p:sldId id="359" r:id="rId15"/>
    <p:sldId id="366" r:id="rId16"/>
    <p:sldId id="347" r:id="rId17"/>
    <p:sldId id="414" r:id="rId18"/>
    <p:sldId id="415" r:id="rId19"/>
    <p:sldId id="357" r:id="rId20"/>
    <p:sldId id="396" r:id="rId21"/>
    <p:sldId id="348" r:id="rId22"/>
    <p:sldId id="821" r:id="rId23"/>
    <p:sldId id="411" r:id="rId24"/>
    <p:sldId id="794" r:id="rId25"/>
    <p:sldId id="812" r:id="rId26"/>
    <p:sldId id="801" r:id="rId27"/>
    <p:sldId id="802" r:id="rId28"/>
    <p:sldId id="417" r:id="rId29"/>
    <p:sldId id="418" r:id="rId30"/>
    <p:sldId id="807" r:id="rId31"/>
    <p:sldId id="806" r:id="rId32"/>
    <p:sldId id="419" r:id="rId33"/>
    <p:sldId id="420" r:id="rId34"/>
    <p:sldId id="421" r:id="rId35"/>
    <p:sldId id="422" r:id="rId36"/>
    <p:sldId id="814" r:id="rId37"/>
    <p:sldId id="796" r:id="rId38"/>
    <p:sldId id="423" r:id="rId39"/>
    <p:sldId id="426" r:id="rId40"/>
    <p:sldId id="427" r:id="rId41"/>
    <p:sldId id="823" r:id="rId42"/>
    <p:sldId id="431" r:id="rId43"/>
    <p:sldId id="429" r:id="rId44"/>
    <p:sldId id="430" r:id="rId45"/>
    <p:sldId id="432" r:id="rId46"/>
    <p:sldId id="825" r:id="rId47"/>
    <p:sldId id="817" r:id="rId48"/>
    <p:sldId id="435" r:id="rId49"/>
    <p:sldId id="816" r:id="rId50"/>
    <p:sldId id="434" r:id="rId51"/>
    <p:sldId id="818" r:id="rId52"/>
    <p:sldId id="815" r:id="rId53"/>
    <p:sldId id="437" r:id="rId54"/>
    <p:sldId id="438" r:id="rId55"/>
    <p:sldId id="439" r:id="rId56"/>
    <p:sldId id="440" r:id="rId57"/>
    <p:sldId id="822" r:id="rId58"/>
    <p:sldId id="819" r:id="rId59"/>
    <p:sldId id="442" r:id="rId60"/>
    <p:sldId id="443" r:id="rId61"/>
    <p:sldId id="444" r:id="rId62"/>
    <p:sldId id="445" r:id="rId63"/>
    <p:sldId id="446" r:id="rId64"/>
    <p:sldId id="447" r:id="rId65"/>
    <p:sldId id="448" r:id="rId66"/>
    <p:sldId id="449" r:id="rId67"/>
    <p:sldId id="832" r:id="rId68"/>
    <p:sldId id="450" r:id="rId69"/>
    <p:sldId id="451" r:id="rId70"/>
    <p:sldId id="452" r:id="rId71"/>
    <p:sldId id="259" r:id="rId72"/>
  </p:sldIdLst>
  <p:sldSz cx="9144000" cy="5143500" type="screen16x9"/>
  <p:notesSz cx="7102475" cy="9388475"/>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nvergence Background" id="{811E00E9-77F2-404E-863E-E55D5E280466}">
          <p14:sldIdLst>
            <p14:sldId id="343"/>
            <p14:sldId id="345"/>
            <p14:sldId id="346"/>
            <p14:sldId id="360"/>
            <p14:sldId id="362"/>
          </p14:sldIdLst>
        </p14:section>
        <p14:section name="Common Practice" id="{A2EEAF72-BA62-489F-B563-E0C303889C3A}">
          <p14:sldIdLst>
            <p14:sldId id="410"/>
            <p14:sldId id="800"/>
            <p14:sldId id="834"/>
            <p14:sldId id="836"/>
            <p14:sldId id="359"/>
            <p14:sldId id="366"/>
            <p14:sldId id="347"/>
            <p14:sldId id="414"/>
            <p14:sldId id="415"/>
            <p14:sldId id="357"/>
            <p14:sldId id="396"/>
            <p14:sldId id="348"/>
            <p14:sldId id="821"/>
            <p14:sldId id="411"/>
            <p14:sldId id="794"/>
            <p14:sldId id="812"/>
            <p14:sldId id="801"/>
            <p14:sldId id="802"/>
            <p14:sldId id="417"/>
            <p14:sldId id="418"/>
            <p14:sldId id="807"/>
            <p14:sldId id="806"/>
            <p14:sldId id="419"/>
            <p14:sldId id="420"/>
            <p14:sldId id="421"/>
            <p14:sldId id="422"/>
            <p14:sldId id="814"/>
            <p14:sldId id="796"/>
            <p14:sldId id="423"/>
            <p14:sldId id="426"/>
            <p14:sldId id="427"/>
            <p14:sldId id="823"/>
            <p14:sldId id="431"/>
            <p14:sldId id="429"/>
            <p14:sldId id="430"/>
            <p14:sldId id="432"/>
            <p14:sldId id="825"/>
            <p14:sldId id="817"/>
            <p14:sldId id="435"/>
            <p14:sldId id="816"/>
            <p14:sldId id="434"/>
            <p14:sldId id="818"/>
            <p14:sldId id="815"/>
            <p14:sldId id="437"/>
            <p14:sldId id="438"/>
            <p14:sldId id="439"/>
            <p14:sldId id="440"/>
            <p14:sldId id="822"/>
            <p14:sldId id="819"/>
            <p14:sldId id="442"/>
            <p14:sldId id="443"/>
            <p14:sldId id="444"/>
            <p14:sldId id="445"/>
            <p14:sldId id="446"/>
            <p14:sldId id="447"/>
            <p14:sldId id="448"/>
            <p14:sldId id="449"/>
            <p14:sldId id="832"/>
            <p14:sldId id="450"/>
            <p14:sldId id="451"/>
            <p14:sldId id="452"/>
            <p14:sldId id="259"/>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04FE8A0-8BA4-6214-37B8-88720AAEABF6}" name="Núñez Agramonte, Isbel R." initials="NAIR" userId="S::isbel-r.nunez-agramonte@capgemini.com::02b9eb48-8b28-49d8-9694-b2fcba3bd82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CP14 Project Team" initials="RNC" lastIdx="48" clrIdx="6">
    <p:extLst>
      <p:ext uri="{19B8F6BF-5375-455C-9EA6-DF929625EA0E}">
        <p15:presenceInfo xmlns:p15="http://schemas.microsoft.com/office/powerpoint/2012/main" userId="CP14 Project Team" providerId="None"/>
      </p:ext>
    </p:extLst>
  </p:cmAuthor>
  <p:cmAuthor id="1" name="CALLAGHAN Sian" initials="CS" lastIdx="9" clrIdx="0">
    <p:extLst>
      <p:ext uri="{19B8F6BF-5375-455C-9EA6-DF929625EA0E}">
        <p15:presenceInfo xmlns:p15="http://schemas.microsoft.com/office/powerpoint/2012/main" userId="S-1-5-21-583907252-1454471165-725345543-71523" providerId="AD"/>
      </p:ext>
    </p:extLst>
  </p:cmAuthor>
  <p:cmAuthor id="8" name="pereroc@prod.oami.eu" initials="p" lastIdx="26" clrIdx="7">
    <p:extLst>
      <p:ext uri="{19B8F6BF-5375-455C-9EA6-DF929625EA0E}">
        <p15:presenceInfo xmlns:p15="http://schemas.microsoft.com/office/powerpoint/2012/main" userId="pereroc@prod.oami.eu" providerId="None"/>
      </p:ext>
    </p:extLst>
  </p:cmAuthor>
  <p:cmAuthor id="2" name="ESTEBAN GUINEA Laia" initials="EGL" lastIdx="4" clrIdx="1">
    <p:extLst>
      <p:ext uri="{19B8F6BF-5375-455C-9EA6-DF929625EA0E}">
        <p15:presenceInfo xmlns:p15="http://schemas.microsoft.com/office/powerpoint/2012/main" userId="S::Laia.ESTEBAN@euipo.europa.eu::9e13ea0d-04d1-4b5d-b240-0888093319de" providerId="AD"/>
      </p:ext>
    </p:extLst>
  </p:cmAuthor>
  <p:cmAuthor id="9" name="PÉREZ-HICKMAN  BARCELÓ Rocío" initials="PHBR" lastIdx="16" clrIdx="8">
    <p:extLst>
      <p:ext uri="{19B8F6BF-5375-455C-9EA6-DF929625EA0E}">
        <p15:presenceInfo xmlns:p15="http://schemas.microsoft.com/office/powerpoint/2012/main" userId="S::Rocio.PEREZHICKMAN@euipo.europa.eu::3d1ae705-bdc8-4dd5-98cd-8d104dab3dff" providerId="AD"/>
      </p:ext>
    </p:extLst>
  </p:cmAuthor>
  <p:cmAuthor id="3" name="CABRERA Megan" initials="CM" lastIdx="2" clrIdx="2">
    <p:extLst>
      <p:ext uri="{19B8F6BF-5375-455C-9EA6-DF929625EA0E}">
        <p15:presenceInfo xmlns:p15="http://schemas.microsoft.com/office/powerpoint/2012/main" userId="S-1-5-21-583907252-1454471165-725345543-79315" providerId="AD"/>
      </p:ext>
    </p:extLst>
  </p:cmAuthor>
  <p:cmAuthor id="10" name="WICKENDEN Faith" initials="WF" lastIdx="4" clrIdx="9">
    <p:extLst>
      <p:ext uri="{19B8F6BF-5375-455C-9EA6-DF929625EA0E}">
        <p15:presenceInfo xmlns:p15="http://schemas.microsoft.com/office/powerpoint/2012/main" userId="S::Faith.WICKENDEN@ext.euipo.europa.eu::81773b09-1be3-40e7-a0ee-751606c05249" providerId="AD"/>
      </p:ext>
    </p:extLst>
  </p:cmAuthor>
  <p:cmAuthor id="4" name="estebla" initials="e" lastIdx="2" clrIdx="3">
    <p:extLst>
      <p:ext uri="{19B8F6BF-5375-455C-9EA6-DF929625EA0E}">
        <p15:presenceInfo xmlns:p15="http://schemas.microsoft.com/office/powerpoint/2012/main" userId="estebla" providerId="None"/>
      </p:ext>
    </p:extLst>
  </p:cmAuthor>
  <p:cmAuthor id="11" name="LIERN David" initials="LD [2]" lastIdx="2" clrIdx="10">
    <p:extLst>
      <p:ext uri="{19B8F6BF-5375-455C-9EA6-DF929625EA0E}">
        <p15:presenceInfo xmlns:p15="http://schemas.microsoft.com/office/powerpoint/2012/main" userId="S::David.LIERN@ext.euipo.europa.eu::d1e11293-d369-44f3-894b-7fb7ac9b8181" providerId="AD"/>
      </p:ext>
    </p:extLst>
  </p:cmAuthor>
  <p:cmAuthor id="5" name="LIERN David" initials="LD" lastIdx="7" clrIdx="4">
    <p:extLst>
      <p:ext uri="{19B8F6BF-5375-455C-9EA6-DF929625EA0E}">
        <p15:presenceInfo xmlns:p15="http://schemas.microsoft.com/office/powerpoint/2012/main" userId="LIERN David" providerId="None"/>
      </p:ext>
    </p:extLst>
  </p:cmAuthor>
  <p:cmAuthor id="6" name="estebla@prod.oami.eu" initials="e" lastIdx="1" clrIdx="5">
    <p:extLst>
      <p:ext uri="{19B8F6BF-5375-455C-9EA6-DF929625EA0E}">
        <p15:presenceInfo xmlns:p15="http://schemas.microsoft.com/office/powerpoint/2012/main" userId="estebla@prod.oami.eu"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EB4E3"/>
    <a:srgbClr val="4BACC6"/>
    <a:srgbClr val="C5C5C5"/>
    <a:srgbClr val="D9D9D9"/>
    <a:srgbClr val="14438E"/>
    <a:srgbClr val="FFFFFF"/>
    <a:srgbClr val="0F434A"/>
    <a:srgbClr val="F2F2F2"/>
    <a:srgbClr val="183D8C"/>
    <a:srgbClr val="C3C3C3"/>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01" autoAdjust="0"/>
    <p:restoredTop sz="67803" autoAdjust="0"/>
  </p:normalViewPr>
  <p:slideViewPr>
    <p:cSldViewPr snapToGrid="0" snapToObjects="1">
      <p:cViewPr varScale="1">
        <p:scale>
          <a:sx n="102" d="100"/>
          <a:sy n="102" d="100"/>
        </p:scale>
        <p:origin x="1848" y="96"/>
      </p:cViewPr>
      <p:guideLst>
        <p:guide orient="horz" pos="1620"/>
        <p:guide pos="2880"/>
      </p:guideLst>
    </p:cSldViewPr>
  </p:slideViewPr>
  <p:outlineViewPr>
    <p:cViewPr>
      <p:scale>
        <a:sx n="33" d="100"/>
        <a:sy n="33" d="100"/>
      </p:scale>
      <p:origin x="0" y="0"/>
    </p:cViewPr>
  </p:outlin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viewProps" Target="viewProps.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notesMaster" Target="notesMasters/notesMaster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0F70729-B67B-4C2A-AC63-B4D1F4D8F31B}" type="doc">
      <dgm:prSet loTypeId="urn:microsoft.com/office/officeart/2005/8/layout/hProcess9" loCatId="process" qsTypeId="urn:microsoft.com/office/officeart/2005/8/quickstyle/simple1" qsCatId="simple" csTypeId="urn:microsoft.com/office/officeart/2005/8/colors/accent1_2" csCatId="accent1" phldr="1"/>
      <dgm:spPr/>
    </dgm:pt>
    <dgm:pt modelId="{0E124169-4CD9-45FC-BF89-47402E06688B}">
      <dgm:prSet phldrT="[Text]" custT="1"/>
      <dgm:spPr>
        <a:solidFill>
          <a:schemeClr val="accent5"/>
        </a:solidFill>
      </dgm:spPr>
      <dgm:t>
        <a:bodyPr/>
        <a:lstStyle/>
        <a:p>
          <a:pPr>
            <a:spcAft>
              <a:spcPts val="600"/>
            </a:spcAft>
          </a:pPr>
          <a:r>
            <a:rPr lang="en-GB" sz="1200" b="1" dirty="0">
              <a:latin typeface="Arial" panose="020B0604020202020204" pitchFamily="34" charset="0"/>
              <a:cs typeface="Arial" panose="020B0604020202020204" pitchFamily="34" charset="0"/>
            </a:rPr>
            <a:t>Strategic Driver 1 </a:t>
          </a:r>
          <a:endParaRPr lang="es-ES" sz="1200" b="1" dirty="0">
            <a:latin typeface="Arial" panose="020B0604020202020204" pitchFamily="34" charset="0"/>
            <a:cs typeface="Arial" panose="020B0604020202020204" pitchFamily="34" charset="0"/>
          </a:endParaRPr>
        </a:p>
        <a:p>
          <a:pPr>
            <a:spcAft>
              <a:spcPts val="600"/>
            </a:spcAft>
          </a:pPr>
          <a:r>
            <a:rPr lang="en-GB" sz="1200" b="0" dirty="0">
              <a:latin typeface="Arial" panose="020B0604020202020204" pitchFamily="34" charset="0"/>
              <a:cs typeface="Arial" panose="020B0604020202020204" pitchFamily="34" charset="0"/>
            </a:rPr>
            <a:t>Interconnected, efficient and reliable IP system for the Internal Market</a:t>
          </a:r>
          <a:endParaRPr lang="en-US" sz="1200" b="0" dirty="0">
            <a:solidFill>
              <a:schemeClr val="bg1"/>
            </a:solidFill>
            <a:latin typeface="Arial" panose="020B0604020202020204" pitchFamily="34" charset="0"/>
            <a:cs typeface="Arial" panose="020B0604020202020204" pitchFamily="34" charset="0"/>
          </a:endParaRPr>
        </a:p>
      </dgm:t>
    </dgm:pt>
    <dgm:pt modelId="{BE303E50-7FBD-4427-84DB-BD45ED768B34}" type="parTrans" cxnId="{8892896C-98BD-47F0-A79E-909CB2478860}">
      <dgm:prSet/>
      <dgm:spPr/>
      <dgm:t>
        <a:bodyPr/>
        <a:lstStyle/>
        <a:p>
          <a:endParaRPr lang="en-US">
            <a:latin typeface="Arial" panose="020B0604020202020204" pitchFamily="34" charset="0"/>
            <a:cs typeface="Arial" panose="020B0604020202020204" pitchFamily="34" charset="0"/>
          </a:endParaRPr>
        </a:p>
      </dgm:t>
    </dgm:pt>
    <dgm:pt modelId="{239D769F-D215-4F64-9CD9-D47C3A3720BE}" type="sibTrans" cxnId="{8892896C-98BD-47F0-A79E-909CB2478860}">
      <dgm:prSet/>
      <dgm:spPr/>
      <dgm:t>
        <a:bodyPr/>
        <a:lstStyle/>
        <a:p>
          <a:endParaRPr lang="en-US">
            <a:latin typeface="Arial" panose="020B0604020202020204" pitchFamily="34" charset="0"/>
            <a:cs typeface="Arial" panose="020B0604020202020204" pitchFamily="34" charset="0"/>
          </a:endParaRPr>
        </a:p>
      </dgm:t>
    </dgm:pt>
    <dgm:pt modelId="{ECEF7B22-FB89-4AB3-B2AF-8BD69BCFBCD7}">
      <dgm:prSet phldrT="[Text]" custT="1"/>
      <dgm:spPr>
        <a:solidFill>
          <a:schemeClr val="accent5"/>
        </a:solidFill>
      </dgm:spPr>
      <dgm:t>
        <a:bodyPr/>
        <a:lstStyle/>
        <a:p>
          <a:pPr>
            <a:spcAft>
              <a:spcPts val="600"/>
            </a:spcAft>
          </a:pPr>
          <a:r>
            <a:rPr lang="en-US" sz="1200" b="1" dirty="0">
              <a:solidFill>
                <a:schemeClr val="bg1"/>
              </a:solidFill>
              <a:latin typeface="Arial" panose="020B0604020202020204" pitchFamily="34" charset="0"/>
              <a:cs typeface="Arial" panose="020B0604020202020204" pitchFamily="34" charset="0"/>
            </a:rPr>
            <a:t>ECP4</a:t>
          </a:r>
        </a:p>
        <a:p>
          <a:pPr>
            <a:spcAft>
              <a:spcPts val="600"/>
            </a:spcAft>
          </a:pPr>
          <a:r>
            <a:rPr lang="en-US" sz="1200" b="0" dirty="0">
              <a:solidFill>
                <a:schemeClr val="bg1"/>
              </a:solidFill>
              <a:latin typeface="Arial" panose="020B0604020202020204" pitchFamily="34" charset="0"/>
              <a:cs typeface="Arial" panose="020B0604020202020204" pitchFamily="34" charset="0"/>
            </a:rPr>
            <a:t>Convergence of Practices</a:t>
          </a:r>
        </a:p>
      </dgm:t>
    </dgm:pt>
    <dgm:pt modelId="{3A669CE1-1233-40C9-B5C5-ADB1A7B1302D}" type="parTrans" cxnId="{0B997A8A-51E8-46A0-8D92-0FFA8BE3209E}">
      <dgm:prSet/>
      <dgm:spPr/>
      <dgm:t>
        <a:bodyPr/>
        <a:lstStyle/>
        <a:p>
          <a:endParaRPr lang="en-US">
            <a:latin typeface="Arial" panose="020B0604020202020204" pitchFamily="34" charset="0"/>
            <a:cs typeface="Arial" panose="020B0604020202020204" pitchFamily="34" charset="0"/>
          </a:endParaRPr>
        </a:p>
      </dgm:t>
    </dgm:pt>
    <dgm:pt modelId="{31A6772F-B5E4-4700-8877-B514791D82E4}" type="sibTrans" cxnId="{0B997A8A-51E8-46A0-8D92-0FFA8BE3209E}">
      <dgm:prSet/>
      <dgm:spPr/>
      <dgm:t>
        <a:bodyPr/>
        <a:lstStyle/>
        <a:p>
          <a:endParaRPr lang="en-US">
            <a:latin typeface="Arial" panose="020B0604020202020204" pitchFamily="34" charset="0"/>
            <a:cs typeface="Arial" panose="020B0604020202020204" pitchFamily="34" charset="0"/>
          </a:endParaRPr>
        </a:p>
      </dgm:t>
    </dgm:pt>
    <dgm:pt modelId="{282976B8-EDF6-404E-9038-2B02D06E83B2}">
      <dgm:prSet phldrT="[Text]" custT="1"/>
      <dgm:spPr>
        <a:solidFill>
          <a:schemeClr val="accent5"/>
        </a:solidFill>
      </dgm:spPr>
      <dgm:t>
        <a:bodyPr/>
        <a:lstStyle/>
        <a:p>
          <a:pPr>
            <a:spcAft>
              <a:spcPts val="600"/>
            </a:spcAft>
          </a:pPr>
          <a:r>
            <a:rPr lang="en-US" sz="1200" b="1" dirty="0">
              <a:solidFill>
                <a:schemeClr val="bg1"/>
              </a:solidFill>
              <a:latin typeface="Arial" panose="020B0604020202020204" pitchFamily="34" charset="0"/>
              <a:cs typeface="Arial" panose="020B0604020202020204" pitchFamily="34" charset="0"/>
            </a:rPr>
            <a:t>ECP4 sub-project</a:t>
          </a:r>
        </a:p>
        <a:p>
          <a:pPr>
            <a:spcAft>
              <a:spcPts val="600"/>
            </a:spcAft>
          </a:pPr>
          <a:r>
            <a:rPr lang="en-US" sz="1200" b="0" dirty="0">
              <a:solidFill>
                <a:schemeClr val="bg1"/>
              </a:solidFill>
              <a:latin typeface="Arial" panose="020B0604020202020204" pitchFamily="34" charset="0"/>
              <a:cs typeface="Arial" panose="020B0604020202020204" pitchFamily="34" charset="0"/>
            </a:rPr>
            <a:t>Convergence Analysis 2.0</a:t>
          </a:r>
        </a:p>
      </dgm:t>
    </dgm:pt>
    <dgm:pt modelId="{53C955E8-8794-4079-AFE6-23AD95F0B9CF}" type="parTrans" cxnId="{49485293-37E3-407A-8765-24958A1F1362}">
      <dgm:prSet/>
      <dgm:spPr/>
      <dgm:t>
        <a:bodyPr/>
        <a:lstStyle/>
        <a:p>
          <a:endParaRPr lang="en-US">
            <a:latin typeface="Arial" panose="020B0604020202020204" pitchFamily="34" charset="0"/>
            <a:cs typeface="Arial" panose="020B0604020202020204" pitchFamily="34" charset="0"/>
          </a:endParaRPr>
        </a:p>
      </dgm:t>
    </dgm:pt>
    <dgm:pt modelId="{99FB7D48-73A2-4F83-9AB4-8928F5BEF6DC}" type="sibTrans" cxnId="{49485293-37E3-407A-8765-24958A1F1362}">
      <dgm:prSet/>
      <dgm:spPr/>
      <dgm:t>
        <a:bodyPr/>
        <a:lstStyle/>
        <a:p>
          <a:endParaRPr lang="en-US">
            <a:latin typeface="Arial" panose="020B0604020202020204" pitchFamily="34" charset="0"/>
            <a:cs typeface="Arial" panose="020B0604020202020204" pitchFamily="34" charset="0"/>
          </a:endParaRPr>
        </a:p>
      </dgm:t>
    </dgm:pt>
    <dgm:pt modelId="{1306E215-B80E-481F-87AD-27E347581EE5}" type="pres">
      <dgm:prSet presAssocID="{10F70729-B67B-4C2A-AC63-B4D1F4D8F31B}" presName="CompostProcess" presStyleCnt="0">
        <dgm:presLayoutVars>
          <dgm:dir/>
          <dgm:resizeHandles val="exact"/>
        </dgm:presLayoutVars>
      </dgm:prSet>
      <dgm:spPr/>
    </dgm:pt>
    <dgm:pt modelId="{860F162A-CF15-49CA-AA3D-F782E200A9C0}" type="pres">
      <dgm:prSet presAssocID="{10F70729-B67B-4C2A-AC63-B4D1F4D8F31B}" presName="arrow" presStyleLbl="bgShp" presStyleIdx="0" presStyleCnt="1" custScaleX="117647"/>
      <dgm:spPr>
        <a:solidFill>
          <a:schemeClr val="accent5"/>
        </a:solidFill>
        <a:ln w="12700">
          <a:noFill/>
        </a:ln>
      </dgm:spPr>
    </dgm:pt>
    <dgm:pt modelId="{C17EFF65-754B-4B36-9752-299670A1AB0F}" type="pres">
      <dgm:prSet presAssocID="{10F70729-B67B-4C2A-AC63-B4D1F4D8F31B}" presName="linearProcess" presStyleCnt="0"/>
      <dgm:spPr/>
    </dgm:pt>
    <dgm:pt modelId="{AFC4E9BF-9CC4-47DA-A5EB-3C2258FD9E5A}" type="pres">
      <dgm:prSet presAssocID="{0E124169-4CD9-45FC-BF89-47402E06688B}" presName="textNode" presStyleLbl="node1" presStyleIdx="0" presStyleCnt="3" custScaleX="76651" custScaleY="101038" custLinFactX="6642" custLinFactNeighborX="100000" custLinFactNeighborY="2548">
        <dgm:presLayoutVars>
          <dgm:bulletEnabled val="1"/>
        </dgm:presLayoutVars>
      </dgm:prSet>
      <dgm:spPr/>
    </dgm:pt>
    <dgm:pt modelId="{2BB45996-3BA7-4D09-9C4E-A038171EFBCA}" type="pres">
      <dgm:prSet presAssocID="{239D769F-D215-4F64-9CD9-D47C3A3720BE}" presName="sibTrans" presStyleCnt="0"/>
      <dgm:spPr/>
    </dgm:pt>
    <dgm:pt modelId="{05DCB1EC-2F50-45E7-ACF6-229767B6164A}" type="pres">
      <dgm:prSet presAssocID="{ECEF7B22-FB89-4AB3-B2AF-8BD69BCFBCD7}" presName="textNode" presStyleLbl="node1" presStyleIdx="1" presStyleCnt="3" custScaleX="70799" custLinFactNeighborX="73235" custLinFactNeighborY="1760">
        <dgm:presLayoutVars>
          <dgm:bulletEnabled val="1"/>
        </dgm:presLayoutVars>
      </dgm:prSet>
      <dgm:spPr/>
    </dgm:pt>
    <dgm:pt modelId="{D3BCB50E-918F-4405-9E7A-32E6912C98A5}" type="pres">
      <dgm:prSet presAssocID="{31A6772F-B5E4-4700-8877-B514791D82E4}" presName="sibTrans" presStyleCnt="0"/>
      <dgm:spPr/>
    </dgm:pt>
    <dgm:pt modelId="{0F601C72-A11C-4D68-8768-BC9F889E21BF}" type="pres">
      <dgm:prSet presAssocID="{282976B8-EDF6-404E-9038-2B02D06E83B2}" presName="textNode" presStyleLbl="node1" presStyleIdx="2" presStyleCnt="3" custScaleX="71115" custLinFactNeighborX="-11766" custLinFactNeighborY="2099">
        <dgm:presLayoutVars>
          <dgm:bulletEnabled val="1"/>
        </dgm:presLayoutVars>
      </dgm:prSet>
      <dgm:spPr/>
    </dgm:pt>
  </dgm:ptLst>
  <dgm:cxnLst>
    <dgm:cxn modelId="{13BDF53A-BAD0-45EA-B328-414F764998AC}" type="presOf" srcId="{10F70729-B67B-4C2A-AC63-B4D1F4D8F31B}" destId="{1306E215-B80E-481F-87AD-27E347581EE5}" srcOrd="0" destOrd="0" presId="urn:microsoft.com/office/officeart/2005/8/layout/hProcess9"/>
    <dgm:cxn modelId="{9D9A3D5F-63B7-401A-BC10-492855F70BD7}" type="presOf" srcId="{0E124169-4CD9-45FC-BF89-47402E06688B}" destId="{AFC4E9BF-9CC4-47DA-A5EB-3C2258FD9E5A}" srcOrd="0" destOrd="0" presId="urn:microsoft.com/office/officeart/2005/8/layout/hProcess9"/>
    <dgm:cxn modelId="{8892896C-98BD-47F0-A79E-909CB2478860}" srcId="{10F70729-B67B-4C2A-AC63-B4D1F4D8F31B}" destId="{0E124169-4CD9-45FC-BF89-47402E06688B}" srcOrd="0" destOrd="0" parTransId="{BE303E50-7FBD-4427-84DB-BD45ED768B34}" sibTransId="{239D769F-D215-4F64-9CD9-D47C3A3720BE}"/>
    <dgm:cxn modelId="{0B997A8A-51E8-46A0-8D92-0FFA8BE3209E}" srcId="{10F70729-B67B-4C2A-AC63-B4D1F4D8F31B}" destId="{ECEF7B22-FB89-4AB3-B2AF-8BD69BCFBCD7}" srcOrd="1" destOrd="0" parTransId="{3A669CE1-1233-40C9-B5C5-ADB1A7B1302D}" sibTransId="{31A6772F-B5E4-4700-8877-B514791D82E4}"/>
    <dgm:cxn modelId="{49485293-37E3-407A-8765-24958A1F1362}" srcId="{10F70729-B67B-4C2A-AC63-B4D1F4D8F31B}" destId="{282976B8-EDF6-404E-9038-2B02D06E83B2}" srcOrd="2" destOrd="0" parTransId="{53C955E8-8794-4079-AFE6-23AD95F0B9CF}" sibTransId="{99FB7D48-73A2-4F83-9AB4-8928F5BEF6DC}"/>
    <dgm:cxn modelId="{77AEEAC0-A68E-452D-AE1E-B49BAD403210}" type="presOf" srcId="{ECEF7B22-FB89-4AB3-B2AF-8BD69BCFBCD7}" destId="{05DCB1EC-2F50-45E7-ACF6-229767B6164A}" srcOrd="0" destOrd="0" presId="urn:microsoft.com/office/officeart/2005/8/layout/hProcess9"/>
    <dgm:cxn modelId="{CFE5E4F4-1652-4ED0-961F-10FBE2E7FBEF}" type="presOf" srcId="{282976B8-EDF6-404E-9038-2B02D06E83B2}" destId="{0F601C72-A11C-4D68-8768-BC9F889E21BF}" srcOrd="0" destOrd="0" presId="urn:microsoft.com/office/officeart/2005/8/layout/hProcess9"/>
    <dgm:cxn modelId="{D426080B-EB64-4800-8EBB-5EEB28D016E6}" type="presParOf" srcId="{1306E215-B80E-481F-87AD-27E347581EE5}" destId="{860F162A-CF15-49CA-AA3D-F782E200A9C0}" srcOrd="0" destOrd="0" presId="urn:microsoft.com/office/officeart/2005/8/layout/hProcess9"/>
    <dgm:cxn modelId="{09B083FC-B010-45FC-BF4F-8B055153AF0A}" type="presParOf" srcId="{1306E215-B80E-481F-87AD-27E347581EE5}" destId="{C17EFF65-754B-4B36-9752-299670A1AB0F}" srcOrd="1" destOrd="0" presId="urn:microsoft.com/office/officeart/2005/8/layout/hProcess9"/>
    <dgm:cxn modelId="{81CDCC43-A993-473D-A2FA-23863C60C6A1}" type="presParOf" srcId="{C17EFF65-754B-4B36-9752-299670A1AB0F}" destId="{AFC4E9BF-9CC4-47DA-A5EB-3C2258FD9E5A}" srcOrd="0" destOrd="0" presId="urn:microsoft.com/office/officeart/2005/8/layout/hProcess9"/>
    <dgm:cxn modelId="{FDDE99B2-F602-4158-9CD8-F9C9DA6DB248}" type="presParOf" srcId="{C17EFF65-754B-4B36-9752-299670A1AB0F}" destId="{2BB45996-3BA7-4D09-9C4E-A038171EFBCA}" srcOrd="1" destOrd="0" presId="urn:microsoft.com/office/officeart/2005/8/layout/hProcess9"/>
    <dgm:cxn modelId="{D6D8A960-B963-4855-AE36-23B3DDC5D8BA}" type="presParOf" srcId="{C17EFF65-754B-4B36-9752-299670A1AB0F}" destId="{05DCB1EC-2F50-45E7-ACF6-229767B6164A}" srcOrd="2" destOrd="0" presId="urn:microsoft.com/office/officeart/2005/8/layout/hProcess9"/>
    <dgm:cxn modelId="{5BA93693-BD17-4C92-B04A-47C8BDC75245}" type="presParOf" srcId="{C17EFF65-754B-4B36-9752-299670A1AB0F}" destId="{D3BCB50E-918F-4405-9E7A-32E6912C98A5}" srcOrd="3" destOrd="0" presId="urn:microsoft.com/office/officeart/2005/8/layout/hProcess9"/>
    <dgm:cxn modelId="{D5E39199-AF81-4206-B841-9A72F66E55E9}" type="presParOf" srcId="{C17EFF65-754B-4B36-9752-299670A1AB0F}" destId="{0F601C72-A11C-4D68-8768-BC9F889E21BF}" srcOrd="4" destOrd="0" presId="urn:microsoft.com/office/officeart/2005/8/layout/hProcess9"/>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56A23EC-E7F7-4DEB-8438-E7997BE2C11E}" type="doc">
      <dgm:prSet loTypeId="urn:microsoft.com/office/officeart/2005/8/layout/cycle5" loCatId="cycle" qsTypeId="urn:microsoft.com/office/officeart/2005/8/quickstyle/simple1" qsCatId="simple" csTypeId="urn:microsoft.com/office/officeart/2005/8/colors/accent0_3" csCatId="mainScheme" phldr="1"/>
      <dgm:spPr/>
      <dgm:t>
        <a:bodyPr/>
        <a:lstStyle/>
        <a:p>
          <a:endParaRPr lang="en-US"/>
        </a:p>
      </dgm:t>
    </dgm:pt>
    <dgm:pt modelId="{C428F817-E67D-4E77-889A-C3F29854A30F}">
      <dgm:prSet phldrT="[Text]" custT="1">
        <dgm:style>
          <a:lnRef idx="1">
            <a:schemeClr val="accent1"/>
          </a:lnRef>
          <a:fillRef idx="2">
            <a:schemeClr val="accent1"/>
          </a:fillRef>
          <a:effectRef idx="1">
            <a:schemeClr val="accent1"/>
          </a:effectRef>
          <a:fontRef idx="minor">
            <a:schemeClr val="dk1"/>
          </a:fontRef>
        </dgm:style>
      </dgm:prSet>
      <dgm:spPr>
        <a:ln w="19050">
          <a:solidFill>
            <a:srgbClr val="14438E"/>
          </a:solidFill>
        </a:ln>
        <a:effectLst/>
      </dgm:spPr>
      <dgm:t>
        <a:bodyPr/>
        <a:lstStyle/>
        <a:p>
          <a:pPr>
            <a:lnSpc>
              <a:spcPct val="100000"/>
            </a:lnSpc>
          </a:pPr>
          <a:r>
            <a:rPr lang="en-US" sz="1400" b="1" dirty="0">
              <a:solidFill>
                <a:srgbClr val="024DA1"/>
              </a:solidFill>
              <a:latin typeface="Arial" panose="020B0604020202020204" pitchFamily="34" charset="0"/>
              <a:cs typeface="Arial" panose="020B0604020202020204" pitchFamily="34" charset="0"/>
            </a:rPr>
            <a:t>Goods and services</a:t>
          </a:r>
        </a:p>
        <a:p>
          <a:pPr>
            <a:lnSpc>
              <a:spcPct val="100000"/>
            </a:lnSpc>
          </a:pPr>
          <a:r>
            <a:rPr lang="en-GB" sz="1400" b="0" dirty="0">
              <a:solidFill>
                <a:srgbClr val="024DA1"/>
              </a:solidFill>
              <a:latin typeface="Arial" panose="020B0604020202020204" pitchFamily="34" charset="0"/>
              <a:cs typeface="Arial" panose="020B0604020202020204" pitchFamily="34" charset="0"/>
            </a:rPr>
            <a:t>And the context in which they will be offered</a:t>
          </a:r>
          <a:endParaRPr lang="en-US" sz="1400" b="0" dirty="0">
            <a:solidFill>
              <a:srgbClr val="024DA1"/>
            </a:solidFill>
            <a:latin typeface="Arial" panose="020B0604020202020204" pitchFamily="34" charset="0"/>
            <a:cs typeface="Arial" panose="020B0604020202020204" pitchFamily="34" charset="0"/>
          </a:endParaRPr>
        </a:p>
      </dgm:t>
    </dgm:pt>
    <dgm:pt modelId="{EA287F2E-27FA-447E-9ED9-50095BBE7ECC}" type="parTrans" cxnId="{68EF977D-A3F9-4F3B-B12D-4752810A5C30}">
      <dgm:prSet/>
      <dgm:spPr/>
      <dgm:t>
        <a:bodyPr/>
        <a:lstStyle/>
        <a:p>
          <a:pPr>
            <a:lnSpc>
              <a:spcPct val="100000"/>
            </a:lnSpc>
          </a:pPr>
          <a:endParaRPr lang="en-US" sz="2000" b="1">
            <a:latin typeface="+mn-lt"/>
          </a:endParaRPr>
        </a:p>
      </dgm:t>
    </dgm:pt>
    <dgm:pt modelId="{79198668-35E5-4350-B77C-05446D0AA80C}" type="sibTrans" cxnId="{68EF977D-A3F9-4F3B-B12D-4752810A5C30}">
      <dgm:prSet/>
      <dgm:spPr>
        <a:solidFill>
          <a:srgbClr val="4BACC6"/>
        </a:solidFill>
        <a:ln w="19050">
          <a:solidFill>
            <a:srgbClr val="4BACC6"/>
          </a:solidFill>
        </a:ln>
      </dgm:spPr>
      <dgm:t>
        <a:bodyPr/>
        <a:lstStyle/>
        <a:p>
          <a:pPr>
            <a:lnSpc>
              <a:spcPct val="100000"/>
            </a:lnSpc>
          </a:pPr>
          <a:endParaRPr lang="en-US" sz="2000" b="1">
            <a:latin typeface="+mn-lt"/>
          </a:endParaRPr>
        </a:p>
      </dgm:t>
    </dgm:pt>
    <dgm:pt modelId="{10E0F803-2749-4583-AB99-534AC46B49EE}">
      <dgm:prSet phldrT="[Text]" custT="1">
        <dgm:style>
          <a:lnRef idx="1">
            <a:schemeClr val="accent1"/>
          </a:lnRef>
          <a:fillRef idx="2">
            <a:schemeClr val="accent1"/>
          </a:fillRef>
          <a:effectRef idx="1">
            <a:schemeClr val="accent1"/>
          </a:effectRef>
          <a:fontRef idx="minor">
            <a:schemeClr val="dk1"/>
          </a:fontRef>
        </dgm:style>
      </dgm:prSet>
      <dgm:spPr>
        <a:solidFill>
          <a:schemeClr val="accent1">
            <a:lumMod val="20000"/>
            <a:lumOff val="80000"/>
          </a:schemeClr>
        </a:solidFill>
        <a:ln w="19050">
          <a:solidFill>
            <a:srgbClr val="14438E"/>
          </a:solidFill>
        </a:ln>
        <a:effectLst/>
      </dgm:spPr>
      <dgm:t>
        <a:bodyPr/>
        <a:lstStyle/>
        <a:p>
          <a:pPr>
            <a:lnSpc>
              <a:spcPct val="100000"/>
            </a:lnSpc>
          </a:pPr>
          <a:r>
            <a:rPr lang="en-US" sz="1400" b="1" dirty="0">
              <a:solidFill>
                <a:srgbClr val="024DA1"/>
              </a:solidFill>
              <a:latin typeface="Arial" panose="020B0604020202020204" pitchFamily="34" charset="0"/>
              <a:cs typeface="Arial" panose="020B0604020202020204" pitchFamily="34" charset="0"/>
            </a:rPr>
            <a:t>Relevant public</a:t>
          </a:r>
        </a:p>
        <a:p>
          <a:pPr>
            <a:lnSpc>
              <a:spcPct val="100000"/>
            </a:lnSpc>
          </a:pPr>
          <a:r>
            <a:rPr lang="en-IE" sz="1400" b="0" dirty="0">
              <a:solidFill>
                <a:srgbClr val="024DA1"/>
              </a:solidFill>
              <a:latin typeface="Arial" panose="020B0604020202020204" pitchFamily="34" charset="0"/>
              <a:cs typeface="Arial" panose="020B0604020202020204" pitchFamily="34" charset="0"/>
            </a:rPr>
            <a:t>Includes the public who are likely to encounter the trade mark</a:t>
          </a:r>
          <a:endParaRPr lang="en-US" sz="1400" b="0" dirty="0">
            <a:solidFill>
              <a:srgbClr val="024DA1"/>
            </a:solidFill>
            <a:latin typeface="Arial" panose="020B0604020202020204" pitchFamily="34" charset="0"/>
            <a:cs typeface="Arial" panose="020B0604020202020204" pitchFamily="34" charset="0"/>
          </a:endParaRPr>
        </a:p>
      </dgm:t>
    </dgm:pt>
    <dgm:pt modelId="{4F6B1463-19F3-491E-9964-8D71C52DCB74}" type="parTrans" cxnId="{D8681720-4A72-40EC-8C09-F34168C1D1DF}">
      <dgm:prSet/>
      <dgm:spPr/>
      <dgm:t>
        <a:bodyPr/>
        <a:lstStyle/>
        <a:p>
          <a:pPr>
            <a:lnSpc>
              <a:spcPct val="100000"/>
            </a:lnSpc>
          </a:pPr>
          <a:endParaRPr lang="en-US" sz="2000" b="1">
            <a:latin typeface="+mn-lt"/>
          </a:endParaRPr>
        </a:p>
      </dgm:t>
    </dgm:pt>
    <dgm:pt modelId="{BFB6E61A-DD09-469C-9702-CB4DE59FA411}" type="sibTrans" cxnId="{D8681720-4A72-40EC-8C09-F34168C1D1DF}">
      <dgm:prSet/>
      <dgm:spPr>
        <a:ln w="19050">
          <a:solidFill>
            <a:srgbClr val="4BACC6"/>
          </a:solidFill>
        </a:ln>
      </dgm:spPr>
      <dgm:t>
        <a:bodyPr/>
        <a:lstStyle/>
        <a:p>
          <a:pPr>
            <a:lnSpc>
              <a:spcPct val="100000"/>
            </a:lnSpc>
          </a:pPr>
          <a:endParaRPr lang="en-US" sz="2000" b="1">
            <a:latin typeface="+mn-lt"/>
          </a:endParaRPr>
        </a:p>
      </dgm:t>
    </dgm:pt>
    <dgm:pt modelId="{4C745070-9DB7-4D0F-9B30-9A1AE8836BB5}">
      <dgm:prSet custT="1">
        <dgm:style>
          <a:lnRef idx="1">
            <a:schemeClr val="accent1"/>
          </a:lnRef>
          <a:fillRef idx="2">
            <a:schemeClr val="accent1"/>
          </a:fillRef>
          <a:effectRef idx="1">
            <a:schemeClr val="accent1"/>
          </a:effectRef>
          <a:fontRef idx="minor">
            <a:schemeClr val="dk1"/>
          </a:fontRef>
        </dgm:style>
      </dgm:prSet>
      <dgm:spPr>
        <a:solidFill>
          <a:schemeClr val="accent1">
            <a:lumMod val="60000"/>
            <a:lumOff val="40000"/>
          </a:schemeClr>
        </a:solidFill>
        <a:ln w="19050">
          <a:solidFill>
            <a:srgbClr val="14438E"/>
          </a:solidFill>
        </a:ln>
        <a:effectLst/>
      </dgm:spPr>
      <dgm:t>
        <a:bodyPr/>
        <a:lstStyle/>
        <a:p>
          <a:pPr>
            <a:lnSpc>
              <a:spcPct val="100000"/>
            </a:lnSpc>
          </a:pPr>
          <a:r>
            <a:rPr lang="en-GB" sz="1400" b="1" noProof="0" dirty="0">
              <a:solidFill>
                <a:srgbClr val="024DA1"/>
              </a:solidFill>
              <a:latin typeface="Arial" panose="020B0604020202020204" pitchFamily="34" charset="0"/>
              <a:cs typeface="Arial" panose="020B0604020202020204" pitchFamily="34" charset="0"/>
            </a:rPr>
            <a:t>Perception of the sign by the relevant public</a:t>
          </a:r>
        </a:p>
        <a:p>
          <a:pPr>
            <a:lnSpc>
              <a:spcPct val="100000"/>
            </a:lnSpc>
          </a:pPr>
          <a:r>
            <a:rPr lang="en-GB" sz="1400" b="0" noProof="0" dirty="0">
              <a:solidFill>
                <a:srgbClr val="024DA1"/>
              </a:solidFill>
              <a:latin typeface="Arial" panose="020B0604020202020204" pitchFamily="34" charset="0"/>
              <a:cs typeface="Arial" panose="020B0604020202020204" pitchFamily="34" charset="0"/>
            </a:rPr>
            <a:t>Understanding of the meaning of the sign</a:t>
          </a:r>
        </a:p>
      </dgm:t>
    </dgm:pt>
    <dgm:pt modelId="{953E7CDB-125E-49C6-929E-FAC3F063473A}" type="parTrans" cxnId="{439C03B1-F9FF-4060-9201-09EA68B3C250}">
      <dgm:prSet/>
      <dgm:spPr/>
      <dgm:t>
        <a:bodyPr/>
        <a:lstStyle/>
        <a:p>
          <a:pPr>
            <a:lnSpc>
              <a:spcPct val="100000"/>
            </a:lnSpc>
          </a:pPr>
          <a:endParaRPr lang="en-US" sz="2000">
            <a:latin typeface="+mn-lt"/>
          </a:endParaRPr>
        </a:p>
      </dgm:t>
    </dgm:pt>
    <dgm:pt modelId="{C215BDA3-049B-4E3F-9C74-3EB7AF7DABF5}" type="sibTrans" cxnId="{439C03B1-F9FF-4060-9201-09EA68B3C250}">
      <dgm:prSet/>
      <dgm:spPr>
        <a:solidFill>
          <a:srgbClr val="14438E"/>
        </a:solidFill>
        <a:ln w="19050">
          <a:solidFill>
            <a:srgbClr val="4BACC6"/>
          </a:solidFill>
        </a:ln>
      </dgm:spPr>
      <dgm:t>
        <a:bodyPr/>
        <a:lstStyle/>
        <a:p>
          <a:pPr>
            <a:lnSpc>
              <a:spcPct val="100000"/>
            </a:lnSpc>
          </a:pPr>
          <a:endParaRPr lang="en-US" sz="2000">
            <a:latin typeface="+mn-lt"/>
          </a:endParaRPr>
        </a:p>
      </dgm:t>
    </dgm:pt>
    <dgm:pt modelId="{AB50E1F0-E6BC-45FD-A554-A978214033A2}" type="pres">
      <dgm:prSet presAssocID="{256A23EC-E7F7-4DEB-8438-E7997BE2C11E}" presName="cycle" presStyleCnt="0">
        <dgm:presLayoutVars>
          <dgm:dir/>
          <dgm:resizeHandles val="exact"/>
        </dgm:presLayoutVars>
      </dgm:prSet>
      <dgm:spPr/>
    </dgm:pt>
    <dgm:pt modelId="{3B858115-5A8C-447A-8235-EA987419449A}" type="pres">
      <dgm:prSet presAssocID="{C428F817-E67D-4E77-889A-C3F29854A30F}" presName="node" presStyleLbl="node1" presStyleIdx="0" presStyleCnt="3" custScaleX="120753" custScaleY="118480">
        <dgm:presLayoutVars>
          <dgm:bulletEnabled val="1"/>
        </dgm:presLayoutVars>
      </dgm:prSet>
      <dgm:spPr/>
    </dgm:pt>
    <dgm:pt modelId="{C2C92696-AA6F-4346-812F-0790663384AE}" type="pres">
      <dgm:prSet presAssocID="{C428F817-E67D-4E77-889A-C3F29854A30F}" presName="spNode" presStyleCnt="0"/>
      <dgm:spPr/>
    </dgm:pt>
    <dgm:pt modelId="{A39DCFC2-7464-4451-A8DA-FAA7222BE9D5}" type="pres">
      <dgm:prSet presAssocID="{79198668-35E5-4350-B77C-05446D0AA80C}" presName="sibTrans" presStyleLbl="sibTrans1D1" presStyleIdx="0" presStyleCnt="3"/>
      <dgm:spPr/>
    </dgm:pt>
    <dgm:pt modelId="{50B80E4D-4DD7-4EF7-9614-62A1A61164DF}" type="pres">
      <dgm:prSet presAssocID="{10E0F803-2749-4583-AB99-534AC46B49EE}" presName="node" presStyleLbl="node1" presStyleIdx="1" presStyleCnt="3" custScaleX="120772" custScaleY="118494" custRadScaleRad="97837" custRadScaleInc="-15153">
        <dgm:presLayoutVars>
          <dgm:bulletEnabled val="1"/>
        </dgm:presLayoutVars>
      </dgm:prSet>
      <dgm:spPr/>
    </dgm:pt>
    <dgm:pt modelId="{1288B9C4-4558-4836-AB10-F26EF1702FC0}" type="pres">
      <dgm:prSet presAssocID="{10E0F803-2749-4583-AB99-534AC46B49EE}" presName="spNode" presStyleCnt="0"/>
      <dgm:spPr/>
    </dgm:pt>
    <dgm:pt modelId="{B8EDA282-B392-46D2-A076-44BA74398C3D}" type="pres">
      <dgm:prSet presAssocID="{BFB6E61A-DD09-469C-9702-CB4DE59FA411}" presName="sibTrans" presStyleLbl="sibTrans1D1" presStyleIdx="1" presStyleCnt="3"/>
      <dgm:spPr/>
    </dgm:pt>
    <dgm:pt modelId="{BA3E0417-3BA4-49AD-B38F-22FFE9331255}" type="pres">
      <dgm:prSet presAssocID="{4C745070-9DB7-4D0F-9B30-9A1AE8836BB5}" presName="node" presStyleLbl="node1" presStyleIdx="2" presStyleCnt="3" custScaleX="120772" custScaleY="118494" custRadScaleRad="100862" custRadScaleInc="17109">
        <dgm:presLayoutVars>
          <dgm:bulletEnabled val="1"/>
        </dgm:presLayoutVars>
      </dgm:prSet>
      <dgm:spPr/>
    </dgm:pt>
    <dgm:pt modelId="{868DCE6B-8F01-4E9C-A27D-EBA13ED918A2}" type="pres">
      <dgm:prSet presAssocID="{4C745070-9DB7-4D0F-9B30-9A1AE8836BB5}" presName="spNode" presStyleCnt="0"/>
      <dgm:spPr/>
    </dgm:pt>
    <dgm:pt modelId="{DF8D6A67-E460-4A10-BF84-95D712FDB169}" type="pres">
      <dgm:prSet presAssocID="{C215BDA3-049B-4E3F-9C74-3EB7AF7DABF5}" presName="sibTrans" presStyleLbl="sibTrans1D1" presStyleIdx="2" presStyleCnt="3"/>
      <dgm:spPr/>
    </dgm:pt>
  </dgm:ptLst>
  <dgm:cxnLst>
    <dgm:cxn modelId="{D8681720-4A72-40EC-8C09-F34168C1D1DF}" srcId="{256A23EC-E7F7-4DEB-8438-E7997BE2C11E}" destId="{10E0F803-2749-4583-AB99-534AC46B49EE}" srcOrd="1" destOrd="0" parTransId="{4F6B1463-19F3-491E-9964-8D71C52DCB74}" sibTransId="{BFB6E61A-DD09-469C-9702-CB4DE59FA411}"/>
    <dgm:cxn modelId="{BC50EE2D-59E7-4F10-9F53-2B3DA19D3971}" type="presOf" srcId="{4C745070-9DB7-4D0F-9B30-9A1AE8836BB5}" destId="{BA3E0417-3BA4-49AD-B38F-22FFE9331255}" srcOrd="0" destOrd="0" presId="urn:microsoft.com/office/officeart/2005/8/layout/cycle5"/>
    <dgm:cxn modelId="{6DCE2A31-D0D3-46C5-AF39-0D7AD6326E62}" type="presOf" srcId="{79198668-35E5-4350-B77C-05446D0AA80C}" destId="{A39DCFC2-7464-4451-A8DA-FAA7222BE9D5}" srcOrd="0" destOrd="0" presId="urn:microsoft.com/office/officeart/2005/8/layout/cycle5"/>
    <dgm:cxn modelId="{D2DCBC5E-77B8-46A5-AEF9-8166F93697C1}" type="presOf" srcId="{256A23EC-E7F7-4DEB-8438-E7997BE2C11E}" destId="{AB50E1F0-E6BC-45FD-A554-A978214033A2}" srcOrd="0" destOrd="0" presId="urn:microsoft.com/office/officeart/2005/8/layout/cycle5"/>
    <dgm:cxn modelId="{68EF977D-A3F9-4F3B-B12D-4752810A5C30}" srcId="{256A23EC-E7F7-4DEB-8438-E7997BE2C11E}" destId="{C428F817-E67D-4E77-889A-C3F29854A30F}" srcOrd="0" destOrd="0" parTransId="{EA287F2E-27FA-447E-9ED9-50095BBE7ECC}" sibTransId="{79198668-35E5-4350-B77C-05446D0AA80C}"/>
    <dgm:cxn modelId="{58BDFF88-2DED-47A8-A163-0D6A953F6E10}" type="presOf" srcId="{BFB6E61A-DD09-469C-9702-CB4DE59FA411}" destId="{B8EDA282-B392-46D2-A076-44BA74398C3D}" srcOrd="0" destOrd="0" presId="urn:microsoft.com/office/officeart/2005/8/layout/cycle5"/>
    <dgm:cxn modelId="{8C419A91-6B64-4364-AFD6-BC3EF7BC57FF}" type="presOf" srcId="{C215BDA3-049B-4E3F-9C74-3EB7AF7DABF5}" destId="{DF8D6A67-E460-4A10-BF84-95D712FDB169}" srcOrd="0" destOrd="0" presId="urn:microsoft.com/office/officeart/2005/8/layout/cycle5"/>
    <dgm:cxn modelId="{439C03B1-F9FF-4060-9201-09EA68B3C250}" srcId="{256A23EC-E7F7-4DEB-8438-E7997BE2C11E}" destId="{4C745070-9DB7-4D0F-9B30-9A1AE8836BB5}" srcOrd="2" destOrd="0" parTransId="{953E7CDB-125E-49C6-929E-FAC3F063473A}" sibTransId="{C215BDA3-049B-4E3F-9C74-3EB7AF7DABF5}"/>
    <dgm:cxn modelId="{381D49D4-2297-4441-9216-CE863CFB7B98}" type="presOf" srcId="{10E0F803-2749-4583-AB99-534AC46B49EE}" destId="{50B80E4D-4DD7-4EF7-9614-62A1A61164DF}" srcOrd="0" destOrd="0" presId="urn:microsoft.com/office/officeart/2005/8/layout/cycle5"/>
    <dgm:cxn modelId="{0C5B31D7-D3B7-47A8-A277-4B003FB4946B}" type="presOf" srcId="{C428F817-E67D-4E77-889A-C3F29854A30F}" destId="{3B858115-5A8C-447A-8235-EA987419449A}" srcOrd="0" destOrd="0" presId="urn:microsoft.com/office/officeart/2005/8/layout/cycle5"/>
    <dgm:cxn modelId="{C10C399B-DCFE-497C-8B50-E01E4E469FBA}" type="presParOf" srcId="{AB50E1F0-E6BC-45FD-A554-A978214033A2}" destId="{3B858115-5A8C-447A-8235-EA987419449A}" srcOrd="0" destOrd="0" presId="urn:microsoft.com/office/officeart/2005/8/layout/cycle5"/>
    <dgm:cxn modelId="{7249C08C-0E3D-469C-813A-42B2D6F07CF7}" type="presParOf" srcId="{AB50E1F0-E6BC-45FD-A554-A978214033A2}" destId="{C2C92696-AA6F-4346-812F-0790663384AE}" srcOrd="1" destOrd="0" presId="urn:microsoft.com/office/officeart/2005/8/layout/cycle5"/>
    <dgm:cxn modelId="{ECDFD81B-7CE0-41FC-AB57-A0933B40AE1A}" type="presParOf" srcId="{AB50E1F0-E6BC-45FD-A554-A978214033A2}" destId="{A39DCFC2-7464-4451-A8DA-FAA7222BE9D5}" srcOrd="2" destOrd="0" presId="urn:microsoft.com/office/officeart/2005/8/layout/cycle5"/>
    <dgm:cxn modelId="{AB93B887-AEF7-4E6E-9C71-7CEE1D887762}" type="presParOf" srcId="{AB50E1F0-E6BC-45FD-A554-A978214033A2}" destId="{50B80E4D-4DD7-4EF7-9614-62A1A61164DF}" srcOrd="3" destOrd="0" presId="urn:microsoft.com/office/officeart/2005/8/layout/cycle5"/>
    <dgm:cxn modelId="{7B6DA943-4BC3-40A8-843D-18DD0C7C16BD}" type="presParOf" srcId="{AB50E1F0-E6BC-45FD-A554-A978214033A2}" destId="{1288B9C4-4558-4836-AB10-F26EF1702FC0}" srcOrd="4" destOrd="0" presId="urn:microsoft.com/office/officeart/2005/8/layout/cycle5"/>
    <dgm:cxn modelId="{C34B1653-1CA8-42EF-B1DA-FF1D71701D63}" type="presParOf" srcId="{AB50E1F0-E6BC-45FD-A554-A978214033A2}" destId="{B8EDA282-B392-46D2-A076-44BA74398C3D}" srcOrd="5" destOrd="0" presId="urn:microsoft.com/office/officeart/2005/8/layout/cycle5"/>
    <dgm:cxn modelId="{0B59494E-1946-40E3-9131-A23EFD6A3B38}" type="presParOf" srcId="{AB50E1F0-E6BC-45FD-A554-A978214033A2}" destId="{BA3E0417-3BA4-49AD-B38F-22FFE9331255}" srcOrd="6" destOrd="0" presId="urn:microsoft.com/office/officeart/2005/8/layout/cycle5"/>
    <dgm:cxn modelId="{F1871E5A-FF1A-4CC7-A607-996AE5305673}" type="presParOf" srcId="{AB50E1F0-E6BC-45FD-A554-A978214033A2}" destId="{868DCE6B-8F01-4E9C-A27D-EBA13ED918A2}" srcOrd="7" destOrd="0" presId="urn:microsoft.com/office/officeart/2005/8/layout/cycle5"/>
    <dgm:cxn modelId="{8B76D721-75B4-4A89-88F1-12081986E608}" type="presParOf" srcId="{AB50E1F0-E6BC-45FD-A554-A978214033A2}" destId="{DF8D6A67-E460-4A10-BF84-95D712FDB169}" srcOrd="8" destOrd="0" presId="urn:microsoft.com/office/officeart/2005/8/layout/cycle5"/>
  </dgm:cxnLst>
  <dgm:bg/>
  <dgm:whole>
    <a:ln>
      <a:noFill/>
    </a:ln>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48347195-7F19-4135-A274-A4F8F683EFBA}"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49F3E023-D0F1-43DA-AE14-94A4E746F84F}">
      <dgm:prSet phldrT="[Text]" custT="1"/>
      <dgm:spPr>
        <a:solidFill>
          <a:schemeClr val="bg1"/>
        </a:solidFill>
        <a:ln>
          <a:solidFill>
            <a:srgbClr val="4BACC6"/>
          </a:solidFill>
        </a:ln>
      </dgm:spPr>
      <dgm:t>
        <a:bodyPr/>
        <a:lstStyle/>
        <a:p>
          <a:r>
            <a:rPr lang="en-GB" altLang="de-DE" sz="1600" b="1">
              <a:solidFill>
                <a:srgbClr val="024DA1"/>
              </a:solidFill>
              <a:latin typeface="Arial" panose="020B0604020202020204" pitchFamily="34" charset="0"/>
              <a:cs typeface="Arial" panose="020B0604020202020204" pitchFamily="34" charset="0"/>
            </a:rPr>
            <a:t>Non-exhaustive list of groups of signs</a:t>
          </a:r>
          <a:endParaRPr lang="en-US" sz="1600" b="1">
            <a:solidFill>
              <a:srgbClr val="183D8C"/>
            </a:solidFill>
            <a:latin typeface="Arial" panose="020B0604020202020204" pitchFamily="34" charset="0"/>
            <a:cs typeface="Arial" panose="020B0604020202020204" pitchFamily="34" charset="0"/>
          </a:endParaRPr>
        </a:p>
      </dgm:t>
    </dgm:pt>
    <dgm:pt modelId="{11E1402A-5FDD-4BFF-B913-924AD5A7A374}" type="parTrans" cxnId="{B689D6FE-4A92-4E8E-AF1C-846F1961C1F4}">
      <dgm:prSet/>
      <dgm:spPr/>
      <dgm:t>
        <a:bodyPr/>
        <a:lstStyle/>
        <a:p>
          <a:endParaRPr lang="en-US"/>
        </a:p>
      </dgm:t>
    </dgm:pt>
    <dgm:pt modelId="{9E417B18-AC8F-488B-A01B-F4B933B1D54D}" type="sibTrans" cxnId="{B689D6FE-4A92-4E8E-AF1C-846F1961C1F4}">
      <dgm:prSet/>
      <dgm:spPr/>
      <dgm:t>
        <a:bodyPr/>
        <a:lstStyle/>
        <a:p>
          <a:endParaRPr lang="en-US"/>
        </a:p>
      </dgm:t>
    </dgm:pt>
    <dgm:pt modelId="{75098BDD-E16E-446C-8D55-61B33CC47402}">
      <dgm:prSet phldrT="[Text]" custT="1"/>
      <dgm:spPr>
        <a:solidFill>
          <a:srgbClr val="F2F2F2">
            <a:alpha val="90000"/>
          </a:srgbClr>
        </a:solidFill>
        <a:ln>
          <a:noFill/>
        </a:ln>
      </dgm:spPr>
      <dgm:t>
        <a:bodyPr/>
        <a:lstStyle/>
        <a:p>
          <a:pPr algn="just">
            <a:spcAft>
              <a:spcPts val="600"/>
            </a:spcAft>
          </a:pPr>
          <a:r>
            <a:rPr lang="en-US" sz="1400" kern="1200" dirty="0">
              <a:solidFill>
                <a:srgbClr val="024DA1"/>
              </a:solidFill>
              <a:latin typeface="Arial" panose="020B0604020202020204" pitchFamily="34" charset="0"/>
              <a:cs typeface="Arial" panose="020B0604020202020204" pitchFamily="34" charset="0"/>
            </a:rPr>
            <a:t>Principles and examples serve as </a:t>
          </a:r>
          <a:r>
            <a:rPr lang="en-US" sz="1400" b="1" kern="1200" dirty="0">
              <a:solidFill>
                <a:srgbClr val="024DA1"/>
              </a:solidFill>
              <a:latin typeface="Arial" panose="020B0604020202020204" pitchFamily="34" charset="0"/>
              <a:cs typeface="Arial" panose="020B0604020202020204" pitchFamily="34" charset="0"/>
            </a:rPr>
            <a:t>guidance</a:t>
          </a:r>
          <a:endParaRPr lang="en-US" sz="1400" b="1" strike="sngStrike" kern="1200" dirty="0">
            <a:solidFill>
              <a:srgbClr val="024DA1"/>
            </a:solidFill>
            <a:latin typeface="Arial" panose="020B0604020202020204" pitchFamily="34" charset="0"/>
            <a:cs typeface="Arial" panose="020B0604020202020204" pitchFamily="34" charset="0"/>
          </a:endParaRPr>
        </a:p>
      </dgm:t>
    </dgm:pt>
    <dgm:pt modelId="{7AD948C7-47F6-4C96-B33E-8BF31F566CB0}" type="parTrans" cxnId="{15756CA3-B8F5-42AC-BCC6-D3B0A151F5C8}">
      <dgm:prSet/>
      <dgm:spPr/>
      <dgm:t>
        <a:bodyPr/>
        <a:lstStyle/>
        <a:p>
          <a:endParaRPr lang="en-US"/>
        </a:p>
      </dgm:t>
    </dgm:pt>
    <dgm:pt modelId="{3AC1AD73-B8BB-424E-9A65-C9731AD0062E}" type="sibTrans" cxnId="{15756CA3-B8F5-42AC-BCC6-D3B0A151F5C8}">
      <dgm:prSet/>
      <dgm:spPr/>
      <dgm:t>
        <a:bodyPr/>
        <a:lstStyle/>
        <a:p>
          <a:endParaRPr lang="en-US"/>
        </a:p>
      </dgm:t>
    </dgm:pt>
    <dgm:pt modelId="{C89AED02-ECED-4626-B4BA-16A357D84BD8}">
      <dgm:prSet phldrT="[Text]" custT="1"/>
      <dgm:spPr>
        <a:solidFill>
          <a:schemeClr val="bg1"/>
        </a:solidFill>
        <a:ln w="25400" cap="flat" cmpd="sng" algn="ctr">
          <a:solidFill>
            <a:srgbClr val="4BACC6"/>
          </a:solidFill>
          <a:prstDash val="solid"/>
        </a:ln>
        <a:effectLst/>
      </dgm:spPr>
      <dgm:t>
        <a:bodyPr spcFirstLastPara="0" vert="horz" wrap="square" lIns="60960" tIns="30480" rIns="60960" bIns="30480" numCol="1" spcCol="1270" anchor="ctr" anchorCtr="0"/>
        <a:lstStyle/>
        <a:p>
          <a:pPr marL="0" lvl="0" indent="0" algn="ctr" defTabSz="711200">
            <a:lnSpc>
              <a:spcPct val="90000"/>
            </a:lnSpc>
            <a:spcBef>
              <a:spcPct val="0"/>
            </a:spcBef>
            <a:spcAft>
              <a:spcPct val="35000"/>
            </a:spcAft>
            <a:buNone/>
          </a:pPr>
          <a:r>
            <a:rPr lang="en-US" sz="1600" b="1" kern="1200">
              <a:solidFill>
                <a:srgbClr val="024DA1"/>
              </a:solidFill>
              <a:latin typeface="Arial" panose="020B0604020202020204" pitchFamily="34" charset="0"/>
              <a:ea typeface="+mn-ea"/>
              <a:cs typeface="Arial" panose="020B0604020202020204" pitchFamily="34" charset="0"/>
            </a:rPr>
            <a:t>Assessment</a:t>
          </a:r>
        </a:p>
      </dgm:t>
    </dgm:pt>
    <dgm:pt modelId="{4281BDF9-4327-45AC-BFF1-6721C97A6731}" type="parTrans" cxnId="{8172854D-76FF-47F5-8B2B-A2C9CD3403BD}">
      <dgm:prSet/>
      <dgm:spPr/>
      <dgm:t>
        <a:bodyPr/>
        <a:lstStyle/>
        <a:p>
          <a:endParaRPr lang="en-US"/>
        </a:p>
      </dgm:t>
    </dgm:pt>
    <dgm:pt modelId="{869A4A7E-5E4C-4367-9919-5A42B0627BFD}" type="sibTrans" cxnId="{8172854D-76FF-47F5-8B2B-A2C9CD3403BD}">
      <dgm:prSet/>
      <dgm:spPr/>
      <dgm:t>
        <a:bodyPr/>
        <a:lstStyle/>
        <a:p>
          <a:endParaRPr lang="en-US"/>
        </a:p>
      </dgm:t>
    </dgm:pt>
    <dgm:pt modelId="{5F8E104B-C894-4B04-94C9-40669DFFD531}">
      <dgm:prSet phldrT="[Text]" custT="1"/>
      <dgm:spPr>
        <a:solidFill>
          <a:srgbClr val="F2F2F2">
            <a:alpha val="90000"/>
          </a:srgbClr>
        </a:solidFill>
        <a:ln w="25400" cap="flat" cmpd="sng" algn="ctr">
          <a:noFill/>
          <a:prstDash val="solid"/>
        </a:ln>
        <a:effectLst/>
      </dgm:spPr>
      <dgm:t>
        <a:bodyPr spcFirstLastPara="0" vert="horz" wrap="square" lIns="91440" tIns="45720" rIns="91440" bIns="45720" numCol="1" spcCol="1270" anchor="ctr" anchorCtr="0"/>
        <a:lstStyle/>
        <a:p>
          <a:pPr marL="114300" lvl="1" indent="-114300" algn="just" defTabSz="622300">
            <a:lnSpc>
              <a:spcPct val="90000"/>
            </a:lnSpc>
            <a:spcBef>
              <a:spcPts val="0"/>
            </a:spcBef>
            <a:spcAft>
              <a:spcPts val="600"/>
            </a:spcAft>
            <a:buChar char="•"/>
          </a:pPr>
          <a:r>
            <a:rPr lang="en-US" sz="1400" b="0" kern="1200" dirty="0">
              <a:solidFill>
                <a:srgbClr val="024DA1"/>
              </a:solidFill>
              <a:latin typeface="Arial" panose="020B0604020202020204" pitchFamily="34" charset="0"/>
              <a:ea typeface="+mn-ea"/>
              <a:cs typeface="Arial" panose="020B0604020202020204" pitchFamily="34" charset="0"/>
            </a:rPr>
            <a:t>On a </a:t>
          </a:r>
          <a:r>
            <a:rPr lang="en-US" sz="1400" b="1" kern="1200" dirty="0">
              <a:solidFill>
                <a:srgbClr val="024DA1"/>
              </a:solidFill>
              <a:latin typeface="Arial" panose="020B0604020202020204" pitchFamily="34" charset="0"/>
              <a:ea typeface="+mn-ea"/>
              <a:cs typeface="Arial" panose="020B0604020202020204" pitchFamily="34" charset="0"/>
            </a:rPr>
            <a:t>case-by-case basis</a:t>
          </a:r>
        </a:p>
      </dgm:t>
    </dgm:pt>
    <dgm:pt modelId="{8063EEED-5148-4873-AC64-2181E6217A7D}" type="parTrans" cxnId="{CE0EA7ED-61CB-46A8-8252-46D90D68CEE8}">
      <dgm:prSet/>
      <dgm:spPr/>
      <dgm:t>
        <a:bodyPr/>
        <a:lstStyle/>
        <a:p>
          <a:endParaRPr lang="en-US"/>
        </a:p>
      </dgm:t>
    </dgm:pt>
    <dgm:pt modelId="{9A6FDB5C-42BE-44A2-B10D-827ABD8741D6}" type="sibTrans" cxnId="{CE0EA7ED-61CB-46A8-8252-46D90D68CEE8}">
      <dgm:prSet/>
      <dgm:spPr/>
      <dgm:t>
        <a:bodyPr/>
        <a:lstStyle/>
        <a:p>
          <a:endParaRPr lang="en-US"/>
        </a:p>
      </dgm:t>
    </dgm:pt>
    <dgm:pt modelId="{C6896116-4BB2-4B27-A5A4-B2625DD048D9}">
      <dgm:prSet custT="1"/>
      <dgm:spPr>
        <a:solidFill>
          <a:srgbClr val="F2F2F2">
            <a:alpha val="90000"/>
          </a:srgbClr>
        </a:solidFill>
        <a:ln>
          <a:noFill/>
        </a:ln>
      </dgm:spPr>
      <dgm:t>
        <a:bodyPr/>
        <a:lstStyle/>
        <a:p>
          <a:pPr algn="just">
            <a:spcAft>
              <a:spcPts val="600"/>
            </a:spcAft>
          </a:pPr>
          <a:r>
            <a:rPr lang="en-GB" altLang="de-DE" sz="1400" kern="1200" dirty="0">
              <a:solidFill>
                <a:srgbClr val="024DA1"/>
              </a:solidFill>
              <a:latin typeface="Arial" panose="020B0604020202020204" pitchFamily="34" charset="0"/>
              <a:cs typeface="Arial" panose="020B0604020202020204" pitchFamily="34" charset="0"/>
            </a:rPr>
            <a:t>Examples understood in the same way as a </a:t>
          </a:r>
          <a:r>
            <a:rPr lang="en-GB" altLang="de-DE" sz="1400" b="1" kern="1200" dirty="0">
              <a:solidFill>
                <a:srgbClr val="024DA1"/>
              </a:solidFill>
              <a:latin typeface="Arial" panose="020B0604020202020204" pitchFamily="34" charset="0"/>
              <a:cs typeface="Arial" panose="020B0604020202020204" pitchFamily="34" charset="0"/>
            </a:rPr>
            <a:t>native English speaker</a:t>
          </a:r>
          <a:endParaRPr lang="en-US" sz="1400" b="1" kern="1200" dirty="0">
            <a:solidFill>
              <a:srgbClr val="183D8C"/>
            </a:solidFill>
            <a:latin typeface="Arial" panose="020B0604020202020204" pitchFamily="34" charset="0"/>
            <a:cs typeface="Arial" panose="020B0604020202020204" pitchFamily="34" charset="0"/>
          </a:endParaRPr>
        </a:p>
      </dgm:t>
    </dgm:pt>
    <dgm:pt modelId="{85283A4F-D809-43BF-B216-EEAD8621E586}" type="parTrans" cxnId="{130B030A-C9CA-4BF0-BD11-C8118B5AD195}">
      <dgm:prSet/>
      <dgm:spPr/>
      <dgm:t>
        <a:bodyPr/>
        <a:lstStyle/>
        <a:p>
          <a:endParaRPr lang="en-US"/>
        </a:p>
      </dgm:t>
    </dgm:pt>
    <dgm:pt modelId="{0C0B1C68-4150-4051-87DF-CC6524B8BA6E}" type="sibTrans" cxnId="{130B030A-C9CA-4BF0-BD11-C8118B5AD195}">
      <dgm:prSet/>
      <dgm:spPr/>
      <dgm:t>
        <a:bodyPr/>
        <a:lstStyle/>
        <a:p>
          <a:endParaRPr lang="en-US"/>
        </a:p>
      </dgm:t>
    </dgm:pt>
    <dgm:pt modelId="{81C951F3-2EB5-427C-ADAA-81AFB1F3FD87}">
      <dgm:prSet custT="1"/>
      <dgm:spPr>
        <a:solidFill>
          <a:srgbClr val="F2F2F2">
            <a:alpha val="90000"/>
          </a:srgbClr>
        </a:solidFill>
        <a:ln w="25400" cap="flat" cmpd="sng" algn="ctr">
          <a:noFill/>
          <a:prstDash val="solid"/>
        </a:ln>
        <a:effectLst/>
      </dgm:spPr>
      <dgm:t>
        <a:bodyPr spcFirstLastPara="0" vert="horz" wrap="square" lIns="91440" tIns="45720" rIns="91440" bIns="45720" numCol="1" spcCol="1270" anchor="ctr" anchorCtr="0"/>
        <a:lstStyle/>
        <a:p>
          <a:pPr marL="114300" lvl="1" indent="-114300" algn="just" defTabSz="622300">
            <a:lnSpc>
              <a:spcPct val="90000"/>
            </a:lnSpc>
            <a:spcBef>
              <a:spcPts val="0"/>
            </a:spcBef>
            <a:spcAft>
              <a:spcPts val="600"/>
            </a:spcAft>
            <a:buChar char="•"/>
          </a:pPr>
          <a:r>
            <a:rPr lang="en-US" sz="1400" b="0" kern="1200" dirty="0">
              <a:solidFill>
                <a:srgbClr val="024DA1"/>
              </a:solidFill>
              <a:latin typeface="Arial" panose="020B0604020202020204" pitchFamily="34" charset="0"/>
              <a:ea typeface="+mn-ea"/>
              <a:cs typeface="Arial" panose="020B0604020202020204" pitchFamily="34" charset="0"/>
            </a:rPr>
            <a:t>Considering </a:t>
          </a:r>
          <a:r>
            <a:rPr lang="en-US" sz="1400" b="1" kern="1200" dirty="0">
              <a:solidFill>
                <a:srgbClr val="024DA1"/>
              </a:solidFill>
              <a:latin typeface="Arial" panose="020B0604020202020204" pitchFamily="34" charset="0"/>
              <a:ea typeface="+mn-ea"/>
              <a:cs typeface="Arial" panose="020B0604020202020204" pitchFamily="34" charset="0"/>
            </a:rPr>
            <a:t>all the circumstances </a:t>
          </a:r>
          <a:r>
            <a:rPr lang="en-US" sz="1400" b="0" kern="1200" dirty="0">
              <a:solidFill>
                <a:srgbClr val="024DA1"/>
              </a:solidFill>
              <a:latin typeface="Arial" panose="020B0604020202020204" pitchFamily="34" charset="0"/>
              <a:ea typeface="+mn-ea"/>
              <a:cs typeface="Arial" panose="020B0604020202020204" pitchFamily="34" charset="0"/>
            </a:rPr>
            <a:t>specific to the </a:t>
          </a:r>
          <a:r>
            <a:rPr lang="en-US" sz="1400" b="1" kern="1200" dirty="0">
              <a:solidFill>
                <a:srgbClr val="024DA1"/>
              </a:solidFill>
              <a:latin typeface="Arial" panose="020B0604020202020204" pitchFamily="34" charset="0"/>
              <a:ea typeface="+mn-ea"/>
              <a:cs typeface="Arial" panose="020B0604020202020204" pitchFamily="34" charset="0"/>
            </a:rPr>
            <a:t>MS</a:t>
          </a:r>
          <a:r>
            <a:rPr lang="en-US" sz="1400" b="0" kern="1200" dirty="0">
              <a:solidFill>
                <a:srgbClr val="024DA1"/>
              </a:solidFill>
              <a:latin typeface="Arial" panose="020B0604020202020204" pitchFamily="34" charset="0"/>
              <a:ea typeface="+mn-ea"/>
              <a:cs typeface="Arial" panose="020B0604020202020204" pitchFamily="34" charset="0"/>
            </a:rPr>
            <a:t> </a:t>
          </a:r>
          <a:r>
            <a:rPr lang="en-GB" sz="1400" b="0" kern="1200" dirty="0">
              <a:solidFill>
                <a:srgbClr val="024DA1"/>
              </a:solidFill>
              <a:latin typeface="Arial" panose="020B0604020202020204" pitchFamily="34" charset="0"/>
              <a:ea typeface="+mn-ea"/>
              <a:cs typeface="Arial" panose="020B0604020202020204" pitchFamily="34" charset="0"/>
            </a:rPr>
            <a:t>and the </a:t>
          </a:r>
          <a:r>
            <a:rPr lang="en-GB" sz="1400" b="1" kern="1200" dirty="0">
              <a:solidFill>
                <a:srgbClr val="024DA1"/>
              </a:solidFill>
              <a:latin typeface="Arial" panose="020B0604020202020204" pitchFamily="34" charset="0"/>
              <a:ea typeface="+mn-ea"/>
              <a:cs typeface="Arial" panose="020B0604020202020204" pitchFamily="34" charset="0"/>
            </a:rPr>
            <a:t>particular case</a:t>
          </a:r>
          <a:endParaRPr lang="en-US" sz="1400" b="1" kern="1200" dirty="0">
            <a:solidFill>
              <a:srgbClr val="024DA1"/>
            </a:solidFill>
            <a:latin typeface="Arial" panose="020B0604020202020204" pitchFamily="34" charset="0"/>
            <a:ea typeface="+mn-ea"/>
            <a:cs typeface="Arial" panose="020B0604020202020204" pitchFamily="34" charset="0"/>
          </a:endParaRPr>
        </a:p>
      </dgm:t>
    </dgm:pt>
    <dgm:pt modelId="{B86D8DBD-5B43-4361-A32B-5A2E12FC2585}" type="parTrans" cxnId="{DEAD30FB-464B-449E-9E86-8E7E6D7204D5}">
      <dgm:prSet/>
      <dgm:spPr/>
      <dgm:t>
        <a:bodyPr/>
        <a:lstStyle/>
        <a:p>
          <a:endParaRPr lang="en-US"/>
        </a:p>
      </dgm:t>
    </dgm:pt>
    <dgm:pt modelId="{474782E2-15A7-4786-9E47-34C66288D6E3}" type="sibTrans" cxnId="{DEAD30FB-464B-449E-9E86-8E7E6D7204D5}">
      <dgm:prSet/>
      <dgm:spPr/>
      <dgm:t>
        <a:bodyPr/>
        <a:lstStyle/>
        <a:p>
          <a:endParaRPr lang="en-US"/>
        </a:p>
      </dgm:t>
    </dgm:pt>
    <dgm:pt modelId="{7375E488-020A-4467-A727-DD27F2D7E3C2}">
      <dgm:prSet phldrT="[Text]" custT="1"/>
      <dgm:spPr>
        <a:solidFill>
          <a:srgbClr val="F2F2F2">
            <a:alpha val="90000"/>
          </a:srgbClr>
        </a:solidFill>
        <a:ln w="25400" cap="flat" cmpd="sng" algn="ctr">
          <a:noFill/>
          <a:prstDash val="solid"/>
        </a:ln>
        <a:effectLst/>
      </dgm:spPr>
      <dgm:t>
        <a:bodyPr/>
        <a:lstStyle/>
        <a:p>
          <a:pPr marL="114300" lvl="1" indent="-114300" algn="just" defTabSz="622300">
            <a:lnSpc>
              <a:spcPct val="90000"/>
            </a:lnSpc>
            <a:spcBef>
              <a:spcPts val="0"/>
            </a:spcBef>
            <a:spcAft>
              <a:spcPts val="600"/>
            </a:spcAft>
          </a:pPr>
          <a:r>
            <a:rPr lang="en-GB" sz="1400" b="0" kern="1200">
              <a:solidFill>
                <a:srgbClr val="024DA1"/>
              </a:solidFill>
              <a:latin typeface="Arial" panose="020B0604020202020204" pitchFamily="34" charset="0"/>
              <a:ea typeface="+mn-ea"/>
              <a:cs typeface="Arial" panose="020B0604020202020204" pitchFamily="34" charset="0"/>
            </a:rPr>
            <a:t>Considering </a:t>
          </a:r>
          <a:r>
            <a:rPr lang="en-IE" sz="1400" b="0" kern="1200">
              <a:solidFill>
                <a:srgbClr val="024DA1"/>
              </a:solidFill>
              <a:latin typeface="Arial" panose="020B0604020202020204" pitchFamily="34" charset="0"/>
              <a:ea typeface="+mn-ea"/>
              <a:cs typeface="Arial" panose="020B0604020202020204" pitchFamily="34" charset="0"/>
            </a:rPr>
            <a:t>the </a:t>
          </a:r>
          <a:r>
            <a:rPr lang="en-IE" sz="1400" b="1" kern="1200">
              <a:solidFill>
                <a:srgbClr val="024DA1"/>
              </a:solidFill>
              <a:latin typeface="Arial" panose="020B0604020202020204" pitchFamily="34" charset="0"/>
              <a:ea typeface="+mn-ea"/>
              <a:cs typeface="Arial" panose="020B0604020202020204" pitchFamily="34" charset="0"/>
            </a:rPr>
            <a:t>normal level of sensitivity and tolerance </a:t>
          </a:r>
          <a:r>
            <a:rPr lang="en-IE" sz="1400" b="0" kern="1200">
              <a:solidFill>
                <a:srgbClr val="024DA1"/>
              </a:solidFill>
              <a:latin typeface="Arial" panose="020B0604020202020204" pitchFamily="34" charset="0"/>
              <a:ea typeface="+mn-ea"/>
              <a:cs typeface="Arial" panose="020B0604020202020204" pitchFamily="34" charset="0"/>
            </a:rPr>
            <a:t>of the relevant public in the jurisdiction concerned </a:t>
          </a:r>
          <a:endParaRPr lang="en-US" sz="1400" b="0" kern="1200">
            <a:solidFill>
              <a:srgbClr val="024DA1"/>
            </a:solidFill>
            <a:latin typeface="Arial" panose="020B0604020202020204" pitchFamily="34" charset="0"/>
            <a:ea typeface="+mn-ea"/>
            <a:cs typeface="Arial" panose="020B0604020202020204" pitchFamily="34" charset="0"/>
          </a:endParaRPr>
        </a:p>
      </dgm:t>
    </dgm:pt>
    <dgm:pt modelId="{4279028C-5A9B-4198-9C2D-B69ABAF0048D}" type="parTrans" cxnId="{E97E3353-6965-4412-8701-7760E6CBD4B3}">
      <dgm:prSet/>
      <dgm:spPr/>
      <dgm:t>
        <a:bodyPr/>
        <a:lstStyle/>
        <a:p>
          <a:endParaRPr lang="en-US"/>
        </a:p>
      </dgm:t>
    </dgm:pt>
    <dgm:pt modelId="{DB69B74E-3213-4EEA-8489-B9B69EC89D5B}" type="sibTrans" cxnId="{E97E3353-6965-4412-8701-7760E6CBD4B3}">
      <dgm:prSet/>
      <dgm:spPr/>
      <dgm:t>
        <a:bodyPr/>
        <a:lstStyle/>
        <a:p>
          <a:endParaRPr lang="en-US"/>
        </a:p>
      </dgm:t>
    </dgm:pt>
    <dgm:pt modelId="{8882338A-F938-4023-9172-714171D98320}">
      <dgm:prSet custT="1"/>
      <dgm:spPr>
        <a:solidFill>
          <a:srgbClr val="F2F2F2">
            <a:alpha val="90000"/>
          </a:srgbClr>
        </a:solidFill>
        <a:ln w="25400" cap="flat" cmpd="sng" algn="ctr">
          <a:noFill/>
          <a:prstDash val="solid"/>
        </a:ln>
        <a:effectLst/>
      </dgm:spPr>
      <dgm:t>
        <a:bodyPr spcFirstLastPara="0" vert="horz" wrap="square" lIns="91440" tIns="45720" rIns="91440" bIns="45720" numCol="1" spcCol="1270" anchor="ctr" anchorCtr="0"/>
        <a:lstStyle/>
        <a:p>
          <a:pPr marL="114300" lvl="1" indent="-114300" algn="just" defTabSz="622300">
            <a:lnSpc>
              <a:spcPct val="90000"/>
            </a:lnSpc>
            <a:spcBef>
              <a:spcPts val="0"/>
            </a:spcBef>
            <a:spcAft>
              <a:spcPts val="600"/>
            </a:spcAft>
            <a:buChar char="•"/>
          </a:pPr>
          <a:r>
            <a:rPr lang="es-ES" sz="1400" b="0" kern="1200" dirty="0" err="1">
              <a:solidFill>
                <a:srgbClr val="024DA1"/>
              </a:solidFill>
              <a:latin typeface="Arial" panose="020B0604020202020204" pitchFamily="34" charset="0"/>
              <a:ea typeface="+mn-ea"/>
              <a:cs typeface="Arial" panose="020B0604020202020204" pitchFamily="34" charset="0"/>
            </a:rPr>
            <a:t>Bearing</a:t>
          </a:r>
          <a:r>
            <a:rPr lang="es-ES" sz="1400" b="0" kern="1200" dirty="0">
              <a:solidFill>
                <a:srgbClr val="024DA1"/>
              </a:solidFill>
              <a:latin typeface="Arial" panose="020B0604020202020204" pitchFamily="34" charset="0"/>
              <a:ea typeface="+mn-ea"/>
              <a:cs typeface="Arial" panose="020B0604020202020204" pitchFamily="34" charset="0"/>
            </a:rPr>
            <a:t> in </a:t>
          </a:r>
          <a:r>
            <a:rPr lang="es-ES" sz="1400" b="0" kern="1200" dirty="0" err="1">
              <a:solidFill>
                <a:srgbClr val="024DA1"/>
              </a:solidFill>
              <a:latin typeface="Arial" panose="020B0604020202020204" pitchFamily="34" charset="0"/>
              <a:ea typeface="+mn-ea"/>
              <a:cs typeface="Arial" panose="020B0604020202020204" pitchFamily="34" charset="0"/>
            </a:rPr>
            <a:t>mind</a:t>
          </a:r>
          <a:r>
            <a:rPr lang="es-ES" sz="1400" b="0" kern="1200" dirty="0">
              <a:solidFill>
                <a:srgbClr val="024DA1"/>
              </a:solidFill>
              <a:latin typeface="Arial" panose="020B0604020202020204" pitchFamily="34" charset="0"/>
              <a:ea typeface="+mn-ea"/>
              <a:cs typeface="Arial" panose="020B0604020202020204" pitchFamily="34" charset="0"/>
            </a:rPr>
            <a:t> </a:t>
          </a:r>
          <a:r>
            <a:rPr lang="es-ES" sz="1400" b="0" kern="1200" dirty="0" err="1">
              <a:solidFill>
                <a:srgbClr val="024DA1"/>
              </a:solidFill>
              <a:latin typeface="Arial" panose="020B0604020202020204" pitchFamily="34" charset="0"/>
              <a:ea typeface="+mn-ea"/>
              <a:cs typeface="Arial" panose="020B0604020202020204" pitchFamily="34" charset="0"/>
            </a:rPr>
            <a:t>the</a:t>
          </a:r>
          <a:r>
            <a:rPr lang="es-ES" sz="1400" b="0" kern="1200" dirty="0">
              <a:solidFill>
                <a:srgbClr val="024DA1"/>
              </a:solidFill>
              <a:latin typeface="Arial" panose="020B0604020202020204" pitchFamily="34" charset="0"/>
              <a:ea typeface="+mn-ea"/>
              <a:cs typeface="Arial" panose="020B0604020202020204" pitchFamily="34" charset="0"/>
            </a:rPr>
            <a:t> ‘</a:t>
          </a:r>
          <a:r>
            <a:rPr lang="es-ES" sz="1400" b="1" kern="1200" dirty="0">
              <a:solidFill>
                <a:srgbClr val="024DA1"/>
              </a:solidFill>
              <a:latin typeface="Arial" panose="020B0604020202020204" pitchFamily="34" charset="0"/>
              <a:ea typeface="+mn-ea"/>
              <a:cs typeface="Arial" panose="020B0604020202020204" pitchFamily="34" charset="0"/>
            </a:rPr>
            <a:t>General </a:t>
          </a:r>
          <a:r>
            <a:rPr lang="es-ES" sz="1400" b="1" kern="1200" dirty="0" err="1">
              <a:solidFill>
                <a:srgbClr val="024DA1"/>
              </a:solidFill>
              <a:latin typeface="Arial" panose="020B0604020202020204" pitchFamily="34" charset="0"/>
              <a:ea typeface="+mn-ea"/>
              <a:cs typeface="Arial" panose="020B0604020202020204" pitchFamily="34" charset="0"/>
            </a:rPr>
            <a:t>Considerations</a:t>
          </a:r>
          <a:r>
            <a:rPr lang="es-ES" sz="1400" b="1" kern="1200" dirty="0">
              <a:solidFill>
                <a:srgbClr val="024DA1"/>
              </a:solidFill>
              <a:latin typeface="Arial" panose="020B0604020202020204" pitchFamily="34" charset="0"/>
              <a:ea typeface="+mn-ea"/>
              <a:cs typeface="Arial" panose="020B0604020202020204" pitchFamily="34" charset="0"/>
            </a:rPr>
            <a:t>’</a:t>
          </a:r>
          <a:endParaRPr lang="en-US" sz="1400" b="1" kern="1200" dirty="0">
            <a:solidFill>
              <a:srgbClr val="024DA1"/>
            </a:solidFill>
            <a:latin typeface="Arial" panose="020B0604020202020204" pitchFamily="34" charset="0"/>
            <a:ea typeface="+mn-ea"/>
            <a:cs typeface="Arial" panose="020B0604020202020204" pitchFamily="34" charset="0"/>
          </a:endParaRPr>
        </a:p>
      </dgm:t>
    </dgm:pt>
    <dgm:pt modelId="{2A8BEE1D-5E28-437A-BBCB-CF287BD3C59F}" type="parTrans" cxnId="{AE5C3D29-2BE3-45E7-AA44-96B9AF263270}">
      <dgm:prSet/>
      <dgm:spPr/>
      <dgm:t>
        <a:bodyPr/>
        <a:lstStyle/>
        <a:p>
          <a:endParaRPr lang="en-US"/>
        </a:p>
      </dgm:t>
    </dgm:pt>
    <dgm:pt modelId="{F636F955-9C12-4F6E-B54E-68CE0B9AC1D9}" type="sibTrans" cxnId="{AE5C3D29-2BE3-45E7-AA44-96B9AF263270}">
      <dgm:prSet/>
      <dgm:spPr/>
      <dgm:t>
        <a:bodyPr/>
        <a:lstStyle/>
        <a:p>
          <a:endParaRPr lang="en-US"/>
        </a:p>
      </dgm:t>
    </dgm:pt>
    <dgm:pt modelId="{FAA26BF1-8F36-4392-8C90-EA4A6E7B5884}">
      <dgm:prSet phldrT="[Text]" custT="1"/>
      <dgm:spPr>
        <a:solidFill>
          <a:srgbClr val="F2F2F2">
            <a:alpha val="90000"/>
          </a:srgbClr>
        </a:solidFill>
        <a:ln>
          <a:noFill/>
        </a:ln>
      </dgm:spPr>
      <dgm:t>
        <a:bodyPr/>
        <a:lstStyle/>
        <a:p>
          <a:pPr algn="just">
            <a:spcAft>
              <a:spcPts val="600"/>
            </a:spcAft>
          </a:pPr>
          <a:r>
            <a:rPr lang="en-US" sz="1400" b="1" kern="1200" dirty="0">
              <a:solidFill>
                <a:srgbClr val="024DA1"/>
              </a:solidFill>
              <a:latin typeface="Arial" panose="020B0604020202020204" pitchFamily="34" charset="0"/>
              <a:ea typeface="+mn-ea"/>
              <a:cs typeface="Arial" panose="020B0604020202020204" pitchFamily="34" charset="0"/>
            </a:rPr>
            <a:t>Illustrative</a:t>
          </a:r>
          <a:r>
            <a:rPr lang="en-US" sz="1400" b="1" kern="1200" dirty="0">
              <a:solidFill>
                <a:srgbClr val="024DA1"/>
              </a:solidFill>
              <a:latin typeface="Arial" panose="020B0604020202020204" pitchFamily="34" charset="0"/>
              <a:cs typeface="Arial" panose="020B0604020202020204" pitchFamily="34" charset="0"/>
            </a:rPr>
            <a:t> </a:t>
          </a:r>
          <a:r>
            <a:rPr lang="en-US" sz="1400" b="0" kern="1200" dirty="0">
              <a:solidFill>
                <a:srgbClr val="024DA1"/>
              </a:solidFill>
              <a:latin typeface="Arial" panose="020B0604020202020204" pitchFamily="34" charset="0"/>
              <a:cs typeface="Arial" panose="020B0604020202020204" pitchFamily="34" charset="0"/>
            </a:rPr>
            <a:t>examples for the purpose of Article 4(1)(f) TMD</a:t>
          </a:r>
          <a:endParaRPr lang="en-US" sz="1400" b="1" strike="sngStrike" kern="1200" dirty="0">
            <a:solidFill>
              <a:srgbClr val="024DA1"/>
            </a:solidFill>
            <a:latin typeface="Arial" panose="020B0604020202020204" pitchFamily="34" charset="0"/>
            <a:cs typeface="Arial" panose="020B0604020202020204" pitchFamily="34" charset="0"/>
          </a:endParaRPr>
        </a:p>
      </dgm:t>
    </dgm:pt>
    <dgm:pt modelId="{94F19CEF-45AA-41DE-8B44-7B83C719879D}" type="parTrans" cxnId="{5E664F8A-A5B8-4B8B-9C0F-94C9315369DD}">
      <dgm:prSet/>
      <dgm:spPr/>
      <dgm:t>
        <a:bodyPr/>
        <a:lstStyle/>
        <a:p>
          <a:endParaRPr lang="en-US"/>
        </a:p>
      </dgm:t>
    </dgm:pt>
    <dgm:pt modelId="{0F91B029-22AA-4909-9E1E-FE717B55E01B}" type="sibTrans" cxnId="{5E664F8A-A5B8-4B8B-9C0F-94C9315369DD}">
      <dgm:prSet/>
      <dgm:spPr/>
      <dgm:t>
        <a:bodyPr/>
        <a:lstStyle/>
        <a:p>
          <a:endParaRPr lang="en-US"/>
        </a:p>
      </dgm:t>
    </dgm:pt>
    <dgm:pt modelId="{5DA57143-7D73-4893-B06B-A7A8AEC59BBF}" type="pres">
      <dgm:prSet presAssocID="{48347195-7F19-4135-A274-A4F8F683EFBA}" presName="Name0" presStyleCnt="0">
        <dgm:presLayoutVars>
          <dgm:dir/>
          <dgm:animLvl val="lvl"/>
          <dgm:resizeHandles val="exact"/>
        </dgm:presLayoutVars>
      </dgm:prSet>
      <dgm:spPr/>
    </dgm:pt>
    <dgm:pt modelId="{4430AE7A-5FDD-4806-9755-7522B6AC7310}" type="pres">
      <dgm:prSet presAssocID="{49F3E023-D0F1-43DA-AE14-94A4E746F84F}" presName="linNode" presStyleCnt="0"/>
      <dgm:spPr/>
    </dgm:pt>
    <dgm:pt modelId="{7A7FF1C5-FFD5-4DA7-BFF0-ABBFFFCF5316}" type="pres">
      <dgm:prSet presAssocID="{49F3E023-D0F1-43DA-AE14-94A4E746F84F}" presName="parentText" presStyleLbl="node1" presStyleIdx="0" presStyleCnt="2" custScaleY="30760" custLinFactNeighborY="-6567">
        <dgm:presLayoutVars>
          <dgm:chMax val="1"/>
          <dgm:bulletEnabled val="1"/>
        </dgm:presLayoutVars>
      </dgm:prSet>
      <dgm:spPr/>
    </dgm:pt>
    <dgm:pt modelId="{9CD17000-A9CB-4668-89E1-95BF2AFD2304}" type="pres">
      <dgm:prSet presAssocID="{49F3E023-D0F1-43DA-AE14-94A4E746F84F}" presName="descendantText" presStyleLbl="alignAccFollowNode1" presStyleIdx="0" presStyleCnt="2" custScaleX="101821" custScaleY="52059" custLinFactNeighborX="-1904" custLinFactNeighborY="-8217">
        <dgm:presLayoutVars>
          <dgm:bulletEnabled val="1"/>
        </dgm:presLayoutVars>
      </dgm:prSet>
      <dgm:spPr/>
    </dgm:pt>
    <dgm:pt modelId="{5C0230ED-AFC7-48E9-98A5-9AC29BBF4283}" type="pres">
      <dgm:prSet presAssocID="{9E417B18-AC8F-488B-A01B-F4B933B1D54D}" presName="sp" presStyleCnt="0"/>
      <dgm:spPr/>
    </dgm:pt>
    <dgm:pt modelId="{C070B377-9A2A-4443-A9EB-DAFF87966FB1}" type="pres">
      <dgm:prSet presAssocID="{C89AED02-ECED-4626-B4BA-16A357D84BD8}" presName="linNode" presStyleCnt="0"/>
      <dgm:spPr/>
    </dgm:pt>
    <dgm:pt modelId="{C1C10840-F2A6-4001-900C-A26CF96EAB23}" type="pres">
      <dgm:prSet presAssocID="{C89AED02-ECED-4626-B4BA-16A357D84BD8}" presName="parentText" presStyleLbl="node1" presStyleIdx="1" presStyleCnt="2" custScaleX="121166" custScaleY="33173" custLinFactNeighborX="-19" custLinFactNeighborY="4620">
        <dgm:presLayoutVars>
          <dgm:chMax val="1"/>
          <dgm:bulletEnabled val="1"/>
        </dgm:presLayoutVars>
      </dgm:prSet>
      <dgm:spPr>
        <a:xfrm>
          <a:off x="0" y="1119966"/>
          <a:ext cx="2867752" cy="2285742"/>
        </a:xfrm>
        <a:prstGeom prst="roundRect">
          <a:avLst/>
        </a:prstGeom>
      </dgm:spPr>
    </dgm:pt>
    <dgm:pt modelId="{9E50AC44-5296-4F41-AED8-FDA312BCB183}" type="pres">
      <dgm:prSet presAssocID="{C89AED02-ECED-4626-B4BA-16A357D84BD8}" presName="descendantText" presStyleLbl="alignAccFollowNode1" presStyleIdx="1" presStyleCnt="2" custScaleX="125485" custScaleY="56167" custLinFactNeighborX="2153" custLinFactNeighborY="3644">
        <dgm:presLayoutVars>
          <dgm:bulletEnabled val="1"/>
        </dgm:presLayoutVars>
      </dgm:prSet>
      <dgm:spPr>
        <a:xfrm rot="5400000">
          <a:off x="4502568" y="-286275"/>
          <a:ext cx="1828593" cy="5098226"/>
        </a:xfrm>
        <a:prstGeom prst="round2SameRect">
          <a:avLst/>
        </a:prstGeom>
      </dgm:spPr>
    </dgm:pt>
  </dgm:ptLst>
  <dgm:cxnLst>
    <dgm:cxn modelId="{130B030A-C9CA-4BF0-BD11-C8118B5AD195}" srcId="{49F3E023-D0F1-43DA-AE14-94A4E746F84F}" destId="{C6896116-4BB2-4B27-A5A4-B2625DD048D9}" srcOrd="2" destOrd="0" parTransId="{85283A4F-D809-43BF-B216-EEAD8621E586}" sibTransId="{0C0B1C68-4150-4051-87DF-CC6524B8BA6E}"/>
    <dgm:cxn modelId="{42D9881B-A54E-49E6-8E1D-303A30BCF3EA}" type="presOf" srcId="{5F8E104B-C894-4B04-94C9-40669DFFD531}" destId="{9E50AC44-5296-4F41-AED8-FDA312BCB183}" srcOrd="0" destOrd="0" presId="urn:microsoft.com/office/officeart/2005/8/layout/vList5"/>
    <dgm:cxn modelId="{AE5C3D29-2BE3-45E7-AA44-96B9AF263270}" srcId="{C89AED02-ECED-4626-B4BA-16A357D84BD8}" destId="{8882338A-F938-4023-9172-714171D98320}" srcOrd="3" destOrd="0" parTransId="{2A8BEE1D-5E28-437A-BBCB-CF287BD3C59F}" sibTransId="{F636F955-9C12-4F6E-B54E-68CE0B9AC1D9}"/>
    <dgm:cxn modelId="{8172854D-76FF-47F5-8B2B-A2C9CD3403BD}" srcId="{48347195-7F19-4135-A274-A4F8F683EFBA}" destId="{C89AED02-ECED-4626-B4BA-16A357D84BD8}" srcOrd="1" destOrd="0" parTransId="{4281BDF9-4327-45AC-BFF1-6721C97A6731}" sibTransId="{869A4A7E-5E4C-4367-9919-5A42B0627BFD}"/>
    <dgm:cxn modelId="{E97E3353-6965-4412-8701-7760E6CBD4B3}" srcId="{C89AED02-ECED-4626-B4BA-16A357D84BD8}" destId="{7375E488-020A-4467-A727-DD27F2D7E3C2}" srcOrd="1" destOrd="0" parTransId="{4279028C-5A9B-4198-9C2D-B69ABAF0048D}" sibTransId="{DB69B74E-3213-4EEA-8489-B9B69EC89D5B}"/>
    <dgm:cxn modelId="{7D1C6179-7551-48B8-A9A1-99AB1A9DEB22}" type="presOf" srcId="{7375E488-020A-4467-A727-DD27F2D7E3C2}" destId="{9E50AC44-5296-4F41-AED8-FDA312BCB183}" srcOrd="0" destOrd="1" presId="urn:microsoft.com/office/officeart/2005/8/layout/vList5"/>
    <dgm:cxn modelId="{30FDC479-9D2C-4E13-B089-3892E1649A92}" type="presOf" srcId="{FAA26BF1-8F36-4392-8C90-EA4A6E7B5884}" destId="{9CD17000-A9CB-4668-89E1-95BF2AFD2304}" srcOrd="0" destOrd="1" presId="urn:microsoft.com/office/officeart/2005/8/layout/vList5"/>
    <dgm:cxn modelId="{5E664F8A-A5B8-4B8B-9C0F-94C9315369DD}" srcId="{49F3E023-D0F1-43DA-AE14-94A4E746F84F}" destId="{FAA26BF1-8F36-4392-8C90-EA4A6E7B5884}" srcOrd="1" destOrd="0" parTransId="{94F19CEF-45AA-41DE-8B44-7B83C719879D}" sibTransId="{0F91B029-22AA-4909-9E1E-FE717B55E01B}"/>
    <dgm:cxn modelId="{15EA3191-9ACA-4115-915F-FE26FDD83656}" type="presOf" srcId="{8882338A-F938-4023-9172-714171D98320}" destId="{9E50AC44-5296-4F41-AED8-FDA312BCB183}" srcOrd="0" destOrd="3" presId="urn:microsoft.com/office/officeart/2005/8/layout/vList5"/>
    <dgm:cxn modelId="{DD24C098-B809-42D7-985F-C13346ABCCD4}" type="presOf" srcId="{48347195-7F19-4135-A274-A4F8F683EFBA}" destId="{5DA57143-7D73-4893-B06B-A7A8AEC59BBF}" srcOrd="0" destOrd="0" presId="urn:microsoft.com/office/officeart/2005/8/layout/vList5"/>
    <dgm:cxn modelId="{15756CA3-B8F5-42AC-BCC6-D3B0A151F5C8}" srcId="{49F3E023-D0F1-43DA-AE14-94A4E746F84F}" destId="{75098BDD-E16E-446C-8D55-61B33CC47402}" srcOrd="0" destOrd="0" parTransId="{7AD948C7-47F6-4C96-B33E-8BF31F566CB0}" sibTransId="{3AC1AD73-B8BB-424E-9A65-C9731AD0062E}"/>
    <dgm:cxn modelId="{7882EDB3-9B16-4F53-8DFC-59BB76467E99}" type="presOf" srcId="{C6896116-4BB2-4B27-A5A4-B2625DD048D9}" destId="{9CD17000-A9CB-4668-89E1-95BF2AFD2304}" srcOrd="0" destOrd="2" presId="urn:microsoft.com/office/officeart/2005/8/layout/vList5"/>
    <dgm:cxn modelId="{DE4630BA-EEE9-4AC5-A451-6A29DAC09EDA}" type="presOf" srcId="{49F3E023-D0F1-43DA-AE14-94A4E746F84F}" destId="{7A7FF1C5-FFD5-4DA7-BFF0-ABBFFFCF5316}" srcOrd="0" destOrd="0" presId="urn:microsoft.com/office/officeart/2005/8/layout/vList5"/>
    <dgm:cxn modelId="{2FA9A2C6-023A-4968-B8AC-F8CE7D7ADC42}" type="presOf" srcId="{C89AED02-ECED-4626-B4BA-16A357D84BD8}" destId="{C1C10840-F2A6-4001-900C-A26CF96EAB23}" srcOrd="0" destOrd="0" presId="urn:microsoft.com/office/officeart/2005/8/layout/vList5"/>
    <dgm:cxn modelId="{2A8329EA-9107-4C81-9235-0BCB983637C5}" type="presOf" srcId="{81C951F3-2EB5-427C-ADAA-81AFB1F3FD87}" destId="{9E50AC44-5296-4F41-AED8-FDA312BCB183}" srcOrd="0" destOrd="2" presId="urn:microsoft.com/office/officeart/2005/8/layout/vList5"/>
    <dgm:cxn modelId="{CE0EA7ED-61CB-46A8-8252-46D90D68CEE8}" srcId="{C89AED02-ECED-4626-B4BA-16A357D84BD8}" destId="{5F8E104B-C894-4B04-94C9-40669DFFD531}" srcOrd="0" destOrd="0" parTransId="{8063EEED-5148-4873-AC64-2181E6217A7D}" sibTransId="{9A6FDB5C-42BE-44A2-B10D-827ABD8741D6}"/>
    <dgm:cxn modelId="{DEAD30FB-464B-449E-9E86-8E7E6D7204D5}" srcId="{C89AED02-ECED-4626-B4BA-16A357D84BD8}" destId="{81C951F3-2EB5-427C-ADAA-81AFB1F3FD87}" srcOrd="2" destOrd="0" parTransId="{B86D8DBD-5B43-4361-A32B-5A2E12FC2585}" sibTransId="{474782E2-15A7-4786-9E47-34C66288D6E3}"/>
    <dgm:cxn modelId="{5FA2FDFC-3CD9-4B83-86CC-1B7772541AB7}" type="presOf" srcId="{75098BDD-E16E-446C-8D55-61B33CC47402}" destId="{9CD17000-A9CB-4668-89E1-95BF2AFD2304}" srcOrd="0" destOrd="0" presId="urn:microsoft.com/office/officeart/2005/8/layout/vList5"/>
    <dgm:cxn modelId="{B689D6FE-4A92-4E8E-AF1C-846F1961C1F4}" srcId="{48347195-7F19-4135-A274-A4F8F683EFBA}" destId="{49F3E023-D0F1-43DA-AE14-94A4E746F84F}" srcOrd="0" destOrd="0" parTransId="{11E1402A-5FDD-4BFF-B913-924AD5A7A374}" sibTransId="{9E417B18-AC8F-488B-A01B-F4B933B1D54D}"/>
    <dgm:cxn modelId="{E7225944-02F8-49D6-8DFD-D5B3C94B96EE}" type="presParOf" srcId="{5DA57143-7D73-4893-B06B-A7A8AEC59BBF}" destId="{4430AE7A-5FDD-4806-9755-7522B6AC7310}" srcOrd="0" destOrd="0" presId="urn:microsoft.com/office/officeart/2005/8/layout/vList5"/>
    <dgm:cxn modelId="{BD864155-2170-4AA5-BACC-DAEF5A9DBBD0}" type="presParOf" srcId="{4430AE7A-5FDD-4806-9755-7522B6AC7310}" destId="{7A7FF1C5-FFD5-4DA7-BFF0-ABBFFFCF5316}" srcOrd="0" destOrd="0" presId="urn:microsoft.com/office/officeart/2005/8/layout/vList5"/>
    <dgm:cxn modelId="{88A655DF-8EE0-48EE-9461-6C4F6027F66A}" type="presParOf" srcId="{4430AE7A-5FDD-4806-9755-7522B6AC7310}" destId="{9CD17000-A9CB-4668-89E1-95BF2AFD2304}" srcOrd="1" destOrd="0" presId="urn:microsoft.com/office/officeart/2005/8/layout/vList5"/>
    <dgm:cxn modelId="{D25C46C4-E50B-40AA-A3B6-7909C542837F}" type="presParOf" srcId="{5DA57143-7D73-4893-B06B-A7A8AEC59BBF}" destId="{5C0230ED-AFC7-48E9-98A5-9AC29BBF4283}" srcOrd="1" destOrd="0" presId="urn:microsoft.com/office/officeart/2005/8/layout/vList5"/>
    <dgm:cxn modelId="{63DE7C5A-55D2-46EB-B1A4-F1E705720222}" type="presParOf" srcId="{5DA57143-7D73-4893-B06B-A7A8AEC59BBF}" destId="{C070B377-9A2A-4443-A9EB-DAFF87966FB1}" srcOrd="2" destOrd="0" presId="urn:microsoft.com/office/officeart/2005/8/layout/vList5"/>
    <dgm:cxn modelId="{4EDCC3C6-BFD4-4E10-82F2-C04AD738A67F}" type="presParOf" srcId="{C070B377-9A2A-4443-A9EB-DAFF87966FB1}" destId="{C1C10840-F2A6-4001-900C-A26CF96EAB23}" srcOrd="0" destOrd="0" presId="urn:microsoft.com/office/officeart/2005/8/layout/vList5"/>
    <dgm:cxn modelId="{C1D0EA81-3E89-46FD-993F-21588F448325}" type="presParOf" srcId="{C070B377-9A2A-4443-A9EB-DAFF87966FB1}" destId="{9E50AC44-5296-4F41-AED8-FDA312BCB183}" srcOrd="1" destOrd="0" presId="urn:microsoft.com/office/officeart/2005/8/layout/vList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60F162A-CF15-49CA-AA3D-F782E200A9C0}">
      <dsp:nvSpPr>
        <dsp:cNvPr id="0" name=""/>
        <dsp:cNvSpPr/>
      </dsp:nvSpPr>
      <dsp:spPr>
        <a:xfrm>
          <a:off x="1" y="0"/>
          <a:ext cx="5419963" cy="2568204"/>
        </a:xfrm>
        <a:prstGeom prst="rightArrow">
          <a:avLst/>
        </a:prstGeom>
        <a:solidFill>
          <a:schemeClr val="accent5"/>
        </a:solidFill>
        <a:ln w="12700">
          <a:noFill/>
        </a:ln>
        <a:effectLst/>
      </dsp:spPr>
      <dsp:style>
        <a:lnRef idx="0">
          <a:scrgbClr r="0" g="0" b="0"/>
        </a:lnRef>
        <a:fillRef idx="1">
          <a:scrgbClr r="0" g="0" b="0"/>
        </a:fillRef>
        <a:effectRef idx="0">
          <a:scrgbClr r="0" g="0" b="0"/>
        </a:effectRef>
        <a:fontRef idx="minor"/>
      </dsp:style>
    </dsp:sp>
    <dsp:sp modelId="{AFC4E9BF-9CC4-47DA-A5EB-3C2258FD9E5A}">
      <dsp:nvSpPr>
        <dsp:cNvPr id="0" name=""/>
        <dsp:cNvSpPr/>
      </dsp:nvSpPr>
      <dsp:spPr>
        <a:xfrm>
          <a:off x="389031" y="791304"/>
          <a:ext cx="1733265" cy="1037944"/>
        </a:xfrm>
        <a:prstGeom prst="roundRect">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ts val="600"/>
            </a:spcAft>
            <a:buNone/>
          </a:pPr>
          <a:r>
            <a:rPr lang="en-GB" sz="1200" b="1" kern="1200" dirty="0">
              <a:latin typeface="Arial" panose="020B0604020202020204" pitchFamily="34" charset="0"/>
              <a:cs typeface="Arial" panose="020B0604020202020204" pitchFamily="34" charset="0"/>
            </a:rPr>
            <a:t>Strategic Driver 1 </a:t>
          </a:r>
          <a:endParaRPr lang="es-ES" sz="1200" b="1" kern="1200" dirty="0">
            <a:latin typeface="Arial" panose="020B0604020202020204" pitchFamily="34" charset="0"/>
            <a:cs typeface="Arial" panose="020B0604020202020204" pitchFamily="34" charset="0"/>
          </a:endParaRPr>
        </a:p>
        <a:p>
          <a:pPr marL="0" lvl="0" indent="0" algn="ctr" defTabSz="533400">
            <a:lnSpc>
              <a:spcPct val="90000"/>
            </a:lnSpc>
            <a:spcBef>
              <a:spcPct val="0"/>
            </a:spcBef>
            <a:spcAft>
              <a:spcPts val="600"/>
            </a:spcAft>
            <a:buNone/>
          </a:pPr>
          <a:r>
            <a:rPr lang="en-GB" sz="1200" b="0" kern="1200" dirty="0">
              <a:latin typeface="Arial" panose="020B0604020202020204" pitchFamily="34" charset="0"/>
              <a:cs typeface="Arial" panose="020B0604020202020204" pitchFamily="34" charset="0"/>
            </a:rPr>
            <a:t>Interconnected, efficient and reliable IP system for the Internal Market</a:t>
          </a:r>
          <a:endParaRPr lang="en-US" sz="1200" b="0" kern="1200" dirty="0">
            <a:solidFill>
              <a:schemeClr val="bg1"/>
            </a:solidFill>
            <a:latin typeface="Arial" panose="020B0604020202020204" pitchFamily="34" charset="0"/>
            <a:cs typeface="Arial" panose="020B0604020202020204" pitchFamily="34" charset="0"/>
          </a:endParaRPr>
        </a:p>
      </dsp:txBody>
      <dsp:txXfrm>
        <a:off x="439699" y="841972"/>
        <a:ext cx="1631929" cy="936608"/>
      </dsp:txXfrm>
    </dsp:sp>
    <dsp:sp modelId="{05DCB1EC-2F50-45E7-ACF6-229767B6164A}">
      <dsp:nvSpPr>
        <dsp:cNvPr id="0" name=""/>
        <dsp:cNvSpPr/>
      </dsp:nvSpPr>
      <dsp:spPr>
        <a:xfrm>
          <a:off x="2146344" y="788541"/>
          <a:ext cx="1600937" cy="1027281"/>
        </a:xfrm>
        <a:prstGeom prst="roundRect">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ts val="600"/>
            </a:spcAft>
            <a:buNone/>
          </a:pPr>
          <a:r>
            <a:rPr lang="en-US" sz="1200" b="1" kern="1200" dirty="0">
              <a:solidFill>
                <a:schemeClr val="bg1"/>
              </a:solidFill>
              <a:latin typeface="Arial" panose="020B0604020202020204" pitchFamily="34" charset="0"/>
              <a:cs typeface="Arial" panose="020B0604020202020204" pitchFamily="34" charset="0"/>
            </a:rPr>
            <a:t>ECP4</a:t>
          </a:r>
        </a:p>
        <a:p>
          <a:pPr marL="0" lvl="0" indent="0" algn="ctr" defTabSz="533400">
            <a:lnSpc>
              <a:spcPct val="90000"/>
            </a:lnSpc>
            <a:spcBef>
              <a:spcPct val="0"/>
            </a:spcBef>
            <a:spcAft>
              <a:spcPts val="600"/>
            </a:spcAft>
            <a:buNone/>
          </a:pPr>
          <a:r>
            <a:rPr lang="en-US" sz="1200" b="0" kern="1200" dirty="0">
              <a:solidFill>
                <a:schemeClr val="bg1"/>
              </a:solidFill>
              <a:latin typeface="Arial" panose="020B0604020202020204" pitchFamily="34" charset="0"/>
              <a:cs typeface="Arial" panose="020B0604020202020204" pitchFamily="34" charset="0"/>
            </a:rPr>
            <a:t>Convergence of Practices</a:t>
          </a:r>
        </a:p>
      </dsp:txBody>
      <dsp:txXfrm>
        <a:off x="2196492" y="838689"/>
        <a:ext cx="1500641" cy="926985"/>
      </dsp:txXfrm>
    </dsp:sp>
    <dsp:sp modelId="{0F601C72-A11C-4D68-8768-BC9F889E21BF}">
      <dsp:nvSpPr>
        <dsp:cNvPr id="0" name=""/>
        <dsp:cNvSpPr/>
      </dsp:nvSpPr>
      <dsp:spPr>
        <a:xfrm>
          <a:off x="3782967" y="792023"/>
          <a:ext cx="1608083" cy="1027281"/>
        </a:xfrm>
        <a:prstGeom prst="roundRect">
          <a:avLst/>
        </a:prstGeom>
        <a:solidFill>
          <a:schemeClr val="accent5"/>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ts val="600"/>
            </a:spcAft>
            <a:buNone/>
          </a:pPr>
          <a:r>
            <a:rPr lang="en-US" sz="1200" b="1" kern="1200" dirty="0">
              <a:solidFill>
                <a:schemeClr val="bg1"/>
              </a:solidFill>
              <a:latin typeface="Arial" panose="020B0604020202020204" pitchFamily="34" charset="0"/>
              <a:cs typeface="Arial" panose="020B0604020202020204" pitchFamily="34" charset="0"/>
            </a:rPr>
            <a:t>ECP4 sub-project</a:t>
          </a:r>
        </a:p>
        <a:p>
          <a:pPr marL="0" lvl="0" indent="0" algn="ctr" defTabSz="533400">
            <a:lnSpc>
              <a:spcPct val="90000"/>
            </a:lnSpc>
            <a:spcBef>
              <a:spcPct val="0"/>
            </a:spcBef>
            <a:spcAft>
              <a:spcPts val="600"/>
            </a:spcAft>
            <a:buNone/>
          </a:pPr>
          <a:r>
            <a:rPr lang="en-US" sz="1200" b="0" kern="1200" dirty="0">
              <a:solidFill>
                <a:schemeClr val="bg1"/>
              </a:solidFill>
              <a:latin typeface="Arial" panose="020B0604020202020204" pitchFamily="34" charset="0"/>
              <a:cs typeface="Arial" panose="020B0604020202020204" pitchFamily="34" charset="0"/>
            </a:rPr>
            <a:t>Convergence Analysis 2.0</a:t>
          </a:r>
        </a:p>
      </dsp:txBody>
      <dsp:txXfrm>
        <a:off x="3833115" y="842171"/>
        <a:ext cx="1507787" cy="92698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858115-5A8C-447A-8235-EA987419449A}">
      <dsp:nvSpPr>
        <dsp:cNvPr id="0" name=""/>
        <dsp:cNvSpPr/>
      </dsp:nvSpPr>
      <dsp:spPr>
        <a:xfrm>
          <a:off x="1238223" y="-46121"/>
          <a:ext cx="1907695" cy="1216660"/>
        </a:xfrm>
        <a:prstGeom prst="roundRect">
          <a:avLst/>
        </a:prstGeom>
        <a:gradFill rotWithShape="1">
          <a:gsLst>
            <a:gs pos="0">
              <a:schemeClr val="accent1">
                <a:tint val="50000"/>
                <a:satMod val="300000"/>
              </a:schemeClr>
            </a:gs>
            <a:gs pos="35000">
              <a:schemeClr val="accent1">
                <a:tint val="37000"/>
                <a:satMod val="300000"/>
              </a:schemeClr>
            </a:gs>
            <a:gs pos="100000">
              <a:schemeClr val="accent1">
                <a:tint val="15000"/>
                <a:satMod val="350000"/>
              </a:schemeClr>
            </a:gs>
          </a:gsLst>
          <a:lin ang="16200000" scaled="1"/>
        </a:gradFill>
        <a:ln w="19050" cap="flat" cmpd="sng" algn="ctr">
          <a:solidFill>
            <a:srgbClr val="14438E"/>
          </a:solidFill>
          <a:prstDash val="solid"/>
        </a:ln>
        <a:effectLst/>
      </dsp:spPr>
      <dsp:style>
        <a:lnRef idx="1">
          <a:schemeClr val="accent1"/>
        </a:lnRef>
        <a:fillRef idx="2">
          <a:schemeClr val="accent1"/>
        </a:fillRef>
        <a:effectRef idx="1">
          <a:schemeClr val="accent1"/>
        </a:effectRef>
        <a:fontRef idx="minor">
          <a:schemeClr val="dk1"/>
        </a:fontRef>
      </dsp:style>
      <dsp:txBody>
        <a:bodyPr spcFirstLastPara="0" vert="horz" wrap="square" lIns="53340" tIns="53340" rIns="53340" bIns="53340" numCol="1" spcCol="1270" anchor="ctr" anchorCtr="0">
          <a:noAutofit/>
        </a:bodyPr>
        <a:lstStyle/>
        <a:p>
          <a:pPr marL="0" lvl="0" indent="0" algn="ctr" defTabSz="622300">
            <a:lnSpc>
              <a:spcPct val="100000"/>
            </a:lnSpc>
            <a:spcBef>
              <a:spcPct val="0"/>
            </a:spcBef>
            <a:spcAft>
              <a:spcPct val="35000"/>
            </a:spcAft>
            <a:buNone/>
          </a:pPr>
          <a:r>
            <a:rPr lang="en-US" sz="1400" b="1" kern="1200" dirty="0">
              <a:solidFill>
                <a:srgbClr val="024DA1"/>
              </a:solidFill>
              <a:latin typeface="Arial" panose="020B0604020202020204" pitchFamily="34" charset="0"/>
              <a:cs typeface="Arial" panose="020B0604020202020204" pitchFamily="34" charset="0"/>
            </a:rPr>
            <a:t>Goods and services</a:t>
          </a:r>
        </a:p>
        <a:p>
          <a:pPr marL="0" lvl="0" indent="0" algn="ctr" defTabSz="622300">
            <a:lnSpc>
              <a:spcPct val="100000"/>
            </a:lnSpc>
            <a:spcBef>
              <a:spcPct val="0"/>
            </a:spcBef>
            <a:spcAft>
              <a:spcPct val="35000"/>
            </a:spcAft>
            <a:buNone/>
          </a:pPr>
          <a:r>
            <a:rPr lang="en-GB" sz="1400" b="0" kern="1200" dirty="0">
              <a:solidFill>
                <a:srgbClr val="024DA1"/>
              </a:solidFill>
              <a:latin typeface="Arial" panose="020B0604020202020204" pitchFamily="34" charset="0"/>
              <a:cs typeface="Arial" panose="020B0604020202020204" pitchFamily="34" charset="0"/>
            </a:rPr>
            <a:t>And the context in which they will be offered</a:t>
          </a:r>
          <a:endParaRPr lang="en-US" sz="1400" b="0" kern="1200" dirty="0">
            <a:solidFill>
              <a:srgbClr val="024DA1"/>
            </a:solidFill>
            <a:latin typeface="Arial" panose="020B0604020202020204" pitchFamily="34" charset="0"/>
            <a:cs typeface="Arial" panose="020B0604020202020204" pitchFamily="34" charset="0"/>
          </a:endParaRPr>
        </a:p>
      </dsp:txBody>
      <dsp:txXfrm>
        <a:off x="1297615" y="13271"/>
        <a:ext cx="1788911" cy="1097876"/>
      </dsp:txXfrm>
    </dsp:sp>
    <dsp:sp modelId="{A39DCFC2-7464-4451-A8DA-FAA7222BE9D5}">
      <dsp:nvSpPr>
        <dsp:cNvPr id="0" name=""/>
        <dsp:cNvSpPr/>
      </dsp:nvSpPr>
      <dsp:spPr>
        <a:xfrm>
          <a:off x="790774" y="531414"/>
          <a:ext cx="2741037" cy="2741037"/>
        </a:xfrm>
        <a:custGeom>
          <a:avLst/>
          <a:gdLst/>
          <a:ahLst/>
          <a:cxnLst/>
          <a:rect l="0" t="0" r="0" b="0"/>
          <a:pathLst>
            <a:path>
              <a:moveTo>
                <a:pt x="2482990" y="570063"/>
              </a:moveTo>
              <a:arcTo wR="1370518" hR="1370518" stAng="19455833" swAng="1559725"/>
            </a:path>
          </a:pathLst>
        </a:custGeom>
        <a:noFill/>
        <a:ln w="19050" cap="flat" cmpd="sng" algn="ctr">
          <a:solidFill>
            <a:srgbClr val="4BACC6"/>
          </a:solidFill>
          <a:prstDash val="solid"/>
          <a:tailEnd type="arrow"/>
        </a:ln>
        <a:effectLst/>
      </dsp:spPr>
      <dsp:style>
        <a:lnRef idx="1">
          <a:scrgbClr r="0" g="0" b="0"/>
        </a:lnRef>
        <a:fillRef idx="0">
          <a:scrgbClr r="0" g="0" b="0"/>
        </a:fillRef>
        <a:effectRef idx="0">
          <a:scrgbClr r="0" g="0" b="0"/>
        </a:effectRef>
        <a:fontRef idx="minor"/>
      </dsp:style>
    </dsp:sp>
    <dsp:sp modelId="{50B80E4D-4DD7-4EF7-9614-62A1A61164DF}">
      <dsp:nvSpPr>
        <dsp:cNvPr id="0" name=""/>
        <dsp:cNvSpPr/>
      </dsp:nvSpPr>
      <dsp:spPr>
        <a:xfrm>
          <a:off x="2463605" y="1868399"/>
          <a:ext cx="1907995" cy="1216804"/>
        </a:xfrm>
        <a:prstGeom prst="roundRect">
          <a:avLst/>
        </a:prstGeom>
        <a:solidFill>
          <a:schemeClr val="accent1">
            <a:lumMod val="20000"/>
            <a:lumOff val="80000"/>
          </a:schemeClr>
        </a:solidFill>
        <a:ln w="19050" cap="flat" cmpd="sng" algn="ctr">
          <a:solidFill>
            <a:srgbClr val="14438E"/>
          </a:solidFill>
          <a:prstDash val="solid"/>
        </a:ln>
        <a:effectLst/>
      </dsp:spPr>
      <dsp:style>
        <a:lnRef idx="1">
          <a:schemeClr val="accent1"/>
        </a:lnRef>
        <a:fillRef idx="2">
          <a:schemeClr val="accent1"/>
        </a:fillRef>
        <a:effectRef idx="1">
          <a:schemeClr val="accent1"/>
        </a:effectRef>
        <a:fontRef idx="minor">
          <a:schemeClr val="dk1"/>
        </a:fontRef>
      </dsp:style>
      <dsp:txBody>
        <a:bodyPr spcFirstLastPara="0" vert="horz" wrap="square" lIns="53340" tIns="53340" rIns="53340" bIns="53340" numCol="1" spcCol="1270" anchor="ctr" anchorCtr="0">
          <a:noAutofit/>
        </a:bodyPr>
        <a:lstStyle/>
        <a:p>
          <a:pPr marL="0" lvl="0" indent="0" algn="ctr" defTabSz="622300">
            <a:lnSpc>
              <a:spcPct val="100000"/>
            </a:lnSpc>
            <a:spcBef>
              <a:spcPct val="0"/>
            </a:spcBef>
            <a:spcAft>
              <a:spcPct val="35000"/>
            </a:spcAft>
            <a:buNone/>
          </a:pPr>
          <a:r>
            <a:rPr lang="en-US" sz="1400" b="1" kern="1200" dirty="0">
              <a:solidFill>
                <a:srgbClr val="024DA1"/>
              </a:solidFill>
              <a:latin typeface="Arial" panose="020B0604020202020204" pitchFamily="34" charset="0"/>
              <a:cs typeface="Arial" panose="020B0604020202020204" pitchFamily="34" charset="0"/>
            </a:rPr>
            <a:t>Relevant public</a:t>
          </a:r>
        </a:p>
        <a:p>
          <a:pPr marL="0" lvl="0" indent="0" algn="ctr" defTabSz="622300">
            <a:lnSpc>
              <a:spcPct val="100000"/>
            </a:lnSpc>
            <a:spcBef>
              <a:spcPct val="0"/>
            </a:spcBef>
            <a:spcAft>
              <a:spcPct val="35000"/>
            </a:spcAft>
            <a:buNone/>
          </a:pPr>
          <a:r>
            <a:rPr lang="en-IE" sz="1400" b="0" kern="1200" dirty="0">
              <a:solidFill>
                <a:srgbClr val="024DA1"/>
              </a:solidFill>
              <a:latin typeface="Arial" panose="020B0604020202020204" pitchFamily="34" charset="0"/>
              <a:cs typeface="Arial" panose="020B0604020202020204" pitchFamily="34" charset="0"/>
            </a:rPr>
            <a:t>Includes the public who are likely to encounter the trade mark</a:t>
          </a:r>
          <a:endParaRPr lang="en-US" sz="1400" b="0" kern="1200" dirty="0">
            <a:solidFill>
              <a:srgbClr val="024DA1"/>
            </a:solidFill>
            <a:latin typeface="Arial" panose="020B0604020202020204" pitchFamily="34" charset="0"/>
            <a:cs typeface="Arial" panose="020B0604020202020204" pitchFamily="34" charset="0"/>
          </a:endParaRPr>
        </a:p>
      </dsp:txBody>
      <dsp:txXfrm>
        <a:off x="2523004" y="1927798"/>
        <a:ext cx="1789197" cy="1098006"/>
      </dsp:txXfrm>
    </dsp:sp>
    <dsp:sp modelId="{B8EDA282-B392-46D2-A076-44BA74398C3D}">
      <dsp:nvSpPr>
        <dsp:cNvPr id="0" name=""/>
        <dsp:cNvSpPr/>
      </dsp:nvSpPr>
      <dsp:spPr>
        <a:xfrm>
          <a:off x="810662" y="534204"/>
          <a:ext cx="2741037" cy="2741037"/>
        </a:xfrm>
        <a:custGeom>
          <a:avLst/>
          <a:gdLst/>
          <a:ahLst/>
          <a:cxnLst/>
          <a:rect l="0" t="0" r="0" b="0"/>
          <a:pathLst>
            <a:path>
              <a:moveTo>
                <a:pt x="1814063" y="2667280"/>
              </a:moveTo>
              <a:arcTo wR="1370518" hR="1370518" stAng="4267034" swAng="2268312"/>
            </a:path>
          </a:pathLst>
        </a:custGeom>
        <a:noFill/>
        <a:ln w="19050" cap="flat" cmpd="sng" algn="ctr">
          <a:solidFill>
            <a:srgbClr val="4BACC6"/>
          </a:solidFill>
          <a:prstDash val="solid"/>
          <a:tailEnd type="arrow"/>
        </a:ln>
        <a:effectLst/>
      </dsp:spPr>
      <dsp:style>
        <a:lnRef idx="1">
          <a:scrgbClr r="0" g="0" b="0"/>
        </a:lnRef>
        <a:fillRef idx="0">
          <a:scrgbClr r="0" g="0" b="0"/>
        </a:fillRef>
        <a:effectRef idx="0">
          <a:scrgbClr r="0" g="0" b="0"/>
        </a:effectRef>
        <a:fontRef idx="minor"/>
      </dsp:style>
    </dsp:sp>
    <dsp:sp modelId="{BA3E0417-3BA4-49AD-B38F-22FFE9331255}">
      <dsp:nvSpPr>
        <dsp:cNvPr id="0" name=""/>
        <dsp:cNvSpPr/>
      </dsp:nvSpPr>
      <dsp:spPr>
        <a:xfrm>
          <a:off x="0" y="1867917"/>
          <a:ext cx="1907995" cy="1216804"/>
        </a:xfrm>
        <a:prstGeom prst="roundRect">
          <a:avLst/>
        </a:prstGeom>
        <a:solidFill>
          <a:schemeClr val="accent1">
            <a:lumMod val="60000"/>
            <a:lumOff val="40000"/>
          </a:schemeClr>
        </a:solidFill>
        <a:ln w="19050" cap="flat" cmpd="sng" algn="ctr">
          <a:solidFill>
            <a:srgbClr val="14438E"/>
          </a:solidFill>
          <a:prstDash val="solid"/>
        </a:ln>
        <a:effectLst/>
      </dsp:spPr>
      <dsp:style>
        <a:lnRef idx="1">
          <a:schemeClr val="accent1"/>
        </a:lnRef>
        <a:fillRef idx="2">
          <a:schemeClr val="accent1"/>
        </a:fillRef>
        <a:effectRef idx="1">
          <a:schemeClr val="accent1"/>
        </a:effectRef>
        <a:fontRef idx="minor">
          <a:schemeClr val="dk1"/>
        </a:fontRef>
      </dsp:style>
      <dsp:txBody>
        <a:bodyPr spcFirstLastPara="0" vert="horz" wrap="square" lIns="53340" tIns="53340" rIns="53340" bIns="53340" numCol="1" spcCol="1270" anchor="ctr" anchorCtr="0">
          <a:noAutofit/>
        </a:bodyPr>
        <a:lstStyle/>
        <a:p>
          <a:pPr marL="0" lvl="0" indent="0" algn="ctr" defTabSz="622300">
            <a:lnSpc>
              <a:spcPct val="100000"/>
            </a:lnSpc>
            <a:spcBef>
              <a:spcPct val="0"/>
            </a:spcBef>
            <a:spcAft>
              <a:spcPct val="35000"/>
            </a:spcAft>
            <a:buNone/>
          </a:pPr>
          <a:r>
            <a:rPr lang="en-GB" sz="1400" b="1" kern="1200" noProof="0" dirty="0">
              <a:solidFill>
                <a:srgbClr val="024DA1"/>
              </a:solidFill>
              <a:latin typeface="Arial" panose="020B0604020202020204" pitchFamily="34" charset="0"/>
              <a:cs typeface="Arial" panose="020B0604020202020204" pitchFamily="34" charset="0"/>
            </a:rPr>
            <a:t>Perception of the sign by the relevant public</a:t>
          </a:r>
        </a:p>
        <a:p>
          <a:pPr marL="0" lvl="0" indent="0" algn="ctr" defTabSz="622300">
            <a:lnSpc>
              <a:spcPct val="100000"/>
            </a:lnSpc>
            <a:spcBef>
              <a:spcPct val="0"/>
            </a:spcBef>
            <a:spcAft>
              <a:spcPct val="35000"/>
            </a:spcAft>
            <a:buNone/>
          </a:pPr>
          <a:r>
            <a:rPr lang="en-GB" sz="1400" b="0" kern="1200" noProof="0" dirty="0">
              <a:solidFill>
                <a:srgbClr val="024DA1"/>
              </a:solidFill>
              <a:latin typeface="Arial" panose="020B0604020202020204" pitchFamily="34" charset="0"/>
              <a:cs typeface="Arial" panose="020B0604020202020204" pitchFamily="34" charset="0"/>
            </a:rPr>
            <a:t>Understanding of the meaning of the sign</a:t>
          </a:r>
        </a:p>
      </dsp:txBody>
      <dsp:txXfrm>
        <a:off x="59399" y="1927316"/>
        <a:ext cx="1789197" cy="1098006"/>
      </dsp:txXfrm>
    </dsp:sp>
    <dsp:sp modelId="{DF8D6A67-E460-4A10-BF84-95D712FDB169}">
      <dsp:nvSpPr>
        <dsp:cNvPr id="0" name=""/>
        <dsp:cNvSpPr/>
      </dsp:nvSpPr>
      <dsp:spPr>
        <a:xfrm>
          <a:off x="840703" y="543277"/>
          <a:ext cx="2741037" cy="2741037"/>
        </a:xfrm>
        <a:custGeom>
          <a:avLst/>
          <a:gdLst/>
          <a:ahLst/>
          <a:cxnLst/>
          <a:rect l="0" t="0" r="0" b="0"/>
          <a:pathLst>
            <a:path>
              <a:moveTo>
                <a:pt x="22043" y="1125697"/>
              </a:moveTo>
              <a:arcTo wR="1370518" hR="1370518" stAng="11417412" swAng="1566430"/>
            </a:path>
          </a:pathLst>
        </a:custGeom>
        <a:noFill/>
        <a:ln w="19050" cap="flat" cmpd="sng" algn="ctr">
          <a:solidFill>
            <a:srgbClr val="4BACC6"/>
          </a:solidFill>
          <a:prstDash val="solid"/>
          <a:tailEnd type="arrow"/>
        </a:ln>
        <a:effectLst/>
      </dsp:spPr>
      <dsp:style>
        <a:lnRef idx="1">
          <a:scrgbClr r="0" g="0" b="0"/>
        </a:lnRef>
        <a:fillRef idx="0">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D17000-A9CB-4668-89E1-95BF2AFD2304}">
      <dsp:nvSpPr>
        <dsp:cNvPr id="0" name=""/>
        <dsp:cNvSpPr/>
      </dsp:nvSpPr>
      <dsp:spPr>
        <a:xfrm rot="5400000">
          <a:off x="4637335" y="-1856351"/>
          <a:ext cx="1417529" cy="5130232"/>
        </a:xfrm>
        <a:prstGeom prst="round2SameRect">
          <a:avLst/>
        </a:prstGeom>
        <a:solidFill>
          <a:srgbClr val="F2F2F2">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just" defTabSz="622300">
            <a:lnSpc>
              <a:spcPct val="90000"/>
            </a:lnSpc>
            <a:spcBef>
              <a:spcPct val="0"/>
            </a:spcBef>
            <a:spcAft>
              <a:spcPts val="600"/>
            </a:spcAft>
            <a:buChar char="•"/>
          </a:pPr>
          <a:r>
            <a:rPr lang="en-US" sz="1400" kern="1200" dirty="0">
              <a:solidFill>
                <a:srgbClr val="024DA1"/>
              </a:solidFill>
              <a:latin typeface="Arial" panose="020B0604020202020204" pitchFamily="34" charset="0"/>
              <a:cs typeface="Arial" panose="020B0604020202020204" pitchFamily="34" charset="0"/>
            </a:rPr>
            <a:t>Principles and examples serve as </a:t>
          </a:r>
          <a:r>
            <a:rPr lang="en-US" sz="1400" b="1" kern="1200" dirty="0">
              <a:solidFill>
                <a:srgbClr val="024DA1"/>
              </a:solidFill>
              <a:latin typeface="Arial" panose="020B0604020202020204" pitchFamily="34" charset="0"/>
              <a:cs typeface="Arial" panose="020B0604020202020204" pitchFamily="34" charset="0"/>
            </a:rPr>
            <a:t>guidance</a:t>
          </a:r>
          <a:endParaRPr lang="en-US" sz="1400" b="1" strike="sngStrike" kern="1200" dirty="0">
            <a:solidFill>
              <a:srgbClr val="024DA1"/>
            </a:solidFill>
            <a:latin typeface="Arial" panose="020B0604020202020204" pitchFamily="34" charset="0"/>
            <a:cs typeface="Arial" panose="020B0604020202020204" pitchFamily="34" charset="0"/>
          </a:endParaRPr>
        </a:p>
        <a:p>
          <a:pPr marL="114300" lvl="1" indent="-114300" algn="just" defTabSz="622300">
            <a:lnSpc>
              <a:spcPct val="90000"/>
            </a:lnSpc>
            <a:spcBef>
              <a:spcPct val="0"/>
            </a:spcBef>
            <a:spcAft>
              <a:spcPts val="600"/>
            </a:spcAft>
            <a:buChar char="•"/>
          </a:pPr>
          <a:r>
            <a:rPr lang="en-US" sz="1400" b="1" kern="1200" dirty="0">
              <a:solidFill>
                <a:srgbClr val="024DA1"/>
              </a:solidFill>
              <a:latin typeface="Arial" panose="020B0604020202020204" pitchFamily="34" charset="0"/>
              <a:ea typeface="+mn-ea"/>
              <a:cs typeface="Arial" panose="020B0604020202020204" pitchFamily="34" charset="0"/>
            </a:rPr>
            <a:t>Illustrative</a:t>
          </a:r>
          <a:r>
            <a:rPr lang="en-US" sz="1400" b="1" kern="1200" dirty="0">
              <a:solidFill>
                <a:srgbClr val="024DA1"/>
              </a:solidFill>
              <a:latin typeface="Arial" panose="020B0604020202020204" pitchFamily="34" charset="0"/>
              <a:cs typeface="Arial" panose="020B0604020202020204" pitchFamily="34" charset="0"/>
            </a:rPr>
            <a:t> </a:t>
          </a:r>
          <a:r>
            <a:rPr lang="en-US" sz="1400" b="0" kern="1200" dirty="0">
              <a:solidFill>
                <a:srgbClr val="024DA1"/>
              </a:solidFill>
              <a:latin typeface="Arial" panose="020B0604020202020204" pitchFamily="34" charset="0"/>
              <a:cs typeface="Arial" panose="020B0604020202020204" pitchFamily="34" charset="0"/>
            </a:rPr>
            <a:t>examples for the purpose of Article 4(1)(f) TMD</a:t>
          </a:r>
          <a:endParaRPr lang="en-US" sz="1400" b="1" strike="sngStrike" kern="1200" dirty="0">
            <a:solidFill>
              <a:srgbClr val="024DA1"/>
            </a:solidFill>
            <a:latin typeface="Arial" panose="020B0604020202020204" pitchFamily="34" charset="0"/>
            <a:cs typeface="Arial" panose="020B0604020202020204" pitchFamily="34" charset="0"/>
          </a:endParaRPr>
        </a:p>
        <a:p>
          <a:pPr marL="114300" lvl="1" indent="-114300" algn="just" defTabSz="622300">
            <a:lnSpc>
              <a:spcPct val="90000"/>
            </a:lnSpc>
            <a:spcBef>
              <a:spcPct val="0"/>
            </a:spcBef>
            <a:spcAft>
              <a:spcPts val="600"/>
            </a:spcAft>
            <a:buChar char="•"/>
          </a:pPr>
          <a:r>
            <a:rPr lang="en-GB" altLang="de-DE" sz="1400" kern="1200" dirty="0">
              <a:solidFill>
                <a:srgbClr val="024DA1"/>
              </a:solidFill>
              <a:latin typeface="Arial" panose="020B0604020202020204" pitchFamily="34" charset="0"/>
              <a:cs typeface="Arial" panose="020B0604020202020204" pitchFamily="34" charset="0"/>
            </a:rPr>
            <a:t>Examples understood in the same way as a </a:t>
          </a:r>
          <a:r>
            <a:rPr lang="en-GB" altLang="de-DE" sz="1400" b="1" kern="1200" dirty="0">
              <a:solidFill>
                <a:srgbClr val="024DA1"/>
              </a:solidFill>
              <a:latin typeface="Arial" panose="020B0604020202020204" pitchFamily="34" charset="0"/>
              <a:cs typeface="Arial" panose="020B0604020202020204" pitchFamily="34" charset="0"/>
            </a:rPr>
            <a:t>native English speaker</a:t>
          </a:r>
          <a:endParaRPr lang="en-US" sz="1400" b="1" kern="1200" dirty="0">
            <a:solidFill>
              <a:srgbClr val="183D8C"/>
            </a:solidFill>
            <a:latin typeface="Arial" panose="020B0604020202020204" pitchFamily="34" charset="0"/>
            <a:cs typeface="Arial" panose="020B0604020202020204" pitchFamily="34" charset="0"/>
          </a:endParaRPr>
        </a:p>
      </dsp:txBody>
      <dsp:txXfrm rot="-5400000">
        <a:off x="2780984" y="69198"/>
        <a:ext cx="5061034" cy="1279133"/>
      </dsp:txXfrm>
    </dsp:sp>
    <dsp:sp modelId="{7A7FF1C5-FFD5-4DA7-BFF0-ABBFFFCF5316}">
      <dsp:nvSpPr>
        <dsp:cNvPr id="0" name=""/>
        <dsp:cNvSpPr/>
      </dsp:nvSpPr>
      <dsp:spPr>
        <a:xfrm>
          <a:off x="800" y="106707"/>
          <a:ext cx="2834145" cy="1046965"/>
        </a:xfrm>
        <a:prstGeom prst="roundRect">
          <a:avLst/>
        </a:prstGeom>
        <a:solidFill>
          <a:schemeClr val="bg1"/>
        </a:solidFill>
        <a:ln w="25400" cap="flat" cmpd="sng" algn="ctr">
          <a:solidFill>
            <a:srgbClr val="4BACC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GB" altLang="de-DE" sz="1600" b="1" kern="1200">
              <a:solidFill>
                <a:srgbClr val="024DA1"/>
              </a:solidFill>
              <a:latin typeface="Arial" panose="020B0604020202020204" pitchFamily="34" charset="0"/>
              <a:cs typeface="Arial" panose="020B0604020202020204" pitchFamily="34" charset="0"/>
            </a:rPr>
            <a:t>Non-exhaustive list of groups of signs</a:t>
          </a:r>
          <a:endParaRPr lang="en-US" sz="1600" b="1" kern="1200">
            <a:solidFill>
              <a:srgbClr val="183D8C"/>
            </a:solidFill>
            <a:latin typeface="Arial" panose="020B0604020202020204" pitchFamily="34" charset="0"/>
            <a:cs typeface="Arial" panose="020B0604020202020204" pitchFamily="34" charset="0"/>
          </a:endParaRPr>
        </a:p>
      </dsp:txBody>
      <dsp:txXfrm>
        <a:off x="51909" y="157816"/>
        <a:ext cx="2731927" cy="944747"/>
      </dsp:txXfrm>
    </dsp:sp>
    <dsp:sp modelId="{9E50AC44-5296-4F41-AED8-FDA312BCB183}">
      <dsp:nvSpPr>
        <dsp:cNvPr id="0" name=""/>
        <dsp:cNvSpPr/>
      </dsp:nvSpPr>
      <dsp:spPr>
        <a:xfrm rot="5400000">
          <a:off x="4621039" y="16327"/>
          <a:ext cx="1529386" cy="5160491"/>
        </a:xfrm>
        <a:prstGeom prst="round2SameRect">
          <a:avLst/>
        </a:prstGeom>
        <a:solidFill>
          <a:srgbClr val="F2F2F2">
            <a:alpha val="90000"/>
          </a:srgbClr>
        </a:solidFill>
        <a:ln w="25400" cap="flat" cmpd="sng" algn="ctr">
          <a:noFill/>
          <a:prstDash val="solid"/>
        </a:ln>
        <a:effectLst/>
      </dsp:spPr>
      <dsp:style>
        <a:lnRef idx="2">
          <a:scrgbClr r="0" g="0" b="0"/>
        </a:lnRef>
        <a:fillRef idx="1">
          <a:scrgbClr r="0" g="0" b="0"/>
        </a:fillRef>
        <a:effectRef idx="0">
          <a:scrgbClr r="0" g="0" b="0"/>
        </a:effectRef>
        <a:fontRef idx="minor"/>
      </dsp:style>
      <dsp:txBody>
        <a:bodyPr spcFirstLastPara="0" vert="horz" wrap="square" lIns="91440" tIns="45720" rIns="91440" bIns="45720" numCol="1" spcCol="1270" anchor="ctr" anchorCtr="0">
          <a:noAutofit/>
        </a:bodyPr>
        <a:lstStyle/>
        <a:p>
          <a:pPr marL="114300" lvl="1" indent="-114300" algn="just" defTabSz="622300">
            <a:lnSpc>
              <a:spcPct val="90000"/>
            </a:lnSpc>
            <a:spcBef>
              <a:spcPct val="0"/>
            </a:spcBef>
            <a:spcAft>
              <a:spcPts val="600"/>
            </a:spcAft>
            <a:buChar char="•"/>
          </a:pPr>
          <a:r>
            <a:rPr lang="en-US" sz="1400" b="0" kern="1200" dirty="0">
              <a:solidFill>
                <a:srgbClr val="024DA1"/>
              </a:solidFill>
              <a:latin typeface="Arial" panose="020B0604020202020204" pitchFamily="34" charset="0"/>
              <a:ea typeface="+mn-ea"/>
              <a:cs typeface="Arial" panose="020B0604020202020204" pitchFamily="34" charset="0"/>
            </a:rPr>
            <a:t>On a </a:t>
          </a:r>
          <a:r>
            <a:rPr lang="en-US" sz="1400" b="1" kern="1200" dirty="0">
              <a:solidFill>
                <a:srgbClr val="024DA1"/>
              </a:solidFill>
              <a:latin typeface="Arial" panose="020B0604020202020204" pitchFamily="34" charset="0"/>
              <a:ea typeface="+mn-ea"/>
              <a:cs typeface="Arial" panose="020B0604020202020204" pitchFamily="34" charset="0"/>
            </a:rPr>
            <a:t>case-by-case basis</a:t>
          </a:r>
        </a:p>
        <a:p>
          <a:pPr marL="114300" lvl="1" indent="-114300" algn="just" defTabSz="622300">
            <a:lnSpc>
              <a:spcPct val="90000"/>
            </a:lnSpc>
            <a:spcBef>
              <a:spcPct val="0"/>
            </a:spcBef>
            <a:spcAft>
              <a:spcPts val="600"/>
            </a:spcAft>
            <a:buChar char="•"/>
          </a:pPr>
          <a:r>
            <a:rPr lang="en-GB" sz="1400" b="0" kern="1200">
              <a:solidFill>
                <a:srgbClr val="024DA1"/>
              </a:solidFill>
              <a:latin typeface="Arial" panose="020B0604020202020204" pitchFamily="34" charset="0"/>
              <a:ea typeface="+mn-ea"/>
              <a:cs typeface="Arial" panose="020B0604020202020204" pitchFamily="34" charset="0"/>
            </a:rPr>
            <a:t>Considering </a:t>
          </a:r>
          <a:r>
            <a:rPr lang="en-IE" sz="1400" b="0" kern="1200">
              <a:solidFill>
                <a:srgbClr val="024DA1"/>
              </a:solidFill>
              <a:latin typeface="Arial" panose="020B0604020202020204" pitchFamily="34" charset="0"/>
              <a:ea typeface="+mn-ea"/>
              <a:cs typeface="Arial" panose="020B0604020202020204" pitchFamily="34" charset="0"/>
            </a:rPr>
            <a:t>the </a:t>
          </a:r>
          <a:r>
            <a:rPr lang="en-IE" sz="1400" b="1" kern="1200">
              <a:solidFill>
                <a:srgbClr val="024DA1"/>
              </a:solidFill>
              <a:latin typeface="Arial" panose="020B0604020202020204" pitchFamily="34" charset="0"/>
              <a:ea typeface="+mn-ea"/>
              <a:cs typeface="Arial" panose="020B0604020202020204" pitchFamily="34" charset="0"/>
            </a:rPr>
            <a:t>normal level of sensitivity and tolerance </a:t>
          </a:r>
          <a:r>
            <a:rPr lang="en-IE" sz="1400" b="0" kern="1200">
              <a:solidFill>
                <a:srgbClr val="024DA1"/>
              </a:solidFill>
              <a:latin typeface="Arial" panose="020B0604020202020204" pitchFamily="34" charset="0"/>
              <a:ea typeface="+mn-ea"/>
              <a:cs typeface="Arial" panose="020B0604020202020204" pitchFamily="34" charset="0"/>
            </a:rPr>
            <a:t>of the relevant public in the jurisdiction concerned </a:t>
          </a:r>
          <a:endParaRPr lang="en-US" sz="1400" b="0" kern="1200">
            <a:solidFill>
              <a:srgbClr val="024DA1"/>
            </a:solidFill>
            <a:latin typeface="Arial" panose="020B0604020202020204" pitchFamily="34" charset="0"/>
            <a:ea typeface="+mn-ea"/>
            <a:cs typeface="Arial" panose="020B0604020202020204" pitchFamily="34" charset="0"/>
          </a:endParaRPr>
        </a:p>
        <a:p>
          <a:pPr marL="114300" lvl="1" indent="-114300" algn="just" defTabSz="622300">
            <a:lnSpc>
              <a:spcPct val="90000"/>
            </a:lnSpc>
            <a:spcBef>
              <a:spcPct val="0"/>
            </a:spcBef>
            <a:spcAft>
              <a:spcPts val="600"/>
            </a:spcAft>
            <a:buChar char="•"/>
          </a:pPr>
          <a:r>
            <a:rPr lang="en-US" sz="1400" b="0" kern="1200" dirty="0">
              <a:solidFill>
                <a:srgbClr val="024DA1"/>
              </a:solidFill>
              <a:latin typeface="Arial" panose="020B0604020202020204" pitchFamily="34" charset="0"/>
              <a:ea typeface="+mn-ea"/>
              <a:cs typeface="Arial" panose="020B0604020202020204" pitchFamily="34" charset="0"/>
            </a:rPr>
            <a:t>Considering </a:t>
          </a:r>
          <a:r>
            <a:rPr lang="en-US" sz="1400" b="1" kern="1200" dirty="0">
              <a:solidFill>
                <a:srgbClr val="024DA1"/>
              </a:solidFill>
              <a:latin typeface="Arial" panose="020B0604020202020204" pitchFamily="34" charset="0"/>
              <a:ea typeface="+mn-ea"/>
              <a:cs typeface="Arial" panose="020B0604020202020204" pitchFamily="34" charset="0"/>
            </a:rPr>
            <a:t>all the circumstances </a:t>
          </a:r>
          <a:r>
            <a:rPr lang="en-US" sz="1400" b="0" kern="1200" dirty="0">
              <a:solidFill>
                <a:srgbClr val="024DA1"/>
              </a:solidFill>
              <a:latin typeface="Arial" panose="020B0604020202020204" pitchFamily="34" charset="0"/>
              <a:ea typeface="+mn-ea"/>
              <a:cs typeface="Arial" panose="020B0604020202020204" pitchFamily="34" charset="0"/>
            </a:rPr>
            <a:t>specific to the </a:t>
          </a:r>
          <a:r>
            <a:rPr lang="en-US" sz="1400" b="1" kern="1200" dirty="0">
              <a:solidFill>
                <a:srgbClr val="024DA1"/>
              </a:solidFill>
              <a:latin typeface="Arial" panose="020B0604020202020204" pitchFamily="34" charset="0"/>
              <a:ea typeface="+mn-ea"/>
              <a:cs typeface="Arial" panose="020B0604020202020204" pitchFamily="34" charset="0"/>
            </a:rPr>
            <a:t>MS</a:t>
          </a:r>
          <a:r>
            <a:rPr lang="en-US" sz="1400" b="0" kern="1200" dirty="0">
              <a:solidFill>
                <a:srgbClr val="024DA1"/>
              </a:solidFill>
              <a:latin typeface="Arial" panose="020B0604020202020204" pitchFamily="34" charset="0"/>
              <a:ea typeface="+mn-ea"/>
              <a:cs typeface="Arial" panose="020B0604020202020204" pitchFamily="34" charset="0"/>
            </a:rPr>
            <a:t> </a:t>
          </a:r>
          <a:r>
            <a:rPr lang="en-GB" sz="1400" b="0" kern="1200" dirty="0">
              <a:solidFill>
                <a:srgbClr val="024DA1"/>
              </a:solidFill>
              <a:latin typeface="Arial" panose="020B0604020202020204" pitchFamily="34" charset="0"/>
              <a:ea typeface="+mn-ea"/>
              <a:cs typeface="Arial" panose="020B0604020202020204" pitchFamily="34" charset="0"/>
            </a:rPr>
            <a:t>and the </a:t>
          </a:r>
          <a:r>
            <a:rPr lang="en-GB" sz="1400" b="1" kern="1200" dirty="0">
              <a:solidFill>
                <a:srgbClr val="024DA1"/>
              </a:solidFill>
              <a:latin typeface="Arial" panose="020B0604020202020204" pitchFamily="34" charset="0"/>
              <a:ea typeface="+mn-ea"/>
              <a:cs typeface="Arial" panose="020B0604020202020204" pitchFamily="34" charset="0"/>
            </a:rPr>
            <a:t>particular case</a:t>
          </a:r>
          <a:endParaRPr lang="en-US" sz="1400" b="1" kern="1200" dirty="0">
            <a:solidFill>
              <a:srgbClr val="024DA1"/>
            </a:solidFill>
            <a:latin typeface="Arial" panose="020B0604020202020204" pitchFamily="34" charset="0"/>
            <a:ea typeface="+mn-ea"/>
            <a:cs typeface="Arial" panose="020B0604020202020204" pitchFamily="34" charset="0"/>
          </a:endParaRPr>
        </a:p>
        <a:p>
          <a:pPr marL="114300" lvl="1" indent="-114300" algn="just" defTabSz="622300">
            <a:lnSpc>
              <a:spcPct val="90000"/>
            </a:lnSpc>
            <a:spcBef>
              <a:spcPct val="0"/>
            </a:spcBef>
            <a:spcAft>
              <a:spcPts val="600"/>
            </a:spcAft>
            <a:buChar char="•"/>
          </a:pPr>
          <a:r>
            <a:rPr lang="es-ES" sz="1400" b="0" kern="1200" dirty="0" err="1">
              <a:solidFill>
                <a:srgbClr val="024DA1"/>
              </a:solidFill>
              <a:latin typeface="Arial" panose="020B0604020202020204" pitchFamily="34" charset="0"/>
              <a:ea typeface="+mn-ea"/>
              <a:cs typeface="Arial" panose="020B0604020202020204" pitchFamily="34" charset="0"/>
            </a:rPr>
            <a:t>Bearing</a:t>
          </a:r>
          <a:r>
            <a:rPr lang="es-ES" sz="1400" b="0" kern="1200" dirty="0">
              <a:solidFill>
                <a:srgbClr val="024DA1"/>
              </a:solidFill>
              <a:latin typeface="Arial" panose="020B0604020202020204" pitchFamily="34" charset="0"/>
              <a:ea typeface="+mn-ea"/>
              <a:cs typeface="Arial" panose="020B0604020202020204" pitchFamily="34" charset="0"/>
            </a:rPr>
            <a:t> in </a:t>
          </a:r>
          <a:r>
            <a:rPr lang="es-ES" sz="1400" b="0" kern="1200" dirty="0" err="1">
              <a:solidFill>
                <a:srgbClr val="024DA1"/>
              </a:solidFill>
              <a:latin typeface="Arial" panose="020B0604020202020204" pitchFamily="34" charset="0"/>
              <a:ea typeface="+mn-ea"/>
              <a:cs typeface="Arial" panose="020B0604020202020204" pitchFamily="34" charset="0"/>
            </a:rPr>
            <a:t>mind</a:t>
          </a:r>
          <a:r>
            <a:rPr lang="es-ES" sz="1400" b="0" kern="1200" dirty="0">
              <a:solidFill>
                <a:srgbClr val="024DA1"/>
              </a:solidFill>
              <a:latin typeface="Arial" panose="020B0604020202020204" pitchFamily="34" charset="0"/>
              <a:ea typeface="+mn-ea"/>
              <a:cs typeface="Arial" panose="020B0604020202020204" pitchFamily="34" charset="0"/>
            </a:rPr>
            <a:t> </a:t>
          </a:r>
          <a:r>
            <a:rPr lang="es-ES" sz="1400" b="0" kern="1200" dirty="0" err="1">
              <a:solidFill>
                <a:srgbClr val="024DA1"/>
              </a:solidFill>
              <a:latin typeface="Arial" panose="020B0604020202020204" pitchFamily="34" charset="0"/>
              <a:ea typeface="+mn-ea"/>
              <a:cs typeface="Arial" panose="020B0604020202020204" pitchFamily="34" charset="0"/>
            </a:rPr>
            <a:t>the</a:t>
          </a:r>
          <a:r>
            <a:rPr lang="es-ES" sz="1400" b="0" kern="1200" dirty="0">
              <a:solidFill>
                <a:srgbClr val="024DA1"/>
              </a:solidFill>
              <a:latin typeface="Arial" panose="020B0604020202020204" pitchFamily="34" charset="0"/>
              <a:ea typeface="+mn-ea"/>
              <a:cs typeface="Arial" panose="020B0604020202020204" pitchFamily="34" charset="0"/>
            </a:rPr>
            <a:t> ‘</a:t>
          </a:r>
          <a:r>
            <a:rPr lang="es-ES" sz="1400" b="1" kern="1200" dirty="0">
              <a:solidFill>
                <a:srgbClr val="024DA1"/>
              </a:solidFill>
              <a:latin typeface="Arial" panose="020B0604020202020204" pitchFamily="34" charset="0"/>
              <a:ea typeface="+mn-ea"/>
              <a:cs typeface="Arial" panose="020B0604020202020204" pitchFamily="34" charset="0"/>
            </a:rPr>
            <a:t>General </a:t>
          </a:r>
          <a:r>
            <a:rPr lang="es-ES" sz="1400" b="1" kern="1200" dirty="0" err="1">
              <a:solidFill>
                <a:srgbClr val="024DA1"/>
              </a:solidFill>
              <a:latin typeface="Arial" panose="020B0604020202020204" pitchFamily="34" charset="0"/>
              <a:ea typeface="+mn-ea"/>
              <a:cs typeface="Arial" panose="020B0604020202020204" pitchFamily="34" charset="0"/>
            </a:rPr>
            <a:t>Considerations</a:t>
          </a:r>
          <a:r>
            <a:rPr lang="es-ES" sz="1400" b="1" kern="1200" dirty="0">
              <a:solidFill>
                <a:srgbClr val="024DA1"/>
              </a:solidFill>
              <a:latin typeface="Arial" panose="020B0604020202020204" pitchFamily="34" charset="0"/>
              <a:ea typeface="+mn-ea"/>
              <a:cs typeface="Arial" panose="020B0604020202020204" pitchFamily="34" charset="0"/>
            </a:rPr>
            <a:t>’</a:t>
          </a:r>
          <a:endParaRPr lang="en-US" sz="1400" b="1" kern="1200" dirty="0">
            <a:solidFill>
              <a:srgbClr val="024DA1"/>
            </a:solidFill>
            <a:latin typeface="Arial" panose="020B0604020202020204" pitchFamily="34" charset="0"/>
            <a:ea typeface="+mn-ea"/>
            <a:cs typeface="Arial" panose="020B0604020202020204" pitchFamily="34" charset="0"/>
          </a:endParaRPr>
        </a:p>
      </dsp:txBody>
      <dsp:txXfrm rot="-5400000">
        <a:off x="2805487" y="1906537"/>
        <a:ext cx="5085833" cy="1380070"/>
      </dsp:txXfrm>
    </dsp:sp>
    <dsp:sp modelId="{C1C10840-F2A6-4001-900C-A26CF96EAB23}">
      <dsp:nvSpPr>
        <dsp:cNvPr id="0" name=""/>
        <dsp:cNvSpPr/>
      </dsp:nvSpPr>
      <dsp:spPr>
        <a:xfrm>
          <a:off x="18" y="2090050"/>
          <a:ext cx="2802867" cy="1129096"/>
        </a:xfrm>
        <a:prstGeom prst="roundRect">
          <a:avLst/>
        </a:prstGeom>
        <a:solidFill>
          <a:schemeClr val="bg1"/>
        </a:solidFill>
        <a:ln w="25400" cap="flat" cmpd="sng" algn="ctr">
          <a:solidFill>
            <a:srgbClr val="4BACC6"/>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30480" rIns="60960" bIns="30480" numCol="1" spcCol="1270" anchor="ctr" anchorCtr="0">
          <a:noAutofit/>
        </a:bodyPr>
        <a:lstStyle/>
        <a:p>
          <a:pPr marL="0" lvl="0" indent="0" algn="ctr" defTabSz="711200">
            <a:lnSpc>
              <a:spcPct val="90000"/>
            </a:lnSpc>
            <a:spcBef>
              <a:spcPct val="0"/>
            </a:spcBef>
            <a:spcAft>
              <a:spcPct val="35000"/>
            </a:spcAft>
            <a:buNone/>
          </a:pPr>
          <a:r>
            <a:rPr lang="en-US" sz="1600" b="1" kern="1200">
              <a:solidFill>
                <a:srgbClr val="024DA1"/>
              </a:solidFill>
              <a:latin typeface="Arial" panose="020B0604020202020204" pitchFamily="34" charset="0"/>
              <a:ea typeface="+mn-ea"/>
              <a:cs typeface="Arial" panose="020B0604020202020204" pitchFamily="34" charset="0"/>
            </a:rPr>
            <a:t>Assessment</a:t>
          </a:r>
        </a:p>
      </dsp:txBody>
      <dsp:txXfrm>
        <a:off x="55136" y="2145168"/>
        <a:ext cx="2692631" cy="1018860"/>
      </dsp:txXfrm>
    </dsp:sp>
  </dsp:spTree>
</dsp:drawing>
</file>

<file path=ppt/diagrams/layout1.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4229" tIns="47114" rIns="94229" bIns="47114" rtlCol="0"/>
          <a:lstStyle>
            <a:lvl1pPr algn="l">
              <a:defRPr sz="1200"/>
            </a:lvl1pPr>
          </a:lstStyle>
          <a:p>
            <a:endParaRPr lang="en-IE"/>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4229" bIns="47114" rtlCol="0"/>
          <a:lstStyle>
            <a:lvl1pPr algn="r">
              <a:defRPr sz="1200"/>
            </a:lvl1pPr>
          </a:lstStyle>
          <a:p>
            <a:fld id="{5F33F4D9-1AC8-49A0-9C63-7F1A93A106BD}" type="datetimeFigureOut">
              <a:rPr lang="en-IE" smtClean="0"/>
              <a:t>04/04/2024</a:t>
            </a:fld>
            <a:endParaRPr lang="en-IE"/>
          </a:p>
        </p:txBody>
      </p:sp>
      <p:sp>
        <p:nvSpPr>
          <p:cNvPr id="4" name="Slide Image Placeholder 3"/>
          <p:cNvSpPr>
            <a:spLocks noGrp="1" noRot="1" noChangeAspect="1"/>
          </p:cNvSpPr>
          <p:nvPr>
            <p:ph type="sldImg" idx="2"/>
          </p:nvPr>
        </p:nvSpPr>
        <p:spPr>
          <a:xfrm>
            <a:off x="735013" y="1173163"/>
            <a:ext cx="5632450" cy="3168650"/>
          </a:xfrm>
          <a:prstGeom prst="rect">
            <a:avLst/>
          </a:prstGeom>
          <a:noFill/>
          <a:ln w="12700">
            <a:solidFill>
              <a:prstClr val="black"/>
            </a:solidFill>
          </a:ln>
        </p:spPr>
        <p:txBody>
          <a:bodyPr vert="horz" lIns="94229" tIns="47114" rIns="94229" bIns="47114" rtlCol="0" anchor="ctr"/>
          <a:lstStyle/>
          <a:p>
            <a:endParaRPr lang="en-IE"/>
          </a:p>
        </p:txBody>
      </p:sp>
      <p:sp>
        <p:nvSpPr>
          <p:cNvPr id="5" name="Notes Placeholder 4"/>
          <p:cNvSpPr>
            <a:spLocks noGrp="1"/>
          </p:cNvSpPr>
          <p:nvPr>
            <p:ph type="body" sz="quarter" idx="3"/>
          </p:nvPr>
        </p:nvSpPr>
        <p:spPr>
          <a:xfrm>
            <a:off x="710248" y="4518204"/>
            <a:ext cx="5681980" cy="3696712"/>
          </a:xfrm>
          <a:prstGeom prst="rect">
            <a:avLst/>
          </a:prstGeom>
        </p:spPr>
        <p:txBody>
          <a:bodyPr vert="horz" lIns="94229" tIns="47114" rIns="94229" bIns="47114"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6" name="Footer Placeholder 5"/>
          <p:cNvSpPr>
            <a:spLocks noGrp="1"/>
          </p:cNvSpPr>
          <p:nvPr>
            <p:ph type="ftr" sz="quarter" idx="4"/>
          </p:nvPr>
        </p:nvSpPr>
        <p:spPr>
          <a:xfrm>
            <a:off x="0" y="8917422"/>
            <a:ext cx="3077739" cy="471053"/>
          </a:xfrm>
          <a:prstGeom prst="rect">
            <a:avLst/>
          </a:prstGeom>
        </p:spPr>
        <p:txBody>
          <a:bodyPr vert="horz" lIns="94229" tIns="47114" rIns="94229" bIns="47114" rtlCol="0" anchor="b"/>
          <a:lstStyle>
            <a:lvl1pPr algn="l">
              <a:defRPr sz="1200"/>
            </a:lvl1pPr>
          </a:lstStyle>
          <a:p>
            <a:endParaRPr lang="en-IE"/>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4229" bIns="47114" rtlCol="0" anchor="b"/>
          <a:lstStyle>
            <a:lvl1pPr algn="r">
              <a:defRPr sz="1200"/>
            </a:lvl1pPr>
          </a:lstStyle>
          <a:p>
            <a:fld id="{207EB680-4694-4CC4-8896-75A813D9F12D}" type="slidenum">
              <a:rPr lang="en-IE" smtClean="0"/>
              <a:t>‹#›</a:t>
            </a:fld>
            <a:endParaRPr lang="en-IE"/>
          </a:p>
        </p:txBody>
      </p:sp>
    </p:spTree>
    <p:extLst>
      <p:ext uri="{BB962C8B-B14F-4D97-AF65-F5344CB8AC3E}">
        <p14:creationId xmlns:p14="http://schemas.microsoft.com/office/powerpoint/2010/main" val="6291386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just">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1</a:t>
            </a:fld>
            <a:endParaRPr lang="en-US" dirty="0"/>
          </a:p>
        </p:txBody>
      </p:sp>
    </p:spTree>
    <p:extLst>
      <p:ext uri="{BB962C8B-B14F-4D97-AF65-F5344CB8AC3E}">
        <p14:creationId xmlns:p14="http://schemas.microsoft.com/office/powerpoint/2010/main" val="1600528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just">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10</a:t>
            </a:fld>
            <a:endParaRPr lang="en-US" dirty="0"/>
          </a:p>
        </p:txBody>
      </p:sp>
    </p:spTree>
    <p:extLst>
      <p:ext uri="{BB962C8B-B14F-4D97-AF65-F5344CB8AC3E}">
        <p14:creationId xmlns:p14="http://schemas.microsoft.com/office/powerpoint/2010/main" val="209836831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just">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11</a:t>
            </a:fld>
            <a:endParaRPr lang="en-US" dirty="0"/>
          </a:p>
        </p:txBody>
      </p:sp>
    </p:spTree>
    <p:extLst>
      <p:ext uri="{BB962C8B-B14F-4D97-AF65-F5344CB8AC3E}">
        <p14:creationId xmlns:p14="http://schemas.microsoft.com/office/powerpoint/2010/main" val="32399798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just">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12</a:t>
            </a:fld>
            <a:endParaRPr lang="en-US" dirty="0"/>
          </a:p>
        </p:txBody>
      </p:sp>
    </p:spTree>
    <p:extLst>
      <p:ext uri="{BB962C8B-B14F-4D97-AF65-F5344CB8AC3E}">
        <p14:creationId xmlns:p14="http://schemas.microsoft.com/office/powerpoint/2010/main" val="13227954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1" kern="1200" dirty="0">
                <a:solidFill>
                  <a:schemeClr val="tx1"/>
                </a:solidFill>
                <a:effectLst/>
                <a:latin typeface="Arial" panose="020B0604020202020204" pitchFamily="34" charset="0"/>
                <a:ea typeface="+mn-ea"/>
                <a:cs typeface="Arial" panose="020B0604020202020204" pitchFamily="34" charset="0"/>
              </a:rPr>
              <a:t>Page 3 of the Common Practice (10 of whole document)</a:t>
            </a:r>
          </a:p>
          <a:p>
            <a:pPr marL="0" indent="0" algn="just">
              <a:buFont typeface="Arial" panose="020B0604020202020204" pitchFamily="34" charset="0"/>
              <a:buNone/>
            </a:pPr>
            <a:endParaRPr lang="en-US" sz="12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13</a:t>
            </a:fld>
            <a:endParaRPr lang="en-US" dirty="0"/>
          </a:p>
        </p:txBody>
      </p:sp>
    </p:spTree>
    <p:extLst>
      <p:ext uri="{BB962C8B-B14F-4D97-AF65-F5344CB8AC3E}">
        <p14:creationId xmlns:p14="http://schemas.microsoft.com/office/powerpoint/2010/main" val="16801014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1" kern="1200" dirty="0">
                <a:solidFill>
                  <a:schemeClr val="tx1"/>
                </a:solidFill>
                <a:effectLst/>
                <a:latin typeface="Arial" panose="020B0604020202020204" pitchFamily="34" charset="0"/>
                <a:ea typeface="+mn-ea"/>
                <a:cs typeface="Arial" panose="020B0604020202020204" pitchFamily="34" charset="0"/>
              </a:rPr>
              <a:t>Page 3 of the Common Practice (10 of whole document)</a:t>
            </a:r>
          </a:p>
          <a:p>
            <a:pPr marL="0" indent="0" algn="just">
              <a:buFont typeface="Arial" panose="020B0604020202020204" pitchFamily="34" charset="0"/>
              <a:buNone/>
            </a:pPr>
            <a:endParaRPr lang="en-US" sz="12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14</a:t>
            </a:fld>
            <a:endParaRPr lang="en-US" dirty="0"/>
          </a:p>
        </p:txBody>
      </p:sp>
    </p:spTree>
    <p:extLst>
      <p:ext uri="{BB962C8B-B14F-4D97-AF65-F5344CB8AC3E}">
        <p14:creationId xmlns:p14="http://schemas.microsoft.com/office/powerpoint/2010/main" val="37602373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just">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15</a:t>
            </a:fld>
            <a:endParaRPr lang="en-US" dirty="0"/>
          </a:p>
        </p:txBody>
      </p:sp>
    </p:spTree>
    <p:extLst>
      <p:ext uri="{BB962C8B-B14F-4D97-AF65-F5344CB8AC3E}">
        <p14:creationId xmlns:p14="http://schemas.microsoft.com/office/powerpoint/2010/main" val="4355833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1" kern="1200" dirty="0">
                <a:solidFill>
                  <a:schemeClr val="tx1"/>
                </a:solidFill>
                <a:effectLst/>
                <a:latin typeface="Arial" panose="020B0604020202020204" pitchFamily="34" charset="0"/>
                <a:ea typeface="+mn-ea"/>
                <a:cs typeface="Arial" panose="020B0604020202020204" pitchFamily="34" charset="0"/>
              </a:rPr>
              <a:t>Page 4 of the Common Communication .</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GB" sz="1200" b="1" kern="1200" dirty="0">
              <a:solidFill>
                <a:schemeClr val="tx1"/>
              </a:solidFill>
              <a:effectLst/>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1" kern="1200" dirty="0">
                <a:solidFill>
                  <a:schemeClr val="tx1"/>
                </a:solidFill>
                <a:effectLst/>
                <a:latin typeface="Arial" panose="020B0604020202020204" pitchFamily="34" charset="0"/>
                <a:ea typeface="+mn-ea"/>
                <a:cs typeface="Arial" panose="020B0604020202020204" pitchFamily="34" charset="0"/>
              </a:rPr>
              <a:t>(*) Updated information on HU IPO will be accessible in the link to the table.</a:t>
            </a: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16</a:t>
            </a:fld>
            <a:endParaRPr lang="en-US" dirty="0"/>
          </a:p>
        </p:txBody>
      </p:sp>
    </p:spTree>
    <p:extLst>
      <p:ext uri="{BB962C8B-B14F-4D97-AF65-F5344CB8AC3E}">
        <p14:creationId xmlns:p14="http://schemas.microsoft.com/office/powerpoint/2010/main" val="423374693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just">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17</a:t>
            </a:fld>
            <a:endParaRPr lang="en-US" dirty="0"/>
          </a:p>
        </p:txBody>
      </p:sp>
    </p:spTree>
    <p:extLst>
      <p:ext uri="{BB962C8B-B14F-4D97-AF65-F5344CB8AC3E}">
        <p14:creationId xmlns:p14="http://schemas.microsoft.com/office/powerpoint/2010/main" val="22417261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b="1" dirty="0"/>
              <a:t>Page 2 of the Common Communication and 3-4 of the Common Practice (10-11 of the whole document)</a:t>
            </a:r>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18</a:t>
            </a:fld>
            <a:endParaRPr lang="en-US" dirty="0"/>
          </a:p>
        </p:txBody>
      </p:sp>
    </p:spTree>
    <p:extLst>
      <p:ext uri="{BB962C8B-B14F-4D97-AF65-F5344CB8AC3E}">
        <p14:creationId xmlns:p14="http://schemas.microsoft.com/office/powerpoint/2010/main" val="149437326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s 2 of the Common Communication and 5-6 of the Common Practice (14 of the whole document)</a:t>
            </a:r>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19</a:t>
            </a:fld>
            <a:endParaRPr lang="en-US" dirty="0"/>
          </a:p>
        </p:txBody>
      </p:sp>
    </p:spTree>
    <p:extLst>
      <p:ext uri="{BB962C8B-B14F-4D97-AF65-F5344CB8AC3E}">
        <p14:creationId xmlns:p14="http://schemas.microsoft.com/office/powerpoint/2010/main" val="3369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just">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2</a:t>
            </a:fld>
            <a:endParaRPr lang="en-US" dirty="0"/>
          </a:p>
        </p:txBody>
      </p:sp>
    </p:spTree>
    <p:extLst>
      <p:ext uri="{BB962C8B-B14F-4D97-AF65-F5344CB8AC3E}">
        <p14:creationId xmlns:p14="http://schemas.microsoft.com/office/powerpoint/2010/main" val="232775639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2 of the Common Communication and 7 of the Common Practice (14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20</a:t>
            </a:fld>
            <a:endParaRPr lang="en-US" dirty="0"/>
          </a:p>
        </p:txBody>
      </p:sp>
    </p:spTree>
    <p:extLst>
      <p:ext uri="{BB962C8B-B14F-4D97-AF65-F5344CB8AC3E}">
        <p14:creationId xmlns:p14="http://schemas.microsoft.com/office/powerpoint/2010/main" val="15464429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2 of the Common Communication and 7 of the Common Practice (14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21</a:t>
            </a:fld>
            <a:endParaRPr lang="en-US" dirty="0"/>
          </a:p>
        </p:txBody>
      </p:sp>
    </p:spTree>
    <p:extLst>
      <p:ext uri="{BB962C8B-B14F-4D97-AF65-F5344CB8AC3E}">
        <p14:creationId xmlns:p14="http://schemas.microsoft.com/office/powerpoint/2010/main" val="14609261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s 2-3 of the Common Communication and Page 8 of the Common Practice (15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22</a:t>
            </a:fld>
            <a:endParaRPr lang="en-US" dirty="0"/>
          </a:p>
        </p:txBody>
      </p:sp>
    </p:spTree>
    <p:extLst>
      <p:ext uri="{BB962C8B-B14F-4D97-AF65-F5344CB8AC3E}">
        <p14:creationId xmlns:p14="http://schemas.microsoft.com/office/powerpoint/2010/main" val="297688779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3 of the Common Communication and 8 of the Common Practice (15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23</a:t>
            </a:fld>
            <a:endParaRPr lang="en-US" dirty="0"/>
          </a:p>
        </p:txBody>
      </p:sp>
    </p:spTree>
    <p:extLst>
      <p:ext uri="{BB962C8B-B14F-4D97-AF65-F5344CB8AC3E}">
        <p14:creationId xmlns:p14="http://schemas.microsoft.com/office/powerpoint/2010/main" val="326863312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9 of the Common Practice (16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24</a:t>
            </a:fld>
            <a:endParaRPr lang="en-US" dirty="0"/>
          </a:p>
        </p:txBody>
      </p:sp>
    </p:spTree>
    <p:extLst>
      <p:ext uri="{BB962C8B-B14F-4D97-AF65-F5344CB8AC3E}">
        <p14:creationId xmlns:p14="http://schemas.microsoft.com/office/powerpoint/2010/main" val="73184635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10 of the Common Practice (17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25</a:t>
            </a:fld>
            <a:endParaRPr lang="en-US" dirty="0"/>
          </a:p>
        </p:txBody>
      </p:sp>
    </p:spTree>
    <p:extLst>
      <p:ext uri="{BB962C8B-B14F-4D97-AF65-F5344CB8AC3E}">
        <p14:creationId xmlns:p14="http://schemas.microsoft.com/office/powerpoint/2010/main" val="17989746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10 of the Common Practice (17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26</a:t>
            </a:fld>
            <a:endParaRPr lang="en-US" dirty="0"/>
          </a:p>
        </p:txBody>
      </p:sp>
    </p:spTree>
    <p:extLst>
      <p:ext uri="{BB962C8B-B14F-4D97-AF65-F5344CB8AC3E}">
        <p14:creationId xmlns:p14="http://schemas.microsoft.com/office/powerpoint/2010/main" val="1581232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11 of the Common Practice (18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27</a:t>
            </a:fld>
            <a:endParaRPr lang="en-US" dirty="0"/>
          </a:p>
        </p:txBody>
      </p:sp>
    </p:spTree>
    <p:extLst>
      <p:ext uri="{BB962C8B-B14F-4D97-AF65-F5344CB8AC3E}">
        <p14:creationId xmlns:p14="http://schemas.microsoft.com/office/powerpoint/2010/main" val="221662758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11 of the Common Practice (18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28</a:t>
            </a:fld>
            <a:endParaRPr lang="en-US" dirty="0"/>
          </a:p>
        </p:txBody>
      </p:sp>
    </p:spTree>
    <p:extLst>
      <p:ext uri="{BB962C8B-B14F-4D97-AF65-F5344CB8AC3E}">
        <p14:creationId xmlns:p14="http://schemas.microsoft.com/office/powerpoint/2010/main" val="319467839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s 12-13 of the Common Practice (19-20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29</a:t>
            </a:fld>
            <a:endParaRPr lang="en-US" dirty="0"/>
          </a:p>
        </p:txBody>
      </p:sp>
    </p:spTree>
    <p:extLst>
      <p:ext uri="{BB962C8B-B14F-4D97-AF65-F5344CB8AC3E}">
        <p14:creationId xmlns:p14="http://schemas.microsoft.com/office/powerpoint/2010/main" val="6483113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just">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3</a:t>
            </a:fld>
            <a:endParaRPr lang="en-US" dirty="0"/>
          </a:p>
        </p:txBody>
      </p:sp>
    </p:spTree>
    <p:extLst>
      <p:ext uri="{BB962C8B-B14F-4D97-AF65-F5344CB8AC3E}">
        <p14:creationId xmlns:p14="http://schemas.microsoft.com/office/powerpoint/2010/main" val="141866994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s 13-14 of the Common Practice (20-21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30</a:t>
            </a:fld>
            <a:endParaRPr lang="en-US" dirty="0"/>
          </a:p>
        </p:txBody>
      </p:sp>
    </p:spTree>
    <p:extLst>
      <p:ext uri="{BB962C8B-B14F-4D97-AF65-F5344CB8AC3E}">
        <p14:creationId xmlns:p14="http://schemas.microsoft.com/office/powerpoint/2010/main" val="30309205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s 14-15 of the Common Practice (21-22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31</a:t>
            </a:fld>
            <a:endParaRPr lang="en-US" dirty="0"/>
          </a:p>
        </p:txBody>
      </p:sp>
    </p:spTree>
    <p:extLst>
      <p:ext uri="{BB962C8B-B14F-4D97-AF65-F5344CB8AC3E}">
        <p14:creationId xmlns:p14="http://schemas.microsoft.com/office/powerpoint/2010/main" val="32534832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16 of the Common Practice (23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dirty="0"/>
              <a:t> </a:t>
            </a:r>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32</a:t>
            </a:fld>
            <a:endParaRPr lang="en-US" dirty="0"/>
          </a:p>
        </p:txBody>
      </p:sp>
    </p:spTree>
    <p:extLst>
      <p:ext uri="{BB962C8B-B14F-4D97-AF65-F5344CB8AC3E}">
        <p14:creationId xmlns:p14="http://schemas.microsoft.com/office/powerpoint/2010/main" val="41828185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16 of the Common Practice (23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33</a:t>
            </a:fld>
            <a:endParaRPr lang="en-US" dirty="0"/>
          </a:p>
        </p:txBody>
      </p:sp>
    </p:spTree>
    <p:extLst>
      <p:ext uri="{BB962C8B-B14F-4D97-AF65-F5344CB8AC3E}">
        <p14:creationId xmlns:p14="http://schemas.microsoft.com/office/powerpoint/2010/main" val="3245493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3 of the Common Communication and 17 of the Common Practice (24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34</a:t>
            </a:fld>
            <a:endParaRPr lang="en-US" dirty="0"/>
          </a:p>
        </p:txBody>
      </p:sp>
    </p:spTree>
    <p:extLst>
      <p:ext uri="{BB962C8B-B14F-4D97-AF65-F5344CB8AC3E}">
        <p14:creationId xmlns:p14="http://schemas.microsoft.com/office/powerpoint/2010/main" val="365672378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3-4 of the Common Communication and 18 of the Common Practice (25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35</a:t>
            </a:fld>
            <a:endParaRPr lang="en-US" dirty="0"/>
          </a:p>
        </p:txBody>
      </p:sp>
    </p:spTree>
    <p:extLst>
      <p:ext uri="{BB962C8B-B14F-4D97-AF65-F5344CB8AC3E}">
        <p14:creationId xmlns:p14="http://schemas.microsoft.com/office/powerpoint/2010/main" val="326440452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4 of the Common Communication and 18-19 of the Common Practice (25-26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36</a:t>
            </a:fld>
            <a:endParaRPr lang="en-US" dirty="0"/>
          </a:p>
        </p:txBody>
      </p:sp>
    </p:spTree>
    <p:extLst>
      <p:ext uri="{BB962C8B-B14F-4D97-AF65-F5344CB8AC3E}">
        <p14:creationId xmlns:p14="http://schemas.microsoft.com/office/powerpoint/2010/main" val="292984174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19 of the Common Practice (26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37</a:t>
            </a:fld>
            <a:endParaRPr lang="en-US" dirty="0"/>
          </a:p>
        </p:txBody>
      </p:sp>
    </p:spTree>
    <p:extLst>
      <p:ext uri="{BB962C8B-B14F-4D97-AF65-F5344CB8AC3E}">
        <p14:creationId xmlns:p14="http://schemas.microsoft.com/office/powerpoint/2010/main" val="3132945365"/>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19-20 of the Common Practice (26-27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38</a:t>
            </a:fld>
            <a:endParaRPr lang="en-US" dirty="0"/>
          </a:p>
        </p:txBody>
      </p:sp>
    </p:spTree>
    <p:extLst>
      <p:ext uri="{BB962C8B-B14F-4D97-AF65-F5344CB8AC3E}">
        <p14:creationId xmlns:p14="http://schemas.microsoft.com/office/powerpoint/2010/main" val="166847113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22 of the Common Practice (29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39</a:t>
            </a:fld>
            <a:endParaRPr lang="en-US" dirty="0"/>
          </a:p>
        </p:txBody>
      </p:sp>
    </p:spTree>
    <p:extLst>
      <p:ext uri="{BB962C8B-B14F-4D97-AF65-F5344CB8AC3E}">
        <p14:creationId xmlns:p14="http://schemas.microsoft.com/office/powerpoint/2010/main" val="21081449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4</a:t>
            </a:fld>
            <a:endParaRPr lang="en-US" dirty="0"/>
          </a:p>
        </p:txBody>
      </p:sp>
    </p:spTree>
    <p:extLst>
      <p:ext uri="{BB962C8B-B14F-4D97-AF65-F5344CB8AC3E}">
        <p14:creationId xmlns:p14="http://schemas.microsoft.com/office/powerpoint/2010/main" val="376554434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22 of the Common Practice (29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40</a:t>
            </a:fld>
            <a:endParaRPr lang="en-US" dirty="0"/>
          </a:p>
        </p:txBody>
      </p:sp>
    </p:spTree>
    <p:extLst>
      <p:ext uri="{BB962C8B-B14F-4D97-AF65-F5344CB8AC3E}">
        <p14:creationId xmlns:p14="http://schemas.microsoft.com/office/powerpoint/2010/main" val="427515089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23 of the Common Practice (30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41</a:t>
            </a:fld>
            <a:endParaRPr lang="en-US" dirty="0"/>
          </a:p>
        </p:txBody>
      </p:sp>
    </p:spTree>
    <p:extLst>
      <p:ext uri="{BB962C8B-B14F-4D97-AF65-F5344CB8AC3E}">
        <p14:creationId xmlns:p14="http://schemas.microsoft.com/office/powerpoint/2010/main" val="116704259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24 of the Common Practice (31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42</a:t>
            </a:fld>
            <a:endParaRPr lang="en-US" dirty="0"/>
          </a:p>
        </p:txBody>
      </p:sp>
    </p:spTree>
    <p:extLst>
      <p:ext uri="{BB962C8B-B14F-4D97-AF65-F5344CB8AC3E}">
        <p14:creationId xmlns:p14="http://schemas.microsoft.com/office/powerpoint/2010/main" val="55523295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25 of the Common Practice (32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43</a:t>
            </a:fld>
            <a:endParaRPr lang="en-US" dirty="0"/>
          </a:p>
        </p:txBody>
      </p:sp>
    </p:spTree>
    <p:extLst>
      <p:ext uri="{BB962C8B-B14F-4D97-AF65-F5344CB8AC3E}">
        <p14:creationId xmlns:p14="http://schemas.microsoft.com/office/powerpoint/2010/main" val="208028802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25 of the Common Practice (32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44</a:t>
            </a:fld>
            <a:endParaRPr lang="en-US" dirty="0"/>
          </a:p>
        </p:txBody>
      </p:sp>
    </p:spTree>
    <p:extLst>
      <p:ext uri="{BB962C8B-B14F-4D97-AF65-F5344CB8AC3E}">
        <p14:creationId xmlns:p14="http://schemas.microsoft.com/office/powerpoint/2010/main" val="242671202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26 of the Common Practice (33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45</a:t>
            </a:fld>
            <a:endParaRPr lang="en-US" dirty="0"/>
          </a:p>
        </p:txBody>
      </p:sp>
    </p:spTree>
    <p:extLst>
      <p:ext uri="{BB962C8B-B14F-4D97-AF65-F5344CB8AC3E}">
        <p14:creationId xmlns:p14="http://schemas.microsoft.com/office/powerpoint/2010/main" val="243308327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26 of the Common Practice (33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46</a:t>
            </a:fld>
            <a:endParaRPr lang="en-US" dirty="0"/>
          </a:p>
        </p:txBody>
      </p:sp>
    </p:spTree>
    <p:extLst>
      <p:ext uri="{BB962C8B-B14F-4D97-AF65-F5344CB8AC3E}">
        <p14:creationId xmlns:p14="http://schemas.microsoft.com/office/powerpoint/2010/main" val="341627753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27 of the Common Practice (34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47</a:t>
            </a:fld>
            <a:endParaRPr lang="en-US" dirty="0"/>
          </a:p>
        </p:txBody>
      </p:sp>
    </p:spTree>
    <p:extLst>
      <p:ext uri="{BB962C8B-B14F-4D97-AF65-F5344CB8AC3E}">
        <p14:creationId xmlns:p14="http://schemas.microsoft.com/office/powerpoint/2010/main" val="24069388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27-28 of the Common Practice (34-35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48</a:t>
            </a:fld>
            <a:endParaRPr lang="en-US" dirty="0"/>
          </a:p>
        </p:txBody>
      </p:sp>
    </p:spTree>
    <p:extLst>
      <p:ext uri="{BB962C8B-B14F-4D97-AF65-F5344CB8AC3E}">
        <p14:creationId xmlns:p14="http://schemas.microsoft.com/office/powerpoint/2010/main" val="8046354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28 of the Common Practice (35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49</a:t>
            </a:fld>
            <a:endParaRPr lang="en-US" dirty="0"/>
          </a:p>
        </p:txBody>
      </p:sp>
    </p:spTree>
    <p:extLst>
      <p:ext uri="{BB962C8B-B14F-4D97-AF65-F5344CB8AC3E}">
        <p14:creationId xmlns:p14="http://schemas.microsoft.com/office/powerpoint/2010/main" val="39491565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5</a:t>
            </a:fld>
            <a:endParaRPr lang="en-US" dirty="0"/>
          </a:p>
        </p:txBody>
      </p:sp>
    </p:spTree>
    <p:extLst>
      <p:ext uri="{BB962C8B-B14F-4D97-AF65-F5344CB8AC3E}">
        <p14:creationId xmlns:p14="http://schemas.microsoft.com/office/powerpoint/2010/main" val="304179646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28 of the Common Practice (35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50</a:t>
            </a:fld>
            <a:endParaRPr lang="en-US" dirty="0"/>
          </a:p>
        </p:txBody>
      </p:sp>
    </p:spTree>
    <p:extLst>
      <p:ext uri="{BB962C8B-B14F-4D97-AF65-F5344CB8AC3E}">
        <p14:creationId xmlns:p14="http://schemas.microsoft.com/office/powerpoint/2010/main" val="2303182786"/>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29 of the Common Practice (36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51</a:t>
            </a:fld>
            <a:endParaRPr lang="en-US" dirty="0"/>
          </a:p>
        </p:txBody>
      </p:sp>
    </p:spTree>
    <p:extLst>
      <p:ext uri="{BB962C8B-B14F-4D97-AF65-F5344CB8AC3E}">
        <p14:creationId xmlns:p14="http://schemas.microsoft.com/office/powerpoint/2010/main" val="369863565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29 of the Common Practice (36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52</a:t>
            </a:fld>
            <a:endParaRPr lang="en-US" dirty="0"/>
          </a:p>
        </p:txBody>
      </p:sp>
    </p:spTree>
    <p:extLst>
      <p:ext uri="{BB962C8B-B14F-4D97-AF65-F5344CB8AC3E}">
        <p14:creationId xmlns:p14="http://schemas.microsoft.com/office/powerpoint/2010/main" val="115100863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30 of the Common Practice (37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53</a:t>
            </a:fld>
            <a:endParaRPr lang="en-US" dirty="0"/>
          </a:p>
        </p:txBody>
      </p:sp>
    </p:spTree>
    <p:extLst>
      <p:ext uri="{BB962C8B-B14F-4D97-AF65-F5344CB8AC3E}">
        <p14:creationId xmlns:p14="http://schemas.microsoft.com/office/powerpoint/2010/main" val="154225083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31 of the Common Practice (38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sz="12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54</a:t>
            </a:fld>
            <a:endParaRPr lang="en-US" dirty="0"/>
          </a:p>
        </p:txBody>
      </p:sp>
    </p:spTree>
    <p:extLst>
      <p:ext uri="{BB962C8B-B14F-4D97-AF65-F5344CB8AC3E}">
        <p14:creationId xmlns:p14="http://schemas.microsoft.com/office/powerpoint/2010/main" val="232683344"/>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31 of the Common Practice (38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55</a:t>
            </a:fld>
            <a:endParaRPr lang="en-US" dirty="0"/>
          </a:p>
        </p:txBody>
      </p:sp>
    </p:spTree>
    <p:extLst>
      <p:ext uri="{BB962C8B-B14F-4D97-AF65-F5344CB8AC3E}">
        <p14:creationId xmlns:p14="http://schemas.microsoft.com/office/powerpoint/2010/main" val="332658127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32 of the Common Practice (39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56</a:t>
            </a:fld>
            <a:endParaRPr lang="en-US" dirty="0"/>
          </a:p>
        </p:txBody>
      </p:sp>
    </p:spTree>
    <p:extLst>
      <p:ext uri="{BB962C8B-B14F-4D97-AF65-F5344CB8AC3E}">
        <p14:creationId xmlns:p14="http://schemas.microsoft.com/office/powerpoint/2010/main" val="1460213166"/>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34 of the Common Practice (41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57</a:t>
            </a:fld>
            <a:endParaRPr lang="en-US" dirty="0"/>
          </a:p>
        </p:txBody>
      </p:sp>
    </p:spTree>
    <p:extLst>
      <p:ext uri="{BB962C8B-B14F-4D97-AF65-F5344CB8AC3E}">
        <p14:creationId xmlns:p14="http://schemas.microsoft.com/office/powerpoint/2010/main" val="60159225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34-35 of the Common Practice (41-42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58</a:t>
            </a:fld>
            <a:endParaRPr lang="en-US" dirty="0"/>
          </a:p>
        </p:txBody>
      </p:sp>
    </p:spTree>
    <p:extLst>
      <p:ext uri="{BB962C8B-B14F-4D97-AF65-F5344CB8AC3E}">
        <p14:creationId xmlns:p14="http://schemas.microsoft.com/office/powerpoint/2010/main" val="198929386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36 of the Common Practice (43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59</a:t>
            </a:fld>
            <a:endParaRPr lang="en-US" dirty="0"/>
          </a:p>
        </p:txBody>
      </p:sp>
    </p:spTree>
    <p:extLst>
      <p:ext uri="{BB962C8B-B14F-4D97-AF65-F5344CB8AC3E}">
        <p14:creationId xmlns:p14="http://schemas.microsoft.com/office/powerpoint/2010/main" val="27737436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just">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6</a:t>
            </a:fld>
            <a:endParaRPr lang="en-US" dirty="0"/>
          </a:p>
        </p:txBody>
      </p:sp>
    </p:spTree>
    <p:extLst>
      <p:ext uri="{BB962C8B-B14F-4D97-AF65-F5344CB8AC3E}">
        <p14:creationId xmlns:p14="http://schemas.microsoft.com/office/powerpoint/2010/main" val="69622152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36-37 of the Common Practice (43-44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60</a:t>
            </a:fld>
            <a:endParaRPr lang="en-US" dirty="0"/>
          </a:p>
        </p:txBody>
      </p:sp>
    </p:spTree>
    <p:extLst>
      <p:ext uri="{BB962C8B-B14F-4D97-AF65-F5344CB8AC3E}">
        <p14:creationId xmlns:p14="http://schemas.microsoft.com/office/powerpoint/2010/main" val="86488827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38 of the Common Practice (45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61</a:t>
            </a:fld>
            <a:endParaRPr lang="en-US" dirty="0"/>
          </a:p>
        </p:txBody>
      </p:sp>
    </p:spTree>
    <p:extLst>
      <p:ext uri="{BB962C8B-B14F-4D97-AF65-F5344CB8AC3E}">
        <p14:creationId xmlns:p14="http://schemas.microsoft.com/office/powerpoint/2010/main" val="52530329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38 of the Common Practice (45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62</a:t>
            </a:fld>
            <a:endParaRPr lang="en-US" dirty="0"/>
          </a:p>
        </p:txBody>
      </p:sp>
    </p:spTree>
    <p:extLst>
      <p:ext uri="{BB962C8B-B14F-4D97-AF65-F5344CB8AC3E}">
        <p14:creationId xmlns:p14="http://schemas.microsoft.com/office/powerpoint/2010/main" val="417508478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39 of the Common Practice (46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63</a:t>
            </a:fld>
            <a:endParaRPr lang="en-US" dirty="0"/>
          </a:p>
        </p:txBody>
      </p:sp>
    </p:spTree>
    <p:extLst>
      <p:ext uri="{BB962C8B-B14F-4D97-AF65-F5344CB8AC3E}">
        <p14:creationId xmlns:p14="http://schemas.microsoft.com/office/powerpoint/2010/main" val="3650249813"/>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39 of the Common Practice (46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64</a:t>
            </a:fld>
            <a:endParaRPr lang="en-US" dirty="0"/>
          </a:p>
        </p:txBody>
      </p:sp>
    </p:spTree>
    <p:extLst>
      <p:ext uri="{BB962C8B-B14F-4D97-AF65-F5344CB8AC3E}">
        <p14:creationId xmlns:p14="http://schemas.microsoft.com/office/powerpoint/2010/main" val="387467532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40 of the Common Practice (47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65</a:t>
            </a:fld>
            <a:endParaRPr lang="en-US" dirty="0"/>
          </a:p>
        </p:txBody>
      </p:sp>
    </p:spTree>
    <p:extLst>
      <p:ext uri="{BB962C8B-B14F-4D97-AF65-F5344CB8AC3E}">
        <p14:creationId xmlns:p14="http://schemas.microsoft.com/office/powerpoint/2010/main" val="319812459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b="1" dirty="0"/>
              <a:t>Page 40 of the Common Practice (47 of the whole document)</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66</a:t>
            </a:fld>
            <a:endParaRPr lang="en-US" dirty="0"/>
          </a:p>
        </p:txBody>
      </p:sp>
    </p:spTree>
    <p:extLst>
      <p:ext uri="{BB962C8B-B14F-4D97-AF65-F5344CB8AC3E}">
        <p14:creationId xmlns:p14="http://schemas.microsoft.com/office/powerpoint/2010/main" val="413444591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endParaRPr lang="en-GB" dirty="0"/>
          </a:p>
        </p:txBody>
      </p:sp>
      <p:sp>
        <p:nvSpPr>
          <p:cNvPr id="4" name="Slide Number Placeholder 3"/>
          <p:cNvSpPr>
            <a:spLocks noGrp="1"/>
          </p:cNvSpPr>
          <p:nvPr>
            <p:ph type="sldNum" sz="quarter" idx="5"/>
          </p:nvPr>
        </p:nvSpPr>
        <p:spPr/>
        <p:txBody>
          <a:bodyPr/>
          <a:lstStyle/>
          <a:p>
            <a:fld id="{207EB680-4694-4CC4-8896-75A813D9F12D}" type="slidenum">
              <a:rPr lang="en-IE" smtClean="0"/>
              <a:t>67</a:t>
            </a:fld>
            <a:endParaRPr lang="en-IE"/>
          </a:p>
        </p:txBody>
      </p:sp>
    </p:spTree>
    <p:extLst>
      <p:ext uri="{BB962C8B-B14F-4D97-AF65-F5344CB8AC3E}">
        <p14:creationId xmlns:p14="http://schemas.microsoft.com/office/powerpoint/2010/main" val="49914161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defTabSz="966224">
              <a:defRPr/>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7</a:t>
            </a:fld>
            <a:endParaRPr lang="en-US" dirty="0"/>
          </a:p>
        </p:txBody>
      </p:sp>
    </p:spTree>
    <p:extLst>
      <p:ext uri="{BB962C8B-B14F-4D97-AF65-F5344CB8AC3E}">
        <p14:creationId xmlns:p14="http://schemas.microsoft.com/office/powerpoint/2010/main" val="21478370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just">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8</a:t>
            </a:fld>
            <a:endParaRPr lang="en-US" dirty="0"/>
          </a:p>
        </p:txBody>
      </p:sp>
    </p:spTree>
    <p:extLst>
      <p:ext uri="{BB962C8B-B14F-4D97-AF65-F5344CB8AC3E}">
        <p14:creationId xmlns:p14="http://schemas.microsoft.com/office/powerpoint/2010/main" val="5941765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just">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a:defRPr/>
            </a:pPr>
            <a:fld id="{DB19E439-0A36-4389-B1D4-036D35E9F4EA}" type="slidenum">
              <a:rPr lang="en-US"/>
              <a:pPr>
                <a:defRPr/>
              </a:pPr>
              <a:t>9</a:t>
            </a:fld>
            <a:endParaRPr lang="en-US" dirty="0"/>
          </a:p>
        </p:txBody>
      </p:sp>
    </p:spTree>
    <p:extLst>
      <p:ext uri="{BB962C8B-B14F-4D97-AF65-F5344CB8AC3E}">
        <p14:creationId xmlns:p14="http://schemas.microsoft.com/office/powerpoint/2010/main" val="40275756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3A271B8F-1533-C54E-AA52-E1B7E4925B16}" type="datetimeFigureOut">
              <a:rPr lang="en-US" smtClean="0"/>
              <a:t>4/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819CF0A-C2A7-714A-9FE8-A737F5D641C0}" type="slidenum">
              <a:rPr lang="en-US" smtClean="0"/>
              <a:t>‹#›</a:t>
            </a:fld>
            <a:endParaRPr lang="en-US"/>
          </a:p>
        </p:txBody>
      </p:sp>
    </p:spTree>
    <p:extLst>
      <p:ext uri="{BB962C8B-B14F-4D97-AF65-F5344CB8AC3E}">
        <p14:creationId xmlns:p14="http://schemas.microsoft.com/office/powerpoint/2010/main" val="19198246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A271B8F-1533-C54E-AA52-E1B7E4925B16}" type="datetimeFigureOut">
              <a:rPr lang="en-US" smtClean="0"/>
              <a:t>4/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819CF0A-C2A7-714A-9FE8-A737F5D641C0}" type="slidenum">
              <a:rPr lang="en-US" smtClean="0"/>
              <a:t>‹#›</a:t>
            </a:fld>
            <a:endParaRPr lang="en-US"/>
          </a:p>
        </p:txBody>
      </p:sp>
    </p:spTree>
    <p:extLst>
      <p:ext uri="{BB962C8B-B14F-4D97-AF65-F5344CB8AC3E}">
        <p14:creationId xmlns:p14="http://schemas.microsoft.com/office/powerpoint/2010/main" val="16002830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79"/>
            <a:ext cx="2057400" cy="438864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5979"/>
            <a:ext cx="6019800" cy="4388644"/>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A271B8F-1533-C54E-AA52-E1B7E4925B16}" type="datetimeFigureOut">
              <a:rPr lang="en-US" smtClean="0"/>
              <a:t>4/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819CF0A-C2A7-714A-9FE8-A737F5D641C0}" type="slidenum">
              <a:rPr lang="en-US" smtClean="0"/>
              <a:t>‹#›</a:t>
            </a:fld>
            <a:endParaRPr lang="en-US"/>
          </a:p>
        </p:txBody>
      </p:sp>
    </p:spTree>
    <p:extLst>
      <p:ext uri="{BB962C8B-B14F-4D97-AF65-F5344CB8AC3E}">
        <p14:creationId xmlns:p14="http://schemas.microsoft.com/office/powerpoint/2010/main" val="28132558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352425" y="301940"/>
            <a:ext cx="8439150" cy="523876"/>
          </a:xfrm>
          <a:prstGeom prst="rect">
            <a:avLst/>
          </a:prstGeom>
        </p:spPr>
        <p:txBody>
          <a:bodyPr vert="horz" lIns="0" tIns="0" rIns="0" bIns="0" rtlCol="0" anchor="t" anchorCtr="0">
            <a:noAutofit/>
          </a:bodyPr>
          <a:lstStyle>
            <a:lvl1pPr>
              <a:defRPr sz="1500"/>
            </a:lvl1pPr>
          </a:lstStyle>
          <a:p>
            <a:r>
              <a:rPr lang="en-GB" noProof="0" dirty="0"/>
              <a:t>Click to edit Master title style</a:t>
            </a:r>
          </a:p>
        </p:txBody>
      </p:sp>
      <p:sp>
        <p:nvSpPr>
          <p:cNvPr id="4" name="Text Placeholder 8"/>
          <p:cNvSpPr>
            <a:spLocks noGrp="1"/>
          </p:cNvSpPr>
          <p:nvPr>
            <p:ph type="body" sz="quarter" idx="13" hasCustomPrompt="1"/>
          </p:nvPr>
        </p:nvSpPr>
        <p:spPr>
          <a:xfrm>
            <a:off x="352425" y="552517"/>
            <a:ext cx="8439150" cy="567941"/>
          </a:xfrm>
          <a:prstGeom prst="rect">
            <a:avLst/>
          </a:prstGeom>
        </p:spPr>
        <p:txBody>
          <a:bodyPr lIns="0" tIns="0" rIns="0" bIns="0">
            <a:noAutofit/>
          </a:bodyPr>
          <a:lstStyle>
            <a:lvl1pPr marL="0" indent="0">
              <a:buNone/>
              <a:defRPr sz="1500" b="0">
                <a:solidFill>
                  <a:srgbClr val="575757"/>
                </a:solidFill>
              </a:defRPr>
            </a:lvl1pPr>
          </a:lstStyle>
          <a:p>
            <a:pPr lvl="0"/>
            <a:r>
              <a:rPr lang="en-GB" noProof="0" dirty="0"/>
              <a:t>Click to add subtitle</a:t>
            </a:r>
          </a:p>
        </p:txBody>
      </p:sp>
      <p:sp>
        <p:nvSpPr>
          <p:cNvPr id="2" name="Footer Placeholder 1"/>
          <p:cNvSpPr>
            <a:spLocks noGrp="1"/>
          </p:cNvSpPr>
          <p:nvPr>
            <p:ph type="ftr" sz="quarter" idx="14"/>
          </p:nvPr>
        </p:nvSpPr>
        <p:spPr/>
        <p:txBody>
          <a:bodyPr/>
          <a:lstStyle/>
          <a:p>
            <a:endParaRPr lang="en-GB" dirty="0"/>
          </a:p>
        </p:txBody>
      </p:sp>
    </p:spTree>
    <p:extLst>
      <p:ext uri="{BB962C8B-B14F-4D97-AF65-F5344CB8AC3E}">
        <p14:creationId xmlns:p14="http://schemas.microsoft.com/office/powerpoint/2010/main" val="3478839230"/>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0"/>
            <a:ext cx="7772400" cy="1102519"/>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8"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2"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3A271B8F-1533-C54E-AA52-E1B7E4925B16}" type="datetimeFigureOut">
              <a:rPr lang="en-US" smtClean="0"/>
              <a:t>4/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819CF0A-C2A7-714A-9FE8-A737F5D641C0}" type="slidenum">
              <a:rPr lang="en-US" smtClean="0"/>
              <a:t>‹#›</a:t>
            </a:fld>
            <a:endParaRPr lang="en-US"/>
          </a:p>
        </p:txBody>
      </p:sp>
    </p:spTree>
    <p:extLst>
      <p:ext uri="{BB962C8B-B14F-4D97-AF65-F5344CB8AC3E}">
        <p14:creationId xmlns:p14="http://schemas.microsoft.com/office/powerpoint/2010/main" val="31282686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A271B8F-1533-C54E-AA52-E1B7E4925B16}" type="datetimeFigureOut">
              <a:rPr lang="en-US" smtClean="0"/>
              <a:t>4/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819CF0A-C2A7-714A-9FE8-A737F5D641C0}" type="slidenum">
              <a:rPr lang="en-US" smtClean="0"/>
              <a:t>‹#›</a:t>
            </a:fld>
            <a:endParaRPr lang="en-US"/>
          </a:p>
        </p:txBody>
      </p:sp>
      <p:sp>
        <p:nvSpPr>
          <p:cNvPr id="7" name="Rectangle 6">
            <a:extLst>
              <a:ext uri="{FF2B5EF4-FFF2-40B4-BE49-F238E27FC236}">
                <a16:creationId xmlns:a16="http://schemas.microsoft.com/office/drawing/2014/main" id="{36A037C9-EF14-4C11-8901-E31F7C77B839}"/>
              </a:ext>
            </a:extLst>
          </p:cNvPr>
          <p:cNvSpPr/>
          <p:nvPr userDrawn="1"/>
        </p:nvSpPr>
        <p:spPr>
          <a:xfrm>
            <a:off x="1792502" y="320980"/>
            <a:ext cx="7146325" cy="230832"/>
          </a:xfrm>
          <a:prstGeom prst="rect">
            <a:avLst/>
          </a:prstGeom>
        </p:spPr>
        <p:txBody>
          <a:bodyPr wrap="square">
            <a:spAutoFit/>
          </a:bodyPr>
          <a:lstStyle/>
          <a:p>
            <a:r>
              <a:rPr lang="en-US" sz="900" dirty="0">
                <a:solidFill>
                  <a:schemeClr val="bg1">
                    <a:lumMod val="50000"/>
                  </a:schemeClr>
                </a:solidFill>
                <a:latin typeface="Arial" panose="020B0604020202020204" pitchFamily="34" charset="0"/>
                <a:cs typeface="Arial" panose="020B0604020202020204" pitchFamily="34" charset="0"/>
              </a:rPr>
              <a:t>CP13 ‘Trade mark applications made in bad faith’ and CP14: ‘Trade marks contrary to public policy or to accepted principles of morality’</a:t>
            </a:r>
          </a:p>
        </p:txBody>
      </p:sp>
    </p:spTree>
    <p:extLst>
      <p:ext uri="{BB962C8B-B14F-4D97-AF65-F5344CB8AC3E}">
        <p14:creationId xmlns:p14="http://schemas.microsoft.com/office/powerpoint/2010/main" val="27659120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189" indent="0">
              <a:buNone/>
              <a:defRPr sz="1800">
                <a:solidFill>
                  <a:schemeClr val="tx1">
                    <a:tint val="75000"/>
                  </a:schemeClr>
                </a:solidFill>
              </a:defRPr>
            </a:lvl2pPr>
            <a:lvl3pPr marL="914378" indent="0">
              <a:buNone/>
              <a:defRPr sz="1600">
                <a:solidFill>
                  <a:schemeClr val="tx1">
                    <a:tint val="75000"/>
                  </a:schemeClr>
                </a:solidFill>
              </a:defRPr>
            </a:lvl3pPr>
            <a:lvl4pPr marL="1371566" indent="0">
              <a:buNone/>
              <a:defRPr sz="1400">
                <a:solidFill>
                  <a:schemeClr val="tx1">
                    <a:tint val="75000"/>
                  </a:schemeClr>
                </a:solidFill>
              </a:defRPr>
            </a:lvl4pPr>
            <a:lvl5pPr marL="1828754" indent="0">
              <a:buNone/>
              <a:defRPr sz="1400">
                <a:solidFill>
                  <a:schemeClr val="tx1">
                    <a:tint val="75000"/>
                  </a:schemeClr>
                </a:solidFill>
              </a:defRPr>
            </a:lvl5pPr>
            <a:lvl6pPr marL="2285943" indent="0">
              <a:buNone/>
              <a:defRPr sz="1400">
                <a:solidFill>
                  <a:schemeClr val="tx1">
                    <a:tint val="75000"/>
                  </a:schemeClr>
                </a:solidFill>
              </a:defRPr>
            </a:lvl6pPr>
            <a:lvl7pPr marL="2743132" indent="0">
              <a:buNone/>
              <a:defRPr sz="1400">
                <a:solidFill>
                  <a:schemeClr val="tx1">
                    <a:tint val="75000"/>
                  </a:schemeClr>
                </a:solidFill>
              </a:defRPr>
            </a:lvl7pPr>
            <a:lvl8pPr marL="3200320" indent="0">
              <a:buNone/>
              <a:defRPr sz="1400">
                <a:solidFill>
                  <a:schemeClr val="tx1">
                    <a:tint val="75000"/>
                  </a:schemeClr>
                </a:solidFill>
              </a:defRPr>
            </a:lvl8pPr>
            <a:lvl9pPr marL="3657509"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A271B8F-1533-C54E-AA52-E1B7E4925B16}" type="datetimeFigureOut">
              <a:rPr lang="en-US" smtClean="0"/>
              <a:t>4/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819CF0A-C2A7-714A-9FE8-A737F5D641C0}" type="slidenum">
              <a:rPr lang="en-US" smtClean="0"/>
              <a:t>‹#›</a:t>
            </a:fld>
            <a:endParaRPr lang="en-US"/>
          </a:p>
        </p:txBody>
      </p:sp>
    </p:spTree>
    <p:extLst>
      <p:ext uri="{BB962C8B-B14F-4D97-AF65-F5344CB8AC3E}">
        <p14:creationId xmlns:p14="http://schemas.microsoft.com/office/powerpoint/2010/main" val="16770457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A271B8F-1533-C54E-AA52-E1B7E4925B16}" type="datetimeFigureOut">
              <a:rPr lang="en-US" smtClean="0"/>
              <a:t>4/4/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819CF0A-C2A7-714A-9FE8-A737F5D641C0}" type="slidenum">
              <a:rPr lang="en-US" smtClean="0"/>
              <a:t>‹#›</a:t>
            </a:fld>
            <a:endParaRPr lang="en-US"/>
          </a:p>
        </p:txBody>
      </p:sp>
      <p:sp>
        <p:nvSpPr>
          <p:cNvPr id="8" name="Rectangle 7">
            <a:extLst>
              <a:ext uri="{FF2B5EF4-FFF2-40B4-BE49-F238E27FC236}">
                <a16:creationId xmlns:a16="http://schemas.microsoft.com/office/drawing/2014/main" id="{F35C3436-4E7E-456C-BE69-A159F20B0140}"/>
              </a:ext>
            </a:extLst>
          </p:cNvPr>
          <p:cNvSpPr/>
          <p:nvPr userDrawn="1"/>
        </p:nvSpPr>
        <p:spPr>
          <a:xfrm>
            <a:off x="1792502" y="320980"/>
            <a:ext cx="7146325" cy="230832"/>
          </a:xfrm>
          <a:prstGeom prst="rect">
            <a:avLst/>
          </a:prstGeom>
        </p:spPr>
        <p:txBody>
          <a:bodyPr wrap="square">
            <a:spAutoFit/>
          </a:bodyPr>
          <a:lstStyle/>
          <a:p>
            <a:r>
              <a:rPr lang="en-US" sz="900" dirty="0">
                <a:solidFill>
                  <a:schemeClr val="bg1">
                    <a:lumMod val="50000"/>
                  </a:schemeClr>
                </a:solidFill>
                <a:latin typeface="Arial" panose="020B0604020202020204" pitchFamily="34" charset="0"/>
                <a:cs typeface="Arial" panose="020B0604020202020204" pitchFamily="34" charset="0"/>
              </a:rPr>
              <a:t>CP13 ‘Trade mark applications made in bad faith’ and CP14: ‘Trade marks contrary to public policy or to accepted principles of morality’</a:t>
            </a:r>
          </a:p>
        </p:txBody>
      </p:sp>
    </p:spTree>
    <p:extLst>
      <p:ext uri="{BB962C8B-B14F-4D97-AF65-F5344CB8AC3E}">
        <p14:creationId xmlns:p14="http://schemas.microsoft.com/office/powerpoint/2010/main" val="14757715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7" y="1151335"/>
            <a:ext cx="4041775" cy="479822"/>
          </a:xfrm>
        </p:spPr>
        <p:txBody>
          <a:bodyPr anchor="b"/>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7"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A271B8F-1533-C54E-AA52-E1B7E4925B16}" type="datetimeFigureOut">
              <a:rPr lang="en-US" smtClean="0"/>
              <a:t>4/4/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819CF0A-C2A7-714A-9FE8-A737F5D641C0}" type="slidenum">
              <a:rPr lang="en-US" smtClean="0"/>
              <a:t>‹#›</a:t>
            </a:fld>
            <a:endParaRPr lang="en-US"/>
          </a:p>
        </p:txBody>
      </p:sp>
    </p:spTree>
    <p:extLst>
      <p:ext uri="{BB962C8B-B14F-4D97-AF65-F5344CB8AC3E}">
        <p14:creationId xmlns:p14="http://schemas.microsoft.com/office/powerpoint/2010/main" val="217894039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793807"/>
            <a:ext cx="8229600" cy="857250"/>
          </a:xfrm>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3A271B8F-1533-C54E-AA52-E1B7E4925B16}" type="datetimeFigureOut">
              <a:rPr lang="en-US" smtClean="0"/>
              <a:t>4/4/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819CF0A-C2A7-714A-9FE8-A737F5D641C0}" type="slidenum">
              <a:rPr lang="en-US" smtClean="0"/>
              <a:t>‹#›</a:t>
            </a:fld>
            <a:endParaRPr lang="en-US"/>
          </a:p>
        </p:txBody>
      </p:sp>
      <p:sp>
        <p:nvSpPr>
          <p:cNvPr id="6" name="Rectangle 5">
            <a:extLst>
              <a:ext uri="{FF2B5EF4-FFF2-40B4-BE49-F238E27FC236}">
                <a16:creationId xmlns:a16="http://schemas.microsoft.com/office/drawing/2014/main" id="{8E13E432-E612-485E-BBE4-7FDB2EF06A8D}"/>
              </a:ext>
            </a:extLst>
          </p:cNvPr>
          <p:cNvSpPr/>
          <p:nvPr userDrawn="1"/>
        </p:nvSpPr>
        <p:spPr>
          <a:xfrm>
            <a:off x="1792502" y="320980"/>
            <a:ext cx="7146325" cy="230832"/>
          </a:xfrm>
          <a:prstGeom prst="rect">
            <a:avLst/>
          </a:prstGeom>
        </p:spPr>
        <p:txBody>
          <a:bodyPr wrap="square">
            <a:spAutoFit/>
          </a:bodyPr>
          <a:lstStyle/>
          <a:p>
            <a:r>
              <a:rPr lang="en-US" sz="900" dirty="0">
                <a:solidFill>
                  <a:schemeClr val="bg1">
                    <a:lumMod val="50000"/>
                  </a:schemeClr>
                </a:solidFill>
                <a:latin typeface="Arial" panose="020B0604020202020204" pitchFamily="34" charset="0"/>
                <a:cs typeface="Arial" panose="020B0604020202020204" pitchFamily="34" charset="0"/>
              </a:rPr>
              <a:t>CP13 ‘Trade mark applications made in bad faith’ and CP14: ‘Trade marks contrary to public policy or to accepted principles of morality’</a:t>
            </a:r>
          </a:p>
        </p:txBody>
      </p:sp>
    </p:spTree>
    <p:extLst>
      <p:ext uri="{BB962C8B-B14F-4D97-AF65-F5344CB8AC3E}">
        <p14:creationId xmlns:p14="http://schemas.microsoft.com/office/powerpoint/2010/main" val="9755760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A271B8F-1533-C54E-AA52-E1B7E4925B16}" type="datetimeFigureOut">
              <a:rPr lang="en-US" smtClean="0"/>
              <a:t>4/4/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819CF0A-C2A7-714A-9FE8-A737F5D641C0}" type="slidenum">
              <a:rPr lang="en-US" smtClean="0"/>
              <a:t>‹#›</a:t>
            </a:fld>
            <a:endParaRPr lang="en-US"/>
          </a:p>
        </p:txBody>
      </p:sp>
      <p:sp>
        <p:nvSpPr>
          <p:cNvPr id="5" name="Rectangle 4">
            <a:extLst>
              <a:ext uri="{FF2B5EF4-FFF2-40B4-BE49-F238E27FC236}">
                <a16:creationId xmlns:a16="http://schemas.microsoft.com/office/drawing/2014/main" id="{AA884386-5D65-4867-8BCE-B9CFF92682A9}"/>
              </a:ext>
            </a:extLst>
          </p:cNvPr>
          <p:cNvSpPr/>
          <p:nvPr userDrawn="1"/>
        </p:nvSpPr>
        <p:spPr>
          <a:xfrm>
            <a:off x="1792502" y="320980"/>
            <a:ext cx="7146325" cy="230832"/>
          </a:xfrm>
          <a:prstGeom prst="rect">
            <a:avLst/>
          </a:prstGeom>
        </p:spPr>
        <p:txBody>
          <a:bodyPr wrap="square">
            <a:spAutoFit/>
          </a:bodyPr>
          <a:lstStyle/>
          <a:p>
            <a:r>
              <a:rPr lang="en-US" sz="900" dirty="0">
                <a:solidFill>
                  <a:schemeClr val="bg1">
                    <a:lumMod val="50000"/>
                  </a:schemeClr>
                </a:solidFill>
                <a:latin typeface="Arial" panose="020B0604020202020204" pitchFamily="34" charset="0"/>
                <a:cs typeface="Arial" panose="020B0604020202020204" pitchFamily="34" charset="0"/>
              </a:rPr>
              <a:t>CP13 ‘Trade mark applications made in bad faith’ and CP14: ‘Trade marks contrary to public policy or to accepted principles of morality’</a:t>
            </a:r>
          </a:p>
        </p:txBody>
      </p:sp>
    </p:spTree>
    <p:extLst>
      <p:ext uri="{BB962C8B-B14F-4D97-AF65-F5344CB8AC3E}">
        <p14:creationId xmlns:p14="http://schemas.microsoft.com/office/powerpoint/2010/main" val="37221767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A271B8F-1533-C54E-AA52-E1B7E4925B16}" type="datetimeFigureOut">
              <a:rPr lang="en-US" smtClean="0"/>
              <a:t>4/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819CF0A-C2A7-714A-9FE8-A737F5D641C0}" type="slidenum">
              <a:rPr lang="en-US" smtClean="0"/>
              <a:t>‹#›</a:t>
            </a:fld>
            <a:endParaRPr lang="en-US"/>
          </a:p>
        </p:txBody>
      </p:sp>
    </p:spTree>
    <p:extLst>
      <p:ext uri="{BB962C8B-B14F-4D97-AF65-F5344CB8AC3E}">
        <p14:creationId xmlns:p14="http://schemas.microsoft.com/office/powerpoint/2010/main" val="17993374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04787"/>
            <a:ext cx="3008313" cy="871538"/>
          </a:xfrm>
        </p:spPr>
        <p:txBody>
          <a:bodyPr anchor="b"/>
          <a:lstStyle>
            <a:lvl1pPr algn="l">
              <a:defRPr sz="2000" b="1"/>
            </a:lvl1pPr>
          </a:lstStyle>
          <a:p>
            <a:r>
              <a:rPr lang="en-US" dirty="0"/>
              <a:t>Click to edit Master title style</a:t>
            </a:r>
          </a:p>
        </p:txBody>
      </p:sp>
      <p:sp>
        <p:nvSpPr>
          <p:cNvPr id="3" name="Content Placeholder 2"/>
          <p:cNvSpPr>
            <a:spLocks noGrp="1"/>
          </p:cNvSpPr>
          <p:nvPr>
            <p:ph idx="1"/>
          </p:nvPr>
        </p:nvSpPr>
        <p:spPr>
          <a:xfrm>
            <a:off x="3575050" y="204789"/>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2" y="1076327"/>
            <a:ext cx="3008313" cy="3518297"/>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3A271B8F-1533-C54E-AA52-E1B7E4925B16}" type="datetimeFigureOut">
              <a:rPr lang="en-US" smtClean="0"/>
              <a:t>4/4/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819CF0A-C2A7-714A-9FE8-A737F5D641C0}" type="slidenum">
              <a:rPr lang="en-US" smtClean="0"/>
              <a:t>‹#›</a:t>
            </a:fld>
            <a:endParaRPr lang="en-US"/>
          </a:p>
        </p:txBody>
      </p:sp>
      <p:sp>
        <p:nvSpPr>
          <p:cNvPr id="8" name="Rectangle 7">
            <a:extLst>
              <a:ext uri="{FF2B5EF4-FFF2-40B4-BE49-F238E27FC236}">
                <a16:creationId xmlns:a16="http://schemas.microsoft.com/office/drawing/2014/main" id="{352A6942-AAD1-4DE2-AA1C-D0D148732679}"/>
              </a:ext>
            </a:extLst>
          </p:cNvPr>
          <p:cNvSpPr/>
          <p:nvPr userDrawn="1"/>
        </p:nvSpPr>
        <p:spPr>
          <a:xfrm>
            <a:off x="1792502" y="320980"/>
            <a:ext cx="7146325" cy="230832"/>
          </a:xfrm>
          <a:prstGeom prst="rect">
            <a:avLst/>
          </a:prstGeom>
        </p:spPr>
        <p:txBody>
          <a:bodyPr wrap="square">
            <a:spAutoFit/>
          </a:bodyPr>
          <a:lstStyle/>
          <a:p>
            <a:r>
              <a:rPr lang="en-US" sz="900" dirty="0">
                <a:solidFill>
                  <a:schemeClr val="bg1">
                    <a:lumMod val="50000"/>
                  </a:schemeClr>
                </a:solidFill>
                <a:latin typeface="Arial" panose="020B0604020202020204" pitchFamily="34" charset="0"/>
                <a:cs typeface="Arial" panose="020B0604020202020204" pitchFamily="34" charset="0"/>
              </a:rPr>
              <a:t>CP13 ‘Trade mark applications made in bad faith’ and CP14: ‘Trade marks contrary to public policy or to accepted principles of morality’</a:t>
            </a:r>
          </a:p>
        </p:txBody>
      </p:sp>
    </p:spTree>
    <p:extLst>
      <p:ext uri="{BB962C8B-B14F-4D97-AF65-F5344CB8AC3E}">
        <p14:creationId xmlns:p14="http://schemas.microsoft.com/office/powerpoint/2010/main" val="35031968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endParaRPr lang="en-US"/>
          </a:p>
        </p:txBody>
      </p:sp>
      <p:sp>
        <p:nvSpPr>
          <p:cNvPr id="4" name="Text Placeholder 3"/>
          <p:cNvSpPr>
            <a:spLocks noGrp="1"/>
          </p:cNvSpPr>
          <p:nvPr>
            <p:ph type="body" sz="half" idx="2"/>
          </p:nvPr>
        </p:nvSpPr>
        <p:spPr>
          <a:xfrm>
            <a:off x="1792288" y="4025504"/>
            <a:ext cx="5486400" cy="603647"/>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3A271B8F-1533-C54E-AA52-E1B7E4925B16}" type="datetimeFigureOut">
              <a:rPr lang="en-US" smtClean="0"/>
              <a:t>4/4/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819CF0A-C2A7-714A-9FE8-A737F5D641C0}" type="slidenum">
              <a:rPr lang="en-US" smtClean="0"/>
              <a:t>‹#›</a:t>
            </a:fld>
            <a:endParaRPr lang="en-US"/>
          </a:p>
        </p:txBody>
      </p:sp>
    </p:spTree>
    <p:extLst>
      <p:ext uri="{BB962C8B-B14F-4D97-AF65-F5344CB8AC3E}">
        <p14:creationId xmlns:p14="http://schemas.microsoft.com/office/powerpoint/2010/main" val="352617623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A271B8F-1533-C54E-AA52-E1B7E4925B16}" type="datetimeFigureOut">
              <a:rPr lang="en-US" smtClean="0"/>
              <a:t>4/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819CF0A-C2A7-714A-9FE8-A737F5D641C0}" type="slidenum">
              <a:rPr lang="en-US" smtClean="0"/>
              <a:t>‹#›</a:t>
            </a:fld>
            <a:endParaRPr lang="en-US"/>
          </a:p>
        </p:txBody>
      </p:sp>
    </p:spTree>
    <p:extLst>
      <p:ext uri="{BB962C8B-B14F-4D97-AF65-F5344CB8AC3E}">
        <p14:creationId xmlns:p14="http://schemas.microsoft.com/office/powerpoint/2010/main" val="417136385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0"/>
            <a:ext cx="2057400" cy="438864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5980"/>
            <a:ext cx="6019800" cy="438864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A271B8F-1533-C54E-AA52-E1B7E4925B16}" type="datetimeFigureOut">
              <a:rPr lang="en-US" smtClean="0"/>
              <a:t>4/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819CF0A-C2A7-714A-9FE8-A737F5D641C0}" type="slidenum">
              <a:rPr lang="en-US" smtClean="0"/>
              <a:t>‹#›</a:t>
            </a:fld>
            <a:endParaRPr lang="en-US"/>
          </a:p>
        </p:txBody>
      </p:sp>
    </p:spTree>
    <p:extLst>
      <p:ext uri="{BB962C8B-B14F-4D97-AF65-F5344CB8AC3E}">
        <p14:creationId xmlns:p14="http://schemas.microsoft.com/office/powerpoint/2010/main" val="24996877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7200" y="205980"/>
            <a:ext cx="8229600" cy="438864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E"/>
          </a:p>
        </p:txBody>
      </p:sp>
      <p:sp>
        <p:nvSpPr>
          <p:cNvPr id="3" name="Rectangle 4"/>
          <p:cNvSpPr>
            <a:spLocks noGrp="1" noChangeArrowheads="1"/>
          </p:cNvSpPr>
          <p:nvPr>
            <p:ph type="dt" sz="half" idx="10"/>
          </p:nvPr>
        </p:nvSpPr>
        <p:spPr>
          <a:ln/>
        </p:spPr>
        <p:txBody>
          <a:bodyPr/>
          <a:lstStyle>
            <a:lvl1pPr>
              <a:defRPr/>
            </a:lvl1pPr>
          </a:lstStyle>
          <a:p>
            <a:endParaRPr lang="en-US"/>
          </a:p>
        </p:txBody>
      </p:sp>
      <p:sp>
        <p:nvSpPr>
          <p:cNvPr id="4" name="Rectangle 5"/>
          <p:cNvSpPr>
            <a:spLocks noGrp="1" noChangeArrowheads="1"/>
          </p:cNvSpPr>
          <p:nvPr>
            <p:ph type="ftr" sz="quarter" idx="11"/>
          </p:nvPr>
        </p:nvSpPr>
        <p:spPr>
          <a:ln/>
        </p:spPr>
        <p:txBody>
          <a:bodyPr/>
          <a:lstStyle>
            <a:lvl1pPr>
              <a:defRPr/>
            </a:lvl1pPr>
          </a:lstStyle>
          <a:p>
            <a:endParaRPr lang="en-US"/>
          </a:p>
        </p:txBody>
      </p:sp>
      <p:sp>
        <p:nvSpPr>
          <p:cNvPr id="5" name="Rectangle 6"/>
          <p:cNvSpPr>
            <a:spLocks noGrp="1" noChangeArrowheads="1"/>
          </p:cNvSpPr>
          <p:nvPr>
            <p:ph type="sldNum" sz="quarter" idx="12"/>
          </p:nvPr>
        </p:nvSpPr>
        <p:spPr>
          <a:ln/>
        </p:spPr>
        <p:txBody>
          <a:bodyPr/>
          <a:lstStyle>
            <a:lvl1pPr>
              <a:defRPr/>
            </a:lvl1pPr>
          </a:lstStyle>
          <a:p>
            <a:fld id="{A60600B5-A75E-44EF-8FB8-2BE108060FF2}" type="slidenum">
              <a:rPr lang="en-IE"/>
              <a:pPr/>
              <a:t>‹#›</a:t>
            </a:fld>
            <a:endParaRPr lang="en-IE"/>
          </a:p>
        </p:txBody>
      </p:sp>
    </p:spTree>
    <p:extLst>
      <p:ext uri="{BB962C8B-B14F-4D97-AF65-F5344CB8AC3E}">
        <p14:creationId xmlns:p14="http://schemas.microsoft.com/office/powerpoint/2010/main" val="3199387883"/>
      </p:ext>
    </p:extLst>
  </p:cSld>
  <p:clrMapOvr>
    <a:masterClrMapping/>
  </p:clrMapOvr>
  <p:transition spd="slow">
    <p:fade thruBlk="1"/>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3A271B8F-1533-C54E-AA52-E1B7E4925B16}" type="datetimeFigureOut">
              <a:rPr lang="en-US" smtClean="0"/>
              <a:t>4/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819CF0A-C2A7-714A-9FE8-A737F5D641C0}" type="slidenum">
              <a:rPr lang="en-US" smtClean="0"/>
              <a:t>‹#›</a:t>
            </a:fld>
            <a:endParaRPr lang="en-US"/>
          </a:p>
        </p:txBody>
      </p:sp>
    </p:spTree>
    <p:extLst>
      <p:ext uri="{BB962C8B-B14F-4D97-AF65-F5344CB8AC3E}">
        <p14:creationId xmlns:p14="http://schemas.microsoft.com/office/powerpoint/2010/main" val="26445361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A271B8F-1533-C54E-AA52-E1B7E4925B16}" type="datetimeFigureOut">
              <a:rPr lang="en-US" smtClean="0"/>
              <a:t>4/4/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819CF0A-C2A7-714A-9FE8-A737F5D641C0}" type="slidenum">
              <a:rPr lang="en-US" smtClean="0"/>
              <a:t>‹#›</a:t>
            </a:fld>
            <a:endParaRPr lang="en-US"/>
          </a:p>
        </p:txBody>
      </p:sp>
    </p:spTree>
    <p:extLst>
      <p:ext uri="{BB962C8B-B14F-4D97-AF65-F5344CB8AC3E}">
        <p14:creationId xmlns:p14="http://schemas.microsoft.com/office/powerpoint/2010/main" val="32150659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A271B8F-1533-C54E-AA52-E1B7E4925B16}" type="datetimeFigureOut">
              <a:rPr lang="en-US" smtClean="0"/>
              <a:t>4/4/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819CF0A-C2A7-714A-9FE8-A737F5D641C0}" type="slidenum">
              <a:rPr lang="en-US" smtClean="0"/>
              <a:t>‹#›</a:t>
            </a:fld>
            <a:endParaRPr lang="en-US"/>
          </a:p>
        </p:txBody>
      </p:sp>
    </p:spTree>
    <p:extLst>
      <p:ext uri="{BB962C8B-B14F-4D97-AF65-F5344CB8AC3E}">
        <p14:creationId xmlns:p14="http://schemas.microsoft.com/office/powerpoint/2010/main" val="42848149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A271B8F-1533-C54E-AA52-E1B7E4925B16}" type="datetimeFigureOut">
              <a:rPr lang="en-US" smtClean="0"/>
              <a:t>4/4/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819CF0A-C2A7-714A-9FE8-A737F5D641C0}" type="slidenum">
              <a:rPr lang="en-US" smtClean="0"/>
              <a:t>‹#›</a:t>
            </a:fld>
            <a:endParaRPr lang="en-US"/>
          </a:p>
        </p:txBody>
      </p:sp>
    </p:spTree>
    <p:extLst>
      <p:ext uri="{BB962C8B-B14F-4D97-AF65-F5344CB8AC3E}">
        <p14:creationId xmlns:p14="http://schemas.microsoft.com/office/powerpoint/2010/main" val="4828779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A271B8F-1533-C54E-AA52-E1B7E4925B16}" type="datetimeFigureOut">
              <a:rPr lang="en-US" smtClean="0"/>
              <a:t>4/4/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819CF0A-C2A7-714A-9FE8-A737F5D641C0}" type="slidenum">
              <a:rPr lang="en-US" smtClean="0"/>
              <a:t>‹#›</a:t>
            </a:fld>
            <a:endParaRPr lang="en-US"/>
          </a:p>
        </p:txBody>
      </p:sp>
    </p:spTree>
    <p:extLst>
      <p:ext uri="{BB962C8B-B14F-4D97-AF65-F5344CB8AC3E}">
        <p14:creationId xmlns:p14="http://schemas.microsoft.com/office/powerpoint/2010/main" val="8617574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871538"/>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3A271B8F-1533-C54E-AA52-E1B7E4925B16}" type="datetimeFigureOut">
              <a:rPr lang="en-US" smtClean="0"/>
              <a:t>4/4/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819CF0A-C2A7-714A-9FE8-A737F5D641C0}" type="slidenum">
              <a:rPr lang="en-US" smtClean="0"/>
              <a:t>‹#›</a:t>
            </a:fld>
            <a:endParaRPr lang="en-US"/>
          </a:p>
        </p:txBody>
      </p:sp>
    </p:spTree>
    <p:extLst>
      <p:ext uri="{BB962C8B-B14F-4D97-AF65-F5344CB8AC3E}">
        <p14:creationId xmlns:p14="http://schemas.microsoft.com/office/powerpoint/2010/main" val="22981663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3A271B8F-1533-C54E-AA52-E1B7E4925B16}" type="datetimeFigureOut">
              <a:rPr lang="en-US" smtClean="0"/>
              <a:t>4/4/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819CF0A-C2A7-714A-9FE8-A737F5D641C0}" type="slidenum">
              <a:rPr lang="en-US" smtClean="0"/>
              <a:t>‹#›</a:t>
            </a:fld>
            <a:endParaRPr lang="en-US"/>
          </a:p>
        </p:txBody>
      </p:sp>
    </p:spTree>
    <p:extLst>
      <p:ext uri="{BB962C8B-B14F-4D97-AF65-F5344CB8AC3E}">
        <p14:creationId xmlns:p14="http://schemas.microsoft.com/office/powerpoint/2010/main" val="2651315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4" cstate="print">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3A271B8F-1533-C54E-AA52-E1B7E4925B16}" type="datetimeFigureOut">
              <a:rPr lang="en-US" smtClean="0"/>
              <a:t>4/4/2024</a:t>
            </a:fld>
            <a:endParaRPr lang="en-US"/>
          </a:p>
        </p:txBody>
      </p:sp>
      <p:sp>
        <p:nvSpPr>
          <p:cNvPr id="5" name="Footer Placeholder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1819CF0A-C2A7-714A-9FE8-A737F5D641C0}" type="slidenum">
              <a:rPr lang="en-US" smtClean="0"/>
              <a:t>‹#›</a:t>
            </a:fld>
            <a:endParaRPr lang="en-US"/>
          </a:p>
        </p:txBody>
      </p:sp>
    </p:spTree>
    <p:extLst>
      <p:ext uri="{BB962C8B-B14F-4D97-AF65-F5344CB8AC3E}">
        <p14:creationId xmlns:p14="http://schemas.microsoft.com/office/powerpoint/2010/main" val="341990790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4" cstate="print">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4767264"/>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3A271B8F-1533-C54E-AA52-E1B7E4925B16}" type="datetimeFigureOut">
              <a:rPr lang="en-US" smtClean="0"/>
              <a:t>4/4/2024</a:t>
            </a:fld>
            <a:endParaRPr lang="en-US"/>
          </a:p>
        </p:txBody>
      </p:sp>
      <p:sp>
        <p:nvSpPr>
          <p:cNvPr id="5" name="Footer Placeholder 4"/>
          <p:cNvSpPr>
            <a:spLocks noGrp="1"/>
          </p:cNvSpPr>
          <p:nvPr>
            <p:ph type="ftr" sz="quarter" idx="3"/>
          </p:nvPr>
        </p:nvSpPr>
        <p:spPr>
          <a:xfrm>
            <a:off x="3124200" y="4767264"/>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4767264"/>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1819CF0A-C2A7-714A-9FE8-A737F5D641C0}" type="slidenum">
              <a:rPr lang="en-US" smtClean="0"/>
              <a:t>‹#›</a:t>
            </a:fld>
            <a:endParaRPr lang="en-US"/>
          </a:p>
        </p:txBody>
      </p:sp>
    </p:spTree>
    <p:extLst>
      <p:ext uri="{BB962C8B-B14F-4D97-AF65-F5344CB8AC3E}">
        <p14:creationId xmlns:p14="http://schemas.microsoft.com/office/powerpoint/2010/main" val="1069722262"/>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Lst>
  <p:txStyles>
    <p:titleStyle>
      <a:lvl1pPr algn="ctr" defTabSz="457189" rtl="0" eaLnBrk="1" latinLnBrk="0" hangingPunct="1">
        <a:spcBef>
          <a:spcPct val="0"/>
        </a:spcBef>
        <a:buNone/>
        <a:defRPr sz="4400" kern="1200">
          <a:solidFill>
            <a:schemeClr val="tx1"/>
          </a:solidFill>
          <a:latin typeface="+mj-lt"/>
          <a:ea typeface="+mj-ea"/>
          <a:cs typeface="+mj-cs"/>
        </a:defRPr>
      </a:lvl1pPr>
    </p:titleStyle>
    <p:bodyStyle>
      <a:lvl1pPr marL="342892" indent="-342892"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1" indent="-285743"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2"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8"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5"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8"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2"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image" Target="../media/image16.jpeg"/><Relationship Id="rId13" Type="http://schemas.openxmlformats.org/officeDocument/2006/relationships/image" Target="../media/image21.png"/><Relationship Id="rId3" Type="http://schemas.openxmlformats.org/officeDocument/2006/relationships/image" Target="../media/image2.png"/><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12.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s>
</file>

<file path=ppt/slides/_rels/slide11.xml.rels><?xml version="1.0" encoding="UTF-8" standalone="yes"?>
<Relationships xmlns="http://schemas.openxmlformats.org/package/2006/relationships"><Relationship Id="rId8" Type="http://schemas.openxmlformats.org/officeDocument/2006/relationships/image" Target="../media/image27.svg"/><Relationship Id="rId3" Type="http://schemas.openxmlformats.org/officeDocument/2006/relationships/image" Target="../media/image2.png"/><Relationship Id="rId7" Type="http://schemas.openxmlformats.org/officeDocument/2006/relationships/image" Target="../media/image26.png"/><Relationship Id="rId12" Type="http://schemas.microsoft.com/office/2007/relationships/hdphoto" Target="../media/hdphoto1.wdp"/><Relationship Id="rId2" Type="http://schemas.openxmlformats.org/officeDocument/2006/relationships/notesSlide" Target="../notesSlides/notesSlide11.xml"/><Relationship Id="rId1" Type="http://schemas.openxmlformats.org/officeDocument/2006/relationships/slideLayout" Target="../slideLayouts/slideLayout12.xml"/><Relationship Id="rId6" Type="http://schemas.openxmlformats.org/officeDocument/2006/relationships/image" Target="../media/image25.svg"/><Relationship Id="rId11" Type="http://schemas.openxmlformats.org/officeDocument/2006/relationships/image" Target="../media/image30.png"/><Relationship Id="rId5" Type="http://schemas.openxmlformats.org/officeDocument/2006/relationships/image" Target="../media/image24.png"/><Relationship Id="rId10" Type="http://schemas.openxmlformats.org/officeDocument/2006/relationships/image" Target="../media/image29.svg"/><Relationship Id="rId4" Type="http://schemas.openxmlformats.org/officeDocument/2006/relationships/image" Target="../media/image23.png"/><Relationship Id="rId9" Type="http://schemas.openxmlformats.org/officeDocument/2006/relationships/image" Target="../media/image28.png"/></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5.xml"/><Relationship Id="rId1" Type="http://schemas.openxmlformats.org/officeDocument/2006/relationships/slideLayout" Target="../slideLayouts/slideLayout12.xml"/><Relationship Id="rId5" Type="http://schemas.openxmlformats.org/officeDocument/2006/relationships/image" Target="../media/image31.png"/><Relationship Id="rId4" Type="http://schemas.openxmlformats.org/officeDocument/2006/relationships/hyperlink" Target="https://www.tmdn.org/publicwebsite/#/practices/2547782"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6.xml"/><Relationship Id="rId1" Type="http://schemas.openxmlformats.org/officeDocument/2006/relationships/slideLayout" Target="../slideLayouts/slideLayout12.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hyperlink" Target="https://www.tmdn.org/network/documents/10181/2287612/Overview_of_implementations_of_the_CP14_Common_Practice.pdf/f07436f8-ecfb-42b3-8b2e-9ba409a7cc00"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8.xml"/><Relationship Id="rId1" Type="http://schemas.openxmlformats.org/officeDocument/2006/relationships/slideLayout" Target="../slideLayouts/slideLayout12.xml"/></Relationships>
</file>

<file path=ppt/slides/_rels/slide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0.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2.xml"/><Relationship Id="rId1" Type="http://schemas.openxmlformats.org/officeDocument/2006/relationships/slideLayout" Target="../slideLayouts/slideLayout12.xml"/><Relationship Id="rId5" Type="http://schemas.openxmlformats.org/officeDocument/2006/relationships/image" Target="../media/image35.svg"/><Relationship Id="rId4" Type="http://schemas.openxmlformats.org/officeDocument/2006/relationships/image" Target="../media/image34.png"/></Relationships>
</file>

<file path=ppt/slides/_rels/slide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8" Type="http://schemas.openxmlformats.org/officeDocument/2006/relationships/image" Target="../media/image40.svg"/><Relationship Id="rId3" Type="http://schemas.openxmlformats.org/officeDocument/2006/relationships/image" Target="../media/image2.png"/><Relationship Id="rId7" Type="http://schemas.openxmlformats.org/officeDocument/2006/relationships/image" Target="../media/image39.png"/><Relationship Id="rId2" Type="http://schemas.openxmlformats.org/officeDocument/2006/relationships/notesSlide" Target="../notesSlides/notesSlide24.xml"/><Relationship Id="rId1" Type="http://schemas.openxmlformats.org/officeDocument/2006/relationships/slideLayout" Target="../slideLayouts/slideLayout12.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png"/></Relationships>
</file>

<file path=ppt/slides/_rels/slide25.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40.svg"/><Relationship Id="rId2" Type="http://schemas.openxmlformats.org/officeDocument/2006/relationships/notesSlide" Target="../notesSlides/notesSlide25.xml"/><Relationship Id="rId1" Type="http://schemas.openxmlformats.org/officeDocument/2006/relationships/slideLayout" Target="../slideLayouts/slideLayout12.xml"/><Relationship Id="rId6" Type="http://schemas.openxmlformats.org/officeDocument/2006/relationships/image" Target="../media/image39.png"/><Relationship Id="rId5" Type="http://schemas.openxmlformats.org/officeDocument/2006/relationships/image" Target="../media/image42.png"/><Relationship Id="rId4" Type="http://schemas.openxmlformats.org/officeDocument/2006/relationships/image" Target="../media/image41.png"/></Relationships>
</file>

<file path=ppt/slides/_rels/slide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6.xml"/><Relationship Id="rId1" Type="http://schemas.openxmlformats.org/officeDocument/2006/relationships/slideLayout" Target="../slideLayouts/slideLayout12.xml"/><Relationship Id="rId5" Type="http://schemas.openxmlformats.org/officeDocument/2006/relationships/image" Target="../media/image40.svg"/><Relationship Id="rId4" Type="http://schemas.openxmlformats.org/officeDocument/2006/relationships/image" Target="../media/image39.png"/></Relationships>
</file>

<file path=ppt/slides/_rels/slide2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7.xml"/><Relationship Id="rId1" Type="http://schemas.openxmlformats.org/officeDocument/2006/relationships/slideLayout" Target="../slideLayouts/slideLayout12.xml"/><Relationship Id="rId4" Type="http://schemas.openxmlformats.org/officeDocument/2006/relationships/image" Target="../media/image43.png"/></Relationships>
</file>

<file path=ppt/slides/_rels/slide28.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2.png"/><Relationship Id="rId7" Type="http://schemas.openxmlformats.org/officeDocument/2006/relationships/diagramColors" Target="../diagrams/colors2.xml"/><Relationship Id="rId2" Type="http://schemas.openxmlformats.org/officeDocument/2006/relationships/notesSlide" Target="../notesSlides/notesSlide28.xml"/><Relationship Id="rId1" Type="http://schemas.openxmlformats.org/officeDocument/2006/relationships/slideLayout" Target="../slideLayouts/slideLayout12.xml"/><Relationship Id="rId6" Type="http://schemas.openxmlformats.org/officeDocument/2006/relationships/diagramQuickStyle" Target="../diagrams/quickStyle2.xml"/><Relationship Id="rId5" Type="http://schemas.openxmlformats.org/officeDocument/2006/relationships/diagramLayout" Target="../diagrams/layout2.xml"/><Relationship Id="rId10" Type="http://schemas.openxmlformats.org/officeDocument/2006/relationships/image" Target="../media/image45.svg"/><Relationship Id="rId4" Type="http://schemas.openxmlformats.org/officeDocument/2006/relationships/diagramData" Target="../diagrams/data2.xml"/><Relationship Id="rId9" Type="http://schemas.openxmlformats.org/officeDocument/2006/relationships/image" Target="../media/image44.png"/></Relationships>
</file>

<file path=ppt/slides/_rels/slide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9.xml"/><Relationship Id="rId1" Type="http://schemas.openxmlformats.org/officeDocument/2006/relationships/slideLayout" Target="../slideLayouts/slideLayout12.xml"/><Relationship Id="rId4" Type="http://schemas.openxmlformats.org/officeDocument/2006/relationships/image" Target="../media/image46.png"/></Relationships>
</file>

<file path=ppt/slides/_rels/slide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xml"/><Relationship Id="rId7" Type="http://schemas.openxmlformats.org/officeDocument/2006/relationships/image" Target="../media/image2.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3.xml"/><Relationship Id="rId11" Type="http://schemas.openxmlformats.org/officeDocument/2006/relationships/image" Target="../media/image6.png"/><Relationship Id="rId5" Type="http://schemas.openxmlformats.org/officeDocument/2006/relationships/slideLayout" Target="../slideLayouts/slideLayout12.xml"/><Relationship Id="rId10" Type="http://schemas.openxmlformats.org/officeDocument/2006/relationships/image" Target="../media/image5.png"/><Relationship Id="rId4" Type="http://schemas.openxmlformats.org/officeDocument/2006/relationships/tags" Target="../tags/tag4.xml"/><Relationship Id="rId9" Type="http://schemas.openxmlformats.org/officeDocument/2006/relationships/image" Target="../media/image4.png"/></Relationships>
</file>

<file path=ppt/slides/_rels/slide3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0.xml"/><Relationship Id="rId1" Type="http://schemas.openxmlformats.org/officeDocument/2006/relationships/slideLayout" Target="../slideLayouts/slideLayout12.xml"/><Relationship Id="rId5" Type="http://schemas.openxmlformats.org/officeDocument/2006/relationships/image" Target="../media/image40.svg"/><Relationship Id="rId4" Type="http://schemas.openxmlformats.org/officeDocument/2006/relationships/image" Target="../media/image39.png"/></Relationships>
</file>

<file path=ppt/slides/_rels/slide31.xml.rels><?xml version="1.0" encoding="UTF-8" standalone="yes"?>
<Relationships xmlns="http://schemas.openxmlformats.org/package/2006/relationships"><Relationship Id="rId8" Type="http://schemas.openxmlformats.org/officeDocument/2006/relationships/notesSlide" Target="../notesSlides/notesSlide31.xml"/><Relationship Id="rId3" Type="http://schemas.openxmlformats.org/officeDocument/2006/relationships/tags" Target="../tags/tag7.xml"/><Relationship Id="rId7" Type="http://schemas.openxmlformats.org/officeDocument/2006/relationships/slideLayout" Target="../slideLayouts/slideLayout12.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tags" Target="../tags/tag10.xml"/><Relationship Id="rId5" Type="http://schemas.openxmlformats.org/officeDocument/2006/relationships/tags" Target="../tags/tag9.xml"/><Relationship Id="rId4" Type="http://schemas.openxmlformats.org/officeDocument/2006/relationships/tags" Target="../tags/tag8.xml"/><Relationship Id="rId9" Type="http://schemas.openxmlformats.org/officeDocument/2006/relationships/image" Target="../media/image2.png"/></Relationships>
</file>

<file path=ppt/slides/_rels/slide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2.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3.xml"/><Relationship Id="rId1" Type="http://schemas.openxmlformats.org/officeDocument/2006/relationships/slideLayout" Target="../slideLayouts/slideLayout12.xml"/><Relationship Id="rId4" Type="http://schemas.openxmlformats.org/officeDocument/2006/relationships/hyperlink" Target="https://tmdn.org/#/practices/1819736"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4.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5.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2.png"/><Relationship Id="rId7" Type="http://schemas.openxmlformats.org/officeDocument/2006/relationships/diagramColors" Target="../diagrams/colors3.xml"/><Relationship Id="rId2" Type="http://schemas.openxmlformats.org/officeDocument/2006/relationships/notesSlide" Target="../notesSlides/notesSlide36.xml"/><Relationship Id="rId1" Type="http://schemas.openxmlformats.org/officeDocument/2006/relationships/slideLayout" Target="../slideLayouts/slideLayout12.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7.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8.xml"/><Relationship Id="rId1" Type="http://schemas.openxmlformats.org/officeDocument/2006/relationships/slideLayout" Target="../slideLayouts/slideLayout12.xml"/><Relationship Id="rId4" Type="http://schemas.openxmlformats.org/officeDocument/2006/relationships/image" Target="../media/image47.png"/></Relationships>
</file>

<file path=ppt/slides/_rels/slide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9.xml"/><Relationship Id="rId1" Type="http://schemas.openxmlformats.org/officeDocument/2006/relationships/slideLayout" Target="../slideLayouts/slideLayout12.xml"/><Relationship Id="rId4" Type="http://schemas.openxmlformats.org/officeDocument/2006/relationships/image" Target="../media/image48.png"/></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0.xml"/><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1.xml"/><Relationship Id="rId1" Type="http://schemas.openxmlformats.org/officeDocument/2006/relationships/slideLayout" Target="../slideLayouts/slideLayout12.xml"/><Relationship Id="rId4" Type="http://schemas.openxmlformats.org/officeDocument/2006/relationships/image" Target="../media/image49.png"/></Relationships>
</file>

<file path=ppt/slides/_rels/slide4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2.xml"/><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3.xml"/><Relationship Id="rId1" Type="http://schemas.openxmlformats.org/officeDocument/2006/relationships/slideLayout" Target="../slideLayouts/slideLayout12.xml"/><Relationship Id="rId4" Type="http://schemas.openxmlformats.org/officeDocument/2006/relationships/image" Target="../media/image50.png"/></Relationships>
</file>

<file path=ppt/slides/_rels/slide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4.xml"/><Relationship Id="rId1" Type="http://schemas.openxmlformats.org/officeDocument/2006/relationships/slideLayout" Target="../slideLayouts/slideLayout12.xml"/><Relationship Id="rId4" Type="http://schemas.openxmlformats.org/officeDocument/2006/relationships/image" Target="../media/image51.png"/></Relationships>
</file>

<file path=ppt/slides/_rels/slide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5.xml"/><Relationship Id="rId1" Type="http://schemas.openxmlformats.org/officeDocument/2006/relationships/slideLayout" Target="../slideLayouts/slideLayout12.xml"/><Relationship Id="rId4" Type="http://schemas.openxmlformats.org/officeDocument/2006/relationships/image" Target="../media/image52.png"/></Relationships>
</file>

<file path=ppt/slides/_rels/slide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6.xml"/><Relationship Id="rId1" Type="http://schemas.openxmlformats.org/officeDocument/2006/relationships/slideLayout" Target="../slideLayouts/slideLayout12.xml"/><Relationship Id="rId4" Type="http://schemas.openxmlformats.org/officeDocument/2006/relationships/image" Target="../media/image53.png"/></Relationships>
</file>

<file path=ppt/slides/_rels/slide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7.xml"/><Relationship Id="rId1" Type="http://schemas.openxmlformats.org/officeDocument/2006/relationships/slideLayout" Target="../slideLayouts/slideLayout12.xml"/><Relationship Id="rId4" Type="http://schemas.openxmlformats.org/officeDocument/2006/relationships/image" Target="../media/image54.png"/></Relationships>
</file>

<file path=ppt/slides/_rels/slide4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8.xml"/><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9.xml"/><Relationship Id="rId1" Type="http://schemas.openxmlformats.org/officeDocument/2006/relationships/slideLayout" Target="../slideLayouts/slideLayout12.xml"/><Relationship Id="rId4" Type="http://schemas.openxmlformats.org/officeDocument/2006/relationships/image" Target="../media/image55.png"/></Relationships>
</file>

<file path=ppt/slides/_rels/slide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2.png"/><Relationship Id="rId7" Type="http://schemas.openxmlformats.org/officeDocument/2006/relationships/diagramColors" Target="../diagrams/colors1.xml"/><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0.xml"/><Relationship Id="rId1" Type="http://schemas.openxmlformats.org/officeDocument/2006/relationships/slideLayout" Target="../slideLayouts/slideLayout12.xml"/><Relationship Id="rId4" Type="http://schemas.openxmlformats.org/officeDocument/2006/relationships/image" Target="../media/image56.png"/></Relationships>
</file>

<file path=ppt/slides/_rels/slide5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1.xml"/><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2.xml"/><Relationship Id="rId1" Type="http://schemas.openxmlformats.org/officeDocument/2006/relationships/slideLayout" Target="../slideLayouts/slideLayout12.xml"/><Relationship Id="rId4" Type="http://schemas.openxmlformats.org/officeDocument/2006/relationships/image" Target="../media/image57.png"/></Relationships>
</file>

<file path=ppt/slides/_rels/slide5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3.xml"/><Relationship Id="rId1" Type="http://schemas.openxmlformats.org/officeDocument/2006/relationships/slideLayout" Target="../slideLayouts/slideLayout12.xml"/><Relationship Id="rId4" Type="http://schemas.openxmlformats.org/officeDocument/2006/relationships/image" Target="../media/image58.png"/></Relationships>
</file>

<file path=ppt/slides/_rels/slide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4.xml"/><Relationship Id="rId1" Type="http://schemas.openxmlformats.org/officeDocument/2006/relationships/slideLayout" Target="../slideLayouts/slideLayout12.xml"/><Relationship Id="rId4" Type="http://schemas.openxmlformats.org/officeDocument/2006/relationships/image" Target="../media/image59.png"/></Relationships>
</file>

<file path=ppt/slides/_rels/slide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5.xml"/><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6.xml"/><Relationship Id="rId1" Type="http://schemas.openxmlformats.org/officeDocument/2006/relationships/slideLayout" Target="../slideLayouts/slideLayout12.xml"/><Relationship Id="rId4" Type="http://schemas.openxmlformats.org/officeDocument/2006/relationships/image" Target="../media/image60.png"/></Relationships>
</file>

<file path=ppt/slides/_rels/slide5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7.xml"/><Relationship Id="rId1" Type="http://schemas.openxmlformats.org/officeDocument/2006/relationships/slideLayout" Target="../slideLayouts/slideLayout12.xml"/><Relationship Id="rId4" Type="http://schemas.openxmlformats.org/officeDocument/2006/relationships/image" Target="../media/image61.png"/></Relationships>
</file>

<file path=ppt/slides/_rels/slide5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8.xml"/><Relationship Id="rId1" Type="http://schemas.openxmlformats.org/officeDocument/2006/relationships/slideLayout" Target="../slideLayouts/slideLayout12.xml"/></Relationships>
</file>

<file path=ppt/slides/_rels/slide5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59.xml"/><Relationship Id="rId1" Type="http://schemas.openxmlformats.org/officeDocument/2006/relationships/slideLayout" Target="../slideLayouts/slideLayout12.xml"/><Relationship Id="rId4" Type="http://schemas.openxmlformats.org/officeDocument/2006/relationships/image" Target="../media/image62.png"/></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0.xml"/><Relationship Id="rId1" Type="http://schemas.openxmlformats.org/officeDocument/2006/relationships/slideLayout" Target="../slideLayouts/slideLayout12.xml"/></Relationships>
</file>

<file path=ppt/slides/_rels/slide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1.xml"/><Relationship Id="rId1" Type="http://schemas.openxmlformats.org/officeDocument/2006/relationships/slideLayout" Target="../slideLayouts/slideLayout12.xml"/><Relationship Id="rId4" Type="http://schemas.openxmlformats.org/officeDocument/2006/relationships/image" Target="../media/image63.png"/></Relationships>
</file>

<file path=ppt/slides/_rels/slide6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2.xml"/><Relationship Id="rId1" Type="http://schemas.openxmlformats.org/officeDocument/2006/relationships/slideLayout" Target="../slideLayouts/slideLayout12.xml"/><Relationship Id="rId4" Type="http://schemas.openxmlformats.org/officeDocument/2006/relationships/image" Target="../media/image64.png"/></Relationships>
</file>

<file path=ppt/slides/_rels/slide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3.xml"/><Relationship Id="rId1" Type="http://schemas.openxmlformats.org/officeDocument/2006/relationships/slideLayout" Target="../slideLayouts/slideLayout12.xml"/><Relationship Id="rId4" Type="http://schemas.openxmlformats.org/officeDocument/2006/relationships/image" Target="../media/image65.png"/></Relationships>
</file>

<file path=ppt/slides/_rels/slide6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4.xml"/><Relationship Id="rId1" Type="http://schemas.openxmlformats.org/officeDocument/2006/relationships/slideLayout" Target="../slideLayouts/slideLayout12.xml"/></Relationships>
</file>

<file path=ppt/slides/_rels/slide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5.xml"/><Relationship Id="rId1" Type="http://schemas.openxmlformats.org/officeDocument/2006/relationships/slideLayout" Target="../slideLayouts/slideLayout12.xml"/><Relationship Id="rId4" Type="http://schemas.openxmlformats.org/officeDocument/2006/relationships/image" Target="../media/image66.png"/></Relationships>
</file>

<file path=ppt/slides/_rels/slide6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66.xml"/><Relationship Id="rId1" Type="http://schemas.openxmlformats.org/officeDocument/2006/relationships/slideLayout" Target="../slideLayouts/slideLayout12.xml"/><Relationship Id="rId4" Type="http://schemas.openxmlformats.org/officeDocument/2006/relationships/image" Target="../media/image67.png"/></Relationships>
</file>

<file path=ppt/slides/_rels/slide67.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67.xml"/><Relationship Id="rId1" Type="http://schemas.openxmlformats.org/officeDocument/2006/relationships/slideLayout" Target="../slideLayouts/slideLayout13.xml"/><Relationship Id="rId6" Type="http://schemas.openxmlformats.org/officeDocument/2006/relationships/hyperlink" Target="https://www.facebook.com/EUIPO.eu" TargetMode="External"/><Relationship Id="rId5" Type="http://schemas.openxmlformats.org/officeDocument/2006/relationships/hyperlink" Target="https://www.linkedin.com/company/euipo" TargetMode="External"/><Relationship Id="rId4" Type="http://schemas.openxmlformats.org/officeDocument/2006/relationships/hyperlink" Target="https://twitter.com/EU_IPO" TargetMode="External"/></Relationships>
</file>

<file path=ppt/slides/_rels/slide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2.png"/><Relationship Id="rId7"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12.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9" name="Rectangle 16">
            <a:extLst>
              <a:ext uri="{FF2B5EF4-FFF2-40B4-BE49-F238E27FC236}">
                <a16:creationId xmlns:a16="http://schemas.microsoft.com/office/drawing/2014/main" id="{A72D7631-5624-4FE2-9B16-5E3DF58A47DE}"/>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10" name="TextBox 9">
            <a:extLst>
              <a:ext uri="{FF2B5EF4-FFF2-40B4-BE49-F238E27FC236}">
                <a16:creationId xmlns:a16="http://schemas.microsoft.com/office/drawing/2014/main" id="{0C5D6D1A-940F-4A77-8EC4-211EA0176404}"/>
              </a:ext>
            </a:extLst>
          </p:cNvPr>
          <p:cNvSpPr txBox="1"/>
          <p:nvPr/>
        </p:nvSpPr>
        <p:spPr>
          <a:xfrm>
            <a:off x="1067144" y="1896611"/>
            <a:ext cx="7088400" cy="1354217"/>
          </a:xfrm>
          <a:prstGeom prst="rect">
            <a:avLst/>
          </a:prstGeom>
          <a:noFill/>
        </p:spPr>
        <p:txBody>
          <a:bodyPr wrap="square">
            <a:spAutoFit/>
          </a:bodyPr>
          <a:lstStyle/>
          <a:p>
            <a:pPr algn="l"/>
            <a:r>
              <a:rPr lang="en-IE" sz="2800" b="1" spc="-150" dirty="0">
                <a:solidFill>
                  <a:srgbClr val="C3C3C3"/>
                </a:solidFill>
                <a:latin typeface="Arial" panose="020B0604020202020204" pitchFamily="34" charset="0"/>
                <a:ea typeface="Open Sans Semibold" panose="020B0706030804020204" pitchFamily="34" charset="0"/>
                <a:cs typeface="Arial" panose="020B0604020202020204" pitchFamily="34" charset="0"/>
              </a:rPr>
              <a:t>CP14 C</a:t>
            </a:r>
            <a:r>
              <a:rPr lang="en-IE" sz="2800" b="1" spc="-150" dirty="0">
                <a:solidFill>
                  <a:schemeClr val="bg1">
                    <a:lumMod val="75000"/>
                  </a:schemeClr>
                </a:solidFill>
                <a:latin typeface="Arial" panose="020B0604020202020204" pitchFamily="34" charset="0"/>
                <a:ea typeface="Open Sans Semibold" panose="020B0706030804020204" pitchFamily="34" charset="0"/>
                <a:cs typeface="Arial" panose="020B0604020202020204" pitchFamily="34" charset="0"/>
              </a:rPr>
              <a:t>o</a:t>
            </a:r>
            <a:r>
              <a:rPr lang="en-IE" sz="2800" b="1" spc="-150" dirty="0">
                <a:solidFill>
                  <a:srgbClr val="C3C3C3"/>
                </a:solidFill>
                <a:latin typeface="Arial" panose="020B0604020202020204" pitchFamily="34" charset="0"/>
                <a:ea typeface="Open Sans Semibold" panose="020B0706030804020204" pitchFamily="34" charset="0"/>
                <a:cs typeface="Arial" panose="020B0604020202020204" pitchFamily="34" charset="0"/>
              </a:rPr>
              <a:t>mmon Practice</a:t>
            </a:r>
          </a:p>
          <a:p>
            <a:pPr algn="l"/>
            <a:endParaRPr lang="en-IE" b="1" dirty="0">
              <a:solidFill>
                <a:srgbClr val="024DA1"/>
              </a:solidFill>
            </a:endParaRPr>
          </a:p>
          <a:p>
            <a:r>
              <a:rPr lang="en-US" sz="1800" b="1" dirty="0">
                <a:solidFill>
                  <a:srgbClr val="0C4CA2"/>
                </a:solidFill>
                <a:latin typeface="Arial" panose="020B0604020202020204" pitchFamily="34" charset="0"/>
                <a:ea typeface="+mn-ea"/>
                <a:cs typeface="Arial" panose="020B0604020202020204" pitchFamily="34" charset="0"/>
              </a:rPr>
              <a:t>Trade marks contrary to public policy or to accepted principles of morality</a:t>
            </a:r>
            <a:endParaRPr lang="en-IE" sz="1800" b="1" dirty="0">
              <a:solidFill>
                <a:srgbClr val="0C4CA2"/>
              </a:solidFill>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7909030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73A7B155-BCE1-4E98-B815-65D7588CE721}"/>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IE" sz="1400" b="1" dirty="0">
                <a:solidFill>
                  <a:schemeClr val="bg1"/>
                </a:solidFill>
                <a:latin typeface="Arial"/>
                <a:cs typeface="Arial"/>
              </a:rPr>
              <a:t>CP14</a:t>
            </a:r>
            <a:r>
              <a:rPr lang="en-IE" sz="1400" b="1" dirty="0">
                <a:solidFill>
                  <a:schemeClr val="bg1"/>
                </a:solidFill>
                <a:latin typeface="Arial" panose="020B0604020202020204" pitchFamily="34" charset="0"/>
                <a:cs typeface="Arial" panose="020B0604020202020204" pitchFamily="34" charset="0"/>
              </a:rPr>
              <a:t> </a:t>
            </a:r>
            <a:r>
              <a:rPr lang="en-IE" sz="1400" b="1" dirty="0">
                <a:solidFill>
                  <a:schemeClr val="bg1"/>
                </a:solidFill>
                <a:latin typeface="Arial"/>
                <a:cs typeface="Arial"/>
              </a:rPr>
              <a:t>Common Practice </a:t>
            </a:r>
            <a:endParaRPr lang="en-IE" sz="1500" b="1" spc="-71" dirty="0">
              <a:solidFill>
                <a:srgbClr val="FFFCF6"/>
              </a:solidFill>
              <a:latin typeface="Arial"/>
              <a:ea typeface="Open Sans" panose="020B0606030504020204" pitchFamily="34" charset="0"/>
              <a:cs typeface="Arial"/>
            </a:endParaRPr>
          </a:p>
        </p:txBody>
      </p:sp>
      <p:sp>
        <p:nvSpPr>
          <p:cNvPr id="7" name="Rectangle 6">
            <a:extLst>
              <a:ext uri="{FF2B5EF4-FFF2-40B4-BE49-F238E27FC236}">
                <a16:creationId xmlns:a16="http://schemas.microsoft.com/office/drawing/2014/main" id="{0119B035-BD96-4F79-AA1F-526B23D1FD0F}"/>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Working Group members</a:t>
            </a:r>
          </a:p>
        </p:txBody>
      </p:sp>
      <p:sp>
        <p:nvSpPr>
          <p:cNvPr id="297" name="TextBox 296">
            <a:extLst>
              <a:ext uri="{FF2B5EF4-FFF2-40B4-BE49-F238E27FC236}">
                <a16:creationId xmlns:a16="http://schemas.microsoft.com/office/drawing/2014/main" id="{3C1AEAC9-D0D5-4804-8DB6-173C1ABED3F8}"/>
              </a:ext>
            </a:extLst>
          </p:cNvPr>
          <p:cNvSpPr txBox="1">
            <a:spLocks noChangeArrowheads="1"/>
          </p:cNvSpPr>
          <p:nvPr/>
        </p:nvSpPr>
        <p:spPr bwMode="auto">
          <a:xfrm>
            <a:off x="730126" y="1823702"/>
            <a:ext cx="1606550" cy="2739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2" tIns="45716" rIns="91432" bIns="45716">
            <a:spAutoFit/>
          </a:bodyPr>
          <a:lstStyle>
            <a:lvl1pPr marL="285750" indent="-285750">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marL="285722" indent="-285722">
              <a:spcBef>
                <a:spcPct val="0"/>
              </a:spcBef>
              <a:buFont typeface="Wingdings" pitchFamily="2" charset="2"/>
              <a:buChar char="v"/>
              <a:defRPr/>
            </a:pPr>
            <a:r>
              <a:rPr lang="es-ES_tradnl" altLang="en-US" sz="1800" b="1" dirty="0">
                <a:solidFill>
                  <a:srgbClr val="4BACC6"/>
                </a:solidFill>
                <a:latin typeface="Arial" panose="020B0604020202020204" pitchFamily="34" charset="0"/>
                <a:ea typeface="MS PGothic" pitchFamily="34" charset="-128"/>
                <a:cs typeface="Arial" panose="020B0604020202020204" pitchFamily="34" charset="0"/>
              </a:rPr>
              <a:t>IPOs:</a:t>
            </a:r>
          </a:p>
          <a:p>
            <a:pPr marL="742535" marR="0" lvl="1" indent="-285589" algn="l" defTabSz="456926" rtl="0" eaLnBrk="1" fontAlgn="auto" latinLnBrk="0" hangingPunct="1">
              <a:lnSpc>
                <a:spcPct val="100000"/>
              </a:lnSpc>
              <a:spcBef>
                <a:spcPct val="0"/>
              </a:spcBef>
              <a:spcAft>
                <a:spcPts val="0"/>
              </a:spcAft>
              <a:buClrTx/>
              <a:buSzTx/>
              <a:buFont typeface="Arial" pitchFamily="34" charset="0"/>
              <a:buChar char="•"/>
              <a:tabLst/>
              <a:defRPr/>
            </a:pPr>
            <a:r>
              <a:rPr kumimoji="0" lang="es-ES" altLang="en-US" sz="1400" b="0" i="0" u="none" strike="noStrike" kern="1200" cap="none" spc="0" normalizeH="0" baseline="0" noProof="0" dirty="0">
                <a:ln>
                  <a:noFill/>
                </a:ln>
                <a:solidFill>
                  <a:srgbClr val="024DA1"/>
                </a:solidFill>
                <a:effectLst/>
                <a:uLnTx/>
                <a:uFillTx/>
                <a:latin typeface="Arial" pitchFamily="34" charset="0"/>
                <a:ea typeface="+mn-ea"/>
                <a:cs typeface="+mn-cs"/>
              </a:rPr>
              <a:t>BG</a:t>
            </a:r>
          </a:p>
          <a:p>
            <a:pPr marL="742535" marR="0" lvl="1" indent="-285589" algn="l" defTabSz="456926" rtl="0" eaLnBrk="1" fontAlgn="auto" latinLnBrk="0" hangingPunct="1">
              <a:lnSpc>
                <a:spcPct val="100000"/>
              </a:lnSpc>
              <a:spcBef>
                <a:spcPct val="0"/>
              </a:spcBef>
              <a:spcAft>
                <a:spcPts val="0"/>
              </a:spcAft>
              <a:buClrTx/>
              <a:buSzTx/>
              <a:buFont typeface="Arial" pitchFamily="34" charset="0"/>
              <a:buChar char="•"/>
              <a:tabLst/>
              <a:defRPr/>
            </a:pPr>
            <a:r>
              <a:rPr kumimoji="0" lang="es-ES" altLang="en-US" sz="1400" b="0" i="0" u="none" strike="noStrike" kern="1200" cap="none" spc="0" normalizeH="0" baseline="0" noProof="0" dirty="0">
                <a:ln>
                  <a:noFill/>
                </a:ln>
                <a:solidFill>
                  <a:srgbClr val="024DA1"/>
                </a:solidFill>
                <a:effectLst/>
                <a:uLnTx/>
                <a:uFillTx/>
                <a:latin typeface="Arial" pitchFamily="34" charset="0"/>
                <a:ea typeface="+mn-ea"/>
                <a:cs typeface="+mn-cs"/>
              </a:rPr>
              <a:t>EE</a:t>
            </a:r>
          </a:p>
          <a:p>
            <a:pPr marL="742535" marR="0" lvl="1" indent="-285589" algn="l" defTabSz="456926" rtl="0" eaLnBrk="1" fontAlgn="auto" latinLnBrk="0" hangingPunct="1">
              <a:lnSpc>
                <a:spcPct val="100000"/>
              </a:lnSpc>
              <a:spcBef>
                <a:spcPct val="0"/>
              </a:spcBef>
              <a:spcAft>
                <a:spcPts val="0"/>
              </a:spcAft>
              <a:buClrTx/>
              <a:buSzTx/>
              <a:buFont typeface="Arial" pitchFamily="34" charset="0"/>
              <a:buChar char="•"/>
              <a:tabLst/>
              <a:defRPr/>
            </a:pPr>
            <a:r>
              <a:rPr kumimoji="0" lang="es-ES" altLang="en-US" sz="1400" b="0" i="0" u="none" strike="noStrike" kern="1200" cap="none" spc="0" normalizeH="0" baseline="0" noProof="0" dirty="0">
                <a:ln>
                  <a:noFill/>
                </a:ln>
                <a:solidFill>
                  <a:srgbClr val="024DA1"/>
                </a:solidFill>
                <a:effectLst/>
                <a:uLnTx/>
                <a:uFillTx/>
                <a:latin typeface="Arial" pitchFamily="34" charset="0"/>
                <a:ea typeface="+mn-ea"/>
                <a:cs typeface="+mn-cs"/>
              </a:rPr>
              <a:t>ES</a:t>
            </a:r>
          </a:p>
          <a:p>
            <a:pPr marL="742535" marR="0" lvl="1" indent="-285589" algn="l" defTabSz="456926" rtl="0" eaLnBrk="1" fontAlgn="auto" latinLnBrk="0" hangingPunct="1">
              <a:lnSpc>
                <a:spcPct val="100000"/>
              </a:lnSpc>
              <a:spcBef>
                <a:spcPct val="0"/>
              </a:spcBef>
              <a:spcAft>
                <a:spcPts val="0"/>
              </a:spcAft>
              <a:buClrTx/>
              <a:buSzTx/>
              <a:buFont typeface="Arial" pitchFamily="34" charset="0"/>
              <a:buChar char="•"/>
              <a:tabLst/>
              <a:defRPr/>
            </a:pPr>
            <a:r>
              <a:rPr kumimoji="0" lang="es-ES" altLang="en-US" sz="1400" b="0" i="0" u="none" strike="noStrike" kern="1200" cap="none" spc="0" normalizeH="0" baseline="0" noProof="0" dirty="0">
                <a:ln>
                  <a:noFill/>
                </a:ln>
                <a:solidFill>
                  <a:srgbClr val="024DA1"/>
                </a:solidFill>
                <a:effectLst/>
                <a:uLnTx/>
                <a:uFillTx/>
                <a:latin typeface="Arial" pitchFamily="34" charset="0"/>
                <a:ea typeface="+mn-ea"/>
                <a:cs typeface="+mn-cs"/>
              </a:rPr>
              <a:t>EUIPO</a:t>
            </a:r>
          </a:p>
          <a:p>
            <a:pPr marL="742535" marR="0" lvl="1" indent="-285589" algn="l" defTabSz="456926" rtl="0" eaLnBrk="1" fontAlgn="auto" latinLnBrk="0" hangingPunct="1">
              <a:lnSpc>
                <a:spcPct val="100000"/>
              </a:lnSpc>
              <a:spcBef>
                <a:spcPct val="0"/>
              </a:spcBef>
              <a:spcAft>
                <a:spcPts val="0"/>
              </a:spcAft>
              <a:buClrTx/>
              <a:buSzTx/>
              <a:buFont typeface="Arial" pitchFamily="34" charset="0"/>
              <a:buChar char="•"/>
              <a:tabLst/>
              <a:defRPr/>
            </a:pPr>
            <a:r>
              <a:rPr kumimoji="0" lang="es-ES" altLang="en-US" sz="1400" b="0" i="0" u="none" strike="noStrike" kern="1200" cap="none" spc="0" normalizeH="0" baseline="0" noProof="0" dirty="0">
                <a:ln>
                  <a:noFill/>
                </a:ln>
                <a:solidFill>
                  <a:srgbClr val="024DA1"/>
                </a:solidFill>
                <a:effectLst/>
                <a:uLnTx/>
                <a:uFillTx/>
                <a:latin typeface="Arial" pitchFamily="34" charset="0"/>
                <a:ea typeface="+mn-ea"/>
                <a:cs typeface="+mn-cs"/>
              </a:rPr>
              <a:t>FI</a:t>
            </a:r>
          </a:p>
          <a:p>
            <a:pPr marL="742535" marR="0" lvl="1" indent="-285589" algn="l" defTabSz="456926" rtl="0" eaLnBrk="1" fontAlgn="auto" latinLnBrk="0" hangingPunct="1">
              <a:lnSpc>
                <a:spcPct val="100000"/>
              </a:lnSpc>
              <a:spcBef>
                <a:spcPct val="0"/>
              </a:spcBef>
              <a:spcAft>
                <a:spcPts val="0"/>
              </a:spcAft>
              <a:buClrTx/>
              <a:buSzTx/>
              <a:buFont typeface="Arial" pitchFamily="34" charset="0"/>
              <a:buChar char="•"/>
              <a:tabLst/>
              <a:defRPr/>
            </a:pPr>
            <a:r>
              <a:rPr kumimoji="0" lang="es-ES" altLang="en-US" sz="1400" b="0" i="0" u="none" strike="noStrike" kern="1200" cap="none" spc="0" normalizeH="0" baseline="0" noProof="0" dirty="0">
                <a:ln>
                  <a:noFill/>
                </a:ln>
                <a:solidFill>
                  <a:srgbClr val="024DA1"/>
                </a:solidFill>
                <a:effectLst/>
                <a:uLnTx/>
                <a:uFillTx/>
                <a:latin typeface="Arial" pitchFamily="34" charset="0"/>
                <a:ea typeface="+mn-ea"/>
                <a:cs typeface="+mn-cs"/>
              </a:rPr>
              <a:t>FR</a:t>
            </a:r>
          </a:p>
          <a:p>
            <a:pPr marL="742535" marR="0" lvl="1" indent="-285589" algn="l" defTabSz="456926" rtl="0" eaLnBrk="1" fontAlgn="auto" latinLnBrk="0" hangingPunct="1">
              <a:lnSpc>
                <a:spcPct val="100000"/>
              </a:lnSpc>
              <a:spcBef>
                <a:spcPct val="0"/>
              </a:spcBef>
              <a:spcAft>
                <a:spcPts val="0"/>
              </a:spcAft>
              <a:buClrTx/>
              <a:buSzTx/>
              <a:buFont typeface="Arial" pitchFamily="34" charset="0"/>
              <a:buChar char="•"/>
              <a:tabLst/>
              <a:defRPr/>
            </a:pPr>
            <a:r>
              <a:rPr kumimoji="0" lang="es-ES" altLang="en-US" sz="1400" b="0" i="0" u="none" strike="noStrike" kern="1200" cap="none" spc="0" normalizeH="0" baseline="0" noProof="0" dirty="0">
                <a:ln>
                  <a:noFill/>
                </a:ln>
                <a:solidFill>
                  <a:srgbClr val="024DA1"/>
                </a:solidFill>
                <a:effectLst/>
                <a:uLnTx/>
                <a:uFillTx/>
                <a:latin typeface="Arial" pitchFamily="34" charset="0"/>
                <a:ea typeface="+mn-ea"/>
                <a:cs typeface="+mn-cs"/>
              </a:rPr>
              <a:t>IT</a:t>
            </a:r>
          </a:p>
          <a:p>
            <a:pPr marL="742535" marR="0" lvl="1" indent="-285589" algn="l" defTabSz="456926" rtl="0" eaLnBrk="1" fontAlgn="auto" latinLnBrk="0" hangingPunct="1">
              <a:lnSpc>
                <a:spcPct val="100000"/>
              </a:lnSpc>
              <a:spcBef>
                <a:spcPct val="0"/>
              </a:spcBef>
              <a:spcAft>
                <a:spcPts val="0"/>
              </a:spcAft>
              <a:buClrTx/>
              <a:buSzTx/>
              <a:buFont typeface="Arial" pitchFamily="34" charset="0"/>
              <a:buChar char="•"/>
              <a:tabLst/>
              <a:defRPr/>
            </a:pPr>
            <a:r>
              <a:rPr kumimoji="0" lang="es-ES" altLang="en-US" sz="1400" b="0" i="0" u="none" strike="noStrike" kern="1200" cap="none" spc="0" normalizeH="0" baseline="0" noProof="0" dirty="0">
                <a:ln>
                  <a:noFill/>
                </a:ln>
                <a:solidFill>
                  <a:srgbClr val="024DA1"/>
                </a:solidFill>
                <a:effectLst/>
                <a:uLnTx/>
                <a:uFillTx/>
                <a:latin typeface="Arial" pitchFamily="34" charset="0"/>
                <a:ea typeface="+mn-ea"/>
                <a:cs typeface="+mn-cs"/>
              </a:rPr>
              <a:t>LV</a:t>
            </a:r>
          </a:p>
          <a:p>
            <a:pPr marL="742535" marR="0" lvl="1" indent="-285589" algn="l" defTabSz="456926" rtl="0" eaLnBrk="1" fontAlgn="auto" latinLnBrk="0" hangingPunct="1">
              <a:lnSpc>
                <a:spcPct val="100000"/>
              </a:lnSpc>
              <a:spcBef>
                <a:spcPct val="0"/>
              </a:spcBef>
              <a:spcAft>
                <a:spcPts val="0"/>
              </a:spcAft>
              <a:buClrTx/>
              <a:buSzTx/>
              <a:buFont typeface="Arial" pitchFamily="34" charset="0"/>
              <a:buChar char="•"/>
              <a:tabLst/>
              <a:defRPr/>
            </a:pPr>
            <a:r>
              <a:rPr kumimoji="0" lang="es-ES" altLang="en-US" sz="1400" b="0" i="0" u="none" strike="noStrike" kern="1200" cap="none" spc="0" normalizeH="0" baseline="0" noProof="0" dirty="0">
                <a:ln>
                  <a:noFill/>
                </a:ln>
                <a:solidFill>
                  <a:srgbClr val="024DA1"/>
                </a:solidFill>
                <a:effectLst/>
                <a:uLnTx/>
                <a:uFillTx/>
                <a:latin typeface="Arial" pitchFamily="34" charset="0"/>
                <a:ea typeface="+mn-ea"/>
                <a:cs typeface="+mn-cs"/>
              </a:rPr>
              <a:t>PL</a:t>
            </a:r>
          </a:p>
          <a:p>
            <a:pPr marL="742535" marR="0" lvl="1" indent="-285589" algn="l" defTabSz="456926" rtl="0" eaLnBrk="1" fontAlgn="auto" latinLnBrk="0" hangingPunct="1">
              <a:lnSpc>
                <a:spcPct val="100000"/>
              </a:lnSpc>
              <a:spcBef>
                <a:spcPct val="0"/>
              </a:spcBef>
              <a:spcAft>
                <a:spcPts val="0"/>
              </a:spcAft>
              <a:buClrTx/>
              <a:buSzTx/>
              <a:buFont typeface="Arial" pitchFamily="34" charset="0"/>
              <a:buChar char="•"/>
              <a:tabLst/>
              <a:defRPr/>
            </a:pPr>
            <a:r>
              <a:rPr kumimoji="0" lang="es-ES" altLang="en-US" sz="1400" b="0" i="0" u="none" strike="noStrike" kern="1200" cap="none" spc="0" normalizeH="0" baseline="0" noProof="0" dirty="0">
                <a:ln>
                  <a:noFill/>
                </a:ln>
                <a:solidFill>
                  <a:srgbClr val="024DA1"/>
                </a:solidFill>
                <a:effectLst/>
                <a:uLnTx/>
                <a:uFillTx/>
                <a:latin typeface="Arial" pitchFamily="34" charset="0"/>
                <a:ea typeface="+mn-ea"/>
                <a:cs typeface="+mn-cs"/>
              </a:rPr>
              <a:t>RO</a:t>
            </a:r>
          </a:p>
          <a:p>
            <a:pPr marL="742535" marR="0" lvl="1" indent="-285589" algn="l" defTabSz="456926" rtl="0" eaLnBrk="1" fontAlgn="auto" latinLnBrk="0" hangingPunct="1">
              <a:lnSpc>
                <a:spcPct val="100000"/>
              </a:lnSpc>
              <a:spcBef>
                <a:spcPct val="0"/>
              </a:spcBef>
              <a:spcAft>
                <a:spcPts val="0"/>
              </a:spcAft>
              <a:buClrTx/>
              <a:buSzTx/>
              <a:buFont typeface="Arial" pitchFamily="34" charset="0"/>
              <a:buChar char="•"/>
              <a:tabLst/>
              <a:defRPr/>
            </a:pPr>
            <a:r>
              <a:rPr kumimoji="0" lang="es-ES" altLang="en-US" sz="1400" b="0" i="0" u="none" strike="noStrike" kern="1200" cap="none" spc="0" normalizeH="0" baseline="0" noProof="0" dirty="0">
                <a:ln>
                  <a:noFill/>
                </a:ln>
                <a:solidFill>
                  <a:srgbClr val="024DA1"/>
                </a:solidFill>
                <a:effectLst/>
                <a:uLnTx/>
                <a:uFillTx/>
                <a:latin typeface="Arial" pitchFamily="34" charset="0"/>
                <a:ea typeface="+mn-ea"/>
                <a:cs typeface="+mn-cs"/>
              </a:rPr>
              <a:t>SE</a:t>
            </a:r>
          </a:p>
        </p:txBody>
      </p:sp>
      <p:sp>
        <p:nvSpPr>
          <p:cNvPr id="298" name="TextBox 26">
            <a:extLst>
              <a:ext uri="{FF2B5EF4-FFF2-40B4-BE49-F238E27FC236}">
                <a16:creationId xmlns:a16="http://schemas.microsoft.com/office/drawing/2014/main" id="{159DEAD8-5DDF-4223-93A7-3680E597C9B2}"/>
              </a:ext>
            </a:extLst>
          </p:cNvPr>
          <p:cNvSpPr txBox="1">
            <a:spLocks noChangeArrowheads="1"/>
          </p:cNvSpPr>
          <p:nvPr/>
        </p:nvSpPr>
        <p:spPr bwMode="auto">
          <a:xfrm>
            <a:off x="2349674" y="1826378"/>
            <a:ext cx="1855788" cy="1015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2" tIns="45716" rIns="91432" bIns="45716">
            <a:spAutoFit/>
          </a:bodyPr>
          <a:lstStyle>
            <a:lvl1pPr marL="285750" indent="-285750">
              <a:spcBef>
                <a:spcPct val="20000"/>
              </a:spcBef>
              <a:buFont typeface="Arial" pitchFamily="34" charset="0"/>
              <a:buChar char="•"/>
              <a:defRPr sz="3200">
                <a:solidFill>
                  <a:schemeClr val="tx1"/>
                </a:solidFill>
                <a:latin typeface="Calibri" pitchFamily="34" charset="0"/>
              </a:defRPr>
            </a:lvl1pPr>
            <a:lvl2pPr marL="742950" indent="-285750">
              <a:spcBef>
                <a:spcPct val="20000"/>
              </a:spcBef>
              <a:buFont typeface="Arial" pitchFamily="34" charset="0"/>
              <a:buChar char="–"/>
              <a:defRPr sz="2800">
                <a:solidFill>
                  <a:schemeClr val="tx1"/>
                </a:solidFill>
                <a:latin typeface="Calibri" pitchFamily="34" charset="0"/>
              </a:defRPr>
            </a:lvl2pPr>
            <a:lvl3pPr marL="1143000" indent="-228600">
              <a:spcBef>
                <a:spcPct val="20000"/>
              </a:spcBef>
              <a:buFont typeface="Arial" pitchFamily="34" charset="0"/>
              <a:buChar char="•"/>
              <a:defRPr sz="2400">
                <a:solidFill>
                  <a:schemeClr val="tx1"/>
                </a:solidFill>
                <a:latin typeface="Calibri" pitchFamily="34" charset="0"/>
              </a:defRPr>
            </a:lvl3pPr>
            <a:lvl4pPr marL="1600200" indent="-228600">
              <a:spcBef>
                <a:spcPct val="20000"/>
              </a:spcBef>
              <a:buFont typeface="Arial" pitchFamily="34" charset="0"/>
              <a:buChar char="–"/>
              <a:defRPr sz="2000">
                <a:solidFill>
                  <a:schemeClr val="tx1"/>
                </a:solidFill>
                <a:latin typeface="Calibri" pitchFamily="34" charset="0"/>
              </a:defRPr>
            </a:lvl4pPr>
            <a:lvl5pPr marL="2057400" indent="-228600">
              <a:spcBef>
                <a:spcPct val="20000"/>
              </a:spcBef>
              <a:buFont typeface="Arial" pitchFamily="34" charset="0"/>
              <a:buChar char="»"/>
              <a:defRPr sz="2000">
                <a:solidFill>
                  <a:schemeClr val="tx1"/>
                </a:solidFill>
                <a:latin typeface="Calibri" pitchFamily="34" charset="0"/>
              </a:defRPr>
            </a:lvl5pPr>
            <a:lvl6pPr marL="25146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6pPr>
            <a:lvl7pPr marL="29718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7pPr>
            <a:lvl8pPr marL="34290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8pPr>
            <a:lvl9pPr marL="3886200" indent="-228600" defTabSz="457200" eaLnBrk="0" fontAlgn="base" hangingPunct="0">
              <a:spcBef>
                <a:spcPct val="20000"/>
              </a:spcBef>
              <a:spcAft>
                <a:spcPct val="0"/>
              </a:spcAft>
              <a:buFont typeface="Arial" pitchFamily="34" charset="0"/>
              <a:buChar char="»"/>
              <a:defRPr sz="2000">
                <a:solidFill>
                  <a:schemeClr val="tx1"/>
                </a:solidFill>
                <a:latin typeface="Calibri" pitchFamily="34" charset="0"/>
              </a:defRPr>
            </a:lvl9pPr>
          </a:lstStyle>
          <a:p>
            <a:pPr marL="285722" indent="-285722">
              <a:spcBef>
                <a:spcPct val="0"/>
              </a:spcBef>
              <a:buFont typeface="Wingdings" pitchFamily="2" charset="2"/>
              <a:buChar char="v"/>
              <a:defRPr/>
            </a:pPr>
            <a:r>
              <a:rPr lang="es-ES_tradnl" altLang="en-US" sz="1800" b="1" dirty="0" err="1">
                <a:solidFill>
                  <a:srgbClr val="4BACC6"/>
                </a:solidFill>
                <a:latin typeface="Arial" panose="020B0604020202020204" pitchFamily="34" charset="0"/>
                <a:ea typeface="MS PGothic" pitchFamily="34" charset="-128"/>
                <a:cs typeface="Arial" panose="020B0604020202020204" pitchFamily="34" charset="0"/>
              </a:rPr>
              <a:t>UAs</a:t>
            </a:r>
            <a:r>
              <a:rPr lang="es-ES_tradnl" altLang="en-US" sz="1800" b="1" dirty="0">
                <a:solidFill>
                  <a:srgbClr val="4BACC6"/>
                </a:solidFill>
                <a:latin typeface="Arial" panose="020B0604020202020204" pitchFamily="34" charset="0"/>
                <a:ea typeface="MS PGothic" pitchFamily="34" charset="-128"/>
                <a:cs typeface="Arial" panose="020B0604020202020204" pitchFamily="34" charset="0"/>
              </a:rPr>
              <a:t>:</a:t>
            </a:r>
          </a:p>
          <a:p>
            <a:pPr marL="742535" lvl="1" indent="-285589" defTabSz="456926">
              <a:spcBef>
                <a:spcPct val="0"/>
              </a:spcBef>
              <a:buFont typeface="Arial" pitchFamily="34" charset="0"/>
              <a:buChar char="•"/>
              <a:defRPr/>
            </a:pPr>
            <a:r>
              <a:rPr lang="es-ES_tradnl" altLang="en-US" sz="1400" dirty="0">
                <a:solidFill>
                  <a:srgbClr val="024DA1"/>
                </a:solidFill>
                <a:latin typeface="Arial" pitchFamily="34" charset="0"/>
              </a:rPr>
              <a:t>AIPPI</a:t>
            </a:r>
          </a:p>
          <a:p>
            <a:pPr marL="742535" lvl="1" indent="-285589" defTabSz="456926">
              <a:spcBef>
                <a:spcPct val="0"/>
              </a:spcBef>
              <a:buFont typeface="Arial" pitchFamily="34" charset="0"/>
              <a:buChar char="•"/>
              <a:defRPr/>
            </a:pPr>
            <a:r>
              <a:rPr lang="es-ES_tradnl" altLang="en-US" sz="1400" dirty="0">
                <a:solidFill>
                  <a:srgbClr val="024DA1"/>
                </a:solidFill>
                <a:latin typeface="Arial" pitchFamily="34" charset="0"/>
              </a:rPr>
              <a:t>ECTA</a:t>
            </a:r>
          </a:p>
          <a:p>
            <a:pPr marL="742535" lvl="1" indent="-285589" defTabSz="456926">
              <a:spcBef>
                <a:spcPct val="0"/>
              </a:spcBef>
              <a:buFont typeface="Arial" pitchFamily="34" charset="0"/>
              <a:buChar char="•"/>
              <a:defRPr/>
            </a:pPr>
            <a:r>
              <a:rPr lang="es-ES_tradnl" altLang="en-US" sz="1400" dirty="0">
                <a:solidFill>
                  <a:srgbClr val="024DA1"/>
                </a:solidFill>
                <a:latin typeface="Arial" pitchFamily="34" charset="0"/>
              </a:rPr>
              <a:t>MARQUES</a:t>
            </a:r>
          </a:p>
        </p:txBody>
      </p:sp>
      <p:grpSp>
        <p:nvGrpSpPr>
          <p:cNvPr id="299" name="Group 298">
            <a:extLst>
              <a:ext uri="{FF2B5EF4-FFF2-40B4-BE49-F238E27FC236}">
                <a16:creationId xmlns:a16="http://schemas.microsoft.com/office/drawing/2014/main" id="{78BB7F2A-86EB-4C9D-B3D4-9B5E07311765}"/>
              </a:ext>
            </a:extLst>
          </p:cNvPr>
          <p:cNvGrpSpPr/>
          <p:nvPr/>
        </p:nvGrpSpPr>
        <p:grpSpPr>
          <a:xfrm>
            <a:off x="4652314" y="1421182"/>
            <a:ext cx="4103323" cy="3573755"/>
            <a:chOff x="4286005" y="155073"/>
            <a:chExt cx="7757098" cy="6547855"/>
          </a:xfrm>
        </p:grpSpPr>
        <p:grpSp>
          <p:nvGrpSpPr>
            <p:cNvPr id="300" name="Grupo 8">
              <a:extLst>
                <a:ext uri="{FF2B5EF4-FFF2-40B4-BE49-F238E27FC236}">
                  <a16:creationId xmlns:a16="http://schemas.microsoft.com/office/drawing/2014/main" id="{DFB01F0F-E683-4FA6-9E39-6B886D260DC4}"/>
                </a:ext>
              </a:extLst>
            </p:cNvPr>
            <p:cNvGrpSpPr/>
            <p:nvPr/>
          </p:nvGrpSpPr>
          <p:grpSpPr>
            <a:xfrm>
              <a:off x="4501056" y="636744"/>
              <a:ext cx="770748" cy="639457"/>
              <a:chOff x="1776312" y="1040166"/>
              <a:chExt cx="770748" cy="639457"/>
            </a:xfrm>
            <a:solidFill>
              <a:srgbClr val="D0CECE"/>
            </a:solidFill>
          </p:grpSpPr>
          <p:grpSp>
            <p:nvGrpSpPr>
              <p:cNvPr id="871" name="Grupo 6">
                <a:extLst>
                  <a:ext uri="{FF2B5EF4-FFF2-40B4-BE49-F238E27FC236}">
                    <a16:creationId xmlns:a16="http://schemas.microsoft.com/office/drawing/2014/main" id="{48AFCF55-F3FB-4ABF-AFB9-5E33799CD0C9}"/>
                  </a:ext>
                </a:extLst>
              </p:cNvPr>
              <p:cNvGrpSpPr/>
              <p:nvPr/>
            </p:nvGrpSpPr>
            <p:grpSpPr>
              <a:xfrm>
                <a:off x="1776312" y="1040166"/>
                <a:ext cx="770748" cy="639457"/>
                <a:chOff x="1776312" y="1040166"/>
                <a:chExt cx="770748" cy="639457"/>
              </a:xfrm>
              <a:grpFill/>
            </p:grpSpPr>
            <p:sp>
              <p:nvSpPr>
                <p:cNvPr id="873" name="Forma libre: forma 4">
                  <a:extLst>
                    <a:ext uri="{FF2B5EF4-FFF2-40B4-BE49-F238E27FC236}">
                      <a16:creationId xmlns:a16="http://schemas.microsoft.com/office/drawing/2014/main" id="{E9F9F09C-7B52-40D1-959C-41E19D913478}"/>
                    </a:ext>
                  </a:extLst>
                </p:cNvPr>
                <p:cNvSpPr/>
                <p:nvPr/>
              </p:nvSpPr>
              <p:spPr>
                <a:xfrm>
                  <a:off x="1776312" y="1040166"/>
                  <a:ext cx="770748" cy="639457"/>
                </a:xfrm>
                <a:custGeom>
                  <a:avLst/>
                  <a:gdLst>
                    <a:gd name="connsiteX0" fmla="*/ 221003 w 770748"/>
                    <a:gd name="connsiteY0" fmla="*/ 45511 h 639457"/>
                    <a:gd name="connsiteX1" fmla="*/ 204428 w 770748"/>
                    <a:gd name="connsiteY1" fmla="*/ 23411 h 639457"/>
                    <a:gd name="connsiteX2" fmla="*/ 201665 w 770748"/>
                    <a:gd name="connsiteY2" fmla="*/ 15123 h 639457"/>
                    <a:gd name="connsiteX3" fmla="*/ 204428 w 770748"/>
                    <a:gd name="connsiteY3" fmla="*/ 1311 h 639457"/>
                    <a:gd name="connsiteX4" fmla="*/ 243103 w 770748"/>
                    <a:gd name="connsiteY4" fmla="*/ 12361 h 639457"/>
                    <a:gd name="connsiteX5" fmla="*/ 248628 w 770748"/>
                    <a:gd name="connsiteY5" fmla="*/ 20649 h 639457"/>
                    <a:gd name="connsiteX6" fmla="*/ 262441 w 770748"/>
                    <a:gd name="connsiteY6" fmla="*/ 48274 h 639457"/>
                    <a:gd name="connsiteX7" fmla="*/ 281779 w 770748"/>
                    <a:gd name="connsiteY7" fmla="*/ 53799 h 639457"/>
                    <a:gd name="connsiteX8" fmla="*/ 290066 w 770748"/>
                    <a:gd name="connsiteY8" fmla="*/ 111812 h 639457"/>
                    <a:gd name="connsiteX9" fmla="*/ 287304 w 770748"/>
                    <a:gd name="connsiteY9" fmla="*/ 142200 h 639457"/>
                    <a:gd name="connsiteX10" fmla="*/ 279016 w 770748"/>
                    <a:gd name="connsiteY10" fmla="*/ 150488 h 639457"/>
                    <a:gd name="connsiteX11" fmla="*/ 267966 w 770748"/>
                    <a:gd name="connsiteY11" fmla="*/ 156013 h 639457"/>
                    <a:gd name="connsiteX12" fmla="*/ 254153 w 770748"/>
                    <a:gd name="connsiteY12" fmla="*/ 164300 h 639457"/>
                    <a:gd name="connsiteX13" fmla="*/ 237578 w 770748"/>
                    <a:gd name="connsiteY13" fmla="*/ 161538 h 639457"/>
                    <a:gd name="connsiteX14" fmla="*/ 248628 w 770748"/>
                    <a:gd name="connsiteY14" fmla="*/ 156013 h 639457"/>
                    <a:gd name="connsiteX15" fmla="*/ 254153 w 770748"/>
                    <a:gd name="connsiteY15" fmla="*/ 164300 h 639457"/>
                    <a:gd name="connsiteX16" fmla="*/ 256916 w 770748"/>
                    <a:gd name="connsiteY16" fmla="*/ 219551 h 639457"/>
                    <a:gd name="connsiteX17" fmla="*/ 262441 w 770748"/>
                    <a:gd name="connsiteY17" fmla="*/ 227839 h 639457"/>
                    <a:gd name="connsiteX18" fmla="*/ 265203 w 770748"/>
                    <a:gd name="connsiteY18" fmla="*/ 238889 h 639457"/>
                    <a:gd name="connsiteX19" fmla="*/ 240341 w 770748"/>
                    <a:gd name="connsiteY19" fmla="*/ 255464 h 639457"/>
                    <a:gd name="connsiteX20" fmla="*/ 237578 w 770748"/>
                    <a:gd name="connsiteY20" fmla="*/ 263752 h 639457"/>
                    <a:gd name="connsiteX21" fmla="*/ 251391 w 770748"/>
                    <a:gd name="connsiteY21" fmla="*/ 230601 h 639457"/>
                    <a:gd name="connsiteX22" fmla="*/ 254153 w 770748"/>
                    <a:gd name="connsiteY22" fmla="*/ 214026 h 639457"/>
                    <a:gd name="connsiteX23" fmla="*/ 267966 w 770748"/>
                    <a:gd name="connsiteY23" fmla="*/ 208501 h 639457"/>
                    <a:gd name="connsiteX24" fmla="*/ 284541 w 770748"/>
                    <a:gd name="connsiteY24" fmla="*/ 214026 h 639457"/>
                    <a:gd name="connsiteX25" fmla="*/ 290066 w 770748"/>
                    <a:gd name="connsiteY25" fmla="*/ 236126 h 639457"/>
                    <a:gd name="connsiteX26" fmla="*/ 306641 w 770748"/>
                    <a:gd name="connsiteY26" fmla="*/ 222314 h 639457"/>
                    <a:gd name="connsiteX27" fmla="*/ 317692 w 770748"/>
                    <a:gd name="connsiteY27" fmla="*/ 205739 h 639457"/>
                    <a:gd name="connsiteX28" fmla="*/ 323217 w 770748"/>
                    <a:gd name="connsiteY28" fmla="*/ 186401 h 639457"/>
                    <a:gd name="connsiteX29" fmla="*/ 328742 w 770748"/>
                    <a:gd name="connsiteY29" fmla="*/ 158775 h 639457"/>
                    <a:gd name="connsiteX30" fmla="*/ 339792 w 770748"/>
                    <a:gd name="connsiteY30" fmla="*/ 153250 h 639457"/>
                    <a:gd name="connsiteX31" fmla="*/ 345317 w 770748"/>
                    <a:gd name="connsiteY31" fmla="*/ 139438 h 639457"/>
                    <a:gd name="connsiteX32" fmla="*/ 386755 w 770748"/>
                    <a:gd name="connsiteY32" fmla="*/ 150488 h 639457"/>
                    <a:gd name="connsiteX33" fmla="*/ 389518 w 770748"/>
                    <a:gd name="connsiteY33" fmla="*/ 158775 h 639457"/>
                    <a:gd name="connsiteX34" fmla="*/ 383993 w 770748"/>
                    <a:gd name="connsiteY34" fmla="*/ 175351 h 639457"/>
                    <a:gd name="connsiteX35" fmla="*/ 378467 w 770748"/>
                    <a:gd name="connsiteY35" fmla="*/ 200213 h 639457"/>
                    <a:gd name="connsiteX36" fmla="*/ 381230 w 770748"/>
                    <a:gd name="connsiteY36" fmla="*/ 214026 h 639457"/>
                    <a:gd name="connsiteX37" fmla="*/ 386755 w 770748"/>
                    <a:gd name="connsiteY37" fmla="*/ 222314 h 639457"/>
                    <a:gd name="connsiteX38" fmla="*/ 389518 w 770748"/>
                    <a:gd name="connsiteY38" fmla="*/ 230601 h 639457"/>
                    <a:gd name="connsiteX39" fmla="*/ 406093 w 770748"/>
                    <a:gd name="connsiteY39" fmla="*/ 197451 h 639457"/>
                    <a:gd name="connsiteX40" fmla="*/ 414380 w 770748"/>
                    <a:gd name="connsiteY40" fmla="*/ 191926 h 639457"/>
                    <a:gd name="connsiteX41" fmla="*/ 425431 w 770748"/>
                    <a:gd name="connsiteY41" fmla="*/ 183638 h 639457"/>
                    <a:gd name="connsiteX42" fmla="*/ 439243 w 770748"/>
                    <a:gd name="connsiteY42" fmla="*/ 175351 h 639457"/>
                    <a:gd name="connsiteX43" fmla="*/ 453056 w 770748"/>
                    <a:gd name="connsiteY43" fmla="*/ 164300 h 639457"/>
                    <a:gd name="connsiteX44" fmla="*/ 458581 w 770748"/>
                    <a:gd name="connsiteY44" fmla="*/ 175351 h 639457"/>
                    <a:gd name="connsiteX45" fmla="*/ 464106 w 770748"/>
                    <a:gd name="connsiteY45" fmla="*/ 197451 h 639457"/>
                    <a:gd name="connsiteX46" fmla="*/ 477919 w 770748"/>
                    <a:gd name="connsiteY46" fmla="*/ 227839 h 639457"/>
                    <a:gd name="connsiteX47" fmla="*/ 480681 w 770748"/>
                    <a:gd name="connsiteY47" fmla="*/ 244414 h 639457"/>
                    <a:gd name="connsiteX48" fmla="*/ 475156 w 770748"/>
                    <a:gd name="connsiteY48" fmla="*/ 255464 h 639457"/>
                    <a:gd name="connsiteX49" fmla="*/ 472394 w 770748"/>
                    <a:gd name="connsiteY49" fmla="*/ 274802 h 639457"/>
                    <a:gd name="connsiteX50" fmla="*/ 469631 w 770748"/>
                    <a:gd name="connsiteY50" fmla="*/ 283090 h 639457"/>
                    <a:gd name="connsiteX51" fmla="*/ 461344 w 770748"/>
                    <a:gd name="connsiteY51" fmla="*/ 296902 h 639457"/>
                    <a:gd name="connsiteX52" fmla="*/ 472394 w 770748"/>
                    <a:gd name="connsiteY52" fmla="*/ 291377 h 639457"/>
                    <a:gd name="connsiteX53" fmla="*/ 480681 w 770748"/>
                    <a:gd name="connsiteY53" fmla="*/ 272039 h 639457"/>
                    <a:gd name="connsiteX54" fmla="*/ 486206 w 770748"/>
                    <a:gd name="connsiteY54" fmla="*/ 258227 h 639457"/>
                    <a:gd name="connsiteX55" fmla="*/ 483444 w 770748"/>
                    <a:gd name="connsiteY55" fmla="*/ 225076 h 639457"/>
                    <a:gd name="connsiteX56" fmla="*/ 486206 w 770748"/>
                    <a:gd name="connsiteY56" fmla="*/ 205739 h 639457"/>
                    <a:gd name="connsiteX57" fmla="*/ 513832 w 770748"/>
                    <a:gd name="connsiteY57" fmla="*/ 222314 h 639457"/>
                    <a:gd name="connsiteX58" fmla="*/ 544220 w 770748"/>
                    <a:gd name="connsiteY58" fmla="*/ 247177 h 639457"/>
                    <a:gd name="connsiteX59" fmla="*/ 546982 w 770748"/>
                    <a:gd name="connsiteY59" fmla="*/ 238889 h 639457"/>
                    <a:gd name="connsiteX60" fmla="*/ 569083 w 770748"/>
                    <a:gd name="connsiteY60" fmla="*/ 238889 h 639457"/>
                    <a:gd name="connsiteX61" fmla="*/ 593945 w 770748"/>
                    <a:gd name="connsiteY61" fmla="*/ 252702 h 639457"/>
                    <a:gd name="connsiteX62" fmla="*/ 613283 w 770748"/>
                    <a:gd name="connsiteY62" fmla="*/ 249939 h 639457"/>
                    <a:gd name="connsiteX63" fmla="*/ 616046 w 770748"/>
                    <a:gd name="connsiteY63" fmla="*/ 241652 h 639457"/>
                    <a:gd name="connsiteX64" fmla="*/ 632621 w 770748"/>
                    <a:gd name="connsiteY64" fmla="*/ 236126 h 639457"/>
                    <a:gd name="connsiteX65" fmla="*/ 651959 w 770748"/>
                    <a:gd name="connsiteY65" fmla="*/ 222314 h 639457"/>
                    <a:gd name="connsiteX66" fmla="*/ 651959 w 770748"/>
                    <a:gd name="connsiteY66" fmla="*/ 200213 h 639457"/>
                    <a:gd name="connsiteX67" fmla="*/ 665771 w 770748"/>
                    <a:gd name="connsiteY67" fmla="*/ 211264 h 639457"/>
                    <a:gd name="connsiteX68" fmla="*/ 685109 w 770748"/>
                    <a:gd name="connsiteY68" fmla="*/ 258227 h 639457"/>
                    <a:gd name="connsiteX69" fmla="*/ 701684 w 770748"/>
                    <a:gd name="connsiteY69" fmla="*/ 255464 h 639457"/>
                    <a:gd name="connsiteX70" fmla="*/ 721022 w 770748"/>
                    <a:gd name="connsiteY70" fmla="*/ 249939 h 639457"/>
                    <a:gd name="connsiteX71" fmla="*/ 734835 w 770748"/>
                    <a:gd name="connsiteY71" fmla="*/ 252702 h 639457"/>
                    <a:gd name="connsiteX72" fmla="*/ 743122 w 770748"/>
                    <a:gd name="connsiteY72" fmla="*/ 260989 h 639457"/>
                    <a:gd name="connsiteX73" fmla="*/ 751410 w 770748"/>
                    <a:gd name="connsiteY73" fmla="*/ 266514 h 639457"/>
                    <a:gd name="connsiteX74" fmla="*/ 726547 w 770748"/>
                    <a:gd name="connsiteY74" fmla="*/ 280327 h 639457"/>
                    <a:gd name="connsiteX75" fmla="*/ 704447 w 770748"/>
                    <a:gd name="connsiteY75" fmla="*/ 291377 h 639457"/>
                    <a:gd name="connsiteX76" fmla="*/ 712735 w 770748"/>
                    <a:gd name="connsiteY76" fmla="*/ 302427 h 639457"/>
                    <a:gd name="connsiteX77" fmla="*/ 723785 w 770748"/>
                    <a:gd name="connsiteY77" fmla="*/ 319003 h 639457"/>
                    <a:gd name="connsiteX78" fmla="*/ 734835 w 770748"/>
                    <a:gd name="connsiteY78" fmla="*/ 321765 h 639457"/>
                    <a:gd name="connsiteX79" fmla="*/ 737597 w 770748"/>
                    <a:gd name="connsiteY79" fmla="*/ 332815 h 639457"/>
                    <a:gd name="connsiteX80" fmla="*/ 712735 w 770748"/>
                    <a:gd name="connsiteY80" fmla="*/ 346628 h 639457"/>
                    <a:gd name="connsiteX81" fmla="*/ 707209 w 770748"/>
                    <a:gd name="connsiteY81" fmla="*/ 352153 h 639457"/>
                    <a:gd name="connsiteX82" fmla="*/ 729310 w 770748"/>
                    <a:gd name="connsiteY82" fmla="*/ 354916 h 639457"/>
                    <a:gd name="connsiteX83" fmla="*/ 734835 w 770748"/>
                    <a:gd name="connsiteY83" fmla="*/ 371491 h 639457"/>
                    <a:gd name="connsiteX84" fmla="*/ 718260 w 770748"/>
                    <a:gd name="connsiteY84" fmla="*/ 390829 h 639457"/>
                    <a:gd name="connsiteX85" fmla="*/ 709972 w 770748"/>
                    <a:gd name="connsiteY85" fmla="*/ 407404 h 639457"/>
                    <a:gd name="connsiteX86" fmla="*/ 729310 w 770748"/>
                    <a:gd name="connsiteY86" fmla="*/ 404641 h 639457"/>
                    <a:gd name="connsiteX87" fmla="*/ 759698 w 770748"/>
                    <a:gd name="connsiteY87" fmla="*/ 401879 h 639457"/>
                    <a:gd name="connsiteX88" fmla="*/ 765223 w 770748"/>
                    <a:gd name="connsiteY88" fmla="*/ 410166 h 639457"/>
                    <a:gd name="connsiteX89" fmla="*/ 748648 w 770748"/>
                    <a:gd name="connsiteY89" fmla="*/ 470942 h 639457"/>
                    <a:gd name="connsiteX90" fmla="*/ 729310 w 770748"/>
                    <a:gd name="connsiteY90" fmla="*/ 465417 h 639457"/>
                    <a:gd name="connsiteX91" fmla="*/ 754173 w 770748"/>
                    <a:gd name="connsiteY91" fmla="*/ 479230 h 639457"/>
                    <a:gd name="connsiteX92" fmla="*/ 770748 w 770748"/>
                    <a:gd name="connsiteY92" fmla="*/ 490280 h 639457"/>
                    <a:gd name="connsiteX93" fmla="*/ 765223 w 770748"/>
                    <a:gd name="connsiteY93" fmla="*/ 512380 h 639457"/>
                    <a:gd name="connsiteX94" fmla="*/ 756935 w 770748"/>
                    <a:gd name="connsiteY94" fmla="*/ 515143 h 639457"/>
                    <a:gd name="connsiteX95" fmla="*/ 743122 w 770748"/>
                    <a:gd name="connsiteY95" fmla="*/ 504093 h 639457"/>
                    <a:gd name="connsiteX96" fmla="*/ 740360 w 770748"/>
                    <a:gd name="connsiteY96" fmla="*/ 493042 h 639457"/>
                    <a:gd name="connsiteX97" fmla="*/ 718260 w 770748"/>
                    <a:gd name="connsiteY97" fmla="*/ 495805 h 639457"/>
                    <a:gd name="connsiteX98" fmla="*/ 712735 w 770748"/>
                    <a:gd name="connsiteY98" fmla="*/ 509618 h 639457"/>
                    <a:gd name="connsiteX99" fmla="*/ 709972 w 770748"/>
                    <a:gd name="connsiteY99" fmla="*/ 520668 h 639457"/>
                    <a:gd name="connsiteX100" fmla="*/ 701684 w 770748"/>
                    <a:gd name="connsiteY100" fmla="*/ 531718 h 639457"/>
                    <a:gd name="connsiteX101" fmla="*/ 698922 w 770748"/>
                    <a:gd name="connsiteY101" fmla="*/ 545531 h 639457"/>
                    <a:gd name="connsiteX102" fmla="*/ 687872 w 770748"/>
                    <a:gd name="connsiteY102" fmla="*/ 548293 h 639457"/>
                    <a:gd name="connsiteX103" fmla="*/ 651959 w 770748"/>
                    <a:gd name="connsiteY103" fmla="*/ 545531 h 639457"/>
                    <a:gd name="connsiteX104" fmla="*/ 674059 w 770748"/>
                    <a:gd name="connsiteY104" fmla="*/ 528955 h 639457"/>
                    <a:gd name="connsiteX105" fmla="*/ 663009 w 770748"/>
                    <a:gd name="connsiteY105" fmla="*/ 526193 h 639457"/>
                    <a:gd name="connsiteX106" fmla="*/ 665771 w 770748"/>
                    <a:gd name="connsiteY106" fmla="*/ 542768 h 639457"/>
                    <a:gd name="connsiteX107" fmla="*/ 668534 w 770748"/>
                    <a:gd name="connsiteY107" fmla="*/ 553818 h 639457"/>
                    <a:gd name="connsiteX108" fmla="*/ 649196 w 770748"/>
                    <a:gd name="connsiteY108" fmla="*/ 564868 h 639457"/>
                    <a:gd name="connsiteX109" fmla="*/ 640909 w 770748"/>
                    <a:gd name="connsiteY109" fmla="*/ 573156 h 639457"/>
                    <a:gd name="connsiteX110" fmla="*/ 643671 w 770748"/>
                    <a:gd name="connsiteY110" fmla="*/ 584206 h 639457"/>
                    <a:gd name="connsiteX111" fmla="*/ 635383 w 770748"/>
                    <a:gd name="connsiteY111" fmla="*/ 586969 h 639457"/>
                    <a:gd name="connsiteX112" fmla="*/ 618808 w 770748"/>
                    <a:gd name="connsiteY112" fmla="*/ 595256 h 639457"/>
                    <a:gd name="connsiteX113" fmla="*/ 596708 w 770748"/>
                    <a:gd name="connsiteY113" fmla="*/ 600781 h 639457"/>
                    <a:gd name="connsiteX114" fmla="*/ 585658 w 770748"/>
                    <a:gd name="connsiteY114" fmla="*/ 609069 h 639457"/>
                    <a:gd name="connsiteX115" fmla="*/ 555270 w 770748"/>
                    <a:gd name="connsiteY115" fmla="*/ 578681 h 639457"/>
                    <a:gd name="connsiteX116" fmla="*/ 549745 w 770748"/>
                    <a:gd name="connsiteY116" fmla="*/ 570394 h 639457"/>
                    <a:gd name="connsiteX117" fmla="*/ 555270 w 770748"/>
                    <a:gd name="connsiteY117" fmla="*/ 575919 h 639457"/>
                    <a:gd name="connsiteX118" fmla="*/ 563557 w 770748"/>
                    <a:gd name="connsiteY118" fmla="*/ 581444 h 639457"/>
                    <a:gd name="connsiteX119" fmla="*/ 544220 w 770748"/>
                    <a:gd name="connsiteY119" fmla="*/ 584206 h 639457"/>
                    <a:gd name="connsiteX120" fmla="*/ 505544 w 770748"/>
                    <a:gd name="connsiteY120" fmla="*/ 586969 h 639457"/>
                    <a:gd name="connsiteX121" fmla="*/ 491732 w 770748"/>
                    <a:gd name="connsiteY121" fmla="*/ 592494 h 639457"/>
                    <a:gd name="connsiteX122" fmla="*/ 472394 w 770748"/>
                    <a:gd name="connsiteY122" fmla="*/ 595256 h 639457"/>
                    <a:gd name="connsiteX123" fmla="*/ 469631 w 770748"/>
                    <a:gd name="connsiteY123" fmla="*/ 603544 h 639457"/>
                    <a:gd name="connsiteX124" fmla="*/ 417143 w 770748"/>
                    <a:gd name="connsiteY124" fmla="*/ 614594 h 639457"/>
                    <a:gd name="connsiteX125" fmla="*/ 419906 w 770748"/>
                    <a:gd name="connsiteY125" fmla="*/ 600781 h 639457"/>
                    <a:gd name="connsiteX126" fmla="*/ 430956 w 770748"/>
                    <a:gd name="connsiteY126" fmla="*/ 595256 h 639457"/>
                    <a:gd name="connsiteX127" fmla="*/ 422668 w 770748"/>
                    <a:gd name="connsiteY127" fmla="*/ 606307 h 639457"/>
                    <a:gd name="connsiteX128" fmla="*/ 403330 w 770748"/>
                    <a:gd name="connsiteY128" fmla="*/ 611832 h 639457"/>
                    <a:gd name="connsiteX129" fmla="*/ 356367 w 770748"/>
                    <a:gd name="connsiteY129" fmla="*/ 614594 h 639457"/>
                    <a:gd name="connsiteX130" fmla="*/ 364655 w 770748"/>
                    <a:gd name="connsiteY130" fmla="*/ 609069 h 639457"/>
                    <a:gd name="connsiteX131" fmla="*/ 350842 w 770748"/>
                    <a:gd name="connsiteY131" fmla="*/ 600781 h 639457"/>
                    <a:gd name="connsiteX132" fmla="*/ 331504 w 770748"/>
                    <a:gd name="connsiteY132" fmla="*/ 620119 h 639457"/>
                    <a:gd name="connsiteX133" fmla="*/ 320454 w 770748"/>
                    <a:gd name="connsiteY133" fmla="*/ 639457 h 639457"/>
                    <a:gd name="connsiteX134" fmla="*/ 298354 w 770748"/>
                    <a:gd name="connsiteY134" fmla="*/ 633932 h 639457"/>
                    <a:gd name="connsiteX135" fmla="*/ 232053 w 770748"/>
                    <a:gd name="connsiteY135" fmla="*/ 631169 h 639457"/>
                    <a:gd name="connsiteX136" fmla="*/ 221003 w 770748"/>
                    <a:gd name="connsiteY136" fmla="*/ 617357 h 639457"/>
                    <a:gd name="connsiteX137" fmla="*/ 201665 w 770748"/>
                    <a:gd name="connsiteY137" fmla="*/ 600781 h 639457"/>
                    <a:gd name="connsiteX138" fmla="*/ 182327 w 770748"/>
                    <a:gd name="connsiteY138" fmla="*/ 581444 h 639457"/>
                    <a:gd name="connsiteX139" fmla="*/ 165752 w 770748"/>
                    <a:gd name="connsiteY139" fmla="*/ 564868 h 639457"/>
                    <a:gd name="connsiteX140" fmla="*/ 160227 w 770748"/>
                    <a:gd name="connsiteY140" fmla="*/ 551056 h 639457"/>
                    <a:gd name="connsiteX141" fmla="*/ 154702 w 770748"/>
                    <a:gd name="connsiteY141" fmla="*/ 542768 h 639457"/>
                    <a:gd name="connsiteX142" fmla="*/ 157464 w 770748"/>
                    <a:gd name="connsiteY142" fmla="*/ 526193 h 639457"/>
                    <a:gd name="connsiteX143" fmla="*/ 151939 w 770748"/>
                    <a:gd name="connsiteY143" fmla="*/ 498568 h 639457"/>
                    <a:gd name="connsiteX144" fmla="*/ 135364 w 770748"/>
                    <a:gd name="connsiteY144" fmla="*/ 495805 h 639457"/>
                    <a:gd name="connsiteX145" fmla="*/ 129839 w 770748"/>
                    <a:gd name="connsiteY145" fmla="*/ 487517 h 639457"/>
                    <a:gd name="connsiteX146" fmla="*/ 121551 w 770748"/>
                    <a:gd name="connsiteY146" fmla="*/ 476467 h 639457"/>
                    <a:gd name="connsiteX147" fmla="*/ 118789 w 770748"/>
                    <a:gd name="connsiteY147" fmla="*/ 468180 h 639457"/>
                    <a:gd name="connsiteX148" fmla="*/ 107739 w 770748"/>
                    <a:gd name="connsiteY148" fmla="*/ 462655 h 639457"/>
                    <a:gd name="connsiteX149" fmla="*/ 55251 w 770748"/>
                    <a:gd name="connsiteY149" fmla="*/ 457129 h 639457"/>
                    <a:gd name="connsiteX150" fmla="*/ 46963 w 770748"/>
                    <a:gd name="connsiteY150" fmla="*/ 448842 h 639457"/>
                    <a:gd name="connsiteX151" fmla="*/ 38675 w 770748"/>
                    <a:gd name="connsiteY151" fmla="*/ 443317 h 639457"/>
                    <a:gd name="connsiteX152" fmla="*/ 33150 w 770748"/>
                    <a:gd name="connsiteY152" fmla="*/ 435029 h 639457"/>
                    <a:gd name="connsiteX153" fmla="*/ 11050 w 770748"/>
                    <a:gd name="connsiteY153" fmla="*/ 429504 h 639457"/>
                    <a:gd name="connsiteX154" fmla="*/ 0 w 770748"/>
                    <a:gd name="connsiteY154" fmla="*/ 423979 h 639457"/>
                    <a:gd name="connsiteX155" fmla="*/ 11050 w 770748"/>
                    <a:gd name="connsiteY155" fmla="*/ 399116 h 639457"/>
                    <a:gd name="connsiteX156" fmla="*/ 22100 w 770748"/>
                    <a:gd name="connsiteY156" fmla="*/ 396354 h 639457"/>
                    <a:gd name="connsiteX157" fmla="*/ 35913 w 770748"/>
                    <a:gd name="connsiteY157" fmla="*/ 404641 h 639457"/>
                    <a:gd name="connsiteX158" fmla="*/ 46963 w 770748"/>
                    <a:gd name="connsiteY158" fmla="*/ 412929 h 639457"/>
                    <a:gd name="connsiteX159" fmla="*/ 96689 w 770748"/>
                    <a:gd name="connsiteY159" fmla="*/ 407404 h 639457"/>
                    <a:gd name="connsiteX160" fmla="*/ 96689 w 770748"/>
                    <a:gd name="connsiteY160" fmla="*/ 382541 h 639457"/>
                    <a:gd name="connsiteX161" fmla="*/ 107739 w 770748"/>
                    <a:gd name="connsiteY161" fmla="*/ 377016 h 639457"/>
                    <a:gd name="connsiteX162" fmla="*/ 127077 w 770748"/>
                    <a:gd name="connsiteY162" fmla="*/ 379778 h 639457"/>
                    <a:gd name="connsiteX163" fmla="*/ 113264 w 770748"/>
                    <a:gd name="connsiteY163" fmla="*/ 382541 h 639457"/>
                    <a:gd name="connsiteX164" fmla="*/ 104976 w 770748"/>
                    <a:gd name="connsiteY164" fmla="*/ 377016 h 639457"/>
                    <a:gd name="connsiteX165" fmla="*/ 110501 w 770748"/>
                    <a:gd name="connsiteY165" fmla="*/ 346628 h 639457"/>
                    <a:gd name="connsiteX166" fmla="*/ 118789 w 770748"/>
                    <a:gd name="connsiteY166" fmla="*/ 341103 h 639457"/>
                    <a:gd name="connsiteX167" fmla="*/ 110501 w 770748"/>
                    <a:gd name="connsiteY167" fmla="*/ 338340 h 639457"/>
                    <a:gd name="connsiteX168" fmla="*/ 99451 w 770748"/>
                    <a:gd name="connsiteY168" fmla="*/ 332815 h 639457"/>
                    <a:gd name="connsiteX169" fmla="*/ 82876 w 770748"/>
                    <a:gd name="connsiteY169" fmla="*/ 319003 h 639457"/>
                    <a:gd name="connsiteX170" fmla="*/ 85638 w 770748"/>
                    <a:gd name="connsiteY170" fmla="*/ 302427 h 639457"/>
                    <a:gd name="connsiteX171" fmla="*/ 93926 w 770748"/>
                    <a:gd name="connsiteY171" fmla="*/ 299665 h 639457"/>
                    <a:gd name="connsiteX172" fmla="*/ 99451 w 770748"/>
                    <a:gd name="connsiteY172" fmla="*/ 291377 h 639457"/>
                    <a:gd name="connsiteX173" fmla="*/ 113264 w 770748"/>
                    <a:gd name="connsiteY173" fmla="*/ 283090 h 639457"/>
                    <a:gd name="connsiteX174" fmla="*/ 104976 w 770748"/>
                    <a:gd name="connsiteY174" fmla="*/ 266514 h 639457"/>
                    <a:gd name="connsiteX175" fmla="*/ 58013 w 770748"/>
                    <a:gd name="connsiteY175" fmla="*/ 260989 h 639457"/>
                    <a:gd name="connsiteX176" fmla="*/ 49725 w 770748"/>
                    <a:gd name="connsiteY176" fmla="*/ 255464 h 639457"/>
                    <a:gd name="connsiteX177" fmla="*/ 49725 w 770748"/>
                    <a:gd name="connsiteY177" fmla="*/ 230601 h 639457"/>
                    <a:gd name="connsiteX178" fmla="*/ 58013 w 770748"/>
                    <a:gd name="connsiteY178" fmla="*/ 227839 h 639457"/>
                    <a:gd name="connsiteX179" fmla="*/ 77351 w 770748"/>
                    <a:gd name="connsiteY179" fmla="*/ 230601 h 639457"/>
                    <a:gd name="connsiteX180" fmla="*/ 85638 w 770748"/>
                    <a:gd name="connsiteY180" fmla="*/ 233364 h 639457"/>
                    <a:gd name="connsiteX181" fmla="*/ 96689 w 770748"/>
                    <a:gd name="connsiteY181" fmla="*/ 236126 h 639457"/>
                    <a:gd name="connsiteX182" fmla="*/ 104976 w 770748"/>
                    <a:gd name="connsiteY182" fmla="*/ 241652 h 639457"/>
                    <a:gd name="connsiteX183" fmla="*/ 127077 w 770748"/>
                    <a:gd name="connsiteY183" fmla="*/ 249939 h 639457"/>
                    <a:gd name="connsiteX184" fmla="*/ 135364 w 770748"/>
                    <a:gd name="connsiteY184" fmla="*/ 255464 h 639457"/>
                    <a:gd name="connsiteX185" fmla="*/ 179565 w 770748"/>
                    <a:gd name="connsiteY185" fmla="*/ 249939 h 639457"/>
                    <a:gd name="connsiteX186" fmla="*/ 176802 w 770748"/>
                    <a:gd name="connsiteY186" fmla="*/ 233364 h 639457"/>
                    <a:gd name="connsiteX187" fmla="*/ 154702 w 770748"/>
                    <a:gd name="connsiteY187" fmla="*/ 238889 h 639457"/>
                    <a:gd name="connsiteX188" fmla="*/ 157464 w 770748"/>
                    <a:gd name="connsiteY188" fmla="*/ 225076 h 639457"/>
                    <a:gd name="connsiteX189" fmla="*/ 157464 w 770748"/>
                    <a:gd name="connsiteY189" fmla="*/ 219551 h 639457"/>
                    <a:gd name="connsiteX190" fmla="*/ 165752 w 770748"/>
                    <a:gd name="connsiteY190" fmla="*/ 216789 h 639457"/>
                    <a:gd name="connsiteX191" fmla="*/ 207190 w 770748"/>
                    <a:gd name="connsiteY191" fmla="*/ 211264 h 639457"/>
                    <a:gd name="connsiteX192" fmla="*/ 198903 w 770748"/>
                    <a:gd name="connsiteY192" fmla="*/ 194688 h 639457"/>
                    <a:gd name="connsiteX193" fmla="*/ 179565 w 770748"/>
                    <a:gd name="connsiteY193" fmla="*/ 180876 h 639457"/>
                    <a:gd name="connsiteX194" fmla="*/ 176802 w 770748"/>
                    <a:gd name="connsiteY194" fmla="*/ 169826 h 639457"/>
                    <a:gd name="connsiteX195" fmla="*/ 171277 w 770748"/>
                    <a:gd name="connsiteY195" fmla="*/ 164300 h 639457"/>
                    <a:gd name="connsiteX196" fmla="*/ 116026 w 770748"/>
                    <a:gd name="connsiteY196" fmla="*/ 153250 h 639457"/>
                    <a:gd name="connsiteX197" fmla="*/ 91164 w 770748"/>
                    <a:gd name="connsiteY197" fmla="*/ 147725 h 639457"/>
                    <a:gd name="connsiteX198" fmla="*/ 66301 w 770748"/>
                    <a:gd name="connsiteY198" fmla="*/ 139438 h 639457"/>
                    <a:gd name="connsiteX199" fmla="*/ 60776 w 770748"/>
                    <a:gd name="connsiteY199" fmla="*/ 122862 h 639457"/>
                    <a:gd name="connsiteX200" fmla="*/ 55251 w 770748"/>
                    <a:gd name="connsiteY200" fmla="*/ 111812 h 639457"/>
                    <a:gd name="connsiteX201" fmla="*/ 52488 w 770748"/>
                    <a:gd name="connsiteY201" fmla="*/ 95237 h 639457"/>
                    <a:gd name="connsiteX202" fmla="*/ 44200 w 770748"/>
                    <a:gd name="connsiteY202" fmla="*/ 92474 h 639457"/>
                    <a:gd name="connsiteX203" fmla="*/ 91164 w 770748"/>
                    <a:gd name="connsiteY203" fmla="*/ 75899 h 639457"/>
                    <a:gd name="connsiteX204" fmla="*/ 96689 w 770748"/>
                    <a:gd name="connsiteY204" fmla="*/ 67612 h 639457"/>
                    <a:gd name="connsiteX205" fmla="*/ 99451 w 770748"/>
                    <a:gd name="connsiteY205" fmla="*/ 75899 h 639457"/>
                    <a:gd name="connsiteX206" fmla="*/ 102214 w 770748"/>
                    <a:gd name="connsiteY206" fmla="*/ 89712 h 639457"/>
                    <a:gd name="connsiteX207" fmla="*/ 110501 w 770748"/>
                    <a:gd name="connsiteY207" fmla="*/ 95237 h 639457"/>
                    <a:gd name="connsiteX208" fmla="*/ 132602 w 770748"/>
                    <a:gd name="connsiteY208" fmla="*/ 86949 h 639457"/>
                    <a:gd name="connsiteX209" fmla="*/ 129839 w 770748"/>
                    <a:gd name="connsiteY209" fmla="*/ 64849 h 639457"/>
                    <a:gd name="connsiteX210" fmla="*/ 118789 w 770748"/>
                    <a:gd name="connsiteY210" fmla="*/ 59324 h 639457"/>
                    <a:gd name="connsiteX211" fmla="*/ 124314 w 770748"/>
                    <a:gd name="connsiteY211" fmla="*/ 51036 h 639457"/>
                    <a:gd name="connsiteX212" fmla="*/ 135364 w 770748"/>
                    <a:gd name="connsiteY212" fmla="*/ 45511 h 639457"/>
                    <a:gd name="connsiteX213" fmla="*/ 162990 w 770748"/>
                    <a:gd name="connsiteY213" fmla="*/ 53799 h 639457"/>
                    <a:gd name="connsiteX214" fmla="*/ 160227 w 770748"/>
                    <a:gd name="connsiteY214" fmla="*/ 31699 h 639457"/>
                    <a:gd name="connsiteX215" fmla="*/ 176802 w 770748"/>
                    <a:gd name="connsiteY215" fmla="*/ 37224 h 639457"/>
                    <a:gd name="connsiteX216" fmla="*/ 185090 w 770748"/>
                    <a:gd name="connsiteY216" fmla="*/ 42749 h 639457"/>
                    <a:gd name="connsiteX217" fmla="*/ 201665 w 770748"/>
                    <a:gd name="connsiteY217" fmla="*/ 48274 h 639457"/>
                    <a:gd name="connsiteX218" fmla="*/ 193377 w 770748"/>
                    <a:gd name="connsiteY218" fmla="*/ 109050 h 639457"/>
                    <a:gd name="connsiteX219" fmla="*/ 201665 w 770748"/>
                    <a:gd name="connsiteY219" fmla="*/ 100762 h 639457"/>
                    <a:gd name="connsiteX220" fmla="*/ 207190 w 770748"/>
                    <a:gd name="connsiteY220" fmla="*/ 84187 h 639457"/>
                    <a:gd name="connsiteX221" fmla="*/ 209953 w 770748"/>
                    <a:gd name="connsiteY221" fmla="*/ 12361 h 639457"/>
                    <a:gd name="connsiteX222" fmla="*/ 226528 w 770748"/>
                    <a:gd name="connsiteY222" fmla="*/ 6836 h 639457"/>
                    <a:gd name="connsiteX223" fmla="*/ 221003 w 770748"/>
                    <a:gd name="connsiteY223" fmla="*/ 45511 h 6394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Lst>
                  <a:rect l="l" t="t" r="r" b="b"/>
                  <a:pathLst>
                    <a:path w="770748" h="639457">
                      <a:moveTo>
                        <a:pt x="221003" y="45511"/>
                      </a:moveTo>
                      <a:cubicBezTo>
                        <a:pt x="217320" y="48273"/>
                        <a:pt x="207361" y="29277"/>
                        <a:pt x="204428" y="23411"/>
                      </a:cubicBezTo>
                      <a:cubicBezTo>
                        <a:pt x="203126" y="20806"/>
                        <a:pt x="202586" y="17886"/>
                        <a:pt x="201665" y="15123"/>
                      </a:cubicBezTo>
                      <a:cubicBezTo>
                        <a:pt x="202586" y="10519"/>
                        <a:pt x="199873" y="2450"/>
                        <a:pt x="204428" y="1311"/>
                      </a:cubicBezTo>
                      <a:cubicBezTo>
                        <a:pt x="222228" y="-3139"/>
                        <a:pt x="231362" y="4534"/>
                        <a:pt x="243103" y="12361"/>
                      </a:cubicBezTo>
                      <a:cubicBezTo>
                        <a:pt x="244945" y="15124"/>
                        <a:pt x="247054" y="17726"/>
                        <a:pt x="248628" y="20649"/>
                      </a:cubicBezTo>
                      <a:cubicBezTo>
                        <a:pt x="253509" y="29714"/>
                        <a:pt x="252674" y="45019"/>
                        <a:pt x="262441" y="48274"/>
                      </a:cubicBezTo>
                      <a:cubicBezTo>
                        <a:pt x="274330" y="52237"/>
                        <a:pt x="267903" y="50330"/>
                        <a:pt x="281779" y="53799"/>
                      </a:cubicBezTo>
                      <a:cubicBezTo>
                        <a:pt x="285784" y="73830"/>
                        <a:pt x="289233" y="89332"/>
                        <a:pt x="290066" y="111812"/>
                      </a:cubicBezTo>
                      <a:cubicBezTo>
                        <a:pt x="290443" y="121976"/>
                        <a:pt x="290098" y="132420"/>
                        <a:pt x="287304" y="142200"/>
                      </a:cubicBezTo>
                      <a:cubicBezTo>
                        <a:pt x="286231" y="145957"/>
                        <a:pt x="282195" y="148217"/>
                        <a:pt x="279016" y="150488"/>
                      </a:cubicBezTo>
                      <a:cubicBezTo>
                        <a:pt x="275665" y="152882"/>
                        <a:pt x="271566" y="154013"/>
                        <a:pt x="267966" y="156013"/>
                      </a:cubicBezTo>
                      <a:cubicBezTo>
                        <a:pt x="263272" y="158620"/>
                        <a:pt x="258757" y="161538"/>
                        <a:pt x="254153" y="164300"/>
                      </a:cubicBezTo>
                      <a:cubicBezTo>
                        <a:pt x="248628" y="163379"/>
                        <a:pt x="240685" y="166198"/>
                        <a:pt x="237578" y="161538"/>
                      </a:cubicBezTo>
                      <a:cubicBezTo>
                        <a:pt x="235294" y="158112"/>
                        <a:pt x="244566" y="155336"/>
                        <a:pt x="248628" y="156013"/>
                      </a:cubicBezTo>
                      <a:cubicBezTo>
                        <a:pt x="251903" y="156559"/>
                        <a:pt x="252311" y="161538"/>
                        <a:pt x="254153" y="164300"/>
                      </a:cubicBezTo>
                      <a:cubicBezTo>
                        <a:pt x="255074" y="182717"/>
                        <a:pt x="254531" y="201266"/>
                        <a:pt x="256916" y="219551"/>
                      </a:cubicBezTo>
                      <a:cubicBezTo>
                        <a:pt x="257345" y="222843"/>
                        <a:pt x="261133" y="224787"/>
                        <a:pt x="262441" y="227839"/>
                      </a:cubicBezTo>
                      <a:cubicBezTo>
                        <a:pt x="263936" y="231329"/>
                        <a:pt x="264282" y="235206"/>
                        <a:pt x="265203" y="238889"/>
                      </a:cubicBezTo>
                      <a:cubicBezTo>
                        <a:pt x="259456" y="261880"/>
                        <a:pt x="268411" y="239869"/>
                        <a:pt x="240341" y="255464"/>
                      </a:cubicBezTo>
                      <a:cubicBezTo>
                        <a:pt x="237795" y="256878"/>
                        <a:pt x="236080" y="266249"/>
                        <a:pt x="237578" y="263752"/>
                      </a:cubicBezTo>
                      <a:cubicBezTo>
                        <a:pt x="245952" y="249795"/>
                        <a:pt x="248647" y="244322"/>
                        <a:pt x="251391" y="230601"/>
                      </a:cubicBezTo>
                      <a:cubicBezTo>
                        <a:pt x="252489" y="225109"/>
                        <a:pt x="250792" y="218507"/>
                        <a:pt x="254153" y="214026"/>
                      </a:cubicBezTo>
                      <a:cubicBezTo>
                        <a:pt x="257128" y="210059"/>
                        <a:pt x="263362" y="210343"/>
                        <a:pt x="267966" y="208501"/>
                      </a:cubicBezTo>
                      <a:cubicBezTo>
                        <a:pt x="273491" y="210343"/>
                        <a:pt x="280903" y="209478"/>
                        <a:pt x="284541" y="214026"/>
                      </a:cubicBezTo>
                      <a:cubicBezTo>
                        <a:pt x="289285" y="219955"/>
                        <a:pt x="290066" y="236126"/>
                        <a:pt x="290066" y="236126"/>
                      </a:cubicBezTo>
                      <a:cubicBezTo>
                        <a:pt x="295591" y="231522"/>
                        <a:pt x="301803" y="227635"/>
                        <a:pt x="306641" y="222314"/>
                      </a:cubicBezTo>
                      <a:cubicBezTo>
                        <a:pt x="311108" y="217401"/>
                        <a:pt x="317692" y="205739"/>
                        <a:pt x="317692" y="205739"/>
                      </a:cubicBezTo>
                      <a:cubicBezTo>
                        <a:pt x="320589" y="197047"/>
                        <a:pt x="321137" y="196106"/>
                        <a:pt x="323217" y="186401"/>
                      </a:cubicBezTo>
                      <a:cubicBezTo>
                        <a:pt x="325185" y="177218"/>
                        <a:pt x="324542" y="167175"/>
                        <a:pt x="328742" y="158775"/>
                      </a:cubicBezTo>
                      <a:cubicBezTo>
                        <a:pt x="330584" y="155092"/>
                        <a:pt x="336109" y="155092"/>
                        <a:pt x="339792" y="153250"/>
                      </a:cubicBezTo>
                      <a:cubicBezTo>
                        <a:pt x="341634" y="148646"/>
                        <a:pt x="340578" y="140896"/>
                        <a:pt x="345317" y="139438"/>
                      </a:cubicBezTo>
                      <a:cubicBezTo>
                        <a:pt x="367112" y="132732"/>
                        <a:pt x="373534" y="140572"/>
                        <a:pt x="386755" y="150488"/>
                      </a:cubicBezTo>
                      <a:cubicBezTo>
                        <a:pt x="387676" y="153250"/>
                        <a:pt x="389839" y="155881"/>
                        <a:pt x="389518" y="158775"/>
                      </a:cubicBezTo>
                      <a:cubicBezTo>
                        <a:pt x="388875" y="164564"/>
                        <a:pt x="385257" y="169666"/>
                        <a:pt x="383993" y="175351"/>
                      </a:cubicBezTo>
                      <a:lnTo>
                        <a:pt x="378467" y="200213"/>
                      </a:lnTo>
                      <a:cubicBezTo>
                        <a:pt x="379388" y="204817"/>
                        <a:pt x="379581" y="209629"/>
                        <a:pt x="381230" y="214026"/>
                      </a:cubicBezTo>
                      <a:cubicBezTo>
                        <a:pt x="382396" y="217135"/>
                        <a:pt x="385270" y="219344"/>
                        <a:pt x="386755" y="222314"/>
                      </a:cubicBezTo>
                      <a:cubicBezTo>
                        <a:pt x="388057" y="224918"/>
                        <a:pt x="388597" y="227839"/>
                        <a:pt x="389518" y="230601"/>
                      </a:cubicBezTo>
                      <a:cubicBezTo>
                        <a:pt x="418104" y="207732"/>
                        <a:pt x="391296" y="234444"/>
                        <a:pt x="406093" y="197451"/>
                      </a:cubicBezTo>
                      <a:cubicBezTo>
                        <a:pt x="407326" y="194368"/>
                        <a:pt x="411678" y="193856"/>
                        <a:pt x="414380" y="191926"/>
                      </a:cubicBezTo>
                      <a:cubicBezTo>
                        <a:pt x="418127" y="189250"/>
                        <a:pt x="421600" y="186192"/>
                        <a:pt x="425431" y="183638"/>
                      </a:cubicBezTo>
                      <a:cubicBezTo>
                        <a:pt x="429898" y="180660"/>
                        <a:pt x="434844" y="178430"/>
                        <a:pt x="439243" y="175351"/>
                      </a:cubicBezTo>
                      <a:cubicBezTo>
                        <a:pt x="444074" y="171969"/>
                        <a:pt x="448452" y="167984"/>
                        <a:pt x="453056" y="164300"/>
                      </a:cubicBezTo>
                      <a:cubicBezTo>
                        <a:pt x="454898" y="167984"/>
                        <a:pt x="457279" y="171444"/>
                        <a:pt x="458581" y="175351"/>
                      </a:cubicBezTo>
                      <a:cubicBezTo>
                        <a:pt x="460982" y="182555"/>
                        <a:pt x="460710" y="190659"/>
                        <a:pt x="464106" y="197451"/>
                      </a:cubicBezTo>
                      <a:cubicBezTo>
                        <a:pt x="476458" y="222156"/>
                        <a:pt x="472551" y="211738"/>
                        <a:pt x="477919" y="227839"/>
                      </a:cubicBezTo>
                      <a:cubicBezTo>
                        <a:pt x="478840" y="233364"/>
                        <a:pt x="481238" y="238841"/>
                        <a:pt x="480681" y="244414"/>
                      </a:cubicBezTo>
                      <a:cubicBezTo>
                        <a:pt x="480271" y="248512"/>
                        <a:pt x="476239" y="251491"/>
                        <a:pt x="475156" y="255464"/>
                      </a:cubicBezTo>
                      <a:cubicBezTo>
                        <a:pt x="473443" y="261746"/>
                        <a:pt x="473671" y="268417"/>
                        <a:pt x="472394" y="274802"/>
                      </a:cubicBezTo>
                      <a:cubicBezTo>
                        <a:pt x="471823" y="277658"/>
                        <a:pt x="470933" y="280485"/>
                        <a:pt x="469631" y="283090"/>
                      </a:cubicBezTo>
                      <a:cubicBezTo>
                        <a:pt x="467230" y="287892"/>
                        <a:pt x="459646" y="291809"/>
                        <a:pt x="461344" y="296902"/>
                      </a:cubicBezTo>
                      <a:cubicBezTo>
                        <a:pt x="462647" y="300809"/>
                        <a:pt x="468711" y="293219"/>
                        <a:pt x="472394" y="291377"/>
                      </a:cubicBezTo>
                      <a:cubicBezTo>
                        <a:pt x="478066" y="274360"/>
                        <a:pt x="471580" y="292516"/>
                        <a:pt x="480681" y="272039"/>
                      </a:cubicBezTo>
                      <a:cubicBezTo>
                        <a:pt x="482695" y="267508"/>
                        <a:pt x="484364" y="262831"/>
                        <a:pt x="486206" y="258227"/>
                      </a:cubicBezTo>
                      <a:cubicBezTo>
                        <a:pt x="485285" y="247177"/>
                        <a:pt x="483444" y="236165"/>
                        <a:pt x="483444" y="225076"/>
                      </a:cubicBezTo>
                      <a:cubicBezTo>
                        <a:pt x="483444" y="218565"/>
                        <a:pt x="480109" y="208025"/>
                        <a:pt x="486206" y="205739"/>
                      </a:cubicBezTo>
                      <a:cubicBezTo>
                        <a:pt x="488237" y="204977"/>
                        <a:pt x="508396" y="218690"/>
                        <a:pt x="513832" y="222314"/>
                      </a:cubicBezTo>
                      <a:cubicBezTo>
                        <a:pt x="530149" y="254949"/>
                        <a:pt x="517489" y="251631"/>
                        <a:pt x="544220" y="247177"/>
                      </a:cubicBezTo>
                      <a:cubicBezTo>
                        <a:pt x="545141" y="244414"/>
                        <a:pt x="544923" y="240948"/>
                        <a:pt x="546982" y="238889"/>
                      </a:cubicBezTo>
                      <a:cubicBezTo>
                        <a:pt x="557181" y="228689"/>
                        <a:pt x="558883" y="234356"/>
                        <a:pt x="569083" y="238889"/>
                      </a:cubicBezTo>
                      <a:cubicBezTo>
                        <a:pt x="589799" y="248096"/>
                        <a:pt x="576487" y="239608"/>
                        <a:pt x="593945" y="252702"/>
                      </a:cubicBezTo>
                      <a:cubicBezTo>
                        <a:pt x="600391" y="251781"/>
                        <a:pt x="607459" y="252851"/>
                        <a:pt x="613283" y="249939"/>
                      </a:cubicBezTo>
                      <a:cubicBezTo>
                        <a:pt x="615887" y="248637"/>
                        <a:pt x="613677" y="243344"/>
                        <a:pt x="616046" y="241652"/>
                      </a:cubicBezTo>
                      <a:cubicBezTo>
                        <a:pt x="620785" y="238267"/>
                        <a:pt x="627096" y="237968"/>
                        <a:pt x="632621" y="236126"/>
                      </a:cubicBezTo>
                      <a:cubicBezTo>
                        <a:pt x="639067" y="231522"/>
                        <a:pt x="648681" y="229525"/>
                        <a:pt x="651959" y="222314"/>
                      </a:cubicBezTo>
                      <a:cubicBezTo>
                        <a:pt x="673128" y="175746"/>
                        <a:pt x="630009" y="222167"/>
                        <a:pt x="651959" y="200213"/>
                      </a:cubicBezTo>
                      <a:cubicBezTo>
                        <a:pt x="656563" y="203897"/>
                        <a:pt x="663247" y="205935"/>
                        <a:pt x="665771" y="211264"/>
                      </a:cubicBezTo>
                      <a:cubicBezTo>
                        <a:pt x="691184" y="264915"/>
                        <a:pt x="661791" y="242681"/>
                        <a:pt x="685109" y="258227"/>
                      </a:cubicBezTo>
                      <a:cubicBezTo>
                        <a:pt x="690634" y="257306"/>
                        <a:pt x="696192" y="256562"/>
                        <a:pt x="701684" y="255464"/>
                      </a:cubicBezTo>
                      <a:cubicBezTo>
                        <a:pt x="710366" y="253728"/>
                        <a:pt x="713116" y="252575"/>
                        <a:pt x="721022" y="249939"/>
                      </a:cubicBezTo>
                      <a:cubicBezTo>
                        <a:pt x="725626" y="250860"/>
                        <a:pt x="730635" y="250602"/>
                        <a:pt x="734835" y="252702"/>
                      </a:cubicBezTo>
                      <a:cubicBezTo>
                        <a:pt x="738329" y="254449"/>
                        <a:pt x="740121" y="258488"/>
                        <a:pt x="743122" y="260989"/>
                      </a:cubicBezTo>
                      <a:cubicBezTo>
                        <a:pt x="745673" y="263115"/>
                        <a:pt x="748647" y="264672"/>
                        <a:pt x="751410" y="266514"/>
                      </a:cubicBezTo>
                      <a:cubicBezTo>
                        <a:pt x="712926" y="297303"/>
                        <a:pt x="757294" y="264954"/>
                        <a:pt x="726547" y="280327"/>
                      </a:cubicBezTo>
                      <a:cubicBezTo>
                        <a:pt x="698372" y="294414"/>
                        <a:pt x="731580" y="284595"/>
                        <a:pt x="704447" y="291377"/>
                      </a:cubicBezTo>
                      <a:cubicBezTo>
                        <a:pt x="707210" y="295060"/>
                        <a:pt x="710451" y="298429"/>
                        <a:pt x="712735" y="302427"/>
                      </a:cubicBezTo>
                      <a:cubicBezTo>
                        <a:pt x="718169" y="311938"/>
                        <a:pt x="711510" y="311989"/>
                        <a:pt x="723785" y="319003"/>
                      </a:cubicBezTo>
                      <a:cubicBezTo>
                        <a:pt x="727081" y="320887"/>
                        <a:pt x="731152" y="320844"/>
                        <a:pt x="734835" y="321765"/>
                      </a:cubicBezTo>
                      <a:cubicBezTo>
                        <a:pt x="735756" y="325448"/>
                        <a:pt x="739093" y="329325"/>
                        <a:pt x="737597" y="332815"/>
                      </a:cubicBezTo>
                      <a:cubicBezTo>
                        <a:pt x="734878" y="339159"/>
                        <a:pt x="717577" y="344691"/>
                        <a:pt x="712735" y="346628"/>
                      </a:cubicBezTo>
                      <a:cubicBezTo>
                        <a:pt x="710893" y="348470"/>
                        <a:pt x="705646" y="350069"/>
                        <a:pt x="707209" y="352153"/>
                      </a:cubicBezTo>
                      <a:cubicBezTo>
                        <a:pt x="714475" y="361842"/>
                        <a:pt x="721749" y="357436"/>
                        <a:pt x="729310" y="354916"/>
                      </a:cubicBezTo>
                      <a:cubicBezTo>
                        <a:pt x="731152" y="360441"/>
                        <a:pt x="734835" y="365667"/>
                        <a:pt x="734835" y="371491"/>
                      </a:cubicBezTo>
                      <a:cubicBezTo>
                        <a:pt x="734835" y="375750"/>
                        <a:pt x="718454" y="390551"/>
                        <a:pt x="718260" y="390829"/>
                      </a:cubicBezTo>
                      <a:cubicBezTo>
                        <a:pt x="714718" y="395890"/>
                        <a:pt x="706113" y="402580"/>
                        <a:pt x="709972" y="407404"/>
                      </a:cubicBezTo>
                      <a:cubicBezTo>
                        <a:pt x="714040" y="412489"/>
                        <a:pt x="722864" y="405562"/>
                        <a:pt x="729310" y="404641"/>
                      </a:cubicBezTo>
                      <a:cubicBezTo>
                        <a:pt x="740847" y="396949"/>
                        <a:pt x="740849" y="394340"/>
                        <a:pt x="759698" y="401879"/>
                      </a:cubicBezTo>
                      <a:cubicBezTo>
                        <a:pt x="762781" y="403112"/>
                        <a:pt x="763381" y="407404"/>
                        <a:pt x="765223" y="410166"/>
                      </a:cubicBezTo>
                      <a:cubicBezTo>
                        <a:pt x="764261" y="420266"/>
                        <a:pt x="777582" y="473573"/>
                        <a:pt x="748648" y="470942"/>
                      </a:cubicBezTo>
                      <a:cubicBezTo>
                        <a:pt x="741972" y="470335"/>
                        <a:pt x="735756" y="467259"/>
                        <a:pt x="729310" y="465417"/>
                      </a:cubicBezTo>
                      <a:cubicBezTo>
                        <a:pt x="746249" y="482358"/>
                        <a:pt x="727132" y="465710"/>
                        <a:pt x="754173" y="479230"/>
                      </a:cubicBezTo>
                      <a:cubicBezTo>
                        <a:pt x="760112" y="482200"/>
                        <a:pt x="765223" y="486597"/>
                        <a:pt x="770748" y="490280"/>
                      </a:cubicBezTo>
                      <a:cubicBezTo>
                        <a:pt x="768906" y="497647"/>
                        <a:pt x="768911" y="505742"/>
                        <a:pt x="765223" y="512380"/>
                      </a:cubicBezTo>
                      <a:cubicBezTo>
                        <a:pt x="763809" y="514926"/>
                        <a:pt x="759662" y="516165"/>
                        <a:pt x="756935" y="515143"/>
                      </a:cubicBezTo>
                      <a:cubicBezTo>
                        <a:pt x="751414" y="513073"/>
                        <a:pt x="747726" y="507776"/>
                        <a:pt x="743122" y="504093"/>
                      </a:cubicBezTo>
                      <a:cubicBezTo>
                        <a:pt x="742201" y="500409"/>
                        <a:pt x="743045" y="495727"/>
                        <a:pt x="740360" y="493042"/>
                      </a:cubicBezTo>
                      <a:cubicBezTo>
                        <a:pt x="732838" y="485520"/>
                        <a:pt x="724545" y="492662"/>
                        <a:pt x="718260" y="495805"/>
                      </a:cubicBezTo>
                      <a:cubicBezTo>
                        <a:pt x="716418" y="500409"/>
                        <a:pt x="714303" y="504914"/>
                        <a:pt x="712735" y="509618"/>
                      </a:cubicBezTo>
                      <a:cubicBezTo>
                        <a:pt x="711534" y="513220"/>
                        <a:pt x="711670" y="517272"/>
                        <a:pt x="709972" y="520668"/>
                      </a:cubicBezTo>
                      <a:cubicBezTo>
                        <a:pt x="707913" y="524786"/>
                        <a:pt x="704447" y="528035"/>
                        <a:pt x="701684" y="531718"/>
                      </a:cubicBezTo>
                      <a:cubicBezTo>
                        <a:pt x="700763" y="536322"/>
                        <a:pt x="701928" y="541924"/>
                        <a:pt x="698922" y="545531"/>
                      </a:cubicBezTo>
                      <a:cubicBezTo>
                        <a:pt x="696491" y="548448"/>
                        <a:pt x="691669" y="548293"/>
                        <a:pt x="687872" y="548293"/>
                      </a:cubicBezTo>
                      <a:cubicBezTo>
                        <a:pt x="675866" y="548293"/>
                        <a:pt x="663930" y="546452"/>
                        <a:pt x="651959" y="545531"/>
                      </a:cubicBezTo>
                      <a:cubicBezTo>
                        <a:pt x="660087" y="543499"/>
                        <a:pt x="674059" y="542377"/>
                        <a:pt x="674059" y="528955"/>
                      </a:cubicBezTo>
                      <a:cubicBezTo>
                        <a:pt x="674059" y="525158"/>
                        <a:pt x="666692" y="527114"/>
                        <a:pt x="663009" y="526193"/>
                      </a:cubicBezTo>
                      <a:cubicBezTo>
                        <a:pt x="663930" y="531718"/>
                        <a:pt x="664673" y="537276"/>
                        <a:pt x="665771" y="542768"/>
                      </a:cubicBezTo>
                      <a:cubicBezTo>
                        <a:pt x="666516" y="546491"/>
                        <a:pt x="670812" y="550781"/>
                        <a:pt x="668534" y="553818"/>
                      </a:cubicBezTo>
                      <a:cubicBezTo>
                        <a:pt x="664080" y="559757"/>
                        <a:pt x="655278" y="560610"/>
                        <a:pt x="649196" y="564868"/>
                      </a:cubicBezTo>
                      <a:cubicBezTo>
                        <a:pt x="645995" y="567108"/>
                        <a:pt x="643671" y="570393"/>
                        <a:pt x="640909" y="573156"/>
                      </a:cubicBezTo>
                      <a:cubicBezTo>
                        <a:pt x="641830" y="576839"/>
                        <a:pt x="645081" y="580681"/>
                        <a:pt x="643671" y="584206"/>
                      </a:cubicBezTo>
                      <a:cubicBezTo>
                        <a:pt x="642589" y="586910"/>
                        <a:pt x="638044" y="585786"/>
                        <a:pt x="635383" y="586969"/>
                      </a:cubicBezTo>
                      <a:cubicBezTo>
                        <a:pt x="629738" y="589478"/>
                        <a:pt x="624453" y="592747"/>
                        <a:pt x="618808" y="595256"/>
                      </a:cubicBezTo>
                      <a:cubicBezTo>
                        <a:pt x="611853" y="598347"/>
                        <a:pt x="604045" y="599314"/>
                        <a:pt x="596708" y="600781"/>
                      </a:cubicBezTo>
                      <a:cubicBezTo>
                        <a:pt x="593025" y="603544"/>
                        <a:pt x="590153" y="608070"/>
                        <a:pt x="585658" y="609069"/>
                      </a:cubicBezTo>
                      <a:cubicBezTo>
                        <a:pt x="566691" y="613285"/>
                        <a:pt x="561964" y="589559"/>
                        <a:pt x="555270" y="578681"/>
                      </a:cubicBezTo>
                      <a:cubicBezTo>
                        <a:pt x="553530" y="575854"/>
                        <a:pt x="551587" y="573156"/>
                        <a:pt x="549745" y="570394"/>
                      </a:cubicBezTo>
                      <a:cubicBezTo>
                        <a:pt x="534448" y="575492"/>
                        <a:pt x="542720" y="571212"/>
                        <a:pt x="555270" y="575919"/>
                      </a:cubicBezTo>
                      <a:cubicBezTo>
                        <a:pt x="558379" y="577085"/>
                        <a:pt x="560795" y="579602"/>
                        <a:pt x="563557" y="581444"/>
                      </a:cubicBezTo>
                      <a:cubicBezTo>
                        <a:pt x="557111" y="582365"/>
                        <a:pt x="550702" y="583589"/>
                        <a:pt x="544220" y="584206"/>
                      </a:cubicBezTo>
                      <a:cubicBezTo>
                        <a:pt x="531353" y="585431"/>
                        <a:pt x="518311" y="584953"/>
                        <a:pt x="505544" y="586969"/>
                      </a:cubicBezTo>
                      <a:cubicBezTo>
                        <a:pt x="500646" y="587742"/>
                        <a:pt x="496543" y="591291"/>
                        <a:pt x="491732" y="592494"/>
                      </a:cubicBezTo>
                      <a:cubicBezTo>
                        <a:pt x="485415" y="594073"/>
                        <a:pt x="478840" y="594335"/>
                        <a:pt x="472394" y="595256"/>
                      </a:cubicBezTo>
                      <a:cubicBezTo>
                        <a:pt x="471473" y="598019"/>
                        <a:pt x="470337" y="600719"/>
                        <a:pt x="469631" y="603544"/>
                      </a:cubicBezTo>
                      <a:cubicBezTo>
                        <a:pt x="462129" y="633553"/>
                        <a:pt x="476807" y="617909"/>
                        <a:pt x="417143" y="614594"/>
                      </a:cubicBezTo>
                      <a:cubicBezTo>
                        <a:pt x="418064" y="609990"/>
                        <a:pt x="417177" y="604602"/>
                        <a:pt x="419906" y="600781"/>
                      </a:cubicBezTo>
                      <a:cubicBezTo>
                        <a:pt x="422300" y="597430"/>
                        <a:pt x="429115" y="591572"/>
                        <a:pt x="430956" y="595256"/>
                      </a:cubicBezTo>
                      <a:cubicBezTo>
                        <a:pt x="433015" y="599375"/>
                        <a:pt x="426205" y="603359"/>
                        <a:pt x="422668" y="606307"/>
                      </a:cubicBezTo>
                      <a:cubicBezTo>
                        <a:pt x="420972" y="607720"/>
                        <a:pt x="403914" y="611686"/>
                        <a:pt x="403330" y="611832"/>
                      </a:cubicBezTo>
                      <a:cubicBezTo>
                        <a:pt x="386600" y="622986"/>
                        <a:pt x="389358" y="623592"/>
                        <a:pt x="356367" y="614594"/>
                      </a:cubicBezTo>
                      <a:cubicBezTo>
                        <a:pt x="353164" y="613720"/>
                        <a:pt x="361892" y="610911"/>
                        <a:pt x="364655" y="609069"/>
                      </a:cubicBezTo>
                      <a:cubicBezTo>
                        <a:pt x="360051" y="606306"/>
                        <a:pt x="356107" y="601834"/>
                        <a:pt x="350842" y="600781"/>
                      </a:cubicBezTo>
                      <a:cubicBezTo>
                        <a:pt x="333164" y="597246"/>
                        <a:pt x="336224" y="608318"/>
                        <a:pt x="331504" y="620119"/>
                      </a:cubicBezTo>
                      <a:cubicBezTo>
                        <a:pt x="327999" y="628881"/>
                        <a:pt x="325437" y="631982"/>
                        <a:pt x="320454" y="639457"/>
                      </a:cubicBezTo>
                      <a:cubicBezTo>
                        <a:pt x="313087" y="637615"/>
                        <a:pt x="305914" y="634641"/>
                        <a:pt x="298354" y="633932"/>
                      </a:cubicBezTo>
                      <a:cubicBezTo>
                        <a:pt x="276331" y="631867"/>
                        <a:pt x="253682" y="635804"/>
                        <a:pt x="232053" y="631169"/>
                      </a:cubicBezTo>
                      <a:cubicBezTo>
                        <a:pt x="226288" y="629934"/>
                        <a:pt x="225172" y="621526"/>
                        <a:pt x="221003" y="617357"/>
                      </a:cubicBezTo>
                      <a:cubicBezTo>
                        <a:pt x="214408" y="610762"/>
                        <a:pt x="207272" y="607790"/>
                        <a:pt x="201665" y="600781"/>
                      </a:cubicBezTo>
                      <a:cubicBezTo>
                        <a:pt x="176690" y="569561"/>
                        <a:pt x="227467" y="626584"/>
                        <a:pt x="182327" y="581444"/>
                      </a:cubicBezTo>
                      <a:cubicBezTo>
                        <a:pt x="158085" y="557202"/>
                        <a:pt x="201873" y="591960"/>
                        <a:pt x="165752" y="564868"/>
                      </a:cubicBezTo>
                      <a:cubicBezTo>
                        <a:pt x="163910" y="560264"/>
                        <a:pt x="162445" y="555491"/>
                        <a:pt x="160227" y="551056"/>
                      </a:cubicBezTo>
                      <a:cubicBezTo>
                        <a:pt x="158742" y="548086"/>
                        <a:pt x="155069" y="546068"/>
                        <a:pt x="154702" y="542768"/>
                      </a:cubicBezTo>
                      <a:cubicBezTo>
                        <a:pt x="154083" y="537201"/>
                        <a:pt x="156543" y="531718"/>
                        <a:pt x="157464" y="526193"/>
                      </a:cubicBezTo>
                      <a:cubicBezTo>
                        <a:pt x="155622" y="516985"/>
                        <a:pt x="157462" y="506163"/>
                        <a:pt x="151939" y="498568"/>
                      </a:cubicBezTo>
                      <a:cubicBezTo>
                        <a:pt x="148645" y="494038"/>
                        <a:pt x="140374" y="498310"/>
                        <a:pt x="135364" y="495805"/>
                      </a:cubicBezTo>
                      <a:cubicBezTo>
                        <a:pt x="132394" y="494320"/>
                        <a:pt x="131769" y="490219"/>
                        <a:pt x="129839" y="487517"/>
                      </a:cubicBezTo>
                      <a:cubicBezTo>
                        <a:pt x="127163" y="483770"/>
                        <a:pt x="124314" y="480150"/>
                        <a:pt x="121551" y="476467"/>
                      </a:cubicBezTo>
                      <a:cubicBezTo>
                        <a:pt x="120630" y="473705"/>
                        <a:pt x="120848" y="470239"/>
                        <a:pt x="118789" y="468180"/>
                      </a:cubicBezTo>
                      <a:cubicBezTo>
                        <a:pt x="115877" y="465268"/>
                        <a:pt x="111646" y="463957"/>
                        <a:pt x="107739" y="462655"/>
                      </a:cubicBezTo>
                      <a:cubicBezTo>
                        <a:pt x="94735" y="458320"/>
                        <a:pt x="61499" y="457575"/>
                        <a:pt x="55251" y="457129"/>
                      </a:cubicBezTo>
                      <a:cubicBezTo>
                        <a:pt x="52488" y="454367"/>
                        <a:pt x="49964" y="451343"/>
                        <a:pt x="46963" y="448842"/>
                      </a:cubicBezTo>
                      <a:cubicBezTo>
                        <a:pt x="44412" y="446717"/>
                        <a:pt x="41023" y="445665"/>
                        <a:pt x="38675" y="443317"/>
                      </a:cubicBezTo>
                      <a:cubicBezTo>
                        <a:pt x="36327" y="440969"/>
                        <a:pt x="36120" y="436514"/>
                        <a:pt x="33150" y="435029"/>
                      </a:cubicBezTo>
                      <a:cubicBezTo>
                        <a:pt x="26358" y="431633"/>
                        <a:pt x="17842" y="432900"/>
                        <a:pt x="11050" y="429504"/>
                      </a:cubicBezTo>
                      <a:lnTo>
                        <a:pt x="0" y="423979"/>
                      </a:lnTo>
                      <a:cubicBezTo>
                        <a:pt x="528" y="422659"/>
                        <a:pt x="8727" y="401052"/>
                        <a:pt x="11050" y="399116"/>
                      </a:cubicBezTo>
                      <a:cubicBezTo>
                        <a:pt x="13967" y="396685"/>
                        <a:pt x="18417" y="397275"/>
                        <a:pt x="22100" y="396354"/>
                      </a:cubicBezTo>
                      <a:cubicBezTo>
                        <a:pt x="26704" y="399116"/>
                        <a:pt x="31445" y="401663"/>
                        <a:pt x="35913" y="404641"/>
                      </a:cubicBezTo>
                      <a:cubicBezTo>
                        <a:pt x="39744" y="407195"/>
                        <a:pt x="42363" y="412720"/>
                        <a:pt x="46963" y="412929"/>
                      </a:cubicBezTo>
                      <a:cubicBezTo>
                        <a:pt x="63623" y="413686"/>
                        <a:pt x="80114" y="409246"/>
                        <a:pt x="96689" y="407404"/>
                      </a:cubicBezTo>
                      <a:cubicBezTo>
                        <a:pt x="95939" y="402905"/>
                        <a:pt x="90859" y="388371"/>
                        <a:pt x="96689" y="382541"/>
                      </a:cubicBezTo>
                      <a:cubicBezTo>
                        <a:pt x="99601" y="379629"/>
                        <a:pt x="104056" y="378858"/>
                        <a:pt x="107739" y="377016"/>
                      </a:cubicBezTo>
                      <a:cubicBezTo>
                        <a:pt x="114185" y="377937"/>
                        <a:pt x="122473" y="375174"/>
                        <a:pt x="127077" y="379778"/>
                      </a:cubicBezTo>
                      <a:cubicBezTo>
                        <a:pt x="130397" y="383098"/>
                        <a:pt x="117923" y="383123"/>
                        <a:pt x="113264" y="382541"/>
                      </a:cubicBezTo>
                      <a:cubicBezTo>
                        <a:pt x="109969" y="382129"/>
                        <a:pt x="107739" y="378858"/>
                        <a:pt x="104976" y="377016"/>
                      </a:cubicBezTo>
                      <a:cubicBezTo>
                        <a:pt x="106818" y="366887"/>
                        <a:pt x="106805" y="356237"/>
                        <a:pt x="110501" y="346628"/>
                      </a:cubicBezTo>
                      <a:cubicBezTo>
                        <a:pt x="111693" y="343529"/>
                        <a:pt x="118789" y="344423"/>
                        <a:pt x="118789" y="341103"/>
                      </a:cubicBezTo>
                      <a:cubicBezTo>
                        <a:pt x="118789" y="338191"/>
                        <a:pt x="113178" y="339487"/>
                        <a:pt x="110501" y="338340"/>
                      </a:cubicBezTo>
                      <a:cubicBezTo>
                        <a:pt x="106716" y="336718"/>
                        <a:pt x="103026" y="334858"/>
                        <a:pt x="99451" y="332815"/>
                      </a:cubicBezTo>
                      <a:cubicBezTo>
                        <a:pt x="90479" y="327688"/>
                        <a:pt x="90493" y="326619"/>
                        <a:pt x="82876" y="319003"/>
                      </a:cubicBezTo>
                      <a:cubicBezTo>
                        <a:pt x="83797" y="313478"/>
                        <a:pt x="82859" y="307291"/>
                        <a:pt x="85638" y="302427"/>
                      </a:cubicBezTo>
                      <a:cubicBezTo>
                        <a:pt x="87083" y="299899"/>
                        <a:pt x="91652" y="301484"/>
                        <a:pt x="93926" y="299665"/>
                      </a:cubicBezTo>
                      <a:cubicBezTo>
                        <a:pt x="96519" y="297591"/>
                        <a:pt x="96930" y="293538"/>
                        <a:pt x="99451" y="291377"/>
                      </a:cubicBezTo>
                      <a:cubicBezTo>
                        <a:pt x="103528" y="287883"/>
                        <a:pt x="108660" y="285852"/>
                        <a:pt x="113264" y="283090"/>
                      </a:cubicBezTo>
                      <a:cubicBezTo>
                        <a:pt x="110501" y="277565"/>
                        <a:pt x="110712" y="268808"/>
                        <a:pt x="104976" y="266514"/>
                      </a:cubicBezTo>
                      <a:cubicBezTo>
                        <a:pt x="90341" y="260660"/>
                        <a:pt x="73469" y="264080"/>
                        <a:pt x="58013" y="260989"/>
                      </a:cubicBezTo>
                      <a:cubicBezTo>
                        <a:pt x="54757" y="260338"/>
                        <a:pt x="52488" y="257306"/>
                        <a:pt x="49725" y="255464"/>
                      </a:cubicBezTo>
                      <a:cubicBezTo>
                        <a:pt x="46699" y="246386"/>
                        <a:pt x="43584" y="241348"/>
                        <a:pt x="49725" y="230601"/>
                      </a:cubicBezTo>
                      <a:cubicBezTo>
                        <a:pt x="51170" y="228073"/>
                        <a:pt x="55250" y="228760"/>
                        <a:pt x="58013" y="227839"/>
                      </a:cubicBezTo>
                      <a:cubicBezTo>
                        <a:pt x="64459" y="228760"/>
                        <a:pt x="70966" y="229324"/>
                        <a:pt x="77351" y="230601"/>
                      </a:cubicBezTo>
                      <a:cubicBezTo>
                        <a:pt x="80206" y="231172"/>
                        <a:pt x="82838" y="232564"/>
                        <a:pt x="85638" y="233364"/>
                      </a:cubicBezTo>
                      <a:cubicBezTo>
                        <a:pt x="89289" y="234407"/>
                        <a:pt x="93005" y="235205"/>
                        <a:pt x="96689" y="236126"/>
                      </a:cubicBezTo>
                      <a:cubicBezTo>
                        <a:pt x="99451" y="237968"/>
                        <a:pt x="102006" y="240167"/>
                        <a:pt x="104976" y="241652"/>
                      </a:cubicBezTo>
                      <a:cubicBezTo>
                        <a:pt x="111584" y="244956"/>
                        <a:pt x="119903" y="247548"/>
                        <a:pt x="127077" y="249939"/>
                      </a:cubicBezTo>
                      <a:cubicBezTo>
                        <a:pt x="129839" y="251781"/>
                        <a:pt x="132054" y="255209"/>
                        <a:pt x="135364" y="255464"/>
                      </a:cubicBezTo>
                      <a:cubicBezTo>
                        <a:pt x="144456" y="256163"/>
                        <a:pt x="168452" y="251791"/>
                        <a:pt x="179565" y="249939"/>
                      </a:cubicBezTo>
                      <a:cubicBezTo>
                        <a:pt x="178644" y="244414"/>
                        <a:pt x="181920" y="235639"/>
                        <a:pt x="176802" y="233364"/>
                      </a:cubicBezTo>
                      <a:cubicBezTo>
                        <a:pt x="169863" y="230280"/>
                        <a:pt x="154702" y="238889"/>
                        <a:pt x="154702" y="238889"/>
                      </a:cubicBezTo>
                      <a:cubicBezTo>
                        <a:pt x="155623" y="234285"/>
                        <a:pt x="154859" y="228983"/>
                        <a:pt x="157464" y="225076"/>
                      </a:cubicBezTo>
                      <a:cubicBezTo>
                        <a:pt x="161482" y="219049"/>
                        <a:pt x="175547" y="225580"/>
                        <a:pt x="157464" y="219551"/>
                      </a:cubicBezTo>
                      <a:cubicBezTo>
                        <a:pt x="160227" y="218630"/>
                        <a:pt x="162880" y="217268"/>
                        <a:pt x="165752" y="216789"/>
                      </a:cubicBezTo>
                      <a:cubicBezTo>
                        <a:pt x="179497" y="214498"/>
                        <a:pt x="195596" y="218994"/>
                        <a:pt x="207190" y="211264"/>
                      </a:cubicBezTo>
                      <a:cubicBezTo>
                        <a:pt x="212330" y="207837"/>
                        <a:pt x="202177" y="199926"/>
                        <a:pt x="198903" y="194688"/>
                      </a:cubicBezTo>
                      <a:cubicBezTo>
                        <a:pt x="195176" y="188724"/>
                        <a:pt x="184077" y="183583"/>
                        <a:pt x="179565" y="180876"/>
                      </a:cubicBezTo>
                      <a:cubicBezTo>
                        <a:pt x="178644" y="177193"/>
                        <a:pt x="178500" y="173222"/>
                        <a:pt x="176802" y="169826"/>
                      </a:cubicBezTo>
                      <a:cubicBezTo>
                        <a:pt x="175637" y="167496"/>
                        <a:pt x="173278" y="165968"/>
                        <a:pt x="171277" y="164300"/>
                      </a:cubicBezTo>
                      <a:cubicBezTo>
                        <a:pt x="150890" y="147311"/>
                        <a:pt x="156891" y="155804"/>
                        <a:pt x="116026" y="153250"/>
                      </a:cubicBezTo>
                      <a:cubicBezTo>
                        <a:pt x="107739" y="151408"/>
                        <a:pt x="99344" y="149997"/>
                        <a:pt x="91164" y="147725"/>
                      </a:cubicBezTo>
                      <a:cubicBezTo>
                        <a:pt x="82747" y="145387"/>
                        <a:pt x="66301" y="139438"/>
                        <a:pt x="66301" y="139438"/>
                      </a:cubicBezTo>
                      <a:cubicBezTo>
                        <a:pt x="64459" y="133913"/>
                        <a:pt x="62939" y="128270"/>
                        <a:pt x="60776" y="122862"/>
                      </a:cubicBezTo>
                      <a:cubicBezTo>
                        <a:pt x="59247" y="119038"/>
                        <a:pt x="56434" y="115756"/>
                        <a:pt x="55251" y="111812"/>
                      </a:cubicBezTo>
                      <a:cubicBezTo>
                        <a:pt x="53641" y="106447"/>
                        <a:pt x="55267" y="100100"/>
                        <a:pt x="52488" y="95237"/>
                      </a:cubicBezTo>
                      <a:cubicBezTo>
                        <a:pt x="51043" y="92709"/>
                        <a:pt x="46963" y="93395"/>
                        <a:pt x="44200" y="92474"/>
                      </a:cubicBezTo>
                      <a:cubicBezTo>
                        <a:pt x="52204" y="68466"/>
                        <a:pt x="41527" y="92444"/>
                        <a:pt x="91164" y="75899"/>
                      </a:cubicBezTo>
                      <a:cubicBezTo>
                        <a:pt x="94314" y="74849"/>
                        <a:pt x="94847" y="70374"/>
                        <a:pt x="96689" y="67612"/>
                      </a:cubicBezTo>
                      <a:cubicBezTo>
                        <a:pt x="97610" y="70374"/>
                        <a:pt x="98745" y="73074"/>
                        <a:pt x="99451" y="75899"/>
                      </a:cubicBezTo>
                      <a:cubicBezTo>
                        <a:pt x="100590" y="80454"/>
                        <a:pt x="99884" y="85635"/>
                        <a:pt x="102214" y="89712"/>
                      </a:cubicBezTo>
                      <a:cubicBezTo>
                        <a:pt x="103861" y="92595"/>
                        <a:pt x="107739" y="93395"/>
                        <a:pt x="110501" y="95237"/>
                      </a:cubicBezTo>
                      <a:cubicBezTo>
                        <a:pt x="117868" y="92474"/>
                        <a:pt x="126721" y="92176"/>
                        <a:pt x="132602" y="86949"/>
                      </a:cubicBezTo>
                      <a:cubicBezTo>
                        <a:pt x="139714" y="80628"/>
                        <a:pt x="135353" y="69444"/>
                        <a:pt x="129839" y="64849"/>
                      </a:cubicBezTo>
                      <a:cubicBezTo>
                        <a:pt x="126675" y="62213"/>
                        <a:pt x="122472" y="61166"/>
                        <a:pt x="118789" y="59324"/>
                      </a:cubicBezTo>
                      <a:cubicBezTo>
                        <a:pt x="120631" y="56561"/>
                        <a:pt x="121763" y="53162"/>
                        <a:pt x="124314" y="51036"/>
                      </a:cubicBezTo>
                      <a:cubicBezTo>
                        <a:pt x="127478" y="48400"/>
                        <a:pt x="131246" y="45511"/>
                        <a:pt x="135364" y="45511"/>
                      </a:cubicBezTo>
                      <a:cubicBezTo>
                        <a:pt x="138529" y="45511"/>
                        <a:pt x="156584" y="51663"/>
                        <a:pt x="162990" y="53799"/>
                      </a:cubicBezTo>
                      <a:cubicBezTo>
                        <a:pt x="162069" y="46432"/>
                        <a:pt x="155474" y="37402"/>
                        <a:pt x="160227" y="31699"/>
                      </a:cubicBezTo>
                      <a:cubicBezTo>
                        <a:pt x="163955" y="27225"/>
                        <a:pt x="171480" y="34859"/>
                        <a:pt x="176802" y="37224"/>
                      </a:cubicBezTo>
                      <a:cubicBezTo>
                        <a:pt x="179836" y="38572"/>
                        <a:pt x="182056" y="41401"/>
                        <a:pt x="185090" y="42749"/>
                      </a:cubicBezTo>
                      <a:cubicBezTo>
                        <a:pt x="190412" y="45114"/>
                        <a:pt x="196140" y="46432"/>
                        <a:pt x="201665" y="48274"/>
                      </a:cubicBezTo>
                      <a:cubicBezTo>
                        <a:pt x="188003" y="68766"/>
                        <a:pt x="187967" y="65767"/>
                        <a:pt x="193377" y="109050"/>
                      </a:cubicBezTo>
                      <a:cubicBezTo>
                        <a:pt x="193862" y="112927"/>
                        <a:pt x="198902" y="103525"/>
                        <a:pt x="201665" y="100762"/>
                      </a:cubicBezTo>
                      <a:cubicBezTo>
                        <a:pt x="203507" y="95237"/>
                        <a:pt x="206966" y="90007"/>
                        <a:pt x="207190" y="84187"/>
                      </a:cubicBezTo>
                      <a:cubicBezTo>
                        <a:pt x="208111" y="60245"/>
                        <a:pt x="204142" y="35605"/>
                        <a:pt x="209953" y="12361"/>
                      </a:cubicBezTo>
                      <a:cubicBezTo>
                        <a:pt x="211366" y="6711"/>
                        <a:pt x="226528" y="6836"/>
                        <a:pt x="226528" y="6836"/>
                      </a:cubicBezTo>
                      <a:cubicBezTo>
                        <a:pt x="236769" y="17077"/>
                        <a:pt x="224686" y="42749"/>
                        <a:pt x="221003" y="45511"/>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874" name="Forma libre: forma 5">
                  <a:extLst>
                    <a:ext uri="{FF2B5EF4-FFF2-40B4-BE49-F238E27FC236}">
                      <a16:creationId xmlns:a16="http://schemas.microsoft.com/office/drawing/2014/main" id="{900C8B89-40D3-456F-8BF3-8E6EB555EB64}"/>
                    </a:ext>
                  </a:extLst>
                </p:cNvPr>
                <p:cNvSpPr/>
                <p:nvPr/>
              </p:nvSpPr>
              <p:spPr>
                <a:xfrm>
                  <a:off x="1779807" y="1259267"/>
                  <a:ext cx="43865" cy="33601"/>
                </a:xfrm>
                <a:custGeom>
                  <a:avLst/>
                  <a:gdLst>
                    <a:gd name="connsiteX0" fmla="*/ 43468 w 43865"/>
                    <a:gd name="connsiteY0" fmla="*/ 17025 h 33601"/>
                    <a:gd name="connsiteX1" fmla="*/ 29655 w 43865"/>
                    <a:gd name="connsiteY1" fmla="*/ 19788 h 33601"/>
                    <a:gd name="connsiteX2" fmla="*/ 26893 w 43865"/>
                    <a:gd name="connsiteY2" fmla="*/ 28076 h 33601"/>
                    <a:gd name="connsiteX3" fmla="*/ 18605 w 43865"/>
                    <a:gd name="connsiteY3" fmla="*/ 33601 h 33601"/>
                    <a:gd name="connsiteX4" fmla="*/ 10317 w 43865"/>
                    <a:gd name="connsiteY4" fmla="*/ 3213 h 33601"/>
                    <a:gd name="connsiteX5" fmla="*/ 32418 w 43865"/>
                    <a:gd name="connsiteY5" fmla="*/ 450 h 33601"/>
                    <a:gd name="connsiteX6" fmla="*/ 40705 w 43865"/>
                    <a:gd name="connsiteY6" fmla="*/ 14263 h 33601"/>
                    <a:gd name="connsiteX7" fmla="*/ 43468 w 43865"/>
                    <a:gd name="connsiteY7" fmla="*/ 17025 h 3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865" h="33601">
                      <a:moveTo>
                        <a:pt x="43468" y="17025"/>
                      </a:moveTo>
                      <a:cubicBezTo>
                        <a:pt x="41626" y="17946"/>
                        <a:pt x="33562" y="17183"/>
                        <a:pt x="29655" y="19788"/>
                      </a:cubicBezTo>
                      <a:cubicBezTo>
                        <a:pt x="27232" y="21403"/>
                        <a:pt x="28712" y="25802"/>
                        <a:pt x="26893" y="28076"/>
                      </a:cubicBezTo>
                      <a:cubicBezTo>
                        <a:pt x="24819" y="30669"/>
                        <a:pt x="21368" y="31759"/>
                        <a:pt x="18605" y="33601"/>
                      </a:cubicBezTo>
                      <a:cubicBezTo>
                        <a:pt x="6259" y="30514"/>
                        <a:pt x="-11546" y="29934"/>
                        <a:pt x="10317" y="3213"/>
                      </a:cubicBezTo>
                      <a:cubicBezTo>
                        <a:pt x="15018" y="-2533"/>
                        <a:pt x="25051" y="1371"/>
                        <a:pt x="32418" y="450"/>
                      </a:cubicBezTo>
                      <a:cubicBezTo>
                        <a:pt x="43774" y="6128"/>
                        <a:pt x="46396" y="2881"/>
                        <a:pt x="40705" y="14263"/>
                      </a:cubicBezTo>
                      <a:cubicBezTo>
                        <a:pt x="40123" y="15428"/>
                        <a:pt x="45310" y="16104"/>
                        <a:pt x="43468" y="17025"/>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grpSp>
          <p:sp>
            <p:nvSpPr>
              <p:cNvPr id="872" name="Forma libre: forma 7">
                <a:extLst>
                  <a:ext uri="{FF2B5EF4-FFF2-40B4-BE49-F238E27FC236}">
                    <a16:creationId xmlns:a16="http://schemas.microsoft.com/office/drawing/2014/main" id="{226C8F03-D8C9-4C77-AFAD-28A19CB4C6F9}"/>
                  </a:ext>
                </a:extLst>
              </p:cNvPr>
              <p:cNvSpPr/>
              <p:nvPr/>
            </p:nvSpPr>
            <p:spPr>
              <a:xfrm rot="5400000">
                <a:off x="1987458" y="1045298"/>
                <a:ext cx="43865" cy="33601"/>
              </a:xfrm>
              <a:custGeom>
                <a:avLst/>
                <a:gdLst>
                  <a:gd name="connsiteX0" fmla="*/ 43468 w 43865"/>
                  <a:gd name="connsiteY0" fmla="*/ 17025 h 33601"/>
                  <a:gd name="connsiteX1" fmla="*/ 29655 w 43865"/>
                  <a:gd name="connsiteY1" fmla="*/ 19788 h 33601"/>
                  <a:gd name="connsiteX2" fmla="*/ 26893 w 43865"/>
                  <a:gd name="connsiteY2" fmla="*/ 28076 h 33601"/>
                  <a:gd name="connsiteX3" fmla="*/ 18605 w 43865"/>
                  <a:gd name="connsiteY3" fmla="*/ 33601 h 33601"/>
                  <a:gd name="connsiteX4" fmla="*/ 10317 w 43865"/>
                  <a:gd name="connsiteY4" fmla="*/ 3213 h 33601"/>
                  <a:gd name="connsiteX5" fmla="*/ 32418 w 43865"/>
                  <a:gd name="connsiteY5" fmla="*/ 450 h 33601"/>
                  <a:gd name="connsiteX6" fmla="*/ 40705 w 43865"/>
                  <a:gd name="connsiteY6" fmla="*/ 14263 h 33601"/>
                  <a:gd name="connsiteX7" fmla="*/ 43468 w 43865"/>
                  <a:gd name="connsiteY7" fmla="*/ 17025 h 336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865" h="33601">
                    <a:moveTo>
                      <a:pt x="43468" y="17025"/>
                    </a:moveTo>
                    <a:cubicBezTo>
                      <a:pt x="41626" y="17946"/>
                      <a:pt x="33562" y="17183"/>
                      <a:pt x="29655" y="19788"/>
                    </a:cubicBezTo>
                    <a:cubicBezTo>
                      <a:pt x="27232" y="21403"/>
                      <a:pt x="28712" y="25802"/>
                      <a:pt x="26893" y="28076"/>
                    </a:cubicBezTo>
                    <a:cubicBezTo>
                      <a:pt x="24819" y="30669"/>
                      <a:pt x="21368" y="31759"/>
                      <a:pt x="18605" y="33601"/>
                    </a:cubicBezTo>
                    <a:cubicBezTo>
                      <a:pt x="6259" y="30514"/>
                      <a:pt x="-11546" y="29934"/>
                      <a:pt x="10317" y="3213"/>
                    </a:cubicBezTo>
                    <a:cubicBezTo>
                      <a:pt x="15018" y="-2533"/>
                      <a:pt x="25051" y="1371"/>
                      <a:pt x="32418" y="450"/>
                    </a:cubicBezTo>
                    <a:cubicBezTo>
                      <a:pt x="43774" y="6128"/>
                      <a:pt x="46396" y="2881"/>
                      <a:pt x="40705" y="14263"/>
                    </a:cubicBezTo>
                    <a:cubicBezTo>
                      <a:pt x="40123" y="15428"/>
                      <a:pt x="45310" y="16104"/>
                      <a:pt x="43468" y="17025"/>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grpSp>
        <p:sp>
          <p:nvSpPr>
            <p:cNvPr id="301" name="Forma libre: forma 9">
              <a:extLst>
                <a:ext uri="{FF2B5EF4-FFF2-40B4-BE49-F238E27FC236}">
                  <a16:creationId xmlns:a16="http://schemas.microsoft.com/office/drawing/2014/main" id="{5AA4DE23-01A4-4C6C-A99F-03AEE83214BA}"/>
                </a:ext>
              </a:extLst>
            </p:cNvPr>
            <p:cNvSpPr/>
            <p:nvPr/>
          </p:nvSpPr>
          <p:spPr>
            <a:xfrm>
              <a:off x="8460054" y="3293935"/>
              <a:ext cx="2048870" cy="1413227"/>
            </a:xfrm>
            <a:custGeom>
              <a:avLst/>
              <a:gdLst>
                <a:gd name="connsiteX0" fmla="*/ 966257 w 2048870"/>
                <a:gd name="connsiteY0" fmla="*/ 63956 h 1410492"/>
                <a:gd name="connsiteX1" fmla="*/ 962800 w 2048870"/>
                <a:gd name="connsiteY1" fmla="*/ 72598 h 1410492"/>
                <a:gd name="connsiteX2" fmla="*/ 919586 w 2048870"/>
                <a:gd name="connsiteY2" fmla="*/ 114083 h 1410492"/>
                <a:gd name="connsiteX3" fmla="*/ 902301 w 2048870"/>
                <a:gd name="connsiteY3" fmla="*/ 120998 h 1410492"/>
                <a:gd name="connsiteX4" fmla="*/ 885015 w 2048870"/>
                <a:gd name="connsiteY4" fmla="*/ 122726 h 1410492"/>
                <a:gd name="connsiteX5" fmla="*/ 878101 w 2048870"/>
                <a:gd name="connsiteY5" fmla="*/ 129640 h 1410492"/>
                <a:gd name="connsiteX6" fmla="*/ 855630 w 2048870"/>
                <a:gd name="connsiteY6" fmla="*/ 140012 h 1410492"/>
                <a:gd name="connsiteX7" fmla="*/ 850444 w 2048870"/>
                <a:gd name="connsiteY7" fmla="*/ 145197 h 1410492"/>
                <a:gd name="connsiteX8" fmla="*/ 831430 w 2048870"/>
                <a:gd name="connsiteY8" fmla="*/ 146926 h 1410492"/>
                <a:gd name="connsiteX9" fmla="*/ 827973 w 2048870"/>
                <a:gd name="connsiteY9" fmla="*/ 193596 h 1410492"/>
                <a:gd name="connsiteX10" fmla="*/ 822788 w 2048870"/>
                <a:gd name="connsiteY10" fmla="*/ 197054 h 1410492"/>
                <a:gd name="connsiteX11" fmla="*/ 817602 w 2048870"/>
                <a:gd name="connsiteY11" fmla="*/ 247181 h 1410492"/>
                <a:gd name="connsiteX12" fmla="*/ 821059 w 2048870"/>
                <a:gd name="connsiteY12" fmla="*/ 255824 h 1410492"/>
                <a:gd name="connsiteX13" fmla="*/ 826245 w 2048870"/>
                <a:gd name="connsiteY13" fmla="*/ 259281 h 1410492"/>
                <a:gd name="connsiteX14" fmla="*/ 833159 w 2048870"/>
                <a:gd name="connsiteY14" fmla="*/ 267924 h 1410492"/>
                <a:gd name="connsiteX15" fmla="*/ 836616 w 2048870"/>
                <a:gd name="connsiteY15" fmla="*/ 280024 h 1410492"/>
                <a:gd name="connsiteX16" fmla="*/ 834887 w 2048870"/>
                <a:gd name="connsiteY16" fmla="*/ 295581 h 1410492"/>
                <a:gd name="connsiteX17" fmla="*/ 821059 w 2048870"/>
                <a:gd name="connsiteY17" fmla="*/ 299038 h 1410492"/>
                <a:gd name="connsiteX18" fmla="*/ 800316 w 2048870"/>
                <a:gd name="connsiteY18" fmla="*/ 295581 h 1410492"/>
                <a:gd name="connsiteX19" fmla="*/ 786488 w 2048870"/>
                <a:gd name="connsiteY19" fmla="*/ 286938 h 1410492"/>
                <a:gd name="connsiteX20" fmla="*/ 781302 w 2048870"/>
                <a:gd name="connsiteY20" fmla="*/ 285209 h 1410492"/>
                <a:gd name="connsiteX21" fmla="*/ 774388 w 2048870"/>
                <a:gd name="connsiteY21" fmla="*/ 278295 h 1410492"/>
                <a:gd name="connsiteX22" fmla="*/ 767474 w 2048870"/>
                <a:gd name="connsiteY22" fmla="*/ 285209 h 1410492"/>
                <a:gd name="connsiteX23" fmla="*/ 758831 w 2048870"/>
                <a:gd name="connsiteY23" fmla="*/ 286938 h 1410492"/>
                <a:gd name="connsiteX24" fmla="*/ 751917 w 2048870"/>
                <a:gd name="connsiteY24" fmla="*/ 288666 h 1410492"/>
                <a:gd name="connsiteX25" fmla="*/ 746732 w 2048870"/>
                <a:gd name="connsiteY25" fmla="*/ 290395 h 1410492"/>
                <a:gd name="connsiteX26" fmla="*/ 722532 w 2048870"/>
                <a:gd name="connsiteY26" fmla="*/ 292124 h 1410492"/>
                <a:gd name="connsiteX27" fmla="*/ 720803 w 2048870"/>
                <a:gd name="connsiteY27" fmla="*/ 297309 h 1410492"/>
                <a:gd name="connsiteX28" fmla="*/ 701789 w 2048870"/>
                <a:gd name="connsiteY28" fmla="*/ 312866 h 1410492"/>
                <a:gd name="connsiteX29" fmla="*/ 686233 w 2048870"/>
                <a:gd name="connsiteY29" fmla="*/ 305952 h 1410492"/>
                <a:gd name="connsiteX30" fmla="*/ 684504 w 2048870"/>
                <a:gd name="connsiteY30" fmla="*/ 300766 h 1410492"/>
                <a:gd name="connsiteX31" fmla="*/ 681047 w 2048870"/>
                <a:gd name="connsiteY31" fmla="*/ 285209 h 1410492"/>
                <a:gd name="connsiteX32" fmla="*/ 649933 w 2048870"/>
                <a:gd name="connsiteY32" fmla="*/ 288666 h 1410492"/>
                <a:gd name="connsiteX33" fmla="*/ 646476 w 2048870"/>
                <a:gd name="connsiteY33" fmla="*/ 299038 h 1410492"/>
                <a:gd name="connsiteX34" fmla="*/ 639562 w 2048870"/>
                <a:gd name="connsiteY34" fmla="*/ 314595 h 1410492"/>
                <a:gd name="connsiteX35" fmla="*/ 634376 w 2048870"/>
                <a:gd name="connsiteY35" fmla="*/ 326694 h 1410492"/>
                <a:gd name="connsiteX36" fmla="*/ 629191 w 2048870"/>
                <a:gd name="connsiteY36" fmla="*/ 328423 h 1410492"/>
                <a:gd name="connsiteX37" fmla="*/ 613634 w 2048870"/>
                <a:gd name="connsiteY37" fmla="*/ 323237 h 1410492"/>
                <a:gd name="connsiteX38" fmla="*/ 601534 w 2048870"/>
                <a:gd name="connsiteY38" fmla="*/ 311138 h 1410492"/>
                <a:gd name="connsiteX39" fmla="*/ 572149 w 2048870"/>
                <a:gd name="connsiteY39" fmla="*/ 309409 h 1410492"/>
                <a:gd name="connsiteX40" fmla="*/ 566963 w 2048870"/>
                <a:gd name="connsiteY40" fmla="*/ 295581 h 1410492"/>
                <a:gd name="connsiteX41" fmla="*/ 563506 w 2048870"/>
                <a:gd name="connsiteY41" fmla="*/ 300766 h 1410492"/>
                <a:gd name="connsiteX42" fmla="*/ 558320 w 2048870"/>
                <a:gd name="connsiteY42" fmla="*/ 307680 h 1410492"/>
                <a:gd name="connsiteX43" fmla="*/ 549678 w 2048870"/>
                <a:gd name="connsiteY43" fmla="*/ 321509 h 1410492"/>
                <a:gd name="connsiteX44" fmla="*/ 509921 w 2048870"/>
                <a:gd name="connsiteY44" fmla="*/ 324966 h 1410492"/>
                <a:gd name="connsiteX45" fmla="*/ 515107 w 2048870"/>
                <a:gd name="connsiteY45" fmla="*/ 328423 h 1410492"/>
                <a:gd name="connsiteX46" fmla="*/ 525478 w 2048870"/>
                <a:gd name="connsiteY46" fmla="*/ 331880 h 1410492"/>
                <a:gd name="connsiteX47" fmla="*/ 523749 w 2048870"/>
                <a:gd name="connsiteY47" fmla="*/ 337066 h 1410492"/>
                <a:gd name="connsiteX48" fmla="*/ 516835 w 2048870"/>
                <a:gd name="connsiteY48" fmla="*/ 343980 h 1410492"/>
                <a:gd name="connsiteX49" fmla="*/ 511650 w 2048870"/>
                <a:gd name="connsiteY49" fmla="*/ 323237 h 1410492"/>
                <a:gd name="connsiteX50" fmla="*/ 483993 w 2048870"/>
                <a:gd name="connsiteY50" fmla="*/ 333609 h 1410492"/>
                <a:gd name="connsiteX51" fmla="*/ 478807 w 2048870"/>
                <a:gd name="connsiteY51" fmla="*/ 338794 h 1410492"/>
                <a:gd name="connsiteX52" fmla="*/ 466707 w 2048870"/>
                <a:gd name="connsiteY52" fmla="*/ 337066 h 1410492"/>
                <a:gd name="connsiteX53" fmla="*/ 463250 w 2048870"/>
                <a:gd name="connsiteY53" fmla="*/ 324966 h 1410492"/>
                <a:gd name="connsiteX54" fmla="*/ 454608 w 2048870"/>
                <a:gd name="connsiteY54" fmla="*/ 312866 h 1410492"/>
                <a:gd name="connsiteX55" fmla="*/ 449422 w 2048870"/>
                <a:gd name="connsiteY55" fmla="*/ 311138 h 1410492"/>
                <a:gd name="connsiteX56" fmla="*/ 425222 w 2048870"/>
                <a:gd name="connsiteY56" fmla="*/ 314595 h 1410492"/>
                <a:gd name="connsiteX57" fmla="*/ 273110 w 2048870"/>
                <a:gd name="connsiteY57" fmla="*/ 316323 h 1410492"/>
                <a:gd name="connsiteX58" fmla="*/ 262739 w 2048870"/>
                <a:gd name="connsiteY58" fmla="*/ 323237 h 1410492"/>
                <a:gd name="connsiteX59" fmla="*/ 255825 w 2048870"/>
                <a:gd name="connsiteY59" fmla="*/ 324966 h 1410492"/>
                <a:gd name="connsiteX60" fmla="*/ 250639 w 2048870"/>
                <a:gd name="connsiteY60" fmla="*/ 326694 h 1410492"/>
                <a:gd name="connsiteX61" fmla="*/ 238540 w 2048870"/>
                <a:gd name="connsiteY61" fmla="*/ 330152 h 1410492"/>
                <a:gd name="connsiteX62" fmla="*/ 200512 w 2048870"/>
                <a:gd name="connsiteY62" fmla="*/ 333609 h 1410492"/>
                <a:gd name="connsiteX63" fmla="*/ 188412 w 2048870"/>
                <a:gd name="connsiteY63" fmla="*/ 338794 h 1410492"/>
                <a:gd name="connsiteX64" fmla="*/ 176312 w 2048870"/>
                <a:gd name="connsiteY64" fmla="*/ 342251 h 1410492"/>
                <a:gd name="connsiteX65" fmla="*/ 146927 w 2048870"/>
                <a:gd name="connsiteY65" fmla="*/ 356080 h 1410492"/>
                <a:gd name="connsiteX66" fmla="*/ 138284 w 2048870"/>
                <a:gd name="connsiteY66" fmla="*/ 357808 h 1410492"/>
                <a:gd name="connsiteX67" fmla="*/ 136555 w 2048870"/>
                <a:gd name="connsiteY67" fmla="*/ 364722 h 1410492"/>
                <a:gd name="connsiteX68" fmla="*/ 134827 w 2048870"/>
                <a:gd name="connsiteY68" fmla="*/ 380279 h 1410492"/>
                <a:gd name="connsiteX69" fmla="*/ 127913 w 2048870"/>
                <a:gd name="connsiteY69" fmla="*/ 387193 h 1410492"/>
                <a:gd name="connsiteX70" fmla="*/ 126184 w 2048870"/>
                <a:gd name="connsiteY70" fmla="*/ 394108 h 1410492"/>
                <a:gd name="connsiteX71" fmla="*/ 124456 w 2048870"/>
                <a:gd name="connsiteY71" fmla="*/ 402750 h 1410492"/>
                <a:gd name="connsiteX72" fmla="*/ 117541 w 2048870"/>
                <a:gd name="connsiteY72" fmla="*/ 407936 h 1410492"/>
                <a:gd name="connsiteX73" fmla="*/ 105442 w 2048870"/>
                <a:gd name="connsiteY73" fmla="*/ 411393 h 1410492"/>
                <a:gd name="connsiteX74" fmla="*/ 100256 w 2048870"/>
                <a:gd name="connsiteY74" fmla="*/ 413122 h 1410492"/>
                <a:gd name="connsiteX75" fmla="*/ 70871 w 2048870"/>
                <a:gd name="connsiteY75" fmla="*/ 421764 h 1410492"/>
                <a:gd name="connsiteX76" fmla="*/ 67414 w 2048870"/>
                <a:gd name="connsiteY76" fmla="*/ 428679 h 1410492"/>
                <a:gd name="connsiteX77" fmla="*/ 69142 w 2048870"/>
                <a:gd name="connsiteY77" fmla="*/ 440778 h 1410492"/>
                <a:gd name="connsiteX78" fmla="*/ 65685 w 2048870"/>
                <a:gd name="connsiteY78" fmla="*/ 445964 h 1410492"/>
                <a:gd name="connsiteX79" fmla="*/ 63957 w 2048870"/>
                <a:gd name="connsiteY79" fmla="*/ 452878 h 1410492"/>
                <a:gd name="connsiteX80" fmla="*/ 69142 w 2048870"/>
                <a:gd name="connsiteY80" fmla="*/ 456335 h 1410492"/>
                <a:gd name="connsiteX81" fmla="*/ 74328 w 2048870"/>
                <a:gd name="connsiteY81" fmla="*/ 458064 h 1410492"/>
                <a:gd name="connsiteX82" fmla="*/ 84699 w 2048870"/>
                <a:gd name="connsiteY82" fmla="*/ 466707 h 1410492"/>
                <a:gd name="connsiteX83" fmla="*/ 81242 w 2048870"/>
                <a:gd name="connsiteY83" fmla="*/ 473621 h 1410492"/>
                <a:gd name="connsiteX84" fmla="*/ 77785 w 2048870"/>
                <a:gd name="connsiteY84" fmla="*/ 478806 h 1410492"/>
                <a:gd name="connsiteX85" fmla="*/ 79513 w 2048870"/>
                <a:gd name="connsiteY85" fmla="*/ 485721 h 1410492"/>
                <a:gd name="connsiteX86" fmla="*/ 72599 w 2048870"/>
                <a:gd name="connsiteY86" fmla="*/ 489178 h 1410492"/>
                <a:gd name="connsiteX87" fmla="*/ 63957 w 2048870"/>
                <a:gd name="connsiteY87" fmla="*/ 487449 h 1410492"/>
                <a:gd name="connsiteX88" fmla="*/ 76056 w 2048870"/>
                <a:gd name="connsiteY88" fmla="*/ 485721 h 1410492"/>
                <a:gd name="connsiteX89" fmla="*/ 86428 w 2048870"/>
                <a:gd name="connsiteY89" fmla="*/ 483992 h 1410492"/>
                <a:gd name="connsiteX90" fmla="*/ 84699 w 2048870"/>
                <a:gd name="connsiteY90" fmla="*/ 494363 h 1410492"/>
                <a:gd name="connsiteX91" fmla="*/ 86428 w 2048870"/>
                <a:gd name="connsiteY91" fmla="*/ 501277 h 1410492"/>
                <a:gd name="connsiteX92" fmla="*/ 96799 w 2048870"/>
                <a:gd name="connsiteY92" fmla="*/ 515106 h 1410492"/>
                <a:gd name="connsiteX93" fmla="*/ 101985 w 2048870"/>
                <a:gd name="connsiteY93" fmla="*/ 516834 h 1410492"/>
                <a:gd name="connsiteX94" fmla="*/ 114084 w 2048870"/>
                <a:gd name="connsiteY94" fmla="*/ 520291 h 1410492"/>
                <a:gd name="connsiteX95" fmla="*/ 119270 w 2048870"/>
                <a:gd name="connsiteY95" fmla="*/ 525477 h 1410492"/>
                <a:gd name="connsiteX96" fmla="*/ 133098 w 2048870"/>
                <a:gd name="connsiteY96" fmla="*/ 535848 h 1410492"/>
                <a:gd name="connsiteX97" fmla="*/ 136555 w 2048870"/>
                <a:gd name="connsiteY97" fmla="*/ 542762 h 1410492"/>
                <a:gd name="connsiteX98" fmla="*/ 134827 w 2048870"/>
                <a:gd name="connsiteY98" fmla="*/ 572148 h 1410492"/>
                <a:gd name="connsiteX99" fmla="*/ 140012 w 2048870"/>
                <a:gd name="connsiteY99" fmla="*/ 573876 h 1410492"/>
                <a:gd name="connsiteX100" fmla="*/ 143470 w 2048870"/>
                <a:gd name="connsiteY100" fmla="*/ 577333 h 1410492"/>
                <a:gd name="connsiteX101" fmla="*/ 146927 w 2048870"/>
                <a:gd name="connsiteY101" fmla="*/ 589433 h 1410492"/>
                <a:gd name="connsiteX102" fmla="*/ 150384 w 2048870"/>
                <a:gd name="connsiteY102" fmla="*/ 598076 h 1410492"/>
                <a:gd name="connsiteX103" fmla="*/ 148655 w 2048870"/>
                <a:gd name="connsiteY103" fmla="*/ 617090 h 1410492"/>
                <a:gd name="connsiteX104" fmla="*/ 146927 w 2048870"/>
                <a:gd name="connsiteY104" fmla="*/ 622276 h 1410492"/>
                <a:gd name="connsiteX105" fmla="*/ 141741 w 2048870"/>
                <a:gd name="connsiteY105" fmla="*/ 627461 h 1410492"/>
                <a:gd name="connsiteX106" fmla="*/ 136555 w 2048870"/>
                <a:gd name="connsiteY106" fmla="*/ 634375 h 1410492"/>
                <a:gd name="connsiteX107" fmla="*/ 120999 w 2048870"/>
                <a:gd name="connsiteY107" fmla="*/ 639561 h 1410492"/>
                <a:gd name="connsiteX108" fmla="*/ 95070 w 2048870"/>
                <a:gd name="connsiteY108" fmla="*/ 665489 h 1410492"/>
                <a:gd name="connsiteX109" fmla="*/ 89885 w 2048870"/>
                <a:gd name="connsiteY109" fmla="*/ 670675 h 1410492"/>
                <a:gd name="connsiteX110" fmla="*/ 86428 w 2048870"/>
                <a:gd name="connsiteY110" fmla="*/ 675860 h 1410492"/>
                <a:gd name="connsiteX111" fmla="*/ 81242 w 2048870"/>
                <a:gd name="connsiteY111" fmla="*/ 677589 h 1410492"/>
                <a:gd name="connsiteX112" fmla="*/ 77785 w 2048870"/>
                <a:gd name="connsiteY112" fmla="*/ 682775 h 1410492"/>
                <a:gd name="connsiteX113" fmla="*/ 63957 w 2048870"/>
                <a:gd name="connsiteY113" fmla="*/ 689689 h 1410492"/>
                <a:gd name="connsiteX114" fmla="*/ 60499 w 2048870"/>
                <a:gd name="connsiteY114" fmla="*/ 706974 h 1410492"/>
                <a:gd name="connsiteX115" fmla="*/ 50128 w 2048870"/>
                <a:gd name="connsiteY115" fmla="*/ 720803 h 1410492"/>
                <a:gd name="connsiteX116" fmla="*/ 48400 w 2048870"/>
                <a:gd name="connsiteY116" fmla="*/ 725988 h 1410492"/>
                <a:gd name="connsiteX117" fmla="*/ 46671 w 2048870"/>
                <a:gd name="connsiteY117" fmla="*/ 732902 h 1410492"/>
                <a:gd name="connsiteX118" fmla="*/ 25929 w 2048870"/>
                <a:gd name="connsiteY118" fmla="*/ 751916 h 1410492"/>
                <a:gd name="connsiteX119" fmla="*/ 19014 w 2048870"/>
                <a:gd name="connsiteY119" fmla="*/ 776116 h 1410492"/>
                <a:gd name="connsiteX120" fmla="*/ 12100 w 2048870"/>
                <a:gd name="connsiteY120" fmla="*/ 789944 h 1410492"/>
                <a:gd name="connsiteX121" fmla="*/ 17286 w 2048870"/>
                <a:gd name="connsiteY121" fmla="*/ 822787 h 1410492"/>
                <a:gd name="connsiteX122" fmla="*/ 25929 w 2048870"/>
                <a:gd name="connsiteY122" fmla="*/ 829701 h 1410492"/>
                <a:gd name="connsiteX123" fmla="*/ 29386 w 2048870"/>
                <a:gd name="connsiteY123" fmla="*/ 838344 h 1410492"/>
                <a:gd name="connsiteX124" fmla="*/ 36300 w 2048870"/>
                <a:gd name="connsiteY124" fmla="*/ 843529 h 1410492"/>
                <a:gd name="connsiteX125" fmla="*/ 38028 w 2048870"/>
                <a:gd name="connsiteY125" fmla="*/ 852172 h 1410492"/>
                <a:gd name="connsiteX126" fmla="*/ 43214 w 2048870"/>
                <a:gd name="connsiteY126" fmla="*/ 864272 h 1410492"/>
                <a:gd name="connsiteX127" fmla="*/ 44943 w 2048870"/>
                <a:gd name="connsiteY127" fmla="*/ 874643 h 1410492"/>
                <a:gd name="connsiteX128" fmla="*/ 51857 w 2048870"/>
                <a:gd name="connsiteY128" fmla="*/ 876372 h 1410492"/>
                <a:gd name="connsiteX129" fmla="*/ 53585 w 2048870"/>
                <a:gd name="connsiteY129" fmla="*/ 883286 h 1410492"/>
                <a:gd name="connsiteX130" fmla="*/ 58771 w 2048870"/>
                <a:gd name="connsiteY130" fmla="*/ 886743 h 1410492"/>
                <a:gd name="connsiteX131" fmla="*/ 51857 w 2048870"/>
                <a:gd name="connsiteY131" fmla="*/ 898843 h 1410492"/>
                <a:gd name="connsiteX132" fmla="*/ 43214 w 2048870"/>
                <a:gd name="connsiteY132" fmla="*/ 904028 h 1410492"/>
                <a:gd name="connsiteX133" fmla="*/ 29386 w 2048870"/>
                <a:gd name="connsiteY133" fmla="*/ 909214 h 1410492"/>
                <a:gd name="connsiteX134" fmla="*/ 27657 w 2048870"/>
                <a:gd name="connsiteY134" fmla="*/ 919585 h 1410492"/>
                <a:gd name="connsiteX135" fmla="*/ 25929 w 2048870"/>
                <a:gd name="connsiteY135" fmla="*/ 926499 h 1410492"/>
                <a:gd name="connsiteX136" fmla="*/ 19014 w 2048870"/>
                <a:gd name="connsiteY136" fmla="*/ 955885 h 1410492"/>
                <a:gd name="connsiteX137" fmla="*/ 10372 w 2048870"/>
                <a:gd name="connsiteY137" fmla="*/ 969713 h 1410492"/>
                <a:gd name="connsiteX138" fmla="*/ 8643 w 2048870"/>
                <a:gd name="connsiteY138" fmla="*/ 990455 h 1410492"/>
                <a:gd name="connsiteX139" fmla="*/ 0 w 2048870"/>
                <a:gd name="connsiteY139" fmla="*/ 999098 h 1410492"/>
                <a:gd name="connsiteX140" fmla="*/ 6915 w 2048870"/>
                <a:gd name="connsiteY140" fmla="*/ 1023298 h 1410492"/>
                <a:gd name="connsiteX141" fmla="*/ 15557 w 2048870"/>
                <a:gd name="connsiteY141" fmla="*/ 1025026 h 1410492"/>
                <a:gd name="connsiteX142" fmla="*/ 22471 w 2048870"/>
                <a:gd name="connsiteY142" fmla="*/ 1030212 h 1410492"/>
                <a:gd name="connsiteX143" fmla="*/ 27657 w 2048870"/>
                <a:gd name="connsiteY143" fmla="*/ 1031941 h 1410492"/>
                <a:gd name="connsiteX144" fmla="*/ 34571 w 2048870"/>
                <a:gd name="connsiteY144" fmla="*/ 1035398 h 1410492"/>
                <a:gd name="connsiteX145" fmla="*/ 39757 w 2048870"/>
                <a:gd name="connsiteY145" fmla="*/ 1042312 h 1410492"/>
                <a:gd name="connsiteX146" fmla="*/ 43214 w 2048870"/>
                <a:gd name="connsiteY146" fmla="*/ 1047497 h 1410492"/>
                <a:gd name="connsiteX147" fmla="*/ 53585 w 2048870"/>
                <a:gd name="connsiteY147" fmla="*/ 1052683 h 1410492"/>
                <a:gd name="connsiteX148" fmla="*/ 95070 w 2048870"/>
                <a:gd name="connsiteY148" fmla="*/ 1061326 h 1410492"/>
                <a:gd name="connsiteX149" fmla="*/ 96799 w 2048870"/>
                <a:gd name="connsiteY149" fmla="*/ 1073426 h 1410492"/>
                <a:gd name="connsiteX150" fmla="*/ 101985 w 2048870"/>
                <a:gd name="connsiteY150" fmla="*/ 1075154 h 1410492"/>
                <a:gd name="connsiteX151" fmla="*/ 112356 w 2048870"/>
                <a:gd name="connsiteY151" fmla="*/ 1066511 h 1410492"/>
                <a:gd name="connsiteX152" fmla="*/ 119270 w 2048870"/>
                <a:gd name="connsiteY152" fmla="*/ 1059597 h 1410492"/>
                <a:gd name="connsiteX153" fmla="*/ 120999 w 2048870"/>
                <a:gd name="connsiteY153" fmla="*/ 1054412 h 1410492"/>
                <a:gd name="connsiteX154" fmla="*/ 134827 w 2048870"/>
                <a:gd name="connsiteY154" fmla="*/ 1061326 h 1410492"/>
                <a:gd name="connsiteX155" fmla="*/ 141741 w 2048870"/>
                <a:gd name="connsiteY155" fmla="*/ 1063054 h 1410492"/>
                <a:gd name="connsiteX156" fmla="*/ 146927 w 2048870"/>
                <a:gd name="connsiteY156" fmla="*/ 1064783 h 1410492"/>
                <a:gd name="connsiteX157" fmla="*/ 247182 w 2048870"/>
                <a:gd name="connsiteY157" fmla="*/ 1068240 h 1410492"/>
                <a:gd name="connsiteX158" fmla="*/ 266196 w 2048870"/>
                <a:gd name="connsiteY158" fmla="*/ 1064783 h 1410492"/>
                <a:gd name="connsiteX159" fmla="*/ 276568 w 2048870"/>
                <a:gd name="connsiteY159" fmla="*/ 1059597 h 1410492"/>
                <a:gd name="connsiteX160" fmla="*/ 285210 w 2048870"/>
                <a:gd name="connsiteY160" fmla="*/ 1049226 h 1410492"/>
                <a:gd name="connsiteX161" fmla="*/ 295581 w 2048870"/>
                <a:gd name="connsiteY161" fmla="*/ 1052683 h 1410492"/>
                <a:gd name="connsiteX162" fmla="*/ 299039 w 2048870"/>
                <a:gd name="connsiteY162" fmla="*/ 1059597 h 1410492"/>
                <a:gd name="connsiteX163" fmla="*/ 312867 w 2048870"/>
                <a:gd name="connsiteY163" fmla="*/ 1071697 h 1410492"/>
                <a:gd name="connsiteX164" fmla="*/ 338795 w 2048870"/>
                <a:gd name="connsiteY164" fmla="*/ 1078611 h 1410492"/>
                <a:gd name="connsiteX165" fmla="*/ 361266 w 2048870"/>
                <a:gd name="connsiteY165" fmla="*/ 1075154 h 1410492"/>
                <a:gd name="connsiteX166" fmla="*/ 362995 w 2048870"/>
                <a:gd name="connsiteY166" fmla="*/ 1068240 h 1410492"/>
                <a:gd name="connsiteX167" fmla="*/ 373366 w 2048870"/>
                <a:gd name="connsiteY167" fmla="*/ 1050955 h 1410492"/>
                <a:gd name="connsiteX168" fmla="*/ 378552 w 2048870"/>
                <a:gd name="connsiteY168" fmla="*/ 1045769 h 1410492"/>
                <a:gd name="connsiteX169" fmla="*/ 397566 w 2048870"/>
                <a:gd name="connsiteY169" fmla="*/ 1038855 h 1410492"/>
                <a:gd name="connsiteX170" fmla="*/ 432137 w 2048870"/>
                <a:gd name="connsiteY170" fmla="*/ 1035398 h 1410492"/>
                <a:gd name="connsiteX171" fmla="*/ 444236 w 2048870"/>
                <a:gd name="connsiteY171" fmla="*/ 1031941 h 1410492"/>
                <a:gd name="connsiteX172" fmla="*/ 447693 w 2048870"/>
                <a:gd name="connsiteY172" fmla="*/ 1025026 h 1410492"/>
                <a:gd name="connsiteX173" fmla="*/ 452879 w 2048870"/>
                <a:gd name="connsiteY173" fmla="*/ 1021569 h 1410492"/>
                <a:gd name="connsiteX174" fmla="*/ 468436 w 2048870"/>
                <a:gd name="connsiteY174" fmla="*/ 1011198 h 1410492"/>
                <a:gd name="connsiteX175" fmla="*/ 473622 w 2048870"/>
                <a:gd name="connsiteY175" fmla="*/ 999098 h 1410492"/>
                <a:gd name="connsiteX176" fmla="*/ 478807 w 2048870"/>
                <a:gd name="connsiteY176" fmla="*/ 986998 h 1410492"/>
                <a:gd name="connsiteX177" fmla="*/ 485721 w 2048870"/>
                <a:gd name="connsiteY177" fmla="*/ 980084 h 1410492"/>
                <a:gd name="connsiteX178" fmla="*/ 489178 w 2048870"/>
                <a:gd name="connsiteY178" fmla="*/ 974899 h 1410492"/>
                <a:gd name="connsiteX179" fmla="*/ 511650 w 2048870"/>
                <a:gd name="connsiteY179" fmla="*/ 955885 h 1410492"/>
                <a:gd name="connsiteX180" fmla="*/ 530664 w 2048870"/>
                <a:gd name="connsiteY180" fmla="*/ 947242 h 1410492"/>
                <a:gd name="connsiteX181" fmla="*/ 537578 w 2048870"/>
                <a:gd name="connsiteY181" fmla="*/ 933414 h 1410492"/>
                <a:gd name="connsiteX182" fmla="*/ 539306 w 2048870"/>
                <a:gd name="connsiteY182" fmla="*/ 928228 h 1410492"/>
                <a:gd name="connsiteX183" fmla="*/ 541035 w 2048870"/>
                <a:gd name="connsiteY183" fmla="*/ 921314 h 1410492"/>
                <a:gd name="connsiteX184" fmla="*/ 563506 w 2048870"/>
                <a:gd name="connsiteY184" fmla="*/ 917857 h 1410492"/>
                <a:gd name="connsiteX185" fmla="*/ 568692 w 2048870"/>
                <a:gd name="connsiteY185" fmla="*/ 916128 h 1410492"/>
                <a:gd name="connsiteX186" fmla="*/ 584248 w 2048870"/>
                <a:gd name="connsiteY186" fmla="*/ 914400 h 1410492"/>
                <a:gd name="connsiteX187" fmla="*/ 589434 w 2048870"/>
                <a:gd name="connsiteY187" fmla="*/ 910942 h 1410492"/>
                <a:gd name="connsiteX188" fmla="*/ 599805 w 2048870"/>
                <a:gd name="connsiteY188" fmla="*/ 905757 h 1410492"/>
                <a:gd name="connsiteX189" fmla="*/ 604991 w 2048870"/>
                <a:gd name="connsiteY189" fmla="*/ 900571 h 1410492"/>
                <a:gd name="connsiteX190" fmla="*/ 606719 w 2048870"/>
                <a:gd name="connsiteY190" fmla="*/ 895386 h 1410492"/>
                <a:gd name="connsiteX191" fmla="*/ 615362 w 2048870"/>
                <a:gd name="connsiteY191" fmla="*/ 891928 h 1410492"/>
                <a:gd name="connsiteX192" fmla="*/ 620548 w 2048870"/>
                <a:gd name="connsiteY192" fmla="*/ 886743 h 1410492"/>
                <a:gd name="connsiteX193" fmla="*/ 639562 w 2048870"/>
                <a:gd name="connsiteY193" fmla="*/ 879829 h 1410492"/>
                <a:gd name="connsiteX194" fmla="*/ 653390 w 2048870"/>
                <a:gd name="connsiteY194" fmla="*/ 883286 h 1410492"/>
                <a:gd name="connsiteX195" fmla="*/ 660304 w 2048870"/>
                <a:gd name="connsiteY195" fmla="*/ 885014 h 1410492"/>
                <a:gd name="connsiteX196" fmla="*/ 668947 w 2048870"/>
                <a:gd name="connsiteY196" fmla="*/ 886743 h 1410492"/>
                <a:gd name="connsiteX197" fmla="*/ 675861 w 2048870"/>
                <a:gd name="connsiteY197" fmla="*/ 890200 h 1410492"/>
                <a:gd name="connsiteX198" fmla="*/ 682775 w 2048870"/>
                <a:gd name="connsiteY198" fmla="*/ 891928 h 1410492"/>
                <a:gd name="connsiteX199" fmla="*/ 687961 w 2048870"/>
                <a:gd name="connsiteY199" fmla="*/ 895386 h 1410492"/>
                <a:gd name="connsiteX200" fmla="*/ 700061 w 2048870"/>
                <a:gd name="connsiteY200" fmla="*/ 898843 h 1410492"/>
                <a:gd name="connsiteX201" fmla="*/ 706975 w 2048870"/>
                <a:gd name="connsiteY201" fmla="*/ 904028 h 1410492"/>
                <a:gd name="connsiteX202" fmla="*/ 720803 w 2048870"/>
                <a:gd name="connsiteY202" fmla="*/ 907485 h 1410492"/>
                <a:gd name="connsiteX203" fmla="*/ 727718 w 2048870"/>
                <a:gd name="connsiteY203" fmla="*/ 905757 h 1410492"/>
                <a:gd name="connsiteX204" fmla="*/ 736360 w 2048870"/>
                <a:gd name="connsiteY204" fmla="*/ 904028 h 1410492"/>
                <a:gd name="connsiteX205" fmla="*/ 738089 w 2048870"/>
                <a:gd name="connsiteY205" fmla="*/ 910942 h 1410492"/>
                <a:gd name="connsiteX206" fmla="*/ 760560 w 2048870"/>
                <a:gd name="connsiteY206" fmla="*/ 904028 h 1410492"/>
                <a:gd name="connsiteX207" fmla="*/ 770931 w 2048870"/>
                <a:gd name="connsiteY207" fmla="*/ 895386 h 1410492"/>
                <a:gd name="connsiteX208" fmla="*/ 776117 w 2048870"/>
                <a:gd name="connsiteY208" fmla="*/ 909214 h 1410492"/>
                <a:gd name="connsiteX209" fmla="*/ 783031 w 2048870"/>
                <a:gd name="connsiteY209" fmla="*/ 914400 h 1410492"/>
                <a:gd name="connsiteX210" fmla="*/ 788217 w 2048870"/>
                <a:gd name="connsiteY210" fmla="*/ 919585 h 1410492"/>
                <a:gd name="connsiteX211" fmla="*/ 793402 w 2048870"/>
                <a:gd name="connsiteY211" fmla="*/ 923042 h 1410492"/>
                <a:gd name="connsiteX212" fmla="*/ 798588 w 2048870"/>
                <a:gd name="connsiteY212" fmla="*/ 928228 h 1410492"/>
                <a:gd name="connsiteX213" fmla="*/ 815873 w 2048870"/>
                <a:gd name="connsiteY213" fmla="*/ 935142 h 1410492"/>
                <a:gd name="connsiteX214" fmla="*/ 821059 w 2048870"/>
                <a:gd name="connsiteY214" fmla="*/ 926499 h 1410492"/>
                <a:gd name="connsiteX215" fmla="*/ 824516 w 2048870"/>
                <a:gd name="connsiteY215" fmla="*/ 910942 h 1410492"/>
                <a:gd name="connsiteX216" fmla="*/ 833159 w 2048870"/>
                <a:gd name="connsiteY216" fmla="*/ 912671 h 1410492"/>
                <a:gd name="connsiteX217" fmla="*/ 838344 w 2048870"/>
                <a:gd name="connsiteY217" fmla="*/ 926499 h 1410492"/>
                <a:gd name="connsiteX218" fmla="*/ 841802 w 2048870"/>
                <a:gd name="connsiteY218" fmla="*/ 929956 h 1410492"/>
                <a:gd name="connsiteX219" fmla="*/ 850444 w 2048870"/>
                <a:gd name="connsiteY219" fmla="*/ 948970 h 1410492"/>
                <a:gd name="connsiteX220" fmla="*/ 853901 w 2048870"/>
                <a:gd name="connsiteY220" fmla="*/ 954156 h 1410492"/>
                <a:gd name="connsiteX221" fmla="*/ 859087 w 2048870"/>
                <a:gd name="connsiteY221" fmla="*/ 988727 h 1410492"/>
                <a:gd name="connsiteX222" fmla="*/ 864273 w 2048870"/>
                <a:gd name="connsiteY222" fmla="*/ 1009469 h 1410492"/>
                <a:gd name="connsiteX223" fmla="*/ 878101 w 2048870"/>
                <a:gd name="connsiteY223" fmla="*/ 1012927 h 1410492"/>
                <a:gd name="connsiteX224" fmla="*/ 885015 w 2048870"/>
                <a:gd name="connsiteY224" fmla="*/ 1016384 h 1410492"/>
                <a:gd name="connsiteX225" fmla="*/ 888472 w 2048870"/>
                <a:gd name="connsiteY225" fmla="*/ 1021569 h 1410492"/>
                <a:gd name="connsiteX226" fmla="*/ 900572 w 2048870"/>
                <a:gd name="connsiteY226" fmla="*/ 1026755 h 1410492"/>
                <a:gd name="connsiteX227" fmla="*/ 905758 w 2048870"/>
                <a:gd name="connsiteY227" fmla="*/ 1033669 h 1410492"/>
                <a:gd name="connsiteX228" fmla="*/ 909215 w 2048870"/>
                <a:gd name="connsiteY228" fmla="*/ 1040583 h 1410492"/>
                <a:gd name="connsiteX229" fmla="*/ 912672 w 2048870"/>
                <a:gd name="connsiteY229" fmla="*/ 1045769 h 1410492"/>
                <a:gd name="connsiteX230" fmla="*/ 921315 w 2048870"/>
                <a:gd name="connsiteY230" fmla="*/ 1061326 h 1410492"/>
                <a:gd name="connsiteX231" fmla="*/ 928229 w 2048870"/>
                <a:gd name="connsiteY231" fmla="*/ 1082068 h 1410492"/>
                <a:gd name="connsiteX232" fmla="*/ 929957 w 2048870"/>
                <a:gd name="connsiteY232" fmla="*/ 1088983 h 1410492"/>
                <a:gd name="connsiteX233" fmla="*/ 940329 w 2048870"/>
                <a:gd name="connsiteY233" fmla="*/ 1095897 h 1410492"/>
                <a:gd name="connsiteX234" fmla="*/ 959343 w 2048870"/>
                <a:gd name="connsiteY234" fmla="*/ 1097625 h 1410492"/>
                <a:gd name="connsiteX235" fmla="*/ 967985 w 2048870"/>
                <a:gd name="connsiteY235" fmla="*/ 1101082 h 1410492"/>
                <a:gd name="connsiteX236" fmla="*/ 973171 w 2048870"/>
                <a:gd name="connsiteY236" fmla="*/ 1106268 h 1410492"/>
                <a:gd name="connsiteX237" fmla="*/ 978357 w 2048870"/>
                <a:gd name="connsiteY237" fmla="*/ 1109725 h 1410492"/>
                <a:gd name="connsiteX238" fmla="*/ 983542 w 2048870"/>
                <a:gd name="connsiteY238" fmla="*/ 1118368 h 1410492"/>
                <a:gd name="connsiteX239" fmla="*/ 985271 w 2048870"/>
                <a:gd name="connsiteY239" fmla="*/ 1132196 h 1410492"/>
                <a:gd name="connsiteX240" fmla="*/ 992185 w 2048870"/>
                <a:gd name="connsiteY240" fmla="*/ 1139110 h 1410492"/>
                <a:gd name="connsiteX241" fmla="*/ 1006013 w 2048870"/>
                <a:gd name="connsiteY241" fmla="*/ 1147753 h 1410492"/>
                <a:gd name="connsiteX242" fmla="*/ 1019842 w 2048870"/>
                <a:gd name="connsiteY242" fmla="*/ 1165038 h 1410492"/>
                <a:gd name="connsiteX243" fmla="*/ 1012927 w 2048870"/>
                <a:gd name="connsiteY243" fmla="*/ 1168496 h 1410492"/>
                <a:gd name="connsiteX244" fmla="*/ 1009470 w 2048870"/>
                <a:gd name="connsiteY244" fmla="*/ 1173681 h 1410492"/>
                <a:gd name="connsiteX245" fmla="*/ 997371 w 2048870"/>
                <a:gd name="connsiteY245" fmla="*/ 1177138 h 1410492"/>
                <a:gd name="connsiteX246" fmla="*/ 990456 w 2048870"/>
                <a:gd name="connsiteY246" fmla="*/ 1182324 h 1410492"/>
                <a:gd name="connsiteX247" fmla="*/ 973171 w 2048870"/>
                <a:gd name="connsiteY247" fmla="*/ 1182324 h 1410492"/>
                <a:gd name="connsiteX248" fmla="*/ 971442 w 2048870"/>
                <a:gd name="connsiteY248" fmla="*/ 1161581 h 1410492"/>
                <a:gd name="connsiteX249" fmla="*/ 962800 w 2048870"/>
                <a:gd name="connsiteY249" fmla="*/ 1171953 h 1410492"/>
                <a:gd name="connsiteX250" fmla="*/ 959343 w 2048870"/>
                <a:gd name="connsiteY250" fmla="*/ 1178867 h 1410492"/>
                <a:gd name="connsiteX251" fmla="*/ 955885 w 2048870"/>
                <a:gd name="connsiteY251" fmla="*/ 1184052 h 1410492"/>
                <a:gd name="connsiteX252" fmla="*/ 947243 w 2048870"/>
                <a:gd name="connsiteY252" fmla="*/ 1187510 h 1410492"/>
                <a:gd name="connsiteX253" fmla="*/ 940329 w 2048870"/>
                <a:gd name="connsiteY253" fmla="*/ 1190967 h 1410492"/>
                <a:gd name="connsiteX254" fmla="*/ 935143 w 2048870"/>
                <a:gd name="connsiteY254" fmla="*/ 1189238 h 1410492"/>
                <a:gd name="connsiteX255" fmla="*/ 929957 w 2048870"/>
                <a:gd name="connsiteY255" fmla="*/ 1171953 h 1410492"/>
                <a:gd name="connsiteX256" fmla="*/ 926500 w 2048870"/>
                <a:gd name="connsiteY256" fmla="*/ 1165038 h 1410492"/>
                <a:gd name="connsiteX257" fmla="*/ 921315 w 2048870"/>
                <a:gd name="connsiteY257" fmla="*/ 1178867 h 1410492"/>
                <a:gd name="connsiteX258" fmla="*/ 917857 w 2048870"/>
                <a:gd name="connsiteY258" fmla="*/ 1182324 h 1410492"/>
                <a:gd name="connsiteX259" fmla="*/ 914400 w 2048870"/>
                <a:gd name="connsiteY259" fmla="*/ 1194424 h 1410492"/>
                <a:gd name="connsiteX260" fmla="*/ 909215 w 2048870"/>
                <a:gd name="connsiteY260" fmla="*/ 1199609 h 1410492"/>
                <a:gd name="connsiteX261" fmla="*/ 886744 w 2048870"/>
                <a:gd name="connsiteY261" fmla="*/ 1180595 h 1410492"/>
                <a:gd name="connsiteX262" fmla="*/ 883287 w 2048870"/>
                <a:gd name="connsiteY262" fmla="*/ 1189238 h 1410492"/>
                <a:gd name="connsiteX263" fmla="*/ 879830 w 2048870"/>
                <a:gd name="connsiteY263" fmla="*/ 1194424 h 1410492"/>
                <a:gd name="connsiteX264" fmla="*/ 874644 w 2048870"/>
                <a:gd name="connsiteY264" fmla="*/ 1204795 h 1410492"/>
                <a:gd name="connsiteX265" fmla="*/ 879830 w 2048870"/>
                <a:gd name="connsiteY265" fmla="*/ 1211709 h 1410492"/>
                <a:gd name="connsiteX266" fmla="*/ 890201 w 2048870"/>
                <a:gd name="connsiteY266" fmla="*/ 1215166 h 1410492"/>
                <a:gd name="connsiteX267" fmla="*/ 893658 w 2048870"/>
                <a:gd name="connsiteY267" fmla="*/ 1235909 h 1410492"/>
                <a:gd name="connsiteX268" fmla="*/ 891929 w 2048870"/>
                <a:gd name="connsiteY268" fmla="*/ 1258380 h 1410492"/>
                <a:gd name="connsiteX269" fmla="*/ 890201 w 2048870"/>
                <a:gd name="connsiteY269" fmla="*/ 1263565 h 1410492"/>
                <a:gd name="connsiteX270" fmla="*/ 878101 w 2048870"/>
                <a:gd name="connsiteY270" fmla="*/ 1275665 h 1410492"/>
                <a:gd name="connsiteX271" fmla="*/ 871187 w 2048870"/>
                <a:gd name="connsiteY271" fmla="*/ 1282579 h 1410492"/>
                <a:gd name="connsiteX272" fmla="*/ 876372 w 2048870"/>
                <a:gd name="connsiteY272" fmla="*/ 1287765 h 1410492"/>
                <a:gd name="connsiteX273" fmla="*/ 874644 w 2048870"/>
                <a:gd name="connsiteY273" fmla="*/ 1306779 h 1410492"/>
                <a:gd name="connsiteX274" fmla="*/ 869458 w 2048870"/>
                <a:gd name="connsiteY274" fmla="*/ 1308508 h 1410492"/>
                <a:gd name="connsiteX275" fmla="*/ 864273 w 2048870"/>
                <a:gd name="connsiteY275" fmla="*/ 1320607 h 1410492"/>
                <a:gd name="connsiteX276" fmla="*/ 862544 w 2048870"/>
                <a:gd name="connsiteY276" fmla="*/ 1360364 h 1410492"/>
                <a:gd name="connsiteX277" fmla="*/ 857358 w 2048870"/>
                <a:gd name="connsiteY277" fmla="*/ 1363821 h 1410492"/>
                <a:gd name="connsiteX278" fmla="*/ 852173 w 2048870"/>
                <a:gd name="connsiteY278" fmla="*/ 1365550 h 1410492"/>
                <a:gd name="connsiteX279" fmla="*/ 850444 w 2048870"/>
                <a:gd name="connsiteY279" fmla="*/ 1370735 h 1410492"/>
                <a:gd name="connsiteX280" fmla="*/ 838344 w 2048870"/>
                <a:gd name="connsiteY280" fmla="*/ 1379378 h 1410492"/>
                <a:gd name="connsiteX281" fmla="*/ 841802 w 2048870"/>
                <a:gd name="connsiteY281" fmla="*/ 1389749 h 1410492"/>
                <a:gd name="connsiteX282" fmla="*/ 845259 w 2048870"/>
                <a:gd name="connsiteY282" fmla="*/ 1398392 h 1410492"/>
                <a:gd name="connsiteX283" fmla="*/ 852173 w 2048870"/>
                <a:gd name="connsiteY283" fmla="*/ 1403578 h 1410492"/>
                <a:gd name="connsiteX284" fmla="*/ 859087 w 2048870"/>
                <a:gd name="connsiteY284" fmla="*/ 1410492 h 1410492"/>
                <a:gd name="connsiteX285" fmla="*/ 885015 w 2048870"/>
                <a:gd name="connsiteY285" fmla="*/ 1408763 h 1410492"/>
                <a:gd name="connsiteX286" fmla="*/ 890201 w 2048870"/>
                <a:gd name="connsiteY286" fmla="*/ 1403578 h 1410492"/>
                <a:gd name="connsiteX287" fmla="*/ 905758 w 2048870"/>
                <a:gd name="connsiteY287" fmla="*/ 1396663 h 1410492"/>
                <a:gd name="connsiteX288" fmla="*/ 921315 w 2048870"/>
                <a:gd name="connsiteY288" fmla="*/ 1388021 h 1410492"/>
                <a:gd name="connsiteX289" fmla="*/ 919586 w 2048870"/>
                <a:gd name="connsiteY289" fmla="*/ 1382835 h 1410492"/>
                <a:gd name="connsiteX290" fmla="*/ 938600 w 2048870"/>
                <a:gd name="connsiteY290" fmla="*/ 1367278 h 1410492"/>
                <a:gd name="connsiteX291" fmla="*/ 943786 w 2048870"/>
                <a:gd name="connsiteY291" fmla="*/ 1362093 h 1410492"/>
                <a:gd name="connsiteX292" fmla="*/ 954157 w 2048870"/>
                <a:gd name="connsiteY292" fmla="*/ 1360364 h 1410492"/>
                <a:gd name="connsiteX293" fmla="*/ 993913 w 2048870"/>
                <a:gd name="connsiteY293" fmla="*/ 1356907 h 1410492"/>
                <a:gd name="connsiteX294" fmla="*/ 997371 w 2048870"/>
                <a:gd name="connsiteY294" fmla="*/ 1349993 h 1410492"/>
                <a:gd name="connsiteX295" fmla="*/ 1009470 w 2048870"/>
                <a:gd name="connsiteY295" fmla="*/ 1344807 h 1410492"/>
                <a:gd name="connsiteX296" fmla="*/ 997371 w 2048870"/>
                <a:gd name="connsiteY296" fmla="*/ 1334436 h 1410492"/>
                <a:gd name="connsiteX297" fmla="*/ 993913 w 2048870"/>
                <a:gd name="connsiteY297" fmla="*/ 1327522 h 1410492"/>
                <a:gd name="connsiteX298" fmla="*/ 988728 w 2048870"/>
                <a:gd name="connsiteY298" fmla="*/ 1322336 h 1410492"/>
                <a:gd name="connsiteX299" fmla="*/ 985271 w 2048870"/>
                <a:gd name="connsiteY299" fmla="*/ 1310236 h 1410492"/>
                <a:gd name="connsiteX300" fmla="*/ 981814 w 2048870"/>
                <a:gd name="connsiteY300" fmla="*/ 1299865 h 1410492"/>
                <a:gd name="connsiteX301" fmla="*/ 990456 w 2048870"/>
                <a:gd name="connsiteY301" fmla="*/ 1287765 h 1410492"/>
                <a:gd name="connsiteX302" fmla="*/ 992185 w 2048870"/>
                <a:gd name="connsiteY302" fmla="*/ 1292951 h 1410492"/>
                <a:gd name="connsiteX303" fmla="*/ 1014656 w 2048870"/>
                <a:gd name="connsiteY303" fmla="*/ 1299865 h 1410492"/>
                <a:gd name="connsiteX304" fmla="*/ 1016385 w 2048870"/>
                <a:gd name="connsiteY304" fmla="*/ 1294679 h 1410492"/>
                <a:gd name="connsiteX305" fmla="*/ 1018113 w 2048870"/>
                <a:gd name="connsiteY305" fmla="*/ 1284308 h 1410492"/>
                <a:gd name="connsiteX306" fmla="*/ 1031941 w 2048870"/>
                <a:gd name="connsiteY306" fmla="*/ 1270480 h 1410492"/>
                <a:gd name="connsiteX307" fmla="*/ 1037127 w 2048870"/>
                <a:gd name="connsiteY307" fmla="*/ 1265294 h 1410492"/>
                <a:gd name="connsiteX308" fmla="*/ 1038856 w 2048870"/>
                <a:gd name="connsiteY308" fmla="*/ 1260108 h 1410492"/>
                <a:gd name="connsiteX309" fmla="*/ 1054412 w 2048870"/>
                <a:gd name="connsiteY309" fmla="*/ 1251466 h 1410492"/>
                <a:gd name="connsiteX310" fmla="*/ 1063055 w 2048870"/>
                <a:gd name="connsiteY310" fmla="*/ 1242823 h 1410492"/>
                <a:gd name="connsiteX311" fmla="*/ 1068241 w 2048870"/>
                <a:gd name="connsiteY311" fmla="*/ 1223809 h 1410492"/>
                <a:gd name="connsiteX312" fmla="*/ 1069969 w 2048870"/>
                <a:gd name="connsiteY312" fmla="*/ 1215166 h 1410492"/>
                <a:gd name="connsiteX313" fmla="*/ 1075155 w 2048870"/>
                <a:gd name="connsiteY313" fmla="*/ 1201338 h 1410492"/>
                <a:gd name="connsiteX314" fmla="*/ 1080341 w 2048870"/>
                <a:gd name="connsiteY314" fmla="*/ 1175410 h 1410492"/>
                <a:gd name="connsiteX315" fmla="*/ 1082069 w 2048870"/>
                <a:gd name="connsiteY315" fmla="*/ 1170224 h 1410492"/>
                <a:gd name="connsiteX316" fmla="*/ 1083798 w 2048870"/>
                <a:gd name="connsiteY316" fmla="*/ 1161581 h 1410492"/>
                <a:gd name="connsiteX317" fmla="*/ 1085526 w 2048870"/>
                <a:gd name="connsiteY317" fmla="*/ 1156396 h 1410492"/>
                <a:gd name="connsiteX318" fmla="*/ 1087255 w 2048870"/>
                <a:gd name="connsiteY318" fmla="*/ 1147753 h 1410492"/>
                <a:gd name="connsiteX319" fmla="*/ 1097626 w 2048870"/>
                <a:gd name="connsiteY319" fmla="*/ 1128739 h 1410492"/>
                <a:gd name="connsiteX320" fmla="*/ 1099355 w 2048870"/>
                <a:gd name="connsiteY320" fmla="*/ 1111454 h 1410492"/>
                <a:gd name="connsiteX321" fmla="*/ 1106269 w 2048870"/>
                <a:gd name="connsiteY321" fmla="*/ 1097625 h 1410492"/>
                <a:gd name="connsiteX322" fmla="*/ 1111454 w 2048870"/>
                <a:gd name="connsiteY322" fmla="*/ 1095897 h 1410492"/>
                <a:gd name="connsiteX323" fmla="*/ 1127011 w 2048870"/>
                <a:gd name="connsiteY323" fmla="*/ 1094168 h 1410492"/>
                <a:gd name="connsiteX324" fmla="*/ 1132197 w 2048870"/>
                <a:gd name="connsiteY324" fmla="*/ 1088983 h 1410492"/>
                <a:gd name="connsiteX325" fmla="*/ 1166768 w 2048870"/>
                <a:gd name="connsiteY325" fmla="*/ 1083797 h 1410492"/>
                <a:gd name="connsiteX326" fmla="*/ 1175411 w 2048870"/>
                <a:gd name="connsiteY326" fmla="*/ 1073426 h 1410492"/>
                <a:gd name="connsiteX327" fmla="*/ 1177139 w 2048870"/>
                <a:gd name="connsiteY327" fmla="*/ 1061326 h 1410492"/>
                <a:gd name="connsiteX328" fmla="*/ 1170225 w 2048870"/>
                <a:gd name="connsiteY328" fmla="*/ 1047497 h 1410492"/>
                <a:gd name="connsiteX329" fmla="*/ 1163311 w 2048870"/>
                <a:gd name="connsiteY329" fmla="*/ 1050955 h 1410492"/>
                <a:gd name="connsiteX330" fmla="*/ 1166768 w 2048870"/>
                <a:gd name="connsiteY330" fmla="*/ 1068240 h 1410492"/>
                <a:gd name="connsiteX331" fmla="*/ 1170225 w 2048870"/>
                <a:gd name="connsiteY331" fmla="*/ 1076883 h 1410492"/>
                <a:gd name="connsiteX332" fmla="*/ 1182325 w 2048870"/>
                <a:gd name="connsiteY332" fmla="*/ 1080340 h 1410492"/>
                <a:gd name="connsiteX333" fmla="*/ 1206524 w 2048870"/>
                <a:gd name="connsiteY333" fmla="*/ 1078611 h 1410492"/>
                <a:gd name="connsiteX334" fmla="*/ 1211710 w 2048870"/>
                <a:gd name="connsiteY334" fmla="*/ 1073426 h 1410492"/>
                <a:gd name="connsiteX335" fmla="*/ 1218624 w 2048870"/>
                <a:gd name="connsiteY335" fmla="*/ 1057869 h 1410492"/>
                <a:gd name="connsiteX336" fmla="*/ 1220353 w 2048870"/>
                <a:gd name="connsiteY336" fmla="*/ 1044040 h 1410492"/>
                <a:gd name="connsiteX337" fmla="*/ 1218624 w 2048870"/>
                <a:gd name="connsiteY337" fmla="*/ 1014655 h 1410492"/>
                <a:gd name="connsiteX338" fmla="*/ 1211710 w 2048870"/>
                <a:gd name="connsiteY338" fmla="*/ 997370 h 1410492"/>
                <a:gd name="connsiteX339" fmla="*/ 1206524 w 2048870"/>
                <a:gd name="connsiteY339" fmla="*/ 993913 h 1410492"/>
                <a:gd name="connsiteX340" fmla="*/ 1184053 w 2048870"/>
                <a:gd name="connsiteY340" fmla="*/ 973170 h 1410492"/>
                <a:gd name="connsiteX341" fmla="*/ 1173682 w 2048870"/>
                <a:gd name="connsiteY341" fmla="*/ 962799 h 1410492"/>
                <a:gd name="connsiteX342" fmla="*/ 1168496 w 2048870"/>
                <a:gd name="connsiteY342" fmla="*/ 957613 h 1410492"/>
                <a:gd name="connsiteX343" fmla="*/ 1171954 w 2048870"/>
                <a:gd name="connsiteY343" fmla="*/ 961070 h 1410492"/>
                <a:gd name="connsiteX344" fmla="*/ 1178868 w 2048870"/>
                <a:gd name="connsiteY344" fmla="*/ 971441 h 1410492"/>
                <a:gd name="connsiteX345" fmla="*/ 1185782 w 2048870"/>
                <a:gd name="connsiteY345" fmla="*/ 980084 h 1410492"/>
                <a:gd name="connsiteX346" fmla="*/ 1190968 w 2048870"/>
                <a:gd name="connsiteY346" fmla="*/ 985270 h 1410492"/>
                <a:gd name="connsiteX347" fmla="*/ 1194425 w 2048870"/>
                <a:gd name="connsiteY347" fmla="*/ 993913 h 1410492"/>
                <a:gd name="connsiteX348" fmla="*/ 1206524 w 2048870"/>
                <a:gd name="connsiteY348" fmla="*/ 1007741 h 1410492"/>
                <a:gd name="connsiteX349" fmla="*/ 1208253 w 2048870"/>
                <a:gd name="connsiteY349" fmla="*/ 1014655 h 1410492"/>
                <a:gd name="connsiteX350" fmla="*/ 1211710 w 2048870"/>
                <a:gd name="connsiteY350" fmla="*/ 1023298 h 1410492"/>
                <a:gd name="connsiteX351" fmla="*/ 1213439 w 2048870"/>
                <a:gd name="connsiteY351" fmla="*/ 1035398 h 1410492"/>
                <a:gd name="connsiteX352" fmla="*/ 1215167 w 2048870"/>
                <a:gd name="connsiteY352" fmla="*/ 1044040 h 1410492"/>
                <a:gd name="connsiteX353" fmla="*/ 1220353 w 2048870"/>
                <a:gd name="connsiteY353" fmla="*/ 1045769 h 1410492"/>
                <a:gd name="connsiteX354" fmla="*/ 1223810 w 2048870"/>
                <a:gd name="connsiteY354" fmla="*/ 1050955 h 1410492"/>
                <a:gd name="connsiteX355" fmla="*/ 1234181 w 2048870"/>
                <a:gd name="connsiteY355" fmla="*/ 1063054 h 1410492"/>
                <a:gd name="connsiteX356" fmla="*/ 1253195 w 2048870"/>
                <a:gd name="connsiteY356" fmla="*/ 1057869 h 1410492"/>
                <a:gd name="connsiteX357" fmla="*/ 1258381 w 2048870"/>
                <a:gd name="connsiteY357" fmla="*/ 1054412 h 1410492"/>
                <a:gd name="connsiteX358" fmla="*/ 1265295 w 2048870"/>
                <a:gd name="connsiteY358" fmla="*/ 1050955 h 1410492"/>
                <a:gd name="connsiteX359" fmla="*/ 1267023 w 2048870"/>
                <a:gd name="connsiteY359" fmla="*/ 1056140 h 1410492"/>
                <a:gd name="connsiteX360" fmla="*/ 1268752 w 2048870"/>
                <a:gd name="connsiteY360" fmla="*/ 1068240 h 1410492"/>
                <a:gd name="connsiteX361" fmla="*/ 1279123 w 2048870"/>
                <a:gd name="connsiteY361" fmla="*/ 1064783 h 1410492"/>
                <a:gd name="connsiteX362" fmla="*/ 1289495 w 2048870"/>
                <a:gd name="connsiteY362" fmla="*/ 1056140 h 1410492"/>
                <a:gd name="connsiteX363" fmla="*/ 1299866 w 2048870"/>
                <a:gd name="connsiteY363" fmla="*/ 1045769 h 1410492"/>
                <a:gd name="connsiteX364" fmla="*/ 1305051 w 2048870"/>
                <a:gd name="connsiteY364" fmla="*/ 1042312 h 1410492"/>
                <a:gd name="connsiteX365" fmla="*/ 1294680 w 2048870"/>
                <a:gd name="connsiteY365" fmla="*/ 1061326 h 1410492"/>
                <a:gd name="connsiteX366" fmla="*/ 1286037 w 2048870"/>
                <a:gd name="connsiteY366" fmla="*/ 1075154 h 1410492"/>
                <a:gd name="connsiteX367" fmla="*/ 1272209 w 2048870"/>
                <a:gd name="connsiteY367" fmla="*/ 1082068 h 1410492"/>
                <a:gd name="connsiteX368" fmla="*/ 1265295 w 2048870"/>
                <a:gd name="connsiteY368" fmla="*/ 1085525 h 1410492"/>
                <a:gd name="connsiteX369" fmla="*/ 1260109 w 2048870"/>
                <a:gd name="connsiteY369" fmla="*/ 1087254 h 1410492"/>
                <a:gd name="connsiteX370" fmla="*/ 1251467 w 2048870"/>
                <a:gd name="connsiteY370" fmla="*/ 1092440 h 1410492"/>
                <a:gd name="connsiteX371" fmla="*/ 1232453 w 2048870"/>
                <a:gd name="connsiteY371" fmla="*/ 1095897 h 1410492"/>
                <a:gd name="connsiteX372" fmla="*/ 1230724 w 2048870"/>
                <a:gd name="connsiteY372" fmla="*/ 1121825 h 1410492"/>
                <a:gd name="connsiteX373" fmla="*/ 1223810 w 2048870"/>
                <a:gd name="connsiteY373" fmla="*/ 1128739 h 1410492"/>
                <a:gd name="connsiteX374" fmla="*/ 1216896 w 2048870"/>
                <a:gd name="connsiteY374" fmla="*/ 1130468 h 1410492"/>
                <a:gd name="connsiteX375" fmla="*/ 1248009 w 2048870"/>
                <a:gd name="connsiteY375" fmla="*/ 1123553 h 1410492"/>
                <a:gd name="connsiteX376" fmla="*/ 1275666 w 2048870"/>
                <a:gd name="connsiteY376" fmla="*/ 1125282 h 1410492"/>
                <a:gd name="connsiteX377" fmla="*/ 1282580 w 2048870"/>
                <a:gd name="connsiteY377" fmla="*/ 1128739 h 1410492"/>
                <a:gd name="connsiteX378" fmla="*/ 1318880 w 2048870"/>
                <a:gd name="connsiteY378" fmla="*/ 1127010 h 1410492"/>
                <a:gd name="connsiteX379" fmla="*/ 1330980 w 2048870"/>
                <a:gd name="connsiteY379" fmla="*/ 1123553 h 1410492"/>
                <a:gd name="connsiteX380" fmla="*/ 1339622 w 2048870"/>
                <a:gd name="connsiteY380" fmla="*/ 1118368 h 1410492"/>
                <a:gd name="connsiteX381" fmla="*/ 1356908 w 2048870"/>
                <a:gd name="connsiteY381" fmla="*/ 1123553 h 1410492"/>
                <a:gd name="connsiteX382" fmla="*/ 1384564 w 2048870"/>
                <a:gd name="connsiteY382" fmla="*/ 1114911 h 1410492"/>
                <a:gd name="connsiteX383" fmla="*/ 1391479 w 2048870"/>
                <a:gd name="connsiteY383" fmla="*/ 1109725 h 1410492"/>
                <a:gd name="connsiteX384" fmla="*/ 1400121 w 2048870"/>
                <a:gd name="connsiteY384" fmla="*/ 1095897 h 1410492"/>
                <a:gd name="connsiteX385" fmla="*/ 1403578 w 2048870"/>
                <a:gd name="connsiteY385" fmla="*/ 1090711 h 1410492"/>
                <a:gd name="connsiteX386" fmla="*/ 1408764 w 2048870"/>
                <a:gd name="connsiteY386" fmla="*/ 1088983 h 1410492"/>
                <a:gd name="connsiteX387" fmla="*/ 1415678 w 2048870"/>
                <a:gd name="connsiteY387" fmla="*/ 1097625 h 1410492"/>
                <a:gd name="connsiteX388" fmla="*/ 1419135 w 2048870"/>
                <a:gd name="connsiteY388" fmla="*/ 1104539 h 1410492"/>
                <a:gd name="connsiteX389" fmla="*/ 1424321 w 2048870"/>
                <a:gd name="connsiteY389" fmla="*/ 1111454 h 1410492"/>
                <a:gd name="connsiteX390" fmla="*/ 1434692 w 2048870"/>
                <a:gd name="connsiteY390" fmla="*/ 1109725 h 1410492"/>
                <a:gd name="connsiteX391" fmla="*/ 1438149 w 2048870"/>
                <a:gd name="connsiteY391" fmla="*/ 1101082 h 1410492"/>
                <a:gd name="connsiteX392" fmla="*/ 1446792 w 2048870"/>
                <a:gd name="connsiteY392" fmla="*/ 1076883 h 1410492"/>
                <a:gd name="connsiteX393" fmla="*/ 1455435 w 2048870"/>
                <a:gd name="connsiteY393" fmla="*/ 1082068 h 1410492"/>
                <a:gd name="connsiteX394" fmla="*/ 1457163 w 2048870"/>
                <a:gd name="connsiteY394" fmla="*/ 1097625 h 1410492"/>
                <a:gd name="connsiteX395" fmla="*/ 1462349 w 2048870"/>
                <a:gd name="connsiteY395" fmla="*/ 1104539 h 1410492"/>
                <a:gd name="connsiteX396" fmla="*/ 1464078 w 2048870"/>
                <a:gd name="connsiteY396" fmla="*/ 1116639 h 1410492"/>
                <a:gd name="connsiteX397" fmla="*/ 1450249 w 2048870"/>
                <a:gd name="connsiteY397" fmla="*/ 1132196 h 1410492"/>
                <a:gd name="connsiteX398" fmla="*/ 1436421 w 2048870"/>
                <a:gd name="connsiteY398" fmla="*/ 1149482 h 1410492"/>
                <a:gd name="connsiteX399" fmla="*/ 1427778 w 2048870"/>
                <a:gd name="connsiteY399" fmla="*/ 1158124 h 1410492"/>
                <a:gd name="connsiteX400" fmla="*/ 1415678 w 2048870"/>
                <a:gd name="connsiteY400" fmla="*/ 1163310 h 1410492"/>
                <a:gd name="connsiteX401" fmla="*/ 1400121 w 2048870"/>
                <a:gd name="connsiteY401" fmla="*/ 1171953 h 1410492"/>
                <a:gd name="connsiteX402" fmla="*/ 1398393 w 2048870"/>
                <a:gd name="connsiteY402" fmla="*/ 1177138 h 1410492"/>
                <a:gd name="connsiteX403" fmla="*/ 1389750 w 2048870"/>
                <a:gd name="connsiteY403" fmla="*/ 1189238 h 1410492"/>
                <a:gd name="connsiteX404" fmla="*/ 1384564 w 2048870"/>
                <a:gd name="connsiteY404" fmla="*/ 1197881 h 1410492"/>
                <a:gd name="connsiteX405" fmla="*/ 1382836 w 2048870"/>
                <a:gd name="connsiteY405" fmla="*/ 1203066 h 1410492"/>
                <a:gd name="connsiteX406" fmla="*/ 1374193 w 2048870"/>
                <a:gd name="connsiteY406" fmla="*/ 1211709 h 1410492"/>
                <a:gd name="connsiteX407" fmla="*/ 1369008 w 2048870"/>
                <a:gd name="connsiteY407" fmla="*/ 1216895 h 1410492"/>
                <a:gd name="connsiteX408" fmla="*/ 1356908 w 2048870"/>
                <a:gd name="connsiteY408" fmla="*/ 1230723 h 1410492"/>
                <a:gd name="connsiteX409" fmla="*/ 1351722 w 2048870"/>
                <a:gd name="connsiteY409" fmla="*/ 1237637 h 1410492"/>
                <a:gd name="connsiteX410" fmla="*/ 1349994 w 2048870"/>
                <a:gd name="connsiteY410" fmla="*/ 1242823 h 1410492"/>
                <a:gd name="connsiteX411" fmla="*/ 1344808 w 2048870"/>
                <a:gd name="connsiteY411" fmla="*/ 1253194 h 1410492"/>
                <a:gd name="connsiteX412" fmla="*/ 1377650 w 2048870"/>
                <a:gd name="connsiteY412" fmla="*/ 1253194 h 1410492"/>
                <a:gd name="connsiteX413" fmla="*/ 1386293 w 2048870"/>
                <a:gd name="connsiteY413" fmla="*/ 1246280 h 1410492"/>
                <a:gd name="connsiteX414" fmla="*/ 1391479 w 2048870"/>
                <a:gd name="connsiteY414" fmla="*/ 1244552 h 1410492"/>
                <a:gd name="connsiteX415" fmla="*/ 1412221 w 2048870"/>
                <a:gd name="connsiteY415" fmla="*/ 1248009 h 1410492"/>
                <a:gd name="connsiteX416" fmla="*/ 1415678 w 2048870"/>
                <a:gd name="connsiteY416" fmla="*/ 1253194 h 1410492"/>
                <a:gd name="connsiteX417" fmla="*/ 1426050 w 2048870"/>
                <a:gd name="connsiteY417" fmla="*/ 1260108 h 1410492"/>
                <a:gd name="connsiteX418" fmla="*/ 1451978 w 2048870"/>
                <a:gd name="connsiteY418" fmla="*/ 1258380 h 1410492"/>
                <a:gd name="connsiteX419" fmla="*/ 1457163 w 2048870"/>
                <a:gd name="connsiteY419" fmla="*/ 1253194 h 1410492"/>
                <a:gd name="connsiteX420" fmla="*/ 1465806 w 2048870"/>
                <a:gd name="connsiteY420" fmla="*/ 1248009 h 1410492"/>
                <a:gd name="connsiteX421" fmla="*/ 1483092 w 2048870"/>
                <a:gd name="connsiteY421" fmla="*/ 1249737 h 1410492"/>
                <a:gd name="connsiteX422" fmla="*/ 1491734 w 2048870"/>
                <a:gd name="connsiteY422" fmla="*/ 1258380 h 1410492"/>
                <a:gd name="connsiteX423" fmla="*/ 1502106 w 2048870"/>
                <a:gd name="connsiteY423" fmla="*/ 1272208 h 1410492"/>
                <a:gd name="connsiteX424" fmla="*/ 1503834 w 2048870"/>
                <a:gd name="connsiteY424" fmla="*/ 1289494 h 1410492"/>
                <a:gd name="connsiteX425" fmla="*/ 1514205 w 2048870"/>
                <a:gd name="connsiteY425" fmla="*/ 1301593 h 1410492"/>
                <a:gd name="connsiteX426" fmla="*/ 1517662 w 2048870"/>
                <a:gd name="connsiteY426" fmla="*/ 1306779 h 1410492"/>
                <a:gd name="connsiteX427" fmla="*/ 1515934 w 2048870"/>
                <a:gd name="connsiteY427" fmla="*/ 1355178 h 1410492"/>
                <a:gd name="connsiteX428" fmla="*/ 1509020 w 2048870"/>
                <a:gd name="connsiteY428" fmla="*/ 1360364 h 1410492"/>
                <a:gd name="connsiteX429" fmla="*/ 1503834 w 2048870"/>
                <a:gd name="connsiteY429" fmla="*/ 1370735 h 1410492"/>
                <a:gd name="connsiteX430" fmla="*/ 1534948 w 2048870"/>
                <a:gd name="connsiteY430" fmla="*/ 1374192 h 1410492"/>
                <a:gd name="connsiteX431" fmla="*/ 1540133 w 2048870"/>
                <a:gd name="connsiteY431" fmla="*/ 1377649 h 1410492"/>
                <a:gd name="connsiteX432" fmla="*/ 1559147 w 2048870"/>
                <a:gd name="connsiteY432" fmla="*/ 1375921 h 1410492"/>
                <a:gd name="connsiteX433" fmla="*/ 1564333 w 2048870"/>
                <a:gd name="connsiteY433" fmla="*/ 1372464 h 1410492"/>
                <a:gd name="connsiteX434" fmla="*/ 1579890 w 2048870"/>
                <a:gd name="connsiteY434" fmla="*/ 1370735 h 1410492"/>
                <a:gd name="connsiteX435" fmla="*/ 1597175 w 2048870"/>
                <a:gd name="connsiteY435" fmla="*/ 1363821 h 1410492"/>
                <a:gd name="connsiteX436" fmla="*/ 1600633 w 2048870"/>
                <a:gd name="connsiteY436" fmla="*/ 1360364 h 1410492"/>
                <a:gd name="connsiteX437" fmla="*/ 1612732 w 2048870"/>
                <a:gd name="connsiteY437" fmla="*/ 1341350 h 1410492"/>
                <a:gd name="connsiteX438" fmla="*/ 1617918 w 2048870"/>
                <a:gd name="connsiteY438" fmla="*/ 1305051 h 1410492"/>
                <a:gd name="connsiteX439" fmla="*/ 1623104 w 2048870"/>
                <a:gd name="connsiteY439" fmla="*/ 1301593 h 1410492"/>
                <a:gd name="connsiteX440" fmla="*/ 1624832 w 2048870"/>
                <a:gd name="connsiteY440" fmla="*/ 1284308 h 1410492"/>
                <a:gd name="connsiteX441" fmla="*/ 1631746 w 2048870"/>
                <a:gd name="connsiteY441" fmla="*/ 1270480 h 1410492"/>
                <a:gd name="connsiteX442" fmla="*/ 1643846 w 2048870"/>
                <a:gd name="connsiteY442" fmla="*/ 1263565 h 1410492"/>
                <a:gd name="connsiteX443" fmla="*/ 1669774 w 2048870"/>
                <a:gd name="connsiteY443" fmla="*/ 1260108 h 1410492"/>
                <a:gd name="connsiteX444" fmla="*/ 1681874 w 2048870"/>
                <a:gd name="connsiteY444" fmla="*/ 1254923 h 1410492"/>
                <a:gd name="connsiteX445" fmla="*/ 1687060 w 2048870"/>
                <a:gd name="connsiteY445" fmla="*/ 1253194 h 1410492"/>
                <a:gd name="connsiteX446" fmla="*/ 1702617 w 2048870"/>
                <a:gd name="connsiteY446" fmla="*/ 1249737 h 1410492"/>
                <a:gd name="connsiteX447" fmla="*/ 1704345 w 2048870"/>
                <a:gd name="connsiteY447" fmla="*/ 1232452 h 1410492"/>
                <a:gd name="connsiteX448" fmla="*/ 1706074 w 2048870"/>
                <a:gd name="connsiteY448" fmla="*/ 1208252 h 1410492"/>
                <a:gd name="connsiteX449" fmla="*/ 1711259 w 2048870"/>
                <a:gd name="connsiteY449" fmla="*/ 1201338 h 1410492"/>
                <a:gd name="connsiteX450" fmla="*/ 1718174 w 2048870"/>
                <a:gd name="connsiteY450" fmla="*/ 1192695 h 1410492"/>
                <a:gd name="connsiteX451" fmla="*/ 1725088 w 2048870"/>
                <a:gd name="connsiteY451" fmla="*/ 1189238 h 1410492"/>
                <a:gd name="connsiteX452" fmla="*/ 1735459 w 2048870"/>
                <a:gd name="connsiteY452" fmla="*/ 1184052 h 1410492"/>
                <a:gd name="connsiteX453" fmla="*/ 1773487 w 2048870"/>
                <a:gd name="connsiteY453" fmla="*/ 1189238 h 1410492"/>
                <a:gd name="connsiteX454" fmla="*/ 1778673 w 2048870"/>
                <a:gd name="connsiteY454" fmla="*/ 1194424 h 1410492"/>
                <a:gd name="connsiteX455" fmla="*/ 1808058 w 2048870"/>
                <a:gd name="connsiteY455" fmla="*/ 1187510 h 1410492"/>
                <a:gd name="connsiteX456" fmla="*/ 1811515 w 2048870"/>
                <a:gd name="connsiteY456" fmla="*/ 1180595 h 1410492"/>
                <a:gd name="connsiteX457" fmla="*/ 1818429 w 2048870"/>
                <a:gd name="connsiteY457" fmla="*/ 1171953 h 1410492"/>
                <a:gd name="connsiteX458" fmla="*/ 1825343 w 2048870"/>
                <a:gd name="connsiteY458" fmla="*/ 1158124 h 1410492"/>
                <a:gd name="connsiteX459" fmla="*/ 1827072 w 2048870"/>
                <a:gd name="connsiteY459" fmla="*/ 1151210 h 1410492"/>
                <a:gd name="connsiteX460" fmla="*/ 1833986 w 2048870"/>
                <a:gd name="connsiteY460" fmla="*/ 1133925 h 1410492"/>
                <a:gd name="connsiteX461" fmla="*/ 1820158 w 2048870"/>
                <a:gd name="connsiteY461" fmla="*/ 1128739 h 1410492"/>
                <a:gd name="connsiteX462" fmla="*/ 1816701 w 2048870"/>
                <a:gd name="connsiteY462" fmla="*/ 1123553 h 1410492"/>
                <a:gd name="connsiteX463" fmla="*/ 1820158 w 2048870"/>
                <a:gd name="connsiteY463" fmla="*/ 1118368 h 1410492"/>
                <a:gd name="connsiteX464" fmla="*/ 1825343 w 2048870"/>
                <a:gd name="connsiteY464" fmla="*/ 1111454 h 1410492"/>
                <a:gd name="connsiteX465" fmla="*/ 1828800 w 2048870"/>
                <a:gd name="connsiteY465" fmla="*/ 1099354 h 1410492"/>
                <a:gd name="connsiteX466" fmla="*/ 1832257 w 2048870"/>
                <a:gd name="connsiteY466" fmla="*/ 1094168 h 1410492"/>
                <a:gd name="connsiteX467" fmla="*/ 1830529 w 2048870"/>
                <a:gd name="connsiteY467" fmla="*/ 1083797 h 1410492"/>
                <a:gd name="connsiteX468" fmla="*/ 1816701 w 2048870"/>
                <a:gd name="connsiteY468" fmla="*/ 1087254 h 1410492"/>
                <a:gd name="connsiteX469" fmla="*/ 1789044 w 2048870"/>
                <a:gd name="connsiteY469" fmla="*/ 1092440 h 1410492"/>
                <a:gd name="connsiteX470" fmla="*/ 1778673 w 2048870"/>
                <a:gd name="connsiteY470" fmla="*/ 1095897 h 1410492"/>
                <a:gd name="connsiteX471" fmla="*/ 1771758 w 2048870"/>
                <a:gd name="connsiteY471" fmla="*/ 1099354 h 1410492"/>
                <a:gd name="connsiteX472" fmla="*/ 1766573 w 2048870"/>
                <a:gd name="connsiteY472" fmla="*/ 1116639 h 1410492"/>
                <a:gd name="connsiteX473" fmla="*/ 1756202 w 2048870"/>
                <a:gd name="connsiteY473" fmla="*/ 1118368 h 1410492"/>
                <a:gd name="connsiteX474" fmla="*/ 1738916 w 2048870"/>
                <a:gd name="connsiteY474" fmla="*/ 1130468 h 1410492"/>
                <a:gd name="connsiteX475" fmla="*/ 1718174 w 2048870"/>
                <a:gd name="connsiteY475" fmla="*/ 1140839 h 1410492"/>
                <a:gd name="connsiteX476" fmla="*/ 1709531 w 2048870"/>
                <a:gd name="connsiteY476" fmla="*/ 1146024 h 1410492"/>
                <a:gd name="connsiteX477" fmla="*/ 1707802 w 2048870"/>
                <a:gd name="connsiteY477" fmla="*/ 1151210 h 1410492"/>
                <a:gd name="connsiteX478" fmla="*/ 1700888 w 2048870"/>
                <a:gd name="connsiteY478" fmla="*/ 1154667 h 1410492"/>
                <a:gd name="connsiteX479" fmla="*/ 1647303 w 2048870"/>
                <a:gd name="connsiteY479" fmla="*/ 1152939 h 1410492"/>
                <a:gd name="connsiteX480" fmla="*/ 1650760 w 2048870"/>
                <a:gd name="connsiteY480" fmla="*/ 1142567 h 1410492"/>
                <a:gd name="connsiteX481" fmla="*/ 1649032 w 2048870"/>
                <a:gd name="connsiteY481" fmla="*/ 1120096 h 1410492"/>
                <a:gd name="connsiteX482" fmla="*/ 1598904 w 2048870"/>
                <a:gd name="connsiteY482" fmla="*/ 1114911 h 1410492"/>
                <a:gd name="connsiteX483" fmla="*/ 1591990 w 2048870"/>
                <a:gd name="connsiteY483" fmla="*/ 1113182 h 1410492"/>
                <a:gd name="connsiteX484" fmla="*/ 1564333 w 2048870"/>
                <a:gd name="connsiteY484" fmla="*/ 1109725 h 1410492"/>
                <a:gd name="connsiteX485" fmla="*/ 1553962 w 2048870"/>
                <a:gd name="connsiteY485" fmla="*/ 1101082 h 1410492"/>
                <a:gd name="connsiteX486" fmla="*/ 1543591 w 2048870"/>
                <a:gd name="connsiteY486" fmla="*/ 1092440 h 1410492"/>
                <a:gd name="connsiteX487" fmla="*/ 1526305 w 2048870"/>
                <a:gd name="connsiteY487" fmla="*/ 1090711 h 1410492"/>
                <a:gd name="connsiteX488" fmla="*/ 1514205 w 2048870"/>
                <a:gd name="connsiteY488" fmla="*/ 1085525 h 1410492"/>
                <a:gd name="connsiteX489" fmla="*/ 1512477 w 2048870"/>
                <a:gd name="connsiteY489" fmla="*/ 1092440 h 1410492"/>
                <a:gd name="connsiteX490" fmla="*/ 1507291 w 2048870"/>
                <a:gd name="connsiteY490" fmla="*/ 1085525 h 1410492"/>
                <a:gd name="connsiteX491" fmla="*/ 1496920 w 2048870"/>
                <a:gd name="connsiteY491" fmla="*/ 1075154 h 1410492"/>
                <a:gd name="connsiteX492" fmla="*/ 1445064 w 2048870"/>
                <a:gd name="connsiteY492" fmla="*/ 1076883 h 1410492"/>
                <a:gd name="connsiteX493" fmla="*/ 1439878 w 2048870"/>
                <a:gd name="connsiteY493" fmla="*/ 1080340 h 1410492"/>
                <a:gd name="connsiteX494" fmla="*/ 1438149 w 2048870"/>
                <a:gd name="connsiteY494" fmla="*/ 1085525 h 1410492"/>
                <a:gd name="connsiteX495" fmla="*/ 1451978 w 2048870"/>
                <a:gd name="connsiteY495" fmla="*/ 1071697 h 1410492"/>
                <a:gd name="connsiteX496" fmla="*/ 1458892 w 2048870"/>
                <a:gd name="connsiteY496" fmla="*/ 1064783 h 1410492"/>
                <a:gd name="connsiteX497" fmla="*/ 1464078 w 2048870"/>
                <a:gd name="connsiteY497" fmla="*/ 1059597 h 1410492"/>
                <a:gd name="connsiteX498" fmla="*/ 1479634 w 2048870"/>
                <a:gd name="connsiteY498" fmla="*/ 1064783 h 1410492"/>
                <a:gd name="connsiteX499" fmla="*/ 1490006 w 2048870"/>
                <a:gd name="connsiteY499" fmla="*/ 1071697 h 1410492"/>
                <a:gd name="connsiteX500" fmla="*/ 1498648 w 2048870"/>
                <a:gd name="connsiteY500" fmla="*/ 1068240 h 1410492"/>
                <a:gd name="connsiteX501" fmla="*/ 1500377 w 2048870"/>
                <a:gd name="connsiteY501" fmla="*/ 1063054 h 1410492"/>
                <a:gd name="connsiteX502" fmla="*/ 1503834 w 2048870"/>
                <a:gd name="connsiteY502" fmla="*/ 1057869 h 1410492"/>
                <a:gd name="connsiteX503" fmla="*/ 1507291 w 2048870"/>
                <a:gd name="connsiteY503" fmla="*/ 1045769 h 1410492"/>
                <a:gd name="connsiteX504" fmla="*/ 1540133 w 2048870"/>
                <a:gd name="connsiteY504" fmla="*/ 1044040 h 1410492"/>
                <a:gd name="connsiteX505" fmla="*/ 1557419 w 2048870"/>
                <a:gd name="connsiteY505" fmla="*/ 1059597 h 1410492"/>
                <a:gd name="connsiteX506" fmla="*/ 1560876 w 2048870"/>
                <a:gd name="connsiteY506" fmla="*/ 1073426 h 1410492"/>
                <a:gd name="connsiteX507" fmla="*/ 1564333 w 2048870"/>
                <a:gd name="connsiteY507" fmla="*/ 1087254 h 1410492"/>
                <a:gd name="connsiteX508" fmla="*/ 1566062 w 2048870"/>
                <a:gd name="connsiteY508" fmla="*/ 1094168 h 1410492"/>
                <a:gd name="connsiteX509" fmla="*/ 1569519 w 2048870"/>
                <a:gd name="connsiteY509" fmla="*/ 1099354 h 1410492"/>
                <a:gd name="connsiteX510" fmla="*/ 1576433 w 2048870"/>
                <a:gd name="connsiteY510" fmla="*/ 1037126 h 1410492"/>
                <a:gd name="connsiteX511" fmla="*/ 1588533 w 2048870"/>
                <a:gd name="connsiteY511" fmla="*/ 1052683 h 1410492"/>
                <a:gd name="connsiteX512" fmla="*/ 1591990 w 2048870"/>
                <a:gd name="connsiteY512" fmla="*/ 1069969 h 1410492"/>
                <a:gd name="connsiteX513" fmla="*/ 1607547 w 2048870"/>
                <a:gd name="connsiteY513" fmla="*/ 1080340 h 1410492"/>
                <a:gd name="connsiteX514" fmla="*/ 1612732 w 2048870"/>
                <a:gd name="connsiteY514" fmla="*/ 1083797 h 1410492"/>
                <a:gd name="connsiteX515" fmla="*/ 1621375 w 2048870"/>
                <a:gd name="connsiteY515" fmla="*/ 1085525 h 1410492"/>
                <a:gd name="connsiteX516" fmla="*/ 1633475 w 2048870"/>
                <a:gd name="connsiteY516" fmla="*/ 1092440 h 1410492"/>
                <a:gd name="connsiteX517" fmla="*/ 1640389 w 2048870"/>
                <a:gd name="connsiteY517" fmla="*/ 1095897 h 1410492"/>
                <a:gd name="connsiteX518" fmla="*/ 1649032 w 2048870"/>
                <a:gd name="connsiteY518" fmla="*/ 1109725 h 1410492"/>
                <a:gd name="connsiteX519" fmla="*/ 1659403 w 2048870"/>
                <a:gd name="connsiteY519" fmla="*/ 1113182 h 1410492"/>
                <a:gd name="connsiteX520" fmla="*/ 1669774 w 2048870"/>
                <a:gd name="connsiteY520" fmla="*/ 1118368 h 1410492"/>
                <a:gd name="connsiteX521" fmla="*/ 1680146 w 2048870"/>
                <a:gd name="connsiteY521" fmla="*/ 1125282 h 1410492"/>
                <a:gd name="connsiteX522" fmla="*/ 1699160 w 2048870"/>
                <a:gd name="connsiteY522" fmla="*/ 1139110 h 1410492"/>
                <a:gd name="connsiteX523" fmla="*/ 1712988 w 2048870"/>
                <a:gd name="connsiteY523" fmla="*/ 1142567 h 1410492"/>
                <a:gd name="connsiteX524" fmla="*/ 1704345 w 2048870"/>
                <a:gd name="connsiteY524" fmla="*/ 1137382 h 1410492"/>
                <a:gd name="connsiteX525" fmla="*/ 1699160 w 2048870"/>
                <a:gd name="connsiteY525" fmla="*/ 1132196 h 1410492"/>
                <a:gd name="connsiteX526" fmla="*/ 1688788 w 2048870"/>
                <a:gd name="connsiteY526" fmla="*/ 1128739 h 1410492"/>
                <a:gd name="connsiteX527" fmla="*/ 1674960 w 2048870"/>
                <a:gd name="connsiteY527" fmla="*/ 1125282 h 1410492"/>
                <a:gd name="connsiteX528" fmla="*/ 1659403 w 2048870"/>
                <a:gd name="connsiteY528" fmla="*/ 1121825 h 1410492"/>
                <a:gd name="connsiteX529" fmla="*/ 1650760 w 2048870"/>
                <a:gd name="connsiteY529" fmla="*/ 1116639 h 1410492"/>
                <a:gd name="connsiteX530" fmla="*/ 1645575 w 2048870"/>
                <a:gd name="connsiteY530" fmla="*/ 1113182 h 1410492"/>
                <a:gd name="connsiteX531" fmla="*/ 1642118 w 2048870"/>
                <a:gd name="connsiteY531" fmla="*/ 1107996 h 1410492"/>
                <a:gd name="connsiteX532" fmla="*/ 1628289 w 2048870"/>
                <a:gd name="connsiteY532" fmla="*/ 1088983 h 1410492"/>
                <a:gd name="connsiteX533" fmla="*/ 1626561 w 2048870"/>
                <a:gd name="connsiteY533" fmla="*/ 1083797 h 1410492"/>
                <a:gd name="connsiteX534" fmla="*/ 1619647 w 2048870"/>
                <a:gd name="connsiteY534" fmla="*/ 1075154 h 1410492"/>
                <a:gd name="connsiteX535" fmla="*/ 1616189 w 2048870"/>
                <a:gd name="connsiteY535" fmla="*/ 1061326 h 1410492"/>
                <a:gd name="connsiteX536" fmla="*/ 1614461 w 2048870"/>
                <a:gd name="connsiteY536" fmla="*/ 1056140 h 1410492"/>
                <a:gd name="connsiteX537" fmla="*/ 1604090 w 2048870"/>
                <a:gd name="connsiteY537" fmla="*/ 1038855 h 1410492"/>
                <a:gd name="connsiteX538" fmla="*/ 1598904 w 2048870"/>
                <a:gd name="connsiteY538" fmla="*/ 1037126 h 1410492"/>
                <a:gd name="connsiteX539" fmla="*/ 1593718 w 2048870"/>
                <a:gd name="connsiteY539" fmla="*/ 1030212 h 1410492"/>
                <a:gd name="connsiteX540" fmla="*/ 1585076 w 2048870"/>
                <a:gd name="connsiteY540" fmla="*/ 1019841 h 1410492"/>
                <a:gd name="connsiteX541" fmla="*/ 1590261 w 2048870"/>
                <a:gd name="connsiteY541" fmla="*/ 1000827 h 1410492"/>
                <a:gd name="connsiteX542" fmla="*/ 1598904 w 2048870"/>
                <a:gd name="connsiteY542" fmla="*/ 999098 h 1410492"/>
                <a:gd name="connsiteX543" fmla="*/ 1611004 w 2048870"/>
                <a:gd name="connsiteY543" fmla="*/ 990455 h 1410492"/>
                <a:gd name="connsiteX544" fmla="*/ 1617918 w 2048870"/>
                <a:gd name="connsiteY544" fmla="*/ 985270 h 1410492"/>
                <a:gd name="connsiteX545" fmla="*/ 1616189 w 2048870"/>
                <a:gd name="connsiteY545" fmla="*/ 1021569 h 1410492"/>
                <a:gd name="connsiteX546" fmla="*/ 1612732 w 2048870"/>
                <a:gd name="connsiteY546" fmla="*/ 1028483 h 1410492"/>
                <a:gd name="connsiteX547" fmla="*/ 1607547 w 2048870"/>
                <a:gd name="connsiteY547" fmla="*/ 1035398 h 1410492"/>
                <a:gd name="connsiteX548" fmla="*/ 1612732 w 2048870"/>
                <a:gd name="connsiteY548" fmla="*/ 1031941 h 1410492"/>
                <a:gd name="connsiteX549" fmla="*/ 1621375 w 2048870"/>
                <a:gd name="connsiteY549" fmla="*/ 1016384 h 1410492"/>
                <a:gd name="connsiteX550" fmla="*/ 1626561 w 2048870"/>
                <a:gd name="connsiteY550" fmla="*/ 997370 h 1410492"/>
                <a:gd name="connsiteX551" fmla="*/ 1626561 w 2048870"/>
                <a:gd name="connsiteY551" fmla="*/ 976627 h 1410492"/>
                <a:gd name="connsiteX552" fmla="*/ 1619647 w 2048870"/>
                <a:gd name="connsiteY552" fmla="*/ 962799 h 1410492"/>
                <a:gd name="connsiteX553" fmla="*/ 1626561 w 2048870"/>
                <a:gd name="connsiteY553" fmla="*/ 966256 h 1410492"/>
                <a:gd name="connsiteX554" fmla="*/ 1638661 w 2048870"/>
                <a:gd name="connsiteY554" fmla="*/ 969713 h 1410492"/>
                <a:gd name="connsiteX555" fmla="*/ 1645575 w 2048870"/>
                <a:gd name="connsiteY555" fmla="*/ 967984 h 1410492"/>
                <a:gd name="connsiteX556" fmla="*/ 1650760 w 2048870"/>
                <a:gd name="connsiteY556" fmla="*/ 955885 h 1410492"/>
                <a:gd name="connsiteX557" fmla="*/ 1659403 w 2048870"/>
                <a:gd name="connsiteY557" fmla="*/ 933414 h 1410492"/>
                <a:gd name="connsiteX558" fmla="*/ 1662860 w 2048870"/>
                <a:gd name="connsiteY558" fmla="*/ 929956 h 1410492"/>
                <a:gd name="connsiteX559" fmla="*/ 1664589 w 2048870"/>
                <a:gd name="connsiteY559" fmla="*/ 923042 h 1410492"/>
                <a:gd name="connsiteX560" fmla="*/ 1673231 w 2048870"/>
                <a:gd name="connsiteY560" fmla="*/ 893657 h 1410492"/>
                <a:gd name="connsiteX561" fmla="*/ 1687060 w 2048870"/>
                <a:gd name="connsiteY561" fmla="*/ 891928 h 1410492"/>
                <a:gd name="connsiteX562" fmla="*/ 1693974 w 2048870"/>
                <a:gd name="connsiteY562" fmla="*/ 890200 h 1410492"/>
                <a:gd name="connsiteX563" fmla="*/ 1700888 w 2048870"/>
                <a:gd name="connsiteY563" fmla="*/ 886743 h 1410492"/>
                <a:gd name="connsiteX564" fmla="*/ 1719902 w 2048870"/>
                <a:gd name="connsiteY564" fmla="*/ 878100 h 1410492"/>
                <a:gd name="connsiteX565" fmla="*/ 1726816 w 2048870"/>
                <a:gd name="connsiteY565" fmla="*/ 876372 h 1410492"/>
                <a:gd name="connsiteX566" fmla="*/ 1745830 w 2048870"/>
                <a:gd name="connsiteY566" fmla="*/ 860815 h 1410492"/>
                <a:gd name="connsiteX567" fmla="*/ 1751016 w 2048870"/>
                <a:gd name="connsiteY567" fmla="*/ 857358 h 1410492"/>
                <a:gd name="connsiteX568" fmla="*/ 1757930 w 2048870"/>
                <a:gd name="connsiteY568" fmla="*/ 855629 h 1410492"/>
                <a:gd name="connsiteX569" fmla="*/ 1764844 w 2048870"/>
                <a:gd name="connsiteY569" fmla="*/ 841801 h 1410492"/>
                <a:gd name="connsiteX570" fmla="*/ 1771758 w 2048870"/>
                <a:gd name="connsiteY570" fmla="*/ 836615 h 1410492"/>
                <a:gd name="connsiteX571" fmla="*/ 1776944 w 2048870"/>
                <a:gd name="connsiteY571" fmla="*/ 833158 h 1410492"/>
                <a:gd name="connsiteX572" fmla="*/ 1787315 w 2048870"/>
                <a:gd name="connsiteY572" fmla="*/ 831429 h 1410492"/>
                <a:gd name="connsiteX573" fmla="*/ 1795958 w 2048870"/>
                <a:gd name="connsiteY573" fmla="*/ 829701 h 1410492"/>
                <a:gd name="connsiteX574" fmla="*/ 1797687 w 2048870"/>
                <a:gd name="connsiteY574" fmla="*/ 824515 h 1410492"/>
                <a:gd name="connsiteX575" fmla="*/ 1825343 w 2048870"/>
                <a:gd name="connsiteY575" fmla="*/ 796859 h 1410492"/>
                <a:gd name="connsiteX576" fmla="*/ 1830529 w 2048870"/>
                <a:gd name="connsiteY576" fmla="*/ 776116 h 1410492"/>
                <a:gd name="connsiteX577" fmla="*/ 1835715 w 2048870"/>
                <a:gd name="connsiteY577" fmla="*/ 770930 h 1410492"/>
                <a:gd name="connsiteX578" fmla="*/ 1863371 w 2048870"/>
                <a:gd name="connsiteY578" fmla="*/ 760559 h 1410492"/>
                <a:gd name="connsiteX579" fmla="*/ 1868557 w 2048870"/>
                <a:gd name="connsiteY579" fmla="*/ 755373 h 1410492"/>
                <a:gd name="connsiteX580" fmla="*/ 1880657 w 2048870"/>
                <a:gd name="connsiteY580" fmla="*/ 753645 h 1410492"/>
                <a:gd name="connsiteX581" fmla="*/ 1889299 w 2048870"/>
                <a:gd name="connsiteY581" fmla="*/ 750188 h 1410492"/>
                <a:gd name="connsiteX582" fmla="*/ 1894485 w 2048870"/>
                <a:gd name="connsiteY582" fmla="*/ 731174 h 1410492"/>
                <a:gd name="connsiteX583" fmla="*/ 1910042 w 2048870"/>
                <a:gd name="connsiteY583" fmla="*/ 719074 h 1410492"/>
                <a:gd name="connsiteX584" fmla="*/ 1916956 w 2048870"/>
                <a:gd name="connsiteY584" fmla="*/ 710431 h 1410492"/>
                <a:gd name="connsiteX585" fmla="*/ 1908313 w 2048870"/>
                <a:gd name="connsiteY585" fmla="*/ 689689 h 1410492"/>
                <a:gd name="connsiteX586" fmla="*/ 1901399 w 2048870"/>
                <a:gd name="connsiteY586" fmla="*/ 675860 h 1410492"/>
                <a:gd name="connsiteX587" fmla="*/ 1897942 w 2048870"/>
                <a:gd name="connsiteY587" fmla="*/ 665489 h 1410492"/>
                <a:gd name="connsiteX588" fmla="*/ 1901399 w 2048870"/>
                <a:gd name="connsiteY588" fmla="*/ 651661 h 1410492"/>
                <a:gd name="connsiteX589" fmla="*/ 1897942 w 2048870"/>
                <a:gd name="connsiteY589" fmla="*/ 629190 h 1410492"/>
                <a:gd name="connsiteX590" fmla="*/ 1904856 w 2048870"/>
                <a:gd name="connsiteY590" fmla="*/ 624004 h 1410492"/>
                <a:gd name="connsiteX591" fmla="*/ 1910042 w 2048870"/>
                <a:gd name="connsiteY591" fmla="*/ 613633 h 1410492"/>
                <a:gd name="connsiteX592" fmla="*/ 1918685 w 2048870"/>
                <a:gd name="connsiteY592" fmla="*/ 608447 h 1410492"/>
                <a:gd name="connsiteX593" fmla="*/ 1925599 w 2048870"/>
                <a:gd name="connsiteY593" fmla="*/ 601533 h 1410492"/>
                <a:gd name="connsiteX594" fmla="*/ 1929056 w 2048870"/>
                <a:gd name="connsiteY594" fmla="*/ 587705 h 1410492"/>
                <a:gd name="connsiteX595" fmla="*/ 1932513 w 2048870"/>
                <a:gd name="connsiteY595" fmla="*/ 582519 h 1410492"/>
                <a:gd name="connsiteX596" fmla="*/ 1939427 w 2048870"/>
                <a:gd name="connsiteY596" fmla="*/ 565234 h 1410492"/>
                <a:gd name="connsiteX597" fmla="*/ 1963627 w 2048870"/>
                <a:gd name="connsiteY597" fmla="*/ 556591 h 1410492"/>
                <a:gd name="connsiteX598" fmla="*/ 1968812 w 2048870"/>
                <a:gd name="connsiteY598" fmla="*/ 547948 h 1410492"/>
                <a:gd name="connsiteX599" fmla="*/ 1986098 w 2048870"/>
                <a:gd name="connsiteY599" fmla="*/ 544491 h 1410492"/>
                <a:gd name="connsiteX600" fmla="*/ 2008569 w 2048870"/>
                <a:gd name="connsiteY600" fmla="*/ 539305 h 1410492"/>
                <a:gd name="connsiteX601" fmla="*/ 2017212 w 2048870"/>
                <a:gd name="connsiteY601" fmla="*/ 530663 h 1410492"/>
                <a:gd name="connsiteX602" fmla="*/ 2048326 w 2048870"/>
                <a:gd name="connsiteY602" fmla="*/ 525477 h 1410492"/>
                <a:gd name="connsiteX603" fmla="*/ 2043140 w 2048870"/>
                <a:gd name="connsiteY603" fmla="*/ 499549 h 1410492"/>
                <a:gd name="connsiteX604" fmla="*/ 2032769 w 2048870"/>
                <a:gd name="connsiteY604" fmla="*/ 492635 h 1410492"/>
                <a:gd name="connsiteX605" fmla="*/ 2025854 w 2048870"/>
                <a:gd name="connsiteY605" fmla="*/ 447693 h 1410492"/>
                <a:gd name="connsiteX606" fmla="*/ 2018940 w 2048870"/>
                <a:gd name="connsiteY606" fmla="*/ 428679 h 1410492"/>
                <a:gd name="connsiteX607" fmla="*/ 2015483 w 2048870"/>
                <a:gd name="connsiteY607" fmla="*/ 418307 h 1410492"/>
                <a:gd name="connsiteX608" fmla="*/ 2010298 w 2048870"/>
                <a:gd name="connsiteY608" fmla="*/ 411393 h 1410492"/>
                <a:gd name="connsiteX609" fmla="*/ 2003383 w 2048870"/>
                <a:gd name="connsiteY609" fmla="*/ 407936 h 1410492"/>
                <a:gd name="connsiteX610" fmla="*/ 1984369 w 2048870"/>
                <a:gd name="connsiteY610" fmla="*/ 404479 h 1410492"/>
                <a:gd name="connsiteX611" fmla="*/ 1977455 w 2048870"/>
                <a:gd name="connsiteY611" fmla="*/ 394108 h 1410492"/>
                <a:gd name="connsiteX612" fmla="*/ 1972270 w 2048870"/>
                <a:gd name="connsiteY612" fmla="*/ 390651 h 1410492"/>
                <a:gd name="connsiteX613" fmla="*/ 1968812 w 2048870"/>
                <a:gd name="connsiteY613" fmla="*/ 382008 h 1410492"/>
                <a:gd name="connsiteX614" fmla="*/ 1973998 w 2048870"/>
                <a:gd name="connsiteY614" fmla="*/ 366451 h 1410492"/>
                <a:gd name="connsiteX615" fmla="*/ 1982641 w 2048870"/>
                <a:gd name="connsiteY615" fmla="*/ 354351 h 1410492"/>
                <a:gd name="connsiteX616" fmla="*/ 1984369 w 2048870"/>
                <a:gd name="connsiteY616" fmla="*/ 347437 h 1410492"/>
                <a:gd name="connsiteX617" fmla="*/ 1994741 w 2048870"/>
                <a:gd name="connsiteY617" fmla="*/ 343980 h 1410492"/>
                <a:gd name="connsiteX618" fmla="*/ 1960170 w 2048870"/>
                <a:gd name="connsiteY618" fmla="*/ 337066 h 1410492"/>
                <a:gd name="connsiteX619" fmla="*/ 1958441 w 2048870"/>
                <a:gd name="connsiteY619" fmla="*/ 331880 h 1410492"/>
                <a:gd name="connsiteX620" fmla="*/ 1954984 w 2048870"/>
                <a:gd name="connsiteY620" fmla="*/ 326694 h 1410492"/>
                <a:gd name="connsiteX621" fmla="*/ 1958441 w 2048870"/>
                <a:gd name="connsiteY621" fmla="*/ 318052 h 1410492"/>
                <a:gd name="connsiteX622" fmla="*/ 1963627 w 2048870"/>
                <a:gd name="connsiteY622" fmla="*/ 311138 h 1410492"/>
                <a:gd name="connsiteX623" fmla="*/ 1967084 w 2048870"/>
                <a:gd name="connsiteY623" fmla="*/ 305952 h 1410492"/>
                <a:gd name="connsiteX624" fmla="*/ 1968812 w 2048870"/>
                <a:gd name="connsiteY624" fmla="*/ 299038 h 1410492"/>
                <a:gd name="connsiteX625" fmla="*/ 1973998 w 2048870"/>
                <a:gd name="connsiteY625" fmla="*/ 293852 h 1410492"/>
                <a:gd name="connsiteX626" fmla="*/ 1975727 w 2048870"/>
                <a:gd name="connsiteY626" fmla="*/ 269652 h 1410492"/>
                <a:gd name="connsiteX627" fmla="*/ 1970541 w 2048870"/>
                <a:gd name="connsiteY627" fmla="*/ 255824 h 1410492"/>
                <a:gd name="connsiteX628" fmla="*/ 1968812 w 2048870"/>
                <a:gd name="connsiteY628" fmla="*/ 250638 h 1410492"/>
                <a:gd name="connsiteX629" fmla="*/ 1967084 w 2048870"/>
                <a:gd name="connsiteY629" fmla="*/ 243724 h 1410492"/>
                <a:gd name="connsiteX630" fmla="*/ 1963627 w 2048870"/>
                <a:gd name="connsiteY630" fmla="*/ 238539 h 1410492"/>
                <a:gd name="connsiteX631" fmla="*/ 1965355 w 2048870"/>
                <a:gd name="connsiteY631" fmla="*/ 216068 h 1410492"/>
                <a:gd name="connsiteX632" fmla="*/ 1961898 w 2048870"/>
                <a:gd name="connsiteY632" fmla="*/ 209153 h 1410492"/>
                <a:gd name="connsiteX633" fmla="*/ 1954984 w 2048870"/>
                <a:gd name="connsiteY633" fmla="*/ 216068 h 1410492"/>
                <a:gd name="connsiteX634" fmla="*/ 1948070 w 2048870"/>
                <a:gd name="connsiteY634" fmla="*/ 217796 h 1410492"/>
                <a:gd name="connsiteX635" fmla="*/ 1937699 w 2048870"/>
                <a:gd name="connsiteY635" fmla="*/ 226439 h 1410492"/>
                <a:gd name="connsiteX636" fmla="*/ 1932513 w 2048870"/>
                <a:gd name="connsiteY636" fmla="*/ 228167 h 1410492"/>
                <a:gd name="connsiteX637" fmla="*/ 1922142 w 2048870"/>
                <a:gd name="connsiteY637" fmla="*/ 235082 h 1410492"/>
                <a:gd name="connsiteX638" fmla="*/ 1906585 w 2048870"/>
                <a:gd name="connsiteY638" fmla="*/ 231624 h 1410492"/>
                <a:gd name="connsiteX639" fmla="*/ 1885842 w 2048870"/>
                <a:gd name="connsiteY639" fmla="*/ 222982 h 1410492"/>
                <a:gd name="connsiteX640" fmla="*/ 1878928 w 2048870"/>
                <a:gd name="connsiteY640" fmla="*/ 224710 h 1410492"/>
                <a:gd name="connsiteX641" fmla="*/ 1868557 w 2048870"/>
                <a:gd name="connsiteY641" fmla="*/ 233353 h 1410492"/>
                <a:gd name="connsiteX642" fmla="*/ 1847814 w 2048870"/>
                <a:gd name="connsiteY642" fmla="*/ 221253 h 1410492"/>
                <a:gd name="connsiteX643" fmla="*/ 1839172 w 2048870"/>
                <a:gd name="connsiteY643" fmla="*/ 217796 h 1410492"/>
                <a:gd name="connsiteX644" fmla="*/ 1832257 w 2048870"/>
                <a:gd name="connsiteY644" fmla="*/ 214339 h 1410492"/>
                <a:gd name="connsiteX645" fmla="*/ 1823615 w 2048870"/>
                <a:gd name="connsiteY645" fmla="*/ 224710 h 1410492"/>
                <a:gd name="connsiteX646" fmla="*/ 1816701 w 2048870"/>
                <a:gd name="connsiteY646" fmla="*/ 229896 h 1410492"/>
                <a:gd name="connsiteX647" fmla="*/ 1787315 w 2048870"/>
                <a:gd name="connsiteY647" fmla="*/ 221253 h 1410492"/>
                <a:gd name="connsiteX648" fmla="*/ 1759659 w 2048870"/>
                <a:gd name="connsiteY648" fmla="*/ 222982 h 1410492"/>
                <a:gd name="connsiteX649" fmla="*/ 1754473 w 2048870"/>
                <a:gd name="connsiteY649" fmla="*/ 224710 h 1410492"/>
                <a:gd name="connsiteX650" fmla="*/ 1735459 w 2048870"/>
                <a:gd name="connsiteY650" fmla="*/ 222982 h 1410492"/>
                <a:gd name="connsiteX651" fmla="*/ 1728545 w 2048870"/>
                <a:gd name="connsiteY651" fmla="*/ 217796 h 1410492"/>
                <a:gd name="connsiteX652" fmla="*/ 1721631 w 2048870"/>
                <a:gd name="connsiteY652" fmla="*/ 207425 h 1410492"/>
                <a:gd name="connsiteX653" fmla="*/ 1712988 w 2048870"/>
                <a:gd name="connsiteY653" fmla="*/ 235082 h 1410492"/>
                <a:gd name="connsiteX654" fmla="*/ 1706074 w 2048870"/>
                <a:gd name="connsiteY654" fmla="*/ 250638 h 1410492"/>
                <a:gd name="connsiteX655" fmla="*/ 1692245 w 2048870"/>
                <a:gd name="connsiteY655" fmla="*/ 236810 h 1410492"/>
                <a:gd name="connsiteX656" fmla="*/ 1645575 w 2048870"/>
                <a:gd name="connsiteY656" fmla="*/ 224710 h 1410492"/>
                <a:gd name="connsiteX657" fmla="*/ 1640389 w 2048870"/>
                <a:gd name="connsiteY657" fmla="*/ 217796 h 1410492"/>
                <a:gd name="connsiteX658" fmla="*/ 1638661 w 2048870"/>
                <a:gd name="connsiteY658" fmla="*/ 212610 h 1410492"/>
                <a:gd name="connsiteX659" fmla="*/ 1623104 w 2048870"/>
                <a:gd name="connsiteY659" fmla="*/ 195325 h 1410492"/>
                <a:gd name="connsiteX660" fmla="*/ 1609275 w 2048870"/>
                <a:gd name="connsiteY660" fmla="*/ 191868 h 1410492"/>
                <a:gd name="connsiteX661" fmla="*/ 1600633 w 2048870"/>
                <a:gd name="connsiteY661" fmla="*/ 200511 h 1410492"/>
                <a:gd name="connsiteX662" fmla="*/ 1595447 w 2048870"/>
                <a:gd name="connsiteY662" fmla="*/ 202239 h 1410492"/>
                <a:gd name="connsiteX663" fmla="*/ 1574704 w 2048870"/>
                <a:gd name="connsiteY663" fmla="*/ 209153 h 1410492"/>
                <a:gd name="connsiteX664" fmla="*/ 1569519 w 2048870"/>
                <a:gd name="connsiteY664" fmla="*/ 214339 h 1410492"/>
                <a:gd name="connsiteX665" fmla="*/ 1564333 w 2048870"/>
                <a:gd name="connsiteY665" fmla="*/ 217796 h 1410492"/>
                <a:gd name="connsiteX666" fmla="*/ 1560876 w 2048870"/>
                <a:gd name="connsiteY666" fmla="*/ 224710 h 1410492"/>
                <a:gd name="connsiteX667" fmla="*/ 1543591 w 2048870"/>
                <a:gd name="connsiteY667" fmla="*/ 238539 h 1410492"/>
                <a:gd name="connsiteX668" fmla="*/ 1536676 w 2048870"/>
                <a:gd name="connsiteY668" fmla="*/ 245453 h 1410492"/>
                <a:gd name="connsiteX669" fmla="*/ 1534948 w 2048870"/>
                <a:gd name="connsiteY669" fmla="*/ 250638 h 1410492"/>
                <a:gd name="connsiteX670" fmla="*/ 1536676 w 2048870"/>
                <a:gd name="connsiteY670" fmla="*/ 255824 h 1410492"/>
                <a:gd name="connsiteX671" fmla="*/ 1510748 w 2048870"/>
                <a:gd name="connsiteY671" fmla="*/ 259281 h 1410492"/>
                <a:gd name="connsiteX672" fmla="*/ 1500377 w 2048870"/>
                <a:gd name="connsiteY672" fmla="*/ 252367 h 1410492"/>
                <a:gd name="connsiteX673" fmla="*/ 1472720 w 2048870"/>
                <a:gd name="connsiteY673" fmla="*/ 252367 h 1410492"/>
                <a:gd name="connsiteX674" fmla="*/ 1455435 w 2048870"/>
                <a:gd name="connsiteY674" fmla="*/ 254096 h 1410492"/>
                <a:gd name="connsiteX675" fmla="*/ 1446792 w 2048870"/>
                <a:gd name="connsiteY675" fmla="*/ 261010 h 1410492"/>
                <a:gd name="connsiteX676" fmla="*/ 1441606 w 2048870"/>
                <a:gd name="connsiteY676" fmla="*/ 267924 h 1410492"/>
                <a:gd name="connsiteX677" fmla="*/ 1438149 w 2048870"/>
                <a:gd name="connsiteY677" fmla="*/ 273110 h 1410492"/>
                <a:gd name="connsiteX678" fmla="*/ 1432964 w 2048870"/>
                <a:gd name="connsiteY678" fmla="*/ 274838 h 1410492"/>
                <a:gd name="connsiteX679" fmla="*/ 1419135 w 2048870"/>
                <a:gd name="connsiteY679" fmla="*/ 281752 h 1410492"/>
                <a:gd name="connsiteX680" fmla="*/ 1412221 w 2048870"/>
                <a:gd name="connsiteY680" fmla="*/ 278295 h 1410492"/>
                <a:gd name="connsiteX681" fmla="*/ 1408764 w 2048870"/>
                <a:gd name="connsiteY681" fmla="*/ 273110 h 1410492"/>
                <a:gd name="connsiteX682" fmla="*/ 1400121 w 2048870"/>
                <a:gd name="connsiteY682" fmla="*/ 257553 h 1410492"/>
                <a:gd name="connsiteX683" fmla="*/ 1394936 w 2048870"/>
                <a:gd name="connsiteY683" fmla="*/ 254096 h 1410492"/>
                <a:gd name="connsiteX684" fmla="*/ 1386293 w 2048870"/>
                <a:gd name="connsiteY684" fmla="*/ 243724 h 1410492"/>
                <a:gd name="connsiteX685" fmla="*/ 1381107 w 2048870"/>
                <a:gd name="connsiteY685" fmla="*/ 212610 h 1410492"/>
                <a:gd name="connsiteX686" fmla="*/ 1370736 w 2048870"/>
                <a:gd name="connsiteY686" fmla="*/ 202239 h 1410492"/>
                <a:gd name="connsiteX687" fmla="*/ 1363822 w 2048870"/>
                <a:gd name="connsiteY687" fmla="*/ 200511 h 1410492"/>
                <a:gd name="connsiteX688" fmla="*/ 1358636 w 2048870"/>
                <a:gd name="connsiteY688" fmla="*/ 193596 h 1410492"/>
                <a:gd name="connsiteX689" fmla="*/ 1349994 w 2048870"/>
                <a:gd name="connsiteY689" fmla="*/ 178040 h 1410492"/>
                <a:gd name="connsiteX690" fmla="*/ 1337894 w 2048870"/>
                <a:gd name="connsiteY690" fmla="*/ 167668 h 1410492"/>
                <a:gd name="connsiteX691" fmla="*/ 1298137 w 2048870"/>
                <a:gd name="connsiteY691" fmla="*/ 169397 h 1410492"/>
                <a:gd name="connsiteX692" fmla="*/ 1284309 w 2048870"/>
                <a:gd name="connsiteY692" fmla="*/ 179768 h 1410492"/>
                <a:gd name="connsiteX693" fmla="*/ 1268752 w 2048870"/>
                <a:gd name="connsiteY693" fmla="*/ 181497 h 1410492"/>
                <a:gd name="connsiteX694" fmla="*/ 1251467 w 2048870"/>
                <a:gd name="connsiteY694" fmla="*/ 174583 h 1410492"/>
                <a:gd name="connsiteX695" fmla="*/ 1241095 w 2048870"/>
                <a:gd name="connsiteY695" fmla="*/ 164211 h 1410492"/>
                <a:gd name="connsiteX696" fmla="*/ 1230724 w 2048870"/>
                <a:gd name="connsiteY696" fmla="*/ 160754 h 1410492"/>
                <a:gd name="connsiteX697" fmla="*/ 1215167 w 2048870"/>
                <a:gd name="connsiteY697" fmla="*/ 146926 h 1410492"/>
                <a:gd name="connsiteX698" fmla="*/ 1213439 w 2048870"/>
                <a:gd name="connsiteY698" fmla="*/ 140012 h 1410492"/>
                <a:gd name="connsiteX699" fmla="*/ 1206524 w 2048870"/>
                <a:gd name="connsiteY699" fmla="*/ 131369 h 1410492"/>
                <a:gd name="connsiteX700" fmla="*/ 1204796 w 2048870"/>
                <a:gd name="connsiteY700" fmla="*/ 122726 h 1410492"/>
                <a:gd name="connsiteX701" fmla="*/ 1190968 w 2048870"/>
                <a:gd name="connsiteY701" fmla="*/ 117541 h 1410492"/>
                <a:gd name="connsiteX702" fmla="*/ 1201339 w 2048870"/>
                <a:gd name="connsiteY702" fmla="*/ 105441 h 1410492"/>
                <a:gd name="connsiteX703" fmla="*/ 1208253 w 2048870"/>
                <a:gd name="connsiteY703" fmla="*/ 101984 h 1410492"/>
                <a:gd name="connsiteX704" fmla="*/ 1213439 w 2048870"/>
                <a:gd name="connsiteY704" fmla="*/ 95069 h 1410492"/>
                <a:gd name="connsiteX705" fmla="*/ 1218624 w 2048870"/>
                <a:gd name="connsiteY705" fmla="*/ 89884 h 1410492"/>
                <a:gd name="connsiteX706" fmla="*/ 1216896 w 2048870"/>
                <a:gd name="connsiteY706" fmla="*/ 84698 h 1410492"/>
                <a:gd name="connsiteX707" fmla="*/ 1206524 w 2048870"/>
                <a:gd name="connsiteY707" fmla="*/ 81241 h 1410492"/>
                <a:gd name="connsiteX708" fmla="*/ 1190968 w 2048870"/>
                <a:gd name="connsiteY708" fmla="*/ 76055 h 1410492"/>
                <a:gd name="connsiteX709" fmla="*/ 1175411 w 2048870"/>
                <a:gd name="connsiteY709" fmla="*/ 60499 h 1410492"/>
                <a:gd name="connsiteX710" fmla="*/ 1168496 w 2048870"/>
                <a:gd name="connsiteY710" fmla="*/ 53584 h 1410492"/>
                <a:gd name="connsiteX711" fmla="*/ 1165039 w 2048870"/>
                <a:gd name="connsiteY711" fmla="*/ 46670 h 1410492"/>
                <a:gd name="connsiteX712" fmla="*/ 1159854 w 2048870"/>
                <a:gd name="connsiteY712" fmla="*/ 39756 h 1410492"/>
                <a:gd name="connsiteX713" fmla="*/ 1151211 w 2048870"/>
                <a:gd name="connsiteY713" fmla="*/ 27656 h 1410492"/>
                <a:gd name="connsiteX714" fmla="*/ 1146025 w 2048870"/>
                <a:gd name="connsiteY714" fmla="*/ 24199 h 1410492"/>
                <a:gd name="connsiteX715" fmla="*/ 1140840 w 2048870"/>
                <a:gd name="connsiteY715" fmla="*/ 17285 h 1410492"/>
                <a:gd name="connsiteX716" fmla="*/ 1123554 w 2048870"/>
                <a:gd name="connsiteY716" fmla="*/ 3457 h 1410492"/>
                <a:gd name="connsiteX717" fmla="*/ 1116640 w 2048870"/>
                <a:gd name="connsiteY717" fmla="*/ 0 h 1410492"/>
                <a:gd name="connsiteX718" fmla="*/ 1102812 w 2048870"/>
                <a:gd name="connsiteY718" fmla="*/ 1728 h 1410492"/>
                <a:gd name="connsiteX719" fmla="*/ 1097626 w 2048870"/>
                <a:gd name="connsiteY719" fmla="*/ 3457 h 1410492"/>
                <a:gd name="connsiteX720" fmla="*/ 1090712 w 2048870"/>
                <a:gd name="connsiteY720" fmla="*/ 5185 h 1410492"/>
                <a:gd name="connsiteX721" fmla="*/ 1071698 w 2048870"/>
                <a:gd name="connsiteY721" fmla="*/ 17285 h 1410492"/>
                <a:gd name="connsiteX722" fmla="*/ 1056141 w 2048870"/>
                <a:gd name="connsiteY722" fmla="*/ 15556 h 1410492"/>
                <a:gd name="connsiteX723" fmla="*/ 1050955 w 2048870"/>
                <a:gd name="connsiteY723" fmla="*/ 19014 h 1410492"/>
                <a:gd name="connsiteX724" fmla="*/ 1042313 w 2048870"/>
                <a:gd name="connsiteY724" fmla="*/ 27656 h 1410492"/>
                <a:gd name="connsiteX725" fmla="*/ 1028484 w 2048870"/>
                <a:gd name="connsiteY725" fmla="*/ 38027 h 1410492"/>
                <a:gd name="connsiteX726" fmla="*/ 1025027 w 2048870"/>
                <a:gd name="connsiteY726" fmla="*/ 41485 h 1410492"/>
                <a:gd name="connsiteX727" fmla="*/ 1016385 w 2048870"/>
                <a:gd name="connsiteY727" fmla="*/ 46670 h 1410492"/>
                <a:gd name="connsiteX728" fmla="*/ 1012927 w 2048870"/>
                <a:gd name="connsiteY728" fmla="*/ 50127 h 1410492"/>
                <a:gd name="connsiteX729" fmla="*/ 997371 w 2048870"/>
                <a:gd name="connsiteY729" fmla="*/ 57041 h 1410492"/>
                <a:gd name="connsiteX730" fmla="*/ 973171 w 2048870"/>
                <a:gd name="connsiteY730" fmla="*/ 58770 h 1410492"/>
                <a:gd name="connsiteX731" fmla="*/ 967985 w 2048870"/>
                <a:gd name="connsiteY731" fmla="*/ 62227 h 1410492"/>
                <a:gd name="connsiteX732" fmla="*/ 966257 w 2048870"/>
                <a:gd name="connsiteY732" fmla="*/ 79513 h 1410492"/>
                <a:gd name="connsiteX733" fmla="*/ 962800 w 2048870"/>
                <a:gd name="connsiteY733" fmla="*/ 103712 h 1410492"/>
                <a:gd name="connsiteX734" fmla="*/ 961071 w 2048870"/>
                <a:gd name="connsiteY734" fmla="*/ 112355 h 1410492"/>
                <a:gd name="connsiteX735" fmla="*/ 916129 w 2048870"/>
                <a:gd name="connsiteY735" fmla="*/ 115812 h 1410492"/>
                <a:gd name="connsiteX736" fmla="*/ 910943 w 2048870"/>
                <a:gd name="connsiteY736" fmla="*/ 119269 h 1410492"/>
                <a:gd name="connsiteX737" fmla="*/ 905758 w 2048870"/>
                <a:gd name="connsiteY737" fmla="*/ 120998 h 1410492"/>
                <a:gd name="connsiteX738" fmla="*/ 893658 w 2048870"/>
                <a:gd name="connsiteY738" fmla="*/ 124455 h 1410492"/>
                <a:gd name="connsiteX739" fmla="*/ 888472 w 2048870"/>
                <a:gd name="connsiteY739" fmla="*/ 126183 h 1410492"/>
                <a:gd name="connsiteX740" fmla="*/ 895386 w 2048870"/>
                <a:gd name="connsiteY740" fmla="*/ 124455 h 1410492"/>
                <a:gd name="connsiteX741" fmla="*/ 904029 w 2048870"/>
                <a:gd name="connsiteY741" fmla="*/ 115812 h 1410492"/>
                <a:gd name="connsiteX742" fmla="*/ 966257 w 2048870"/>
                <a:gd name="connsiteY742" fmla="*/ 63956 h 1410492"/>
                <a:gd name="connsiteX0" fmla="*/ 966257 w 2048870"/>
                <a:gd name="connsiteY0" fmla="*/ 63956 h 1410492"/>
                <a:gd name="connsiteX1" fmla="*/ 962800 w 2048870"/>
                <a:gd name="connsiteY1" fmla="*/ 72598 h 1410492"/>
                <a:gd name="connsiteX2" fmla="*/ 919586 w 2048870"/>
                <a:gd name="connsiteY2" fmla="*/ 114083 h 1410492"/>
                <a:gd name="connsiteX3" fmla="*/ 902301 w 2048870"/>
                <a:gd name="connsiteY3" fmla="*/ 120998 h 1410492"/>
                <a:gd name="connsiteX4" fmla="*/ 885015 w 2048870"/>
                <a:gd name="connsiteY4" fmla="*/ 122726 h 1410492"/>
                <a:gd name="connsiteX5" fmla="*/ 878101 w 2048870"/>
                <a:gd name="connsiteY5" fmla="*/ 129640 h 1410492"/>
                <a:gd name="connsiteX6" fmla="*/ 855630 w 2048870"/>
                <a:gd name="connsiteY6" fmla="*/ 140012 h 1410492"/>
                <a:gd name="connsiteX7" fmla="*/ 850444 w 2048870"/>
                <a:gd name="connsiteY7" fmla="*/ 145197 h 1410492"/>
                <a:gd name="connsiteX8" fmla="*/ 831430 w 2048870"/>
                <a:gd name="connsiteY8" fmla="*/ 146926 h 1410492"/>
                <a:gd name="connsiteX9" fmla="*/ 827973 w 2048870"/>
                <a:gd name="connsiteY9" fmla="*/ 193596 h 1410492"/>
                <a:gd name="connsiteX10" fmla="*/ 817602 w 2048870"/>
                <a:gd name="connsiteY10" fmla="*/ 247181 h 1410492"/>
                <a:gd name="connsiteX11" fmla="*/ 821059 w 2048870"/>
                <a:gd name="connsiteY11" fmla="*/ 255824 h 1410492"/>
                <a:gd name="connsiteX12" fmla="*/ 826245 w 2048870"/>
                <a:gd name="connsiteY12" fmla="*/ 259281 h 1410492"/>
                <a:gd name="connsiteX13" fmla="*/ 833159 w 2048870"/>
                <a:gd name="connsiteY13" fmla="*/ 267924 h 1410492"/>
                <a:gd name="connsiteX14" fmla="*/ 836616 w 2048870"/>
                <a:gd name="connsiteY14" fmla="*/ 280024 h 1410492"/>
                <a:gd name="connsiteX15" fmla="*/ 834887 w 2048870"/>
                <a:gd name="connsiteY15" fmla="*/ 295581 h 1410492"/>
                <a:gd name="connsiteX16" fmla="*/ 821059 w 2048870"/>
                <a:gd name="connsiteY16" fmla="*/ 299038 h 1410492"/>
                <a:gd name="connsiteX17" fmla="*/ 800316 w 2048870"/>
                <a:gd name="connsiteY17" fmla="*/ 295581 h 1410492"/>
                <a:gd name="connsiteX18" fmla="*/ 786488 w 2048870"/>
                <a:gd name="connsiteY18" fmla="*/ 286938 h 1410492"/>
                <a:gd name="connsiteX19" fmla="*/ 781302 w 2048870"/>
                <a:gd name="connsiteY19" fmla="*/ 285209 h 1410492"/>
                <a:gd name="connsiteX20" fmla="*/ 774388 w 2048870"/>
                <a:gd name="connsiteY20" fmla="*/ 278295 h 1410492"/>
                <a:gd name="connsiteX21" fmla="*/ 767474 w 2048870"/>
                <a:gd name="connsiteY21" fmla="*/ 285209 h 1410492"/>
                <a:gd name="connsiteX22" fmla="*/ 758831 w 2048870"/>
                <a:gd name="connsiteY22" fmla="*/ 286938 h 1410492"/>
                <a:gd name="connsiteX23" fmla="*/ 751917 w 2048870"/>
                <a:gd name="connsiteY23" fmla="*/ 288666 h 1410492"/>
                <a:gd name="connsiteX24" fmla="*/ 746732 w 2048870"/>
                <a:gd name="connsiteY24" fmla="*/ 290395 h 1410492"/>
                <a:gd name="connsiteX25" fmla="*/ 722532 w 2048870"/>
                <a:gd name="connsiteY25" fmla="*/ 292124 h 1410492"/>
                <a:gd name="connsiteX26" fmla="*/ 720803 w 2048870"/>
                <a:gd name="connsiteY26" fmla="*/ 297309 h 1410492"/>
                <a:gd name="connsiteX27" fmla="*/ 701789 w 2048870"/>
                <a:gd name="connsiteY27" fmla="*/ 312866 h 1410492"/>
                <a:gd name="connsiteX28" fmla="*/ 686233 w 2048870"/>
                <a:gd name="connsiteY28" fmla="*/ 305952 h 1410492"/>
                <a:gd name="connsiteX29" fmla="*/ 684504 w 2048870"/>
                <a:gd name="connsiteY29" fmla="*/ 300766 h 1410492"/>
                <a:gd name="connsiteX30" fmla="*/ 681047 w 2048870"/>
                <a:gd name="connsiteY30" fmla="*/ 285209 h 1410492"/>
                <a:gd name="connsiteX31" fmla="*/ 649933 w 2048870"/>
                <a:gd name="connsiteY31" fmla="*/ 288666 h 1410492"/>
                <a:gd name="connsiteX32" fmla="*/ 646476 w 2048870"/>
                <a:gd name="connsiteY32" fmla="*/ 299038 h 1410492"/>
                <a:gd name="connsiteX33" fmla="*/ 639562 w 2048870"/>
                <a:gd name="connsiteY33" fmla="*/ 314595 h 1410492"/>
                <a:gd name="connsiteX34" fmla="*/ 634376 w 2048870"/>
                <a:gd name="connsiteY34" fmla="*/ 326694 h 1410492"/>
                <a:gd name="connsiteX35" fmla="*/ 629191 w 2048870"/>
                <a:gd name="connsiteY35" fmla="*/ 328423 h 1410492"/>
                <a:gd name="connsiteX36" fmla="*/ 613634 w 2048870"/>
                <a:gd name="connsiteY36" fmla="*/ 323237 h 1410492"/>
                <a:gd name="connsiteX37" fmla="*/ 601534 w 2048870"/>
                <a:gd name="connsiteY37" fmla="*/ 311138 h 1410492"/>
                <a:gd name="connsiteX38" fmla="*/ 572149 w 2048870"/>
                <a:gd name="connsiteY38" fmla="*/ 309409 h 1410492"/>
                <a:gd name="connsiteX39" fmla="*/ 566963 w 2048870"/>
                <a:gd name="connsiteY39" fmla="*/ 295581 h 1410492"/>
                <a:gd name="connsiteX40" fmla="*/ 563506 w 2048870"/>
                <a:gd name="connsiteY40" fmla="*/ 300766 h 1410492"/>
                <a:gd name="connsiteX41" fmla="*/ 558320 w 2048870"/>
                <a:gd name="connsiteY41" fmla="*/ 307680 h 1410492"/>
                <a:gd name="connsiteX42" fmla="*/ 549678 w 2048870"/>
                <a:gd name="connsiteY42" fmla="*/ 321509 h 1410492"/>
                <a:gd name="connsiteX43" fmla="*/ 509921 w 2048870"/>
                <a:gd name="connsiteY43" fmla="*/ 324966 h 1410492"/>
                <a:gd name="connsiteX44" fmla="*/ 515107 w 2048870"/>
                <a:gd name="connsiteY44" fmla="*/ 328423 h 1410492"/>
                <a:gd name="connsiteX45" fmla="*/ 525478 w 2048870"/>
                <a:gd name="connsiteY45" fmla="*/ 331880 h 1410492"/>
                <a:gd name="connsiteX46" fmla="*/ 523749 w 2048870"/>
                <a:gd name="connsiteY46" fmla="*/ 337066 h 1410492"/>
                <a:gd name="connsiteX47" fmla="*/ 516835 w 2048870"/>
                <a:gd name="connsiteY47" fmla="*/ 343980 h 1410492"/>
                <a:gd name="connsiteX48" fmla="*/ 511650 w 2048870"/>
                <a:gd name="connsiteY48" fmla="*/ 323237 h 1410492"/>
                <a:gd name="connsiteX49" fmla="*/ 483993 w 2048870"/>
                <a:gd name="connsiteY49" fmla="*/ 333609 h 1410492"/>
                <a:gd name="connsiteX50" fmla="*/ 478807 w 2048870"/>
                <a:gd name="connsiteY50" fmla="*/ 338794 h 1410492"/>
                <a:gd name="connsiteX51" fmla="*/ 466707 w 2048870"/>
                <a:gd name="connsiteY51" fmla="*/ 337066 h 1410492"/>
                <a:gd name="connsiteX52" fmla="*/ 463250 w 2048870"/>
                <a:gd name="connsiteY52" fmla="*/ 324966 h 1410492"/>
                <a:gd name="connsiteX53" fmla="*/ 454608 w 2048870"/>
                <a:gd name="connsiteY53" fmla="*/ 312866 h 1410492"/>
                <a:gd name="connsiteX54" fmla="*/ 449422 w 2048870"/>
                <a:gd name="connsiteY54" fmla="*/ 311138 h 1410492"/>
                <a:gd name="connsiteX55" fmla="*/ 425222 w 2048870"/>
                <a:gd name="connsiteY55" fmla="*/ 314595 h 1410492"/>
                <a:gd name="connsiteX56" fmla="*/ 273110 w 2048870"/>
                <a:gd name="connsiteY56" fmla="*/ 316323 h 1410492"/>
                <a:gd name="connsiteX57" fmla="*/ 262739 w 2048870"/>
                <a:gd name="connsiteY57" fmla="*/ 323237 h 1410492"/>
                <a:gd name="connsiteX58" fmla="*/ 255825 w 2048870"/>
                <a:gd name="connsiteY58" fmla="*/ 324966 h 1410492"/>
                <a:gd name="connsiteX59" fmla="*/ 250639 w 2048870"/>
                <a:gd name="connsiteY59" fmla="*/ 326694 h 1410492"/>
                <a:gd name="connsiteX60" fmla="*/ 238540 w 2048870"/>
                <a:gd name="connsiteY60" fmla="*/ 330152 h 1410492"/>
                <a:gd name="connsiteX61" fmla="*/ 200512 w 2048870"/>
                <a:gd name="connsiteY61" fmla="*/ 333609 h 1410492"/>
                <a:gd name="connsiteX62" fmla="*/ 188412 w 2048870"/>
                <a:gd name="connsiteY62" fmla="*/ 338794 h 1410492"/>
                <a:gd name="connsiteX63" fmla="*/ 176312 w 2048870"/>
                <a:gd name="connsiteY63" fmla="*/ 342251 h 1410492"/>
                <a:gd name="connsiteX64" fmla="*/ 146927 w 2048870"/>
                <a:gd name="connsiteY64" fmla="*/ 356080 h 1410492"/>
                <a:gd name="connsiteX65" fmla="*/ 138284 w 2048870"/>
                <a:gd name="connsiteY65" fmla="*/ 357808 h 1410492"/>
                <a:gd name="connsiteX66" fmla="*/ 136555 w 2048870"/>
                <a:gd name="connsiteY66" fmla="*/ 364722 h 1410492"/>
                <a:gd name="connsiteX67" fmla="*/ 134827 w 2048870"/>
                <a:gd name="connsiteY67" fmla="*/ 380279 h 1410492"/>
                <a:gd name="connsiteX68" fmla="*/ 127913 w 2048870"/>
                <a:gd name="connsiteY68" fmla="*/ 387193 h 1410492"/>
                <a:gd name="connsiteX69" fmla="*/ 126184 w 2048870"/>
                <a:gd name="connsiteY69" fmla="*/ 394108 h 1410492"/>
                <a:gd name="connsiteX70" fmla="*/ 124456 w 2048870"/>
                <a:gd name="connsiteY70" fmla="*/ 402750 h 1410492"/>
                <a:gd name="connsiteX71" fmla="*/ 117541 w 2048870"/>
                <a:gd name="connsiteY71" fmla="*/ 407936 h 1410492"/>
                <a:gd name="connsiteX72" fmla="*/ 105442 w 2048870"/>
                <a:gd name="connsiteY72" fmla="*/ 411393 h 1410492"/>
                <a:gd name="connsiteX73" fmla="*/ 100256 w 2048870"/>
                <a:gd name="connsiteY73" fmla="*/ 413122 h 1410492"/>
                <a:gd name="connsiteX74" fmla="*/ 70871 w 2048870"/>
                <a:gd name="connsiteY74" fmla="*/ 421764 h 1410492"/>
                <a:gd name="connsiteX75" fmla="*/ 67414 w 2048870"/>
                <a:gd name="connsiteY75" fmla="*/ 428679 h 1410492"/>
                <a:gd name="connsiteX76" fmla="*/ 69142 w 2048870"/>
                <a:gd name="connsiteY76" fmla="*/ 440778 h 1410492"/>
                <a:gd name="connsiteX77" fmla="*/ 65685 w 2048870"/>
                <a:gd name="connsiteY77" fmla="*/ 445964 h 1410492"/>
                <a:gd name="connsiteX78" fmla="*/ 63957 w 2048870"/>
                <a:gd name="connsiteY78" fmla="*/ 452878 h 1410492"/>
                <a:gd name="connsiteX79" fmla="*/ 69142 w 2048870"/>
                <a:gd name="connsiteY79" fmla="*/ 456335 h 1410492"/>
                <a:gd name="connsiteX80" fmla="*/ 74328 w 2048870"/>
                <a:gd name="connsiteY80" fmla="*/ 458064 h 1410492"/>
                <a:gd name="connsiteX81" fmla="*/ 84699 w 2048870"/>
                <a:gd name="connsiteY81" fmla="*/ 466707 h 1410492"/>
                <a:gd name="connsiteX82" fmla="*/ 81242 w 2048870"/>
                <a:gd name="connsiteY82" fmla="*/ 473621 h 1410492"/>
                <a:gd name="connsiteX83" fmla="*/ 77785 w 2048870"/>
                <a:gd name="connsiteY83" fmla="*/ 478806 h 1410492"/>
                <a:gd name="connsiteX84" fmla="*/ 79513 w 2048870"/>
                <a:gd name="connsiteY84" fmla="*/ 485721 h 1410492"/>
                <a:gd name="connsiteX85" fmla="*/ 72599 w 2048870"/>
                <a:gd name="connsiteY85" fmla="*/ 489178 h 1410492"/>
                <a:gd name="connsiteX86" fmla="*/ 63957 w 2048870"/>
                <a:gd name="connsiteY86" fmla="*/ 487449 h 1410492"/>
                <a:gd name="connsiteX87" fmla="*/ 76056 w 2048870"/>
                <a:gd name="connsiteY87" fmla="*/ 485721 h 1410492"/>
                <a:gd name="connsiteX88" fmla="*/ 86428 w 2048870"/>
                <a:gd name="connsiteY88" fmla="*/ 483992 h 1410492"/>
                <a:gd name="connsiteX89" fmla="*/ 84699 w 2048870"/>
                <a:gd name="connsiteY89" fmla="*/ 494363 h 1410492"/>
                <a:gd name="connsiteX90" fmla="*/ 86428 w 2048870"/>
                <a:gd name="connsiteY90" fmla="*/ 501277 h 1410492"/>
                <a:gd name="connsiteX91" fmla="*/ 96799 w 2048870"/>
                <a:gd name="connsiteY91" fmla="*/ 515106 h 1410492"/>
                <a:gd name="connsiteX92" fmla="*/ 101985 w 2048870"/>
                <a:gd name="connsiteY92" fmla="*/ 516834 h 1410492"/>
                <a:gd name="connsiteX93" fmla="*/ 114084 w 2048870"/>
                <a:gd name="connsiteY93" fmla="*/ 520291 h 1410492"/>
                <a:gd name="connsiteX94" fmla="*/ 119270 w 2048870"/>
                <a:gd name="connsiteY94" fmla="*/ 525477 h 1410492"/>
                <a:gd name="connsiteX95" fmla="*/ 133098 w 2048870"/>
                <a:gd name="connsiteY95" fmla="*/ 535848 h 1410492"/>
                <a:gd name="connsiteX96" fmla="*/ 136555 w 2048870"/>
                <a:gd name="connsiteY96" fmla="*/ 542762 h 1410492"/>
                <a:gd name="connsiteX97" fmla="*/ 134827 w 2048870"/>
                <a:gd name="connsiteY97" fmla="*/ 572148 h 1410492"/>
                <a:gd name="connsiteX98" fmla="*/ 140012 w 2048870"/>
                <a:gd name="connsiteY98" fmla="*/ 573876 h 1410492"/>
                <a:gd name="connsiteX99" fmla="*/ 143470 w 2048870"/>
                <a:gd name="connsiteY99" fmla="*/ 577333 h 1410492"/>
                <a:gd name="connsiteX100" fmla="*/ 146927 w 2048870"/>
                <a:gd name="connsiteY100" fmla="*/ 589433 h 1410492"/>
                <a:gd name="connsiteX101" fmla="*/ 150384 w 2048870"/>
                <a:gd name="connsiteY101" fmla="*/ 598076 h 1410492"/>
                <a:gd name="connsiteX102" fmla="*/ 148655 w 2048870"/>
                <a:gd name="connsiteY102" fmla="*/ 617090 h 1410492"/>
                <a:gd name="connsiteX103" fmla="*/ 146927 w 2048870"/>
                <a:gd name="connsiteY103" fmla="*/ 622276 h 1410492"/>
                <a:gd name="connsiteX104" fmla="*/ 141741 w 2048870"/>
                <a:gd name="connsiteY104" fmla="*/ 627461 h 1410492"/>
                <a:gd name="connsiteX105" fmla="*/ 136555 w 2048870"/>
                <a:gd name="connsiteY105" fmla="*/ 634375 h 1410492"/>
                <a:gd name="connsiteX106" fmla="*/ 120999 w 2048870"/>
                <a:gd name="connsiteY106" fmla="*/ 639561 h 1410492"/>
                <a:gd name="connsiteX107" fmla="*/ 95070 w 2048870"/>
                <a:gd name="connsiteY107" fmla="*/ 665489 h 1410492"/>
                <a:gd name="connsiteX108" fmla="*/ 89885 w 2048870"/>
                <a:gd name="connsiteY108" fmla="*/ 670675 h 1410492"/>
                <a:gd name="connsiteX109" fmla="*/ 86428 w 2048870"/>
                <a:gd name="connsiteY109" fmla="*/ 675860 h 1410492"/>
                <a:gd name="connsiteX110" fmla="*/ 81242 w 2048870"/>
                <a:gd name="connsiteY110" fmla="*/ 677589 h 1410492"/>
                <a:gd name="connsiteX111" fmla="*/ 77785 w 2048870"/>
                <a:gd name="connsiteY111" fmla="*/ 682775 h 1410492"/>
                <a:gd name="connsiteX112" fmla="*/ 63957 w 2048870"/>
                <a:gd name="connsiteY112" fmla="*/ 689689 h 1410492"/>
                <a:gd name="connsiteX113" fmla="*/ 60499 w 2048870"/>
                <a:gd name="connsiteY113" fmla="*/ 706974 h 1410492"/>
                <a:gd name="connsiteX114" fmla="*/ 50128 w 2048870"/>
                <a:gd name="connsiteY114" fmla="*/ 720803 h 1410492"/>
                <a:gd name="connsiteX115" fmla="*/ 48400 w 2048870"/>
                <a:gd name="connsiteY115" fmla="*/ 725988 h 1410492"/>
                <a:gd name="connsiteX116" fmla="*/ 46671 w 2048870"/>
                <a:gd name="connsiteY116" fmla="*/ 732902 h 1410492"/>
                <a:gd name="connsiteX117" fmla="*/ 25929 w 2048870"/>
                <a:gd name="connsiteY117" fmla="*/ 751916 h 1410492"/>
                <a:gd name="connsiteX118" fmla="*/ 19014 w 2048870"/>
                <a:gd name="connsiteY118" fmla="*/ 776116 h 1410492"/>
                <a:gd name="connsiteX119" fmla="*/ 12100 w 2048870"/>
                <a:gd name="connsiteY119" fmla="*/ 789944 h 1410492"/>
                <a:gd name="connsiteX120" fmla="*/ 17286 w 2048870"/>
                <a:gd name="connsiteY120" fmla="*/ 822787 h 1410492"/>
                <a:gd name="connsiteX121" fmla="*/ 25929 w 2048870"/>
                <a:gd name="connsiteY121" fmla="*/ 829701 h 1410492"/>
                <a:gd name="connsiteX122" fmla="*/ 29386 w 2048870"/>
                <a:gd name="connsiteY122" fmla="*/ 838344 h 1410492"/>
                <a:gd name="connsiteX123" fmla="*/ 36300 w 2048870"/>
                <a:gd name="connsiteY123" fmla="*/ 843529 h 1410492"/>
                <a:gd name="connsiteX124" fmla="*/ 38028 w 2048870"/>
                <a:gd name="connsiteY124" fmla="*/ 852172 h 1410492"/>
                <a:gd name="connsiteX125" fmla="*/ 43214 w 2048870"/>
                <a:gd name="connsiteY125" fmla="*/ 864272 h 1410492"/>
                <a:gd name="connsiteX126" fmla="*/ 44943 w 2048870"/>
                <a:gd name="connsiteY126" fmla="*/ 874643 h 1410492"/>
                <a:gd name="connsiteX127" fmla="*/ 51857 w 2048870"/>
                <a:gd name="connsiteY127" fmla="*/ 876372 h 1410492"/>
                <a:gd name="connsiteX128" fmla="*/ 53585 w 2048870"/>
                <a:gd name="connsiteY128" fmla="*/ 883286 h 1410492"/>
                <a:gd name="connsiteX129" fmla="*/ 58771 w 2048870"/>
                <a:gd name="connsiteY129" fmla="*/ 886743 h 1410492"/>
                <a:gd name="connsiteX130" fmla="*/ 51857 w 2048870"/>
                <a:gd name="connsiteY130" fmla="*/ 898843 h 1410492"/>
                <a:gd name="connsiteX131" fmla="*/ 43214 w 2048870"/>
                <a:gd name="connsiteY131" fmla="*/ 904028 h 1410492"/>
                <a:gd name="connsiteX132" fmla="*/ 29386 w 2048870"/>
                <a:gd name="connsiteY132" fmla="*/ 909214 h 1410492"/>
                <a:gd name="connsiteX133" fmla="*/ 27657 w 2048870"/>
                <a:gd name="connsiteY133" fmla="*/ 919585 h 1410492"/>
                <a:gd name="connsiteX134" fmla="*/ 25929 w 2048870"/>
                <a:gd name="connsiteY134" fmla="*/ 926499 h 1410492"/>
                <a:gd name="connsiteX135" fmla="*/ 19014 w 2048870"/>
                <a:gd name="connsiteY135" fmla="*/ 955885 h 1410492"/>
                <a:gd name="connsiteX136" fmla="*/ 10372 w 2048870"/>
                <a:gd name="connsiteY136" fmla="*/ 969713 h 1410492"/>
                <a:gd name="connsiteX137" fmla="*/ 8643 w 2048870"/>
                <a:gd name="connsiteY137" fmla="*/ 990455 h 1410492"/>
                <a:gd name="connsiteX138" fmla="*/ 0 w 2048870"/>
                <a:gd name="connsiteY138" fmla="*/ 999098 h 1410492"/>
                <a:gd name="connsiteX139" fmla="*/ 6915 w 2048870"/>
                <a:gd name="connsiteY139" fmla="*/ 1023298 h 1410492"/>
                <a:gd name="connsiteX140" fmla="*/ 15557 w 2048870"/>
                <a:gd name="connsiteY140" fmla="*/ 1025026 h 1410492"/>
                <a:gd name="connsiteX141" fmla="*/ 22471 w 2048870"/>
                <a:gd name="connsiteY141" fmla="*/ 1030212 h 1410492"/>
                <a:gd name="connsiteX142" fmla="*/ 27657 w 2048870"/>
                <a:gd name="connsiteY142" fmla="*/ 1031941 h 1410492"/>
                <a:gd name="connsiteX143" fmla="*/ 34571 w 2048870"/>
                <a:gd name="connsiteY143" fmla="*/ 1035398 h 1410492"/>
                <a:gd name="connsiteX144" fmla="*/ 39757 w 2048870"/>
                <a:gd name="connsiteY144" fmla="*/ 1042312 h 1410492"/>
                <a:gd name="connsiteX145" fmla="*/ 43214 w 2048870"/>
                <a:gd name="connsiteY145" fmla="*/ 1047497 h 1410492"/>
                <a:gd name="connsiteX146" fmla="*/ 53585 w 2048870"/>
                <a:gd name="connsiteY146" fmla="*/ 1052683 h 1410492"/>
                <a:gd name="connsiteX147" fmla="*/ 95070 w 2048870"/>
                <a:gd name="connsiteY147" fmla="*/ 1061326 h 1410492"/>
                <a:gd name="connsiteX148" fmla="*/ 96799 w 2048870"/>
                <a:gd name="connsiteY148" fmla="*/ 1073426 h 1410492"/>
                <a:gd name="connsiteX149" fmla="*/ 101985 w 2048870"/>
                <a:gd name="connsiteY149" fmla="*/ 1075154 h 1410492"/>
                <a:gd name="connsiteX150" fmla="*/ 112356 w 2048870"/>
                <a:gd name="connsiteY150" fmla="*/ 1066511 h 1410492"/>
                <a:gd name="connsiteX151" fmla="*/ 119270 w 2048870"/>
                <a:gd name="connsiteY151" fmla="*/ 1059597 h 1410492"/>
                <a:gd name="connsiteX152" fmla="*/ 120999 w 2048870"/>
                <a:gd name="connsiteY152" fmla="*/ 1054412 h 1410492"/>
                <a:gd name="connsiteX153" fmla="*/ 134827 w 2048870"/>
                <a:gd name="connsiteY153" fmla="*/ 1061326 h 1410492"/>
                <a:gd name="connsiteX154" fmla="*/ 141741 w 2048870"/>
                <a:gd name="connsiteY154" fmla="*/ 1063054 h 1410492"/>
                <a:gd name="connsiteX155" fmla="*/ 146927 w 2048870"/>
                <a:gd name="connsiteY155" fmla="*/ 1064783 h 1410492"/>
                <a:gd name="connsiteX156" fmla="*/ 247182 w 2048870"/>
                <a:gd name="connsiteY156" fmla="*/ 1068240 h 1410492"/>
                <a:gd name="connsiteX157" fmla="*/ 266196 w 2048870"/>
                <a:gd name="connsiteY157" fmla="*/ 1064783 h 1410492"/>
                <a:gd name="connsiteX158" fmla="*/ 276568 w 2048870"/>
                <a:gd name="connsiteY158" fmla="*/ 1059597 h 1410492"/>
                <a:gd name="connsiteX159" fmla="*/ 285210 w 2048870"/>
                <a:gd name="connsiteY159" fmla="*/ 1049226 h 1410492"/>
                <a:gd name="connsiteX160" fmla="*/ 295581 w 2048870"/>
                <a:gd name="connsiteY160" fmla="*/ 1052683 h 1410492"/>
                <a:gd name="connsiteX161" fmla="*/ 299039 w 2048870"/>
                <a:gd name="connsiteY161" fmla="*/ 1059597 h 1410492"/>
                <a:gd name="connsiteX162" fmla="*/ 312867 w 2048870"/>
                <a:gd name="connsiteY162" fmla="*/ 1071697 h 1410492"/>
                <a:gd name="connsiteX163" fmla="*/ 338795 w 2048870"/>
                <a:gd name="connsiteY163" fmla="*/ 1078611 h 1410492"/>
                <a:gd name="connsiteX164" fmla="*/ 361266 w 2048870"/>
                <a:gd name="connsiteY164" fmla="*/ 1075154 h 1410492"/>
                <a:gd name="connsiteX165" fmla="*/ 362995 w 2048870"/>
                <a:gd name="connsiteY165" fmla="*/ 1068240 h 1410492"/>
                <a:gd name="connsiteX166" fmla="*/ 373366 w 2048870"/>
                <a:gd name="connsiteY166" fmla="*/ 1050955 h 1410492"/>
                <a:gd name="connsiteX167" fmla="*/ 378552 w 2048870"/>
                <a:gd name="connsiteY167" fmla="*/ 1045769 h 1410492"/>
                <a:gd name="connsiteX168" fmla="*/ 397566 w 2048870"/>
                <a:gd name="connsiteY168" fmla="*/ 1038855 h 1410492"/>
                <a:gd name="connsiteX169" fmla="*/ 432137 w 2048870"/>
                <a:gd name="connsiteY169" fmla="*/ 1035398 h 1410492"/>
                <a:gd name="connsiteX170" fmla="*/ 444236 w 2048870"/>
                <a:gd name="connsiteY170" fmla="*/ 1031941 h 1410492"/>
                <a:gd name="connsiteX171" fmla="*/ 447693 w 2048870"/>
                <a:gd name="connsiteY171" fmla="*/ 1025026 h 1410492"/>
                <a:gd name="connsiteX172" fmla="*/ 452879 w 2048870"/>
                <a:gd name="connsiteY172" fmla="*/ 1021569 h 1410492"/>
                <a:gd name="connsiteX173" fmla="*/ 468436 w 2048870"/>
                <a:gd name="connsiteY173" fmla="*/ 1011198 h 1410492"/>
                <a:gd name="connsiteX174" fmla="*/ 473622 w 2048870"/>
                <a:gd name="connsiteY174" fmla="*/ 999098 h 1410492"/>
                <a:gd name="connsiteX175" fmla="*/ 478807 w 2048870"/>
                <a:gd name="connsiteY175" fmla="*/ 986998 h 1410492"/>
                <a:gd name="connsiteX176" fmla="*/ 485721 w 2048870"/>
                <a:gd name="connsiteY176" fmla="*/ 980084 h 1410492"/>
                <a:gd name="connsiteX177" fmla="*/ 489178 w 2048870"/>
                <a:gd name="connsiteY177" fmla="*/ 974899 h 1410492"/>
                <a:gd name="connsiteX178" fmla="*/ 511650 w 2048870"/>
                <a:gd name="connsiteY178" fmla="*/ 955885 h 1410492"/>
                <a:gd name="connsiteX179" fmla="*/ 530664 w 2048870"/>
                <a:gd name="connsiteY179" fmla="*/ 947242 h 1410492"/>
                <a:gd name="connsiteX180" fmla="*/ 537578 w 2048870"/>
                <a:gd name="connsiteY180" fmla="*/ 933414 h 1410492"/>
                <a:gd name="connsiteX181" fmla="*/ 539306 w 2048870"/>
                <a:gd name="connsiteY181" fmla="*/ 928228 h 1410492"/>
                <a:gd name="connsiteX182" fmla="*/ 541035 w 2048870"/>
                <a:gd name="connsiteY182" fmla="*/ 921314 h 1410492"/>
                <a:gd name="connsiteX183" fmla="*/ 563506 w 2048870"/>
                <a:gd name="connsiteY183" fmla="*/ 917857 h 1410492"/>
                <a:gd name="connsiteX184" fmla="*/ 568692 w 2048870"/>
                <a:gd name="connsiteY184" fmla="*/ 916128 h 1410492"/>
                <a:gd name="connsiteX185" fmla="*/ 584248 w 2048870"/>
                <a:gd name="connsiteY185" fmla="*/ 914400 h 1410492"/>
                <a:gd name="connsiteX186" fmla="*/ 589434 w 2048870"/>
                <a:gd name="connsiteY186" fmla="*/ 910942 h 1410492"/>
                <a:gd name="connsiteX187" fmla="*/ 599805 w 2048870"/>
                <a:gd name="connsiteY187" fmla="*/ 905757 h 1410492"/>
                <a:gd name="connsiteX188" fmla="*/ 604991 w 2048870"/>
                <a:gd name="connsiteY188" fmla="*/ 900571 h 1410492"/>
                <a:gd name="connsiteX189" fmla="*/ 606719 w 2048870"/>
                <a:gd name="connsiteY189" fmla="*/ 895386 h 1410492"/>
                <a:gd name="connsiteX190" fmla="*/ 615362 w 2048870"/>
                <a:gd name="connsiteY190" fmla="*/ 891928 h 1410492"/>
                <a:gd name="connsiteX191" fmla="*/ 620548 w 2048870"/>
                <a:gd name="connsiteY191" fmla="*/ 886743 h 1410492"/>
                <a:gd name="connsiteX192" fmla="*/ 639562 w 2048870"/>
                <a:gd name="connsiteY192" fmla="*/ 879829 h 1410492"/>
                <a:gd name="connsiteX193" fmla="*/ 653390 w 2048870"/>
                <a:gd name="connsiteY193" fmla="*/ 883286 h 1410492"/>
                <a:gd name="connsiteX194" fmla="*/ 660304 w 2048870"/>
                <a:gd name="connsiteY194" fmla="*/ 885014 h 1410492"/>
                <a:gd name="connsiteX195" fmla="*/ 668947 w 2048870"/>
                <a:gd name="connsiteY195" fmla="*/ 886743 h 1410492"/>
                <a:gd name="connsiteX196" fmla="*/ 675861 w 2048870"/>
                <a:gd name="connsiteY196" fmla="*/ 890200 h 1410492"/>
                <a:gd name="connsiteX197" fmla="*/ 682775 w 2048870"/>
                <a:gd name="connsiteY197" fmla="*/ 891928 h 1410492"/>
                <a:gd name="connsiteX198" fmla="*/ 687961 w 2048870"/>
                <a:gd name="connsiteY198" fmla="*/ 895386 h 1410492"/>
                <a:gd name="connsiteX199" fmla="*/ 700061 w 2048870"/>
                <a:gd name="connsiteY199" fmla="*/ 898843 h 1410492"/>
                <a:gd name="connsiteX200" fmla="*/ 706975 w 2048870"/>
                <a:gd name="connsiteY200" fmla="*/ 904028 h 1410492"/>
                <a:gd name="connsiteX201" fmla="*/ 720803 w 2048870"/>
                <a:gd name="connsiteY201" fmla="*/ 907485 h 1410492"/>
                <a:gd name="connsiteX202" fmla="*/ 727718 w 2048870"/>
                <a:gd name="connsiteY202" fmla="*/ 905757 h 1410492"/>
                <a:gd name="connsiteX203" fmla="*/ 736360 w 2048870"/>
                <a:gd name="connsiteY203" fmla="*/ 904028 h 1410492"/>
                <a:gd name="connsiteX204" fmla="*/ 738089 w 2048870"/>
                <a:gd name="connsiteY204" fmla="*/ 910942 h 1410492"/>
                <a:gd name="connsiteX205" fmla="*/ 760560 w 2048870"/>
                <a:gd name="connsiteY205" fmla="*/ 904028 h 1410492"/>
                <a:gd name="connsiteX206" fmla="*/ 770931 w 2048870"/>
                <a:gd name="connsiteY206" fmla="*/ 895386 h 1410492"/>
                <a:gd name="connsiteX207" fmla="*/ 776117 w 2048870"/>
                <a:gd name="connsiteY207" fmla="*/ 909214 h 1410492"/>
                <a:gd name="connsiteX208" fmla="*/ 783031 w 2048870"/>
                <a:gd name="connsiteY208" fmla="*/ 914400 h 1410492"/>
                <a:gd name="connsiteX209" fmla="*/ 788217 w 2048870"/>
                <a:gd name="connsiteY209" fmla="*/ 919585 h 1410492"/>
                <a:gd name="connsiteX210" fmla="*/ 793402 w 2048870"/>
                <a:gd name="connsiteY210" fmla="*/ 923042 h 1410492"/>
                <a:gd name="connsiteX211" fmla="*/ 798588 w 2048870"/>
                <a:gd name="connsiteY211" fmla="*/ 928228 h 1410492"/>
                <a:gd name="connsiteX212" fmla="*/ 815873 w 2048870"/>
                <a:gd name="connsiteY212" fmla="*/ 935142 h 1410492"/>
                <a:gd name="connsiteX213" fmla="*/ 821059 w 2048870"/>
                <a:gd name="connsiteY213" fmla="*/ 926499 h 1410492"/>
                <a:gd name="connsiteX214" fmla="*/ 824516 w 2048870"/>
                <a:gd name="connsiteY214" fmla="*/ 910942 h 1410492"/>
                <a:gd name="connsiteX215" fmla="*/ 833159 w 2048870"/>
                <a:gd name="connsiteY215" fmla="*/ 912671 h 1410492"/>
                <a:gd name="connsiteX216" fmla="*/ 838344 w 2048870"/>
                <a:gd name="connsiteY216" fmla="*/ 926499 h 1410492"/>
                <a:gd name="connsiteX217" fmla="*/ 841802 w 2048870"/>
                <a:gd name="connsiteY217" fmla="*/ 929956 h 1410492"/>
                <a:gd name="connsiteX218" fmla="*/ 850444 w 2048870"/>
                <a:gd name="connsiteY218" fmla="*/ 948970 h 1410492"/>
                <a:gd name="connsiteX219" fmla="*/ 853901 w 2048870"/>
                <a:gd name="connsiteY219" fmla="*/ 954156 h 1410492"/>
                <a:gd name="connsiteX220" fmla="*/ 859087 w 2048870"/>
                <a:gd name="connsiteY220" fmla="*/ 988727 h 1410492"/>
                <a:gd name="connsiteX221" fmla="*/ 864273 w 2048870"/>
                <a:gd name="connsiteY221" fmla="*/ 1009469 h 1410492"/>
                <a:gd name="connsiteX222" fmla="*/ 878101 w 2048870"/>
                <a:gd name="connsiteY222" fmla="*/ 1012927 h 1410492"/>
                <a:gd name="connsiteX223" fmla="*/ 885015 w 2048870"/>
                <a:gd name="connsiteY223" fmla="*/ 1016384 h 1410492"/>
                <a:gd name="connsiteX224" fmla="*/ 888472 w 2048870"/>
                <a:gd name="connsiteY224" fmla="*/ 1021569 h 1410492"/>
                <a:gd name="connsiteX225" fmla="*/ 900572 w 2048870"/>
                <a:gd name="connsiteY225" fmla="*/ 1026755 h 1410492"/>
                <a:gd name="connsiteX226" fmla="*/ 905758 w 2048870"/>
                <a:gd name="connsiteY226" fmla="*/ 1033669 h 1410492"/>
                <a:gd name="connsiteX227" fmla="*/ 909215 w 2048870"/>
                <a:gd name="connsiteY227" fmla="*/ 1040583 h 1410492"/>
                <a:gd name="connsiteX228" fmla="*/ 912672 w 2048870"/>
                <a:gd name="connsiteY228" fmla="*/ 1045769 h 1410492"/>
                <a:gd name="connsiteX229" fmla="*/ 921315 w 2048870"/>
                <a:gd name="connsiteY229" fmla="*/ 1061326 h 1410492"/>
                <a:gd name="connsiteX230" fmla="*/ 928229 w 2048870"/>
                <a:gd name="connsiteY230" fmla="*/ 1082068 h 1410492"/>
                <a:gd name="connsiteX231" fmla="*/ 929957 w 2048870"/>
                <a:gd name="connsiteY231" fmla="*/ 1088983 h 1410492"/>
                <a:gd name="connsiteX232" fmla="*/ 940329 w 2048870"/>
                <a:gd name="connsiteY232" fmla="*/ 1095897 h 1410492"/>
                <a:gd name="connsiteX233" fmla="*/ 959343 w 2048870"/>
                <a:gd name="connsiteY233" fmla="*/ 1097625 h 1410492"/>
                <a:gd name="connsiteX234" fmla="*/ 967985 w 2048870"/>
                <a:gd name="connsiteY234" fmla="*/ 1101082 h 1410492"/>
                <a:gd name="connsiteX235" fmla="*/ 973171 w 2048870"/>
                <a:gd name="connsiteY235" fmla="*/ 1106268 h 1410492"/>
                <a:gd name="connsiteX236" fmla="*/ 978357 w 2048870"/>
                <a:gd name="connsiteY236" fmla="*/ 1109725 h 1410492"/>
                <a:gd name="connsiteX237" fmla="*/ 983542 w 2048870"/>
                <a:gd name="connsiteY237" fmla="*/ 1118368 h 1410492"/>
                <a:gd name="connsiteX238" fmla="*/ 985271 w 2048870"/>
                <a:gd name="connsiteY238" fmla="*/ 1132196 h 1410492"/>
                <a:gd name="connsiteX239" fmla="*/ 992185 w 2048870"/>
                <a:gd name="connsiteY239" fmla="*/ 1139110 h 1410492"/>
                <a:gd name="connsiteX240" fmla="*/ 1006013 w 2048870"/>
                <a:gd name="connsiteY240" fmla="*/ 1147753 h 1410492"/>
                <a:gd name="connsiteX241" fmla="*/ 1019842 w 2048870"/>
                <a:gd name="connsiteY241" fmla="*/ 1165038 h 1410492"/>
                <a:gd name="connsiteX242" fmla="*/ 1012927 w 2048870"/>
                <a:gd name="connsiteY242" fmla="*/ 1168496 h 1410492"/>
                <a:gd name="connsiteX243" fmla="*/ 1009470 w 2048870"/>
                <a:gd name="connsiteY243" fmla="*/ 1173681 h 1410492"/>
                <a:gd name="connsiteX244" fmla="*/ 997371 w 2048870"/>
                <a:gd name="connsiteY244" fmla="*/ 1177138 h 1410492"/>
                <a:gd name="connsiteX245" fmla="*/ 990456 w 2048870"/>
                <a:gd name="connsiteY245" fmla="*/ 1182324 h 1410492"/>
                <a:gd name="connsiteX246" fmla="*/ 973171 w 2048870"/>
                <a:gd name="connsiteY246" fmla="*/ 1182324 h 1410492"/>
                <a:gd name="connsiteX247" fmla="*/ 971442 w 2048870"/>
                <a:gd name="connsiteY247" fmla="*/ 1161581 h 1410492"/>
                <a:gd name="connsiteX248" fmla="*/ 962800 w 2048870"/>
                <a:gd name="connsiteY248" fmla="*/ 1171953 h 1410492"/>
                <a:gd name="connsiteX249" fmla="*/ 959343 w 2048870"/>
                <a:gd name="connsiteY249" fmla="*/ 1178867 h 1410492"/>
                <a:gd name="connsiteX250" fmla="*/ 955885 w 2048870"/>
                <a:gd name="connsiteY250" fmla="*/ 1184052 h 1410492"/>
                <a:gd name="connsiteX251" fmla="*/ 947243 w 2048870"/>
                <a:gd name="connsiteY251" fmla="*/ 1187510 h 1410492"/>
                <a:gd name="connsiteX252" fmla="*/ 940329 w 2048870"/>
                <a:gd name="connsiteY252" fmla="*/ 1190967 h 1410492"/>
                <a:gd name="connsiteX253" fmla="*/ 935143 w 2048870"/>
                <a:gd name="connsiteY253" fmla="*/ 1189238 h 1410492"/>
                <a:gd name="connsiteX254" fmla="*/ 929957 w 2048870"/>
                <a:gd name="connsiteY254" fmla="*/ 1171953 h 1410492"/>
                <a:gd name="connsiteX255" fmla="*/ 926500 w 2048870"/>
                <a:gd name="connsiteY255" fmla="*/ 1165038 h 1410492"/>
                <a:gd name="connsiteX256" fmla="*/ 921315 w 2048870"/>
                <a:gd name="connsiteY256" fmla="*/ 1178867 h 1410492"/>
                <a:gd name="connsiteX257" fmla="*/ 917857 w 2048870"/>
                <a:gd name="connsiteY257" fmla="*/ 1182324 h 1410492"/>
                <a:gd name="connsiteX258" fmla="*/ 914400 w 2048870"/>
                <a:gd name="connsiteY258" fmla="*/ 1194424 h 1410492"/>
                <a:gd name="connsiteX259" fmla="*/ 909215 w 2048870"/>
                <a:gd name="connsiteY259" fmla="*/ 1199609 h 1410492"/>
                <a:gd name="connsiteX260" fmla="*/ 886744 w 2048870"/>
                <a:gd name="connsiteY260" fmla="*/ 1180595 h 1410492"/>
                <a:gd name="connsiteX261" fmla="*/ 883287 w 2048870"/>
                <a:gd name="connsiteY261" fmla="*/ 1189238 h 1410492"/>
                <a:gd name="connsiteX262" fmla="*/ 879830 w 2048870"/>
                <a:gd name="connsiteY262" fmla="*/ 1194424 h 1410492"/>
                <a:gd name="connsiteX263" fmla="*/ 874644 w 2048870"/>
                <a:gd name="connsiteY263" fmla="*/ 1204795 h 1410492"/>
                <a:gd name="connsiteX264" fmla="*/ 879830 w 2048870"/>
                <a:gd name="connsiteY264" fmla="*/ 1211709 h 1410492"/>
                <a:gd name="connsiteX265" fmla="*/ 890201 w 2048870"/>
                <a:gd name="connsiteY265" fmla="*/ 1215166 h 1410492"/>
                <a:gd name="connsiteX266" fmla="*/ 893658 w 2048870"/>
                <a:gd name="connsiteY266" fmla="*/ 1235909 h 1410492"/>
                <a:gd name="connsiteX267" fmla="*/ 891929 w 2048870"/>
                <a:gd name="connsiteY267" fmla="*/ 1258380 h 1410492"/>
                <a:gd name="connsiteX268" fmla="*/ 890201 w 2048870"/>
                <a:gd name="connsiteY268" fmla="*/ 1263565 h 1410492"/>
                <a:gd name="connsiteX269" fmla="*/ 878101 w 2048870"/>
                <a:gd name="connsiteY269" fmla="*/ 1275665 h 1410492"/>
                <a:gd name="connsiteX270" fmla="*/ 871187 w 2048870"/>
                <a:gd name="connsiteY270" fmla="*/ 1282579 h 1410492"/>
                <a:gd name="connsiteX271" fmla="*/ 876372 w 2048870"/>
                <a:gd name="connsiteY271" fmla="*/ 1287765 h 1410492"/>
                <a:gd name="connsiteX272" fmla="*/ 874644 w 2048870"/>
                <a:gd name="connsiteY272" fmla="*/ 1306779 h 1410492"/>
                <a:gd name="connsiteX273" fmla="*/ 869458 w 2048870"/>
                <a:gd name="connsiteY273" fmla="*/ 1308508 h 1410492"/>
                <a:gd name="connsiteX274" fmla="*/ 864273 w 2048870"/>
                <a:gd name="connsiteY274" fmla="*/ 1320607 h 1410492"/>
                <a:gd name="connsiteX275" fmla="*/ 862544 w 2048870"/>
                <a:gd name="connsiteY275" fmla="*/ 1360364 h 1410492"/>
                <a:gd name="connsiteX276" fmla="*/ 857358 w 2048870"/>
                <a:gd name="connsiteY276" fmla="*/ 1363821 h 1410492"/>
                <a:gd name="connsiteX277" fmla="*/ 852173 w 2048870"/>
                <a:gd name="connsiteY277" fmla="*/ 1365550 h 1410492"/>
                <a:gd name="connsiteX278" fmla="*/ 850444 w 2048870"/>
                <a:gd name="connsiteY278" fmla="*/ 1370735 h 1410492"/>
                <a:gd name="connsiteX279" fmla="*/ 838344 w 2048870"/>
                <a:gd name="connsiteY279" fmla="*/ 1379378 h 1410492"/>
                <a:gd name="connsiteX280" fmla="*/ 841802 w 2048870"/>
                <a:gd name="connsiteY280" fmla="*/ 1389749 h 1410492"/>
                <a:gd name="connsiteX281" fmla="*/ 845259 w 2048870"/>
                <a:gd name="connsiteY281" fmla="*/ 1398392 h 1410492"/>
                <a:gd name="connsiteX282" fmla="*/ 852173 w 2048870"/>
                <a:gd name="connsiteY282" fmla="*/ 1403578 h 1410492"/>
                <a:gd name="connsiteX283" fmla="*/ 859087 w 2048870"/>
                <a:gd name="connsiteY283" fmla="*/ 1410492 h 1410492"/>
                <a:gd name="connsiteX284" fmla="*/ 885015 w 2048870"/>
                <a:gd name="connsiteY284" fmla="*/ 1408763 h 1410492"/>
                <a:gd name="connsiteX285" fmla="*/ 890201 w 2048870"/>
                <a:gd name="connsiteY285" fmla="*/ 1403578 h 1410492"/>
                <a:gd name="connsiteX286" fmla="*/ 905758 w 2048870"/>
                <a:gd name="connsiteY286" fmla="*/ 1396663 h 1410492"/>
                <a:gd name="connsiteX287" fmla="*/ 921315 w 2048870"/>
                <a:gd name="connsiteY287" fmla="*/ 1388021 h 1410492"/>
                <a:gd name="connsiteX288" fmla="*/ 919586 w 2048870"/>
                <a:gd name="connsiteY288" fmla="*/ 1382835 h 1410492"/>
                <a:gd name="connsiteX289" fmla="*/ 938600 w 2048870"/>
                <a:gd name="connsiteY289" fmla="*/ 1367278 h 1410492"/>
                <a:gd name="connsiteX290" fmla="*/ 943786 w 2048870"/>
                <a:gd name="connsiteY290" fmla="*/ 1362093 h 1410492"/>
                <a:gd name="connsiteX291" fmla="*/ 954157 w 2048870"/>
                <a:gd name="connsiteY291" fmla="*/ 1360364 h 1410492"/>
                <a:gd name="connsiteX292" fmla="*/ 993913 w 2048870"/>
                <a:gd name="connsiteY292" fmla="*/ 1356907 h 1410492"/>
                <a:gd name="connsiteX293" fmla="*/ 997371 w 2048870"/>
                <a:gd name="connsiteY293" fmla="*/ 1349993 h 1410492"/>
                <a:gd name="connsiteX294" fmla="*/ 1009470 w 2048870"/>
                <a:gd name="connsiteY294" fmla="*/ 1344807 h 1410492"/>
                <a:gd name="connsiteX295" fmla="*/ 997371 w 2048870"/>
                <a:gd name="connsiteY295" fmla="*/ 1334436 h 1410492"/>
                <a:gd name="connsiteX296" fmla="*/ 993913 w 2048870"/>
                <a:gd name="connsiteY296" fmla="*/ 1327522 h 1410492"/>
                <a:gd name="connsiteX297" fmla="*/ 988728 w 2048870"/>
                <a:gd name="connsiteY297" fmla="*/ 1322336 h 1410492"/>
                <a:gd name="connsiteX298" fmla="*/ 985271 w 2048870"/>
                <a:gd name="connsiteY298" fmla="*/ 1310236 h 1410492"/>
                <a:gd name="connsiteX299" fmla="*/ 981814 w 2048870"/>
                <a:gd name="connsiteY299" fmla="*/ 1299865 h 1410492"/>
                <a:gd name="connsiteX300" fmla="*/ 990456 w 2048870"/>
                <a:gd name="connsiteY300" fmla="*/ 1287765 h 1410492"/>
                <a:gd name="connsiteX301" fmla="*/ 992185 w 2048870"/>
                <a:gd name="connsiteY301" fmla="*/ 1292951 h 1410492"/>
                <a:gd name="connsiteX302" fmla="*/ 1014656 w 2048870"/>
                <a:gd name="connsiteY302" fmla="*/ 1299865 h 1410492"/>
                <a:gd name="connsiteX303" fmla="*/ 1016385 w 2048870"/>
                <a:gd name="connsiteY303" fmla="*/ 1294679 h 1410492"/>
                <a:gd name="connsiteX304" fmla="*/ 1018113 w 2048870"/>
                <a:gd name="connsiteY304" fmla="*/ 1284308 h 1410492"/>
                <a:gd name="connsiteX305" fmla="*/ 1031941 w 2048870"/>
                <a:gd name="connsiteY305" fmla="*/ 1270480 h 1410492"/>
                <a:gd name="connsiteX306" fmla="*/ 1037127 w 2048870"/>
                <a:gd name="connsiteY306" fmla="*/ 1265294 h 1410492"/>
                <a:gd name="connsiteX307" fmla="*/ 1038856 w 2048870"/>
                <a:gd name="connsiteY307" fmla="*/ 1260108 h 1410492"/>
                <a:gd name="connsiteX308" fmla="*/ 1054412 w 2048870"/>
                <a:gd name="connsiteY308" fmla="*/ 1251466 h 1410492"/>
                <a:gd name="connsiteX309" fmla="*/ 1063055 w 2048870"/>
                <a:gd name="connsiteY309" fmla="*/ 1242823 h 1410492"/>
                <a:gd name="connsiteX310" fmla="*/ 1068241 w 2048870"/>
                <a:gd name="connsiteY310" fmla="*/ 1223809 h 1410492"/>
                <a:gd name="connsiteX311" fmla="*/ 1069969 w 2048870"/>
                <a:gd name="connsiteY311" fmla="*/ 1215166 h 1410492"/>
                <a:gd name="connsiteX312" fmla="*/ 1075155 w 2048870"/>
                <a:gd name="connsiteY312" fmla="*/ 1201338 h 1410492"/>
                <a:gd name="connsiteX313" fmla="*/ 1080341 w 2048870"/>
                <a:gd name="connsiteY313" fmla="*/ 1175410 h 1410492"/>
                <a:gd name="connsiteX314" fmla="*/ 1082069 w 2048870"/>
                <a:gd name="connsiteY314" fmla="*/ 1170224 h 1410492"/>
                <a:gd name="connsiteX315" fmla="*/ 1083798 w 2048870"/>
                <a:gd name="connsiteY315" fmla="*/ 1161581 h 1410492"/>
                <a:gd name="connsiteX316" fmla="*/ 1085526 w 2048870"/>
                <a:gd name="connsiteY316" fmla="*/ 1156396 h 1410492"/>
                <a:gd name="connsiteX317" fmla="*/ 1087255 w 2048870"/>
                <a:gd name="connsiteY317" fmla="*/ 1147753 h 1410492"/>
                <a:gd name="connsiteX318" fmla="*/ 1097626 w 2048870"/>
                <a:gd name="connsiteY318" fmla="*/ 1128739 h 1410492"/>
                <a:gd name="connsiteX319" fmla="*/ 1099355 w 2048870"/>
                <a:gd name="connsiteY319" fmla="*/ 1111454 h 1410492"/>
                <a:gd name="connsiteX320" fmla="*/ 1106269 w 2048870"/>
                <a:gd name="connsiteY320" fmla="*/ 1097625 h 1410492"/>
                <a:gd name="connsiteX321" fmla="*/ 1111454 w 2048870"/>
                <a:gd name="connsiteY321" fmla="*/ 1095897 h 1410492"/>
                <a:gd name="connsiteX322" fmla="*/ 1127011 w 2048870"/>
                <a:gd name="connsiteY322" fmla="*/ 1094168 h 1410492"/>
                <a:gd name="connsiteX323" fmla="*/ 1132197 w 2048870"/>
                <a:gd name="connsiteY323" fmla="*/ 1088983 h 1410492"/>
                <a:gd name="connsiteX324" fmla="*/ 1166768 w 2048870"/>
                <a:gd name="connsiteY324" fmla="*/ 1083797 h 1410492"/>
                <a:gd name="connsiteX325" fmla="*/ 1175411 w 2048870"/>
                <a:gd name="connsiteY325" fmla="*/ 1073426 h 1410492"/>
                <a:gd name="connsiteX326" fmla="*/ 1177139 w 2048870"/>
                <a:gd name="connsiteY326" fmla="*/ 1061326 h 1410492"/>
                <a:gd name="connsiteX327" fmla="*/ 1170225 w 2048870"/>
                <a:gd name="connsiteY327" fmla="*/ 1047497 h 1410492"/>
                <a:gd name="connsiteX328" fmla="*/ 1163311 w 2048870"/>
                <a:gd name="connsiteY328" fmla="*/ 1050955 h 1410492"/>
                <a:gd name="connsiteX329" fmla="*/ 1166768 w 2048870"/>
                <a:gd name="connsiteY329" fmla="*/ 1068240 h 1410492"/>
                <a:gd name="connsiteX330" fmla="*/ 1170225 w 2048870"/>
                <a:gd name="connsiteY330" fmla="*/ 1076883 h 1410492"/>
                <a:gd name="connsiteX331" fmla="*/ 1182325 w 2048870"/>
                <a:gd name="connsiteY331" fmla="*/ 1080340 h 1410492"/>
                <a:gd name="connsiteX332" fmla="*/ 1206524 w 2048870"/>
                <a:gd name="connsiteY332" fmla="*/ 1078611 h 1410492"/>
                <a:gd name="connsiteX333" fmla="*/ 1211710 w 2048870"/>
                <a:gd name="connsiteY333" fmla="*/ 1073426 h 1410492"/>
                <a:gd name="connsiteX334" fmla="*/ 1218624 w 2048870"/>
                <a:gd name="connsiteY334" fmla="*/ 1057869 h 1410492"/>
                <a:gd name="connsiteX335" fmla="*/ 1220353 w 2048870"/>
                <a:gd name="connsiteY335" fmla="*/ 1044040 h 1410492"/>
                <a:gd name="connsiteX336" fmla="*/ 1218624 w 2048870"/>
                <a:gd name="connsiteY336" fmla="*/ 1014655 h 1410492"/>
                <a:gd name="connsiteX337" fmla="*/ 1211710 w 2048870"/>
                <a:gd name="connsiteY337" fmla="*/ 997370 h 1410492"/>
                <a:gd name="connsiteX338" fmla="*/ 1206524 w 2048870"/>
                <a:gd name="connsiteY338" fmla="*/ 993913 h 1410492"/>
                <a:gd name="connsiteX339" fmla="*/ 1184053 w 2048870"/>
                <a:gd name="connsiteY339" fmla="*/ 973170 h 1410492"/>
                <a:gd name="connsiteX340" fmla="*/ 1173682 w 2048870"/>
                <a:gd name="connsiteY340" fmla="*/ 962799 h 1410492"/>
                <a:gd name="connsiteX341" fmla="*/ 1168496 w 2048870"/>
                <a:gd name="connsiteY341" fmla="*/ 957613 h 1410492"/>
                <a:gd name="connsiteX342" fmla="*/ 1171954 w 2048870"/>
                <a:gd name="connsiteY342" fmla="*/ 961070 h 1410492"/>
                <a:gd name="connsiteX343" fmla="*/ 1178868 w 2048870"/>
                <a:gd name="connsiteY343" fmla="*/ 971441 h 1410492"/>
                <a:gd name="connsiteX344" fmla="*/ 1185782 w 2048870"/>
                <a:gd name="connsiteY344" fmla="*/ 980084 h 1410492"/>
                <a:gd name="connsiteX345" fmla="*/ 1190968 w 2048870"/>
                <a:gd name="connsiteY345" fmla="*/ 985270 h 1410492"/>
                <a:gd name="connsiteX346" fmla="*/ 1194425 w 2048870"/>
                <a:gd name="connsiteY346" fmla="*/ 993913 h 1410492"/>
                <a:gd name="connsiteX347" fmla="*/ 1206524 w 2048870"/>
                <a:gd name="connsiteY347" fmla="*/ 1007741 h 1410492"/>
                <a:gd name="connsiteX348" fmla="*/ 1208253 w 2048870"/>
                <a:gd name="connsiteY348" fmla="*/ 1014655 h 1410492"/>
                <a:gd name="connsiteX349" fmla="*/ 1211710 w 2048870"/>
                <a:gd name="connsiteY349" fmla="*/ 1023298 h 1410492"/>
                <a:gd name="connsiteX350" fmla="*/ 1213439 w 2048870"/>
                <a:gd name="connsiteY350" fmla="*/ 1035398 h 1410492"/>
                <a:gd name="connsiteX351" fmla="*/ 1215167 w 2048870"/>
                <a:gd name="connsiteY351" fmla="*/ 1044040 h 1410492"/>
                <a:gd name="connsiteX352" fmla="*/ 1220353 w 2048870"/>
                <a:gd name="connsiteY352" fmla="*/ 1045769 h 1410492"/>
                <a:gd name="connsiteX353" fmla="*/ 1223810 w 2048870"/>
                <a:gd name="connsiteY353" fmla="*/ 1050955 h 1410492"/>
                <a:gd name="connsiteX354" fmla="*/ 1234181 w 2048870"/>
                <a:gd name="connsiteY354" fmla="*/ 1063054 h 1410492"/>
                <a:gd name="connsiteX355" fmla="*/ 1253195 w 2048870"/>
                <a:gd name="connsiteY355" fmla="*/ 1057869 h 1410492"/>
                <a:gd name="connsiteX356" fmla="*/ 1258381 w 2048870"/>
                <a:gd name="connsiteY356" fmla="*/ 1054412 h 1410492"/>
                <a:gd name="connsiteX357" fmla="*/ 1265295 w 2048870"/>
                <a:gd name="connsiteY357" fmla="*/ 1050955 h 1410492"/>
                <a:gd name="connsiteX358" fmla="*/ 1267023 w 2048870"/>
                <a:gd name="connsiteY358" fmla="*/ 1056140 h 1410492"/>
                <a:gd name="connsiteX359" fmla="*/ 1268752 w 2048870"/>
                <a:gd name="connsiteY359" fmla="*/ 1068240 h 1410492"/>
                <a:gd name="connsiteX360" fmla="*/ 1279123 w 2048870"/>
                <a:gd name="connsiteY360" fmla="*/ 1064783 h 1410492"/>
                <a:gd name="connsiteX361" fmla="*/ 1289495 w 2048870"/>
                <a:gd name="connsiteY361" fmla="*/ 1056140 h 1410492"/>
                <a:gd name="connsiteX362" fmla="*/ 1299866 w 2048870"/>
                <a:gd name="connsiteY362" fmla="*/ 1045769 h 1410492"/>
                <a:gd name="connsiteX363" fmla="*/ 1305051 w 2048870"/>
                <a:gd name="connsiteY363" fmla="*/ 1042312 h 1410492"/>
                <a:gd name="connsiteX364" fmla="*/ 1294680 w 2048870"/>
                <a:gd name="connsiteY364" fmla="*/ 1061326 h 1410492"/>
                <a:gd name="connsiteX365" fmla="*/ 1286037 w 2048870"/>
                <a:gd name="connsiteY365" fmla="*/ 1075154 h 1410492"/>
                <a:gd name="connsiteX366" fmla="*/ 1272209 w 2048870"/>
                <a:gd name="connsiteY366" fmla="*/ 1082068 h 1410492"/>
                <a:gd name="connsiteX367" fmla="*/ 1265295 w 2048870"/>
                <a:gd name="connsiteY367" fmla="*/ 1085525 h 1410492"/>
                <a:gd name="connsiteX368" fmla="*/ 1260109 w 2048870"/>
                <a:gd name="connsiteY368" fmla="*/ 1087254 h 1410492"/>
                <a:gd name="connsiteX369" fmla="*/ 1251467 w 2048870"/>
                <a:gd name="connsiteY369" fmla="*/ 1092440 h 1410492"/>
                <a:gd name="connsiteX370" fmla="*/ 1232453 w 2048870"/>
                <a:gd name="connsiteY370" fmla="*/ 1095897 h 1410492"/>
                <a:gd name="connsiteX371" fmla="*/ 1230724 w 2048870"/>
                <a:gd name="connsiteY371" fmla="*/ 1121825 h 1410492"/>
                <a:gd name="connsiteX372" fmla="*/ 1223810 w 2048870"/>
                <a:gd name="connsiteY372" fmla="*/ 1128739 h 1410492"/>
                <a:gd name="connsiteX373" fmla="*/ 1216896 w 2048870"/>
                <a:gd name="connsiteY373" fmla="*/ 1130468 h 1410492"/>
                <a:gd name="connsiteX374" fmla="*/ 1248009 w 2048870"/>
                <a:gd name="connsiteY374" fmla="*/ 1123553 h 1410492"/>
                <a:gd name="connsiteX375" fmla="*/ 1275666 w 2048870"/>
                <a:gd name="connsiteY375" fmla="*/ 1125282 h 1410492"/>
                <a:gd name="connsiteX376" fmla="*/ 1282580 w 2048870"/>
                <a:gd name="connsiteY376" fmla="*/ 1128739 h 1410492"/>
                <a:gd name="connsiteX377" fmla="*/ 1318880 w 2048870"/>
                <a:gd name="connsiteY377" fmla="*/ 1127010 h 1410492"/>
                <a:gd name="connsiteX378" fmla="*/ 1330980 w 2048870"/>
                <a:gd name="connsiteY378" fmla="*/ 1123553 h 1410492"/>
                <a:gd name="connsiteX379" fmla="*/ 1339622 w 2048870"/>
                <a:gd name="connsiteY379" fmla="*/ 1118368 h 1410492"/>
                <a:gd name="connsiteX380" fmla="*/ 1356908 w 2048870"/>
                <a:gd name="connsiteY380" fmla="*/ 1123553 h 1410492"/>
                <a:gd name="connsiteX381" fmla="*/ 1384564 w 2048870"/>
                <a:gd name="connsiteY381" fmla="*/ 1114911 h 1410492"/>
                <a:gd name="connsiteX382" fmla="*/ 1391479 w 2048870"/>
                <a:gd name="connsiteY382" fmla="*/ 1109725 h 1410492"/>
                <a:gd name="connsiteX383" fmla="*/ 1400121 w 2048870"/>
                <a:gd name="connsiteY383" fmla="*/ 1095897 h 1410492"/>
                <a:gd name="connsiteX384" fmla="*/ 1403578 w 2048870"/>
                <a:gd name="connsiteY384" fmla="*/ 1090711 h 1410492"/>
                <a:gd name="connsiteX385" fmla="*/ 1408764 w 2048870"/>
                <a:gd name="connsiteY385" fmla="*/ 1088983 h 1410492"/>
                <a:gd name="connsiteX386" fmla="*/ 1415678 w 2048870"/>
                <a:gd name="connsiteY386" fmla="*/ 1097625 h 1410492"/>
                <a:gd name="connsiteX387" fmla="*/ 1419135 w 2048870"/>
                <a:gd name="connsiteY387" fmla="*/ 1104539 h 1410492"/>
                <a:gd name="connsiteX388" fmla="*/ 1424321 w 2048870"/>
                <a:gd name="connsiteY388" fmla="*/ 1111454 h 1410492"/>
                <a:gd name="connsiteX389" fmla="*/ 1434692 w 2048870"/>
                <a:gd name="connsiteY389" fmla="*/ 1109725 h 1410492"/>
                <a:gd name="connsiteX390" fmla="*/ 1438149 w 2048870"/>
                <a:gd name="connsiteY390" fmla="*/ 1101082 h 1410492"/>
                <a:gd name="connsiteX391" fmla="*/ 1446792 w 2048870"/>
                <a:gd name="connsiteY391" fmla="*/ 1076883 h 1410492"/>
                <a:gd name="connsiteX392" fmla="*/ 1455435 w 2048870"/>
                <a:gd name="connsiteY392" fmla="*/ 1082068 h 1410492"/>
                <a:gd name="connsiteX393" fmla="*/ 1457163 w 2048870"/>
                <a:gd name="connsiteY393" fmla="*/ 1097625 h 1410492"/>
                <a:gd name="connsiteX394" fmla="*/ 1462349 w 2048870"/>
                <a:gd name="connsiteY394" fmla="*/ 1104539 h 1410492"/>
                <a:gd name="connsiteX395" fmla="*/ 1464078 w 2048870"/>
                <a:gd name="connsiteY395" fmla="*/ 1116639 h 1410492"/>
                <a:gd name="connsiteX396" fmla="*/ 1450249 w 2048870"/>
                <a:gd name="connsiteY396" fmla="*/ 1132196 h 1410492"/>
                <a:gd name="connsiteX397" fmla="*/ 1436421 w 2048870"/>
                <a:gd name="connsiteY397" fmla="*/ 1149482 h 1410492"/>
                <a:gd name="connsiteX398" fmla="*/ 1427778 w 2048870"/>
                <a:gd name="connsiteY398" fmla="*/ 1158124 h 1410492"/>
                <a:gd name="connsiteX399" fmla="*/ 1415678 w 2048870"/>
                <a:gd name="connsiteY399" fmla="*/ 1163310 h 1410492"/>
                <a:gd name="connsiteX400" fmla="*/ 1400121 w 2048870"/>
                <a:gd name="connsiteY400" fmla="*/ 1171953 h 1410492"/>
                <a:gd name="connsiteX401" fmla="*/ 1398393 w 2048870"/>
                <a:gd name="connsiteY401" fmla="*/ 1177138 h 1410492"/>
                <a:gd name="connsiteX402" fmla="*/ 1389750 w 2048870"/>
                <a:gd name="connsiteY402" fmla="*/ 1189238 h 1410492"/>
                <a:gd name="connsiteX403" fmla="*/ 1384564 w 2048870"/>
                <a:gd name="connsiteY403" fmla="*/ 1197881 h 1410492"/>
                <a:gd name="connsiteX404" fmla="*/ 1382836 w 2048870"/>
                <a:gd name="connsiteY404" fmla="*/ 1203066 h 1410492"/>
                <a:gd name="connsiteX405" fmla="*/ 1374193 w 2048870"/>
                <a:gd name="connsiteY405" fmla="*/ 1211709 h 1410492"/>
                <a:gd name="connsiteX406" fmla="*/ 1369008 w 2048870"/>
                <a:gd name="connsiteY406" fmla="*/ 1216895 h 1410492"/>
                <a:gd name="connsiteX407" fmla="*/ 1356908 w 2048870"/>
                <a:gd name="connsiteY407" fmla="*/ 1230723 h 1410492"/>
                <a:gd name="connsiteX408" fmla="*/ 1351722 w 2048870"/>
                <a:gd name="connsiteY408" fmla="*/ 1237637 h 1410492"/>
                <a:gd name="connsiteX409" fmla="*/ 1349994 w 2048870"/>
                <a:gd name="connsiteY409" fmla="*/ 1242823 h 1410492"/>
                <a:gd name="connsiteX410" fmla="*/ 1344808 w 2048870"/>
                <a:gd name="connsiteY410" fmla="*/ 1253194 h 1410492"/>
                <a:gd name="connsiteX411" fmla="*/ 1377650 w 2048870"/>
                <a:gd name="connsiteY411" fmla="*/ 1253194 h 1410492"/>
                <a:gd name="connsiteX412" fmla="*/ 1386293 w 2048870"/>
                <a:gd name="connsiteY412" fmla="*/ 1246280 h 1410492"/>
                <a:gd name="connsiteX413" fmla="*/ 1391479 w 2048870"/>
                <a:gd name="connsiteY413" fmla="*/ 1244552 h 1410492"/>
                <a:gd name="connsiteX414" fmla="*/ 1412221 w 2048870"/>
                <a:gd name="connsiteY414" fmla="*/ 1248009 h 1410492"/>
                <a:gd name="connsiteX415" fmla="*/ 1415678 w 2048870"/>
                <a:gd name="connsiteY415" fmla="*/ 1253194 h 1410492"/>
                <a:gd name="connsiteX416" fmla="*/ 1426050 w 2048870"/>
                <a:gd name="connsiteY416" fmla="*/ 1260108 h 1410492"/>
                <a:gd name="connsiteX417" fmla="*/ 1451978 w 2048870"/>
                <a:gd name="connsiteY417" fmla="*/ 1258380 h 1410492"/>
                <a:gd name="connsiteX418" fmla="*/ 1457163 w 2048870"/>
                <a:gd name="connsiteY418" fmla="*/ 1253194 h 1410492"/>
                <a:gd name="connsiteX419" fmla="*/ 1465806 w 2048870"/>
                <a:gd name="connsiteY419" fmla="*/ 1248009 h 1410492"/>
                <a:gd name="connsiteX420" fmla="*/ 1483092 w 2048870"/>
                <a:gd name="connsiteY420" fmla="*/ 1249737 h 1410492"/>
                <a:gd name="connsiteX421" fmla="*/ 1491734 w 2048870"/>
                <a:gd name="connsiteY421" fmla="*/ 1258380 h 1410492"/>
                <a:gd name="connsiteX422" fmla="*/ 1502106 w 2048870"/>
                <a:gd name="connsiteY422" fmla="*/ 1272208 h 1410492"/>
                <a:gd name="connsiteX423" fmla="*/ 1503834 w 2048870"/>
                <a:gd name="connsiteY423" fmla="*/ 1289494 h 1410492"/>
                <a:gd name="connsiteX424" fmla="*/ 1514205 w 2048870"/>
                <a:gd name="connsiteY424" fmla="*/ 1301593 h 1410492"/>
                <a:gd name="connsiteX425" fmla="*/ 1517662 w 2048870"/>
                <a:gd name="connsiteY425" fmla="*/ 1306779 h 1410492"/>
                <a:gd name="connsiteX426" fmla="*/ 1515934 w 2048870"/>
                <a:gd name="connsiteY426" fmla="*/ 1355178 h 1410492"/>
                <a:gd name="connsiteX427" fmla="*/ 1509020 w 2048870"/>
                <a:gd name="connsiteY427" fmla="*/ 1360364 h 1410492"/>
                <a:gd name="connsiteX428" fmla="*/ 1503834 w 2048870"/>
                <a:gd name="connsiteY428" fmla="*/ 1370735 h 1410492"/>
                <a:gd name="connsiteX429" fmla="*/ 1534948 w 2048870"/>
                <a:gd name="connsiteY429" fmla="*/ 1374192 h 1410492"/>
                <a:gd name="connsiteX430" fmla="*/ 1540133 w 2048870"/>
                <a:gd name="connsiteY430" fmla="*/ 1377649 h 1410492"/>
                <a:gd name="connsiteX431" fmla="*/ 1559147 w 2048870"/>
                <a:gd name="connsiteY431" fmla="*/ 1375921 h 1410492"/>
                <a:gd name="connsiteX432" fmla="*/ 1564333 w 2048870"/>
                <a:gd name="connsiteY432" fmla="*/ 1372464 h 1410492"/>
                <a:gd name="connsiteX433" fmla="*/ 1579890 w 2048870"/>
                <a:gd name="connsiteY433" fmla="*/ 1370735 h 1410492"/>
                <a:gd name="connsiteX434" fmla="*/ 1597175 w 2048870"/>
                <a:gd name="connsiteY434" fmla="*/ 1363821 h 1410492"/>
                <a:gd name="connsiteX435" fmla="*/ 1600633 w 2048870"/>
                <a:gd name="connsiteY435" fmla="*/ 1360364 h 1410492"/>
                <a:gd name="connsiteX436" fmla="*/ 1612732 w 2048870"/>
                <a:gd name="connsiteY436" fmla="*/ 1341350 h 1410492"/>
                <a:gd name="connsiteX437" fmla="*/ 1617918 w 2048870"/>
                <a:gd name="connsiteY437" fmla="*/ 1305051 h 1410492"/>
                <a:gd name="connsiteX438" fmla="*/ 1623104 w 2048870"/>
                <a:gd name="connsiteY438" fmla="*/ 1301593 h 1410492"/>
                <a:gd name="connsiteX439" fmla="*/ 1624832 w 2048870"/>
                <a:gd name="connsiteY439" fmla="*/ 1284308 h 1410492"/>
                <a:gd name="connsiteX440" fmla="*/ 1631746 w 2048870"/>
                <a:gd name="connsiteY440" fmla="*/ 1270480 h 1410492"/>
                <a:gd name="connsiteX441" fmla="*/ 1643846 w 2048870"/>
                <a:gd name="connsiteY441" fmla="*/ 1263565 h 1410492"/>
                <a:gd name="connsiteX442" fmla="*/ 1669774 w 2048870"/>
                <a:gd name="connsiteY442" fmla="*/ 1260108 h 1410492"/>
                <a:gd name="connsiteX443" fmla="*/ 1681874 w 2048870"/>
                <a:gd name="connsiteY443" fmla="*/ 1254923 h 1410492"/>
                <a:gd name="connsiteX444" fmla="*/ 1687060 w 2048870"/>
                <a:gd name="connsiteY444" fmla="*/ 1253194 h 1410492"/>
                <a:gd name="connsiteX445" fmla="*/ 1702617 w 2048870"/>
                <a:gd name="connsiteY445" fmla="*/ 1249737 h 1410492"/>
                <a:gd name="connsiteX446" fmla="*/ 1704345 w 2048870"/>
                <a:gd name="connsiteY446" fmla="*/ 1232452 h 1410492"/>
                <a:gd name="connsiteX447" fmla="*/ 1706074 w 2048870"/>
                <a:gd name="connsiteY447" fmla="*/ 1208252 h 1410492"/>
                <a:gd name="connsiteX448" fmla="*/ 1711259 w 2048870"/>
                <a:gd name="connsiteY448" fmla="*/ 1201338 h 1410492"/>
                <a:gd name="connsiteX449" fmla="*/ 1718174 w 2048870"/>
                <a:gd name="connsiteY449" fmla="*/ 1192695 h 1410492"/>
                <a:gd name="connsiteX450" fmla="*/ 1725088 w 2048870"/>
                <a:gd name="connsiteY450" fmla="*/ 1189238 h 1410492"/>
                <a:gd name="connsiteX451" fmla="*/ 1735459 w 2048870"/>
                <a:gd name="connsiteY451" fmla="*/ 1184052 h 1410492"/>
                <a:gd name="connsiteX452" fmla="*/ 1773487 w 2048870"/>
                <a:gd name="connsiteY452" fmla="*/ 1189238 h 1410492"/>
                <a:gd name="connsiteX453" fmla="*/ 1778673 w 2048870"/>
                <a:gd name="connsiteY453" fmla="*/ 1194424 h 1410492"/>
                <a:gd name="connsiteX454" fmla="*/ 1808058 w 2048870"/>
                <a:gd name="connsiteY454" fmla="*/ 1187510 h 1410492"/>
                <a:gd name="connsiteX455" fmla="*/ 1811515 w 2048870"/>
                <a:gd name="connsiteY455" fmla="*/ 1180595 h 1410492"/>
                <a:gd name="connsiteX456" fmla="*/ 1818429 w 2048870"/>
                <a:gd name="connsiteY456" fmla="*/ 1171953 h 1410492"/>
                <a:gd name="connsiteX457" fmla="*/ 1825343 w 2048870"/>
                <a:gd name="connsiteY457" fmla="*/ 1158124 h 1410492"/>
                <a:gd name="connsiteX458" fmla="*/ 1827072 w 2048870"/>
                <a:gd name="connsiteY458" fmla="*/ 1151210 h 1410492"/>
                <a:gd name="connsiteX459" fmla="*/ 1833986 w 2048870"/>
                <a:gd name="connsiteY459" fmla="*/ 1133925 h 1410492"/>
                <a:gd name="connsiteX460" fmla="*/ 1820158 w 2048870"/>
                <a:gd name="connsiteY460" fmla="*/ 1128739 h 1410492"/>
                <a:gd name="connsiteX461" fmla="*/ 1816701 w 2048870"/>
                <a:gd name="connsiteY461" fmla="*/ 1123553 h 1410492"/>
                <a:gd name="connsiteX462" fmla="*/ 1820158 w 2048870"/>
                <a:gd name="connsiteY462" fmla="*/ 1118368 h 1410492"/>
                <a:gd name="connsiteX463" fmla="*/ 1825343 w 2048870"/>
                <a:gd name="connsiteY463" fmla="*/ 1111454 h 1410492"/>
                <a:gd name="connsiteX464" fmla="*/ 1828800 w 2048870"/>
                <a:gd name="connsiteY464" fmla="*/ 1099354 h 1410492"/>
                <a:gd name="connsiteX465" fmla="*/ 1832257 w 2048870"/>
                <a:gd name="connsiteY465" fmla="*/ 1094168 h 1410492"/>
                <a:gd name="connsiteX466" fmla="*/ 1830529 w 2048870"/>
                <a:gd name="connsiteY466" fmla="*/ 1083797 h 1410492"/>
                <a:gd name="connsiteX467" fmla="*/ 1816701 w 2048870"/>
                <a:gd name="connsiteY467" fmla="*/ 1087254 h 1410492"/>
                <a:gd name="connsiteX468" fmla="*/ 1789044 w 2048870"/>
                <a:gd name="connsiteY468" fmla="*/ 1092440 h 1410492"/>
                <a:gd name="connsiteX469" fmla="*/ 1778673 w 2048870"/>
                <a:gd name="connsiteY469" fmla="*/ 1095897 h 1410492"/>
                <a:gd name="connsiteX470" fmla="*/ 1771758 w 2048870"/>
                <a:gd name="connsiteY470" fmla="*/ 1099354 h 1410492"/>
                <a:gd name="connsiteX471" fmla="*/ 1766573 w 2048870"/>
                <a:gd name="connsiteY471" fmla="*/ 1116639 h 1410492"/>
                <a:gd name="connsiteX472" fmla="*/ 1756202 w 2048870"/>
                <a:gd name="connsiteY472" fmla="*/ 1118368 h 1410492"/>
                <a:gd name="connsiteX473" fmla="*/ 1738916 w 2048870"/>
                <a:gd name="connsiteY473" fmla="*/ 1130468 h 1410492"/>
                <a:gd name="connsiteX474" fmla="*/ 1718174 w 2048870"/>
                <a:gd name="connsiteY474" fmla="*/ 1140839 h 1410492"/>
                <a:gd name="connsiteX475" fmla="*/ 1709531 w 2048870"/>
                <a:gd name="connsiteY475" fmla="*/ 1146024 h 1410492"/>
                <a:gd name="connsiteX476" fmla="*/ 1707802 w 2048870"/>
                <a:gd name="connsiteY476" fmla="*/ 1151210 h 1410492"/>
                <a:gd name="connsiteX477" fmla="*/ 1700888 w 2048870"/>
                <a:gd name="connsiteY477" fmla="*/ 1154667 h 1410492"/>
                <a:gd name="connsiteX478" fmla="*/ 1647303 w 2048870"/>
                <a:gd name="connsiteY478" fmla="*/ 1152939 h 1410492"/>
                <a:gd name="connsiteX479" fmla="*/ 1650760 w 2048870"/>
                <a:gd name="connsiteY479" fmla="*/ 1142567 h 1410492"/>
                <a:gd name="connsiteX480" fmla="*/ 1649032 w 2048870"/>
                <a:gd name="connsiteY480" fmla="*/ 1120096 h 1410492"/>
                <a:gd name="connsiteX481" fmla="*/ 1598904 w 2048870"/>
                <a:gd name="connsiteY481" fmla="*/ 1114911 h 1410492"/>
                <a:gd name="connsiteX482" fmla="*/ 1591990 w 2048870"/>
                <a:gd name="connsiteY482" fmla="*/ 1113182 h 1410492"/>
                <a:gd name="connsiteX483" fmla="*/ 1564333 w 2048870"/>
                <a:gd name="connsiteY483" fmla="*/ 1109725 h 1410492"/>
                <a:gd name="connsiteX484" fmla="*/ 1553962 w 2048870"/>
                <a:gd name="connsiteY484" fmla="*/ 1101082 h 1410492"/>
                <a:gd name="connsiteX485" fmla="*/ 1543591 w 2048870"/>
                <a:gd name="connsiteY485" fmla="*/ 1092440 h 1410492"/>
                <a:gd name="connsiteX486" fmla="*/ 1526305 w 2048870"/>
                <a:gd name="connsiteY486" fmla="*/ 1090711 h 1410492"/>
                <a:gd name="connsiteX487" fmla="*/ 1514205 w 2048870"/>
                <a:gd name="connsiteY487" fmla="*/ 1085525 h 1410492"/>
                <a:gd name="connsiteX488" fmla="*/ 1512477 w 2048870"/>
                <a:gd name="connsiteY488" fmla="*/ 1092440 h 1410492"/>
                <a:gd name="connsiteX489" fmla="*/ 1507291 w 2048870"/>
                <a:gd name="connsiteY489" fmla="*/ 1085525 h 1410492"/>
                <a:gd name="connsiteX490" fmla="*/ 1496920 w 2048870"/>
                <a:gd name="connsiteY490" fmla="*/ 1075154 h 1410492"/>
                <a:gd name="connsiteX491" fmla="*/ 1445064 w 2048870"/>
                <a:gd name="connsiteY491" fmla="*/ 1076883 h 1410492"/>
                <a:gd name="connsiteX492" fmla="*/ 1439878 w 2048870"/>
                <a:gd name="connsiteY492" fmla="*/ 1080340 h 1410492"/>
                <a:gd name="connsiteX493" fmla="*/ 1438149 w 2048870"/>
                <a:gd name="connsiteY493" fmla="*/ 1085525 h 1410492"/>
                <a:gd name="connsiteX494" fmla="*/ 1451978 w 2048870"/>
                <a:gd name="connsiteY494" fmla="*/ 1071697 h 1410492"/>
                <a:gd name="connsiteX495" fmla="*/ 1458892 w 2048870"/>
                <a:gd name="connsiteY495" fmla="*/ 1064783 h 1410492"/>
                <a:gd name="connsiteX496" fmla="*/ 1464078 w 2048870"/>
                <a:gd name="connsiteY496" fmla="*/ 1059597 h 1410492"/>
                <a:gd name="connsiteX497" fmla="*/ 1479634 w 2048870"/>
                <a:gd name="connsiteY497" fmla="*/ 1064783 h 1410492"/>
                <a:gd name="connsiteX498" fmla="*/ 1490006 w 2048870"/>
                <a:gd name="connsiteY498" fmla="*/ 1071697 h 1410492"/>
                <a:gd name="connsiteX499" fmla="*/ 1498648 w 2048870"/>
                <a:gd name="connsiteY499" fmla="*/ 1068240 h 1410492"/>
                <a:gd name="connsiteX500" fmla="*/ 1500377 w 2048870"/>
                <a:gd name="connsiteY500" fmla="*/ 1063054 h 1410492"/>
                <a:gd name="connsiteX501" fmla="*/ 1503834 w 2048870"/>
                <a:gd name="connsiteY501" fmla="*/ 1057869 h 1410492"/>
                <a:gd name="connsiteX502" fmla="*/ 1507291 w 2048870"/>
                <a:gd name="connsiteY502" fmla="*/ 1045769 h 1410492"/>
                <a:gd name="connsiteX503" fmla="*/ 1540133 w 2048870"/>
                <a:gd name="connsiteY503" fmla="*/ 1044040 h 1410492"/>
                <a:gd name="connsiteX504" fmla="*/ 1557419 w 2048870"/>
                <a:gd name="connsiteY504" fmla="*/ 1059597 h 1410492"/>
                <a:gd name="connsiteX505" fmla="*/ 1560876 w 2048870"/>
                <a:gd name="connsiteY505" fmla="*/ 1073426 h 1410492"/>
                <a:gd name="connsiteX506" fmla="*/ 1564333 w 2048870"/>
                <a:gd name="connsiteY506" fmla="*/ 1087254 h 1410492"/>
                <a:gd name="connsiteX507" fmla="*/ 1566062 w 2048870"/>
                <a:gd name="connsiteY507" fmla="*/ 1094168 h 1410492"/>
                <a:gd name="connsiteX508" fmla="*/ 1569519 w 2048870"/>
                <a:gd name="connsiteY508" fmla="*/ 1099354 h 1410492"/>
                <a:gd name="connsiteX509" fmla="*/ 1576433 w 2048870"/>
                <a:gd name="connsiteY509" fmla="*/ 1037126 h 1410492"/>
                <a:gd name="connsiteX510" fmla="*/ 1588533 w 2048870"/>
                <a:gd name="connsiteY510" fmla="*/ 1052683 h 1410492"/>
                <a:gd name="connsiteX511" fmla="*/ 1591990 w 2048870"/>
                <a:gd name="connsiteY511" fmla="*/ 1069969 h 1410492"/>
                <a:gd name="connsiteX512" fmla="*/ 1607547 w 2048870"/>
                <a:gd name="connsiteY512" fmla="*/ 1080340 h 1410492"/>
                <a:gd name="connsiteX513" fmla="*/ 1612732 w 2048870"/>
                <a:gd name="connsiteY513" fmla="*/ 1083797 h 1410492"/>
                <a:gd name="connsiteX514" fmla="*/ 1621375 w 2048870"/>
                <a:gd name="connsiteY514" fmla="*/ 1085525 h 1410492"/>
                <a:gd name="connsiteX515" fmla="*/ 1633475 w 2048870"/>
                <a:gd name="connsiteY515" fmla="*/ 1092440 h 1410492"/>
                <a:gd name="connsiteX516" fmla="*/ 1640389 w 2048870"/>
                <a:gd name="connsiteY516" fmla="*/ 1095897 h 1410492"/>
                <a:gd name="connsiteX517" fmla="*/ 1649032 w 2048870"/>
                <a:gd name="connsiteY517" fmla="*/ 1109725 h 1410492"/>
                <a:gd name="connsiteX518" fmla="*/ 1659403 w 2048870"/>
                <a:gd name="connsiteY518" fmla="*/ 1113182 h 1410492"/>
                <a:gd name="connsiteX519" fmla="*/ 1669774 w 2048870"/>
                <a:gd name="connsiteY519" fmla="*/ 1118368 h 1410492"/>
                <a:gd name="connsiteX520" fmla="*/ 1680146 w 2048870"/>
                <a:gd name="connsiteY520" fmla="*/ 1125282 h 1410492"/>
                <a:gd name="connsiteX521" fmla="*/ 1699160 w 2048870"/>
                <a:gd name="connsiteY521" fmla="*/ 1139110 h 1410492"/>
                <a:gd name="connsiteX522" fmla="*/ 1712988 w 2048870"/>
                <a:gd name="connsiteY522" fmla="*/ 1142567 h 1410492"/>
                <a:gd name="connsiteX523" fmla="*/ 1704345 w 2048870"/>
                <a:gd name="connsiteY523" fmla="*/ 1137382 h 1410492"/>
                <a:gd name="connsiteX524" fmla="*/ 1699160 w 2048870"/>
                <a:gd name="connsiteY524" fmla="*/ 1132196 h 1410492"/>
                <a:gd name="connsiteX525" fmla="*/ 1688788 w 2048870"/>
                <a:gd name="connsiteY525" fmla="*/ 1128739 h 1410492"/>
                <a:gd name="connsiteX526" fmla="*/ 1674960 w 2048870"/>
                <a:gd name="connsiteY526" fmla="*/ 1125282 h 1410492"/>
                <a:gd name="connsiteX527" fmla="*/ 1659403 w 2048870"/>
                <a:gd name="connsiteY527" fmla="*/ 1121825 h 1410492"/>
                <a:gd name="connsiteX528" fmla="*/ 1650760 w 2048870"/>
                <a:gd name="connsiteY528" fmla="*/ 1116639 h 1410492"/>
                <a:gd name="connsiteX529" fmla="*/ 1645575 w 2048870"/>
                <a:gd name="connsiteY529" fmla="*/ 1113182 h 1410492"/>
                <a:gd name="connsiteX530" fmla="*/ 1642118 w 2048870"/>
                <a:gd name="connsiteY530" fmla="*/ 1107996 h 1410492"/>
                <a:gd name="connsiteX531" fmla="*/ 1628289 w 2048870"/>
                <a:gd name="connsiteY531" fmla="*/ 1088983 h 1410492"/>
                <a:gd name="connsiteX532" fmla="*/ 1626561 w 2048870"/>
                <a:gd name="connsiteY532" fmla="*/ 1083797 h 1410492"/>
                <a:gd name="connsiteX533" fmla="*/ 1619647 w 2048870"/>
                <a:gd name="connsiteY533" fmla="*/ 1075154 h 1410492"/>
                <a:gd name="connsiteX534" fmla="*/ 1616189 w 2048870"/>
                <a:gd name="connsiteY534" fmla="*/ 1061326 h 1410492"/>
                <a:gd name="connsiteX535" fmla="*/ 1614461 w 2048870"/>
                <a:gd name="connsiteY535" fmla="*/ 1056140 h 1410492"/>
                <a:gd name="connsiteX536" fmla="*/ 1604090 w 2048870"/>
                <a:gd name="connsiteY536" fmla="*/ 1038855 h 1410492"/>
                <a:gd name="connsiteX537" fmla="*/ 1598904 w 2048870"/>
                <a:gd name="connsiteY537" fmla="*/ 1037126 h 1410492"/>
                <a:gd name="connsiteX538" fmla="*/ 1593718 w 2048870"/>
                <a:gd name="connsiteY538" fmla="*/ 1030212 h 1410492"/>
                <a:gd name="connsiteX539" fmla="*/ 1585076 w 2048870"/>
                <a:gd name="connsiteY539" fmla="*/ 1019841 h 1410492"/>
                <a:gd name="connsiteX540" fmla="*/ 1590261 w 2048870"/>
                <a:gd name="connsiteY540" fmla="*/ 1000827 h 1410492"/>
                <a:gd name="connsiteX541" fmla="*/ 1598904 w 2048870"/>
                <a:gd name="connsiteY541" fmla="*/ 999098 h 1410492"/>
                <a:gd name="connsiteX542" fmla="*/ 1611004 w 2048870"/>
                <a:gd name="connsiteY542" fmla="*/ 990455 h 1410492"/>
                <a:gd name="connsiteX543" fmla="*/ 1617918 w 2048870"/>
                <a:gd name="connsiteY543" fmla="*/ 985270 h 1410492"/>
                <a:gd name="connsiteX544" fmla="*/ 1616189 w 2048870"/>
                <a:gd name="connsiteY544" fmla="*/ 1021569 h 1410492"/>
                <a:gd name="connsiteX545" fmla="*/ 1612732 w 2048870"/>
                <a:gd name="connsiteY545" fmla="*/ 1028483 h 1410492"/>
                <a:gd name="connsiteX546" fmla="*/ 1607547 w 2048870"/>
                <a:gd name="connsiteY546" fmla="*/ 1035398 h 1410492"/>
                <a:gd name="connsiteX547" fmla="*/ 1612732 w 2048870"/>
                <a:gd name="connsiteY547" fmla="*/ 1031941 h 1410492"/>
                <a:gd name="connsiteX548" fmla="*/ 1621375 w 2048870"/>
                <a:gd name="connsiteY548" fmla="*/ 1016384 h 1410492"/>
                <a:gd name="connsiteX549" fmla="*/ 1626561 w 2048870"/>
                <a:gd name="connsiteY549" fmla="*/ 997370 h 1410492"/>
                <a:gd name="connsiteX550" fmla="*/ 1626561 w 2048870"/>
                <a:gd name="connsiteY550" fmla="*/ 976627 h 1410492"/>
                <a:gd name="connsiteX551" fmla="*/ 1619647 w 2048870"/>
                <a:gd name="connsiteY551" fmla="*/ 962799 h 1410492"/>
                <a:gd name="connsiteX552" fmla="*/ 1626561 w 2048870"/>
                <a:gd name="connsiteY552" fmla="*/ 966256 h 1410492"/>
                <a:gd name="connsiteX553" fmla="*/ 1638661 w 2048870"/>
                <a:gd name="connsiteY553" fmla="*/ 969713 h 1410492"/>
                <a:gd name="connsiteX554" fmla="*/ 1645575 w 2048870"/>
                <a:gd name="connsiteY554" fmla="*/ 967984 h 1410492"/>
                <a:gd name="connsiteX555" fmla="*/ 1650760 w 2048870"/>
                <a:gd name="connsiteY555" fmla="*/ 955885 h 1410492"/>
                <a:gd name="connsiteX556" fmla="*/ 1659403 w 2048870"/>
                <a:gd name="connsiteY556" fmla="*/ 933414 h 1410492"/>
                <a:gd name="connsiteX557" fmla="*/ 1662860 w 2048870"/>
                <a:gd name="connsiteY557" fmla="*/ 929956 h 1410492"/>
                <a:gd name="connsiteX558" fmla="*/ 1664589 w 2048870"/>
                <a:gd name="connsiteY558" fmla="*/ 923042 h 1410492"/>
                <a:gd name="connsiteX559" fmla="*/ 1673231 w 2048870"/>
                <a:gd name="connsiteY559" fmla="*/ 893657 h 1410492"/>
                <a:gd name="connsiteX560" fmla="*/ 1687060 w 2048870"/>
                <a:gd name="connsiteY560" fmla="*/ 891928 h 1410492"/>
                <a:gd name="connsiteX561" fmla="*/ 1693974 w 2048870"/>
                <a:gd name="connsiteY561" fmla="*/ 890200 h 1410492"/>
                <a:gd name="connsiteX562" fmla="*/ 1700888 w 2048870"/>
                <a:gd name="connsiteY562" fmla="*/ 886743 h 1410492"/>
                <a:gd name="connsiteX563" fmla="*/ 1719902 w 2048870"/>
                <a:gd name="connsiteY563" fmla="*/ 878100 h 1410492"/>
                <a:gd name="connsiteX564" fmla="*/ 1726816 w 2048870"/>
                <a:gd name="connsiteY564" fmla="*/ 876372 h 1410492"/>
                <a:gd name="connsiteX565" fmla="*/ 1745830 w 2048870"/>
                <a:gd name="connsiteY565" fmla="*/ 860815 h 1410492"/>
                <a:gd name="connsiteX566" fmla="*/ 1751016 w 2048870"/>
                <a:gd name="connsiteY566" fmla="*/ 857358 h 1410492"/>
                <a:gd name="connsiteX567" fmla="*/ 1757930 w 2048870"/>
                <a:gd name="connsiteY567" fmla="*/ 855629 h 1410492"/>
                <a:gd name="connsiteX568" fmla="*/ 1764844 w 2048870"/>
                <a:gd name="connsiteY568" fmla="*/ 841801 h 1410492"/>
                <a:gd name="connsiteX569" fmla="*/ 1771758 w 2048870"/>
                <a:gd name="connsiteY569" fmla="*/ 836615 h 1410492"/>
                <a:gd name="connsiteX570" fmla="*/ 1776944 w 2048870"/>
                <a:gd name="connsiteY570" fmla="*/ 833158 h 1410492"/>
                <a:gd name="connsiteX571" fmla="*/ 1787315 w 2048870"/>
                <a:gd name="connsiteY571" fmla="*/ 831429 h 1410492"/>
                <a:gd name="connsiteX572" fmla="*/ 1795958 w 2048870"/>
                <a:gd name="connsiteY572" fmla="*/ 829701 h 1410492"/>
                <a:gd name="connsiteX573" fmla="*/ 1797687 w 2048870"/>
                <a:gd name="connsiteY573" fmla="*/ 824515 h 1410492"/>
                <a:gd name="connsiteX574" fmla="*/ 1825343 w 2048870"/>
                <a:gd name="connsiteY574" fmla="*/ 796859 h 1410492"/>
                <a:gd name="connsiteX575" fmla="*/ 1830529 w 2048870"/>
                <a:gd name="connsiteY575" fmla="*/ 776116 h 1410492"/>
                <a:gd name="connsiteX576" fmla="*/ 1835715 w 2048870"/>
                <a:gd name="connsiteY576" fmla="*/ 770930 h 1410492"/>
                <a:gd name="connsiteX577" fmla="*/ 1863371 w 2048870"/>
                <a:gd name="connsiteY577" fmla="*/ 760559 h 1410492"/>
                <a:gd name="connsiteX578" fmla="*/ 1868557 w 2048870"/>
                <a:gd name="connsiteY578" fmla="*/ 755373 h 1410492"/>
                <a:gd name="connsiteX579" fmla="*/ 1880657 w 2048870"/>
                <a:gd name="connsiteY579" fmla="*/ 753645 h 1410492"/>
                <a:gd name="connsiteX580" fmla="*/ 1889299 w 2048870"/>
                <a:gd name="connsiteY580" fmla="*/ 750188 h 1410492"/>
                <a:gd name="connsiteX581" fmla="*/ 1894485 w 2048870"/>
                <a:gd name="connsiteY581" fmla="*/ 731174 h 1410492"/>
                <a:gd name="connsiteX582" fmla="*/ 1910042 w 2048870"/>
                <a:gd name="connsiteY582" fmla="*/ 719074 h 1410492"/>
                <a:gd name="connsiteX583" fmla="*/ 1916956 w 2048870"/>
                <a:gd name="connsiteY583" fmla="*/ 710431 h 1410492"/>
                <a:gd name="connsiteX584" fmla="*/ 1908313 w 2048870"/>
                <a:gd name="connsiteY584" fmla="*/ 689689 h 1410492"/>
                <a:gd name="connsiteX585" fmla="*/ 1901399 w 2048870"/>
                <a:gd name="connsiteY585" fmla="*/ 675860 h 1410492"/>
                <a:gd name="connsiteX586" fmla="*/ 1897942 w 2048870"/>
                <a:gd name="connsiteY586" fmla="*/ 665489 h 1410492"/>
                <a:gd name="connsiteX587" fmla="*/ 1901399 w 2048870"/>
                <a:gd name="connsiteY587" fmla="*/ 651661 h 1410492"/>
                <a:gd name="connsiteX588" fmla="*/ 1897942 w 2048870"/>
                <a:gd name="connsiteY588" fmla="*/ 629190 h 1410492"/>
                <a:gd name="connsiteX589" fmla="*/ 1904856 w 2048870"/>
                <a:gd name="connsiteY589" fmla="*/ 624004 h 1410492"/>
                <a:gd name="connsiteX590" fmla="*/ 1910042 w 2048870"/>
                <a:gd name="connsiteY590" fmla="*/ 613633 h 1410492"/>
                <a:gd name="connsiteX591" fmla="*/ 1918685 w 2048870"/>
                <a:gd name="connsiteY591" fmla="*/ 608447 h 1410492"/>
                <a:gd name="connsiteX592" fmla="*/ 1925599 w 2048870"/>
                <a:gd name="connsiteY592" fmla="*/ 601533 h 1410492"/>
                <a:gd name="connsiteX593" fmla="*/ 1929056 w 2048870"/>
                <a:gd name="connsiteY593" fmla="*/ 587705 h 1410492"/>
                <a:gd name="connsiteX594" fmla="*/ 1932513 w 2048870"/>
                <a:gd name="connsiteY594" fmla="*/ 582519 h 1410492"/>
                <a:gd name="connsiteX595" fmla="*/ 1939427 w 2048870"/>
                <a:gd name="connsiteY595" fmla="*/ 565234 h 1410492"/>
                <a:gd name="connsiteX596" fmla="*/ 1963627 w 2048870"/>
                <a:gd name="connsiteY596" fmla="*/ 556591 h 1410492"/>
                <a:gd name="connsiteX597" fmla="*/ 1968812 w 2048870"/>
                <a:gd name="connsiteY597" fmla="*/ 547948 h 1410492"/>
                <a:gd name="connsiteX598" fmla="*/ 1986098 w 2048870"/>
                <a:gd name="connsiteY598" fmla="*/ 544491 h 1410492"/>
                <a:gd name="connsiteX599" fmla="*/ 2008569 w 2048870"/>
                <a:gd name="connsiteY599" fmla="*/ 539305 h 1410492"/>
                <a:gd name="connsiteX600" fmla="*/ 2017212 w 2048870"/>
                <a:gd name="connsiteY600" fmla="*/ 530663 h 1410492"/>
                <a:gd name="connsiteX601" fmla="*/ 2048326 w 2048870"/>
                <a:gd name="connsiteY601" fmla="*/ 525477 h 1410492"/>
                <a:gd name="connsiteX602" fmla="*/ 2043140 w 2048870"/>
                <a:gd name="connsiteY602" fmla="*/ 499549 h 1410492"/>
                <a:gd name="connsiteX603" fmla="*/ 2032769 w 2048870"/>
                <a:gd name="connsiteY603" fmla="*/ 492635 h 1410492"/>
                <a:gd name="connsiteX604" fmla="*/ 2025854 w 2048870"/>
                <a:gd name="connsiteY604" fmla="*/ 447693 h 1410492"/>
                <a:gd name="connsiteX605" fmla="*/ 2018940 w 2048870"/>
                <a:gd name="connsiteY605" fmla="*/ 428679 h 1410492"/>
                <a:gd name="connsiteX606" fmla="*/ 2015483 w 2048870"/>
                <a:gd name="connsiteY606" fmla="*/ 418307 h 1410492"/>
                <a:gd name="connsiteX607" fmla="*/ 2010298 w 2048870"/>
                <a:gd name="connsiteY607" fmla="*/ 411393 h 1410492"/>
                <a:gd name="connsiteX608" fmla="*/ 2003383 w 2048870"/>
                <a:gd name="connsiteY608" fmla="*/ 407936 h 1410492"/>
                <a:gd name="connsiteX609" fmla="*/ 1984369 w 2048870"/>
                <a:gd name="connsiteY609" fmla="*/ 404479 h 1410492"/>
                <a:gd name="connsiteX610" fmla="*/ 1977455 w 2048870"/>
                <a:gd name="connsiteY610" fmla="*/ 394108 h 1410492"/>
                <a:gd name="connsiteX611" fmla="*/ 1972270 w 2048870"/>
                <a:gd name="connsiteY611" fmla="*/ 390651 h 1410492"/>
                <a:gd name="connsiteX612" fmla="*/ 1968812 w 2048870"/>
                <a:gd name="connsiteY612" fmla="*/ 382008 h 1410492"/>
                <a:gd name="connsiteX613" fmla="*/ 1973998 w 2048870"/>
                <a:gd name="connsiteY613" fmla="*/ 366451 h 1410492"/>
                <a:gd name="connsiteX614" fmla="*/ 1982641 w 2048870"/>
                <a:gd name="connsiteY614" fmla="*/ 354351 h 1410492"/>
                <a:gd name="connsiteX615" fmla="*/ 1984369 w 2048870"/>
                <a:gd name="connsiteY615" fmla="*/ 347437 h 1410492"/>
                <a:gd name="connsiteX616" fmla="*/ 1994741 w 2048870"/>
                <a:gd name="connsiteY616" fmla="*/ 343980 h 1410492"/>
                <a:gd name="connsiteX617" fmla="*/ 1960170 w 2048870"/>
                <a:gd name="connsiteY617" fmla="*/ 337066 h 1410492"/>
                <a:gd name="connsiteX618" fmla="*/ 1958441 w 2048870"/>
                <a:gd name="connsiteY618" fmla="*/ 331880 h 1410492"/>
                <a:gd name="connsiteX619" fmla="*/ 1954984 w 2048870"/>
                <a:gd name="connsiteY619" fmla="*/ 326694 h 1410492"/>
                <a:gd name="connsiteX620" fmla="*/ 1958441 w 2048870"/>
                <a:gd name="connsiteY620" fmla="*/ 318052 h 1410492"/>
                <a:gd name="connsiteX621" fmla="*/ 1963627 w 2048870"/>
                <a:gd name="connsiteY621" fmla="*/ 311138 h 1410492"/>
                <a:gd name="connsiteX622" fmla="*/ 1967084 w 2048870"/>
                <a:gd name="connsiteY622" fmla="*/ 305952 h 1410492"/>
                <a:gd name="connsiteX623" fmla="*/ 1968812 w 2048870"/>
                <a:gd name="connsiteY623" fmla="*/ 299038 h 1410492"/>
                <a:gd name="connsiteX624" fmla="*/ 1973998 w 2048870"/>
                <a:gd name="connsiteY624" fmla="*/ 293852 h 1410492"/>
                <a:gd name="connsiteX625" fmla="*/ 1975727 w 2048870"/>
                <a:gd name="connsiteY625" fmla="*/ 269652 h 1410492"/>
                <a:gd name="connsiteX626" fmla="*/ 1970541 w 2048870"/>
                <a:gd name="connsiteY626" fmla="*/ 255824 h 1410492"/>
                <a:gd name="connsiteX627" fmla="*/ 1968812 w 2048870"/>
                <a:gd name="connsiteY627" fmla="*/ 250638 h 1410492"/>
                <a:gd name="connsiteX628" fmla="*/ 1967084 w 2048870"/>
                <a:gd name="connsiteY628" fmla="*/ 243724 h 1410492"/>
                <a:gd name="connsiteX629" fmla="*/ 1963627 w 2048870"/>
                <a:gd name="connsiteY629" fmla="*/ 238539 h 1410492"/>
                <a:gd name="connsiteX630" fmla="*/ 1965355 w 2048870"/>
                <a:gd name="connsiteY630" fmla="*/ 216068 h 1410492"/>
                <a:gd name="connsiteX631" fmla="*/ 1961898 w 2048870"/>
                <a:gd name="connsiteY631" fmla="*/ 209153 h 1410492"/>
                <a:gd name="connsiteX632" fmla="*/ 1954984 w 2048870"/>
                <a:gd name="connsiteY632" fmla="*/ 216068 h 1410492"/>
                <a:gd name="connsiteX633" fmla="*/ 1948070 w 2048870"/>
                <a:gd name="connsiteY633" fmla="*/ 217796 h 1410492"/>
                <a:gd name="connsiteX634" fmla="*/ 1937699 w 2048870"/>
                <a:gd name="connsiteY634" fmla="*/ 226439 h 1410492"/>
                <a:gd name="connsiteX635" fmla="*/ 1932513 w 2048870"/>
                <a:gd name="connsiteY635" fmla="*/ 228167 h 1410492"/>
                <a:gd name="connsiteX636" fmla="*/ 1922142 w 2048870"/>
                <a:gd name="connsiteY636" fmla="*/ 235082 h 1410492"/>
                <a:gd name="connsiteX637" fmla="*/ 1906585 w 2048870"/>
                <a:gd name="connsiteY637" fmla="*/ 231624 h 1410492"/>
                <a:gd name="connsiteX638" fmla="*/ 1885842 w 2048870"/>
                <a:gd name="connsiteY638" fmla="*/ 222982 h 1410492"/>
                <a:gd name="connsiteX639" fmla="*/ 1878928 w 2048870"/>
                <a:gd name="connsiteY639" fmla="*/ 224710 h 1410492"/>
                <a:gd name="connsiteX640" fmla="*/ 1868557 w 2048870"/>
                <a:gd name="connsiteY640" fmla="*/ 233353 h 1410492"/>
                <a:gd name="connsiteX641" fmla="*/ 1847814 w 2048870"/>
                <a:gd name="connsiteY641" fmla="*/ 221253 h 1410492"/>
                <a:gd name="connsiteX642" fmla="*/ 1839172 w 2048870"/>
                <a:gd name="connsiteY642" fmla="*/ 217796 h 1410492"/>
                <a:gd name="connsiteX643" fmla="*/ 1832257 w 2048870"/>
                <a:gd name="connsiteY643" fmla="*/ 214339 h 1410492"/>
                <a:gd name="connsiteX644" fmla="*/ 1823615 w 2048870"/>
                <a:gd name="connsiteY644" fmla="*/ 224710 h 1410492"/>
                <a:gd name="connsiteX645" fmla="*/ 1816701 w 2048870"/>
                <a:gd name="connsiteY645" fmla="*/ 229896 h 1410492"/>
                <a:gd name="connsiteX646" fmla="*/ 1787315 w 2048870"/>
                <a:gd name="connsiteY646" fmla="*/ 221253 h 1410492"/>
                <a:gd name="connsiteX647" fmla="*/ 1759659 w 2048870"/>
                <a:gd name="connsiteY647" fmla="*/ 222982 h 1410492"/>
                <a:gd name="connsiteX648" fmla="*/ 1754473 w 2048870"/>
                <a:gd name="connsiteY648" fmla="*/ 224710 h 1410492"/>
                <a:gd name="connsiteX649" fmla="*/ 1735459 w 2048870"/>
                <a:gd name="connsiteY649" fmla="*/ 222982 h 1410492"/>
                <a:gd name="connsiteX650" fmla="*/ 1728545 w 2048870"/>
                <a:gd name="connsiteY650" fmla="*/ 217796 h 1410492"/>
                <a:gd name="connsiteX651" fmla="*/ 1721631 w 2048870"/>
                <a:gd name="connsiteY651" fmla="*/ 207425 h 1410492"/>
                <a:gd name="connsiteX652" fmla="*/ 1712988 w 2048870"/>
                <a:gd name="connsiteY652" fmla="*/ 235082 h 1410492"/>
                <a:gd name="connsiteX653" fmla="*/ 1706074 w 2048870"/>
                <a:gd name="connsiteY653" fmla="*/ 250638 h 1410492"/>
                <a:gd name="connsiteX654" fmla="*/ 1692245 w 2048870"/>
                <a:gd name="connsiteY654" fmla="*/ 236810 h 1410492"/>
                <a:gd name="connsiteX655" fmla="*/ 1645575 w 2048870"/>
                <a:gd name="connsiteY655" fmla="*/ 224710 h 1410492"/>
                <a:gd name="connsiteX656" fmla="*/ 1640389 w 2048870"/>
                <a:gd name="connsiteY656" fmla="*/ 217796 h 1410492"/>
                <a:gd name="connsiteX657" fmla="*/ 1638661 w 2048870"/>
                <a:gd name="connsiteY657" fmla="*/ 212610 h 1410492"/>
                <a:gd name="connsiteX658" fmla="*/ 1623104 w 2048870"/>
                <a:gd name="connsiteY658" fmla="*/ 195325 h 1410492"/>
                <a:gd name="connsiteX659" fmla="*/ 1609275 w 2048870"/>
                <a:gd name="connsiteY659" fmla="*/ 191868 h 1410492"/>
                <a:gd name="connsiteX660" fmla="*/ 1600633 w 2048870"/>
                <a:gd name="connsiteY660" fmla="*/ 200511 h 1410492"/>
                <a:gd name="connsiteX661" fmla="*/ 1595447 w 2048870"/>
                <a:gd name="connsiteY661" fmla="*/ 202239 h 1410492"/>
                <a:gd name="connsiteX662" fmla="*/ 1574704 w 2048870"/>
                <a:gd name="connsiteY662" fmla="*/ 209153 h 1410492"/>
                <a:gd name="connsiteX663" fmla="*/ 1569519 w 2048870"/>
                <a:gd name="connsiteY663" fmla="*/ 214339 h 1410492"/>
                <a:gd name="connsiteX664" fmla="*/ 1564333 w 2048870"/>
                <a:gd name="connsiteY664" fmla="*/ 217796 h 1410492"/>
                <a:gd name="connsiteX665" fmla="*/ 1560876 w 2048870"/>
                <a:gd name="connsiteY665" fmla="*/ 224710 h 1410492"/>
                <a:gd name="connsiteX666" fmla="*/ 1543591 w 2048870"/>
                <a:gd name="connsiteY666" fmla="*/ 238539 h 1410492"/>
                <a:gd name="connsiteX667" fmla="*/ 1536676 w 2048870"/>
                <a:gd name="connsiteY667" fmla="*/ 245453 h 1410492"/>
                <a:gd name="connsiteX668" fmla="*/ 1534948 w 2048870"/>
                <a:gd name="connsiteY668" fmla="*/ 250638 h 1410492"/>
                <a:gd name="connsiteX669" fmla="*/ 1536676 w 2048870"/>
                <a:gd name="connsiteY669" fmla="*/ 255824 h 1410492"/>
                <a:gd name="connsiteX670" fmla="*/ 1510748 w 2048870"/>
                <a:gd name="connsiteY670" fmla="*/ 259281 h 1410492"/>
                <a:gd name="connsiteX671" fmla="*/ 1500377 w 2048870"/>
                <a:gd name="connsiteY671" fmla="*/ 252367 h 1410492"/>
                <a:gd name="connsiteX672" fmla="*/ 1472720 w 2048870"/>
                <a:gd name="connsiteY672" fmla="*/ 252367 h 1410492"/>
                <a:gd name="connsiteX673" fmla="*/ 1455435 w 2048870"/>
                <a:gd name="connsiteY673" fmla="*/ 254096 h 1410492"/>
                <a:gd name="connsiteX674" fmla="*/ 1446792 w 2048870"/>
                <a:gd name="connsiteY674" fmla="*/ 261010 h 1410492"/>
                <a:gd name="connsiteX675" fmla="*/ 1441606 w 2048870"/>
                <a:gd name="connsiteY675" fmla="*/ 267924 h 1410492"/>
                <a:gd name="connsiteX676" fmla="*/ 1438149 w 2048870"/>
                <a:gd name="connsiteY676" fmla="*/ 273110 h 1410492"/>
                <a:gd name="connsiteX677" fmla="*/ 1432964 w 2048870"/>
                <a:gd name="connsiteY677" fmla="*/ 274838 h 1410492"/>
                <a:gd name="connsiteX678" fmla="*/ 1419135 w 2048870"/>
                <a:gd name="connsiteY678" fmla="*/ 281752 h 1410492"/>
                <a:gd name="connsiteX679" fmla="*/ 1412221 w 2048870"/>
                <a:gd name="connsiteY679" fmla="*/ 278295 h 1410492"/>
                <a:gd name="connsiteX680" fmla="*/ 1408764 w 2048870"/>
                <a:gd name="connsiteY680" fmla="*/ 273110 h 1410492"/>
                <a:gd name="connsiteX681" fmla="*/ 1400121 w 2048870"/>
                <a:gd name="connsiteY681" fmla="*/ 257553 h 1410492"/>
                <a:gd name="connsiteX682" fmla="*/ 1394936 w 2048870"/>
                <a:gd name="connsiteY682" fmla="*/ 254096 h 1410492"/>
                <a:gd name="connsiteX683" fmla="*/ 1386293 w 2048870"/>
                <a:gd name="connsiteY683" fmla="*/ 243724 h 1410492"/>
                <a:gd name="connsiteX684" fmla="*/ 1381107 w 2048870"/>
                <a:gd name="connsiteY684" fmla="*/ 212610 h 1410492"/>
                <a:gd name="connsiteX685" fmla="*/ 1370736 w 2048870"/>
                <a:gd name="connsiteY685" fmla="*/ 202239 h 1410492"/>
                <a:gd name="connsiteX686" fmla="*/ 1363822 w 2048870"/>
                <a:gd name="connsiteY686" fmla="*/ 200511 h 1410492"/>
                <a:gd name="connsiteX687" fmla="*/ 1358636 w 2048870"/>
                <a:gd name="connsiteY687" fmla="*/ 193596 h 1410492"/>
                <a:gd name="connsiteX688" fmla="*/ 1349994 w 2048870"/>
                <a:gd name="connsiteY688" fmla="*/ 178040 h 1410492"/>
                <a:gd name="connsiteX689" fmla="*/ 1337894 w 2048870"/>
                <a:gd name="connsiteY689" fmla="*/ 167668 h 1410492"/>
                <a:gd name="connsiteX690" fmla="*/ 1298137 w 2048870"/>
                <a:gd name="connsiteY690" fmla="*/ 169397 h 1410492"/>
                <a:gd name="connsiteX691" fmla="*/ 1284309 w 2048870"/>
                <a:gd name="connsiteY691" fmla="*/ 179768 h 1410492"/>
                <a:gd name="connsiteX692" fmla="*/ 1268752 w 2048870"/>
                <a:gd name="connsiteY692" fmla="*/ 181497 h 1410492"/>
                <a:gd name="connsiteX693" fmla="*/ 1251467 w 2048870"/>
                <a:gd name="connsiteY693" fmla="*/ 174583 h 1410492"/>
                <a:gd name="connsiteX694" fmla="*/ 1241095 w 2048870"/>
                <a:gd name="connsiteY694" fmla="*/ 164211 h 1410492"/>
                <a:gd name="connsiteX695" fmla="*/ 1230724 w 2048870"/>
                <a:gd name="connsiteY695" fmla="*/ 160754 h 1410492"/>
                <a:gd name="connsiteX696" fmla="*/ 1215167 w 2048870"/>
                <a:gd name="connsiteY696" fmla="*/ 146926 h 1410492"/>
                <a:gd name="connsiteX697" fmla="*/ 1213439 w 2048870"/>
                <a:gd name="connsiteY697" fmla="*/ 140012 h 1410492"/>
                <a:gd name="connsiteX698" fmla="*/ 1206524 w 2048870"/>
                <a:gd name="connsiteY698" fmla="*/ 131369 h 1410492"/>
                <a:gd name="connsiteX699" fmla="*/ 1204796 w 2048870"/>
                <a:gd name="connsiteY699" fmla="*/ 122726 h 1410492"/>
                <a:gd name="connsiteX700" fmla="*/ 1190968 w 2048870"/>
                <a:gd name="connsiteY700" fmla="*/ 117541 h 1410492"/>
                <a:gd name="connsiteX701" fmla="*/ 1201339 w 2048870"/>
                <a:gd name="connsiteY701" fmla="*/ 105441 h 1410492"/>
                <a:gd name="connsiteX702" fmla="*/ 1208253 w 2048870"/>
                <a:gd name="connsiteY702" fmla="*/ 101984 h 1410492"/>
                <a:gd name="connsiteX703" fmla="*/ 1213439 w 2048870"/>
                <a:gd name="connsiteY703" fmla="*/ 95069 h 1410492"/>
                <a:gd name="connsiteX704" fmla="*/ 1218624 w 2048870"/>
                <a:gd name="connsiteY704" fmla="*/ 89884 h 1410492"/>
                <a:gd name="connsiteX705" fmla="*/ 1216896 w 2048870"/>
                <a:gd name="connsiteY705" fmla="*/ 84698 h 1410492"/>
                <a:gd name="connsiteX706" fmla="*/ 1206524 w 2048870"/>
                <a:gd name="connsiteY706" fmla="*/ 81241 h 1410492"/>
                <a:gd name="connsiteX707" fmla="*/ 1190968 w 2048870"/>
                <a:gd name="connsiteY707" fmla="*/ 76055 h 1410492"/>
                <a:gd name="connsiteX708" fmla="*/ 1175411 w 2048870"/>
                <a:gd name="connsiteY708" fmla="*/ 60499 h 1410492"/>
                <a:gd name="connsiteX709" fmla="*/ 1168496 w 2048870"/>
                <a:gd name="connsiteY709" fmla="*/ 53584 h 1410492"/>
                <a:gd name="connsiteX710" fmla="*/ 1165039 w 2048870"/>
                <a:gd name="connsiteY710" fmla="*/ 46670 h 1410492"/>
                <a:gd name="connsiteX711" fmla="*/ 1159854 w 2048870"/>
                <a:gd name="connsiteY711" fmla="*/ 39756 h 1410492"/>
                <a:gd name="connsiteX712" fmla="*/ 1151211 w 2048870"/>
                <a:gd name="connsiteY712" fmla="*/ 27656 h 1410492"/>
                <a:gd name="connsiteX713" fmla="*/ 1146025 w 2048870"/>
                <a:gd name="connsiteY713" fmla="*/ 24199 h 1410492"/>
                <a:gd name="connsiteX714" fmla="*/ 1140840 w 2048870"/>
                <a:gd name="connsiteY714" fmla="*/ 17285 h 1410492"/>
                <a:gd name="connsiteX715" fmla="*/ 1123554 w 2048870"/>
                <a:gd name="connsiteY715" fmla="*/ 3457 h 1410492"/>
                <a:gd name="connsiteX716" fmla="*/ 1116640 w 2048870"/>
                <a:gd name="connsiteY716" fmla="*/ 0 h 1410492"/>
                <a:gd name="connsiteX717" fmla="*/ 1102812 w 2048870"/>
                <a:gd name="connsiteY717" fmla="*/ 1728 h 1410492"/>
                <a:gd name="connsiteX718" fmla="*/ 1097626 w 2048870"/>
                <a:gd name="connsiteY718" fmla="*/ 3457 h 1410492"/>
                <a:gd name="connsiteX719" fmla="*/ 1090712 w 2048870"/>
                <a:gd name="connsiteY719" fmla="*/ 5185 h 1410492"/>
                <a:gd name="connsiteX720" fmla="*/ 1071698 w 2048870"/>
                <a:gd name="connsiteY720" fmla="*/ 17285 h 1410492"/>
                <a:gd name="connsiteX721" fmla="*/ 1056141 w 2048870"/>
                <a:gd name="connsiteY721" fmla="*/ 15556 h 1410492"/>
                <a:gd name="connsiteX722" fmla="*/ 1050955 w 2048870"/>
                <a:gd name="connsiteY722" fmla="*/ 19014 h 1410492"/>
                <a:gd name="connsiteX723" fmla="*/ 1042313 w 2048870"/>
                <a:gd name="connsiteY723" fmla="*/ 27656 h 1410492"/>
                <a:gd name="connsiteX724" fmla="*/ 1028484 w 2048870"/>
                <a:gd name="connsiteY724" fmla="*/ 38027 h 1410492"/>
                <a:gd name="connsiteX725" fmla="*/ 1025027 w 2048870"/>
                <a:gd name="connsiteY725" fmla="*/ 41485 h 1410492"/>
                <a:gd name="connsiteX726" fmla="*/ 1016385 w 2048870"/>
                <a:gd name="connsiteY726" fmla="*/ 46670 h 1410492"/>
                <a:gd name="connsiteX727" fmla="*/ 1012927 w 2048870"/>
                <a:gd name="connsiteY727" fmla="*/ 50127 h 1410492"/>
                <a:gd name="connsiteX728" fmla="*/ 997371 w 2048870"/>
                <a:gd name="connsiteY728" fmla="*/ 57041 h 1410492"/>
                <a:gd name="connsiteX729" fmla="*/ 973171 w 2048870"/>
                <a:gd name="connsiteY729" fmla="*/ 58770 h 1410492"/>
                <a:gd name="connsiteX730" fmla="*/ 967985 w 2048870"/>
                <a:gd name="connsiteY730" fmla="*/ 62227 h 1410492"/>
                <a:gd name="connsiteX731" fmla="*/ 966257 w 2048870"/>
                <a:gd name="connsiteY731" fmla="*/ 79513 h 1410492"/>
                <a:gd name="connsiteX732" fmla="*/ 962800 w 2048870"/>
                <a:gd name="connsiteY732" fmla="*/ 103712 h 1410492"/>
                <a:gd name="connsiteX733" fmla="*/ 961071 w 2048870"/>
                <a:gd name="connsiteY733" fmla="*/ 112355 h 1410492"/>
                <a:gd name="connsiteX734" fmla="*/ 916129 w 2048870"/>
                <a:gd name="connsiteY734" fmla="*/ 115812 h 1410492"/>
                <a:gd name="connsiteX735" fmla="*/ 910943 w 2048870"/>
                <a:gd name="connsiteY735" fmla="*/ 119269 h 1410492"/>
                <a:gd name="connsiteX736" fmla="*/ 905758 w 2048870"/>
                <a:gd name="connsiteY736" fmla="*/ 120998 h 1410492"/>
                <a:gd name="connsiteX737" fmla="*/ 893658 w 2048870"/>
                <a:gd name="connsiteY737" fmla="*/ 124455 h 1410492"/>
                <a:gd name="connsiteX738" fmla="*/ 888472 w 2048870"/>
                <a:gd name="connsiteY738" fmla="*/ 126183 h 1410492"/>
                <a:gd name="connsiteX739" fmla="*/ 895386 w 2048870"/>
                <a:gd name="connsiteY739" fmla="*/ 124455 h 1410492"/>
                <a:gd name="connsiteX740" fmla="*/ 904029 w 2048870"/>
                <a:gd name="connsiteY740" fmla="*/ 115812 h 1410492"/>
                <a:gd name="connsiteX741" fmla="*/ 966257 w 2048870"/>
                <a:gd name="connsiteY741" fmla="*/ 63956 h 1410492"/>
                <a:gd name="connsiteX0" fmla="*/ 966257 w 2048870"/>
                <a:gd name="connsiteY0" fmla="*/ 63956 h 1410492"/>
                <a:gd name="connsiteX1" fmla="*/ 962800 w 2048870"/>
                <a:gd name="connsiteY1" fmla="*/ 72598 h 1410492"/>
                <a:gd name="connsiteX2" fmla="*/ 919586 w 2048870"/>
                <a:gd name="connsiteY2" fmla="*/ 114083 h 1410492"/>
                <a:gd name="connsiteX3" fmla="*/ 902301 w 2048870"/>
                <a:gd name="connsiteY3" fmla="*/ 120998 h 1410492"/>
                <a:gd name="connsiteX4" fmla="*/ 885015 w 2048870"/>
                <a:gd name="connsiteY4" fmla="*/ 122726 h 1410492"/>
                <a:gd name="connsiteX5" fmla="*/ 878101 w 2048870"/>
                <a:gd name="connsiteY5" fmla="*/ 129640 h 1410492"/>
                <a:gd name="connsiteX6" fmla="*/ 855630 w 2048870"/>
                <a:gd name="connsiteY6" fmla="*/ 140012 h 1410492"/>
                <a:gd name="connsiteX7" fmla="*/ 850444 w 2048870"/>
                <a:gd name="connsiteY7" fmla="*/ 145197 h 1410492"/>
                <a:gd name="connsiteX8" fmla="*/ 831430 w 2048870"/>
                <a:gd name="connsiteY8" fmla="*/ 146926 h 1410492"/>
                <a:gd name="connsiteX9" fmla="*/ 808923 w 2048870"/>
                <a:gd name="connsiteY9" fmla="*/ 195183 h 1410492"/>
                <a:gd name="connsiteX10" fmla="*/ 817602 w 2048870"/>
                <a:gd name="connsiteY10" fmla="*/ 247181 h 1410492"/>
                <a:gd name="connsiteX11" fmla="*/ 821059 w 2048870"/>
                <a:gd name="connsiteY11" fmla="*/ 255824 h 1410492"/>
                <a:gd name="connsiteX12" fmla="*/ 826245 w 2048870"/>
                <a:gd name="connsiteY12" fmla="*/ 259281 h 1410492"/>
                <a:gd name="connsiteX13" fmla="*/ 833159 w 2048870"/>
                <a:gd name="connsiteY13" fmla="*/ 267924 h 1410492"/>
                <a:gd name="connsiteX14" fmla="*/ 836616 w 2048870"/>
                <a:gd name="connsiteY14" fmla="*/ 280024 h 1410492"/>
                <a:gd name="connsiteX15" fmla="*/ 834887 w 2048870"/>
                <a:gd name="connsiteY15" fmla="*/ 295581 h 1410492"/>
                <a:gd name="connsiteX16" fmla="*/ 821059 w 2048870"/>
                <a:gd name="connsiteY16" fmla="*/ 299038 h 1410492"/>
                <a:gd name="connsiteX17" fmla="*/ 800316 w 2048870"/>
                <a:gd name="connsiteY17" fmla="*/ 295581 h 1410492"/>
                <a:gd name="connsiteX18" fmla="*/ 786488 w 2048870"/>
                <a:gd name="connsiteY18" fmla="*/ 286938 h 1410492"/>
                <a:gd name="connsiteX19" fmla="*/ 781302 w 2048870"/>
                <a:gd name="connsiteY19" fmla="*/ 285209 h 1410492"/>
                <a:gd name="connsiteX20" fmla="*/ 774388 w 2048870"/>
                <a:gd name="connsiteY20" fmla="*/ 278295 h 1410492"/>
                <a:gd name="connsiteX21" fmla="*/ 767474 w 2048870"/>
                <a:gd name="connsiteY21" fmla="*/ 285209 h 1410492"/>
                <a:gd name="connsiteX22" fmla="*/ 758831 w 2048870"/>
                <a:gd name="connsiteY22" fmla="*/ 286938 h 1410492"/>
                <a:gd name="connsiteX23" fmla="*/ 751917 w 2048870"/>
                <a:gd name="connsiteY23" fmla="*/ 288666 h 1410492"/>
                <a:gd name="connsiteX24" fmla="*/ 746732 w 2048870"/>
                <a:gd name="connsiteY24" fmla="*/ 290395 h 1410492"/>
                <a:gd name="connsiteX25" fmla="*/ 722532 w 2048870"/>
                <a:gd name="connsiteY25" fmla="*/ 292124 h 1410492"/>
                <a:gd name="connsiteX26" fmla="*/ 720803 w 2048870"/>
                <a:gd name="connsiteY26" fmla="*/ 297309 h 1410492"/>
                <a:gd name="connsiteX27" fmla="*/ 701789 w 2048870"/>
                <a:gd name="connsiteY27" fmla="*/ 312866 h 1410492"/>
                <a:gd name="connsiteX28" fmla="*/ 686233 w 2048870"/>
                <a:gd name="connsiteY28" fmla="*/ 305952 h 1410492"/>
                <a:gd name="connsiteX29" fmla="*/ 684504 w 2048870"/>
                <a:gd name="connsiteY29" fmla="*/ 300766 h 1410492"/>
                <a:gd name="connsiteX30" fmla="*/ 681047 w 2048870"/>
                <a:gd name="connsiteY30" fmla="*/ 285209 h 1410492"/>
                <a:gd name="connsiteX31" fmla="*/ 649933 w 2048870"/>
                <a:gd name="connsiteY31" fmla="*/ 288666 h 1410492"/>
                <a:gd name="connsiteX32" fmla="*/ 646476 w 2048870"/>
                <a:gd name="connsiteY32" fmla="*/ 299038 h 1410492"/>
                <a:gd name="connsiteX33" fmla="*/ 639562 w 2048870"/>
                <a:gd name="connsiteY33" fmla="*/ 314595 h 1410492"/>
                <a:gd name="connsiteX34" fmla="*/ 634376 w 2048870"/>
                <a:gd name="connsiteY34" fmla="*/ 326694 h 1410492"/>
                <a:gd name="connsiteX35" fmla="*/ 629191 w 2048870"/>
                <a:gd name="connsiteY35" fmla="*/ 328423 h 1410492"/>
                <a:gd name="connsiteX36" fmla="*/ 613634 w 2048870"/>
                <a:gd name="connsiteY36" fmla="*/ 323237 h 1410492"/>
                <a:gd name="connsiteX37" fmla="*/ 601534 w 2048870"/>
                <a:gd name="connsiteY37" fmla="*/ 311138 h 1410492"/>
                <a:gd name="connsiteX38" fmla="*/ 572149 w 2048870"/>
                <a:gd name="connsiteY38" fmla="*/ 309409 h 1410492"/>
                <a:gd name="connsiteX39" fmla="*/ 566963 w 2048870"/>
                <a:gd name="connsiteY39" fmla="*/ 295581 h 1410492"/>
                <a:gd name="connsiteX40" fmla="*/ 563506 w 2048870"/>
                <a:gd name="connsiteY40" fmla="*/ 300766 h 1410492"/>
                <a:gd name="connsiteX41" fmla="*/ 558320 w 2048870"/>
                <a:gd name="connsiteY41" fmla="*/ 307680 h 1410492"/>
                <a:gd name="connsiteX42" fmla="*/ 549678 w 2048870"/>
                <a:gd name="connsiteY42" fmla="*/ 321509 h 1410492"/>
                <a:gd name="connsiteX43" fmla="*/ 509921 w 2048870"/>
                <a:gd name="connsiteY43" fmla="*/ 324966 h 1410492"/>
                <a:gd name="connsiteX44" fmla="*/ 515107 w 2048870"/>
                <a:gd name="connsiteY44" fmla="*/ 328423 h 1410492"/>
                <a:gd name="connsiteX45" fmla="*/ 525478 w 2048870"/>
                <a:gd name="connsiteY45" fmla="*/ 331880 h 1410492"/>
                <a:gd name="connsiteX46" fmla="*/ 523749 w 2048870"/>
                <a:gd name="connsiteY46" fmla="*/ 337066 h 1410492"/>
                <a:gd name="connsiteX47" fmla="*/ 516835 w 2048870"/>
                <a:gd name="connsiteY47" fmla="*/ 343980 h 1410492"/>
                <a:gd name="connsiteX48" fmla="*/ 511650 w 2048870"/>
                <a:gd name="connsiteY48" fmla="*/ 323237 h 1410492"/>
                <a:gd name="connsiteX49" fmla="*/ 483993 w 2048870"/>
                <a:gd name="connsiteY49" fmla="*/ 333609 h 1410492"/>
                <a:gd name="connsiteX50" fmla="*/ 478807 w 2048870"/>
                <a:gd name="connsiteY50" fmla="*/ 338794 h 1410492"/>
                <a:gd name="connsiteX51" fmla="*/ 466707 w 2048870"/>
                <a:gd name="connsiteY51" fmla="*/ 337066 h 1410492"/>
                <a:gd name="connsiteX52" fmla="*/ 463250 w 2048870"/>
                <a:gd name="connsiteY52" fmla="*/ 324966 h 1410492"/>
                <a:gd name="connsiteX53" fmla="*/ 454608 w 2048870"/>
                <a:gd name="connsiteY53" fmla="*/ 312866 h 1410492"/>
                <a:gd name="connsiteX54" fmla="*/ 449422 w 2048870"/>
                <a:gd name="connsiteY54" fmla="*/ 311138 h 1410492"/>
                <a:gd name="connsiteX55" fmla="*/ 425222 w 2048870"/>
                <a:gd name="connsiteY55" fmla="*/ 314595 h 1410492"/>
                <a:gd name="connsiteX56" fmla="*/ 273110 w 2048870"/>
                <a:gd name="connsiteY56" fmla="*/ 316323 h 1410492"/>
                <a:gd name="connsiteX57" fmla="*/ 262739 w 2048870"/>
                <a:gd name="connsiteY57" fmla="*/ 323237 h 1410492"/>
                <a:gd name="connsiteX58" fmla="*/ 255825 w 2048870"/>
                <a:gd name="connsiteY58" fmla="*/ 324966 h 1410492"/>
                <a:gd name="connsiteX59" fmla="*/ 250639 w 2048870"/>
                <a:gd name="connsiteY59" fmla="*/ 326694 h 1410492"/>
                <a:gd name="connsiteX60" fmla="*/ 238540 w 2048870"/>
                <a:gd name="connsiteY60" fmla="*/ 330152 h 1410492"/>
                <a:gd name="connsiteX61" fmla="*/ 200512 w 2048870"/>
                <a:gd name="connsiteY61" fmla="*/ 333609 h 1410492"/>
                <a:gd name="connsiteX62" fmla="*/ 188412 w 2048870"/>
                <a:gd name="connsiteY62" fmla="*/ 338794 h 1410492"/>
                <a:gd name="connsiteX63" fmla="*/ 176312 w 2048870"/>
                <a:gd name="connsiteY63" fmla="*/ 342251 h 1410492"/>
                <a:gd name="connsiteX64" fmla="*/ 146927 w 2048870"/>
                <a:gd name="connsiteY64" fmla="*/ 356080 h 1410492"/>
                <a:gd name="connsiteX65" fmla="*/ 138284 w 2048870"/>
                <a:gd name="connsiteY65" fmla="*/ 357808 h 1410492"/>
                <a:gd name="connsiteX66" fmla="*/ 136555 w 2048870"/>
                <a:gd name="connsiteY66" fmla="*/ 364722 h 1410492"/>
                <a:gd name="connsiteX67" fmla="*/ 134827 w 2048870"/>
                <a:gd name="connsiteY67" fmla="*/ 380279 h 1410492"/>
                <a:gd name="connsiteX68" fmla="*/ 127913 w 2048870"/>
                <a:gd name="connsiteY68" fmla="*/ 387193 h 1410492"/>
                <a:gd name="connsiteX69" fmla="*/ 126184 w 2048870"/>
                <a:gd name="connsiteY69" fmla="*/ 394108 h 1410492"/>
                <a:gd name="connsiteX70" fmla="*/ 124456 w 2048870"/>
                <a:gd name="connsiteY70" fmla="*/ 402750 h 1410492"/>
                <a:gd name="connsiteX71" fmla="*/ 117541 w 2048870"/>
                <a:gd name="connsiteY71" fmla="*/ 407936 h 1410492"/>
                <a:gd name="connsiteX72" fmla="*/ 105442 w 2048870"/>
                <a:gd name="connsiteY72" fmla="*/ 411393 h 1410492"/>
                <a:gd name="connsiteX73" fmla="*/ 100256 w 2048870"/>
                <a:gd name="connsiteY73" fmla="*/ 413122 h 1410492"/>
                <a:gd name="connsiteX74" fmla="*/ 70871 w 2048870"/>
                <a:gd name="connsiteY74" fmla="*/ 421764 h 1410492"/>
                <a:gd name="connsiteX75" fmla="*/ 67414 w 2048870"/>
                <a:gd name="connsiteY75" fmla="*/ 428679 h 1410492"/>
                <a:gd name="connsiteX76" fmla="*/ 69142 w 2048870"/>
                <a:gd name="connsiteY76" fmla="*/ 440778 h 1410492"/>
                <a:gd name="connsiteX77" fmla="*/ 65685 w 2048870"/>
                <a:gd name="connsiteY77" fmla="*/ 445964 h 1410492"/>
                <a:gd name="connsiteX78" fmla="*/ 63957 w 2048870"/>
                <a:gd name="connsiteY78" fmla="*/ 452878 h 1410492"/>
                <a:gd name="connsiteX79" fmla="*/ 69142 w 2048870"/>
                <a:gd name="connsiteY79" fmla="*/ 456335 h 1410492"/>
                <a:gd name="connsiteX80" fmla="*/ 74328 w 2048870"/>
                <a:gd name="connsiteY80" fmla="*/ 458064 h 1410492"/>
                <a:gd name="connsiteX81" fmla="*/ 84699 w 2048870"/>
                <a:gd name="connsiteY81" fmla="*/ 466707 h 1410492"/>
                <a:gd name="connsiteX82" fmla="*/ 81242 w 2048870"/>
                <a:gd name="connsiteY82" fmla="*/ 473621 h 1410492"/>
                <a:gd name="connsiteX83" fmla="*/ 77785 w 2048870"/>
                <a:gd name="connsiteY83" fmla="*/ 478806 h 1410492"/>
                <a:gd name="connsiteX84" fmla="*/ 79513 w 2048870"/>
                <a:gd name="connsiteY84" fmla="*/ 485721 h 1410492"/>
                <a:gd name="connsiteX85" fmla="*/ 72599 w 2048870"/>
                <a:gd name="connsiteY85" fmla="*/ 489178 h 1410492"/>
                <a:gd name="connsiteX86" fmla="*/ 63957 w 2048870"/>
                <a:gd name="connsiteY86" fmla="*/ 487449 h 1410492"/>
                <a:gd name="connsiteX87" fmla="*/ 76056 w 2048870"/>
                <a:gd name="connsiteY87" fmla="*/ 485721 h 1410492"/>
                <a:gd name="connsiteX88" fmla="*/ 86428 w 2048870"/>
                <a:gd name="connsiteY88" fmla="*/ 483992 h 1410492"/>
                <a:gd name="connsiteX89" fmla="*/ 84699 w 2048870"/>
                <a:gd name="connsiteY89" fmla="*/ 494363 h 1410492"/>
                <a:gd name="connsiteX90" fmla="*/ 86428 w 2048870"/>
                <a:gd name="connsiteY90" fmla="*/ 501277 h 1410492"/>
                <a:gd name="connsiteX91" fmla="*/ 96799 w 2048870"/>
                <a:gd name="connsiteY91" fmla="*/ 515106 h 1410492"/>
                <a:gd name="connsiteX92" fmla="*/ 101985 w 2048870"/>
                <a:gd name="connsiteY92" fmla="*/ 516834 h 1410492"/>
                <a:gd name="connsiteX93" fmla="*/ 114084 w 2048870"/>
                <a:gd name="connsiteY93" fmla="*/ 520291 h 1410492"/>
                <a:gd name="connsiteX94" fmla="*/ 119270 w 2048870"/>
                <a:gd name="connsiteY94" fmla="*/ 525477 h 1410492"/>
                <a:gd name="connsiteX95" fmla="*/ 133098 w 2048870"/>
                <a:gd name="connsiteY95" fmla="*/ 535848 h 1410492"/>
                <a:gd name="connsiteX96" fmla="*/ 136555 w 2048870"/>
                <a:gd name="connsiteY96" fmla="*/ 542762 h 1410492"/>
                <a:gd name="connsiteX97" fmla="*/ 134827 w 2048870"/>
                <a:gd name="connsiteY97" fmla="*/ 572148 h 1410492"/>
                <a:gd name="connsiteX98" fmla="*/ 140012 w 2048870"/>
                <a:gd name="connsiteY98" fmla="*/ 573876 h 1410492"/>
                <a:gd name="connsiteX99" fmla="*/ 143470 w 2048870"/>
                <a:gd name="connsiteY99" fmla="*/ 577333 h 1410492"/>
                <a:gd name="connsiteX100" fmla="*/ 146927 w 2048870"/>
                <a:gd name="connsiteY100" fmla="*/ 589433 h 1410492"/>
                <a:gd name="connsiteX101" fmla="*/ 150384 w 2048870"/>
                <a:gd name="connsiteY101" fmla="*/ 598076 h 1410492"/>
                <a:gd name="connsiteX102" fmla="*/ 148655 w 2048870"/>
                <a:gd name="connsiteY102" fmla="*/ 617090 h 1410492"/>
                <a:gd name="connsiteX103" fmla="*/ 146927 w 2048870"/>
                <a:gd name="connsiteY103" fmla="*/ 622276 h 1410492"/>
                <a:gd name="connsiteX104" fmla="*/ 141741 w 2048870"/>
                <a:gd name="connsiteY104" fmla="*/ 627461 h 1410492"/>
                <a:gd name="connsiteX105" fmla="*/ 136555 w 2048870"/>
                <a:gd name="connsiteY105" fmla="*/ 634375 h 1410492"/>
                <a:gd name="connsiteX106" fmla="*/ 120999 w 2048870"/>
                <a:gd name="connsiteY106" fmla="*/ 639561 h 1410492"/>
                <a:gd name="connsiteX107" fmla="*/ 95070 w 2048870"/>
                <a:gd name="connsiteY107" fmla="*/ 665489 h 1410492"/>
                <a:gd name="connsiteX108" fmla="*/ 89885 w 2048870"/>
                <a:gd name="connsiteY108" fmla="*/ 670675 h 1410492"/>
                <a:gd name="connsiteX109" fmla="*/ 86428 w 2048870"/>
                <a:gd name="connsiteY109" fmla="*/ 675860 h 1410492"/>
                <a:gd name="connsiteX110" fmla="*/ 81242 w 2048870"/>
                <a:gd name="connsiteY110" fmla="*/ 677589 h 1410492"/>
                <a:gd name="connsiteX111" fmla="*/ 77785 w 2048870"/>
                <a:gd name="connsiteY111" fmla="*/ 682775 h 1410492"/>
                <a:gd name="connsiteX112" fmla="*/ 63957 w 2048870"/>
                <a:gd name="connsiteY112" fmla="*/ 689689 h 1410492"/>
                <a:gd name="connsiteX113" fmla="*/ 60499 w 2048870"/>
                <a:gd name="connsiteY113" fmla="*/ 706974 h 1410492"/>
                <a:gd name="connsiteX114" fmla="*/ 50128 w 2048870"/>
                <a:gd name="connsiteY114" fmla="*/ 720803 h 1410492"/>
                <a:gd name="connsiteX115" fmla="*/ 48400 w 2048870"/>
                <a:gd name="connsiteY115" fmla="*/ 725988 h 1410492"/>
                <a:gd name="connsiteX116" fmla="*/ 46671 w 2048870"/>
                <a:gd name="connsiteY116" fmla="*/ 732902 h 1410492"/>
                <a:gd name="connsiteX117" fmla="*/ 25929 w 2048870"/>
                <a:gd name="connsiteY117" fmla="*/ 751916 h 1410492"/>
                <a:gd name="connsiteX118" fmla="*/ 19014 w 2048870"/>
                <a:gd name="connsiteY118" fmla="*/ 776116 h 1410492"/>
                <a:gd name="connsiteX119" fmla="*/ 12100 w 2048870"/>
                <a:gd name="connsiteY119" fmla="*/ 789944 h 1410492"/>
                <a:gd name="connsiteX120" fmla="*/ 17286 w 2048870"/>
                <a:gd name="connsiteY120" fmla="*/ 822787 h 1410492"/>
                <a:gd name="connsiteX121" fmla="*/ 25929 w 2048870"/>
                <a:gd name="connsiteY121" fmla="*/ 829701 h 1410492"/>
                <a:gd name="connsiteX122" fmla="*/ 29386 w 2048870"/>
                <a:gd name="connsiteY122" fmla="*/ 838344 h 1410492"/>
                <a:gd name="connsiteX123" fmla="*/ 36300 w 2048870"/>
                <a:gd name="connsiteY123" fmla="*/ 843529 h 1410492"/>
                <a:gd name="connsiteX124" fmla="*/ 38028 w 2048870"/>
                <a:gd name="connsiteY124" fmla="*/ 852172 h 1410492"/>
                <a:gd name="connsiteX125" fmla="*/ 43214 w 2048870"/>
                <a:gd name="connsiteY125" fmla="*/ 864272 h 1410492"/>
                <a:gd name="connsiteX126" fmla="*/ 44943 w 2048870"/>
                <a:gd name="connsiteY126" fmla="*/ 874643 h 1410492"/>
                <a:gd name="connsiteX127" fmla="*/ 51857 w 2048870"/>
                <a:gd name="connsiteY127" fmla="*/ 876372 h 1410492"/>
                <a:gd name="connsiteX128" fmla="*/ 53585 w 2048870"/>
                <a:gd name="connsiteY128" fmla="*/ 883286 h 1410492"/>
                <a:gd name="connsiteX129" fmla="*/ 58771 w 2048870"/>
                <a:gd name="connsiteY129" fmla="*/ 886743 h 1410492"/>
                <a:gd name="connsiteX130" fmla="*/ 51857 w 2048870"/>
                <a:gd name="connsiteY130" fmla="*/ 898843 h 1410492"/>
                <a:gd name="connsiteX131" fmla="*/ 43214 w 2048870"/>
                <a:gd name="connsiteY131" fmla="*/ 904028 h 1410492"/>
                <a:gd name="connsiteX132" fmla="*/ 29386 w 2048870"/>
                <a:gd name="connsiteY132" fmla="*/ 909214 h 1410492"/>
                <a:gd name="connsiteX133" fmla="*/ 27657 w 2048870"/>
                <a:gd name="connsiteY133" fmla="*/ 919585 h 1410492"/>
                <a:gd name="connsiteX134" fmla="*/ 25929 w 2048870"/>
                <a:gd name="connsiteY134" fmla="*/ 926499 h 1410492"/>
                <a:gd name="connsiteX135" fmla="*/ 19014 w 2048870"/>
                <a:gd name="connsiteY135" fmla="*/ 955885 h 1410492"/>
                <a:gd name="connsiteX136" fmla="*/ 10372 w 2048870"/>
                <a:gd name="connsiteY136" fmla="*/ 969713 h 1410492"/>
                <a:gd name="connsiteX137" fmla="*/ 8643 w 2048870"/>
                <a:gd name="connsiteY137" fmla="*/ 990455 h 1410492"/>
                <a:gd name="connsiteX138" fmla="*/ 0 w 2048870"/>
                <a:gd name="connsiteY138" fmla="*/ 999098 h 1410492"/>
                <a:gd name="connsiteX139" fmla="*/ 6915 w 2048870"/>
                <a:gd name="connsiteY139" fmla="*/ 1023298 h 1410492"/>
                <a:gd name="connsiteX140" fmla="*/ 15557 w 2048870"/>
                <a:gd name="connsiteY140" fmla="*/ 1025026 h 1410492"/>
                <a:gd name="connsiteX141" fmla="*/ 22471 w 2048870"/>
                <a:gd name="connsiteY141" fmla="*/ 1030212 h 1410492"/>
                <a:gd name="connsiteX142" fmla="*/ 27657 w 2048870"/>
                <a:gd name="connsiteY142" fmla="*/ 1031941 h 1410492"/>
                <a:gd name="connsiteX143" fmla="*/ 34571 w 2048870"/>
                <a:gd name="connsiteY143" fmla="*/ 1035398 h 1410492"/>
                <a:gd name="connsiteX144" fmla="*/ 39757 w 2048870"/>
                <a:gd name="connsiteY144" fmla="*/ 1042312 h 1410492"/>
                <a:gd name="connsiteX145" fmla="*/ 43214 w 2048870"/>
                <a:gd name="connsiteY145" fmla="*/ 1047497 h 1410492"/>
                <a:gd name="connsiteX146" fmla="*/ 53585 w 2048870"/>
                <a:gd name="connsiteY146" fmla="*/ 1052683 h 1410492"/>
                <a:gd name="connsiteX147" fmla="*/ 95070 w 2048870"/>
                <a:gd name="connsiteY147" fmla="*/ 1061326 h 1410492"/>
                <a:gd name="connsiteX148" fmla="*/ 96799 w 2048870"/>
                <a:gd name="connsiteY148" fmla="*/ 1073426 h 1410492"/>
                <a:gd name="connsiteX149" fmla="*/ 101985 w 2048870"/>
                <a:gd name="connsiteY149" fmla="*/ 1075154 h 1410492"/>
                <a:gd name="connsiteX150" fmla="*/ 112356 w 2048870"/>
                <a:gd name="connsiteY150" fmla="*/ 1066511 h 1410492"/>
                <a:gd name="connsiteX151" fmla="*/ 119270 w 2048870"/>
                <a:gd name="connsiteY151" fmla="*/ 1059597 h 1410492"/>
                <a:gd name="connsiteX152" fmla="*/ 120999 w 2048870"/>
                <a:gd name="connsiteY152" fmla="*/ 1054412 h 1410492"/>
                <a:gd name="connsiteX153" fmla="*/ 134827 w 2048870"/>
                <a:gd name="connsiteY153" fmla="*/ 1061326 h 1410492"/>
                <a:gd name="connsiteX154" fmla="*/ 141741 w 2048870"/>
                <a:gd name="connsiteY154" fmla="*/ 1063054 h 1410492"/>
                <a:gd name="connsiteX155" fmla="*/ 146927 w 2048870"/>
                <a:gd name="connsiteY155" fmla="*/ 1064783 h 1410492"/>
                <a:gd name="connsiteX156" fmla="*/ 247182 w 2048870"/>
                <a:gd name="connsiteY156" fmla="*/ 1068240 h 1410492"/>
                <a:gd name="connsiteX157" fmla="*/ 266196 w 2048870"/>
                <a:gd name="connsiteY157" fmla="*/ 1064783 h 1410492"/>
                <a:gd name="connsiteX158" fmla="*/ 276568 w 2048870"/>
                <a:gd name="connsiteY158" fmla="*/ 1059597 h 1410492"/>
                <a:gd name="connsiteX159" fmla="*/ 285210 w 2048870"/>
                <a:gd name="connsiteY159" fmla="*/ 1049226 h 1410492"/>
                <a:gd name="connsiteX160" fmla="*/ 295581 w 2048870"/>
                <a:gd name="connsiteY160" fmla="*/ 1052683 h 1410492"/>
                <a:gd name="connsiteX161" fmla="*/ 299039 w 2048870"/>
                <a:gd name="connsiteY161" fmla="*/ 1059597 h 1410492"/>
                <a:gd name="connsiteX162" fmla="*/ 312867 w 2048870"/>
                <a:gd name="connsiteY162" fmla="*/ 1071697 h 1410492"/>
                <a:gd name="connsiteX163" fmla="*/ 338795 w 2048870"/>
                <a:gd name="connsiteY163" fmla="*/ 1078611 h 1410492"/>
                <a:gd name="connsiteX164" fmla="*/ 361266 w 2048870"/>
                <a:gd name="connsiteY164" fmla="*/ 1075154 h 1410492"/>
                <a:gd name="connsiteX165" fmla="*/ 362995 w 2048870"/>
                <a:gd name="connsiteY165" fmla="*/ 1068240 h 1410492"/>
                <a:gd name="connsiteX166" fmla="*/ 373366 w 2048870"/>
                <a:gd name="connsiteY166" fmla="*/ 1050955 h 1410492"/>
                <a:gd name="connsiteX167" fmla="*/ 378552 w 2048870"/>
                <a:gd name="connsiteY167" fmla="*/ 1045769 h 1410492"/>
                <a:gd name="connsiteX168" fmla="*/ 397566 w 2048870"/>
                <a:gd name="connsiteY168" fmla="*/ 1038855 h 1410492"/>
                <a:gd name="connsiteX169" fmla="*/ 432137 w 2048870"/>
                <a:gd name="connsiteY169" fmla="*/ 1035398 h 1410492"/>
                <a:gd name="connsiteX170" fmla="*/ 444236 w 2048870"/>
                <a:gd name="connsiteY170" fmla="*/ 1031941 h 1410492"/>
                <a:gd name="connsiteX171" fmla="*/ 447693 w 2048870"/>
                <a:gd name="connsiteY171" fmla="*/ 1025026 h 1410492"/>
                <a:gd name="connsiteX172" fmla="*/ 452879 w 2048870"/>
                <a:gd name="connsiteY172" fmla="*/ 1021569 h 1410492"/>
                <a:gd name="connsiteX173" fmla="*/ 468436 w 2048870"/>
                <a:gd name="connsiteY173" fmla="*/ 1011198 h 1410492"/>
                <a:gd name="connsiteX174" fmla="*/ 473622 w 2048870"/>
                <a:gd name="connsiteY174" fmla="*/ 999098 h 1410492"/>
                <a:gd name="connsiteX175" fmla="*/ 478807 w 2048870"/>
                <a:gd name="connsiteY175" fmla="*/ 986998 h 1410492"/>
                <a:gd name="connsiteX176" fmla="*/ 485721 w 2048870"/>
                <a:gd name="connsiteY176" fmla="*/ 980084 h 1410492"/>
                <a:gd name="connsiteX177" fmla="*/ 489178 w 2048870"/>
                <a:gd name="connsiteY177" fmla="*/ 974899 h 1410492"/>
                <a:gd name="connsiteX178" fmla="*/ 511650 w 2048870"/>
                <a:gd name="connsiteY178" fmla="*/ 955885 h 1410492"/>
                <a:gd name="connsiteX179" fmla="*/ 530664 w 2048870"/>
                <a:gd name="connsiteY179" fmla="*/ 947242 h 1410492"/>
                <a:gd name="connsiteX180" fmla="*/ 537578 w 2048870"/>
                <a:gd name="connsiteY180" fmla="*/ 933414 h 1410492"/>
                <a:gd name="connsiteX181" fmla="*/ 539306 w 2048870"/>
                <a:gd name="connsiteY181" fmla="*/ 928228 h 1410492"/>
                <a:gd name="connsiteX182" fmla="*/ 541035 w 2048870"/>
                <a:gd name="connsiteY182" fmla="*/ 921314 h 1410492"/>
                <a:gd name="connsiteX183" fmla="*/ 563506 w 2048870"/>
                <a:gd name="connsiteY183" fmla="*/ 917857 h 1410492"/>
                <a:gd name="connsiteX184" fmla="*/ 568692 w 2048870"/>
                <a:gd name="connsiteY184" fmla="*/ 916128 h 1410492"/>
                <a:gd name="connsiteX185" fmla="*/ 584248 w 2048870"/>
                <a:gd name="connsiteY185" fmla="*/ 914400 h 1410492"/>
                <a:gd name="connsiteX186" fmla="*/ 589434 w 2048870"/>
                <a:gd name="connsiteY186" fmla="*/ 910942 h 1410492"/>
                <a:gd name="connsiteX187" fmla="*/ 599805 w 2048870"/>
                <a:gd name="connsiteY187" fmla="*/ 905757 h 1410492"/>
                <a:gd name="connsiteX188" fmla="*/ 604991 w 2048870"/>
                <a:gd name="connsiteY188" fmla="*/ 900571 h 1410492"/>
                <a:gd name="connsiteX189" fmla="*/ 606719 w 2048870"/>
                <a:gd name="connsiteY189" fmla="*/ 895386 h 1410492"/>
                <a:gd name="connsiteX190" fmla="*/ 615362 w 2048870"/>
                <a:gd name="connsiteY190" fmla="*/ 891928 h 1410492"/>
                <a:gd name="connsiteX191" fmla="*/ 620548 w 2048870"/>
                <a:gd name="connsiteY191" fmla="*/ 886743 h 1410492"/>
                <a:gd name="connsiteX192" fmla="*/ 639562 w 2048870"/>
                <a:gd name="connsiteY192" fmla="*/ 879829 h 1410492"/>
                <a:gd name="connsiteX193" fmla="*/ 653390 w 2048870"/>
                <a:gd name="connsiteY193" fmla="*/ 883286 h 1410492"/>
                <a:gd name="connsiteX194" fmla="*/ 660304 w 2048870"/>
                <a:gd name="connsiteY194" fmla="*/ 885014 h 1410492"/>
                <a:gd name="connsiteX195" fmla="*/ 668947 w 2048870"/>
                <a:gd name="connsiteY195" fmla="*/ 886743 h 1410492"/>
                <a:gd name="connsiteX196" fmla="*/ 675861 w 2048870"/>
                <a:gd name="connsiteY196" fmla="*/ 890200 h 1410492"/>
                <a:gd name="connsiteX197" fmla="*/ 682775 w 2048870"/>
                <a:gd name="connsiteY197" fmla="*/ 891928 h 1410492"/>
                <a:gd name="connsiteX198" fmla="*/ 687961 w 2048870"/>
                <a:gd name="connsiteY198" fmla="*/ 895386 h 1410492"/>
                <a:gd name="connsiteX199" fmla="*/ 700061 w 2048870"/>
                <a:gd name="connsiteY199" fmla="*/ 898843 h 1410492"/>
                <a:gd name="connsiteX200" fmla="*/ 706975 w 2048870"/>
                <a:gd name="connsiteY200" fmla="*/ 904028 h 1410492"/>
                <a:gd name="connsiteX201" fmla="*/ 720803 w 2048870"/>
                <a:gd name="connsiteY201" fmla="*/ 907485 h 1410492"/>
                <a:gd name="connsiteX202" fmla="*/ 727718 w 2048870"/>
                <a:gd name="connsiteY202" fmla="*/ 905757 h 1410492"/>
                <a:gd name="connsiteX203" fmla="*/ 736360 w 2048870"/>
                <a:gd name="connsiteY203" fmla="*/ 904028 h 1410492"/>
                <a:gd name="connsiteX204" fmla="*/ 738089 w 2048870"/>
                <a:gd name="connsiteY204" fmla="*/ 910942 h 1410492"/>
                <a:gd name="connsiteX205" fmla="*/ 760560 w 2048870"/>
                <a:gd name="connsiteY205" fmla="*/ 904028 h 1410492"/>
                <a:gd name="connsiteX206" fmla="*/ 770931 w 2048870"/>
                <a:gd name="connsiteY206" fmla="*/ 895386 h 1410492"/>
                <a:gd name="connsiteX207" fmla="*/ 776117 w 2048870"/>
                <a:gd name="connsiteY207" fmla="*/ 909214 h 1410492"/>
                <a:gd name="connsiteX208" fmla="*/ 783031 w 2048870"/>
                <a:gd name="connsiteY208" fmla="*/ 914400 h 1410492"/>
                <a:gd name="connsiteX209" fmla="*/ 788217 w 2048870"/>
                <a:gd name="connsiteY209" fmla="*/ 919585 h 1410492"/>
                <a:gd name="connsiteX210" fmla="*/ 793402 w 2048870"/>
                <a:gd name="connsiteY210" fmla="*/ 923042 h 1410492"/>
                <a:gd name="connsiteX211" fmla="*/ 798588 w 2048870"/>
                <a:gd name="connsiteY211" fmla="*/ 928228 h 1410492"/>
                <a:gd name="connsiteX212" fmla="*/ 815873 w 2048870"/>
                <a:gd name="connsiteY212" fmla="*/ 935142 h 1410492"/>
                <a:gd name="connsiteX213" fmla="*/ 821059 w 2048870"/>
                <a:gd name="connsiteY213" fmla="*/ 926499 h 1410492"/>
                <a:gd name="connsiteX214" fmla="*/ 824516 w 2048870"/>
                <a:gd name="connsiteY214" fmla="*/ 910942 h 1410492"/>
                <a:gd name="connsiteX215" fmla="*/ 833159 w 2048870"/>
                <a:gd name="connsiteY215" fmla="*/ 912671 h 1410492"/>
                <a:gd name="connsiteX216" fmla="*/ 838344 w 2048870"/>
                <a:gd name="connsiteY216" fmla="*/ 926499 h 1410492"/>
                <a:gd name="connsiteX217" fmla="*/ 841802 w 2048870"/>
                <a:gd name="connsiteY217" fmla="*/ 929956 h 1410492"/>
                <a:gd name="connsiteX218" fmla="*/ 850444 w 2048870"/>
                <a:gd name="connsiteY218" fmla="*/ 948970 h 1410492"/>
                <a:gd name="connsiteX219" fmla="*/ 853901 w 2048870"/>
                <a:gd name="connsiteY219" fmla="*/ 954156 h 1410492"/>
                <a:gd name="connsiteX220" fmla="*/ 859087 w 2048870"/>
                <a:gd name="connsiteY220" fmla="*/ 988727 h 1410492"/>
                <a:gd name="connsiteX221" fmla="*/ 864273 w 2048870"/>
                <a:gd name="connsiteY221" fmla="*/ 1009469 h 1410492"/>
                <a:gd name="connsiteX222" fmla="*/ 878101 w 2048870"/>
                <a:gd name="connsiteY222" fmla="*/ 1012927 h 1410492"/>
                <a:gd name="connsiteX223" fmla="*/ 885015 w 2048870"/>
                <a:gd name="connsiteY223" fmla="*/ 1016384 h 1410492"/>
                <a:gd name="connsiteX224" fmla="*/ 888472 w 2048870"/>
                <a:gd name="connsiteY224" fmla="*/ 1021569 h 1410492"/>
                <a:gd name="connsiteX225" fmla="*/ 900572 w 2048870"/>
                <a:gd name="connsiteY225" fmla="*/ 1026755 h 1410492"/>
                <a:gd name="connsiteX226" fmla="*/ 905758 w 2048870"/>
                <a:gd name="connsiteY226" fmla="*/ 1033669 h 1410492"/>
                <a:gd name="connsiteX227" fmla="*/ 909215 w 2048870"/>
                <a:gd name="connsiteY227" fmla="*/ 1040583 h 1410492"/>
                <a:gd name="connsiteX228" fmla="*/ 912672 w 2048870"/>
                <a:gd name="connsiteY228" fmla="*/ 1045769 h 1410492"/>
                <a:gd name="connsiteX229" fmla="*/ 921315 w 2048870"/>
                <a:gd name="connsiteY229" fmla="*/ 1061326 h 1410492"/>
                <a:gd name="connsiteX230" fmla="*/ 928229 w 2048870"/>
                <a:gd name="connsiteY230" fmla="*/ 1082068 h 1410492"/>
                <a:gd name="connsiteX231" fmla="*/ 929957 w 2048870"/>
                <a:gd name="connsiteY231" fmla="*/ 1088983 h 1410492"/>
                <a:gd name="connsiteX232" fmla="*/ 940329 w 2048870"/>
                <a:gd name="connsiteY232" fmla="*/ 1095897 h 1410492"/>
                <a:gd name="connsiteX233" fmla="*/ 959343 w 2048870"/>
                <a:gd name="connsiteY233" fmla="*/ 1097625 h 1410492"/>
                <a:gd name="connsiteX234" fmla="*/ 967985 w 2048870"/>
                <a:gd name="connsiteY234" fmla="*/ 1101082 h 1410492"/>
                <a:gd name="connsiteX235" fmla="*/ 973171 w 2048870"/>
                <a:gd name="connsiteY235" fmla="*/ 1106268 h 1410492"/>
                <a:gd name="connsiteX236" fmla="*/ 978357 w 2048870"/>
                <a:gd name="connsiteY236" fmla="*/ 1109725 h 1410492"/>
                <a:gd name="connsiteX237" fmla="*/ 983542 w 2048870"/>
                <a:gd name="connsiteY237" fmla="*/ 1118368 h 1410492"/>
                <a:gd name="connsiteX238" fmla="*/ 985271 w 2048870"/>
                <a:gd name="connsiteY238" fmla="*/ 1132196 h 1410492"/>
                <a:gd name="connsiteX239" fmla="*/ 992185 w 2048870"/>
                <a:gd name="connsiteY239" fmla="*/ 1139110 h 1410492"/>
                <a:gd name="connsiteX240" fmla="*/ 1006013 w 2048870"/>
                <a:gd name="connsiteY240" fmla="*/ 1147753 h 1410492"/>
                <a:gd name="connsiteX241" fmla="*/ 1019842 w 2048870"/>
                <a:gd name="connsiteY241" fmla="*/ 1165038 h 1410492"/>
                <a:gd name="connsiteX242" fmla="*/ 1012927 w 2048870"/>
                <a:gd name="connsiteY242" fmla="*/ 1168496 h 1410492"/>
                <a:gd name="connsiteX243" fmla="*/ 1009470 w 2048870"/>
                <a:gd name="connsiteY243" fmla="*/ 1173681 h 1410492"/>
                <a:gd name="connsiteX244" fmla="*/ 997371 w 2048870"/>
                <a:gd name="connsiteY244" fmla="*/ 1177138 h 1410492"/>
                <a:gd name="connsiteX245" fmla="*/ 990456 w 2048870"/>
                <a:gd name="connsiteY245" fmla="*/ 1182324 h 1410492"/>
                <a:gd name="connsiteX246" fmla="*/ 973171 w 2048870"/>
                <a:gd name="connsiteY246" fmla="*/ 1182324 h 1410492"/>
                <a:gd name="connsiteX247" fmla="*/ 971442 w 2048870"/>
                <a:gd name="connsiteY247" fmla="*/ 1161581 h 1410492"/>
                <a:gd name="connsiteX248" fmla="*/ 962800 w 2048870"/>
                <a:gd name="connsiteY248" fmla="*/ 1171953 h 1410492"/>
                <a:gd name="connsiteX249" fmla="*/ 959343 w 2048870"/>
                <a:gd name="connsiteY249" fmla="*/ 1178867 h 1410492"/>
                <a:gd name="connsiteX250" fmla="*/ 955885 w 2048870"/>
                <a:gd name="connsiteY250" fmla="*/ 1184052 h 1410492"/>
                <a:gd name="connsiteX251" fmla="*/ 947243 w 2048870"/>
                <a:gd name="connsiteY251" fmla="*/ 1187510 h 1410492"/>
                <a:gd name="connsiteX252" fmla="*/ 940329 w 2048870"/>
                <a:gd name="connsiteY252" fmla="*/ 1190967 h 1410492"/>
                <a:gd name="connsiteX253" fmla="*/ 935143 w 2048870"/>
                <a:gd name="connsiteY253" fmla="*/ 1189238 h 1410492"/>
                <a:gd name="connsiteX254" fmla="*/ 929957 w 2048870"/>
                <a:gd name="connsiteY254" fmla="*/ 1171953 h 1410492"/>
                <a:gd name="connsiteX255" fmla="*/ 926500 w 2048870"/>
                <a:gd name="connsiteY255" fmla="*/ 1165038 h 1410492"/>
                <a:gd name="connsiteX256" fmla="*/ 921315 w 2048870"/>
                <a:gd name="connsiteY256" fmla="*/ 1178867 h 1410492"/>
                <a:gd name="connsiteX257" fmla="*/ 917857 w 2048870"/>
                <a:gd name="connsiteY257" fmla="*/ 1182324 h 1410492"/>
                <a:gd name="connsiteX258" fmla="*/ 914400 w 2048870"/>
                <a:gd name="connsiteY258" fmla="*/ 1194424 h 1410492"/>
                <a:gd name="connsiteX259" fmla="*/ 909215 w 2048870"/>
                <a:gd name="connsiteY259" fmla="*/ 1199609 h 1410492"/>
                <a:gd name="connsiteX260" fmla="*/ 886744 w 2048870"/>
                <a:gd name="connsiteY260" fmla="*/ 1180595 h 1410492"/>
                <a:gd name="connsiteX261" fmla="*/ 883287 w 2048870"/>
                <a:gd name="connsiteY261" fmla="*/ 1189238 h 1410492"/>
                <a:gd name="connsiteX262" fmla="*/ 879830 w 2048870"/>
                <a:gd name="connsiteY262" fmla="*/ 1194424 h 1410492"/>
                <a:gd name="connsiteX263" fmla="*/ 874644 w 2048870"/>
                <a:gd name="connsiteY263" fmla="*/ 1204795 h 1410492"/>
                <a:gd name="connsiteX264" fmla="*/ 879830 w 2048870"/>
                <a:gd name="connsiteY264" fmla="*/ 1211709 h 1410492"/>
                <a:gd name="connsiteX265" fmla="*/ 890201 w 2048870"/>
                <a:gd name="connsiteY265" fmla="*/ 1215166 h 1410492"/>
                <a:gd name="connsiteX266" fmla="*/ 893658 w 2048870"/>
                <a:gd name="connsiteY266" fmla="*/ 1235909 h 1410492"/>
                <a:gd name="connsiteX267" fmla="*/ 891929 w 2048870"/>
                <a:gd name="connsiteY267" fmla="*/ 1258380 h 1410492"/>
                <a:gd name="connsiteX268" fmla="*/ 890201 w 2048870"/>
                <a:gd name="connsiteY268" fmla="*/ 1263565 h 1410492"/>
                <a:gd name="connsiteX269" fmla="*/ 878101 w 2048870"/>
                <a:gd name="connsiteY269" fmla="*/ 1275665 h 1410492"/>
                <a:gd name="connsiteX270" fmla="*/ 871187 w 2048870"/>
                <a:gd name="connsiteY270" fmla="*/ 1282579 h 1410492"/>
                <a:gd name="connsiteX271" fmla="*/ 876372 w 2048870"/>
                <a:gd name="connsiteY271" fmla="*/ 1287765 h 1410492"/>
                <a:gd name="connsiteX272" fmla="*/ 874644 w 2048870"/>
                <a:gd name="connsiteY272" fmla="*/ 1306779 h 1410492"/>
                <a:gd name="connsiteX273" fmla="*/ 869458 w 2048870"/>
                <a:gd name="connsiteY273" fmla="*/ 1308508 h 1410492"/>
                <a:gd name="connsiteX274" fmla="*/ 864273 w 2048870"/>
                <a:gd name="connsiteY274" fmla="*/ 1320607 h 1410492"/>
                <a:gd name="connsiteX275" fmla="*/ 862544 w 2048870"/>
                <a:gd name="connsiteY275" fmla="*/ 1360364 h 1410492"/>
                <a:gd name="connsiteX276" fmla="*/ 857358 w 2048870"/>
                <a:gd name="connsiteY276" fmla="*/ 1363821 h 1410492"/>
                <a:gd name="connsiteX277" fmla="*/ 852173 w 2048870"/>
                <a:gd name="connsiteY277" fmla="*/ 1365550 h 1410492"/>
                <a:gd name="connsiteX278" fmla="*/ 850444 w 2048870"/>
                <a:gd name="connsiteY278" fmla="*/ 1370735 h 1410492"/>
                <a:gd name="connsiteX279" fmla="*/ 838344 w 2048870"/>
                <a:gd name="connsiteY279" fmla="*/ 1379378 h 1410492"/>
                <a:gd name="connsiteX280" fmla="*/ 841802 w 2048870"/>
                <a:gd name="connsiteY280" fmla="*/ 1389749 h 1410492"/>
                <a:gd name="connsiteX281" fmla="*/ 845259 w 2048870"/>
                <a:gd name="connsiteY281" fmla="*/ 1398392 h 1410492"/>
                <a:gd name="connsiteX282" fmla="*/ 852173 w 2048870"/>
                <a:gd name="connsiteY282" fmla="*/ 1403578 h 1410492"/>
                <a:gd name="connsiteX283" fmla="*/ 859087 w 2048870"/>
                <a:gd name="connsiteY283" fmla="*/ 1410492 h 1410492"/>
                <a:gd name="connsiteX284" fmla="*/ 885015 w 2048870"/>
                <a:gd name="connsiteY284" fmla="*/ 1408763 h 1410492"/>
                <a:gd name="connsiteX285" fmla="*/ 890201 w 2048870"/>
                <a:gd name="connsiteY285" fmla="*/ 1403578 h 1410492"/>
                <a:gd name="connsiteX286" fmla="*/ 905758 w 2048870"/>
                <a:gd name="connsiteY286" fmla="*/ 1396663 h 1410492"/>
                <a:gd name="connsiteX287" fmla="*/ 921315 w 2048870"/>
                <a:gd name="connsiteY287" fmla="*/ 1388021 h 1410492"/>
                <a:gd name="connsiteX288" fmla="*/ 919586 w 2048870"/>
                <a:gd name="connsiteY288" fmla="*/ 1382835 h 1410492"/>
                <a:gd name="connsiteX289" fmla="*/ 938600 w 2048870"/>
                <a:gd name="connsiteY289" fmla="*/ 1367278 h 1410492"/>
                <a:gd name="connsiteX290" fmla="*/ 943786 w 2048870"/>
                <a:gd name="connsiteY290" fmla="*/ 1362093 h 1410492"/>
                <a:gd name="connsiteX291" fmla="*/ 954157 w 2048870"/>
                <a:gd name="connsiteY291" fmla="*/ 1360364 h 1410492"/>
                <a:gd name="connsiteX292" fmla="*/ 993913 w 2048870"/>
                <a:gd name="connsiteY292" fmla="*/ 1356907 h 1410492"/>
                <a:gd name="connsiteX293" fmla="*/ 997371 w 2048870"/>
                <a:gd name="connsiteY293" fmla="*/ 1349993 h 1410492"/>
                <a:gd name="connsiteX294" fmla="*/ 1009470 w 2048870"/>
                <a:gd name="connsiteY294" fmla="*/ 1344807 h 1410492"/>
                <a:gd name="connsiteX295" fmla="*/ 997371 w 2048870"/>
                <a:gd name="connsiteY295" fmla="*/ 1334436 h 1410492"/>
                <a:gd name="connsiteX296" fmla="*/ 993913 w 2048870"/>
                <a:gd name="connsiteY296" fmla="*/ 1327522 h 1410492"/>
                <a:gd name="connsiteX297" fmla="*/ 988728 w 2048870"/>
                <a:gd name="connsiteY297" fmla="*/ 1322336 h 1410492"/>
                <a:gd name="connsiteX298" fmla="*/ 985271 w 2048870"/>
                <a:gd name="connsiteY298" fmla="*/ 1310236 h 1410492"/>
                <a:gd name="connsiteX299" fmla="*/ 981814 w 2048870"/>
                <a:gd name="connsiteY299" fmla="*/ 1299865 h 1410492"/>
                <a:gd name="connsiteX300" fmla="*/ 990456 w 2048870"/>
                <a:gd name="connsiteY300" fmla="*/ 1287765 h 1410492"/>
                <a:gd name="connsiteX301" fmla="*/ 992185 w 2048870"/>
                <a:gd name="connsiteY301" fmla="*/ 1292951 h 1410492"/>
                <a:gd name="connsiteX302" fmla="*/ 1014656 w 2048870"/>
                <a:gd name="connsiteY302" fmla="*/ 1299865 h 1410492"/>
                <a:gd name="connsiteX303" fmla="*/ 1016385 w 2048870"/>
                <a:gd name="connsiteY303" fmla="*/ 1294679 h 1410492"/>
                <a:gd name="connsiteX304" fmla="*/ 1018113 w 2048870"/>
                <a:gd name="connsiteY304" fmla="*/ 1284308 h 1410492"/>
                <a:gd name="connsiteX305" fmla="*/ 1031941 w 2048870"/>
                <a:gd name="connsiteY305" fmla="*/ 1270480 h 1410492"/>
                <a:gd name="connsiteX306" fmla="*/ 1037127 w 2048870"/>
                <a:gd name="connsiteY306" fmla="*/ 1265294 h 1410492"/>
                <a:gd name="connsiteX307" fmla="*/ 1038856 w 2048870"/>
                <a:gd name="connsiteY307" fmla="*/ 1260108 h 1410492"/>
                <a:gd name="connsiteX308" fmla="*/ 1054412 w 2048870"/>
                <a:gd name="connsiteY308" fmla="*/ 1251466 h 1410492"/>
                <a:gd name="connsiteX309" fmla="*/ 1063055 w 2048870"/>
                <a:gd name="connsiteY309" fmla="*/ 1242823 h 1410492"/>
                <a:gd name="connsiteX310" fmla="*/ 1068241 w 2048870"/>
                <a:gd name="connsiteY310" fmla="*/ 1223809 h 1410492"/>
                <a:gd name="connsiteX311" fmla="*/ 1069969 w 2048870"/>
                <a:gd name="connsiteY311" fmla="*/ 1215166 h 1410492"/>
                <a:gd name="connsiteX312" fmla="*/ 1075155 w 2048870"/>
                <a:gd name="connsiteY312" fmla="*/ 1201338 h 1410492"/>
                <a:gd name="connsiteX313" fmla="*/ 1080341 w 2048870"/>
                <a:gd name="connsiteY313" fmla="*/ 1175410 h 1410492"/>
                <a:gd name="connsiteX314" fmla="*/ 1082069 w 2048870"/>
                <a:gd name="connsiteY314" fmla="*/ 1170224 h 1410492"/>
                <a:gd name="connsiteX315" fmla="*/ 1083798 w 2048870"/>
                <a:gd name="connsiteY315" fmla="*/ 1161581 h 1410492"/>
                <a:gd name="connsiteX316" fmla="*/ 1085526 w 2048870"/>
                <a:gd name="connsiteY316" fmla="*/ 1156396 h 1410492"/>
                <a:gd name="connsiteX317" fmla="*/ 1087255 w 2048870"/>
                <a:gd name="connsiteY317" fmla="*/ 1147753 h 1410492"/>
                <a:gd name="connsiteX318" fmla="*/ 1097626 w 2048870"/>
                <a:gd name="connsiteY318" fmla="*/ 1128739 h 1410492"/>
                <a:gd name="connsiteX319" fmla="*/ 1099355 w 2048870"/>
                <a:gd name="connsiteY319" fmla="*/ 1111454 h 1410492"/>
                <a:gd name="connsiteX320" fmla="*/ 1106269 w 2048870"/>
                <a:gd name="connsiteY320" fmla="*/ 1097625 h 1410492"/>
                <a:gd name="connsiteX321" fmla="*/ 1111454 w 2048870"/>
                <a:gd name="connsiteY321" fmla="*/ 1095897 h 1410492"/>
                <a:gd name="connsiteX322" fmla="*/ 1127011 w 2048870"/>
                <a:gd name="connsiteY322" fmla="*/ 1094168 h 1410492"/>
                <a:gd name="connsiteX323" fmla="*/ 1132197 w 2048870"/>
                <a:gd name="connsiteY323" fmla="*/ 1088983 h 1410492"/>
                <a:gd name="connsiteX324" fmla="*/ 1166768 w 2048870"/>
                <a:gd name="connsiteY324" fmla="*/ 1083797 h 1410492"/>
                <a:gd name="connsiteX325" fmla="*/ 1175411 w 2048870"/>
                <a:gd name="connsiteY325" fmla="*/ 1073426 h 1410492"/>
                <a:gd name="connsiteX326" fmla="*/ 1177139 w 2048870"/>
                <a:gd name="connsiteY326" fmla="*/ 1061326 h 1410492"/>
                <a:gd name="connsiteX327" fmla="*/ 1170225 w 2048870"/>
                <a:gd name="connsiteY327" fmla="*/ 1047497 h 1410492"/>
                <a:gd name="connsiteX328" fmla="*/ 1163311 w 2048870"/>
                <a:gd name="connsiteY328" fmla="*/ 1050955 h 1410492"/>
                <a:gd name="connsiteX329" fmla="*/ 1166768 w 2048870"/>
                <a:gd name="connsiteY329" fmla="*/ 1068240 h 1410492"/>
                <a:gd name="connsiteX330" fmla="*/ 1170225 w 2048870"/>
                <a:gd name="connsiteY330" fmla="*/ 1076883 h 1410492"/>
                <a:gd name="connsiteX331" fmla="*/ 1182325 w 2048870"/>
                <a:gd name="connsiteY331" fmla="*/ 1080340 h 1410492"/>
                <a:gd name="connsiteX332" fmla="*/ 1206524 w 2048870"/>
                <a:gd name="connsiteY332" fmla="*/ 1078611 h 1410492"/>
                <a:gd name="connsiteX333" fmla="*/ 1211710 w 2048870"/>
                <a:gd name="connsiteY333" fmla="*/ 1073426 h 1410492"/>
                <a:gd name="connsiteX334" fmla="*/ 1218624 w 2048870"/>
                <a:gd name="connsiteY334" fmla="*/ 1057869 h 1410492"/>
                <a:gd name="connsiteX335" fmla="*/ 1220353 w 2048870"/>
                <a:gd name="connsiteY335" fmla="*/ 1044040 h 1410492"/>
                <a:gd name="connsiteX336" fmla="*/ 1218624 w 2048870"/>
                <a:gd name="connsiteY336" fmla="*/ 1014655 h 1410492"/>
                <a:gd name="connsiteX337" fmla="*/ 1211710 w 2048870"/>
                <a:gd name="connsiteY337" fmla="*/ 997370 h 1410492"/>
                <a:gd name="connsiteX338" fmla="*/ 1206524 w 2048870"/>
                <a:gd name="connsiteY338" fmla="*/ 993913 h 1410492"/>
                <a:gd name="connsiteX339" fmla="*/ 1184053 w 2048870"/>
                <a:gd name="connsiteY339" fmla="*/ 973170 h 1410492"/>
                <a:gd name="connsiteX340" fmla="*/ 1173682 w 2048870"/>
                <a:gd name="connsiteY340" fmla="*/ 962799 h 1410492"/>
                <a:gd name="connsiteX341" fmla="*/ 1168496 w 2048870"/>
                <a:gd name="connsiteY341" fmla="*/ 957613 h 1410492"/>
                <a:gd name="connsiteX342" fmla="*/ 1171954 w 2048870"/>
                <a:gd name="connsiteY342" fmla="*/ 961070 h 1410492"/>
                <a:gd name="connsiteX343" fmla="*/ 1178868 w 2048870"/>
                <a:gd name="connsiteY343" fmla="*/ 971441 h 1410492"/>
                <a:gd name="connsiteX344" fmla="*/ 1185782 w 2048870"/>
                <a:gd name="connsiteY344" fmla="*/ 980084 h 1410492"/>
                <a:gd name="connsiteX345" fmla="*/ 1190968 w 2048870"/>
                <a:gd name="connsiteY345" fmla="*/ 985270 h 1410492"/>
                <a:gd name="connsiteX346" fmla="*/ 1194425 w 2048870"/>
                <a:gd name="connsiteY346" fmla="*/ 993913 h 1410492"/>
                <a:gd name="connsiteX347" fmla="*/ 1206524 w 2048870"/>
                <a:gd name="connsiteY347" fmla="*/ 1007741 h 1410492"/>
                <a:gd name="connsiteX348" fmla="*/ 1208253 w 2048870"/>
                <a:gd name="connsiteY348" fmla="*/ 1014655 h 1410492"/>
                <a:gd name="connsiteX349" fmla="*/ 1211710 w 2048870"/>
                <a:gd name="connsiteY349" fmla="*/ 1023298 h 1410492"/>
                <a:gd name="connsiteX350" fmla="*/ 1213439 w 2048870"/>
                <a:gd name="connsiteY350" fmla="*/ 1035398 h 1410492"/>
                <a:gd name="connsiteX351" fmla="*/ 1215167 w 2048870"/>
                <a:gd name="connsiteY351" fmla="*/ 1044040 h 1410492"/>
                <a:gd name="connsiteX352" fmla="*/ 1220353 w 2048870"/>
                <a:gd name="connsiteY352" fmla="*/ 1045769 h 1410492"/>
                <a:gd name="connsiteX353" fmla="*/ 1223810 w 2048870"/>
                <a:gd name="connsiteY353" fmla="*/ 1050955 h 1410492"/>
                <a:gd name="connsiteX354" fmla="*/ 1234181 w 2048870"/>
                <a:gd name="connsiteY354" fmla="*/ 1063054 h 1410492"/>
                <a:gd name="connsiteX355" fmla="*/ 1253195 w 2048870"/>
                <a:gd name="connsiteY355" fmla="*/ 1057869 h 1410492"/>
                <a:gd name="connsiteX356" fmla="*/ 1258381 w 2048870"/>
                <a:gd name="connsiteY356" fmla="*/ 1054412 h 1410492"/>
                <a:gd name="connsiteX357" fmla="*/ 1265295 w 2048870"/>
                <a:gd name="connsiteY357" fmla="*/ 1050955 h 1410492"/>
                <a:gd name="connsiteX358" fmla="*/ 1267023 w 2048870"/>
                <a:gd name="connsiteY358" fmla="*/ 1056140 h 1410492"/>
                <a:gd name="connsiteX359" fmla="*/ 1268752 w 2048870"/>
                <a:gd name="connsiteY359" fmla="*/ 1068240 h 1410492"/>
                <a:gd name="connsiteX360" fmla="*/ 1279123 w 2048870"/>
                <a:gd name="connsiteY360" fmla="*/ 1064783 h 1410492"/>
                <a:gd name="connsiteX361" fmla="*/ 1289495 w 2048870"/>
                <a:gd name="connsiteY361" fmla="*/ 1056140 h 1410492"/>
                <a:gd name="connsiteX362" fmla="*/ 1299866 w 2048870"/>
                <a:gd name="connsiteY362" fmla="*/ 1045769 h 1410492"/>
                <a:gd name="connsiteX363" fmla="*/ 1305051 w 2048870"/>
                <a:gd name="connsiteY363" fmla="*/ 1042312 h 1410492"/>
                <a:gd name="connsiteX364" fmla="*/ 1294680 w 2048870"/>
                <a:gd name="connsiteY364" fmla="*/ 1061326 h 1410492"/>
                <a:gd name="connsiteX365" fmla="*/ 1286037 w 2048870"/>
                <a:gd name="connsiteY365" fmla="*/ 1075154 h 1410492"/>
                <a:gd name="connsiteX366" fmla="*/ 1272209 w 2048870"/>
                <a:gd name="connsiteY366" fmla="*/ 1082068 h 1410492"/>
                <a:gd name="connsiteX367" fmla="*/ 1265295 w 2048870"/>
                <a:gd name="connsiteY367" fmla="*/ 1085525 h 1410492"/>
                <a:gd name="connsiteX368" fmla="*/ 1260109 w 2048870"/>
                <a:gd name="connsiteY368" fmla="*/ 1087254 h 1410492"/>
                <a:gd name="connsiteX369" fmla="*/ 1251467 w 2048870"/>
                <a:gd name="connsiteY369" fmla="*/ 1092440 h 1410492"/>
                <a:gd name="connsiteX370" fmla="*/ 1232453 w 2048870"/>
                <a:gd name="connsiteY370" fmla="*/ 1095897 h 1410492"/>
                <a:gd name="connsiteX371" fmla="*/ 1230724 w 2048870"/>
                <a:gd name="connsiteY371" fmla="*/ 1121825 h 1410492"/>
                <a:gd name="connsiteX372" fmla="*/ 1223810 w 2048870"/>
                <a:gd name="connsiteY372" fmla="*/ 1128739 h 1410492"/>
                <a:gd name="connsiteX373" fmla="*/ 1216896 w 2048870"/>
                <a:gd name="connsiteY373" fmla="*/ 1130468 h 1410492"/>
                <a:gd name="connsiteX374" fmla="*/ 1248009 w 2048870"/>
                <a:gd name="connsiteY374" fmla="*/ 1123553 h 1410492"/>
                <a:gd name="connsiteX375" fmla="*/ 1275666 w 2048870"/>
                <a:gd name="connsiteY375" fmla="*/ 1125282 h 1410492"/>
                <a:gd name="connsiteX376" fmla="*/ 1282580 w 2048870"/>
                <a:gd name="connsiteY376" fmla="*/ 1128739 h 1410492"/>
                <a:gd name="connsiteX377" fmla="*/ 1318880 w 2048870"/>
                <a:gd name="connsiteY377" fmla="*/ 1127010 h 1410492"/>
                <a:gd name="connsiteX378" fmla="*/ 1330980 w 2048870"/>
                <a:gd name="connsiteY378" fmla="*/ 1123553 h 1410492"/>
                <a:gd name="connsiteX379" fmla="*/ 1339622 w 2048870"/>
                <a:gd name="connsiteY379" fmla="*/ 1118368 h 1410492"/>
                <a:gd name="connsiteX380" fmla="*/ 1356908 w 2048870"/>
                <a:gd name="connsiteY380" fmla="*/ 1123553 h 1410492"/>
                <a:gd name="connsiteX381" fmla="*/ 1384564 w 2048870"/>
                <a:gd name="connsiteY381" fmla="*/ 1114911 h 1410492"/>
                <a:gd name="connsiteX382" fmla="*/ 1391479 w 2048870"/>
                <a:gd name="connsiteY382" fmla="*/ 1109725 h 1410492"/>
                <a:gd name="connsiteX383" fmla="*/ 1400121 w 2048870"/>
                <a:gd name="connsiteY383" fmla="*/ 1095897 h 1410492"/>
                <a:gd name="connsiteX384" fmla="*/ 1403578 w 2048870"/>
                <a:gd name="connsiteY384" fmla="*/ 1090711 h 1410492"/>
                <a:gd name="connsiteX385" fmla="*/ 1408764 w 2048870"/>
                <a:gd name="connsiteY385" fmla="*/ 1088983 h 1410492"/>
                <a:gd name="connsiteX386" fmla="*/ 1415678 w 2048870"/>
                <a:gd name="connsiteY386" fmla="*/ 1097625 h 1410492"/>
                <a:gd name="connsiteX387" fmla="*/ 1419135 w 2048870"/>
                <a:gd name="connsiteY387" fmla="*/ 1104539 h 1410492"/>
                <a:gd name="connsiteX388" fmla="*/ 1424321 w 2048870"/>
                <a:gd name="connsiteY388" fmla="*/ 1111454 h 1410492"/>
                <a:gd name="connsiteX389" fmla="*/ 1434692 w 2048870"/>
                <a:gd name="connsiteY389" fmla="*/ 1109725 h 1410492"/>
                <a:gd name="connsiteX390" fmla="*/ 1438149 w 2048870"/>
                <a:gd name="connsiteY390" fmla="*/ 1101082 h 1410492"/>
                <a:gd name="connsiteX391" fmla="*/ 1446792 w 2048870"/>
                <a:gd name="connsiteY391" fmla="*/ 1076883 h 1410492"/>
                <a:gd name="connsiteX392" fmla="*/ 1455435 w 2048870"/>
                <a:gd name="connsiteY392" fmla="*/ 1082068 h 1410492"/>
                <a:gd name="connsiteX393" fmla="*/ 1457163 w 2048870"/>
                <a:gd name="connsiteY393" fmla="*/ 1097625 h 1410492"/>
                <a:gd name="connsiteX394" fmla="*/ 1462349 w 2048870"/>
                <a:gd name="connsiteY394" fmla="*/ 1104539 h 1410492"/>
                <a:gd name="connsiteX395" fmla="*/ 1464078 w 2048870"/>
                <a:gd name="connsiteY395" fmla="*/ 1116639 h 1410492"/>
                <a:gd name="connsiteX396" fmla="*/ 1450249 w 2048870"/>
                <a:gd name="connsiteY396" fmla="*/ 1132196 h 1410492"/>
                <a:gd name="connsiteX397" fmla="*/ 1436421 w 2048870"/>
                <a:gd name="connsiteY397" fmla="*/ 1149482 h 1410492"/>
                <a:gd name="connsiteX398" fmla="*/ 1427778 w 2048870"/>
                <a:gd name="connsiteY398" fmla="*/ 1158124 h 1410492"/>
                <a:gd name="connsiteX399" fmla="*/ 1415678 w 2048870"/>
                <a:gd name="connsiteY399" fmla="*/ 1163310 h 1410492"/>
                <a:gd name="connsiteX400" fmla="*/ 1400121 w 2048870"/>
                <a:gd name="connsiteY400" fmla="*/ 1171953 h 1410492"/>
                <a:gd name="connsiteX401" fmla="*/ 1398393 w 2048870"/>
                <a:gd name="connsiteY401" fmla="*/ 1177138 h 1410492"/>
                <a:gd name="connsiteX402" fmla="*/ 1389750 w 2048870"/>
                <a:gd name="connsiteY402" fmla="*/ 1189238 h 1410492"/>
                <a:gd name="connsiteX403" fmla="*/ 1384564 w 2048870"/>
                <a:gd name="connsiteY403" fmla="*/ 1197881 h 1410492"/>
                <a:gd name="connsiteX404" fmla="*/ 1382836 w 2048870"/>
                <a:gd name="connsiteY404" fmla="*/ 1203066 h 1410492"/>
                <a:gd name="connsiteX405" fmla="*/ 1374193 w 2048870"/>
                <a:gd name="connsiteY405" fmla="*/ 1211709 h 1410492"/>
                <a:gd name="connsiteX406" fmla="*/ 1369008 w 2048870"/>
                <a:gd name="connsiteY406" fmla="*/ 1216895 h 1410492"/>
                <a:gd name="connsiteX407" fmla="*/ 1356908 w 2048870"/>
                <a:gd name="connsiteY407" fmla="*/ 1230723 h 1410492"/>
                <a:gd name="connsiteX408" fmla="*/ 1351722 w 2048870"/>
                <a:gd name="connsiteY408" fmla="*/ 1237637 h 1410492"/>
                <a:gd name="connsiteX409" fmla="*/ 1349994 w 2048870"/>
                <a:gd name="connsiteY409" fmla="*/ 1242823 h 1410492"/>
                <a:gd name="connsiteX410" fmla="*/ 1344808 w 2048870"/>
                <a:gd name="connsiteY410" fmla="*/ 1253194 h 1410492"/>
                <a:gd name="connsiteX411" fmla="*/ 1377650 w 2048870"/>
                <a:gd name="connsiteY411" fmla="*/ 1253194 h 1410492"/>
                <a:gd name="connsiteX412" fmla="*/ 1386293 w 2048870"/>
                <a:gd name="connsiteY412" fmla="*/ 1246280 h 1410492"/>
                <a:gd name="connsiteX413" fmla="*/ 1391479 w 2048870"/>
                <a:gd name="connsiteY413" fmla="*/ 1244552 h 1410492"/>
                <a:gd name="connsiteX414" fmla="*/ 1412221 w 2048870"/>
                <a:gd name="connsiteY414" fmla="*/ 1248009 h 1410492"/>
                <a:gd name="connsiteX415" fmla="*/ 1415678 w 2048870"/>
                <a:gd name="connsiteY415" fmla="*/ 1253194 h 1410492"/>
                <a:gd name="connsiteX416" fmla="*/ 1426050 w 2048870"/>
                <a:gd name="connsiteY416" fmla="*/ 1260108 h 1410492"/>
                <a:gd name="connsiteX417" fmla="*/ 1451978 w 2048870"/>
                <a:gd name="connsiteY417" fmla="*/ 1258380 h 1410492"/>
                <a:gd name="connsiteX418" fmla="*/ 1457163 w 2048870"/>
                <a:gd name="connsiteY418" fmla="*/ 1253194 h 1410492"/>
                <a:gd name="connsiteX419" fmla="*/ 1465806 w 2048870"/>
                <a:gd name="connsiteY419" fmla="*/ 1248009 h 1410492"/>
                <a:gd name="connsiteX420" fmla="*/ 1483092 w 2048870"/>
                <a:gd name="connsiteY420" fmla="*/ 1249737 h 1410492"/>
                <a:gd name="connsiteX421" fmla="*/ 1491734 w 2048870"/>
                <a:gd name="connsiteY421" fmla="*/ 1258380 h 1410492"/>
                <a:gd name="connsiteX422" fmla="*/ 1502106 w 2048870"/>
                <a:gd name="connsiteY422" fmla="*/ 1272208 h 1410492"/>
                <a:gd name="connsiteX423" fmla="*/ 1503834 w 2048870"/>
                <a:gd name="connsiteY423" fmla="*/ 1289494 h 1410492"/>
                <a:gd name="connsiteX424" fmla="*/ 1514205 w 2048870"/>
                <a:gd name="connsiteY424" fmla="*/ 1301593 h 1410492"/>
                <a:gd name="connsiteX425" fmla="*/ 1517662 w 2048870"/>
                <a:gd name="connsiteY425" fmla="*/ 1306779 h 1410492"/>
                <a:gd name="connsiteX426" fmla="*/ 1515934 w 2048870"/>
                <a:gd name="connsiteY426" fmla="*/ 1355178 h 1410492"/>
                <a:gd name="connsiteX427" fmla="*/ 1509020 w 2048870"/>
                <a:gd name="connsiteY427" fmla="*/ 1360364 h 1410492"/>
                <a:gd name="connsiteX428" fmla="*/ 1503834 w 2048870"/>
                <a:gd name="connsiteY428" fmla="*/ 1370735 h 1410492"/>
                <a:gd name="connsiteX429" fmla="*/ 1534948 w 2048870"/>
                <a:gd name="connsiteY429" fmla="*/ 1374192 h 1410492"/>
                <a:gd name="connsiteX430" fmla="*/ 1540133 w 2048870"/>
                <a:gd name="connsiteY430" fmla="*/ 1377649 h 1410492"/>
                <a:gd name="connsiteX431" fmla="*/ 1559147 w 2048870"/>
                <a:gd name="connsiteY431" fmla="*/ 1375921 h 1410492"/>
                <a:gd name="connsiteX432" fmla="*/ 1564333 w 2048870"/>
                <a:gd name="connsiteY432" fmla="*/ 1372464 h 1410492"/>
                <a:gd name="connsiteX433" fmla="*/ 1579890 w 2048870"/>
                <a:gd name="connsiteY433" fmla="*/ 1370735 h 1410492"/>
                <a:gd name="connsiteX434" fmla="*/ 1597175 w 2048870"/>
                <a:gd name="connsiteY434" fmla="*/ 1363821 h 1410492"/>
                <a:gd name="connsiteX435" fmla="*/ 1600633 w 2048870"/>
                <a:gd name="connsiteY435" fmla="*/ 1360364 h 1410492"/>
                <a:gd name="connsiteX436" fmla="*/ 1612732 w 2048870"/>
                <a:gd name="connsiteY436" fmla="*/ 1341350 h 1410492"/>
                <a:gd name="connsiteX437" fmla="*/ 1617918 w 2048870"/>
                <a:gd name="connsiteY437" fmla="*/ 1305051 h 1410492"/>
                <a:gd name="connsiteX438" fmla="*/ 1623104 w 2048870"/>
                <a:gd name="connsiteY438" fmla="*/ 1301593 h 1410492"/>
                <a:gd name="connsiteX439" fmla="*/ 1624832 w 2048870"/>
                <a:gd name="connsiteY439" fmla="*/ 1284308 h 1410492"/>
                <a:gd name="connsiteX440" fmla="*/ 1631746 w 2048870"/>
                <a:gd name="connsiteY440" fmla="*/ 1270480 h 1410492"/>
                <a:gd name="connsiteX441" fmla="*/ 1643846 w 2048870"/>
                <a:gd name="connsiteY441" fmla="*/ 1263565 h 1410492"/>
                <a:gd name="connsiteX442" fmla="*/ 1669774 w 2048870"/>
                <a:gd name="connsiteY442" fmla="*/ 1260108 h 1410492"/>
                <a:gd name="connsiteX443" fmla="*/ 1681874 w 2048870"/>
                <a:gd name="connsiteY443" fmla="*/ 1254923 h 1410492"/>
                <a:gd name="connsiteX444" fmla="*/ 1687060 w 2048870"/>
                <a:gd name="connsiteY444" fmla="*/ 1253194 h 1410492"/>
                <a:gd name="connsiteX445" fmla="*/ 1702617 w 2048870"/>
                <a:gd name="connsiteY445" fmla="*/ 1249737 h 1410492"/>
                <a:gd name="connsiteX446" fmla="*/ 1704345 w 2048870"/>
                <a:gd name="connsiteY446" fmla="*/ 1232452 h 1410492"/>
                <a:gd name="connsiteX447" fmla="*/ 1706074 w 2048870"/>
                <a:gd name="connsiteY447" fmla="*/ 1208252 h 1410492"/>
                <a:gd name="connsiteX448" fmla="*/ 1711259 w 2048870"/>
                <a:gd name="connsiteY448" fmla="*/ 1201338 h 1410492"/>
                <a:gd name="connsiteX449" fmla="*/ 1718174 w 2048870"/>
                <a:gd name="connsiteY449" fmla="*/ 1192695 h 1410492"/>
                <a:gd name="connsiteX450" fmla="*/ 1725088 w 2048870"/>
                <a:gd name="connsiteY450" fmla="*/ 1189238 h 1410492"/>
                <a:gd name="connsiteX451" fmla="*/ 1735459 w 2048870"/>
                <a:gd name="connsiteY451" fmla="*/ 1184052 h 1410492"/>
                <a:gd name="connsiteX452" fmla="*/ 1773487 w 2048870"/>
                <a:gd name="connsiteY452" fmla="*/ 1189238 h 1410492"/>
                <a:gd name="connsiteX453" fmla="*/ 1778673 w 2048870"/>
                <a:gd name="connsiteY453" fmla="*/ 1194424 h 1410492"/>
                <a:gd name="connsiteX454" fmla="*/ 1808058 w 2048870"/>
                <a:gd name="connsiteY454" fmla="*/ 1187510 h 1410492"/>
                <a:gd name="connsiteX455" fmla="*/ 1811515 w 2048870"/>
                <a:gd name="connsiteY455" fmla="*/ 1180595 h 1410492"/>
                <a:gd name="connsiteX456" fmla="*/ 1818429 w 2048870"/>
                <a:gd name="connsiteY456" fmla="*/ 1171953 h 1410492"/>
                <a:gd name="connsiteX457" fmla="*/ 1825343 w 2048870"/>
                <a:gd name="connsiteY457" fmla="*/ 1158124 h 1410492"/>
                <a:gd name="connsiteX458" fmla="*/ 1827072 w 2048870"/>
                <a:gd name="connsiteY458" fmla="*/ 1151210 h 1410492"/>
                <a:gd name="connsiteX459" fmla="*/ 1833986 w 2048870"/>
                <a:gd name="connsiteY459" fmla="*/ 1133925 h 1410492"/>
                <a:gd name="connsiteX460" fmla="*/ 1820158 w 2048870"/>
                <a:gd name="connsiteY460" fmla="*/ 1128739 h 1410492"/>
                <a:gd name="connsiteX461" fmla="*/ 1816701 w 2048870"/>
                <a:gd name="connsiteY461" fmla="*/ 1123553 h 1410492"/>
                <a:gd name="connsiteX462" fmla="*/ 1820158 w 2048870"/>
                <a:gd name="connsiteY462" fmla="*/ 1118368 h 1410492"/>
                <a:gd name="connsiteX463" fmla="*/ 1825343 w 2048870"/>
                <a:gd name="connsiteY463" fmla="*/ 1111454 h 1410492"/>
                <a:gd name="connsiteX464" fmla="*/ 1828800 w 2048870"/>
                <a:gd name="connsiteY464" fmla="*/ 1099354 h 1410492"/>
                <a:gd name="connsiteX465" fmla="*/ 1832257 w 2048870"/>
                <a:gd name="connsiteY465" fmla="*/ 1094168 h 1410492"/>
                <a:gd name="connsiteX466" fmla="*/ 1830529 w 2048870"/>
                <a:gd name="connsiteY466" fmla="*/ 1083797 h 1410492"/>
                <a:gd name="connsiteX467" fmla="*/ 1816701 w 2048870"/>
                <a:gd name="connsiteY467" fmla="*/ 1087254 h 1410492"/>
                <a:gd name="connsiteX468" fmla="*/ 1789044 w 2048870"/>
                <a:gd name="connsiteY468" fmla="*/ 1092440 h 1410492"/>
                <a:gd name="connsiteX469" fmla="*/ 1778673 w 2048870"/>
                <a:gd name="connsiteY469" fmla="*/ 1095897 h 1410492"/>
                <a:gd name="connsiteX470" fmla="*/ 1771758 w 2048870"/>
                <a:gd name="connsiteY470" fmla="*/ 1099354 h 1410492"/>
                <a:gd name="connsiteX471" fmla="*/ 1766573 w 2048870"/>
                <a:gd name="connsiteY471" fmla="*/ 1116639 h 1410492"/>
                <a:gd name="connsiteX472" fmla="*/ 1756202 w 2048870"/>
                <a:gd name="connsiteY472" fmla="*/ 1118368 h 1410492"/>
                <a:gd name="connsiteX473" fmla="*/ 1738916 w 2048870"/>
                <a:gd name="connsiteY473" fmla="*/ 1130468 h 1410492"/>
                <a:gd name="connsiteX474" fmla="*/ 1718174 w 2048870"/>
                <a:gd name="connsiteY474" fmla="*/ 1140839 h 1410492"/>
                <a:gd name="connsiteX475" fmla="*/ 1709531 w 2048870"/>
                <a:gd name="connsiteY475" fmla="*/ 1146024 h 1410492"/>
                <a:gd name="connsiteX476" fmla="*/ 1707802 w 2048870"/>
                <a:gd name="connsiteY476" fmla="*/ 1151210 h 1410492"/>
                <a:gd name="connsiteX477" fmla="*/ 1700888 w 2048870"/>
                <a:gd name="connsiteY477" fmla="*/ 1154667 h 1410492"/>
                <a:gd name="connsiteX478" fmla="*/ 1647303 w 2048870"/>
                <a:gd name="connsiteY478" fmla="*/ 1152939 h 1410492"/>
                <a:gd name="connsiteX479" fmla="*/ 1650760 w 2048870"/>
                <a:gd name="connsiteY479" fmla="*/ 1142567 h 1410492"/>
                <a:gd name="connsiteX480" fmla="*/ 1649032 w 2048870"/>
                <a:gd name="connsiteY480" fmla="*/ 1120096 h 1410492"/>
                <a:gd name="connsiteX481" fmla="*/ 1598904 w 2048870"/>
                <a:gd name="connsiteY481" fmla="*/ 1114911 h 1410492"/>
                <a:gd name="connsiteX482" fmla="*/ 1591990 w 2048870"/>
                <a:gd name="connsiteY482" fmla="*/ 1113182 h 1410492"/>
                <a:gd name="connsiteX483" fmla="*/ 1564333 w 2048870"/>
                <a:gd name="connsiteY483" fmla="*/ 1109725 h 1410492"/>
                <a:gd name="connsiteX484" fmla="*/ 1553962 w 2048870"/>
                <a:gd name="connsiteY484" fmla="*/ 1101082 h 1410492"/>
                <a:gd name="connsiteX485" fmla="*/ 1543591 w 2048870"/>
                <a:gd name="connsiteY485" fmla="*/ 1092440 h 1410492"/>
                <a:gd name="connsiteX486" fmla="*/ 1526305 w 2048870"/>
                <a:gd name="connsiteY486" fmla="*/ 1090711 h 1410492"/>
                <a:gd name="connsiteX487" fmla="*/ 1514205 w 2048870"/>
                <a:gd name="connsiteY487" fmla="*/ 1085525 h 1410492"/>
                <a:gd name="connsiteX488" fmla="*/ 1512477 w 2048870"/>
                <a:gd name="connsiteY488" fmla="*/ 1092440 h 1410492"/>
                <a:gd name="connsiteX489" fmla="*/ 1507291 w 2048870"/>
                <a:gd name="connsiteY489" fmla="*/ 1085525 h 1410492"/>
                <a:gd name="connsiteX490" fmla="*/ 1496920 w 2048870"/>
                <a:gd name="connsiteY490" fmla="*/ 1075154 h 1410492"/>
                <a:gd name="connsiteX491" fmla="*/ 1445064 w 2048870"/>
                <a:gd name="connsiteY491" fmla="*/ 1076883 h 1410492"/>
                <a:gd name="connsiteX492" fmla="*/ 1439878 w 2048870"/>
                <a:gd name="connsiteY492" fmla="*/ 1080340 h 1410492"/>
                <a:gd name="connsiteX493" fmla="*/ 1438149 w 2048870"/>
                <a:gd name="connsiteY493" fmla="*/ 1085525 h 1410492"/>
                <a:gd name="connsiteX494" fmla="*/ 1451978 w 2048870"/>
                <a:gd name="connsiteY494" fmla="*/ 1071697 h 1410492"/>
                <a:gd name="connsiteX495" fmla="*/ 1458892 w 2048870"/>
                <a:gd name="connsiteY495" fmla="*/ 1064783 h 1410492"/>
                <a:gd name="connsiteX496" fmla="*/ 1464078 w 2048870"/>
                <a:gd name="connsiteY496" fmla="*/ 1059597 h 1410492"/>
                <a:gd name="connsiteX497" fmla="*/ 1479634 w 2048870"/>
                <a:gd name="connsiteY497" fmla="*/ 1064783 h 1410492"/>
                <a:gd name="connsiteX498" fmla="*/ 1490006 w 2048870"/>
                <a:gd name="connsiteY498" fmla="*/ 1071697 h 1410492"/>
                <a:gd name="connsiteX499" fmla="*/ 1498648 w 2048870"/>
                <a:gd name="connsiteY499" fmla="*/ 1068240 h 1410492"/>
                <a:gd name="connsiteX500" fmla="*/ 1500377 w 2048870"/>
                <a:gd name="connsiteY500" fmla="*/ 1063054 h 1410492"/>
                <a:gd name="connsiteX501" fmla="*/ 1503834 w 2048870"/>
                <a:gd name="connsiteY501" fmla="*/ 1057869 h 1410492"/>
                <a:gd name="connsiteX502" fmla="*/ 1507291 w 2048870"/>
                <a:gd name="connsiteY502" fmla="*/ 1045769 h 1410492"/>
                <a:gd name="connsiteX503" fmla="*/ 1540133 w 2048870"/>
                <a:gd name="connsiteY503" fmla="*/ 1044040 h 1410492"/>
                <a:gd name="connsiteX504" fmla="*/ 1557419 w 2048870"/>
                <a:gd name="connsiteY504" fmla="*/ 1059597 h 1410492"/>
                <a:gd name="connsiteX505" fmla="*/ 1560876 w 2048870"/>
                <a:gd name="connsiteY505" fmla="*/ 1073426 h 1410492"/>
                <a:gd name="connsiteX506" fmla="*/ 1564333 w 2048870"/>
                <a:gd name="connsiteY506" fmla="*/ 1087254 h 1410492"/>
                <a:gd name="connsiteX507" fmla="*/ 1566062 w 2048870"/>
                <a:gd name="connsiteY507" fmla="*/ 1094168 h 1410492"/>
                <a:gd name="connsiteX508" fmla="*/ 1569519 w 2048870"/>
                <a:gd name="connsiteY508" fmla="*/ 1099354 h 1410492"/>
                <a:gd name="connsiteX509" fmla="*/ 1576433 w 2048870"/>
                <a:gd name="connsiteY509" fmla="*/ 1037126 h 1410492"/>
                <a:gd name="connsiteX510" fmla="*/ 1588533 w 2048870"/>
                <a:gd name="connsiteY510" fmla="*/ 1052683 h 1410492"/>
                <a:gd name="connsiteX511" fmla="*/ 1591990 w 2048870"/>
                <a:gd name="connsiteY511" fmla="*/ 1069969 h 1410492"/>
                <a:gd name="connsiteX512" fmla="*/ 1607547 w 2048870"/>
                <a:gd name="connsiteY512" fmla="*/ 1080340 h 1410492"/>
                <a:gd name="connsiteX513" fmla="*/ 1612732 w 2048870"/>
                <a:gd name="connsiteY513" fmla="*/ 1083797 h 1410492"/>
                <a:gd name="connsiteX514" fmla="*/ 1621375 w 2048870"/>
                <a:gd name="connsiteY514" fmla="*/ 1085525 h 1410492"/>
                <a:gd name="connsiteX515" fmla="*/ 1633475 w 2048870"/>
                <a:gd name="connsiteY515" fmla="*/ 1092440 h 1410492"/>
                <a:gd name="connsiteX516" fmla="*/ 1640389 w 2048870"/>
                <a:gd name="connsiteY516" fmla="*/ 1095897 h 1410492"/>
                <a:gd name="connsiteX517" fmla="*/ 1649032 w 2048870"/>
                <a:gd name="connsiteY517" fmla="*/ 1109725 h 1410492"/>
                <a:gd name="connsiteX518" fmla="*/ 1659403 w 2048870"/>
                <a:gd name="connsiteY518" fmla="*/ 1113182 h 1410492"/>
                <a:gd name="connsiteX519" fmla="*/ 1669774 w 2048870"/>
                <a:gd name="connsiteY519" fmla="*/ 1118368 h 1410492"/>
                <a:gd name="connsiteX520" fmla="*/ 1680146 w 2048870"/>
                <a:gd name="connsiteY520" fmla="*/ 1125282 h 1410492"/>
                <a:gd name="connsiteX521" fmla="*/ 1699160 w 2048870"/>
                <a:gd name="connsiteY521" fmla="*/ 1139110 h 1410492"/>
                <a:gd name="connsiteX522" fmla="*/ 1712988 w 2048870"/>
                <a:gd name="connsiteY522" fmla="*/ 1142567 h 1410492"/>
                <a:gd name="connsiteX523" fmla="*/ 1704345 w 2048870"/>
                <a:gd name="connsiteY523" fmla="*/ 1137382 h 1410492"/>
                <a:gd name="connsiteX524" fmla="*/ 1699160 w 2048870"/>
                <a:gd name="connsiteY524" fmla="*/ 1132196 h 1410492"/>
                <a:gd name="connsiteX525" fmla="*/ 1688788 w 2048870"/>
                <a:gd name="connsiteY525" fmla="*/ 1128739 h 1410492"/>
                <a:gd name="connsiteX526" fmla="*/ 1674960 w 2048870"/>
                <a:gd name="connsiteY526" fmla="*/ 1125282 h 1410492"/>
                <a:gd name="connsiteX527" fmla="*/ 1659403 w 2048870"/>
                <a:gd name="connsiteY527" fmla="*/ 1121825 h 1410492"/>
                <a:gd name="connsiteX528" fmla="*/ 1650760 w 2048870"/>
                <a:gd name="connsiteY528" fmla="*/ 1116639 h 1410492"/>
                <a:gd name="connsiteX529" fmla="*/ 1645575 w 2048870"/>
                <a:gd name="connsiteY529" fmla="*/ 1113182 h 1410492"/>
                <a:gd name="connsiteX530" fmla="*/ 1642118 w 2048870"/>
                <a:gd name="connsiteY530" fmla="*/ 1107996 h 1410492"/>
                <a:gd name="connsiteX531" fmla="*/ 1628289 w 2048870"/>
                <a:gd name="connsiteY531" fmla="*/ 1088983 h 1410492"/>
                <a:gd name="connsiteX532" fmla="*/ 1626561 w 2048870"/>
                <a:gd name="connsiteY532" fmla="*/ 1083797 h 1410492"/>
                <a:gd name="connsiteX533" fmla="*/ 1619647 w 2048870"/>
                <a:gd name="connsiteY533" fmla="*/ 1075154 h 1410492"/>
                <a:gd name="connsiteX534" fmla="*/ 1616189 w 2048870"/>
                <a:gd name="connsiteY534" fmla="*/ 1061326 h 1410492"/>
                <a:gd name="connsiteX535" fmla="*/ 1614461 w 2048870"/>
                <a:gd name="connsiteY535" fmla="*/ 1056140 h 1410492"/>
                <a:gd name="connsiteX536" fmla="*/ 1604090 w 2048870"/>
                <a:gd name="connsiteY536" fmla="*/ 1038855 h 1410492"/>
                <a:gd name="connsiteX537" fmla="*/ 1598904 w 2048870"/>
                <a:gd name="connsiteY537" fmla="*/ 1037126 h 1410492"/>
                <a:gd name="connsiteX538" fmla="*/ 1593718 w 2048870"/>
                <a:gd name="connsiteY538" fmla="*/ 1030212 h 1410492"/>
                <a:gd name="connsiteX539" fmla="*/ 1585076 w 2048870"/>
                <a:gd name="connsiteY539" fmla="*/ 1019841 h 1410492"/>
                <a:gd name="connsiteX540" fmla="*/ 1590261 w 2048870"/>
                <a:gd name="connsiteY540" fmla="*/ 1000827 h 1410492"/>
                <a:gd name="connsiteX541" fmla="*/ 1598904 w 2048870"/>
                <a:gd name="connsiteY541" fmla="*/ 999098 h 1410492"/>
                <a:gd name="connsiteX542" fmla="*/ 1611004 w 2048870"/>
                <a:gd name="connsiteY542" fmla="*/ 990455 h 1410492"/>
                <a:gd name="connsiteX543" fmla="*/ 1617918 w 2048870"/>
                <a:gd name="connsiteY543" fmla="*/ 985270 h 1410492"/>
                <a:gd name="connsiteX544" fmla="*/ 1616189 w 2048870"/>
                <a:gd name="connsiteY544" fmla="*/ 1021569 h 1410492"/>
                <a:gd name="connsiteX545" fmla="*/ 1612732 w 2048870"/>
                <a:gd name="connsiteY545" fmla="*/ 1028483 h 1410492"/>
                <a:gd name="connsiteX546" fmla="*/ 1607547 w 2048870"/>
                <a:gd name="connsiteY546" fmla="*/ 1035398 h 1410492"/>
                <a:gd name="connsiteX547" fmla="*/ 1612732 w 2048870"/>
                <a:gd name="connsiteY547" fmla="*/ 1031941 h 1410492"/>
                <a:gd name="connsiteX548" fmla="*/ 1621375 w 2048870"/>
                <a:gd name="connsiteY548" fmla="*/ 1016384 h 1410492"/>
                <a:gd name="connsiteX549" fmla="*/ 1626561 w 2048870"/>
                <a:gd name="connsiteY549" fmla="*/ 997370 h 1410492"/>
                <a:gd name="connsiteX550" fmla="*/ 1626561 w 2048870"/>
                <a:gd name="connsiteY550" fmla="*/ 976627 h 1410492"/>
                <a:gd name="connsiteX551" fmla="*/ 1619647 w 2048870"/>
                <a:gd name="connsiteY551" fmla="*/ 962799 h 1410492"/>
                <a:gd name="connsiteX552" fmla="*/ 1626561 w 2048870"/>
                <a:gd name="connsiteY552" fmla="*/ 966256 h 1410492"/>
                <a:gd name="connsiteX553" fmla="*/ 1638661 w 2048870"/>
                <a:gd name="connsiteY553" fmla="*/ 969713 h 1410492"/>
                <a:gd name="connsiteX554" fmla="*/ 1645575 w 2048870"/>
                <a:gd name="connsiteY554" fmla="*/ 967984 h 1410492"/>
                <a:gd name="connsiteX555" fmla="*/ 1650760 w 2048870"/>
                <a:gd name="connsiteY555" fmla="*/ 955885 h 1410492"/>
                <a:gd name="connsiteX556" fmla="*/ 1659403 w 2048870"/>
                <a:gd name="connsiteY556" fmla="*/ 933414 h 1410492"/>
                <a:gd name="connsiteX557" fmla="*/ 1662860 w 2048870"/>
                <a:gd name="connsiteY557" fmla="*/ 929956 h 1410492"/>
                <a:gd name="connsiteX558" fmla="*/ 1664589 w 2048870"/>
                <a:gd name="connsiteY558" fmla="*/ 923042 h 1410492"/>
                <a:gd name="connsiteX559" fmla="*/ 1673231 w 2048870"/>
                <a:gd name="connsiteY559" fmla="*/ 893657 h 1410492"/>
                <a:gd name="connsiteX560" fmla="*/ 1687060 w 2048870"/>
                <a:gd name="connsiteY560" fmla="*/ 891928 h 1410492"/>
                <a:gd name="connsiteX561" fmla="*/ 1693974 w 2048870"/>
                <a:gd name="connsiteY561" fmla="*/ 890200 h 1410492"/>
                <a:gd name="connsiteX562" fmla="*/ 1700888 w 2048870"/>
                <a:gd name="connsiteY562" fmla="*/ 886743 h 1410492"/>
                <a:gd name="connsiteX563" fmla="*/ 1719902 w 2048870"/>
                <a:gd name="connsiteY563" fmla="*/ 878100 h 1410492"/>
                <a:gd name="connsiteX564" fmla="*/ 1726816 w 2048870"/>
                <a:gd name="connsiteY564" fmla="*/ 876372 h 1410492"/>
                <a:gd name="connsiteX565" fmla="*/ 1745830 w 2048870"/>
                <a:gd name="connsiteY565" fmla="*/ 860815 h 1410492"/>
                <a:gd name="connsiteX566" fmla="*/ 1751016 w 2048870"/>
                <a:gd name="connsiteY566" fmla="*/ 857358 h 1410492"/>
                <a:gd name="connsiteX567" fmla="*/ 1757930 w 2048870"/>
                <a:gd name="connsiteY567" fmla="*/ 855629 h 1410492"/>
                <a:gd name="connsiteX568" fmla="*/ 1764844 w 2048870"/>
                <a:gd name="connsiteY568" fmla="*/ 841801 h 1410492"/>
                <a:gd name="connsiteX569" fmla="*/ 1771758 w 2048870"/>
                <a:gd name="connsiteY569" fmla="*/ 836615 h 1410492"/>
                <a:gd name="connsiteX570" fmla="*/ 1776944 w 2048870"/>
                <a:gd name="connsiteY570" fmla="*/ 833158 h 1410492"/>
                <a:gd name="connsiteX571" fmla="*/ 1787315 w 2048870"/>
                <a:gd name="connsiteY571" fmla="*/ 831429 h 1410492"/>
                <a:gd name="connsiteX572" fmla="*/ 1795958 w 2048870"/>
                <a:gd name="connsiteY572" fmla="*/ 829701 h 1410492"/>
                <a:gd name="connsiteX573" fmla="*/ 1797687 w 2048870"/>
                <a:gd name="connsiteY573" fmla="*/ 824515 h 1410492"/>
                <a:gd name="connsiteX574" fmla="*/ 1825343 w 2048870"/>
                <a:gd name="connsiteY574" fmla="*/ 796859 h 1410492"/>
                <a:gd name="connsiteX575" fmla="*/ 1830529 w 2048870"/>
                <a:gd name="connsiteY575" fmla="*/ 776116 h 1410492"/>
                <a:gd name="connsiteX576" fmla="*/ 1835715 w 2048870"/>
                <a:gd name="connsiteY576" fmla="*/ 770930 h 1410492"/>
                <a:gd name="connsiteX577" fmla="*/ 1863371 w 2048870"/>
                <a:gd name="connsiteY577" fmla="*/ 760559 h 1410492"/>
                <a:gd name="connsiteX578" fmla="*/ 1868557 w 2048870"/>
                <a:gd name="connsiteY578" fmla="*/ 755373 h 1410492"/>
                <a:gd name="connsiteX579" fmla="*/ 1880657 w 2048870"/>
                <a:gd name="connsiteY579" fmla="*/ 753645 h 1410492"/>
                <a:gd name="connsiteX580" fmla="*/ 1889299 w 2048870"/>
                <a:gd name="connsiteY580" fmla="*/ 750188 h 1410492"/>
                <a:gd name="connsiteX581" fmla="*/ 1894485 w 2048870"/>
                <a:gd name="connsiteY581" fmla="*/ 731174 h 1410492"/>
                <a:gd name="connsiteX582" fmla="*/ 1910042 w 2048870"/>
                <a:gd name="connsiteY582" fmla="*/ 719074 h 1410492"/>
                <a:gd name="connsiteX583" fmla="*/ 1916956 w 2048870"/>
                <a:gd name="connsiteY583" fmla="*/ 710431 h 1410492"/>
                <a:gd name="connsiteX584" fmla="*/ 1908313 w 2048870"/>
                <a:gd name="connsiteY584" fmla="*/ 689689 h 1410492"/>
                <a:gd name="connsiteX585" fmla="*/ 1901399 w 2048870"/>
                <a:gd name="connsiteY585" fmla="*/ 675860 h 1410492"/>
                <a:gd name="connsiteX586" fmla="*/ 1897942 w 2048870"/>
                <a:gd name="connsiteY586" fmla="*/ 665489 h 1410492"/>
                <a:gd name="connsiteX587" fmla="*/ 1901399 w 2048870"/>
                <a:gd name="connsiteY587" fmla="*/ 651661 h 1410492"/>
                <a:gd name="connsiteX588" fmla="*/ 1897942 w 2048870"/>
                <a:gd name="connsiteY588" fmla="*/ 629190 h 1410492"/>
                <a:gd name="connsiteX589" fmla="*/ 1904856 w 2048870"/>
                <a:gd name="connsiteY589" fmla="*/ 624004 h 1410492"/>
                <a:gd name="connsiteX590" fmla="*/ 1910042 w 2048870"/>
                <a:gd name="connsiteY590" fmla="*/ 613633 h 1410492"/>
                <a:gd name="connsiteX591" fmla="*/ 1918685 w 2048870"/>
                <a:gd name="connsiteY591" fmla="*/ 608447 h 1410492"/>
                <a:gd name="connsiteX592" fmla="*/ 1925599 w 2048870"/>
                <a:gd name="connsiteY592" fmla="*/ 601533 h 1410492"/>
                <a:gd name="connsiteX593" fmla="*/ 1929056 w 2048870"/>
                <a:gd name="connsiteY593" fmla="*/ 587705 h 1410492"/>
                <a:gd name="connsiteX594" fmla="*/ 1932513 w 2048870"/>
                <a:gd name="connsiteY594" fmla="*/ 582519 h 1410492"/>
                <a:gd name="connsiteX595" fmla="*/ 1939427 w 2048870"/>
                <a:gd name="connsiteY595" fmla="*/ 565234 h 1410492"/>
                <a:gd name="connsiteX596" fmla="*/ 1963627 w 2048870"/>
                <a:gd name="connsiteY596" fmla="*/ 556591 h 1410492"/>
                <a:gd name="connsiteX597" fmla="*/ 1968812 w 2048870"/>
                <a:gd name="connsiteY597" fmla="*/ 547948 h 1410492"/>
                <a:gd name="connsiteX598" fmla="*/ 1986098 w 2048870"/>
                <a:gd name="connsiteY598" fmla="*/ 544491 h 1410492"/>
                <a:gd name="connsiteX599" fmla="*/ 2008569 w 2048870"/>
                <a:gd name="connsiteY599" fmla="*/ 539305 h 1410492"/>
                <a:gd name="connsiteX600" fmla="*/ 2017212 w 2048870"/>
                <a:gd name="connsiteY600" fmla="*/ 530663 h 1410492"/>
                <a:gd name="connsiteX601" fmla="*/ 2048326 w 2048870"/>
                <a:gd name="connsiteY601" fmla="*/ 525477 h 1410492"/>
                <a:gd name="connsiteX602" fmla="*/ 2043140 w 2048870"/>
                <a:gd name="connsiteY602" fmla="*/ 499549 h 1410492"/>
                <a:gd name="connsiteX603" fmla="*/ 2032769 w 2048870"/>
                <a:gd name="connsiteY603" fmla="*/ 492635 h 1410492"/>
                <a:gd name="connsiteX604" fmla="*/ 2025854 w 2048870"/>
                <a:gd name="connsiteY604" fmla="*/ 447693 h 1410492"/>
                <a:gd name="connsiteX605" fmla="*/ 2018940 w 2048870"/>
                <a:gd name="connsiteY605" fmla="*/ 428679 h 1410492"/>
                <a:gd name="connsiteX606" fmla="*/ 2015483 w 2048870"/>
                <a:gd name="connsiteY606" fmla="*/ 418307 h 1410492"/>
                <a:gd name="connsiteX607" fmla="*/ 2010298 w 2048870"/>
                <a:gd name="connsiteY607" fmla="*/ 411393 h 1410492"/>
                <a:gd name="connsiteX608" fmla="*/ 2003383 w 2048870"/>
                <a:gd name="connsiteY608" fmla="*/ 407936 h 1410492"/>
                <a:gd name="connsiteX609" fmla="*/ 1984369 w 2048870"/>
                <a:gd name="connsiteY609" fmla="*/ 404479 h 1410492"/>
                <a:gd name="connsiteX610" fmla="*/ 1977455 w 2048870"/>
                <a:gd name="connsiteY610" fmla="*/ 394108 h 1410492"/>
                <a:gd name="connsiteX611" fmla="*/ 1972270 w 2048870"/>
                <a:gd name="connsiteY611" fmla="*/ 390651 h 1410492"/>
                <a:gd name="connsiteX612" fmla="*/ 1968812 w 2048870"/>
                <a:gd name="connsiteY612" fmla="*/ 382008 h 1410492"/>
                <a:gd name="connsiteX613" fmla="*/ 1973998 w 2048870"/>
                <a:gd name="connsiteY613" fmla="*/ 366451 h 1410492"/>
                <a:gd name="connsiteX614" fmla="*/ 1982641 w 2048870"/>
                <a:gd name="connsiteY614" fmla="*/ 354351 h 1410492"/>
                <a:gd name="connsiteX615" fmla="*/ 1984369 w 2048870"/>
                <a:gd name="connsiteY615" fmla="*/ 347437 h 1410492"/>
                <a:gd name="connsiteX616" fmla="*/ 1994741 w 2048870"/>
                <a:gd name="connsiteY616" fmla="*/ 343980 h 1410492"/>
                <a:gd name="connsiteX617" fmla="*/ 1960170 w 2048870"/>
                <a:gd name="connsiteY617" fmla="*/ 337066 h 1410492"/>
                <a:gd name="connsiteX618" fmla="*/ 1958441 w 2048870"/>
                <a:gd name="connsiteY618" fmla="*/ 331880 h 1410492"/>
                <a:gd name="connsiteX619" fmla="*/ 1954984 w 2048870"/>
                <a:gd name="connsiteY619" fmla="*/ 326694 h 1410492"/>
                <a:gd name="connsiteX620" fmla="*/ 1958441 w 2048870"/>
                <a:gd name="connsiteY620" fmla="*/ 318052 h 1410492"/>
                <a:gd name="connsiteX621" fmla="*/ 1963627 w 2048870"/>
                <a:gd name="connsiteY621" fmla="*/ 311138 h 1410492"/>
                <a:gd name="connsiteX622" fmla="*/ 1967084 w 2048870"/>
                <a:gd name="connsiteY622" fmla="*/ 305952 h 1410492"/>
                <a:gd name="connsiteX623" fmla="*/ 1968812 w 2048870"/>
                <a:gd name="connsiteY623" fmla="*/ 299038 h 1410492"/>
                <a:gd name="connsiteX624" fmla="*/ 1973998 w 2048870"/>
                <a:gd name="connsiteY624" fmla="*/ 293852 h 1410492"/>
                <a:gd name="connsiteX625" fmla="*/ 1975727 w 2048870"/>
                <a:gd name="connsiteY625" fmla="*/ 269652 h 1410492"/>
                <a:gd name="connsiteX626" fmla="*/ 1970541 w 2048870"/>
                <a:gd name="connsiteY626" fmla="*/ 255824 h 1410492"/>
                <a:gd name="connsiteX627" fmla="*/ 1968812 w 2048870"/>
                <a:gd name="connsiteY627" fmla="*/ 250638 h 1410492"/>
                <a:gd name="connsiteX628" fmla="*/ 1967084 w 2048870"/>
                <a:gd name="connsiteY628" fmla="*/ 243724 h 1410492"/>
                <a:gd name="connsiteX629" fmla="*/ 1963627 w 2048870"/>
                <a:gd name="connsiteY629" fmla="*/ 238539 h 1410492"/>
                <a:gd name="connsiteX630" fmla="*/ 1965355 w 2048870"/>
                <a:gd name="connsiteY630" fmla="*/ 216068 h 1410492"/>
                <a:gd name="connsiteX631" fmla="*/ 1961898 w 2048870"/>
                <a:gd name="connsiteY631" fmla="*/ 209153 h 1410492"/>
                <a:gd name="connsiteX632" fmla="*/ 1954984 w 2048870"/>
                <a:gd name="connsiteY632" fmla="*/ 216068 h 1410492"/>
                <a:gd name="connsiteX633" fmla="*/ 1948070 w 2048870"/>
                <a:gd name="connsiteY633" fmla="*/ 217796 h 1410492"/>
                <a:gd name="connsiteX634" fmla="*/ 1937699 w 2048870"/>
                <a:gd name="connsiteY634" fmla="*/ 226439 h 1410492"/>
                <a:gd name="connsiteX635" fmla="*/ 1932513 w 2048870"/>
                <a:gd name="connsiteY635" fmla="*/ 228167 h 1410492"/>
                <a:gd name="connsiteX636" fmla="*/ 1922142 w 2048870"/>
                <a:gd name="connsiteY636" fmla="*/ 235082 h 1410492"/>
                <a:gd name="connsiteX637" fmla="*/ 1906585 w 2048870"/>
                <a:gd name="connsiteY637" fmla="*/ 231624 h 1410492"/>
                <a:gd name="connsiteX638" fmla="*/ 1885842 w 2048870"/>
                <a:gd name="connsiteY638" fmla="*/ 222982 h 1410492"/>
                <a:gd name="connsiteX639" fmla="*/ 1878928 w 2048870"/>
                <a:gd name="connsiteY639" fmla="*/ 224710 h 1410492"/>
                <a:gd name="connsiteX640" fmla="*/ 1868557 w 2048870"/>
                <a:gd name="connsiteY640" fmla="*/ 233353 h 1410492"/>
                <a:gd name="connsiteX641" fmla="*/ 1847814 w 2048870"/>
                <a:gd name="connsiteY641" fmla="*/ 221253 h 1410492"/>
                <a:gd name="connsiteX642" fmla="*/ 1839172 w 2048870"/>
                <a:gd name="connsiteY642" fmla="*/ 217796 h 1410492"/>
                <a:gd name="connsiteX643" fmla="*/ 1832257 w 2048870"/>
                <a:gd name="connsiteY643" fmla="*/ 214339 h 1410492"/>
                <a:gd name="connsiteX644" fmla="*/ 1823615 w 2048870"/>
                <a:gd name="connsiteY644" fmla="*/ 224710 h 1410492"/>
                <a:gd name="connsiteX645" fmla="*/ 1816701 w 2048870"/>
                <a:gd name="connsiteY645" fmla="*/ 229896 h 1410492"/>
                <a:gd name="connsiteX646" fmla="*/ 1787315 w 2048870"/>
                <a:gd name="connsiteY646" fmla="*/ 221253 h 1410492"/>
                <a:gd name="connsiteX647" fmla="*/ 1759659 w 2048870"/>
                <a:gd name="connsiteY647" fmla="*/ 222982 h 1410492"/>
                <a:gd name="connsiteX648" fmla="*/ 1754473 w 2048870"/>
                <a:gd name="connsiteY648" fmla="*/ 224710 h 1410492"/>
                <a:gd name="connsiteX649" fmla="*/ 1735459 w 2048870"/>
                <a:gd name="connsiteY649" fmla="*/ 222982 h 1410492"/>
                <a:gd name="connsiteX650" fmla="*/ 1728545 w 2048870"/>
                <a:gd name="connsiteY650" fmla="*/ 217796 h 1410492"/>
                <a:gd name="connsiteX651" fmla="*/ 1721631 w 2048870"/>
                <a:gd name="connsiteY651" fmla="*/ 207425 h 1410492"/>
                <a:gd name="connsiteX652" fmla="*/ 1712988 w 2048870"/>
                <a:gd name="connsiteY652" fmla="*/ 235082 h 1410492"/>
                <a:gd name="connsiteX653" fmla="*/ 1706074 w 2048870"/>
                <a:gd name="connsiteY653" fmla="*/ 250638 h 1410492"/>
                <a:gd name="connsiteX654" fmla="*/ 1692245 w 2048870"/>
                <a:gd name="connsiteY654" fmla="*/ 236810 h 1410492"/>
                <a:gd name="connsiteX655" fmla="*/ 1645575 w 2048870"/>
                <a:gd name="connsiteY655" fmla="*/ 224710 h 1410492"/>
                <a:gd name="connsiteX656" fmla="*/ 1640389 w 2048870"/>
                <a:gd name="connsiteY656" fmla="*/ 217796 h 1410492"/>
                <a:gd name="connsiteX657" fmla="*/ 1638661 w 2048870"/>
                <a:gd name="connsiteY657" fmla="*/ 212610 h 1410492"/>
                <a:gd name="connsiteX658" fmla="*/ 1623104 w 2048870"/>
                <a:gd name="connsiteY658" fmla="*/ 195325 h 1410492"/>
                <a:gd name="connsiteX659" fmla="*/ 1609275 w 2048870"/>
                <a:gd name="connsiteY659" fmla="*/ 191868 h 1410492"/>
                <a:gd name="connsiteX660" fmla="*/ 1600633 w 2048870"/>
                <a:gd name="connsiteY660" fmla="*/ 200511 h 1410492"/>
                <a:gd name="connsiteX661" fmla="*/ 1595447 w 2048870"/>
                <a:gd name="connsiteY661" fmla="*/ 202239 h 1410492"/>
                <a:gd name="connsiteX662" fmla="*/ 1574704 w 2048870"/>
                <a:gd name="connsiteY662" fmla="*/ 209153 h 1410492"/>
                <a:gd name="connsiteX663" fmla="*/ 1569519 w 2048870"/>
                <a:gd name="connsiteY663" fmla="*/ 214339 h 1410492"/>
                <a:gd name="connsiteX664" fmla="*/ 1564333 w 2048870"/>
                <a:gd name="connsiteY664" fmla="*/ 217796 h 1410492"/>
                <a:gd name="connsiteX665" fmla="*/ 1560876 w 2048870"/>
                <a:gd name="connsiteY665" fmla="*/ 224710 h 1410492"/>
                <a:gd name="connsiteX666" fmla="*/ 1543591 w 2048870"/>
                <a:gd name="connsiteY666" fmla="*/ 238539 h 1410492"/>
                <a:gd name="connsiteX667" fmla="*/ 1536676 w 2048870"/>
                <a:gd name="connsiteY667" fmla="*/ 245453 h 1410492"/>
                <a:gd name="connsiteX668" fmla="*/ 1534948 w 2048870"/>
                <a:gd name="connsiteY668" fmla="*/ 250638 h 1410492"/>
                <a:gd name="connsiteX669" fmla="*/ 1536676 w 2048870"/>
                <a:gd name="connsiteY669" fmla="*/ 255824 h 1410492"/>
                <a:gd name="connsiteX670" fmla="*/ 1510748 w 2048870"/>
                <a:gd name="connsiteY670" fmla="*/ 259281 h 1410492"/>
                <a:gd name="connsiteX671" fmla="*/ 1500377 w 2048870"/>
                <a:gd name="connsiteY671" fmla="*/ 252367 h 1410492"/>
                <a:gd name="connsiteX672" fmla="*/ 1472720 w 2048870"/>
                <a:gd name="connsiteY672" fmla="*/ 252367 h 1410492"/>
                <a:gd name="connsiteX673" fmla="*/ 1455435 w 2048870"/>
                <a:gd name="connsiteY673" fmla="*/ 254096 h 1410492"/>
                <a:gd name="connsiteX674" fmla="*/ 1446792 w 2048870"/>
                <a:gd name="connsiteY674" fmla="*/ 261010 h 1410492"/>
                <a:gd name="connsiteX675" fmla="*/ 1441606 w 2048870"/>
                <a:gd name="connsiteY675" fmla="*/ 267924 h 1410492"/>
                <a:gd name="connsiteX676" fmla="*/ 1438149 w 2048870"/>
                <a:gd name="connsiteY676" fmla="*/ 273110 h 1410492"/>
                <a:gd name="connsiteX677" fmla="*/ 1432964 w 2048870"/>
                <a:gd name="connsiteY677" fmla="*/ 274838 h 1410492"/>
                <a:gd name="connsiteX678" fmla="*/ 1419135 w 2048870"/>
                <a:gd name="connsiteY678" fmla="*/ 281752 h 1410492"/>
                <a:gd name="connsiteX679" fmla="*/ 1412221 w 2048870"/>
                <a:gd name="connsiteY679" fmla="*/ 278295 h 1410492"/>
                <a:gd name="connsiteX680" fmla="*/ 1408764 w 2048870"/>
                <a:gd name="connsiteY680" fmla="*/ 273110 h 1410492"/>
                <a:gd name="connsiteX681" fmla="*/ 1400121 w 2048870"/>
                <a:gd name="connsiteY681" fmla="*/ 257553 h 1410492"/>
                <a:gd name="connsiteX682" fmla="*/ 1394936 w 2048870"/>
                <a:gd name="connsiteY682" fmla="*/ 254096 h 1410492"/>
                <a:gd name="connsiteX683" fmla="*/ 1386293 w 2048870"/>
                <a:gd name="connsiteY683" fmla="*/ 243724 h 1410492"/>
                <a:gd name="connsiteX684" fmla="*/ 1381107 w 2048870"/>
                <a:gd name="connsiteY684" fmla="*/ 212610 h 1410492"/>
                <a:gd name="connsiteX685" fmla="*/ 1370736 w 2048870"/>
                <a:gd name="connsiteY685" fmla="*/ 202239 h 1410492"/>
                <a:gd name="connsiteX686" fmla="*/ 1363822 w 2048870"/>
                <a:gd name="connsiteY686" fmla="*/ 200511 h 1410492"/>
                <a:gd name="connsiteX687" fmla="*/ 1358636 w 2048870"/>
                <a:gd name="connsiteY687" fmla="*/ 193596 h 1410492"/>
                <a:gd name="connsiteX688" fmla="*/ 1349994 w 2048870"/>
                <a:gd name="connsiteY688" fmla="*/ 178040 h 1410492"/>
                <a:gd name="connsiteX689" fmla="*/ 1337894 w 2048870"/>
                <a:gd name="connsiteY689" fmla="*/ 167668 h 1410492"/>
                <a:gd name="connsiteX690" fmla="*/ 1298137 w 2048870"/>
                <a:gd name="connsiteY690" fmla="*/ 169397 h 1410492"/>
                <a:gd name="connsiteX691" fmla="*/ 1284309 w 2048870"/>
                <a:gd name="connsiteY691" fmla="*/ 179768 h 1410492"/>
                <a:gd name="connsiteX692" fmla="*/ 1268752 w 2048870"/>
                <a:gd name="connsiteY692" fmla="*/ 181497 h 1410492"/>
                <a:gd name="connsiteX693" fmla="*/ 1251467 w 2048870"/>
                <a:gd name="connsiteY693" fmla="*/ 174583 h 1410492"/>
                <a:gd name="connsiteX694" fmla="*/ 1241095 w 2048870"/>
                <a:gd name="connsiteY694" fmla="*/ 164211 h 1410492"/>
                <a:gd name="connsiteX695" fmla="*/ 1230724 w 2048870"/>
                <a:gd name="connsiteY695" fmla="*/ 160754 h 1410492"/>
                <a:gd name="connsiteX696" fmla="*/ 1215167 w 2048870"/>
                <a:gd name="connsiteY696" fmla="*/ 146926 h 1410492"/>
                <a:gd name="connsiteX697" fmla="*/ 1213439 w 2048870"/>
                <a:gd name="connsiteY697" fmla="*/ 140012 h 1410492"/>
                <a:gd name="connsiteX698" fmla="*/ 1206524 w 2048870"/>
                <a:gd name="connsiteY698" fmla="*/ 131369 h 1410492"/>
                <a:gd name="connsiteX699" fmla="*/ 1204796 w 2048870"/>
                <a:gd name="connsiteY699" fmla="*/ 122726 h 1410492"/>
                <a:gd name="connsiteX700" fmla="*/ 1190968 w 2048870"/>
                <a:gd name="connsiteY700" fmla="*/ 117541 h 1410492"/>
                <a:gd name="connsiteX701" fmla="*/ 1201339 w 2048870"/>
                <a:gd name="connsiteY701" fmla="*/ 105441 h 1410492"/>
                <a:gd name="connsiteX702" fmla="*/ 1208253 w 2048870"/>
                <a:gd name="connsiteY702" fmla="*/ 101984 h 1410492"/>
                <a:gd name="connsiteX703" fmla="*/ 1213439 w 2048870"/>
                <a:gd name="connsiteY703" fmla="*/ 95069 h 1410492"/>
                <a:gd name="connsiteX704" fmla="*/ 1218624 w 2048870"/>
                <a:gd name="connsiteY704" fmla="*/ 89884 h 1410492"/>
                <a:gd name="connsiteX705" fmla="*/ 1216896 w 2048870"/>
                <a:gd name="connsiteY705" fmla="*/ 84698 h 1410492"/>
                <a:gd name="connsiteX706" fmla="*/ 1206524 w 2048870"/>
                <a:gd name="connsiteY706" fmla="*/ 81241 h 1410492"/>
                <a:gd name="connsiteX707" fmla="*/ 1190968 w 2048870"/>
                <a:gd name="connsiteY707" fmla="*/ 76055 h 1410492"/>
                <a:gd name="connsiteX708" fmla="*/ 1175411 w 2048870"/>
                <a:gd name="connsiteY708" fmla="*/ 60499 h 1410492"/>
                <a:gd name="connsiteX709" fmla="*/ 1168496 w 2048870"/>
                <a:gd name="connsiteY709" fmla="*/ 53584 h 1410492"/>
                <a:gd name="connsiteX710" fmla="*/ 1165039 w 2048870"/>
                <a:gd name="connsiteY710" fmla="*/ 46670 h 1410492"/>
                <a:gd name="connsiteX711" fmla="*/ 1159854 w 2048870"/>
                <a:gd name="connsiteY711" fmla="*/ 39756 h 1410492"/>
                <a:gd name="connsiteX712" fmla="*/ 1151211 w 2048870"/>
                <a:gd name="connsiteY712" fmla="*/ 27656 h 1410492"/>
                <a:gd name="connsiteX713" fmla="*/ 1146025 w 2048870"/>
                <a:gd name="connsiteY713" fmla="*/ 24199 h 1410492"/>
                <a:gd name="connsiteX714" fmla="*/ 1140840 w 2048870"/>
                <a:gd name="connsiteY714" fmla="*/ 17285 h 1410492"/>
                <a:gd name="connsiteX715" fmla="*/ 1123554 w 2048870"/>
                <a:gd name="connsiteY715" fmla="*/ 3457 h 1410492"/>
                <a:gd name="connsiteX716" fmla="*/ 1116640 w 2048870"/>
                <a:gd name="connsiteY716" fmla="*/ 0 h 1410492"/>
                <a:gd name="connsiteX717" fmla="*/ 1102812 w 2048870"/>
                <a:gd name="connsiteY717" fmla="*/ 1728 h 1410492"/>
                <a:gd name="connsiteX718" fmla="*/ 1097626 w 2048870"/>
                <a:gd name="connsiteY718" fmla="*/ 3457 h 1410492"/>
                <a:gd name="connsiteX719" fmla="*/ 1090712 w 2048870"/>
                <a:gd name="connsiteY719" fmla="*/ 5185 h 1410492"/>
                <a:gd name="connsiteX720" fmla="*/ 1071698 w 2048870"/>
                <a:gd name="connsiteY720" fmla="*/ 17285 h 1410492"/>
                <a:gd name="connsiteX721" fmla="*/ 1056141 w 2048870"/>
                <a:gd name="connsiteY721" fmla="*/ 15556 h 1410492"/>
                <a:gd name="connsiteX722" fmla="*/ 1050955 w 2048870"/>
                <a:gd name="connsiteY722" fmla="*/ 19014 h 1410492"/>
                <a:gd name="connsiteX723" fmla="*/ 1042313 w 2048870"/>
                <a:gd name="connsiteY723" fmla="*/ 27656 h 1410492"/>
                <a:gd name="connsiteX724" fmla="*/ 1028484 w 2048870"/>
                <a:gd name="connsiteY724" fmla="*/ 38027 h 1410492"/>
                <a:gd name="connsiteX725" fmla="*/ 1025027 w 2048870"/>
                <a:gd name="connsiteY725" fmla="*/ 41485 h 1410492"/>
                <a:gd name="connsiteX726" fmla="*/ 1016385 w 2048870"/>
                <a:gd name="connsiteY726" fmla="*/ 46670 h 1410492"/>
                <a:gd name="connsiteX727" fmla="*/ 1012927 w 2048870"/>
                <a:gd name="connsiteY727" fmla="*/ 50127 h 1410492"/>
                <a:gd name="connsiteX728" fmla="*/ 997371 w 2048870"/>
                <a:gd name="connsiteY728" fmla="*/ 57041 h 1410492"/>
                <a:gd name="connsiteX729" fmla="*/ 973171 w 2048870"/>
                <a:gd name="connsiteY729" fmla="*/ 58770 h 1410492"/>
                <a:gd name="connsiteX730" fmla="*/ 967985 w 2048870"/>
                <a:gd name="connsiteY730" fmla="*/ 62227 h 1410492"/>
                <a:gd name="connsiteX731" fmla="*/ 966257 w 2048870"/>
                <a:gd name="connsiteY731" fmla="*/ 79513 h 1410492"/>
                <a:gd name="connsiteX732" fmla="*/ 962800 w 2048870"/>
                <a:gd name="connsiteY732" fmla="*/ 103712 h 1410492"/>
                <a:gd name="connsiteX733" fmla="*/ 961071 w 2048870"/>
                <a:gd name="connsiteY733" fmla="*/ 112355 h 1410492"/>
                <a:gd name="connsiteX734" fmla="*/ 916129 w 2048870"/>
                <a:gd name="connsiteY734" fmla="*/ 115812 h 1410492"/>
                <a:gd name="connsiteX735" fmla="*/ 910943 w 2048870"/>
                <a:gd name="connsiteY735" fmla="*/ 119269 h 1410492"/>
                <a:gd name="connsiteX736" fmla="*/ 905758 w 2048870"/>
                <a:gd name="connsiteY736" fmla="*/ 120998 h 1410492"/>
                <a:gd name="connsiteX737" fmla="*/ 893658 w 2048870"/>
                <a:gd name="connsiteY737" fmla="*/ 124455 h 1410492"/>
                <a:gd name="connsiteX738" fmla="*/ 888472 w 2048870"/>
                <a:gd name="connsiteY738" fmla="*/ 126183 h 1410492"/>
                <a:gd name="connsiteX739" fmla="*/ 895386 w 2048870"/>
                <a:gd name="connsiteY739" fmla="*/ 124455 h 1410492"/>
                <a:gd name="connsiteX740" fmla="*/ 904029 w 2048870"/>
                <a:gd name="connsiteY740" fmla="*/ 115812 h 1410492"/>
                <a:gd name="connsiteX741" fmla="*/ 966257 w 2048870"/>
                <a:gd name="connsiteY741" fmla="*/ 63956 h 1410492"/>
                <a:gd name="connsiteX0" fmla="*/ 966257 w 2048870"/>
                <a:gd name="connsiteY0" fmla="*/ 63956 h 1410492"/>
                <a:gd name="connsiteX1" fmla="*/ 962800 w 2048870"/>
                <a:gd name="connsiteY1" fmla="*/ 72598 h 1410492"/>
                <a:gd name="connsiteX2" fmla="*/ 919586 w 2048870"/>
                <a:gd name="connsiteY2" fmla="*/ 114083 h 1410492"/>
                <a:gd name="connsiteX3" fmla="*/ 902301 w 2048870"/>
                <a:gd name="connsiteY3" fmla="*/ 120998 h 1410492"/>
                <a:gd name="connsiteX4" fmla="*/ 885015 w 2048870"/>
                <a:gd name="connsiteY4" fmla="*/ 122726 h 1410492"/>
                <a:gd name="connsiteX5" fmla="*/ 878101 w 2048870"/>
                <a:gd name="connsiteY5" fmla="*/ 129640 h 1410492"/>
                <a:gd name="connsiteX6" fmla="*/ 855630 w 2048870"/>
                <a:gd name="connsiteY6" fmla="*/ 140012 h 1410492"/>
                <a:gd name="connsiteX7" fmla="*/ 850444 w 2048870"/>
                <a:gd name="connsiteY7" fmla="*/ 145197 h 1410492"/>
                <a:gd name="connsiteX8" fmla="*/ 831430 w 2048870"/>
                <a:gd name="connsiteY8" fmla="*/ 146926 h 1410492"/>
                <a:gd name="connsiteX9" fmla="*/ 808923 w 2048870"/>
                <a:gd name="connsiteY9" fmla="*/ 195183 h 1410492"/>
                <a:gd name="connsiteX10" fmla="*/ 817602 w 2048870"/>
                <a:gd name="connsiteY10" fmla="*/ 247181 h 1410492"/>
                <a:gd name="connsiteX11" fmla="*/ 821059 w 2048870"/>
                <a:gd name="connsiteY11" fmla="*/ 255824 h 1410492"/>
                <a:gd name="connsiteX12" fmla="*/ 826245 w 2048870"/>
                <a:gd name="connsiteY12" fmla="*/ 259281 h 1410492"/>
                <a:gd name="connsiteX13" fmla="*/ 833159 w 2048870"/>
                <a:gd name="connsiteY13" fmla="*/ 267924 h 1410492"/>
                <a:gd name="connsiteX14" fmla="*/ 836616 w 2048870"/>
                <a:gd name="connsiteY14" fmla="*/ 280024 h 1410492"/>
                <a:gd name="connsiteX15" fmla="*/ 834887 w 2048870"/>
                <a:gd name="connsiteY15" fmla="*/ 295581 h 1410492"/>
                <a:gd name="connsiteX16" fmla="*/ 821059 w 2048870"/>
                <a:gd name="connsiteY16" fmla="*/ 299038 h 1410492"/>
                <a:gd name="connsiteX17" fmla="*/ 800316 w 2048870"/>
                <a:gd name="connsiteY17" fmla="*/ 295581 h 1410492"/>
                <a:gd name="connsiteX18" fmla="*/ 786488 w 2048870"/>
                <a:gd name="connsiteY18" fmla="*/ 286938 h 1410492"/>
                <a:gd name="connsiteX19" fmla="*/ 781302 w 2048870"/>
                <a:gd name="connsiteY19" fmla="*/ 285209 h 1410492"/>
                <a:gd name="connsiteX20" fmla="*/ 774388 w 2048870"/>
                <a:gd name="connsiteY20" fmla="*/ 278295 h 1410492"/>
                <a:gd name="connsiteX21" fmla="*/ 767474 w 2048870"/>
                <a:gd name="connsiteY21" fmla="*/ 285209 h 1410492"/>
                <a:gd name="connsiteX22" fmla="*/ 758831 w 2048870"/>
                <a:gd name="connsiteY22" fmla="*/ 286938 h 1410492"/>
                <a:gd name="connsiteX23" fmla="*/ 751917 w 2048870"/>
                <a:gd name="connsiteY23" fmla="*/ 288666 h 1410492"/>
                <a:gd name="connsiteX24" fmla="*/ 746732 w 2048870"/>
                <a:gd name="connsiteY24" fmla="*/ 290395 h 1410492"/>
                <a:gd name="connsiteX25" fmla="*/ 722532 w 2048870"/>
                <a:gd name="connsiteY25" fmla="*/ 292124 h 1410492"/>
                <a:gd name="connsiteX26" fmla="*/ 720803 w 2048870"/>
                <a:gd name="connsiteY26" fmla="*/ 297309 h 1410492"/>
                <a:gd name="connsiteX27" fmla="*/ 701789 w 2048870"/>
                <a:gd name="connsiteY27" fmla="*/ 312866 h 1410492"/>
                <a:gd name="connsiteX28" fmla="*/ 686233 w 2048870"/>
                <a:gd name="connsiteY28" fmla="*/ 305952 h 1410492"/>
                <a:gd name="connsiteX29" fmla="*/ 684504 w 2048870"/>
                <a:gd name="connsiteY29" fmla="*/ 300766 h 1410492"/>
                <a:gd name="connsiteX30" fmla="*/ 681047 w 2048870"/>
                <a:gd name="connsiteY30" fmla="*/ 285209 h 1410492"/>
                <a:gd name="connsiteX31" fmla="*/ 649933 w 2048870"/>
                <a:gd name="connsiteY31" fmla="*/ 288666 h 1410492"/>
                <a:gd name="connsiteX32" fmla="*/ 646476 w 2048870"/>
                <a:gd name="connsiteY32" fmla="*/ 299038 h 1410492"/>
                <a:gd name="connsiteX33" fmla="*/ 639562 w 2048870"/>
                <a:gd name="connsiteY33" fmla="*/ 314595 h 1410492"/>
                <a:gd name="connsiteX34" fmla="*/ 634376 w 2048870"/>
                <a:gd name="connsiteY34" fmla="*/ 326694 h 1410492"/>
                <a:gd name="connsiteX35" fmla="*/ 629191 w 2048870"/>
                <a:gd name="connsiteY35" fmla="*/ 328423 h 1410492"/>
                <a:gd name="connsiteX36" fmla="*/ 613634 w 2048870"/>
                <a:gd name="connsiteY36" fmla="*/ 323237 h 1410492"/>
                <a:gd name="connsiteX37" fmla="*/ 601534 w 2048870"/>
                <a:gd name="connsiteY37" fmla="*/ 311138 h 1410492"/>
                <a:gd name="connsiteX38" fmla="*/ 572149 w 2048870"/>
                <a:gd name="connsiteY38" fmla="*/ 309409 h 1410492"/>
                <a:gd name="connsiteX39" fmla="*/ 566963 w 2048870"/>
                <a:gd name="connsiteY39" fmla="*/ 295581 h 1410492"/>
                <a:gd name="connsiteX40" fmla="*/ 563506 w 2048870"/>
                <a:gd name="connsiteY40" fmla="*/ 300766 h 1410492"/>
                <a:gd name="connsiteX41" fmla="*/ 558320 w 2048870"/>
                <a:gd name="connsiteY41" fmla="*/ 307680 h 1410492"/>
                <a:gd name="connsiteX42" fmla="*/ 549678 w 2048870"/>
                <a:gd name="connsiteY42" fmla="*/ 321509 h 1410492"/>
                <a:gd name="connsiteX43" fmla="*/ 509921 w 2048870"/>
                <a:gd name="connsiteY43" fmla="*/ 324966 h 1410492"/>
                <a:gd name="connsiteX44" fmla="*/ 515107 w 2048870"/>
                <a:gd name="connsiteY44" fmla="*/ 328423 h 1410492"/>
                <a:gd name="connsiteX45" fmla="*/ 525478 w 2048870"/>
                <a:gd name="connsiteY45" fmla="*/ 331880 h 1410492"/>
                <a:gd name="connsiteX46" fmla="*/ 523749 w 2048870"/>
                <a:gd name="connsiteY46" fmla="*/ 337066 h 1410492"/>
                <a:gd name="connsiteX47" fmla="*/ 516835 w 2048870"/>
                <a:gd name="connsiteY47" fmla="*/ 343980 h 1410492"/>
                <a:gd name="connsiteX48" fmla="*/ 511650 w 2048870"/>
                <a:gd name="connsiteY48" fmla="*/ 323237 h 1410492"/>
                <a:gd name="connsiteX49" fmla="*/ 483993 w 2048870"/>
                <a:gd name="connsiteY49" fmla="*/ 333609 h 1410492"/>
                <a:gd name="connsiteX50" fmla="*/ 478807 w 2048870"/>
                <a:gd name="connsiteY50" fmla="*/ 338794 h 1410492"/>
                <a:gd name="connsiteX51" fmla="*/ 466707 w 2048870"/>
                <a:gd name="connsiteY51" fmla="*/ 337066 h 1410492"/>
                <a:gd name="connsiteX52" fmla="*/ 463250 w 2048870"/>
                <a:gd name="connsiteY52" fmla="*/ 324966 h 1410492"/>
                <a:gd name="connsiteX53" fmla="*/ 454608 w 2048870"/>
                <a:gd name="connsiteY53" fmla="*/ 312866 h 1410492"/>
                <a:gd name="connsiteX54" fmla="*/ 449422 w 2048870"/>
                <a:gd name="connsiteY54" fmla="*/ 311138 h 1410492"/>
                <a:gd name="connsiteX55" fmla="*/ 425222 w 2048870"/>
                <a:gd name="connsiteY55" fmla="*/ 314595 h 1410492"/>
                <a:gd name="connsiteX56" fmla="*/ 273110 w 2048870"/>
                <a:gd name="connsiteY56" fmla="*/ 316323 h 1410492"/>
                <a:gd name="connsiteX57" fmla="*/ 262739 w 2048870"/>
                <a:gd name="connsiteY57" fmla="*/ 323237 h 1410492"/>
                <a:gd name="connsiteX58" fmla="*/ 255825 w 2048870"/>
                <a:gd name="connsiteY58" fmla="*/ 324966 h 1410492"/>
                <a:gd name="connsiteX59" fmla="*/ 250639 w 2048870"/>
                <a:gd name="connsiteY59" fmla="*/ 326694 h 1410492"/>
                <a:gd name="connsiteX60" fmla="*/ 238540 w 2048870"/>
                <a:gd name="connsiteY60" fmla="*/ 330152 h 1410492"/>
                <a:gd name="connsiteX61" fmla="*/ 200512 w 2048870"/>
                <a:gd name="connsiteY61" fmla="*/ 333609 h 1410492"/>
                <a:gd name="connsiteX62" fmla="*/ 188412 w 2048870"/>
                <a:gd name="connsiteY62" fmla="*/ 338794 h 1410492"/>
                <a:gd name="connsiteX63" fmla="*/ 176312 w 2048870"/>
                <a:gd name="connsiteY63" fmla="*/ 342251 h 1410492"/>
                <a:gd name="connsiteX64" fmla="*/ 146927 w 2048870"/>
                <a:gd name="connsiteY64" fmla="*/ 356080 h 1410492"/>
                <a:gd name="connsiteX65" fmla="*/ 138284 w 2048870"/>
                <a:gd name="connsiteY65" fmla="*/ 357808 h 1410492"/>
                <a:gd name="connsiteX66" fmla="*/ 136555 w 2048870"/>
                <a:gd name="connsiteY66" fmla="*/ 364722 h 1410492"/>
                <a:gd name="connsiteX67" fmla="*/ 134827 w 2048870"/>
                <a:gd name="connsiteY67" fmla="*/ 380279 h 1410492"/>
                <a:gd name="connsiteX68" fmla="*/ 127913 w 2048870"/>
                <a:gd name="connsiteY68" fmla="*/ 387193 h 1410492"/>
                <a:gd name="connsiteX69" fmla="*/ 126184 w 2048870"/>
                <a:gd name="connsiteY69" fmla="*/ 394108 h 1410492"/>
                <a:gd name="connsiteX70" fmla="*/ 124456 w 2048870"/>
                <a:gd name="connsiteY70" fmla="*/ 402750 h 1410492"/>
                <a:gd name="connsiteX71" fmla="*/ 117541 w 2048870"/>
                <a:gd name="connsiteY71" fmla="*/ 407936 h 1410492"/>
                <a:gd name="connsiteX72" fmla="*/ 105442 w 2048870"/>
                <a:gd name="connsiteY72" fmla="*/ 411393 h 1410492"/>
                <a:gd name="connsiteX73" fmla="*/ 100256 w 2048870"/>
                <a:gd name="connsiteY73" fmla="*/ 413122 h 1410492"/>
                <a:gd name="connsiteX74" fmla="*/ 70871 w 2048870"/>
                <a:gd name="connsiteY74" fmla="*/ 421764 h 1410492"/>
                <a:gd name="connsiteX75" fmla="*/ 67414 w 2048870"/>
                <a:gd name="connsiteY75" fmla="*/ 428679 h 1410492"/>
                <a:gd name="connsiteX76" fmla="*/ 69142 w 2048870"/>
                <a:gd name="connsiteY76" fmla="*/ 440778 h 1410492"/>
                <a:gd name="connsiteX77" fmla="*/ 65685 w 2048870"/>
                <a:gd name="connsiteY77" fmla="*/ 445964 h 1410492"/>
                <a:gd name="connsiteX78" fmla="*/ 63957 w 2048870"/>
                <a:gd name="connsiteY78" fmla="*/ 452878 h 1410492"/>
                <a:gd name="connsiteX79" fmla="*/ 69142 w 2048870"/>
                <a:gd name="connsiteY79" fmla="*/ 456335 h 1410492"/>
                <a:gd name="connsiteX80" fmla="*/ 74328 w 2048870"/>
                <a:gd name="connsiteY80" fmla="*/ 458064 h 1410492"/>
                <a:gd name="connsiteX81" fmla="*/ 84699 w 2048870"/>
                <a:gd name="connsiteY81" fmla="*/ 466707 h 1410492"/>
                <a:gd name="connsiteX82" fmla="*/ 81242 w 2048870"/>
                <a:gd name="connsiteY82" fmla="*/ 473621 h 1410492"/>
                <a:gd name="connsiteX83" fmla="*/ 77785 w 2048870"/>
                <a:gd name="connsiteY83" fmla="*/ 478806 h 1410492"/>
                <a:gd name="connsiteX84" fmla="*/ 79513 w 2048870"/>
                <a:gd name="connsiteY84" fmla="*/ 485721 h 1410492"/>
                <a:gd name="connsiteX85" fmla="*/ 72599 w 2048870"/>
                <a:gd name="connsiteY85" fmla="*/ 489178 h 1410492"/>
                <a:gd name="connsiteX86" fmla="*/ 63957 w 2048870"/>
                <a:gd name="connsiteY86" fmla="*/ 487449 h 1410492"/>
                <a:gd name="connsiteX87" fmla="*/ 76056 w 2048870"/>
                <a:gd name="connsiteY87" fmla="*/ 485721 h 1410492"/>
                <a:gd name="connsiteX88" fmla="*/ 86428 w 2048870"/>
                <a:gd name="connsiteY88" fmla="*/ 483992 h 1410492"/>
                <a:gd name="connsiteX89" fmla="*/ 84699 w 2048870"/>
                <a:gd name="connsiteY89" fmla="*/ 494363 h 1410492"/>
                <a:gd name="connsiteX90" fmla="*/ 86428 w 2048870"/>
                <a:gd name="connsiteY90" fmla="*/ 501277 h 1410492"/>
                <a:gd name="connsiteX91" fmla="*/ 96799 w 2048870"/>
                <a:gd name="connsiteY91" fmla="*/ 515106 h 1410492"/>
                <a:gd name="connsiteX92" fmla="*/ 101985 w 2048870"/>
                <a:gd name="connsiteY92" fmla="*/ 516834 h 1410492"/>
                <a:gd name="connsiteX93" fmla="*/ 114084 w 2048870"/>
                <a:gd name="connsiteY93" fmla="*/ 520291 h 1410492"/>
                <a:gd name="connsiteX94" fmla="*/ 119270 w 2048870"/>
                <a:gd name="connsiteY94" fmla="*/ 525477 h 1410492"/>
                <a:gd name="connsiteX95" fmla="*/ 133098 w 2048870"/>
                <a:gd name="connsiteY95" fmla="*/ 535848 h 1410492"/>
                <a:gd name="connsiteX96" fmla="*/ 136555 w 2048870"/>
                <a:gd name="connsiteY96" fmla="*/ 542762 h 1410492"/>
                <a:gd name="connsiteX97" fmla="*/ 134827 w 2048870"/>
                <a:gd name="connsiteY97" fmla="*/ 572148 h 1410492"/>
                <a:gd name="connsiteX98" fmla="*/ 140012 w 2048870"/>
                <a:gd name="connsiteY98" fmla="*/ 573876 h 1410492"/>
                <a:gd name="connsiteX99" fmla="*/ 143470 w 2048870"/>
                <a:gd name="connsiteY99" fmla="*/ 577333 h 1410492"/>
                <a:gd name="connsiteX100" fmla="*/ 146927 w 2048870"/>
                <a:gd name="connsiteY100" fmla="*/ 589433 h 1410492"/>
                <a:gd name="connsiteX101" fmla="*/ 150384 w 2048870"/>
                <a:gd name="connsiteY101" fmla="*/ 598076 h 1410492"/>
                <a:gd name="connsiteX102" fmla="*/ 148655 w 2048870"/>
                <a:gd name="connsiteY102" fmla="*/ 617090 h 1410492"/>
                <a:gd name="connsiteX103" fmla="*/ 146927 w 2048870"/>
                <a:gd name="connsiteY103" fmla="*/ 622276 h 1410492"/>
                <a:gd name="connsiteX104" fmla="*/ 141741 w 2048870"/>
                <a:gd name="connsiteY104" fmla="*/ 627461 h 1410492"/>
                <a:gd name="connsiteX105" fmla="*/ 136555 w 2048870"/>
                <a:gd name="connsiteY105" fmla="*/ 634375 h 1410492"/>
                <a:gd name="connsiteX106" fmla="*/ 120999 w 2048870"/>
                <a:gd name="connsiteY106" fmla="*/ 639561 h 1410492"/>
                <a:gd name="connsiteX107" fmla="*/ 95070 w 2048870"/>
                <a:gd name="connsiteY107" fmla="*/ 665489 h 1410492"/>
                <a:gd name="connsiteX108" fmla="*/ 89885 w 2048870"/>
                <a:gd name="connsiteY108" fmla="*/ 670675 h 1410492"/>
                <a:gd name="connsiteX109" fmla="*/ 86428 w 2048870"/>
                <a:gd name="connsiteY109" fmla="*/ 675860 h 1410492"/>
                <a:gd name="connsiteX110" fmla="*/ 81242 w 2048870"/>
                <a:gd name="connsiteY110" fmla="*/ 677589 h 1410492"/>
                <a:gd name="connsiteX111" fmla="*/ 77785 w 2048870"/>
                <a:gd name="connsiteY111" fmla="*/ 682775 h 1410492"/>
                <a:gd name="connsiteX112" fmla="*/ 63957 w 2048870"/>
                <a:gd name="connsiteY112" fmla="*/ 689689 h 1410492"/>
                <a:gd name="connsiteX113" fmla="*/ 60499 w 2048870"/>
                <a:gd name="connsiteY113" fmla="*/ 706974 h 1410492"/>
                <a:gd name="connsiteX114" fmla="*/ 50128 w 2048870"/>
                <a:gd name="connsiteY114" fmla="*/ 720803 h 1410492"/>
                <a:gd name="connsiteX115" fmla="*/ 48400 w 2048870"/>
                <a:gd name="connsiteY115" fmla="*/ 725988 h 1410492"/>
                <a:gd name="connsiteX116" fmla="*/ 46671 w 2048870"/>
                <a:gd name="connsiteY116" fmla="*/ 732902 h 1410492"/>
                <a:gd name="connsiteX117" fmla="*/ 25929 w 2048870"/>
                <a:gd name="connsiteY117" fmla="*/ 751916 h 1410492"/>
                <a:gd name="connsiteX118" fmla="*/ 19014 w 2048870"/>
                <a:gd name="connsiteY118" fmla="*/ 776116 h 1410492"/>
                <a:gd name="connsiteX119" fmla="*/ 12100 w 2048870"/>
                <a:gd name="connsiteY119" fmla="*/ 789944 h 1410492"/>
                <a:gd name="connsiteX120" fmla="*/ 17286 w 2048870"/>
                <a:gd name="connsiteY120" fmla="*/ 822787 h 1410492"/>
                <a:gd name="connsiteX121" fmla="*/ 25929 w 2048870"/>
                <a:gd name="connsiteY121" fmla="*/ 829701 h 1410492"/>
                <a:gd name="connsiteX122" fmla="*/ 29386 w 2048870"/>
                <a:gd name="connsiteY122" fmla="*/ 838344 h 1410492"/>
                <a:gd name="connsiteX123" fmla="*/ 36300 w 2048870"/>
                <a:gd name="connsiteY123" fmla="*/ 843529 h 1410492"/>
                <a:gd name="connsiteX124" fmla="*/ 38028 w 2048870"/>
                <a:gd name="connsiteY124" fmla="*/ 852172 h 1410492"/>
                <a:gd name="connsiteX125" fmla="*/ 43214 w 2048870"/>
                <a:gd name="connsiteY125" fmla="*/ 864272 h 1410492"/>
                <a:gd name="connsiteX126" fmla="*/ 44943 w 2048870"/>
                <a:gd name="connsiteY126" fmla="*/ 874643 h 1410492"/>
                <a:gd name="connsiteX127" fmla="*/ 51857 w 2048870"/>
                <a:gd name="connsiteY127" fmla="*/ 876372 h 1410492"/>
                <a:gd name="connsiteX128" fmla="*/ 53585 w 2048870"/>
                <a:gd name="connsiteY128" fmla="*/ 883286 h 1410492"/>
                <a:gd name="connsiteX129" fmla="*/ 58771 w 2048870"/>
                <a:gd name="connsiteY129" fmla="*/ 886743 h 1410492"/>
                <a:gd name="connsiteX130" fmla="*/ 51857 w 2048870"/>
                <a:gd name="connsiteY130" fmla="*/ 898843 h 1410492"/>
                <a:gd name="connsiteX131" fmla="*/ 43214 w 2048870"/>
                <a:gd name="connsiteY131" fmla="*/ 904028 h 1410492"/>
                <a:gd name="connsiteX132" fmla="*/ 29386 w 2048870"/>
                <a:gd name="connsiteY132" fmla="*/ 909214 h 1410492"/>
                <a:gd name="connsiteX133" fmla="*/ 27657 w 2048870"/>
                <a:gd name="connsiteY133" fmla="*/ 919585 h 1410492"/>
                <a:gd name="connsiteX134" fmla="*/ 25929 w 2048870"/>
                <a:gd name="connsiteY134" fmla="*/ 926499 h 1410492"/>
                <a:gd name="connsiteX135" fmla="*/ 19014 w 2048870"/>
                <a:gd name="connsiteY135" fmla="*/ 955885 h 1410492"/>
                <a:gd name="connsiteX136" fmla="*/ 10372 w 2048870"/>
                <a:gd name="connsiteY136" fmla="*/ 969713 h 1410492"/>
                <a:gd name="connsiteX137" fmla="*/ 8643 w 2048870"/>
                <a:gd name="connsiteY137" fmla="*/ 990455 h 1410492"/>
                <a:gd name="connsiteX138" fmla="*/ 0 w 2048870"/>
                <a:gd name="connsiteY138" fmla="*/ 999098 h 1410492"/>
                <a:gd name="connsiteX139" fmla="*/ 6915 w 2048870"/>
                <a:gd name="connsiteY139" fmla="*/ 1023298 h 1410492"/>
                <a:gd name="connsiteX140" fmla="*/ 15557 w 2048870"/>
                <a:gd name="connsiteY140" fmla="*/ 1025026 h 1410492"/>
                <a:gd name="connsiteX141" fmla="*/ 22471 w 2048870"/>
                <a:gd name="connsiteY141" fmla="*/ 1030212 h 1410492"/>
                <a:gd name="connsiteX142" fmla="*/ 27657 w 2048870"/>
                <a:gd name="connsiteY142" fmla="*/ 1031941 h 1410492"/>
                <a:gd name="connsiteX143" fmla="*/ 34571 w 2048870"/>
                <a:gd name="connsiteY143" fmla="*/ 1035398 h 1410492"/>
                <a:gd name="connsiteX144" fmla="*/ 39757 w 2048870"/>
                <a:gd name="connsiteY144" fmla="*/ 1042312 h 1410492"/>
                <a:gd name="connsiteX145" fmla="*/ 43214 w 2048870"/>
                <a:gd name="connsiteY145" fmla="*/ 1047497 h 1410492"/>
                <a:gd name="connsiteX146" fmla="*/ 53585 w 2048870"/>
                <a:gd name="connsiteY146" fmla="*/ 1052683 h 1410492"/>
                <a:gd name="connsiteX147" fmla="*/ 95070 w 2048870"/>
                <a:gd name="connsiteY147" fmla="*/ 1061326 h 1410492"/>
                <a:gd name="connsiteX148" fmla="*/ 96799 w 2048870"/>
                <a:gd name="connsiteY148" fmla="*/ 1073426 h 1410492"/>
                <a:gd name="connsiteX149" fmla="*/ 101985 w 2048870"/>
                <a:gd name="connsiteY149" fmla="*/ 1075154 h 1410492"/>
                <a:gd name="connsiteX150" fmla="*/ 112356 w 2048870"/>
                <a:gd name="connsiteY150" fmla="*/ 1066511 h 1410492"/>
                <a:gd name="connsiteX151" fmla="*/ 119270 w 2048870"/>
                <a:gd name="connsiteY151" fmla="*/ 1059597 h 1410492"/>
                <a:gd name="connsiteX152" fmla="*/ 120999 w 2048870"/>
                <a:gd name="connsiteY152" fmla="*/ 1054412 h 1410492"/>
                <a:gd name="connsiteX153" fmla="*/ 134827 w 2048870"/>
                <a:gd name="connsiteY153" fmla="*/ 1061326 h 1410492"/>
                <a:gd name="connsiteX154" fmla="*/ 141741 w 2048870"/>
                <a:gd name="connsiteY154" fmla="*/ 1063054 h 1410492"/>
                <a:gd name="connsiteX155" fmla="*/ 146927 w 2048870"/>
                <a:gd name="connsiteY155" fmla="*/ 1064783 h 1410492"/>
                <a:gd name="connsiteX156" fmla="*/ 247182 w 2048870"/>
                <a:gd name="connsiteY156" fmla="*/ 1068240 h 1410492"/>
                <a:gd name="connsiteX157" fmla="*/ 266196 w 2048870"/>
                <a:gd name="connsiteY157" fmla="*/ 1064783 h 1410492"/>
                <a:gd name="connsiteX158" fmla="*/ 276568 w 2048870"/>
                <a:gd name="connsiteY158" fmla="*/ 1059597 h 1410492"/>
                <a:gd name="connsiteX159" fmla="*/ 285210 w 2048870"/>
                <a:gd name="connsiteY159" fmla="*/ 1049226 h 1410492"/>
                <a:gd name="connsiteX160" fmla="*/ 295581 w 2048870"/>
                <a:gd name="connsiteY160" fmla="*/ 1052683 h 1410492"/>
                <a:gd name="connsiteX161" fmla="*/ 299039 w 2048870"/>
                <a:gd name="connsiteY161" fmla="*/ 1059597 h 1410492"/>
                <a:gd name="connsiteX162" fmla="*/ 312867 w 2048870"/>
                <a:gd name="connsiteY162" fmla="*/ 1071697 h 1410492"/>
                <a:gd name="connsiteX163" fmla="*/ 338795 w 2048870"/>
                <a:gd name="connsiteY163" fmla="*/ 1078611 h 1410492"/>
                <a:gd name="connsiteX164" fmla="*/ 361266 w 2048870"/>
                <a:gd name="connsiteY164" fmla="*/ 1075154 h 1410492"/>
                <a:gd name="connsiteX165" fmla="*/ 362995 w 2048870"/>
                <a:gd name="connsiteY165" fmla="*/ 1068240 h 1410492"/>
                <a:gd name="connsiteX166" fmla="*/ 373366 w 2048870"/>
                <a:gd name="connsiteY166" fmla="*/ 1050955 h 1410492"/>
                <a:gd name="connsiteX167" fmla="*/ 378552 w 2048870"/>
                <a:gd name="connsiteY167" fmla="*/ 1045769 h 1410492"/>
                <a:gd name="connsiteX168" fmla="*/ 397566 w 2048870"/>
                <a:gd name="connsiteY168" fmla="*/ 1038855 h 1410492"/>
                <a:gd name="connsiteX169" fmla="*/ 432137 w 2048870"/>
                <a:gd name="connsiteY169" fmla="*/ 1035398 h 1410492"/>
                <a:gd name="connsiteX170" fmla="*/ 444236 w 2048870"/>
                <a:gd name="connsiteY170" fmla="*/ 1031941 h 1410492"/>
                <a:gd name="connsiteX171" fmla="*/ 447693 w 2048870"/>
                <a:gd name="connsiteY171" fmla="*/ 1025026 h 1410492"/>
                <a:gd name="connsiteX172" fmla="*/ 452879 w 2048870"/>
                <a:gd name="connsiteY172" fmla="*/ 1021569 h 1410492"/>
                <a:gd name="connsiteX173" fmla="*/ 468436 w 2048870"/>
                <a:gd name="connsiteY173" fmla="*/ 1011198 h 1410492"/>
                <a:gd name="connsiteX174" fmla="*/ 473622 w 2048870"/>
                <a:gd name="connsiteY174" fmla="*/ 999098 h 1410492"/>
                <a:gd name="connsiteX175" fmla="*/ 478807 w 2048870"/>
                <a:gd name="connsiteY175" fmla="*/ 986998 h 1410492"/>
                <a:gd name="connsiteX176" fmla="*/ 485721 w 2048870"/>
                <a:gd name="connsiteY176" fmla="*/ 980084 h 1410492"/>
                <a:gd name="connsiteX177" fmla="*/ 489178 w 2048870"/>
                <a:gd name="connsiteY177" fmla="*/ 974899 h 1410492"/>
                <a:gd name="connsiteX178" fmla="*/ 511650 w 2048870"/>
                <a:gd name="connsiteY178" fmla="*/ 955885 h 1410492"/>
                <a:gd name="connsiteX179" fmla="*/ 530664 w 2048870"/>
                <a:gd name="connsiteY179" fmla="*/ 947242 h 1410492"/>
                <a:gd name="connsiteX180" fmla="*/ 537578 w 2048870"/>
                <a:gd name="connsiteY180" fmla="*/ 933414 h 1410492"/>
                <a:gd name="connsiteX181" fmla="*/ 539306 w 2048870"/>
                <a:gd name="connsiteY181" fmla="*/ 928228 h 1410492"/>
                <a:gd name="connsiteX182" fmla="*/ 541035 w 2048870"/>
                <a:gd name="connsiteY182" fmla="*/ 921314 h 1410492"/>
                <a:gd name="connsiteX183" fmla="*/ 563506 w 2048870"/>
                <a:gd name="connsiteY183" fmla="*/ 917857 h 1410492"/>
                <a:gd name="connsiteX184" fmla="*/ 568692 w 2048870"/>
                <a:gd name="connsiteY184" fmla="*/ 916128 h 1410492"/>
                <a:gd name="connsiteX185" fmla="*/ 584248 w 2048870"/>
                <a:gd name="connsiteY185" fmla="*/ 914400 h 1410492"/>
                <a:gd name="connsiteX186" fmla="*/ 589434 w 2048870"/>
                <a:gd name="connsiteY186" fmla="*/ 910942 h 1410492"/>
                <a:gd name="connsiteX187" fmla="*/ 599805 w 2048870"/>
                <a:gd name="connsiteY187" fmla="*/ 905757 h 1410492"/>
                <a:gd name="connsiteX188" fmla="*/ 604991 w 2048870"/>
                <a:gd name="connsiteY188" fmla="*/ 900571 h 1410492"/>
                <a:gd name="connsiteX189" fmla="*/ 606719 w 2048870"/>
                <a:gd name="connsiteY189" fmla="*/ 895386 h 1410492"/>
                <a:gd name="connsiteX190" fmla="*/ 615362 w 2048870"/>
                <a:gd name="connsiteY190" fmla="*/ 891928 h 1410492"/>
                <a:gd name="connsiteX191" fmla="*/ 620548 w 2048870"/>
                <a:gd name="connsiteY191" fmla="*/ 886743 h 1410492"/>
                <a:gd name="connsiteX192" fmla="*/ 639562 w 2048870"/>
                <a:gd name="connsiteY192" fmla="*/ 879829 h 1410492"/>
                <a:gd name="connsiteX193" fmla="*/ 653390 w 2048870"/>
                <a:gd name="connsiteY193" fmla="*/ 883286 h 1410492"/>
                <a:gd name="connsiteX194" fmla="*/ 660304 w 2048870"/>
                <a:gd name="connsiteY194" fmla="*/ 885014 h 1410492"/>
                <a:gd name="connsiteX195" fmla="*/ 668947 w 2048870"/>
                <a:gd name="connsiteY195" fmla="*/ 886743 h 1410492"/>
                <a:gd name="connsiteX196" fmla="*/ 675861 w 2048870"/>
                <a:gd name="connsiteY196" fmla="*/ 890200 h 1410492"/>
                <a:gd name="connsiteX197" fmla="*/ 682775 w 2048870"/>
                <a:gd name="connsiteY197" fmla="*/ 891928 h 1410492"/>
                <a:gd name="connsiteX198" fmla="*/ 687961 w 2048870"/>
                <a:gd name="connsiteY198" fmla="*/ 895386 h 1410492"/>
                <a:gd name="connsiteX199" fmla="*/ 700061 w 2048870"/>
                <a:gd name="connsiteY199" fmla="*/ 898843 h 1410492"/>
                <a:gd name="connsiteX200" fmla="*/ 706975 w 2048870"/>
                <a:gd name="connsiteY200" fmla="*/ 904028 h 1410492"/>
                <a:gd name="connsiteX201" fmla="*/ 720803 w 2048870"/>
                <a:gd name="connsiteY201" fmla="*/ 907485 h 1410492"/>
                <a:gd name="connsiteX202" fmla="*/ 727718 w 2048870"/>
                <a:gd name="connsiteY202" fmla="*/ 905757 h 1410492"/>
                <a:gd name="connsiteX203" fmla="*/ 736360 w 2048870"/>
                <a:gd name="connsiteY203" fmla="*/ 904028 h 1410492"/>
                <a:gd name="connsiteX204" fmla="*/ 738089 w 2048870"/>
                <a:gd name="connsiteY204" fmla="*/ 910942 h 1410492"/>
                <a:gd name="connsiteX205" fmla="*/ 760560 w 2048870"/>
                <a:gd name="connsiteY205" fmla="*/ 904028 h 1410492"/>
                <a:gd name="connsiteX206" fmla="*/ 770931 w 2048870"/>
                <a:gd name="connsiteY206" fmla="*/ 895386 h 1410492"/>
                <a:gd name="connsiteX207" fmla="*/ 776117 w 2048870"/>
                <a:gd name="connsiteY207" fmla="*/ 909214 h 1410492"/>
                <a:gd name="connsiteX208" fmla="*/ 783031 w 2048870"/>
                <a:gd name="connsiteY208" fmla="*/ 914400 h 1410492"/>
                <a:gd name="connsiteX209" fmla="*/ 788217 w 2048870"/>
                <a:gd name="connsiteY209" fmla="*/ 919585 h 1410492"/>
                <a:gd name="connsiteX210" fmla="*/ 793402 w 2048870"/>
                <a:gd name="connsiteY210" fmla="*/ 923042 h 1410492"/>
                <a:gd name="connsiteX211" fmla="*/ 798588 w 2048870"/>
                <a:gd name="connsiteY211" fmla="*/ 928228 h 1410492"/>
                <a:gd name="connsiteX212" fmla="*/ 815873 w 2048870"/>
                <a:gd name="connsiteY212" fmla="*/ 935142 h 1410492"/>
                <a:gd name="connsiteX213" fmla="*/ 821059 w 2048870"/>
                <a:gd name="connsiteY213" fmla="*/ 926499 h 1410492"/>
                <a:gd name="connsiteX214" fmla="*/ 824516 w 2048870"/>
                <a:gd name="connsiteY214" fmla="*/ 910942 h 1410492"/>
                <a:gd name="connsiteX215" fmla="*/ 833159 w 2048870"/>
                <a:gd name="connsiteY215" fmla="*/ 912671 h 1410492"/>
                <a:gd name="connsiteX216" fmla="*/ 838344 w 2048870"/>
                <a:gd name="connsiteY216" fmla="*/ 926499 h 1410492"/>
                <a:gd name="connsiteX217" fmla="*/ 841802 w 2048870"/>
                <a:gd name="connsiteY217" fmla="*/ 929956 h 1410492"/>
                <a:gd name="connsiteX218" fmla="*/ 850444 w 2048870"/>
                <a:gd name="connsiteY218" fmla="*/ 948970 h 1410492"/>
                <a:gd name="connsiteX219" fmla="*/ 853901 w 2048870"/>
                <a:gd name="connsiteY219" fmla="*/ 954156 h 1410492"/>
                <a:gd name="connsiteX220" fmla="*/ 859087 w 2048870"/>
                <a:gd name="connsiteY220" fmla="*/ 988727 h 1410492"/>
                <a:gd name="connsiteX221" fmla="*/ 864273 w 2048870"/>
                <a:gd name="connsiteY221" fmla="*/ 1009469 h 1410492"/>
                <a:gd name="connsiteX222" fmla="*/ 878101 w 2048870"/>
                <a:gd name="connsiteY222" fmla="*/ 1012927 h 1410492"/>
                <a:gd name="connsiteX223" fmla="*/ 885015 w 2048870"/>
                <a:gd name="connsiteY223" fmla="*/ 1016384 h 1410492"/>
                <a:gd name="connsiteX224" fmla="*/ 888472 w 2048870"/>
                <a:gd name="connsiteY224" fmla="*/ 1021569 h 1410492"/>
                <a:gd name="connsiteX225" fmla="*/ 900572 w 2048870"/>
                <a:gd name="connsiteY225" fmla="*/ 1026755 h 1410492"/>
                <a:gd name="connsiteX226" fmla="*/ 905758 w 2048870"/>
                <a:gd name="connsiteY226" fmla="*/ 1033669 h 1410492"/>
                <a:gd name="connsiteX227" fmla="*/ 909215 w 2048870"/>
                <a:gd name="connsiteY227" fmla="*/ 1040583 h 1410492"/>
                <a:gd name="connsiteX228" fmla="*/ 912672 w 2048870"/>
                <a:gd name="connsiteY228" fmla="*/ 1045769 h 1410492"/>
                <a:gd name="connsiteX229" fmla="*/ 921315 w 2048870"/>
                <a:gd name="connsiteY229" fmla="*/ 1061326 h 1410492"/>
                <a:gd name="connsiteX230" fmla="*/ 928229 w 2048870"/>
                <a:gd name="connsiteY230" fmla="*/ 1082068 h 1410492"/>
                <a:gd name="connsiteX231" fmla="*/ 929957 w 2048870"/>
                <a:gd name="connsiteY231" fmla="*/ 1088983 h 1410492"/>
                <a:gd name="connsiteX232" fmla="*/ 940329 w 2048870"/>
                <a:gd name="connsiteY232" fmla="*/ 1095897 h 1410492"/>
                <a:gd name="connsiteX233" fmla="*/ 959343 w 2048870"/>
                <a:gd name="connsiteY233" fmla="*/ 1097625 h 1410492"/>
                <a:gd name="connsiteX234" fmla="*/ 967985 w 2048870"/>
                <a:gd name="connsiteY234" fmla="*/ 1101082 h 1410492"/>
                <a:gd name="connsiteX235" fmla="*/ 973171 w 2048870"/>
                <a:gd name="connsiteY235" fmla="*/ 1106268 h 1410492"/>
                <a:gd name="connsiteX236" fmla="*/ 978357 w 2048870"/>
                <a:gd name="connsiteY236" fmla="*/ 1109725 h 1410492"/>
                <a:gd name="connsiteX237" fmla="*/ 983542 w 2048870"/>
                <a:gd name="connsiteY237" fmla="*/ 1118368 h 1410492"/>
                <a:gd name="connsiteX238" fmla="*/ 985271 w 2048870"/>
                <a:gd name="connsiteY238" fmla="*/ 1132196 h 1410492"/>
                <a:gd name="connsiteX239" fmla="*/ 992185 w 2048870"/>
                <a:gd name="connsiteY239" fmla="*/ 1139110 h 1410492"/>
                <a:gd name="connsiteX240" fmla="*/ 1006013 w 2048870"/>
                <a:gd name="connsiteY240" fmla="*/ 1147753 h 1410492"/>
                <a:gd name="connsiteX241" fmla="*/ 1019842 w 2048870"/>
                <a:gd name="connsiteY241" fmla="*/ 1165038 h 1410492"/>
                <a:gd name="connsiteX242" fmla="*/ 1012927 w 2048870"/>
                <a:gd name="connsiteY242" fmla="*/ 1168496 h 1410492"/>
                <a:gd name="connsiteX243" fmla="*/ 1009470 w 2048870"/>
                <a:gd name="connsiteY243" fmla="*/ 1173681 h 1410492"/>
                <a:gd name="connsiteX244" fmla="*/ 997371 w 2048870"/>
                <a:gd name="connsiteY244" fmla="*/ 1177138 h 1410492"/>
                <a:gd name="connsiteX245" fmla="*/ 990456 w 2048870"/>
                <a:gd name="connsiteY245" fmla="*/ 1182324 h 1410492"/>
                <a:gd name="connsiteX246" fmla="*/ 973171 w 2048870"/>
                <a:gd name="connsiteY246" fmla="*/ 1182324 h 1410492"/>
                <a:gd name="connsiteX247" fmla="*/ 971442 w 2048870"/>
                <a:gd name="connsiteY247" fmla="*/ 1161581 h 1410492"/>
                <a:gd name="connsiteX248" fmla="*/ 962800 w 2048870"/>
                <a:gd name="connsiteY248" fmla="*/ 1171953 h 1410492"/>
                <a:gd name="connsiteX249" fmla="*/ 959343 w 2048870"/>
                <a:gd name="connsiteY249" fmla="*/ 1178867 h 1410492"/>
                <a:gd name="connsiteX250" fmla="*/ 955885 w 2048870"/>
                <a:gd name="connsiteY250" fmla="*/ 1184052 h 1410492"/>
                <a:gd name="connsiteX251" fmla="*/ 947243 w 2048870"/>
                <a:gd name="connsiteY251" fmla="*/ 1187510 h 1410492"/>
                <a:gd name="connsiteX252" fmla="*/ 940329 w 2048870"/>
                <a:gd name="connsiteY252" fmla="*/ 1190967 h 1410492"/>
                <a:gd name="connsiteX253" fmla="*/ 935143 w 2048870"/>
                <a:gd name="connsiteY253" fmla="*/ 1189238 h 1410492"/>
                <a:gd name="connsiteX254" fmla="*/ 929957 w 2048870"/>
                <a:gd name="connsiteY254" fmla="*/ 1171953 h 1410492"/>
                <a:gd name="connsiteX255" fmla="*/ 926500 w 2048870"/>
                <a:gd name="connsiteY255" fmla="*/ 1165038 h 1410492"/>
                <a:gd name="connsiteX256" fmla="*/ 921315 w 2048870"/>
                <a:gd name="connsiteY256" fmla="*/ 1178867 h 1410492"/>
                <a:gd name="connsiteX257" fmla="*/ 917857 w 2048870"/>
                <a:gd name="connsiteY257" fmla="*/ 1182324 h 1410492"/>
                <a:gd name="connsiteX258" fmla="*/ 914400 w 2048870"/>
                <a:gd name="connsiteY258" fmla="*/ 1194424 h 1410492"/>
                <a:gd name="connsiteX259" fmla="*/ 909215 w 2048870"/>
                <a:gd name="connsiteY259" fmla="*/ 1199609 h 1410492"/>
                <a:gd name="connsiteX260" fmla="*/ 886744 w 2048870"/>
                <a:gd name="connsiteY260" fmla="*/ 1180595 h 1410492"/>
                <a:gd name="connsiteX261" fmla="*/ 883287 w 2048870"/>
                <a:gd name="connsiteY261" fmla="*/ 1189238 h 1410492"/>
                <a:gd name="connsiteX262" fmla="*/ 879830 w 2048870"/>
                <a:gd name="connsiteY262" fmla="*/ 1194424 h 1410492"/>
                <a:gd name="connsiteX263" fmla="*/ 874644 w 2048870"/>
                <a:gd name="connsiteY263" fmla="*/ 1204795 h 1410492"/>
                <a:gd name="connsiteX264" fmla="*/ 879830 w 2048870"/>
                <a:gd name="connsiteY264" fmla="*/ 1211709 h 1410492"/>
                <a:gd name="connsiteX265" fmla="*/ 890201 w 2048870"/>
                <a:gd name="connsiteY265" fmla="*/ 1215166 h 1410492"/>
                <a:gd name="connsiteX266" fmla="*/ 893658 w 2048870"/>
                <a:gd name="connsiteY266" fmla="*/ 1235909 h 1410492"/>
                <a:gd name="connsiteX267" fmla="*/ 891929 w 2048870"/>
                <a:gd name="connsiteY267" fmla="*/ 1258380 h 1410492"/>
                <a:gd name="connsiteX268" fmla="*/ 890201 w 2048870"/>
                <a:gd name="connsiteY268" fmla="*/ 1263565 h 1410492"/>
                <a:gd name="connsiteX269" fmla="*/ 878101 w 2048870"/>
                <a:gd name="connsiteY269" fmla="*/ 1275665 h 1410492"/>
                <a:gd name="connsiteX270" fmla="*/ 871187 w 2048870"/>
                <a:gd name="connsiteY270" fmla="*/ 1282579 h 1410492"/>
                <a:gd name="connsiteX271" fmla="*/ 876372 w 2048870"/>
                <a:gd name="connsiteY271" fmla="*/ 1287765 h 1410492"/>
                <a:gd name="connsiteX272" fmla="*/ 874644 w 2048870"/>
                <a:gd name="connsiteY272" fmla="*/ 1306779 h 1410492"/>
                <a:gd name="connsiteX273" fmla="*/ 869458 w 2048870"/>
                <a:gd name="connsiteY273" fmla="*/ 1308508 h 1410492"/>
                <a:gd name="connsiteX274" fmla="*/ 864273 w 2048870"/>
                <a:gd name="connsiteY274" fmla="*/ 1320607 h 1410492"/>
                <a:gd name="connsiteX275" fmla="*/ 862544 w 2048870"/>
                <a:gd name="connsiteY275" fmla="*/ 1360364 h 1410492"/>
                <a:gd name="connsiteX276" fmla="*/ 857358 w 2048870"/>
                <a:gd name="connsiteY276" fmla="*/ 1363821 h 1410492"/>
                <a:gd name="connsiteX277" fmla="*/ 852173 w 2048870"/>
                <a:gd name="connsiteY277" fmla="*/ 1365550 h 1410492"/>
                <a:gd name="connsiteX278" fmla="*/ 850444 w 2048870"/>
                <a:gd name="connsiteY278" fmla="*/ 1370735 h 1410492"/>
                <a:gd name="connsiteX279" fmla="*/ 838344 w 2048870"/>
                <a:gd name="connsiteY279" fmla="*/ 1379378 h 1410492"/>
                <a:gd name="connsiteX280" fmla="*/ 841802 w 2048870"/>
                <a:gd name="connsiteY280" fmla="*/ 1389749 h 1410492"/>
                <a:gd name="connsiteX281" fmla="*/ 845259 w 2048870"/>
                <a:gd name="connsiteY281" fmla="*/ 1398392 h 1410492"/>
                <a:gd name="connsiteX282" fmla="*/ 852173 w 2048870"/>
                <a:gd name="connsiteY282" fmla="*/ 1403578 h 1410492"/>
                <a:gd name="connsiteX283" fmla="*/ 859087 w 2048870"/>
                <a:gd name="connsiteY283" fmla="*/ 1410492 h 1410492"/>
                <a:gd name="connsiteX284" fmla="*/ 885015 w 2048870"/>
                <a:gd name="connsiteY284" fmla="*/ 1408763 h 1410492"/>
                <a:gd name="connsiteX285" fmla="*/ 890201 w 2048870"/>
                <a:gd name="connsiteY285" fmla="*/ 1403578 h 1410492"/>
                <a:gd name="connsiteX286" fmla="*/ 905758 w 2048870"/>
                <a:gd name="connsiteY286" fmla="*/ 1396663 h 1410492"/>
                <a:gd name="connsiteX287" fmla="*/ 921315 w 2048870"/>
                <a:gd name="connsiteY287" fmla="*/ 1388021 h 1410492"/>
                <a:gd name="connsiteX288" fmla="*/ 919586 w 2048870"/>
                <a:gd name="connsiteY288" fmla="*/ 1382835 h 1410492"/>
                <a:gd name="connsiteX289" fmla="*/ 938600 w 2048870"/>
                <a:gd name="connsiteY289" fmla="*/ 1367278 h 1410492"/>
                <a:gd name="connsiteX290" fmla="*/ 943786 w 2048870"/>
                <a:gd name="connsiteY290" fmla="*/ 1362093 h 1410492"/>
                <a:gd name="connsiteX291" fmla="*/ 954157 w 2048870"/>
                <a:gd name="connsiteY291" fmla="*/ 1360364 h 1410492"/>
                <a:gd name="connsiteX292" fmla="*/ 993913 w 2048870"/>
                <a:gd name="connsiteY292" fmla="*/ 1356907 h 1410492"/>
                <a:gd name="connsiteX293" fmla="*/ 997371 w 2048870"/>
                <a:gd name="connsiteY293" fmla="*/ 1349993 h 1410492"/>
                <a:gd name="connsiteX294" fmla="*/ 1009470 w 2048870"/>
                <a:gd name="connsiteY294" fmla="*/ 1344807 h 1410492"/>
                <a:gd name="connsiteX295" fmla="*/ 997371 w 2048870"/>
                <a:gd name="connsiteY295" fmla="*/ 1334436 h 1410492"/>
                <a:gd name="connsiteX296" fmla="*/ 993913 w 2048870"/>
                <a:gd name="connsiteY296" fmla="*/ 1327522 h 1410492"/>
                <a:gd name="connsiteX297" fmla="*/ 988728 w 2048870"/>
                <a:gd name="connsiteY297" fmla="*/ 1322336 h 1410492"/>
                <a:gd name="connsiteX298" fmla="*/ 985271 w 2048870"/>
                <a:gd name="connsiteY298" fmla="*/ 1310236 h 1410492"/>
                <a:gd name="connsiteX299" fmla="*/ 981814 w 2048870"/>
                <a:gd name="connsiteY299" fmla="*/ 1299865 h 1410492"/>
                <a:gd name="connsiteX300" fmla="*/ 990456 w 2048870"/>
                <a:gd name="connsiteY300" fmla="*/ 1287765 h 1410492"/>
                <a:gd name="connsiteX301" fmla="*/ 992185 w 2048870"/>
                <a:gd name="connsiteY301" fmla="*/ 1292951 h 1410492"/>
                <a:gd name="connsiteX302" fmla="*/ 1014656 w 2048870"/>
                <a:gd name="connsiteY302" fmla="*/ 1299865 h 1410492"/>
                <a:gd name="connsiteX303" fmla="*/ 1016385 w 2048870"/>
                <a:gd name="connsiteY303" fmla="*/ 1294679 h 1410492"/>
                <a:gd name="connsiteX304" fmla="*/ 1018113 w 2048870"/>
                <a:gd name="connsiteY304" fmla="*/ 1284308 h 1410492"/>
                <a:gd name="connsiteX305" fmla="*/ 1031941 w 2048870"/>
                <a:gd name="connsiteY305" fmla="*/ 1270480 h 1410492"/>
                <a:gd name="connsiteX306" fmla="*/ 1037127 w 2048870"/>
                <a:gd name="connsiteY306" fmla="*/ 1265294 h 1410492"/>
                <a:gd name="connsiteX307" fmla="*/ 1038856 w 2048870"/>
                <a:gd name="connsiteY307" fmla="*/ 1260108 h 1410492"/>
                <a:gd name="connsiteX308" fmla="*/ 1054412 w 2048870"/>
                <a:gd name="connsiteY308" fmla="*/ 1251466 h 1410492"/>
                <a:gd name="connsiteX309" fmla="*/ 1063055 w 2048870"/>
                <a:gd name="connsiteY309" fmla="*/ 1242823 h 1410492"/>
                <a:gd name="connsiteX310" fmla="*/ 1068241 w 2048870"/>
                <a:gd name="connsiteY310" fmla="*/ 1223809 h 1410492"/>
                <a:gd name="connsiteX311" fmla="*/ 1069969 w 2048870"/>
                <a:gd name="connsiteY311" fmla="*/ 1215166 h 1410492"/>
                <a:gd name="connsiteX312" fmla="*/ 1075155 w 2048870"/>
                <a:gd name="connsiteY312" fmla="*/ 1201338 h 1410492"/>
                <a:gd name="connsiteX313" fmla="*/ 1080341 w 2048870"/>
                <a:gd name="connsiteY313" fmla="*/ 1175410 h 1410492"/>
                <a:gd name="connsiteX314" fmla="*/ 1082069 w 2048870"/>
                <a:gd name="connsiteY314" fmla="*/ 1170224 h 1410492"/>
                <a:gd name="connsiteX315" fmla="*/ 1083798 w 2048870"/>
                <a:gd name="connsiteY315" fmla="*/ 1161581 h 1410492"/>
                <a:gd name="connsiteX316" fmla="*/ 1085526 w 2048870"/>
                <a:gd name="connsiteY316" fmla="*/ 1156396 h 1410492"/>
                <a:gd name="connsiteX317" fmla="*/ 1087255 w 2048870"/>
                <a:gd name="connsiteY317" fmla="*/ 1147753 h 1410492"/>
                <a:gd name="connsiteX318" fmla="*/ 1097626 w 2048870"/>
                <a:gd name="connsiteY318" fmla="*/ 1128739 h 1410492"/>
                <a:gd name="connsiteX319" fmla="*/ 1099355 w 2048870"/>
                <a:gd name="connsiteY319" fmla="*/ 1111454 h 1410492"/>
                <a:gd name="connsiteX320" fmla="*/ 1106269 w 2048870"/>
                <a:gd name="connsiteY320" fmla="*/ 1097625 h 1410492"/>
                <a:gd name="connsiteX321" fmla="*/ 1111454 w 2048870"/>
                <a:gd name="connsiteY321" fmla="*/ 1095897 h 1410492"/>
                <a:gd name="connsiteX322" fmla="*/ 1127011 w 2048870"/>
                <a:gd name="connsiteY322" fmla="*/ 1094168 h 1410492"/>
                <a:gd name="connsiteX323" fmla="*/ 1132197 w 2048870"/>
                <a:gd name="connsiteY323" fmla="*/ 1088983 h 1410492"/>
                <a:gd name="connsiteX324" fmla="*/ 1166768 w 2048870"/>
                <a:gd name="connsiteY324" fmla="*/ 1083797 h 1410492"/>
                <a:gd name="connsiteX325" fmla="*/ 1175411 w 2048870"/>
                <a:gd name="connsiteY325" fmla="*/ 1073426 h 1410492"/>
                <a:gd name="connsiteX326" fmla="*/ 1177139 w 2048870"/>
                <a:gd name="connsiteY326" fmla="*/ 1061326 h 1410492"/>
                <a:gd name="connsiteX327" fmla="*/ 1170225 w 2048870"/>
                <a:gd name="connsiteY327" fmla="*/ 1047497 h 1410492"/>
                <a:gd name="connsiteX328" fmla="*/ 1163311 w 2048870"/>
                <a:gd name="connsiteY328" fmla="*/ 1050955 h 1410492"/>
                <a:gd name="connsiteX329" fmla="*/ 1166768 w 2048870"/>
                <a:gd name="connsiteY329" fmla="*/ 1068240 h 1410492"/>
                <a:gd name="connsiteX330" fmla="*/ 1170225 w 2048870"/>
                <a:gd name="connsiteY330" fmla="*/ 1076883 h 1410492"/>
                <a:gd name="connsiteX331" fmla="*/ 1182325 w 2048870"/>
                <a:gd name="connsiteY331" fmla="*/ 1080340 h 1410492"/>
                <a:gd name="connsiteX332" fmla="*/ 1206524 w 2048870"/>
                <a:gd name="connsiteY332" fmla="*/ 1078611 h 1410492"/>
                <a:gd name="connsiteX333" fmla="*/ 1211710 w 2048870"/>
                <a:gd name="connsiteY333" fmla="*/ 1073426 h 1410492"/>
                <a:gd name="connsiteX334" fmla="*/ 1218624 w 2048870"/>
                <a:gd name="connsiteY334" fmla="*/ 1057869 h 1410492"/>
                <a:gd name="connsiteX335" fmla="*/ 1220353 w 2048870"/>
                <a:gd name="connsiteY335" fmla="*/ 1044040 h 1410492"/>
                <a:gd name="connsiteX336" fmla="*/ 1218624 w 2048870"/>
                <a:gd name="connsiteY336" fmla="*/ 1014655 h 1410492"/>
                <a:gd name="connsiteX337" fmla="*/ 1211710 w 2048870"/>
                <a:gd name="connsiteY337" fmla="*/ 997370 h 1410492"/>
                <a:gd name="connsiteX338" fmla="*/ 1206524 w 2048870"/>
                <a:gd name="connsiteY338" fmla="*/ 993913 h 1410492"/>
                <a:gd name="connsiteX339" fmla="*/ 1184053 w 2048870"/>
                <a:gd name="connsiteY339" fmla="*/ 973170 h 1410492"/>
                <a:gd name="connsiteX340" fmla="*/ 1173682 w 2048870"/>
                <a:gd name="connsiteY340" fmla="*/ 962799 h 1410492"/>
                <a:gd name="connsiteX341" fmla="*/ 1168496 w 2048870"/>
                <a:gd name="connsiteY341" fmla="*/ 957613 h 1410492"/>
                <a:gd name="connsiteX342" fmla="*/ 1171954 w 2048870"/>
                <a:gd name="connsiteY342" fmla="*/ 961070 h 1410492"/>
                <a:gd name="connsiteX343" fmla="*/ 1178868 w 2048870"/>
                <a:gd name="connsiteY343" fmla="*/ 971441 h 1410492"/>
                <a:gd name="connsiteX344" fmla="*/ 1185782 w 2048870"/>
                <a:gd name="connsiteY344" fmla="*/ 980084 h 1410492"/>
                <a:gd name="connsiteX345" fmla="*/ 1190968 w 2048870"/>
                <a:gd name="connsiteY345" fmla="*/ 985270 h 1410492"/>
                <a:gd name="connsiteX346" fmla="*/ 1194425 w 2048870"/>
                <a:gd name="connsiteY346" fmla="*/ 993913 h 1410492"/>
                <a:gd name="connsiteX347" fmla="*/ 1206524 w 2048870"/>
                <a:gd name="connsiteY347" fmla="*/ 1007741 h 1410492"/>
                <a:gd name="connsiteX348" fmla="*/ 1208253 w 2048870"/>
                <a:gd name="connsiteY348" fmla="*/ 1014655 h 1410492"/>
                <a:gd name="connsiteX349" fmla="*/ 1211710 w 2048870"/>
                <a:gd name="connsiteY349" fmla="*/ 1023298 h 1410492"/>
                <a:gd name="connsiteX350" fmla="*/ 1213439 w 2048870"/>
                <a:gd name="connsiteY350" fmla="*/ 1035398 h 1410492"/>
                <a:gd name="connsiteX351" fmla="*/ 1215167 w 2048870"/>
                <a:gd name="connsiteY351" fmla="*/ 1044040 h 1410492"/>
                <a:gd name="connsiteX352" fmla="*/ 1220353 w 2048870"/>
                <a:gd name="connsiteY352" fmla="*/ 1045769 h 1410492"/>
                <a:gd name="connsiteX353" fmla="*/ 1223810 w 2048870"/>
                <a:gd name="connsiteY353" fmla="*/ 1050955 h 1410492"/>
                <a:gd name="connsiteX354" fmla="*/ 1234181 w 2048870"/>
                <a:gd name="connsiteY354" fmla="*/ 1063054 h 1410492"/>
                <a:gd name="connsiteX355" fmla="*/ 1253195 w 2048870"/>
                <a:gd name="connsiteY355" fmla="*/ 1057869 h 1410492"/>
                <a:gd name="connsiteX356" fmla="*/ 1258381 w 2048870"/>
                <a:gd name="connsiteY356" fmla="*/ 1054412 h 1410492"/>
                <a:gd name="connsiteX357" fmla="*/ 1265295 w 2048870"/>
                <a:gd name="connsiteY357" fmla="*/ 1050955 h 1410492"/>
                <a:gd name="connsiteX358" fmla="*/ 1267023 w 2048870"/>
                <a:gd name="connsiteY358" fmla="*/ 1056140 h 1410492"/>
                <a:gd name="connsiteX359" fmla="*/ 1268752 w 2048870"/>
                <a:gd name="connsiteY359" fmla="*/ 1068240 h 1410492"/>
                <a:gd name="connsiteX360" fmla="*/ 1279123 w 2048870"/>
                <a:gd name="connsiteY360" fmla="*/ 1064783 h 1410492"/>
                <a:gd name="connsiteX361" fmla="*/ 1289495 w 2048870"/>
                <a:gd name="connsiteY361" fmla="*/ 1056140 h 1410492"/>
                <a:gd name="connsiteX362" fmla="*/ 1299866 w 2048870"/>
                <a:gd name="connsiteY362" fmla="*/ 1045769 h 1410492"/>
                <a:gd name="connsiteX363" fmla="*/ 1305051 w 2048870"/>
                <a:gd name="connsiteY363" fmla="*/ 1042312 h 1410492"/>
                <a:gd name="connsiteX364" fmla="*/ 1294680 w 2048870"/>
                <a:gd name="connsiteY364" fmla="*/ 1061326 h 1410492"/>
                <a:gd name="connsiteX365" fmla="*/ 1286037 w 2048870"/>
                <a:gd name="connsiteY365" fmla="*/ 1075154 h 1410492"/>
                <a:gd name="connsiteX366" fmla="*/ 1272209 w 2048870"/>
                <a:gd name="connsiteY366" fmla="*/ 1082068 h 1410492"/>
                <a:gd name="connsiteX367" fmla="*/ 1265295 w 2048870"/>
                <a:gd name="connsiteY367" fmla="*/ 1085525 h 1410492"/>
                <a:gd name="connsiteX368" fmla="*/ 1260109 w 2048870"/>
                <a:gd name="connsiteY368" fmla="*/ 1087254 h 1410492"/>
                <a:gd name="connsiteX369" fmla="*/ 1251467 w 2048870"/>
                <a:gd name="connsiteY369" fmla="*/ 1092440 h 1410492"/>
                <a:gd name="connsiteX370" fmla="*/ 1232453 w 2048870"/>
                <a:gd name="connsiteY370" fmla="*/ 1095897 h 1410492"/>
                <a:gd name="connsiteX371" fmla="*/ 1230724 w 2048870"/>
                <a:gd name="connsiteY371" fmla="*/ 1121825 h 1410492"/>
                <a:gd name="connsiteX372" fmla="*/ 1223810 w 2048870"/>
                <a:gd name="connsiteY372" fmla="*/ 1128739 h 1410492"/>
                <a:gd name="connsiteX373" fmla="*/ 1216896 w 2048870"/>
                <a:gd name="connsiteY373" fmla="*/ 1130468 h 1410492"/>
                <a:gd name="connsiteX374" fmla="*/ 1248009 w 2048870"/>
                <a:gd name="connsiteY374" fmla="*/ 1123553 h 1410492"/>
                <a:gd name="connsiteX375" fmla="*/ 1275666 w 2048870"/>
                <a:gd name="connsiteY375" fmla="*/ 1125282 h 1410492"/>
                <a:gd name="connsiteX376" fmla="*/ 1282580 w 2048870"/>
                <a:gd name="connsiteY376" fmla="*/ 1128739 h 1410492"/>
                <a:gd name="connsiteX377" fmla="*/ 1318880 w 2048870"/>
                <a:gd name="connsiteY377" fmla="*/ 1127010 h 1410492"/>
                <a:gd name="connsiteX378" fmla="*/ 1330980 w 2048870"/>
                <a:gd name="connsiteY378" fmla="*/ 1123553 h 1410492"/>
                <a:gd name="connsiteX379" fmla="*/ 1339622 w 2048870"/>
                <a:gd name="connsiteY379" fmla="*/ 1118368 h 1410492"/>
                <a:gd name="connsiteX380" fmla="*/ 1356908 w 2048870"/>
                <a:gd name="connsiteY380" fmla="*/ 1123553 h 1410492"/>
                <a:gd name="connsiteX381" fmla="*/ 1384564 w 2048870"/>
                <a:gd name="connsiteY381" fmla="*/ 1114911 h 1410492"/>
                <a:gd name="connsiteX382" fmla="*/ 1391479 w 2048870"/>
                <a:gd name="connsiteY382" fmla="*/ 1109725 h 1410492"/>
                <a:gd name="connsiteX383" fmla="*/ 1400121 w 2048870"/>
                <a:gd name="connsiteY383" fmla="*/ 1095897 h 1410492"/>
                <a:gd name="connsiteX384" fmla="*/ 1403578 w 2048870"/>
                <a:gd name="connsiteY384" fmla="*/ 1090711 h 1410492"/>
                <a:gd name="connsiteX385" fmla="*/ 1408764 w 2048870"/>
                <a:gd name="connsiteY385" fmla="*/ 1088983 h 1410492"/>
                <a:gd name="connsiteX386" fmla="*/ 1415678 w 2048870"/>
                <a:gd name="connsiteY386" fmla="*/ 1097625 h 1410492"/>
                <a:gd name="connsiteX387" fmla="*/ 1419135 w 2048870"/>
                <a:gd name="connsiteY387" fmla="*/ 1104539 h 1410492"/>
                <a:gd name="connsiteX388" fmla="*/ 1424321 w 2048870"/>
                <a:gd name="connsiteY388" fmla="*/ 1111454 h 1410492"/>
                <a:gd name="connsiteX389" fmla="*/ 1434692 w 2048870"/>
                <a:gd name="connsiteY389" fmla="*/ 1109725 h 1410492"/>
                <a:gd name="connsiteX390" fmla="*/ 1438149 w 2048870"/>
                <a:gd name="connsiteY390" fmla="*/ 1101082 h 1410492"/>
                <a:gd name="connsiteX391" fmla="*/ 1446792 w 2048870"/>
                <a:gd name="connsiteY391" fmla="*/ 1076883 h 1410492"/>
                <a:gd name="connsiteX392" fmla="*/ 1455435 w 2048870"/>
                <a:gd name="connsiteY392" fmla="*/ 1082068 h 1410492"/>
                <a:gd name="connsiteX393" fmla="*/ 1457163 w 2048870"/>
                <a:gd name="connsiteY393" fmla="*/ 1097625 h 1410492"/>
                <a:gd name="connsiteX394" fmla="*/ 1462349 w 2048870"/>
                <a:gd name="connsiteY394" fmla="*/ 1104539 h 1410492"/>
                <a:gd name="connsiteX395" fmla="*/ 1464078 w 2048870"/>
                <a:gd name="connsiteY395" fmla="*/ 1116639 h 1410492"/>
                <a:gd name="connsiteX396" fmla="*/ 1450249 w 2048870"/>
                <a:gd name="connsiteY396" fmla="*/ 1132196 h 1410492"/>
                <a:gd name="connsiteX397" fmla="*/ 1436421 w 2048870"/>
                <a:gd name="connsiteY397" fmla="*/ 1149482 h 1410492"/>
                <a:gd name="connsiteX398" fmla="*/ 1427778 w 2048870"/>
                <a:gd name="connsiteY398" fmla="*/ 1158124 h 1410492"/>
                <a:gd name="connsiteX399" fmla="*/ 1415678 w 2048870"/>
                <a:gd name="connsiteY399" fmla="*/ 1163310 h 1410492"/>
                <a:gd name="connsiteX400" fmla="*/ 1400121 w 2048870"/>
                <a:gd name="connsiteY400" fmla="*/ 1171953 h 1410492"/>
                <a:gd name="connsiteX401" fmla="*/ 1398393 w 2048870"/>
                <a:gd name="connsiteY401" fmla="*/ 1177138 h 1410492"/>
                <a:gd name="connsiteX402" fmla="*/ 1389750 w 2048870"/>
                <a:gd name="connsiteY402" fmla="*/ 1189238 h 1410492"/>
                <a:gd name="connsiteX403" fmla="*/ 1384564 w 2048870"/>
                <a:gd name="connsiteY403" fmla="*/ 1197881 h 1410492"/>
                <a:gd name="connsiteX404" fmla="*/ 1382836 w 2048870"/>
                <a:gd name="connsiteY404" fmla="*/ 1203066 h 1410492"/>
                <a:gd name="connsiteX405" fmla="*/ 1374193 w 2048870"/>
                <a:gd name="connsiteY405" fmla="*/ 1211709 h 1410492"/>
                <a:gd name="connsiteX406" fmla="*/ 1369008 w 2048870"/>
                <a:gd name="connsiteY406" fmla="*/ 1216895 h 1410492"/>
                <a:gd name="connsiteX407" fmla="*/ 1356908 w 2048870"/>
                <a:gd name="connsiteY407" fmla="*/ 1230723 h 1410492"/>
                <a:gd name="connsiteX408" fmla="*/ 1351722 w 2048870"/>
                <a:gd name="connsiteY408" fmla="*/ 1237637 h 1410492"/>
                <a:gd name="connsiteX409" fmla="*/ 1349994 w 2048870"/>
                <a:gd name="connsiteY409" fmla="*/ 1242823 h 1410492"/>
                <a:gd name="connsiteX410" fmla="*/ 1344808 w 2048870"/>
                <a:gd name="connsiteY410" fmla="*/ 1253194 h 1410492"/>
                <a:gd name="connsiteX411" fmla="*/ 1377650 w 2048870"/>
                <a:gd name="connsiteY411" fmla="*/ 1253194 h 1410492"/>
                <a:gd name="connsiteX412" fmla="*/ 1386293 w 2048870"/>
                <a:gd name="connsiteY412" fmla="*/ 1246280 h 1410492"/>
                <a:gd name="connsiteX413" fmla="*/ 1391479 w 2048870"/>
                <a:gd name="connsiteY413" fmla="*/ 1244552 h 1410492"/>
                <a:gd name="connsiteX414" fmla="*/ 1412221 w 2048870"/>
                <a:gd name="connsiteY414" fmla="*/ 1248009 h 1410492"/>
                <a:gd name="connsiteX415" fmla="*/ 1415678 w 2048870"/>
                <a:gd name="connsiteY415" fmla="*/ 1253194 h 1410492"/>
                <a:gd name="connsiteX416" fmla="*/ 1426050 w 2048870"/>
                <a:gd name="connsiteY416" fmla="*/ 1260108 h 1410492"/>
                <a:gd name="connsiteX417" fmla="*/ 1451978 w 2048870"/>
                <a:gd name="connsiteY417" fmla="*/ 1258380 h 1410492"/>
                <a:gd name="connsiteX418" fmla="*/ 1457163 w 2048870"/>
                <a:gd name="connsiteY418" fmla="*/ 1253194 h 1410492"/>
                <a:gd name="connsiteX419" fmla="*/ 1465806 w 2048870"/>
                <a:gd name="connsiteY419" fmla="*/ 1248009 h 1410492"/>
                <a:gd name="connsiteX420" fmla="*/ 1483092 w 2048870"/>
                <a:gd name="connsiteY420" fmla="*/ 1249737 h 1410492"/>
                <a:gd name="connsiteX421" fmla="*/ 1491734 w 2048870"/>
                <a:gd name="connsiteY421" fmla="*/ 1258380 h 1410492"/>
                <a:gd name="connsiteX422" fmla="*/ 1502106 w 2048870"/>
                <a:gd name="connsiteY422" fmla="*/ 1272208 h 1410492"/>
                <a:gd name="connsiteX423" fmla="*/ 1503834 w 2048870"/>
                <a:gd name="connsiteY423" fmla="*/ 1289494 h 1410492"/>
                <a:gd name="connsiteX424" fmla="*/ 1514205 w 2048870"/>
                <a:gd name="connsiteY424" fmla="*/ 1301593 h 1410492"/>
                <a:gd name="connsiteX425" fmla="*/ 1517662 w 2048870"/>
                <a:gd name="connsiteY425" fmla="*/ 1306779 h 1410492"/>
                <a:gd name="connsiteX426" fmla="*/ 1515934 w 2048870"/>
                <a:gd name="connsiteY426" fmla="*/ 1355178 h 1410492"/>
                <a:gd name="connsiteX427" fmla="*/ 1509020 w 2048870"/>
                <a:gd name="connsiteY427" fmla="*/ 1360364 h 1410492"/>
                <a:gd name="connsiteX428" fmla="*/ 1503834 w 2048870"/>
                <a:gd name="connsiteY428" fmla="*/ 1370735 h 1410492"/>
                <a:gd name="connsiteX429" fmla="*/ 1534948 w 2048870"/>
                <a:gd name="connsiteY429" fmla="*/ 1374192 h 1410492"/>
                <a:gd name="connsiteX430" fmla="*/ 1540133 w 2048870"/>
                <a:gd name="connsiteY430" fmla="*/ 1377649 h 1410492"/>
                <a:gd name="connsiteX431" fmla="*/ 1559147 w 2048870"/>
                <a:gd name="connsiteY431" fmla="*/ 1375921 h 1410492"/>
                <a:gd name="connsiteX432" fmla="*/ 1564333 w 2048870"/>
                <a:gd name="connsiteY432" fmla="*/ 1372464 h 1410492"/>
                <a:gd name="connsiteX433" fmla="*/ 1579890 w 2048870"/>
                <a:gd name="connsiteY433" fmla="*/ 1370735 h 1410492"/>
                <a:gd name="connsiteX434" fmla="*/ 1597175 w 2048870"/>
                <a:gd name="connsiteY434" fmla="*/ 1363821 h 1410492"/>
                <a:gd name="connsiteX435" fmla="*/ 1600633 w 2048870"/>
                <a:gd name="connsiteY435" fmla="*/ 1360364 h 1410492"/>
                <a:gd name="connsiteX436" fmla="*/ 1612732 w 2048870"/>
                <a:gd name="connsiteY436" fmla="*/ 1341350 h 1410492"/>
                <a:gd name="connsiteX437" fmla="*/ 1617918 w 2048870"/>
                <a:gd name="connsiteY437" fmla="*/ 1305051 h 1410492"/>
                <a:gd name="connsiteX438" fmla="*/ 1623104 w 2048870"/>
                <a:gd name="connsiteY438" fmla="*/ 1301593 h 1410492"/>
                <a:gd name="connsiteX439" fmla="*/ 1624832 w 2048870"/>
                <a:gd name="connsiteY439" fmla="*/ 1284308 h 1410492"/>
                <a:gd name="connsiteX440" fmla="*/ 1631746 w 2048870"/>
                <a:gd name="connsiteY440" fmla="*/ 1270480 h 1410492"/>
                <a:gd name="connsiteX441" fmla="*/ 1643846 w 2048870"/>
                <a:gd name="connsiteY441" fmla="*/ 1263565 h 1410492"/>
                <a:gd name="connsiteX442" fmla="*/ 1669774 w 2048870"/>
                <a:gd name="connsiteY442" fmla="*/ 1260108 h 1410492"/>
                <a:gd name="connsiteX443" fmla="*/ 1681874 w 2048870"/>
                <a:gd name="connsiteY443" fmla="*/ 1254923 h 1410492"/>
                <a:gd name="connsiteX444" fmla="*/ 1687060 w 2048870"/>
                <a:gd name="connsiteY444" fmla="*/ 1253194 h 1410492"/>
                <a:gd name="connsiteX445" fmla="*/ 1702617 w 2048870"/>
                <a:gd name="connsiteY445" fmla="*/ 1249737 h 1410492"/>
                <a:gd name="connsiteX446" fmla="*/ 1704345 w 2048870"/>
                <a:gd name="connsiteY446" fmla="*/ 1232452 h 1410492"/>
                <a:gd name="connsiteX447" fmla="*/ 1706074 w 2048870"/>
                <a:gd name="connsiteY447" fmla="*/ 1208252 h 1410492"/>
                <a:gd name="connsiteX448" fmla="*/ 1711259 w 2048870"/>
                <a:gd name="connsiteY448" fmla="*/ 1201338 h 1410492"/>
                <a:gd name="connsiteX449" fmla="*/ 1718174 w 2048870"/>
                <a:gd name="connsiteY449" fmla="*/ 1192695 h 1410492"/>
                <a:gd name="connsiteX450" fmla="*/ 1725088 w 2048870"/>
                <a:gd name="connsiteY450" fmla="*/ 1189238 h 1410492"/>
                <a:gd name="connsiteX451" fmla="*/ 1735459 w 2048870"/>
                <a:gd name="connsiteY451" fmla="*/ 1184052 h 1410492"/>
                <a:gd name="connsiteX452" fmla="*/ 1773487 w 2048870"/>
                <a:gd name="connsiteY452" fmla="*/ 1189238 h 1410492"/>
                <a:gd name="connsiteX453" fmla="*/ 1778673 w 2048870"/>
                <a:gd name="connsiteY453" fmla="*/ 1194424 h 1410492"/>
                <a:gd name="connsiteX454" fmla="*/ 1808058 w 2048870"/>
                <a:gd name="connsiteY454" fmla="*/ 1187510 h 1410492"/>
                <a:gd name="connsiteX455" fmla="*/ 1811515 w 2048870"/>
                <a:gd name="connsiteY455" fmla="*/ 1180595 h 1410492"/>
                <a:gd name="connsiteX456" fmla="*/ 1818429 w 2048870"/>
                <a:gd name="connsiteY456" fmla="*/ 1171953 h 1410492"/>
                <a:gd name="connsiteX457" fmla="*/ 1825343 w 2048870"/>
                <a:gd name="connsiteY457" fmla="*/ 1158124 h 1410492"/>
                <a:gd name="connsiteX458" fmla="*/ 1827072 w 2048870"/>
                <a:gd name="connsiteY458" fmla="*/ 1151210 h 1410492"/>
                <a:gd name="connsiteX459" fmla="*/ 1833986 w 2048870"/>
                <a:gd name="connsiteY459" fmla="*/ 1133925 h 1410492"/>
                <a:gd name="connsiteX460" fmla="*/ 1820158 w 2048870"/>
                <a:gd name="connsiteY460" fmla="*/ 1128739 h 1410492"/>
                <a:gd name="connsiteX461" fmla="*/ 1816701 w 2048870"/>
                <a:gd name="connsiteY461" fmla="*/ 1123553 h 1410492"/>
                <a:gd name="connsiteX462" fmla="*/ 1820158 w 2048870"/>
                <a:gd name="connsiteY462" fmla="*/ 1118368 h 1410492"/>
                <a:gd name="connsiteX463" fmla="*/ 1825343 w 2048870"/>
                <a:gd name="connsiteY463" fmla="*/ 1111454 h 1410492"/>
                <a:gd name="connsiteX464" fmla="*/ 1828800 w 2048870"/>
                <a:gd name="connsiteY464" fmla="*/ 1099354 h 1410492"/>
                <a:gd name="connsiteX465" fmla="*/ 1832257 w 2048870"/>
                <a:gd name="connsiteY465" fmla="*/ 1094168 h 1410492"/>
                <a:gd name="connsiteX466" fmla="*/ 1830529 w 2048870"/>
                <a:gd name="connsiteY466" fmla="*/ 1083797 h 1410492"/>
                <a:gd name="connsiteX467" fmla="*/ 1816701 w 2048870"/>
                <a:gd name="connsiteY467" fmla="*/ 1087254 h 1410492"/>
                <a:gd name="connsiteX468" fmla="*/ 1789044 w 2048870"/>
                <a:gd name="connsiteY468" fmla="*/ 1092440 h 1410492"/>
                <a:gd name="connsiteX469" fmla="*/ 1778673 w 2048870"/>
                <a:gd name="connsiteY469" fmla="*/ 1095897 h 1410492"/>
                <a:gd name="connsiteX470" fmla="*/ 1771758 w 2048870"/>
                <a:gd name="connsiteY470" fmla="*/ 1099354 h 1410492"/>
                <a:gd name="connsiteX471" fmla="*/ 1766573 w 2048870"/>
                <a:gd name="connsiteY471" fmla="*/ 1116639 h 1410492"/>
                <a:gd name="connsiteX472" fmla="*/ 1756202 w 2048870"/>
                <a:gd name="connsiteY472" fmla="*/ 1118368 h 1410492"/>
                <a:gd name="connsiteX473" fmla="*/ 1738916 w 2048870"/>
                <a:gd name="connsiteY473" fmla="*/ 1130468 h 1410492"/>
                <a:gd name="connsiteX474" fmla="*/ 1718174 w 2048870"/>
                <a:gd name="connsiteY474" fmla="*/ 1140839 h 1410492"/>
                <a:gd name="connsiteX475" fmla="*/ 1709531 w 2048870"/>
                <a:gd name="connsiteY475" fmla="*/ 1146024 h 1410492"/>
                <a:gd name="connsiteX476" fmla="*/ 1707802 w 2048870"/>
                <a:gd name="connsiteY476" fmla="*/ 1151210 h 1410492"/>
                <a:gd name="connsiteX477" fmla="*/ 1700888 w 2048870"/>
                <a:gd name="connsiteY477" fmla="*/ 1154667 h 1410492"/>
                <a:gd name="connsiteX478" fmla="*/ 1647303 w 2048870"/>
                <a:gd name="connsiteY478" fmla="*/ 1152939 h 1410492"/>
                <a:gd name="connsiteX479" fmla="*/ 1650760 w 2048870"/>
                <a:gd name="connsiteY479" fmla="*/ 1142567 h 1410492"/>
                <a:gd name="connsiteX480" fmla="*/ 1649032 w 2048870"/>
                <a:gd name="connsiteY480" fmla="*/ 1120096 h 1410492"/>
                <a:gd name="connsiteX481" fmla="*/ 1598904 w 2048870"/>
                <a:gd name="connsiteY481" fmla="*/ 1114911 h 1410492"/>
                <a:gd name="connsiteX482" fmla="*/ 1591990 w 2048870"/>
                <a:gd name="connsiteY482" fmla="*/ 1113182 h 1410492"/>
                <a:gd name="connsiteX483" fmla="*/ 1564333 w 2048870"/>
                <a:gd name="connsiteY483" fmla="*/ 1109725 h 1410492"/>
                <a:gd name="connsiteX484" fmla="*/ 1553962 w 2048870"/>
                <a:gd name="connsiteY484" fmla="*/ 1101082 h 1410492"/>
                <a:gd name="connsiteX485" fmla="*/ 1543591 w 2048870"/>
                <a:gd name="connsiteY485" fmla="*/ 1092440 h 1410492"/>
                <a:gd name="connsiteX486" fmla="*/ 1526305 w 2048870"/>
                <a:gd name="connsiteY486" fmla="*/ 1090711 h 1410492"/>
                <a:gd name="connsiteX487" fmla="*/ 1514205 w 2048870"/>
                <a:gd name="connsiteY487" fmla="*/ 1085525 h 1410492"/>
                <a:gd name="connsiteX488" fmla="*/ 1512477 w 2048870"/>
                <a:gd name="connsiteY488" fmla="*/ 1092440 h 1410492"/>
                <a:gd name="connsiteX489" fmla="*/ 1507291 w 2048870"/>
                <a:gd name="connsiteY489" fmla="*/ 1085525 h 1410492"/>
                <a:gd name="connsiteX490" fmla="*/ 1496920 w 2048870"/>
                <a:gd name="connsiteY490" fmla="*/ 1075154 h 1410492"/>
                <a:gd name="connsiteX491" fmla="*/ 1445064 w 2048870"/>
                <a:gd name="connsiteY491" fmla="*/ 1076883 h 1410492"/>
                <a:gd name="connsiteX492" fmla="*/ 1439878 w 2048870"/>
                <a:gd name="connsiteY492" fmla="*/ 1080340 h 1410492"/>
                <a:gd name="connsiteX493" fmla="*/ 1438149 w 2048870"/>
                <a:gd name="connsiteY493" fmla="*/ 1085525 h 1410492"/>
                <a:gd name="connsiteX494" fmla="*/ 1451978 w 2048870"/>
                <a:gd name="connsiteY494" fmla="*/ 1071697 h 1410492"/>
                <a:gd name="connsiteX495" fmla="*/ 1458892 w 2048870"/>
                <a:gd name="connsiteY495" fmla="*/ 1064783 h 1410492"/>
                <a:gd name="connsiteX496" fmla="*/ 1464078 w 2048870"/>
                <a:gd name="connsiteY496" fmla="*/ 1059597 h 1410492"/>
                <a:gd name="connsiteX497" fmla="*/ 1479634 w 2048870"/>
                <a:gd name="connsiteY497" fmla="*/ 1064783 h 1410492"/>
                <a:gd name="connsiteX498" fmla="*/ 1490006 w 2048870"/>
                <a:gd name="connsiteY498" fmla="*/ 1071697 h 1410492"/>
                <a:gd name="connsiteX499" fmla="*/ 1498648 w 2048870"/>
                <a:gd name="connsiteY499" fmla="*/ 1068240 h 1410492"/>
                <a:gd name="connsiteX500" fmla="*/ 1500377 w 2048870"/>
                <a:gd name="connsiteY500" fmla="*/ 1063054 h 1410492"/>
                <a:gd name="connsiteX501" fmla="*/ 1503834 w 2048870"/>
                <a:gd name="connsiteY501" fmla="*/ 1057869 h 1410492"/>
                <a:gd name="connsiteX502" fmla="*/ 1507291 w 2048870"/>
                <a:gd name="connsiteY502" fmla="*/ 1045769 h 1410492"/>
                <a:gd name="connsiteX503" fmla="*/ 1540133 w 2048870"/>
                <a:gd name="connsiteY503" fmla="*/ 1044040 h 1410492"/>
                <a:gd name="connsiteX504" fmla="*/ 1557419 w 2048870"/>
                <a:gd name="connsiteY504" fmla="*/ 1059597 h 1410492"/>
                <a:gd name="connsiteX505" fmla="*/ 1560876 w 2048870"/>
                <a:gd name="connsiteY505" fmla="*/ 1073426 h 1410492"/>
                <a:gd name="connsiteX506" fmla="*/ 1564333 w 2048870"/>
                <a:gd name="connsiteY506" fmla="*/ 1087254 h 1410492"/>
                <a:gd name="connsiteX507" fmla="*/ 1566062 w 2048870"/>
                <a:gd name="connsiteY507" fmla="*/ 1094168 h 1410492"/>
                <a:gd name="connsiteX508" fmla="*/ 1569519 w 2048870"/>
                <a:gd name="connsiteY508" fmla="*/ 1099354 h 1410492"/>
                <a:gd name="connsiteX509" fmla="*/ 1576433 w 2048870"/>
                <a:gd name="connsiteY509" fmla="*/ 1037126 h 1410492"/>
                <a:gd name="connsiteX510" fmla="*/ 1588533 w 2048870"/>
                <a:gd name="connsiteY510" fmla="*/ 1052683 h 1410492"/>
                <a:gd name="connsiteX511" fmla="*/ 1591990 w 2048870"/>
                <a:gd name="connsiteY511" fmla="*/ 1069969 h 1410492"/>
                <a:gd name="connsiteX512" fmla="*/ 1607547 w 2048870"/>
                <a:gd name="connsiteY512" fmla="*/ 1080340 h 1410492"/>
                <a:gd name="connsiteX513" fmla="*/ 1612732 w 2048870"/>
                <a:gd name="connsiteY513" fmla="*/ 1083797 h 1410492"/>
                <a:gd name="connsiteX514" fmla="*/ 1621375 w 2048870"/>
                <a:gd name="connsiteY514" fmla="*/ 1085525 h 1410492"/>
                <a:gd name="connsiteX515" fmla="*/ 1633475 w 2048870"/>
                <a:gd name="connsiteY515" fmla="*/ 1092440 h 1410492"/>
                <a:gd name="connsiteX516" fmla="*/ 1640389 w 2048870"/>
                <a:gd name="connsiteY516" fmla="*/ 1095897 h 1410492"/>
                <a:gd name="connsiteX517" fmla="*/ 1649032 w 2048870"/>
                <a:gd name="connsiteY517" fmla="*/ 1109725 h 1410492"/>
                <a:gd name="connsiteX518" fmla="*/ 1659403 w 2048870"/>
                <a:gd name="connsiteY518" fmla="*/ 1113182 h 1410492"/>
                <a:gd name="connsiteX519" fmla="*/ 1669774 w 2048870"/>
                <a:gd name="connsiteY519" fmla="*/ 1118368 h 1410492"/>
                <a:gd name="connsiteX520" fmla="*/ 1680146 w 2048870"/>
                <a:gd name="connsiteY520" fmla="*/ 1125282 h 1410492"/>
                <a:gd name="connsiteX521" fmla="*/ 1699160 w 2048870"/>
                <a:gd name="connsiteY521" fmla="*/ 1139110 h 1410492"/>
                <a:gd name="connsiteX522" fmla="*/ 1712988 w 2048870"/>
                <a:gd name="connsiteY522" fmla="*/ 1142567 h 1410492"/>
                <a:gd name="connsiteX523" fmla="*/ 1704345 w 2048870"/>
                <a:gd name="connsiteY523" fmla="*/ 1137382 h 1410492"/>
                <a:gd name="connsiteX524" fmla="*/ 1699160 w 2048870"/>
                <a:gd name="connsiteY524" fmla="*/ 1132196 h 1410492"/>
                <a:gd name="connsiteX525" fmla="*/ 1688788 w 2048870"/>
                <a:gd name="connsiteY525" fmla="*/ 1128739 h 1410492"/>
                <a:gd name="connsiteX526" fmla="*/ 1674960 w 2048870"/>
                <a:gd name="connsiteY526" fmla="*/ 1125282 h 1410492"/>
                <a:gd name="connsiteX527" fmla="*/ 1659403 w 2048870"/>
                <a:gd name="connsiteY527" fmla="*/ 1121825 h 1410492"/>
                <a:gd name="connsiteX528" fmla="*/ 1650760 w 2048870"/>
                <a:gd name="connsiteY528" fmla="*/ 1116639 h 1410492"/>
                <a:gd name="connsiteX529" fmla="*/ 1645575 w 2048870"/>
                <a:gd name="connsiteY529" fmla="*/ 1113182 h 1410492"/>
                <a:gd name="connsiteX530" fmla="*/ 1642118 w 2048870"/>
                <a:gd name="connsiteY530" fmla="*/ 1107996 h 1410492"/>
                <a:gd name="connsiteX531" fmla="*/ 1628289 w 2048870"/>
                <a:gd name="connsiteY531" fmla="*/ 1088983 h 1410492"/>
                <a:gd name="connsiteX532" fmla="*/ 1626561 w 2048870"/>
                <a:gd name="connsiteY532" fmla="*/ 1083797 h 1410492"/>
                <a:gd name="connsiteX533" fmla="*/ 1619647 w 2048870"/>
                <a:gd name="connsiteY533" fmla="*/ 1075154 h 1410492"/>
                <a:gd name="connsiteX534" fmla="*/ 1616189 w 2048870"/>
                <a:gd name="connsiteY534" fmla="*/ 1061326 h 1410492"/>
                <a:gd name="connsiteX535" fmla="*/ 1614461 w 2048870"/>
                <a:gd name="connsiteY535" fmla="*/ 1056140 h 1410492"/>
                <a:gd name="connsiteX536" fmla="*/ 1604090 w 2048870"/>
                <a:gd name="connsiteY536" fmla="*/ 1038855 h 1410492"/>
                <a:gd name="connsiteX537" fmla="*/ 1598904 w 2048870"/>
                <a:gd name="connsiteY537" fmla="*/ 1037126 h 1410492"/>
                <a:gd name="connsiteX538" fmla="*/ 1593718 w 2048870"/>
                <a:gd name="connsiteY538" fmla="*/ 1030212 h 1410492"/>
                <a:gd name="connsiteX539" fmla="*/ 1585076 w 2048870"/>
                <a:gd name="connsiteY539" fmla="*/ 1019841 h 1410492"/>
                <a:gd name="connsiteX540" fmla="*/ 1590261 w 2048870"/>
                <a:gd name="connsiteY540" fmla="*/ 1000827 h 1410492"/>
                <a:gd name="connsiteX541" fmla="*/ 1598904 w 2048870"/>
                <a:gd name="connsiteY541" fmla="*/ 999098 h 1410492"/>
                <a:gd name="connsiteX542" fmla="*/ 1611004 w 2048870"/>
                <a:gd name="connsiteY542" fmla="*/ 990455 h 1410492"/>
                <a:gd name="connsiteX543" fmla="*/ 1617918 w 2048870"/>
                <a:gd name="connsiteY543" fmla="*/ 985270 h 1410492"/>
                <a:gd name="connsiteX544" fmla="*/ 1616189 w 2048870"/>
                <a:gd name="connsiteY544" fmla="*/ 1021569 h 1410492"/>
                <a:gd name="connsiteX545" fmla="*/ 1612732 w 2048870"/>
                <a:gd name="connsiteY545" fmla="*/ 1028483 h 1410492"/>
                <a:gd name="connsiteX546" fmla="*/ 1607547 w 2048870"/>
                <a:gd name="connsiteY546" fmla="*/ 1035398 h 1410492"/>
                <a:gd name="connsiteX547" fmla="*/ 1612732 w 2048870"/>
                <a:gd name="connsiteY547" fmla="*/ 1031941 h 1410492"/>
                <a:gd name="connsiteX548" fmla="*/ 1621375 w 2048870"/>
                <a:gd name="connsiteY548" fmla="*/ 1016384 h 1410492"/>
                <a:gd name="connsiteX549" fmla="*/ 1626561 w 2048870"/>
                <a:gd name="connsiteY549" fmla="*/ 997370 h 1410492"/>
                <a:gd name="connsiteX550" fmla="*/ 1626561 w 2048870"/>
                <a:gd name="connsiteY550" fmla="*/ 976627 h 1410492"/>
                <a:gd name="connsiteX551" fmla="*/ 1619647 w 2048870"/>
                <a:gd name="connsiteY551" fmla="*/ 962799 h 1410492"/>
                <a:gd name="connsiteX552" fmla="*/ 1626561 w 2048870"/>
                <a:gd name="connsiteY552" fmla="*/ 966256 h 1410492"/>
                <a:gd name="connsiteX553" fmla="*/ 1638661 w 2048870"/>
                <a:gd name="connsiteY553" fmla="*/ 969713 h 1410492"/>
                <a:gd name="connsiteX554" fmla="*/ 1645575 w 2048870"/>
                <a:gd name="connsiteY554" fmla="*/ 967984 h 1410492"/>
                <a:gd name="connsiteX555" fmla="*/ 1650760 w 2048870"/>
                <a:gd name="connsiteY555" fmla="*/ 955885 h 1410492"/>
                <a:gd name="connsiteX556" fmla="*/ 1659403 w 2048870"/>
                <a:gd name="connsiteY556" fmla="*/ 933414 h 1410492"/>
                <a:gd name="connsiteX557" fmla="*/ 1662860 w 2048870"/>
                <a:gd name="connsiteY557" fmla="*/ 929956 h 1410492"/>
                <a:gd name="connsiteX558" fmla="*/ 1664589 w 2048870"/>
                <a:gd name="connsiteY558" fmla="*/ 923042 h 1410492"/>
                <a:gd name="connsiteX559" fmla="*/ 1673231 w 2048870"/>
                <a:gd name="connsiteY559" fmla="*/ 893657 h 1410492"/>
                <a:gd name="connsiteX560" fmla="*/ 1687060 w 2048870"/>
                <a:gd name="connsiteY560" fmla="*/ 891928 h 1410492"/>
                <a:gd name="connsiteX561" fmla="*/ 1693974 w 2048870"/>
                <a:gd name="connsiteY561" fmla="*/ 890200 h 1410492"/>
                <a:gd name="connsiteX562" fmla="*/ 1700888 w 2048870"/>
                <a:gd name="connsiteY562" fmla="*/ 886743 h 1410492"/>
                <a:gd name="connsiteX563" fmla="*/ 1719902 w 2048870"/>
                <a:gd name="connsiteY563" fmla="*/ 878100 h 1410492"/>
                <a:gd name="connsiteX564" fmla="*/ 1726816 w 2048870"/>
                <a:gd name="connsiteY564" fmla="*/ 876372 h 1410492"/>
                <a:gd name="connsiteX565" fmla="*/ 1745830 w 2048870"/>
                <a:gd name="connsiteY565" fmla="*/ 860815 h 1410492"/>
                <a:gd name="connsiteX566" fmla="*/ 1751016 w 2048870"/>
                <a:gd name="connsiteY566" fmla="*/ 857358 h 1410492"/>
                <a:gd name="connsiteX567" fmla="*/ 1757930 w 2048870"/>
                <a:gd name="connsiteY567" fmla="*/ 855629 h 1410492"/>
                <a:gd name="connsiteX568" fmla="*/ 1764844 w 2048870"/>
                <a:gd name="connsiteY568" fmla="*/ 841801 h 1410492"/>
                <a:gd name="connsiteX569" fmla="*/ 1771758 w 2048870"/>
                <a:gd name="connsiteY569" fmla="*/ 836615 h 1410492"/>
                <a:gd name="connsiteX570" fmla="*/ 1776944 w 2048870"/>
                <a:gd name="connsiteY570" fmla="*/ 833158 h 1410492"/>
                <a:gd name="connsiteX571" fmla="*/ 1787315 w 2048870"/>
                <a:gd name="connsiteY571" fmla="*/ 831429 h 1410492"/>
                <a:gd name="connsiteX572" fmla="*/ 1795958 w 2048870"/>
                <a:gd name="connsiteY572" fmla="*/ 829701 h 1410492"/>
                <a:gd name="connsiteX573" fmla="*/ 1797687 w 2048870"/>
                <a:gd name="connsiteY573" fmla="*/ 824515 h 1410492"/>
                <a:gd name="connsiteX574" fmla="*/ 1825343 w 2048870"/>
                <a:gd name="connsiteY574" fmla="*/ 796859 h 1410492"/>
                <a:gd name="connsiteX575" fmla="*/ 1830529 w 2048870"/>
                <a:gd name="connsiteY575" fmla="*/ 776116 h 1410492"/>
                <a:gd name="connsiteX576" fmla="*/ 1835715 w 2048870"/>
                <a:gd name="connsiteY576" fmla="*/ 770930 h 1410492"/>
                <a:gd name="connsiteX577" fmla="*/ 1863371 w 2048870"/>
                <a:gd name="connsiteY577" fmla="*/ 760559 h 1410492"/>
                <a:gd name="connsiteX578" fmla="*/ 1868557 w 2048870"/>
                <a:gd name="connsiteY578" fmla="*/ 755373 h 1410492"/>
                <a:gd name="connsiteX579" fmla="*/ 1880657 w 2048870"/>
                <a:gd name="connsiteY579" fmla="*/ 753645 h 1410492"/>
                <a:gd name="connsiteX580" fmla="*/ 1889299 w 2048870"/>
                <a:gd name="connsiteY580" fmla="*/ 750188 h 1410492"/>
                <a:gd name="connsiteX581" fmla="*/ 1894485 w 2048870"/>
                <a:gd name="connsiteY581" fmla="*/ 731174 h 1410492"/>
                <a:gd name="connsiteX582" fmla="*/ 1910042 w 2048870"/>
                <a:gd name="connsiteY582" fmla="*/ 719074 h 1410492"/>
                <a:gd name="connsiteX583" fmla="*/ 1916956 w 2048870"/>
                <a:gd name="connsiteY583" fmla="*/ 710431 h 1410492"/>
                <a:gd name="connsiteX584" fmla="*/ 1908313 w 2048870"/>
                <a:gd name="connsiteY584" fmla="*/ 689689 h 1410492"/>
                <a:gd name="connsiteX585" fmla="*/ 1901399 w 2048870"/>
                <a:gd name="connsiteY585" fmla="*/ 675860 h 1410492"/>
                <a:gd name="connsiteX586" fmla="*/ 1897942 w 2048870"/>
                <a:gd name="connsiteY586" fmla="*/ 665489 h 1410492"/>
                <a:gd name="connsiteX587" fmla="*/ 1901399 w 2048870"/>
                <a:gd name="connsiteY587" fmla="*/ 651661 h 1410492"/>
                <a:gd name="connsiteX588" fmla="*/ 1897942 w 2048870"/>
                <a:gd name="connsiteY588" fmla="*/ 629190 h 1410492"/>
                <a:gd name="connsiteX589" fmla="*/ 1904856 w 2048870"/>
                <a:gd name="connsiteY589" fmla="*/ 624004 h 1410492"/>
                <a:gd name="connsiteX590" fmla="*/ 1910042 w 2048870"/>
                <a:gd name="connsiteY590" fmla="*/ 613633 h 1410492"/>
                <a:gd name="connsiteX591" fmla="*/ 1918685 w 2048870"/>
                <a:gd name="connsiteY591" fmla="*/ 608447 h 1410492"/>
                <a:gd name="connsiteX592" fmla="*/ 1925599 w 2048870"/>
                <a:gd name="connsiteY592" fmla="*/ 601533 h 1410492"/>
                <a:gd name="connsiteX593" fmla="*/ 1929056 w 2048870"/>
                <a:gd name="connsiteY593" fmla="*/ 587705 h 1410492"/>
                <a:gd name="connsiteX594" fmla="*/ 1932513 w 2048870"/>
                <a:gd name="connsiteY594" fmla="*/ 582519 h 1410492"/>
                <a:gd name="connsiteX595" fmla="*/ 1939427 w 2048870"/>
                <a:gd name="connsiteY595" fmla="*/ 565234 h 1410492"/>
                <a:gd name="connsiteX596" fmla="*/ 1963627 w 2048870"/>
                <a:gd name="connsiteY596" fmla="*/ 556591 h 1410492"/>
                <a:gd name="connsiteX597" fmla="*/ 1968812 w 2048870"/>
                <a:gd name="connsiteY597" fmla="*/ 547948 h 1410492"/>
                <a:gd name="connsiteX598" fmla="*/ 1986098 w 2048870"/>
                <a:gd name="connsiteY598" fmla="*/ 544491 h 1410492"/>
                <a:gd name="connsiteX599" fmla="*/ 2008569 w 2048870"/>
                <a:gd name="connsiteY599" fmla="*/ 539305 h 1410492"/>
                <a:gd name="connsiteX600" fmla="*/ 2017212 w 2048870"/>
                <a:gd name="connsiteY600" fmla="*/ 530663 h 1410492"/>
                <a:gd name="connsiteX601" fmla="*/ 2048326 w 2048870"/>
                <a:gd name="connsiteY601" fmla="*/ 525477 h 1410492"/>
                <a:gd name="connsiteX602" fmla="*/ 2043140 w 2048870"/>
                <a:gd name="connsiteY602" fmla="*/ 499549 h 1410492"/>
                <a:gd name="connsiteX603" fmla="*/ 2032769 w 2048870"/>
                <a:gd name="connsiteY603" fmla="*/ 492635 h 1410492"/>
                <a:gd name="connsiteX604" fmla="*/ 2025854 w 2048870"/>
                <a:gd name="connsiteY604" fmla="*/ 447693 h 1410492"/>
                <a:gd name="connsiteX605" fmla="*/ 2018940 w 2048870"/>
                <a:gd name="connsiteY605" fmla="*/ 428679 h 1410492"/>
                <a:gd name="connsiteX606" fmla="*/ 2015483 w 2048870"/>
                <a:gd name="connsiteY606" fmla="*/ 418307 h 1410492"/>
                <a:gd name="connsiteX607" fmla="*/ 2010298 w 2048870"/>
                <a:gd name="connsiteY607" fmla="*/ 411393 h 1410492"/>
                <a:gd name="connsiteX608" fmla="*/ 2003383 w 2048870"/>
                <a:gd name="connsiteY608" fmla="*/ 407936 h 1410492"/>
                <a:gd name="connsiteX609" fmla="*/ 1984369 w 2048870"/>
                <a:gd name="connsiteY609" fmla="*/ 404479 h 1410492"/>
                <a:gd name="connsiteX610" fmla="*/ 1977455 w 2048870"/>
                <a:gd name="connsiteY610" fmla="*/ 394108 h 1410492"/>
                <a:gd name="connsiteX611" fmla="*/ 1972270 w 2048870"/>
                <a:gd name="connsiteY611" fmla="*/ 390651 h 1410492"/>
                <a:gd name="connsiteX612" fmla="*/ 1968812 w 2048870"/>
                <a:gd name="connsiteY612" fmla="*/ 382008 h 1410492"/>
                <a:gd name="connsiteX613" fmla="*/ 1973998 w 2048870"/>
                <a:gd name="connsiteY613" fmla="*/ 366451 h 1410492"/>
                <a:gd name="connsiteX614" fmla="*/ 1982641 w 2048870"/>
                <a:gd name="connsiteY614" fmla="*/ 354351 h 1410492"/>
                <a:gd name="connsiteX615" fmla="*/ 1984369 w 2048870"/>
                <a:gd name="connsiteY615" fmla="*/ 347437 h 1410492"/>
                <a:gd name="connsiteX616" fmla="*/ 1994741 w 2048870"/>
                <a:gd name="connsiteY616" fmla="*/ 343980 h 1410492"/>
                <a:gd name="connsiteX617" fmla="*/ 1960170 w 2048870"/>
                <a:gd name="connsiteY617" fmla="*/ 337066 h 1410492"/>
                <a:gd name="connsiteX618" fmla="*/ 1958441 w 2048870"/>
                <a:gd name="connsiteY618" fmla="*/ 331880 h 1410492"/>
                <a:gd name="connsiteX619" fmla="*/ 1954984 w 2048870"/>
                <a:gd name="connsiteY619" fmla="*/ 326694 h 1410492"/>
                <a:gd name="connsiteX620" fmla="*/ 1958441 w 2048870"/>
                <a:gd name="connsiteY620" fmla="*/ 318052 h 1410492"/>
                <a:gd name="connsiteX621" fmla="*/ 1963627 w 2048870"/>
                <a:gd name="connsiteY621" fmla="*/ 311138 h 1410492"/>
                <a:gd name="connsiteX622" fmla="*/ 1967084 w 2048870"/>
                <a:gd name="connsiteY622" fmla="*/ 305952 h 1410492"/>
                <a:gd name="connsiteX623" fmla="*/ 1968812 w 2048870"/>
                <a:gd name="connsiteY623" fmla="*/ 299038 h 1410492"/>
                <a:gd name="connsiteX624" fmla="*/ 1973998 w 2048870"/>
                <a:gd name="connsiteY624" fmla="*/ 293852 h 1410492"/>
                <a:gd name="connsiteX625" fmla="*/ 1975727 w 2048870"/>
                <a:gd name="connsiteY625" fmla="*/ 269652 h 1410492"/>
                <a:gd name="connsiteX626" fmla="*/ 1970541 w 2048870"/>
                <a:gd name="connsiteY626" fmla="*/ 255824 h 1410492"/>
                <a:gd name="connsiteX627" fmla="*/ 1968812 w 2048870"/>
                <a:gd name="connsiteY627" fmla="*/ 250638 h 1410492"/>
                <a:gd name="connsiteX628" fmla="*/ 1967084 w 2048870"/>
                <a:gd name="connsiteY628" fmla="*/ 243724 h 1410492"/>
                <a:gd name="connsiteX629" fmla="*/ 1963627 w 2048870"/>
                <a:gd name="connsiteY629" fmla="*/ 238539 h 1410492"/>
                <a:gd name="connsiteX630" fmla="*/ 1965355 w 2048870"/>
                <a:gd name="connsiteY630" fmla="*/ 216068 h 1410492"/>
                <a:gd name="connsiteX631" fmla="*/ 1961898 w 2048870"/>
                <a:gd name="connsiteY631" fmla="*/ 209153 h 1410492"/>
                <a:gd name="connsiteX632" fmla="*/ 1954984 w 2048870"/>
                <a:gd name="connsiteY632" fmla="*/ 216068 h 1410492"/>
                <a:gd name="connsiteX633" fmla="*/ 1948070 w 2048870"/>
                <a:gd name="connsiteY633" fmla="*/ 217796 h 1410492"/>
                <a:gd name="connsiteX634" fmla="*/ 1937699 w 2048870"/>
                <a:gd name="connsiteY634" fmla="*/ 226439 h 1410492"/>
                <a:gd name="connsiteX635" fmla="*/ 1932513 w 2048870"/>
                <a:gd name="connsiteY635" fmla="*/ 228167 h 1410492"/>
                <a:gd name="connsiteX636" fmla="*/ 1922142 w 2048870"/>
                <a:gd name="connsiteY636" fmla="*/ 235082 h 1410492"/>
                <a:gd name="connsiteX637" fmla="*/ 1906585 w 2048870"/>
                <a:gd name="connsiteY637" fmla="*/ 231624 h 1410492"/>
                <a:gd name="connsiteX638" fmla="*/ 1885842 w 2048870"/>
                <a:gd name="connsiteY638" fmla="*/ 222982 h 1410492"/>
                <a:gd name="connsiteX639" fmla="*/ 1878928 w 2048870"/>
                <a:gd name="connsiteY639" fmla="*/ 224710 h 1410492"/>
                <a:gd name="connsiteX640" fmla="*/ 1868557 w 2048870"/>
                <a:gd name="connsiteY640" fmla="*/ 233353 h 1410492"/>
                <a:gd name="connsiteX641" fmla="*/ 1847814 w 2048870"/>
                <a:gd name="connsiteY641" fmla="*/ 221253 h 1410492"/>
                <a:gd name="connsiteX642" fmla="*/ 1839172 w 2048870"/>
                <a:gd name="connsiteY642" fmla="*/ 217796 h 1410492"/>
                <a:gd name="connsiteX643" fmla="*/ 1832257 w 2048870"/>
                <a:gd name="connsiteY643" fmla="*/ 214339 h 1410492"/>
                <a:gd name="connsiteX644" fmla="*/ 1823615 w 2048870"/>
                <a:gd name="connsiteY644" fmla="*/ 224710 h 1410492"/>
                <a:gd name="connsiteX645" fmla="*/ 1816701 w 2048870"/>
                <a:gd name="connsiteY645" fmla="*/ 229896 h 1410492"/>
                <a:gd name="connsiteX646" fmla="*/ 1787315 w 2048870"/>
                <a:gd name="connsiteY646" fmla="*/ 221253 h 1410492"/>
                <a:gd name="connsiteX647" fmla="*/ 1759659 w 2048870"/>
                <a:gd name="connsiteY647" fmla="*/ 222982 h 1410492"/>
                <a:gd name="connsiteX648" fmla="*/ 1754473 w 2048870"/>
                <a:gd name="connsiteY648" fmla="*/ 224710 h 1410492"/>
                <a:gd name="connsiteX649" fmla="*/ 1735459 w 2048870"/>
                <a:gd name="connsiteY649" fmla="*/ 222982 h 1410492"/>
                <a:gd name="connsiteX650" fmla="*/ 1728545 w 2048870"/>
                <a:gd name="connsiteY650" fmla="*/ 217796 h 1410492"/>
                <a:gd name="connsiteX651" fmla="*/ 1721631 w 2048870"/>
                <a:gd name="connsiteY651" fmla="*/ 207425 h 1410492"/>
                <a:gd name="connsiteX652" fmla="*/ 1712988 w 2048870"/>
                <a:gd name="connsiteY652" fmla="*/ 235082 h 1410492"/>
                <a:gd name="connsiteX653" fmla="*/ 1706074 w 2048870"/>
                <a:gd name="connsiteY653" fmla="*/ 250638 h 1410492"/>
                <a:gd name="connsiteX654" fmla="*/ 1692245 w 2048870"/>
                <a:gd name="connsiteY654" fmla="*/ 236810 h 1410492"/>
                <a:gd name="connsiteX655" fmla="*/ 1645575 w 2048870"/>
                <a:gd name="connsiteY655" fmla="*/ 224710 h 1410492"/>
                <a:gd name="connsiteX656" fmla="*/ 1640389 w 2048870"/>
                <a:gd name="connsiteY656" fmla="*/ 217796 h 1410492"/>
                <a:gd name="connsiteX657" fmla="*/ 1638661 w 2048870"/>
                <a:gd name="connsiteY657" fmla="*/ 212610 h 1410492"/>
                <a:gd name="connsiteX658" fmla="*/ 1623104 w 2048870"/>
                <a:gd name="connsiteY658" fmla="*/ 195325 h 1410492"/>
                <a:gd name="connsiteX659" fmla="*/ 1609275 w 2048870"/>
                <a:gd name="connsiteY659" fmla="*/ 191868 h 1410492"/>
                <a:gd name="connsiteX660" fmla="*/ 1600633 w 2048870"/>
                <a:gd name="connsiteY660" fmla="*/ 200511 h 1410492"/>
                <a:gd name="connsiteX661" fmla="*/ 1595447 w 2048870"/>
                <a:gd name="connsiteY661" fmla="*/ 202239 h 1410492"/>
                <a:gd name="connsiteX662" fmla="*/ 1574704 w 2048870"/>
                <a:gd name="connsiteY662" fmla="*/ 209153 h 1410492"/>
                <a:gd name="connsiteX663" fmla="*/ 1569519 w 2048870"/>
                <a:gd name="connsiteY663" fmla="*/ 214339 h 1410492"/>
                <a:gd name="connsiteX664" fmla="*/ 1564333 w 2048870"/>
                <a:gd name="connsiteY664" fmla="*/ 217796 h 1410492"/>
                <a:gd name="connsiteX665" fmla="*/ 1560876 w 2048870"/>
                <a:gd name="connsiteY665" fmla="*/ 224710 h 1410492"/>
                <a:gd name="connsiteX666" fmla="*/ 1543591 w 2048870"/>
                <a:gd name="connsiteY666" fmla="*/ 238539 h 1410492"/>
                <a:gd name="connsiteX667" fmla="*/ 1536676 w 2048870"/>
                <a:gd name="connsiteY667" fmla="*/ 245453 h 1410492"/>
                <a:gd name="connsiteX668" fmla="*/ 1534948 w 2048870"/>
                <a:gd name="connsiteY668" fmla="*/ 250638 h 1410492"/>
                <a:gd name="connsiteX669" fmla="*/ 1536676 w 2048870"/>
                <a:gd name="connsiteY669" fmla="*/ 255824 h 1410492"/>
                <a:gd name="connsiteX670" fmla="*/ 1510748 w 2048870"/>
                <a:gd name="connsiteY670" fmla="*/ 259281 h 1410492"/>
                <a:gd name="connsiteX671" fmla="*/ 1500377 w 2048870"/>
                <a:gd name="connsiteY671" fmla="*/ 252367 h 1410492"/>
                <a:gd name="connsiteX672" fmla="*/ 1472720 w 2048870"/>
                <a:gd name="connsiteY672" fmla="*/ 252367 h 1410492"/>
                <a:gd name="connsiteX673" fmla="*/ 1455435 w 2048870"/>
                <a:gd name="connsiteY673" fmla="*/ 254096 h 1410492"/>
                <a:gd name="connsiteX674" fmla="*/ 1446792 w 2048870"/>
                <a:gd name="connsiteY674" fmla="*/ 261010 h 1410492"/>
                <a:gd name="connsiteX675" fmla="*/ 1441606 w 2048870"/>
                <a:gd name="connsiteY675" fmla="*/ 267924 h 1410492"/>
                <a:gd name="connsiteX676" fmla="*/ 1438149 w 2048870"/>
                <a:gd name="connsiteY676" fmla="*/ 273110 h 1410492"/>
                <a:gd name="connsiteX677" fmla="*/ 1432964 w 2048870"/>
                <a:gd name="connsiteY677" fmla="*/ 274838 h 1410492"/>
                <a:gd name="connsiteX678" fmla="*/ 1419135 w 2048870"/>
                <a:gd name="connsiteY678" fmla="*/ 281752 h 1410492"/>
                <a:gd name="connsiteX679" fmla="*/ 1412221 w 2048870"/>
                <a:gd name="connsiteY679" fmla="*/ 278295 h 1410492"/>
                <a:gd name="connsiteX680" fmla="*/ 1408764 w 2048870"/>
                <a:gd name="connsiteY680" fmla="*/ 273110 h 1410492"/>
                <a:gd name="connsiteX681" fmla="*/ 1400121 w 2048870"/>
                <a:gd name="connsiteY681" fmla="*/ 257553 h 1410492"/>
                <a:gd name="connsiteX682" fmla="*/ 1394936 w 2048870"/>
                <a:gd name="connsiteY682" fmla="*/ 254096 h 1410492"/>
                <a:gd name="connsiteX683" fmla="*/ 1386293 w 2048870"/>
                <a:gd name="connsiteY683" fmla="*/ 243724 h 1410492"/>
                <a:gd name="connsiteX684" fmla="*/ 1381107 w 2048870"/>
                <a:gd name="connsiteY684" fmla="*/ 212610 h 1410492"/>
                <a:gd name="connsiteX685" fmla="*/ 1370736 w 2048870"/>
                <a:gd name="connsiteY685" fmla="*/ 202239 h 1410492"/>
                <a:gd name="connsiteX686" fmla="*/ 1363822 w 2048870"/>
                <a:gd name="connsiteY686" fmla="*/ 200511 h 1410492"/>
                <a:gd name="connsiteX687" fmla="*/ 1358636 w 2048870"/>
                <a:gd name="connsiteY687" fmla="*/ 193596 h 1410492"/>
                <a:gd name="connsiteX688" fmla="*/ 1349994 w 2048870"/>
                <a:gd name="connsiteY688" fmla="*/ 178040 h 1410492"/>
                <a:gd name="connsiteX689" fmla="*/ 1337894 w 2048870"/>
                <a:gd name="connsiteY689" fmla="*/ 167668 h 1410492"/>
                <a:gd name="connsiteX690" fmla="*/ 1298137 w 2048870"/>
                <a:gd name="connsiteY690" fmla="*/ 169397 h 1410492"/>
                <a:gd name="connsiteX691" fmla="*/ 1284309 w 2048870"/>
                <a:gd name="connsiteY691" fmla="*/ 179768 h 1410492"/>
                <a:gd name="connsiteX692" fmla="*/ 1268752 w 2048870"/>
                <a:gd name="connsiteY692" fmla="*/ 181497 h 1410492"/>
                <a:gd name="connsiteX693" fmla="*/ 1251467 w 2048870"/>
                <a:gd name="connsiteY693" fmla="*/ 174583 h 1410492"/>
                <a:gd name="connsiteX694" fmla="*/ 1241095 w 2048870"/>
                <a:gd name="connsiteY694" fmla="*/ 164211 h 1410492"/>
                <a:gd name="connsiteX695" fmla="*/ 1230724 w 2048870"/>
                <a:gd name="connsiteY695" fmla="*/ 160754 h 1410492"/>
                <a:gd name="connsiteX696" fmla="*/ 1215167 w 2048870"/>
                <a:gd name="connsiteY696" fmla="*/ 146926 h 1410492"/>
                <a:gd name="connsiteX697" fmla="*/ 1213439 w 2048870"/>
                <a:gd name="connsiteY697" fmla="*/ 140012 h 1410492"/>
                <a:gd name="connsiteX698" fmla="*/ 1206524 w 2048870"/>
                <a:gd name="connsiteY698" fmla="*/ 131369 h 1410492"/>
                <a:gd name="connsiteX699" fmla="*/ 1204796 w 2048870"/>
                <a:gd name="connsiteY699" fmla="*/ 122726 h 1410492"/>
                <a:gd name="connsiteX700" fmla="*/ 1190968 w 2048870"/>
                <a:gd name="connsiteY700" fmla="*/ 117541 h 1410492"/>
                <a:gd name="connsiteX701" fmla="*/ 1201339 w 2048870"/>
                <a:gd name="connsiteY701" fmla="*/ 105441 h 1410492"/>
                <a:gd name="connsiteX702" fmla="*/ 1208253 w 2048870"/>
                <a:gd name="connsiteY702" fmla="*/ 101984 h 1410492"/>
                <a:gd name="connsiteX703" fmla="*/ 1213439 w 2048870"/>
                <a:gd name="connsiteY703" fmla="*/ 95069 h 1410492"/>
                <a:gd name="connsiteX704" fmla="*/ 1218624 w 2048870"/>
                <a:gd name="connsiteY704" fmla="*/ 89884 h 1410492"/>
                <a:gd name="connsiteX705" fmla="*/ 1216896 w 2048870"/>
                <a:gd name="connsiteY705" fmla="*/ 84698 h 1410492"/>
                <a:gd name="connsiteX706" fmla="*/ 1206524 w 2048870"/>
                <a:gd name="connsiteY706" fmla="*/ 81241 h 1410492"/>
                <a:gd name="connsiteX707" fmla="*/ 1190968 w 2048870"/>
                <a:gd name="connsiteY707" fmla="*/ 76055 h 1410492"/>
                <a:gd name="connsiteX708" fmla="*/ 1175411 w 2048870"/>
                <a:gd name="connsiteY708" fmla="*/ 60499 h 1410492"/>
                <a:gd name="connsiteX709" fmla="*/ 1168496 w 2048870"/>
                <a:gd name="connsiteY709" fmla="*/ 53584 h 1410492"/>
                <a:gd name="connsiteX710" fmla="*/ 1165039 w 2048870"/>
                <a:gd name="connsiteY710" fmla="*/ 46670 h 1410492"/>
                <a:gd name="connsiteX711" fmla="*/ 1159854 w 2048870"/>
                <a:gd name="connsiteY711" fmla="*/ 39756 h 1410492"/>
                <a:gd name="connsiteX712" fmla="*/ 1151211 w 2048870"/>
                <a:gd name="connsiteY712" fmla="*/ 27656 h 1410492"/>
                <a:gd name="connsiteX713" fmla="*/ 1146025 w 2048870"/>
                <a:gd name="connsiteY713" fmla="*/ 24199 h 1410492"/>
                <a:gd name="connsiteX714" fmla="*/ 1140840 w 2048870"/>
                <a:gd name="connsiteY714" fmla="*/ 17285 h 1410492"/>
                <a:gd name="connsiteX715" fmla="*/ 1123554 w 2048870"/>
                <a:gd name="connsiteY715" fmla="*/ 3457 h 1410492"/>
                <a:gd name="connsiteX716" fmla="*/ 1116640 w 2048870"/>
                <a:gd name="connsiteY716" fmla="*/ 0 h 1410492"/>
                <a:gd name="connsiteX717" fmla="*/ 1102812 w 2048870"/>
                <a:gd name="connsiteY717" fmla="*/ 1728 h 1410492"/>
                <a:gd name="connsiteX718" fmla="*/ 1097626 w 2048870"/>
                <a:gd name="connsiteY718" fmla="*/ 3457 h 1410492"/>
                <a:gd name="connsiteX719" fmla="*/ 1090712 w 2048870"/>
                <a:gd name="connsiteY719" fmla="*/ 5185 h 1410492"/>
                <a:gd name="connsiteX720" fmla="*/ 1071698 w 2048870"/>
                <a:gd name="connsiteY720" fmla="*/ 17285 h 1410492"/>
                <a:gd name="connsiteX721" fmla="*/ 1056141 w 2048870"/>
                <a:gd name="connsiteY721" fmla="*/ 15556 h 1410492"/>
                <a:gd name="connsiteX722" fmla="*/ 1050955 w 2048870"/>
                <a:gd name="connsiteY722" fmla="*/ 19014 h 1410492"/>
                <a:gd name="connsiteX723" fmla="*/ 1042313 w 2048870"/>
                <a:gd name="connsiteY723" fmla="*/ 27656 h 1410492"/>
                <a:gd name="connsiteX724" fmla="*/ 1028484 w 2048870"/>
                <a:gd name="connsiteY724" fmla="*/ 38027 h 1410492"/>
                <a:gd name="connsiteX725" fmla="*/ 1025027 w 2048870"/>
                <a:gd name="connsiteY725" fmla="*/ 41485 h 1410492"/>
                <a:gd name="connsiteX726" fmla="*/ 1016385 w 2048870"/>
                <a:gd name="connsiteY726" fmla="*/ 46670 h 1410492"/>
                <a:gd name="connsiteX727" fmla="*/ 1012927 w 2048870"/>
                <a:gd name="connsiteY727" fmla="*/ 50127 h 1410492"/>
                <a:gd name="connsiteX728" fmla="*/ 997371 w 2048870"/>
                <a:gd name="connsiteY728" fmla="*/ 57041 h 1410492"/>
                <a:gd name="connsiteX729" fmla="*/ 973171 w 2048870"/>
                <a:gd name="connsiteY729" fmla="*/ 58770 h 1410492"/>
                <a:gd name="connsiteX730" fmla="*/ 967985 w 2048870"/>
                <a:gd name="connsiteY730" fmla="*/ 62227 h 1410492"/>
                <a:gd name="connsiteX731" fmla="*/ 966257 w 2048870"/>
                <a:gd name="connsiteY731" fmla="*/ 79513 h 1410492"/>
                <a:gd name="connsiteX732" fmla="*/ 962800 w 2048870"/>
                <a:gd name="connsiteY732" fmla="*/ 103712 h 1410492"/>
                <a:gd name="connsiteX733" fmla="*/ 961071 w 2048870"/>
                <a:gd name="connsiteY733" fmla="*/ 112355 h 1410492"/>
                <a:gd name="connsiteX734" fmla="*/ 916129 w 2048870"/>
                <a:gd name="connsiteY734" fmla="*/ 115812 h 1410492"/>
                <a:gd name="connsiteX735" fmla="*/ 910943 w 2048870"/>
                <a:gd name="connsiteY735" fmla="*/ 119269 h 1410492"/>
                <a:gd name="connsiteX736" fmla="*/ 905758 w 2048870"/>
                <a:gd name="connsiteY736" fmla="*/ 120998 h 1410492"/>
                <a:gd name="connsiteX737" fmla="*/ 893658 w 2048870"/>
                <a:gd name="connsiteY737" fmla="*/ 124455 h 1410492"/>
                <a:gd name="connsiteX738" fmla="*/ 888472 w 2048870"/>
                <a:gd name="connsiteY738" fmla="*/ 126183 h 1410492"/>
                <a:gd name="connsiteX739" fmla="*/ 895386 w 2048870"/>
                <a:gd name="connsiteY739" fmla="*/ 124455 h 1410492"/>
                <a:gd name="connsiteX740" fmla="*/ 904029 w 2048870"/>
                <a:gd name="connsiteY740" fmla="*/ 115812 h 1410492"/>
                <a:gd name="connsiteX741" fmla="*/ 966257 w 2048870"/>
                <a:gd name="connsiteY741" fmla="*/ 63956 h 1410492"/>
                <a:gd name="connsiteX0" fmla="*/ 966257 w 2048870"/>
                <a:gd name="connsiteY0" fmla="*/ 63956 h 1410492"/>
                <a:gd name="connsiteX1" fmla="*/ 962800 w 2048870"/>
                <a:gd name="connsiteY1" fmla="*/ 72598 h 1410492"/>
                <a:gd name="connsiteX2" fmla="*/ 919586 w 2048870"/>
                <a:gd name="connsiteY2" fmla="*/ 114083 h 1410492"/>
                <a:gd name="connsiteX3" fmla="*/ 902301 w 2048870"/>
                <a:gd name="connsiteY3" fmla="*/ 120998 h 1410492"/>
                <a:gd name="connsiteX4" fmla="*/ 885015 w 2048870"/>
                <a:gd name="connsiteY4" fmla="*/ 122726 h 1410492"/>
                <a:gd name="connsiteX5" fmla="*/ 878101 w 2048870"/>
                <a:gd name="connsiteY5" fmla="*/ 129640 h 1410492"/>
                <a:gd name="connsiteX6" fmla="*/ 855630 w 2048870"/>
                <a:gd name="connsiteY6" fmla="*/ 140012 h 1410492"/>
                <a:gd name="connsiteX7" fmla="*/ 850444 w 2048870"/>
                <a:gd name="connsiteY7" fmla="*/ 145197 h 1410492"/>
                <a:gd name="connsiteX8" fmla="*/ 831430 w 2048870"/>
                <a:gd name="connsiteY8" fmla="*/ 146926 h 1410492"/>
                <a:gd name="connsiteX9" fmla="*/ 808923 w 2048870"/>
                <a:gd name="connsiteY9" fmla="*/ 195183 h 1410492"/>
                <a:gd name="connsiteX10" fmla="*/ 817602 w 2048870"/>
                <a:gd name="connsiteY10" fmla="*/ 247181 h 1410492"/>
                <a:gd name="connsiteX11" fmla="*/ 821059 w 2048870"/>
                <a:gd name="connsiteY11" fmla="*/ 255824 h 1410492"/>
                <a:gd name="connsiteX12" fmla="*/ 826245 w 2048870"/>
                <a:gd name="connsiteY12" fmla="*/ 259281 h 1410492"/>
                <a:gd name="connsiteX13" fmla="*/ 833159 w 2048870"/>
                <a:gd name="connsiteY13" fmla="*/ 267924 h 1410492"/>
                <a:gd name="connsiteX14" fmla="*/ 836616 w 2048870"/>
                <a:gd name="connsiteY14" fmla="*/ 280024 h 1410492"/>
                <a:gd name="connsiteX15" fmla="*/ 834887 w 2048870"/>
                <a:gd name="connsiteY15" fmla="*/ 295581 h 1410492"/>
                <a:gd name="connsiteX16" fmla="*/ 821059 w 2048870"/>
                <a:gd name="connsiteY16" fmla="*/ 299038 h 1410492"/>
                <a:gd name="connsiteX17" fmla="*/ 800316 w 2048870"/>
                <a:gd name="connsiteY17" fmla="*/ 295581 h 1410492"/>
                <a:gd name="connsiteX18" fmla="*/ 786488 w 2048870"/>
                <a:gd name="connsiteY18" fmla="*/ 286938 h 1410492"/>
                <a:gd name="connsiteX19" fmla="*/ 781302 w 2048870"/>
                <a:gd name="connsiteY19" fmla="*/ 285209 h 1410492"/>
                <a:gd name="connsiteX20" fmla="*/ 774388 w 2048870"/>
                <a:gd name="connsiteY20" fmla="*/ 278295 h 1410492"/>
                <a:gd name="connsiteX21" fmla="*/ 767474 w 2048870"/>
                <a:gd name="connsiteY21" fmla="*/ 285209 h 1410492"/>
                <a:gd name="connsiteX22" fmla="*/ 758831 w 2048870"/>
                <a:gd name="connsiteY22" fmla="*/ 286938 h 1410492"/>
                <a:gd name="connsiteX23" fmla="*/ 751917 w 2048870"/>
                <a:gd name="connsiteY23" fmla="*/ 288666 h 1410492"/>
                <a:gd name="connsiteX24" fmla="*/ 746732 w 2048870"/>
                <a:gd name="connsiteY24" fmla="*/ 290395 h 1410492"/>
                <a:gd name="connsiteX25" fmla="*/ 722532 w 2048870"/>
                <a:gd name="connsiteY25" fmla="*/ 292124 h 1410492"/>
                <a:gd name="connsiteX26" fmla="*/ 720803 w 2048870"/>
                <a:gd name="connsiteY26" fmla="*/ 297309 h 1410492"/>
                <a:gd name="connsiteX27" fmla="*/ 701789 w 2048870"/>
                <a:gd name="connsiteY27" fmla="*/ 312866 h 1410492"/>
                <a:gd name="connsiteX28" fmla="*/ 686233 w 2048870"/>
                <a:gd name="connsiteY28" fmla="*/ 305952 h 1410492"/>
                <a:gd name="connsiteX29" fmla="*/ 684504 w 2048870"/>
                <a:gd name="connsiteY29" fmla="*/ 300766 h 1410492"/>
                <a:gd name="connsiteX30" fmla="*/ 681047 w 2048870"/>
                <a:gd name="connsiteY30" fmla="*/ 285209 h 1410492"/>
                <a:gd name="connsiteX31" fmla="*/ 649933 w 2048870"/>
                <a:gd name="connsiteY31" fmla="*/ 288666 h 1410492"/>
                <a:gd name="connsiteX32" fmla="*/ 646476 w 2048870"/>
                <a:gd name="connsiteY32" fmla="*/ 299038 h 1410492"/>
                <a:gd name="connsiteX33" fmla="*/ 639562 w 2048870"/>
                <a:gd name="connsiteY33" fmla="*/ 314595 h 1410492"/>
                <a:gd name="connsiteX34" fmla="*/ 634376 w 2048870"/>
                <a:gd name="connsiteY34" fmla="*/ 326694 h 1410492"/>
                <a:gd name="connsiteX35" fmla="*/ 629191 w 2048870"/>
                <a:gd name="connsiteY35" fmla="*/ 328423 h 1410492"/>
                <a:gd name="connsiteX36" fmla="*/ 613634 w 2048870"/>
                <a:gd name="connsiteY36" fmla="*/ 323237 h 1410492"/>
                <a:gd name="connsiteX37" fmla="*/ 601534 w 2048870"/>
                <a:gd name="connsiteY37" fmla="*/ 311138 h 1410492"/>
                <a:gd name="connsiteX38" fmla="*/ 572149 w 2048870"/>
                <a:gd name="connsiteY38" fmla="*/ 309409 h 1410492"/>
                <a:gd name="connsiteX39" fmla="*/ 566963 w 2048870"/>
                <a:gd name="connsiteY39" fmla="*/ 295581 h 1410492"/>
                <a:gd name="connsiteX40" fmla="*/ 563506 w 2048870"/>
                <a:gd name="connsiteY40" fmla="*/ 300766 h 1410492"/>
                <a:gd name="connsiteX41" fmla="*/ 558320 w 2048870"/>
                <a:gd name="connsiteY41" fmla="*/ 307680 h 1410492"/>
                <a:gd name="connsiteX42" fmla="*/ 549678 w 2048870"/>
                <a:gd name="connsiteY42" fmla="*/ 321509 h 1410492"/>
                <a:gd name="connsiteX43" fmla="*/ 509921 w 2048870"/>
                <a:gd name="connsiteY43" fmla="*/ 324966 h 1410492"/>
                <a:gd name="connsiteX44" fmla="*/ 515107 w 2048870"/>
                <a:gd name="connsiteY44" fmla="*/ 328423 h 1410492"/>
                <a:gd name="connsiteX45" fmla="*/ 525478 w 2048870"/>
                <a:gd name="connsiteY45" fmla="*/ 331880 h 1410492"/>
                <a:gd name="connsiteX46" fmla="*/ 523749 w 2048870"/>
                <a:gd name="connsiteY46" fmla="*/ 337066 h 1410492"/>
                <a:gd name="connsiteX47" fmla="*/ 516835 w 2048870"/>
                <a:gd name="connsiteY47" fmla="*/ 343980 h 1410492"/>
                <a:gd name="connsiteX48" fmla="*/ 511650 w 2048870"/>
                <a:gd name="connsiteY48" fmla="*/ 323237 h 1410492"/>
                <a:gd name="connsiteX49" fmla="*/ 483993 w 2048870"/>
                <a:gd name="connsiteY49" fmla="*/ 333609 h 1410492"/>
                <a:gd name="connsiteX50" fmla="*/ 478807 w 2048870"/>
                <a:gd name="connsiteY50" fmla="*/ 338794 h 1410492"/>
                <a:gd name="connsiteX51" fmla="*/ 466707 w 2048870"/>
                <a:gd name="connsiteY51" fmla="*/ 337066 h 1410492"/>
                <a:gd name="connsiteX52" fmla="*/ 463250 w 2048870"/>
                <a:gd name="connsiteY52" fmla="*/ 324966 h 1410492"/>
                <a:gd name="connsiteX53" fmla="*/ 454608 w 2048870"/>
                <a:gd name="connsiteY53" fmla="*/ 312866 h 1410492"/>
                <a:gd name="connsiteX54" fmla="*/ 449422 w 2048870"/>
                <a:gd name="connsiteY54" fmla="*/ 311138 h 1410492"/>
                <a:gd name="connsiteX55" fmla="*/ 425222 w 2048870"/>
                <a:gd name="connsiteY55" fmla="*/ 314595 h 1410492"/>
                <a:gd name="connsiteX56" fmla="*/ 273110 w 2048870"/>
                <a:gd name="connsiteY56" fmla="*/ 316323 h 1410492"/>
                <a:gd name="connsiteX57" fmla="*/ 262739 w 2048870"/>
                <a:gd name="connsiteY57" fmla="*/ 323237 h 1410492"/>
                <a:gd name="connsiteX58" fmla="*/ 255825 w 2048870"/>
                <a:gd name="connsiteY58" fmla="*/ 324966 h 1410492"/>
                <a:gd name="connsiteX59" fmla="*/ 250639 w 2048870"/>
                <a:gd name="connsiteY59" fmla="*/ 326694 h 1410492"/>
                <a:gd name="connsiteX60" fmla="*/ 238540 w 2048870"/>
                <a:gd name="connsiteY60" fmla="*/ 330152 h 1410492"/>
                <a:gd name="connsiteX61" fmla="*/ 200512 w 2048870"/>
                <a:gd name="connsiteY61" fmla="*/ 333609 h 1410492"/>
                <a:gd name="connsiteX62" fmla="*/ 188412 w 2048870"/>
                <a:gd name="connsiteY62" fmla="*/ 338794 h 1410492"/>
                <a:gd name="connsiteX63" fmla="*/ 176312 w 2048870"/>
                <a:gd name="connsiteY63" fmla="*/ 342251 h 1410492"/>
                <a:gd name="connsiteX64" fmla="*/ 146927 w 2048870"/>
                <a:gd name="connsiteY64" fmla="*/ 356080 h 1410492"/>
                <a:gd name="connsiteX65" fmla="*/ 138284 w 2048870"/>
                <a:gd name="connsiteY65" fmla="*/ 357808 h 1410492"/>
                <a:gd name="connsiteX66" fmla="*/ 136555 w 2048870"/>
                <a:gd name="connsiteY66" fmla="*/ 364722 h 1410492"/>
                <a:gd name="connsiteX67" fmla="*/ 134827 w 2048870"/>
                <a:gd name="connsiteY67" fmla="*/ 380279 h 1410492"/>
                <a:gd name="connsiteX68" fmla="*/ 127913 w 2048870"/>
                <a:gd name="connsiteY68" fmla="*/ 387193 h 1410492"/>
                <a:gd name="connsiteX69" fmla="*/ 126184 w 2048870"/>
                <a:gd name="connsiteY69" fmla="*/ 394108 h 1410492"/>
                <a:gd name="connsiteX70" fmla="*/ 124456 w 2048870"/>
                <a:gd name="connsiteY70" fmla="*/ 402750 h 1410492"/>
                <a:gd name="connsiteX71" fmla="*/ 117541 w 2048870"/>
                <a:gd name="connsiteY71" fmla="*/ 407936 h 1410492"/>
                <a:gd name="connsiteX72" fmla="*/ 105442 w 2048870"/>
                <a:gd name="connsiteY72" fmla="*/ 411393 h 1410492"/>
                <a:gd name="connsiteX73" fmla="*/ 100256 w 2048870"/>
                <a:gd name="connsiteY73" fmla="*/ 413122 h 1410492"/>
                <a:gd name="connsiteX74" fmla="*/ 70871 w 2048870"/>
                <a:gd name="connsiteY74" fmla="*/ 421764 h 1410492"/>
                <a:gd name="connsiteX75" fmla="*/ 67414 w 2048870"/>
                <a:gd name="connsiteY75" fmla="*/ 428679 h 1410492"/>
                <a:gd name="connsiteX76" fmla="*/ 69142 w 2048870"/>
                <a:gd name="connsiteY76" fmla="*/ 440778 h 1410492"/>
                <a:gd name="connsiteX77" fmla="*/ 65685 w 2048870"/>
                <a:gd name="connsiteY77" fmla="*/ 445964 h 1410492"/>
                <a:gd name="connsiteX78" fmla="*/ 63957 w 2048870"/>
                <a:gd name="connsiteY78" fmla="*/ 452878 h 1410492"/>
                <a:gd name="connsiteX79" fmla="*/ 69142 w 2048870"/>
                <a:gd name="connsiteY79" fmla="*/ 456335 h 1410492"/>
                <a:gd name="connsiteX80" fmla="*/ 74328 w 2048870"/>
                <a:gd name="connsiteY80" fmla="*/ 458064 h 1410492"/>
                <a:gd name="connsiteX81" fmla="*/ 84699 w 2048870"/>
                <a:gd name="connsiteY81" fmla="*/ 466707 h 1410492"/>
                <a:gd name="connsiteX82" fmla="*/ 81242 w 2048870"/>
                <a:gd name="connsiteY82" fmla="*/ 473621 h 1410492"/>
                <a:gd name="connsiteX83" fmla="*/ 77785 w 2048870"/>
                <a:gd name="connsiteY83" fmla="*/ 478806 h 1410492"/>
                <a:gd name="connsiteX84" fmla="*/ 79513 w 2048870"/>
                <a:gd name="connsiteY84" fmla="*/ 485721 h 1410492"/>
                <a:gd name="connsiteX85" fmla="*/ 72599 w 2048870"/>
                <a:gd name="connsiteY85" fmla="*/ 489178 h 1410492"/>
                <a:gd name="connsiteX86" fmla="*/ 63957 w 2048870"/>
                <a:gd name="connsiteY86" fmla="*/ 487449 h 1410492"/>
                <a:gd name="connsiteX87" fmla="*/ 76056 w 2048870"/>
                <a:gd name="connsiteY87" fmla="*/ 485721 h 1410492"/>
                <a:gd name="connsiteX88" fmla="*/ 86428 w 2048870"/>
                <a:gd name="connsiteY88" fmla="*/ 483992 h 1410492"/>
                <a:gd name="connsiteX89" fmla="*/ 84699 w 2048870"/>
                <a:gd name="connsiteY89" fmla="*/ 494363 h 1410492"/>
                <a:gd name="connsiteX90" fmla="*/ 86428 w 2048870"/>
                <a:gd name="connsiteY90" fmla="*/ 501277 h 1410492"/>
                <a:gd name="connsiteX91" fmla="*/ 96799 w 2048870"/>
                <a:gd name="connsiteY91" fmla="*/ 515106 h 1410492"/>
                <a:gd name="connsiteX92" fmla="*/ 101985 w 2048870"/>
                <a:gd name="connsiteY92" fmla="*/ 516834 h 1410492"/>
                <a:gd name="connsiteX93" fmla="*/ 114084 w 2048870"/>
                <a:gd name="connsiteY93" fmla="*/ 520291 h 1410492"/>
                <a:gd name="connsiteX94" fmla="*/ 119270 w 2048870"/>
                <a:gd name="connsiteY94" fmla="*/ 525477 h 1410492"/>
                <a:gd name="connsiteX95" fmla="*/ 133098 w 2048870"/>
                <a:gd name="connsiteY95" fmla="*/ 535848 h 1410492"/>
                <a:gd name="connsiteX96" fmla="*/ 136555 w 2048870"/>
                <a:gd name="connsiteY96" fmla="*/ 542762 h 1410492"/>
                <a:gd name="connsiteX97" fmla="*/ 134827 w 2048870"/>
                <a:gd name="connsiteY97" fmla="*/ 572148 h 1410492"/>
                <a:gd name="connsiteX98" fmla="*/ 140012 w 2048870"/>
                <a:gd name="connsiteY98" fmla="*/ 573876 h 1410492"/>
                <a:gd name="connsiteX99" fmla="*/ 143470 w 2048870"/>
                <a:gd name="connsiteY99" fmla="*/ 577333 h 1410492"/>
                <a:gd name="connsiteX100" fmla="*/ 146927 w 2048870"/>
                <a:gd name="connsiteY100" fmla="*/ 589433 h 1410492"/>
                <a:gd name="connsiteX101" fmla="*/ 150384 w 2048870"/>
                <a:gd name="connsiteY101" fmla="*/ 598076 h 1410492"/>
                <a:gd name="connsiteX102" fmla="*/ 148655 w 2048870"/>
                <a:gd name="connsiteY102" fmla="*/ 617090 h 1410492"/>
                <a:gd name="connsiteX103" fmla="*/ 146927 w 2048870"/>
                <a:gd name="connsiteY103" fmla="*/ 622276 h 1410492"/>
                <a:gd name="connsiteX104" fmla="*/ 141741 w 2048870"/>
                <a:gd name="connsiteY104" fmla="*/ 627461 h 1410492"/>
                <a:gd name="connsiteX105" fmla="*/ 136555 w 2048870"/>
                <a:gd name="connsiteY105" fmla="*/ 634375 h 1410492"/>
                <a:gd name="connsiteX106" fmla="*/ 120999 w 2048870"/>
                <a:gd name="connsiteY106" fmla="*/ 639561 h 1410492"/>
                <a:gd name="connsiteX107" fmla="*/ 95070 w 2048870"/>
                <a:gd name="connsiteY107" fmla="*/ 665489 h 1410492"/>
                <a:gd name="connsiteX108" fmla="*/ 89885 w 2048870"/>
                <a:gd name="connsiteY108" fmla="*/ 670675 h 1410492"/>
                <a:gd name="connsiteX109" fmla="*/ 86428 w 2048870"/>
                <a:gd name="connsiteY109" fmla="*/ 675860 h 1410492"/>
                <a:gd name="connsiteX110" fmla="*/ 81242 w 2048870"/>
                <a:gd name="connsiteY110" fmla="*/ 677589 h 1410492"/>
                <a:gd name="connsiteX111" fmla="*/ 77785 w 2048870"/>
                <a:gd name="connsiteY111" fmla="*/ 682775 h 1410492"/>
                <a:gd name="connsiteX112" fmla="*/ 63957 w 2048870"/>
                <a:gd name="connsiteY112" fmla="*/ 689689 h 1410492"/>
                <a:gd name="connsiteX113" fmla="*/ 60499 w 2048870"/>
                <a:gd name="connsiteY113" fmla="*/ 706974 h 1410492"/>
                <a:gd name="connsiteX114" fmla="*/ 50128 w 2048870"/>
                <a:gd name="connsiteY114" fmla="*/ 720803 h 1410492"/>
                <a:gd name="connsiteX115" fmla="*/ 48400 w 2048870"/>
                <a:gd name="connsiteY115" fmla="*/ 725988 h 1410492"/>
                <a:gd name="connsiteX116" fmla="*/ 46671 w 2048870"/>
                <a:gd name="connsiteY116" fmla="*/ 732902 h 1410492"/>
                <a:gd name="connsiteX117" fmla="*/ 25929 w 2048870"/>
                <a:gd name="connsiteY117" fmla="*/ 751916 h 1410492"/>
                <a:gd name="connsiteX118" fmla="*/ 19014 w 2048870"/>
                <a:gd name="connsiteY118" fmla="*/ 776116 h 1410492"/>
                <a:gd name="connsiteX119" fmla="*/ 12100 w 2048870"/>
                <a:gd name="connsiteY119" fmla="*/ 789944 h 1410492"/>
                <a:gd name="connsiteX120" fmla="*/ 17286 w 2048870"/>
                <a:gd name="connsiteY120" fmla="*/ 822787 h 1410492"/>
                <a:gd name="connsiteX121" fmla="*/ 25929 w 2048870"/>
                <a:gd name="connsiteY121" fmla="*/ 829701 h 1410492"/>
                <a:gd name="connsiteX122" fmla="*/ 29386 w 2048870"/>
                <a:gd name="connsiteY122" fmla="*/ 838344 h 1410492"/>
                <a:gd name="connsiteX123" fmla="*/ 36300 w 2048870"/>
                <a:gd name="connsiteY123" fmla="*/ 843529 h 1410492"/>
                <a:gd name="connsiteX124" fmla="*/ 38028 w 2048870"/>
                <a:gd name="connsiteY124" fmla="*/ 852172 h 1410492"/>
                <a:gd name="connsiteX125" fmla="*/ 43214 w 2048870"/>
                <a:gd name="connsiteY125" fmla="*/ 864272 h 1410492"/>
                <a:gd name="connsiteX126" fmla="*/ 44943 w 2048870"/>
                <a:gd name="connsiteY126" fmla="*/ 874643 h 1410492"/>
                <a:gd name="connsiteX127" fmla="*/ 51857 w 2048870"/>
                <a:gd name="connsiteY127" fmla="*/ 876372 h 1410492"/>
                <a:gd name="connsiteX128" fmla="*/ 53585 w 2048870"/>
                <a:gd name="connsiteY128" fmla="*/ 883286 h 1410492"/>
                <a:gd name="connsiteX129" fmla="*/ 58771 w 2048870"/>
                <a:gd name="connsiteY129" fmla="*/ 886743 h 1410492"/>
                <a:gd name="connsiteX130" fmla="*/ 51857 w 2048870"/>
                <a:gd name="connsiteY130" fmla="*/ 898843 h 1410492"/>
                <a:gd name="connsiteX131" fmla="*/ 43214 w 2048870"/>
                <a:gd name="connsiteY131" fmla="*/ 904028 h 1410492"/>
                <a:gd name="connsiteX132" fmla="*/ 29386 w 2048870"/>
                <a:gd name="connsiteY132" fmla="*/ 909214 h 1410492"/>
                <a:gd name="connsiteX133" fmla="*/ 27657 w 2048870"/>
                <a:gd name="connsiteY133" fmla="*/ 919585 h 1410492"/>
                <a:gd name="connsiteX134" fmla="*/ 25929 w 2048870"/>
                <a:gd name="connsiteY134" fmla="*/ 926499 h 1410492"/>
                <a:gd name="connsiteX135" fmla="*/ 19014 w 2048870"/>
                <a:gd name="connsiteY135" fmla="*/ 955885 h 1410492"/>
                <a:gd name="connsiteX136" fmla="*/ 10372 w 2048870"/>
                <a:gd name="connsiteY136" fmla="*/ 969713 h 1410492"/>
                <a:gd name="connsiteX137" fmla="*/ 8643 w 2048870"/>
                <a:gd name="connsiteY137" fmla="*/ 990455 h 1410492"/>
                <a:gd name="connsiteX138" fmla="*/ 0 w 2048870"/>
                <a:gd name="connsiteY138" fmla="*/ 999098 h 1410492"/>
                <a:gd name="connsiteX139" fmla="*/ 6915 w 2048870"/>
                <a:gd name="connsiteY139" fmla="*/ 1023298 h 1410492"/>
                <a:gd name="connsiteX140" fmla="*/ 15557 w 2048870"/>
                <a:gd name="connsiteY140" fmla="*/ 1025026 h 1410492"/>
                <a:gd name="connsiteX141" fmla="*/ 22471 w 2048870"/>
                <a:gd name="connsiteY141" fmla="*/ 1030212 h 1410492"/>
                <a:gd name="connsiteX142" fmla="*/ 27657 w 2048870"/>
                <a:gd name="connsiteY142" fmla="*/ 1031941 h 1410492"/>
                <a:gd name="connsiteX143" fmla="*/ 34571 w 2048870"/>
                <a:gd name="connsiteY143" fmla="*/ 1035398 h 1410492"/>
                <a:gd name="connsiteX144" fmla="*/ 39757 w 2048870"/>
                <a:gd name="connsiteY144" fmla="*/ 1042312 h 1410492"/>
                <a:gd name="connsiteX145" fmla="*/ 43214 w 2048870"/>
                <a:gd name="connsiteY145" fmla="*/ 1047497 h 1410492"/>
                <a:gd name="connsiteX146" fmla="*/ 53585 w 2048870"/>
                <a:gd name="connsiteY146" fmla="*/ 1052683 h 1410492"/>
                <a:gd name="connsiteX147" fmla="*/ 95070 w 2048870"/>
                <a:gd name="connsiteY147" fmla="*/ 1061326 h 1410492"/>
                <a:gd name="connsiteX148" fmla="*/ 96799 w 2048870"/>
                <a:gd name="connsiteY148" fmla="*/ 1073426 h 1410492"/>
                <a:gd name="connsiteX149" fmla="*/ 101985 w 2048870"/>
                <a:gd name="connsiteY149" fmla="*/ 1075154 h 1410492"/>
                <a:gd name="connsiteX150" fmla="*/ 112356 w 2048870"/>
                <a:gd name="connsiteY150" fmla="*/ 1066511 h 1410492"/>
                <a:gd name="connsiteX151" fmla="*/ 119270 w 2048870"/>
                <a:gd name="connsiteY151" fmla="*/ 1059597 h 1410492"/>
                <a:gd name="connsiteX152" fmla="*/ 120999 w 2048870"/>
                <a:gd name="connsiteY152" fmla="*/ 1054412 h 1410492"/>
                <a:gd name="connsiteX153" fmla="*/ 134827 w 2048870"/>
                <a:gd name="connsiteY153" fmla="*/ 1061326 h 1410492"/>
                <a:gd name="connsiteX154" fmla="*/ 141741 w 2048870"/>
                <a:gd name="connsiteY154" fmla="*/ 1063054 h 1410492"/>
                <a:gd name="connsiteX155" fmla="*/ 146927 w 2048870"/>
                <a:gd name="connsiteY155" fmla="*/ 1064783 h 1410492"/>
                <a:gd name="connsiteX156" fmla="*/ 247182 w 2048870"/>
                <a:gd name="connsiteY156" fmla="*/ 1068240 h 1410492"/>
                <a:gd name="connsiteX157" fmla="*/ 266196 w 2048870"/>
                <a:gd name="connsiteY157" fmla="*/ 1064783 h 1410492"/>
                <a:gd name="connsiteX158" fmla="*/ 276568 w 2048870"/>
                <a:gd name="connsiteY158" fmla="*/ 1059597 h 1410492"/>
                <a:gd name="connsiteX159" fmla="*/ 285210 w 2048870"/>
                <a:gd name="connsiteY159" fmla="*/ 1049226 h 1410492"/>
                <a:gd name="connsiteX160" fmla="*/ 295581 w 2048870"/>
                <a:gd name="connsiteY160" fmla="*/ 1052683 h 1410492"/>
                <a:gd name="connsiteX161" fmla="*/ 299039 w 2048870"/>
                <a:gd name="connsiteY161" fmla="*/ 1059597 h 1410492"/>
                <a:gd name="connsiteX162" fmla="*/ 312867 w 2048870"/>
                <a:gd name="connsiteY162" fmla="*/ 1071697 h 1410492"/>
                <a:gd name="connsiteX163" fmla="*/ 338795 w 2048870"/>
                <a:gd name="connsiteY163" fmla="*/ 1078611 h 1410492"/>
                <a:gd name="connsiteX164" fmla="*/ 361266 w 2048870"/>
                <a:gd name="connsiteY164" fmla="*/ 1075154 h 1410492"/>
                <a:gd name="connsiteX165" fmla="*/ 362995 w 2048870"/>
                <a:gd name="connsiteY165" fmla="*/ 1068240 h 1410492"/>
                <a:gd name="connsiteX166" fmla="*/ 373366 w 2048870"/>
                <a:gd name="connsiteY166" fmla="*/ 1050955 h 1410492"/>
                <a:gd name="connsiteX167" fmla="*/ 378552 w 2048870"/>
                <a:gd name="connsiteY167" fmla="*/ 1045769 h 1410492"/>
                <a:gd name="connsiteX168" fmla="*/ 397566 w 2048870"/>
                <a:gd name="connsiteY168" fmla="*/ 1038855 h 1410492"/>
                <a:gd name="connsiteX169" fmla="*/ 432137 w 2048870"/>
                <a:gd name="connsiteY169" fmla="*/ 1035398 h 1410492"/>
                <a:gd name="connsiteX170" fmla="*/ 444236 w 2048870"/>
                <a:gd name="connsiteY170" fmla="*/ 1031941 h 1410492"/>
                <a:gd name="connsiteX171" fmla="*/ 447693 w 2048870"/>
                <a:gd name="connsiteY171" fmla="*/ 1025026 h 1410492"/>
                <a:gd name="connsiteX172" fmla="*/ 452879 w 2048870"/>
                <a:gd name="connsiteY172" fmla="*/ 1021569 h 1410492"/>
                <a:gd name="connsiteX173" fmla="*/ 468436 w 2048870"/>
                <a:gd name="connsiteY173" fmla="*/ 1011198 h 1410492"/>
                <a:gd name="connsiteX174" fmla="*/ 473622 w 2048870"/>
                <a:gd name="connsiteY174" fmla="*/ 999098 h 1410492"/>
                <a:gd name="connsiteX175" fmla="*/ 478807 w 2048870"/>
                <a:gd name="connsiteY175" fmla="*/ 986998 h 1410492"/>
                <a:gd name="connsiteX176" fmla="*/ 485721 w 2048870"/>
                <a:gd name="connsiteY176" fmla="*/ 980084 h 1410492"/>
                <a:gd name="connsiteX177" fmla="*/ 489178 w 2048870"/>
                <a:gd name="connsiteY177" fmla="*/ 974899 h 1410492"/>
                <a:gd name="connsiteX178" fmla="*/ 511650 w 2048870"/>
                <a:gd name="connsiteY178" fmla="*/ 955885 h 1410492"/>
                <a:gd name="connsiteX179" fmla="*/ 530664 w 2048870"/>
                <a:gd name="connsiteY179" fmla="*/ 947242 h 1410492"/>
                <a:gd name="connsiteX180" fmla="*/ 537578 w 2048870"/>
                <a:gd name="connsiteY180" fmla="*/ 933414 h 1410492"/>
                <a:gd name="connsiteX181" fmla="*/ 539306 w 2048870"/>
                <a:gd name="connsiteY181" fmla="*/ 928228 h 1410492"/>
                <a:gd name="connsiteX182" fmla="*/ 541035 w 2048870"/>
                <a:gd name="connsiteY182" fmla="*/ 921314 h 1410492"/>
                <a:gd name="connsiteX183" fmla="*/ 563506 w 2048870"/>
                <a:gd name="connsiteY183" fmla="*/ 917857 h 1410492"/>
                <a:gd name="connsiteX184" fmla="*/ 568692 w 2048870"/>
                <a:gd name="connsiteY184" fmla="*/ 916128 h 1410492"/>
                <a:gd name="connsiteX185" fmla="*/ 584248 w 2048870"/>
                <a:gd name="connsiteY185" fmla="*/ 914400 h 1410492"/>
                <a:gd name="connsiteX186" fmla="*/ 589434 w 2048870"/>
                <a:gd name="connsiteY186" fmla="*/ 910942 h 1410492"/>
                <a:gd name="connsiteX187" fmla="*/ 599805 w 2048870"/>
                <a:gd name="connsiteY187" fmla="*/ 905757 h 1410492"/>
                <a:gd name="connsiteX188" fmla="*/ 604991 w 2048870"/>
                <a:gd name="connsiteY188" fmla="*/ 900571 h 1410492"/>
                <a:gd name="connsiteX189" fmla="*/ 606719 w 2048870"/>
                <a:gd name="connsiteY189" fmla="*/ 895386 h 1410492"/>
                <a:gd name="connsiteX190" fmla="*/ 615362 w 2048870"/>
                <a:gd name="connsiteY190" fmla="*/ 891928 h 1410492"/>
                <a:gd name="connsiteX191" fmla="*/ 620548 w 2048870"/>
                <a:gd name="connsiteY191" fmla="*/ 886743 h 1410492"/>
                <a:gd name="connsiteX192" fmla="*/ 639562 w 2048870"/>
                <a:gd name="connsiteY192" fmla="*/ 879829 h 1410492"/>
                <a:gd name="connsiteX193" fmla="*/ 653390 w 2048870"/>
                <a:gd name="connsiteY193" fmla="*/ 883286 h 1410492"/>
                <a:gd name="connsiteX194" fmla="*/ 660304 w 2048870"/>
                <a:gd name="connsiteY194" fmla="*/ 885014 h 1410492"/>
                <a:gd name="connsiteX195" fmla="*/ 668947 w 2048870"/>
                <a:gd name="connsiteY195" fmla="*/ 886743 h 1410492"/>
                <a:gd name="connsiteX196" fmla="*/ 675861 w 2048870"/>
                <a:gd name="connsiteY196" fmla="*/ 890200 h 1410492"/>
                <a:gd name="connsiteX197" fmla="*/ 682775 w 2048870"/>
                <a:gd name="connsiteY197" fmla="*/ 891928 h 1410492"/>
                <a:gd name="connsiteX198" fmla="*/ 687961 w 2048870"/>
                <a:gd name="connsiteY198" fmla="*/ 895386 h 1410492"/>
                <a:gd name="connsiteX199" fmla="*/ 700061 w 2048870"/>
                <a:gd name="connsiteY199" fmla="*/ 898843 h 1410492"/>
                <a:gd name="connsiteX200" fmla="*/ 706975 w 2048870"/>
                <a:gd name="connsiteY200" fmla="*/ 904028 h 1410492"/>
                <a:gd name="connsiteX201" fmla="*/ 720803 w 2048870"/>
                <a:gd name="connsiteY201" fmla="*/ 907485 h 1410492"/>
                <a:gd name="connsiteX202" fmla="*/ 727718 w 2048870"/>
                <a:gd name="connsiteY202" fmla="*/ 905757 h 1410492"/>
                <a:gd name="connsiteX203" fmla="*/ 736360 w 2048870"/>
                <a:gd name="connsiteY203" fmla="*/ 904028 h 1410492"/>
                <a:gd name="connsiteX204" fmla="*/ 738089 w 2048870"/>
                <a:gd name="connsiteY204" fmla="*/ 910942 h 1410492"/>
                <a:gd name="connsiteX205" fmla="*/ 760560 w 2048870"/>
                <a:gd name="connsiteY205" fmla="*/ 904028 h 1410492"/>
                <a:gd name="connsiteX206" fmla="*/ 770931 w 2048870"/>
                <a:gd name="connsiteY206" fmla="*/ 895386 h 1410492"/>
                <a:gd name="connsiteX207" fmla="*/ 776117 w 2048870"/>
                <a:gd name="connsiteY207" fmla="*/ 909214 h 1410492"/>
                <a:gd name="connsiteX208" fmla="*/ 783031 w 2048870"/>
                <a:gd name="connsiteY208" fmla="*/ 914400 h 1410492"/>
                <a:gd name="connsiteX209" fmla="*/ 788217 w 2048870"/>
                <a:gd name="connsiteY209" fmla="*/ 919585 h 1410492"/>
                <a:gd name="connsiteX210" fmla="*/ 793402 w 2048870"/>
                <a:gd name="connsiteY210" fmla="*/ 923042 h 1410492"/>
                <a:gd name="connsiteX211" fmla="*/ 798588 w 2048870"/>
                <a:gd name="connsiteY211" fmla="*/ 928228 h 1410492"/>
                <a:gd name="connsiteX212" fmla="*/ 815873 w 2048870"/>
                <a:gd name="connsiteY212" fmla="*/ 935142 h 1410492"/>
                <a:gd name="connsiteX213" fmla="*/ 821059 w 2048870"/>
                <a:gd name="connsiteY213" fmla="*/ 926499 h 1410492"/>
                <a:gd name="connsiteX214" fmla="*/ 824516 w 2048870"/>
                <a:gd name="connsiteY214" fmla="*/ 910942 h 1410492"/>
                <a:gd name="connsiteX215" fmla="*/ 833159 w 2048870"/>
                <a:gd name="connsiteY215" fmla="*/ 912671 h 1410492"/>
                <a:gd name="connsiteX216" fmla="*/ 838344 w 2048870"/>
                <a:gd name="connsiteY216" fmla="*/ 926499 h 1410492"/>
                <a:gd name="connsiteX217" fmla="*/ 841802 w 2048870"/>
                <a:gd name="connsiteY217" fmla="*/ 929956 h 1410492"/>
                <a:gd name="connsiteX218" fmla="*/ 850444 w 2048870"/>
                <a:gd name="connsiteY218" fmla="*/ 948970 h 1410492"/>
                <a:gd name="connsiteX219" fmla="*/ 853901 w 2048870"/>
                <a:gd name="connsiteY219" fmla="*/ 954156 h 1410492"/>
                <a:gd name="connsiteX220" fmla="*/ 859087 w 2048870"/>
                <a:gd name="connsiteY220" fmla="*/ 988727 h 1410492"/>
                <a:gd name="connsiteX221" fmla="*/ 864273 w 2048870"/>
                <a:gd name="connsiteY221" fmla="*/ 1009469 h 1410492"/>
                <a:gd name="connsiteX222" fmla="*/ 878101 w 2048870"/>
                <a:gd name="connsiteY222" fmla="*/ 1012927 h 1410492"/>
                <a:gd name="connsiteX223" fmla="*/ 885015 w 2048870"/>
                <a:gd name="connsiteY223" fmla="*/ 1016384 h 1410492"/>
                <a:gd name="connsiteX224" fmla="*/ 888472 w 2048870"/>
                <a:gd name="connsiteY224" fmla="*/ 1021569 h 1410492"/>
                <a:gd name="connsiteX225" fmla="*/ 900572 w 2048870"/>
                <a:gd name="connsiteY225" fmla="*/ 1026755 h 1410492"/>
                <a:gd name="connsiteX226" fmla="*/ 905758 w 2048870"/>
                <a:gd name="connsiteY226" fmla="*/ 1033669 h 1410492"/>
                <a:gd name="connsiteX227" fmla="*/ 909215 w 2048870"/>
                <a:gd name="connsiteY227" fmla="*/ 1040583 h 1410492"/>
                <a:gd name="connsiteX228" fmla="*/ 912672 w 2048870"/>
                <a:gd name="connsiteY228" fmla="*/ 1045769 h 1410492"/>
                <a:gd name="connsiteX229" fmla="*/ 921315 w 2048870"/>
                <a:gd name="connsiteY229" fmla="*/ 1061326 h 1410492"/>
                <a:gd name="connsiteX230" fmla="*/ 928229 w 2048870"/>
                <a:gd name="connsiteY230" fmla="*/ 1082068 h 1410492"/>
                <a:gd name="connsiteX231" fmla="*/ 929957 w 2048870"/>
                <a:gd name="connsiteY231" fmla="*/ 1088983 h 1410492"/>
                <a:gd name="connsiteX232" fmla="*/ 940329 w 2048870"/>
                <a:gd name="connsiteY232" fmla="*/ 1095897 h 1410492"/>
                <a:gd name="connsiteX233" fmla="*/ 959343 w 2048870"/>
                <a:gd name="connsiteY233" fmla="*/ 1097625 h 1410492"/>
                <a:gd name="connsiteX234" fmla="*/ 967985 w 2048870"/>
                <a:gd name="connsiteY234" fmla="*/ 1101082 h 1410492"/>
                <a:gd name="connsiteX235" fmla="*/ 973171 w 2048870"/>
                <a:gd name="connsiteY235" fmla="*/ 1106268 h 1410492"/>
                <a:gd name="connsiteX236" fmla="*/ 978357 w 2048870"/>
                <a:gd name="connsiteY236" fmla="*/ 1109725 h 1410492"/>
                <a:gd name="connsiteX237" fmla="*/ 983542 w 2048870"/>
                <a:gd name="connsiteY237" fmla="*/ 1118368 h 1410492"/>
                <a:gd name="connsiteX238" fmla="*/ 985271 w 2048870"/>
                <a:gd name="connsiteY238" fmla="*/ 1132196 h 1410492"/>
                <a:gd name="connsiteX239" fmla="*/ 992185 w 2048870"/>
                <a:gd name="connsiteY239" fmla="*/ 1139110 h 1410492"/>
                <a:gd name="connsiteX240" fmla="*/ 1006013 w 2048870"/>
                <a:gd name="connsiteY240" fmla="*/ 1147753 h 1410492"/>
                <a:gd name="connsiteX241" fmla="*/ 1019842 w 2048870"/>
                <a:gd name="connsiteY241" fmla="*/ 1165038 h 1410492"/>
                <a:gd name="connsiteX242" fmla="*/ 1012927 w 2048870"/>
                <a:gd name="connsiteY242" fmla="*/ 1168496 h 1410492"/>
                <a:gd name="connsiteX243" fmla="*/ 1009470 w 2048870"/>
                <a:gd name="connsiteY243" fmla="*/ 1173681 h 1410492"/>
                <a:gd name="connsiteX244" fmla="*/ 997371 w 2048870"/>
                <a:gd name="connsiteY244" fmla="*/ 1177138 h 1410492"/>
                <a:gd name="connsiteX245" fmla="*/ 990456 w 2048870"/>
                <a:gd name="connsiteY245" fmla="*/ 1182324 h 1410492"/>
                <a:gd name="connsiteX246" fmla="*/ 973171 w 2048870"/>
                <a:gd name="connsiteY246" fmla="*/ 1182324 h 1410492"/>
                <a:gd name="connsiteX247" fmla="*/ 971442 w 2048870"/>
                <a:gd name="connsiteY247" fmla="*/ 1161581 h 1410492"/>
                <a:gd name="connsiteX248" fmla="*/ 962800 w 2048870"/>
                <a:gd name="connsiteY248" fmla="*/ 1171953 h 1410492"/>
                <a:gd name="connsiteX249" fmla="*/ 959343 w 2048870"/>
                <a:gd name="connsiteY249" fmla="*/ 1178867 h 1410492"/>
                <a:gd name="connsiteX250" fmla="*/ 955885 w 2048870"/>
                <a:gd name="connsiteY250" fmla="*/ 1184052 h 1410492"/>
                <a:gd name="connsiteX251" fmla="*/ 947243 w 2048870"/>
                <a:gd name="connsiteY251" fmla="*/ 1187510 h 1410492"/>
                <a:gd name="connsiteX252" fmla="*/ 940329 w 2048870"/>
                <a:gd name="connsiteY252" fmla="*/ 1190967 h 1410492"/>
                <a:gd name="connsiteX253" fmla="*/ 935143 w 2048870"/>
                <a:gd name="connsiteY253" fmla="*/ 1189238 h 1410492"/>
                <a:gd name="connsiteX254" fmla="*/ 929957 w 2048870"/>
                <a:gd name="connsiteY254" fmla="*/ 1171953 h 1410492"/>
                <a:gd name="connsiteX255" fmla="*/ 926500 w 2048870"/>
                <a:gd name="connsiteY255" fmla="*/ 1165038 h 1410492"/>
                <a:gd name="connsiteX256" fmla="*/ 921315 w 2048870"/>
                <a:gd name="connsiteY256" fmla="*/ 1178867 h 1410492"/>
                <a:gd name="connsiteX257" fmla="*/ 917857 w 2048870"/>
                <a:gd name="connsiteY257" fmla="*/ 1182324 h 1410492"/>
                <a:gd name="connsiteX258" fmla="*/ 914400 w 2048870"/>
                <a:gd name="connsiteY258" fmla="*/ 1194424 h 1410492"/>
                <a:gd name="connsiteX259" fmla="*/ 909215 w 2048870"/>
                <a:gd name="connsiteY259" fmla="*/ 1199609 h 1410492"/>
                <a:gd name="connsiteX260" fmla="*/ 886744 w 2048870"/>
                <a:gd name="connsiteY260" fmla="*/ 1180595 h 1410492"/>
                <a:gd name="connsiteX261" fmla="*/ 883287 w 2048870"/>
                <a:gd name="connsiteY261" fmla="*/ 1189238 h 1410492"/>
                <a:gd name="connsiteX262" fmla="*/ 879830 w 2048870"/>
                <a:gd name="connsiteY262" fmla="*/ 1194424 h 1410492"/>
                <a:gd name="connsiteX263" fmla="*/ 874644 w 2048870"/>
                <a:gd name="connsiteY263" fmla="*/ 1204795 h 1410492"/>
                <a:gd name="connsiteX264" fmla="*/ 879830 w 2048870"/>
                <a:gd name="connsiteY264" fmla="*/ 1211709 h 1410492"/>
                <a:gd name="connsiteX265" fmla="*/ 890201 w 2048870"/>
                <a:gd name="connsiteY265" fmla="*/ 1215166 h 1410492"/>
                <a:gd name="connsiteX266" fmla="*/ 893658 w 2048870"/>
                <a:gd name="connsiteY266" fmla="*/ 1235909 h 1410492"/>
                <a:gd name="connsiteX267" fmla="*/ 891929 w 2048870"/>
                <a:gd name="connsiteY267" fmla="*/ 1258380 h 1410492"/>
                <a:gd name="connsiteX268" fmla="*/ 890201 w 2048870"/>
                <a:gd name="connsiteY268" fmla="*/ 1263565 h 1410492"/>
                <a:gd name="connsiteX269" fmla="*/ 878101 w 2048870"/>
                <a:gd name="connsiteY269" fmla="*/ 1275665 h 1410492"/>
                <a:gd name="connsiteX270" fmla="*/ 871187 w 2048870"/>
                <a:gd name="connsiteY270" fmla="*/ 1282579 h 1410492"/>
                <a:gd name="connsiteX271" fmla="*/ 876372 w 2048870"/>
                <a:gd name="connsiteY271" fmla="*/ 1287765 h 1410492"/>
                <a:gd name="connsiteX272" fmla="*/ 874644 w 2048870"/>
                <a:gd name="connsiteY272" fmla="*/ 1306779 h 1410492"/>
                <a:gd name="connsiteX273" fmla="*/ 869458 w 2048870"/>
                <a:gd name="connsiteY273" fmla="*/ 1308508 h 1410492"/>
                <a:gd name="connsiteX274" fmla="*/ 864273 w 2048870"/>
                <a:gd name="connsiteY274" fmla="*/ 1320607 h 1410492"/>
                <a:gd name="connsiteX275" fmla="*/ 862544 w 2048870"/>
                <a:gd name="connsiteY275" fmla="*/ 1360364 h 1410492"/>
                <a:gd name="connsiteX276" fmla="*/ 857358 w 2048870"/>
                <a:gd name="connsiteY276" fmla="*/ 1363821 h 1410492"/>
                <a:gd name="connsiteX277" fmla="*/ 852173 w 2048870"/>
                <a:gd name="connsiteY277" fmla="*/ 1365550 h 1410492"/>
                <a:gd name="connsiteX278" fmla="*/ 850444 w 2048870"/>
                <a:gd name="connsiteY278" fmla="*/ 1370735 h 1410492"/>
                <a:gd name="connsiteX279" fmla="*/ 838344 w 2048870"/>
                <a:gd name="connsiteY279" fmla="*/ 1379378 h 1410492"/>
                <a:gd name="connsiteX280" fmla="*/ 841802 w 2048870"/>
                <a:gd name="connsiteY280" fmla="*/ 1389749 h 1410492"/>
                <a:gd name="connsiteX281" fmla="*/ 845259 w 2048870"/>
                <a:gd name="connsiteY281" fmla="*/ 1398392 h 1410492"/>
                <a:gd name="connsiteX282" fmla="*/ 852173 w 2048870"/>
                <a:gd name="connsiteY282" fmla="*/ 1403578 h 1410492"/>
                <a:gd name="connsiteX283" fmla="*/ 859087 w 2048870"/>
                <a:gd name="connsiteY283" fmla="*/ 1410492 h 1410492"/>
                <a:gd name="connsiteX284" fmla="*/ 885015 w 2048870"/>
                <a:gd name="connsiteY284" fmla="*/ 1408763 h 1410492"/>
                <a:gd name="connsiteX285" fmla="*/ 890201 w 2048870"/>
                <a:gd name="connsiteY285" fmla="*/ 1403578 h 1410492"/>
                <a:gd name="connsiteX286" fmla="*/ 921633 w 2048870"/>
                <a:gd name="connsiteY286" fmla="*/ 1403013 h 1410492"/>
                <a:gd name="connsiteX287" fmla="*/ 921315 w 2048870"/>
                <a:gd name="connsiteY287" fmla="*/ 1388021 h 1410492"/>
                <a:gd name="connsiteX288" fmla="*/ 919586 w 2048870"/>
                <a:gd name="connsiteY288" fmla="*/ 1382835 h 1410492"/>
                <a:gd name="connsiteX289" fmla="*/ 938600 w 2048870"/>
                <a:gd name="connsiteY289" fmla="*/ 1367278 h 1410492"/>
                <a:gd name="connsiteX290" fmla="*/ 943786 w 2048870"/>
                <a:gd name="connsiteY290" fmla="*/ 1362093 h 1410492"/>
                <a:gd name="connsiteX291" fmla="*/ 954157 w 2048870"/>
                <a:gd name="connsiteY291" fmla="*/ 1360364 h 1410492"/>
                <a:gd name="connsiteX292" fmla="*/ 993913 w 2048870"/>
                <a:gd name="connsiteY292" fmla="*/ 1356907 h 1410492"/>
                <a:gd name="connsiteX293" fmla="*/ 997371 w 2048870"/>
                <a:gd name="connsiteY293" fmla="*/ 1349993 h 1410492"/>
                <a:gd name="connsiteX294" fmla="*/ 1009470 w 2048870"/>
                <a:gd name="connsiteY294" fmla="*/ 1344807 h 1410492"/>
                <a:gd name="connsiteX295" fmla="*/ 997371 w 2048870"/>
                <a:gd name="connsiteY295" fmla="*/ 1334436 h 1410492"/>
                <a:gd name="connsiteX296" fmla="*/ 993913 w 2048870"/>
                <a:gd name="connsiteY296" fmla="*/ 1327522 h 1410492"/>
                <a:gd name="connsiteX297" fmla="*/ 988728 w 2048870"/>
                <a:gd name="connsiteY297" fmla="*/ 1322336 h 1410492"/>
                <a:gd name="connsiteX298" fmla="*/ 985271 w 2048870"/>
                <a:gd name="connsiteY298" fmla="*/ 1310236 h 1410492"/>
                <a:gd name="connsiteX299" fmla="*/ 981814 w 2048870"/>
                <a:gd name="connsiteY299" fmla="*/ 1299865 h 1410492"/>
                <a:gd name="connsiteX300" fmla="*/ 990456 w 2048870"/>
                <a:gd name="connsiteY300" fmla="*/ 1287765 h 1410492"/>
                <a:gd name="connsiteX301" fmla="*/ 992185 w 2048870"/>
                <a:gd name="connsiteY301" fmla="*/ 1292951 h 1410492"/>
                <a:gd name="connsiteX302" fmla="*/ 1014656 w 2048870"/>
                <a:gd name="connsiteY302" fmla="*/ 1299865 h 1410492"/>
                <a:gd name="connsiteX303" fmla="*/ 1016385 w 2048870"/>
                <a:gd name="connsiteY303" fmla="*/ 1294679 h 1410492"/>
                <a:gd name="connsiteX304" fmla="*/ 1018113 w 2048870"/>
                <a:gd name="connsiteY304" fmla="*/ 1284308 h 1410492"/>
                <a:gd name="connsiteX305" fmla="*/ 1031941 w 2048870"/>
                <a:gd name="connsiteY305" fmla="*/ 1270480 h 1410492"/>
                <a:gd name="connsiteX306" fmla="*/ 1037127 w 2048870"/>
                <a:gd name="connsiteY306" fmla="*/ 1265294 h 1410492"/>
                <a:gd name="connsiteX307" fmla="*/ 1038856 w 2048870"/>
                <a:gd name="connsiteY307" fmla="*/ 1260108 h 1410492"/>
                <a:gd name="connsiteX308" fmla="*/ 1054412 w 2048870"/>
                <a:gd name="connsiteY308" fmla="*/ 1251466 h 1410492"/>
                <a:gd name="connsiteX309" fmla="*/ 1063055 w 2048870"/>
                <a:gd name="connsiteY309" fmla="*/ 1242823 h 1410492"/>
                <a:gd name="connsiteX310" fmla="*/ 1068241 w 2048870"/>
                <a:gd name="connsiteY310" fmla="*/ 1223809 h 1410492"/>
                <a:gd name="connsiteX311" fmla="*/ 1069969 w 2048870"/>
                <a:gd name="connsiteY311" fmla="*/ 1215166 h 1410492"/>
                <a:gd name="connsiteX312" fmla="*/ 1075155 w 2048870"/>
                <a:gd name="connsiteY312" fmla="*/ 1201338 h 1410492"/>
                <a:gd name="connsiteX313" fmla="*/ 1080341 w 2048870"/>
                <a:gd name="connsiteY313" fmla="*/ 1175410 h 1410492"/>
                <a:gd name="connsiteX314" fmla="*/ 1082069 w 2048870"/>
                <a:gd name="connsiteY314" fmla="*/ 1170224 h 1410492"/>
                <a:gd name="connsiteX315" fmla="*/ 1083798 w 2048870"/>
                <a:gd name="connsiteY315" fmla="*/ 1161581 h 1410492"/>
                <a:gd name="connsiteX316" fmla="*/ 1085526 w 2048870"/>
                <a:gd name="connsiteY316" fmla="*/ 1156396 h 1410492"/>
                <a:gd name="connsiteX317" fmla="*/ 1087255 w 2048870"/>
                <a:gd name="connsiteY317" fmla="*/ 1147753 h 1410492"/>
                <a:gd name="connsiteX318" fmla="*/ 1097626 w 2048870"/>
                <a:gd name="connsiteY318" fmla="*/ 1128739 h 1410492"/>
                <a:gd name="connsiteX319" fmla="*/ 1099355 w 2048870"/>
                <a:gd name="connsiteY319" fmla="*/ 1111454 h 1410492"/>
                <a:gd name="connsiteX320" fmla="*/ 1106269 w 2048870"/>
                <a:gd name="connsiteY320" fmla="*/ 1097625 h 1410492"/>
                <a:gd name="connsiteX321" fmla="*/ 1111454 w 2048870"/>
                <a:gd name="connsiteY321" fmla="*/ 1095897 h 1410492"/>
                <a:gd name="connsiteX322" fmla="*/ 1127011 w 2048870"/>
                <a:gd name="connsiteY322" fmla="*/ 1094168 h 1410492"/>
                <a:gd name="connsiteX323" fmla="*/ 1132197 w 2048870"/>
                <a:gd name="connsiteY323" fmla="*/ 1088983 h 1410492"/>
                <a:gd name="connsiteX324" fmla="*/ 1166768 w 2048870"/>
                <a:gd name="connsiteY324" fmla="*/ 1083797 h 1410492"/>
                <a:gd name="connsiteX325" fmla="*/ 1175411 w 2048870"/>
                <a:gd name="connsiteY325" fmla="*/ 1073426 h 1410492"/>
                <a:gd name="connsiteX326" fmla="*/ 1177139 w 2048870"/>
                <a:gd name="connsiteY326" fmla="*/ 1061326 h 1410492"/>
                <a:gd name="connsiteX327" fmla="*/ 1170225 w 2048870"/>
                <a:gd name="connsiteY327" fmla="*/ 1047497 h 1410492"/>
                <a:gd name="connsiteX328" fmla="*/ 1163311 w 2048870"/>
                <a:gd name="connsiteY328" fmla="*/ 1050955 h 1410492"/>
                <a:gd name="connsiteX329" fmla="*/ 1166768 w 2048870"/>
                <a:gd name="connsiteY329" fmla="*/ 1068240 h 1410492"/>
                <a:gd name="connsiteX330" fmla="*/ 1170225 w 2048870"/>
                <a:gd name="connsiteY330" fmla="*/ 1076883 h 1410492"/>
                <a:gd name="connsiteX331" fmla="*/ 1182325 w 2048870"/>
                <a:gd name="connsiteY331" fmla="*/ 1080340 h 1410492"/>
                <a:gd name="connsiteX332" fmla="*/ 1206524 w 2048870"/>
                <a:gd name="connsiteY332" fmla="*/ 1078611 h 1410492"/>
                <a:gd name="connsiteX333" fmla="*/ 1211710 w 2048870"/>
                <a:gd name="connsiteY333" fmla="*/ 1073426 h 1410492"/>
                <a:gd name="connsiteX334" fmla="*/ 1218624 w 2048870"/>
                <a:gd name="connsiteY334" fmla="*/ 1057869 h 1410492"/>
                <a:gd name="connsiteX335" fmla="*/ 1220353 w 2048870"/>
                <a:gd name="connsiteY335" fmla="*/ 1044040 h 1410492"/>
                <a:gd name="connsiteX336" fmla="*/ 1218624 w 2048870"/>
                <a:gd name="connsiteY336" fmla="*/ 1014655 h 1410492"/>
                <a:gd name="connsiteX337" fmla="*/ 1211710 w 2048870"/>
                <a:gd name="connsiteY337" fmla="*/ 997370 h 1410492"/>
                <a:gd name="connsiteX338" fmla="*/ 1206524 w 2048870"/>
                <a:gd name="connsiteY338" fmla="*/ 993913 h 1410492"/>
                <a:gd name="connsiteX339" fmla="*/ 1184053 w 2048870"/>
                <a:gd name="connsiteY339" fmla="*/ 973170 h 1410492"/>
                <a:gd name="connsiteX340" fmla="*/ 1173682 w 2048870"/>
                <a:gd name="connsiteY340" fmla="*/ 962799 h 1410492"/>
                <a:gd name="connsiteX341" fmla="*/ 1168496 w 2048870"/>
                <a:gd name="connsiteY341" fmla="*/ 957613 h 1410492"/>
                <a:gd name="connsiteX342" fmla="*/ 1171954 w 2048870"/>
                <a:gd name="connsiteY342" fmla="*/ 961070 h 1410492"/>
                <a:gd name="connsiteX343" fmla="*/ 1178868 w 2048870"/>
                <a:gd name="connsiteY343" fmla="*/ 971441 h 1410492"/>
                <a:gd name="connsiteX344" fmla="*/ 1185782 w 2048870"/>
                <a:gd name="connsiteY344" fmla="*/ 980084 h 1410492"/>
                <a:gd name="connsiteX345" fmla="*/ 1190968 w 2048870"/>
                <a:gd name="connsiteY345" fmla="*/ 985270 h 1410492"/>
                <a:gd name="connsiteX346" fmla="*/ 1194425 w 2048870"/>
                <a:gd name="connsiteY346" fmla="*/ 993913 h 1410492"/>
                <a:gd name="connsiteX347" fmla="*/ 1206524 w 2048870"/>
                <a:gd name="connsiteY347" fmla="*/ 1007741 h 1410492"/>
                <a:gd name="connsiteX348" fmla="*/ 1208253 w 2048870"/>
                <a:gd name="connsiteY348" fmla="*/ 1014655 h 1410492"/>
                <a:gd name="connsiteX349" fmla="*/ 1211710 w 2048870"/>
                <a:gd name="connsiteY349" fmla="*/ 1023298 h 1410492"/>
                <a:gd name="connsiteX350" fmla="*/ 1213439 w 2048870"/>
                <a:gd name="connsiteY350" fmla="*/ 1035398 h 1410492"/>
                <a:gd name="connsiteX351" fmla="*/ 1215167 w 2048870"/>
                <a:gd name="connsiteY351" fmla="*/ 1044040 h 1410492"/>
                <a:gd name="connsiteX352" fmla="*/ 1220353 w 2048870"/>
                <a:gd name="connsiteY352" fmla="*/ 1045769 h 1410492"/>
                <a:gd name="connsiteX353" fmla="*/ 1223810 w 2048870"/>
                <a:gd name="connsiteY353" fmla="*/ 1050955 h 1410492"/>
                <a:gd name="connsiteX354" fmla="*/ 1234181 w 2048870"/>
                <a:gd name="connsiteY354" fmla="*/ 1063054 h 1410492"/>
                <a:gd name="connsiteX355" fmla="*/ 1253195 w 2048870"/>
                <a:gd name="connsiteY355" fmla="*/ 1057869 h 1410492"/>
                <a:gd name="connsiteX356" fmla="*/ 1258381 w 2048870"/>
                <a:gd name="connsiteY356" fmla="*/ 1054412 h 1410492"/>
                <a:gd name="connsiteX357" fmla="*/ 1265295 w 2048870"/>
                <a:gd name="connsiteY357" fmla="*/ 1050955 h 1410492"/>
                <a:gd name="connsiteX358" fmla="*/ 1267023 w 2048870"/>
                <a:gd name="connsiteY358" fmla="*/ 1056140 h 1410492"/>
                <a:gd name="connsiteX359" fmla="*/ 1268752 w 2048870"/>
                <a:gd name="connsiteY359" fmla="*/ 1068240 h 1410492"/>
                <a:gd name="connsiteX360" fmla="*/ 1279123 w 2048870"/>
                <a:gd name="connsiteY360" fmla="*/ 1064783 h 1410492"/>
                <a:gd name="connsiteX361" fmla="*/ 1289495 w 2048870"/>
                <a:gd name="connsiteY361" fmla="*/ 1056140 h 1410492"/>
                <a:gd name="connsiteX362" fmla="*/ 1299866 w 2048870"/>
                <a:gd name="connsiteY362" fmla="*/ 1045769 h 1410492"/>
                <a:gd name="connsiteX363" fmla="*/ 1305051 w 2048870"/>
                <a:gd name="connsiteY363" fmla="*/ 1042312 h 1410492"/>
                <a:gd name="connsiteX364" fmla="*/ 1294680 w 2048870"/>
                <a:gd name="connsiteY364" fmla="*/ 1061326 h 1410492"/>
                <a:gd name="connsiteX365" fmla="*/ 1286037 w 2048870"/>
                <a:gd name="connsiteY365" fmla="*/ 1075154 h 1410492"/>
                <a:gd name="connsiteX366" fmla="*/ 1272209 w 2048870"/>
                <a:gd name="connsiteY366" fmla="*/ 1082068 h 1410492"/>
                <a:gd name="connsiteX367" fmla="*/ 1265295 w 2048870"/>
                <a:gd name="connsiteY367" fmla="*/ 1085525 h 1410492"/>
                <a:gd name="connsiteX368" fmla="*/ 1260109 w 2048870"/>
                <a:gd name="connsiteY368" fmla="*/ 1087254 h 1410492"/>
                <a:gd name="connsiteX369" fmla="*/ 1251467 w 2048870"/>
                <a:gd name="connsiteY369" fmla="*/ 1092440 h 1410492"/>
                <a:gd name="connsiteX370" fmla="*/ 1232453 w 2048870"/>
                <a:gd name="connsiteY370" fmla="*/ 1095897 h 1410492"/>
                <a:gd name="connsiteX371" fmla="*/ 1230724 w 2048870"/>
                <a:gd name="connsiteY371" fmla="*/ 1121825 h 1410492"/>
                <a:gd name="connsiteX372" fmla="*/ 1223810 w 2048870"/>
                <a:gd name="connsiteY372" fmla="*/ 1128739 h 1410492"/>
                <a:gd name="connsiteX373" fmla="*/ 1216896 w 2048870"/>
                <a:gd name="connsiteY373" fmla="*/ 1130468 h 1410492"/>
                <a:gd name="connsiteX374" fmla="*/ 1248009 w 2048870"/>
                <a:gd name="connsiteY374" fmla="*/ 1123553 h 1410492"/>
                <a:gd name="connsiteX375" fmla="*/ 1275666 w 2048870"/>
                <a:gd name="connsiteY375" fmla="*/ 1125282 h 1410492"/>
                <a:gd name="connsiteX376" fmla="*/ 1282580 w 2048870"/>
                <a:gd name="connsiteY376" fmla="*/ 1128739 h 1410492"/>
                <a:gd name="connsiteX377" fmla="*/ 1318880 w 2048870"/>
                <a:gd name="connsiteY377" fmla="*/ 1127010 h 1410492"/>
                <a:gd name="connsiteX378" fmla="*/ 1330980 w 2048870"/>
                <a:gd name="connsiteY378" fmla="*/ 1123553 h 1410492"/>
                <a:gd name="connsiteX379" fmla="*/ 1339622 w 2048870"/>
                <a:gd name="connsiteY379" fmla="*/ 1118368 h 1410492"/>
                <a:gd name="connsiteX380" fmla="*/ 1356908 w 2048870"/>
                <a:gd name="connsiteY380" fmla="*/ 1123553 h 1410492"/>
                <a:gd name="connsiteX381" fmla="*/ 1384564 w 2048870"/>
                <a:gd name="connsiteY381" fmla="*/ 1114911 h 1410492"/>
                <a:gd name="connsiteX382" fmla="*/ 1391479 w 2048870"/>
                <a:gd name="connsiteY382" fmla="*/ 1109725 h 1410492"/>
                <a:gd name="connsiteX383" fmla="*/ 1400121 w 2048870"/>
                <a:gd name="connsiteY383" fmla="*/ 1095897 h 1410492"/>
                <a:gd name="connsiteX384" fmla="*/ 1403578 w 2048870"/>
                <a:gd name="connsiteY384" fmla="*/ 1090711 h 1410492"/>
                <a:gd name="connsiteX385" fmla="*/ 1408764 w 2048870"/>
                <a:gd name="connsiteY385" fmla="*/ 1088983 h 1410492"/>
                <a:gd name="connsiteX386" fmla="*/ 1415678 w 2048870"/>
                <a:gd name="connsiteY386" fmla="*/ 1097625 h 1410492"/>
                <a:gd name="connsiteX387" fmla="*/ 1419135 w 2048870"/>
                <a:gd name="connsiteY387" fmla="*/ 1104539 h 1410492"/>
                <a:gd name="connsiteX388" fmla="*/ 1424321 w 2048870"/>
                <a:gd name="connsiteY388" fmla="*/ 1111454 h 1410492"/>
                <a:gd name="connsiteX389" fmla="*/ 1434692 w 2048870"/>
                <a:gd name="connsiteY389" fmla="*/ 1109725 h 1410492"/>
                <a:gd name="connsiteX390" fmla="*/ 1438149 w 2048870"/>
                <a:gd name="connsiteY390" fmla="*/ 1101082 h 1410492"/>
                <a:gd name="connsiteX391" fmla="*/ 1446792 w 2048870"/>
                <a:gd name="connsiteY391" fmla="*/ 1076883 h 1410492"/>
                <a:gd name="connsiteX392" fmla="*/ 1455435 w 2048870"/>
                <a:gd name="connsiteY392" fmla="*/ 1082068 h 1410492"/>
                <a:gd name="connsiteX393" fmla="*/ 1457163 w 2048870"/>
                <a:gd name="connsiteY393" fmla="*/ 1097625 h 1410492"/>
                <a:gd name="connsiteX394" fmla="*/ 1462349 w 2048870"/>
                <a:gd name="connsiteY394" fmla="*/ 1104539 h 1410492"/>
                <a:gd name="connsiteX395" fmla="*/ 1464078 w 2048870"/>
                <a:gd name="connsiteY395" fmla="*/ 1116639 h 1410492"/>
                <a:gd name="connsiteX396" fmla="*/ 1450249 w 2048870"/>
                <a:gd name="connsiteY396" fmla="*/ 1132196 h 1410492"/>
                <a:gd name="connsiteX397" fmla="*/ 1436421 w 2048870"/>
                <a:gd name="connsiteY397" fmla="*/ 1149482 h 1410492"/>
                <a:gd name="connsiteX398" fmla="*/ 1427778 w 2048870"/>
                <a:gd name="connsiteY398" fmla="*/ 1158124 h 1410492"/>
                <a:gd name="connsiteX399" fmla="*/ 1415678 w 2048870"/>
                <a:gd name="connsiteY399" fmla="*/ 1163310 h 1410492"/>
                <a:gd name="connsiteX400" fmla="*/ 1400121 w 2048870"/>
                <a:gd name="connsiteY400" fmla="*/ 1171953 h 1410492"/>
                <a:gd name="connsiteX401" fmla="*/ 1398393 w 2048870"/>
                <a:gd name="connsiteY401" fmla="*/ 1177138 h 1410492"/>
                <a:gd name="connsiteX402" fmla="*/ 1389750 w 2048870"/>
                <a:gd name="connsiteY402" fmla="*/ 1189238 h 1410492"/>
                <a:gd name="connsiteX403" fmla="*/ 1384564 w 2048870"/>
                <a:gd name="connsiteY403" fmla="*/ 1197881 h 1410492"/>
                <a:gd name="connsiteX404" fmla="*/ 1382836 w 2048870"/>
                <a:gd name="connsiteY404" fmla="*/ 1203066 h 1410492"/>
                <a:gd name="connsiteX405" fmla="*/ 1374193 w 2048870"/>
                <a:gd name="connsiteY405" fmla="*/ 1211709 h 1410492"/>
                <a:gd name="connsiteX406" fmla="*/ 1369008 w 2048870"/>
                <a:gd name="connsiteY406" fmla="*/ 1216895 h 1410492"/>
                <a:gd name="connsiteX407" fmla="*/ 1356908 w 2048870"/>
                <a:gd name="connsiteY407" fmla="*/ 1230723 h 1410492"/>
                <a:gd name="connsiteX408" fmla="*/ 1351722 w 2048870"/>
                <a:gd name="connsiteY408" fmla="*/ 1237637 h 1410492"/>
                <a:gd name="connsiteX409" fmla="*/ 1349994 w 2048870"/>
                <a:gd name="connsiteY409" fmla="*/ 1242823 h 1410492"/>
                <a:gd name="connsiteX410" fmla="*/ 1344808 w 2048870"/>
                <a:gd name="connsiteY410" fmla="*/ 1253194 h 1410492"/>
                <a:gd name="connsiteX411" fmla="*/ 1377650 w 2048870"/>
                <a:gd name="connsiteY411" fmla="*/ 1253194 h 1410492"/>
                <a:gd name="connsiteX412" fmla="*/ 1386293 w 2048870"/>
                <a:gd name="connsiteY412" fmla="*/ 1246280 h 1410492"/>
                <a:gd name="connsiteX413" fmla="*/ 1391479 w 2048870"/>
                <a:gd name="connsiteY413" fmla="*/ 1244552 h 1410492"/>
                <a:gd name="connsiteX414" fmla="*/ 1412221 w 2048870"/>
                <a:gd name="connsiteY414" fmla="*/ 1248009 h 1410492"/>
                <a:gd name="connsiteX415" fmla="*/ 1415678 w 2048870"/>
                <a:gd name="connsiteY415" fmla="*/ 1253194 h 1410492"/>
                <a:gd name="connsiteX416" fmla="*/ 1426050 w 2048870"/>
                <a:gd name="connsiteY416" fmla="*/ 1260108 h 1410492"/>
                <a:gd name="connsiteX417" fmla="*/ 1451978 w 2048870"/>
                <a:gd name="connsiteY417" fmla="*/ 1258380 h 1410492"/>
                <a:gd name="connsiteX418" fmla="*/ 1457163 w 2048870"/>
                <a:gd name="connsiteY418" fmla="*/ 1253194 h 1410492"/>
                <a:gd name="connsiteX419" fmla="*/ 1465806 w 2048870"/>
                <a:gd name="connsiteY419" fmla="*/ 1248009 h 1410492"/>
                <a:gd name="connsiteX420" fmla="*/ 1483092 w 2048870"/>
                <a:gd name="connsiteY420" fmla="*/ 1249737 h 1410492"/>
                <a:gd name="connsiteX421" fmla="*/ 1491734 w 2048870"/>
                <a:gd name="connsiteY421" fmla="*/ 1258380 h 1410492"/>
                <a:gd name="connsiteX422" fmla="*/ 1502106 w 2048870"/>
                <a:gd name="connsiteY422" fmla="*/ 1272208 h 1410492"/>
                <a:gd name="connsiteX423" fmla="*/ 1503834 w 2048870"/>
                <a:gd name="connsiteY423" fmla="*/ 1289494 h 1410492"/>
                <a:gd name="connsiteX424" fmla="*/ 1514205 w 2048870"/>
                <a:gd name="connsiteY424" fmla="*/ 1301593 h 1410492"/>
                <a:gd name="connsiteX425" fmla="*/ 1517662 w 2048870"/>
                <a:gd name="connsiteY425" fmla="*/ 1306779 h 1410492"/>
                <a:gd name="connsiteX426" fmla="*/ 1515934 w 2048870"/>
                <a:gd name="connsiteY426" fmla="*/ 1355178 h 1410492"/>
                <a:gd name="connsiteX427" fmla="*/ 1509020 w 2048870"/>
                <a:gd name="connsiteY427" fmla="*/ 1360364 h 1410492"/>
                <a:gd name="connsiteX428" fmla="*/ 1503834 w 2048870"/>
                <a:gd name="connsiteY428" fmla="*/ 1370735 h 1410492"/>
                <a:gd name="connsiteX429" fmla="*/ 1534948 w 2048870"/>
                <a:gd name="connsiteY429" fmla="*/ 1374192 h 1410492"/>
                <a:gd name="connsiteX430" fmla="*/ 1540133 w 2048870"/>
                <a:gd name="connsiteY430" fmla="*/ 1377649 h 1410492"/>
                <a:gd name="connsiteX431" fmla="*/ 1559147 w 2048870"/>
                <a:gd name="connsiteY431" fmla="*/ 1375921 h 1410492"/>
                <a:gd name="connsiteX432" fmla="*/ 1564333 w 2048870"/>
                <a:gd name="connsiteY432" fmla="*/ 1372464 h 1410492"/>
                <a:gd name="connsiteX433" fmla="*/ 1579890 w 2048870"/>
                <a:gd name="connsiteY433" fmla="*/ 1370735 h 1410492"/>
                <a:gd name="connsiteX434" fmla="*/ 1597175 w 2048870"/>
                <a:gd name="connsiteY434" fmla="*/ 1363821 h 1410492"/>
                <a:gd name="connsiteX435" fmla="*/ 1600633 w 2048870"/>
                <a:gd name="connsiteY435" fmla="*/ 1360364 h 1410492"/>
                <a:gd name="connsiteX436" fmla="*/ 1612732 w 2048870"/>
                <a:gd name="connsiteY436" fmla="*/ 1341350 h 1410492"/>
                <a:gd name="connsiteX437" fmla="*/ 1617918 w 2048870"/>
                <a:gd name="connsiteY437" fmla="*/ 1305051 h 1410492"/>
                <a:gd name="connsiteX438" fmla="*/ 1623104 w 2048870"/>
                <a:gd name="connsiteY438" fmla="*/ 1301593 h 1410492"/>
                <a:gd name="connsiteX439" fmla="*/ 1624832 w 2048870"/>
                <a:gd name="connsiteY439" fmla="*/ 1284308 h 1410492"/>
                <a:gd name="connsiteX440" fmla="*/ 1631746 w 2048870"/>
                <a:gd name="connsiteY440" fmla="*/ 1270480 h 1410492"/>
                <a:gd name="connsiteX441" fmla="*/ 1643846 w 2048870"/>
                <a:gd name="connsiteY441" fmla="*/ 1263565 h 1410492"/>
                <a:gd name="connsiteX442" fmla="*/ 1669774 w 2048870"/>
                <a:gd name="connsiteY442" fmla="*/ 1260108 h 1410492"/>
                <a:gd name="connsiteX443" fmla="*/ 1681874 w 2048870"/>
                <a:gd name="connsiteY443" fmla="*/ 1254923 h 1410492"/>
                <a:gd name="connsiteX444" fmla="*/ 1687060 w 2048870"/>
                <a:gd name="connsiteY444" fmla="*/ 1253194 h 1410492"/>
                <a:gd name="connsiteX445" fmla="*/ 1702617 w 2048870"/>
                <a:gd name="connsiteY445" fmla="*/ 1249737 h 1410492"/>
                <a:gd name="connsiteX446" fmla="*/ 1704345 w 2048870"/>
                <a:gd name="connsiteY446" fmla="*/ 1232452 h 1410492"/>
                <a:gd name="connsiteX447" fmla="*/ 1706074 w 2048870"/>
                <a:gd name="connsiteY447" fmla="*/ 1208252 h 1410492"/>
                <a:gd name="connsiteX448" fmla="*/ 1711259 w 2048870"/>
                <a:gd name="connsiteY448" fmla="*/ 1201338 h 1410492"/>
                <a:gd name="connsiteX449" fmla="*/ 1718174 w 2048870"/>
                <a:gd name="connsiteY449" fmla="*/ 1192695 h 1410492"/>
                <a:gd name="connsiteX450" fmla="*/ 1725088 w 2048870"/>
                <a:gd name="connsiteY450" fmla="*/ 1189238 h 1410492"/>
                <a:gd name="connsiteX451" fmla="*/ 1735459 w 2048870"/>
                <a:gd name="connsiteY451" fmla="*/ 1184052 h 1410492"/>
                <a:gd name="connsiteX452" fmla="*/ 1773487 w 2048870"/>
                <a:gd name="connsiteY452" fmla="*/ 1189238 h 1410492"/>
                <a:gd name="connsiteX453" fmla="*/ 1778673 w 2048870"/>
                <a:gd name="connsiteY453" fmla="*/ 1194424 h 1410492"/>
                <a:gd name="connsiteX454" fmla="*/ 1808058 w 2048870"/>
                <a:gd name="connsiteY454" fmla="*/ 1187510 h 1410492"/>
                <a:gd name="connsiteX455" fmla="*/ 1811515 w 2048870"/>
                <a:gd name="connsiteY455" fmla="*/ 1180595 h 1410492"/>
                <a:gd name="connsiteX456" fmla="*/ 1818429 w 2048870"/>
                <a:gd name="connsiteY456" fmla="*/ 1171953 h 1410492"/>
                <a:gd name="connsiteX457" fmla="*/ 1825343 w 2048870"/>
                <a:gd name="connsiteY457" fmla="*/ 1158124 h 1410492"/>
                <a:gd name="connsiteX458" fmla="*/ 1827072 w 2048870"/>
                <a:gd name="connsiteY458" fmla="*/ 1151210 h 1410492"/>
                <a:gd name="connsiteX459" fmla="*/ 1833986 w 2048870"/>
                <a:gd name="connsiteY459" fmla="*/ 1133925 h 1410492"/>
                <a:gd name="connsiteX460" fmla="*/ 1820158 w 2048870"/>
                <a:gd name="connsiteY460" fmla="*/ 1128739 h 1410492"/>
                <a:gd name="connsiteX461" fmla="*/ 1816701 w 2048870"/>
                <a:gd name="connsiteY461" fmla="*/ 1123553 h 1410492"/>
                <a:gd name="connsiteX462" fmla="*/ 1820158 w 2048870"/>
                <a:gd name="connsiteY462" fmla="*/ 1118368 h 1410492"/>
                <a:gd name="connsiteX463" fmla="*/ 1825343 w 2048870"/>
                <a:gd name="connsiteY463" fmla="*/ 1111454 h 1410492"/>
                <a:gd name="connsiteX464" fmla="*/ 1828800 w 2048870"/>
                <a:gd name="connsiteY464" fmla="*/ 1099354 h 1410492"/>
                <a:gd name="connsiteX465" fmla="*/ 1832257 w 2048870"/>
                <a:gd name="connsiteY465" fmla="*/ 1094168 h 1410492"/>
                <a:gd name="connsiteX466" fmla="*/ 1830529 w 2048870"/>
                <a:gd name="connsiteY466" fmla="*/ 1083797 h 1410492"/>
                <a:gd name="connsiteX467" fmla="*/ 1816701 w 2048870"/>
                <a:gd name="connsiteY467" fmla="*/ 1087254 h 1410492"/>
                <a:gd name="connsiteX468" fmla="*/ 1789044 w 2048870"/>
                <a:gd name="connsiteY468" fmla="*/ 1092440 h 1410492"/>
                <a:gd name="connsiteX469" fmla="*/ 1778673 w 2048870"/>
                <a:gd name="connsiteY469" fmla="*/ 1095897 h 1410492"/>
                <a:gd name="connsiteX470" fmla="*/ 1771758 w 2048870"/>
                <a:gd name="connsiteY470" fmla="*/ 1099354 h 1410492"/>
                <a:gd name="connsiteX471" fmla="*/ 1766573 w 2048870"/>
                <a:gd name="connsiteY471" fmla="*/ 1116639 h 1410492"/>
                <a:gd name="connsiteX472" fmla="*/ 1756202 w 2048870"/>
                <a:gd name="connsiteY472" fmla="*/ 1118368 h 1410492"/>
                <a:gd name="connsiteX473" fmla="*/ 1738916 w 2048870"/>
                <a:gd name="connsiteY473" fmla="*/ 1130468 h 1410492"/>
                <a:gd name="connsiteX474" fmla="*/ 1718174 w 2048870"/>
                <a:gd name="connsiteY474" fmla="*/ 1140839 h 1410492"/>
                <a:gd name="connsiteX475" fmla="*/ 1709531 w 2048870"/>
                <a:gd name="connsiteY475" fmla="*/ 1146024 h 1410492"/>
                <a:gd name="connsiteX476" fmla="*/ 1707802 w 2048870"/>
                <a:gd name="connsiteY476" fmla="*/ 1151210 h 1410492"/>
                <a:gd name="connsiteX477" fmla="*/ 1700888 w 2048870"/>
                <a:gd name="connsiteY477" fmla="*/ 1154667 h 1410492"/>
                <a:gd name="connsiteX478" fmla="*/ 1647303 w 2048870"/>
                <a:gd name="connsiteY478" fmla="*/ 1152939 h 1410492"/>
                <a:gd name="connsiteX479" fmla="*/ 1650760 w 2048870"/>
                <a:gd name="connsiteY479" fmla="*/ 1142567 h 1410492"/>
                <a:gd name="connsiteX480" fmla="*/ 1649032 w 2048870"/>
                <a:gd name="connsiteY480" fmla="*/ 1120096 h 1410492"/>
                <a:gd name="connsiteX481" fmla="*/ 1598904 w 2048870"/>
                <a:gd name="connsiteY481" fmla="*/ 1114911 h 1410492"/>
                <a:gd name="connsiteX482" fmla="*/ 1591990 w 2048870"/>
                <a:gd name="connsiteY482" fmla="*/ 1113182 h 1410492"/>
                <a:gd name="connsiteX483" fmla="*/ 1564333 w 2048870"/>
                <a:gd name="connsiteY483" fmla="*/ 1109725 h 1410492"/>
                <a:gd name="connsiteX484" fmla="*/ 1553962 w 2048870"/>
                <a:gd name="connsiteY484" fmla="*/ 1101082 h 1410492"/>
                <a:gd name="connsiteX485" fmla="*/ 1543591 w 2048870"/>
                <a:gd name="connsiteY485" fmla="*/ 1092440 h 1410492"/>
                <a:gd name="connsiteX486" fmla="*/ 1526305 w 2048870"/>
                <a:gd name="connsiteY486" fmla="*/ 1090711 h 1410492"/>
                <a:gd name="connsiteX487" fmla="*/ 1514205 w 2048870"/>
                <a:gd name="connsiteY487" fmla="*/ 1085525 h 1410492"/>
                <a:gd name="connsiteX488" fmla="*/ 1512477 w 2048870"/>
                <a:gd name="connsiteY488" fmla="*/ 1092440 h 1410492"/>
                <a:gd name="connsiteX489" fmla="*/ 1507291 w 2048870"/>
                <a:gd name="connsiteY489" fmla="*/ 1085525 h 1410492"/>
                <a:gd name="connsiteX490" fmla="*/ 1496920 w 2048870"/>
                <a:gd name="connsiteY490" fmla="*/ 1075154 h 1410492"/>
                <a:gd name="connsiteX491" fmla="*/ 1445064 w 2048870"/>
                <a:gd name="connsiteY491" fmla="*/ 1076883 h 1410492"/>
                <a:gd name="connsiteX492" fmla="*/ 1439878 w 2048870"/>
                <a:gd name="connsiteY492" fmla="*/ 1080340 h 1410492"/>
                <a:gd name="connsiteX493" fmla="*/ 1438149 w 2048870"/>
                <a:gd name="connsiteY493" fmla="*/ 1085525 h 1410492"/>
                <a:gd name="connsiteX494" fmla="*/ 1451978 w 2048870"/>
                <a:gd name="connsiteY494" fmla="*/ 1071697 h 1410492"/>
                <a:gd name="connsiteX495" fmla="*/ 1458892 w 2048870"/>
                <a:gd name="connsiteY495" fmla="*/ 1064783 h 1410492"/>
                <a:gd name="connsiteX496" fmla="*/ 1464078 w 2048870"/>
                <a:gd name="connsiteY496" fmla="*/ 1059597 h 1410492"/>
                <a:gd name="connsiteX497" fmla="*/ 1479634 w 2048870"/>
                <a:gd name="connsiteY497" fmla="*/ 1064783 h 1410492"/>
                <a:gd name="connsiteX498" fmla="*/ 1490006 w 2048870"/>
                <a:gd name="connsiteY498" fmla="*/ 1071697 h 1410492"/>
                <a:gd name="connsiteX499" fmla="*/ 1498648 w 2048870"/>
                <a:gd name="connsiteY499" fmla="*/ 1068240 h 1410492"/>
                <a:gd name="connsiteX500" fmla="*/ 1500377 w 2048870"/>
                <a:gd name="connsiteY500" fmla="*/ 1063054 h 1410492"/>
                <a:gd name="connsiteX501" fmla="*/ 1503834 w 2048870"/>
                <a:gd name="connsiteY501" fmla="*/ 1057869 h 1410492"/>
                <a:gd name="connsiteX502" fmla="*/ 1507291 w 2048870"/>
                <a:gd name="connsiteY502" fmla="*/ 1045769 h 1410492"/>
                <a:gd name="connsiteX503" fmla="*/ 1540133 w 2048870"/>
                <a:gd name="connsiteY503" fmla="*/ 1044040 h 1410492"/>
                <a:gd name="connsiteX504" fmla="*/ 1557419 w 2048870"/>
                <a:gd name="connsiteY504" fmla="*/ 1059597 h 1410492"/>
                <a:gd name="connsiteX505" fmla="*/ 1560876 w 2048870"/>
                <a:gd name="connsiteY505" fmla="*/ 1073426 h 1410492"/>
                <a:gd name="connsiteX506" fmla="*/ 1564333 w 2048870"/>
                <a:gd name="connsiteY506" fmla="*/ 1087254 h 1410492"/>
                <a:gd name="connsiteX507" fmla="*/ 1566062 w 2048870"/>
                <a:gd name="connsiteY507" fmla="*/ 1094168 h 1410492"/>
                <a:gd name="connsiteX508" fmla="*/ 1569519 w 2048870"/>
                <a:gd name="connsiteY508" fmla="*/ 1099354 h 1410492"/>
                <a:gd name="connsiteX509" fmla="*/ 1576433 w 2048870"/>
                <a:gd name="connsiteY509" fmla="*/ 1037126 h 1410492"/>
                <a:gd name="connsiteX510" fmla="*/ 1588533 w 2048870"/>
                <a:gd name="connsiteY510" fmla="*/ 1052683 h 1410492"/>
                <a:gd name="connsiteX511" fmla="*/ 1591990 w 2048870"/>
                <a:gd name="connsiteY511" fmla="*/ 1069969 h 1410492"/>
                <a:gd name="connsiteX512" fmla="*/ 1607547 w 2048870"/>
                <a:gd name="connsiteY512" fmla="*/ 1080340 h 1410492"/>
                <a:gd name="connsiteX513" fmla="*/ 1612732 w 2048870"/>
                <a:gd name="connsiteY513" fmla="*/ 1083797 h 1410492"/>
                <a:gd name="connsiteX514" fmla="*/ 1621375 w 2048870"/>
                <a:gd name="connsiteY514" fmla="*/ 1085525 h 1410492"/>
                <a:gd name="connsiteX515" fmla="*/ 1633475 w 2048870"/>
                <a:gd name="connsiteY515" fmla="*/ 1092440 h 1410492"/>
                <a:gd name="connsiteX516" fmla="*/ 1640389 w 2048870"/>
                <a:gd name="connsiteY516" fmla="*/ 1095897 h 1410492"/>
                <a:gd name="connsiteX517" fmla="*/ 1649032 w 2048870"/>
                <a:gd name="connsiteY517" fmla="*/ 1109725 h 1410492"/>
                <a:gd name="connsiteX518" fmla="*/ 1659403 w 2048870"/>
                <a:gd name="connsiteY518" fmla="*/ 1113182 h 1410492"/>
                <a:gd name="connsiteX519" fmla="*/ 1669774 w 2048870"/>
                <a:gd name="connsiteY519" fmla="*/ 1118368 h 1410492"/>
                <a:gd name="connsiteX520" fmla="*/ 1680146 w 2048870"/>
                <a:gd name="connsiteY520" fmla="*/ 1125282 h 1410492"/>
                <a:gd name="connsiteX521" fmla="*/ 1699160 w 2048870"/>
                <a:gd name="connsiteY521" fmla="*/ 1139110 h 1410492"/>
                <a:gd name="connsiteX522" fmla="*/ 1712988 w 2048870"/>
                <a:gd name="connsiteY522" fmla="*/ 1142567 h 1410492"/>
                <a:gd name="connsiteX523" fmla="*/ 1704345 w 2048870"/>
                <a:gd name="connsiteY523" fmla="*/ 1137382 h 1410492"/>
                <a:gd name="connsiteX524" fmla="*/ 1699160 w 2048870"/>
                <a:gd name="connsiteY524" fmla="*/ 1132196 h 1410492"/>
                <a:gd name="connsiteX525" fmla="*/ 1688788 w 2048870"/>
                <a:gd name="connsiteY525" fmla="*/ 1128739 h 1410492"/>
                <a:gd name="connsiteX526" fmla="*/ 1674960 w 2048870"/>
                <a:gd name="connsiteY526" fmla="*/ 1125282 h 1410492"/>
                <a:gd name="connsiteX527" fmla="*/ 1659403 w 2048870"/>
                <a:gd name="connsiteY527" fmla="*/ 1121825 h 1410492"/>
                <a:gd name="connsiteX528" fmla="*/ 1650760 w 2048870"/>
                <a:gd name="connsiteY528" fmla="*/ 1116639 h 1410492"/>
                <a:gd name="connsiteX529" fmla="*/ 1645575 w 2048870"/>
                <a:gd name="connsiteY529" fmla="*/ 1113182 h 1410492"/>
                <a:gd name="connsiteX530" fmla="*/ 1642118 w 2048870"/>
                <a:gd name="connsiteY530" fmla="*/ 1107996 h 1410492"/>
                <a:gd name="connsiteX531" fmla="*/ 1628289 w 2048870"/>
                <a:gd name="connsiteY531" fmla="*/ 1088983 h 1410492"/>
                <a:gd name="connsiteX532" fmla="*/ 1626561 w 2048870"/>
                <a:gd name="connsiteY532" fmla="*/ 1083797 h 1410492"/>
                <a:gd name="connsiteX533" fmla="*/ 1619647 w 2048870"/>
                <a:gd name="connsiteY533" fmla="*/ 1075154 h 1410492"/>
                <a:gd name="connsiteX534" fmla="*/ 1616189 w 2048870"/>
                <a:gd name="connsiteY534" fmla="*/ 1061326 h 1410492"/>
                <a:gd name="connsiteX535" fmla="*/ 1614461 w 2048870"/>
                <a:gd name="connsiteY535" fmla="*/ 1056140 h 1410492"/>
                <a:gd name="connsiteX536" fmla="*/ 1604090 w 2048870"/>
                <a:gd name="connsiteY536" fmla="*/ 1038855 h 1410492"/>
                <a:gd name="connsiteX537" fmla="*/ 1598904 w 2048870"/>
                <a:gd name="connsiteY537" fmla="*/ 1037126 h 1410492"/>
                <a:gd name="connsiteX538" fmla="*/ 1593718 w 2048870"/>
                <a:gd name="connsiteY538" fmla="*/ 1030212 h 1410492"/>
                <a:gd name="connsiteX539" fmla="*/ 1585076 w 2048870"/>
                <a:gd name="connsiteY539" fmla="*/ 1019841 h 1410492"/>
                <a:gd name="connsiteX540" fmla="*/ 1590261 w 2048870"/>
                <a:gd name="connsiteY540" fmla="*/ 1000827 h 1410492"/>
                <a:gd name="connsiteX541" fmla="*/ 1598904 w 2048870"/>
                <a:gd name="connsiteY541" fmla="*/ 999098 h 1410492"/>
                <a:gd name="connsiteX542" fmla="*/ 1611004 w 2048870"/>
                <a:gd name="connsiteY542" fmla="*/ 990455 h 1410492"/>
                <a:gd name="connsiteX543" fmla="*/ 1617918 w 2048870"/>
                <a:gd name="connsiteY543" fmla="*/ 985270 h 1410492"/>
                <a:gd name="connsiteX544" fmla="*/ 1616189 w 2048870"/>
                <a:gd name="connsiteY544" fmla="*/ 1021569 h 1410492"/>
                <a:gd name="connsiteX545" fmla="*/ 1612732 w 2048870"/>
                <a:gd name="connsiteY545" fmla="*/ 1028483 h 1410492"/>
                <a:gd name="connsiteX546" fmla="*/ 1607547 w 2048870"/>
                <a:gd name="connsiteY546" fmla="*/ 1035398 h 1410492"/>
                <a:gd name="connsiteX547" fmla="*/ 1612732 w 2048870"/>
                <a:gd name="connsiteY547" fmla="*/ 1031941 h 1410492"/>
                <a:gd name="connsiteX548" fmla="*/ 1621375 w 2048870"/>
                <a:gd name="connsiteY548" fmla="*/ 1016384 h 1410492"/>
                <a:gd name="connsiteX549" fmla="*/ 1626561 w 2048870"/>
                <a:gd name="connsiteY549" fmla="*/ 997370 h 1410492"/>
                <a:gd name="connsiteX550" fmla="*/ 1626561 w 2048870"/>
                <a:gd name="connsiteY550" fmla="*/ 976627 h 1410492"/>
                <a:gd name="connsiteX551" fmla="*/ 1619647 w 2048870"/>
                <a:gd name="connsiteY551" fmla="*/ 962799 h 1410492"/>
                <a:gd name="connsiteX552" fmla="*/ 1626561 w 2048870"/>
                <a:gd name="connsiteY552" fmla="*/ 966256 h 1410492"/>
                <a:gd name="connsiteX553" fmla="*/ 1638661 w 2048870"/>
                <a:gd name="connsiteY553" fmla="*/ 969713 h 1410492"/>
                <a:gd name="connsiteX554" fmla="*/ 1645575 w 2048870"/>
                <a:gd name="connsiteY554" fmla="*/ 967984 h 1410492"/>
                <a:gd name="connsiteX555" fmla="*/ 1650760 w 2048870"/>
                <a:gd name="connsiteY555" fmla="*/ 955885 h 1410492"/>
                <a:gd name="connsiteX556" fmla="*/ 1659403 w 2048870"/>
                <a:gd name="connsiteY556" fmla="*/ 933414 h 1410492"/>
                <a:gd name="connsiteX557" fmla="*/ 1662860 w 2048870"/>
                <a:gd name="connsiteY557" fmla="*/ 929956 h 1410492"/>
                <a:gd name="connsiteX558" fmla="*/ 1664589 w 2048870"/>
                <a:gd name="connsiteY558" fmla="*/ 923042 h 1410492"/>
                <a:gd name="connsiteX559" fmla="*/ 1673231 w 2048870"/>
                <a:gd name="connsiteY559" fmla="*/ 893657 h 1410492"/>
                <a:gd name="connsiteX560" fmla="*/ 1687060 w 2048870"/>
                <a:gd name="connsiteY560" fmla="*/ 891928 h 1410492"/>
                <a:gd name="connsiteX561" fmla="*/ 1693974 w 2048870"/>
                <a:gd name="connsiteY561" fmla="*/ 890200 h 1410492"/>
                <a:gd name="connsiteX562" fmla="*/ 1700888 w 2048870"/>
                <a:gd name="connsiteY562" fmla="*/ 886743 h 1410492"/>
                <a:gd name="connsiteX563" fmla="*/ 1719902 w 2048870"/>
                <a:gd name="connsiteY563" fmla="*/ 878100 h 1410492"/>
                <a:gd name="connsiteX564" fmla="*/ 1726816 w 2048870"/>
                <a:gd name="connsiteY564" fmla="*/ 876372 h 1410492"/>
                <a:gd name="connsiteX565" fmla="*/ 1745830 w 2048870"/>
                <a:gd name="connsiteY565" fmla="*/ 860815 h 1410492"/>
                <a:gd name="connsiteX566" fmla="*/ 1751016 w 2048870"/>
                <a:gd name="connsiteY566" fmla="*/ 857358 h 1410492"/>
                <a:gd name="connsiteX567" fmla="*/ 1757930 w 2048870"/>
                <a:gd name="connsiteY567" fmla="*/ 855629 h 1410492"/>
                <a:gd name="connsiteX568" fmla="*/ 1764844 w 2048870"/>
                <a:gd name="connsiteY568" fmla="*/ 841801 h 1410492"/>
                <a:gd name="connsiteX569" fmla="*/ 1771758 w 2048870"/>
                <a:gd name="connsiteY569" fmla="*/ 836615 h 1410492"/>
                <a:gd name="connsiteX570" fmla="*/ 1776944 w 2048870"/>
                <a:gd name="connsiteY570" fmla="*/ 833158 h 1410492"/>
                <a:gd name="connsiteX571" fmla="*/ 1787315 w 2048870"/>
                <a:gd name="connsiteY571" fmla="*/ 831429 h 1410492"/>
                <a:gd name="connsiteX572" fmla="*/ 1795958 w 2048870"/>
                <a:gd name="connsiteY572" fmla="*/ 829701 h 1410492"/>
                <a:gd name="connsiteX573" fmla="*/ 1797687 w 2048870"/>
                <a:gd name="connsiteY573" fmla="*/ 824515 h 1410492"/>
                <a:gd name="connsiteX574" fmla="*/ 1825343 w 2048870"/>
                <a:gd name="connsiteY574" fmla="*/ 796859 h 1410492"/>
                <a:gd name="connsiteX575" fmla="*/ 1830529 w 2048870"/>
                <a:gd name="connsiteY575" fmla="*/ 776116 h 1410492"/>
                <a:gd name="connsiteX576" fmla="*/ 1835715 w 2048870"/>
                <a:gd name="connsiteY576" fmla="*/ 770930 h 1410492"/>
                <a:gd name="connsiteX577" fmla="*/ 1863371 w 2048870"/>
                <a:gd name="connsiteY577" fmla="*/ 760559 h 1410492"/>
                <a:gd name="connsiteX578" fmla="*/ 1868557 w 2048870"/>
                <a:gd name="connsiteY578" fmla="*/ 755373 h 1410492"/>
                <a:gd name="connsiteX579" fmla="*/ 1880657 w 2048870"/>
                <a:gd name="connsiteY579" fmla="*/ 753645 h 1410492"/>
                <a:gd name="connsiteX580" fmla="*/ 1889299 w 2048870"/>
                <a:gd name="connsiteY580" fmla="*/ 750188 h 1410492"/>
                <a:gd name="connsiteX581" fmla="*/ 1894485 w 2048870"/>
                <a:gd name="connsiteY581" fmla="*/ 731174 h 1410492"/>
                <a:gd name="connsiteX582" fmla="*/ 1910042 w 2048870"/>
                <a:gd name="connsiteY582" fmla="*/ 719074 h 1410492"/>
                <a:gd name="connsiteX583" fmla="*/ 1916956 w 2048870"/>
                <a:gd name="connsiteY583" fmla="*/ 710431 h 1410492"/>
                <a:gd name="connsiteX584" fmla="*/ 1908313 w 2048870"/>
                <a:gd name="connsiteY584" fmla="*/ 689689 h 1410492"/>
                <a:gd name="connsiteX585" fmla="*/ 1901399 w 2048870"/>
                <a:gd name="connsiteY585" fmla="*/ 675860 h 1410492"/>
                <a:gd name="connsiteX586" fmla="*/ 1897942 w 2048870"/>
                <a:gd name="connsiteY586" fmla="*/ 665489 h 1410492"/>
                <a:gd name="connsiteX587" fmla="*/ 1901399 w 2048870"/>
                <a:gd name="connsiteY587" fmla="*/ 651661 h 1410492"/>
                <a:gd name="connsiteX588" fmla="*/ 1897942 w 2048870"/>
                <a:gd name="connsiteY588" fmla="*/ 629190 h 1410492"/>
                <a:gd name="connsiteX589" fmla="*/ 1904856 w 2048870"/>
                <a:gd name="connsiteY589" fmla="*/ 624004 h 1410492"/>
                <a:gd name="connsiteX590" fmla="*/ 1910042 w 2048870"/>
                <a:gd name="connsiteY590" fmla="*/ 613633 h 1410492"/>
                <a:gd name="connsiteX591" fmla="*/ 1918685 w 2048870"/>
                <a:gd name="connsiteY591" fmla="*/ 608447 h 1410492"/>
                <a:gd name="connsiteX592" fmla="*/ 1925599 w 2048870"/>
                <a:gd name="connsiteY592" fmla="*/ 601533 h 1410492"/>
                <a:gd name="connsiteX593" fmla="*/ 1929056 w 2048870"/>
                <a:gd name="connsiteY593" fmla="*/ 587705 h 1410492"/>
                <a:gd name="connsiteX594" fmla="*/ 1932513 w 2048870"/>
                <a:gd name="connsiteY594" fmla="*/ 582519 h 1410492"/>
                <a:gd name="connsiteX595" fmla="*/ 1939427 w 2048870"/>
                <a:gd name="connsiteY595" fmla="*/ 565234 h 1410492"/>
                <a:gd name="connsiteX596" fmla="*/ 1963627 w 2048870"/>
                <a:gd name="connsiteY596" fmla="*/ 556591 h 1410492"/>
                <a:gd name="connsiteX597" fmla="*/ 1968812 w 2048870"/>
                <a:gd name="connsiteY597" fmla="*/ 547948 h 1410492"/>
                <a:gd name="connsiteX598" fmla="*/ 1986098 w 2048870"/>
                <a:gd name="connsiteY598" fmla="*/ 544491 h 1410492"/>
                <a:gd name="connsiteX599" fmla="*/ 2008569 w 2048870"/>
                <a:gd name="connsiteY599" fmla="*/ 539305 h 1410492"/>
                <a:gd name="connsiteX600" fmla="*/ 2017212 w 2048870"/>
                <a:gd name="connsiteY600" fmla="*/ 530663 h 1410492"/>
                <a:gd name="connsiteX601" fmla="*/ 2048326 w 2048870"/>
                <a:gd name="connsiteY601" fmla="*/ 525477 h 1410492"/>
                <a:gd name="connsiteX602" fmla="*/ 2043140 w 2048870"/>
                <a:gd name="connsiteY602" fmla="*/ 499549 h 1410492"/>
                <a:gd name="connsiteX603" fmla="*/ 2032769 w 2048870"/>
                <a:gd name="connsiteY603" fmla="*/ 492635 h 1410492"/>
                <a:gd name="connsiteX604" fmla="*/ 2025854 w 2048870"/>
                <a:gd name="connsiteY604" fmla="*/ 447693 h 1410492"/>
                <a:gd name="connsiteX605" fmla="*/ 2018940 w 2048870"/>
                <a:gd name="connsiteY605" fmla="*/ 428679 h 1410492"/>
                <a:gd name="connsiteX606" fmla="*/ 2015483 w 2048870"/>
                <a:gd name="connsiteY606" fmla="*/ 418307 h 1410492"/>
                <a:gd name="connsiteX607" fmla="*/ 2010298 w 2048870"/>
                <a:gd name="connsiteY607" fmla="*/ 411393 h 1410492"/>
                <a:gd name="connsiteX608" fmla="*/ 2003383 w 2048870"/>
                <a:gd name="connsiteY608" fmla="*/ 407936 h 1410492"/>
                <a:gd name="connsiteX609" fmla="*/ 1984369 w 2048870"/>
                <a:gd name="connsiteY609" fmla="*/ 404479 h 1410492"/>
                <a:gd name="connsiteX610" fmla="*/ 1977455 w 2048870"/>
                <a:gd name="connsiteY610" fmla="*/ 394108 h 1410492"/>
                <a:gd name="connsiteX611" fmla="*/ 1972270 w 2048870"/>
                <a:gd name="connsiteY611" fmla="*/ 390651 h 1410492"/>
                <a:gd name="connsiteX612" fmla="*/ 1968812 w 2048870"/>
                <a:gd name="connsiteY612" fmla="*/ 382008 h 1410492"/>
                <a:gd name="connsiteX613" fmla="*/ 1973998 w 2048870"/>
                <a:gd name="connsiteY613" fmla="*/ 366451 h 1410492"/>
                <a:gd name="connsiteX614" fmla="*/ 1982641 w 2048870"/>
                <a:gd name="connsiteY614" fmla="*/ 354351 h 1410492"/>
                <a:gd name="connsiteX615" fmla="*/ 1984369 w 2048870"/>
                <a:gd name="connsiteY615" fmla="*/ 347437 h 1410492"/>
                <a:gd name="connsiteX616" fmla="*/ 1994741 w 2048870"/>
                <a:gd name="connsiteY616" fmla="*/ 343980 h 1410492"/>
                <a:gd name="connsiteX617" fmla="*/ 1960170 w 2048870"/>
                <a:gd name="connsiteY617" fmla="*/ 337066 h 1410492"/>
                <a:gd name="connsiteX618" fmla="*/ 1958441 w 2048870"/>
                <a:gd name="connsiteY618" fmla="*/ 331880 h 1410492"/>
                <a:gd name="connsiteX619" fmla="*/ 1954984 w 2048870"/>
                <a:gd name="connsiteY619" fmla="*/ 326694 h 1410492"/>
                <a:gd name="connsiteX620" fmla="*/ 1958441 w 2048870"/>
                <a:gd name="connsiteY620" fmla="*/ 318052 h 1410492"/>
                <a:gd name="connsiteX621" fmla="*/ 1963627 w 2048870"/>
                <a:gd name="connsiteY621" fmla="*/ 311138 h 1410492"/>
                <a:gd name="connsiteX622" fmla="*/ 1967084 w 2048870"/>
                <a:gd name="connsiteY622" fmla="*/ 305952 h 1410492"/>
                <a:gd name="connsiteX623" fmla="*/ 1968812 w 2048870"/>
                <a:gd name="connsiteY623" fmla="*/ 299038 h 1410492"/>
                <a:gd name="connsiteX624" fmla="*/ 1973998 w 2048870"/>
                <a:gd name="connsiteY624" fmla="*/ 293852 h 1410492"/>
                <a:gd name="connsiteX625" fmla="*/ 1975727 w 2048870"/>
                <a:gd name="connsiteY625" fmla="*/ 269652 h 1410492"/>
                <a:gd name="connsiteX626" fmla="*/ 1970541 w 2048870"/>
                <a:gd name="connsiteY626" fmla="*/ 255824 h 1410492"/>
                <a:gd name="connsiteX627" fmla="*/ 1968812 w 2048870"/>
                <a:gd name="connsiteY627" fmla="*/ 250638 h 1410492"/>
                <a:gd name="connsiteX628" fmla="*/ 1967084 w 2048870"/>
                <a:gd name="connsiteY628" fmla="*/ 243724 h 1410492"/>
                <a:gd name="connsiteX629" fmla="*/ 1963627 w 2048870"/>
                <a:gd name="connsiteY629" fmla="*/ 238539 h 1410492"/>
                <a:gd name="connsiteX630" fmla="*/ 1965355 w 2048870"/>
                <a:gd name="connsiteY630" fmla="*/ 216068 h 1410492"/>
                <a:gd name="connsiteX631" fmla="*/ 1961898 w 2048870"/>
                <a:gd name="connsiteY631" fmla="*/ 209153 h 1410492"/>
                <a:gd name="connsiteX632" fmla="*/ 1954984 w 2048870"/>
                <a:gd name="connsiteY632" fmla="*/ 216068 h 1410492"/>
                <a:gd name="connsiteX633" fmla="*/ 1948070 w 2048870"/>
                <a:gd name="connsiteY633" fmla="*/ 217796 h 1410492"/>
                <a:gd name="connsiteX634" fmla="*/ 1937699 w 2048870"/>
                <a:gd name="connsiteY634" fmla="*/ 226439 h 1410492"/>
                <a:gd name="connsiteX635" fmla="*/ 1932513 w 2048870"/>
                <a:gd name="connsiteY635" fmla="*/ 228167 h 1410492"/>
                <a:gd name="connsiteX636" fmla="*/ 1922142 w 2048870"/>
                <a:gd name="connsiteY636" fmla="*/ 235082 h 1410492"/>
                <a:gd name="connsiteX637" fmla="*/ 1906585 w 2048870"/>
                <a:gd name="connsiteY637" fmla="*/ 231624 h 1410492"/>
                <a:gd name="connsiteX638" fmla="*/ 1885842 w 2048870"/>
                <a:gd name="connsiteY638" fmla="*/ 222982 h 1410492"/>
                <a:gd name="connsiteX639" fmla="*/ 1878928 w 2048870"/>
                <a:gd name="connsiteY639" fmla="*/ 224710 h 1410492"/>
                <a:gd name="connsiteX640" fmla="*/ 1868557 w 2048870"/>
                <a:gd name="connsiteY640" fmla="*/ 233353 h 1410492"/>
                <a:gd name="connsiteX641" fmla="*/ 1847814 w 2048870"/>
                <a:gd name="connsiteY641" fmla="*/ 221253 h 1410492"/>
                <a:gd name="connsiteX642" fmla="*/ 1839172 w 2048870"/>
                <a:gd name="connsiteY642" fmla="*/ 217796 h 1410492"/>
                <a:gd name="connsiteX643" fmla="*/ 1832257 w 2048870"/>
                <a:gd name="connsiteY643" fmla="*/ 214339 h 1410492"/>
                <a:gd name="connsiteX644" fmla="*/ 1823615 w 2048870"/>
                <a:gd name="connsiteY644" fmla="*/ 224710 h 1410492"/>
                <a:gd name="connsiteX645" fmla="*/ 1816701 w 2048870"/>
                <a:gd name="connsiteY645" fmla="*/ 229896 h 1410492"/>
                <a:gd name="connsiteX646" fmla="*/ 1787315 w 2048870"/>
                <a:gd name="connsiteY646" fmla="*/ 221253 h 1410492"/>
                <a:gd name="connsiteX647" fmla="*/ 1759659 w 2048870"/>
                <a:gd name="connsiteY647" fmla="*/ 222982 h 1410492"/>
                <a:gd name="connsiteX648" fmla="*/ 1754473 w 2048870"/>
                <a:gd name="connsiteY648" fmla="*/ 224710 h 1410492"/>
                <a:gd name="connsiteX649" fmla="*/ 1735459 w 2048870"/>
                <a:gd name="connsiteY649" fmla="*/ 222982 h 1410492"/>
                <a:gd name="connsiteX650" fmla="*/ 1728545 w 2048870"/>
                <a:gd name="connsiteY650" fmla="*/ 217796 h 1410492"/>
                <a:gd name="connsiteX651" fmla="*/ 1721631 w 2048870"/>
                <a:gd name="connsiteY651" fmla="*/ 207425 h 1410492"/>
                <a:gd name="connsiteX652" fmla="*/ 1712988 w 2048870"/>
                <a:gd name="connsiteY652" fmla="*/ 235082 h 1410492"/>
                <a:gd name="connsiteX653" fmla="*/ 1706074 w 2048870"/>
                <a:gd name="connsiteY653" fmla="*/ 250638 h 1410492"/>
                <a:gd name="connsiteX654" fmla="*/ 1692245 w 2048870"/>
                <a:gd name="connsiteY654" fmla="*/ 236810 h 1410492"/>
                <a:gd name="connsiteX655" fmla="*/ 1645575 w 2048870"/>
                <a:gd name="connsiteY655" fmla="*/ 224710 h 1410492"/>
                <a:gd name="connsiteX656" fmla="*/ 1640389 w 2048870"/>
                <a:gd name="connsiteY656" fmla="*/ 217796 h 1410492"/>
                <a:gd name="connsiteX657" fmla="*/ 1638661 w 2048870"/>
                <a:gd name="connsiteY657" fmla="*/ 212610 h 1410492"/>
                <a:gd name="connsiteX658" fmla="*/ 1623104 w 2048870"/>
                <a:gd name="connsiteY658" fmla="*/ 195325 h 1410492"/>
                <a:gd name="connsiteX659" fmla="*/ 1609275 w 2048870"/>
                <a:gd name="connsiteY659" fmla="*/ 191868 h 1410492"/>
                <a:gd name="connsiteX660" fmla="*/ 1600633 w 2048870"/>
                <a:gd name="connsiteY660" fmla="*/ 200511 h 1410492"/>
                <a:gd name="connsiteX661" fmla="*/ 1595447 w 2048870"/>
                <a:gd name="connsiteY661" fmla="*/ 202239 h 1410492"/>
                <a:gd name="connsiteX662" fmla="*/ 1574704 w 2048870"/>
                <a:gd name="connsiteY662" fmla="*/ 209153 h 1410492"/>
                <a:gd name="connsiteX663" fmla="*/ 1569519 w 2048870"/>
                <a:gd name="connsiteY663" fmla="*/ 214339 h 1410492"/>
                <a:gd name="connsiteX664" fmla="*/ 1564333 w 2048870"/>
                <a:gd name="connsiteY664" fmla="*/ 217796 h 1410492"/>
                <a:gd name="connsiteX665" fmla="*/ 1560876 w 2048870"/>
                <a:gd name="connsiteY665" fmla="*/ 224710 h 1410492"/>
                <a:gd name="connsiteX666" fmla="*/ 1543591 w 2048870"/>
                <a:gd name="connsiteY666" fmla="*/ 238539 h 1410492"/>
                <a:gd name="connsiteX667" fmla="*/ 1536676 w 2048870"/>
                <a:gd name="connsiteY667" fmla="*/ 245453 h 1410492"/>
                <a:gd name="connsiteX668" fmla="*/ 1534948 w 2048870"/>
                <a:gd name="connsiteY668" fmla="*/ 250638 h 1410492"/>
                <a:gd name="connsiteX669" fmla="*/ 1536676 w 2048870"/>
                <a:gd name="connsiteY669" fmla="*/ 255824 h 1410492"/>
                <a:gd name="connsiteX670" fmla="*/ 1510748 w 2048870"/>
                <a:gd name="connsiteY670" fmla="*/ 259281 h 1410492"/>
                <a:gd name="connsiteX671" fmla="*/ 1500377 w 2048870"/>
                <a:gd name="connsiteY671" fmla="*/ 252367 h 1410492"/>
                <a:gd name="connsiteX672" fmla="*/ 1472720 w 2048870"/>
                <a:gd name="connsiteY672" fmla="*/ 252367 h 1410492"/>
                <a:gd name="connsiteX673" fmla="*/ 1455435 w 2048870"/>
                <a:gd name="connsiteY673" fmla="*/ 254096 h 1410492"/>
                <a:gd name="connsiteX674" fmla="*/ 1446792 w 2048870"/>
                <a:gd name="connsiteY674" fmla="*/ 261010 h 1410492"/>
                <a:gd name="connsiteX675" fmla="*/ 1441606 w 2048870"/>
                <a:gd name="connsiteY675" fmla="*/ 267924 h 1410492"/>
                <a:gd name="connsiteX676" fmla="*/ 1438149 w 2048870"/>
                <a:gd name="connsiteY676" fmla="*/ 273110 h 1410492"/>
                <a:gd name="connsiteX677" fmla="*/ 1432964 w 2048870"/>
                <a:gd name="connsiteY677" fmla="*/ 274838 h 1410492"/>
                <a:gd name="connsiteX678" fmla="*/ 1419135 w 2048870"/>
                <a:gd name="connsiteY678" fmla="*/ 281752 h 1410492"/>
                <a:gd name="connsiteX679" fmla="*/ 1412221 w 2048870"/>
                <a:gd name="connsiteY679" fmla="*/ 278295 h 1410492"/>
                <a:gd name="connsiteX680" fmla="*/ 1408764 w 2048870"/>
                <a:gd name="connsiteY680" fmla="*/ 273110 h 1410492"/>
                <a:gd name="connsiteX681" fmla="*/ 1400121 w 2048870"/>
                <a:gd name="connsiteY681" fmla="*/ 257553 h 1410492"/>
                <a:gd name="connsiteX682" fmla="*/ 1394936 w 2048870"/>
                <a:gd name="connsiteY682" fmla="*/ 254096 h 1410492"/>
                <a:gd name="connsiteX683" fmla="*/ 1386293 w 2048870"/>
                <a:gd name="connsiteY683" fmla="*/ 243724 h 1410492"/>
                <a:gd name="connsiteX684" fmla="*/ 1381107 w 2048870"/>
                <a:gd name="connsiteY684" fmla="*/ 212610 h 1410492"/>
                <a:gd name="connsiteX685" fmla="*/ 1370736 w 2048870"/>
                <a:gd name="connsiteY685" fmla="*/ 202239 h 1410492"/>
                <a:gd name="connsiteX686" fmla="*/ 1363822 w 2048870"/>
                <a:gd name="connsiteY686" fmla="*/ 200511 h 1410492"/>
                <a:gd name="connsiteX687" fmla="*/ 1358636 w 2048870"/>
                <a:gd name="connsiteY687" fmla="*/ 193596 h 1410492"/>
                <a:gd name="connsiteX688" fmla="*/ 1349994 w 2048870"/>
                <a:gd name="connsiteY688" fmla="*/ 178040 h 1410492"/>
                <a:gd name="connsiteX689" fmla="*/ 1337894 w 2048870"/>
                <a:gd name="connsiteY689" fmla="*/ 167668 h 1410492"/>
                <a:gd name="connsiteX690" fmla="*/ 1298137 w 2048870"/>
                <a:gd name="connsiteY690" fmla="*/ 169397 h 1410492"/>
                <a:gd name="connsiteX691" fmla="*/ 1284309 w 2048870"/>
                <a:gd name="connsiteY691" fmla="*/ 179768 h 1410492"/>
                <a:gd name="connsiteX692" fmla="*/ 1268752 w 2048870"/>
                <a:gd name="connsiteY692" fmla="*/ 181497 h 1410492"/>
                <a:gd name="connsiteX693" fmla="*/ 1251467 w 2048870"/>
                <a:gd name="connsiteY693" fmla="*/ 174583 h 1410492"/>
                <a:gd name="connsiteX694" fmla="*/ 1241095 w 2048870"/>
                <a:gd name="connsiteY694" fmla="*/ 164211 h 1410492"/>
                <a:gd name="connsiteX695" fmla="*/ 1230724 w 2048870"/>
                <a:gd name="connsiteY695" fmla="*/ 160754 h 1410492"/>
                <a:gd name="connsiteX696" fmla="*/ 1215167 w 2048870"/>
                <a:gd name="connsiteY696" fmla="*/ 146926 h 1410492"/>
                <a:gd name="connsiteX697" fmla="*/ 1213439 w 2048870"/>
                <a:gd name="connsiteY697" fmla="*/ 140012 h 1410492"/>
                <a:gd name="connsiteX698" fmla="*/ 1206524 w 2048870"/>
                <a:gd name="connsiteY698" fmla="*/ 131369 h 1410492"/>
                <a:gd name="connsiteX699" fmla="*/ 1204796 w 2048870"/>
                <a:gd name="connsiteY699" fmla="*/ 122726 h 1410492"/>
                <a:gd name="connsiteX700" fmla="*/ 1190968 w 2048870"/>
                <a:gd name="connsiteY700" fmla="*/ 117541 h 1410492"/>
                <a:gd name="connsiteX701" fmla="*/ 1201339 w 2048870"/>
                <a:gd name="connsiteY701" fmla="*/ 105441 h 1410492"/>
                <a:gd name="connsiteX702" fmla="*/ 1208253 w 2048870"/>
                <a:gd name="connsiteY702" fmla="*/ 101984 h 1410492"/>
                <a:gd name="connsiteX703" fmla="*/ 1213439 w 2048870"/>
                <a:gd name="connsiteY703" fmla="*/ 95069 h 1410492"/>
                <a:gd name="connsiteX704" fmla="*/ 1218624 w 2048870"/>
                <a:gd name="connsiteY704" fmla="*/ 89884 h 1410492"/>
                <a:gd name="connsiteX705" fmla="*/ 1216896 w 2048870"/>
                <a:gd name="connsiteY705" fmla="*/ 84698 h 1410492"/>
                <a:gd name="connsiteX706" fmla="*/ 1206524 w 2048870"/>
                <a:gd name="connsiteY706" fmla="*/ 81241 h 1410492"/>
                <a:gd name="connsiteX707" fmla="*/ 1190968 w 2048870"/>
                <a:gd name="connsiteY707" fmla="*/ 76055 h 1410492"/>
                <a:gd name="connsiteX708" fmla="*/ 1175411 w 2048870"/>
                <a:gd name="connsiteY708" fmla="*/ 60499 h 1410492"/>
                <a:gd name="connsiteX709" fmla="*/ 1168496 w 2048870"/>
                <a:gd name="connsiteY709" fmla="*/ 53584 h 1410492"/>
                <a:gd name="connsiteX710" fmla="*/ 1165039 w 2048870"/>
                <a:gd name="connsiteY710" fmla="*/ 46670 h 1410492"/>
                <a:gd name="connsiteX711" fmla="*/ 1159854 w 2048870"/>
                <a:gd name="connsiteY711" fmla="*/ 39756 h 1410492"/>
                <a:gd name="connsiteX712" fmla="*/ 1151211 w 2048870"/>
                <a:gd name="connsiteY712" fmla="*/ 27656 h 1410492"/>
                <a:gd name="connsiteX713" fmla="*/ 1146025 w 2048870"/>
                <a:gd name="connsiteY713" fmla="*/ 24199 h 1410492"/>
                <a:gd name="connsiteX714" fmla="*/ 1140840 w 2048870"/>
                <a:gd name="connsiteY714" fmla="*/ 17285 h 1410492"/>
                <a:gd name="connsiteX715" fmla="*/ 1123554 w 2048870"/>
                <a:gd name="connsiteY715" fmla="*/ 3457 h 1410492"/>
                <a:gd name="connsiteX716" fmla="*/ 1116640 w 2048870"/>
                <a:gd name="connsiteY716" fmla="*/ 0 h 1410492"/>
                <a:gd name="connsiteX717" fmla="*/ 1102812 w 2048870"/>
                <a:gd name="connsiteY717" fmla="*/ 1728 h 1410492"/>
                <a:gd name="connsiteX718" fmla="*/ 1097626 w 2048870"/>
                <a:gd name="connsiteY718" fmla="*/ 3457 h 1410492"/>
                <a:gd name="connsiteX719" fmla="*/ 1090712 w 2048870"/>
                <a:gd name="connsiteY719" fmla="*/ 5185 h 1410492"/>
                <a:gd name="connsiteX720" fmla="*/ 1071698 w 2048870"/>
                <a:gd name="connsiteY720" fmla="*/ 17285 h 1410492"/>
                <a:gd name="connsiteX721" fmla="*/ 1056141 w 2048870"/>
                <a:gd name="connsiteY721" fmla="*/ 15556 h 1410492"/>
                <a:gd name="connsiteX722" fmla="*/ 1050955 w 2048870"/>
                <a:gd name="connsiteY722" fmla="*/ 19014 h 1410492"/>
                <a:gd name="connsiteX723" fmla="*/ 1042313 w 2048870"/>
                <a:gd name="connsiteY723" fmla="*/ 27656 h 1410492"/>
                <a:gd name="connsiteX724" fmla="*/ 1028484 w 2048870"/>
                <a:gd name="connsiteY724" fmla="*/ 38027 h 1410492"/>
                <a:gd name="connsiteX725" fmla="*/ 1025027 w 2048870"/>
                <a:gd name="connsiteY725" fmla="*/ 41485 h 1410492"/>
                <a:gd name="connsiteX726" fmla="*/ 1016385 w 2048870"/>
                <a:gd name="connsiteY726" fmla="*/ 46670 h 1410492"/>
                <a:gd name="connsiteX727" fmla="*/ 1012927 w 2048870"/>
                <a:gd name="connsiteY727" fmla="*/ 50127 h 1410492"/>
                <a:gd name="connsiteX728" fmla="*/ 997371 w 2048870"/>
                <a:gd name="connsiteY728" fmla="*/ 57041 h 1410492"/>
                <a:gd name="connsiteX729" fmla="*/ 973171 w 2048870"/>
                <a:gd name="connsiteY729" fmla="*/ 58770 h 1410492"/>
                <a:gd name="connsiteX730" fmla="*/ 967985 w 2048870"/>
                <a:gd name="connsiteY730" fmla="*/ 62227 h 1410492"/>
                <a:gd name="connsiteX731" fmla="*/ 966257 w 2048870"/>
                <a:gd name="connsiteY731" fmla="*/ 79513 h 1410492"/>
                <a:gd name="connsiteX732" fmla="*/ 962800 w 2048870"/>
                <a:gd name="connsiteY732" fmla="*/ 103712 h 1410492"/>
                <a:gd name="connsiteX733" fmla="*/ 961071 w 2048870"/>
                <a:gd name="connsiteY733" fmla="*/ 112355 h 1410492"/>
                <a:gd name="connsiteX734" fmla="*/ 916129 w 2048870"/>
                <a:gd name="connsiteY734" fmla="*/ 115812 h 1410492"/>
                <a:gd name="connsiteX735" fmla="*/ 910943 w 2048870"/>
                <a:gd name="connsiteY735" fmla="*/ 119269 h 1410492"/>
                <a:gd name="connsiteX736" fmla="*/ 905758 w 2048870"/>
                <a:gd name="connsiteY736" fmla="*/ 120998 h 1410492"/>
                <a:gd name="connsiteX737" fmla="*/ 893658 w 2048870"/>
                <a:gd name="connsiteY737" fmla="*/ 124455 h 1410492"/>
                <a:gd name="connsiteX738" fmla="*/ 888472 w 2048870"/>
                <a:gd name="connsiteY738" fmla="*/ 126183 h 1410492"/>
                <a:gd name="connsiteX739" fmla="*/ 895386 w 2048870"/>
                <a:gd name="connsiteY739" fmla="*/ 124455 h 1410492"/>
                <a:gd name="connsiteX740" fmla="*/ 904029 w 2048870"/>
                <a:gd name="connsiteY740" fmla="*/ 115812 h 1410492"/>
                <a:gd name="connsiteX741" fmla="*/ 966257 w 2048870"/>
                <a:gd name="connsiteY741" fmla="*/ 63956 h 1410492"/>
                <a:gd name="connsiteX0" fmla="*/ 966257 w 2048870"/>
                <a:gd name="connsiteY0" fmla="*/ 63956 h 1413227"/>
                <a:gd name="connsiteX1" fmla="*/ 962800 w 2048870"/>
                <a:gd name="connsiteY1" fmla="*/ 72598 h 1413227"/>
                <a:gd name="connsiteX2" fmla="*/ 919586 w 2048870"/>
                <a:gd name="connsiteY2" fmla="*/ 114083 h 1413227"/>
                <a:gd name="connsiteX3" fmla="*/ 902301 w 2048870"/>
                <a:gd name="connsiteY3" fmla="*/ 120998 h 1413227"/>
                <a:gd name="connsiteX4" fmla="*/ 885015 w 2048870"/>
                <a:gd name="connsiteY4" fmla="*/ 122726 h 1413227"/>
                <a:gd name="connsiteX5" fmla="*/ 878101 w 2048870"/>
                <a:gd name="connsiteY5" fmla="*/ 129640 h 1413227"/>
                <a:gd name="connsiteX6" fmla="*/ 855630 w 2048870"/>
                <a:gd name="connsiteY6" fmla="*/ 140012 h 1413227"/>
                <a:gd name="connsiteX7" fmla="*/ 850444 w 2048870"/>
                <a:gd name="connsiteY7" fmla="*/ 145197 h 1413227"/>
                <a:gd name="connsiteX8" fmla="*/ 831430 w 2048870"/>
                <a:gd name="connsiteY8" fmla="*/ 146926 h 1413227"/>
                <a:gd name="connsiteX9" fmla="*/ 808923 w 2048870"/>
                <a:gd name="connsiteY9" fmla="*/ 195183 h 1413227"/>
                <a:gd name="connsiteX10" fmla="*/ 817602 w 2048870"/>
                <a:gd name="connsiteY10" fmla="*/ 247181 h 1413227"/>
                <a:gd name="connsiteX11" fmla="*/ 821059 w 2048870"/>
                <a:gd name="connsiteY11" fmla="*/ 255824 h 1413227"/>
                <a:gd name="connsiteX12" fmla="*/ 826245 w 2048870"/>
                <a:gd name="connsiteY12" fmla="*/ 259281 h 1413227"/>
                <a:gd name="connsiteX13" fmla="*/ 833159 w 2048870"/>
                <a:gd name="connsiteY13" fmla="*/ 267924 h 1413227"/>
                <a:gd name="connsiteX14" fmla="*/ 836616 w 2048870"/>
                <a:gd name="connsiteY14" fmla="*/ 280024 h 1413227"/>
                <a:gd name="connsiteX15" fmla="*/ 834887 w 2048870"/>
                <a:gd name="connsiteY15" fmla="*/ 295581 h 1413227"/>
                <a:gd name="connsiteX16" fmla="*/ 821059 w 2048870"/>
                <a:gd name="connsiteY16" fmla="*/ 299038 h 1413227"/>
                <a:gd name="connsiteX17" fmla="*/ 800316 w 2048870"/>
                <a:gd name="connsiteY17" fmla="*/ 295581 h 1413227"/>
                <a:gd name="connsiteX18" fmla="*/ 786488 w 2048870"/>
                <a:gd name="connsiteY18" fmla="*/ 286938 h 1413227"/>
                <a:gd name="connsiteX19" fmla="*/ 781302 w 2048870"/>
                <a:gd name="connsiteY19" fmla="*/ 285209 h 1413227"/>
                <a:gd name="connsiteX20" fmla="*/ 774388 w 2048870"/>
                <a:gd name="connsiteY20" fmla="*/ 278295 h 1413227"/>
                <a:gd name="connsiteX21" fmla="*/ 767474 w 2048870"/>
                <a:gd name="connsiteY21" fmla="*/ 285209 h 1413227"/>
                <a:gd name="connsiteX22" fmla="*/ 758831 w 2048870"/>
                <a:gd name="connsiteY22" fmla="*/ 286938 h 1413227"/>
                <a:gd name="connsiteX23" fmla="*/ 751917 w 2048870"/>
                <a:gd name="connsiteY23" fmla="*/ 288666 h 1413227"/>
                <a:gd name="connsiteX24" fmla="*/ 746732 w 2048870"/>
                <a:gd name="connsiteY24" fmla="*/ 290395 h 1413227"/>
                <a:gd name="connsiteX25" fmla="*/ 722532 w 2048870"/>
                <a:gd name="connsiteY25" fmla="*/ 292124 h 1413227"/>
                <a:gd name="connsiteX26" fmla="*/ 720803 w 2048870"/>
                <a:gd name="connsiteY26" fmla="*/ 297309 h 1413227"/>
                <a:gd name="connsiteX27" fmla="*/ 701789 w 2048870"/>
                <a:gd name="connsiteY27" fmla="*/ 312866 h 1413227"/>
                <a:gd name="connsiteX28" fmla="*/ 686233 w 2048870"/>
                <a:gd name="connsiteY28" fmla="*/ 305952 h 1413227"/>
                <a:gd name="connsiteX29" fmla="*/ 684504 w 2048870"/>
                <a:gd name="connsiteY29" fmla="*/ 300766 h 1413227"/>
                <a:gd name="connsiteX30" fmla="*/ 681047 w 2048870"/>
                <a:gd name="connsiteY30" fmla="*/ 285209 h 1413227"/>
                <a:gd name="connsiteX31" fmla="*/ 649933 w 2048870"/>
                <a:gd name="connsiteY31" fmla="*/ 288666 h 1413227"/>
                <a:gd name="connsiteX32" fmla="*/ 646476 w 2048870"/>
                <a:gd name="connsiteY32" fmla="*/ 299038 h 1413227"/>
                <a:gd name="connsiteX33" fmla="*/ 639562 w 2048870"/>
                <a:gd name="connsiteY33" fmla="*/ 314595 h 1413227"/>
                <a:gd name="connsiteX34" fmla="*/ 634376 w 2048870"/>
                <a:gd name="connsiteY34" fmla="*/ 326694 h 1413227"/>
                <a:gd name="connsiteX35" fmla="*/ 629191 w 2048870"/>
                <a:gd name="connsiteY35" fmla="*/ 328423 h 1413227"/>
                <a:gd name="connsiteX36" fmla="*/ 613634 w 2048870"/>
                <a:gd name="connsiteY36" fmla="*/ 323237 h 1413227"/>
                <a:gd name="connsiteX37" fmla="*/ 601534 w 2048870"/>
                <a:gd name="connsiteY37" fmla="*/ 311138 h 1413227"/>
                <a:gd name="connsiteX38" fmla="*/ 572149 w 2048870"/>
                <a:gd name="connsiteY38" fmla="*/ 309409 h 1413227"/>
                <a:gd name="connsiteX39" fmla="*/ 566963 w 2048870"/>
                <a:gd name="connsiteY39" fmla="*/ 295581 h 1413227"/>
                <a:gd name="connsiteX40" fmla="*/ 563506 w 2048870"/>
                <a:gd name="connsiteY40" fmla="*/ 300766 h 1413227"/>
                <a:gd name="connsiteX41" fmla="*/ 558320 w 2048870"/>
                <a:gd name="connsiteY41" fmla="*/ 307680 h 1413227"/>
                <a:gd name="connsiteX42" fmla="*/ 549678 w 2048870"/>
                <a:gd name="connsiteY42" fmla="*/ 321509 h 1413227"/>
                <a:gd name="connsiteX43" fmla="*/ 509921 w 2048870"/>
                <a:gd name="connsiteY43" fmla="*/ 324966 h 1413227"/>
                <a:gd name="connsiteX44" fmla="*/ 515107 w 2048870"/>
                <a:gd name="connsiteY44" fmla="*/ 328423 h 1413227"/>
                <a:gd name="connsiteX45" fmla="*/ 525478 w 2048870"/>
                <a:gd name="connsiteY45" fmla="*/ 331880 h 1413227"/>
                <a:gd name="connsiteX46" fmla="*/ 523749 w 2048870"/>
                <a:gd name="connsiteY46" fmla="*/ 337066 h 1413227"/>
                <a:gd name="connsiteX47" fmla="*/ 516835 w 2048870"/>
                <a:gd name="connsiteY47" fmla="*/ 343980 h 1413227"/>
                <a:gd name="connsiteX48" fmla="*/ 511650 w 2048870"/>
                <a:gd name="connsiteY48" fmla="*/ 323237 h 1413227"/>
                <a:gd name="connsiteX49" fmla="*/ 483993 w 2048870"/>
                <a:gd name="connsiteY49" fmla="*/ 333609 h 1413227"/>
                <a:gd name="connsiteX50" fmla="*/ 478807 w 2048870"/>
                <a:gd name="connsiteY50" fmla="*/ 338794 h 1413227"/>
                <a:gd name="connsiteX51" fmla="*/ 466707 w 2048870"/>
                <a:gd name="connsiteY51" fmla="*/ 337066 h 1413227"/>
                <a:gd name="connsiteX52" fmla="*/ 463250 w 2048870"/>
                <a:gd name="connsiteY52" fmla="*/ 324966 h 1413227"/>
                <a:gd name="connsiteX53" fmla="*/ 454608 w 2048870"/>
                <a:gd name="connsiteY53" fmla="*/ 312866 h 1413227"/>
                <a:gd name="connsiteX54" fmla="*/ 449422 w 2048870"/>
                <a:gd name="connsiteY54" fmla="*/ 311138 h 1413227"/>
                <a:gd name="connsiteX55" fmla="*/ 425222 w 2048870"/>
                <a:gd name="connsiteY55" fmla="*/ 314595 h 1413227"/>
                <a:gd name="connsiteX56" fmla="*/ 273110 w 2048870"/>
                <a:gd name="connsiteY56" fmla="*/ 316323 h 1413227"/>
                <a:gd name="connsiteX57" fmla="*/ 262739 w 2048870"/>
                <a:gd name="connsiteY57" fmla="*/ 323237 h 1413227"/>
                <a:gd name="connsiteX58" fmla="*/ 255825 w 2048870"/>
                <a:gd name="connsiteY58" fmla="*/ 324966 h 1413227"/>
                <a:gd name="connsiteX59" fmla="*/ 250639 w 2048870"/>
                <a:gd name="connsiteY59" fmla="*/ 326694 h 1413227"/>
                <a:gd name="connsiteX60" fmla="*/ 238540 w 2048870"/>
                <a:gd name="connsiteY60" fmla="*/ 330152 h 1413227"/>
                <a:gd name="connsiteX61" fmla="*/ 200512 w 2048870"/>
                <a:gd name="connsiteY61" fmla="*/ 333609 h 1413227"/>
                <a:gd name="connsiteX62" fmla="*/ 188412 w 2048870"/>
                <a:gd name="connsiteY62" fmla="*/ 338794 h 1413227"/>
                <a:gd name="connsiteX63" fmla="*/ 176312 w 2048870"/>
                <a:gd name="connsiteY63" fmla="*/ 342251 h 1413227"/>
                <a:gd name="connsiteX64" fmla="*/ 146927 w 2048870"/>
                <a:gd name="connsiteY64" fmla="*/ 356080 h 1413227"/>
                <a:gd name="connsiteX65" fmla="*/ 138284 w 2048870"/>
                <a:gd name="connsiteY65" fmla="*/ 357808 h 1413227"/>
                <a:gd name="connsiteX66" fmla="*/ 136555 w 2048870"/>
                <a:gd name="connsiteY66" fmla="*/ 364722 h 1413227"/>
                <a:gd name="connsiteX67" fmla="*/ 134827 w 2048870"/>
                <a:gd name="connsiteY67" fmla="*/ 380279 h 1413227"/>
                <a:gd name="connsiteX68" fmla="*/ 127913 w 2048870"/>
                <a:gd name="connsiteY68" fmla="*/ 387193 h 1413227"/>
                <a:gd name="connsiteX69" fmla="*/ 126184 w 2048870"/>
                <a:gd name="connsiteY69" fmla="*/ 394108 h 1413227"/>
                <a:gd name="connsiteX70" fmla="*/ 124456 w 2048870"/>
                <a:gd name="connsiteY70" fmla="*/ 402750 h 1413227"/>
                <a:gd name="connsiteX71" fmla="*/ 117541 w 2048870"/>
                <a:gd name="connsiteY71" fmla="*/ 407936 h 1413227"/>
                <a:gd name="connsiteX72" fmla="*/ 105442 w 2048870"/>
                <a:gd name="connsiteY72" fmla="*/ 411393 h 1413227"/>
                <a:gd name="connsiteX73" fmla="*/ 100256 w 2048870"/>
                <a:gd name="connsiteY73" fmla="*/ 413122 h 1413227"/>
                <a:gd name="connsiteX74" fmla="*/ 70871 w 2048870"/>
                <a:gd name="connsiteY74" fmla="*/ 421764 h 1413227"/>
                <a:gd name="connsiteX75" fmla="*/ 67414 w 2048870"/>
                <a:gd name="connsiteY75" fmla="*/ 428679 h 1413227"/>
                <a:gd name="connsiteX76" fmla="*/ 69142 w 2048870"/>
                <a:gd name="connsiteY76" fmla="*/ 440778 h 1413227"/>
                <a:gd name="connsiteX77" fmla="*/ 65685 w 2048870"/>
                <a:gd name="connsiteY77" fmla="*/ 445964 h 1413227"/>
                <a:gd name="connsiteX78" fmla="*/ 63957 w 2048870"/>
                <a:gd name="connsiteY78" fmla="*/ 452878 h 1413227"/>
                <a:gd name="connsiteX79" fmla="*/ 69142 w 2048870"/>
                <a:gd name="connsiteY79" fmla="*/ 456335 h 1413227"/>
                <a:gd name="connsiteX80" fmla="*/ 74328 w 2048870"/>
                <a:gd name="connsiteY80" fmla="*/ 458064 h 1413227"/>
                <a:gd name="connsiteX81" fmla="*/ 84699 w 2048870"/>
                <a:gd name="connsiteY81" fmla="*/ 466707 h 1413227"/>
                <a:gd name="connsiteX82" fmla="*/ 81242 w 2048870"/>
                <a:gd name="connsiteY82" fmla="*/ 473621 h 1413227"/>
                <a:gd name="connsiteX83" fmla="*/ 77785 w 2048870"/>
                <a:gd name="connsiteY83" fmla="*/ 478806 h 1413227"/>
                <a:gd name="connsiteX84" fmla="*/ 79513 w 2048870"/>
                <a:gd name="connsiteY84" fmla="*/ 485721 h 1413227"/>
                <a:gd name="connsiteX85" fmla="*/ 72599 w 2048870"/>
                <a:gd name="connsiteY85" fmla="*/ 489178 h 1413227"/>
                <a:gd name="connsiteX86" fmla="*/ 63957 w 2048870"/>
                <a:gd name="connsiteY86" fmla="*/ 487449 h 1413227"/>
                <a:gd name="connsiteX87" fmla="*/ 76056 w 2048870"/>
                <a:gd name="connsiteY87" fmla="*/ 485721 h 1413227"/>
                <a:gd name="connsiteX88" fmla="*/ 86428 w 2048870"/>
                <a:gd name="connsiteY88" fmla="*/ 483992 h 1413227"/>
                <a:gd name="connsiteX89" fmla="*/ 84699 w 2048870"/>
                <a:gd name="connsiteY89" fmla="*/ 494363 h 1413227"/>
                <a:gd name="connsiteX90" fmla="*/ 86428 w 2048870"/>
                <a:gd name="connsiteY90" fmla="*/ 501277 h 1413227"/>
                <a:gd name="connsiteX91" fmla="*/ 96799 w 2048870"/>
                <a:gd name="connsiteY91" fmla="*/ 515106 h 1413227"/>
                <a:gd name="connsiteX92" fmla="*/ 101985 w 2048870"/>
                <a:gd name="connsiteY92" fmla="*/ 516834 h 1413227"/>
                <a:gd name="connsiteX93" fmla="*/ 114084 w 2048870"/>
                <a:gd name="connsiteY93" fmla="*/ 520291 h 1413227"/>
                <a:gd name="connsiteX94" fmla="*/ 119270 w 2048870"/>
                <a:gd name="connsiteY94" fmla="*/ 525477 h 1413227"/>
                <a:gd name="connsiteX95" fmla="*/ 133098 w 2048870"/>
                <a:gd name="connsiteY95" fmla="*/ 535848 h 1413227"/>
                <a:gd name="connsiteX96" fmla="*/ 136555 w 2048870"/>
                <a:gd name="connsiteY96" fmla="*/ 542762 h 1413227"/>
                <a:gd name="connsiteX97" fmla="*/ 134827 w 2048870"/>
                <a:gd name="connsiteY97" fmla="*/ 572148 h 1413227"/>
                <a:gd name="connsiteX98" fmla="*/ 140012 w 2048870"/>
                <a:gd name="connsiteY98" fmla="*/ 573876 h 1413227"/>
                <a:gd name="connsiteX99" fmla="*/ 143470 w 2048870"/>
                <a:gd name="connsiteY99" fmla="*/ 577333 h 1413227"/>
                <a:gd name="connsiteX100" fmla="*/ 146927 w 2048870"/>
                <a:gd name="connsiteY100" fmla="*/ 589433 h 1413227"/>
                <a:gd name="connsiteX101" fmla="*/ 150384 w 2048870"/>
                <a:gd name="connsiteY101" fmla="*/ 598076 h 1413227"/>
                <a:gd name="connsiteX102" fmla="*/ 148655 w 2048870"/>
                <a:gd name="connsiteY102" fmla="*/ 617090 h 1413227"/>
                <a:gd name="connsiteX103" fmla="*/ 146927 w 2048870"/>
                <a:gd name="connsiteY103" fmla="*/ 622276 h 1413227"/>
                <a:gd name="connsiteX104" fmla="*/ 141741 w 2048870"/>
                <a:gd name="connsiteY104" fmla="*/ 627461 h 1413227"/>
                <a:gd name="connsiteX105" fmla="*/ 136555 w 2048870"/>
                <a:gd name="connsiteY105" fmla="*/ 634375 h 1413227"/>
                <a:gd name="connsiteX106" fmla="*/ 120999 w 2048870"/>
                <a:gd name="connsiteY106" fmla="*/ 639561 h 1413227"/>
                <a:gd name="connsiteX107" fmla="*/ 95070 w 2048870"/>
                <a:gd name="connsiteY107" fmla="*/ 665489 h 1413227"/>
                <a:gd name="connsiteX108" fmla="*/ 89885 w 2048870"/>
                <a:gd name="connsiteY108" fmla="*/ 670675 h 1413227"/>
                <a:gd name="connsiteX109" fmla="*/ 86428 w 2048870"/>
                <a:gd name="connsiteY109" fmla="*/ 675860 h 1413227"/>
                <a:gd name="connsiteX110" fmla="*/ 81242 w 2048870"/>
                <a:gd name="connsiteY110" fmla="*/ 677589 h 1413227"/>
                <a:gd name="connsiteX111" fmla="*/ 77785 w 2048870"/>
                <a:gd name="connsiteY111" fmla="*/ 682775 h 1413227"/>
                <a:gd name="connsiteX112" fmla="*/ 63957 w 2048870"/>
                <a:gd name="connsiteY112" fmla="*/ 689689 h 1413227"/>
                <a:gd name="connsiteX113" fmla="*/ 60499 w 2048870"/>
                <a:gd name="connsiteY113" fmla="*/ 706974 h 1413227"/>
                <a:gd name="connsiteX114" fmla="*/ 50128 w 2048870"/>
                <a:gd name="connsiteY114" fmla="*/ 720803 h 1413227"/>
                <a:gd name="connsiteX115" fmla="*/ 48400 w 2048870"/>
                <a:gd name="connsiteY115" fmla="*/ 725988 h 1413227"/>
                <a:gd name="connsiteX116" fmla="*/ 46671 w 2048870"/>
                <a:gd name="connsiteY116" fmla="*/ 732902 h 1413227"/>
                <a:gd name="connsiteX117" fmla="*/ 25929 w 2048870"/>
                <a:gd name="connsiteY117" fmla="*/ 751916 h 1413227"/>
                <a:gd name="connsiteX118" fmla="*/ 19014 w 2048870"/>
                <a:gd name="connsiteY118" fmla="*/ 776116 h 1413227"/>
                <a:gd name="connsiteX119" fmla="*/ 12100 w 2048870"/>
                <a:gd name="connsiteY119" fmla="*/ 789944 h 1413227"/>
                <a:gd name="connsiteX120" fmla="*/ 17286 w 2048870"/>
                <a:gd name="connsiteY120" fmla="*/ 822787 h 1413227"/>
                <a:gd name="connsiteX121" fmla="*/ 25929 w 2048870"/>
                <a:gd name="connsiteY121" fmla="*/ 829701 h 1413227"/>
                <a:gd name="connsiteX122" fmla="*/ 29386 w 2048870"/>
                <a:gd name="connsiteY122" fmla="*/ 838344 h 1413227"/>
                <a:gd name="connsiteX123" fmla="*/ 36300 w 2048870"/>
                <a:gd name="connsiteY123" fmla="*/ 843529 h 1413227"/>
                <a:gd name="connsiteX124" fmla="*/ 38028 w 2048870"/>
                <a:gd name="connsiteY124" fmla="*/ 852172 h 1413227"/>
                <a:gd name="connsiteX125" fmla="*/ 43214 w 2048870"/>
                <a:gd name="connsiteY125" fmla="*/ 864272 h 1413227"/>
                <a:gd name="connsiteX126" fmla="*/ 44943 w 2048870"/>
                <a:gd name="connsiteY126" fmla="*/ 874643 h 1413227"/>
                <a:gd name="connsiteX127" fmla="*/ 51857 w 2048870"/>
                <a:gd name="connsiteY127" fmla="*/ 876372 h 1413227"/>
                <a:gd name="connsiteX128" fmla="*/ 53585 w 2048870"/>
                <a:gd name="connsiteY128" fmla="*/ 883286 h 1413227"/>
                <a:gd name="connsiteX129" fmla="*/ 58771 w 2048870"/>
                <a:gd name="connsiteY129" fmla="*/ 886743 h 1413227"/>
                <a:gd name="connsiteX130" fmla="*/ 51857 w 2048870"/>
                <a:gd name="connsiteY130" fmla="*/ 898843 h 1413227"/>
                <a:gd name="connsiteX131" fmla="*/ 43214 w 2048870"/>
                <a:gd name="connsiteY131" fmla="*/ 904028 h 1413227"/>
                <a:gd name="connsiteX132" fmla="*/ 29386 w 2048870"/>
                <a:gd name="connsiteY132" fmla="*/ 909214 h 1413227"/>
                <a:gd name="connsiteX133" fmla="*/ 27657 w 2048870"/>
                <a:gd name="connsiteY133" fmla="*/ 919585 h 1413227"/>
                <a:gd name="connsiteX134" fmla="*/ 25929 w 2048870"/>
                <a:gd name="connsiteY134" fmla="*/ 926499 h 1413227"/>
                <a:gd name="connsiteX135" fmla="*/ 19014 w 2048870"/>
                <a:gd name="connsiteY135" fmla="*/ 955885 h 1413227"/>
                <a:gd name="connsiteX136" fmla="*/ 10372 w 2048870"/>
                <a:gd name="connsiteY136" fmla="*/ 969713 h 1413227"/>
                <a:gd name="connsiteX137" fmla="*/ 8643 w 2048870"/>
                <a:gd name="connsiteY137" fmla="*/ 990455 h 1413227"/>
                <a:gd name="connsiteX138" fmla="*/ 0 w 2048870"/>
                <a:gd name="connsiteY138" fmla="*/ 999098 h 1413227"/>
                <a:gd name="connsiteX139" fmla="*/ 6915 w 2048870"/>
                <a:gd name="connsiteY139" fmla="*/ 1023298 h 1413227"/>
                <a:gd name="connsiteX140" fmla="*/ 15557 w 2048870"/>
                <a:gd name="connsiteY140" fmla="*/ 1025026 h 1413227"/>
                <a:gd name="connsiteX141" fmla="*/ 22471 w 2048870"/>
                <a:gd name="connsiteY141" fmla="*/ 1030212 h 1413227"/>
                <a:gd name="connsiteX142" fmla="*/ 27657 w 2048870"/>
                <a:gd name="connsiteY142" fmla="*/ 1031941 h 1413227"/>
                <a:gd name="connsiteX143" fmla="*/ 34571 w 2048870"/>
                <a:gd name="connsiteY143" fmla="*/ 1035398 h 1413227"/>
                <a:gd name="connsiteX144" fmla="*/ 39757 w 2048870"/>
                <a:gd name="connsiteY144" fmla="*/ 1042312 h 1413227"/>
                <a:gd name="connsiteX145" fmla="*/ 43214 w 2048870"/>
                <a:gd name="connsiteY145" fmla="*/ 1047497 h 1413227"/>
                <a:gd name="connsiteX146" fmla="*/ 53585 w 2048870"/>
                <a:gd name="connsiteY146" fmla="*/ 1052683 h 1413227"/>
                <a:gd name="connsiteX147" fmla="*/ 95070 w 2048870"/>
                <a:gd name="connsiteY147" fmla="*/ 1061326 h 1413227"/>
                <a:gd name="connsiteX148" fmla="*/ 96799 w 2048870"/>
                <a:gd name="connsiteY148" fmla="*/ 1073426 h 1413227"/>
                <a:gd name="connsiteX149" fmla="*/ 101985 w 2048870"/>
                <a:gd name="connsiteY149" fmla="*/ 1075154 h 1413227"/>
                <a:gd name="connsiteX150" fmla="*/ 112356 w 2048870"/>
                <a:gd name="connsiteY150" fmla="*/ 1066511 h 1413227"/>
                <a:gd name="connsiteX151" fmla="*/ 119270 w 2048870"/>
                <a:gd name="connsiteY151" fmla="*/ 1059597 h 1413227"/>
                <a:gd name="connsiteX152" fmla="*/ 120999 w 2048870"/>
                <a:gd name="connsiteY152" fmla="*/ 1054412 h 1413227"/>
                <a:gd name="connsiteX153" fmla="*/ 134827 w 2048870"/>
                <a:gd name="connsiteY153" fmla="*/ 1061326 h 1413227"/>
                <a:gd name="connsiteX154" fmla="*/ 141741 w 2048870"/>
                <a:gd name="connsiteY154" fmla="*/ 1063054 h 1413227"/>
                <a:gd name="connsiteX155" fmla="*/ 146927 w 2048870"/>
                <a:gd name="connsiteY155" fmla="*/ 1064783 h 1413227"/>
                <a:gd name="connsiteX156" fmla="*/ 247182 w 2048870"/>
                <a:gd name="connsiteY156" fmla="*/ 1068240 h 1413227"/>
                <a:gd name="connsiteX157" fmla="*/ 266196 w 2048870"/>
                <a:gd name="connsiteY157" fmla="*/ 1064783 h 1413227"/>
                <a:gd name="connsiteX158" fmla="*/ 276568 w 2048870"/>
                <a:gd name="connsiteY158" fmla="*/ 1059597 h 1413227"/>
                <a:gd name="connsiteX159" fmla="*/ 285210 w 2048870"/>
                <a:gd name="connsiteY159" fmla="*/ 1049226 h 1413227"/>
                <a:gd name="connsiteX160" fmla="*/ 295581 w 2048870"/>
                <a:gd name="connsiteY160" fmla="*/ 1052683 h 1413227"/>
                <a:gd name="connsiteX161" fmla="*/ 299039 w 2048870"/>
                <a:gd name="connsiteY161" fmla="*/ 1059597 h 1413227"/>
                <a:gd name="connsiteX162" fmla="*/ 312867 w 2048870"/>
                <a:gd name="connsiteY162" fmla="*/ 1071697 h 1413227"/>
                <a:gd name="connsiteX163" fmla="*/ 338795 w 2048870"/>
                <a:gd name="connsiteY163" fmla="*/ 1078611 h 1413227"/>
                <a:gd name="connsiteX164" fmla="*/ 361266 w 2048870"/>
                <a:gd name="connsiteY164" fmla="*/ 1075154 h 1413227"/>
                <a:gd name="connsiteX165" fmla="*/ 362995 w 2048870"/>
                <a:gd name="connsiteY165" fmla="*/ 1068240 h 1413227"/>
                <a:gd name="connsiteX166" fmla="*/ 373366 w 2048870"/>
                <a:gd name="connsiteY166" fmla="*/ 1050955 h 1413227"/>
                <a:gd name="connsiteX167" fmla="*/ 378552 w 2048870"/>
                <a:gd name="connsiteY167" fmla="*/ 1045769 h 1413227"/>
                <a:gd name="connsiteX168" fmla="*/ 397566 w 2048870"/>
                <a:gd name="connsiteY168" fmla="*/ 1038855 h 1413227"/>
                <a:gd name="connsiteX169" fmla="*/ 432137 w 2048870"/>
                <a:gd name="connsiteY169" fmla="*/ 1035398 h 1413227"/>
                <a:gd name="connsiteX170" fmla="*/ 444236 w 2048870"/>
                <a:gd name="connsiteY170" fmla="*/ 1031941 h 1413227"/>
                <a:gd name="connsiteX171" fmla="*/ 447693 w 2048870"/>
                <a:gd name="connsiteY171" fmla="*/ 1025026 h 1413227"/>
                <a:gd name="connsiteX172" fmla="*/ 452879 w 2048870"/>
                <a:gd name="connsiteY172" fmla="*/ 1021569 h 1413227"/>
                <a:gd name="connsiteX173" fmla="*/ 468436 w 2048870"/>
                <a:gd name="connsiteY173" fmla="*/ 1011198 h 1413227"/>
                <a:gd name="connsiteX174" fmla="*/ 473622 w 2048870"/>
                <a:gd name="connsiteY174" fmla="*/ 999098 h 1413227"/>
                <a:gd name="connsiteX175" fmla="*/ 478807 w 2048870"/>
                <a:gd name="connsiteY175" fmla="*/ 986998 h 1413227"/>
                <a:gd name="connsiteX176" fmla="*/ 485721 w 2048870"/>
                <a:gd name="connsiteY176" fmla="*/ 980084 h 1413227"/>
                <a:gd name="connsiteX177" fmla="*/ 489178 w 2048870"/>
                <a:gd name="connsiteY177" fmla="*/ 974899 h 1413227"/>
                <a:gd name="connsiteX178" fmla="*/ 511650 w 2048870"/>
                <a:gd name="connsiteY178" fmla="*/ 955885 h 1413227"/>
                <a:gd name="connsiteX179" fmla="*/ 530664 w 2048870"/>
                <a:gd name="connsiteY179" fmla="*/ 947242 h 1413227"/>
                <a:gd name="connsiteX180" fmla="*/ 537578 w 2048870"/>
                <a:gd name="connsiteY180" fmla="*/ 933414 h 1413227"/>
                <a:gd name="connsiteX181" fmla="*/ 539306 w 2048870"/>
                <a:gd name="connsiteY181" fmla="*/ 928228 h 1413227"/>
                <a:gd name="connsiteX182" fmla="*/ 541035 w 2048870"/>
                <a:gd name="connsiteY182" fmla="*/ 921314 h 1413227"/>
                <a:gd name="connsiteX183" fmla="*/ 563506 w 2048870"/>
                <a:gd name="connsiteY183" fmla="*/ 917857 h 1413227"/>
                <a:gd name="connsiteX184" fmla="*/ 568692 w 2048870"/>
                <a:gd name="connsiteY184" fmla="*/ 916128 h 1413227"/>
                <a:gd name="connsiteX185" fmla="*/ 584248 w 2048870"/>
                <a:gd name="connsiteY185" fmla="*/ 914400 h 1413227"/>
                <a:gd name="connsiteX186" fmla="*/ 589434 w 2048870"/>
                <a:gd name="connsiteY186" fmla="*/ 910942 h 1413227"/>
                <a:gd name="connsiteX187" fmla="*/ 599805 w 2048870"/>
                <a:gd name="connsiteY187" fmla="*/ 905757 h 1413227"/>
                <a:gd name="connsiteX188" fmla="*/ 604991 w 2048870"/>
                <a:gd name="connsiteY188" fmla="*/ 900571 h 1413227"/>
                <a:gd name="connsiteX189" fmla="*/ 606719 w 2048870"/>
                <a:gd name="connsiteY189" fmla="*/ 895386 h 1413227"/>
                <a:gd name="connsiteX190" fmla="*/ 615362 w 2048870"/>
                <a:gd name="connsiteY190" fmla="*/ 891928 h 1413227"/>
                <a:gd name="connsiteX191" fmla="*/ 620548 w 2048870"/>
                <a:gd name="connsiteY191" fmla="*/ 886743 h 1413227"/>
                <a:gd name="connsiteX192" fmla="*/ 639562 w 2048870"/>
                <a:gd name="connsiteY192" fmla="*/ 879829 h 1413227"/>
                <a:gd name="connsiteX193" fmla="*/ 653390 w 2048870"/>
                <a:gd name="connsiteY193" fmla="*/ 883286 h 1413227"/>
                <a:gd name="connsiteX194" fmla="*/ 660304 w 2048870"/>
                <a:gd name="connsiteY194" fmla="*/ 885014 h 1413227"/>
                <a:gd name="connsiteX195" fmla="*/ 668947 w 2048870"/>
                <a:gd name="connsiteY195" fmla="*/ 886743 h 1413227"/>
                <a:gd name="connsiteX196" fmla="*/ 675861 w 2048870"/>
                <a:gd name="connsiteY196" fmla="*/ 890200 h 1413227"/>
                <a:gd name="connsiteX197" fmla="*/ 682775 w 2048870"/>
                <a:gd name="connsiteY197" fmla="*/ 891928 h 1413227"/>
                <a:gd name="connsiteX198" fmla="*/ 687961 w 2048870"/>
                <a:gd name="connsiteY198" fmla="*/ 895386 h 1413227"/>
                <a:gd name="connsiteX199" fmla="*/ 700061 w 2048870"/>
                <a:gd name="connsiteY199" fmla="*/ 898843 h 1413227"/>
                <a:gd name="connsiteX200" fmla="*/ 706975 w 2048870"/>
                <a:gd name="connsiteY200" fmla="*/ 904028 h 1413227"/>
                <a:gd name="connsiteX201" fmla="*/ 720803 w 2048870"/>
                <a:gd name="connsiteY201" fmla="*/ 907485 h 1413227"/>
                <a:gd name="connsiteX202" fmla="*/ 727718 w 2048870"/>
                <a:gd name="connsiteY202" fmla="*/ 905757 h 1413227"/>
                <a:gd name="connsiteX203" fmla="*/ 736360 w 2048870"/>
                <a:gd name="connsiteY203" fmla="*/ 904028 h 1413227"/>
                <a:gd name="connsiteX204" fmla="*/ 738089 w 2048870"/>
                <a:gd name="connsiteY204" fmla="*/ 910942 h 1413227"/>
                <a:gd name="connsiteX205" fmla="*/ 760560 w 2048870"/>
                <a:gd name="connsiteY205" fmla="*/ 904028 h 1413227"/>
                <a:gd name="connsiteX206" fmla="*/ 770931 w 2048870"/>
                <a:gd name="connsiteY206" fmla="*/ 895386 h 1413227"/>
                <a:gd name="connsiteX207" fmla="*/ 776117 w 2048870"/>
                <a:gd name="connsiteY207" fmla="*/ 909214 h 1413227"/>
                <a:gd name="connsiteX208" fmla="*/ 783031 w 2048870"/>
                <a:gd name="connsiteY208" fmla="*/ 914400 h 1413227"/>
                <a:gd name="connsiteX209" fmla="*/ 788217 w 2048870"/>
                <a:gd name="connsiteY209" fmla="*/ 919585 h 1413227"/>
                <a:gd name="connsiteX210" fmla="*/ 793402 w 2048870"/>
                <a:gd name="connsiteY210" fmla="*/ 923042 h 1413227"/>
                <a:gd name="connsiteX211" fmla="*/ 798588 w 2048870"/>
                <a:gd name="connsiteY211" fmla="*/ 928228 h 1413227"/>
                <a:gd name="connsiteX212" fmla="*/ 815873 w 2048870"/>
                <a:gd name="connsiteY212" fmla="*/ 935142 h 1413227"/>
                <a:gd name="connsiteX213" fmla="*/ 821059 w 2048870"/>
                <a:gd name="connsiteY213" fmla="*/ 926499 h 1413227"/>
                <a:gd name="connsiteX214" fmla="*/ 824516 w 2048870"/>
                <a:gd name="connsiteY214" fmla="*/ 910942 h 1413227"/>
                <a:gd name="connsiteX215" fmla="*/ 833159 w 2048870"/>
                <a:gd name="connsiteY215" fmla="*/ 912671 h 1413227"/>
                <a:gd name="connsiteX216" fmla="*/ 838344 w 2048870"/>
                <a:gd name="connsiteY216" fmla="*/ 926499 h 1413227"/>
                <a:gd name="connsiteX217" fmla="*/ 841802 w 2048870"/>
                <a:gd name="connsiteY217" fmla="*/ 929956 h 1413227"/>
                <a:gd name="connsiteX218" fmla="*/ 850444 w 2048870"/>
                <a:gd name="connsiteY218" fmla="*/ 948970 h 1413227"/>
                <a:gd name="connsiteX219" fmla="*/ 853901 w 2048870"/>
                <a:gd name="connsiteY219" fmla="*/ 954156 h 1413227"/>
                <a:gd name="connsiteX220" fmla="*/ 859087 w 2048870"/>
                <a:gd name="connsiteY220" fmla="*/ 988727 h 1413227"/>
                <a:gd name="connsiteX221" fmla="*/ 864273 w 2048870"/>
                <a:gd name="connsiteY221" fmla="*/ 1009469 h 1413227"/>
                <a:gd name="connsiteX222" fmla="*/ 878101 w 2048870"/>
                <a:gd name="connsiteY222" fmla="*/ 1012927 h 1413227"/>
                <a:gd name="connsiteX223" fmla="*/ 885015 w 2048870"/>
                <a:gd name="connsiteY223" fmla="*/ 1016384 h 1413227"/>
                <a:gd name="connsiteX224" fmla="*/ 888472 w 2048870"/>
                <a:gd name="connsiteY224" fmla="*/ 1021569 h 1413227"/>
                <a:gd name="connsiteX225" fmla="*/ 900572 w 2048870"/>
                <a:gd name="connsiteY225" fmla="*/ 1026755 h 1413227"/>
                <a:gd name="connsiteX226" fmla="*/ 905758 w 2048870"/>
                <a:gd name="connsiteY226" fmla="*/ 1033669 h 1413227"/>
                <a:gd name="connsiteX227" fmla="*/ 909215 w 2048870"/>
                <a:gd name="connsiteY227" fmla="*/ 1040583 h 1413227"/>
                <a:gd name="connsiteX228" fmla="*/ 912672 w 2048870"/>
                <a:gd name="connsiteY228" fmla="*/ 1045769 h 1413227"/>
                <a:gd name="connsiteX229" fmla="*/ 921315 w 2048870"/>
                <a:gd name="connsiteY229" fmla="*/ 1061326 h 1413227"/>
                <a:gd name="connsiteX230" fmla="*/ 928229 w 2048870"/>
                <a:gd name="connsiteY230" fmla="*/ 1082068 h 1413227"/>
                <a:gd name="connsiteX231" fmla="*/ 929957 w 2048870"/>
                <a:gd name="connsiteY231" fmla="*/ 1088983 h 1413227"/>
                <a:gd name="connsiteX232" fmla="*/ 940329 w 2048870"/>
                <a:gd name="connsiteY232" fmla="*/ 1095897 h 1413227"/>
                <a:gd name="connsiteX233" fmla="*/ 959343 w 2048870"/>
                <a:gd name="connsiteY233" fmla="*/ 1097625 h 1413227"/>
                <a:gd name="connsiteX234" fmla="*/ 967985 w 2048870"/>
                <a:gd name="connsiteY234" fmla="*/ 1101082 h 1413227"/>
                <a:gd name="connsiteX235" fmla="*/ 973171 w 2048870"/>
                <a:gd name="connsiteY235" fmla="*/ 1106268 h 1413227"/>
                <a:gd name="connsiteX236" fmla="*/ 978357 w 2048870"/>
                <a:gd name="connsiteY236" fmla="*/ 1109725 h 1413227"/>
                <a:gd name="connsiteX237" fmla="*/ 983542 w 2048870"/>
                <a:gd name="connsiteY237" fmla="*/ 1118368 h 1413227"/>
                <a:gd name="connsiteX238" fmla="*/ 985271 w 2048870"/>
                <a:gd name="connsiteY238" fmla="*/ 1132196 h 1413227"/>
                <a:gd name="connsiteX239" fmla="*/ 992185 w 2048870"/>
                <a:gd name="connsiteY239" fmla="*/ 1139110 h 1413227"/>
                <a:gd name="connsiteX240" fmla="*/ 1006013 w 2048870"/>
                <a:gd name="connsiteY240" fmla="*/ 1147753 h 1413227"/>
                <a:gd name="connsiteX241" fmla="*/ 1019842 w 2048870"/>
                <a:gd name="connsiteY241" fmla="*/ 1165038 h 1413227"/>
                <a:gd name="connsiteX242" fmla="*/ 1012927 w 2048870"/>
                <a:gd name="connsiteY242" fmla="*/ 1168496 h 1413227"/>
                <a:gd name="connsiteX243" fmla="*/ 1009470 w 2048870"/>
                <a:gd name="connsiteY243" fmla="*/ 1173681 h 1413227"/>
                <a:gd name="connsiteX244" fmla="*/ 997371 w 2048870"/>
                <a:gd name="connsiteY244" fmla="*/ 1177138 h 1413227"/>
                <a:gd name="connsiteX245" fmla="*/ 990456 w 2048870"/>
                <a:gd name="connsiteY245" fmla="*/ 1182324 h 1413227"/>
                <a:gd name="connsiteX246" fmla="*/ 973171 w 2048870"/>
                <a:gd name="connsiteY246" fmla="*/ 1182324 h 1413227"/>
                <a:gd name="connsiteX247" fmla="*/ 971442 w 2048870"/>
                <a:gd name="connsiteY247" fmla="*/ 1161581 h 1413227"/>
                <a:gd name="connsiteX248" fmla="*/ 962800 w 2048870"/>
                <a:gd name="connsiteY248" fmla="*/ 1171953 h 1413227"/>
                <a:gd name="connsiteX249" fmla="*/ 959343 w 2048870"/>
                <a:gd name="connsiteY249" fmla="*/ 1178867 h 1413227"/>
                <a:gd name="connsiteX250" fmla="*/ 955885 w 2048870"/>
                <a:gd name="connsiteY250" fmla="*/ 1184052 h 1413227"/>
                <a:gd name="connsiteX251" fmla="*/ 947243 w 2048870"/>
                <a:gd name="connsiteY251" fmla="*/ 1187510 h 1413227"/>
                <a:gd name="connsiteX252" fmla="*/ 940329 w 2048870"/>
                <a:gd name="connsiteY252" fmla="*/ 1190967 h 1413227"/>
                <a:gd name="connsiteX253" fmla="*/ 935143 w 2048870"/>
                <a:gd name="connsiteY253" fmla="*/ 1189238 h 1413227"/>
                <a:gd name="connsiteX254" fmla="*/ 929957 w 2048870"/>
                <a:gd name="connsiteY254" fmla="*/ 1171953 h 1413227"/>
                <a:gd name="connsiteX255" fmla="*/ 926500 w 2048870"/>
                <a:gd name="connsiteY255" fmla="*/ 1165038 h 1413227"/>
                <a:gd name="connsiteX256" fmla="*/ 921315 w 2048870"/>
                <a:gd name="connsiteY256" fmla="*/ 1178867 h 1413227"/>
                <a:gd name="connsiteX257" fmla="*/ 917857 w 2048870"/>
                <a:gd name="connsiteY257" fmla="*/ 1182324 h 1413227"/>
                <a:gd name="connsiteX258" fmla="*/ 914400 w 2048870"/>
                <a:gd name="connsiteY258" fmla="*/ 1194424 h 1413227"/>
                <a:gd name="connsiteX259" fmla="*/ 909215 w 2048870"/>
                <a:gd name="connsiteY259" fmla="*/ 1199609 h 1413227"/>
                <a:gd name="connsiteX260" fmla="*/ 886744 w 2048870"/>
                <a:gd name="connsiteY260" fmla="*/ 1180595 h 1413227"/>
                <a:gd name="connsiteX261" fmla="*/ 883287 w 2048870"/>
                <a:gd name="connsiteY261" fmla="*/ 1189238 h 1413227"/>
                <a:gd name="connsiteX262" fmla="*/ 879830 w 2048870"/>
                <a:gd name="connsiteY262" fmla="*/ 1194424 h 1413227"/>
                <a:gd name="connsiteX263" fmla="*/ 874644 w 2048870"/>
                <a:gd name="connsiteY263" fmla="*/ 1204795 h 1413227"/>
                <a:gd name="connsiteX264" fmla="*/ 879830 w 2048870"/>
                <a:gd name="connsiteY264" fmla="*/ 1211709 h 1413227"/>
                <a:gd name="connsiteX265" fmla="*/ 890201 w 2048870"/>
                <a:gd name="connsiteY265" fmla="*/ 1215166 h 1413227"/>
                <a:gd name="connsiteX266" fmla="*/ 893658 w 2048870"/>
                <a:gd name="connsiteY266" fmla="*/ 1235909 h 1413227"/>
                <a:gd name="connsiteX267" fmla="*/ 891929 w 2048870"/>
                <a:gd name="connsiteY267" fmla="*/ 1258380 h 1413227"/>
                <a:gd name="connsiteX268" fmla="*/ 890201 w 2048870"/>
                <a:gd name="connsiteY268" fmla="*/ 1263565 h 1413227"/>
                <a:gd name="connsiteX269" fmla="*/ 878101 w 2048870"/>
                <a:gd name="connsiteY269" fmla="*/ 1275665 h 1413227"/>
                <a:gd name="connsiteX270" fmla="*/ 871187 w 2048870"/>
                <a:gd name="connsiteY270" fmla="*/ 1282579 h 1413227"/>
                <a:gd name="connsiteX271" fmla="*/ 876372 w 2048870"/>
                <a:gd name="connsiteY271" fmla="*/ 1287765 h 1413227"/>
                <a:gd name="connsiteX272" fmla="*/ 874644 w 2048870"/>
                <a:gd name="connsiteY272" fmla="*/ 1306779 h 1413227"/>
                <a:gd name="connsiteX273" fmla="*/ 869458 w 2048870"/>
                <a:gd name="connsiteY273" fmla="*/ 1308508 h 1413227"/>
                <a:gd name="connsiteX274" fmla="*/ 864273 w 2048870"/>
                <a:gd name="connsiteY274" fmla="*/ 1320607 h 1413227"/>
                <a:gd name="connsiteX275" fmla="*/ 862544 w 2048870"/>
                <a:gd name="connsiteY275" fmla="*/ 1360364 h 1413227"/>
                <a:gd name="connsiteX276" fmla="*/ 857358 w 2048870"/>
                <a:gd name="connsiteY276" fmla="*/ 1363821 h 1413227"/>
                <a:gd name="connsiteX277" fmla="*/ 852173 w 2048870"/>
                <a:gd name="connsiteY277" fmla="*/ 1365550 h 1413227"/>
                <a:gd name="connsiteX278" fmla="*/ 850444 w 2048870"/>
                <a:gd name="connsiteY278" fmla="*/ 1370735 h 1413227"/>
                <a:gd name="connsiteX279" fmla="*/ 838344 w 2048870"/>
                <a:gd name="connsiteY279" fmla="*/ 1379378 h 1413227"/>
                <a:gd name="connsiteX280" fmla="*/ 841802 w 2048870"/>
                <a:gd name="connsiteY280" fmla="*/ 1389749 h 1413227"/>
                <a:gd name="connsiteX281" fmla="*/ 845259 w 2048870"/>
                <a:gd name="connsiteY281" fmla="*/ 1398392 h 1413227"/>
                <a:gd name="connsiteX282" fmla="*/ 852173 w 2048870"/>
                <a:gd name="connsiteY282" fmla="*/ 1403578 h 1413227"/>
                <a:gd name="connsiteX283" fmla="*/ 859087 w 2048870"/>
                <a:gd name="connsiteY283" fmla="*/ 1410492 h 1413227"/>
                <a:gd name="connsiteX284" fmla="*/ 885015 w 2048870"/>
                <a:gd name="connsiteY284" fmla="*/ 1408763 h 1413227"/>
                <a:gd name="connsiteX285" fmla="*/ 890201 w 2048870"/>
                <a:gd name="connsiteY285" fmla="*/ 1413103 h 1413227"/>
                <a:gd name="connsiteX286" fmla="*/ 921633 w 2048870"/>
                <a:gd name="connsiteY286" fmla="*/ 1403013 h 1413227"/>
                <a:gd name="connsiteX287" fmla="*/ 921315 w 2048870"/>
                <a:gd name="connsiteY287" fmla="*/ 1388021 h 1413227"/>
                <a:gd name="connsiteX288" fmla="*/ 919586 w 2048870"/>
                <a:gd name="connsiteY288" fmla="*/ 1382835 h 1413227"/>
                <a:gd name="connsiteX289" fmla="*/ 938600 w 2048870"/>
                <a:gd name="connsiteY289" fmla="*/ 1367278 h 1413227"/>
                <a:gd name="connsiteX290" fmla="*/ 943786 w 2048870"/>
                <a:gd name="connsiteY290" fmla="*/ 1362093 h 1413227"/>
                <a:gd name="connsiteX291" fmla="*/ 954157 w 2048870"/>
                <a:gd name="connsiteY291" fmla="*/ 1360364 h 1413227"/>
                <a:gd name="connsiteX292" fmla="*/ 993913 w 2048870"/>
                <a:gd name="connsiteY292" fmla="*/ 1356907 h 1413227"/>
                <a:gd name="connsiteX293" fmla="*/ 997371 w 2048870"/>
                <a:gd name="connsiteY293" fmla="*/ 1349993 h 1413227"/>
                <a:gd name="connsiteX294" fmla="*/ 1009470 w 2048870"/>
                <a:gd name="connsiteY294" fmla="*/ 1344807 h 1413227"/>
                <a:gd name="connsiteX295" fmla="*/ 997371 w 2048870"/>
                <a:gd name="connsiteY295" fmla="*/ 1334436 h 1413227"/>
                <a:gd name="connsiteX296" fmla="*/ 993913 w 2048870"/>
                <a:gd name="connsiteY296" fmla="*/ 1327522 h 1413227"/>
                <a:gd name="connsiteX297" fmla="*/ 988728 w 2048870"/>
                <a:gd name="connsiteY297" fmla="*/ 1322336 h 1413227"/>
                <a:gd name="connsiteX298" fmla="*/ 985271 w 2048870"/>
                <a:gd name="connsiteY298" fmla="*/ 1310236 h 1413227"/>
                <a:gd name="connsiteX299" fmla="*/ 981814 w 2048870"/>
                <a:gd name="connsiteY299" fmla="*/ 1299865 h 1413227"/>
                <a:gd name="connsiteX300" fmla="*/ 990456 w 2048870"/>
                <a:gd name="connsiteY300" fmla="*/ 1287765 h 1413227"/>
                <a:gd name="connsiteX301" fmla="*/ 992185 w 2048870"/>
                <a:gd name="connsiteY301" fmla="*/ 1292951 h 1413227"/>
                <a:gd name="connsiteX302" fmla="*/ 1014656 w 2048870"/>
                <a:gd name="connsiteY302" fmla="*/ 1299865 h 1413227"/>
                <a:gd name="connsiteX303" fmla="*/ 1016385 w 2048870"/>
                <a:gd name="connsiteY303" fmla="*/ 1294679 h 1413227"/>
                <a:gd name="connsiteX304" fmla="*/ 1018113 w 2048870"/>
                <a:gd name="connsiteY304" fmla="*/ 1284308 h 1413227"/>
                <a:gd name="connsiteX305" fmla="*/ 1031941 w 2048870"/>
                <a:gd name="connsiteY305" fmla="*/ 1270480 h 1413227"/>
                <a:gd name="connsiteX306" fmla="*/ 1037127 w 2048870"/>
                <a:gd name="connsiteY306" fmla="*/ 1265294 h 1413227"/>
                <a:gd name="connsiteX307" fmla="*/ 1038856 w 2048870"/>
                <a:gd name="connsiteY307" fmla="*/ 1260108 h 1413227"/>
                <a:gd name="connsiteX308" fmla="*/ 1054412 w 2048870"/>
                <a:gd name="connsiteY308" fmla="*/ 1251466 h 1413227"/>
                <a:gd name="connsiteX309" fmla="*/ 1063055 w 2048870"/>
                <a:gd name="connsiteY309" fmla="*/ 1242823 h 1413227"/>
                <a:gd name="connsiteX310" fmla="*/ 1068241 w 2048870"/>
                <a:gd name="connsiteY310" fmla="*/ 1223809 h 1413227"/>
                <a:gd name="connsiteX311" fmla="*/ 1069969 w 2048870"/>
                <a:gd name="connsiteY311" fmla="*/ 1215166 h 1413227"/>
                <a:gd name="connsiteX312" fmla="*/ 1075155 w 2048870"/>
                <a:gd name="connsiteY312" fmla="*/ 1201338 h 1413227"/>
                <a:gd name="connsiteX313" fmla="*/ 1080341 w 2048870"/>
                <a:gd name="connsiteY313" fmla="*/ 1175410 h 1413227"/>
                <a:gd name="connsiteX314" fmla="*/ 1082069 w 2048870"/>
                <a:gd name="connsiteY314" fmla="*/ 1170224 h 1413227"/>
                <a:gd name="connsiteX315" fmla="*/ 1083798 w 2048870"/>
                <a:gd name="connsiteY315" fmla="*/ 1161581 h 1413227"/>
                <a:gd name="connsiteX316" fmla="*/ 1085526 w 2048870"/>
                <a:gd name="connsiteY316" fmla="*/ 1156396 h 1413227"/>
                <a:gd name="connsiteX317" fmla="*/ 1087255 w 2048870"/>
                <a:gd name="connsiteY317" fmla="*/ 1147753 h 1413227"/>
                <a:gd name="connsiteX318" fmla="*/ 1097626 w 2048870"/>
                <a:gd name="connsiteY318" fmla="*/ 1128739 h 1413227"/>
                <a:gd name="connsiteX319" fmla="*/ 1099355 w 2048870"/>
                <a:gd name="connsiteY319" fmla="*/ 1111454 h 1413227"/>
                <a:gd name="connsiteX320" fmla="*/ 1106269 w 2048870"/>
                <a:gd name="connsiteY320" fmla="*/ 1097625 h 1413227"/>
                <a:gd name="connsiteX321" fmla="*/ 1111454 w 2048870"/>
                <a:gd name="connsiteY321" fmla="*/ 1095897 h 1413227"/>
                <a:gd name="connsiteX322" fmla="*/ 1127011 w 2048870"/>
                <a:gd name="connsiteY322" fmla="*/ 1094168 h 1413227"/>
                <a:gd name="connsiteX323" fmla="*/ 1132197 w 2048870"/>
                <a:gd name="connsiteY323" fmla="*/ 1088983 h 1413227"/>
                <a:gd name="connsiteX324" fmla="*/ 1166768 w 2048870"/>
                <a:gd name="connsiteY324" fmla="*/ 1083797 h 1413227"/>
                <a:gd name="connsiteX325" fmla="*/ 1175411 w 2048870"/>
                <a:gd name="connsiteY325" fmla="*/ 1073426 h 1413227"/>
                <a:gd name="connsiteX326" fmla="*/ 1177139 w 2048870"/>
                <a:gd name="connsiteY326" fmla="*/ 1061326 h 1413227"/>
                <a:gd name="connsiteX327" fmla="*/ 1170225 w 2048870"/>
                <a:gd name="connsiteY327" fmla="*/ 1047497 h 1413227"/>
                <a:gd name="connsiteX328" fmla="*/ 1163311 w 2048870"/>
                <a:gd name="connsiteY328" fmla="*/ 1050955 h 1413227"/>
                <a:gd name="connsiteX329" fmla="*/ 1166768 w 2048870"/>
                <a:gd name="connsiteY329" fmla="*/ 1068240 h 1413227"/>
                <a:gd name="connsiteX330" fmla="*/ 1170225 w 2048870"/>
                <a:gd name="connsiteY330" fmla="*/ 1076883 h 1413227"/>
                <a:gd name="connsiteX331" fmla="*/ 1182325 w 2048870"/>
                <a:gd name="connsiteY331" fmla="*/ 1080340 h 1413227"/>
                <a:gd name="connsiteX332" fmla="*/ 1206524 w 2048870"/>
                <a:gd name="connsiteY332" fmla="*/ 1078611 h 1413227"/>
                <a:gd name="connsiteX333" fmla="*/ 1211710 w 2048870"/>
                <a:gd name="connsiteY333" fmla="*/ 1073426 h 1413227"/>
                <a:gd name="connsiteX334" fmla="*/ 1218624 w 2048870"/>
                <a:gd name="connsiteY334" fmla="*/ 1057869 h 1413227"/>
                <a:gd name="connsiteX335" fmla="*/ 1220353 w 2048870"/>
                <a:gd name="connsiteY335" fmla="*/ 1044040 h 1413227"/>
                <a:gd name="connsiteX336" fmla="*/ 1218624 w 2048870"/>
                <a:gd name="connsiteY336" fmla="*/ 1014655 h 1413227"/>
                <a:gd name="connsiteX337" fmla="*/ 1211710 w 2048870"/>
                <a:gd name="connsiteY337" fmla="*/ 997370 h 1413227"/>
                <a:gd name="connsiteX338" fmla="*/ 1206524 w 2048870"/>
                <a:gd name="connsiteY338" fmla="*/ 993913 h 1413227"/>
                <a:gd name="connsiteX339" fmla="*/ 1184053 w 2048870"/>
                <a:gd name="connsiteY339" fmla="*/ 973170 h 1413227"/>
                <a:gd name="connsiteX340" fmla="*/ 1173682 w 2048870"/>
                <a:gd name="connsiteY340" fmla="*/ 962799 h 1413227"/>
                <a:gd name="connsiteX341" fmla="*/ 1168496 w 2048870"/>
                <a:gd name="connsiteY341" fmla="*/ 957613 h 1413227"/>
                <a:gd name="connsiteX342" fmla="*/ 1171954 w 2048870"/>
                <a:gd name="connsiteY342" fmla="*/ 961070 h 1413227"/>
                <a:gd name="connsiteX343" fmla="*/ 1178868 w 2048870"/>
                <a:gd name="connsiteY343" fmla="*/ 971441 h 1413227"/>
                <a:gd name="connsiteX344" fmla="*/ 1185782 w 2048870"/>
                <a:gd name="connsiteY344" fmla="*/ 980084 h 1413227"/>
                <a:gd name="connsiteX345" fmla="*/ 1190968 w 2048870"/>
                <a:gd name="connsiteY345" fmla="*/ 985270 h 1413227"/>
                <a:gd name="connsiteX346" fmla="*/ 1194425 w 2048870"/>
                <a:gd name="connsiteY346" fmla="*/ 993913 h 1413227"/>
                <a:gd name="connsiteX347" fmla="*/ 1206524 w 2048870"/>
                <a:gd name="connsiteY347" fmla="*/ 1007741 h 1413227"/>
                <a:gd name="connsiteX348" fmla="*/ 1208253 w 2048870"/>
                <a:gd name="connsiteY348" fmla="*/ 1014655 h 1413227"/>
                <a:gd name="connsiteX349" fmla="*/ 1211710 w 2048870"/>
                <a:gd name="connsiteY349" fmla="*/ 1023298 h 1413227"/>
                <a:gd name="connsiteX350" fmla="*/ 1213439 w 2048870"/>
                <a:gd name="connsiteY350" fmla="*/ 1035398 h 1413227"/>
                <a:gd name="connsiteX351" fmla="*/ 1215167 w 2048870"/>
                <a:gd name="connsiteY351" fmla="*/ 1044040 h 1413227"/>
                <a:gd name="connsiteX352" fmla="*/ 1220353 w 2048870"/>
                <a:gd name="connsiteY352" fmla="*/ 1045769 h 1413227"/>
                <a:gd name="connsiteX353" fmla="*/ 1223810 w 2048870"/>
                <a:gd name="connsiteY353" fmla="*/ 1050955 h 1413227"/>
                <a:gd name="connsiteX354" fmla="*/ 1234181 w 2048870"/>
                <a:gd name="connsiteY354" fmla="*/ 1063054 h 1413227"/>
                <a:gd name="connsiteX355" fmla="*/ 1253195 w 2048870"/>
                <a:gd name="connsiteY355" fmla="*/ 1057869 h 1413227"/>
                <a:gd name="connsiteX356" fmla="*/ 1258381 w 2048870"/>
                <a:gd name="connsiteY356" fmla="*/ 1054412 h 1413227"/>
                <a:gd name="connsiteX357" fmla="*/ 1265295 w 2048870"/>
                <a:gd name="connsiteY357" fmla="*/ 1050955 h 1413227"/>
                <a:gd name="connsiteX358" fmla="*/ 1267023 w 2048870"/>
                <a:gd name="connsiteY358" fmla="*/ 1056140 h 1413227"/>
                <a:gd name="connsiteX359" fmla="*/ 1268752 w 2048870"/>
                <a:gd name="connsiteY359" fmla="*/ 1068240 h 1413227"/>
                <a:gd name="connsiteX360" fmla="*/ 1279123 w 2048870"/>
                <a:gd name="connsiteY360" fmla="*/ 1064783 h 1413227"/>
                <a:gd name="connsiteX361" fmla="*/ 1289495 w 2048870"/>
                <a:gd name="connsiteY361" fmla="*/ 1056140 h 1413227"/>
                <a:gd name="connsiteX362" fmla="*/ 1299866 w 2048870"/>
                <a:gd name="connsiteY362" fmla="*/ 1045769 h 1413227"/>
                <a:gd name="connsiteX363" fmla="*/ 1305051 w 2048870"/>
                <a:gd name="connsiteY363" fmla="*/ 1042312 h 1413227"/>
                <a:gd name="connsiteX364" fmla="*/ 1294680 w 2048870"/>
                <a:gd name="connsiteY364" fmla="*/ 1061326 h 1413227"/>
                <a:gd name="connsiteX365" fmla="*/ 1286037 w 2048870"/>
                <a:gd name="connsiteY365" fmla="*/ 1075154 h 1413227"/>
                <a:gd name="connsiteX366" fmla="*/ 1272209 w 2048870"/>
                <a:gd name="connsiteY366" fmla="*/ 1082068 h 1413227"/>
                <a:gd name="connsiteX367" fmla="*/ 1265295 w 2048870"/>
                <a:gd name="connsiteY367" fmla="*/ 1085525 h 1413227"/>
                <a:gd name="connsiteX368" fmla="*/ 1260109 w 2048870"/>
                <a:gd name="connsiteY368" fmla="*/ 1087254 h 1413227"/>
                <a:gd name="connsiteX369" fmla="*/ 1251467 w 2048870"/>
                <a:gd name="connsiteY369" fmla="*/ 1092440 h 1413227"/>
                <a:gd name="connsiteX370" fmla="*/ 1232453 w 2048870"/>
                <a:gd name="connsiteY370" fmla="*/ 1095897 h 1413227"/>
                <a:gd name="connsiteX371" fmla="*/ 1230724 w 2048870"/>
                <a:gd name="connsiteY371" fmla="*/ 1121825 h 1413227"/>
                <a:gd name="connsiteX372" fmla="*/ 1223810 w 2048870"/>
                <a:gd name="connsiteY372" fmla="*/ 1128739 h 1413227"/>
                <a:gd name="connsiteX373" fmla="*/ 1216896 w 2048870"/>
                <a:gd name="connsiteY373" fmla="*/ 1130468 h 1413227"/>
                <a:gd name="connsiteX374" fmla="*/ 1248009 w 2048870"/>
                <a:gd name="connsiteY374" fmla="*/ 1123553 h 1413227"/>
                <a:gd name="connsiteX375" fmla="*/ 1275666 w 2048870"/>
                <a:gd name="connsiteY375" fmla="*/ 1125282 h 1413227"/>
                <a:gd name="connsiteX376" fmla="*/ 1282580 w 2048870"/>
                <a:gd name="connsiteY376" fmla="*/ 1128739 h 1413227"/>
                <a:gd name="connsiteX377" fmla="*/ 1318880 w 2048870"/>
                <a:gd name="connsiteY377" fmla="*/ 1127010 h 1413227"/>
                <a:gd name="connsiteX378" fmla="*/ 1330980 w 2048870"/>
                <a:gd name="connsiteY378" fmla="*/ 1123553 h 1413227"/>
                <a:gd name="connsiteX379" fmla="*/ 1339622 w 2048870"/>
                <a:gd name="connsiteY379" fmla="*/ 1118368 h 1413227"/>
                <a:gd name="connsiteX380" fmla="*/ 1356908 w 2048870"/>
                <a:gd name="connsiteY380" fmla="*/ 1123553 h 1413227"/>
                <a:gd name="connsiteX381" fmla="*/ 1384564 w 2048870"/>
                <a:gd name="connsiteY381" fmla="*/ 1114911 h 1413227"/>
                <a:gd name="connsiteX382" fmla="*/ 1391479 w 2048870"/>
                <a:gd name="connsiteY382" fmla="*/ 1109725 h 1413227"/>
                <a:gd name="connsiteX383" fmla="*/ 1400121 w 2048870"/>
                <a:gd name="connsiteY383" fmla="*/ 1095897 h 1413227"/>
                <a:gd name="connsiteX384" fmla="*/ 1403578 w 2048870"/>
                <a:gd name="connsiteY384" fmla="*/ 1090711 h 1413227"/>
                <a:gd name="connsiteX385" fmla="*/ 1408764 w 2048870"/>
                <a:gd name="connsiteY385" fmla="*/ 1088983 h 1413227"/>
                <a:gd name="connsiteX386" fmla="*/ 1415678 w 2048870"/>
                <a:gd name="connsiteY386" fmla="*/ 1097625 h 1413227"/>
                <a:gd name="connsiteX387" fmla="*/ 1419135 w 2048870"/>
                <a:gd name="connsiteY387" fmla="*/ 1104539 h 1413227"/>
                <a:gd name="connsiteX388" fmla="*/ 1424321 w 2048870"/>
                <a:gd name="connsiteY388" fmla="*/ 1111454 h 1413227"/>
                <a:gd name="connsiteX389" fmla="*/ 1434692 w 2048870"/>
                <a:gd name="connsiteY389" fmla="*/ 1109725 h 1413227"/>
                <a:gd name="connsiteX390" fmla="*/ 1438149 w 2048870"/>
                <a:gd name="connsiteY390" fmla="*/ 1101082 h 1413227"/>
                <a:gd name="connsiteX391" fmla="*/ 1446792 w 2048870"/>
                <a:gd name="connsiteY391" fmla="*/ 1076883 h 1413227"/>
                <a:gd name="connsiteX392" fmla="*/ 1455435 w 2048870"/>
                <a:gd name="connsiteY392" fmla="*/ 1082068 h 1413227"/>
                <a:gd name="connsiteX393" fmla="*/ 1457163 w 2048870"/>
                <a:gd name="connsiteY393" fmla="*/ 1097625 h 1413227"/>
                <a:gd name="connsiteX394" fmla="*/ 1462349 w 2048870"/>
                <a:gd name="connsiteY394" fmla="*/ 1104539 h 1413227"/>
                <a:gd name="connsiteX395" fmla="*/ 1464078 w 2048870"/>
                <a:gd name="connsiteY395" fmla="*/ 1116639 h 1413227"/>
                <a:gd name="connsiteX396" fmla="*/ 1450249 w 2048870"/>
                <a:gd name="connsiteY396" fmla="*/ 1132196 h 1413227"/>
                <a:gd name="connsiteX397" fmla="*/ 1436421 w 2048870"/>
                <a:gd name="connsiteY397" fmla="*/ 1149482 h 1413227"/>
                <a:gd name="connsiteX398" fmla="*/ 1427778 w 2048870"/>
                <a:gd name="connsiteY398" fmla="*/ 1158124 h 1413227"/>
                <a:gd name="connsiteX399" fmla="*/ 1415678 w 2048870"/>
                <a:gd name="connsiteY399" fmla="*/ 1163310 h 1413227"/>
                <a:gd name="connsiteX400" fmla="*/ 1400121 w 2048870"/>
                <a:gd name="connsiteY400" fmla="*/ 1171953 h 1413227"/>
                <a:gd name="connsiteX401" fmla="*/ 1398393 w 2048870"/>
                <a:gd name="connsiteY401" fmla="*/ 1177138 h 1413227"/>
                <a:gd name="connsiteX402" fmla="*/ 1389750 w 2048870"/>
                <a:gd name="connsiteY402" fmla="*/ 1189238 h 1413227"/>
                <a:gd name="connsiteX403" fmla="*/ 1384564 w 2048870"/>
                <a:gd name="connsiteY403" fmla="*/ 1197881 h 1413227"/>
                <a:gd name="connsiteX404" fmla="*/ 1382836 w 2048870"/>
                <a:gd name="connsiteY404" fmla="*/ 1203066 h 1413227"/>
                <a:gd name="connsiteX405" fmla="*/ 1374193 w 2048870"/>
                <a:gd name="connsiteY405" fmla="*/ 1211709 h 1413227"/>
                <a:gd name="connsiteX406" fmla="*/ 1369008 w 2048870"/>
                <a:gd name="connsiteY406" fmla="*/ 1216895 h 1413227"/>
                <a:gd name="connsiteX407" fmla="*/ 1356908 w 2048870"/>
                <a:gd name="connsiteY407" fmla="*/ 1230723 h 1413227"/>
                <a:gd name="connsiteX408" fmla="*/ 1351722 w 2048870"/>
                <a:gd name="connsiteY408" fmla="*/ 1237637 h 1413227"/>
                <a:gd name="connsiteX409" fmla="*/ 1349994 w 2048870"/>
                <a:gd name="connsiteY409" fmla="*/ 1242823 h 1413227"/>
                <a:gd name="connsiteX410" fmla="*/ 1344808 w 2048870"/>
                <a:gd name="connsiteY410" fmla="*/ 1253194 h 1413227"/>
                <a:gd name="connsiteX411" fmla="*/ 1377650 w 2048870"/>
                <a:gd name="connsiteY411" fmla="*/ 1253194 h 1413227"/>
                <a:gd name="connsiteX412" fmla="*/ 1386293 w 2048870"/>
                <a:gd name="connsiteY412" fmla="*/ 1246280 h 1413227"/>
                <a:gd name="connsiteX413" fmla="*/ 1391479 w 2048870"/>
                <a:gd name="connsiteY413" fmla="*/ 1244552 h 1413227"/>
                <a:gd name="connsiteX414" fmla="*/ 1412221 w 2048870"/>
                <a:gd name="connsiteY414" fmla="*/ 1248009 h 1413227"/>
                <a:gd name="connsiteX415" fmla="*/ 1415678 w 2048870"/>
                <a:gd name="connsiteY415" fmla="*/ 1253194 h 1413227"/>
                <a:gd name="connsiteX416" fmla="*/ 1426050 w 2048870"/>
                <a:gd name="connsiteY416" fmla="*/ 1260108 h 1413227"/>
                <a:gd name="connsiteX417" fmla="*/ 1451978 w 2048870"/>
                <a:gd name="connsiteY417" fmla="*/ 1258380 h 1413227"/>
                <a:gd name="connsiteX418" fmla="*/ 1457163 w 2048870"/>
                <a:gd name="connsiteY418" fmla="*/ 1253194 h 1413227"/>
                <a:gd name="connsiteX419" fmla="*/ 1465806 w 2048870"/>
                <a:gd name="connsiteY419" fmla="*/ 1248009 h 1413227"/>
                <a:gd name="connsiteX420" fmla="*/ 1483092 w 2048870"/>
                <a:gd name="connsiteY420" fmla="*/ 1249737 h 1413227"/>
                <a:gd name="connsiteX421" fmla="*/ 1491734 w 2048870"/>
                <a:gd name="connsiteY421" fmla="*/ 1258380 h 1413227"/>
                <a:gd name="connsiteX422" fmla="*/ 1502106 w 2048870"/>
                <a:gd name="connsiteY422" fmla="*/ 1272208 h 1413227"/>
                <a:gd name="connsiteX423" fmla="*/ 1503834 w 2048870"/>
                <a:gd name="connsiteY423" fmla="*/ 1289494 h 1413227"/>
                <a:gd name="connsiteX424" fmla="*/ 1514205 w 2048870"/>
                <a:gd name="connsiteY424" fmla="*/ 1301593 h 1413227"/>
                <a:gd name="connsiteX425" fmla="*/ 1517662 w 2048870"/>
                <a:gd name="connsiteY425" fmla="*/ 1306779 h 1413227"/>
                <a:gd name="connsiteX426" fmla="*/ 1515934 w 2048870"/>
                <a:gd name="connsiteY426" fmla="*/ 1355178 h 1413227"/>
                <a:gd name="connsiteX427" fmla="*/ 1509020 w 2048870"/>
                <a:gd name="connsiteY427" fmla="*/ 1360364 h 1413227"/>
                <a:gd name="connsiteX428" fmla="*/ 1503834 w 2048870"/>
                <a:gd name="connsiteY428" fmla="*/ 1370735 h 1413227"/>
                <a:gd name="connsiteX429" fmla="*/ 1534948 w 2048870"/>
                <a:gd name="connsiteY429" fmla="*/ 1374192 h 1413227"/>
                <a:gd name="connsiteX430" fmla="*/ 1540133 w 2048870"/>
                <a:gd name="connsiteY430" fmla="*/ 1377649 h 1413227"/>
                <a:gd name="connsiteX431" fmla="*/ 1559147 w 2048870"/>
                <a:gd name="connsiteY431" fmla="*/ 1375921 h 1413227"/>
                <a:gd name="connsiteX432" fmla="*/ 1564333 w 2048870"/>
                <a:gd name="connsiteY432" fmla="*/ 1372464 h 1413227"/>
                <a:gd name="connsiteX433" fmla="*/ 1579890 w 2048870"/>
                <a:gd name="connsiteY433" fmla="*/ 1370735 h 1413227"/>
                <a:gd name="connsiteX434" fmla="*/ 1597175 w 2048870"/>
                <a:gd name="connsiteY434" fmla="*/ 1363821 h 1413227"/>
                <a:gd name="connsiteX435" fmla="*/ 1600633 w 2048870"/>
                <a:gd name="connsiteY435" fmla="*/ 1360364 h 1413227"/>
                <a:gd name="connsiteX436" fmla="*/ 1612732 w 2048870"/>
                <a:gd name="connsiteY436" fmla="*/ 1341350 h 1413227"/>
                <a:gd name="connsiteX437" fmla="*/ 1617918 w 2048870"/>
                <a:gd name="connsiteY437" fmla="*/ 1305051 h 1413227"/>
                <a:gd name="connsiteX438" fmla="*/ 1623104 w 2048870"/>
                <a:gd name="connsiteY438" fmla="*/ 1301593 h 1413227"/>
                <a:gd name="connsiteX439" fmla="*/ 1624832 w 2048870"/>
                <a:gd name="connsiteY439" fmla="*/ 1284308 h 1413227"/>
                <a:gd name="connsiteX440" fmla="*/ 1631746 w 2048870"/>
                <a:gd name="connsiteY440" fmla="*/ 1270480 h 1413227"/>
                <a:gd name="connsiteX441" fmla="*/ 1643846 w 2048870"/>
                <a:gd name="connsiteY441" fmla="*/ 1263565 h 1413227"/>
                <a:gd name="connsiteX442" fmla="*/ 1669774 w 2048870"/>
                <a:gd name="connsiteY442" fmla="*/ 1260108 h 1413227"/>
                <a:gd name="connsiteX443" fmla="*/ 1681874 w 2048870"/>
                <a:gd name="connsiteY443" fmla="*/ 1254923 h 1413227"/>
                <a:gd name="connsiteX444" fmla="*/ 1687060 w 2048870"/>
                <a:gd name="connsiteY444" fmla="*/ 1253194 h 1413227"/>
                <a:gd name="connsiteX445" fmla="*/ 1702617 w 2048870"/>
                <a:gd name="connsiteY445" fmla="*/ 1249737 h 1413227"/>
                <a:gd name="connsiteX446" fmla="*/ 1704345 w 2048870"/>
                <a:gd name="connsiteY446" fmla="*/ 1232452 h 1413227"/>
                <a:gd name="connsiteX447" fmla="*/ 1706074 w 2048870"/>
                <a:gd name="connsiteY447" fmla="*/ 1208252 h 1413227"/>
                <a:gd name="connsiteX448" fmla="*/ 1711259 w 2048870"/>
                <a:gd name="connsiteY448" fmla="*/ 1201338 h 1413227"/>
                <a:gd name="connsiteX449" fmla="*/ 1718174 w 2048870"/>
                <a:gd name="connsiteY449" fmla="*/ 1192695 h 1413227"/>
                <a:gd name="connsiteX450" fmla="*/ 1725088 w 2048870"/>
                <a:gd name="connsiteY450" fmla="*/ 1189238 h 1413227"/>
                <a:gd name="connsiteX451" fmla="*/ 1735459 w 2048870"/>
                <a:gd name="connsiteY451" fmla="*/ 1184052 h 1413227"/>
                <a:gd name="connsiteX452" fmla="*/ 1773487 w 2048870"/>
                <a:gd name="connsiteY452" fmla="*/ 1189238 h 1413227"/>
                <a:gd name="connsiteX453" fmla="*/ 1778673 w 2048870"/>
                <a:gd name="connsiteY453" fmla="*/ 1194424 h 1413227"/>
                <a:gd name="connsiteX454" fmla="*/ 1808058 w 2048870"/>
                <a:gd name="connsiteY454" fmla="*/ 1187510 h 1413227"/>
                <a:gd name="connsiteX455" fmla="*/ 1811515 w 2048870"/>
                <a:gd name="connsiteY455" fmla="*/ 1180595 h 1413227"/>
                <a:gd name="connsiteX456" fmla="*/ 1818429 w 2048870"/>
                <a:gd name="connsiteY456" fmla="*/ 1171953 h 1413227"/>
                <a:gd name="connsiteX457" fmla="*/ 1825343 w 2048870"/>
                <a:gd name="connsiteY457" fmla="*/ 1158124 h 1413227"/>
                <a:gd name="connsiteX458" fmla="*/ 1827072 w 2048870"/>
                <a:gd name="connsiteY458" fmla="*/ 1151210 h 1413227"/>
                <a:gd name="connsiteX459" fmla="*/ 1833986 w 2048870"/>
                <a:gd name="connsiteY459" fmla="*/ 1133925 h 1413227"/>
                <a:gd name="connsiteX460" fmla="*/ 1820158 w 2048870"/>
                <a:gd name="connsiteY460" fmla="*/ 1128739 h 1413227"/>
                <a:gd name="connsiteX461" fmla="*/ 1816701 w 2048870"/>
                <a:gd name="connsiteY461" fmla="*/ 1123553 h 1413227"/>
                <a:gd name="connsiteX462" fmla="*/ 1820158 w 2048870"/>
                <a:gd name="connsiteY462" fmla="*/ 1118368 h 1413227"/>
                <a:gd name="connsiteX463" fmla="*/ 1825343 w 2048870"/>
                <a:gd name="connsiteY463" fmla="*/ 1111454 h 1413227"/>
                <a:gd name="connsiteX464" fmla="*/ 1828800 w 2048870"/>
                <a:gd name="connsiteY464" fmla="*/ 1099354 h 1413227"/>
                <a:gd name="connsiteX465" fmla="*/ 1832257 w 2048870"/>
                <a:gd name="connsiteY465" fmla="*/ 1094168 h 1413227"/>
                <a:gd name="connsiteX466" fmla="*/ 1830529 w 2048870"/>
                <a:gd name="connsiteY466" fmla="*/ 1083797 h 1413227"/>
                <a:gd name="connsiteX467" fmla="*/ 1816701 w 2048870"/>
                <a:gd name="connsiteY467" fmla="*/ 1087254 h 1413227"/>
                <a:gd name="connsiteX468" fmla="*/ 1789044 w 2048870"/>
                <a:gd name="connsiteY468" fmla="*/ 1092440 h 1413227"/>
                <a:gd name="connsiteX469" fmla="*/ 1778673 w 2048870"/>
                <a:gd name="connsiteY469" fmla="*/ 1095897 h 1413227"/>
                <a:gd name="connsiteX470" fmla="*/ 1771758 w 2048870"/>
                <a:gd name="connsiteY470" fmla="*/ 1099354 h 1413227"/>
                <a:gd name="connsiteX471" fmla="*/ 1766573 w 2048870"/>
                <a:gd name="connsiteY471" fmla="*/ 1116639 h 1413227"/>
                <a:gd name="connsiteX472" fmla="*/ 1756202 w 2048870"/>
                <a:gd name="connsiteY472" fmla="*/ 1118368 h 1413227"/>
                <a:gd name="connsiteX473" fmla="*/ 1738916 w 2048870"/>
                <a:gd name="connsiteY473" fmla="*/ 1130468 h 1413227"/>
                <a:gd name="connsiteX474" fmla="*/ 1718174 w 2048870"/>
                <a:gd name="connsiteY474" fmla="*/ 1140839 h 1413227"/>
                <a:gd name="connsiteX475" fmla="*/ 1709531 w 2048870"/>
                <a:gd name="connsiteY475" fmla="*/ 1146024 h 1413227"/>
                <a:gd name="connsiteX476" fmla="*/ 1707802 w 2048870"/>
                <a:gd name="connsiteY476" fmla="*/ 1151210 h 1413227"/>
                <a:gd name="connsiteX477" fmla="*/ 1700888 w 2048870"/>
                <a:gd name="connsiteY477" fmla="*/ 1154667 h 1413227"/>
                <a:gd name="connsiteX478" fmla="*/ 1647303 w 2048870"/>
                <a:gd name="connsiteY478" fmla="*/ 1152939 h 1413227"/>
                <a:gd name="connsiteX479" fmla="*/ 1650760 w 2048870"/>
                <a:gd name="connsiteY479" fmla="*/ 1142567 h 1413227"/>
                <a:gd name="connsiteX480" fmla="*/ 1649032 w 2048870"/>
                <a:gd name="connsiteY480" fmla="*/ 1120096 h 1413227"/>
                <a:gd name="connsiteX481" fmla="*/ 1598904 w 2048870"/>
                <a:gd name="connsiteY481" fmla="*/ 1114911 h 1413227"/>
                <a:gd name="connsiteX482" fmla="*/ 1591990 w 2048870"/>
                <a:gd name="connsiteY482" fmla="*/ 1113182 h 1413227"/>
                <a:gd name="connsiteX483" fmla="*/ 1564333 w 2048870"/>
                <a:gd name="connsiteY483" fmla="*/ 1109725 h 1413227"/>
                <a:gd name="connsiteX484" fmla="*/ 1553962 w 2048870"/>
                <a:gd name="connsiteY484" fmla="*/ 1101082 h 1413227"/>
                <a:gd name="connsiteX485" fmla="*/ 1543591 w 2048870"/>
                <a:gd name="connsiteY485" fmla="*/ 1092440 h 1413227"/>
                <a:gd name="connsiteX486" fmla="*/ 1526305 w 2048870"/>
                <a:gd name="connsiteY486" fmla="*/ 1090711 h 1413227"/>
                <a:gd name="connsiteX487" fmla="*/ 1514205 w 2048870"/>
                <a:gd name="connsiteY487" fmla="*/ 1085525 h 1413227"/>
                <a:gd name="connsiteX488" fmla="*/ 1512477 w 2048870"/>
                <a:gd name="connsiteY488" fmla="*/ 1092440 h 1413227"/>
                <a:gd name="connsiteX489" fmla="*/ 1507291 w 2048870"/>
                <a:gd name="connsiteY489" fmla="*/ 1085525 h 1413227"/>
                <a:gd name="connsiteX490" fmla="*/ 1496920 w 2048870"/>
                <a:gd name="connsiteY490" fmla="*/ 1075154 h 1413227"/>
                <a:gd name="connsiteX491" fmla="*/ 1445064 w 2048870"/>
                <a:gd name="connsiteY491" fmla="*/ 1076883 h 1413227"/>
                <a:gd name="connsiteX492" fmla="*/ 1439878 w 2048870"/>
                <a:gd name="connsiteY492" fmla="*/ 1080340 h 1413227"/>
                <a:gd name="connsiteX493" fmla="*/ 1438149 w 2048870"/>
                <a:gd name="connsiteY493" fmla="*/ 1085525 h 1413227"/>
                <a:gd name="connsiteX494" fmla="*/ 1451978 w 2048870"/>
                <a:gd name="connsiteY494" fmla="*/ 1071697 h 1413227"/>
                <a:gd name="connsiteX495" fmla="*/ 1458892 w 2048870"/>
                <a:gd name="connsiteY495" fmla="*/ 1064783 h 1413227"/>
                <a:gd name="connsiteX496" fmla="*/ 1464078 w 2048870"/>
                <a:gd name="connsiteY496" fmla="*/ 1059597 h 1413227"/>
                <a:gd name="connsiteX497" fmla="*/ 1479634 w 2048870"/>
                <a:gd name="connsiteY497" fmla="*/ 1064783 h 1413227"/>
                <a:gd name="connsiteX498" fmla="*/ 1490006 w 2048870"/>
                <a:gd name="connsiteY498" fmla="*/ 1071697 h 1413227"/>
                <a:gd name="connsiteX499" fmla="*/ 1498648 w 2048870"/>
                <a:gd name="connsiteY499" fmla="*/ 1068240 h 1413227"/>
                <a:gd name="connsiteX500" fmla="*/ 1500377 w 2048870"/>
                <a:gd name="connsiteY500" fmla="*/ 1063054 h 1413227"/>
                <a:gd name="connsiteX501" fmla="*/ 1503834 w 2048870"/>
                <a:gd name="connsiteY501" fmla="*/ 1057869 h 1413227"/>
                <a:gd name="connsiteX502" fmla="*/ 1507291 w 2048870"/>
                <a:gd name="connsiteY502" fmla="*/ 1045769 h 1413227"/>
                <a:gd name="connsiteX503" fmla="*/ 1540133 w 2048870"/>
                <a:gd name="connsiteY503" fmla="*/ 1044040 h 1413227"/>
                <a:gd name="connsiteX504" fmla="*/ 1557419 w 2048870"/>
                <a:gd name="connsiteY504" fmla="*/ 1059597 h 1413227"/>
                <a:gd name="connsiteX505" fmla="*/ 1560876 w 2048870"/>
                <a:gd name="connsiteY505" fmla="*/ 1073426 h 1413227"/>
                <a:gd name="connsiteX506" fmla="*/ 1564333 w 2048870"/>
                <a:gd name="connsiteY506" fmla="*/ 1087254 h 1413227"/>
                <a:gd name="connsiteX507" fmla="*/ 1566062 w 2048870"/>
                <a:gd name="connsiteY507" fmla="*/ 1094168 h 1413227"/>
                <a:gd name="connsiteX508" fmla="*/ 1569519 w 2048870"/>
                <a:gd name="connsiteY508" fmla="*/ 1099354 h 1413227"/>
                <a:gd name="connsiteX509" fmla="*/ 1576433 w 2048870"/>
                <a:gd name="connsiteY509" fmla="*/ 1037126 h 1413227"/>
                <a:gd name="connsiteX510" fmla="*/ 1588533 w 2048870"/>
                <a:gd name="connsiteY510" fmla="*/ 1052683 h 1413227"/>
                <a:gd name="connsiteX511" fmla="*/ 1591990 w 2048870"/>
                <a:gd name="connsiteY511" fmla="*/ 1069969 h 1413227"/>
                <a:gd name="connsiteX512" fmla="*/ 1607547 w 2048870"/>
                <a:gd name="connsiteY512" fmla="*/ 1080340 h 1413227"/>
                <a:gd name="connsiteX513" fmla="*/ 1612732 w 2048870"/>
                <a:gd name="connsiteY513" fmla="*/ 1083797 h 1413227"/>
                <a:gd name="connsiteX514" fmla="*/ 1621375 w 2048870"/>
                <a:gd name="connsiteY514" fmla="*/ 1085525 h 1413227"/>
                <a:gd name="connsiteX515" fmla="*/ 1633475 w 2048870"/>
                <a:gd name="connsiteY515" fmla="*/ 1092440 h 1413227"/>
                <a:gd name="connsiteX516" fmla="*/ 1640389 w 2048870"/>
                <a:gd name="connsiteY516" fmla="*/ 1095897 h 1413227"/>
                <a:gd name="connsiteX517" fmla="*/ 1649032 w 2048870"/>
                <a:gd name="connsiteY517" fmla="*/ 1109725 h 1413227"/>
                <a:gd name="connsiteX518" fmla="*/ 1659403 w 2048870"/>
                <a:gd name="connsiteY518" fmla="*/ 1113182 h 1413227"/>
                <a:gd name="connsiteX519" fmla="*/ 1669774 w 2048870"/>
                <a:gd name="connsiteY519" fmla="*/ 1118368 h 1413227"/>
                <a:gd name="connsiteX520" fmla="*/ 1680146 w 2048870"/>
                <a:gd name="connsiteY520" fmla="*/ 1125282 h 1413227"/>
                <a:gd name="connsiteX521" fmla="*/ 1699160 w 2048870"/>
                <a:gd name="connsiteY521" fmla="*/ 1139110 h 1413227"/>
                <a:gd name="connsiteX522" fmla="*/ 1712988 w 2048870"/>
                <a:gd name="connsiteY522" fmla="*/ 1142567 h 1413227"/>
                <a:gd name="connsiteX523" fmla="*/ 1704345 w 2048870"/>
                <a:gd name="connsiteY523" fmla="*/ 1137382 h 1413227"/>
                <a:gd name="connsiteX524" fmla="*/ 1699160 w 2048870"/>
                <a:gd name="connsiteY524" fmla="*/ 1132196 h 1413227"/>
                <a:gd name="connsiteX525" fmla="*/ 1688788 w 2048870"/>
                <a:gd name="connsiteY525" fmla="*/ 1128739 h 1413227"/>
                <a:gd name="connsiteX526" fmla="*/ 1674960 w 2048870"/>
                <a:gd name="connsiteY526" fmla="*/ 1125282 h 1413227"/>
                <a:gd name="connsiteX527" fmla="*/ 1659403 w 2048870"/>
                <a:gd name="connsiteY527" fmla="*/ 1121825 h 1413227"/>
                <a:gd name="connsiteX528" fmla="*/ 1650760 w 2048870"/>
                <a:gd name="connsiteY528" fmla="*/ 1116639 h 1413227"/>
                <a:gd name="connsiteX529" fmla="*/ 1645575 w 2048870"/>
                <a:gd name="connsiteY529" fmla="*/ 1113182 h 1413227"/>
                <a:gd name="connsiteX530" fmla="*/ 1642118 w 2048870"/>
                <a:gd name="connsiteY530" fmla="*/ 1107996 h 1413227"/>
                <a:gd name="connsiteX531" fmla="*/ 1628289 w 2048870"/>
                <a:gd name="connsiteY531" fmla="*/ 1088983 h 1413227"/>
                <a:gd name="connsiteX532" fmla="*/ 1626561 w 2048870"/>
                <a:gd name="connsiteY532" fmla="*/ 1083797 h 1413227"/>
                <a:gd name="connsiteX533" fmla="*/ 1619647 w 2048870"/>
                <a:gd name="connsiteY533" fmla="*/ 1075154 h 1413227"/>
                <a:gd name="connsiteX534" fmla="*/ 1616189 w 2048870"/>
                <a:gd name="connsiteY534" fmla="*/ 1061326 h 1413227"/>
                <a:gd name="connsiteX535" fmla="*/ 1614461 w 2048870"/>
                <a:gd name="connsiteY535" fmla="*/ 1056140 h 1413227"/>
                <a:gd name="connsiteX536" fmla="*/ 1604090 w 2048870"/>
                <a:gd name="connsiteY536" fmla="*/ 1038855 h 1413227"/>
                <a:gd name="connsiteX537" fmla="*/ 1598904 w 2048870"/>
                <a:gd name="connsiteY537" fmla="*/ 1037126 h 1413227"/>
                <a:gd name="connsiteX538" fmla="*/ 1593718 w 2048870"/>
                <a:gd name="connsiteY538" fmla="*/ 1030212 h 1413227"/>
                <a:gd name="connsiteX539" fmla="*/ 1585076 w 2048870"/>
                <a:gd name="connsiteY539" fmla="*/ 1019841 h 1413227"/>
                <a:gd name="connsiteX540" fmla="*/ 1590261 w 2048870"/>
                <a:gd name="connsiteY540" fmla="*/ 1000827 h 1413227"/>
                <a:gd name="connsiteX541" fmla="*/ 1598904 w 2048870"/>
                <a:gd name="connsiteY541" fmla="*/ 999098 h 1413227"/>
                <a:gd name="connsiteX542" fmla="*/ 1611004 w 2048870"/>
                <a:gd name="connsiteY542" fmla="*/ 990455 h 1413227"/>
                <a:gd name="connsiteX543" fmla="*/ 1617918 w 2048870"/>
                <a:gd name="connsiteY543" fmla="*/ 985270 h 1413227"/>
                <a:gd name="connsiteX544" fmla="*/ 1616189 w 2048870"/>
                <a:gd name="connsiteY544" fmla="*/ 1021569 h 1413227"/>
                <a:gd name="connsiteX545" fmla="*/ 1612732 w 2048870"/>
                <a:gd name="connsiteY545" fmla="*/ 1028483 h 1413227"/>
                <a:gd name="connsiteX546" fmla="*/ 1607547 w 2048870"/>
                <a:gd name="connsiteY546" fmla="*/ 1035398 h 1413227"/>
                <a:gd name="connsiteX547" fmla="*/ 1612732 w 2048870"/>
                <a:gd name="connsiteY547" fmla="*/ 1031941 h 1413227"/>
                <a:gd name="connsiteX548" fmla="*/ 1621375 w 2048870"/>
                <a:gd name="connsiteY548" fmla="*/ 1016384 h 1413227"/>
                <a:gd name="connsiteX549" fmla="*/ 1626561 w 2048870"/>
                <a:gd name="connsiteY549" fmla="*/ 997370 h 1413227"/>
                <a:gd name="connsiteX550" fmla="*/ 1626561 w 2048870"/>
                <a:gd name="connsiteY550" fmla="*/ 976627 h 1413227"/>
                <a:gd name="connsiteX551" fmla="*/ 1619647 w 2048870"/>
                <a:gd name="connsiteY551" fmla="*/ 962799 h 1413227"/>
                <a:gd name="connsiteX552" fmla="*/ 1626561 w 2048870"/>
                <a:gd name="connsiteY552" fmla="*/ 966256 h 1413227"/>
                <a:gd name="connsiteX553" fmla="*/ 1638661 w 2048870"/>
                <a:gd name="connsiteY553" fmla="*/ 969713 h 1413227"/>
                <a:gd name="connsiteX554" fmla="*/ 1645575 w 2048870"/>
                <a:gd name="connsiteY554" fmla="*/ 967984 h 1413227"/>
                <a:gd name="connsiteX555" fmla="*/ 1650760 w 2048870"/>
                <a:gd name="connsiteY555" fmla="*/ 955885 h 1413227"/>
                <a:gd name="connsiteX556" fmla="*/ 1659403 w 2048870"/>
                <a:gd name="connsiteY556" fmla="*/ 933414 h 1413227"/>
                <a:gd name="connsiteX557" fmla="*/ 1662860 w 2048870"/>
                <a:gd name="connsiteY557" fmla="*/ 929956 h 1413227"/>
                <a:gd name="connsiteX558" fmla="*/ 1664589 w 2048870"/>
                <a:gd name="connsiteY558" fmla="*/ 923042 h 1413227"/>
                <a:gd name="connsiteX559" fmla="*/ 1673231 w 2048870"/>
                <a:gd name="connsiteY559" fmla="*/ 893657 h 1413227"/>
                <a:gd name="connsiteX560" fmla="*/ 1687060 w 2048870"/>
                <a:gd name="connsiteY560" fmla="*/ 891928 h 1413227"/>
                <a:gd name="connsiteX561" fmla="*/ 1693974 w 2048870"/>
                <a:gd name="connsiteY561" fmla="*/ 890200 h 1413227"/>
                <a:gd name="connsiteX562" fmla="*/ 1700888 w 2048870"/>
                <a:gd name="connsiteY562" fmla="*/ 886743 h 1413227"/>
                <a:gd name="connsiteX563" fmla="*/ 1719902 w 2048870"/>
                <a:gd name="connsiteY563" fmla="*/ 878100 h 1413227"/>
                <a:gd name="connsiteX564" fmla="*/ 1726816 w 2048870"/>
                <a:gd name="connsiteY564" fmla="*/ 876372 h 1413227"/>
                <a:gd name="connsiteX565" fmla="*/ 1745830 w 2048870"/>
                <a:gd name="connsiteY565" fmla="*/ 860815 h 1413227"/>
                <a:gd name="connsiteX566" fmla="*/ 1751016 w 2048870"/>
                <a:gd name="connsiteY566" fmla="*/ 857358 h 1413227"/>
                <a:gd name="connsiteX567" fmla="*/ 1757930 w 2048870"/>
                <a:gd name="connsiteY567" fmla="*/ 855629 h 1413227"/>
                <a:gd name="connsiteX568" fmla="*/ 1764844 w 2048870"/>
                <a:gd name="connsiteY568" fmla="*/ 841801 h 1413227"/>
                <a:gd name="connsiteX569" fmla="*/ 1771758 w 2048870"/>
                <a:gd name="connsiteY569" fmla="*/ 836615 h 1413227"/>
                <a:gd name="connsiteX570" fmla="*/ 1776944 w 2048870"/>
                <a:gd name="connsiteY570" fmla="*/ 833158 h 1413227"/>
                <a:gd name="connsiteX571" fmla="*/ 1787315 w 2048870"/>
                <a:gd name="connsiteY571" fmla="*/ 831429 h 1413227"/>
                <a:gd name="connsiteX572" fmla="*/ 1795958 w 2048870"/>
                <a:gd name="connsiteY572" fmla="*/ 829701 h 1413227"/>
                <a:gd name="connsiteX573" fmla="*/ 1797687 w 2048870"/>
                <a:gd name="connsiteY573" fmla="*/ 824515 h 1413227"/>
                <a:gd name="connsiteX574" fmla="*/ 1825343 w 2048870"/>
                <a:gd name="connsiteY574" fmla="*/ 796859 h 1413227"/>
                <a:gd name="connsiteX575" fmla="*/ 1830529 w 2048870"/>
                <a:gd name="connsiteY575" fmla="*/ 776116 h 1413227"/>
                <a:gd name="connsiteX576" fmla="*/ 1835715 w 2048870"/>
                <a:gd name="connsiteY576" fmla="*/ 770930 h 1413227"/>
                <a:gd name="connsiteX577" fmla="*/ 1863371 w 2048870"/>
                <a:gd name="connsiteY577" fmla="*/ 760559 h 1413227"/>
                <a:gd name="connsiteX578" fmla="*/ 1868557 w 2048870"/>
                <a:gd name="connsiteY578" fmla="*/ 755373 h 1413227"/>
                <a:gd name="connsiteX579" fmla="*/ 1880657 w 2048870"/>
                <a:gd name="connsiteY579" fmla="*/ 753645 h 1413227"/>
                <a:gd name="connsiteX580" fmla="*/ 1889299 w 2048870"/>
                <a:gd name="connsiteY580" fmla="*/ 750188 h 1413227"/>
                <a:gd name="connsiteX581" fmla="*/ 1894485 w 2048870"/>
                <a:gd name="connsiteY581" fmla="*/ 731174 h 1413227"/>
                <a:gd name="connsiteX582" fmla="*/ 1910042 w 2048870"/>
                <a:gd name="connsiteY582" fmla="*/ 719074 h 1413227"/>
                <a:gd name="connsiteX583" fmla="*/ 1916956 w 2048870"/>
                <a:gd name="connsiteY583" fmla="*/ 710431 h 1413227"/>
                <a:gd name="connsiteX584" fmla="*/ 1908313 w 2048870"/>
                <a:gd name="connsiteY584" fmla="*/ 689689 h 1413227"/>
                <a:gd name="connsiteX585" fmla="*/ 1901399 w 2048870"/>
                <a:gd name="connsiteY585" fmla="*/ 675860 h 1413227"/>
                <a:gd name="connsiteX586" fmla="*/ 1897942 w 2048870"/>
                <a:gd name="connsiteY586" fmla="*/ 665489 h 1413227"/>
                <a:gd name="connsiteX587" fmla="*/ 1901399 w 2048870"/>
                <a:gd name="connsiteY587" fmla="*/ 651661 h 1413227"/>
                <a:gd name="connsiteX588" fmla="*/ 1897942 w 2048870"/>
                <a:gd name="connsiteY588" fmla="*/ 629190 h 1413227"/>
                <a:gd name="connsiteX589" fmla="*/ 1904856 w 2048870"/>
                <a:gd name="connsiteY589" fmla="*/ 624004 h 1413227"/>
                <a:gd name="connsiteX590" fmla="*/ 1910042 w 2048870"/>
                <a:gd name="connsiteY590" fmla="*/ 613633 h 1413227"/>
                <a:gd name="connsiteX591" fmla="*/ 1918685 w 2048870"/>
                <a:gd name="connsiteY591" fmla="*/ 608447 h 1413227"/>
                <a:gd name="connsiteX592" fmla="*/ 1925599 w 2048870"/>
                <a:gd name="connsiteY592" fmla="*/ 601533 h 1413227"/>
                <a:gd name="connsiteX593" fmla="*/ 1929056 w 2048870"/>
                <a:gd name="connsiteY593" fmla="*/ 587705 h 1413227"/>
                <a:gd name="connsiteX594" fmla="*/ 1932513 w 2048870"/>
                <a:gd name="connsiteY594" fmla="*/ 582519 h 1413227"/>
                <a:gd name="connsiteX595" fmla="*/ 1939427 w 2048870"/>
                <a:gd name="connsiteY595" fmla="*/ 565234 h 1413227"/>
                <a:gd name="connsiteX596" fmla="*/ 1963627 w 2048870"/>
                <a:gd name="connsiteY596" fmla="*/ 556591 h 1413227"/>
                <a:gd name="connsiteX597" fmla="*/ 1968812 w 2048870"/>
                <a:gd name="connsiteY597" fmla="*/ 547948 h 1413227"/>
                <a:gd name="connsiteX598" fmla="*/ 1986098 w 2048870"/>
                <a:gd name="connsiteY598" fmla="*/ 544491 h 1413227"/>
                <a:gd name="connsiteX599" fmla="*/ 2008569 w 2048870"/>
                <a:gd name="connsiteY599" fmla="*/ 539305 h 1413227"/>
                <a:gd name="connsiteX600" fmla="*/ 2017212 w 2048870"/>
                <a:gd name="connsiteY600" fmla="*/ 530663 h 1413227"/>
                <a:gd name="connsiteX601" fmla="*/ 2048326 w 2048870"/>
                <a:gd name="connsiteY601" fmla="*/ 525477 h 1413227"/>
                <a:gd name="connsiteX602" fmla="*/ 2043140 w 2048870"/>
                <a:gd name="connsiteY602" fmla="*/ 499549 h 1413227"/>
                <a:gd name="connsiteX603" fmla="*/ 2032769 w 2048870"/>
                <a:gd name="connsiteY603" fmla="*/ 492635 h 1413227"/>
                <a:gd name="connsiteX604" fmla="*/ 2025854 w 2048870"/>
                <a:gd name="connsiteY604" fmla="*/ 447693 h 1413227"/>
                <a:gd name="connsiteX605" fmla="*/ 2018940 w 2048870"/>
                <a:gd name="connsiteY605" fmla="*/ 428679 h 1413227"/>
                <a:gd name="connsiteX606" fmla="*/ 2015483 w 2048870"/>
                <a:gd name="connsiteY606" fmla="*/ 418307 h 1413227"/>
                <a:gd name="connsiteX607" fmla="*/ 2010298 w 2048870"/>
                <a:gd name="connsiteY607" fmla="*/ 411393 h 1413227"/>
                <a:gd name="connsiteX608" fmla="*/ 2003383 w 2048870"/>
                <a:gd name="connsiteY608" fmla="*/ 407936 h 1413227"/>
                <a:gd name="connsiteX609" fmla="*/ 1984369 w 2048870"/>
                <a:gd name="connsiteY609" fmla="*/ 404479 h 1413227"/>
                <a:gd name="connsiteX610" fmla="*/ 1977455 w 2048870"/>
                <a:gd name="connsiteY610" fmla="*/ 394108 h 1413227"/>
                <a:gd name="connsiteX611" fmla="*/ 1972270 w 2048870"/>
                <a:gd name="connsiteY611" fmla="*/ 390651 h 1413227"/>
                <a:gd name="connsiteX612" fmla="*/ 1968812 w 2048870"/>
                <a:gd name="connsiteY612" fmla="*/ 382008 h 1413227"/>
                <a:gd name="connsiteX613" fmla="*/ 1973998 w 2048870"/>
                <a:gd name="connsiteY613" fmla="*/ 366451 h 1413227"/>
                <a:gd name="connsiteX614" fmla="*/ 1982641 w 2048870"/>
                <a:gd name="connsiteY614" fmla="*/ 354351 h 1413227"/>
                <a:gd name="connsiteX615" fmla="*/ 1984369 w 2048870"/>
                <a:gd name="connsiteY615" fmla="*/ 347437 h 1413227"/>
                <a:gd name="connsiteX616" fmla="*/ 1994741 w 2048870"/>
                <a:gd name="connsiteY616" fmla="*/ 343980 h 1413227"/>
                <a:gd name="connsiteX617" fmla="*/ 1960170 w 2048870"/>
                <a:gd name="connsiteY617" fmla="*/ 337066 h 1413227"/>
                <a:gd name="connsiteX618" fmla="*/ 1958441 w 2048870"/>
                <a:gd name="connsiteY618" fmla="*/ 331880 h 1413227"/>
                <a:gd name="connsiteX619" fmla="*/ 1954984 w 2048870"/>
                <a:gd name="connsiteY619" fmla="*/ 326694 h 1413227"/>
                <a:gd name="connsiteX620" fmla="*/ 1958441 w 2048870"/>
                <a:gd name="connsiteY620" fmla="*/ 318052 h 1413227"/>
                <a:gd name="connsiteX621" fmla="*/ 1963627 w 2048870"/>
                <a:gd name="connsiteY621" fmla="*/ 311138 h 1413227"/>
                <a:gd name="connsiteX622" fmla="*/ 1967084 w 2048870"/>
                <a:gd name="connsiteY622" fmla="*/ 305952 h 1413227"/>
                <a:gd name="connsiteX623" fmla="*/ 1968812 w 2048870"/>
                <a:gd name="connsiteY623" fmla="*/ 299038 h 1413227"/>
                <a:gd name="connsiteX624" fmla="*/ 1973998 w 2048870"/>
                <a:gd name="connsiteY624" fmla="*/ 293852 h 1413227"/>
                <a:gd name="connsiteX625" fmla="*/ 1975727 w 2048870"/>
                <a:gd name="connsiteY625" fmla="*/ 269652 h 1413227"/>
                <a:gd name="connsiteX626" fmla="*/ 1970541 w 2048870"/>
                <a:gd name="connsiteY626" fmla="*/ 255824 h 1413227"/>
                <a:gd name="connsiteX627" fmla="*/ 1968812 w 2048870"/>
                <a:gd name="connsiteY627" fmla="*/ 250638 h 1413227"/>
                <a:gd name="connsiteX628" fmla="*/ 1967084 w 2048870"/>
                <a:gd name="connsiteY628" fmla="*/ 243724 h 1413227"/>
                <a:gd name="connsiteX629" fmla="*/ 1963627 w 2048870"/>
                <a:gd name="connsiteY629" fmla="*/ 238539 h 1413227"/>
                <a:gd name="connsiteX630" fmla="*/ 1965355 w 2048870"/>
                <a:gd name="connsiteY630" fmla="*/ 216068 h 1413227"/>
                <a:gd name="connsiteX631" fmla="*/ 1961898 w 2048870"/>
                <a:gd name="connsiteY631" fmla="*/ 209153 h 1413227"/>
                <a:gd name="connsiteX632" fmla="*/ 1954984 w 2048870"/>
                <a:gd name="connsiteY632" fmla="*/ 216068 h 1413227"/>
                <a:gd name="connsiteX633" fmla="*/ 1948070 w 2048870"/>
                <a:gd name="connsiteY633" fmla="*/ 217796 h 1413227"/>
                <a:gd name="connsiteX634" fmla="*/ 1937699 w 2048870"/>
                <a:gd name="connsiteY634" fmla="*/ 226439 h 1413227"/>
                <a:gd name="connsiteX635" fmla="*/ 1932513 w 2048870"/>
                <a:gd name="connsiteY635" fmla="*/ 228167 h 1413227"/>
                <a:gd name="connsiteX636" fmla="*/ 1922142 w 2048870"/>
                <a:gd name="connsiteY636" fmla="*/ 235082 h 1413227"/>
                <a:gd name="connsiteX637" fmla="*/ 1906585 w 2048870"/>
                <a:gd name="connsiteY637" fmla="*/ 231624 h 1413227"/>
                <a:gd name="connsiteX638" fmla="*/ 1885842 w 2048870"/>
                <a:gd name="connsiteY638" fmla="*/ 222982 h 1413227"/>
                <a:gd name="connsiteX639" fmla="*/ 1878928 w 2048870"/>
                <a:gd name="connsiteY639" fmla="*/ 224710 h 1413227"/>
                <a:gd name="connsiteX640" fmla="*/ 1868557 w 2048870"/>
                <a:gd name="connsiteY640" fmla="*/ 233353 h 1413227"/>
                <a:gd name="connsiteX641" fmla="*/ 1847814 w 2048870"/>
                <a:gd name="connsiteY641" fmla="*/ 221253 h 1413227"/>
                <a:gd name="connsiteX642" fmla="*/ 1839172 w 2048870"/>
                <a:gd name="connsiteY642" fmla="*/ 217796 h 1413227"/>
                <a:gd name="connsiteX643" fmla="*/ 1832257 w 2048870"/>
                <a:gd name="connsiteY643" fmla="*/ 214339 h 1413227"/>
                <a:gd name="connsiteX644" fmla="*/ 1823615 w 2048870"/>
                <a:gd name="connsiteY644" fmla="*/ 224710 h 1413227"/>
                <a:gd name="connsiteX645" fmla="*/ 1816701 w 2048870"/>
                <a:gd name="connsiteY645" fmla="*/ 229896 h 1413227"/>
                <a:gd name="connsiteX646" fmla="*/ 1787315 w 2048870"/>
                <a:gd name="connsiteY646" fmla="*/ 221253 h 1413227"/>
                <a:gd name="connsiteX647" fmla="*/ 1759659 w 2048870"/>
                <a:gd name="connsiteY647" fmla="*/ 222982 h 1413227"/>
                <a:gd name="connsiteX648" fmla="*/ 1754473 w 2048870"/>
                <a:gd name="connsiteY648" fmla="*/ 224710 h 1413227"/>
                <a:gd name="connsiteX649" fmla="*/ 1735459 w 2048870"/>
                <a:gd name="connsiteY649" fmla="*/ 222982 h 1413227"/>
                <a:gd name="connsiteX650" fmla="*/ 1728545 w 2048870"/>
                <a:gd name="connsiteY650" fmla="*/ 217796 h 1413227"/>
                <a:gd name="connsiteX651" fmla="*/ 1721631 w 2048870"/>
                <a:gd name="connsiteY651" fmla="*/ 207425 h 1413227"/>
                <a:gd name="connsiteX652" fmla="*/ 1712988 w 2048870"/>
                <a:gd name="connsiteY652" fmla="*/ 235082 h 1413227"/>
                <a:gd name="connsiteX653" fmla="*/ 1706074 w 2048870"/>
                <a:gd name="connsiteY653" fmla="*/ 250638 h 1413227"/>
                <a:gd name="connsiteX654" fmla="*/ 1692245 w 2048870"/>
                <a:gd name="connsiteY654" fmla="*/ 236810 h 1413227"/>
                <a:gd name="connsiteX655" fmla="*/ 1645575 w 2048870"/>
                <a:gd name="connsiteY655" fmla="*/ 224710 h 1413227"/>
                <a:gd name="connsiteX656" fmla="*/ 1640389 w 2048870"/>
                <a:gd name="connsiteY656" fmla="*/ 217796 h 1413227"/>
                <a:gd name="connsiteX657" fmla="*/ 1638661 w 2048870"/>
                <a:gd name="connsiteY657" fmla="*/ 212610 h 1413227"/>
                <a:gd name="connsiteX658" fmla="*/ 1623104 w 2048870"/>
                <a:gd name="connsiteY658" fmla="*/ 195325 h 1413227"/>
                <a:gd name="connsiteX659" fmla="*/ 1609275 w 2048870"/>
                <a:gd name="connsiteY659" fmla="*/ 191868 h 1413227"/>
                <a:gd name="connsiteX660" fmla="*/ 1600633 w 2048870"/>
                <a:gd name="connsiteY660" fmla="*/ 200511 h 1413227"/>
                <a:gd name="connsiteX661" fmla="*/ 1595447 w 2048870"/>
                <a:gd name="connsiteY661" fmla="*/ 202239 h 1413227"/>
                <a:gd name="connsiteX662" fmla="*/ 1574704 w 2048870"/>
                <a:gd name="connsiteY662" fmla="*/ 209153 h 1413227"/>
                <a:gd name="connsiteX663" fmla="*/ 1569519 w 2048870"/>
                <a:gd name="connsiteY663" fmla="*/ 214339 h 1413227"/>
                <a:gd name="connsiteX664" fmla="*/ 1564333 w 2048870"/>
                <a:gd name="connsiteY664" fmla="*/ 217796 h 1413227"/>
                <a:gd name="connsiteX665" fmla="*/ 1560876 w 2048870"/>
                <a:gd name="connsiteY665" fmla="*/ 224710 h 1413227"/>
                <a:gd name="connsiteX666" fmla="*/ 1543591 w 2048870"/>
                <a:gd name="connsiteY666" fmla="*/ 238539 h 1413227"/>
                <a:gd name="connsiteX667" fmla="*/ 1536676 w 2048870"/>
                <a:gd name="connsiteY667" fmla="*/ 245453 h 1413227"/>
                <a:gd name="connsiteX668" fmla="*/ 1534948 w 2048870"/>
                <a:gd name="connsiteY668" fmla="*/ 250638 h 1413227"/>
                <a:gd name="connsiteX669" fmla="*/ 1536676 w 2048870"/>
                <a:gd name="connsiteY669" fmla="*/ 255824 h 1413227"/>
                <a:gd name="connsiteX670" fmla="*/ 1510748 w 2048870"/>
                <a:gd name="connsiteY670" fmla="*/ 259281 h 1413227"/>
                <a:gd name="connsiteX671" fmla="*/ 1500377 w 2048870"/>
                <a:gd name="connsiteY671" fmla="*/ 252367 h 1413227"/>
                <a:gd name="connsiteX672" fmla="*/ 1472720 w 2048870"/>
                <a:gd name="connsiteY672" fmla="*/ 252367 h 1413227"/>
                <a:gd name="connsiteX673" fmla="*/ 1455435 w 2048870"/>
                <a:gd name="connsiteY673" fmla="*/ 254096 h 1413227"/>
                <a:gd name="connsiteX674" fmla="*/ 1446792 w 2048870"/>
                <a:gd name="connsiteY674" fmla="*/ 261010 h 1413227"/>
                <a:gd name="connsiteX675" fmla="*/ 1441606 w 2048870"/>
                <a:gd name="connsiteY675" fmla="*/ 267924 h 1413227"/>
                <a:gd name="connsiteX676" fmla="*/ 1438149 w 2048870"/>
                <a:gd name="connsiteY676" fmla="*/ 273110 h 1413227"/>
                <a:gd name="connsiteX677" fmla="*/ 1432964 w 2048870"/>
                <a:gd name="connsiteY677" fmla="*/ 274838 h 1413227"/>
                <a:gd name="connsiteX678" fmla="*/ 1419135 w 2048870"/>
                <a:gd name="connsiteY678" fmla="*/ 281752 h 1413227"/>
                <a:gd name="connsiteX679" fmla="*/ 1412221 w 2048870"/>
                <a:gd name="connsiteY679" fmla="*/ 278295 h 1413227"/>
                <a:gd name="connsiteX680" fmla="*/ 1408764 w 2048870"/>
                <a:gd name="connsiteY680" fmla="*/ 273110 h 1413227"/>
                <a:gd name="connsiteX681" fmla="*/ 1400121 w 2048870"/>
                <a:gd name="connsiteY681" fmla="*/ 257553 h 1413227"/>
                <a:gd name="connsiteX682" fmla="*/ 1394936 w 2048870"/>
                <a:gd name="connsiteY682" fmla="*/ 254096 h 1413227"/>
                <a:gd name="connsiteX683" fmla="*/ 1386293 w 2048870"/>
                <a:gd name="connsiteY683" fmla="*/ 243724 h 1413227"/>
                <a:gd name="connsiteX684" fmla="*/ 1381107 w 2048870"/>
                <a:gd name="connsiteY684" fmla="*/ 212610 h 1413227"/>
                <a:gd name="connsiteX685" fmla="*/ 1370736 w 2048870"/>
                <a:gd name="connsiteY685" fmla="*/ 202239 h 1413227"/>
                <a:gd name="connsiteX686" fmla="*/ 1363822 w 2048870"/>
                <a:gd name="connsiteY686" fmla="*/ 200511 h 1413227"/>
                <a:gd name="connsiteX687" fmla="*/ 1358636 w 2048870"/>
                <a:gd name="connsiteY687" fmla="*/ 193596 h 1413227"/>
                <a:gd name="connsiteX688" fmla="*/ 1349994 w 2048870"/>
                <a:gd name="connsiteY688" fmla="*/ 178040 h 1413227"/>
                <a:gd name="connsiteX689" fmla="*/ 1337894 w 2048870"/>
                <a:gd name="connsiteY689" fmla="*/ 167668 h 1413227"/>
                <a:gd name="connsiteX690" fmla="*/ 1298137 w 2048870"/>
                <a:gd name="connsiteY690" fmla="*/ 169397 h 1413227"/>
                <a:gd name="connsiteX691" fmla="*/ 1284309 w 2048870"/>
                <a:gd name="connsiteY691" fmla="*/ 179768 h 1413227"/>
                <a:gd name="connsiteX692" fmla="*/ 1268752 w 2048870"/>
                <a:gd name="connsiteY692" fmla="*/ 181497 h 1413227"/>
                <a:gd name="connsiteX693" fmla="*/ 1251467 w 2048870"/>
                <a:gd name="connsiteY693" fmla="*/ 174583 h 1413227"/>
                <a:gd name="connsiteX694" fmla="*/ 1241095 w 2048870"/>
                <a:gd name="connsiteY694" fmla="*/ 164211 h 1413227"/>
                <a:gd name="connsiteX695" fmla="*/ 1230724 w 2048870"/>
                <a:gd name="connsiteY695" fmla="*/ 160754 h 1413227"/>
                <a:gd name="connsiteX696" fmla="*/ 1215167 w 2048870"/>
                <a:gd name="connsiteY696" fmla="*/ 146926 h 1413227"/>
                <a:gd name="connsiteX697" fmla="*/ 1213439 w 2048870"/>
                <a:gd name="connsiteY697" fmla="*/ 140012 h 1413227"/>
                <a:gd name="connsiteX698" fmla="*/ 1206524 w 2048870"/>
                <a:gd name="connsiteY698" fmla="*/ 131369 h 1413227"/>
                <a:gd name="connsiteX699" fmla="*/ 1204796 w 2048870"/>
                <a:gd name="connsiteY699" fmla="*/ 122726 h 1413227"/>
                <a:gd name="connsiteX700" fmla="*/ 1190968 w 2048870"/>
                <a:gd name="connsiteY700" fmla="*/ 117541 h 1413227"/>
                <a:gd name="connsiteX701" fmla="*/ 1201339 w 2048870"/>
                <a:gd name="connsiteY701" fmla="*/ 105441 h 1413227"/>
                <a:gd name="connsiteX702" fmla="*/ 1208253 w 2048870"/>
                <a:gd name="connsiteY702" fmla="*/ 101984 h 1413227"/>
                <a:gd name="connsiteX703" fmla="*/ 1213439 w 2048870"/>
                <a:gd name="connsiteY703" fmla="*/ 95069 h 1413227"/>
                <a:gd name="connsiteX704" fmla="*/ 1218624 w 2048870"/>
                <a:gd name="connsiteY704" fmla="*/ 89884 h 1413227"/>
                <a:gd name="connsiteX705" fmla="*/ 1216896 w 2048870"/>
                <a:gd name="connsiteY705" fmla="*/ 84698 h 1413227"/>
                <a:gd name="connsiteX706" fmla="*/ 1206524 w 2048870"/>
                <a:gd name="connsiteY706" fmla="*/ 81241 h 1413227"/>
                <a:gd name="connsiteX707" fmla="*/ 1190968 w 2048870"/>
                <a:gd name="connsiteY707" fmla="*/ 76055 h 1413227"/>
                <a:gd name="connsiteX708" fmla="*/ 1175411 w 2048870"/>
                <a:gd name="connsiteY708" fmla="*/ 60499 h 1413227"/>
                <a:gd name="connsiteX709" fmla="*/ 1168496 w 2048870"/>
                <a:gd name="connsiteY709" fmla="*/ 53584 h 1413227"/>
                <a:gd name="connsiteX710" fmla="*/ 1165039 w 2048870"/>
                <a:gd name="connsiteY710" fmla="*/ 46670 h 1413227"/>
                <a:gd name="connsiteX711" fmla="*/ 1159854 w 2048870"/>
                <a:gd name="connsiteY711" fmla="*/ 39756 h 1413227"/>
                <a:gd name="connsiteX712" fmla="*/ 1151211 w 2048870"/>
                <a:gd name="connsiteY712" fmla="*/ 27656 h 1413227"/>
                <a:gd name="connsiteX713" fmla="*/ 1146025 w 2048870"/>
                <a:gd name="connsiteY713" fmla="*/ 24199 h 1413227"/>
                <a:gd name="connsiteX714" fmla="*/ 1140840 w 2048870"/>
                <a:gd name="connsiteY714" fmla="*/ 17285 h 1413227"/>
                <a:gd name="connsiteX715" fmla="*/ 1123554 w 2048870"/>
                <a:gd name="connsiteY715" fmla="*/ 3457 h 1413227"/>
                <a:gd name="connsiteX716" fmla="*/ 1116640 w 2048870"/>
                <a:gd name="connsiteY716" fmla="*/ 0 h 1413227"/>
                <a:gd name="connsiteX717" fmla="*/ 1102812 w 2048870"/>
                <a:gd name="connsiteY717" fmla="*/ 1728 h 1413227"/>
                <a:gd name="connsiteX718" fmla="*/ 1097626 w 2048870"/>
                <a:gd name="connsiteY718" fmla="*/ 3457 h 1413227"/>
                <a:gd name="connsiteX719" fmla="*/ 1090712 w 2048870"/>
                <a:gd name="connsiteY719" fmla="*/ 5185 h 1413227"/>
                <a:gd name="connsiteX720" fmla="*/ 1071698 w 2048870"/>
                <a:gd name="connsiteY720" fmla="*/ 17285 h 1413227"/>
                <a:gd name="connsiteX721" fmla="*/ 1056141 w 2048870"/>
                <a:gd name="connsiteY721" fmla="*/ 15556 h 1413227"/>
                <a:gd name="connsiteX722" fmla="*/ 1050955 w 2048870"/>
                <a:gd name="connsiteY722" fmla="*/ 19014 h 1413227"/>
                <a:gd name="connsiteX723" fmla="*/ 1042313 w 2048870"/>
                <a:gd name="connsiteY723" fmla="*/ 27656 h 1413227"/>
                <a:gd name="connsiteX724" fmla="*/ 1028484 w 2048870"/>
                <a:gd name="connsiteY724" fmla="*/ 38027 h 1413227"/>
                <a:gd name="connsiteX725" fmla="*/ 1025027 w 2048870"/>
                <a:gd name="connsiteY725" fmla="*/ 41485 h 1413227"/>
                <a:gd name="connsiteX726" fmla="*/ 1016385 w 2048870"/>
                <a:gd name="connsiteY726" fmla="*/ 46670 h 1413227"/>
                <a:gd name="connsiteX727" fmla="*/ 1012927 w 2048870"/>
                <a:gd name="connsiteY727" fmla="*/ 50127 h 1413227"/>
                <a:gd name="connsiteX728" fmla="*/ 997371 w 2048870"/>
                <a:gd name="connsiteY728" fmla="*/ 57041 h 1413227"/>
                <a:gd name="connsiteX729" fmla="*/ 973171 w 2048870"/>
                <a:gd name="connsiteY729" fmla="*/ 58770 h 1413227"/>
                <a:gd name="connsiteX730" fmla="*/ 967985 w 2048870"/>
                <a:gd name="connsiteY730" fmla="*/ 62227 h 1413227"/>
                <a:gd name="connsiteX731" fmla="*/ 966257 w 2048870"/>
                <a:gd name="connsiteY731" fmla="*/ 79513 h 1413227"/>
                <a:gd name="connsiteX732" fmla="*/ 962800 w 2048870"/>
                <a:gd name="connsiteY732" fmla="*/ 103712 h 1413227"/>
                <a:gd name="connsiteX733" fmla="*/ 961071 w 2048870"/>
                <a:gd name="connsiteY733" fmla="*/ 112355 h 1413227"/>
                <a:gd name="connsiteX734" fmla="*/ 916129 w 2048870"/>
                <a:gd name="connsiteY734" fmla="*/ 115812 h 1413227"/>
                <a:gd name="connsiteX735" fmla="*/ 910943 w 2048870"/>
                <a:gd name="connsiteY735" fmla="*/ 119269 h 1413227"/>
                <a:gd name="connsiteX736" fmla="*/ 905758 w 2048870"/>
                <a:gd name="connsiteY736" fmla="*/ 120998 h 1413227"/>
                <a:gd name="connsiteX737" fmla="*/ 893658 w 2048870"/>
                <a:gd name="connsiteY737" fmla="*/ 124455 h 1413227"/>
                <a:gd name="connsiteX738" fmla="*/ 888472 w 2048870"/>
                <a:gd name="connsiteY738" fmla="*/ 126183 h 1413227"/>
                <a:gd name="connsiteX739" fmla="*/ 895386 w 2048870"/>
                <a:gd name="connsiteY739" fmla="*/ 124455 h 1413227"/>
                <a:gd name="connsiteX740" fmla="*/ 904029 w 2048870"/>
                <a:gd name="connsiteY740" fmla="*/ 115812 h 1413227"/>
                <a:gd name="connsiteX741" fmla="*/ 966257 w 2048870"/>
                <a:gd name="connsiteY741" fmla="*/ 63956 h 1413227"/>
                <a:gd name="connsiteX0" fmla="*/ 966257 w 2048870"/>
                <a:gd name="connsiteY0" fmla="*/ 63956 h 1413227"/>
                <a:gd name="connsiteX1" fmla="*/ 962800 w 2048870"/>
                <a:gd name="connsiteY1" fmla="*/ 72598 h 1413227"/>
                <a:gd name="connsiteX2" fmla="*/ 919586 w 2048870"/>
                <a:gd name="connsiteY2" fmla="*/ 114083 h 1413227"/>
                <a:gd name="connsiteX3" fmla="*/ 902301 w 2048870"/>
                <a:gd name="connsiteY3" fmla="*/ 120998 h 1413227"/>
                <a:gd name="connsiteX4" fmla="*/ 885015 w 2048870"/>
                <a:gd name="connsiteY4" fmla="*/ 122726 h 1413227"/>
                <a:gd name="connsiteX5" fmla="*/ 878101 w 2048870"/>
                <a:gd name="connsiteY5" fmla="*/ 129640 h 1413227"/>
                <a:gd name="connsiteX6" fmla="*/ 855630 w 2048870"/>
                <a:gd name="connsiteY6" fmla="*/ 140012 h 1413227"/>
                <a:gd name="connsiteX7" fmla="*/ 850444 w 2048870"/>
                <a:gd name="connsiteY7" fmla="*/ 145197 h 1413227"/>
                <a:gd name="connsiteX8" fmla="*/ 831430 w 2048870"/>
                <a:gd name="connsiteY8" fmla="*/ 146926 h 1413227"/>
                <a:gd name="connsiteX9" fmla="*/ 808923 w 2048870"/>
                <a:gd name="connsiteY9" fmla="*/ 195183 h 1413227"/>
                <a:gd name="connsiteX10" fmla="*/ 817602 w 2048870"/>
                <a:gd name="connsiteY10" fmla="*/ 247181 h 1413227"/>
                <a:gd name="connsiteX11" fmla="*/ 821059 w 2048870"/>
                <a:gd name="connsiteY11" fmla="*/ 255824 h 1413227"/>
                <a:gd name="connsiteX12" fmla="*/ 826245 w 2048870"/>
                <a:gd name="connsiteY12" fmla="*/ 259281 h 1413227"/>
                <a:gd name="connsiteX13" fmla="*/ 833159 w 2048870"/>
                <a:gd name="connsiteY13" fmla="*/ 267924 h 1413227"/>
                <a:gd name="connsiteX14" fmla="*/ 836616 w 2048870"/>
                <a:gd name="connsiteY14" fmla="*/ 280024 h 1413227"/>
                <a:gd name="connsiteX15" fmla="*/ 834887 w 2048870"/>
                <a:gd name="connsiteY15" fmla="*/ 295581 h 1413227"/>
                <a:gd name="connsiteX16" fmla="*/ 821059 w 2048870"/>
                <a:gd name="connsiteY16" fmla="*/ 299038 h 1413227"/>
                <a:gd name="connsiteX17" fmla="*/ 800316 w 2048870"/>
                <a:gd name="connsiteY17" fmla="*/ 295581 h 1413227"/>
                <a:gd name="connsiteX18" fmla="*/ 786488 w 2048870"/>
                <a:gd name="connsiteY18" fmla="*/ 286938 h 1413227"/>
                <a:gd name="connsiteX19" fmla="*/ 781302 w 2048870"/>
                <a:gd name="connsiteY19" fmla="*/ 285209 h 1413227"/>
                <a:gd name="connsiteX20" fmla="*/ 774388 w 2048870"/>
                <a:gd name="connsiteY20" fmla="*/ 278295 h 1413227"/>
                <a:gd name="connsiteX21" fmla="*/ 767474 w 2048870"/>
                <a:gd name="connsiteY21" fmla="*/ 285209 h 1413227"/>
                <a:gd name="connsiteX22" fmla="*/ 758831 w 2048870"/>
                <a:gd name="connsiteY22" fmla="*/ 286938 h 1413227"/>
                <a:gd name="connsiteX23" fmla="*/ 751917 w 2048870"/>
                <a:gd name="connsiteY23" fmla="*/ 288666 h 1413227"/>
                <a:gd name="connsiteX24" fmla="*/ 746732 w 2048870"/>
                <a:gd name="connsiteY24" fmla="*/ 290395 h 1413227"/>
                <a:gd name="connsiteX25" fmla="*/ 722532 w 2048870"/>
                <a:gd name="connsiteY25" fmla="*/ 292124 h 1413227"/>
                <a:gd name="connsiteX26" fmla="*/ 720803 w 2048870"/>
                <a:gd name="connsiteY26" fmla="*/ 297309 h 1413227"/>
                <a:gd name="connsiteX27" fmla="*/ 701789 w 2048870"/>
                <a:gd name="connsiteY27" fmla="*/ 312866 h 1413227"/>
                <a:gd name="connsiteX28" fmla="*/ 686233 w 2048870"/>
                <a:gd name="connsiteY28" fmla="*/ 305952 h 1413227"/>
                <a:gd name="connsiteX29" fmla="*/ 684504 w 2048870"/>
                <a:gd name="connsiteY29" fmla="*/ 300766 h 1413227"/>
                <a:gd name="connsiteX30" fmla="*/ 681047 w 2048870"/>
                <a:gd name="connsiteY30" fmla="*/ 285209 h 1413227"/>
                <a:gd name="connsiteX31" fmla="*/ 649933 w 2048870"/>
                <a:gd name="connsiteY31" fmla="*/ 288666 h 1413227"/>
                <a:gd name="connsiteX32" fmla="*/ 646476 w 2048870"/>
                <a:gd name="connsiteY32" fmla="*/ 299038 h 1413227"/>
                <a:gd name="connsiteX33" fmla="*/ 639562 w 2048870"/>
                <a:gd name="connsiteY33" fmla="*/ 314595 h 1413227"/>
                <a:gd name="connsiteX34" fmla="*/ 634376 w 2048870"/>
                <a:gd name="connsiteY34" fmla="*/ 326694 h 1413227"/>
                <a:gd name="connsiteX35" fmla="*/ 629191 w 2048870"/>
                <a:gd name="connsiteY35" fmla="*/ 328423 h 1413227"/>
                <a:gd name="connsiteX36" fmla="*/ 613634 w 2048870"/>
                <a:gd name="connsiteY36" fmla="*/ 323237 h 1413227"/>
                <a:gd name="connsiteX37" fmla="*/ 601534 w 2048870"/>
                <a:gd name="connsiteY37" fmla="*/ 311138 h 1413227"/>
                <a:gd name="connsiteX38" fmla="*/ 572149 w 2048870"/>
                <a:gd name="connsiteY38" fmla="*/ 309409 h 1413227"/>
                <a:gd name="connsiteX39" fmla="*/ 566963 w 2048870"/>
                <a:gd name="connsiteY39" fmla="*/ 295581 h 1413227"/>
                <a:gd name="connsiteX40" fmla="*/ 563506 w 2048870"/>
                <a:gd name="connsiteY40" fmla="*/ 300766 h 1413227"/>
                <a:gd name="connsiteX41" fmla="*/ 558320 w 2048870"/>
                <a:gd name="connsiteY41" fmla="*/ 307680 h 1413227"/>
                <a:gd name="connsiteX42" fmla="*/ 549678 w 2048870"/>
                <a:gd name="connsiteY42" fmla="*/ 321509 h 1413227"/>
                <a:gd name="connsiteX43" fmla="*/ 509921 w 2048870"/>
                <a:gd name="connsiteY43" fmla="*/ 324966 h 1413227"/>
                <a:gd name="connsiteX44" fmla="*/ 515107 w 2048870"/>
                <a:gd name="connsiteY44" fmla="*/ 328423 h 1413227"/>
                <a:gd name="connsiteX45" fmla="*/ 525478 w 2048870"/>
                <a:gd name="connsiteY45" fmla="*/ 331880 h 1413227"/>
                <a:gd name="connsiteX46" fmla="*/ 523749 w 2048870"/>
                <a:gd name="connsiteY46" fmla="*/ 337066 h 1413227"/>
                <a:gd name="connsiteX47" fmla="*/ 516835 w 2048870"/>
                <a:gd name="connsiteY47" fmla="*/ 343980 h 1413227"/>
                <a:gd name="connsiteX48" fmla="*/ 511650 w 2048870"/>
                <a:gd name="connsiteY48" fmla="*/ 323237 h 1413227"/>
                <a:gd name="connsiteX49" fmla="*/ 483993 w 2048870"/>
                <a:gd name="connsiteY49" fmla="*/ 333609 h 1413227"/>
                <a:gd name="connsiteX50" fmla="*/ 478807 w 2048870"/>
                <a:gd name="connsiteY50" fmla="*/ 338794 h 1413227"/>
                <a:gd name="connsiteX51" fmla="*/ 466707 w 2048870"/>
                <a:gd name="connsiteY51" fmla="*/ 337066 h 1413227"/>
                <a:gd name="connsiteX52" fmla="*/ 463250 w 2048870"/>
                <a:gd name="connsiteY52" fmla="*/ 324966 h 1413227"/>
                <a:gd name="connsiteX53" fmla="*/ 454608 w 2048870"/>
                <a:gd name="connsiteY53" fmla="*/ 312866 h 1413227"/>
                <a:gd name="connsiteX54" fmla="*/ 449422 w 2048870"/>
                <a:gd name="connsiteY54" fmla="*/ 311138 h 1413227"/>
                <a:gd name="connsiteX55" fmla="*/ 425222 w 2048870"/>
                <a:gd name="connsiteY55" fmla="*/ 314595 h 1413227"/>
                <a:gd name="connsiteX56" fmla="*/ 273110 w 2048870"/>
                <a:gd name="connsiteY56" fmla="*/ 316323 h 1413227"/>
                <a:gd name="connsiteX57" fmla="*/ 262739 w 2048870"/>
                <a:gd name="connsiteY57" fmla="*/ 323237 h 1413227"/>
                <a:gd name="connsiteX58" fmla="*/ 255825 w 2048870"/>
                <a:gd name="connsiteY58" fmla="*/ 324966 h 1413227"/>
                <a:gd name="connsiteX59" fmla="*/ 250639 w 2048870"/>
                <a:gd name="connsiteY59" fmla="*/ 326694 h 1413227"/>
                <a:gd name="connsiteX60" fmla="*/ 238540 w 2048870"/>
                <a:gd name="connsiteY60" fmla="*/ 330152 h 1413227"/>
                <a:gd name="connsiteX61" fmla="*/ 200512 w 2048870"/>
                <a:gd name="connsiteY61" fmla="*/ 333609 h 1413227"/>
                <a:gd name="connsiteX62" fmla="*/ 188412 w 2048870"/>
                <a:gd name="connsiteY62" fmla="*/ 338794 h 1413227"/>
                <a:gd name="connsiteX63" fmla="*/ 176312 w 2048870"/>
                <a:gd name="connsiteY63" fmla="*/ 342251 h 1413227"/>
                <a:gd name="connsiteX64" fmla="*/ 146927 w 2048870"/>
                <a:gd name="connsiteY64" fmla="*/ 356080 h 1413227"/>
                <a:gd name="connsiteX65" fmla="*/ 138284 w 2048870"/>
                <a:gd name="connsiteY65" fmla="*/ 357808 h 1413227"/>
                <a:gd name="connsiteX66" fmla="*/ 136555 w 2048870"/>
                <a:gd name="connsiteY66" fmla="*/ 364722 h 1413227"/>
                <a:gd name="connsiteX67" fmla="*/ 134827 w 2048870"/>
                <a:gd name="connsiteY67" fmla="*/ 380279 h 1413227"/>
                <a:gd name="connsiteX68" fmla="*/ 127913 w 2048870"/>
                <a:gd name="connsiteY68" fmla="*/ 387193 h 1413227"/>
                <a:gd name="connsiteX69" fmla="*/ 126184 w 2048870"/>
                <a:gd name="connsiteY69" fmla="*/ 394108 h 1413227"/>
                <a:gd name="connsiteX70" fmla="*/ 124456 w 2048870"/>
                <a:gd name="connsiteY70" fmla="*/ 402750 h 1413227"/>
                <a:gd name="connsiteX71" fmla="*/ 117541 w 2048870"/>
                <a:gd name="connsiteY71" fmla="*/ 407936 h 1413227"/>
                <a:gd name="connsiteX72" fmla="*/ 105442 w 2048870"/>
                <a:gd name="connsiteY72" fmla="*/ 411393 h 1413227"/>
                <a:gd name="connsiteX73" fmla="*/ 100256 w 2048870"/>
                <a:gd name="connsiteY73" fmla="*/ 413122 h 1413227"/>
                <a:gd name="connsiteX74" fmla="*/ 70871 w 2048870"/>
                <a:gd name="connsiteY74" fmla="*/ 421764 h 1413227"/>
                <a:gd name="connsiteX75" fmla="*/ 67414 w 2048870"/>
                <a:gd name="connsiteY75" fmla="*/ 428679 h 1413227"/>
                <a:gd name="connsiteX76" fmla="*/ 69142 w 2048870"/>
                <a:gd name="connsiteY76" fmla="*/ 440778 h 1413227"/>
                <a:gd name="connsiteX77" fmla="*/ 65685 w 2048870"/>
                <a:gd name="connsiteY77" fmla="*/ 445964 h 1413227"/>
                <a:gd name="connsiteX78" fmla="*/ 63957 w 2048870"/>
                <a:gd name="connsiteY78" fmla="*/ 452878 h 1413227"/>
                <a:gd name="connsiteX79" fmla="*/ 69142 w 2048870"/>
                <a:gd name="connsiteY79" fmla="*/ 456335 h 1413227"/>
                <a:gd name="connsiteX80" fmla="*/ 74328 w 2048870"/>
                <a:gd name="connsiteY80" fmla="*/ 458064 h 1413227"/>
                <a:gd name="connsiteX81" fmla="*/ 84699 w 2048870"/>
                <a:gd name="connsiteY81" fmla="*/ 466707 h 1413227"/>
                <a:gd name="connsiteX82" fmla="*/ 81242 w 2048870"/>
                <a:gd name="connsiteY82" fmla="*/ 473621 h 1413227"/>
                <a:gd name="connsiteX83" fmla="*/ 77785 w 2048870"/>
                <a:gd name="connsiteY83" fmla="*/ 478806 h 1413227"/>
                <a:gd name="connsiteX84" fmla="*/ 79513 w 2048870"/>
                <a:gd name="connsiteY84" fmla="*/ 485721 h 1413227"/>
                <a:gd name="connsiteX85" fmla="*/ 72599 w 2048870"/>
                <a:gd name="connsiteY85" fmla="*/ 489178 h 1413227"/>
                <a:gd name="connsiteX86" fmla="*/ 63957 w 2048870"/>
                <a:gd name="connsiteY86" fmla="*/ 487449 h 1413227"/>
                <a:gd name="connsiteX87" fmla="*/ 76056 w 2048870"/>
                <a:gd name="connsiteY87" fmla="*/ 485721 h 1413227"/>
                <a:gd name="connsiteX88" fmla="*/ 86428 w 2048870"/>
                <a:gd name="connsiteY88" fmla="*/ 483992 h 1413227"/>
                <a:gd name="connsiteX89" fmla="*/ 84699 w 2048870"/>
                <a:gd name="connsiteY89" fmla="*/ 494363 h 1413227"/>
                <a:gd name="connsiteX90" fmla="*/ 86428 w 2048870"/>
                <a:gd name="connsiteY90" fmla="*/ 501277 h 1413227"/>
                <a:gd name="connsiteX91" fmla="*/ 96799 w 2048870"/>
                <a:gd name="connsiteY91" fmla="*/ 515106 h 1413227"/>
                <a:gd name="connsiteX92" fmla="*/ 101985 w 2048870"/>
                <a:gd name="connsiteY92" fmla="*/ 516834 h 1413227"/>
                <a:gd name="connsiteX93" fmla="*/ 114084 w 2048870"/>
                <a:gd name="connsiteY93" fmla="*/ 520291 h 1413227"/>
                <a:gd name="connsiteX94" fmla="*/ 119270 w 2048870"/>
                <a:gd name="connsiteY94" fmla="*/ 525477 h 1413227"/>
                <a:gd name="connsiteX95" fmla="*/ 133098 w 2048870"/>
                <a:gd name="connsiteY95" fmla="*/ 535848 h 1413227"/>
                <a:gd name="connsiteX96" fmla="*/ 136555 w 2048870"/>
                <a:gd name="connsiteY96" fmla="*/ 542762 h 1413227"/>
                <a:gd name="connsiteX97" fmla="*/ 134827 w 2048870"/>
                <a:gd name="connsiteY97" fmla="*/ 572148 h 1413227"/>
                <a:gd name="connsiteX98" fmla="*/ 140012 w 2048870"/>
                <a:gd name="connsiteY98" fmla="*/ 573876 h 1413227"/>
                <a:gd name="connsiteX99" fmla="*/ 143470 w 2048870"/>
                <a:gd name="connsiteY99" fmla="*/ 577333 h 1413227"/>
                <a:gd name="connsiteX100" fmla="*/ 146927 w 2048870"/>
                <a:gd name="connsiteY100" fmla="*/ 589433 h 1413227"/>
                <a:gd name="connsiteX101" fmla="*/ 150384 w 2048870"/>
                <a:gd name="connsiteY101" fmla="*/ 598076 h 1413227"/>
                <a:gd name="connsiteX102" fmla="*/ 148655 w 2048870"/>
                <a:gd name="connsiteY102" fmla="*/ 617090 h 1413227"/>
                <a:gd name="connsiteX103" fmla="*/ 146927 w 2048870"/>
                <a:gd name="connsiteY103" fmla="*/ 622276 h 1413227"/>
                <a:gd name="connsiteX104" fmla="*/ 141741 w 2048870"/>
                <a:gd name="connsiteY104" fmla="*/ 627461 h 1413227"/>
                <a:gd name="connsiteX105" fmla="*/ 136555 w 2048870"/>
                <a:gd name="connsiteY105" fmla="*/ 634375 h 1413227"/>
                <a:gd name="connsiteX106" fmla="*/ 120999 w 2048870"/>
                <a:gd name="connsiteY106" fmla="*/ 639561 h 1413227"/>
                <a:gd name="connsiteX107" fmla="*/ 95070 w 2048870"/>
                <a:gd name="connsiteY107" fmla="*/ 665489 h 1413227"/>
                <a:gd name="connsiteX108" fmla="*/ 89885 w 2048870"/>
                <a:gd name="connsiteY108" fmla="*/ 670675 h 1413227"/>
                <a:gd name="connsiteX109" fmla="*/ 86428 w 2048870"/>
                <a:gd name="connsiteY109" fmla="*/ 675860 h 1413227"/>
                <a:gd name="connsiteX110" fmla="*/ 81242 w 2048870"/>
                <a:gd name="connsiteY110" fmla="*/ 677589 h 1413227"/>
                <a:gd name="connsiteX111" fmla="*/ 77785 w 2048870"/>
                <a:gd name="connsiteY111" fmla="*/ 682775 h 1413227"/>
                <a:gd name="connsiteX112" fmla="*/ 63957 w 2048870"/>
                <a:gd name="connsiteY112" fmla="*/ 689689 h 1413227"/>
                <a:gd name="connsiteX113" fmla="*/ 60499 w 2048870"/>
                <a:gd name="connsiteY113" fmla="*/ 706974 h 1413227"/>
                <a:gd name="connsiteX114" fmla="*/ 50128 w 2048870"/>
                <a:gd name="connsiteY114" fmla="*/ 720803 h 1413227"/>
                <a:gd name="connsiteX115" fmla="*/ 48400 w 2048870"/>
                <a:gd name="connsiteY115" fmla="*/ 725988 h 1413227"/>
                <a:gd name="connsiteX116" fmla="*/ 46671 w 2048870"/>
                <a:gd name="connsiteY116" fmla="*/ 732902 h 1413227"/>
                <a:gd name="connsiteX117" fmla="*/ 25929 w 2048870"/>
                <a:gd name="connsiteY117" fmla="*/ 751916 h 1413227"/>
                <a:gd name="connsiteX118" fmla="*/ 19014 w 2048870"/>
                <a:gd name="connsiteY118" fmla="*/ 776116 h 1413227"/>
                <a:gd name="connsiteX119" fmla="*/ 12100 w 2048870"/>
                <a:gd name="connsiteY119" fmla="*/ 789944 h 1413227"/>
                <a:gd name="connsiteX120" fmla="*/ 17286 w 2048870"/>
                <a:gd name="connsiteY120" fmla="*/ 822787 h 1413227"/>
                <a:gd name="connsiteX121" fmla="*/ 25929 w 2048870"/>
                <a:gd name="connsiteY121" fmla="*/ 829701 h 1413227"/>
                <a:gd name="connsiteX122" fmla="*/ 29386 w 2048870"/>
                <a:gd name="connsiteY122" fmla="*/ 838344 h 1413227"/>
                <a:gd name="connsiteX123" fmla="*/ 36300 w 2048870"/>
                <a:gd name="connsiteY123" fmla="*/ 843529 h 1413227"/>
                <a:gd name="connsiteX124" fmla="*/ 38028 w 2048870"/>
                <a:gd name="connsiteY124" fmla="*/ 852172 h 1413227"/>
                <a:gd name="connsiteX125" fmla="*/ 43214 w 2048870"/>
                <a:gd name="connsiteY125" fmla="*/ 864272 h 1413227"/>
                <a:gd name="connsiteX126" fmla="*/ 44943 w 2048870"/>
                <a:gd name="connsiteY126" fmla="*/ 874643 h 1413227"/>
                <a:gd name="connsiteX127" fmla="*/ 51857 w 2048870"/>
                <a:gd name="connsiteY127" fmla="*/ 876372 h 1413227"/>
                <a:gd name="connsiteX128" fmla="*/ 53585 w 2048870"/>
                <a:gd name="connsiteY128" fmla="*/ 883286 h 1413227"/>
                <a:gd name="connsiteX129" fmla="*/ 58771 w 2048870"/>
                <a:gd name="connsiteY129" fmla="*/ 886743 h 1413227"/>
                <a:gd name="connsiteX130" fmla="*/ 51857 w 2048870"/>
                <a:gd name="connsiteY130" fmla="*/ 898843 h 1413227"/>
                <a:gd name="connsiteX131" fmla="*/ 43214 w 2048870"/>
                <a:gd name="connsiteY131" fmla="*/ 904028 h 1413227"/>
                <a:gd name="connsiteX132" fmla="*/ 29386 w 2048870"/>
                <a:gd name="connsiteY132" fmla="*/ 909214 h 1413227"/>
                <a:gd name="connsiteX133" fmla="*/ 27657 w 2048870"/>
                <a:gd name="connsiteY133" fmla="*/ 919585 h 1413227"/>
                <a:gd name="connsiteX134" fmla="*/ 25929 w 2048870"/>
                <a:gd name="connsiteY134" fmla="*/ 926499 h 1413227"/>
                <a:gd name="connsiteX135" fmla="*/ 19014 w 2048870"/>
                <a:gd name="connsiteY135" fmla="*/ 955885 h 1413227"/>
                <a:gd name="connsiteX136" fmla="*/ 10372 w 2048870"/>
                <a:gd name="connsiteY136" fmla="*/ 969713 h 1413227"/>
                <a:gd name="connsiteX137" fmla="*/ 8643 w 2048870"/>
                <a:gd name="connsiteY137" fmla="*/ 990455 h 1413227"/>
                <a:gd name="connsiteX138" fmla="*/ 0 w 2048870"/>
                <a:gd name="connsiteY138" fmla="*/ 999098 h 1413227"/>
                <a:gd name="connsiteX139" fmla="*/ 6915 w 2048870"/>
                <a:gd name="connsiteY139" fmla="*/ 1023298 h 1413227"/>
                <a:gd name="connsiteX140" fmla="*/ 15557 w 2048870"/>
                <a:gd name="connsiteY140" fmla="*/ 1025026 h 1413227"/>
                <a:gd name="connsiteX141" fmla="*/ 22471 w 2048870"/>
                <a:gd name="connsiteY141" fmla="*/ 1030212 h 1413227"/>
                <a:gd name="connsiteX142" fmla="*/ 27657 w 2048870"/>
                <a:gd name="connsiteY142" fmla="*/ 1031941 h 1413227"/>
                <a:gd name="connsiteX143" fmla="*/ 34571 w 2048870"/>
                <a:gd name="connsiteY143" fmla="*/ 1035398 h 1413227"/>
                <a:gd name="connsiteX144" fmla="*/ 39757 w 2048870"/>
                <a:gd name="connsiteY144" fmla="*/ 1042312 h 1413227"/>
                <a:gd name="connsiteX145" fmla="*/ 43214 w 2048870"/>
                <a:gd name="connsiteY145" fmla="*/ 1047497 h 1413227"/>
                <a:gd name="connsiteX146" fmla="*/ 53585 w 2048870"/>
                <a:gd name="connsiteY146" fmla="*/ 1052683 h 1413227"/>
                <a:gd name="connsiteX147" fmla="*/ 95070 w 2048870"/>
                <a:gd name="connsiteY147" fmla="*/ 1061326 h 1413227"/>
                <a:gd name="connsiteX148" fmla="*/ 96799 w 2048870"/>
                <a:gd name="connsiteY148" fmla="*/ 1073426 h 1413227"/>
                <a:gd name="connsiteX149" fmla="*/ 101985 w 2048870"/>
                <a:gd name="connsiteY149" fmla="*/ 1075154 h 1413227"/>
                <a:gd name="connsiteX150" fmla="*/ 112356 w 2048870"/>
                <a:gd name="connsiteY150" fmla="*/ 1066511 h 1413227"/>
                <a:gd name="connsiteX151" fmla="*/ 119270 w 2048870"/>
                <a:gd name="connsiteY151" fmla="*/ 1059597 h 1413227"/>
                <a:gd name="connsiteX152" fmla="*/ 120999 w 2048870"/>
                <a:gd name="connsiteY152" fmla="*/ 1054412 h 1413227"/>
                <a:gd name="connsiteX153" fmla="*/ 134827 w 2048870"/>
                <a:gd name="connsiteY153" fmla="*/ 1061326 h 1413227"/>
                <a:gd name="connsiteX154" fmla="*/ 141741 w 2048870"/>
                <a:gd name="connsiteY154" fmla="*/ 1063054 h 1413227"/>
                <a:gd name="connsiteX155" fmla="*/ 146927 w 2048870"/>
                <a:gd name="connsiteY155" fmla="*/ 1064783 h 1413227"/>
                <a:gd name="connsiteX156" fmla="*/ 247182 w 2048870"/>
                <a:gd name="connsiteY156" fmla="*/ 1068240 h 1413227"/>
                <a:gd name="connsiteX157" fmla="*/ 266196 w 2048870"/>
                <a:gd name="connsiteY157" fmla="*/ 1064783 h 1413227"/>
                <a:gd name="connsiteX158" fmla="*/ 276568 w 2048870"/>
                <a:gd name="connsiteY158" fmla="*/ 1059597 h 1413227"/>
                <a:gd name="connsiteX159" fmla="*/ 285210 w 2048870"/>
                <a:gd name="connsiteY159" fmla="*/ 1049226 h 1413227"/>
                <a:gd name="connsiteX160" fmla="*/ 295581 w 2048870"/>
                <a:gd name="connsiteY160" fmla="*/ 1052683 h 1413227"/>
                <a:gd name="connsiteX161" fmla="*/ 299039 w 2048870"/>
                <a:gd name="connsiteY161" fmla="*/ 1059597 h 1413227"/>
                <a:gd name="connsiteX162" fmla="*/ 312867 w 2048870"/>
                <a:gd name="connsiteY162" fmla="*/ 1071697 h 1413227"/>
                <a:gd name="connsiteX163" fmla="*/ 338795 w 2048870"/>
                <a:gd name="connsiteY163" fmla="*/ 1078611 h 1413227"/>
                <a:gd name="connsiteX164" fmla="*/ 361266 w 2048870"/>
                <a:gd name="connsiteY164" fmla="*/ 1075154 h 1413227"/>
                <a:gd name="connsiteX165" fmla="*/ 362995 w 2048870"/>
                <a:gd name="connsiteY165" fmla="*/ 1068240 h 1413227"/>
                <a:gd name="connsiteX166" fmla="*/ 373366 w 2048870"/>
                <a:gd name="connsiteY166" fmla="*/ 1050955 h 1413227"/>
                <a:gd name="connsiteX167" fmla="*/ 378552 w 2048870"/>
                <a:gd name="connsiteY167" fmla="*/ 1045769 h 1413227"/>
                <a:gd name="connsiteX168" fmla="*/ 397566 w 2048870"/>
                <a:gd name="connsiteY168" fmla="*/ 1038855 h 1413227"/>
                <a:gd name="connsiteX169" fmla="*/ 432137 w 2048870"/>
                <a:gd name="connsiteY169" fmla="*/ 1035398 h 1413227"/>
                <a:gd name="connsiteX170" fmla="*/ 444236 w 2048870"/>
                <a:gd name="connsiteY170" fmla="*/ 1031941 h 1413227"/>
                <a:gd name="connsiteX171" fmla="*/ 447693 w 2048870"/>
                <a:gd name="connsiteY171" fmla="*/ 1025026 h 1413227"/>
                <a:gd name="connsiteX172" fmla="*/ 452879 w 2048870"/>
                <a:gd name="connsiteY172" fmla="*/ 1021569 h 1413227"/>
                <a:gd name="connsiteX173" fmla="*/ 468436 w 2048870"/>
                <a:gd name="connsiteY173" fmla="*/ 1011198 h 1413227"/>
                <a:gd name="connsiteX174" fmla="*/ 473622 w 2048870"/>
                <a:gd name="connsiteY174" fmla="*/ 999098 h 1413227"/>
                <a:gd name="connsiteX175" fmla="*/ 478807 w 2048870"/>
                <a:gd name="connsiteY175" fmla="*/ 986998 h 1413227"/>
                <a:gd name="connsiteX176" fmla="*/ 485721 w 2048870"/>
                <a:gd name="connsiteY176" fmla="*/ 980084 h 1413227"/>
                <a:gd name="connsiteX177" fmla="*/ 489178 w 2048870"/>
                <a:gd name="connsiteY177" fmla="*/ 974899 h 1413227"/>
                <a:gd name="connsiteX178" fmla="*/ 511650 w 2048870"/>
                <a:gd name="connsiteY178" fmla="*/ 955885 h 1413227"/>
                <a:gd name="connsiteX179" fmla="*/ 530664 w 2048870"/>
                <a:gd name="connsiteY179" fmla="*/ 947242 h 1413227"/>
                <a:gd name="connsiteX180" fmla="*/ 537578 w 2048870"/>
                <a:gd name="connsiteY180" fmla="*/ 933414 h 1413227"/>
                <a:gd name="connsiteX181" fmla="*/ 539306 w 2048870"/>
                <a:gd name="connsiteY181" fmla="*/ 928228 h 1413227"/>
                <a:gd name="connsiteX182" fmla="*/ 541035 w 2048870"/>
                <a:gd name="connsiteY182" fmla="*/ 921314 h 1413227"/>
                <a:gd name="connsiteX183" fmla="*/ 563506 w 2048870"/>
                <a:gd name="connsiteY183" fmla="*/ 917857 h 1413227"/>
                <a:gd name="connsiteX184" fmla="*/ 568692 w 2048870"/>
                <a:gd name="connsiteY184" fmla="*/ 916128 h 1413227"/>
                <a:gd name="connsiteX185" fmla="*/ 584248 w 2048870"/>
                <a:gd name="connsiteY185" fmla="*/ 914400 h 1413227"/>
                <a:gd name="connsiteX186" fmla="*/ 589434 w 2048870"/>
                <a:gd name="connsiteY186" fmla="*/ 910942 h 1413227"/>
                <a:gd name="connsiteX187" fmla="*/ 599805 w 2048870"/>
                <a:gd name="connsiteY187" fmla="*/ 905757 h 1413227"/>
                <a:gd name="connsiteX188" fmla="*/ 604991 w 2048870"/>
                <a:gd name="connsiteY188" fmla="*/ 900571 h 1413227"/>
                <a:gd name="connsiteX189" fmla="*/ 606719 w 2048870"/>
                <a:gd name="connsiteY189" fmla="*/ 895386 h 1413227"/>
                <a:gd name="connsiteX190" fmla="*/ 615362 w 2048870"/>
                <a:gd name="connsiteY190" fmla="*/ 891928 h 1413227"/>
                <a:gd name="connsiteX191" fmla="*/ 620548 w 2048870"/>
                <a:gd name="connsiteY191" fmla="*/ 886743 h 1413227"/>
                <a:gd name="connsiteX192" fmla="*/ 639562 w 2048870"/>
                <a:gd name="connsiteY192" fmla="*/ 879829 h 1413227"/>
                <a:gd name="connsiteX193" fmla="*/ 653390 w 2048870"/>
                <a:gd name="connsiteY193" fmla="*/ 883286 h 1413227"/>
                <a:gd name="connsiteX194" fmla="*/ 660304 w 2048870"/>
                <a:gd name="connsiteY194" fmla="*/ 885014 h 1413227"/>
                <a:gd name="connsiteX195" fmla="*/ 668947 w 2048870"/>
                <a:gd name="connsiteY195" fmla="*/ 886743 h 1413227"/>
                <a:gd name="connsiteX196" fmla="*/ 675861 w 2048870"/>
                <a:gd name="connsiteY196" fmla="*/ 890200 h 1413227"/>
                <a:gd name="connsiteX197" fmla="*/ 682775 w 2048870"/>
                <a:gd name="connsiteY197" fmla="*/ 891928 h 1413227"/>
                <a:gd name="connsiteX198" fmla="*/ 687961 w 2048870"/>
                <a:gd name="connsiteY198" fmla="*/ 895386 h 1413227"/>
                <a:gd name="connsiteX199" fmla="*/ 700061 w 2048870"/>
                <a:gd name="connsiteY199" fmla="*/ 898843 h 1413227"/>
                <a:gd name="connsiteX200" fmla="*/ 706975 w 2048870"/>
                <a:gd name="connsiteY200" fmla="*/ 904028 h 1413227"/>
                <a:gd name="connsiteX201" fmla="*/ 720803 w 2048870"/>
                <a:gd name="connsiteY201" fmla="*/ 907485 h 1413227"/>
                <a:gd name="connsiteX202" fmla="*/ 727718 w 2048870"/>
                <a:gd name="connsiteY202" fmla="*/ 905757 h 1413227"/>
                <a:gd name="connsiteX203" fmla="*/ 736360 w 2048870"/>
                <a:gd name="connsiteY203" fmla="*/ 904028 h 1413227"/>
                <a:gd name="connsiteX204" fmla="*/ 738089 w 2048870"/>
                <a:gd name="connsiteY204" fmla="*/ 910942 h 1413227"/>
                <a:gd name="connsiteX205" fmla="*/ 760560 w 2048870"/>
                <a:gd name="connsiteY205" fmla="*/ 904028 h 1413227"/>
                <a:gd name="connsiteX206" fmla="*/ 770931 w 2048870"/>
                <a:gd name="connsiteY206" fmla="*/ 895386 h 1413227"/>
                <a:gd name="connsiteX207" fmla="*/ 776117 w 2048870"/>
                <a:gd name="connsiteY207" fmla="*/ 909214 h 1413227"/>
                <a:gd name="connsiteX208" fmla="*/ 783031 w 2048870"/>
                <a:gd name="connsiteY208" fmla="*/ 914400 h 1413227"/>
                <a:gd name="connsiteX209" fmla="*/ 788217 w 2048870"/>
                <a:gd name="connsiteY209" fmla="*/ 919585 h 1413227"/>
                <a:gd name="connsiteX210" fmla="*/ 793402 w 2048870"/>
                <a:gd name="connsiteY210" fmla="*/ 923042 h 1413227"/>
                <a:gd name="connsiteX211" fmla="*/ 798588 w 2048870"/>
                <a:gd name="connsiteY211" fmla="*/ 928228 h 1413227"/>
                <a:gd name="connsiteX212" fmla="*/ 815873 w 2048870"/>
                <a:gd name="connsiteY212" fmla="*/ 935142 h 1413227"/>
                <a:gd name="connsiteX213" fmla="*/ 821059 w 2048870"/>
                <a:gd name="connsiteY213" fmla="*/ 926499 h 1413227"/>
                <a:gd name="connsiteX214" fmla="*/ 824516 w 2048870"/>
                <a:gd name="connsiteY214" fmla="*/ 910942 h 1413227"/>
                <a:gd name="connsiteX215" fmla="*/ 833159 w 2048870"/>
                <a:gd name="connsiteY215" fmla="*/ 912671 h 1413227"/>
                <a:gd name="connsiteX216" fmla="*/ 838344 w 2048870"/>
                <a:gd name="connsiteY216" fmla="*/ 926499 h 1413227"/>
                <a:gd name="connsiteX217" fmla="*/ 841802 w 2048870"/>
                <a:gd name="connsiteY217" fmla="*/ 929956 h 1413227"/>
                <a:gd name="connsiteX218" fmla="*/ 850444 w 2048870"/>
                <a:gd name="connsiteY218" fmla="*/ 948970 h 1413227"/>
                <a:gd name="connsiteX219" fmla="*/ 853901 w 2048870"/>
                <a:gd name="connsiteY219" fmla="*/ 954156 h 1413227"/>
                <a:gd name="connsiteX220" fmla="*/ 859087 w 2048870"/>
                <a:gd name="connsiteY220" fmla="*/ 988727 h 1413227"/>
                <a:gd name="connsiteX221" fmla="*/ 864273 w 2048870"/>
                <a:gd name="connsiteY221" fmla="*/ 1009469 h 1413227"/>
                <a:gd name="connsiteX222" fmla="*/ 878101 w 2048870"/>
                <a:gd name="connsiteY222" fmla="*/ 1012927 h 1413227"/>
                <a:gd name="connsiteX223" fmla="*/ 885015 w 2048870"/>
                <a:gd name="connsiteY223" fmla="*/ 1016384 h 1413227"/>
                <a:gd name="connsiteX224" fmla="*/ 888472 w 2048870"/>
                <a:gd name="connsiteY224" fmla="*/ 1021569 h 1413227"/>
                <a:gd name="connsiteX225" fmla="*/ 900572 w 2048870"/>
                <a:gd name="connsiteY225" fmla="*/ 1026755 h 1413227"/>
                <a:gd name="connsiteX226" fmla="*/ 905758 w 2048870"/>
                <a:gd name="connsiteY226" fmla="*/ 1033669 h 1413227"/>
                <a:gd name="connsiteX227" fmla="*/ 909215 w 2048870"/>
                <a:gd name="connsiteY227" fmla="*/ 1040583 h 1413227"/>
                <a:gd name="connsiteX228" fmla="*/ 912672 w 2048870"/>
                <a:gd name="connsiteY228" fmla="*/ 1045769 h 1413227"/>
                <a:gd name="connsiteX229" fmla="*/ 921315 w 2048870"/>
                <a:gd name="connsiteY229" fmla="*/ 1061326 h 1413227"/>
                <a:gd name="connsiteX230" fmla="*/ 928229 w 2048870"/>
                <a:gd name="connsiteY230" fmla="*/ 1082068 h 1413227"/>
                <a:gd name="connsiteX231" fmla="*/ 929957 w 2048870"/>
                <a:gd name="connsiteY231" fmla="*/ 1088983 h 1413227"/>
                <a:gd name="connsiteX232" fmla="*/ 940329 w 2048870"/>
                <a:gd name="connsiteY232" fmla="*/ 1095897 h 1413227"/>
                <a:gd name="connsiteX233" fmla="*/ 959343 w 2048870"/>
                <a:gd name="connsiteY233" fmla="*/ 1097625 h 1413227"/>
                <a:gd name="connsiteX234" fmla="*/ 967985 w 2048870"/>
                <a:gd name="connsiteY234" fmla="*/ 1101082 h 1413227"/>
                <a:gd name="connsiteX235" fmla="*/ 973171 w 2048870"/>
                <a:gd name="connsiteY235" fmla="*/ 1106268 h 1413227"/>
                <a:gd name="connsiteX236" fmla="*/ 978357 w 2048870"/>
                <a:gd name="connsiteY236" fmla="*/ 1109725 h 1413227"/>
                <a:gd name="connsiteX237" fmla="*/ 983542 w 2048870"/>
                <a:gd name="connsiteY237" fmla="*/ 1118368 h 1413227"/>
                <a:gd name="connsiteX238" fmla="*/ 985271 w 2048870"/>
                <a:gd name="connsiteY238" fmla="*/ 1132196 h 1413227"/>
                <a:gd name="connsiteX239" fmla="*/ 992185 w 2048870"/>
                <a:gd name="connsiteY239" fmla="*/ 1139110 h 1413227"/>
                <a:gd name="connsiteX240" fmla="*/ 1006013 w 2048870"/>
                <a:gd name="connsiteY240" fmla="*/ 1147753 h 1413227"/>
                <a:gd name="connsiteX241" fmla="*/ 1019842 w 2048870"/>
                <a:gd name="connsiteY241" fmla="*/ 1165038 h 1413227"/>
                <a:gd name="connsiteX242" fmla="*/ 1012927 w 2048870"/>
                <a:gd name="connsiteY242" fmla="*/ 1168496 h 1413227"/>
                <a:gd name="connsiteX243" fmla="*/ 1009470 w 2048870"/>
                <a:gd name="connsiteY243" fmla="*/ 1173681 h 1413227"/>
                <a:gd name="connsiteX244" fmla="*/ 997371 w 2048870"/>
                <a:gd name="connsiteY244" fmla="*/ 1177138 h 1413227"/>
                <a:gd name="connsiteX245" fmla="*/ 990456 w 2048870"/>
                <a:gd name="connsiteY245" fmla="*/ 1182324 h 1413227"/>
                <a:gd name="connsiteX246" fmla="*/ 973171 w 2048870"/>
                <a:gd name="connsiteY246" fmla="*/ 1182324 h 1413227"/>
                <a:gd name="connsiteX247" fmla="*/ 971442 w 2048870"/>
                <a:gd name="connsiteY247" fmla="*/ 1161581 h 1413227"/>
                <a:gd name="connsiteX248" fmla="*/ 962800 w 2048870"/>
                <a:gd name="connsiteY248" fmla="*/ 1171953 h 1413227"/>
                <a:gd name="connsiteX249" fmla="*/ 959343 w 2048870"/>
                <a:gd name="connsiteY249" fmla="*/ 1178867 h 1413227"/>
                <a:gd name="connsiteX250" fmla="*/ 955885 w 2048870"/>
                <a:gd name="connsiteY250" fmla="*/ 1184052 h 1413227"/>
                <a:gd name="connsiteX251" fmla="*/ 947243 w 2048870"/>
                <a:gd name="connsiteY251" fmla="*/ 1187510 h 1413227"/>
                <a:gd name="connsiteX252" fmla="*/ 940329 w 2048870"/>
                <a:gd name="connsiteY252" fmla="*/ 1190967 h 1413227"/>
                <a:gd name="connsiteX253" fmla="*/ 935143 w 2048870"/>
                <a:gd name="connsiteY253" fmla="*/ 1189238 h 1413227"/>
                <a:gd name="connsiteX254" fmla="*/ 929957 w 2048870"/>
                <a:gd name="connsiteY254" fmla="*/ 1171953 h 1413227"/>
                <a:gd name="connsiteX255" fmla="*/ 926500 w 2048870"/>
                <a:gd name="connsiteY255" fmla="*/ 1165038 h 1413227"/>
                <a:gd name="connsiteX256" fmla="*/ 921315 w 2048870"/>
                <a:gd name="connsiteY256" fmla="*/ 1178867 h 1413227"/>
                <a:gd name="connsiteX257" fmla="*/ 917857 w 2048870"/>
                <a:gd name="connsiteY257" fmla="*/ 1182324 h 1413227"/>
                <a:gd name="connsiteX258" fmla="*/ 914400 w 2048870"/>
                <a:gd name="connsiteY258" fmla="*/ 1194424 h 1413227"/>
                <a:gd name="connsiteX259" fmla="*/ 909215 w 2048870"/>
                <a:gd name="connsiteY259" fmla="*/ 1199609 h 1413227"/>
                <a:gd name="connsiteX260" fmla="*/ 886744 w 2048870"/>
                <a:gd name="connsiteY260" fmla="*/ 1180595 h 1413227"/>
                <a:gd name="connsiteX261" fmla="*/ 883287 w 2048870"/>
                <a:gd name="connsiteY261" fmla="*/ 1189238 h 1413227"/>
                <a:gd name="connsiteX262" fmla="*/ 879830 w 2048870"/>
                <a:gd name="connsiteY262" fmla="*/ 1194424 h 1413227"/>
                <a:gd name="connsiteX263" fmla="*/ 874644 w 2048870"/>
                <a:gd name="connsiteY263" fmla="*/ 1204795 h 1413227"/>
                <a:gd name="connsiteX264" fmla="*/ 879830 w 2048870"/>
                <a:gd name="connsiteY264" fmla="*/ 1211709 h 1413227"/>
                <a:gd name="connsiteX265" fmla="*/ 890201 w 2048870"/>
                <a:gd name="connsiteY265" fmla="*/ 1215166 h 1413227"/>
                <a:gd name="connsiteX266" fmla="*/ 893658 w 2048870"/>
                <a:gd name="connsiteY266" fmla="*/ 1235909 h 1413227"/>
                <a:gd name="connsiteX267" fmla="*/ 891929 w 2048870"/>
                <a:gd name="connsiteY267" fmla="*/ 1258380 h 1413227"/>
                <a:gd name="connsiteX268" fmla="*/ 890201 w 2048870"/>
                <a:gd name="connsiteY268" fmla="*/ 1263565 h 1413227"/>
                <a:gd name="connsiteX269" fmla="*/ 878101 w 2048870"/>
                <a:gd name="connsiteY269" fmla="*/ 1275665 h 1413227"/>
                <a:gd name="connsiteX270" fmla="*/ 871187 w 2048870"/>
                <a:gd name="connsiteY270" fmla="*/ 1282579 h 1413227"/>
                <a:gd name="connsiteX271" fmla="*/ 876372 w 2048870"/>
                <a:gd name="connsiteY271" fmla="*/ 1287765 h 1413227"/>
                <a:gd name="connsiteX272" fmla="*/ 874644 w 2048870"/>
                <a:gd name="connsiteY272" fmla="*/ 1306779 h 1413227"/>
                <a:gd name="connsiteX273" fmla="*/ 869458 w 2048870"/>
                <a:gd name="connsiteY273" fmla="*/ 1308508 h 1413227"/>
                <a:gd name="connsiteX274" fmla="*/ 864273 w 2048870"/>
                <a:gd name="connsiteY274" fmla="*/ 1320607 h 1413227"/>
                <a:gd name="connsiteX275" fmla="*/ 862544 w 2048870"/>
                <a:gd name="connsiteY275" fmla="*/ 1360364 h 1413227"/>
                <a:gd name="connsiteX276" fmla="*/ 857358 w 2048870"/>
                <a:gd name="connsiteY276" fmla="*/ 1363821 h 1413227"/>
                <a:gd name="connsiteX277" fmla="*/ 852173 w 2048870"/>
                <a:gd name="connsiteY277" fmla="*/ 1365550 h 1413227"/>
                <a:gd name="connsiteX278" fmla="*/ 850444 w 2048870"/>
                <a:gd name="connsiteY278" fmla="*/ 1370735 h 1413227"/>
                <a:gd name="connsiteX279" fmla="*/ 838344 w 2048870"/>
                <a:gd name="connsiteY279" fmla="*/ 1379378 h 1413227"/>
                <a:gd name="connsiteX280" fmla="*/ 841802 w 2048870"/>
                <a:gd name="connsiteY280" fmla="*/ 1389749 h 1413227"/>
                <a:gd name="connsiteX281" fmla="*/ 845259 w 2048870"/>
                <a:gd name="connsiteY281" fmla="*/ 1398392 h 1413227"/>
                <a:gd name="connsiteX282" fmla="*/ 852173 w 2048870"/>
                <a:gd name="connsiteY282" fmla="*/ 1403578 h 1413227"/>
                <a:gd name="connsiteX283" fmla="*/ 859087 w 2048870"/>
                <a:gd name="connsiteY283" fmla="*/ 1410492 h 1413227"/>
                <a:gd name="connsiteX284" fmla="*/ 885015 w 2048870"/>
                <a:gd name="connsiteY284" fmla="*/ 1408763 h 1413227"/>
                <a:gd name="connsiteX285" fmla="*/ 890201 w 2048870"/>
                <a:gd name="connsiteY285" fmla="*/ 1413103 h 1413227"/>
                <a:gd name="connsiteX286" fmla="*/ 921633 w 2048870"/>
                <a:gd name="connsiteY286" fmla="*/ 1403013 h 1413227"/>
                <a:gd name="connsiteX287" fmla="*/ 921315 w 2048870"/>
                <a:gd name="connsiteY287" fmla="*/ 1388021 h 1413227"/>
                <a:gd name="connsiteX288" fmla="*/ 933873 w 2048870"/>
                <a:gd name="connsiteY288" fmla="*/ 1386010 h 1413227"/>
                <a:gd name="connsiteX289" fmla="*/ 938600 w 2048870"/>
                <a:gd name="connsiteY289" fmla="*/ 1367278 h 1413227"/>
                <a:gd name="connsiteX290" fmla="*/ 943786 w 2048870"/>
                <a:gd name="connsiteY290" fmla="*/ 1362093 h 1413227"/>
                <a:gd name="connsiteX291" fmla="*/ 954157 w 2048870"/>
                <a:gd name="connsiteY291" fmla="*/ 1360364 h 1413227"/>
                <a:gd name="connsiteX292" fmla="*/ 993913 w 2048870"/>
                <a:gd name="connsiteY292" fmla="*/ 1356907 h 1413227"/>
                <a:gd name="connsiteX293" fmla="*/ 997371 w 2048870"/>
                <a:gd name="connsiteY293" fmla="*/ 1349993 h 1413227"/>
                <a:gd name="connsiteX294" fmla="*/ 1009470 w 2048870"/>
                <a:gd name="connsiteY294" fmla="*/ 1344807 h 1413227"/>
                <a:gd name="connsiteX295" fmla="*/ 997371 w 2048870"/>
                <a:gd name="connsiteY295" fmla="*/ 1334436 h 1413227"/>
                <a:gd name="connsiteX296" fmla="*/ 993913 w 2048870"/>
                <a:gd name="connsiteY296" fmla="*/ 1327522 h 1413227"/>
                <a:gd name="connsiteX297" fmla="*/ 988728 w 2048870"/>
                <a:gd name="connsiteY297" fmla="*/ 1322336 h 1413227"/>
                <a:gd name="connsiteX298" fmla="*/ 985271 w 2048870"/>
                <a:gd name="connsiteY298" fmla="*/ 1310236 h 1413227"/>
                <a:gd name="connsiteX299" fmla="*/ 981814 w 2048870"/>
                <a:gd name="connsiteY299" fmla="*/ 1299865 h 1413227"/>
                <a:gd name="connsiteX300" fmla="*/ 990456 w 2048870"/>
                <a:gd name="connsiteY300" fmla="*/ 1287765 h 1413227"/>
                <a:gd name="connsiteX301" fmla="*/ 992185 w 2048870"/>
                <a:gd name="connsiteY301" fmla="*/ 1292951 h 1413227"/>
                <a:gd name="connsiteX302" fmla="*/ 1014656 w 2048870"/>
                <a:gd name="connsiteY302" fmla="*/ 1299865 h 1413227"/>
                <a:gd name="connsiteX303" fmla="*/ 1016385 w 2048870"/>
                <a:gd name="connsiteY303" fmla="*/ 1294679 h 1413227"/>
                <a:gd name="connsiteX304" fmla="*/ 1018113 w 2048870"/>
                <a:gd name="connsiteY304" fmla="*/ 1284308 h 1413227"/>
                <a:gd name="connsiteX305" fmla="*/ 1031941 w 2048870"/>
                <a:gd name="connsiteY305" fmla="*/ 1270480 h 1413227"/>
                <a:gd name="connsiteX306" fmla="*/ 1037127 w 2048870"/>
                <a:gd name="connsiteY306" fmla="*/ 1265294 h 1413227"/>
                <a:gd name="connsiteX307" fmla="*/ 1038856 w 2048870"/>
                <a:gd name="connsiteY307" fmla="*/ 1260108 h 1413227"/>
                <a:gd name="connsiteX308" fmla="*/ 1054412 w 2048870"/>
                <a:gd name="connsiteY308" fmla="*/ 1251466 h 1413227"/>
                <a:gd name="connsiteX309" fmla="*/ 1063055 w 2048870"/>
                <a:gd name="connsiteY309" fmla="*/ 1242823 h 1413227"/>
                <a:gd name="connsiteX310" fmla="*/ 1068241 w 2048870"/>
                <a:gd name="connsiteY310" fmla="*/ 1223809 h 1413227"/>
                <a:gd name="connsiteX311" fmla="*/ 1069969 w 2048870"/>
                <a:gd name="connsiteY311" fmla="*/ 1215166 h 1413227"/>
                <a:gd name="connsiteX312" fmla="*/ 1075155 w 2048870"/>
                <a:gd name="connsiteY312" fmla="*/ 1201338 h 1413227"/>
                <a:gd name="connsiteX313" fmla="*/ 1080341 w 2048870"/>
                <a:gd name="connsiteY313" fmla="*/ 1175410 h 1413227"/>
                <a:gd name="connsiteX314" fmla="*/ 1082069 w 2048870"/>
                <a:gd name="connsiteY314" fmla="*/ 1170224 h 1413227"/>
                <a:gd name="connsiteX315" fmla="*/ 1083798 w 2048870"/>
                <a:gd name="connsiteY315" fmla="*/ 1161581 h 1413227"/>
                <a:gd name="connsiteX316" fmla="*/ 1085526 w 2048870"/>
                <a:gd name="connsiteY316" fmla="*/ 1156396 h 1413227"/>
                <a:gd name="connsiteX317" fmla="*/ 1087255 w 2048870"/>
                <a:gd name="connsiteY317" fmla="*/ 1147753 h 1413227"/>
                <a:gd name="connsiteX318" fmla="*/ 1097626 w 2048870"/>
                <a:gd name="connsiteY318" fmla="*/ 1128739 h 1413227"/>
                <a:gd name="connsiteX319" fmla="*/ 1099355 w 2048870"/>
                <a:gd name="connsiteY319" fmla="*/ 1111454 h 1413227"/>
                <a:gd name="connsiteX320" fmla="*/ 1106269 w 2048870"/>
                <a:gd name="connsiteY320" fmla="*/ 1097625 h 1413227"/>
                <a:gd name="connsiteX321" fmla="*/ 1111454 w 2048870"/>
                <a:gd name="connsiteY321" fmla="*/ 1095897 h 1413227"/>
                <a:gd name="connsiteX322" fmla="*/ 1127011 w 2048870"/>
                <a:gd name="connsiteY322" fmla="*/ 1094168 h 1413227"/>
                <a:gd name="connsiteX323" fmla="*/ 1132197 w 2048870"/>
                <a:gd name="connsiteY323" fmla="*/ 1088983 h 1413227"/>
                <a:gd name="connsiteX324" fmla="*/ 1166768 w 2048870"/>
                <a:gd name="connsiteY324" fmla="*/ 1083797 h 1413227"/>
                <a:gd name="connsiteX325" fmla="*/ 1175411 w 2048870"/>
                <a:gd name="connsiteY325" fmla="*/ 1073426 h 1413227"/>
                <a:gd name="connsiteX326" fmla="*/ 1177139 w 2048870"/>
                <a:gd name="connsiteY326" fmla="*/ 1061326 h 1413227"/>
                <a:gd name="connsiteX327" fmla="*/ 1170225 w 2048870"/>
                <a:gd name="connsiteY327" fmla="*/ 1047497 h 1413227"/>
                <a:gd name="connsiteX328" fmla="*/ 1163311 w 2048870"/>
                <a:gd name="connsiteY328" fmla="*/ 1050955 h 1413227"/>
                <a:gd name="connsiteX329" fmla="*/ 1166768 w 2048870"/>
                <a:gd name="connsiteY329" fmla="*/ 1068240 h 1413227"/>
                <a:gd name="connsiteX330" fmla="*/ 1170225 w 2048870"/>
                <a:gd name="connsiteY330" fmla="*/ 1076883 h 1413227"/>
                <a:gd name="connsiteX331" fmla="*/ 1182325 w 2048870"/>
                <a:gd name="connsiteY331" fmla="*/ 1080340 h 1413227"/>
                <a:gd name="connsiteX332" fmla="*/ 1206524 w 2048870"/>
                <a:gd name="connsiteY332" fmla="*/ 1078611 h 1413227"/>
                <a:gd name="connsiteX333" fmla="*/ 1211710 w 2048870"/>
                <a:gd name="connsiteY333" fmla="*/ 1073426 h 1413227"/>
                <a:gd name="connsiteX334" fmla="*/ 1218624 w 2048870"/>
                <a:gd name="connsiteY334" fmla="*/ 1057869 h 1413227"/>
                <a:gd name="connsiteX335" fmla="*/ 1220353 w 2048870"/>
                <a:gd name="connsiteY335" fmla="*/ 1044040 h 1413227"/>
                <a:gd name="connsiteX336" fmla="*/ 1218624 w 2048870"/>
                <a:gd name="connsiteY336" fmla="*/ 1014655 h 1413227"/>
                <a:gd name="connsiteX337" fmla="*/ 1211710 w 2048870"/>
                <a:gd name="connsiteY337" fmla="*/ 997370 h 1413227"/>
                <a:gd name="connsiteX338" fmla="*/ 1206524 w 2048870"/>
                <a:gd name="connsiteY338" fmla="*/ 993913 h 1413227"/>
                <a:gd name="connsiteX339" fmla="*/ 1184053 w 2048870"/>
                <a:gd name="connsiteY339" fmla="*/ 973170 h 1413227"/>
                <a:gd name="connsiteX340" fmla="*/ 1173682 w 2048870"/>
                <a:gd name="connsiteY340" fmla="*/ 962799 h 1413227"/>
                <a:gd name="connsiteX341" fmla="*/ 1168496 w 2048870"/>
                <a:gd name="connsiteY341" fmla="*/ 957613 h 1413227"/>
                <a:gd name="connsiteX342" fmla="*/ 1171954 w 2048870"/>
                <a:gd name="connsiteY342" fmla="*/ 961070 h 1413227"/>
                <a:gd name="connsiteX343" fmla="*/ 1178868 w 2048870"/>
                <a:gd name="connsiteY343" fmla="*/ 971441 h 1413227"/>
                <a:gd name="connsiteX344" fmla="*/ 1185782 w 2048870"/>
                <a:gd name="connsiteY344" fmla="*/ 980084 h 1413227"/>
                <a:gd name="connsiteX345" fmla="*/ 1190968 w 2048870"/>
                <a:gd name="connsiteY345" fmla="*/ 985270 h 1413227"/>
                <a:gd name="connsiteX346" fmla="*/ 1194425 w 2048870"/>
                <a:gd name="connsiteY346" fmla="*/ 993913 h 1413227"/>
                <a:gd name="connsiteX347" fmla="*/ 1206524 w 2048870"/>
                <a:gd name="connsiteY347" fmla="*/ 1007741 h 1413227"/>
                <a:gd name="connsiteX348" fmla="*/ 1208253 w 2048870"/>
                <a:gd name="connsiteY348" fmla="*/ 1014655 h 1413227"/>
                <a:gd name="connsiteX349" fmla="*/ 1211710 w 2048870"/>
                <a:gd name="connsiteY349" fmla="*/ 1023298 h 1413227"/>
                <a:gd name="connsiteX350" fmla="*/ 1213439 w 2048870"/>
                <a:gd name="connsiteY350" fmla="*/ 1035398 h 1413227"/>
                <a:gd name="connsiteX351" fmla="*/ 1215167 w 2048870"/>
                <a:gd name="connsiteY351" fmla="*/ 1044040 h 1413227"/>
                <a:gd name="connsiteX352" fmla="*/ 1220353 w 2048870"/>
                <a:gd name="connsiteY352" fmla="*/ 1045769 h 1413227"/>
                <a:gd name="connsiteX353" fmla="*/ 1223810 w 2048870"/>
                <a:gd name="connsiteY353" fmla="*/ 1050955 h 1413227"/>
                <a:gd name="connsiteX354" fmla="*/ 1234181 w 2048870"/>
                <a:gd name="connsiteY354" fmla="*/ 1063054 h 1413227"/>
                <a:gd name="connsiteX355" fmla="*/ 1253195 w 2048870"/>
                <a:gd name="connsiteY355" fmla="*/ 1057869 h 1413227"/>
                <a:gd name="connsiteX356" fmla="*/ 1258381 w 2048870"/>
                <a:gd name="connsiteY356" fmla="*/ 1054412 h 1413227"/>
                <a:gd name="connsiteX357" fmla="*/ 1265295 w 2048870"/>
                <a:gd name="connsiteY357" fmla="*/ 1050955 h 1413227"/>
                <a:gd name="connsiteX358" fmla="*/ 1267023 w 2048870"/>
                <a:gd name="connsiteY358" fmla="*/ 1056140 h 1413227"/>
                <a:gd name="connsiteX359" fmla="*/ 1268752 w 2048870"/>
                <a:gd name="connsiteY359" fmla="*/ 1068240 h 1413227"/>
                <a:gd name="connsiteX360" fmla="*/ 1279123 w 2048870"/>
                <a:gd name="connsiteY360" fmla="*/ 1064783 h 1413227"/>
                <a:gd name="connsiteX361" fmla="*/ 1289495 w 2048870"/>
                <a:gd name="connsiteY361" fmla="*/ 1056140 h 1413227"/>
                <a:gd name="connsiteX362" fmla="*/ 1299866 w 2048870"/>
                <a:gd name="connsiteY362" fmla="*/ 1045769 h 1413227"/>
                <a:gd name="connsiteX363" fmla="*/ 1305051 w 2048870"/>
                <a:gd name="connsiteY363" fmla="*/ 1042312 h 1413227"/>
                <a:gd name="connsiteX364" fmla="*/ 1294680 w 2048870"/>
                <a:gd name="connsiteY364" fmla="*/ 1061326 h 1413227"/>
                <a:gd name="connsiteX365" fmla="*/ 1286037 w 2048870"/>
                <a:gd name="connsiteY365" fmla="*/ 1075154 h 1413227"/>
                <a:gd name="connsiteX366" fmla="*/ 1272209 w 2048870"/>
                <a:gd name="connsiteY366" fmla="*/ 1082068 h 1413227"/>
                <a:gd name="connsiteX367" fmla="*/ 1265295 w 2048870"/>
                <a:gd name="connsiteY367" fmla="*/ 1085525 h 1413227"/>
                <a:gd name="connsiteX368" fmla="*/ 1260109 w 2048870"/>
                <a:gd name="connsiteY368" fmla="*/ 1087254 h 1413227"/>
                <a:gd name="connsiteX369" fmla="*/ 1251467 w 2048870"/>
                <a:gd name="connsiteY369" fmla="*/ 1092440 h 1413227"/>
                <a:gd name="connsiteX370" fmla="*/ 1232453 w 2048870"/>
                <a:gd name="connsiteY370" fmla="*/ 1095897 h 1413227"/>
                <a:gd name="connsiteX371" fmla="*/ 1230724 w 2048870"/>
                <a:gd name="connsiteY371" fmla="*/ 1121825 h 1413227"/>
                <a:gd name="connsiteX372" fmla="*/ 1223810 w 2048870"/>
                <a:gd name="connsiteY372" fmla="*/ 1128739 h 1413227"/>
                <a:gd name="connsiteX373" fmla="*/ 1216896 w 2048870"/>
                <a:gd name="connsiteY373" fmla="*/ 1130468 h 1413227"/>
                <a:gd name="connsiteX374" fmla="*/ 1248009 w 2048870"/>
                <a:gd name="connsiteY374" fmla="*/ 1123553 h 1413227"/>
                <a:gd name="connsiteX375" fmla="*/ 1275666 w 2048870"/>
                <a:gd name="connsiteY375" fmla="*/ 1125282 h 1413227"/>
                <a:gd name="connsiteX376" fmla="*/ 1282580 w 2048870"/>
                <a:gd name="connsiteY376" fmla="*/ 1128739 h 1413227"/>
                <a:gd name="connsiteX377" fmla="*/ 1318880 w 2048870"/>
                <a:gd name="connsiteY377" fmla="*/ 1127010 h 1413227"/>
                <a:gd name="connsiteX378" fmla="*/ 1330980 w 2048870"/>
                <a:gd name="connsiteY378" fmla="*/ 1123553 h 1413227"/>
                <a:gd name="connsiteX379" fmla="*/ 1339622 w 2048870"/>
                <a:gd name="connsiteY379" fmla="*/ 1118368 h 1413227"/>
                <a:gd name="connsiteX380" fmla="*/ 1356908 w 2048870"/>
                <a:gd name="connsiteY380" fmla="*/ 1123553 h 1413227"/>
                <a:gd name="connsiteX381" fmla="*/ 1384564 w 2048870"/>
                <a:gd name="connsiteY381" fmla="*/ 1114911 h 1413227"/>
                <a:gd name="connsiteX382" fmla="*/ 1391479 w 2048870"/>
                <a:gd name="connsiteY382" fmla="*/ 1109725 h 1413227"/>
                <a:gd name="connsiteX383" fmla="*/ 1400121 w 2048870"/>
                <a:gd name="connsiteY383" fmla="*/ 1095897 h 1413227"/>
                <a:gd name="connsiteX384" fmla="*/ 1403578 w 2048870"/>
                <a:gd name="connsiteY384" fmla="*/ 1090711 h 1413227"/>
                <a:gd name="connsiteX385" fmla="*/ 1408764 w 2048870"/>
                <a:gd name="connsiteY385" fmla="*/ 1088983 h 1413227"/>
                <a:gd name="connsiteX386" fmla="*/ 1415678 w 2048870"/>
                <a:gd name="connsiteY386" fmla="*/ 1097625 h 1413227"/>
                <a:gd name="connsiteX387" fmla="*/ 1419135 w 2048870"/>
                <a:gd name="connsiteY387" fmla="*/ 1104539 h 1413227"/>
                <a:gd name="connsiteX388" fmla="*/ 1424321 w 2048870"/>
                <a:gd name="connsiteY388" fmla="*/ 1111454 h 1413227"/>
                <a:gd name="connsiteX389" fmla="*/ 1434692 w 2048870"/>
                <a:gd name="connsiteY389" fmla="*/ 1109725 h 1413227"/>
                <a:gd name="connsiteX390" fmla="*/ 1438149 w 2048870"/>
                <a:gd name="connsiteY390" fmla="*/ 1101082 h 1413227"/>
                <a:gd name="connsiteX391" fmla="*/ 1446792 w 2048870"/>
                <a:gd name="connsiteY391" fmla="*/ 1076883 h 1413227"/>
                <a:gd name="connsiteX392" fmla="*/ 1455435 w 2048870"/>
                <a:gd name="connsiteY392" fmla="*/ 1082068 h 1413227"/>
                <a:gd name="connsiteX393" fmla="*/ 1457163 w 2048870"/>
                <a:gd name="connsiteY393" fmla="*/ 1097625 h 1413227"/>
                <a:gd name="connsiteX394" fmla="*/ 1462349 w 2048870"/>
                <a:gd name="connsiteY394" fmla="*/ 1104539 h 1413227"/>
                <a:gd name="connsiteX395" fmla="*/ 1464078 w 2048870"/>
                <a:gd name="connsiteY395" fmla="*/ 1116639 h 1413227"/>
                <a:gd name="connsiteX396" fmla="*/ 1450249 w 2048870"/>
                <a:gd name="connsiteY396" fmla="*/ 1132196 h 1413227"/>
                <a:gd name="connsiteX397" fmla="*/ 1436421 w 2048870"/>
                <a:gd name="connsiteY397" fmla="*/ 1149482 h 1413227"/>
                <a:gd name="connsiteX398" fmla="*/ 1427778 w 2048870"/>
                <a:gd name="connsiteY398" fmla="*/ 1158124 h 1413227"/>
                <a:gd name="connsiteX399" fmla="*/ 1415678 w 2048870"/>
                <a:gd name="connsiteY399" fmla="*/ 1163310 h 1413227"/>
                <a:gd name="connsiteX400" fmla="*/ 1400121 w 2048870"/>
                <a:gd name="connsiteY400" fmla="*/ 1171953 h 1413227"/>
                <a:gd name="connsiteX401" fmla="*/ 1398393 w 2048870"/>
                <a:gd name="connsiteY401" fmla="*/ 1177138 h 1413227"/>
                <a:gd name="connsiteX402" fmla="*/ 1389750 w 2048870"/>
                <a:gd name="connsiteY402" fmla="*/ 1189238 h 1413227"/>
                <a:gd name="connsiteX403" fmla="*/ 1384564 w 2048870"/>
                <a:gd name="connsiteY403" fmla="*/ 1197881 h 1413227"/>
                <a:gd name="connsiteX404" fmla="*/ 1382836 w 2048870"/>
                <a:gd name="connsiteY404" fmla="*/ 1203066 h 1413227"/>
                <a:gd name="connsiteX405" fmla="*/ 1374193 w 2048870"/>
                <a:gd name="connsiteY405" fmla="*/ 1211709 h 1413227"/>
                <a:gd name="connsiteX406" fmla="*/ 1369008 w 2048870"/>
                <a:gd name="connsiteY406" fmla="*/ 1216895 h 1413227"/>
                <a:gd name="connsiteX407" fmla="*/ 1356908 w 2048870"/>
                <a:gd name="connsiteY407" fmla="*/ 1230723 h 1413227"/>
                <a:gd name="connsiteX408" fmla="*/ 1351722 w 2048870"/>
                <a:gd name="connsiteY408" fmla="*/ 1237637 h 1413227"/>
                <a:gd name="connsiteX409" fmla="*/ 1349994 w 2048870"/>
                <a:gd name="connsiteY409" fmla="*/ 1242823 h 1413227"/>
                <a:gd name="connsiteX410" fmla="*/ 1344808 w 2048870"/>
                <a:gd name="connsiteY410" fmla="*/ 1253194 h 1413227"/>
                <a:gd name="connsiteX411" fmla="*/ 1377650 w 2048870"/>
                <a:gd name="connsiteY411" fmla="*/ 1253194 h 1413227"/>
                <a:gd name="connsiteX412" fmla="*/ 1386293 w 2048870"/>
                <a:gd name="connsiteY412" fmla="*/ 1246280 h 1413227"/>
                <a:gd name="connsiteX413" fmla="*/ 1391479 w 2048870"/>
                <a:gd name="connsiteY413" fmla="*/ 1244552 h 1413227"/>
                <a:gd name="connsiteX414" fmla="*/ 1412221 w 2048870"/>
                <a:gd name="connsiteY414" fmla="*/ 1248009 h 1413227"/>
                <a:gd name="connsiteX415" fmla="*/ 1415678 w 2048870"/>
                <a:gd name="connsiteY415" fmla="*/ 1253194 h 1413227"/>
                <a:gd name="connsiteX416" fmla="*/ 1426050 w 2048870"/>
                <a:gd name="connsiteY416" fmla="*/ 1260108 h 1413227"/>
                <a:gd name="connsiteX417" fmla="*/ 1451978 w 2048870"/>
                <a:gd name="connsiteY417" fmla="*/ 1258380 h 1413227"/>
                <a:gd name="connsiteX418" fmla="*/ 1457163 w 2048870"/>
                <a:gd name="connsiteY418" fmla="*/ 1253194 h 1413227"/>
                <a:gd name="connsiteX419" fmla="*/ 1465806 w 2048870"/>
                <a:gd name="connsiteY419" fmla="*/ 1248009 h 1413227"/>
                <a:gd name="connsiteX420" fmla="*/ 1483092 w 2048870"/>
                <a:gd name="connsiteY420" fmla="*/ 1249737 h 1413227"/>
                <a:gd name="connsiteX421" fmla="*/ 1491734 w 2048870"/>
                <a:gd name="connsiteY421" fmla="*/ 1258380 h 1413227"/>
                <a:gd name="connsiteX422" fmla="*/ 1502106 w 2048870"/>
                <a:gd name="connsiteY422" fmla="*/ 1272208 h 1413227"/>
                <a:gd name="connsiteX423" fmla="*/ 1503834 w 2048870"/>
                <a:gd name="connsiteY423" fmla="*/ 1289494 h 1413227"/>
                <a:gd name="connsiteX424" fmla="*/ 1514205 w 2048870"/>
                <a:gd name="connsiteY424" fmla="*/ 1301593 h 1413227"/>
                <a:gd name="connsiteX425" fmla="*/ 1517662 w 2048870"/>
                <a:gd name="connsiteY425" fmla="*/ 1306779 h 1413227"/>
                <a:gd name="connsiteX426" fmla="*/ 1515934 w 2048870"/>
                <a:gd name="connsiteY426" fmla="*/ 1355178 h 1413227"/>
                <a:gd name="connsiteX427" fmla="*/ 1509020 w 2048870"/>
                <a:gd name="connsiteY427" fmla="*/ 1360364 h 1413227"/>
                <a:gd name="connsiteX428" fmla="*/ 1503834 w 2048870"/>
                <a:gd name="connsiteY428" fmla="*/ 1370735 h 1413227"/>
                <a:gd name="connsiteX429" fmla="*/ 1534948 w 2048870"/>
                <a:gd name="connsiteY429" fmla="*/ 1374192 h 1413227"/>
                <a:gd name="connsiteX430" fmla="*/ 1540133 w 2048870"/>
                <a:gd name="connsiteY430" fmla="*/ 1377649 h 1413227"/>
                <a:gd name="connsiteX431" fmla="*/ 1559147 w 2048870"/>
                <a:gd name="connsiteY431" fmla="*/ 1375921 h 1413227"/>
                <a:gd name="connsiteX432" fmla="*/ 1564333 w 2048870"/>
                <a:gd name="connsiteY432" fmla="*/ 1372464 h 1413227"/>
                <a:gd name="connsiteX433" fmla="*/ 1579890 w 2048870"/>
                <a:gd name="connsiteY433" fmla="*/ 1370735 h 1413227"/>
                <a:gd name="connsiteX434" fmla="*/ 1597175 w 2048870"/>
                <a:gd name="connsiteY434" fmla="*/ 1363821 h 1413227"/>
                <a:gd name="connsiteX435" fmla="*/ 1600633 w 2048870"/>
                <a:gd name="connsiteY435" fmla="*/ 1360364 h 1413227"/>
                <a:gd name="connsiteX436" fmla="*/ 1612732 w 2048870"/>
                <a:gd name="connsiteY436" fmla="*/ 1341350 h 1413227"/>
                <a:gd name="connsiteX437" fmla="*/ 1617918 w 2048870"/>
                <a:gd name="connsiteY437" fmla="*/ 1305051 h 1413227"/>
                <a:gd name="connsiteX438" fmla="*/ 1623104 w 2048870"/>
                <a:gd name="connsiteY438" fmla="*/ 1301593 h 1413227"/>
                <a:gd name="connsiteX439" fmla="*/ 1624832 w 2048870"/>
                <a:gd name="connsiteY439" fmla="*/ 1284308 h 1413227"/>
                <a:gd name="connsiteX440" fmla="*/ 1631746 w 2048870"/>
                <a:gd name="connsiteY440" fmla="*/ 1270480 h 1413227"/>
                <a:gd name="connsiteX441" fmla="*/ 1643846 w 2048870"/>
                <a:gd name="connsiteY441" fmla="*/ 1263565 h 1413227"/>
                <a:gd name="connsiteX442" fmla="*/ 1669774 w 2048870"/>
                <a:gd name="connsiteY442" fmla="*/ 1260108 h 1413227"/>
                <a:gd name="connsiteX443" fmla="*/ 1681874 w 2048870"/>
                <a:gd name="connsiteY443" fmla="*/ 1254923 h 1413227"/>
                <a:gd name="connsiteX444" fmla="*/ 1687060 w 2048870"/>
                <a:gd name="connsiteY444" fmla="*/ 1253194 h 1413227"/>
                <a:gd name="connsiteX445" fmla="*/ 1702617 w 2048870"/>
                <a:gd name="connsiteY445" fmla="*/ 1249737 h 1413227"/>
                <a:gd name="connsiteX446" fmla="*/ 1704345 w 2048870"/>
                <a:gd name="connsiteY446" fmla="*/ 1232452 h 1413227"/>
                <a:gd name="connsiteX447" fmla="*/ 1706074 w 2048870"/>
                <a:gd name="connsiteY447" fmla="*/ 1208252 h 1413227"/>
                <a:gd name="connsiteX448" fmla="*/ 1711259 w 2048870"/>
                <a:gd name="connsiteY448" fmla="*/ 1201338 h 1413227"/>
                <a:gd name="connsiteX449" fmla="*/ 1718174 w 2048870"/>
                <a:gd name="connsiteY449" fmla="*/ 1192695 h 1413227"/>
                <a:gd name="connsiteX450" fmla="*/ 1725088 w 2048870"/>
                <a:gd name="connsiteY450" fmla="*/ 1189238 h 1413227"/>
                <a:gd name="connsiteX451" fmla="*/ 1735459 w 2048870"/>
                <a:gd name="connsiteY451" fmla="*/ 1184052 h 1413227"/>
                <a:gd name="connsiteX452" fmla="*/ 1773487 w 2048870"/>
                <a:gd name="connsiteY452" fmla="*/ 1189238 h 1413227"/>
                <a:gd name="connsiteX453" fmla="*/ 1778673 w 2048870"/>
                <a:gd name="connsiteY453" fmla="*/ 1194424 h 1413227"/>
                <a:gd name="connsiteX454" fmla="*/ 1808058 w 2048870"/>
                <a:gd name="connsiteY454" fmla="*/ 1187510 h 1413227"/>
                <a:gd name="connsiteX455" fmla="*/ 1811515 w 2048870"/>
                <a:gd name="connsiteY455" fmla="*/ 1180595 h 1413227"/>
                <a:gd name="connsiteX456" fmla="*/ 1818429 w 2048870"/>
                <a:gd name="connsiteY456" fmla="*/ 1171953 h 1413227"/>
                <a:gd name="connsiteX457" fmla="*/ 1825343 w 2048870"/>
                <a:gd name="connsiteY457" fmla="*/ 1158124 h 1413227"/>
                <a:gd name="connsiteX458" fmla="*/ 1827072 w 2048870"/>
                <a:gd name="connsiteY458" fmla="*/ 1151210 h 1413227"/>
                <a:gd name="connsiteX459" fmla="*/ 1833986 w 2048870"/>
                <a:gd name="connsiteY459" fmla="*/ 1133925 h 1413227"/>
                <a:gd name="connsiteX460" fmla="*/ 1820158 w 2048870"/>
                <a:gd name="connsiteY460" fmla="*/ 1128739 h 1413227"/>
                <a:gd name="connsiteX461" fmla="*/ 1816701 w 2048870"/>
                <a:gd name="connsiteY461" fmla="*/ 1123553 h 1413227"/>
                <a:gd name="connsiteX462" fmla="*/ 1820158 w 2048870"/>
                <a:gd name="connsiteY462" fmla="*/ 1118368 h 1413227"/>
                <a:gd name="connsiteX463" fmla="*/ 1825343 w 2048870"/>
                <a:gd name="connsiteY463" fmla="*/ 1111454 h 1413227"/>
                <a:gd name="connsiteX464" fmla="*/ 1828800 w 2048870"/>
                <a:gd name="connsiteY464" fmla="*/ 1099354 h 1413227"/>
                <a:gd name="connsiteX465" fmla="*/ 1832257 w 2048870"/>
                <a:gd name="connsiteY465" fmla="*/ 1094168 h 1413227"/>
                <a:gd name="connsiteX466" fmla="*/ 1830529 w 2048870"/>
                <a:gd name="connsiteY466" fmla="*/ 1083797 h 1413227"/>
                <a:gd name="connsiteX467" fmla="*/ 1816701 w 2048870"/>
                <a:gd name="connsiteY467" fmla="*/ 1087254 h 1413227"/>
                <a:gd name="connsiteX468" fmla="*/ 1789044 w 2048870"/>
                <a:gd name="connsiteY468" fmla="*/ 1092440 h 1413227"/>
                <a:gd name="connsiteX469" fmla="*/ 1778673 w 2048870"/>
                <a:gd name="connsiteY469" fmla="*/ 1095897 h 1413227"/>
                <a:gd name="connsiteX470" fmla="*/ 1771758 w 2048870"/>
                <a:gd name="connsiteY470" fmla="*/ 1099354 h 1413227"/>
                <a:gd name="connsiteX471" fmla="*/ 1766573 w 2048870"/>
                <a:gd name="connsiteY471" fmla="*/ 1116639 h 1413227"/>
                <a:gd name="connsiteX472" fmla="*/ 1756202 w 2048870"/>
                <a:gd name="connsiteY472" fmla="*/ 1118368 h 1413227"/>
                <a:gd name="connsiteX473" fmla="*/ 1738916 w 2048870"/>
                <a:gd name="connsiteY473" fmla="*/ 1130468 h 1413227"/>
                <a:gd name="connsiteX474" fmla="*/ 1718174 w 2048870"/>
                <a:gd name="connsiteY474" fmla="*/ 1140839 h 1413227"/>
                <a:gd name="connsiteX475" fmla="*/ 1709531 w 2048870"/>
                <a:gd name="connsiteY475" fmla="*/ 1146024 h 1413227"/>
                <a:gd name="connsiteX476" fmla="*/ 1707802 w 2048870"/>
                <a:gd name="connsiteY476" fmla="*/ 1151210 h 1413227"/>
                <a:gd name="connsiteX477" fmla="*/ 1700888 w 2048870"/>
                <a:gd name="connsiteY477" fmla="*/ 1154667 h 1413227"/>
                <a:gd name="connsiteX478" fmla="*/ 1647303 w 2048870"/>
                <a:gd name="connsiteY478" fmla="*/ 1152939 h 1413227"/>
                <a:gd name="connsiteX479" fmla="*/ 1650760 w 2048870"/>
                <a:gd name="connsiteY479" fmla="*/ 1142567 h 1413227"/>
                <a:gd name="connsiteX480" fmla="*/ 1649032 w 2048870"/>
                <a:gd name="connsiteY480" fmla="*/ 1120096 h 1413227"/>
                <a:gd name="connsiteX481" fmla="*/ 1598904 w 2048870"/>
                <a:gd name="connsiteY481" fmla="*/ 1114911 h 1413227"/>
                <a:gd name="connsiteX482" fmla="*/ 1591990 w 2048870"/>
                <a:gd name="connsiteY482" fmla="*/ 1113182 h 1413227"/>
                <a:gd name="connsiteX483" fmla="*/ 1564333 w 2048870"/>
                <a:gd name="connsiteY483" fmla="*/ 1109725 h 1413227"/>
                <a:gd name="connsiteX484" fmla="*/ 1553962 w 2048870"/>
                <a:gd name="connsiteY484" fmla="*/ 1101082 h 1413227"/>
                <a:gd name="connsiteX485" fmla="*/ 1543591 w 2048870"/>
                <a:gd name="connsiteY485" fmla="*/ 1092440 h 1413227"/>
                <a:gd name="connsiteX486" fmla="*/ 1526305 w 2048870"/>
                <a:gd name="connsiteY486" fmla="*/ 1090711 h 1413227"/>
                <a:gd name="connsiteX487" fmla="*/ 1514205 w 2048870"/>
                <a:gd name="connsiteY487" fmla="*/ 1085525 h 1413227"/>
                <a:gd name="connsiteX488" fmla="*/ 1512477 w 2048870"/>
                <a:gd name="connsiteY488" fmla="*/ 1092440 h 1413227"/>
                <a:gd name="connsiteX489" fmla="*/ 1507291 w 2048870"/>
                <a:gd name="connsiteY489" fmla="*/ 1085525 h 1413227"/>
                <a:gd name="connsiteX490" fmla="*/ 1496920 w 2048870"/>
                <a:gd name="connsiteY490" fmla="*/ 1075154 h 1413227"/>
                <a:gd name="connsiteX491" fmla="*/ 1445064 w 2048870"/>
                <a:gd name="connsiteY491" fmla="*/ 1076883 h 1413227"/>
                <a:gd name="connsiteX492" fmla="*/ 1439878 w 2048870"/>
                <a:gd name="connsiteY492" fmla="*/ 1080340 h 1413227"/>
                <a:gd name="connsiteX493" fmla="*/ 1438149 w 2048870"/>
                <a:gd name="connsiteY493" fmla="*/ 1085525 h 1413227"/>
                <a:gd name="connsiteX494" fmla="*/ 1451978 w 2048870"/>
                <a:gd name="connsiteY494" fmla="*/ 1071697 h 1413227"/>
                <a:gd name="connsiteX495" fmla="*/ 1458892 w 2048870"/>
                <a:gd name="connsiteY495" fmla="*/ 1064783 h 1413227"/>
                <a:gd name="connsiteX496" fmla="*/ 1464078 w 2048870"/>
                <a:gd name="connsiteY496" fmla="*/ 1059597 h 1413227"/>
                <a:gd name="connsiteX497" fmla="*/ 1479634 w 2048870"/>
                <a:gd name="connsiteY497" fmla="*/ 1064783 h 1413227"/>
                <a:gd name="connsiteX498" fmla="*/ 1490006 w 2048870"/>
                <a:gd name="connsiteY498" fmla="*/ 1071697 h 1413227"/>
                <a:gd name="connsiteX499" fmla="*/ 1498648 w 2048870"/>
                <a:gd name="connsiteY499" fmla="*/ 1068240 h 1413227"/>
                <a:gd name="connsiteX500" fmla="*/ 1500377 w 2048870"/>
                <a:gd name="connsiteY500" fmla="*/ 1063054 h 1413227"/>
                <a:gd name="connsiteX501" fmla="*/ 1503834 w 2048870"/>
                <a:gd name="connsiteY501" fmla="*/ 1057869 h 1413227"/>
                <a:gd name="connsiteX502" fmla="*/ 1507291 w 2048870"/>
                <a:gd name="connsiteY502" fmla="*/ 1045769 h 1413227"/>
                <a:gd name="connsiteX503" fmla="*/ 1540133 w 2048870"/>
                <a:gd name="connsiteY503" fmla="*/ 1044040 h 1413227"/>
                <a:gd name="connsiteX504" fmla="*/ 1557419 w 2048870"/>
                <a:gd name="connsiteY504" fmla="*/ 1059597 h 1413227"/>
                <a:gd name="connsiteX505" fmla="*/ 1560876 w 2048870"/>
                <a:gd name="connsiteY505" fmla="*/ 1073426 h 1413227"/>
                <a:gd name="connsiteX506" fmla="*/ 1564333 w 2048870"/>
                <a:gd name="connsiteY506" fmla="*/ 1087254 h 1413227"/>
                <a:gd name="connsiteX507" fmla="*/ 1566062 w 2048870"/>
                <a:gd name="connsiteY507" fmla="*/ 1094168 h 1413227"/>
                <a:gd name="connsiteX508" fmla="*/ 1569519 w 2048870"/>
                <a:gd name="connsiteY508" fmla="*/ 1099354 h 1413227"/>
                <a:gd name="connsiteX509" fmla="*/ 1576433 w 2048870"/>
                <a:gd name="connsiteY509" fmla="*/ 1037126 h 1413227"/>
                <a:gd name="connsiteX510" fmla="*/ 1588533 w 2048870"/>
                <a:gd name="connsiteY510" fmla="*/ 1052683 h 1413227"/>
                <a:gd name="connsiteX511" fmla="*/ 1591990 w 2048870"/>
                <a:gd name="connsiteY511" fmla="*/ 1069969 h 1413227"/>
                <a:gd name="connsiteX512" fmla="*/ 1607547 w 2048870"/>
                <a:gd name="connsiteY512" fmla="*/ 1080340 h 1413227"/>
                <a:gd name="connsiteX513" fmla="*/ 1612732 w 2048870"/>
                <a:gd name="connsiteY513" fmla="*/ 1083797 h 1413227"/>
                <a:gd name="connsiteX514" fmla="*/ 1621375 w 2048870"/>
                <a:gd name="connsiteY514" fmla="*/ 1085525 h 1413227"/>
                <a:gd name="connsiteX515" fmla="*/ 1633475 w 2048870"/>
                <a:gd name="connsiteY515" fmla="*/ 1092440 h 1413227"/>
                <a:gd name="connsiteX516" fmla="*/ 1640389 w 2048870"/>
                <a:gd name="connsiteY516" fmla="*/ 1095897 h 1413227"/>
                <a:gd name="connsiteX517" fmla="*/ 1649032 w 2048870"/>
                <a:gd name="connsiteY517" fmla="*/ 1109725 h 1413227"/>
                <a:gd name="connsiteX518" fmla="*/ 1659403 w 2048870"/>
                <a:gd name="connsiteY518" fmla="*/ 1113182 h 1413227"/>
                <a:gd name="connsiteX519" fmla="*/ 1669774 w 2048870"/>
                <a:gd name="connsiteY519" fmla="*/ 1118368 h 1413227"/>
                <a:gd name="connsiteX520" fmla="*/ 1680146 w 2048870"/>
                <a:gd name="connsiteY520" fmla="*/ 1125282 h 1413227"/>
                <a:gd name="connsiteX521" fmla="*/ 1699160 w 2048870"/>
                <a:gd name="connsiteY521" fmla="*/ 1139110 h 1413227"/>
                <a:gd name="connsiteX522" fmla="*/ 1712988 w 2048870"/>
                <a:gd name="connsiteY522" fmla="*/ 1142567 h 1413227"/>
                <a:gd name="connsiteX523" fmla="*/ 1704345 w 2048870"/>
                <a:gd name="connsiteY523" fmla="*/ 1137382 h 1413227"/>
                <a:gd name="connsiteX524" fmla="*/ 1699160 w 2048870"/>
                <a:gd name="connsiteY524" fmla="*/ 1132196 h 1413227"/>
                <a:gd name="connsiteX525" fmla="*/ 1688788 w 2048870"/>
                <a:gd name="connsiteY525" fmla="*/ 1128739 h 1413227"/>
                <a:gd name="connsiteX526" fmla="*/ 1674960 w 2048870"/>
                <a:gd name="connsiteY526" fmla="*/ 1125282 h 1413227"/>
                <a:gd name="connsiteX527" fmla="*/ 1659403 w 2048870"/>
                <a:gd name="connsiteY527" fmla="*/ 1121825 h 1413227"/>
                <a:gd name="connsiteX528" fmla="*/ 1650760 w 2048870"/>
                <a:gd name="connsiteY528" fmla="*/ 1116639 h 1413227"/>
                <a:gd name="connsiteX529" fmla="*/ 1645575 w 2048870"/>
                <a:gd name="connsiteY529" fmla="*/ 1113182 h 1413227"/>
                <a:gd name="connsiteX530" fmla="*/ 1642118 w 2048870"/>
                <a:gd name="connsiteY530" fmla="*/ 1107996 h 1413227"/>
                <a:gd name="connsiteX531" fmla="*/ 1628289 w 2048870"/>
                <a:gd name="connsiteY531" fmla="*/ 1088983 h 1413227"/>
                <a:gd name="connsiteX532" fmla="*/ 1626561 w 2048870"/>
                <a:gd name="connsiteY532" fmla="*/ 1083797 h 1413227"/>
                <a:gd name="connsiteX533" fmla="*/ 1619647 w 2048870"/>
                <a:gd name="connsiteY533" fmla="*/ 1075154 h 1413227"/>
                <a:gd name="connsiteX534" fmla="*/ 1616189 w 2048870"/>
                <a:gd name="connsiteY534" fmla="*/ 1061326 h 1413227"/>
                <a:gd name="connsiteX535" fmla="*/ 1614461 w 2048870"/>
                <a:gd name="connsiteY535" fmla="*/ 1056140 h 1413227"/>
                <a:gd name="connsiteX536" fmla="*/ 1604090 w 2048870"/>
                <a:gd name="connsiteY536" fmla="*/ 1038855 h 1413227"/>
                <a:gd name="connsiteX537" fmla="*/ 1598904 w 2048870"/>
                <a:gd name="connsiteY537" fmla="*/ 1037126 h 1413227"/>
                <a:gd name="connsiteX538" fmla="*/ 1593718 w 2048870"/>
                <a:gd name="connsiteY538" fmla="*/ 1030212 h 1413227"/>
                <a:gd name="connsiteX539" fmla="*/ 1585076 w 2048870"/>
                <a:gd name="connsiteY539" fmla="*/ 1019841 h 1413227"/>
                <a:gd name="connsiteX540" fmla="*/ 1590261 w 2048870"/>
                <a:gd name="connsiteY540" fmla="*/ 1000827 h 1413227"/>
                <a:gd name="connsiteX541" fmla="*/ 1598904 w 2048870"/>
                <a:gd name="connsiteY541" fmla="*/ 999098 h 1413227"/>
                <a:gd name="connsiteX542" fmla="*/ 1611004 w 2048870"/>
                <a:gd name="connsiteY542" fmla="*/ 990455 h 1413227"/>
                <a:gd name="connsiteX543" fmla="*/ 1617918 w 2048870"/>
                <a:gd name="connsiteY543" fmla="*/ 985270 h 1413227"/>
                <a:gd name="connsiteX544" fmla="*/ 1616189 w 2048870"/>
                <a:gd name="connsiteY544" fmla="*/ 1021569 h 1413227"/>
                <a:gd name="connsiteX545" fmla="*/ 1612732 w 2048870"/>
                <a:gd name="connsiteY545" fmla="*/ 1028483 h 1413227"/>
                <a:gd name="connsiteX546" fmla="*/ 1607547 w 2048870"/>
                <a:gd name="connsiteY546" fmla="*/ 1035398 h 1413227"/>
                <a:gd name="connsiteX547" fmla="*/ 1612732 w 2048870"/>
                <a:gd name="connsiteY547" fmla="*/ 1031941 h 1413227"/>
                <a:gd name="connsiteX548" fmla="*/ 1621375 w 2048870"/>
                <a:gd name="connsiteY548" fmla="*/ 1016384 h 1413227"/>
                <a:gd name="connsiteX549" fmla="*/ 1626561 w 2048870"/>
                <a:gd name="connsiteY549" fmla="*/ 997370 h 1413227"/>
                <a:gd name="connsiteX550" fmla="*/ 1626561 w 2048870"/>
                <a:gd name="connsiteY550" fmla="*/ 976627 h 1413227"/>
                <a:gd name="connsiteX551" fmla="*/ 1619647 w 2048870"/>
                <a:gd name="connsiteY551" fmla="*/ 962799 h 1413227"/>
                <a:gd name="connsiteX552" fmla="*/ 1626561 w 2048870"/>
                <a:gd name="connsiteY552" fmla="*/ 966256 h 1413227"/>
                <a:gd name="connsiteX553" fmla="*/ 1638661 w 2048870"/>
                <a:gd name="connsiteY553" fmla="*/ 969713 h 1413227"/>
                <a:gd name="connsiteX554" fmla="*/ 1645575 w 2048870"/>
                <a:gd name="connsiteY554" fmla="*/ 967984 h 1413227"/>
                <a:gd name="connsiteX555" fmla="*/ 1650760 w 2048870"/>
                <a:gd name="connsiteY555" fmla="*/ 955885 h 1413227"/>
                <a:gd name="connsiteX556" fmla="*/ 1659403 w 2048870"/>
                <a:gd name="connsiteY556" fmla="*/ 933414 h 1413227"/>
                <a:gd name="connsiteX557" fmla="*/ 1662860 w 2048870"/>
                <a:gd name="connsiteY557" fmla="*/ 929956 h 1413227"/>
                <a:gd name="connsiteX558" fmla="*/ 1664589 w 2048870"/>
                <a:gd name="connsiteY558" fmla="*/ 923042 h 1413227"/>
                <a:gd name="connsiteX559" fmla="*/ 1673231 w 2048870"/>
                <a:gd name="connsiteY559" fmla="*/ 893657 h 1413227"/>
                <a:gd name="connsiteX560" fmla="*/ 1687060 w 2048870"/>
                <a:gd name="connsiteY560" fmla="*/ 891928 h 1413227"/>
                <a:gd name="connsiteX561" fmla="*/ 1693974 w 2048870"/>
                <a:gd name="connsiteY561" fmla="*/ 890200 h 1413227"/>
                <a:gd name="connsiteX562" fmla="*/ 1700888 w 2048870"/>
                <a:gd name="connsiteY562" fmla="*/ 886743 h 1413227"/>
                <a:gd name="connsiteX563" fmla="*/ 1719902 w 2048870"/>
                <a:gd name="connsiteY563" fmla="*/ 878100 h 1413227"/>
                <a:gd name="connsiteX564" fmla="*/ 1726816 w 2048870"/>
                <a:gd name="connsiteY564" fmla="*/ 876372 h 1413227"/>
                <a:gd name="connsiteX565" fmla="*/ 1745830 w 2048870"/>
                <a:gd name="connsiteY565" fmla="*/ 860815 h 1413227"/>
                <a:gd name="connsiteX566" fmla="*/ 1751016 w 2048870"/>
                <a:gd name="connsiteY566" fmla="*/ 857358 h 1413227"/>
                <a:gd name="connsiteX567" fmla="*/ 1757930 w 2048870"/>
                <a:gd name="connsiteY567" fmla="*/ 855629 h 1413227"/>
                <a:gd name="connsiteX568" fmla="*/ 1764844 w 2048870"/>
                <a:gd name="connsiteY568" fmla="*/ 841801 h 1413227"/>
                <a:gd name="connsiteX569" fmla="*/ 1771758 w 2048870"/>
                <a:gd name="connsiteY569" fmla="*/ 836615 h 1413227"/>
                <a:gd name="connsiteX570" fmla="*/ 1776944 w 2048870"/>
                <a:gd name="connsiteY570" fmla="*/ 833158 h 1413227"/>
                <a:gd name="connsiteX571" fmla="*/ 1787315 w 2048870"/>
                <a:gd name="connsiteY571" fmla="*/ 831429 h 1413227"/>
                <a:gd name="connsiteX572" fmla="*/ 1795958 w 2048870"/>
                <a:gd name="connsiteY572" fmla="*/ 829701 h 1413227"/>
                <a:gd name="connsiteX573" fmla="*/ 1797687 w 2048870"/>
                <a:gd name="connsiteY573" fmla="*/ 824515 h 1413227"/>
                <a:gd name="connsiteX574" fmla="*/ 1825343 w 2048870"/>
                <a:gd name="connsiteY574" fmla="*/ 796859 h 1413227"/>
                <a:gd name="connsiteX575" fmla="*/ 1830529 w 2048870"/>
                <a:gd name="connsiteY575" fmla="*/ 776116 h 1413227"/>
                <a:gd name="connsiteX576" fmla="*/ 1835715 w 2048870"/>
                <a:gd name="connsiteY576" fmla="*/ 770930 h 1413227"/>
                <a:gd name="connsiteX577" fmla="*/ 1863371 w 2048870"/>
                <a:gd name="connsiteY577" fmla="*/ 760559 h 1413227"/>
                <a:gd name="connsiteX578" fmla="*/ 1868557 w 2048870"/>
                <a:gd name="connsiteY578" fmla="*/ 755373 h 1413227"/>
                <a:gd name="connsiteX579" fmla="*/ 1880657 w 2048870"/>
                <a:gd name="connsiteY579" fmla="*/ 753645 h 1413227"/>
                <a:gd name="connsiteX580" fmla="*/ 1889299 w 2048870"/>
                <a:gd name="connsiteY580" fmla="*/ 750188 h 1413227"/>
                <a:gd name="connsiteX581" fmla="*/ 1894485 w 2048870"/>
                <a:gd name="connsiteY581" fmla="*/ 731174 h 1413227"/>
                <a:gd name="connsiteX582" fmla="*/ 1910042 w 2048870"/>
                <a:gd name="connsiteY582" fmla="*/ 719074 h 1413227"/>
                <a:gd name="connsiteX583" fmla="*/ 1916956 w 2048870"/>
                <a:gd name="connsiteY583" fmla="*/ 710431 h 1413227"/>
                <a:gd name="connsiteX584" fmla="*/ 1908313 w 2048870"/>
                <a:gd name="connsiteY584" fmla="*/ 689689 h 1413227"/>
                <a:gd name="connsiteX585" fmla="*/ 1901399 w 2048870"/>
                <a:gd name="connsiteY585" fmla="*/ 675860 h 1413227"/>
                <a:gd name="connsiteX586" fmla="*/ 1897942 w 2048870"/>
                <a:gd name="connsiteY586" fmla="*/ 665489 h 1413227"/>
                <a:gd name="connsiteX587" fmla="*/ 1901399 w 2048870"/>
                <a:gd name="connsiteY587" fmla="*/ 651661 h 1413227"/>
                <a:gd name="connsiteX588" fmla="*/ 1897942 w 2048870"/>
                <a:gd name="connsiteY588" fmla="*/ 629190 h 1413227"/>
                <a:gd name="connsiteX589" fmla="*/ 1904856 w 2048870"/>
                <a:gd name="connsiteY589" fmla="*/ 624004 h 1413227"/>
                <a:gd name="connsiteX590" fmla="*/ 1910042 w 2048870"/>
                <a:gd name="connsiteY590" fmla="*/ 613633 h 1413227"/>
                <a:gd name="connsiteX591" fmla="*/ 1918685 w 2048870"/>
                <a:gd name="connsiteY591" fmla="*/ 608447 h 1413227"/>
                <a:gd name="connsiteX592" fmla="*/ 1925599 w 2048870"/>
                <a:gd name="connsiteY592" fmla="*/ 601533 h 1413227"/>
                <a:gd name="connsiteX593" fmla="*/ 1929056 w 2048870"/>
                <a:gd name="connsiteY593" fmla="*/ 587705 h 1413227"/>
                <a:gd name="connsiteX594" fmla="*/ 1932513 w 2048870"/>
                <a:gd name="connsiteY594" fmla="*/ 582519 h 1413227"/>
                <a:gd name="connsiteX595" fmla="*/ 1939427 w 2048870"/>
                <a:gd name="connsiteY595" fmla="*/ 565234 h 1413227"/>
                <a:gd name="connsiteX596" fmla="*/ 1963627 w 2048870"/>
                <a:gd name="connsiteY596" fmla="*/ 556591 h 1413227"/>
                <a:gd name="connsiteX597" fmla="*/ 1968812 w 2048870"/>
                <a:gd name="connsiteY597" fmla="*/ 547948 h 1413227"/>
                <a:gd name="connsiteX598" fmla="*/ 1986098 w 2048870"/>
                <a:gd name="connsiteY598" fmla="*/ 544491 h 1413227"/>
                <a:gd name="connsiteX599" fmla="*/ 2008569 w 2048870"/>
                <a:gd name="connsiteY599" fmla="*/ 539305 h 1413227"/>
                <a:gd name="connsiteX600" fmla="*/ 2017212 w 2048870"/>
                <a:gd name="connsiteY600" fmla="*/ 530663 h 1413227"/>
                <a:gd name="connsiteX601" fmla="*/ 2048326 w 2048870"/>
                <a:gd name="connsiteY601" fmla="*/ 525477 h 1413227"/>
                <a:gd name="connsiteX602" fmla="*/ 2043140 w 2048870"/>
                <a:gd name="connsiteY602" fmla="*/ 499549 h 1413227"/>
                <a:gd name="connsiteX603" fmla="*/ 2032769 w 2048870"/>
                <a:gd name="connsiteY603" fmla="*/ 492635 h 1413227"/>
                <a:gd name="connsiteX604" fmla="*/ 2025854 w 2048870"/>
                <a:gd name="connsiteY604" fmla="*/ 447693 h 1413227"/>
                <a:gd name="connsiteX605" fmla="*/ 2018940 w 2048870"/>
                <a:gd name="connsiteY605" fmla="*/ 428679 h 1413227"/>
                <a:gd name="connsiteX606" fmla="*/ 2015483 w 2048870"/>
                <a:gd name="connsiteY606" fmla="*/ 418307 h 1413227"/>
                <a:gd name="connsiteX607" fmla="*/ 2010298 w 2048870"/>
                <a:gd name="connsiteY607" fmla="*/ 411393 h 1413227"/>
                <a:gd name="connsiteX608" fmla="*/ 2003383 w 2048870"/>
                <a:gd name="connsiteY608" fmla="*/ 407936 h 1413227"/>
                <a:gd name="connsiteX609" fmla="*/ 1984369 w 2048870"/>
                <a:gd name="connsiteY609" fmla="*/ 404479 h 1413227"/>
                <a:gd name="connsiteX610" fmla="*/ 1977455 w 2048870"/>
                <a:gd name="connsiteY610" fmla="*/ 394108 h 1413227"/>
                <a:gd name="connsiteX611" fmla="*/ 1972270 w 2048870"/>
                <a:gd name="connsiteY611" fmla="*/ 390651 h 1413227"/>
                <a:gd name="connsiteX612" fmla="*/ 1968812 w 2048870"/>
                <a:gd name="connsiteY612" fmla="*/ 382008 h 1413227"/>
                <a:gd name="connsiteX613" fmla="*/ 1973998 w 2048870"/>
                <a:gd name="connsiteY613" fmla="*/ 366451 h 1413227"/>
                <a:gd name="connsiteX614" fmla="*/ 1982641 w 2048870"/>
                <a:gd name="connsiteY614" fmla="*/ 354351 h 1413227"/>
                <a:gd name="connsiteX615" fmla="*/ 1984369 w 2048870"/>
                <a:gd name="connsiteY615" fmla="*/ 347437 h 1413227"/>
                <a:gd name="connsiteX616" fmla="*/ 1994741 w 2048870"/>
                <a:gd name="connsiteY616" fmla="*/ 343980 h 1413227"/>
                <a:gd name="connsiteX617" fmla="*/ 1960170 w 2048870"/>
                <a:gd name="connsiteY617" fmla="*/ 337066 h 1413227"/>
                <a:gd name="connsiteX618" fmla="*/ 1958441 w 2048870"/>
                <a:gd name="connsiteY618" fmla="*/ 331880 h 1413227"/>
                <a:gd name="connsiteX619" fmla="*/ 1954984 w 2048870"/>
                <a:gd name="connsiteY619" fmla="*/ 326694 h 1413227"/>
                <a:gd name="connsiteX620" fmla="*/ 1958441 w 2048870"/>
                <a:gd name="connsiteY620" fmla="*/ 318052 h 1413227"/>
                <a:gd name="connsiteX621" fmla="*/ 1963627 w 2048870"/>
                <a:gd name="connsiteY621" fmla="*/ 311138 h 1413227"/>
                <a:gd name="connsiteX622" fmla="*/ 1967084 w 2048870"/>
                <a:gd name="connsiteY622" fmla="*/ 305952 h 1413227"/>
                <a:gd name="connsiteX623" fmla="*/ 1968812 w 2048870"/>
                <a:gd name="connsiteY623" fmla="*/ 299038 h 1413227"/>
                <a:gd name="connsiteX624" fmla="*/ 1973998 w 2048870"/>
                <a:gd name="connsiteY624" fmla="*/ 293852 h 1413227"/>
                <a:gd name="connsiteX625" fmla="*/ 1975727 w 2048870"/>
                <a:gd name="connsiteY625" fmla="*/ 269652 h 1413227"/>
                <a:gd name="connsiteX626" fmla="*/ 1970541 w 2048870"/>
                <a:gd name="connsiteY626" fmla="*/ 255824 h 1413227"/>
                <a:gd name="connsiteX627" fmla="*/ 1968812 w 2048870"/>
                <a:gd name="connsiteY627" fmla="*/ 250638 h 1413227"/>
                <a:gd name="connsiteX628" fmla="*/ 1967084 w 2048870"/>
                <a:gd name="connsiteY628" fmla="*/ 243724 h 1413227"/>
                <a:gd name="connsiteX629" fmla="*/ 1963627 w 2048870"/>
                <a:gd name="connsiteY629" fmla="*/ 238539 h 1413227"/>
                <a:gd name="connsiteX630" fmla="*/ 1965355 w 2048870"/>
                <a:gd name="connsiteY630" fmla="*/ 216068 h 1413227"/>
                <a:gd name="connsiteX631" fmla="*/ 1961898 w 2048870"/>
                <a:gd name="connsiteY631" fmla="*/ 209153 h 1413227"/>
                <a:gd name="connsiteX632" fmla="*/ 1954984 w 2048870"/>
                <a:gd name="connsiteY632" fmla="*/ 216068 h 1413227"/>
                <a:gd name="connsiteX633" fmla="*/ 1948070 w 2048870"/>
                <a:gd name="connsiteY633" fmla="*/ 217796 h 1413227"/>
                <a:gd name="connsiteX634" fmla="*/ 1937699 w 2048870"/>
                <a:gd name="connsiteY634" fmla="*/ 226439 h 1413227"/>
                <a:gd name="connsiteX635" fmla="*/ 1932513 w 2048870"/>
                <a:gd name="connsiteY635" fmla="*/ 228167 h 1413227"/>
                <a:gd name="connsiteX636" fmla="*/ 1922142 w 2048870"/>
                <a:gd name="connsiteY636" fmla="*/ 235082 h 1413227"/>
                <a:gd name="connsiteX637" fmla="*/ 1906585 w 2048870"/>
                <a:gd name="connsiteY637" fmla="*/ 231624 h 1413227"/>
                <a:gd name="connsiteX638" fmla="*/ 1885842 w 2048870"/>
                <a:gd name="connsiteY638" fmla="*/ 222982 h 1413227"/>
                <a:gd name="connsiteX639" fmla="*/ 1878928 w 2048870"/>
                <a:gd name="connsiteY639" fmla="*/ 224710 h 1413227"/>
                <a:gd name="connsiteX640" fmla="*/ 1868557 w 2048870"/>
                <a:gd name="connsiteY640" fmla="*/ 233353 h 1413227"/>
                <a:gd name="connsiteX641" fmla="*/ 1847814 w 2048870"/>
                <a:gd name="connsiteY641" fmla="*/ 221253 h 1413227"/>
                <a:gd name="connsiteX642" fmla="*/ 1839172 w 2048870"/>
                <a:gd name="connsiteY642" fmla="*/ 217796 h 1413227"/>
                <a:gd name="connsiteX643" fmla="*/ 1832257 w 2048870"/>
                <a:gd name="connsiteY643" fmla="*/ 214339 h 1413227"/>
                <a:gd name="connsiteX644" fmla="*/ 1823615 w 2048870"/>
                <a:gd name="connsiteY644" fmla="*/ 224710 h 1413227"/>
                <a:gd name="connsiteX645" fmla="*/ 1816701 w 2048870"/>
                <a:gd name="connsiteY645" fmla="*/ 229896 h 1413227"/>
                <a:gd name="connsiteX646" fmla="*/ 1787315 w 2048870"/>
                <a:gd name="connsiteY646" fmla="*/ 221253 h 1413227"/>
                <a:gd name="connsiteX647" fmla="*/ 1759659 w 2048870"/>
                <a:gd name="connsiteY647" fmla="*/ 222982 h 1413227"/>
                <a:gd name="connsiteX648" fmla="*/ 1754473 w 2048870"/>
                <a:gd name="connsiteY648" fmla="*/ 224710 h 1413227"/>
                <a:gd name="connsiteX649" fmla="*/ 1735459 w 2048870"/>
                <a:gd name="connsiteY649" fmla="*/ 222982 h 1413227"/>
                <a:gd name="connsiteX650" fmla="*/ 1728545 w 2048870"/>
                <a:gd name="connsiteY650" fmla="*/ 217796 h 1413227"/>
                <a:gd name="connsiteX651" fmla="*/ 1721631 w 2048870"/>
                <a:gd name="connsiteY651" fmla="*/ 207425 h 1413227"/>
                <a:gd name="connsiteX652" fmla="*/ 1712988 w 2048870"/>
                <a:gd name="connsiteY652" fmla="*/ 235082 h 1413227"/>
                <a:gd name="connsiteX653" fmla="*/ 1706074 w 2048870"/>
                <a:gd name="connsiteY653" fmla="*/ 250638 h 1413227"/>
                <a:gd name="connsiteX654" fmla="*/ 1692245 w 2048870"/>
                <a:gd name="connsiteY654" fmla="*/ 236810 h 1413227"/>
                <a:gd name="connsiteX655" fmla="*/ 1645575 w 2048870"/>
                <a:gd name="connsiteY655" fmla="*/ 224710 h 1413227"/>
                <a:gd name="connsiteX656" fmla="*/ 1640389 w 2048870"/>
                <a:gd name="connsiteY656" fmla="*/ 217796 h 1413227"/>
                <a:gd name="connsiteX657" fmla="*/ 1638661 w 2048870"/>
                <a:gd name="connsiteY657" fmla="*/ 212610 h 1413227"/>
                <a:gd name="connsiteX658" fmla="*/ 1623104 w 2048870"/>
                <a:gd name="connsiteY658" fmla="*/ 195325 h 1413227"/>
                <a:gd name="connsiteX659" fmla="*/ 1609275 w 2048870"/>
                <a:gd name="connsiteY659" fmla="*/ 191868 h 1413227"/>
                <a:gd name="connsiteX660" fmla="*/ 1600633 w 2048870"/>
                <a:gd name="connsiteY660" fmla="*/ 200511 h 1413227"/>
                <a:gd name="connsiteX661" fmla="*/ 1595447 w 2048870"/>
                <a:gd name="connsiteY661" fmla="*/ 202239 h 1413227"/>
                <a:gd name="connsiteX662" fmla="*/ 1574704 w 2048870"/>
                <a:gd name="connsiteY662" fmla="*/ 209153 h 1413227"/>
                <a:gd name="connsiteX663" fmla="*/ 1569519 w 2048870"/>
                <a:gd name="connsiteY663" fmla="*/ 214339 h 1413227"/>
                <a:gd name="connsiteX664" fmla="*/ 1564333 w 2048870"/>
                <a:gd name="connsiteY664" fmla="*/ 217796 h 1413227"/>
                <a:gd name="connsiteX665" fmla="*/ 1560876 w 2048870"/>
                <a:gd name="connsiteY665" fmla="*/ 224710 h 1413227"/>
                <a:gd name="connsiteX666" fmla="*/ 1543591 w 2048870"/>
                <a:gd name="connsiteY666" fmla="*/ 238539 h 1413227"/>
                <a:gd name="connsiteX667" fmla="*/ 1536676 w 2048870"/>
                <a:gd name="connsiteY667" fmla="*/ 245453 h 1413227"/>
                <a:gd name="connsiteX668" fmla="*/ 1534948 w 2048870"/>
                <a:gd name="connsiteY668" fmla="*/ 250638 h 1413227"/>
                <a:gd name="connsiteX669" fmla="*/ 1536676 w 2048870"/>
                <a:gd name="connsiteY669" fmla="*/ 255824 h 1413227"/>
                <a:gd name="connsiteX670" fmla="*/ 1510748 w 2048870"/>
                <a:gd name="connsiteY670" fmla="*/ 259281 h 1413227"/>
                <a:gd name="connsiteX671" fmla="*/ 1500377 w 2048870"/>
                <a:gd name="connsiteY671" fmla="*/ 252367 h 1413227"/>
                <a:gd name="connsiteX672" fmla="*/ 1472720 w 2048870"/>
                <a:gd name="connsiteY672" fmla="*/ 252367 h 1413227"/>
                <a:gd name="connsiteX673" fmla="*/ 1455435 w 2048870"/>
                <a:gd name="connsiteY673" fmla="*/ 254096 h 1413227"/>
                <a:gd name="connsiteX674" fmla="*/ 1446792 w 2048870"/>
                <a:gd name="connsiteY674" fmla="*/ 261010 h 1413227"/>
                <a:gd name="connsiteX675" fmla="*/ 1441606 w 2048870"/>
                <a:gd name="connsiteY675" fmla="*/ 267924 h 1413227"/>
                <a:gd name="connsiteX676" fmla="*/ 1438149 w 2048870"/>
                <a:gd name="connsiteY676" fmla="*/ 273110 h 1413227"/>
                <a:gd name="connsiteX677" fmla="*/ 1432964 w 2048870"/>
                <a:gd name="connsiteY677" fmla="*/ 274838 h 1413227"/>
                <a:gd name="connsiteX678" fmla="*/ 1419135 w 2048870"/>
                <a:gd name="connsiteY678" fmla="*/ 281752 h 1413227"/>
                <a:gd name="connsiteX679" fmla="*/ 1412221 w 2048870"/>
                <a:gd name="connsiteY679" fmla="*/ 278295 h 1413227"/>
                <a:gd name="connsiteX680" fmla="*/ 1408764 w 2048870"/>
                <a:gd name="connsiteY680" fmla="*/ 273110 h 1413227"/>
                <a:gd name="connsiteX681" fmla="*/ 1400121 w 2048870"/>
                <a:gd name="connsiteY681" fmla="*/ 257553 h 1413227"/>
                <a:gd name="connsiteX682" fmla="*/ 1394936 w 2048870"/>
                <a:gd name="connsiteY682" fmla="*/ 254096 h 1413227"/>
                <a:gd name="connsiteX683" fmla="*/ 1386293 w 2048870"/>
                <a:gd name="connsiteY683" fmla="*/ 243724 h 1413227"/>
                <a:gd name="connsiteX684" fmla="*/ 1381107 w 2048870"/>
                <a:gd name="connsiteY684" fmla="*/ 212610 h 1413227"/>
                <a:gd name="connsiteX685" fmla="*/ 1370736 w 2048870"/>
                <a:gd name="connsiteY685" fmla="*/ 202239 h 1413227"/>
                <a:gd name="connsiteX686" fmla="*/ 1363822 w 2048870"/>
                <a:gd name="connsiteY686" fmla="*/ 200511 h 1413227"/>
                <a:gd name="connsiteX687" fmla="*/ 1358636 w 2048870"/>
                <a:gd name="connsiteY687" fmla="*/ 193596 h 1413227"/>
                <a:gd name="connsiteX688" fmla="*/ 1349994 w 2048870"/>
                <a:gd name="connsiteY688" fmla="*/ 178040 h 1413227"/>
                <a:gd name="connsiteX689" fmla="*/ 1337894 w 2048870"/>
                <a:gd name="connsiteY689" fmla="*/ 167668 h 1413227"/>
                <a:gd name="connsiteX690" fmla="*/ 1298137 w 2048870"/>
                <a:gd name="connsiteY690" fmla="*/ 169397 h 1413227"/>
                <a:gd name="connsiteX691" fmla="*/ 1284309 w 2048870"/>
                <a:gd name="connsiteY691" fmla="*/ 179768 h 1413227"/>
                <a:gd name="connsiteX692" fmla="*/ 1268752 w 2048870"/>
                <a:gd name="connsiteY692" fmla="*/ 181497 h 1413227"/>
                <a:gd name="connsiteX693" fmla="*/ 1251467 w 2048870"/>
                <a:gd name="connsiteY693" fmla="*/ 174583 h 1413227"/>
                <a:gd name="connsiteX694" fmla="*/ 1241095 w 2048870"/>
                <a:gd name="connsiteY694" fmla="*/ 164211 h 1413227"/>
                <a:gd name="connsiteX695" fmla="*/ 1230724 w 2048870"/>
                <a:gd name="connsiteY695" fmla="*/ 160754 h 1413227"/>
                <a:gd name="connsiteX696" fmla="*/ 1215167 w 2048870"/>
                <a:gd name="connsiteY696" fmla="*/ 146926 h 1413227"/>
                <a:gd name="connsiteX697" fmla="*/ 1213439 w 2048870"/>
                <a:gd name="connsiteY697" fmla="*/ 140012 h 1413227"/>
                <a:gd name="connsiteX698" fmla="*/ 1206524 w 2048870"/>
                <a:gd name="connsiteY698" fmla="*/ 131369 h 1413227"/>
                <a:gd name="connsiteX699" fmla="*/ 1204796 w 2048870"/>
                <a:gd name="connsiteY699" fmla="*/ 122726 h 1413227"/>
                <a:gd name="connsiteX700" fmla="*/ 1190968 w 2048870"/>
                <a:gd name="connsiteY700" fmla="*/ 117541 h 1413227"/>
                <a:gd name="connsiteX701" fmla="*/ 1201339 w 2048870"/>
                <a:gd name="connsiteY701" fmla="*/ 105441 h 1413227"/>
                <a:gd name="connsiteX702" fmla="*/ 1208253 w 2048870"/>
                <a:gd name="connsiteY702" fmla="*/ 101984 h 1413227"/>
                <a:gd name="connsiteX703" fmla="*/ 1213439 w 2048870"/>
                <a:gd name="connsiteY703" fmla="*/ 95069 h 1413227"/>
                <a:gd name="connsiteX704" fmla="*/ 1218624 w 2048870"/>
                <a:gd name="connsiteY704" fmla="*/ 89884 h 1413227"/>
                <a:gd name="connsiteX705" fmla="*/ 1216896 w 2048870"/>
                <a:gd name="connsiteY705" fmla="*/ 84698 h 1413227"/>
                <a:gd name="connsiteX706" fmla="*/ 1206524 w 2048870"/>
                <a:gd name="connsiteY706" fmla="*/ 81241 h 1413227"/>
                <a:gd name="connsiteX707" fmla="*/ 1190968 w 2048870"/>
                <a:gd name="connsiteY707" fmla="*/ 76055 h 1413227"/>
                <a:gd name="connsiteX708" fmla="*/ 1175411 w 2048870"/>
                <a:gd name="connsiteY708" fmla="*/ 60499 h 1413227"/>
                <a:gd name="connsiteX709" fmla="*/ 1168496 w 2048870"/>
                <a:gd name="connsiteY709" fmla="*/ 53584 h 1413227"/>
                <a:gd name="connsiteX710" fmla="*/ 1165039 w 2048870"/>
                <a:gd name="connsiteY710" fmla="*/ 46670 h 1413227"/>
                <a:gd name="connsiteX711" fmla="*/ 1159854 w 2048870"/>
                <a:gd name="connsiteY711" fmla="*/ 39756 h 1413227"/>
                <a:gd name="connsiteX712" fmla="*/ 1151211 w 2048870"/>
                <a:gd name="connsiteY712" fmla="*/ 27656 h 1413227"/>
                <a:gd name="connsiteX713" fmla="*/ 1146025 w 2048870"/>
                <a:gd name="connsiteY713" fmla="*/ 24199 h 1413227"/>
                <a:gd name="connsiteX714" fmla="*/ 1140840 w 2048870"/>
                <a:gd name="connsiteY714" fmla="*/ 17285 h 1413227"/>
                <a:gd name="connsiteX715" fmla="*/ 1123554 w 2048870"/>
                <a:gd name="connsiteY715" fmla="*/ 3457 h 1413227"/>
                <a:gd name="connsiteX716" fmla="*/ 1116640 w 2048870"/>
                <a:gd name="connsiteY716" fmla="*/ 0 h 1413227"/>
                <a:gd name="connsiteX717" fmla="*/ 1102812 w 2048870"/>
                <a:gd name="connsiteY717" fmla="*/ 1728 h 1413227"/>
                <a:gd name="connsiteX718" fmla="*/ 1097626 w 2048870"/>
                <a:gd name="connsiteY718" fmla="*/ 3457 h 1413227"/>
                <a:gd name="connsiteX719" fmla="*/ 1090712 w 2048870"/>
                <a:gd name="connsiteY719" fmla="*/ 5185 h 1413227"/>
                <a:gd name="connsiteX720" fmla="*/ 1071698 w 2048870"/>
                <a:gd name="connsiteY720" fmla="*/ 17285 h 1413227"/>
                <a:gd name="connsiteX721" fmla="*/ 1056141 w 2048870"/>
                <a:gd name="connsiteY721" fmla="*/ 15556 h 1413227"/>
                <a:gd name="connsiteX722" fmla="*/ 1050955 w 2048870"/>
                <a:gd name="connsiteY722" fmla="*/ 19014 h 1413227"/>
                <a:gd name="connsiteX723" fmla="*/ 1042313 w 2048870"/>
                <a:gd name="connsiteY723" fmla="*/ 27656 h 1413227"/>
                <a:gd name="connsiteX724" fmla="*/ 1028484 w 2048870"/>
                <a:gd name="connsiteY724" fmla="*/ 38027 h 1413227"/>
                <a:gd name="connsiteX725" fmla="*/ 1025027 w 2048870"/>
                <a:gd name="connsiteY725" fmla="*/ 41485 h 1413227"/>
                <a:gd name="connsiteX726" fmla="*/ 1016385 w 2048870"/>
                <a:gd name="connsiteY726" fmla="*/ 46670 h 1413227"/>
                <a:gd name="connsiteX727" fmla="*/ 1012927 w 2048870"/>
                <a:gd name="connsiteY727" fmla="*/ 50127 h 1413227"/>
                <a:gd name="connsiteX728" fmla="*/ 997371 w 2048870"/>
                <a:gd name="connsiteY728" fmla="*/ 57041 h 1413227"/>
                <a:gd name="connsiteX729" fmla="*/ 973171 w 2048870"/>
                <a:gd name="connsiteY729" fmla="*/ 58770 h 1413227"/>
                <a:gd name="connsiteX730" fmla="*/ 967985 w 2048870"/>
                <a:gd name="connsiteY730" fmla="*/ 62227 h 1413227"/>
                <a:gd name="connsiteX731" fmla="*/ 966257 w 2048870"/>
                <a:gd name="connsiteY731" fmla="*/ 79513 h 1413227"/>
                <a:gd name="connsiteX732" fmla="*/ 962800 w 2048870"/>
                <a:gd name="connsiteY732" fmla="*/ 103712 h 1413227"/>
                <a:gd name="connsiteX733" fmla="*/ 961071 w 2048870"/>
                <a:gd name="connsiteY733" fmla="*/ 112355 h 1413227"/>
                <a:gd name="connsiteX734" fmla="*/ 916129 w 2048870"/>
                <a:gd name="connsiteY734" fmla="*/ 115812 h 1413227"/>
                <a:gd name="connsiteX735" fmla="*/ 910943 w 2048870"/>
                <a:gd name="connsiteY735" fmla="*/ 119269 h 1413227"/>
                <a:gd name="connsiteX736" fmla="*/ 905758 w 2048870"/>
                <a:gd name="connsiteY736" fmla="*/ 120998 h 1413227"/>
                <a:gd name="connsiteX737" fmla="*/ 893658 w 2048870"/>
                <a:gd name="connsiteY737" fmla="*/ 124455 h 1413227"/>
                <a:gd name="connsiteX738" fmla="*/ 888472 w 2048870"/>
                <a:gd name="connsiteY738" fmla="*/ 126183 h 1413227"/>
                <a:gd name="connsiteX739" fmla="*/ 895386 w 2048870"/>
                <a:gd name="connsiteY739" fmla="*/ 124455 h 1413227"/>
                <a:gd name="connsiteX740" fmla="*/ 904029 w 2048870"/>
                <a:gd name="connsiteY740" fmla="*/ 115812 h 1413227"/>
                <a:gd name="connsiteX741" fmla="*/ 966257 w 2048870"/>
                <a:gd name="connsiteY741" fmla="*/ 63956 h 1413227"/>
                <a:gd name="connsiteX0" fmla="*/ 966257 w 2048870"/>
                <a:gd name="connsiteY0" fmla="*/ 63956 h 1413227"/>
                <a:gd name="connsiteX1" fmla="*/ 962800 w 2048870"/>
                <a:gd name="connsiteY1" fmla="*/ 72598 h 1413227"/>
                <a:gd name="connsiteX2" fmla="*/ 919586 w 2048870"/>
                <a:gd name="connsiteY2" fmla="*/ 114083 h 1413227"/>
                <a:gd name="connsiteX3" fmla="*/ 902301 w 2048870"/>
                <a:gd name="connsiteY3" fmla="*/ 120998 h 1413227"/>
                <a:gd name="connsiteX4" fmla="*/ 885015 w 2048870"/>
                <a:gd name="connsiteY4" fmla="*/ 122726 h 1413227"/>
                <a:gd name="connsiteX5" fmla="*/ 878101 w 2048870"/>
                <a:gd name="connsiteY5" fmla="*/ 129640 h 1413227"/>
                <a:gd name="connsiteX6" fmla="*/ 855630 w 2048870"/>
                <a:gd name="connsiteY6" fmla="*/ 140012 h 1413227"/>
                <a:gd name="connsiteX7" fmla="*/ 850444 w 2048870"/>
                <a:gd name="connsiteY7" fmla="*/ 145197 h 1413227"/>
                <a:gd name="connsiteX8" fmla="*/ 831430 w 2048870"/>
                <a:gd name="connsiteY8" fmla="*/ 146926 h 1413227"/>
                <a:gd name="connsiteX9" fmla="*/ 808923 w 2048870"/>
                <a:gd name="connsiteY9" fmla="*/ 195183 h 1413227"/>
                <a:gd name="connsiteX10" fmla="*/ 817602 w 2048870"/>
                <a:gd name="connsiteY10" fmla="*/ 247181 h 1413227"/>
                <a:gd name="connsiteX11" fmla="*/ 821059 w 2048870"/>
                <a:gd name="connsiteY11" fmla="*/ 255824 h 1413227"/>
                <a:gd name="connsiteX12" fmla="*/ 826245 w 2048870"/>
                <a:gd name="connsiteY12" fmla="*/ 259281 h 1413227"/>
                <a:gd name="connsiteX13" fmla="*/ 833159 w 2048870"/>
                <a:gd name="connsiteY13" fmla="*/ 267924 h 1413227"/>
                <a:gd name="connsiteX14" fmla="*/ 836616 w 2048870"/>
                <a:gd name="connsiteY14" fmla="*/ 280024 h 1413227"/>
                <a:gd name="connsiteX15" fmla="*/ 834887 w 2048870"/>
                <a:gd name="connsiteY15" fmla="*/ 295581 h 1413227"/>
                <a:gd name="connsiteX16" fmla="*/ 821059 w 2048870"/>
                <a:gd name="connsiteY16" fmla="*/ 299038 h 1413227"/>
                <a:gd name="connsiteX17" fmla="*/ 800316 w 2048870"/>
                <a:gd name="connsiteY17" fmla="*/ 295581 h 1413227"/>
                <a:gd name="connsiteX18" fmla="*/ 786488 w 2048870"/>
                <a:gd name="connsiteY18" fmla="*/ 286938 h 1413227"/>
                <a:gd name="connsiteX19" fmla="*/ 781302 w 2048870"/>
                <a:gd name="connsiteY19" fmla="*/ 285209 h 1413227"/>
                <a:gd name="connsiteX20" fmla="*/ 774388 w 2048870"/>
                <a:gd name="connsiteY20" fmla="*/ 278295 h 1413227"/>
                <a:gd name="connsiteX21" fmla="*/ 767474 w 2048870"/>
                <a:gd name="connsiteY21" fmla="*/ 285209 h 1413227"/>
                <a:gd name="connsiteX22" fmla="*/ 758831 w 2048870"/>
                <a:gd name="connsiteY22" fmla="*/ 286938 h 1413227"/>
                <a:gd name="connsiteX23" fmla="*/ 751917 w 2048870"/>
                <a:gd name="connsiteY23" fmla="*/ 288666 h 1413227"/>
                <a:gd name="connsiteX24" fmla="*/ 746732 w 2048870"/>
                <a:gd name="connsiteY24" fmla="*/ 290395 h 1413227"/>
                <a:gd name="connsiteX25" fmla="*/ 722532 w 2048870"/>
                <a:gd name="connsiteY25" fmla="*/ 292124 h 1413227"/>
                <a:gd name="connsiteX26" fmla="*/ 720803 w 2048870"/>
                <a:gd name="connsiteY26" fmla="*/ 297309 h 1413227"/>
                <a:gd name="connsiteX27" fmla="*/ 701789 w 2048870"/>
                <a:gd name="connsiteY27" fmla="*/ 312866 h 1413227"/>
                <a:gd name="connsiteX28" fmla="*/ 686233 w 2048870"/>
                <a:gd name="connsiteY28" fmla="*/ 305952 h 1413227"/>
                <a:gd name="connsiteX29" fmla="*/ 684504 w 2048870"/>
                <a:gd name="connsiteY29" fmla="*/ 300766 h 1413227"/>
                <a:gd name="connsiteX30" fmla="*/ 681047 w 2048870"/>
                <a:gd name="connsiteY30" fmla="*/ 285209 h 1413227"/>
                <a:gd name="connsiteX31" fmla="*/ 649933 w 2048870"/>
                <a:gd name="connsiteY31" fmla="*/ 288666 h 1413227"/>
                <a:gd name="connsiteX32" fmla="*/ 646476 w 2048870"/>
                <a:gd name="connsiteY32" fmla="*/ 299038 h 1413227"/>
                <a:gd name="connsiteX33" fmla="*/ 639562 w 2048870"/>
                <a:gd name="connsiteY33" fmla="*/ 314595 h 1413227"/>
                <a:gd name="connsiteX34" fmla="*/ 634376 w 2048870"/>
                <a:gd name="connsiteY34" fmla="*/ 326694 h 1413227"/>
                <a:gd name="connsiteX35" fmla="*/ 629191 w 2048870"/>
                <a:gd name="connsiteY35" fmla="*/ 328423 h 1413227"/>
                <a:gd name="connsiteX36" fmla="*/ 613634 w 2048870"/>
                <a:gd name="connsiteY36" fmla="*/ 323237 h 1413227"/>
                <a:gd name="connsiteX37" fmla="*/ 601534 w 2048870"/>
                <a:gd name="connsiteY37" fmla="*/ 311138 h 1413227"/>
                <a:gd name="connsiteX38" fmla="*/ 572149 w 2048870"/>
                <a:gd name="connsiteY38" fmla="*/ 309409 h 1413227"/>
                <a:gd name="connsiteX39" fmla="*/ 566963 w 2048870"/>
                <a:gd name="connsiteY39" fmla="*/ 295581 h 1413227"/>
                <a:gd name="connsiteX40" fmla="*/ 563506 w 2048870"/>
                <a:gd name="connsiteY40" fmla="*/ 300766 h 1413227"/>
                <a:gd name="connsiteX41" fmla="*/ 558320 w 2048870"/>
                <a:gd name="connsiteY41" fmla="*/ 307680 h 1413227"/>
                <a:gd name="connsiteX42" fmla="*/ 549678 w 2048870"/>
                <a:gd name="connsiteY42" fmla="*/ 321509 h 1413227"/>
                <a:gd name="connsiteX43" fmla="*/ 509921 w 2048870"/>
                <a:gd name="connsiteY43" fmla="*/ 324966 h 1413227"/>
                <a:gd name="connsiteX44" fmla="*/ 515107 w 2048870"/>
                <a:gd name="connsiteY44" fmla="*/ 328423 h 1413227"/>
                <a:gd name="connsiteX45" fmla="*/ 525478 w 2048870"/>
                <a:gd name="connsiteY45" fmla="*/ 331880 h 1413227"/>
                <a:gd name="connsiteX46" fmla="*/ 523749 w 2048870"/>
                <a:gd name="connsiteY46" fmla="*/ 337066 h 1413227"/>
                <a:gd name="connsiteX47" fmla="*/ 516835 w 2048870"/>
                <a:gd name="connsiteY47" fmla="*/ 343980 h 1413227"/>
                <a:gd name="connsiteX48" fmla="*/ 511650 w 2048870"/>
                <a:gd name="connsiteY48" fmla="*/ 323237 h 1413227"/>
                <a:gd name="connsiteX49" fmla="*/ 483993 w 2048870"/>
                <a:gd name="connsiteY49" fmla="*/ 333609 h 1413227"/>
                <a:gd name="connsiteX50" fmla="*/ 478807 w 2048870"/>
                <a:gd name="connsiteY50" fmla="*/ 338794 h 1413227"/>
                <a:gd name="connsiteX51" fmla="*/ 466707 w 2048870"/>
                <a:gd name="connsiteY51" fmla="*/ 337066 h 1413227"/>
                <a:gd name="connsiteX52" fmla="*/ 463250 w 2048870"/>
                <a:gd name="connsiteY52" fmla="*/ 324966 h 1413227"/>
                <a:gd name="connsiteX53" fmla="*/ 454608 w 2048870"/>
                <a:gd name="connsiteY53" fmla="*/ 312866 h 1413227"/>
                <a:gd name="connsiteX54" fmla="*/ 449422 w 2048870"/>
                <a:gd name="connsiteY54" fmla="*/ 311138 h 1413227"/>
                <a:gd name="connsiteX55" fmla="*/ 425222 w 2048870"/>
                <a:gd name="connsiteY55" fmla="*/ 314595 h 1413227"/>
                <a:gd name="connsiteX56" fmla="*/ 273110 w 2048870"/>
                <a:gd name="connsiteY56" fmla="*/ 316323 h 1413227"/>
                <a:gd name="connsiteX57" fmla="*/ 262739 w 2048870"/>
                <a:gd name="connsiteY57" fmla="*/ 323237 h 1413227"/>
                <a:gd name="connsiteX58" fmla="*/ 255825 w 2048870"/>
                <a:gd name="connsiteY58" fmla="*/ 324966 h 1413227"/>
                <a:gd name="connsiteX59" fmla="*/ 250639 w 2048870"/>
                <a:gd name="connsiteY59" fmla="*/ 326694 h 1413227"/>
                <a:gd name="connsiteX60" fmla="*/ 238540 w 2048870"/>
                <a:gd name="connsiteY60" fmla="*/ 330152 h 1413227"/>
                <a:gd name="connsiteX61" fmla="*/ 200512 w 2048870"/>
                <a:gd name="connsiteY61" fmla="*/ 333609 h 1413227"/>
                <a:gd name="connsiteX62" fmla="*/ 188412 w 2048870"/>
                <a:gd name="connsiteY62" fmla="*/ 338794 h 1413227"/>
                <a:gd name="connsiteX63" fmla="*/ 176312 w 2048870"/>
                <a:gd name="connsiteY63" fmla="*/ 342251 h 1413227"/>
                <a:gd name="connsiteX64" fmla="*/ 146927 w 2048870"/>
                <a:gd name="connsiteY64" fmla="*/ 356080 h 1413227"/>
                <a:gd name="connsiteX65" fmla="*/ 138284 w 2048870"/>
                <a:gd name="connsiteY65" fmla="*/ 357808 h 1413227"/>
                <a:gd name="connsiteX66" fmla="*/ 136555 w 2048870"/>
                <a:gd name="connsiteY66" fmla="*/ 364722 h 1413227"/>
                <a:gd name="connsiteX67" fmla="*/ 134827 w 2048870"/>
                <a:gd name="connsiteY67" fmla="*/ 380279 h 1413227"/>
                <a:gd name="connsiteX68" fmla="*/ 127913 w 2048870"/>
                <a:gd name="connsiteY68" fmla="*/ 387193 h 1413227"/>
                <a:gd name="connsiteX69" fmla="*/ 126184 w 2048870"/>
                <a:gd name="connsiteY69" fmla="*/ 394108 h 1413227"/>
                <a:gd name="connsiteX70" fmla="*/ 124456 w 2048870"/>
                <a:gd name="connsiteY70" fmla="*/ 402750 h 1413227"/>
                <a:gd name="connsiteX71" fmla="*/ 117541 w 2048870"/>
                <a:gd name="connsiteY71" fmla="*/ 407936 h 1413227"/>
                <a:gd name="connsiteX72" fmla="*/ 105442 w 2048870"/>
                <a:gd name="connsiteY72" fmla="*/ 411393 h 1413227"/>
                <a:gd name="connsiteX73" fmla="*/ 100256 w 2048870"/>
                <a:gd name="connsiteY73" fmla="*/ 413122 h 1413227"/>
                <a:gd name="connsiteX74" fmla="*/ 70871 w 2048870"/>
                <a:gd name="connsiteY74" fmla="*/ 421764 h 1413227"/>
                <a:gd name="connsiteX75" fmla="*/ 67414 w 2048870"/>
                <a:gd name="connsiteY75" fmla="*/ 428679 h 1413227"/>
                <a:gd name="connsiteX76" fmla="*/ 69142 w 2048870"/>
                <a:gd name="connsiteY76" fmla="*/ 440778 h 1413227"/>
                <a:gd name="connsiteX77" fmla="*/ 65685 w 2048870"/>
                <a:gd name="connsiteY77" fmla="*/ 445964 h 1413227"/>
                <a:gd name="connsiteX78" fmla="*/ 63957 w 2048870"/>
                <a:gd name="connsiteY78" fmla="*/ 452878 h 1413227"/>
                <a:gd name="connsiteX79" fmla="*/ 69142 w 2048870"/>
                <a:gd name="connsiteY79" fmla="*/ 456335 h 1413227"/>
                <a:gd name="connsiteX80" fmla="*/ 74328 w 2048870"/>
                <a:gd name="connsiteY80" fmla="*/ 458064 h 1413227"/>
                <a:gd name="connsiteX81" fmla="*/ 84699 w 2048870"/>
                <a:gd name="connsiteY81" fmla="*/ 466707 h 1413227"/>
                <a:gd name="connsiteX82" fmla="*/ 81242 w 2048870"/>
                <a:gd name="connsiteY82" fmla="*/ 473621 h 1413227"/>
                <a:gd name="connsiteX83" fmla="*/ 77785 w 2048870"/>
                <a:gd name="connsiteY83" fmla="*/ 478806 h 1413227"/>
                <a:gd name="connsiteX84" fmla="*/ 79513 w 2048870"/>
                <a:gd name="connsiteY84" fmla="*/ 485721 h 1413227"/>
                <a:gd name="connsiteX85" fmla="*/ 72599 w 2048870"/>
                <a:gd name="connsiteY85" fmla="*/ 489178 h 1413227"/>
                <a:gd name="connsiteX86" fmla="*/ 63957 w 2048870"/>
                <a:gd name="connsiteY86" fmla="*/ 487449 h 1413227"/>
                <a:gd name="connsiteX87" fmla="*/ 76056 w 2048870"/>
                <a:gd name="connsiteY87" fmla="*/ 485721 h 1413227"/>
                <a:gd name="connsiteX88" fmla="*/ 86428 w 2048870"/>
                <a:gd name="connsiteY88" fmla="*/ 483992 h 1413227"/>
                <a:gd name="connsiteX89" fmla="*/ 84699 w 2048870"/>
                <a:gd name="connsiteY89" fmla="*/ 494363 h 1413227"/>
                <a:gd name="connsiteX90" fmla="*/ 86428 w 2048870"/>
                <a:gd name="connsiteY90" fmla="*/ 501277 h 1413227"/>
                <a:gd name="connsiteX91" fmla="*/ 96799 w 2048870"/>
                <a:gd name="connsiteY91" fmla="*/ 515106 h 1413227"/>
                <a:gd name="connsiteX92" fmla="*/ 101985 w 2048870"/>
                <a:gd name="connsiteY92" fmla="*/ 516834 h 1413227"/>
                <a:gd name="connsiteX93" fmla="*/ 114084 w 2048870"/>
                <a:gd name="connsiteY93" fmla="*/ 520291 h 1413227"/>
                <a:gd name="connsiteX94" fmla="*/ 119270 w 2048870"/>
                <a:gd name="connsiteY94" fmla="*/ 525477 h 1413227"/>
                <a:gd name="connsiteX95" fmla="*/ 133098 w 2048870"/>
                <a:gd name="connsiteY95" fmla="*/ 535848 h 1413227"/>
                <a:gd name="connsiteX96" fmla="*/ 136555 w 2048870"/>
                <a:gd name="connsiteY96" fmla="*/ 542762 h 1413227"/>
                <a:gd name="connsiteX97" fmla="*/ 134827 w 2048870"/>
                <a:gd name="connsiteY97" fmla="*/ 572148 h 1413227"/>
                <a:gd name="connsiteX98" fmla="*/ 140012 w 2048870"/>
                <a:gd name="connsiteY98" fmla="*/ 573876 h 1413227"/>
                <a:gd name="connsiteX99" fmla="*/ 143470 w 2048870"/>
                <a:gd name="connsiteY99" fmla="*/ 577333 h 1413227"/>
                <a:gd name="connsiteX100" fmla="*/ 146927 w 2048870"/>
                <a:gd name="connsiteY100" fmla="*/ 589433 h 1413227"/>
                <a:gd name="connsiteX101" fmla="*/ 150384 w 2048870"/>
                <a:gd name="connsiteY101" fmla="*/ 598076 h 1413227"/>
                <a:gd name="connsiteX102" fmla="*/ 148655 w 2048870"/>
                <a:gd name="connsiteY102" fmla="*/ 617090 h 1413227"/>
                <a:gd name="connsiteX103" fmla="*/ 146927 w 2048870"/>
                <a:gd name="connsiteY103" fmla="*/ 622276 h 1413227"/>
                <a:gd name="connsiteX104" fmla="*/ 141741 w 2048870"/>
                <a:gd name="connsiteY104" fmla="*/ 627461 h 1413227"/>
                <a:gd name="connsiteX105" fmla="*/ 136555 w 2048870"/>
                <a:gd name="connsiteY105" fmla="*/ 634375 h 1413227"/>
                <a:gd name="connsiteX106" fmla="*/ 120999 w 2048870"/>
                <a:gd name="connsiteY106" fmla="*/ 639561 h 1413227"/>
                <a:gd name="connsiteX107" fmla="*/ 95070 w 2048870"/>
                <a:gd name="connsiteY107" fmla="*/ 665489 h 1413227"/>
                <a:gd name="connsiteX108" fmla="*/ 89885 w 2048870"/>
                <a:gd name="connsiteY108" fmla="*/ 670675 h 1413227"/>
                <a:gd name="connsiteX109" fmla="*/ 86428 w 2048870"/>
                <a:gd name="connsiteY109" fmla="*/ 675860 h 1413227"/>
                <a:gd name="connsiteX110" fmla="*/ 81242 w 2048870"/>
                <a:gd name="connsiteY110" fmla="*/ 677589 h 1413227"/>
                <a:gd name="connsiteX111" fmla="*/ 77785 w 2048870"/>
                <a:gd name="connsiteY111" fmla="*/ 682775 h 1413227"/>
                <a:gd name="connsiteX112" fmla="*/ 63957 w 2048870"/>
                <a:gd name="connsiteY112" fmla="*/ 689689 h 1413227"/>
                <a:gd name="connsiteX113" fmla="*/ 60499 w 2048870"/>
                <a:gd name="connsiteY113" fmla="*/ 706974 h 1413227"/>
                <a:gd name="connsiteX114" fmla="*/ 50128 w 2048870"/>
                <a:gd name="connsiteY114" fmla="*/ 720803 h 1413227"/>
                <a:gd name="connsiteX115" fmla="*/ 48400 w 2048870"/>
                <a:gd name="connsiteY115" fmla="*/ 725988 h 1413227"/>
                <a:gd name="connsiteX116" fmla="*/ 46671 w 2048870"/>
                <a:gd name="connsiteY116" fmla="*/ 732902 h 1413227"/>
                <a:gd name="connsiteX117" fmla="*/ 25929 w 2048870"/>
                <a:gd name="connsiteY117" fmla="*/ 751916 h 1413227"/>
                <a:gd name="connsiteX118" fmla="*/ 19014 w 2048870"/>
                <a:gd name="connsiteY118" fmla="*/ 776116 h 1413227"/>
                <a:gd name="connsiteX119" fmla="*/ 12100 w 2048870"/>
                <a:gd name="connsiteY119" fmla="*/ 789944 h 1413227"/>
                <a:gd name="connsiteX120" fmla="*/ 17286 w 2048870"/>
                <a:gd name="connsiteY120" fmla="*/ 822787 h 1413227"/>
                <a:gd name="connsiteX121" fmla="*/ 25929 w 2048870"/>
                <a:gd name="connsiteY121" fmla="*/ 829701 h 1413227"/>
                <a:gd name="connsiteX122" fmla="*/ 29386 w 2048870"/>
                <a:gd name="connsiteY122" fmla="*/ 838344 h 1413227"/>
                <a:gd name="connsiteX123" fmla="*/ 36300 w 2048870"/>
                <a:gd name="connsiteY123" fmla="*/ 843529 h 1413227"/>
                <a:gd name="connsiteX124" fmla="*/ 38028 w 2048870"/>
                <a:gd name="connsiteY124" fmla="*/ 852172 h 1413227"/>
                <a:gd name="connsiteX125" fmla="*/ 43214 w 2048870"/>
                <a:gd name="connsiteY125" fmla="*/ 864272 h 1413227"/>
                <a:gd name="connsiteX126" fmla="*/ 44943 w 2048870"/>
                <a:gd name="connsiteY126" fmla="*/ 874643 h 1413227"/>
                <a:gd name="connsiteX127" fmla="*/ 51857 w 2048870"/>
                <a:gd name="connsiteY127" fmla="*/ 876372 h 1413227"/>
                <a:gd name="connsiteX128" fmla="*/ 53585 w 2048870"/>
                <a:gd name="connsiteY128" fmla="*/ 883286 h 1413227"/>
                <a:gd name="connsiteX129" fmla="*/ 58771 w 2048870"/>
                <a:gd name="connsiteY129" fmla="*/ 886743 h 1413227"/>
                <a:gd name="connsiteX130" fmla="*/ 51857 w 2048870"/>
                <a:gd name="connsiteY130" fmla="*/ 898843 h 1413227"/>
                <a:gd name="connsiteX131" fmla="*/ 43214 w 2048870"/>
                <a:gd name="connsiteY131" fmla="*/ 904028 h 1413227"/>
                <a:gd name="connsiteX132" fmla="*/ 29386 w 2048870"/>
                <a:gd name="connsiteY132" fmla="*/ 909214 h 1413227"/>
                <a:gd name="connsiteX133" fmla="*/ 27657 w 2048870"/>
                <a:gd name="connsiteY133" fmla="*/ 919585 h 1413227"/>
                <a:gd name="connsiteX134" fmla="*/ 25929 w 2048870"/>
                <a:gd name="connsiteY134" fmla="*/ 926499 h 1413227"/>
                <a:gd name="connsiteX135" fmla="*/ 19014 w 2048870"/>
                <a:gd name="connsiteY135" fmla="*/ 955885 h 1413227"/>
                <a:gd name="connsiteX136" fmla="*/ 10372 w 2048870"/>
                <a:gd name="connsiteY136" fmla="*/ 969713 h 1413227"/>
                <a:gd name="connsiteX137" fmla="*/ 8643 w 2048870"/>
                <a:gd name="connsiteY137" fmla="*/ 990455 h 1413227"/>
                <a:gd name="connsiteX138" fmla="*/ 0 w 2048870"/>
                <a:gd name="connsiteY138" fmla="*/ 999098 h 1413227"/>
                <a:gd name="connsiteX139" fmla="*/ 6915 w 2048870"/>
                <a:gd name="connsiteY139" fmla="*/ 1023298 h 1413227"/>
                <a:gd name="connsiteX140" fmla="*/ 15557 w 2048870"/>
                <a:gd name="connsiteY140" fmla="*/ 1025026 h 1413227"/>
                <a:gd name="connsiteX141" fmla="*/ 22471 w 2048870"/>
                <a:gd name="connsiteY141" fmla="*/ 1030212 h 1413227"/>
                <a:gd name="connsiteX142" fmla="*/ 27657 w 2048870"/>
                <a:gd name="connsiteY142" fmla="*/ 1031941 h 1413227"/>
                <a:gd name="connsiteX143" fmla="*/ 34571 w 2048870"/>
                <a:gd name="connsiteY143" fmla="*/ 1035398 h 1413227"/>
                <a:gd name="connsiteX144" fmla="*/ 39757 w 2048870"/>
                <a:gd name="connsiteY144" fmla="*/ 1042312 h 1413227"/>
                <a:gd name="connsiteX145" fmla="*/ 43214 w 2048870"/>
                <a:gd name="connsiteY145" fmla="*/ 1047497 h 1413227"/>
                <a:gd name="connsiteX146" fmla="*/ 53585 w 2048870"/>
                <a:gd name="connsiteY146" fmla="*/ 1052683 h 1413227"/>
                <a:gd name="connsiteX147" fmla="*/ 95070 w 2048870"/>
                <a:gd name="connsiteY147" fmla="*/ 1061326 h 1413227"/>
                <a:gd name="connsiteX148" fmla="*/ 96799 w 2048870"/>
                <a:gd name="connsiteY148" fmla="*/ 1073426 h 1413227"/>
                <a:gd name="connsiteX149" fmla="*/ 101985 w 2048870"/>
                <a:gd name="connsiteY149" fmla="*/ 1075154 h 1413227"/>
                <a:gd name="connsiteX150" fmla="*/ 112356 w 2048870"/>
                <a:gd name="connsiteY150" fmla="*/ 1066511 h 1413227"/>
                <a:gd name="connsiteX151" fmla="*/ 119270 w 2048870"/>
                <a:gd name="connsiteY151" fmla="*/ 1059597 h 1413227"/>
                <a:gd name="connsiteX152" fmla="*/ 120999 w 2048870"/>
                <a:gd name="connsiteY152" fmla="*/ 1054412 h 1413227"/>
                <a:gd name="connsiteX153" fmla="*/ 134827 w 2048870"/>
                <a:gd name="connsiteY153" fmla="*/ 1061326 h 1413227"/>
                <a:gd name="connsiteX154" fmla="*/ 141741 w 2048870"/>
                <a:gd name="connsiteY154" fmla="*/ 1063054 h 1413227"/>
                <a:gd name="connsiteX155" fmla="*/ 146927 w 2048870"/>
                <a:gd name="connsiteY155" fmla="*/ 1064783 h 1413227"/>
                <a:gd name="connsiteX156" fmla="*/ 247182 w 2048870"/>
                <a:gd name="connsiteY156" fmla="*/ 1068240 h 1413227"/>
                <a:gd name="connsiteX157" fmla="*/ 266196 w 2048870"/>
                <a:gd name="connsiteY157" fmla="*/ 1064783 h 1413227"/>
                <a:gd name="connsiteX158" fmla="*/ 276568 w 2048870"/>
                <a:gd name="connsiteY158" fmla="*/ 1059597 h 1413227"/>
                <a:gd name="connsiteX159" fmla="*/ 285210 w 2048870"/>
                <a:gd name="connsiteY159" fmla="*/ 1049226 h 1413227"/>
                <a:gd name="connsiteX160" fmla="*/ 295581 w 2048870"/>
                <a:gd name="connsiteY160" fmla="*/ 1052683 h 1413227"/>
                <a:gd name="connsiteX161" fmla="*/ 299039 w 2048870"/>
                <a:gd name="connsiteY161" fmla="*/ 1059597 h 1413227"/>
                <a:gd name="connsiteX162" fmla="*/ 312867 w 2048870"/>
                <a:gd name="connsiteY162" fmla="*/ 1071697 h 1413227"/>
                <a:gd name="connsiteX163" fmla="*/ 338795 w 2048870"/>
                <a:gd name="connsiteY163" fmla="*/ 1078611 h 1413227"/>
                <a:gd name="connsiteX164" fmla="*/ 361266 w 2048870"/>
                <a:gd name="connsiteY164" fmla="*/ 1075154 h 1413227"/>
                <a:gd name="connsiteX165" fmla="*/ 362995 w 2048870"/>
                <a:gd name="connsiteY165" fmla="*/ 1068240 h 1413227"/>
                <a:gd name="connsiteX166" fmla="*/ 373366 w 2048870"/>
                <a:gd name="connsiteY166" fmla="*/ 1050955 h 1413227"/>
                <a:gd name="connsiteX167" fmla="*/ 378552 w 2048870"/>
                <a:gd name="connsiteY167" fmla="*/ 1045769 h 1413227"/>
                <a:gd name="connsiteX168" fmla="*/ 397566 w 2048870"/>
                <a:gd name="connsiteY168" fmla="*/ 1038855 h 1413227"/>
                <a:gd name="connsiteX169" fmla="*/ 432137 w 2048870"/>
                <a:gd name="connsiteY169" fmla="*/ 1035398 h 1413227"/>
                <a:gd name="connsiteX170" fmla="*/ 444236 w 2048870"/>
                <a:gd name="connsiteY170" fmla="*/ 1031941 h 1413227"/>
                <a:gd name="connsiteX171" fmla="*/ 447693 w 2048870"/>
                <a:gd name="connsiteY171" fmla="*/ 1025026 h 1413227"/>
                <a:gd name="connsiteX172" fmla="*/ 452879 w 2048870"/>
                <a:gd name="connsiteY172" fmla="*/ 1021569 h 1413227"/>
                <a:gd name="connsiteX173" fmla="*/ 468436 w 2048870"/>
                <a:gd name="connsiteY173" fmla="*/ 1011198 h 1413227"/>
                <a:gd name="connsiteX174" fmla="*/ 473622 w 2048870"/>
                <a:gd name="connsiteY174" fmla="*/ 999098 h 1413227"/>
                <a:gd name="connsiteX175" fmla="*/ 478807 w 2048870"/>
                <a:gd name="connsiteY175" fmla="*/ 986998 h 1413227"/>
                <a:gd name="connsiteX176" fmla="*/ 485721 w 2048870"/>
                <a:gd name="connsiteY176" fmla="*/ 980084 h 1413227"/>
                <a:gd name="connsiteX177" fmla="*/ 489178 w 2048870"/>
                <a:gd name="connsiteY177" fmla="*/ 974899 h 1413227"/>
                <a:gd name="connsiteX178" fmla="*/ 511650 w 2048870"/>
                <a:gd name="connsiteY178" fmla="*/ 955885 h 1413227"/>
                <a:gd name="connsiteX179" fmla="*/ 530664 w 2048870"/>
                <a:gd name="connsiteY179" fmla="*/ 947242 h 1413227"/>
                <a:gd name="connsiteX180" fmla="*/ 537578 w 2048870"/>
                <a:gd name="connsiteY180" fmla="*/ 933414 h 1413227"/>
                <a:gd name="connsiteX181" fmla="*/ 539306 w 2048870"/>
                <a:gd name="connsiteY181" fmla="*/ 928228 h 1413227"/>
                <a:gd name="connsiteX182" fmla="*/ 541035 w 2048870"/>
                <a:gd name="connsiteY182" fmla="*/ 921314 h 1413227"/>
                <a:gd name="connsiteX183" fmla="*/ 563506 w 2048870"/>
                <a:gd name="connsiteY183" fmla="*/ 917857 h 1413227"/>
                <a:gd name="connsiteX184" fmla="*/ 568692 w 2048870"/>
                <a:gd name="connsiteY184" fmla="*/ 916128 h 1413227"/>
                <a:gd name="connsiteX185" fmla="*/ 584248 w 2048870"/>
                <a:gd name="connsiteY185" fmla="*/ 914400 h 1413227"/>
                <a:gd name="connsiteX186" fmla="*/ 589434 w 2048870"/>
                <a:gd name="connsiteY186" fmla="*/ 910942 h 1413227"/>
                <a:gd name="connsiteX187" fmla="*/ 599805 w 2048870"/>
                <a:gd name="connsiteY187" fmla="*/ 905757 h 1413227"/>
                <a:gd name="connsiteX188" fmla="*/ 604991 w 2048870"/>
                <a:gd name="connsiteY188" fmla="*/ 900571 h 1413227"/>
                <a:gd name="connsiteX189" fmla="*/ 606719 w 2048870"/>
                <a:gd name="connsiteY189" fmla="*/ 895386 h 1413227"/>
                <a:gd name="connsiteX190" fmla="*/ 615362 w 2048870"/>
                <a:gd name="connsiteY190" fmla="*/ 891928 h 1413227"/>
                <a:gd name="connsiteX191" fmla="*/ 620548 w 2048870"/>
                <a:gd name="connsiteY191" fmla="*/ 886743 h 1413227"/>
                <a:gd name="connsiteX192" fmla="*/ 639562 w 2048870"/>
                <a:gd name="connsiteY192" fmla="*/ 879829 h 1413227"/>
                <a:gd name="connsiteX193" fmla="*/ 653390 w 2048870"/>
                <a:gd name="connsiteY193" fmla="*/ 883286 h 1413227"/>
                <a:gd name="connsiteX194" fmla="*/ 660304 w 2048870"/>
                <a:gd name="connsiteY194" fmla="*/ 885014 h 1413227"/>
                <a:gd name="connsiteX195" fmla="*/ 668947 w 2048870"/>
                <a:gd name="connsiteY195" fmla="*/ 886743 h 1413227"/>
                <a:gd name="connsiteX196" fmla="*/ 675861 w 2048870"/>
                <a:gd name="connsiteY196" fmla="*/ 890200 h 1413227"/>
                <a:gd name="connsiteX197" fmla="*/ 682775 w 2048870"/>
                <a:gd name="connsiteY197" fmla="*/ 891928 h 1413227"/>
                <a:gd name="connsiteX198" fmla="*/ 687961 w 2048870"/>
                <a:gd name="connsiteY198" fmla="*/ 895386 h 1413227"/>
                <a:gd name="connsiteX199" fmla="*/ 700061 w 2048870"/>
                <a:gd name="connsiteY199" fmla="*/ 898843 h 1413227"/>
                <a:gd name="connsiteX200" fmla="*/ 706975 w 2048870"/>
                <a:gd name="connsiteY200" fmla="*/ 904028 h 1413227"/>
                <a:gd name="connsiteX201" fmla="*/ 720803 w 2048870"/>
                <a:gd name="connsiteY201" fmla="*/ 907485 h 1413227"/>
                <a:gd name="connsiteX202" fmla="*/ 727718 w 2048870"/>
                <a:gd name="connsiteY202" fmla="*/ 905757 h 1413227"/>
                <a:gd name="connsiteX203" fmla="*/ 736360 w 2048870"/>
                <a:gd name="connsiteY203" fmla="*/ 904028 h 1413227"/>
                <a:gd name="connsiteX204" fmla="*/ 738089 w 2048870"/>
                <a:gd name="connsiteY204" fmla="*/ 910942 h 1413227"/>
                <a:gd name="connsiteX205" fmla="*/ 760560 w 2048870"/>
                <a:gd name="connsiteY205" fmla="*/ 904028 h 1413227"/>
                <a:gd name="connsiteX206" fmla="*/ 770931 w 2048870"/>
                <a:gd name="connsiteY206" fmla="*/ 895386 h 1413227"/>
                <a:gd name="connsiteX207" fmla="*/ 776117 w 2048870"/>
                <a:gd name="connsiteY207" fmla="*/ 909214 h 1413227"/>
                <a:gd name="connsiteX208" fmla="*/ 783031 w 2048870"/>
                <a:gd name="connsiteY208" fmla="*/ 914400 h 1413227"/>
                <a:gd name="connsiteX209" fmla="*/ 788217 w 2048870"/>
                <a:gd name="connsiteY209" fmla="*/ 919585 h 1413227"/>
                <a:gd name="connsiteX210" fmla="*/ 793402 w 2048870"/>
                <a:gd name="connsiteY210" fmla="*/ 923042 h 1413227"/>
                <a:gd name="connsiteX211" fmla="*/ 798588 w 2048870"/>
                <a:gd name="connsiteY211" fmla="*/ 928228 h 1413227"/>
                <a:gd name="connsiteX212" fmla="*/ 815873 w 2048870"/>
                <a:gd name="connsiteY212" fmla="*/ 935142 h 1413227"/>
                <a:gd name="connsiteX213" fmla="*/ 821059 w 2048870"/>
                <a:gd name="connsiteY213" fmla="*/ 926499 h 1413227"/>
                <a:gd name="connsiteX214" fmla="*/ 824516 w 2048870"/>
                <a:gd name="connsiteY214" fmla="*/ 910942 h 1413227"/>
                <a:gd name="connsiteX215" fmla="*/ 833159 w 2048870"/>
                <a:gd name="connsiteY215" fmla="*/ 912671 h 1413227"/>
                <a:gd name="connsiteX216" fmla="*/ 838344 w 2048870"/>
                <a:gd name="connsiteY216" fmla="*/ 926499 h 1413227"/>
                <a:gd name="connsiteX217" fmla="*/ 841802 w 2048870"/>
                <a:gd name="connsiteY217" fmla="*/ 929956 h 1413227"/>
                <a:gd name="connsiteX218" fmla="*/ 850444 w 2048870"/>
                <a:gd name="connsiteY218" fmla="*/ 948970 h 1413227"/>
                <a:gd name="connsiteX219" fmla="*/ 853901 w 2048870"/>
                <a:gd name="connsiteY219" fmla="*/ 954156 h 1413227"/>
                <a:gd name="connsiteX220" fmla="*/ 859087 w 2048870"/>
                <a:gd name="connsiteY220" fmla="*/ 988727 h 1413227"/>
                <a:gd name="connsiteX221" fmla="*/ 864273 w 2048870"/>
                <a:gd name="connsiteY221" fmla="*/ 1009469 h 1413227"/>
                <a:gd name="connsiteX222" fmla="*/ 878101 w 2048870"/>
                <a:gd name="connsiteY222" fmla="*/ 1012927 h 1413227"/>
                <a:gd name="connsiteX223" fmla="*/ 885015 w 2048870"/>
                <a:gd name="connsiteY223" fmla="*/ 1016384 h 1413227"/>
                <a:gd name="connsiteX224" fmla="*/ 888472 w 2048870"/>
                <a:gd name="connsiteY224" fmla="*/ 1021569 h 1413227"/>
                <a:gd name="connsiteX225" fmla="*/ 900572 w 2048870"/>
                <a:gd name="connsiteY225" fmla="*/ 1026755 h 1413227"/>
                <a:gd name="connsiteX226" fmla="*/ 905758 w 2048870"/>
                <a:gd name="connsiteY226" fmla="*/ 1033669 h 1413227"/>
                <a:gd name="connsiteX227" fmla="*/ 909215 w 2048870"/>
                <a:gd name="connsiteY227" fmla="*/ 1040583 h 1413227"/>
                <a:gd name="connsiteX228" fmla="*/ 912672 w 2048870"/>
                <a:gd name="connsiteY228" fmla="*/ 1045769 h 1413227"/>
                <a:gd name="connsiteX229" fmla="*/ 921315 w 2048870"/>
                <a:gd name="connsiteY229" fmla="*/ 1061326 h 1413227"/>
                <a:gd name="connsiteX230" fmla="*/ 928229 w 2048870"/>
                <a:gd name="connsiteY230" fmla="*/ 1082068 h 1413227"/>
                <a:gd name="connsiteX231" fmla="*/ 929957 w 2048870"/>
                <a:gd name="connsiteY231" fmla="*/ 1088983 h 1413227"/>
                <a:gd name="connsiteX232" fmla="*/ 940329 w 2048870"/>
                <a:gd name="connsiteY232" fmla="*/ 1095897 h 1413227"/>
                <a:gd name="connsiteX233" fmla="*/ 959343 w 2048870"/>
                <a:gd name="connsiteY233" fmla="*/ 1097625 h 1413227"/>
                <a:gd name="connsiteX234" fmla="*/ 967985 w 2048870"/>
                <a:gd name="connsiteY234" fmla="*/ 1101082 h 1413227"/>
                <a:gd name="connsiteX235" fmla="*/ 973171 w 2048870"/>
                <a:gd name="connsiteY235" fmla="*/ 1106268 h 1413227"/>
                <a:gd name="connsiteX236" fmla="*/ 978357 w 2048870"/>
                <a:gd name="connsiteY236" fmla="*/ 1109725 h 1413227"/>
                <a:gd name="connsiteX237" fmla="*/ 983542 w 2048870"/>
                <a:gd name="connsiteY237" fmla="*/ 1118368 h 1413227"/>
                <a:gd name="connsiteX238" fmla="*/ 985271 w 2048870"/>
                <a:gd name="connsiteY238" fmla="*/ 1132196 h 1413227"/>
                <a:gd name="connsiteX239" fmla="*/ 992185 w 2048870"/>
                <a:gd name="connsiteY239" fmla="*/ 1139110 h 1413227"/>
                <a:gd name="connsiteX240" fmla="*/ 1006013 w 2048870"/>
                <a:gd name="connsiteY240" fmla="*/ 1147753 h 1413227"/>
                <a:gd name="connsiteX241" fmla="*/ 1019842 w 2048870"/>
                <a:gd name="connsiteY241" fmla="*/ 1165038 h 1413227"/>
                <a:gd name="connsiteX242" fmla="*/ 1012927 w 2048870"/>
                <a:gd name="connsiteY242" fmla="*/ 1168496 h 1413227"/>
                <a:gd name="connsiteX243" fmla="*/ 1009470 w 2048870"/>
                <a:gd name="connsiteY243" fmla="*/ 1173681 h 1413227"/>
                <a:gd name="connsiteX244" fmla="*/ 997371 w 2048870"/>
                <a:gd name="connsiteY244" fmla="*/ 1177138 h 1413227"/>
                <a:gd name="connsiteX245" fmla="*/ 990456 w 2048870"/>
                <a:gd name="connsiteY245" fmla="*/ 1182324 h 1413227"/>
                <a:gd name="connsiteX246" fmla="*/ 973171 w 2048870"/>
                <a:gd name="connsiteY246" fmla="*/ 1182324 h 1413227"/>
                <a:gd name="connsiteX247" fmla="*/ 971442 w 2048870"/>
                <a:gd name="connsiteY247" fmla="*/ 1161581 h 1413227"/>
                <a:gd name="connsiteX248" fmla="*/ 962800 w 2048870"/>
                <a:gd name="connsiteY248" fmla="*/ 1171953 h 1413227"/>
                <a:gd name="connsiteX249" fmla="*/ 959343 w 2048870"/>
                <a:gd name="connsiteY249" fmla="*/ 1178867 h 1413227"/>
                <a:gd name="connsiteX250" fmla="*/ 955885 w 2048870"/>
                <a:gd name="connsiteY250" fmla="*/ 1184052 h 1413227"/>
                <a:gd name="connsiteX251" fmla="*/ 947243 w 2048870"/>
                <a:gd name="connsiteY251" fmla="*/ 1187510 h 1413227"/>
                <a:gd name="connsiteX252" fmla="*/ 940329 w 2048870"/>
                <a:gd name="connsiteY252" fmla="*/ 1190967 h 1413227"/>
                <a:gd name="connsiteX253" fmla="*/ 935143 w 2048870"/>
                <a:gd name="connsiteY253" fmla="*/ 1189238 h 1413227"/>
                <a:gd name="connsiteX254" fmla="*/ 929957 w 2048870"/>
                <a:gd name="connsiteY254" fmla="*/ 1171953 h 1413227"/>
                <a:gd name="connsiteX255" fmla="*/ 926500 w 2048870"/>
                <a:gd name="connsiteY255" fmla="*/ 1165038 h 1413227"/>
                <a:gd name="connsiteX256" fmla="*/ 921315 w 2048870"/>
                <a:gd name="connsiteY256" fmla="*/ 1178867 h 1413227"/>
                <a:gd name="connsiteX257" fmla="*/ 917857 w 2048870"/>
                <a:gd name="connsiteY257" fmla="*/ 1182324 h 1413227"/>
                <a:gd name="connsiteX258" fmla="*/ 914400 w 2048870"/>
                <a:gd name="connsiteY258" fmla="*/ 1194424 h 1413227"/>
                <a:gd name="connsiteX259" fmla="*/ 909215 w 2048870"/>
                <a:gd name="connsiteY259" fmla="*/ 1199609 h 1413227"/>
                <a:gd name="connsiteX260" fmla="*/ 886744 w 2048870"/>
                <a:gd name="connsiteY260" fmla="*/ 1180595 h 1413227"/>
                <a:gd name="connsiteX261" fmla="*/ 883287 w 2048870"/>
                <a:gd name="connsiteY261" fmla="*/ 1189238 h 1413227"/>
                <a:gd name="connsiteX262" fmla="*/ 879830 w 2048870"/>
                <a:gd name="connsiteY262" fmla="*/ 1194424 h 1413227"/>
                <a:gd name="connsiteX263" fmla="*/ 874644 w 2048870"/>
                <a:gd name="connsiteY263" fmla="*/ 1204795 h 1413227"/>
                <a:gd name="connsiteX264" fmla="*/ 879830 w 2048870"/>
                <a:gd name="connsiteY264" fmla="*/ 1211709 h 1413227"/>
                <a:gd name="connsiteX265" fmla="*/ 890201 w 2048870"/>
                <a:gd name="connsiteY265" fmla="*/ 1215166 h 1413227"/>
                <a:gd name="connsiteX266" fmla="*/ 893658 w 2048870"/>
                <a:gd name="connsiteY266" fmla="*/ 1235909 h 1413227"/>
                <a:gd name="connsiteX267" fmla="*/ 891929 w 2048870"/>
                <a:gd name="connsiteY267" fmla="*/ 1258380 h 1413227"/>
                <a:gd name="connsiteX268" fmla="*/ 890201 w 2048870"/>
                <a:gd name="connsiteY268" fmla="*/ 1263565 h 1413227"/>
                <a:gd name="connsiteX269" fmla="*/ 878101 w 2048870"/>
                <a:gd name="connsiteY269" fmla="*/ 1275665 h 1413227"/>
                <a:gd name="connsiteX270" fmla="*/ 871187 w 2048870"/>
                <a:gd name="connsiteY270" fmla="*/ 1282579 h 1413227"/>
                <a:gd name="connsiteX271" fmla="*/ 876372 w 2048870"/>
                <a:gd name="connsiteY271" fmla="*/ 1287765 h 1413227"/>
                <a:gd name="connsiteX272" fmla="*/ 874644 w 2048870"/>
                <a:gd name="connsiteY272" fmla="*/ 1306779 h 1413227"/>
                <a:gd name="connsiteX273" fmla="*/ 869458 w 2048870"/>
                <a:gd name="connsiteY273" fmla="*/ 1308508 h 1413227"/>
                <a:gd name="connsiteX274" fmla="*/ 864273 w 2048870"/>
                <a:gd name="connsiteY274" fmla="*/ 1320607 h 1413227"/>
                <a:gd name="connsiteX275" fmla="*/ 862544 w 2048870"/>
                <a:gd name="connsiteY275" fmla="*/ 1360364 h 1413227"/>
                <a:gd name="connsiteX276" fmla="*/ 857358 w 2048870"/>
                <a:gd name="connsiteY276" fmla="*/ 1363821 h 1413227"/>
                <a:gd name="connsiteX277" fmla="*/ 852173 w 2048870"/>
                <a:gd name="connsiteY277" fmla="*/ 1365550 h 1413227"/>
                <a:gd name="connsiteX278" fmla="*/ 850444 w 2048870"/>
                <a:gd name="connsiteY278" fmla="*/ 1370735 h 1413227"/>
                <a:gd name="connsiteX279" fmla="*/ 838344 w 2048870"/>
                <a:gd name="connsiteY279" fmla="*/ 1379378 h 1413227"/>
                <a:gd name="connsiteX280" fmla="*/ 841802 w 2048870"/>
                <a:gd name="connsiteY280" fmla="*/ 1389749 h 1413227"/>
                <a:gd name="connsiteX281" fmla="*/ 845259 w 2048870"/>
                <a:gd name="connsiteY281" fmla="*/ 1398392 h 1413227"/>
                <a:gd name="connsiteX282" fmla="*/ 852173 w 2048870"/>
                <a:gd name="connsiteY282" fmla="*/ 1403578 h 1413227"/>
                <a:gd name="connsiteX283" fmla="*/ 859087 w 2048870"/>
                <a:gd name="connsiteY283" fmla="*/ 1410492 h 1413227"/>
                <a:gd name="connsiteX284" fmla="*/ 885015 w 2048870"/>
                <a:gd name="connsiteY284" fmla="*/ 1408763 h 1413227"/>
                <a:gd name="connsiteX285" fmla="*/ 890201 w 2048870"/>
                <a:gd name="connsiteY285" fmla="*/ 1413103 h 1413227"/>
                <a:gd name="connsiteX286" fmla="*/ 921633 w 2048870"/>
                <a:gd name="connsiteY286" fmla="*/ 1403013 h 1413227"/>
                <a:gd name="connsiteX287" fmla="*/ 921315 w 2048870"/>
                <a:gd name="connsiteY287" fmla="*/ 1388021 h 1413227"/>
                <a:gd name="connsiteX288" fmla="*/ 933873 w 2048870"/>
                <a:gd name="connsiteY288" fmla="*/ 1386010 h 1413227"/>
                <a:gd name="connsiteX289" fmla="*/ 943362 w 2048870"/>
                <a:gd name="connsiteY289" fmla="*/ 1367278 h 1413227"/>
                <a:gd name="connsiteX290" fmla="*/ 943786 w 2048870"/>
                <a:gd name="connsiteY290" fmla="*/ 1362093 h 1413227"/>
                <a:gd name="connsiteX291" fmla="*/ 954157 w 2048870"/>
                <a:gd name="connsiteY291" fmla="*/ 1360364 h 1413227"/>
                <a:gd name="connsiteX292" fmla="*/ 993913 w 2048870"/>
                <a:gd name="connsiteY292" fmla="*/ 1356907 h 1413227"/>
                <a:gd name="connsiteX293" fmla="*/ 997371 w 2048870"/>
                <a:gd name="connsiteY293" fmla="*/ 1349993 h 1413227"/>
                <a:gd name="connsiteX294" fmla="*/ 1009470 w 2048870"/>
                <a:gd name="connsiteY294" fmla="*/ 1344807 h 1413227"/>
                <a:gd name="connsiteX295" fmla="*/ 997371 w 2048870"/>
                <a:gd name="connsiteY295" fmla="*/ 1334436 h 1413227"/>
                <a:gd name="connsiteX296" fmla="*/ 993913 w 2048870"/>
                <a:gd name="connsiteY296" fmla="*/ 1327522 h 1413227"/>
                <a:gd name="connsiteX297" fmla="*/ 988728 w 2048870"/>
                <a:gd name="connsiteY297" fmla="*/ 1322336 h 1413227"/>
                <a:gd name="connsiteX298" fmla="*/ 985271 w 2048870"/>
                <a:gd name="connsiteY298" fmla="*/ 1310236 h 1413227"/>
                <a:gd name="connsiteX299" fmla="*/ 981814 w 2048870"/>
                <a:gd name="connsiteY299" fmla="*/ 1299865 h 1413227"/>
                <a:gd name="connsiteX300" fmla="*/ 990456 w 2048870"/>
                <a:gd name="connsiteY300" fmla="*/ 1287765 h 1413227"/>
                <a:gd name="connsiteX301" fmla="*/ 992185 w 2048870"/>
                <a:gd name="connsiteY301" fmla="*/ 1292951 h 1413227"/>
                <a:gd name="connsiteX302" fmla="*/ 1014656 w 2048870"/>
                <a:gd name="connsiteY302" fmla="*/ 1299865 h 1413227"/>
                <a:gd name="connsiteX303" fmla="*/ 1016385 w 2048870"/>
                <a:gd name="connsiteY303" fmla="*/ 1294679 h 1413227"/>
                <a:gd name="connsiteX304" fmla="*/ 1018113 w 2048870"/>
                <a:gd name="connsiteY304" fmla="*/ 1284308 h 1413227"/>
                <a:gd name="connsiteX305" fmla="*/ 1031941 w 2048870"/>
                <a:gd name="connsiteY305" fmla="*/ 1270480 h 1413227"/>
                <a:gd name="connsiteX306" fmla="*/ 1037127 w 2048870"/>
                <a:gd name="connsiteY306" fmla="*/ 1265294 h 1413227"/>
                <a:gd name="connsiteX307" fmla="*/ 1038856 w 2048870"/>
                <a:gd name="connsiteY307" fmla="*/ 1260108 h 1413227"/>
                <a:gd name="connsiteX308" fmla="*/ 1054412 w 2048870"/>
                <a:gd name="connsiteY308" fmla="*/ 1251466 h 1413227"/>
                <a:gd name="connsiteX309" fmla="*/ 1063055 w 2048870"/>
                <a:gd name="connsiteY309" fmla="*/ 1242823 h 1413227"/>
                <a:gd name="connsiteX310" fmla="*/ 1068241 w 2048870"/>
                <a:gd name="connsiteY310" fmla="*/ 1223809 h 1413227"/>
                <a:gd name="connsiteX311" fmla="*/ 1069969 w 2048870"/>
                <a:gd name="connsiteY311" fmla="*/ 1215166 h 1413227"/>
                <a:gd name="connsiteX312" fmla="*/ 1075155 w 2048870"/>
                <a:gd name="connsiteY312" fmla="*/ 1201338 h 1413227"/>
                <a:gd name="connsiteX313" fmla="*/ 1080341 w 2048870"/>
                <a:gd name="connsiteY313" fmla="*/ 1175410 h 1413227"/>
                <a:gd name="connsiteX314" fmla="*/ 1082069 w 2048870"/>
                <a:gd name="connsiteY314" fmla="*/ 1170224 h 1413227"/>
                <a:gd name="connsiteX315" fmla="*/ 1083798 w 2048870"/>
                <a:gd name="connsiteY315" fmla="*/ 1161581 h 1413227"/>
                <a:gd name="connsiteX316" fmla="*/ 1085526 w 2048870"/>
                <a:gd name="connsiteY316" fmla="*/ 1156396 h 1413227"/>
                <a:gd name="connsiteX317" fmla="*/ 1087255 w 2048870"/>
                <a:gd name="connsiteY317" fmla="*/ 1147753 h 1413227"/>
                <a:gd name="connsiteX318" fmla="*/ 1097626 w 2048870"/>
                <a:gd name="connsiteY318" fmla="*/ 1128739 h 1413227"/>
                <a:gd name="connsiteX319" fmla="*/ 1099355 w 2048870"/>
                <a:gd name="connsiteY319" fmla="*/ 1111454 h 1413227"/>
                <a:gd name="connsiteX320" fmla="*/ 1106269 w 2048870"/>
                <a:gd name="connsiteY320" fmla="*/ 1097625 h 1413227"/>
                <a:gd name="connsiteX321" fmla="*/ 1111454 w 2048870"/>
                <a:gd name="connsiteY321" fmla="*/ 1095897 h 1413227"/>
                <a:gd name="connsiteX322" fmla="*/ 1127011 w 2048870"/>
                <a:gd name="connsiteY322" fmla="*/ 1094168 h 1413227"/>
                <a:gd name="connsiteX323" fmla="*/ 1132197 w 2048870"/>
                <a:gd name="connsiteY323" fmla="*/ 1088983 h 1413227"/>
                <a:gd name="connsiteX324" fmla="*/ 1166768 w 2048870"/>
                <a:gd name="connsiteY324" fmla="*/ 1083797 h 1413227"/>
                <a:gd name="connsiteX325" fmla="*/ 1175411 w 2048870"/>
                <a:gd name="connsiteY325" fmla="*/ 1073426 h 1413227"/>
                <a:gd name="connsiteX326" fmla="*/ 1177139 w 2048870"/>
                <a:gd name="connsiteY326" fmla="*/ 1061326 h 1413227"/>
                <a:gd name="connsiteX327" fmla="*/ 1170225 w 2048870"/>
                <a:gd name="connsiteY327" fmla="*/ 1047497 h 1413227"/>
                <a:gd name="connsiteX328" fmla="*/ 1163311 w 2048870"/>
                <a:gd name="connsiteY328" fmla="*/ 1050955 h 1413227"/>
                <a:gd name="connsiteX329" fmla="*/ 1166768 w 2048870"/>
                <a:gd name="connsiteY329" fmla="*/ 1068240 h 1413227"/>
                <a:gd name="connsiteX330" fmla="*/ 1170225 w 2048870"/>
                <a:gd name="connsiteY330" fmla="*/ 1076883 h 1413227"/>
                <a:gd name="connsiteX331" fmla="*/ 1182325 w 2048870"/>
                <a:gd name="connsiteY331" fmla="*/ 1080340 h 1413227"/>
                <a:gd name="connsiteX332" fmla="*/ 1206524 w 2048870"/>
                <a:gd name="connsiteY332" fmla="*/ 1078611 h 1413227"/>
                <a:gd name="connsiteX333" fmla="*/ 1211710 w 2048870"/>
                <a:gd name="connsiteY333" fmla="*/ 1073426 h 1413227"/>
                <a:gd name="connsiteX334" fmla="*/ 1218624 w 2048870"/>
                <a:gd name="connsiteY334" fmla="*/ 1057869 h 1413227"/>
                <a:gd name="connsiteX335" fmla="*/ 1220353 w 2048870"/>
                <a:gd name="connsiteY335" fmla="*/ 1044040 h 1413227"/>
                <a:gd name="connsiteX336" fmla="*/ 1218624 w 2048870"/>
                <a:gd name="connsiteY336" fmla="*/ 1014655 h 1413227"/>
                <a:gd name="connsiteX337" fmla="*/ 1211710 w 2048870"/>
                <a:gd name="connsiteY337" fmla="*/ 997370 h 1413227"/>
                <a:gd name="connsiteX338" fmla="*/ 1206524 w 2048870"/>
                <a:gd name="connsiteY338" fmla="*/ 993913 h 1413227"/>
                <a:gd name="connsiteX339" fmla="*/ 1184053 w 2048870"/>
                <a:gd name="connsiteY339" fmla="*/ 973170 h 1413227"/>
                <a:gd name="connsiteX340" fmla="*/ 1173682 w 2048870"/>
                <a:gd name="connsiteY340" fmla="*/ 962799 h 1413227"/>
                <a:gd name="connsiteX341" fmla="*/ 1168496 w 2048870"/>
                <a:gd name="connsiteY341" fmla="*/ 957613 h 1413227"/>
                <a:gd name="connsiteX342" fmla="*/ 1171954 w 2048870"/>
                <a:gd name="connsiteY342" fmla="*/ 961070 h 1413227"/>
                <a:gd name="connsiteX343" fmla="*/ 1178868 w 2048870"/>
                <a:gd name="connsiteY343" fmla="*/ 971441 h 1413227"/>
                <a:gd name="connsiteX344" fmla="*/ 1185782 w 2048870"/>
                <a:gd name="connsiteY344" fmla="*/ 980084 h 1413227"/>
                <a:gd name="connsiteX345" fmla="*/ 1190968 w 2048870"/>
                <a:gd name="connsiteY345" fmla="*/ 985270 h 1413227"/>
                <a:gd name="connsiteX346" fmla="*/ 1194425 w 2048870"/>
                <a:gd name="connsiteY346" fmla="*/ 993913 h 1413227"/>
                <a:gd name="connsiteX347" fmla="*/ 1206524 w 2048870"/>
                <a:gd name="connsiteY347" fmla="*/ 1007741 h 1413227"/>
                <a:gd name="connsiteX348" fmla="*/ 1208253 w 2048870"/>
                <a:gd name="connsiteY348" fmla="*/ 1014655 h 1413227"/>
                <a:gd name="connsiteX349" fmla="*/ 1211710 w 2048870"/>
                <a:gd name="connsiteY349" fmla="*/ 1023298 h 1413227"/>
                <a:gd name="connsiteX350" fmla="*/ 1213439 w 2048870"/>
                <a:gd name="connsiteY350" fmla="*/ 1035398 h 1413227"/>
                <a:gd name="connsiteX351" fmla="*/ 1215167 w 2048870"/>
                <a:gd name="connsiteY351" fmla="*/ 1044040 h 1413227"/>
                <a:gd name="connsiteX352" fmla="*/ 1220353 w 2048870"/>
                <a:gd name="connsiteY352" fmla="*/ 1045769 h 1413227"/>
                <a:gd name="connsiteX353" fmla="*/ 1223810 w 2048870"/>
                <a:gd name="connsiteY353" fmla="*/ 1050955 h 1413227"/>
                <a:gd name="connsiteX354" fmla="*/ 1234181 w 2048870"/>
                <a:gd name="connsiteY354" fmla="*/ 1063054 h 1413227"/>
                <a:gd name="connsiteX355" fmla="*/ 1253195 w 2048870"/>
                <a:gd name="connsiteY355" fmla="*/ 1057869 h 1413227"/>
                <a:gd name="connsiteX356" fmla="*/ 1258381 w 2048870"/>
                <a:gd name="connsiteY356" fmla="*/ 1054412 h 1413227"/>
                <a:gd name="connsiteX357" fmla="*/ 1265295 w 2048870"/>
                <a:gd name="connsiteY357" fmla="*/ 1050955 h 1413227"/>
                <a:gd name="connsiteX358" fmla="*/ 1267023 w 2048870"/>
                <a:gd name="connsiteY358" fmla="*/ 1056140 h 1413227"/>
                <a:gd name="connsiteX359" fmla="*/ 1268752 w 2048870"/>
                <a:gd name="connsiteY359" fmla="*/ 1068240 h 1413227"/>
                <a:gd name="connsiteX360" fmla="*/ 1279123 w 2048870"/>
                <a:gd name="connsiteY360" fmla="*/ 1064783 h 1413227"/>
                <a:gd name="connsiteX361" fmla="*/ 1289495 w 2048870"/>
                <a:gd name="connsiteY361" fmla="*/ 1056140 h 1413227"/>
                <a:gd name="connsiteX362" fmla="*/ 1299866 w 2048870"/>
                <a:gd name="connsiteY362" fmla="*/ 1045769 h 1413227"/>
                <a:gd name="connsiteX363" fmla="*/ 1305051 w 2048870"/>
                <a:gd name="connsiteY363" fmla="*/ 1042312 h 1413227"/>
                <a:gd name="connsiteX364" fmla="*/ 1294680 w 2048870"/>
                <a:gd name="connsiteY364" fmla="*/ 1061326 h 1413227"/>
                <a:gd name="connsiteX365" fmla="*/ 1286037 w 2048870"/>
                <a:gd name="connsiteY365" fmla="*/ 1075154 h 1413227"/>
                <a:gd name="connsiteX366" fmla="*/ 1272209 w 2048870"/>
                <a:gd name="connsiteY366" fmla="*/ 1082068 h 1413227"/>
                <a:gd name="connsiteX367" fmla="*/ 1265295 w 2048870"/>
                <a:gd name="connsiteY367" fmla="*/ 1085525 h 1413227"/>
                <a:gd name="connsiteX368" fmla="*/ 1260109 w 2048870"/>
                <a:gd name="connsiteY368" fmla="*/ 1087254 h 1413227"/>
                <a:gd name="connsiteX369" fmla="*/ 1251467 w 2048870"/>
                <a:gd name="connsiteY369" fmla="*/ 1092440 h 1413227"/>
                <a:gd name="connsiteX370" fmla="*/ 1232453 w 2048870"/>
                <a:gd name="connsiteY370" fmla="*/ 1095897 h 1413227"/>
                <a:gd name="connsiteX371" fmla="*/ 1230724 w 2048870"/>
                <a:gd name="connsiteY371" fmla="*/ 1121825 h 1413227"/>
                <a:gd name="connsiteX372" fmla="*/ 1223810 w 2048870"/>
                <a:gd name="connsiteY372" fmla="*/ 1128739 h 1413227"/>
                <a:gd name="connsiteX373" fmla="*/ 1216896 w 2048870"/>
                <a:gd name="connsiteY373" fmla="*/ 1130468 h 1413227"/>
                <a:gd name="connsiteX374" fmla="*/ 1248009 w 2048870"/>
                <a:gd name="connsiteY374" fmla="*/ 1123553 h 1413227"/>
                <a:gd name="connsiteX375" fmla="*/ 1275666 w 2048870"/>
                <a:gd name="connsiteY375" fmla="*/ 1125282 h 1413227"/>
                <a:gd name="connsiteX376" fmla="*/ 1282580 w 2048870"/>
                <a:gd name="connsiteY376" fmla="*/ 1128739 h 1413227"/>
                <a:gd name="connsiteX377" fmla="*/ 1318880 w 2048870"/>
                <a:gd name="connsiteY377" fmla="*/ 1127010 h 1413227"/>
                <a:gd name="connsiteX378" fmla="*/ 1330980 w 2048870"/>
                <a:gd name="connsiteY378" fmla="*/ 1123553 h 1413227"/>
                <a:gd name="connsiteX379" fmla="*/ 1339622 w 2048870"/>
                <a:gd name="connsiteY379" fmla="*/ 1118368 h 1413227"/>
                <a:gd name="connsiteX380" fmla="*/ 1356908 w 2048870"/>
                <a:gd name="connsiteY380" fmla="*/ 1123553 h 1413227"/>
                <a:gd name="connsiteX381" fmla="*/ 1384564 w 2048870"/>
                <a:gd name="connsiteY381" fmla="*/ 1114911 h 1413227"/>
                <a:gd name="connsiteX382" fmla="*/ 1391479 w 2048870"/>
                <a:gd name="connsiteY382" fmla="*/ 1109725 h 1413227"/>
                <a:gd name="connsiteX383" fmla="*/ 1400121 w 2048870"/>
                <a:gd name="connsiteY383" fmla="*/ 1095897 h 1413227"/>
                <a:gd name="connsiteX384" fmla="*/ 1403578 w 2048870"/>
                <a:gd name="connsiteY384" fmla="*/ 1090711 h 1413227"/>
                <a:gd name="connsiteX385" fmla="*/ 1408764 w 2048870"/>
                <a:gd name="connsiteY385" fmla="*/ 1088983 h 1413227"/>
                <a:gd name="connsiteX386" fmla="*/ 1415678 w 2048870"/>
                <a:gd name="connsiteY386" fmla="*/ 1097625 h 1413227"/>
                <a:gd name="connsiteX387" fmla="*/ 1419135 w 2048870"/>
                <a:gd name="connsiteY387" fmla="*/ 1104539 h 1413227"/>
                <a:gd name="connsiteX388" fmla="*/ 1424321 w 2048870"/>
                <a:gd name="connsiteY388" fmla="*/ 1111454 h 1413227"/>
                <a:gd name="connsiteX389" fmla="*/ 1434692 w 2048870"/>
                <a:gd name="connsiteY389" fmla="*/ 1109725 h 1413227"/>
                <a:gd name="connsiteX390" fmla="*/ 1438149 w 2048870"/>
                <a:gd name="connsiteY390" fmla="*/ 1101082 h 1413227"/>
                <a:gd name="connsiteX391" fmla="*/ 1446792 w 2048870"/>
                <a:gd name="connsiteY391" fmla="*/ 1076883 h 1413227"/>
                <a:gd name="connsiteX392" fmla="*/ 1455435 w 2048870"/>
                <a:gd name="connsiteY392" fmla="*/ 1082068 h 1413227"/>
                <a:gd name="connsiteX393" fmla="*/ 1457163 w 2048870"/>
                <a:gd name="connsiteY393" fmla="*/ 1097625 h 1413227"/>
                <a:gd name="connsiteX394" fmla="*/ 1462349 w 2048870"/>
                <a:gd name="connsiteY394" fmla="*/ 1104539 h 1413227"/>
                <a:gd name="connsiteX395" fmla="*/ 1464078 w 2048870"/>
                <a:gd name="connsiteY395" fmla="*/ 1116639 h 1413227"/>
                <a:gd name="connsiteX396" fmla="*/ 1450249 w 2048870"/>
                <a:gd name="connsiteY396" fmla="*/ 1132196 h 1413227"/>
                <a:gd name="connsiteX397" fmla="*/ 1436421 w 2048870"/>
                <a:gd name="connsiteY397" fmla="*/ 1149482 h 1413227"/>
                <a:gd name="connsiteX398" fmla="*/ 1427778 w 2048870"/>
                <a:gd name="connsiteY398" fmla="*/ 1158124 h 1413227"/>
                <a:gd name="connsiteX399" fmla="*/ 1415678 w 2048870"/>
                <a:gd name="connsiteY399" fmla="*/ 1163310 h 1413227"/>
                <a:gd name="connsiteX400" fmla="*/ 1400121 w 2048870"/>
                <a:gd name="connsiteY400" fmla="*/ 1171953 h 1413227"/>
                <a:gd name="connsiteX401" fmla="*/ 1398393 w 2048870"/>
                <a:gd name="connsiteY401" fmla="*/ 1177138 h 1413227"/>
                <a:gd name="connsiteX402" fmla="*/ 1389750 w 2048870"/>
                <a:gd name="connsiteY402" fmla="*/ 1189238 h 1413227"/>
                <a:gd name="connsiteX403" fmla="*/ 1384564 w 2048870"/>
                <a:gd name="connsiteY403" fmla="*/ 1197881 h 1413227"/>
                <a:gd name="connsiteX404" fmla="*/ 1382836 w 2048870"/>
                <a:gd name="connsiteY404" fmla="*/ 1203066 h 1413227"/>
                <a:gd name="connsiteX405" fmla="*/ 1374193 w 2048870"/>
                <a:gd name="connsiteY405" fmla="*/ 1211709 h 1413227"/>
                <a:gd name="connsiteX406" fmla="*/ 1369008 w 2048870"/>
                <a:gd name="connsiteY406" fmla="*/ 1216895 h 1413227"/>
                <a:gd name="connsiteX407" fmla="*/ 1356908 w 2048870"/>
                <a:gd name="connsiteY407" fmla="*/ 1230723 h 1413227"/>
                <a:gd name="connsiteX408" fmla="*/ 1351722 w 2048870"/>
                <a:gd name="connsiteY408" fmla="*/ 1237637 h 1413227"/>
                <a:gd name="connsiteX409" fmla="*/ 1349994 w 2048870"/>
                <a:gd name="connsiteY409" fmla="*/ 1242823 h 1413227"/>
                <a:gd name="connsiteX410" fmla="*/ 1344808 w 2048870"/>
                <a:gd name="connsiteY410" fmla="*/ 1253194 h 1413227"/>
                <a:gd name="connsiteX411" fmla="*/ 1377650 w 2048870"/>
                <a:gd name="connsiteY411" fmla="*/ 1253194 h 1413227"/>
                <a:gd name="connsiteX412" fmla="*/ 1386293 w 2048870"/>
                <a:gd name="connsiteY412" fmla="*/ 1246280 h 1413227"/>
                <a:gd name="connsiteX413" fmla="*/ 1391479 w 2048870"/>
                <a:gd name="connsiteY413" fmla="*/ 1244552 h 1413227"/>
                <a:gd name="connsiteX414" fmla="*/ 1412221 w 2048870"/>
                <a:gd name="connsiteY414" fmla="*/ 1248009 h 1413227"/>
                <a:gd name="connsiteX415" fmla="*/ 1415678 w 2048870"/>
                <a:gd name="connsiteY415" fmla="*/ 1253194 h 1413227"/>
                <a:gd name="connsiteX416" fmla="*/ 1426050 w 2048870"/>
                <a:gd name="connsiteY416" fmla="*/ 1260108 h 1413227"/>
                <a:gd name="connsiteX417" fmla="*/ 1451978 w 2048870"/>
                <a:gd name="connsiteY417" fmla="*/ 1258380 h 1413227"/>
                <a:gd name="connsiteX418" fmla="*/ 1457163 w 2048870"/>
                <a:gd name="connsiteY418" fmla="*/ 1253194 h 1413227"/>
                <a:gd name="connsiteX419" fmla="*/ 1465806 w 2048870"/>
                <a:gd name="connsiteY419" fmla="*/ 1248009 h 1413227"/>
                <a:gd name="connsiteX420" fmla="*/ 1483092 w 2048870"/>
                <a:gd name="connsiteY420" fmla="*/ 1249737 h 1413227"/>
                <a:gd name="connsiteX421" fmla="*/ 1491734 w 2048870"/>
                <a:gd name="connsiteY421" fmla="*/ 1258380 h 1413227"/>
                <a:gd name="connsiteX422" fmla="*/ 1502106 w 2048870"/>
                <a:gd name="connsiteY422" fmla="*/ 1272208 h 1413227"/>
                <a:gd name="connsiteX423" fmla="*/ 1503834 w 2048870"/>
                <a:gd name="connsiteY423" fmla="*/ 1289494 h 1413227"/>
                <a:gd name="connsiteX424" fmla="*/ 1514205 w 2048870"/>
                <a:gd name="connsiteY424" fmla="*/ 1301593 h 1413227"/>
                <a:gd name="connsiteX425" fmla="*/ 1517662 w 2048870"/>
                <a:gd name="connsiteY425" fmla="*/ 1306779 h 1413227"/>
                <a:gd name="connsiteX426" fmla="*/ 1515934 w 2048870"/>
                <a:gd name="connsiteY426" fmla="*/ 1355178 h 1413227"/>
                <a:gd name="connsiteX427" fmla="*/ 1509020 w 2048870"/>
                <a:gd name="connsiteY427" fmla="*/ 1360364 h 1413227"/>
                <a:gd name="connsiteX428" fmla="*/ 1503834 w 2048870"/>
                <a:gd name="connsiteY428" fmla="*/ 1370735 h 1413227"/>
                <a:gd name="connsiteX429" fmla="*/ 1534948 w 2048870"/>
                <a:gd name="connsiteY429" fmla="*/ 1374192 h 1413227"/>
                <a:gd name="connsiteX430" fmla="*/ 1540133 w 2048870"/>
                <a:gd name="connsiteY430" fmla="*/ 1377649 h 1413227"/>
                <a:gd name="connsiteX431" fmla="*/ 1559147 w 2048870"/>
                <a:gd name="connsiteY431" fmla="*/ 1375921 h 1413227"/>
                <a:gd name="connsiteX432" fmla="*/ 1564333 w 2048870"/>
                <a:gd name="connsiteY432" fmla="*/ 1372464 h 1413227"/>
                <a:gd name="connsiteX433" fmla="*/ 1579890 w 2048870"/>
                <a:gd name="connsiteY433" fmla="*/ 1370735 h 1413227"/>
                <a:gd name="connsiteX434" fmla="*/ 1597175 w 2048870"/>
                <a:gd name="connsiteY434" fmla="*/ 1363821 h 1413227"/>
                <a:gd name="connsiteX435" fmla="*/ 1600633 w 2048870"/>
                <a:gd name="connsiteY435" fmla="*/ 1360364 h 1413227"/>
                <a:gd name="connsiteX436" fmla="*/ 1612732 w 2048870"/>
                <a:gd name="connsiteY436" fmla="*/ 1341350 h 1413227"/>
                <a:gd name="connsiteX437" fmla="*/ 1617918 w 2048870"/>
                <a:gd name="connsiteY437" fmla="*/ 1305051 h 1413227"/>
                <a:gd name="connsiteX438" fmla="*/ 1623104 w 2048870"/>
                <a:gd name="connsiteY438" fmla="*/ 1301593 h 1413227"/>
                <a:gd name="connsiteX439" fmla="*/ 1624832 w 2048870"/>
                <a:gd name="connsiteY439" fmla="*/ 1284308 h 1413227"/>
                <a:gd name="connsiteX440" fmla="*/ 1631746 w 2048870"/>
                <a:gd name="connsiteY440" fmla="*/ 1270480 h 1413227"/>
                <a:gd name="connsiteX441" fmla="*/ 1643846 w 2048870"/>
                <a:gd name="connsiteY441" fmla="*/ 1263565 h 1413227"/>
                <a:gd name="connsiteX442" fmla="*/ 1669774 w 2048870"/>
                <a:gd name="connsiteY442" fmla="*/ 1260108 h 1413227"/>
                <a:gd name="connsiteX443" fmla="*/ 1681874 w 2048870"/>
                <a:gd name="connsiteY443" fmla="*/ 1254923 h 1413227"/>
                <a:gd name="connsiteX444" fmla="*/ 1687060 w 2048870"/>
                <a:gd name="connsiteY444" fmla="*/ 1253194 h 1413227"/>
                <a:gd name="connsiteX445" fmla="*/ 1702617 w 2048870"/>
                <a:gd name="connsiteY445" fmla="*/ 1249737 h 1413227"/>
                <a:gd name="connsiteX446" fmla="*/ 1704345 w 2048870"/>
                <a:gd name="connsiteY446" fmla="*/ 1232452 h 1413227"/>
                <a:gd name="connsiteX447" fmla="*/ 1706074 w 2048870"/>
                <a:gd name="connsiteY447" fmla="*/ 1208252 h 1413227"/>
                <a:gd name="connsiteX448" fmla="*/ 1711259 w 2048870"/>
                <a:gd name="connsiteY448" fmla="*/ 1201338 h 1413227"/>
                <a:gd name="connsiteX449" fmla="*/ 1718174 w 2048870"/>
                <a:gd name="connsiteY449" fmla="*/ 1192695 h 1413227"/>
                <a:gd name="connsiteX450" fmla="*/ 1725088 w 2048870"/>
                <a:gd name="connsiteY450" fmla="*/ 1189238 h 1413227"/>
                <a:gd name="connsiteX451" fmla="*/ 1735459 w 2048870"/>
                <a:gd name="connsiteY451" fmla="*/ 1184052 h 1413227"/>
                <a:gd name="connsiteX452" fmla="*/ 1773487 w 2048870"/>
                <a:gd name="connsiteY452" fmla="*/ 1189238 h 1413227"/>
                <a:gd name="connsiteX453" fmla="*/ 1778673 w 2048870"/>
                <a:gd name="connsiteY453" fmla="*/ 1194424 h 1413227"/>
                <a:gd name="connsiteX454" fmla="*/ 1808058 w 2048870"/>
                <a:gd name="connsiteY454" fmla="*/ 1187510 h 1413227"/>
                <a:gd name="connsiteX455" fmla="*/ 1811515 w 2048870"/>
                <a:gd name="connsiteY455" fmla="*/ 1180595 h 1413227"/>
                <a:gd name="connsiteX456" fmla="*/ 1818429 w 2048870"/>
                <a:gd name="connsiteY456" fmla="*/ 1171953 h 1413227"/>
                <a:gd name="connsiteX457" fmla="*/ 1825343 w 2048870"/>
                <a:gd name="connsiteY457" fmla="*/ 1158124 h 1413227"/>
                <a:gd name="connsiteX458" fmla="*/ 1827072 w 2048870"/>
                <a:gd name="connsiteY458" fmla="*/ 1151210 h 1413227"/>
                <a:gd name="connsiteX459" fmla="*/ 1833986 w 2048870"/>
                <a:gd name="connsiteY459" fmla="*/ 1133925 h 1413227"/>
                <a:gd name="connsiteX460" fmla="*/ 1820158 w 2048870"/>
                <a:gd name="connsiteY460" fmla="*/ 1128739 h 1413227"/>
                <a:gd name="connsiteX461" fmla="*/ 1816701 w 2048870"/>
                <a:gd name="connsiteY461" fmla="*/ 1123553 h 1413227"/>
                <a:gd name="connsiteX462" fmla="*/ 1820158 w 2048870"/>
                <a:gd name="connsiteY462" fmla="*/ 1118368 h 1413227"/>
                <a:gd name="connsiteX463" fmla="*/ 1825343 w 2048870"/>
                <a:gd name="connsiteY463" fmla="*/ 1111454 h 1413227"/>
                <a:gd name="connsiteX464" fmla="*/ 1828800 w 2048870"/>
                <a:gd name="connsiteY464" fmla="*/ 1099354 h 1413227"/>
                <a:gd name="connsiteX465" fmla="*/ 1832257 w 2048870"/>
                <a:gd name="connsiteY465" fmla="*/ 1094168 h 1413227"/>
                <a:gd name="connsiteX466" fmla="*/ 1830529 w 2048870"/>
                <a:gd name="connsiteY466" fmla="*/ 1083797 h 1413227"/>
                <a:gd name="connsiteX467" fmla="*/ 1816701 w 2048870"/>
                <a:gd name="connsiteY467" fmla="*/ 1087254 h 1413227"/>
                <a:gd name="connsiteX468" fmla="*/ 1789044 w 2048870"/>
                <a:gd name="connsiteY468" fmla="*/ 1092440 h 1413227"/>
                <a:gd name="connsiteX469" fmla="*/ 1778673 w 2048870"/>
                <a:gd name="connsiteY469" fmla="*/ 1095897 h 1413227"/>
                <a:gd name="connsiteX470" fmla="*/ 1771758 w 2048870"/>
                <a:gd name="connsiteY470" fmla="*/ 1099354 h 1413227"/>
                <a:gd name="connsiteX471" fmla="*/ 1766573 w 2048870"/>
                <a:gd name="connsiteY471" fmla="*/ 1116639 h 1413227"/>
                <a:gd name="connsiteX472" fmla="*/ 1756202 w 2048870"/>
                <a:gd name="connsiteY472" fmla="*/ 1118368 h 1413227"/>
                <a:gd name="connsiteX473" fmla="*/ 1738916 w 2048870"/>
                <a:gd name="connsiteY473" fmla="*/ 1130468 h 1413227"/>
                <a:gd name="connsiteX474" fmla="*/ 1718174 w 2048870"/>
                <a:gd name="connsiteY474" fmla="*/ 1140839 h 1413227"/>
                <a:gd name="connsiteX475" fmla="*/ 1709531 w 2048870"/>
                <a:gd name="connsiteY475" fmla="*/ 1146024 h 1413227"/>
                <a:gd name="connsiteX476" fmla="*/ 1707802 w 2048870"/>
                <a:gd name="connsiteY476" fmla="*/ 1151210 h 1413227"/>
                <a:gd name="connsiteX477" fmla="*/ 1700888 w 2048870"/>
                <a:gd name="connsiteY477" fmla="*/ 1154667 h 1413227"/>
                <a:gd name="connsiteX478" fmla="*/ 1647303 w 2048870"/>
                <a:gd name="connsiteY478" fmla="*/ 1152939 h 1413227"/>
                <a:gd name="connsiteX479" fmla="*/ 1650760 w 2048870"/>
                <a:gd name="connsiteY479" fmla="*/ 1142567 h 1413227"/>
                <a:gd name="connsiteX480" fmla="*/ 1649032 w 2048870"/>
                <a:gd name="connsiteY480" fmla="*/ 1120096 h 1413227"/>
                <a:gd name="connsiteX481" fmla="*/ 1598904 w 2048870"/>
                <a:gd name="connsiteY481" fmla="*/ 1114911 h 1413227"/>
                <a:gd name="connsiteX482" fmla="*/ 1591990 w 2048870"/>
                <a:gd name="connsiteY482" fmla="*/ 1113182 h 1413227"/>
                <a:gd name="connsiteX483" fmla="*/ 1564333 w 2048870"/>
                <a:gd name="connsiteY483" fmla="*/ 1109725 h 1413227"/>
                <a:gd name="connsiteX484" fmla="*/ 1553962 w 2048870"/>
                <a:gd name="connsiteY484" fmla="*/ 1101082 h 1413227"/>
                <a:gd name="connsiteX485" fmla="*/ 1543591 w 2048870"/>
                <a:gd name="connsiteY485" fmla="*/ 1092440 h 1413227"/>
                <a:gd name="connsiteX486" fmla="*/ 1526305 w 2048870"/>
                <a:gd name="connsiteY486" fmla="*/ 1090711 h 1413227"/>
                <a:gd name="connsiteX487" fmla="*/ 1514205 w 2048870"/>
                <a:gd name="connsiteY487" fmla="*/ 1085525 h 1413227"/>
                <a:gd name="connsiteX488" fmla="*/ 1512477 w 2048870"/>
                <a:gd name="connsiteY488" fmla="*/ 1092440 h 1413227"/>
                <a:gd name="connsiteX489" fmla="*/ 1507291 w 2048870"/>
                <a:gd name="connsiteY489" fmla="*/ 1085525 h 1413227"/>
                <a:gd name="connsiteX490" fmla="*/ 1496920 w 2048870"/>
                <a:gd name="connsiteY490" fmla="*/ 1075154 h 1413227"/>
                <a:gd name="connsiteX491" fmla="*/ 1445064 w 2048870"/>
                <a:gd name="connsiteY491" fmla="*/ 1076883 h 1413227"/>
                <a:gd name="connsiteX492" fmla="*/ 1439878 w 2048870"/>
                <a:gd name="connsiteY492" fmla="*/ 1080340 h 1413227"/>
                <a:gd name="connsiteX493" fmla="*/ 1438149 w 2048870"/>
                <a:gd name="connsiteY493" fmla="*/ 1085525 h 1413227"/>
                <a:gd name="connsiteX494" fmla="*/ 1451978 w 2048870"/>
                <a:gd name="connsiteY494" fmla="*/ 1071697 h 1413227"/>
                <a:gd name="connsiteX495" fmla="*/ 1458892 w 2048870"/>
                <a:gd name="connsiteY495" fmla="*/ 1064783 h 1413227"/>
                <a:gd name="connsiteX496" fmla="*/ 1464078 w 2048870"/>
                <a:gd name="connsiteY496" fmla="*/ 1059597 h 1413227"/>
                <a:gd name="connsiteX497" fmla="*/ 1479634 w 2048870"/>
                <a:gd name="connsiteY497" fmla="*/ 1064783 h 1413227"/>
                <a:gd name="connsiteX498" fmla="*/ 1490006 w 2048870"/>
                <a:gd name="connsiteY498" fmla="*/ 1071697 h 1413227"/>
                <a:gd name="connsiteX499" fmla="*/ 1498648 w 2048870"/>
                <a:gd name="connsiteY499" fmla="*/ 1068240 h 1413227"/>
                <a:gd name="connsiteX500" fmla="*/ 1500377 w 2048870"/>
                <a:gd name="connsiteY500" fmla="*/ 1063054 h 1413227"/>
                <a:gd name="connsiteX501" fmla="*/ 1503834 w 2048870"/>
                <a:gd name="connsiteY501" fmla="*/ 1057869 h 1413227"/>
                <a:gd name="connsiteX502" fmla="*/ 1507291 w 2048870"/>
                <a:gd name="connsiteY502" fmla="*/ 1045769 h 1413227"/>
                <a:gd name="connsiteX503" fmla="*/ 1540133 w 2048870"/>
                <a:gd name="connsiteY503" fmla="*/ 1044040 h 1413227"/>
                <a:gd name="connsiteX504" fmla="*/ 1557419 w 2048870"/>
                <a:gd name="connsiteY504" fmla="*/ 1059597 h 1413227"/>
                <a:gd name="connsiteX505" fmla="*/ 1560876 w 2048870"/>
                <a:gd name="connsiteY505" fmla="*/ 1073426 h 1413227"/>
                <a:gd name="connsiteX506" fmla="*/ 1564333 w 2048870"/>
                <a:gd name="connsiteY506" fmla="*/ 1087254 h 1413227"/>
                <a:gd name="connsiteX507" fmla="*/ 1566062 w 2048870"/>
                <a:gd name="connsiteY507" fmla="*/ 1094168 h 1413227"/>
                <a:gd name="connsiteX508" fmla="*/ 1569519 w 2048870"/>
                <a:gd name="connsiteY508" fmla="*/ 1099354 h 1413227"/>
                <a:gd name="connsiteX509" fmla="*/ 1576433 w 2048870"/>
                <a:gd name="connsiteY509" fmla="*/ 1037126 h 1413227"/>
                <a:gd name="connsiteX510" fmla="*/ 1588533 w 2048870"/>
                <a:gd name="connsiteY510" fmla="*/ 1052683 h 1413227"/>
                <a:gd name="connsiteX511" fmla="*/ 1591990 w 2048870"/>
                <a:gd name="connsiteY511" fmla="*/ 1069969 h 1413227"/>
                <a:gd name="connsiteX512" fmla="*/ 1607547 w 2048870"/>
                <a:gd name="connsiteY512" fmla="*/ 1080340 h 1413227"/>
                <a:gd name="connsiteX513" fmla="*/ 1612732 w 2048870"/>
                <a:gd name="connsiteY513" fmla="*/ 1083797 h 1413227"/>
                <a:gd name="connsiteX514" fmla="*/ 1621375 w 2048870"/>
                <a:gd name="connsiteY514" fmla="*/ 1085525 h 1413227"/>
                <a:gd name="connsiteX515" fmla="*/ 1633475 w 2048870"/>
                <a:gd name="connsiteY515" fmla="*/ 1092440 h 1413227"/>
                <a:gd name="connsiteX516" fmla="*/ 1640389 w 2048870"/>
                <a:gd name="connsiteY516" fmla="*/ 1095897 h 1413227"/>
                <a:gd name="connsiteX517" fmla="*/ 1649032 w 2048870"/>
                <a:gd name="connsiteY517" fmla="*/ 1109725 h 1413227"/>
                <a:gd name="connsiteX518" fmla="*/ 1659403 w 2048870"/>
                <a:gd name="connsiteY518" fmla="*/ 1113182 h 1413227"/>
                <a:gd name="connsiteX519" fmla="*/ 1669774 w 2048870"/>
                <a:gd name="connsiteY519" fmla="*/ 1118368 h 1413227"/>
                <a:gd name="connsiteX520" fmla="*/ 1680146 w 2048870"/>
                <a:gd name="connsiteY520" fmla="*/ 1125282 h 1413227"/>
                <a:gd name="connsiteX521" fmla="*/ 1699160 w 2048870"/>
                <a:gd name="connsiteY521" fmla="*/ 1139110 h 1413227"/>
                <a:gd name="connsiteX522" fmla="*/ 1712988 w 2048870"/>
                <a:gd name="connsiteY522" fmla="*/ 1142567 h 1413227"/>
                <a:gd name="connsiteX523" fmla="*/ 1704345 w 2048870"/>
                <a:gd name="connsiteY523" fmla="*/ 1137382 h 1413227"/>
                <a:gd name="connsiteX524" fmla="*/ 1699160 w 2048870"/>
                <a:gd name="connsiteY524" fmla="*/ 1132196 h 1413227"/>
                <a:gd name="connsiteX525" fmla="*/ 1688788 w 2048870"/>
                <a:gd name="connsiteY525" fmla="*/ 1128739 h 1413227"/>
                <a:gd name="connsiteX526" fmla="*/ 1674960 w 2048870"/>
                <a:gd name="connsiteY526" fmla="*/ 1125282 h 1413227"/>
                <a:gd name="connsiteX527" fmla="*/ 1659403 w 2048870"/>
                <a:gd name="connsiteY527" fmla="*/ 1121825 h 1413227"/>
                <a:gd name="connsiteX528" fmla="*/ 1650760 w 2048870"/>
                <a:gd name="connsiteY528" fmla="*/ 1116639 h 1413227"/>
                <a:gd name="connsiteX529" fmla="*/ 1645575 w 2048870"/>
                <a:gd name="connsiteY529" fmla="*/ 1113182 h 1413227"/>
                <a:gd name="connsiteX530" fmla="*/ 1642118 w 2048870"/>
                <a:gd name="connsiteY530" fmla="*/ 1107996 h 1413227"/>
                <a:gd name="connsiteX531" fmla="*/ 1628289 w 2048870"/>
                <a:gd name="connsiteY531" fmla="*/ 1088983 h 1413227"/>
                <a:gd name="connsiteX532" fmla="*/ 1626561 w 2048870"/>
                <a:gd name="connsiteY532" fmla="*/ 1083797 h 1413227"/>
                <a:gd name="connsiteX533" fmla="*/ 1619647 w 2048870"/>
                <a:gd name="connsiteY533" fmla="*/ 1075154 h 1413227"/>
                <a:gd name="connsiteX534" fmla="*/ 1616189 w 2048870"/>
                <a:gd name="connsiteY534" fmla="*/ 1061326 h 1413227"/>
                <a:gd name="connsiteX535" fmla="*/ 1614461 w 2048870"/>
                <a:gd name="connsiteY535" fmla="*/ 1056140 h 1413227"/>
                <a:gd name="connsiteX536" fmla="*/ 1604090 w 2048870"/>
                <a:gd name="connsiteY536" fmla="*/ 1038855 h 1413227"/>
                <a:gd name="connsiteX537" fmla="*/ 1598904 w 2048870"/>
                <a:gd name="connsiteY537" fmla="*/ 1037126 h 1413227"/>
                <a:gd name="connsiteX538" fmla="*/ 1593718 w 2048870"/>
                <a:gd name="connsiteY538" fmla="*/ 1030212 h 1413227"/>
                <a:gd name="connsiteX539" fmla="*/ 1585076 w 2048870"/>
                <a:gd name="connsiteY539" fmla="*/ 1019841 h 1413227"/>
                <a:gd name="connsiteX540" fmla="*/ 1590261 w 2048870"/>
                <a:gd name="connsiteY540" fmla="*/ 1000827 h 1413227"/>
                <a:gd name="connsiteX541" fmla="*/ 1598904 w 2048870"/>
                <a:gd name="connsiteY541" fmla="*/ 999098 h 1413227"/>
                <a:gd name="connsiteX542" fmla="*/ 1611004 w 2048870"/>
                <a:gd name="connsiteY542" fmla="*/ 990455 h 1413227"/>
                <a:gd name="connsiteX543" fmla="*/ 1617918 w 2048870"/>
                <a:gd name="connsiteY543" fmla="*/ 985270 h 1413227"/>
                <a:gd name="connsiteX544" fmla="*/ 1616189 w 2048870"/>
                <a:gd name="connsiteY544" fmla="*/ 1021569 h 1413227"/>
                <a:gd name="connsiteX545" fmla="*/ 1612732 w 2048870"/>
                <a:gd name="connsiteY545" fmla="*/ 1028483 h 1413227"/>
                <a:gd name="connsiteX546" fmla="*/ 1607547 w 2048870"/>
                <a:gd name="connsiteY546" fmla="*/ 1035398 h 1413227"/>
                <a:gd name="connsiteX547" fmla="*/ 1612732 w 2048870"/>
                <a:gd name="connsiteY547" fmla="*/ 1031941 h 1413227"/>
                <a:gd name="connsiteX548" fmla="*/ 1621375 w 2048870"/>
                <a:gd name="connsiteY548" fmla="*/ 1016384 h 1413227"/>
                <a:gd name="connsiteX549" fmla="*/ 1626561 w 2048870"/>
                <a:gd name="connsiteY549" fmla="*/ 997370 h 1413227"/>
                <a:gd name="connsiteX550" fmla="*/ 1626561 w 2048870"/>
                <a:gd name="connsiteY550" fmla="*/ 976627 h 1413227"/>
                <a:gd name="connsiteX551" fmla="*/ 1619647 w 2048870"/>
                <a:gd name="connsiteY551" fmla="*/ 962799 h 1413227"/>
                <a:gd name="connsiteX552" fmla="*/ 1626561 w 2048870"/>
                <a:gd name="connsiteY552" fmla="*/ 966256 h 1413227"/>
                <a:gd name="connsiteX553" fmla="*/ 1638661 w 2048870"/>
                <a:gd name="connsiteY553" fmla="*/ 969713 h 1413227"/>
                <a:gd name="connsiteX554" fmla="*/ 1645575 w 2048870"/>
                <a:gd name="connsiteY554" fmla="*/ 967984 h 1413227"/>
                <a:gd name="connsiteX555" fmla="*/ 1650760 w 2048870"/>
                <a:gd name="connsiteY555" fmla="*/ 955885 h 1413227"/>
                <a:gd name="connsiteX556" fmla="*/ 1659403 w 2048870"/>
                <a:gd name="connsiteY556" fmla="*/ 933414 h 1413227"/>
                <a:gd name="connsiteX557" fmla="*/ 1662860 w 2048870"/>
                <a:gd name="connsiteY557" fmla="*/ 929956 h 1413227"/>
                <a:gd name="connsiteX558" fmla="*/ 1664589 w 2048870"/>
                <a:gd name="connsiteY558" fmla="*/ 923042 h 1413227"/>
                <a:gd name="connsiteX559" fmla="*/ 1673231 w 2048870"/>
                <a:gd name="connsiteY559" fmla="*/ 893657 h 1413227"/>
                <a:gd name="connsiteX560" fmla="*/ 1687060 w 2048870"/>
                <a:gd name="connsiteY560" fmla="*/ 891928 h 1413227"/>
                <a:gd name="connsiteX561" fmla="*/ 1693974 w 2048870"/>
                <a:gd name="connsiteY561" fmla="*/ 890200 h 1413227"/>
                <a:gd name="connsiteX562" fmla="*/ 1700888 w 2048870"/>
                <a:gd name="connsiteY562" fmla="*/ 886743 h 1413227"/>
                <a:gd name="connsiteX563" fmla="*/ 1719902 w 2048870"/>
                <a:gd name="connsiteY563" fmla="*/ 878100 h 1413227"/>
                <a:gd name="connsiteX564" fmla="*/ 1726816 w 2048870"/>
                <a:gd name="connsiteY564" fmla="*/ 876372 h 1413227"/>
                <a:gd name="connsiteX565" fmla="*/ 1745830 w 2048870"/>
                <a:gd name="connsiteY565" fmla="*/ 860815 h 1413227"/>
                <a:gd name="connsiteX566" fmla="*/ 1751016 w 2048870"/>
                <a:gd name="connsiteY566" fmla="*/ 857358 h 1413227"/>
                <a:gd name="connsiteX567" fmla="*/ 1757930 w 2048870"/>
                <a:gd name="connsiteY567" fmla="*/ 855629 h 1413227"/>
                <a:gd name="connsiteX568" fmla="*/ 1764844 w 2048870"/>
                <a:gd name="connsiteY568" fmla="*/ 841801 h 1413227"/>
                <a:gd name="connsiteX569" fmla="*/ 1771758 w 2048870"/>
                <a:gd name="connsiteY569" fmla="*/ 836615 h 1413227"/>
                <a:gd name="connsiteX570" fmla="*/ 1776944 w 2048870"/>
                <a:gd name="connsiteY570" fmla="*/ 833158 h 1413227"/>
                <a:gd name="connsiteX571" fmla="*/ 1787315 w 2048870"/>
                <a:gd name="connsiteY571" fmla="*/ 831429 h 1413227"/>
                <a:gd name="connsiteX572" fmla="*/ 1795958 w 2048870"/>
                <a:gd name="connsiteY572" fmla="*/ 829701 h 1413227"/>
                <a:gd name="connsiteX573" fmla="*/ 1797687 w 2048870"/>
                <a:gd name="connsiteY573" fmla="*/ 824515 h 1413227"/>
                <a:gd name="connsiteX574" fmla="*/ 1825343 w 2048870"/>
                <a:gd name="connsiteY574" fmla="*/ 796859 h 1413227"/>
                <a:gd name="connsiteX575" fmla="*/ 1830529 w 2048870"/>
                <a:gd name="connsiteY575" fmla="*/ 776116 h 1413227"/>
                <a:gd name="connsiteX576" fmla="*/ 1835715 w 2048870"/>
                <a:gd name="connsiteY576" fmla="*/ 770930 h 1413227"/>
                <a:gd name="connsiteX577" fmla="*/ 1863371 w 2048870"/>
                <a:gd name="connsiteY577" fmla="*/ 760559 h 1413227"/>
                <a:gd name="connsiteX578" fmla="*/ 1868557 w 2048870"/>
                <a:gd name="connsiteY578" fmla="*/ 755373 h 1413227"/>
                <a:gd name="connsiteX579" fmla="*/ 1880657 w 2048870"/>
                <a:gd name="connsiteY579" fmla="*/ 753645 h 1413227"/>
                <a:gd name="connsiteX580" fmla="*/ 1889299 w 2048870"/>
                <a:gd name="connsiteY580" fmla="*/ 750188 h 1413227"/>
                <a:gd name="connsiteX581" fmla="*/ 1894485 w 2048870"/>
                <a:gd name="connsiteY581" fmla="*/ 731174 h 1413227"/>
                <a:gd name="connsiteX582" fmla="*/ 1910042 w 2048870"/>
                <a:gd name="connsiteY582" fmla="*/ 719074 h 1413227"/>
                <a:gd name="connsiteX583" fmla="*/ 1916956 w 2048870"/>
                <a:gd name="connsiteY583" fmla="*/ 710431 h 1413227"/>
                <a:gd name="connsiteX584" fmla="*/ 1908313 w 2048870"/>
                <a:gd name="connsiteY584" fmla="*/ 689689 h 1413227"/>
                <a:gd name="connsiteX585" fmla="*/ 1901399 w 2048870"/>
                <a:gd name="connsiteY585" fmla="*/ 675860 h 1413227"/>
                <a:gd name="connsiteX586" fmla="*/ 1897942 w 2048870"/>
                <a:gd name="connsiteY586" fmla="*/ 665489 h 1413227"/>
                <a:gd name="connsiteX587" fmla="*/ 1901399 w 2048870"/>
                <a:gd name="connsiteY587" fmla="*/ 651661 h 1413227"/>
                <a:gd name="connsiteX588" fmla="*/ 1897942 w 2048870"/>
                <a:gd name="connsiteY588" fmla="*/ 629190 h 1413227"/>
                <a:gd name="connsiteX589" fmla="*/ 1904856 w 2048870"/>
                <a:gd name="connsiteY589" fmla="*/ 624004 h 1413227"/>
                <a:gd name="connsiteX590" fmla="*/ 1910042 w 2048870"/>
                <a:gd name="connsiteY590" fmla="*/ 613633 h 1413227"/>
                <a:gd name="connsiteX591" fmla="*/ 1918685 w 2048870"/>
                <a:gd name="connsiteY591" fmla="*/ 608447 h 1413227"/>
                <a:gd name="connsiteX592" fmla="*/ 1925599 w 2048870"/>
                <a:gd name="connsiteY592" fmla="*/ 601533 h 1413227"/>
                <a:gd name="connsiteX593" fmla="*/ 1929056 w 2048870"/>
                <a:gd name="connsiteY593" fmla="*/ 587705 h 1413227"/>
                <a:gd name="connsiteX594" fmla="*/ 1932513 w 2048870"/>
                <a:gd name="connsiteY594" fmla="*/ 582519 h 1413227"/>
                <a:gd name="connsiteX595" fmla="*/ 1939427 w 2048870"/>
                <a:gd name="connsiteY595" fmla="*/ 565234 h 1413227"/>
                <a:gd name="connsiteX596" fmla="*/ 1963627 w 2048870"/>
                <a:gd name="connsiteY596" fmla="*/ 556591 h 1413227"/>
                <a:gd name="connsiteX597" fmla="*/ 1968812 w 2048870"/>
                <a:gd name="connsiteY597" fmla="*/ 547948 h 1413227"/>
                <a:gd name="connsiteX598" fmla="*/ 1986098 w 2048870"/>
                <a:gd name="connsiteY598" fmla="*/ 544491 h 1413227"/>
                <a:gd name="connsiteX599" fmla="*/ 2008569 w 2048870"/>
                <a:gd name="connsiteY599" fmla="*/ 539305 h 1413227"/>
                <a:gd name="connsiteX600" fmla="*/ 2017212 w 2048870"/>
                <a:gd name="connsiteY600" fmla="*/ 530663 h 1413227"/>
                <a:gd name="connsiteX601" fmla="*/ 2048326 w 2048870"/>
                <a:gd name="connsiteY601" fmla="*/ 525477 h 1413227"/>
                <a:gd name="connsiteX602" fmla="*/ 2043140 w 2048870"/>
                <a:gd name="connsiteY602" fmla="*/ 499549 h 1413227"/>
                <a:gd name="connsiteX603" fmla="*/ 2032769 w 2048870"/>
                <a:gd name="connsiteY603" fmla="*/ 492635 h 1413227"/>
                <a:gd name="connsiteX604" fmla="*/ 2025854 w 2048870"/>
                <a:gd name="connsiteY604" fmla="*/ 447693 h 1413227"/>
                <a:gd name="connsiteX605" fmla="*/ 2018940 w 2048870"/>
                <a:gd name="connsiteY605" fmla="*/ 428679 h 1413227"/>
                <a:gd name="connsiteX606" fmla="*/ 2015483 w 2048870"/>
                <a:gd name="connsiteY606" fmla="*/ 418307 h 1413227"/>
                <a:gd name="connsiteX607" fmla="*/ 2010298 w 2048870"/>
                <a:gd name="connsiteY607" fmla="*/ 411393 h 1413227"/>
                <a:gd name="connsiteX608" fmla="*/ 2003383 w 2048870"/>
                <a:gd name="connsiteY608" fmla="*/ 407936 h 1413227"/>
                <a:gd name="connsiteX609" fmla="*/ 1984369 w 2048870"/>
                <a:gd name="connsiteY609" fmla="*/ 404479 h 1413227"/>
                <a:gd name="connsiteX610" fmla="*/ 1977455 w 2048870"/>
                <a:gd name="connsiteY610" fmla="*/ 394108 h 1413227"/>
                <a:gd name="connsiteX611" fmla="*/ 1972270 w 2048870"/>
                <a:gd name="connsiteY611" fmla="*/ 390651 h 1413227"/>
                <a:gd name="connsiteX612" fmla="*/ 1968812 w 2048870"/>
                <a:gd name="connsiteY612" fmla="*/ 382008 h 1413227"/>
                <a:gd name="connsiteX613" fmla="*/ 1973998 w 2048870"/>
                <a:gd name="connsiteY613" fmla="*/ 366451 h 1413227"/>
                <a:gd name="connsiteX614" fmla="*/ 1982641 w 2048870"/>
                <a:gd name="connsiteY614" fmla="*/ 354351 h 1413227"/>
                <a:gd name="connsiteX615" fmla="*/ 1984369 w 2048870"/>
                <a:gd name="connsiteY615" fmla="*/ 347437 h 1413227"/>
                <a:gd name="connsiteX616" fmla="*/ 1994741 w 2048870"/>
                <a:gd name="connsiteY616" fmla="*/ 343980 h 1413227"/>
                <a:gd name="connsiteX617" fmla="*/ 1960170 w 2048870"/>
                <a:gd name="connsiteY617" fmla="*/ 337066 h 1413227"/>
                <a:gd name="connsiteX618" fmla="*/ 1958441 w 2048870"/>
                <a:gd name="connsiteY618" fmla="*/ 331880 h 1413227"/>
                <a:gd name="connsiteX619" fmla="*/ 1954984 w 2048870"/>
                <a:gd name="connsiteY619" fmla="*/ 326694 h 1413227"/>
                <a:gd name="connsiteX620" fmla="*/ 1958441 w 2048870"/>
                <a:gd name="connsiteY620" fmla="*/ 318052 h 1413227"/>
                <a:gd name="connsiteX621" fmla="*/ 1963627 w 2048870"/>
                <a:gd name="connsiteY621" fmla="*/ 311138 h 1413227"/>
                <a:gd name="connsiteX622" fmla="*/ 1967084 w 2048870"/>
                <a:gd name="connsiteY622" fmla="*/ 305952 h 1413227"/>
                <a:gd name="connsiteX623" fmla="*/ 1968812 w 2048870"/>
                <a:gd name="connsiteY623" fmla="*/ 299038 h 1413227"/>
                <a:gd name="connsiteX624" fmla="*/ 1973998 w 2048870"/>
                <a:gd name="connsiteY624" fmla="*/ 293852 h 1413227"/>
                <a:gd name="connsiteX625" fmla="*/ 1975727 w 2048870"/>
                <a:gd name="connsiteY625" fmla="*/ 269652 h 1413227"/>
                <a:gd name="connsiteX626" fmla="*/ 1970541 w 2048870"/>
                <a:gd name="connsiteY626" fmla="*/ 255824 h 1413227"/>
                <a:gd name="connsiteX627" fmla="*/ 1968812 w 2048870"/>
                <a:gd name="connsiteY627" fmla="*/ 250638 h 1413227"/>
                <a:gd name="connsiteX628" fmla="*/ 1967084 w 2048870"/>
                <a:gd name="connsiteY628" fmla="*/ 243724 h 1413227"/>
                <a:gd name="connsiteX629" fmla="*/ 1963627 w 2048870"/>
                <a:gd name="connsiteY629" fmla="*/ 238539 h 1413227"/>
                <a:gd name="connsiteX630" fmla="*/ 1965355 w 2048870"/>
                <a:gd name="connsiteY630" fmla="*/ 216068 h 1413227"/>
                <a:gd name="connsiteX631" fmla="*/ 1961898 w 2048870"/>
                <a:gd name="connsiteY631" fmla="*/ 209153 h 1413227"/>
                <a:gd name="connsiteX632" fmla="*/ 1954984 w 2048870"/>
                <a:gd name="connsiteY632" fmla="*/ 216068 h 1413227"/>
                <a:gd name="connsiteX633" fmla="*/ 1948070 w 2048870"/>
                <a:gd name="connsiteY633" fmla="*/ 217796 h 1413227"/>
                <a:gd name="connsiteX634" fmla="*/ 1937699 w 2048870"/>
                <a:gd name="connsiteY634" fmla="*/ 226439 h 1413227"/>
                <a:gd name="connsiteX635" fmla="*/ 1932513 w 2048870"/>
                <a:gd name="connsiteY635" fmla="*/ 228167 h 1413227"/>
                <a:gd name="connsiteX636" fmla="*/ 1922142 w 2048870"/>
                <a:gd name="connsiteY636" fmla="*/ 235082 h 1413227"/>
                <a:gd name="connsiteX637" fmla="*/ 1906585 w 2048870"/>
                <a:gd name="connsiteY637" fmla="*/ 231624 h 1413227"/>
                <a:gd name="connsiteX638" fmla="*/ 1885842 w 2048870"/>
                <a:gd name="connsiteY638" fmla="*/ 222982 h 1413227"/>
                <a:gd name="connsiteX639" fmla="*/ 1878928 w 2048870"/>
                <a:gd name="connsiteY639" fmla="*/ 224710 h 1413227"/>
                <a:gd name="connsiteX640" fmla="*/ 1868557 w 2048870"/>
                <a:gd name="connsiteY640" fmla="*/ 233353 h 1413227"/>
                <a:gd name="connsiteX641" fmla="*/ 1847814 w 2048870"/>
                <a:gd name="connsiteY641" fmla="*/ 221253 h 1413227"/>
                <a:gd name="connsiteX642" fmla="*/ 1839172 w 2048870"/>
                <a:gd name="connsiteY642" fmla="*/ 217796 h 1413227"/>
                <a:gd name="connsiteX643" fmla="*/ 1832257 w 2048870"/>
                <a:gd name="connsiteY643" fmla="*/ 214339 h 1413227"/>
                <a:gd name="connsiteX644" fmla="*/ 1823615 w 2048870"/>
                <a:gd name="connsiteY644" fmla="*/ 224710 h 1413227"/>
                <a:gd name="connsiteX645" fmla="*/ 1816701 w 2048870"/>
                <a:gd name="connsiteY645" fmla="*/ 229896 h 1413227"/>
                <a:gd name="connsiteX646" fmla="*/ 1787315 w 2048870"/>
                <a:gd name="connsiteY646" fmla="*/ 221253 h 1413227"/>
                <a:gd name="connsiteX647" fmla="*/ 1759659 w 2048870"/>
                <a:gd name="connsiteY647" fmla="*/ 222982 h 1413227"/>
                <a:gd name="connsiteX648" fmla="*/ 1754473 w 2048870"/>
                <a:gd name="connsiteY648" fmla="*/ 224710 h 1413227"/>
                <a:gd name="connsiteX649" fmla="*/ 1735459 w 2048870"/>
                <a:gd name="connsiteY649" fmla="*/ 222982 h 1413227"/>
                <a:gd name="connsiteX650" fmla="*/ 1728545 w 2048870"/>
                <a:gd name="connsiteY650" fmla="*/ 217796 h 1413227"/>
                <a:gd name="connsiteX651" fmla="*/ 1721631 w 2048870"/>
                <a:gd name="connsiteY651" fmla="*/ 207425 h 1413227"/>
                <a:gd name="connsiteX652" fmla="*/ 1712988 w 2048870"/>
                <a:gd name="connsiteY652" fmla="*/ 235082 h 1413227"/>
                <a:gd name="connsiteX653" fmla="*/ 1706074 w 2048870"/>
                <a:gd name="connsiteY653" fmla="*/ 250638 h 1413227"/>
                <a:gd name="connsiteX654" fmla="*/ 1692245 w 2048870"/>
                <a:gd name="connsiteY654" fmla="*/ 236810 h 1413227"/>
                <a:gd name="connsiteX655" fmla="*/ 1645575 w 2048870"/>
                <a:gd name="connsiteY655" fmla="*/ 224710 h 1413227"/>
                <a:gd name="connsiteX656" fmla="*/ 1640389 w 2048870"/>
                <a:gd name="connsiteY656" fmla="*/ 217796 h 1413227"/>
                <a:gd name="connsiteX657" fmla="*/ 1638661 w 2048870"/>
                <a:gd name="connsiteY657" fmla="*/ 212610 h 1413227"/>
                <a:gd name="connsiteX658" fmla="*/ 1623104 w 2048870"/>
                <a:gd name="connsiteY658" fmla="*/ 195325 h 1413227"/>
                <a:gd name="connsiteX659" fmla="*/ 1609275 w 2048870"/>
                <a:gd name="connsiteY659" fmla="*/ 191868 h 1413227"/>
                <a:gd name="connsiteX660" fmla="*/ 1600633 w 2048870"/>
                <a:gd name="connsiteY660" fmla="*/ 200511 h 1413227"/>
                <a:gd name="connsiteX661" fmla="*/ 1595447 w 2048870"/>
                <a:gd name="connsiteY661" fmla="*/ 202239 h 1413227"/>
                <a:gd name="connsiteX662" fmla="*/ 1574704 w 2048870"/>
                <a:gd name="connsiteY662" fmla="*/ 209153 h 1413227"/>
                <a:gd name="connsiteX663" fmla="*/ 1569519 w 2048870"/>
                <a:gd name="connsiteY663" fmla="*/ 214339 h 1413227"/>
                <a:gd name="connsiteX664" fmla="*/ 1564333 w 2048870"/>
                <a:gd name="connsiteY664" fmla="*/ 217796 h 1413227"/>
                <a:gd name="connsiteX665" fmla="*/ 1560876 w 2048870"/>
                <a:gd name="connsiteY665" fmla="*/ 224710 h 1413227"/>
                <a:gd name="connsiteX666" fmla="*/ 1543591 w 2048870"/>
                <a:gd name="connsiteY666" fmla="*/ 238539 h 1413227"/>
                <a:gd name="connsiteX667" fmla="*/ 1536676 w 2048870"/>
                <a:gd name="connsiteY667" fmla="*/ 245453 h 1413227"/>
                <a:gd name="connsiteX668" fmla="*/ 1534948 w 2048870"/>
                <a:gd name="connsiteY668" fmla="*/ 250638 h 1413227"/>
                <a:gd name="connsiteX669" fmla="*/ 1536676 w 2048870"/>
                <a:gd name="connsiteY669" fmla="*/ 255824 h 1413227"/>
                <a:gd name="connsiteX670" fmla="*/ 1510748 w 2048870"/>
                <a:gd name="connsiteY670" fmla="*/ 259281 h 1413227"/>
                <a:gd name="connsiteX671" fmla="*/ 1500377 w 2048870"/>
                <a:gd name="connsiteY671" fmla="*/ 252367 h 1413227"/>
                <a:gd name="connsiteX672" fmla="*/ 1472720 w 2048870"/>
                <a:gd name="connsiteY672" fmla="*/ 252367 h 1413227"/>
                <a:gd name="connsiteX673" fmla="*/ 1455435 w 2048870"/>
                <a:gd name="connsiteY673" fmla="*/ 254096 h 1413227"/>
                <a:gd name="connsiteX674" fmla="*/ 1446792 w 2048870"/>
                <a:gd name="connsiteY674" fmla="*/ 261010 h 1413227"/>
                <a:gd name="connsiteX675" fmla="*/ 1441606 w 2048870"/>
                <a:gd name="connsiteY675" fmla="*/ 267924 h 1413227"/>
                <a:gd name="connsiteX676" fmla="*/ 1438149 w 2048870"/>
                <a:gd name="connsiteY676" fmla="*/ 273110 h 1413227"/>
                <a:gd name="connsiteX677" fmla="*/ 1432964 w 2048870"/>
                <a:gd name="connsiteY677" fmla="*/ 274838 h 1413227"/>
                <a:gd name="connsiteX678" fmla="*/ 1419135 w 2048870"/>
                <a:gd name="connsiteY678" fmla="*/ 281752 h 1413227"/>
                <a:gd name="connsiteX679" fmla="*/ 1412221 w 2048870"/>
                <a:gd name="connsiteY679" fmla="*/ 278295 h 1413227"/>
                <a:gd name="connsiteX680" fmla="*/ 1408764 w 2048870"/>
                <a:gd name="connsiteY680" fmla="*/ 273110 h 1413227"/>
                <a:gd name="connsiteX681" fmla="*/ 1400121 w 2048870"/>
                <a:gd name="connsiteY681" fmla="*/ 257553 h 1413227"/>
                <a:gd name="connsiteX682" fmla="*/ 1394936 w 2048870"/>
                <a:gd name="connsiteY682" fmla="*/ 254096 h 1413227"/>
                <a:gd name="connsiteX683" fmla="*/ 1386293 w 2048870"/>
                <a:gd name="connsiteY683" fmla="*/ 243724 h 1413227"/>
                <a:gd name="connsiteX684" fmla="*/ 1381107 w 2048870"/>
                <a:gd name="connsiteY684" fmla="*/ 212610 h 1413227"/>
                <a:gd name="connsiteX685" fmla="*/ 1370736 w 2048870"/>
                <a:gd name="connsiteY685" fmla="*/ 202239 h 1413227"/>
                <a:gd name="connsiteX686" fmla="*/ 1363822 w 2048870"/>
                <a:gd name="connsiteY686" fmla="*/ 200511 h 1413227"/>
                <a:gd name="connsiteX687" fmla="*/ 1358636 w 2048870"/>
                <a:gd name="connsiteY687" fmla="*/ 193596 h 1413227"/>
                <a:gd name="connsiteX688" fmla="*/ 1349994 w 2048870"/>
                <a:gd name="connsiteY688" fmla="*/ 178040 h 1413227"/>
                <a:gd name="connsiteX689" fmla="*/ 1337894 w 2048870"/>
                <a:gd name="connsiteY689" fmla="*/ 167668 h 1413227"/>
                <a:gd name="connsiteX690" fmla="*/ 1298137 w 2048870"/>
                <a:gd name="connsiteY690" fmla="*/ 169397 h 1413227"/>
                <a:gd name="connsiteX691" fmla="*/ 1284309 w 2048870"/>
                <a:gd name="connsiteY691" fmla="*/ 179768 h 1413227"/>
                <a:gd name="connsiteX692" fmla="*/ 1268752 w 2048870"/>
                <a:gd name="connsiteY692" fmla="*/ 181497 h 1413227"/>
                <a:gd name="connsiteX693" fmla="*/ 1251467 w 2048870"/>
                <a:gd name="connsiteY693" fmla="*/ 174583 h 1413227"/>
                <a:gd name="connsiteX694" fmla="*/ 1241095 w 2048870"/>
                <a:gd name="connsiteY694" fmla="*/ 164211 h 1413227"/>
                <a:gd name="connsiteX695" fmla="*/ 1230724 w 2048870"/>
                <a:gd name="connsiteY695" fmla="*/ 160754 h 1413227"/>
                <a:gd name="connsiteX696" fmla="*/ 1215167 w 2048870"/>
                <a:gd name="connsiteY696" fmla="*/ 146926 h 1413227"/>
                <a:gd name="connsiteX697" fmla="*/ 1213439 w 2048870"/>
                <a:gd name="connsiteY697" fmla="*/ 140012 h 1413227"/>
                <a:gd name="connsiteX698" fmla="*/ 1206524 w 2048870"/>
                <a:gd name="connsiteY698" fmla="*/ 131369 h 1413227"/>
                <a:gd name="connsiteX699" fmla="*/ 1204796 w 2048870"/>
                <a:gd name="connsiteY699" fmla="*/ 122726 h 1413227"/>
                <a:gd name="connsiteX700" fmla="*/ 1190968 w 2048870"/>
                <a:gd name="connsiteY700" fmla="*/ 117541 h 1413227"/>
                <a:gd name="connsiteX701" fmla="*/ 1201339 w 2048870"/>
                <a:gd name="connsiteY701" fmla="*/ 105441 h 1413227"/>
                <a:gd name="connsiteX702" fmla="*/ 1208253 w 2048870"/>
                <a:gd name="connsiteY702" fmla="*/ 101984 h 1413227"/>
                <a:gd name="connsiteX703" fmla="*/ 1213439 w 2048870"/>
                <a:gd name="connsiteY703" fmla="*/ 95069 h 1413227"/>
                <a:gd name="connsiteX704" fmla="*/ 1218624 w 2048870"/>
                <a:gd name="connsiteY704" fmla="*/ 89884 h 1413227"/>
                <a:gd name="connsiteX705" fmla="*/ 1216896 w 2048870"/>
                <a:gd name="connsiteY705" fmla="*/ 84698 h 1413227"/>
                <a:gd name="connsiteX706" fmla="*/ 1206524 w 2048870"/>
                <a:gd name="connsiteY706" fmla="*/ 81241 h 1413227"/>
                <a:gd name="connsiteX707" fmla="*/ 1190968 w 2048870"/>
                <a:gd name="connsiteY707" fmla="*/ 76055 h 1413227"/>
                <a:gd name="connsiteX708" fmla="*/ 1175411 w 2048870"/>
                <a:gd name="connsiteY708" fmla="*/ 60499 h 1413227"/>
                <a:gd name="connsiteX709" fmla="*/ 1168496 w 2048870"/>
                <a:gd name="connsiteY709" fmla="*/ 53584 h 1413227"/>
                <a:gd name="connsiteX710" fmla="*/ 1165039 w 2048870"/>
                <a:gd name="connsiteY710" fmla="*/ 46670 h 1413227"/>
                <a:gd name="connsiteX711" fmla="*/ 1159854 w 2048870"/>
                <a:gd name="connsiteY711" fmla="*/ 39756 h 1413227"/>
                <a:gd name="connsiteX712" fmla="*/ 1151211 w 2048870"/>
                <a:gd name="connsiteY712" fmla="*/ 27656 h 1413227"/>
                <a:gd name="connsiteX713" fmla="*/ 1146025 w 2048870"/>
                <a:gd name="connsiteY713" fmla="*/ 24199 h 1413227"/>
                <a:gd name="connsiteX714" fmla="*/ 1140840 w 2048870"/>
                <a:gd name="connsiteY714" fmla="*/ 17285 h 1413227"/>
                <a:gd name="connsiteX715" fmla="*/ 1123554 w 2048870"/>
                <a:gd name="connsiteY715" fmla="*/ 3457 h 1413227"/>
                <a:gd name="connsiteX716" fmla="*/ 1116640 w 2048870"/>
                <a:gd name="connsiteY716" fmla="*/ 0 h 1413227"/>
                <a:gd name="connsiteX717" fmla="*/ 1102812 w 2048870"/>
                <a:gd name="connsiteY717" fmla="*/ 1728 h 1413227"/>
                <a:gd name="connsiteX718" fmla="*/ 1097626 w 2048870"/>
                <a:gd name="connsiteY718" fmla="*/ 3457 h 1413227"/>
                <a:gd name="connsiteX719" fmla="*/ 1090712 w 2048870"/>
                <a:gd name="connsiteY719" fmla="*/ 5185 h 1413227"/>
                <a:gd name="connsiteX720" fmla="*/ 1071698 w 2048870"/>
                <a:gd name="connsiteY720" fmla="*/ 17285 h 1413227"/>
                <a:gd name="connsiteX721" fmla="*/ 1056141 w 2048870"/>
                <a:gd name="connsiteY721" fmla="*/ 15556 h 1413227"/>
                <a:gd name="connsiteX722" fmla="*/ 1050955 w 2048870"/>
                <a:gd name="connsiteY722" fmla="*/ 19014 h 1413227"/>
                <a:gd name="connsiteX723" fmla="*/ 1042313 w 2048870"/>
                <a:gd name="connsiteY723" fmla="*/ 27656 h 1413227"/>
                <a:gd name="connsiteX724" fmla="*/ 1028484 w 2048870"/>
                <a:gd name="connsiteY724" fmla="*/ 38027 h 1413227"/>
                <a:gd name="connsiteX725" fmla="*/ 1025027 w 2048870"/>
                <a:gd name="connsiteY725" fmla="*/ 41485 h 1413227"/>
                <a:gd name="connsiteX726" fmla="*/ 1016385 w 2048870"/>
                <a:gd name="connsiteY726" fmla="*/ 46670 h 1413227"/>
                <a:gd name="connsiteX727" fmla="*/ 1012927 w 2048870"/>
                <a:gd name="connsiteY727" fmla="*/ 50127 h 1413227"/>
                <a:gd name="connsiteX728" fmla="*/ 997371 w 2048870"/>
                <a:gd name="connsiteY728" fmla="*/ 57041 h 1413227"/>
                <a:gd name="connsiteX729" fmla="*/ 973171 w 2048870"/>
                <a:gd name="connsiteY729" fmla="*/ 58770 h 1413227"/>
                <a:gd name="connsiteX730" fmla="*/ 967985 w 2048870"/>
                <a:gd name="connsiteY730" fmla="*/ 62227 h 1413227"/>
                <a:gd name="connsiteX731" fmla="*/ 966257 w 2048870"/>
                <a:gd name="connsiteY731" fmla="*/ 79513 h 1413227"/>
                <a:gd name="connsiteX732" fmla="*/ 962800 w 2048870"/>
                <a:gd name="connsiteY732" fmla="*/ 103712 h 1413227"/>
                <a:gd name="connsiteX733" fmla="*/ 961071 w 2048870"/>
                <a:gd name="connsiteY733" fmla="*/ 112355 h 1413227"/>
                <a:gd name="connsiteX734" fmla="*/ 916129 w 2048870"/>
                <a:gd name="connsiteY734" fmla="*/ 115812 h 1413227"/>
                <a:gd name="connsiteX735" fmla="*/ 910943 w 2048870"/>
                <a:gd name="connsiteY735" fmla="*/ 119269 h 1413227"/>
                <a:gd name="connsiteX736" fmla="*/ 905758 w 2048870"/>
                <a:gd name="connsiteY736" fmla="*/ 120998 h 1413227"/>
                <a:gd name="connsiteX737" fmla="*/ 893658 w 2048870"/>
                <a:gd name="connsiteY737" fmla="*/ 124455 h 1413227"/>
                <a:gd name="connsiteX738" fmla="*/ 888472 w 2048870"/>
                <a:gd name="connsiteY738" fmla="*/ 126183 h 1413227"/>
                <a:gd name="connsiteX739" fmla="*/ 895386 w 2048870"/>
                <a:gd name="connsiteY739" fmla="*/ 124455 h 1413227"/>
                <a:gd name="connsiteX740" fmla="*/ 904029 w 2048870"/>
                <a:gd name="connsiteY740" fmla="*/ 115812 h 1413227"/>
                <a:gd name="connsiteX741" fmla="*/ 966257 w 2048870"/>
                <a:gd name="connsiteY741" fmla="*/ 63956 h 1413227"/>
                <a:gd name="connsiteX0" fmla="*/ 966257 w 2048870"/>
                <a:gd name="connsiteY0" fmla="*/ 63956 h 1413227"/>
                <a:gd name="connsiteX1" fmla="*/ 962800 w 2048870"/>
                <a:gd name="connsiteY1" fmla="*/ 72598 h 1413227"/>
                <a:gd name="connsiteX2" fmla="*/ 919586 w 2048870"/>
                <a:gd name="connsiteY2" fmla="*/ 114083 h 1413227"/>
                <a:gd name="connsiteX3" fmla="*/ 902301 w 2048870"/>
                <a:gd name="connsiteY3" fmla="*/ 120998 h 1413227"/>
                <a:gd name="connsiteX4" fmla="*/ 885015 w 2048870"/>
                <a:gd name="connsiteY4" fmla="*/ 122726 h 1413227"/>
                <a:gd name="connsiteX5" fmla="*/ 878101 w 2048870"/>
                <a:gd name="connsiteY5" fmla="*/ 129640 h 1413227"/>
                <a:gd name="connsiteX6" fmla="*/ 855630 w 2048870"/>
                <a:gd name="connsiteY6" fmla="*/ 140012 h 1413227"/>
                <a:gd name="connsiteX7" fmla="*/ 850444 w 2048870"/>
                <a:gd name="connsiteY7" fmla="*/ 145197 h 1413227"/>
                <a:gd name="connsiteX8" fmla="*/ 831430 w 2048870"/>
                <a:gd name="connsiteY8" fmla="*/ 146926 h 1413227"/>
                <a:gd name="connsiteX9" fmla="*/ 808923 w 2048870"/>
                <a:gd name="connsiteY9" fmla="*/ 195183 h 1413227"/>
                <a:gd name="connsiteX10" fmla="*/ 817602 w 2048870"/>
                <a:gd name="connsiteY10" fmla="*/ 247181 h 1413227"/>
                <a:gd name="connsiteX11" fmla="*/ 821059 w 2048870"/>
                <a:gd name="connsiteY11" fmla="*/ 255824 h 1413227"/>
                <a:gd name="connsiteX12" fmla="*/ 826245 w 2048870"/>
                <a:gd name="connsiteY12" fmla="*/ 259281 h 1413227"/>
                <a:gd name="connsiteX13" fmla="*/ 833159 w 2048870"/>
                <a:gd name="connsiteY13" fmla="*/ 267924 h 1413227"/>
                <a:gd name="connsiteX14" fmla="*/ 836616 w 2048870"/>
                <a:gd name="connsiteY14" fmla="*/ 280024 h 1413227"/>
                <a:gd name="connsiteX15" fmla="*/ 834887 w 2048870"/>
                <a:gd name="connsiteY15" fmla="*/ 295581 h 1413227"/>
                <a:gd name="connsiteX16" fmla="*/ 821059 w 2048870"/>
                <a:gd name="connsiteY16" fmla="*/ 299038 h 1413227"/>
                <a:gd name="connsiteX17" fmla="*/ 800316 w 2048870"/>
                <a:gd name="connsiteY17" fmla="*/ 295581 h 1413227"/>
                <a:gd name="connsiteX18" fmla="*/ 786488 w 2048870"/>
                <a:gd name="connsiteY18" fmla="*/ 286938 h 1413227"/>
                <a:gd name="connsiteX19" fmla="*/ 781302 w 2048870"/>
                <a:gd name="connsiteY19" fmla="*/ 285209 h 1413227"/>
                <a:gd name="connsiteX20" fmla="*/ 774388 w 2048870"/>
                <a:gd name="connsiteY20" fmla="*/ 278295 h 1413227"/>
                <a:gd name="connsiteX21" fmla="*/ 767474 w 2048870"/>
                <a:gd name="connsiteY21" fmla="*/ 285209 h 1413227"/>
                <a:gd name="connsiteX22" fmla="*/ 758831 w 2048870"/>
                <a:gd name="connsiteY22" fmla="*/ 286938 h 1413227"/>
                <a:gd name="connsiteX23" fmla="*/ 751917 w 2048870"/>
                <a:gd name="connsiteY23" fmla="*/ 288666 h 1413227"/>
                <a:gd name="connsiteX24" fmla="*/ 746732 w 2048870"/>
                <a:gd name="connsiteY24" fmla="*/ 290395 h 1413227"/>
                <a:gd name="connsiteX25" fmla="*/ 722532 w 2048870"/>
                <a:gd name="connsiteY25" fmla="*/ 292124 h 1413227"/>
                <a:gd name="connsiteX26" fmla="*/ 720803 w 2048870"/>
                <a:gd name="connsiteY26" fmla="*/ 297309 h 1413227"/>
                <a:gd name="connsiteX27" fmla="*/ 701789 w 2048870"/>
                <a:gd name="connsiteY27" fmla="*/ 312866 h 1413227"/>
                <a:gd name="connsiteX28" fmla="*/ 686233 w 2048870"/>
                <a:gd name="connsiteY28" fmla="*/ 305952 h 1413227"/>
                <a:gd name="connsiteX29" fmla="*/ 684504 w 2048870"/>
                <a:gd name="connsiteY29" fmla="*/ 300766 h 1413227"/>
                <a:gd name="connsiteX30" fmla="*/ 681047 w 2048870"/>
                <a:gd name="connsiteY30" fmla="*/ 285209 h 1413227"/>
                <a:gd name="connsiteX31" fmla="*/ 649933 w 2048870"/>
                <a:gd name="connsiteY31" fmla="*/ 288666 h 1413227"/>
                <a:gd name="connsiteX32" fmla="*/ 646476 w 2048870"/>
                <a:gd name="connsiteY32" fmla="*/ 299038 h 1413227"/>
                <a:gd name="connsiteX33" fmla="*/ 639562 w 2048870"/>
                <a:gd name="connsiteY33" fmla="*/ 314595 h 1413227"/>
                <a:gd name="connsiteX34" fmla="*/ 634376 w 2048870"/>
                <a:gd name="connsiteY34" fmla="*/ 326694 h 1413227"/>
                <a:gd name="connsiteX35" fmla="*/ 629191 w 2048870"/>
                <a:gd name="connsiteY35" fmla="*/ 328423 h 1413227"/>
                <a:gd name="connsiteX36" fmla="*/ 613634 w 2048870"/>
                <a:gd name="connsiteY36" fmla="*/ 323237 h 1413227"/>
                <a:gd name="connsiteX37" fmla="*/ 601534 w 2048870"/>
                <a:gd name="connsiteY37" fmla="*/ 311138 h 1413227"/>
                <a:gd name="connsiteX38" fmla="*/ 572149 w 2048870"/>
                <a:gd name="connsiteY38" fmla="*/ 309409 h 1413227"/>
                <a:gd name="connsiteX39" fmla="*/ 566963 w 2048870"/>
                <a:gd name="connsiteY39" fmla="*/ 295581 h 1413227"/>
                <a:gd name="connsiteX40" fmla="*/ 563506 w 2048870"/>
                <a:gd name="connsiteY40" fmla="*/ 300766 h 1413227"/>
                <a:gd name="connsiteX41" fmla="*/ 558320 w 2048870"/>
                <a:gd name="connsiteY41" fmla="*/ 307680 h 1413227"/>
                <a:gd name="connsiteX42" fmla="*/ 549678 w 2048870"/>
                <a:gd name="connsiteY42" fmla="*/ 321509 h 1413227"/>
                <a:gd name="connsiteX43" fmla="*/ 509921 w 2048870"/>
                <a:gd name="connsiteY43" fmla="*/ 324966 h 1413227"/>
                <a:gd name="connsiteX44" fmla="*/ 515107 w 2048870"/>
                <a:gd name="connsiteY44" fmla="*/ 328423 h 1413227"/>
                <a:gd name="connsiteX45" fmla="*/ 525478 w 2048870"/>
                <a:gd name="connsiteY45" fmla="*/ 331880 h 1413227"/>
                <a:gd name="connsiteX46" fmla="*/ 523749 w 2048870"/>
                <a:gd name="connsiteY46" fmla="*/ 337066 h 1413227"/>
                <a:gd name="connsiteX47" fmla="*/ 516835 w 2048870"/>
                <a:gd name="connsiteY47" fmla="*/ 343980 h 1413227"/>
                <a:gd name="connsiteX48" fmla="*/ 511650 w 2048870"/>
                <a:gd name="connsiteY48" fmla="*/ 323237 h 1413227"/>
                <a:gd name="connsiteX49" fmla="*/ 483993 w 2048870"/>
                <a:gd name="connsiteY49" fmla="*/ 333609 h 1413227"/>
                <a:gd name="connsiteX50" fmla="*/ 478807 w 2048870"/>
                <a:gd name="connsiteY50" fmla="*/ 338794 h 1413227"/>
                <a:gd name="connsiteX51" fmla="*/ 466707 w 2048870"/>
                <a:gd name="connsiteY51" fmla="*/ 337066 h 1413227"/>
                <a:gd name="connsiteX52" fmla="*/ 463250 w 2048870"/>
                <a:gd name="connsiteY52" fmla="*/ 324966 h 1413227"/>
                <a:gd name="connsiteX53" fmla="*/ 454608 w 2048870"/>
                <a:gd name="connsiteY53" fmla="*/ 312866 h 1413227"/>
                <a:gd name="connsiteX54" fmla="*/ 449422 w 2048870"/>
                <a:gd name="connsiteY54" fmla="*/ 311138 h 1413227"/>
                <a:gd name="connsiteX55" fmla="*/ 425222 w 2048870"/>
                <a:gd name="connsiteY55" fmla="*/ 314595 h 1413227"/>
                <a:gd name="connsiteX56" fmla="*/ 273110 w 2048870"/>
                <a:gd name="connsiteY56" fmla="*/ 316323 h 1413227"/>
                <a:gd name="connsiteX57" fmla="*/ 262739 w 2048870"/>
                <a:gd name="connsiteY57" fmla="*/ 323237 h 1413227"/>
                <a:gd name="connsiteX58" fmla="*/ 255825 w 2048870"/>
                <a:gd name="connsiteY58" fmla="*/ 324966 h 1413227"/>
                <a:gd name="connsiteX59" fmla="*/ 250639 w 2048870"/>
                <a:gd name="connsiteY59" fmla="*/ 326694 h 1413227"/>
                <a:gd name="connsiteX60" fmla="*/ 238540 w 2048870"/>
                <a:gd name="connsiteY60" fmla="*/ 330152 h 1413227"/>
                <a:gd name="connsiteX61" fmla="*/ 200512 w 2048870"/>
                <a:gd name="connsiteY61" fmla="*/ 333609 h 1413227"/>
                <a:gd name="connsiteX62" fmla="*/ 188412 w 2048870"/>
                <a:gd name="connsiteY62" fmla="*/ 338794 h 1413227"/>
                <a:gd name="connsiteX63" fmla="*/ 176312 w 2048870"/>
                <a:gd name="connsiteY63" fmla="*/ 342251 h 1413227"/>
                <a:gd name="connsiteX64" fmla="*/ 146927 w 2048870"/>
                <a:gd name="connsiteY64" fmla="*/ 356080 h 1413227"/>
                <a:gd name="connsiteX65" fmla="*/ 138284 w 2048870"/>
                <a:gd name="connsiteY65" fmla="*/ 357808 h 1413227"/>
                <a:gd name="connsiteX66" fmla="*/ 136555 w 2048870"/>
                <a:gd name="connsiteY66" fmla="*/ 364722 h 1413227"/>
                <a:gd name="connsiteX67" fmla="*/ 134827 w 2048870"/>
                <a:gd name="connsiteY67" fmla="*/ 380279 h 1413227"/>
                <a:gd name="connsiteX68" fmla="*/ 127913 w 2048870"/>
                <a:gd name="connsiteY68" fmla="*/ 387193 h 1413227"/>
                <a:gd name="connsiteX69" fmla="*/ 126184 w 2048870"/>
                <a:gd name="connsiteY69" fmla="*/ 394108 h 1413227"/>
                <a:gd name="connsiteX70" fmla="*/ 124456 w 2048870"/>
                <a:gd name="connsiteY70" fmla="*/ 402750 h 1413227"/>
                <a:gd name="connsiteX71" fmla="*/ 117541 w 2048870"/>
                <a:gd name="connsiteY71" fmla="*/ 407936 h 1413227"/>
                <a:gd name="connsiteX72" fmla="*/ 105442 w 2048870"/>
                <a:gd name="connsiteY72" fmla="*/ 411393 h 1413227"/>
                <a:gd name="connsiteX73" fmla="*/ 100256 w 2048870"/>
                <a:gd name="connsiteY73" fmla="*/ 413122 h 1413227"/>
                <a:gd name="connsiteX74" fmla="*/ 70871 w 2048870"/>
                <a:gd name="connsiteY74" fmla="*/ 421764 h 1413227"/>
                <a:gd name="connsiteX75" fmla="*/ 67414 w 2048870"/>
                <a:gd name="connsiteY75" fmla="*/ 428679 h 1413227"/>
                <a:gd name="connsiteX76" fmla="*/ 69142 w 2048870"/>
                <a:gd name="connsiteY76" fmla="*/ 440778 h 1413227"/>
                <a:gd name="connsiteX77" fmla="*/ 65685 w 2048870"/>
                <a:gd name="connsiteY77" fmla="*/ 445964 h 1413227"/>
                <a:gd name="connsiteX78" fmla="*/ 63957 w 2048870"/>
                <a:gd name="connsiteY78" fmla="*/ 452878 h 1413227"/>
                <a:gd name="connsiteX79" fmla="*/ 69142 w 2048870"/>
                <a:gd name="connsiteY79" fmla="*/ 456335 h 1413227"/>
                <a:gd name="connsiteX80" fmla="*/ 74328 w 2048870"/>
                <a:gd name="connsiteY80" fmla="*/ 458064 h 1413227"/>
                <a:gd name="connsiteX81" fmla="*/ 84699 w 2048870"/>
                <a:gd name="connsiteY81" fmla="*/ 466707 h 1413227"/>
                <a:gd name="connsiteX82" fmla="*/ 81242 w 2048870"/>
                <a:gd name="connsiteY82" fmla="*/ 473621 h 1413227"/>
                <a:gd name="connsiteX83" fmla="*/ 77785 w 2048870"/>
                <a:gd name="connsiteY83" fmla="*/ 478806 h 1413227"/>
                <a:gd name="connsiteX84" fmla="*/ 79513 w 2048870"/>
                <a:gd name="connsiteY84" fmla="*/ 485721 h 1413227"/>
                <a:gd name="connsiteX85" fmla="*/ 72599 w 2048870"/>
                <a:gd name="connsiteY85" fmla="*/ 489178 h 1413227"/>
                <a:gd name="connsiteX86" fmla="*/ 63957 w 2048870"/>
                <a:gd name="connsiteY86" fmla="*/ 487449 h 1413227"/>
                <a:gd name="connsiteX87" fmla="*/ 76056 w 2048870"/>
                <a:gd name="connsiteY87" fmla="*/ 485721 h 1413227"/>
                <a:gd name="connsiteX88" fmla="*/ 86428 w 2048870"/>
                <a:gd name="connsiteY88" fmla="*/ 483992 h 1413227"/>
                <a:gd name="connsiteX89" fmla="*/ 84699 w 2048870"/>
                <a:gd name="connsiteY89" fmla="*/ 494363 h 1413227"/>
                <a:gd name="connsiteX90" fmla="*/ 86428 w 2048870"/>
                <a:gd name="connsiteY90" fmla="*/ 501277 h 1413227"/>
                <a:gd name="connsiteX91" fmla="*/ 96799 w 2048870"/>
                <a:gd name="connsiteY91" fmla="*/ 515106 h 1413227"/>
                <a:gd name="connsiteX92" fmla="*/ 101985 w 2048870"/>
                <a:gd name="connsiteY92" fmla="*/ 516834 h 1413227"/>
                <a:gd name="connsiteX93" fmla="*/ 114084 w 2048870"/>
                <a:gd name="connsiteY93" fmla="*/ 520291 h 1413227"/>
                <a:gd name="connsiteX94" fmla="*/ 119270 w 2048870"/>
                <a:gd name="connsiteY94" fmla="*/ 525477 h 1413227"/>
                <a:gd name="connsiteX95" fmla="*/ 133098 w 2048870"/>
                <a:gd name="connsiteY95" fmla="*/ 535848 h 1413227"/>
                <a:gd name="connsiteX96" fmla="*/ 136555 w 2048870"/>
                <a:gd name="connsiteY96" fmla="*/ 542762 h 1413227"/>
                <a:gd name="connsiteX97" fmla="*/ 134827 w 2048870"/>
                <a:gd name="connsiteY97" fmla="*/ 572148 h 1413227"/>
                <a:gd name="connsiteX98" fmla="*/ 140012 w 2048870"/>
                <a:gd name="connsiteY98" fmla="*/ 573876 h 1413227"/>
                <a:gd name="connsiteX99" fmla="*/ 143470 w 2048870"/>
                <a:gd name="connsiteY99" fmla="*/ 577333 h 1413227"/>
                <a:gd name="connsiteX100" fmla="*/ 146927 w 2048870"/>
                <a:gd name="connsiteY100" fmla="*/ 589433 h 1413227"/>
                <a:gd name="connsiteX101" fmla="*/ 150384 w 2048870"/>
                <a:gd name="connsiteY101" fmla="*/ 598076 h 1413227"/>
                <a:gd name="connsiteX102" fmla="*/ 148655 w 2048870"/>
                <a:gd name="connsiteY102" fmla="*/ 617090 h 1413227"/>
                <a:gd name="connsiteX103" fmla="*/ 146927 w 2048870"/>
                <a:gd name="connsiteY103" fmla="*/ 622276 h 1413227"/>
                <a:gd name="connsiteX104" fmla="*/ 141741 w 2048870"/>
                <a:gd name="connsiteY104" fmla="*/ 627461 h 1413227"/>
                <a:gd name="connsiteX105" fmla="*/ 136555 w 2048870"/>
                <a:gd name="connsiteY105" fmla="*/ 634375 h 1413227"/>
                <a:gd name="connsiteX106" fmla="*/ 120999 w 2048870"/>
                <a:gd name="connsiteY106" fmla="*/ 639561 h 1413227"/>
                <a:gd name="connsiteX107" fmla="*/ 95070 w 2048870"/>
                <a:gd name="connsiteY107" fmla="*/ 665489 h 1413227"/>
                <a:gd name="connsiteX108" fmla="*/ 89885 w 2048870"/>
                <a:gd name="connsiteY108" fmla="*/ 670675 h 1413227"/>
                <a:gd name="connsiteX109" fmla="*/ 86428 w 2048870"/>
                <a:gd name="connsiteY109" fmla="*/ 675860 h 1413227"/>
                <a:gd name="connsiteX110" fmla="*/ 81242 w 2048870"/>
                <a:gd name="connsiteY110" fmla="*/ 677589 h 1413227"/>
                <a:gd name="connsiteX111" fmla="*/ 77785 w 2048870"/>
                <a:gd name="connsiteY111" fmla="*/ 682775 h 1413227"/>
                <a:gd name="connsiteX112" fmla="*/ 63957 w 2048870"/>
                <a:gd name="connsiteY112" fmla="*/ 689689 h 1413227"/>
                <a:gd name="connsiteX113" fmla="*/ 60499 w 2048870"/>
                <a:gd name="connsiteY113" fmla="*/ 706974 h 1413227"/>
                <a:gd name="connsiteX114" fmla="*/ 50128 w 2048870"/>
                <a:gd name="connsiteY114" fmla="*/ 720803 h 1413227"/>
                <a:gd name="connsiteX115" fmla="*/ 48400 w 2048870"/>
                <a:gd name="connsiteY115" fmla="*/ 725988 h 1413227"/>
                <a:gd name="connsiteX116" fmla="*/ 46671 w 2048870"/>
                <a:gd name="connsiteY116" fmla="*/ 732902 h 1413227"/>
                <a:gd name="connsiteX117" fmla="*/ 25929 w 2048870"/>
                <a:gd name="connsiteY117" fmla="*/ 751916 h 1413227"/>
                <a:gd name="connsiteX118" fmla="*/ 19014 w 2048870"/>
                <a:gd name="connsiteY118" fmla="*/ 776116 h 1413227"/>
                <a:gd name="connsiteX119" fmla="*/ 12100 w 2048870"/>
                <a:gd name="connsiteY119" fmla="*/ 789944 h 1413227"/>
                <a:gd name="connsiteX120" fmla="*/ 17286 w 2048870"/>
                <a:gd name="connsiteY120" fmla="*/ 822787 h 1413227"/>
                <a:gd name="connsiteX121" fmla="*/ 25929 w 2048870"/>
                <a:gd name="connsiteY121" fmla="*/ 829701 h 1413227"/>
                <a:gd name="connsiteX122" fmla="*/ 29386 w 2048870"/>
                <a:gd name="connsiteY122" fmla="*/ 838344 h 1413227"/>
                <a:gd name="connsiteX123" fmla="*/ 36300 w 2048870"/>
                <a:gd name="connsiteY123" fmla="*/ 843529 h 1413227"/>
                <a:gd name="connsiteX124" fmla="*/ 38028 w 2048870"/>
                <a:gd name="connsiteY124" fmla="*/ 852172 h 1413227"/>
                <a:gd name="connsiteX125" fmla="*/ 43214 w 2048870"/>
                <a:gd name="connsiteY125" fmla="*/ 864272 h 1413227"/>
                <a:gd name="connsiteX126" fmla="*/ 44943 w 2048870"/>
                <a:gd name="connsiteY126" fmla="*/ 874643 h 1413227"/>
                <a:gd name="connsiteX127" fmla="*/ 51857 w 2048870"/>
                <a:gd name="connsiteY127" fmla="*/ 876372 h 1413227"/>
                <a:gd name="connsiteX128" fmla="*/ 53585 w 2048870"/>
                <a:gd name="connsiteY128" fmla="*/ 883286 h 1413227"/>
                <a:gd name="connsiteX129" fmla="*/ 58771 w 2048870"/>
                <a:gd name="connsiteY129" fmla="*/ 886743 h 1413227"/>
                <a:gd name="connsiteX130" fmla="*/ 51857 w 2048870"/>
                <a:gd name="connsiteY130" fmla="*/ 898843 h 1413227"/>
                <a:gd name="connsiteX131" fmla="*/ 43214 w 2048870"/>
                <a:gd name="connsiteY131" fmla="*/ 904028 h 1413227"/>
                <a:gd name="connsiteX132" fmla="*/ 29386 w 2048870"/>
                <a:gd name="connsiteY132" fmla="*/ 909214 h 1413227"/>
                <a:gd name="connsiteX133" fmla="*/ 27657 w 2048870"/>
                <a:gd name="connsiteY133" fmla="*/ 919585 h 1413227"/>
                <a:gd name="connsiteX134" fmla="*/ 25929 w 2048870"/>
                <a:gd name="connsiteY134" fmla="*/ 926499 h 1413227"/>
                <a:gd name="connsiteX135" fmla="*/ 19014 w 2048870"/>
                <a:gd name="connsiteY135" fmla="*/ 955885 h 1413227"/>
                <a:gd name="connsiteX136" fmla="*/ 10372 w 2048870"/>
                <a:gd name="connsiteY136" fmla="*/ 969713 h 1413227"/>
                <a:gd name="connsiteX137" fmla="*/ 8643 w 2048870"/>
                <a:gd name="connsiteY137" fmla="*/ 990455 h 1413227"/>
                <a:gd name="connsiteX138" fmla="*/ 0 w 2048870"/>
                <a:gd name="connsiteY138" fmla="*/ 999098 h 1413227"/>
                <a:gd name="connsiteX139" fmla="*/ 6915 w 2048870"/>
                <a:gd name="connsiteY139" fmla="*/ 1023298 h 1413227"/>
                <a:gd name="connsiteX140" fmla="*/ 15557 w 2048870"/>
                <a:gd name="connsiteY140" fmla="*/ 1025026 h 1413227"/>
                <a:gd name="connsiteX141" fmla="*/ 22471 w 2048870"/>
                <a:gd name="connsiteY141" fmla="*/ 1030212 h 1413227"/>
                <a:gd name="connsiteX142" fmla="*/ 27657 w 2048870"/>
                <a:gd name="connsiteY142" fmla="*/ 1031941 h 1413227"/>
                <a:gd name="connsiteX143" fmla="*/ 34571 w 2048870"/>
                <a:gd name="connsiteY143" fmla="*/ 1035398 h 1413227"/>
                <a:gd name="connsiteX144" fmla="*/ 39757 w 2048870"/>
                <a:gd name="connsiteY144" fmla="*/ 1042312 h 1413227"/>
                <a:gd name="connsiteX145" fmla="*/ 43214 w 2048870"/>
                <a:gd name="connsiteY145" fmla="*/ 1047497 h 1413227"/>
                <a:gd name="connsiteX146" fmla="*/ 53585 w 2048870"/>
                <a:gd name="connsiteY146" fmla="*/ 1052683 h 1413227"/>
                <a:gd name="connsiteX147" fmla="*/ 95070 w 2048870"/>
                <a:gd name="connsiteY147" fmla="*/ 1061326 h 1413227"/>
                <a:gd name="connsiteX148" fmla="*/ 96799 w 2048870"/>
                <a:gd name="connsiteY148" fmla="*/ 1073426 h 1413227"/>
                <a:gd name="connsiteX149" fmla="*/ 101985 w 2048870"/>
                <a:gd name="connsiteY149" fmla="*/ 1075154 h 1413227"/>
                <a:gd name="connsiteX150" fmla="*/ 112356 w 2048870"/>
                <a:gd name="connsiteY150" fmla="*/ 1066511 h 1413227"/>
                <a:gd name="connsiteX151" fmla="*/ 119270 w 2048870"/>
                <a:gd name="connsiteY151" fmla="*/ 1059597 h 1413227"/>
                <a:gd name="connsiteX152" fmla="*/ 120999 w 2048870"/>
                <a:gd name="connsiteY152" fmla="*/ 1054412 h 1413227"/>
                <a:gd name="connsiteX153" fmla="*/ 134827 w 2048870"/>
                <a:gd name="connsiteY153" fmla="*/ 1061326 h 1413227"/>
                <a:gd name="connsiteX154" fmla="*/ 141741 w 2048870"/>
                <a:gd name="connsiteY154" fmla="*/ 1063054 h 1413227"/>
                <a:gd name="connsiteX155" fmla="*/ 146927 w 2048870"/>
                <a:gd name="connsiteY155" fmla="*/ 1064783 h 1413227"/>
                <a:gd name="connsiteX156" fmla="*/ 247182 w 2048870"/>
                <a:gd name="connsiteY156" fmla="*/ 1068240 h 1413227"/>
                <a:gd name="connsiteX157" fmla="*/ 266196 w 2048870"/>
                <a:gd name="connsiteY157" fmla="*/ 1064783 h 1413227"/>
                <a:gd name="connsiteX158" fmla="*/ 276568 w 2048870"/>
                <a:gd name="connsiteY158" fmla="*/ 1059597 h 1413227"/>
                <a:gd name="connsiteX159" fmla="*/ 285210 w 2048870"/>
                <a:gd name="connsiteY159" fmla="*/ 1049226 h 1413227"/>
                <a:gd name="connsiteX160" fmla="*/ 295581 w 2048870"/>
                <a:gd name="connsiteY160" fmla="*/ 1052683 h 1413227"/>
                <a:gd name="connsiteX161" fmla="*/ 299039 w 2048870"/>
                <a:gd name="connsiteY161" fmla="*/ 1059597 h 1413227"/>
                <a:gd name="connsiteX162" fmla="*/ 312867 w 2048870"/>
                <a:gd name="connsiteY162" fmla="*/ 1071697 h 1413227"/>
                <a:gd name="connsiteX163" fmla="*/ 338795 w 2048870"/>
                <a:gd name="connsiteY163" fmla="*/ 1078611 h 1413227"/>
                <a:gd name="connsiteX164" fmla="*/ 361266 w 2048870"/>
                <a:gd name="connsiteY164" fmla="*/ 1075154 h 1413227"/>
                <a:gd name="connsiteX165" fmla="*/ 362995 w 2048870"/>
                <a:gd name="connsiteY165" fmla="*/ 1068240 h 1413227"/>
                <a:gd name="connsiteX166" fmla="*/ 373366 w 2048870"/>
                <a:gd name="connsiteY166" fmla="*/ 1050955 h 1413227"/>
                <a:gd name="connsiteX167" fmla="*/ 378552 w 2048870"/>
                <a:gd name="connsiteY167" fmla="*/ 1045769 h 1413227"/>
                <a:gd name="connsiteX168" fmla="*/ 397566 w 2048870"/>
                <a:gd name="connsiteY168" fmla="*/ 1038855 h 1413227"/>
                <a:gd name="connsiteX169" fmla="*/ 432137 w 2048870"/>
                <a:gd name="connsiteY169" fmla="*/ 1035398 h 1413227"/>
                <a:gd name="connsiteX170" fmla="*/ 444236 w 2048870"/>
                <a:gd name="connsiteY170" fmla="*/ 1031941 h 1413227"/>
                <a:gd name="connsiteX171" fmla="*/ 447693 w 2048870"/>
                <a:gd name="connsiteY171" fmla="*/ 1025026 h 1413227"/>
                <a:gd name="connsiteX172" fmla="*/ 452879 w 2048870"/>
                <a:gd name="connsiteY172" fmla="*/ 1021569 h 1413227"/>
                <a:gd name="connsiteX173" fmla="*/ 468436 w 2048870"/>
                <a:gd name="connsiteY173" fmla="*/ 1011198 h 1413227"/>
                <a:gd name="connsiteX174" fmla="*/ 473622 w 2048870"/>
                <a:gd name="connsiteY174" fmla="*/ 999098 h 1413227"/>
                <a:gd name="connsiteX175" fmla="*/ 478807 w 2048870"/>
                <a:gd name="connsiteY175" fmla="*/ 986998 h 1413227"/>
                <a:gd name="connsiteX176" fmla="*/ 485721 w 2048870"/>
                <a:gd name="connsiteY176" fmla="*/ 980084 h 1413227"/>
                <a:gd name="connsiteX177" fmla="*/ 489178 w 2048870"/>
                <a:gd name="connsiteY177" fmla="*/ 974899 h 1413227"/>
                <a:gd name="connsiteX178" fmla="*/ 511650 w 2048870"/>
                <a:gd name="connsiteY178" fmla="*/ 955885 h 1413227"/>
                <a:gd name="connsiteX179" fmla="*/ 530664 w 2048870"/>
                <a:gd name="connsiteY179" fmla="*/ 947242 h 1413227"/>
                <a:gd name="connsiteX180" fmla="*/ 537578 w 2048870"/>
                <a:gd name="connsiteY180" fmla="*/ 933414 h 1413227"/>
                <a:gd name="connsiteX181" fmla="*/ 539306 w 2048870"/>
                <a:gd name="connsiteY181" fmla="*/ 928228 h 1413227"/>
                <a:gd name="connsiteX182" fmla="*/ 541035 w 2048870"/>
                <a:gd name="connsiteY182" fmla="*/ 921314 h 1413227"/>
                <a:gd name="connsiteX183" fmla="*/ 563506 w 2048870"/>
                <a:gd name="connsiteY183" fmla="*/ 917857 h 1413227"/>
                <a:gd name="connsiteX184" fmla="*/ 568692 w 2048870"/>
                <a:gd name="connsiteY184" fmla="*/ 916128 h 1413227"/>
                <a:gd name="connsiteX185" fmla="*/ 584248 w 2048870"/>
                <a:gd name="connsiteY185" fmla="*/ 914400 h 1413227"/>
                <a:gd name="connsiteX186" fmla="*/ 589434 w 2048870"/>
                <a:gd name="connsiteY186" fmla="*/ 910942 h 1413227"/>
                <a:gd name="connsiteX187" fmla="*/ 599805 w 2048870"/>
                <a:gd name="connsiteY187" fmla="*/ 905757 h 1413227"/>
                <a:gd name="connsiteX188" fmla="*/ 604991 w 2048870"/>
                <a:gd name="connsiteY188" fmla="*/ 900571 h 1413227"/>
                <a:gd name="connsiteX189" fmla="*/ 606719 w 2048870"/>
                <a:gd name="connsiteY189" fmla="*/ 895386 h 1413227"/>
                <a:gd name="connsiteX190" fmla="*/ 615362 w 2048870"/>
                <a:gd name="connsiteY190" fmla="*/ 891928 h 1413227"/>
                <a:gd name="connsiteX191" fmla="*/ 620548 w 2048870"/>
                <a:gd name="connsiteY191" fmla="*/ 886743 h 1413227"/>
                <a:gd name="connsiteX192" fmla="*/ 639562 w 2048870"/>
                <a:gd name="connsiteY192" fmla="*/ 879829 h 1413227"/>
                <a:gd name="connsiteX193" fmla="*/ 653390 w 2048870"/>
                <a:gd name="connsiteY193" fmla="*/ 883286 h 1413227"/>
                <a:gd name="connsiteX194" fmla="*/ 660304 w 2048870"/>
                <a:gd name="connsiteY194" fmla="*/ 885014 h 1413227"/>
                <a:gd name="connsiteX195" fmla="*/ 668947 w 2048870"/>
                <a:gd name="connsiteY195" fmla="*/ 886743 h 1413227"/>
                <a:gd name="connsiteX196" fmla="*/ 675861 w 2048870"/>
                <a:gd name="connsiteY196" fmla="*/ 890200 h 1413227"/>
                <a:gd name="connsiteX197" fmla="*/ 682775 w 2048870"/>
                <a:gd name="connsiteY197" fmla="*/ 891928 h 1413227"/>
                <a:gd name="connsiteX198" fmla="*/ 687961 w 2048870"/>
                <a:gd name="connsiteY198" fmla="*/ 895386 h 1413227"/>
                <a:gd name="connsiteX199" fmla="*/ 700061 w 2048870"/>
                <a:gd name="connsiteY199" fmla="*/ 898843 h 1413227"/>
                <a:gd name="connsiteX200" fmla="*/ 706975 w 2048870"/>
                <a:gd name="connsiteY200" fmla="*/ 904028 h 1413227"/>
                <a:gd name="connsiteX201" fmla="*/ 720803 w 2048870"/>
                <a:gd name="connsiteY201" fmla="*/ 907485 h 1413227"/>
                <a:gd name="connsiteX202" fmla="*/ 727718 w 2048870"/>
                <a:gd name="connsiteY202" fmla="*/ 905757 h 1413227"/>
                <a:gd name="connsiteX203" fmla="*/ 736360 w 2048870"/>
                <a:gd name="connsiteY203" fmla="*/ 904028 h 1413227"/>
                <a:gd name="connsiteX204" fmla="*/ 738089 w 2048870"/>
                <a:gd name="connsiteY204" fmla="*/ 910942 h 1413227"/>
                <a:gd name="connsiteX205" fmla="*/ 760560 w 2048870"/>
                <a:gd name="connsiteY205" fmla="*/ 904028 h 1413227"/>
                <a:gd name="connsiteX206" fmla="*/ 770931 w 2048870"/>
                <a:gd name="connsiteY206" fmla="*/ 895386 h 1413227"/>
                <a:gd name="connsiteX207" fmla="*/ 776117 w 2048870"/>
                <a:gd name="connsiteY207" fmla="*/ 909214 h 1413227"/>
                <a:gd name="connsiteX208" fmla="*/ 783031 w 2048870"/>
                <a:gd name="connsiteY208" fmla="*/ 914400 h 1413227"/>
                <a:gd name="connsiteX209" fmla="*/ 788217 w 2048870"/>
                <a:gd name="connsiteY209" fmla="*/ 919585 h 1413227"/>
                <a:gd name="connsiteX210" fmla="*/ 793402 w 2048870"/>
                <a:gd name="connsiteY210" fmla="*/ 923042 h 1413227"/>
                <a:gd name="connsiteX211" fmla="*/ 798588 w 2048870"/>
                <a:gd name="connsiteY211" fmla="*/ 928228 h 1413227"/>
                <a:gd name="connsiteX212" fmla="*/ 815873 w 2048870"/>
                <a:gd name="connsiteY212" fmla="*/ 935142 h 1413227"/>
                <a:gd name="connsiteX213" fmla="*/ 821059 w 2048870"/>
                <a:gd name="connsiteY213" fmla="*/ 926499 h 1413227"/>
                <a:gd name="connsiteX214" fmla="*/ 824516 w 2048870"/>
                <a:gd name="connsiteY214" fmla="*/ 910942 h 1413227"/>
                <a:gd name="connsiteX215" fmla="*/ 833159 w 2048870"/>
                <a:gd name="connsiteY215" fmla="*/ 912671 h 1413227"/>
                <a:gd name="connsiteX216" fmla="*/ 838344 w 2048870"/>
                <a:gd name="connsiteY216" fmla="*/ 926499 h 1413227"/>
                <a:gd name="connsiteX217" fmla="*/ 841802 w 2048870"/>
                <a:gd name="connsiteY217" fmla="*/ 929956 h 1413227"/>
                <a:gd name="connsiteX218" fmla="*/ 850444 w 2048870"/>
                <a:gd name="connsiteY218" fmla="*/ 948970 h 1413227"/>
                <a:gd name="connsiteX219" fmla="*/ 853901 w 2048870"/>
                <a:gd name="connsiteY219" fmla="*/ 954156 h 1413227"/>
                <a:gd name="connsiteX220" fmla="*/ 859087 w 2048870"/>
                <a:gd name="connsiteY220" fmla="*/ 988727 h 1413227"/>
                <a:gd name="connsiteX221" fmla="*/ 864273 w 2048870"/>
                <a:gd name="connsiteY221" fmla="*/ 1009469 h 1413227"/>
                <a:gd name="connsiteX222" fmla="*/ 878101 w 2048870"/>
                <a:gd name="connsiteY222" fmla="*/ 1012927 h 1413227"/>
                <a:gd name="connsiteX223" fmla="*/ 885015 w 2048870"/>
                <a:gd name="connsiteY223" fmla="*/ 1016384 h 1413227"/>
                <a:gd name="connsiteX224" fmla="*/ 888472 w 2048870"/>
                <a:gd name="connsiteY224" fmla="*/ 1021569 h 1413227"/>
                <a:gd name="connsiteX225" fmla="*/ 900572 w 2048870"/>
                <a:gd name="connsiteY225" fmla="*/ 1026755 h 1413227"/>
                <a:gd name="connsiteX226" fmla="*/ 905758 w 2048870"/>
                <a:gd name="connsiteY226" fmla="*/ 1033669 h 1413227"/>
                <a:gd name="connsiteX227" fmla="*/ 909215 w 2048870"/>
                <a:gd name="connsiteY227" fmla="*/ 1040583 h 1413227"/>
                <a:gd name="connsiteX228" fmla="*/ 912672 w 2048870"/>
                <a:gd name="connsiteY228" fmla="*/ 1045769 h 1413227"/>
                <a:gd name="connsiteX229" fmla="*/ 921315 w 2048870"/>
                <a:gd name="connsiteY229" fmla="*/ 1061326 h 1413227"/>
                <a:gd name="connsiteX230" fmla="*/ 928229 w 2048870"/>
                <a:gd name="connsiteY230" fmla="*/ 1082068 h 1413227"/>
                <a:gd name="connsiteX231" fmla="*/ 929957 w 2048870"/>
                <a:gd name="connsiteY231" fmla="*/ 1088983 h 1413227"/>
                <a:gd name="connsiteX232" fmla="*/ 940329 w 2048870"/>
                <a:gd name="connsiteY232" fmla="*/ 1095897 h 1413227"/>
                <a:gd name="connsiteX233" fmla="*/ 959343 w 2048870"/>
                <a:gd name="connsiteY233" fmla="*/ 1097625 h 1413227"/>
                <a:gd name="connsiteX234" fmla="*/ 967985 w 2048870"/>
                <a:gd name="connsiteY234" fmla="*/ 1101082 h 1413227"/>
                <a:gd name="connsiteX235" fmla="*/ 973171 w 2048870"/>
                <a:gd name="connsiteY235" fmla="*/ 1106268 h 1413227"/>
                <a:gd name="connsiteX236" fmla="*/ 978357 w 2048870"/>
                <a:gd name="connsiteY236" fmla="*/ 1109725 h 1413227"/>
                <a:gd name="connsiteX237" fmla="*/ 983542 w 2048870"/>
                <a:gd name="connsiteY237" fmla="*/ 1118368 h 1413227"/>
                <a:gd name="connsiteX238" fmla="*/ 985271 w 2048870"/>
                <a:gd name="connsiteY238" fmla="*/ 1132196 h 1413227"/>
                <a:gd name="connsiteX239" fmla="*/ 992185 w 2048870"/>
                <a:gd name="connsiteY239" fmla="*/ 1139110 h 1413227"/>
                <a:gd name="connsiteX240" fmla="*/ 1006013 w 2048870"/>
                <a:gd name="connsiteY240" fmla="*/ 1147753 h 1413227"/>
                <a:gd name="connsiteX241" fmla="*/ 1019842 w 2048870"/>
                <a:gd name="connsiteY241" fmla="*/ 1165038 h 1413227"/>
                <a:gd name="connsiteX242" fmla="*/ 1012927 w 2048870"/>
                <a:gd name="connsiteY242" fmla="*/ 1168496 h 1413227"/>
                <a:gd name="connsiteX243" fmla="*/ 1009470 w 2048870"/>
                <a:gd name="connsiteY243" fmla="*/ 1173681 h 1413227"/>
                <a:gd name="connsiteX244" fmla="*/ 997371 w 2048870"/>
                <a:gd name="connsiteY244" fmla="*/ 1177138 h 1413227"/>
                <a:gd name="connsiteX245" fmla="*/ 990456 w 2048870"/>
                <a:gd name="connsiteY245" fmla="*/ 1182324 h 1413227"/>
                <a:gd name="connsiteX246" fmla="*/ 973171 w 2048870"/>
                <a:gd name="connsiteY246" fmla="*/ 1182324 h 1413227"/>
                <a:gd name="connsiteX247" fmla="*/ 971442 w 2048870"/>
                <a:gd name="connsiteY247" fmla="*/ 1161581 h 1413227"/>
                <a:gd name="connsiteX248" fmla="*/ 962800 w 2048870"/>
                <a:gd name="connsiteY248" fmla="*/ 1171953 h 1413227"/>
                <a:gd name="connsiteX249" fmla="*/ 959343 w 2048870"/>
                <a:gd name="connsiteY249" fmla="*/ 1178867 h 1413227"/>
                <a:gd name="connsiteX250" fmla="*/ 955885 w 2048870"/>
                <a:gd name="connsiteY250" fmla="*/ 1184052 h 1413227"/>
                <a:gd name="connsiteX251" fmla="*/ 947243 w 2048870"/>
                <a:gd name="connsiteY251" fmla="*/ 1187510 h 1413227"/>
                <a:gd name="connsiteX252" fmla="*/ 940329 w 2048870"/>
                <a:gd name="connsiteY252" fmla="*/ 1190967 h 1413227"/>
                <a:gd name="connsiteX253" fmla="*/ 935143 w 2048870"/>
                <a:gd name="connsiteY253" fmla="*/ 1189238 h 1413227"/>
                <a:gd name="connsiteX254" fmla="*/ 929957 w 2048870"/>
                <a:gd name="connsiteY254" fmla="*/ 1171953 h 1413227"/>
                <a:gd name="connsiteX255" fmla="*/ 926500 w 2048870"/>
                <a:gd name="connsiteY255" fmla="*/ 1165038 h 1413227"/>
                <a:gd name="connsiteX256" fmla="*/ 921315 w 2048870"/>
                <a:gd name="connsiteY256" fmla="*/ 1178867 h 1413227"/>
                <a:gd name="connsiteX257" fmla="*/ 917857 w 2048870"/>
                <a:gd name="connsiteY257" fmla="*/ 1182324 h 1413227"/>
                <a:gd name="connsiteX258" fmla="*/ 914400 w 2048870"/>
                <a:gd name="connsiteY258" fmla="*/ 1194424 h 1413227"/>
                <a:gd name="connsiteX259" fmla="*/ 909215 w 2048870"/>
                <a:gd name="connsiteY259" fmla="*/ 1199609 h 1413227"/>
                <a:gd name="connsiteX260" fmla="*/ 886744 w 2048870"/>
                <a:gd name="connsiteY260" fmla="*/ 1180595 h 1413227"/>
                <a:gd name="connsiteX261" fmla="*/ 883287 w 2048870"/>
                <a:gd name="connsiteY261" fmla="*/ 1189238 h 1413227"/>
                <a:gd name="connsiteX262" fmla="*/ 879830 w 2048870"/>
                <a:gd name="connsiteY262" fmla="*/ 1194424 h 1413227"/>
                <a:gd name="connsiteX263" fmla="*/ 874644 w 2048870"/>
                <a:gd name="connsiteY263" fmla="*/ 1204795 h 1413227"/>
                <a:gd name="connsiteX264" fmla="*/ 879830 w 2048870"/>
                <a:gd name="connsiteY264" fmla="*/ 1211709 h 1413227"/>
                <a:gd name="connsiteX265" fmla="*/ 890201 w 2048870"/>
                <a:gd name="connsiteY265" fmla="*/ 1215166 h 1413227"/>
                <a:gd name="connsiteX266" fmla="*/ 893658 w 2048870"/>
                <a:gd name="connsiteY266" fmla="*/ 1235909 h 1413227"/>
                <a:gd name="connsiteX267" fmla="*/ 891929 w 2048870"/>
                <a:gd name="connsiteY267" fmla="*/ 1258380 h 1413227"/>
                <a:gd name="connsiteX268" fmla="*/ 890201 w 2048870"/>
                <a:gd name="connsiteY268" fmla="*/ 1263565 h 1413227"/>
                <a:gd name="connsiteX269" fmla="*/ 878101 w 2048870"/>
                <a:gd name="connsiteY269" fmla="*/ 1275665 h 1413227"/>
                <a:gd name="connsiteX270" fmla="*/ 871187 w 2048870"/>
                <a:gd name="connsiteY270" fmla="*/ 1282579 h 1413227"/>
                <a:gd name="connsiteX271" fmla="*/ 876372 w 2048870"/>
                <a:gd name="connsiteY271" fmla="*/ 1287765 h 1413227"/>
                <a:gd name="connsiteX272" fmla="*/ 874644 w 2048870"/>
                <a:gd name="connsiteY272" fmla="*/ 1306779 h 1413227"/>
                <a:gd name="connsiteX273" fmla="*/ 869458 w 2048870"/>
                <a:gd name="connsiteY273" fmla="*/ 1308508 h 1413227"/>
                <a:gd name="connsiteX274" fmla="*/ 864273 w 2048870"/>
                <a:gd name="connsiteY274" fmla="*/ 1320607 h 1413227"/>
                <a:gd name="connsiteX275" fmla="*/ 862544 w 2048870"/>
                <a:gd name="connsiteY275" fmla="*/ 1360364 h 1413227"/>
                <a:gd name="connsiteX276" fmla="*/ 857358 w 2048870"/>
                <a:gd name="connsiteY276" fmla="*/ 1363821 h 1413227"/>
                <a:gd name="connsiteX277" fmla="*/ 852173 w 2048870"/>
                <a:gd name="connsiteY277" fmla="*/ 1365550 h 1413227"/>
                <a:gd name="connsiteX278" fmla="*/ 850444 w 2048870"/>
                <a:gd name="connsiteY278" fmla="*/ 1370735 h 1413227"/>
                <a:gd name="connsiteX279" fmla="*/ 838344 w 2048870"/>
                <a:gd name="connsiteY279" fmla="*/ 1379378 h 1413227"/>
                <a:gd name="connsiteX280" fmla="*/ 841802 w 2048870"/>
                <a:gd name="connsiteY280" fmla="*/ 1389749 h 1413227"/>
                <a:gd name="connsiteX281" fmla="*/ 845259 w 2048870"/>
                <a:gd name="connsiteY281" fmla="*/ 1398392 h 1413227"/>
                <a:gd name="connsiteX282" fmla="*/ 852173 w 2048870"/>
                <a:gd name="connsiteY282" fmla="*/ 1403578 h 1413227"/>
                <a:gd name="connsiteX283" fmla="*/ 859087 w 2048870"/>
                <a:gd name="connsiteY283" fmla="*/ 1410492 h 1413227"/>
                <a:gd name="connsiteX284" fmla="*/ 885015 w 2048870"/>
                <a:gd name="connsiteY284" fmla="*/ 1408763 h 1413227"/>
                <a:gd name="connsiteX285" fmla="*/ 890201 w 2048870"/>
                <a:gd name="connsiteY285" fmla="*/ 1413103 h 1413227"/>
                <a:gd name="connsiteX286" fmla="*/ 921633 w 2048870"/>
                <a:gd name="connsiteY286" fmla="*/ 1403013 h 1413227"/>
                <a:gd name="connsiteX287" fmla="*/ 932427 w 2048870"/>
                <a:gd name="connsiteY287" fmla="*/ 1394371 h 1413227"/>
                <a:gd name="connsiteX288" fmla="*/ 933873 w 2048870"/>
                <a:gd name="connsiteY288" fmla="*/ 1386010 h 1413227"/>
                <a:gd name="connsiteX289" fmla="*/ 943362 w 2048870"/>
                <a:gd name="connsiteY289" fmla="*/ 1367278 h 1413227"/>
                <a:gd name="connsiteX290" fmla="*/ 943786 w 2048870"/>
                <a:gd name="connsiteY290" fmla="*/ 1362093 h 1413227"/>
                <a:gd name="connsiteX291" fmla="*/ 954157 w 2048870"/>
                <a:gd name="connsiteY291" fmla="*/ 1360364 h 1413227"/>
                <a:gd name="connsiteX292" fmla="*/ 993913 w 2048870"/>
                <a:gd name="connsiteY292" fmla="*/ 1356907 h 1413227"/>
                <a:gd name="connsiteX293" fmla="*/ 997371 w 2048870"/>
                <a:gd name="connsiteY293" fmla="*/ 1349993 h 1413227"/>
                <a:gd name="connsiteX294" fmla="*/ 1009470 w 2048870"/>
                <a:gd name="connsiteY294" fmla="*/ 1344807 h 1413227"/>
                <a:gd name="connsiteX295" fmla="*/ 997371 w 2048870"/>
                <a:gd name="connsiteY295" fmla="*/ 1334436 h 1413227"/>
                <a:gd name="connsiteX296" fmla="*/ 993913 w 2048870"/>
                <a:gd name="connsiteY296" fmla="*/ 1327522 h 1413227"/>
                <a:gd name="connsiteX297" fmla="*/ 988728 w 2048870"/>
                <a:gd name="connsiteY297" fmla="*/ 1322336 h 1413227"/>
                <a:gd name="connsiteX298" fmla="*/ 985271 w 2048870"/>
                <a:gd name="connsiteY298" fmla="*/ 1310236 h 1413227"/>
                <a:gd name="connsiteX299" fmla="*/ 981814 w 2048870"/>
                <a:gd name="connsiteY299" fmla="*/ 1299865 h 1413227"/>
                <a:gd name="connsiteX300" fmla="*/ 990456 w 2048870"/>
                <a:gd name="connsiteY300" fmla="*/ 1287765 h 1413227"/>
                <a:gd name="connsiteX301" fmla="*/ 992185 w 2048870"/>
                <a:gd name="connsiteY301" fmla="*/ 1292951 h 1413227"/>
                <a:gd name="connsiteX302" fmla="*/ 1014656 w 2048870"/>
                <a:gd name="connsiteY302" fmla="*/ 1299865 h 1413227"/>
                <a:gd name="connsiteX303" fmla="*/ 1016385 w 2048870"/>
                <a:gd name="connsiteY303" fmla="*/ 1294679 h 1413227"/>
                <a:gd name="connsiteX304" fmla="*/ 1018113 w 2048870"/>
                <a:gd name="connsiteY304" fmla="*/ 1284308 h 1413227"/>
                <a:gd name="connsiteX305" fmla="*/ 1031941 w 2048870"/>
                <a:gd name="connsiteY305" fmla="*/ 1270480 h 1413227"/>
                <a:gd name="connsiteX306" fmla="*/ 1037127 w 2048870"/>
                <a:gd name="connsiteY306" fmla="*/ 1265294 h 1413227"/>
                <a:gd name="connsiteX307" fmla="*/ 1038856 w 2048870"/>
                <a:gd name="connsiteY307" fmla="*/ 1260108 h 1413227"/>
                <a:gd name="connsiteX308" fmla="*/ 1054412 w 2048870"/>
                <a:gd name="connsiteY308" fmla="*/ 1251466 h 1413227"/>
                <a:gd name="connsiteX309" fmla="*/ 1063055 w 2048870"/>
                <a:gd name="connsiteY309" fmla="*/ 1242823 h 1413227"/>
                <a:gd name="connsiteX310" fmla="*/ 1068241 w 2048870"/>
                <a:gd name="connsiteY310" fmla="*/ 1223809 h 1413227"/>
                <a:gd name="connsiteX311" fmla="*/ 1069969 w 2048870"/>
                <a:gd name="connsiteY311" fmla="*/ 1215166 h 1413227"/>
                <a:gd name="connsiteX312" fmla="*/ 1075155 w 2048870"/>
                <a:gd name="connsiteY312" fmla="*/ 1201338 h 1413227"/>
                <a:gd name="connsiteX313" fmla="*/ 1080341 w 2048870"/>
                <a:gd name="connsiteY313" fmla="*/ 1175410 h 1413227"/>
                <a:gd name="connsiteX314" fmla="*/ 1082069 w 2048870"/>
                <a:gd name="connsiteY314" fmla="*/ 1170224 h 1413227"/>
                <a:gd name="connsiteX315" fmla="*/ 1083798 w 2048870"/>
                <a:gd name="connsiteY315" fmla="*/ 1161581 h 1413227"/>
                <a:gd name="connsiteX316" fmla="*/ 1085526 w 2048870"/>
                <a:gd name="connsiteY316" fmla="*/ 1156396 h 1413227"/>
                <a:gd name="connsiteX317" fmla="*/ 1087255 w 2048870"/>
                <a:gd name="connsiteY317" fmla="*/ 1147753 h 1413227"/>
                <a:gd name="connsiteX318" fmla="*/ 1097626 w 2048870"/>
                <a:gd name="connsiteY318" fmla="*/ 1128739 h 1413227"/>
                <a:gd name="connsiteX319" fmla="*/ 1099355 w 2048870"/>
                <a:gd name="connsiteY319" fmla="*/ 1111454 h 1413227"/>
                <a:gd name="connsiteX320" fmla="*/ 1106269 w 2048870"/>
                <a:gd name="connsiteY320" fmla="*/ 1097625 h 1413227"/>
                <a:gd name="connsiteX321" fmla="*/ 1111454 w 2048870"/>
                <a:gd name="connsiteY321" fmla="*/ 1095897 h 1413227"/>
                <a:gd name="connsiteX322" fmla="*/ 1127011 w 2048870"/>
                <a:gd name="connsiteY322" fmla="*/ 1094168 h 1413227"/>
                <a:gd name="connsiteX323" fmla="*/ 1132197 w 2048870"/>
                <a:gd name="connsiteY323" fmla="*/ 1088983 h 1413227"/>
                <a:gd name="connsiteX324" fmla="*/ 1166768 w 2048870"/>
                <a:gd name="connsiteY324" fmla="*/ 1083797 h 1413227"/>
                <a:gd name="connsiteX325" fmla="*/ 1175411 w 2048870"/>
                <a:gd name="connsiteY325" fmla="*/ 1073426 h 1413227"/>
                <a:gd name="connsiteX326" fmla="*/ 1177139 w 2048870"/>
                <a:gd name="connsiteY326" fmla="*/ 1061326 h 1413227"/>
                <a:gd name="connsiteX327" fmla="*/ 1170225 w 2048870"/>
                <a:gd name="connsiteY327" fmla="*/ 1047497 h 1413227"/>
                <a:gd name="connsiteX328" fmla="*/ 1163311 w 2048870"/>
                <a:gd name="connsiteY328" fmla="*/ 1050955 h 1413227"/>
                <a:gd name="connsiteX329" fmla="*/ 1166768 w 2048870"/>
                <a:gd name="connsiteY329" fmla="*/ 1068240 h 1413227"/>
                <a:gd name="connsiteX330" fmla="*/ 1170225 w 2048870"/>
                <a:gd name="connsiteY330" fmla="*/ 1076883 h 1413227"/>
                <a:gd name="connsiteX331" fmla="*/ 1182325 w 2048870"/>
                <a:gd name="connsiteY331" fmla="*/ 1080340 h 1413227"/>
                <a:gd name="connsiteX332" fmla="*/ 1206524 w 2048870"/>
                <a:gd name="connsiteY332" fmla="*/ 1078611 h 1413227"/>
                <a:gd name="connsiteX333" fmla="*/ 1211710 w 2048870"/>
                <a:gd name="connsiteY333" fmla="*/ 1073426 h 1413227"/>
                <a:gd name="connsiteX334" fmla="*/ 1218624 w 2048870"/>
                <a:gd name="connsiteY334" fmla="*/ 1057869 h 1413227"/>
                <a:gd name="connsiteX335" fmla="*/ 1220353 w 2048870"/>
                <a:gd name="connsiteY335" fmla="*/ 1044040 h 1413227"/>
                <a:gd name="connsiteX336" fmla="*/ 1218624 w 2048870"/>
                <a:gd name="connsiteY336" fmla="*/ 1014655 h 1413227"/>
                <a:gd name="connsiteX337" fmla="*/ 1211710 w 2048870"/>
                <a:gd name="connsiteY337" fmla="*/ 997370 h 1413227"/>
                <a:gd name="connsiteX338" fmla="*/ 1206524 w 2048870"/>
                <a:gd name="connsiteY338" fmla="*/ 993913 h 1413227"/>
                <a:gd name="connsiteX339" fmla="*/ 1184053 w 2048870"/>
                <a:gd name="connsiteY339" fmla="*/ 973170 h 1413227"/>
                <a:gd name="connsiteX340" fmla="*/ 1173682 w 2048870"/>
                <a:gd name="connsiteY340" fmla="*/ 962799 h 1413227"/>
                <a:gd name="connsiteX341" fmla="*/ 1168496 w 2048870"/>
                <a:gd name="connsiteY341" fmla="*/ 957613 h 1413227"/>
                <a:gd name="connsiteX342" fmla="*/ 1171954 w 2048870"/>
                <a:gd name="connsiteY342" fmla="*/ 961070 h 1413227"/>
                <a:gd name="connsiteX343" fmla="*/ 1178868 w 2048870"/>
                <a:gd name="connsiteY343" fmla="*/ 971441 h 1413227"/>
                <a:gd name="connsiteX344" fmla="*/ 1185782 w 2048870"/>
                <a:gd name="connsiteY344" fmla="*/ 980084 h 1413227"/>
                <a:gd name="connsiteX345" fmla="*/ 1190968 w 2048870"/>
                <a:gd name="connsiteY345" fmla="*/ 985270 h 1413227"/>
                <a:gd name="connsiteX346" fmla="*/ 1194425 w 2048870"/>
                <a:gd name="connsiteY346" fmla="*/ 993913 h 1413227"/>
                <a:gd name="connsiteX347" fmla="*/ 1206524 w 2048870"/>
                <a:gd name="connsiteY347" fmla="*/ 1007741 h 1413227"/>
                <a:gd name="connsiteX348" fmla="*/ 1208253 w 2048870"/>
                <a:gd name="connsiteY348" fmla="*/ 1014655 h 1413227"/>
                <a:gd name="connsiteX349" fmla="*/ 1211710 w 2048870"/>
                <a:gd name="connsiteY349" fmla="*/ 1023298 h 1413227"/>
                <a:gd name="connsiteX350" fmla="*/ 1213439 w 2048870"/>
                <a:gd name="connsiteY350" fmla="*/ 1035398 h 1413227"/>
                <a:gd name="connsiteX351" fmla="*/ 1215167 w 2048870"/>
                <a:gd name="connsiteY351" fmla="*/ 1044040 h 1413227"/>
                <a:gd name="connsiteX352" fmla="*/ 1220353 w 2048870"/>
                <a:gd name="connsiteY352" fmla="*/ 1045769 h 1413227"/>
                <a:gd name="connsiteX353" fmla="*/ 1223810 w 2048870"/>
                <a:gd name="connsiteY353" fmla="*/ 1050955 h 1413227"/>
                <a:gd name="connsiteX354" fmla="*/ 1234181 w 2048870"/>
                <a:gd name="connsiteY354" fmla="*/ 1063054 h 1413227"/>
                <a:gd name="connsiteX355" fmla="*/ 1253195 w 2048870"/>
                <a:gd name="connsiteY355" fmla="*/ 1057869 h 1413227"/>
                <a:gd name="connsiteX356" fmla="*/ 1258381 w 2048870"/>
                <a:gd name="connsiteY356" fmla="*/ 1054412 h 1413227"/>
                <a:gd name="connsiteX357" fmla="*/ 1265295 w 2048870"/>
                <a:gd name="connsiteY357" fmla="*/ 1050955 h 1413227"/>
                <a:gd name="connsiteX358" fmla="*/ 1267023 w 2048870"/>
                <a:gd name="connsiteY358" fmla="*/ 1056140 h 1413227"/>
                <a:gd name="connsiteX359" fmla="*/ 1268752 w 2048870"/>
                <a:gd name="connsiteY359" fmla="*/ 1068240 h 1413227"/>
                <a:gd name="connsiteX360" fmla="*/ 1279123 w 2048870"/>
                <a:gd name="connsiteY360" fmla="*/ 1064783 h 1413227"/>
                <a:gd name="connsiteX361" fmla="*/ 1289495 w 2048870"/>
                <a:gd name="connsiteY361" fmla="*/ 1056140 h 1413227"/>
                <a:gd name="connsiteX362" fmla="*/ 1299866 w 2048870"/>
                <a:gd name="connsiteY362" fmla="*/ 1045769 h 1413227"/>
                <a:gd name="connsiteX363" fmla="*/ 1305051 w 2048870"/>
                <a:gd name="connsiteY363" fmla="*/ 1042312 h 1413227"/>
                <a:gd name="connsiteX364" fmla="*/ 1294680 w 2048870"/>
                <a:gd name="connsiteY364" fmla="*/ 1061326 h 1413227"/>
                <a:gd name="connsiteX365" fmla="*/ 1286037 w 2048870"/>
                <a:gd name="connsiteY365" fmla="*/ 1075154 h 1413227"/>
                <a:gd name="connsiteX366" fmla="*/ 1272209 w 2048870"/>
                <a:gd name="connsiteY366" fmla="*/ 1082068 h 1413227"/>
                <a:gd name="connsiteX367" fmla="*/ 1265295 w 2048870"/>
                <a:gd name="connsiteY367" fmla="*/ 1085525 h 1413227"/>
                <a:gd name="connsiteX368" fmla="*/ 1260109 w 2048870"/>
                <a:gd name="connsiteY368" fmla="*/ 1087254 h 1413227"/>
                <a:gd name="connsiteX369" fmla="*/ 1251467 w 2048870"/>
                <a:gd name="connsiteY369" fmla="*/ 1092440 h 1413227"/>
                <a:gd name="connsiteX370" fmla="*/ 1232453 w 2048870"/>
                <a:gd name="connsiteY370" fmla="*/ 1095897 h 1413227"/>
                <a:gd name="connsiteX371" fmla="*/ 1230724 w 2048870"/>
                <a:gd name="connsiteY371" fmla="*/ 1121825 h 1413227"/>
                <a:gd name="connsiteX372" fmla="*/ 1223810 w 2048870"/>
                <a:gd name="connsiteY372" fmla="*/ 1128739 h 1413227"/>
                <a:gd name="connsiteX373" fmla="*/ 1216896 w 2048870"/>
                <a:gd name="connsiteY373" fmla="*/ 1130468 h 1413227"/>
                <a:gd name="connsiteX374" fmla="*/ 1248009 w 2048870"/>
                <a:gd name="connsiteY374" fmla="*/ 1123553 h 1413227"/>
                <a:gd name="connsiteX375" fmla="*/ 1275666 w 2048870"/>
                <a:gd name="connsiteY375" fmla="*/ 1125282 h 1413227"/>
                <a:gd name="connsiteX376" fmla="*/ 1282580 w 2048870"/>
                <a:gd name="connsiteY376" fmla="*/ 1128739 h 1413227"/>
                <a:gd name="connsiteX377" fmla="*/ 1318880 w 2048870"/>
                <a:gd name="connsiteY377" fmla="*/ 1127010 h 1413227"/>
                <a:gd name="connsiteX378" fmla="*/ 1330980 w 2048870"/>
                <a:gd name="connsiteY378" fmla="*/ 1123553 h 1413227"/>
                <a:gd name="connsiteX379" fmla="*/ 1339622 w 2048870"/>
                <a:gd name="connsiteY379" fmla="*/ 1118368 h 1413227"/>
                <a:gd name="connsiteX380" fmla="*/ 1356908 w 2048870"/>
                <a:gd name="connsiteY380" fmla="*/ 1123553 h 1413227"/>
                <a:gd name="connsiteX381" fmla="*/ 1384564 w 2048870"/>
                <a:gd name="connsiteY381" fmla="*/ 1114911 h 1413227"/>
                <a:gd name="connsiteX382" fmla="*/ 1391479 w 2048870"/>
                <a:gd name="connsiteY382" fmla="*/ 1109725 h 1413227"/>
                <a:gd name="connsiteX383" fmla="*/ 1400121 w 2048870"/>
                <a:gd name="connsiteY383" fmla="*/ 1095897 h 1413227"/>
                <a:gd name="connsiteX384" fmla="*/ 1403578 w 2048870"/>
                <a:gd name="connsiteY384" fmla="*/ 1090711 h 1413227"/>
                <a:gd name="connsiteX385" fmla="*/ 1408764 w 2048870"/>
                <a:gd name="connsiteY385" fmla="*/ 1088983 h 1413227"/>
                <a:gd name="connsiteX386" fmla="*/ 1415678 w 2048870"/>
                <a:gd name="connsiteY386" fmla="*/ 1097625 h 1413227"/>
                <a:gd name="connsiteX387" fmla="*/ 1419135 w 2048870"/>
                <a:gd name="connsiteY387" fmla="*/ 1104539 h 1413227"/>
                <a:gd name="connsiteX388" fmla="*/ 1424321 w 2048870"/>
                <a:gd name="connsiteY388" fmla="*/ 1111454 h 1413227"/>
                <a:gd name="connsiteX389" fmla="*/ 1434692 w 2048870"/>
                <a:gd name="connsiteY389" fmla="*/ 1109725 h 1413227"/>
                <a:gd name="connsiteX390" fmla="*/ 1438149 w 2048870"/>
                <a:gd name="connsiteY390" fmla="*/ 1101082 h 1413227"/>
                <a:gd name="connsiteX391" fmla="*/ 1446792 w 2048870"/>
                <a:gd name="connsiteY391" fmla="*/ 1076883 h 1413227"/>
                <a:gd name="connsiteX392" fmla="*/ 1455435 w 2048870"/>
                <a:gd name="connsiteY392" fmla="*/ 1082068 h 1413227"/>
                <a:gd name="connsiteX393" fmla="*/ 1457163 w 2048870"/>
                <a:gd name="connsiteY393" fmla="*/ 1097625 h 1413227"/>
                <a:gd name="connsiteX394" fmla="*/ 1462349 w 2048870"/>
                <a:gd name="connsiteY394" fmla="*/ 1104539 h 1413227"/>
                <a:gd name="connsiteX395" fmla="*/ 1464078 w 2048870"/>
                <a:gd name="connsiteY395" fmla="*/ 1116639 h 1413227"/>
                <a:gd name="connsiteX396" fmla="*/ 1450249 w 2048870"/>
                <a:gd name="connsiteY396" fmla="*/ 1132196 h 1413227"/>
                <a:gd name="connsiteX397" fmla="*/ 1436421 w 2048870"/>
                <a:gd name="connsiteY397" fmla="*/ 1149482 h 1413227"/>
                <a:gd name="connsiteX398" fmla="*/ 1427778 w 2048870"/>
                <a:gd name="connsiteY398" fmla="*/ 1158124 h 1413227"/>
                <a:gd name="connsiteX399" fmla="*/ 1415678 w 2048870"/>
                <a:gd name="connsiteY399" fmla="*/ 1163310 h 1413227"/>
                <a:gd name="connsiteX400" fmla="*/ 1400121 w 2048870"/>
                <a:gd name="connsiteY400" fmla="*/ 1171953 h 1413227"/>
                <a:gd name="connsiteX401" fmla="*/ 1398393 w 2048870"/>
                <a:gd name="connsiteY401" fmla="*/ 1177138 h 1413227"/>
                <a:gd name="connsiteX402" fmla="*/ 1389750 w 2048870"/>
                <a:gd name="connsiteY402" fmla="*/ 1189238 h 1413227"/>
                <a:gd name="connsiteX403" fmla="*/ 1384564 w 2048870"/>
                <a:gd name="connsiteY403" fmla="*/ 1197881 h 1413227"/>
                <a:gd name="connsiteX404" fmla="*/ 1382836 w 2048870"/>
                <a:gd name="connsiteY404" fmla="*/ 1203066 h 1413227"/>
                <a:gd name="connsiteX405" fmla="*/ 1374193 w 2048870"/>
                <a:gd name="connsiteY405" fmla="*/ 1211709 h 1413227"/>
                <a:gd name="connsiteX406" fmla="*/ 1369008 w 2048870"/>
                <a:gd name="connsiteY406" fmla="*/ 1216895 h 1413227"/>
                <a:gd name="connsiteX407" fmla="*/ 1356908 w 2048870"/>
                <a:gd name="connsiteY407" fmla="*/ 1230723 h 1413227"/>
                <a:gd name="connsiteX408" fmla="*/ 1351722 w 2048870"/>
                <a:gd name="connsiteY408" fmla="*/ 1237637 h 1413227"/>
                <a:gd name="connsiteX409" fmla="*/ 1349994 w 2048870"/>
                <a:gd name="connsiteY409" fmla="*/ 1242823 h 1413227"/>
                <a:gd name="connsiteX410" fmla="*/ 1344808 w 2048870"/>
                <a:gd name="connsiteY410" fmla="*/ 1253194 h 1413227"/>
                <a:gd name="connsiteX411" fmla="*/ 1377650 w 2048870"/>
                <a:gd name="connsiteY411" fmla="*/ 1253194 h 1413227"/>
                <a:gd name="connsiteX412" fmla="*/ 1386293 w 2048870"/>
                <a:gd name="connsiteY412" fmla="*/ 1246280 h 1413227"/>
                <a:gd name="connsiteX413" fmla="*/ 1391479 w 2048870"/>
                <a:gd name="connsiteY413" fmla="*/ 1244552 h 1413227"/>
                <a:gd name="connsiteX414" fmla="*/ 1412221 w 2048870"/>
                <a:gd name="connsiteY414" fmla="*/ 1248009 h 1413227"/>
                <a:gd name="connsiteX415" fmla="*/ 1415678 w 2048870"/>
                <a:gd name="connsiteY415" fmla="*/ 1253194 h 1413227"/>
                <a:gd name="connsiteX416" fmla="*/ 1426050 w 2048870"/>
                <a:gd name="connsiteY416" fmla="*/ 1260108 h 1413227"/>
                <a:gd name="connsiteX417" fmla="*/ 1451978 w 2048870"/>
                <a:gd name="connsiteY417" fmla="*/ 1258380 h 1413227"/>
                <a:gd name="connsiteX418" fmla="*/ 1457163 w 2048870"/>
                <a:gd name="connsiteY418" fmla="*/ 1253194 h 1413227"/>
                <a:gd name="connsiteX419" fmla="*/ 1465806 w 2048870"/>
                <a:gd name="connsiteY419" fmla="*/ 1248009 h 1413227"/>
                <a:gd name="connsiteX420" fmla="*/ 1483092 w 2048870"/>
                <a:gd name="connsiteY420" fmla="*/ 1249737 h 1413227"/>
                <a:gd name="connsiteX421" fmla="*/ 1491734 w 2048870"/>
                <a:gd name="connsiteY421" fmla="*/ 1258380 h 1413227"/>
                <a:gd name="connsiteX422" fmla="*/ 1502106 w 2048870"/>
                <a:gd name="connsiteY422" fmla="*/ 1272208 h 1413227"/>
                <a:gd name="connsiteX423" fmla="*/ 1503834 w 2048870"/>
                <a:gd name="connsiteY423" fmla="*/ 1289494 h 1413227"/>
                <a:gd name="connsiteX424" fmla="*/ 1514205 w 2048870"/>
                <a:gd name="connsiteY424" fmla="*/ 1301593 h 1413227"/>
                <a:gd name="connsiteX425" fmla="*/ 1517662 w 2048870"/>
                <a:gd name="connsiteY425" fmla="*/ 1306779 h 1413227"/>
                <a:gd name="connsiteX426" fmla="*/ 1515934 w 2048870"/>
                <a:gd name="connsiteY426" fmla="*/ 1355178 h 1413227"/>
                <a:gd name="connsiteX427" fmla="*/ 1509020 w 2048870"/>
                <a:gd name="connsiteY427" fmla="*/ 1360364 h 1413227"/>
                <a:gd name="connsiteX428" fmla="*/ 1503834 w 2048870"/>
                <a:gd name="connsiteY428" fmla="*/ 1370735 h 1413227"/>
                <a:gd name="connsiteX429" fmla="*/ 1534948 w 2048870"/>
                <a:gd name="connsiteY429" fmla="*/ 1374192 h 1413227"/>
                <a:gd name="connsiteX430" fmla="*/ 1540133 w 2048870"/>
                <a:gd name="connsiteY430" fmla="*/ 1377649 h 1413227"/>
                <a:gd name="connsiteX431" fmla="*/ 1559147 w 2048870"/>
                <a:gd name="connsiteY431" fmla="*/ 1375921 h 1413227"/>
                <a:gd name="connsiteX432" fmla="*/ 1564333 w 2048870"/>
                <a:gd name="connsiteY432" fmla="*/ 1372464 h 1413227"/>
                <a:gd name="connsiteX433" fmla="*/ 1579890 w 2048870"/>
                <a:gd name="connsiteY433" fmla="*/ 1370735 h 1413227"/>
                <a:gd name="connsiteX434" fmla="*/ 1597175 w 2048870"/>
                <a:gd name="connsiteY434" fmla="*/ 1363821 h 1413227"/>
                <a:gd name="connsiteX435" fmla="*/ 1600633 w 2048870"/>
                <a:gd name="connsiteY435" fmla="*/ 1360364 h 1413227"/>
                <a:gd name="connsiteX436" fmla="*/ 1612732 w 2048870"/>
                <a:gd name="connsiteY436" fmla="*/ 1341350 h 1413227"/>
                <a:gd name="connsiteX437" fmla="*/ 1617918 w 2048870"/>
                <a:gd name="connsiteY437" fmla="*/ 1305051 h 1413227"/>
                <a:gd name="connsiteX438" fmla="*/ 1623104 w 2048870"/>
                <a:gd name="connsiteY438" fmla="*/ 1301593 h 1413227"/>
                <a:gd name="connsiteX439" fmla="*/ 1624832 w 2048870"/>
                <a:gd name="connsiteY439" fmla="*/ 1284308 h 1413227"/>
                <a:gd name="connsiteX440" fmla="*/ 1631746 w 2048870"/>
                <a:gd name="connsiteY440" fmla="*/ 1270480 h 1413227"/>
                <a:gd name="connsiteX441" fmla="*/ 1643846 w 2048870"/>
                <a:gd name="connsiteY441" fmla="*/ 1263565 h 1413227"/>
                <a:gd name="connsiteX442" fmla="*/ 1669774 w 2048870"/>
                <a:gd name="connsiteY442" fmla="*/ 1260108 h 1413227"/>
                <a:gd name="connsiteX443" fmla="*/ 1681874 w 2048870"/>
                <a:gd name="connsiteY443" fmla="*/ 1254923 h 1413227"/>
                <a:gd name="connsiteX444" fmla="*/ 1687060 w 2048870"/>
                <a:gd name="connsiteY444" fmla="*/ 1253194 h 1413227"/>
                <a:gd name="connsiteX445" fmla="*/ 1702617 w 2048870"/>
                <a:gd name="connsiteY445" fmla="*/ 1249737 h 1413227"/>
                <a:gd name="connsiteX446" fmla="*/ 1704345 w 2048870"/>
                <a:gd name="connsiteY446" fmla="*/ 1232452 h 1413227"/>
                <a:gd name="connsiteX447" fmla="*/ 1706074 w 2048870"/>
                <a:gd name="connsiteY447" fmla="*/ 1208252 h 1413227"/>
                <a:gd name="connsiteX448" fmla="*/ 1711259 w 2048870"/>
                <a:gd name="connsiteY448" fmla="*/ 1201338 h 1413227"/>
                <a:gd name="connsiteX449" fmla="*/ 1718174 w 2048870"/>
                <a:gd name="connsiteY449" fmla="*/ 1192695 h 1413227"/>
                <a:gd name="connsiteX450" fmla="*/ 1725088 w 2048870"/>
                <a:gd name="connsiteY450" fmla="*/ 1189238 h 1413227"/>
                <a:gd name="connsiteX451" fmla="*/ 1735459 w 2048870"/>
                <a:gd name="connsiteY451" fmla="*/ 1184052 h 1413227"/>
                <a:gd name="connsiteX452" fmla="*/ 1773487 w 2048870"/>
                <a:gd name="connsiteY452" fmla="*/ 1189238 h 1413227"/>
                <a:gd name="connsiteX453" fmla="*/ 1778673 w 2048870"/>
                <a:gd name="connsiteY453" fmla="*/ 1194424 h 1413227"/>
                <a:gd name="connsiteX454" fmla="*/ 1808058 w 2048870"/>
                <a:gd name="connsiteY454" fmla="*/ 1187510 h 1413227"/>
                <a:gd name="connsiteX455" fmla="*/ 1811515 w 2048870"/>
                <a:gd name="connsiteY455" fmla="*/ 1180595 h 1413227"/>
                <a:gd name="connsiteX456" fmla="*/ 1818429 w 2048870"/>
                <a:gd name="connsiteY456" fmla="*/ 1171953 h 1413227"/>
                <a:gd name="connsiteX457" fmla="*/ 1825343 w 2048870"/>
                <a:gd name="connsiteY457" fmla="*/ 1158124 h 1413227"/>
                <a:gd name="connsiteX458" fmla="*/ 1827072 w 2048870"/>
                <a:gd name="connsiteY458" fmla="*/ 1151210 h 1413227"/>
                <a:gd name="connsiteX459" fmla="*/ 1833986 w 2048870"/>
                <a:gd name="connsiteY459" fmla="*/ 1133925 h 1413227"/>
                <a:gd name="connsiteX460" fmla="*/ 1820158 w 2048870"/>
                <a:gd name="connsiteY460" fmla="*/ 1128739 h 1413227"/>
                <a:gd name="connsiteX461" fmla="*/ 1816701 w 2048870"/>
                <a:gd name="connsiteY461" fmla="*/ 1123553 h 1413227"/>
                <a:gd name="connsiteX462" fmla="*/ 1820158 w 2048870"/>
                <a:gd name="connsiteY462" fmla="*/ 1118368 h 1413227"/>
                <a:gd name="connsiteX463" fmla="*/ 1825343 w 2048870"/>
                <a:gd name="connsiteY463" fmla="*/ 1111454 h 1413227"/>
                <a:gd name="connsiteX464" fmla="*/ 1828800 w 2048870"/>
                <a:gd name="connsiteY464" fmla="*/ 1099354 h 1413227"/>
                <a:gd name="connsiteX465" fmla="*/ 1832257 w 2048870"/>
                <a:gd name="connsiteY465" fmla="*/ 1094168 h 1413227"/>
                <a:gd name="connsiteX466" fmla="*/ 1830529 w 2048870"/>
                <a:gd name="connsiteY466" fmla="*/ 1083797 h 1413227"/>
                <a:gd name="connsiteX467" fmla="*/ 1816701 w 2048870"/>
                <a:gd name="connsiteY467" fmla="*/ 1087254 h 1413227"/>
                <a:gd name="connsiteX468" fmla="*/ 1789044 w 2048870"/>
                <a:gd name="connsiteY468" fmla="*/ 1092440 h 1413227"/>
                <a:gd name="connsiteX469" fmla="*/ 1778673 w 2048870"/>
                <a:gd name="connsiteY469" fmla="*/ 1095897 h 1413227"/>
                <a:gd name="connsiteX470" fmla="*/ 1771758 w 2048870"/>
                <a:gd name="connsiteY470" fmla="*/ 1099354 h 1413227"/>
                <a:gd name="connsiteX471" fmla="*/ 1766573 w 2048870"/>
                <a:gd name="connsiteY471" fmla="*/ 1116639 h 1413227"/>
                <a:gd name="connsiteX472" fmla="*/ 1756202 w 2048870"/>
                <a:gd name="connsiteY472" fmla="*/ 1118368 h 1413227"/>
                <a:gd name="connsiteX473" fmla="*/ 1738916 w 2048870"/>
                <a:gd name="connsiteY473" fmla="*/ 1130468 h 1413227"/>
                <a:gd name="connsiteX474" fmla="*/ 1718174 w 2048870"/>
                <a:gd name="connsiteY474" fmla="*/ 1140839 h 1413227"/>
                <a:gd name="connsiteX475" fmla="*/ 1709531 w 2048870"/>
                <a:gd name="connsiteY475" fmla="*/ 1146024 h 1413227"/>
                <a:gd name="connsiteX476" fmla="*/ 1707802 w 2048870"/>
                <a:gd name="connsiteY476" fmla="*/ 1151210 h 1413227"/>
                <a:gd name="connsiteX477" fmla="*/ 1700888 w 2048870"/>
                <a:gd name="connsiteY477" fmla="*/ 1154667 h 1413227"/>
                <a:gd name="connsiteX478" fmla="*/ 1647303 w 2048870"/>
                <a:gd name="connsiteY478" fmla="*/ 1152939 h 1413227"/>
                <a:gd name="connsiteX479" fmla="*/ 1650760 w 2048870"/>
                <a:gd name="connsiteY479" fmla="*/ 1142567 h 1413227"/>
                <a:gd name="connsiteX480" fmla="*/ 1649032 w 2048870"/>
                <a:gd name="connsiteY480" fmla="*/ 1120096 h 1413227"/>
                <a:gd name="connsiteX481" fmla="*/ 1598904 w 2048870"/>
                <a:gd name="connsiteY481" fmla="*/ 1114911 h 1413227"/>
                <a:gd name="connsiteX482" fmla="*/ 1591990 w 2048870"/>
                <a:gd name="connsiteY482" fmla="*/ 1113182 h 1413227"/>
                <a:gd name="connsiteX483" fmla="*/ 1564333 w 2048870"/>
                <a:gd name="connsiteY483" fmla="*/ 1109725 h 1413227"/>
                <a:gd name="connsiteX484" fmla="*/ 1553962 w 2048870"/>
                <a:gd name="connsiteY484" fmla="*/ 1101082 h 1413227"/>
                <a:gd name="connsiteX485" fmla="*/ 1543591 w 2048870"/>
                <a:gd name="connsiteY485" fmla="*/ 1092440 h 1413227"/>
                <a:gd name="connsiteX486" fmla="*/ 1526305 w 2048870"/>
                <a:gd name="connsiteY486" fmla="*/ 1090711 h 1413227"/>
                <a:gd name="connsiteX487" fmla="*/ 1514205 w 2048870"/>
                <a:gd name="connsiteY487" fmla="*/ 1085525 h 1413227"/>
                <a:gd name="connsiteX488" fmla="*/ 1512477 w 2048870"/>
                <a:gd name="connsiteY488" fmla="*/ 1092440 h 1413227"/>
                <a:gd name="connsiteX489" fmla="*/ 1507291 w 2048870"/>
                <a:gd name="connsiteY489" fmla="*/ 1085525 h 1413227"/>
                <a:gd name="connsiteX490" fmla="*/ 1496920 w 2048870"/>
                <a:gd name="connsiteY490" fmla="*/ 1075154 h 1413227"/>
                <a:gd name="connsiteX491" fmla="*/ 1445064 w 2048870"/>
                <a:gd name="connsiteY491" fmla="*/ 1076883 h 1413227"/>
                <a:gd name="connsiteX492" fmla="*/ 1439878 w 2048870"/>
                <a:gd name="connsiteY492" fmla="*/ 1080340 h 1413227"/>
                <a:gd name="connsiteX493" fmla="*/ 1438149 w 2048870"/>
                <a:gd name="connsiteY493" fmla="*/ 1085525 h 1413227"/>
                <a:gd name="connsiteX494" fmla="*/ 1451978 w 2048870"/>
                <a:gd name="connsiteY494" fmla="*/ 1071697 h 1413227"/>
                <a:gd name="connsiteX495" fmla="*/ 1458892 w 2048870"/>
                <a:gd name="connsiteY495" fmla="*/ 1064783 h 1413227"/>
                <a:gd name="connsiteX496" fmla="*/ 1464078 w 2048870"/>
                <a:gd name="connsiteY496" fmla="*/ 1059597 h 1413227"/>
                <a:gd name="connsiteX497" fmla="*/ 1479634 w 2048870"/>
                <a:gd name="connsiteY497" fmla="*/ 1064783 h 1413227"/>
                <a:gd name="connsiteX498" fmla="*/ 1490006 w 2048870"/>
                <a:gd name="connsiteY498" fmla="*/ 1071697 h 1413227"/>
                <a:gd name="connsiteX499" fmla="*/ 1498648 w 2048870"/>
                <a:gd name="connsiteY499" fmla="*/ 1068240 h 1413227"/>
                <a:gd name="connsiteX500" fmla="*/ 1500377 w 2048870"/>
                <a:gd name="connsiteY500" fmla="*/ 1063054 h 1413227"/>
                <a:gd name="connsiteX501" fmla="*/ 1503834 w 2048870"/>
                <a:gd name="connsiteY501" fmla="*/ 1057869 h 1413227"/>
                <a:gd name="connsiteX502" fmla="*/ 1507291 w 2048870"/>
                <a:gd name="connsiteY502" fmla="*/ 1045769 h 1413227"/>
                <a:gd name="connsiteX503" fmla="*/ 1540133 w 2048870"/>
                <a:gd name="connsiteY503" fmla="*/ 1044040 h 1413227"/>
                <a:gd name="connsiteX504" fmla="*/ 1557419 w 2048870"/>
                <a:gd name="connsiteY504" fmla="*/ 1059597 h 1413227"/>
                <a:gd name="connsiteX505" fmla="*/ 1560876 w 2048870"/>
                <a:gd name="connsiteY505" fmla="*/ 1073426 h 1413227"/>
                <a:gd name="connsiteX506" fmla="*/ 1564333 w 2048870"/>
                <a:gd name="connsiteY506" fmla="*/ 1087254 h 1413227"/>
                <a:gd name="connsiteX507" fmla="*/ 1566062 w 2048870"/>
                <a:gd name="connsiteY507" fmla="*/ 1094168 h 1413227"/>
                <a:gd name="connsiteX508" fmla="*/ 1569519 w 2048870"/>
                <a:gd name="connsiteY508" fmla="*/ 1099354 h 1413227"/>
                <a:gd name="connsiteX509" fmla="*/ 1576433 w 2048870"/>
                <a:gd name="connsiteY509" fmla="*/ 1037126 h 1413227"/>
                <a:gd name="connsiteX510" fmla="*/ 1588533 w 2048870"/>
                <a:gd name="connsiteY510" fmla="*/ 1052683 h 1413227"/>
                <a:gd name="connsiteX511" fmla="*/ 1591990 w 2048870"/>
                <a:gd name="connsiteY511" fmla="*/ 1069969 h 1413227"/>
                <a:gd name="connsiteX512" fmla="*/ 1607547 w 2048870"/>
                <a:gd name="connsiteY512" fmla="*/ 1080340 h 1413227"/>
                <a:gd name="connsiteX513" fmla="*/ 1612732 w 2048870"/>
                <a:gd name="connsiteY513" fmla="*/ 1083797 h 1413227"/>
                <a:gd name="connsiteX514" fmla="*/ 1621375 w 2048870"/>
                <a:gd name="connsiteY514" fmla="*/ 1085525 h 1413227"/>
                <a:gd name="connsiteX515" fmla="*/ 1633475 w 2048870"/>
                <a:gd name="connsiteY515" fmla="*/ 1092440 h 1413227"/>
                <a:gd name="connsiteX516" fmla="*/ 1640389 w 2048870"/>
                <a:gd name="connsiteY516" fmla="*/ 1095897 h 1413227"/>
                <a:gd name="connsiteX517" fmla="*/ 1649032 w 2048870"/>
                <a:gd name="connsiteY517" fmla="*/ 1109725 h 1413227"/>
                <a:gd name="connsiteX518" fmla="*/ 1659403 w 2048870"/>
                <a:gd name="connsiteY518" fmla="*/ 1113182 h 1413227"/>
                <a:gd name="connsiteX519" fmla="*/ 1669774 w 2048870"/>
                <a:gd name="connsiteY519" fmla="*/ 1118368 h 1413227"/>
                <a:gd name="connsiteX520" fmla="*/ 1680146 w 2048870"/>
                <a:gd name="connsiteY520" fmla="*/ 1125282 h 1413227"/>
                <a:gd name="connsiteX521" fmla="*/ 1699160 w 2048870"/>
                <a:gd name="connsiteY521" fmla="*/ 1139110 h 1413227"/>
                <a:gd name="connsiteX522" fmla="*/ 1712988 w 2048870"/>
                <a:gd name="connsiteY522" fmla="*/ 1142567 h 1413227"/>
                <a:gd name="connsiteX523" fmla="*/ 1704345 w 2048870"/>
                <a:gd name="connsiteY523" fmla="*/ 1137382 h 1413227"/>
                <a:gd name="connsiteX524" fmla="*/ 1699160 w 2048870"/>
                <a:gd name="connsiteY524" fmla="*/ 1132196 h 1413227"/>
                <a:gd name="connsiteX525" fmla="*/ 1688788 w 2048870"/>
                <a:gd name="connsiteY525" fmla="*/ 1128739 h 1413227"/>
                <a:gd name="connsiteX526" fmla="*/ 1674960 w 2048870"/>
                <a:gd name="connsiteY526" fmla="*/ 1125282 h 1413227"/>
                <a:gd name="connsiteX527" fmla="*/ 1659403 w 2048870"/>
                <a:gd name="connsiteY527" fmla="*/ 1121825 h 1413227"/>
                <a:gd name="connsiteX528" fmla="*/ 1650760 w 2048870"/>
                <a:gd name="connsiteY528" fmla="*/ 1116639 h 1413227"/>
                <a:gd name="connsiteX529" fmla="*/ 1645575 w 2048870"/>
                <a:gd name="connsiteY529" fmla="*/ 1113182 h 1413227"/>
                <a:gd name="connsiteX530" fmla="*/ 1642118 w 2048870"/>
                <a:gd name="connsiteY530" fmla="*/ 1107996 h 1413227"/>
                <a:gd name="connsiteX531" fmla="*/ 1628289 w 2048870"/>
                <a:gd name="connsiteY531" fmla="*/ 1088983 h 1413227"/>
                <a:gd name="connsiteX532" fmla="*/ 1626561 w 2048870"/>
                <a:gd name="connsiteY532" fmla="*/ 1083797 h 1413227"/>
                <a:gd name="connsiteX533" fmla="*/ 1619647 w 2048870"/>
                <a:gd name="connsiteY533" fmla="*/ 1075154 h 1413227"/>
                <a:gd name="connsiteX534" fmla="*/ 1616189 w 2048870"/>
                <a:gd name="connsiteY534" fmla="*/ 1061326 h 1413227"/>
                <a:gd name="connsiteX535" fmla="*/ 1614461 w 2048870"/>
                <a:gd name="connsiteY535" fmla="*/ 1056140 h 1413227"/>
                <a:gd name="connsiteX536" fmla="*/ 1604090 w 2048870"/>
                <a:gd name="connsiteY536" fmla="*/ 1038855 h 1413227"/>
                <a:gd name="connsiteX537" fmla="*/ 1598904 w 2048870"/>
                <a:gd name="connsiteY537" fmla="*/ 1037126 h 1413227"/>
                <a:gd name="connsiteX538" fmla="*/ 1593718 w 2048870"/>
                <a:gd name="connsiteY538" fmla="*/ 1030212 h 1413227"/>
                <a:gd name="connsiteX539" fmla="*/ 1585076 w 2048870"/>
                <a:gd name="connsiteY539" fmla="*/ 1019841 h 1413227"/>
                <a:gd name="connsiteX540" fmla="*/ 1590261 w 2048870"/>
                <a:gd name="connsiteY540" fmla="*/ 1000827 h 1413227"/>
                <a:gd name="connsiteX541" fmla="*/ 1598904 w 2048870"/>
                <a:gd name="connsiteY541" fmla="*/ 999098 h 1413227"/>
                <a:gd name="connsiteX542" fmla="*/ 1611004 w 2048870"/>
                <a:gd name="connsiteY542" fmla="*/ 990455 h 1413227"/>
                <a:gd name="connsiteX543" fmla="*/ 1617918 w 2048870"/>
                <a:gd name="connsiteY543" fmla="*/ 985270 h 1413227"/>
                <a:gd name="connsiteX544" fmla="*/ 1616189 w 2048870"/>
                <a:gd name="connsiteY544" fmla="*/ 1021569 h 1413227"/>
                <a:gd name="connsiteX545" fmla="*/ 1612732 w 2048870"/>
                <a:gd name="connsiteY545" fmla="*/ 1028483 h 1413227"/>
                <a:gd name="connsiteX546" fmla="*/ 1607547 w 2048870"/>
                <a:gd name="connsiteY546" fmla="*/ 1035398 h 1413227"/>
                <a:gd name="connsiteX547" fmla="*/ 1612732 w 2048870"/>
                <a:gd name="connsiteY547" fmla="*/ 1031941 h 1413227"/>
                <a:gd name="connsiteX548" fmla="*/ 1621375 w 2048870"/>
                <a:gd name="connsiteY548" fmla="*/ 1016384 h 1413227"/>
                <a:gd name="connsiteX549" fmla="*/ 1626561 w 2048870"/>
                <a:gd name="connsiteY549" fmla="*/ 997370 h 1413227"/>
                <a:gd name="connsiteX550" fmla="*/ 1626561 w 2048870"/>
                <a:gd name="connsiteY550" fmla="*/ 976627 h 1413227"/>
                <a:gd name="connsiteX551" fmla="*/ 1619647 w 2048870"/>
                <a:gd name="connsiteY551" fmla="*/ 962799 h 1413227"/>
                <a:gd name="connsiteX552" fmla="*/ 1626561 w 2048870"/>
                <a:gd name="connsiteY552" fmla="*/ 966256 h 1413227"/>
                <a:gd name="connsiteX553" fmla="*/ 1638661 w 2048870"/>
                <a:gd name="connsiteY553" fmla="*/ 969713 h 1413227"/>
                <a:gd name="connsiteX554" fmla="*/ 1645575 w 2048870"/>
                <a:gd name="connsiteY554" fmla="*/ 967984 h 1413227"/>
                <a:gd name="connsiteX555" fmla="*/ 1650760 w 2048870"/>
                <a:gd name="connsiteY555" fmla="*/ 955885 h 1413227"/>
                <a:gd name="connsiteX556" fmla="*/ 1659403 w 2048870"/>
                <a:gd name="connsiteY556" fmla="*/ 933414 h 1413227"/>
                <a:gd name="connsiteX557" fmla="*/ 1662860 w 2048870"/>
                <a:gd name="connsiteY557" fmla="*/ 929956 h 1413227"/>
                <a:gd name="connsiteX558" fmla="*/ 1664589 w 2048870"/>
                <a:gd name="connsiteY558" fmla="*/ 923042 h 1413227"/>
                <a:gd name="connsiteX559" fmla="*/ 1673231 w 2048870"/>
                <a:gd name="connsiteY559" fmla="*/ 893657 h 1413227"/>
                <a:gd name="connsiteX560" fmla="*/ 1687060 w 2048870"/>
                <a:gd name="connsiteY560" fmla="*/ 891928 h 1413227"/>
                <a:gd name="connsiteX561" fmla="*/ 1693974 w 2048870"/>
                <a:gd name="connsiteY561" fmla="*/ 890200 h 1413227"/>
                <a:gd name="connsiteX562" fmla="*/ 1700888 w 2048870"/>
                <a:gd name="connsiteY562" fmla="*/ 886743 h 1413227"/>
                <a:gd name="connsiteX563" fmla="*/ 1719902 w 2048870"/>
                <a:gd name="connsiteY563" fmla="*/ 878100 h 1413227"/>
                <a:gd name="connsiteX564" fmla="*/ 1726816 w 2048870"/>
                <a:gd name="connsiteY564" fmla="*/ 876372 h 1413227"/>
                <a:gd name="connsiteX565" fmla="*/ 1745830 w 2048870"/>
                <a:gd name="connsiteY565" fmla="*/ 860815 h 1413227"/>
                <a:gd name="connsiteX566" fmla="*/ 1751016 w 2048870"/>
                <a:gd name="connsiteY566" fmla="*/ 857358 h 1413227"/>
                <a:gd name="connsiteX567" fmla="*/ 1757930 w 2048870"/>
                <a:gd name="connsiteY567" fmla="*/ 855629 h 1413227"/>
                <a:gd name="connsiteX568" fmla="*/ 1764844 w 2048870"/>
                <a:gd name="connsiteY568" fmla="*/ 841801 h 1413227"/>
                <a:gd name="connsiteX569" fmla="*/ 1771758 w 2048870"/>
                <a:gd name="connsiteY569" fmla="*/ 836615 h 1413227"/>
                <a:gd name="connsiteX570" fmla="*/ 1776944 w 2048870"/>
                <a:gd name="connsiteY570" fmla="*/ 833158 h 1413227"/>
                <a:gd name="connsiteX571" fmla="*/ 1787315 w 2048870"/>
                <a:gd name="connsiteY571" fmla="*/ 831429 h 1413227"/>
                <a:gd name="connsiteX572" fmla="*/ 1795958 w 2048870"/>
                <a:gd name="connsiteY572" fmla="*/ 829701 h 1413227"/>
                <a:gd name="connsiteX573" fmla="*/ 1797687 w 2048870"/>
                <a:gd name="connsiteY573" fmla="*/ 824515 h 1413227"/>
                <a:gd name="connsiteX574" fmla="*/ 1825343 w 2048870"/>
                <a:gd name="connsiteY574" fmla="*/ 796859 h 1413227"/>
                <a:gd name="connsiteX575" fmla="*/ 1830529 w 2048870"/>
                <a:gd name="connsiteY575" fmla="*/ 776116 h 1413227"/>
                <a:gd name="connsiteX576" fmla="*/ 1835715 w 2048870"/>
                <a:gd name="connsiteY576" fmla="*/ 770930 h 1413227"/>
                <a:gd name="connsiteX577" fmla="*/ 1863371 w 2048870"/>
                <a:gd name="connsiteY577" fmla="*/ 760559 h 1413227"/>
                <a:gd name="connsiteX578" fmla="*/ 1868557 w 2048870"/>
                <a:gd name="connsiteY578" fmla="*/ 755373 h 1413227"/>
                <a:gd name="connsiteX579" fmla="*/ 1880657 w 2048870"/>
                <a:gd name="connsiteY579" fmla="*/ 753645 h 1413227"/>
                <a:gd name="connsiteX580" fmla="*/ 1889299 w 2048870"/>
                <a:gd name="connsiteY580" fmla="*/ 750188 h 1413227"/>
                <a:gd name="connsiteX581" fmla="*/ 1894485 w 2048870"/>
                <a:gd name="connsiteY581" fmla="*/ 731174 h 1413227"/>
                <a:gd name="connsiteX582" fmla="*/ 1910042 w 2048870"/>
                <a:gd name="connsiteY582" fmla="*/ 719074 h 1413227"/>
                <a:gd name="connsiteX583" fmla="*/ 1916956 w 2048870"/>
                <a:gd name="connsiteY583" fmla="*/ 710431 h 1413227"/>
                <a:gd name="connsiteX584" fmla="*/ 1908313 w 2048870"/>
                <a:gd name="connsiteY584" fmla="*/ 689689 h 1413227"/>
                <a:gd name="connsiteX585" fmla="*/ 1901399 w 2048870"/>
                <a:gd name="connsiteY585" fmla="*/ 675860 h 1413227"/>
                <a:gd name="connsiteX586" fmla="*/ 1897942 w 2048870"/>
                <a:gd name="connsiteY586" fmla="*/ 665489 h 1413227"/>
                <a:gd name="connsiteX587" fmla="*/ 1901399 w 2048870"/>
                <a:gd name="connsiteY587" fmla="*/ 651661 h 1413227"/>
                <a:gd name="connsiteX588" fmla="*/ 1897942 w 2048870"/>
                <a:gd name="connsiteY588" fmla="*/ 629190 h 1413227"/>
                <a:gd name="connsiteX589" fmla="*/ 1904856 w 2048870"/>
                <a:gd name="connsiteY589" fmla="*/ 624004 h 1413227"/>
                <a:gd name="connsiteX590" fmla="*/ 1910042 w 2048870"/>
                <a:gd name="connsiteY590" fmla="*/ 613633 h 1413227"/>
                <a:gd name="connsiteX591" fmla="*/ 1918685 w 2048870"/>
                <a:gd name="connsiteY591" fmla="*/ 608447 h 1413227"/>
                <a:gd name="connsiteX592" fmla="*/ 1925599 w 2048870"/>
                <a:gd name="connsiteY592" fmla="*/ 601533 h 1413227"/>
                <a:gd name="connsiteX593" fmla="*/ 1929056 w 2048870"/>
                <a:gd name="connsiteY593" fmla="*/ 587705 h 1413227"/>
                <a:gd name="connsiteX594" fmla="*/ 1932513 w 2048870"/>
                <a:gd name="connsiteY594" fmla="*/ 582519 h 1413227"/>
                <a:gd name="connsiteX595" fmla="*/ 1939427 w 2048870"/>
                <a:gd name="connsiteY595" fmla="*/ 565234 h 1413227"/>
                <a:gd name="connsiteX596" fmla="*/ 1963627 w 2048870"/>
                <a:gd name="connsiteY596" fmla="*/ 556591 h 1413227"/>
                <a:gd name="connsiteX597" fmla="*/ 1968812 w 2048870"/>
                <a:gd name="connsiteY597" fmla="*/ 547948 h 1413227"/>
                <a:gd name="connsiteX598" fmla="*/ 1986098 w 2048870"/>
                <a:gd name="connsiteY598" fmla="*/ 544491 h 1413227"/>
                <a:gd name="connsiteX599" fmla="*/ 2008569 w 2048870"/>
                <a:gd name="connsiteY599" fmla="*/ 539305 h 1413227"/>
                <a:gd name="connsiteX600" fmla="*/ 2017212 w 2048870"/>
                <a:gd name="connsiteY600" fmla="*/ 530663 h 1413227"/>
                <a:gd name="connsiteX601" fmla="*/ 2048326 w 2048870"/>
                <a:gd name="connsiteY601" fmla="*/ 525477 h 1413227"/>
                <a:gd name="connsiteX602" fmla="*/ 2043140 w 2048870"/>
                <a:gd name="connsiteY602" fmla="*/ 499549 h 1413227"/>
                <a:gd name="connsiteX603" fmla="*/ 2032769 w 2048870"/>
                <a:gd name="connsiteY603" fmla="*/ 492635 h 1413227"/>
                <a:gd name="connsiteX604" fmla="*/ 2025854 w 2048870"/>
                <a:gd name="connsiteY604" fmla="*/ 447693 h 1413227"/>
                <a:gd name="connsiteX605" fmla="*/ 2018940 w 2048870"/>
                <a:gd name="connsiteY605" fmla="*/ 428679 h 1413227"/>
                <a:gd name="connsiteX606" fmla="*/ 2015483 w 2048870"/>
                <a:gd name="connsiteY606" fmla="*/ 418307 h 1413227"/>
                <a:gd name="connsiteX607" fmla="*/ 2010298 w 2048870"/>
                <a:gd name="connsiteY607" fmla="*/ 411393 h 1413227"/>
                <a:gd name="connsiteX608" fmla="*/ 2003383 w 2048870"/>
                <a:gd name="connsiteY608" fmla="*/ 407936 h 1413227"/>
                <a:gd name="connsiteX609" fmla="*/ 1984369 w 2048870"/>
                <a:gd name="connsiteY609" fmla="*/ 404479 h 1413227"/>
                <a:gd name="connsiteX610" fmla="*/ 1977455 w 2048870"/>
                <a:gd name="connsiteY610" fmla="*/ 394108 h 1413227"/>
                <a:gd name="connsiteX611" fmla="*/ 1972270 w 2048870"/>
                <a:gd name="connsiteY611" fmla="*/ 390651 h 1413227"/>
                <a:gd name="connsiteX612" fmla="*/ 1968812 w 2048870"/>
                <a:gd name="connsiteY612" fmla="*/ 382008 h 1413227"/>
                <a:gd name="connsiteX613" fmla="*/ 1973998 w 2048870"/>
                <a:gd name="connsiteY613" fmla="*/ 366451 h 1413227"/>
                <a:gd name="connsiteX614" fmla="*/ 1982641 w 2048870"/>
                <a:gd name="connsiteY614" fmla="*/ 354351 h 1413227"/>
                <a:gd name="connsiteX615" fmla="*/ 1984369 w 2048870"/>
                <a:gd name="connsiteY615" fmla="*/ 347437 h 1413227"/>
                <a:gd name="connsiteX616" fmla="*/ 1994741 w 2048870"/>
                <a:gd name="connsiteY616" fmla="*/ 343980 h 1413227"/>
                <a:gd name="connsiteX617" fmla="*/ 1960170 w 2048870"/>
                <a:gd name="connsiteY617" fmla="*/ 337066 h 1413227"/>
                <a:gd name="connsiteX618" fmla="*/ 1958441 w 2048870"/>
                <a:gd name="connsiteY618" fmla="*/ 331880 h 1413227"/>
                <a:gd name="connsiteX619" fmla="*/ 1954984 w 2048870"/>
                <a:gd name="connsiteY619" fmla="*/ 326694 h 1413227"/>
                <a:gd name="connsiteX620" fmla="*/ 1958441 w 2048870"/>
                <a:gd name="connsiteY620" fmla="*/ 318052 h 1413227"/>
                <a:gd name="connsiteX621" fmla="*/ 1963627 w 2048870"/>
                <a:gd name="connsiteY621" fmla="*/ 311138 h 1413227"/>
                <a:gd name="connsiteX622" fmla="*/ 1967084 w 2048870"/>
                <a:gd name="connsiteY622" fmla="*/ 305952 h 1413227"/>
                <a:gd name="connsiteX623" fmla="*/ 1968812 w 2048870"/>
                <a:gd name="connsiteY623" fmla="*/ 299038 h 1413227"/>
                <a:gd name="connsiteX624" fmla="*/ 1973998 w 2048870"/>
                <a:gd name="connsiteY624" fmla="*/ 293852 h 1413227"/>
                <a:gd name="connsiteX625" fmla="*/ 1975727 w 2048870"/>
                <a:gd name="connsiteY625" fmla="*/ 269652 h 1413227"/>
                <a:gd name="connsiteX626" fmla="*/ 1970541 w 2048870"/>
                <a:gd name="connsiteY626" fmla="*/ 255824 h 1413227"/>
                <a:gd name="connsiteX627" fmla="*/ 1968812 w 2048870"/>
                <a:gd name="connsiteY627" fmla="*/ 250638 h 1413227"/>
                <a:gd name="connsiteX628" fmla="*/ 1967084 w 2048870"/>
                <a:gd name="connsiteY628" fmla="*/ 243724 h 1413227"/>
                <a:gd name="connsiteX629" fmla="*/ 1963627 w 2048870"/>
                <a:gd name="connsiteY629" fmla="*/ 238539 h 1413227"/>
                <a:gd name="connsiteX630" fmla="*/ 1965355 w 2048870"/>
                <a:gd name="connsiteY630" fmla="*/ 216068 h 1413227"/>
                <a:gd name="connsiteX631" fmla="*/ 1961898 w 2048870"/>
                <a:gd name="connsiteY631" fmla="*/ 209153 h 1413227"/>
                <a:gd name="connsiteX632" fmla="*/ 1954984 w 2048870"/>
                <a:gd name="connsiteY632" fmla="*/ 216068 h 1413227"/>
                <a:gd name="connsiteX633" fmla="*/ 1948070 w 2048870"/>
                <a:gd name="connsiteY633" fmla="*/ 217796 h 1413227"/>
                <a:gd name="connsiteX634" fmla="*/ 1937699 w 2048870"/>
                <a:gd name="connsiteY634" fmla="*/ 226439 h 1413227"/>
                <a:gd name="connsiteX635" fmla="*/ 1932513 w 2048870"/>
                <a:gd name="connsiteY635" fmla="*/ 228167 h 1413227"/>
                <a:gd name="connsiteX636" fmla="*/ 1922142 w 2048870"/>
                <a:gd name="connsiteY636" fmla="*/ 235082 h 1413227"/>
                <a:gd name="connsiteX637" fmla="*/ 1906585 w 2048870"/>
                <a:gd name="connsiteY637" fmla="*/ 231624 h 1413227"/>
                <a:gd name="connsiteX638" fmla="*/ 1885842 w 2048870"/>
                <a:gd name="connsiteY638" fmla="*/ 222982 h 1413227"/>
                <a:gd name="connsiteX639" fmla="*/ 1878928 w 2048870"/>
                <a:gd name="connsiteY639" fmla="*/ 224710 h 1413227"/>
                <a:gd name="connsiteX640" fmla="*/ 1868557 w 2048870"/>
                <a:gd name="connsiteY640" fmla="*/ 233353 h 1413227"/>
                <a:gd name="connsiteX641" fmla="*/ 1847814 w 2048870"/>
                <a:gd name="connsiteY641" fmla="*/ 221253 h 1413227"/>
                <a:gd name="connsiteX642" fmla="*/ 1839172 w 2048870"/>
                <a:gd name="connsiteY642" fmla="*/ 217796 h 1413227"/>
                <a:gd name="connsiteX643" fmla="*/ 1832257 w 2048870"/>
                <a:gd name="connsiteY643" fmla="*/ 214339 h 1413227"/>
                <a:gd name="connsiteX644" fmla="*/ 1823615 w 2048870"/>
                <a:gd name="connsiteY644" fmla="*/ 224710 h 1413227"/>
                <a:gd name="connsiteX645" fmla="*/ 1816701 w 2048870"/>
                <a:gd name="connsiteY645" fmla="*/ 229896 h 1413227"/>
                <a:gd name="connsiteX646" fmla="*/ 1787315 w 2048870"/>
                <a:gd name="connsiteY646" fmla="*/ 221253 h 1413227"/>
                <a:gd name="connsiteX647" fmla="*/ 1759659 w 2048870"/>
                <a:gd name="connsiteY647" fmla="*/ 222982 h 1413227"/>
                <a:gd name="connsiteX648" fmla="*/ 1754473 w 2048870"/>
                <a:gd name="connsiteY648" fmla="*/ 224710 h 1413227"/>
                <a:gd name="connsiteX649" fmla="*/ 1735459 w 2048870"/>
                <a:gd name="connsiteY649" fmla="*/ 222982 h 1413227"/>
                <a:gd name="connsiteX650" fmla="*/ 1728545 w 2048870"/>
                <a:gd name="connsiteY650" fmla="*/ 217796 h 1413227"/>
                <a:gd name="connsiteX651" fmla="*/ 1721631 w 2048870"/>
                <a:gd name="connsiteY651" fmla="*/ 207425 h 1413227"/>
                <a:gd name="connsiteX652" fmla="*/ 1712988 w 2048870"/>
                <a:gd name="connsiteY652" fmla="*/ 235082 h 1413227"/>
                <a:gd name="connsiteX653" fmla="*/ 1706074 w 2048870"/>
                <a:gd name="connsiteY653" fmla="*/ 250638 h 1413227"/>
                <a:gd name="connsiteX654" fmla="*/ 1692245 w 2048870"/>
                <a:gd name="connsiteY654" fmla="*/ 236810 h 1413227"/>
                <a:gd name="connsiteX655" fmla="*/ 1645575 w 2048870"/>
                <a:gd name="connsiteY655" fmla="*/ 224710 h 1413227"/>
                <a:gd name="connsiteX656" fmla="*/ 1640389 w 2048870"/>
                <a:gd name="connsiteY656" fmla="*/ 217796 h 1413227"/>
                <a:gd name="connsiteX657" fmla="*/ 1638661 w 2048870"/>
                <a:gd name="connsiteY657" fmla="*/ 212610 h 1413227"/>
                <a:gd name="connsiteX658" fmla="*/ 1623104 w 2048870"/>
                <a:gd name="connsiteY658" fmla="*/ 195325 h 1413227"/>
                <a:gd name="connsiteX659" fmla="*/ 1609275 w 2048870"/>
                <a:gd name="connsiteY659" fmla="*/ 191868 h 1413227"/>
                <a:gd name="connsiteX660" fmla="*/ 1600633 w 2048870"/>
                <a:gd name="connsiteY660" fmla="*/ 200511 h 1413227"/>
                <a:gd name="connsiteX661" fmla="*/ 1595447 w 2048870"/>
                <a:gd name="connsiteY661" fmla="*/ 202239 h 1413227"/>
                <a:gd name="connsiteX662" fmla="*/ 1574704 w 2048870"/>
                <a:gd name="connsiteY662" fmla="*/ 209153 h 1413227"/>
                <a:gd name="connsiteX663" fmla="*/ 1569519 w 2048870"/>
                <a:gd name="connsiteY663" fmla="*/ 214339 h 1413227"/>
                <a:gd name="connsiteX664" fmla="*/ 1564333 w 2048870"/>
                <a:gd name="connsiteY664" fmla="*/ 217796 h 1413227"/>
                <a:gd name="connsiteX665" fmla="*/ 1560876 w 2048870"/>
                <a:gd name="connsiteY665" fmla="*/ 224710 h 1413227"/>
                <a:gd name="connsiteX666" fmla="*/ 1543591 w 2048870"/>
                <a:gd name="connsiteY666" fmla="*/ 238539 h 1413227"/>
                <a:gd name="connsiteX667" fmla="*/ 1536676 w 2048870"/>
                <a:gd name="connsiteY667" fmla="*/ 245453 h 1413227"/>
                <a:gd name="connsiteX668" fmla="*/ 1534948 w 2048870"/>
                <a:gd name="connsiteY668" fmla="*/ 250638 h 1413227"/>
                <a:gd name="connsiteX669" fmla="*/ 1536676 w 2048870"/>
                <a:gd name="connsiteY669" fmla="*/ 255824 h 1413227"/>
                <a:gd name="connsiteX670" fmla="*/ 1510748 w 2048870"/>
                <a:gd name="connsiteY670" fmla="*/ 259281 h 1413227"/>
                <a:gd name="connsiteX671" fmla="*/ 1500377 w 2048870"/>
                <a:gd name="connsiteY671" fmla="*/ 252367 h 1413227"/>
                <a:gd name="connsiteX672" fmla="*/ 1472720 w 2048870"/>
                <a:gd name="connsiteY672" fmla="*/ 252367 h 1413227"/>
                <a:gd name="connsiteX673" fmla="*/ 1455435 w 2048870"/>
                <a:gd name="connsiteY673" fmla="*/ 254096 h 1413227"/>
                <a:gd name="connsiteX674" fmla="*/ 1446792 w 2048870"/>
                <a:gd name="connsiteY674" fmla="*/ 261010 h 1413227"/>
                <a:gd name="connsiteX675" fmla="*/ 1441606 w 2048870"/>
                <a:gd name="connsiteY675" fmla="*/ 267924 h 1413227"/>
                <a:gd name="connsiteX676" fmla="*/ 1438149 w 2048870"/>
                <a:gd name="connsiteY676" fmla="*/ 273110 h 1413227"/>
                <a:gd name="connsiteX677" fmla="*/ 1432964 w 2048870"/>
                <a:gd name="connsiteY677" fmla="*/ 274838 h 1413227"/>
                <a:gd name="connsiteX678" fmla="*/ 1419135 w 2048870"/>
                <a:gd name="connsiteY678" fmla="*/ 281752 h 1413227"/>
                <a:gd name="connsiteX679" fmla="*/ 1412221 w 2048870"/>
                <a:gd name="connsiteY679" fmla="*/ 278295 h 1413227"/>
                <a:gd name="connsiteX680" fmla="*/ 1408764 w 2048870"/>
                <a:gd name="connsiteY680" fmla="*/ 273110 h 1413227"/>
                <a:gd name="connsiteX681" fmla="*/ 1400121 w 2048870"/>
                <a:gd name="connsiteY681" fmla="*/ 257553 h 1413227"/>
                <a:gd name="connsiteX682" fmla="*/ 1394936 w 2048870"/>
                <a:gd name="connsiteY682" fmla="*/ 254096 h 1413227"/>
                <a:gd name="connsiteX683" fmla="*/ 1386293 w 2048870"/>
                <a:gd name="connsiteY683" fmla="*/ 243724 h 1413227"/>
                <a:gd name="connsiteX684" fmla="*/ 1381107 w 2048870"/>
                <a:gd name="connsiteY684" fmla="*/ 212610 h 1413227"/>
                <a:gd name="connsiteX685" fmla="*/ 1370736 w 2048870"/>
                <a:gd name="connsiteY685" fmla="*/ 202239 h 1413227"/>
                <a:gd name="connsiteX686" fmla="*/ 1363822 w 2048870"/>
                <a:gd name="connsiteY686" fmla="*/ 200511 h 1413227"/>
                <a:gd name="connsiteX687" fmla="*/ 1358636 w 2048870"/>
                <a:gd name="connsiteY687" fmla="*/ 193596 h 1413227"/>
                <a:gd name="connsiteX688" fmla="*/ 1349994 w 2048870"/>
                <a:gd name="connsiteY688" fmla="*/ 178040 h 1413227"/>
                <a:gd name="connsiteX689" fmla="*/ 1337894 w 2048870"/>
                <a:gd name="connsiteY689" fmla="*/ 167668 h 1413227"/>
                <a:gd name="connsiteX690" fmla="*/ 1298137 w 2048870"/>
                <a:gd name="connsiteY690" fmla="*/ 169397 h 1413227"/>
                <a:gd name="connsiteX691" fmla="*/ 1284309 w 2048870"/>
                <a:gd name="connsiteY691" fmla="*/ 179768 h 1413227"/>
                <a:gd name="connsiteX692" fmla="*/ 1268752 w 2048870"/>
                <a:gd name="connsiteY692" fmla="*/ 181497 h 1413227"/>
                <a:gd name="connsiteX693" fmla="*/ 1251467 w 2048870"/>
                <a:gd name="connsiteY693" fmla="*/ 174583 h 1413227"/>
                <a:gd name="connsiteX694" fmla="*/ 1241095 w 2048870"/>
                <a:gd name="connsiteY694" fmla="*/ 164211 h 1413227"/>
                <a:gd name="connsiteX695" fmla="*/ 1230724 w 2048870"/>
                <a:gd name="connsiteY695" fmla="*/ 160754 h 1413227"/>
                <a:gd name="connsiteX696" fmla="*/ 1215167 w 2048870"/>
                <a:gd name="connsiteY696" fmla="*/ 146926 h 1413227"/>
                <a:gd name="connsiteX697" fmla="*/ 1213439 w 2048870"/>
                <a:gd name="connsiteY697" fmla="*/ 140012 h 1413227"/>
                <a:gd name="connsiteX698" fmla="*/ 1206524 w 2048870"/>
                <a:gd name="connsiteY698" fmla="*/ 131369 h 1413227"/>
                <a:gd name="connsiteX699" fmla="*/ 1204796 w 2048870"/>
                <a:gd name="connsiteY699" fmla="*/ 122726 h 1413227"/>
                <a:gd name="connsiteX700" fmla="*/ 1190968 w 2048870"/>
                <a:gd name="connsiteY700" fmla="*/ 117541 h 1413227"/>
                <a:gd name="connsiteX701" fmla="*/ 1201339 w 2048870"/>
                <a:gd name="connsiteY701" fmla="*/ 105441 h 1413227"/>
                <a:gd name="connsiteX702" fmla="*/ 1208253 w 2048870"/>
                <a:gd name="connsiteY702" fmla="*/ 101984 h 1413227"/>
                <a:gd name="connsiteX703" fmla="*/ 1213439 w 2048870"/>
                <a:gd name="connsiteY703" fmla="*/ 95069 h 1413227"/>
                <a:gd name="connsiteX704" fmla="*/ 1218624 w 2048870"/>
                <a:gd name="connsiteY704" fmla="*/ 89884 h 1413227"/>
                <a:gd name="connsiteX705" fmla="*/ 1216896 w 2048870"/>
                <a:gd name="connsiteY705" fmla="*/ 84698 h 1413227"/>
                <a:gd name="connsiteX706" fmla="*/ 1206524 w 2048870"/>
                <a:gd name="connsiteY706" fmla="*/ 81241 h 1413227"/>
                <a:gd name="connsiteX707" fmla="*/ 1190968 w 2048870"/>
                <a:gd name="connsiteY707" fmla="*/ 76055 h 1413227"/>
                <a:gd name="connsiteX708" fmla="*/ 1175411 w 2048870"/>
                <a:gd name="connsiteY708" fmla="*/ 60499 h 1413227"/>
                <a:gd name="connsiteX709" fmla="*/ 1168496 w 2048870"/>
                <a:gd name="connsiteY709" fmla="*/ 53584 h 1413227"/>
                <a:gd name="connsiteX710" fmla="*/ 1165039 w 2048870"/>
                <a:gd name="connsiteY710" fmla="*/ 46670 h 1413227"/>
                <a:gd name="connsiteX711" fmla="*/ 1159854 w 2048870"/>
                <a:gd name="connsiteY711" fmla="*/ 39756 h 1413227"/>
                <a:gd name="connsiteX712" fmla="*/ 1151211 w 2048870"/>
                <a:gd name="connsiteY712" fmla="*/ 27656 h 1413227"/>
                <a:gd name="connsiteX713" fmla="*/ 1146025 w 2048870"/>
                <a:gd name="connsiteY713" fmla="*/ 24199 h 1413227"/>
                <a:gd name="connsiteX714" fmla="*/ 1140840 w 2048870"/>
                <a:gd name="connsiteY714" fmla="*/ 17285 h 1413227"/>
                <a:gd name="connsiteX715" fmla="*/ 1123554 w 2048870"/>
                <a:gd name="connsiteY715" fmla="*/ 3457 h 1413227"/>
                <a:gd name="connsiteX716" fmla="*/ 1116640 w 2048870"/>
                <a:gd name="connsiteY716" fmla="*/ 0 h 1413227"/>
                <a:gd name="connsiteX717" fmla="*/ 1102812 w 2048870"/>
                <a:gd name="connsiteY717" fmla="*/ 1728 h 1413227"/>
                <a:gd name="connsiteX718" fmla="*/ 1097626 w 2048870"/>
                <a:gd name="connsiteY718" fmla="*/ 3457 h 1413227"/>
                <a:gd name="connsiteX719" fmla="*/ 1090712 w 2048870"/>
                <a:gd name="connsiteY719" fmla="*/ 5185 h 1413227"/>
                <a:gd name="connsiteX720" fmla="*/ 1071698 w 2048870"/>
                <a:gd name="connsiteY720" fmla="*/ 17285 h 1413227"/>
                <a:gd name="connsiteX721" fmla="*/ 1056141 w 2048870"/>
                <a:gd name="connsiteY721" fmla="*/ 15556 h 1413227"/>
                <a:gd name="connsiteX722" fmla="*/ 1050955 w 2048870"/>
                <a:gd name="connsiteY722" fmla="*/ 19014 h 1413227"/>
                <a:gd name="connsiteX723" fmla="*/ 1042313 w 2048870"/>
                <a:gd name="connsiteY723" fmla="*/ 27656 h 1413227"/>
                <a:gd name="connsiteX724" fmla="*/ 1028484 w 2048870"/>
                <a:gd name="connsiteY724" fmla="*/ 38027 h 1413227"/>
                <a:gd name="connsiteX725" fmla="*/ 1025027 w 2048870"/>
                <a:gd name="connsiteY725" fmla="*/ 41485 h 1413227"/>
                <a:gd name="connsiteX726" fmla="*/ 1016385 w 2048870"/>
                <a:gd name="connsiteY726" fmla="*/ 46670 h 1413227"/>
                <a:gd name="connsiteX727" fmla="*/ 1012927 w 2048870"/>
                <a:gd name="connsiteY727" fmla="*/ 50127 h 1413227"/>
                <a:gd name="connsiteX728" fmla="*/ 997371 w 2048870"/>
                <a:gd name="connsiteY728" fmla="*/ 57041 h 1413227"/>
                <a:gd name="connsiteX729" fmla="*/ 973171 w 2048870"/>
                <a:gd name="connsiteY729" fmla="*/ 58770 h 1413227"/>
                <a:gd name="connsiteX730" fmla="*/ 967985 w 2048870"/>
                <a:gd name="connsiteY730" fmla="*/ 62227 h 1413227"/>
                <a:gd name="connsiteX731" fmla="*/ 966257 w 2048870"/>
                <a:gd name="connsiteY731" fmla="*/ 79513 h 1413227"/>
                <a:gd name="connsiteX732" fmla="*/ 962800 w 2048870"/>
                <a:gd name="connsiteY732" fmla="*/ 103712 h 1413227"/>
                <a:gd name="connsiteX733" fmla="*/ 961071 w 2048870"/>
                <a:gd name="connsiteY733" fmla="*/ 112355 h 1413227"/>
                <a:gd name="connsiteX734" fmla="*/ 916129 w 2048870"/>
                <a:gd name="connsiteY734" fmla="*/ 115812 h 1413227"/>
                <a:gd name="connsiteX735" fmla="*/ 910943 w 2048870"/>
                <a:gd name="connsiteY735" fmla="*/ 119269 h 1413227"/>
                <a:gd name="connsiteX736" fmla="*/ 905758 w 2048870"/>
                <a:gd name="connsiteY736" fmla="*/ 120998 h 1413227"/>
                <a:gd name="connsiteX737" fmla="*/ 893658 w 2048870"/>
                <a:gd name="connsiteY737" fmla="*/ 124455 h 1413227"/>
                <a:gd name="connsiteX738" fmla="*/ 888472 w 2048870"/>
                <a:gd name="connsiteY738" fmla="*/ 126183 h 1413227"/>
                <a:gd name="connsiteX739" fmla="*/ 895386 w 2048870"/>
                <a:gd name="connsiteY739" fmla="*/ 124455 h 1413227"/>
                <a:gd name="connsiteX740" fmla="*/ 904029 w 2048870"/>
                <a:gd name="connsiteY740" fmla="*/ 115812 h 1413227"/>
                <a:gd name="connsiteX741" fmla="*/ 966257 w 2048870"/>
                <a:gd name="connsiteY741" fmla="*/ 63956 h 1413227"/>
                <a:gd name="connsiteX0" fmla="*/ 966257 w 2048870"/>
                <a:gd name="connsiteY0" fmla="*/ 63956 h 1413227"/>
                <a:gd name="connsiteX1" fmla="*/ 962800 w 2048870"/>
                <a:gd name="connsiteY1" fmla="*/ 72598 h 1413227"/>
                <a:gd name="connsiteX2" fmla="*/ 919586 w 2048870"/>
                <a:gd name="connsiteY2" fmla="*/ 114083 h 1413227"/>
                <a:gd name="connsiteX3" fmla="*/ 902301 w 2048870"/>
                <a:gd name="connsiteY3" fmla="*/ 120998 h 1413227"/>
                <a:gd name="connsiteX4" fmla="*/ 885015 w 2048870"/>
                <a:gd name="connsiteY4" fmla="*/ 122726 h 1413227"/>
                <a:gd name="connsiteX5" fmla="*/ 878101 w 2048870"/>
                <a:gd name="connsiteY5" fmla="*/ 129640 h 1413227"/>
                <a:gd name="connsiteX6" fmla="*/ 855630 w 2048870"/>
                <a:gd name="connsiteY6" fmla="*/ 140012 h 1413227"/>
                <a:gd name="connsiteX7" fmla="*/ 850444 w 2048870"/>
                <a:gd name="connsiteY7" fmla="*/ 145197 h 1413227"/>
                <a:gd name="connsiteX8" fmla="*/ 831430 w 2048870"/>
                <a:gd name="connsiteY8" fmla="*/ 146926 h 1413227"/>
                <a:gd name="connsiteX9" fmla="*/ 808923 w 2048870"/>
                <a:gd name="connsiteY9" fmla="*/ 195183 h 1413227"/>
                <a:gd name="connsiteX10" fmla="*/ 817602 w 2048870"/>
                <a:gd name="connsiteY10" fmla="*/ 247181 h 1413227"/>
                <a:gd name="connsiteX11" fmla="*/ 821059 w 2048870"/>
                <a:gd name="connsiteY11" fmla="*/ 255824 h 1413227"/>
                <a:gd name="connsiteX12" fmla="*/ 826245 w 2048870"/>
                <a:gd name="connsiteY12" fmla="*/ 259281 h 1413227"/>
                <a:gd name="connsiteX13" fmla="*/ 833159 w 2048870"/>
                <a:gd name="connsiteY13" fmla="*/ 267924 h 1413227"/>
                <a:gd name="connsiteX14" fmla="*/ 836616 w 2048870"/>
                <a:gd name="connsiteY14" fmla="*/ 280024 h 1413227"/>
                <a:gd name="connsiteX15" fmla="*/ 834887 w 2048870"/>
                <a:gd name="connsiteY15" fmla="*/ 295581 h 1413227"/>
                <a:gd name="connsiteX16" fmla="*/ 821059 w 2048870"/>
                <a:gd name="connsiteY16" fmla="*/ 299038 h 1413227"/>
                <a:gd name="connsiteX17" fmla="*/ 800316 w 2048870"/>
                <a:gd name="connsiteY17" fmla="*/ 295581 h 1413227"/>
                <a:gd name="connsiteX18" fmla="*/ 786488 w 2048870"/>
                <a:gd name="connsiteY18" fmla="*/ 286938 h 1413227"/>
                <a:gd name="connsiteX19" fmla="*/ 781302 w 2048870"/>
                <a:gd name="connsiteY19" fmla="*/ 285209 h 1413227"/>
                <a:gd name="connsiteX20" fmla="*/ 774388 w 2048870"/>
                <a:gd name="connsiteY20" fmla="*/ 278295 h 1413227"/>
                <a:gd name="connsiteX21" fmla="*/ 767474 w 2048870"/>
                <a:gd name="connsiteY21" fmla="*/ 285209 h 1413227"/>
                <a:gd name="connsiteX22" fmla="*/ 758831 w 2048870"/>
                <a:gd name="connsiteY22" fmla="*/ 286938 h 1413227"/>
                <a:gd name="connsiteX23" fmla="*/ 751917 w 2048870"/>
                <a:gd name="connsiteY23" fmla="*/ 288666 h 1413227"/>
                <a:gd name="connsiteX24" fmla="*/ 746732 w 2048870"/>
                <a:gd name="connsiteY24" fmla="*/ 290395 h 1413227"/>
                <a:gd name="connsiteX25" fmla="*/ 722532 w 2048870"/>
                <a:gd name="connsiteY25" fmla="*/ 292124 h 1413227"/>
                <a:gd name="connsiteX26" fmla="*/ 720803 w 2048870"/>
                <a:gd name="connsiteY26" fmla="*/ 297309 h 1413227"/>
                <a:gd name="connsiteX27" fmla="*/ 701789 w 2048870"/>
                <a:gd name="connsiteY27" fmla="*/ 312866 h 1413227"/>
                <a:gd name="connsiteX28" fmla="*/ 686233 w 2048870"/>
                <a:gd name="connsiteY28" fmla="*/ 305952 h 1413227"/>
                <a:gd name="connsiteX29" fmla="*/ 684504 w 2048870"/>
                <a:gd name="connsiteY29" fmla="*/ 300766 h 1413227"/>
                <a:gd name="connsiteX30" fmla="*/ 681047 w 2048870"/>
                <a:gd name="connsiteY30" fmla="*/ 285209 h 1413227"/>
                <a:gd name="connsiteX31" fmla="*/ 649933 w 2048870"/>
                <a:gd name="connsiteY31" fmla="*/ 288666 h 1413227"/>
                <a:gd name="connsiteX32" fmla="*/ 646476 w 2048870"/>
                <a:gd name="connsiteY32" fmla="*/ 299038 h 1413227"/>
                <a:gd name="connsiteX33" fmla="*/ 639562 w 2048870"/>
                <a:gd name="connsiteY33" fmla="*/ 314595 h 1413227"/>
                <a:gd name="connsiteX34" fmla="*/ 634376 w 2048870"/>
                <a:gd name="connsiteY34" fmla="*/ 326694 h 1413227"/>
                <a:gd name="connsiteX35" fmla="*/ 629191 w 2048870"/>
                <a:gd name="connsiteY35" fmla="*/ 328423 h 1413227"/>
                <a:gd name="connsiteX36" fmla="*/ 613634 w 2048870"/>
                <a:gd name="connsiteY36" fmla="*/ 323237 h 1413227"/>
                <a:gd name="connsiteX37" fmla="*/ 601534 w 2048870"/>
                <a:gd name="connsiteY37" fmla="*/ 311138 h 1413227"/>
                <a:gd name="connsiteX38" fmla="*/ 572149 w 2048870"/>
                <a:gd name="connsiteY38" fmla="*/ 309409 h 1413227"/>
                <a:gd name="connsiteX39" fmla="*/ 566963 w 2048870"/>
                <a:gd name="connsiteY39" fmla="*/ 295581 h 1413227"/>
                <a:gd name="connsiteX40" fmla="*/ 563506 w 2048870"/>
                <a:gd name="connsiteY40" fmla="*/ 300766 h 1413227"/>
                <a:gd name="connsiteX41" fmla="*/ 558320 w 2048870"/>
                <a:gd name="connsiteY41" fmla="*/ 307680 h 1413227"/>
                <a:gd name="connsiteX42" fmla="*/ 549678 w 2048870"/>
                <a:gd name="connsiteY42" fmla="*/ 321509 h 1413227"/>
                <a:gd name="connsiteX43" fmla="*/ 509921 w 2048870"/>
                <a:gd name="connsiteY43" fmla="*/ 324966 h 1413227"/>
                <a:gd name="connsiteX44" fmla="*/ 515107 w 2048870"/>
                <a:gd name="connsiteY44" fmla="*/ 328423 h 1413227"/>
                <a:gd name="connsiteX45" fmla="*/ 525478 w 2048870"/>
                <a:gd name="connsiteY45" fmla="*/ 331880 h 1413227"/>
                <a:gd name="connsiteX46" fmla="*/ 523749 w 2048870"/>
                <a:gd name="connsiteY46" fmla="*/ 337066 h 1413227"/>
                <a:gd name="connsiteX47" fmla="*/ 516835 w 2048870"/>
                <a:gd name="connsiteY47" fmla="*/ 343980 h 1413227"/>
                <a:gd name="connsiteX48" fmla="*/ 511650 w 2048870"/>
                <a:gd name="connsiteY48" fmla="*/ 323237 h 1413227"/>
                <a:gd name="connsiteX49" fmla="*/ 483993 w 2048870"/>
                <a:gd name="connsiteY49" fmla="*/ 333609 h 1413227"/>
                <a:gd name="connsiteX50" fmla="*/ 478807 w 2048870"/>
                <a:gd name="connsiteY50" fmla="*/ 338794 h 1413227"/>
                <a:gd name="connsiteX51" fmla="*/ 466707 w 2048870"/>
                <a:gd name="connsiteY51" fmla="*/ 337066 h 1413227"/>
                <a:gd name="connsiteX52" fmla="*/ 463250 w 2048870"/>
                <a:gd name="connsiteY52" fmla="*/ 324966 h 1413227"/>
                <a:gd name="connsiteX53" fmla="*/ 454608 w 2048870"/>
                <a:gd name="connsiteY53" fmla="*/ 312866 h 1413227"/>
                <a:gd name="connsiteX54" fmla="*/ 449422 w 2048870"/>
                <a:gd name="connsiteY54" fmla="*/ 311138 h 1413227"/>
                <a:gd name="connsiteX55" fmla="*/ 425222 w 2048870"/>
                <a:gd name="connsiteY55" fmla="*/ 314595 h 1413227"/>
                <a:gd name="connsiteX56" fmla="*/ 273110 w 2048870"/>
                <a:gd name="connsiteY56" fmla="*/ 316323 h 1413227"/>
                <a:gd name="connsiteX57" fmla="*/ 262739 w 2048870"/>
                <a:gd name="connsiteY57" fmla="*/ 323237 h 1413227"/>
                <a:gd name="connsiteX58" fmla="*/ 255825 w 2048870"/>
                <a:gd name="connsiteY58" fmla="*/ 324966 h 1413227"/>
                <a:gd name="connsiteX59" fmla="*/ 250639 w 2048870"/>
                <a:gd name="connsiteY59" fmla="*/ 326694 h 1413227"/>
                <a:gd name="connsiteX60" fmla="*/ 238540 w 2048870"/>
                <a:gd name="connsiteY60" fmla="*/ 330152 h 1413227"/>
                <a:gd name="connsiteX61" fmla="*/ 200512 w 2048870"/>
                <a:gd name="connsiteY61" fmla="*/ 333609 h 1413227"/>
                <a:gd name="connsiteX62" fmla="*/ 188412 w 2048870"/>
                <a:gd name="connsiteY62" fmla="*/ 338794 h 1413227"/>
                <a:gd name="connsiteX63" fmla="*/ 176312 w 2048870"/>
                <a:gd name="connsiteY63" fmla="*/ 342251 h 1413227"/>
                <a:gd name="connsiteX64" fmla="*/ 146927 w 2048870"/>
                <a:gd name="connsiteY64" fmla="*/ 356080 h 1413227"/>
                <a:gd name="connsiteX65" fmla="*/ 138284 w 2048870"/>
                <a:gd name="connsiteY65" fmla="*/ 357808 h 1413227"/>
                <a:gd name="connsiteX66" fmla="*/ 136555 w 2048870"/>
                <a:gd name="connsiteY66" fmla="*/ 364722 h 1413227"/>
                <a:gd name="connsiteX67" fmla="*/ 134827 w 2048870"/>
                <a:gd name="connsiteY67" fmla="*/ 380279 h 1413227"/>
                <a:gd name="connsiteX68" fmla="*/ 127913 w 2048870"/>
                <a:gd name="connsiteY68" fmla="*/ 387193 h 1413227"/>
                <a:gd name="connsiteX69" fmla="*/ 126184 w 2048870"/>
                <a:gd name="connsiteY69" fmla="*/ 394108 h 1413227"/>
                <a:gd name="connsiteX70" fmla="*/ 124456 w 2048870"/>
                <a:gd name="connsiteY70" fmla="*/ 402750 h 1413227"/>
                <a:gd name="connsiteX71" fmla="*/ 117541 w 2048870"/>
                <a:gd name="connsiteY71" fmla="*/ 407936 h 1413227"/>
                <a:gd name="connsiteX72" fmla="*/ 105442 w 2048870"/>
                <a:gd name="connsiteY72" fmla="*/ 411393 h 1413227"/>
                <a:gd name="connsiteX73" fmla="*/ 100256 w 2048870"/>
                <a:gd name="connsiteY73" fmla="*/ 413122 h 1413227"/>
                <a:gd name="connsiteX74" fmla="*/ 70871 w 2048870"/>
                <a:gd name="connsiteY74" fmla="*/ 421764 h 1413227"/>
                <a:gd name="connsiteX75" fmla="*/ 67414 w 2048870"/>
                <a:gd name="connsiteY75" fmla="*/ 428679 h 1413227"/>
                <a:gd name="connsiteX76" fmla="*/ 69142 w 2048870"/>
                <a:gd name="connsiteY76" fmla="*/ 440778 h 1413227"/>
                <a:gd name="connsiteX77" fmla="*/ 65685 w 2048870"/>
                <a:gd name="connsiteY77" fmla="*/ 445964 h 1413227"/>
                <a:gd name="connsiteX78" fmla="*/ 63957 w 2048870"/>
                <a:gd name="connsiteY78" fmla="*/ 452878 h 1413227"/>
                <a:gd name="connsiteX79" fmla="*/ 69142 w 2048870"/>
                <a:gd name="connsiteY79" fmla="*/ 456335 h 1413227"/>
                <a:gd name="connsiteX80" fmla="*/ 74328 w 2048870"/>
                <a:gd name="connsiteY80" fmla="*/ 458064 h 1413227"/>
                <a:gd name="connsiteX81" fmla="*/ 84699 w 2048870"/>
                <a:gd name="connsiteY81" fmla="*/ 466707 h 1413227"/>
                <a:gd name="connsiteX82" fmla="*/ 81242 w 2048870"/>
                <a:gd name="connsiteY82" fmla="*/ 473621 h 1413227"/>
                <a:gd name="connsiteX83" fmla="*/ 77785 w 2048870"/>
                <a:gd name="connsiteY83" fmla="*/ 478806 h 1413227"/>
                <a:gd name="connsiteX84" fmla="*/ 79513 w 2048870"/>
                <a:gd name="connsiteY84" fmla="*/ 485721 h 1413227"/>
                <a:gd name="connsiteX85" fmla="*/ 72599 w 2048870"/>
                <a:gd name="connsiteY85" fmla="*/ 489178 h 1413227"/>
                <a:gd name="connsiteX86" fmla="*/ 63957 w 2048870"/>
                <a:gd name="connsiteY86" fmla="*/ 487449 h 1413227"/>
                <a:gd name="connsiteX87" fmla="*/ 76056 w 2048870"/>
                <a:gd name="connsiteY87" fmla="*/ 485721 h 1413227"/>
                <a:gd name="connsiteX88" fmla="*/ 86428 w 2048870"/>
                <a:gd name="connsiteY88" fmla="*/ 483992 h 1413227"/>
                <a:gd name="connsiteX89" fmla="*/ 84699 w 2048870"/>
                <a:gd name="connsiteY89" fmla="*/ 494363 h 1413227"/>
                <a:gd name="connsiteX90" fmla="*/ 86428 w 2048870"/>
                <a:gd name="connsiteY90" fmla="*/ 501277 h 1413227"/>
                <a:gd name="connsiteX91" fmla="*/ 96799 w 2048870"/>
                <a:gd name="connsiteY91" fmla="*/ 515106 h 1413227"/>
                <a:gd name="connsiteX92" fmla="*/ 101985 w 2048870"/>
                <a:gd name="connsiteY92" fmla="*/ 516834 h 1413227"/>
                <a:gd name="connsiteX93" fmla="*/ 114084 w 2048870"/>
                <a:gd name="connsiteY93" fmla="*/ 520291 h 1413227"/>
                <a:gd name="connsiteX94" fmla="*/ 119270 w 2048870"/>
                <a:gd name="connsiteY94" fmla="*/ 525477 h 1413227"/>
                <a:gd name="connsiteX95" fmla="*/ 133098 w 2048870"/>
                <a:gd name="connsiteY95" fmla="*/ 535848 h 1413227"/>
                <a:gd name="connsiteX96" fmla="*/ 136555 w 2048870"/>
                <a:gd name="connsiteY96" fmla="*/ 542762 h 1413227"/>
                <a:gd name="connsiteX97" fmla="*/ 134827 w 2048870"/>
                <a:gd name="connsiteY97" fmla="*/ 572148 h 1413227"/>
                <a:gd name="connsiteX98" fmla="*/ 140012 w 2048870"/>
                <a:gd name="connsiteY98" fmla="*/ 573876 h 1413227"/>
                <a:gd name="connsiteX99" fmla="*/ 143470 w 2048870"/>
                <a:gd name="connsiteY99" fmla="*/ 577333 h 1413227"/>
                <a:gd name="connsiteX100" fmla="*/ 146927 w 2048870"/>
                <a:gd name="connsiteY100" fmla="*/ 589433 h 1413227"/>
                <a:gd name="connsiteX101" fmla="*/ 150384 w 2048870"/>
                <a:gd name="connsiteY101" fmla="*/ 598076 h 1413227"/>
                <a:gd name="connsiteX102" fmla="*/ 148655 w 2048870"/>
                <a:gd name="connsiteY102" fmla="*/ 617090 h 1413227"/>
                <a:gd name="connsiteX103" fmla="*/ 146927 w 2048870"/>
                <a:gd name="connsiteY103" fmla="*/ 622276 h 1413227"/>
                <a:gd name="connsiteX104" fmla="*/ 141741 w 2048870"/>
                <a:gd name="connsiteY104" fmla="*/ 627461 h 1413227"/>
                <a:gd name="connsiteX105" fmla="*/ 136555 w 2048870"/>
                <a:gd name="connsiteY105" fmla="*/ 634375 h 1413227"/>
                <a:gd name="connsiteX106" fmla="*/ 120999 w 2048870"/>
                <a:gd name="connsiteY106" fmla="*/ 639561 h 1413227"/>
                <a:gd name="connsiteX107" fmla="*/ 95070 w 2048870"/>
                <a:gd name="connsiteY107" fmla="*/ 665489 h 1413227"/>
                <a:gd name="connsiteX108" fmla="*/ 89885 w 2048870"/>
                <a:gd name="connsiteY108" fmla="*/ 670675 h 1413227"/>
                <a:gd name="connsiteX109" fmla="*/ 86428 w 2048870"/>
                <a:gd name="connsiteY109" fmla="*/ 675860 h 1413227"/>
                <a:gd name="connsiteX110" fmla="*/ 81242 w 2048870"/>
                <a:gd name="connsiteY110" fmla="*/ 677589 h 1413227"/>
                <a:gd name="connsiteX111" fmla="*/ 77785 w 2048870"/>
                <a:gd name="connsiteY111" fmla="*/ 682775 h 1413227"/>
                <a:gd name="connsiteX112" fmla="*/ 63957 w 2048870"/>
                <a:gd name="connsiteY112" fmla="*/ 689689 h 1413227"/>
                <a:gd name="connsiteX113" fmla="*/ 60499 w 2048870"/>
                <a:gd name="connsiteY113" fmla="*/ 706974 h 1413227"/>
                <a:gd name="connsiteX114" fmla="*/ 50128 w 2048870"/>
                <a:gd name="connsiteY114" fmla="*/ 720803 h 1413227"/>
                <a:gd name="connsiteX115" fmla="*/ 48400 w 2048870"/>
                <a:gd name="connsiteY115" fmla="*/ 725988 h 1413227"/>
                <a:gd name="connsiteX116" fmla="*/ 46671 w 2048870"/>
                <a:gd name="connsiteY116" fmla="*/ 732902 h 1413227"/>
                <a:gd name="connsiteX117" fmla="*/ 25929 w 2048870"/>
                <a:gd name="connsiteY117" fmla="*/ 751916 h 1413227"/>
                <a:gd name="connsiteX118" fmla="*/ 19014 w 2048870"/>
                <a:gd name="connsiteY118" fmla="*/ 776116 h 1413227"/>
                <a:gd name="connsiteX119" fmla="*/ 12100 w 2048870"/>
                <a:gd name="connsiteY119" fmla="*/ 789944 h 1413227"/>
                <a:gd name="connsiteX120" fmla="*/ 17286 w 2048870"/>
                <a:gd name="connsiteY120" fmla="*/ 822787 h 1413227"/>
                <a:gd name="connsiteX121" fmla="*/ 25929 w 2048870"/>
                <a:gd name="connsiteY121" fmla="*/ 829701 h 1413227"/>
                <a:gd name="connsiteX122" fmla="*/ 29386 w 2048870"/>
                <a:gd name="connsiteY122" fmla="*/ 838344 h 1413227"/>
                <a:gd name="connsiteX123" fmla="*/ 36300 w 2048870"/>
                <a:gd name="connsiteY123" fmla="*/ 843529 h 1413227"/>
                <a:gd name="connsiteX124" fmla="*/ 38028 w 2048870"/>
                <a:gd name="connsiteY124" fmla="*/ 852172 h 1413227"/>
                <a:gd name="connsiteX125" fmla="*/ 43214 w 2048870"/>
                <a:gd name="connsiteY125" fmla="*/ 864272 h 1413227"/>
                <a:gd name="connsiteX126" fmla="*/ 44943 w 2048870"/>
                <a:gd name="connsiteY126" fmla="*/ 874643 h 1413227"/>
                <a:gd name="connsiteX127" fmla="*/ 51857 w 2048870"/>
                <a:gd name="connsiteY127" fmla="*/ 876372 h 1413227"/>
                <a:gd name="connsiteX128" fmla="*/ 53585 w 2048870"/>
                <a:gd name="connsiteY128" fmla="*/ 883286 h 1413227"/>
                <a:gd name="connsiteX129" fmla="*/ 58771 w 2048870"/>
                <a:gd name="connsiteY129" fmla="*/ 886743 h 1413227"/>
                <a:gd name="connsiteX130" fmla="*/ 51857 w 2048870"/>
                <a:gd name="connsiteY130" fmla="*/ 898843 h 1413227"/>
                <a:gd name="connsiteX131" fmla="*/ 43214 w 2048870"/>
                <a:gd name="connsiteY131" fmla="*/ 904028 h 1413227"/>
                <a:gd name="connsiteX132" fmla="*/ 29386 w 2048870"/>
                <a:gd name="connsiteY132" fmla="*/ 909214 h 1413227"/>
                <a:gd name="connsiteX133" fmla="*/ 27657 w 2048870"/>
                <a:gd name="connsiteY133" fmla="*/ 919585 h 1413227"/>
                <a:gd name="connsiteX134" fmla="*/ 25929 w 2048870"/>
                <a:gd name="connsiteY134" fmla="*/ 926499 h 1413227"/>
                <a:gd name="connsiteX135" fmla="*/ 19014 w 2048870"/>
                <a:gd name="connsiteY135" fmla="*/ 955885 h 1413227"/>
                <a:gd name="connsiteX136" fmla="*/ 10372 w 2048870"/>
                <a:gd name="connsiteY136" fmla="*/ 969713 h 1413227"/>
                <a:gd name="connsiteX137" fmla="*/ 8643 w 2048870"/>
                <a:gd name="connsiteY137" fmla="*/ 990455 h 1413227"/>
                <a:gd name="connsiteX138" fmla="*/ 0 w 2048870"/>
                <a:gd name="connsiteY138" fmla="*/ 999098 h 1413227"/>
                <a:gd name="connsiteX139" fmla="*/ 6915 w 2048870"/>
                <a:gd name="connsiteY139" fmla="*/ 1023298 h 1413227"/>
                <a:gd name="connsiteX140" fmla="*/ 15557 w 2048870"/>
                <a:gd name="connsiteY140" fmla="*/ 1025026 h 1413227"/>
                <a:gd name="connsiteX141" fmla="*/ 22471 w 2048870"/>
                <a:gd name="connsiteY141" fmla="*/ 1030212 h 1413227"/>
                <a:gd name="connsiteX142" fmla="*/ 27657 w 2048870"/>
                <a:gd name="connsiteY142" fmla="*/ 1031941 h 1413227"/>
                <a:gd name="connsiteX143" fmla="*/ 34571 w 2048870"/>
                <a:gd name="connsiteY143" fmla="*/ 1035398 h 1413227"/>
                <a:gd name="connsiteX144" fmla="*/ 39757 w 2048870"/>
                <a:gd name="connsiteY144" fmla="*/ 1042312 h 1413227"/>
                <a:gd name="connsiteX145" fmla="*/ 43214 w 2048870"/>
                <a:gd name="connsiteY145" fmla="*/ 1047497 h 1413227"/>
                <a:gd name="connsiteX146" fmla="*/ 53585 w 2048870"/>
                <a:gd name="connsiteY146" fmla="*/ 1052683 h 1413227"/>
                <a:gd name="connsiteX147" fmla="*/ 95070 w 2048870"/>
                <a:gd name="connsiteY147" fmla="*/ 1061326 h 1413227"/>
                <a:gd name="connsiteX148" fmla="*/ 96799 w 2048870"/>
                <a:gd name="connsiteY148" fmla="*/ 1073426 h 1413227"/>
                <a:gd name="connsiteX149" fmla="*/ 101985 w 2048870"/>
                <a:gd name="connsiteY149" fmla="*/ 1075154 h 1413227"/>
                <a:gd name="connsiteX150" fmla="*/ 112356 w 2048870"/>
                <a:gd name="connsiteY150" fmla="*/ 1066511 h 1413227"/>
                <a:gd name="connsiteX151" fmla="*/ 119270 w 2048870"/>
                <a:gd name="connsiteY151" fmla="*/ 1059597 h 1413227"/>
                <a:gd name="connsiteX152" fmla="*/ 120999 w 2048870"/>
                <a:gd name="connsiteY152" fmla="*/ 1054412 h 1413227"/>
                <a:gd name="connsiteX153" fmla="*/ 134827 w 2048870"/>
                <a:gd name="connsiteY153" fmla="*/ 1061326 h 1413227"/>
                <a:gd name="connsiteX154" fmla="*/ 141741 w 2048870"/>
                <a:gd name="connsiteY154" fmla="*/ 1063054 h 1413227"/>
                <a:gd name="connsiteX155" fmla="*/ 146927 w 2048870"/>
                <a:gd name="connsiteY155" fmla="*/ 1064783 h 1413227"/>
                <a:gd name="connsiteX156" fmla="*/ 247182 w 2048870"/>
                <a:gd name="connsiteY156" fmla="*/ 1068240 h 1413227"/>
                <a:gd name="connsiteX157" fmla="*/ 266196 w 2048870"/>
                <a:gd name="connsiteY157" fmla="*/ 1064783 h 1413227"/>
                <a:gd name="connsiteX158" fmla="*/ 276568 w 2048870"/>
                <a:gd name="connsiteY158" fmla="*/ 1059597 h 1413227"/>
                <a:gd name="connsiteX159" fmla="*/ 285210 w 2048870"/>
                <a:gd name="connsiteY159" fmla="*/ 1049226 h 1413227"/>
                <a:gd name="connsiteX160" fmla="*/ 295581 w 2048870"/>
                <a:gd name="connsiteY160" fmla="*/ 1052683 h 1413227"/>
                <a:gd name="connsiteX161" fmla="*/ 299039 w 2048870"/>
                <a:gd name="connsiteY161" fmla="*/ 1059597 h 1413227"/>
                <a:gd name="connsiteX162" fmla="*/ 312867 w 2048870"/>
                <a:gd name="connsiteY162" fmla="*/ 1071697 h 1413227"/>
                <a:gd name="connsiteX163" fmla="*/ 338795 w 2048870"/>
                <a:gd name="connsiteY163" fmla="*/ 1078611 h 1413227"/>
                <a:gd name="connsiteX164" fmla="*/ 361266 w 2048870"/>
                <a:gd name="connsiteY164" fmla="*/ 1075154 h 1413227"/>
                <a:gd name="connsiteX165" fmla="*/ 362995 w 2048870"/>
                <a:gd name="connsiteY165" fmla="*/ 1068240 h 1413227"/>
                <a:gd name="connsiteX166" fmla="*/ 373366 w 2048870"/>
                <a:gd name="connsiteY166" fmla="*/ 1050955 h 1413227"/>
                <a:gd name="connsiteX167" fmla="*/ 378552 w 2048870"/>
                <a:gd name="connsiteY167" fmla="*/ 1045769 h 1413227"/>
                <a:gd name="connsiteX168" fmla="*/ 397566 w 2048870"/>
                <a:gd name="connsiteY168" fmla="*/ 1038855 h 1413227"/>
                <a:gd name="connsiteX169" fmla="*/ 432137 w 2048870"/>
                <a:gd name="connsiteY169" fmla="*/ 1035398 h 1413227"/>
                <a:gd name="connsiteX170" fmla="*/ 444236 w 2048870"/>
                <a:gd name="connsiteY170" fmla="*/ 1031941 h 1413227"/>
                <a:gd name="connsiteX171" fmla="*/ 447693 w 2048870"/>
                <a:gd name="connsiteY171" fmla="*/ 1025026 h 1413227"/>
                <a:gd name="connsiteX172" fmla="*/ 452879 w 2048870"/>
                <a:gd name="connsiteY172" fmla="*/ 1021569 h 1413227"/>
                <a:gd name="connsiteX173" fmla="*/ 468436 w 2048870"/>
                <a:gd name="connsiteY173" fmla="*/ 1011198 h 1413227"/>
                <a:gd name="connsiteX174" fmla="*/ 473622 w 2048870"/>
                <a:gd name="connsiteY174" fmla="*/ 999098 h 1413227"/>
                <a:gd name="connsiteX175" fmla="*/ 478807 w 2048870"/>
                <a:gd name="connsiteY175" fmla="*/ 986998 h 1413227"/>
                <a:gd name="connsiteX176" fmla="*/ 485721 w 2048870"/>
                <a:gd name="connsiteY176" fmla="*/ 980084 h 1413227"/>
                <a:gd name="connsiteX177" fmla="*/ 489178 w 2048870"/>
                <a:gd name="connsiteY177" fmla="*/ 974899 h 1413227"/>
                <a:gd name="connsiteX178" fmla="*/ 511650 w 2048870"/>
                <a:gd name="connsiteY178" fmla="*/ 955885 h 1413227"/>
                <a:gd name="connsiteX179" fmla="*/ 530664 w 2048870"/>
                <a:gd name="connsiteY179" fmla="*/ 947242 h 1413227"/>
                <a:gd name="connsiteX180" fmla="*/ 537578 w 2048870"/>
                <a:gd name="connsiteY180" fmla="*/ 933414 h 1413227"/>
                <a:gd name="connsiteX181" fmla="*/ 539306 w 2048870"/>
                <a:gd name="connsiteY181" fmla="*/ 928228 h 1413227"/>
                <a:gd name="connsiteX182" fmla="*/ 541035 w 2048870"/>
                <a:gd name="connsiteY182" fmla="*/ 921314 h 1413227"/>
                <a:gd name="connsiteX183" fmla="*/ 563506 w 2048870"/>
                <a:gd name="connsiteY183" fmla="*/ 917857 h 1413227"/>
                <a:gd name="connsiteX184" fmla="*/ 568692 w 2048870"/>
                <a:gd name="connsiteY184" fmla="*/ 916128 h 1413227"/>
                <a:gd name="connsiteX185" fmla="*/ 584248 w 2048870"/>
                <a:gd name="connsiteY185" fmla="*/ 914400 h 1413227"/>
                <a:gd name="connsiteX186" fmla="*/ 589434 w 2048870"/>
                <a:gd name="connsiteY186" fmla="*/ 910942 h 1413227"/>
                <a:gd name="connsiteX187" fmla="*/ 599805 w 2048870"/>
                <a:gd name="connsiteY187" fmla="*/ 905757 h 1413227"/>
                <a:gd name="connsiteX188" fmla="*/ 604991 w 2048870"/>
                <a:gd name="connsiteY188" fmla="*/ 900571 h 1413227"/>
                <a:gd name="connsiteX189" fmla="*/ 606719 w 2048870"/>
                <a:gd name="connsiteY189" fmla="*/ 895386 h 1413227"/>
                <a:gd name="connsiteX190" fmla="*/ 615362 w 2048870"/>
                <a:gd name="connsiteY190" fmla="*/ 891928 h 1413227"/>
                <a:gd name="connsiteX191" fmla="*/ 620548 w 2048870"/>
                <a:gd name="connsiteY191" fmla="*/ 886743 h 1413227"/>
                <a:gd name="connsiteX192" fmla="*/ 639562 w 2048870"/>
                <a:gd name="connsiteY192" fmla="*/ 879829 h 1413227"/>
                <a:gd name="connsiteX193" fmla="*/ 653390 w 2048870"/>
                <a:gd name="connsiteY193" fmla="*/ 883286 h 1413227"/>
                <a:gd name="connsiteX194" fmla="*/ 660304 w 2048870"/>
                <a:gd name="connsiteY194" fmla="*/ 885014 h 1413227"/>
                <a:gd name="connsiteX195" fmla="*/ 668947 w 2048870"/>
                <a:gd name="connsiteY195" fmla="*/ 886743 h 1413227"/>
                <a:gd name="connsiteX196" fmla="*/ 675861 w 2048870"/>
                <a:gd name="connsiteY196" fmla="*/ 890200 h 1413227"/>
                <a:gd name="connsiteX197" fmla="*/ 682775 w 2048870"/>
                <a:gd name="connsiteY197" fmla="*/ 891928 h 1413227"/>
                <a:gd name="connsiteX198" fmla="*/ 687961 w 2048870"/>
                <a:gd name="connsiteY198" fmla="*/ 895386 h 1413227"/>
                <a:gd name="connsiteX199" fmla="*/ 700061 w 2048870"/>
                <a:gd name="connsiteY199" fmla="*/ 898843 h 1413227"/>
                <a:gd name="connsiteX200" fmla="*/ 706975 w 2048870"/>
                <a:gd name="connsiteY200" fmla="*/ 904028 h 1413227"/>
                <a:gd name="connsiteX201" fmla="*/ 720803 w 2048870"/>
                <a:gd name="connsiteY201" fmla="*/ 907485 h 1413227"/>
                <a:gd name="connsiteX202" fmla="*/ 727718 w 2048870"/>
                <a:gd name="connsiteY202" fmla="*/ 905757 h 1413227"/>
                <a:gd name="connsiteX203" fmla="*/ 736360 w 2048870"/>
                <a:gd name="connsiteY203" fmla="*/ 904028 h 1413227"/>
                <a:gd name="connsiteX204" fmla="*/ 738089 w 2048870"/>
                <a:gd name="connsiteY204" fmla="*/ 910942 h 1413227"/>
                <a:gd name="connsiteX205" fmla="*/ 760560 w 2048870"/>
                <a:gd name="connsiteY205" fmla="*/ 904028 h 1413227"/>
                <a:gd name="connsiteX206" fmla="*/ 770931 w 2048870"/>
                <a:gd name="connsiteY206" fmla="*/ 895386 h 1413227"/>
                <a:gd name="connsiteX207" fmla="*/ 776117 w 2048870"/>
                <a:gd name="connsiteY207" fmla="*/ 909214 h 1413227"/>
                <a:gd name="connsiteX208" fmla="*/ 783031 w 2048870"/>
                <a:gd name="connsiteY208" fmla="*/ 914400 h 1413227"/>
                <a:gd name="connsiteX209" fmla="*/ 788217 w 2048870"/>
                <a:gd name="connsiteY209" fmla="*/ 919585 h 1413227"/>
                <a:gd name="connsiteX210" fmla="*/ 793402 w 2048870"/>
                <a:gd name="connsiteY210" fmla="*/ 923042 h 1413227"/>
                <a:gd name="connsiteX211" fmla="*/ 798588 w 2048870"/>
                <a:gd name="connsiteY211" fmla="*/ 928228 h 1413227"/>
                <a:gd name="connsiteX212" fmla="*/ 815873 w 2048870"/>
                <a:gd name="connsiteY212" fmla="*/ 935142 h 1413227"/>
                <a:gd name="connsiteX213" fmla="*/ 821059 w 2048870"/>
                <a:gd name="connsiteY213" fmla="*/ 926499 h 1413227"/>
                <a:gd name="connsiteX214" fmla="*/ 824516 w 2048870"/>
                <a:gd name="connsiteY214" fmla="*/ 910942 h 1413227"/>
                <a:gd name="connsiteX215" fmla="*/ 833159 w 2048870"/>
                <a:gd name="connsiteY215" fmla="*/ 912671 h 1413227"/>
                <a:gd name="connsiteX216" fmla="*/ 838344 w 2048870"/>
                <a:gd name="connsiteY216" fmla="*/ 926499 h 1413227"/>
                <a:gd name="connsiteX217" fmla="*/ 841802 w 2048870"/>
                <a:gd name="connsiteY217" fmla="*/ 929956 h 1413227"/>
                <a:gd name="connsiteX218" fmla="*/ 850444 w 2048870"/>
                <a:gd name="connsiteY218" fmla="*/ 948970 h 1413227"/>
                <a:gd name="connsiteX219" fmla="*/ 853901 w 2048870"/>
                <a:gd name="connsiteY219" fmla="*/ 954156 h 1413227"/>
                <a:gd name="connsiteX220" fmla="*/ 859087 w 2048870"/>
                <a:gd name="connsiteY220" fmla="*/ 988727 h 1413227"/>
                <a:gd name="connsiteX221" fmla="*/ 864273 w 2048870"/>
                <a:gd name="connsiteY221" fmla="*/ 1009469 h 1413227"/>
                <a:gd name="connsiteX222" fmla="*/ 878101 w 2048870"/>
                <a:gd name="connsiteY222" fmla="*/ 1012927 h 1413227"/>
                <a:gd name="connsiteX223" fmla="*/ 885015 w 2048870"/>
                <a:gd name="connsiteY223" fmla="*/ 1016384 h 1413227"/>
                <a:gd name="connsiteX224" fmla="*/ 888472 w 2048870"/>
                <a:gd name="connsiteY224" fmla="*/ 1021569 h 1413227"/>
                <a:gd name="connsiteX225" fmla="*/ 900572 w 2048870"/>
                <a:gd name="connsiteY225" fmla="*/ 1026755 h 1413227"/>
                <a:gd name="connsiteX226" fmla="*/ 905758 w 2048870"/>
                <a:gd name="connsiteY226" fmla="*/ 1033669 h 1413227"/>
                <a:gd name="connsiteX227" fmla="*/ 909215 w 2048870"/>
                <a:gd name="connsiteY227" fmla="*/ 1040583 h 1413227"/>
                <a:gd name="connsiteX228" fmla="*/ 912672 w 2048870"/>
                <a:gd name="connsiteY228" fmla="*/ 1045769 h 1413227"/>
                <a:gd name="connsiteX229" fmla="*/ 921315 w 2048870"/>
                <a:gd name="connsiteY229" fmla="*/ 1061326 h 1413227"/>
                <a:gd name="connsiteX230" fmla="*/ 928229 w 2048870"/>
                <a:gd name="connsiteY230" fmla="*/ 1082068 h 1413227"/>
                <a:gd name="connsiteX231" fmla="*/ 929957 w 2048870"/>
                <a:gd name="connsiteY231" fmla="*/ 1088983 h 1413227"/>
                <a:gd name="connsiteX232" fmla="*/ 940329 w 2048870"/>
                <a:gd name="connsiteY232" fmla="*/ 1095897 h 1413227"/>
                <a:gd name="connsiteX233" fmla="*/ 959343 w 2048870"/>
                <a:gd name="connsiteY233" fmla="*/ 1097625 h 1413227"/>
                <a:gd name="connsiteX234" fmla="*/ 967985 w 2048870"/>
                <a:gd name="connsiteY234" fmla="*/ 1101082 h 1413227"/>
                <a:gd name="connsiteX235" fmla="*/ 973171 w 2048870"/>
                <a:gd name="connsiteY235" fmla="*/ 1106268 h 1413227"/>
                <a:gd name="connsiteX236" fmla="*/ 978357 w 2048870"/>
                <a:gd name="connsiteY236" fmla="*/ 1109725 h 1413227"/>
                <a:gd name="connsiteX237" fmla="*/ 983542 w 2048870"/>
                <a:gd name="connsiteY237" fmla="*/ 1118368 h 1413227"/>
                <a:gd name="connsiteX238" fmla="*/ 985271 w 2048870"/>
                <a:gd name="connsiteY238" fmla="*/ 1132196 h 1413227"/>
                <a:gd name="connsiteX239" fmla="*/ 992185 w 2048870"/>
                <a:gd name="connsiteY239" fmla="*/ 1139110 h 1413227"/>
                <a:gd name="connsiteX240" fmla="*/ 1006013 w 2048870"/>
                <a:gd name="connsiteY240" fmla="*/ 1147753 h 1413227"/>
                <a:gd name="connsiteX241" fmla="*/ 1019842 w 2048870"/>
                <a:gd name="connsiteY241" fmla="*/ 1165038 h 1413227"/>
                <a:gd name="connsiteX242" fmla="*/ 1012927 w 2048870"/>
                <a:gd name="connsiteY242" fmla="*/ 1168496 h 1413227"/>
                <a:gd name="connsiteX243" fmla="*/ 1009470 w 2048870"/>
                <a:gd name="connsiteY243" fmla="*/ 1173681 h 1413227"/>
                <a:gd name="connsiteX244" fmla="*/ 997371 w 2048870"/>
                <a:gd name="connsiteY244" fmla="*/ 1177138 h 1413227"/>
                <a:gd name="connsiteX245" fmla="*/ 990456 w 2048870"/>
                <a:gd name="connsiteY245" fmla="*/ 1182324 h 1413227"/>
                <a:gd name="connsiteX246" fmla="*/ 973171 w 2048870"/>
                <a:gd name="connsiteY246" fmla="*/ 1182324 h 1413227"/>
                <a:gd name="connsiteX247" fmla="*/ 971442 w 2048870"/>
                <a:gd name="connsiteY247" fmla="*/ 1161581 h 1413227"/>
                <a:gd name="connsiteX248" fmla="*/ 962800 w 2048870"/>
                <a:gd name="connsiteY248" fmla="*/ 1171953 h 1413227"/>
                <a:gd name="connsiteX249" fmla="*/ 959343 w 2048870"/>
                <a:gd name="connsiteY249" fmla="*/ 1178867 h 1413227"/>
                <a:gd name="connsiteX250" fmla="*/ 955885 w 2048870"/>
                <a:gd name="connsiteY250" fmla="*/ 1184052 h 1413227"/>
                <a:gd name="connsiteX251" fmla="*/ 947243 w 2048870"/>
                <a:gd name="connsiteY251" fmla="*/ 1187510 h 1413227"/>
                <a:gd name="connsiteX252" fmla="*/ 940329 w 2048870"/>
                <a:gd name="connsiteY252" fmla="*/ 1190967 h 1413227"/>
                <a:gd name="connsiteX253" fmla="*/ 935143 w 2048870"/>
                <a:gd name="connsiteY253" fmla="*/ 1189238 h 1413227"/>
                <a:gd name="connsiteX254" fmla="*/ 929957 w 2048870"/>
                <a:gd name="connsiteY254" fmla="*/ 1171953 h 1413227"/>
                <a:gd name="connsiteX255" fmla="*/ 926500 w 2048870"/>
                <a:gd name="connsiteY255" fmla="*/ 1165038 h 1413227"/>
                <a:gd name="connsiteX256" fmla="*/ 921315 w 2048870"/>
                <a:gd name="connsiteY256" fmla="*/ 1178867 h 1413227"/>
                <a:gd name="connsiteX257" fmla="*/ 917857 w 2048870"/>
                <a:gd name="connsiteY257" fmla="*/ 1182324 h 1413227"/>
                <a:gd name="connsiteX258" fmla="*/ 914400 w 2048870"/>
                <a:gd name="connsiteY258" fmla="*/ 1194424 h 1413227"/>
                <a:gd name="connsiteX259" fmla="*/ 909215 w 2048870"/>
                <a:gd name="connsiteY259" fmla="*/ 1199609 h 1413227"/>
                <a:gd name="connsiteX260" fmla="*/ 886744 w 2048870"/>
                <a:gd name="connsiteY260" fmla="*/ 1180595 h 1413227"/>
                <a:gd name="connsiteX261" fmla="*/ 883287 w 2048870"/>
                <a:gd name="connsiteY261" fmla="*/ 1189238 h 1413227"/>
                <a:gd name="connsiteX262" fmla="*/ 879830 w 2048870"/>
                <a:gd name="connsiteY262" fmla="*/ 1194424 h 1413227"/>
                <a:gd name="connsiteX263" fmla="*/ 874644 w 2048870"/>
                <a:gd name="connsiteY263" fmla="*/ 1204795 h 1413227"/>
                <a:gd name="connsiteX264" fmla="*/ 879830 w 2048870"/>
                <a:gd name="connsiteY264" fmla="*/ 1211709 h 1413227"/>
                <a:gd name="connsiteX265" fmla="*/ 890201 w 2048870"/>
                <a:gd name="connsiteY265" fmla="*/ 1215166 h 1413227"/>
                <a:gd name="connsiteX266" fmla="*/ 893658 w 2048870"/>
                <a:gd name="connsiteY266" fmla="*/ 1235909 h 1413227"/>
                <a:gd name="connsiteX267" fmla="*/ 891929 w 2048870"/>
                <a:gd name="connsiteY267" fmla="*/ 1258380 h 1413227"/>
                <a:gd name="connsiteX268" fmla="*/ 890201 w 2048870"/>
                <a:gd name="connsiteY268" fmla="*/ 1263565 h 1413227"/>
                <a:gd name="connsiteX269" fmla="*/ 878101 w 2048870"/>
                <a:gd name="connsiteY269" fmla="*/ 1275665 h 1413227"/>
                <a:gd name="connsiteX270" fmla="*/ 871187 w 2048870"/>
                <a:gd name="connsiteY270" fmla="*/ 1282579 h 1413227"/>
                <a:gd name="connsiteX271" fmla="*/ 876372 w 2048870"/>
                <a:gd name="connsiteY271" fmla="*/ 1287765 h 1413227"/>
                <a:gd name="connsiteX272" fmla="*/ 874644 w 2048870"/>
                <a:gd name="connsiteY272" fmla="*/ 1306779 h 1413227"/>
                <a:gd name="connsiteX273" fmla="*/ 869458 w 2048870"/>
                <a:gd name="connsiteY273" fmla="*/ 1308508 h 1413227"/>
                <a:gd name="connsiteX274" fmla="*/ 864273 w 2048870"/>
                <a:gd name="connsiteY274" fmla="*/ 1320607 h 1413227"/>
                <a:gd name="connsiteX275" fmla="*/ 862544 w 2048870"/>
                <a:gd name="connsiteY275" fmla="*/ 1360364 h 1413227"/>
                <a:gd name="connsiteX276" fmla="*/ 857358 w 2048870"/>
                <a:gd name="connsiteY276" fmla="*/ 1363821 h 1413227"/>
                <a:gd name="connsiteX277" fmla="*/ 852173 w 2048870"/>
                <a:gd name="connsiteY277" fmla="*/ 1365550 h 1413227"/>
                <a:gd name="connsiteX278" fmla="*/ 850444 w 2048870"/>
                <a:gd name="connsiteY278" fmla="*/ 1370735 h 1413227"/>
                <a:gd name="connsiteX279" fmla="*/ 838344 w 2048870"/>
                <a:gd name="connsiteY279" fmla="*/ 1379378 h 1413227"/>
                <a:gd name="connsiteX280" fmla="*/ 841802 w 2048870"/>
                <a:gd name="connsiteY280" fmla="*/ 1389749 h 1413227"/>
                <a:gd name="connsiteX281" fmla="*/ 845259 w 2048870"/>
                <a:gd name="connsiteY281" fmla="*/ 1398392 h 1413227"/>
                <a:gd name="connsiteX282" fmla="*/ 842648 w 2048870"/>
                <a:gd name="connsiteY282" fmla="*/ 1403578 h 1413227"/>
                <a:gd name="connsiteX283" fmla="*/ 859087 w 2048870"/>
                <a:gd name="connsiteY283" fmla="*/ 1410492 h 1413227"/>
                <a:gd name="connsiteX284" fmla="*/ 885015 w 2048870"/>
                <a:gd name="connsiteY284" fmla="*/ 1408763 h 1413227"/>
                <a:gd name="connsiteX285" fmla="*/ 890201 w 2048870"/>
                <a:gd name="connsiteY285" fmla="*/ 1413103 h 1413227"/>
                <a:gd name="connsiteX286" fmla="*/ 921633 w 2048870"/>
                <a:gd name="connsiteY286" fmla="*/ 1403013 h 1413227"/>
                <a:gd name="connsiteX287" fmla="*/ 932427 w 2048870"/>
                <a:gd name="connsiteY287" fmla="*/ 1394371 h 1413227"/>
                <a:gd name="connsiteX288" fmla="*/ 933873 w 2048870"/>
                <a:gd name="connsiteY288" fmla="*/ 1386010 h 1413227"/>
                <a:gd name="connsiteX289" fmla="*/ 943362 w 2048870"/>
                <a:gd name="connsiteY289" fmla="*/ 1367278 h 1413227"/>
                <a:gd name="connsiteX290" fmla="*/ 943786 w 2048870"/>
                <a:gd name="connsiteY290" fmla="*/ 1362093 h 1413227"/>
                <a:gd name="connsiteX291" fmla="*/ 954157 w 2048870"/>
                <a:gd name="connsiteY291" fmla="*/ 1360364 h 1413227"/>
                <a:gd name="connsiteX292" fmla="*/ 993913 w 2048870"/>
                <a:gd name="connsiteY292" fmla="*/ 1356907 h 1413227"/>
                <a:gd name="connsiteX293" fmla="*/ 997371 w 2048870"/>
                <a:gd name="connsiteY293" fmla="*/ 1349993 h 1413227"/>
                <a:gd name="connsiteX294" fmla="*/ 1009470 w 2048870"/>
                <a:gd name="connsiteY294" fmla="*/ 1344807 h 1413227"/>
                <a:gd name="connsiteX295" fmla="*/ 997371 w 2048870"/>
                <a:gd name="connsiteY295" fmla="*/ 1334436 h 1413227"/>
                <a:gd name="connsiteX296" fmla="*/ 993913 w 2048870"/>
                <a:gd name="connsiteY296" fmla="*/ 1327522 h 1413227"/>
                <a:gd name="connsiteX297" fmla="*/ 988728 w 2048870"/>
                <a:gd name="connsiteY297" fmla="*/ 1322336 h 1413227"/>
                <a:gd name="connsiteX298" fmla="*/ 985271 w 2048870"/>
                <a:gd name="connsiteY298" fmla="*/ 1310236 h 1413227"/>
                <a:gd name="connsiteX299" fmla="*/ 981814 w 2048870"/>
                <a:gd name="connsiteY299" fmla="*/ 1299865 h 1413227"/>
                <a:gd name="connsiteX300" fmla="*/ 990456 w 2048870"/>
                <a:gd name="connsiteY300" fmla="*/ 1287765 h 1413227"/>
                <a:gd name="connsiteX301" fmla="*/ 992185 w 2048870"/>
                <a:gd name="connsiteY301" fmla="*/ 1292951 h 1413227"/>
                <a:gd name="connsiteX302" fmla="*/ 1014656 w 2048870"/>
                <a:gd name="connsiteY302" fmla="*/ 1299865 h 1413227"/>
                <a:gd name="connsiteX303" fmla="*/ 1016385 w 2048870"/>
                <a:gd name="connsiteY303" fmla="*/ 1294679 h 1413227"/>
                <a:gd name="connsiteX304" fmla="*/ 1018113 w 2048870"/>
                <a:gd name="connsiteY304" fmla="*/ 1284308 h 1413227"/>
                <a:gd name="connsiteX305" fmla="*/ 1031941 w 2048870"/>
                <a:gd name="connsiteY305" fmla="*/ 1270480 h 1413227"/>
                <a:gd name="connsiteX306" fmla="*/ 1037127 w 2048870"/>
                <a:gd name="connsiteY306" fmla="*/ 1265294 h 1413227"/>
                <a:gd name="connsiteX307" fmla="*/ 1038856 w 2048870"/>
                <a:gd name="connsiteY307" fmla="*/ 1260108 h 1413227"/>
                <a:gd name="connsiteX308" fmla="*/ 1054412 w 2048870"/>
                <a:gd name="connsiteY308" fmla="*/ 1251466 h 1413227"/>
                <a:gd name="connsiteX309" fmla="*/ 1063055 w 2048870"/>
                <a:gd name="connsiteY309" fmla="*/ 1242823 h 1413227"/>
                <a:gd name="connsiteX310" fmla="*/ 1068241 w 2048870"/>
                <a:gd name="connsiteY310" fmla="*/ 1223809 h 1413227"/>
                <a:gd name="connsiteX311" fmla="*/ 1069969 w 2048870"/>
                <a:gd name="connsiteY311" fmla="*/ 1215166 h 1413227"/>
                <a:gd name="connsiteX312" fmla="*/ 1075155 w 2048870"/>
                <a:gd name="connsiteY312" fmla="*/ 1201338 h 1413227"/>
                <a:gd name="connsiteX313" fmla="*/ 1080341 w 2048870"/>
                <a:gd name="connsiteY313" fmla="*/ 1175410 h 1413227"/>
                <a:gd name="connsiteX314" fmla="*/ 1082069 w 2048870"/>
                <a:gd name="connsiteY314" fmla="*/ 1170224 h 1413227"/>
                <a:gd name="connsiteX315" fmla="*/ 1083798 w 2048870"/>
                <a:gd name="connsiteY315" fmla="*/ 1161581 h 1413227"/>
                <a:gd name="connsiteX316" fmla="*/ 1085526 w 2048870"/>
                <a:gd name="connsiteY316" fmla="*/ 1156396 h 1413227"/>
                <a:gd name="connsiteX317" fmla="*/ 1087255 w 2048870"/>
                <a:gd name="connsiteY317" fmla="*/ 1147753 h 1413227"/>
                <a:gd name="connsiteX318" fmla="*/ 1097626 w 2048870"/>
                <a:gd name="connsiteY318" fmla="*/ 1128739 h 1413227"/>
                <a:gd name="connsiteX319" fmla="*/ 1099355 w 2048870"/>
                <a:gd name="connsiteY319" fmla="*/ 1111454 h 1413227"/>
                <a:gd name="connsiteX320" fmla="*/ 1106269 w 2048870"/>
                <a:gd name="connsiteY320" fmla="*/ 1097625 h 1413227"/>
                <a:gd name="connsiteX321" fmla="*/ 1111454 w 2048870"/>
                <a:gd name="connsiteY321" fmla="*/ 1095897 h 1413227"/>
                <a:gd name="connsiteX322" fmla="*/ 1127011 w 2048870"/>
                <a:gd name="connsiteY322" fmla="*/ 1094168 h 1413227"/>
                <a:gd name="connsiteX323" fmla="*/ 1132197 w 2048870"/>
                <a:gd name="connsiteY323" fmla="*/ 1088983 h 1413227"/>
                <a:gd name="connsiteX324" fmla="*/ 1166768 w 2048870"/>
                <a:gd name="connsiteY324" fmla="*/ 1083797 h 1413227"/>
                <a:gd name="connsiteX325" fmla="*/ 1175411 w 2048870"/>
                <a:gd name="connsiteY325" fmla="*/ 1073426 h 1413227"/>
                <a:gd name="connsiteX326" fmla="*/ 1177139 w 2048870"/>
                <a:gd name="connsiteY326" fmla="*/ 1061326 h 1413227"/>
                <a:gd name="connsiteX327" fmla="*/ 1170225 w 2048870"/>
                <a:gd name="connsiteY327" fmla="*/ 1047497 h 1413227"/>
                <a:gd name="connsiteX328" fmla="*/ 1163311 w 2048870"/>
                <a:gd name="connsiteY328" fmla="*/ 1050955 h 1413227"/>
                <a:gd name="connsiteX329" fmla="*/ 1166768 w 2048870"/>
                <a:gd name="connsiteY329" fmla="*/ 1068240 h 1413227"/>
                <a:gd name="connsiteX330" fmla="*/ 1170225 w 2048870"/>
                <a:gd name="connsiteY330" fmla="*/ 1076883 h 1413227"/>
                <a:gd name="connsiteX331" fmla="*/ 1182325 w 2048870"/>
                <a:gd name="connsiteY331" fmla="*/ 1080340 h 1413227"/>
                <a:gd name="connsiteX332" fmla="*/ 1206524 w 2048870"/>
                <a:gd name="connsiteY332" fmla="*/ 1078611 h 1413227"/>
                <a:gd name="connsiteX333" fmla="*/ 1211710 w 2048870"/>
                <a:gd name="connsiteY333" fmla="*/ 1073426 h 1413227"/>
                <a:gd name="connsiteX334" fmla="*/ 1218624 w 2048870"/>
                <a:gd name="connsiteY334" fmla="*/ 1057869 h 1413227"/>
                <a:gd name="connsiteX335" fmla="*/ 1220353 w 2048870"/>
                <a:gd name="connsiteY335" fmla="*/ 1044040 h 1413227"/>
                <a:gd name="connsiteX336" fmla="*/ 1218624 w 2048870"/>
                <a:gd name="connsiteY336" fmla="*/ 1014655 h 1413227"/>
                <a:gd name="connsiteX337" fmla="*/ 1211710 w 2048870"/>
                <a:gd name="connsiteY337" fmla="*/ 997370 h 1413227"/>
                <a:gd name="connsiteX338" fmla="*/ 1206524 w 2048870"/>
                <a:gd name="connsiteY338" fmla="*/ 993913 h 1413227"/>
                <a:gd name="connsiteX339" fmla="*/ 1184053 w 2048870"/>
                <a:gd name="connsiteY339" fmla="*/ 973170 h 1413227"/>
                <a:gd name="connsiteX340" fmla="*/ 1173682 w 2048870"/>
                <a:gd name="connsiteY340" fmla="*/ 962799 h 1413227"/>
                <a:gd name="connsiteX341" fmla="*/ 1168496 w 2048870"/>
                <a:gd name="connsiteY341" fmla="*/ 957613 h 1413227"/>
                <a:gd name="connsiteX342" fmla="*/ 1171954 w 2048870"/>
                <a:gd name="connsiteY342" fmla="*/ 961070 h 1413227"/>
                <a:gd name="connsiteX343" fmla="*/ 1178868 w 2048870"/>
                <a:gd name="connsiteY343" fmla="*/ 971441 h 1413227"/>
                <a:gd name="connsiteX344" fmla="*/ 1185782 w 2048870"/>
                <a:gd name="connsiteY344" fmla="*/ 980084 h 1413227"/>
                <a:gd name="connsiteX345" fmla="*/ 1190968 w 2048870"/>
                <a:gd name="connsiteY345" fmla="*/ 985270 h 1413227"/>
                <a:gd name="connsiteX346" fmla="*/ 1194425 w 2048870"/>
                <a:gd name="connsiteY346" fmla="*/ 993913 h 1413227"/>
                <a:gd name="connsiteX347" fmla="*/ 1206524 w 2048870"/>
                <a:gd name="connsiteY347" fmla="*/ 1007741 h 1413227"/>
                <a:gd name="connsiteX348" fmla="*/ 1208253 w 2048870"/>
                <a:gd name="connsiteY348" fmla="*/ 1014655 h 1413227"/>
                <a:gd name="connsiteX349" fmla="*/ 1211710 w 2048870"/>
                <a:gd name="connsiteY349" fmla="*/ 1023298 h 1413227"/>
                <a:gd name="connsiteX350" fmla="*/ 1213439 w 2048870"/>
                <a:gd name="connsiteY350" fmla="*/ 1035398 h 1413227"/>
                <a:gd name="connsiteX351" fmla="*/ 1215167 w 2048870"/>
                <a:gd name="connsiteY351" fmla="*/ 1044040 h 1413227"/>
                <a:gd name="connsiteX352" fmla="*/ 1220353 w 2048870"/>
                <a:gd name="connsiteY352" fmla="*/ 1045769 h 1413227"/>
                <a:gd name="connsiteX353" fmla="*/ 1223810 w 2048870"/>
                <a:gd name="connsiteY353" fmla="*/ 1050955 h 1413227"/>
                <a:gd name="connsiteX354" fmla="*/ 1234181 w 2048870"/>
                <a:gd name="connsiteY354" fmla="*/ 1063054 h 1413227"/>
                <a:gd name="connsiteX355" fmla="*/ 1253195 w 2048870"/>
                <a:gd name="connsiteY355" fmla="*/ 1057869 h 1413227"/>
                <a:gd name="connsiteX356" fmla="*/ 1258381 w 2048870"/>
                <a:gd name="connsiteY356" fmla="*/ 1054412 h 1413227"/>
                <a:gd name="connsiteX357" fmla="*/ 1265295 w 2048870"/>
                <a:gd name="connsiteY357" fmla="*/ 1050955 h 1413227"/>
                <a:gd name="connsiteX358" fmla="*/ 1267023 w 2048870"/>
                <a:gd name="connsiteY358" fmla="*/ 1056140 h 1413227"/>
                <a:gd name="connsiteX359" fmla="*/ 1268752 w 2048870"/>
                <a:gd name="connsiteY359" fmla="*/ 1068240 h 1413227"/>
                <a:gd name="connsiteX360" fmla="*/ 1279123 w 2048870"/>
                <a:gd name="connsiteY360" fmla="*/ 1064783 h 1413227"/>
                <a:gd name="connsiteX361" fmla="*/ 1289495 w 2048870"/>
                <a:gd name="connsiteY361" fmla="*/ 1056140 h 1413227"/>
                <a:gd name="connsiteX362" fmla="*/ 1299866 w 2048870"/>
                <a:gd name="connsiteY362" fmla="*/ 1045769 h 1413227"/>
                <a:gd name="connsiteX363" fmla="*/ 1305051 w 2048870"/>
                <a:gd name="connsiteY363" fmla="*/ 1042312 h 1413227"/>
                <a:gd name="connsiteX364" fmla="*/ 1294680 w 2048870"/>
                <a:gd name="connsiteY364" fmla="*/ 1061326 h 1413227"/>
                <a:gd name="connsiteX365" fmla="*/ 1286037 w 2048870"/>
                <a:gd name="connsiteY365" fmla="*/ 1075154 h 1413227"/>
                <a:gd name="connsiteX366" fmla="*/ 1272209 w 2048870"/>
                <a:gd name="connsiteY366" fmla="*/ 1082068 h 1413227"/>
                <a:gd name="connsiteX367" fmla="*/ 1265295 w 2048870"/>
                <a:gd name="connsiteY367" fmla="*/ 1085525 h 1413227"/>
                <a:gd name="connsiteX368" fmla="*/ 1260109 w 2048870"/>
                <a:gd name="connsiteY368" fmla="*/ 1087254 h 1413227"/>
                <a:gd name="connsiteX369" fmla="*/ 1251467 w 2048870"/>
                <a:gd name="connsiteY369" fmla="*/ 1092440 h 1413227"/>
                <a:gd name="connsiteX370" fmla="*/ 1232453 w 2048870"/>
                <a:gd name="connsiteY370" fmla="*/ 1095897 h 1413227"/>
                <a:gd name="connsiteX371" fmla="*/ 1230724 w 2048870"/>
                <a:gd name="connsiteY371" fmla="*/ 1121825 h 1413227"/>
                <a:gd name="connsiteX372" fmla="*/ 1223810 w 2048870"/>
                <a:gd name="connsiteY372" fmla="*/ 1128739 h 1413227"/>
                <a:gd name="connsiteX373" fmla="*/ 1216896 w 2048870"/>
                <a:gd name="connsiteY373" fmla="*/ 1130468 h 1413227"/>
                <a:gd name="connsiteX374" fmla="*/ 1248009 w 2048870"/>
                <a:gd name="connsiteY374" fmla="*/ 1123553 h 1413227"/>
                <a:gd name="connsiteX375" fmla="*/ 1275666 w 2048870"/>
                <a:gd name="connsiteY375" fmla="*/ 1125282 h 1413227"/>
                <a:gd name="connsiteX376" fmla="*/ 1282580 w 2048870"/>
                <a:gd name="connsiteY376" fmla="*/ 1128739 h 1413227"/>
                <a:gd name="connsiteX377" fmla="*/ 1318880 w 2048870"/>
                <a:gd name="connsiteY377" fmla="*/ 1127010 h 1413227"/>
                <a:gd name="connsiteX378" fmla="*/ 1330980 w 2048870"/>
                <a:gd name="connsiteY378" fmla="*/ 1123553 h 1413227"/>
                <a:gd name="connsiteX379" fmla="*/ 1339622 w 2048870"/>
                <a:gd name="connsiteY379" fmla="*/ 1118368 h 1413227"/>
                <a:gd name="connsiteX380" fmla="*/ 1356908 w 2048870"/>
                <a:gd name="connsiteY380" fmla="*/ 1123553 h 1413227"/>
                <a:gd name="connsiteX381" fmla="*/ 1384564 w 2048870"/>
                <a:gd name="connsiteY381" fmla="*/ 1114911 h 1413227"/>
                <a:gd name="connsiteX382" fmla="*/ 1391479 w 2048870"/>
                <a:gd name="connsiteY382" fmla="*/ 1109725 h 1413227"/>
                <a:gd name="connsiteX383" fmla="*/ 1400121 w 2048870"/>
                <a:gd name="connsiteY383" fmla="*/ 1095897 h 1413227"/>
                <a:gd name="connsiteX384" fmla="*/ 1403578 w 2048870"/>
                <a:gd name="connsiteY384" fmla="*/ 1090711 h 1413227"/>
                <a:gd name="connsiteX385" fmla="*/ 1408764 w 2048870"/>
                <a:gd name="connsiteY385" fmla="*/ 1088983 h 1413227"/>
                <a:gd name="connsiteX386" fmla="*/ 1415678 w 2048870"/>
                <a:gd name="connsiteY386" fmla="*/ 1097625 h 1413227"/>
                <a:gd name="connsiteX387" fmla="*/ 1419135 w 2048870"/>
                <a:gd name="connsiteY387" fmla="*/ 1104539 h 1413227"/>
                <a:gd name="connsiteX388" fmla="*/ 1424321 w 2048870"/>
                <a:gd name="connsiteY388" fmla="*/ 1111454 h 1413227"/>
                <a:gd name="connsiteX389" fmla="*/ 1434692 w 2048870"/>
                <a:gd name="connsiteY389" fmla="*/ 1109725 h 1413227"/>
                <a:gd name="connsiteX390" fmla="*/ 1438149 w 2048870"/>
                <a:gd name="connsiteY390" fmla="*/ 1101082 h 1413227"/>
                <a:gd name="connsiteX391" fmla="*/ 1446792 w 2048870"/>
                <a:gd name="connsiteY391" fmla="*/ 1076883 h 1413227"/>
                <a:gd name="connsiteX392" fmla="*/ 1455435 w 2048870"/>
                <a:gd name="connsiteY392" fmla="*/ 1082068 h 1413227"/>
                <a:gd name="connsiteX393" fmla="*/ 1457163 w 2048870"/>
                <a:gd name="connsiteY393" fmla="*/ 1097625 h 1413227"/>
                <a:gd name="connsiteX394" fmla="*/ 1462349 w 2048870"/>
                <a:gd name="connsiteY394" fmla="*/ 1104539 h 1413227"/>
                <a:gd name="connsiteX395" fmla="*/ 1464078 w 2048870"/>
                <a:gd name="connsiteY395" fmla="*/ 1116639 h 1413227"/>
                <a:gd name="connsiteX396" fmla="*/ 1450249 w 2048870"/>
                <a:gd name="connsiteY396" fmla="*/ 1132196 h 1413227"/>
                <a:gd name="connsiteX397" fmla="*/ 1436421 w 2048870"/>
                <a:gd name="connsiteY397" fmla="*/ 1149482 h 1413227"/>
                <a:gd name="connsiteX398" fmla="*/ 1427778 w 2048870"/>
                <a:gd name="connsiteY398" fmla="*/ 1158124 h 1413227"/>
                <a:gd name="connsiteX399" fmla="*/ 1415678 w 2048870"/>
                <a:gd name="connsiteY399" fmla="*/ 1163310 h 1413227"/>
                <a:gd name="connsiteX400" fmla="*/ 1400121 w 2048870"/>
                <a:gd name="connsiteY400" fmla="*/ 1171953 h 1413227"/>
                <a:gd name="connsiteX401" fmla="*/ 1398393 w 2048870"/>
                <a:gd name="connsiteY401" fmla="*/ 1177138 h 1413227"/>
                <a:gd name="connsiteX402" fmla="*/ 1389750 w 2048870"/>
                <a:gd name="connsiteY402" fmla="*/ 1189238 h 1413227"/>
                <a:gd name="connsiteX403" fmla="*/ 1384564 w 2048870"/>
                <a:gd name="connsiteY403" fmla="*/ 1197881 h 1413227"/>
                <a:gd name="connsiteX404" fmla="*/ 1382836 w 2048870"/>
                <a:gd name="connsiteY404" fmla="*/ 1203066 h 1413227"/>
                <a:gd name="connsiteX405" fmla="*/ 1374193 w 2048870"/>
                <a:gd name="connsiteY405" fmla="*/ 1211709 h 1413227"/>
                <a:gd name="connsiteX406" fmla="*/ 1369008 w 2048870"/>
                <a:gd name="connsiteY406" fmla="*/ 1216895 h 1413227"/>
                <a:gd name="connsiteX407" fmla="*/ 1356908 w 2048870"/>
                <a:gd name="connsiteY407" fmla="*/ 1230723 h 1413227"/>
                <a:gd name="connsiteX408" fmla="*/ 1351722 w 2048870"/>
                <a:gd name="connsiteY408" fmla="*/ 1237637 h 1413227"/>
                <a:gd name="connsiteX409" fmla="*/ 1349994 w 2048870"/>
                <a:gd name="connsiteY409" fmla="*/ 1242823 h 1413227"/>
                <a:gd name="connsiteX410" fmla="*/ 1344808 w 2048870"/>
                <a:gd name="connsiteY410" fmla="*/ 1253194 h 1413227"/>
                <a:gd name="connsiteX411" fmla="*/ 1377650 w 2048870"/>
                <a:gd name="connsiteY411" fmla="*/ 1253194 h 1413227"/>
                <a:gd name="connsiteX412" fmla="*/ 1386293 w 2048870"/>
                <a:gd name="connsiteY412" fmla="*/ 1246280 h 1413227"/>
                <a:gd name="connsiteX413" fmla="*/ 1391479 w 2048870"/>
                <a:gd name="connsiteY413" fmla="*/ 1244552 h 1413227"/>
                <a:gd name="connsiteX414" fmla="*/ 1412221 w 2048870"/>
                <a:gd name="connsiteY414" fmla="*/ 1248009 h 1413227"/>
                <a:gd name="connsiteX415" fmla="*/ 1415678 w 2048870"/>
                <a:gd name="connsiteY415" fmla="*/ 1253194 h 1413227"/>
                <a:gd name="connsiteX416" fmla="*/ 1426050 w 2048870"/>
                <a:gd name="connsiteY416" fmla="*/ 1260108 h 1413227"/>
                <a:gd name="connsiteX417" fmla="*/ 1451978 w 2048870"/>
                <a:gd name="connsiteY417" fmla="*/ 1258380 h 1413227"/>
                <a:gd name="connsiteX418" fmla="*/ 1457163 w 2048870"/>
                <a:gd name="connsiteY418" fmla="*/ 1253194 h 1413227"/>
                <a:gd name="connsiteX419" fmla="*/ 1465806 w 2048870"/>
                <a:gd name="connsiteY419" fmla="*/ 1248009 h 1413227"/>
                <a:gd name="connsiteX420" fmla="*/ 1483092 w 2048870"/>
                <a:gd name="connsiteY420" fmla="*/ 1249737 h 1413227"/>
                <a:gd name="connsiteX421" fmla="*/ 1491734 w 2048870"/>
                <a:gd name="connsiteY421" fmla="*/ 1258380 h 1413227"/>
                <a:gd name="connsiteX422" fmla="*/ 1502106 w 2048870"/>
                <a:gd name="connsiteY422" fmla="*/ 1272208 h 1413227"/>
                <a:gd name="connsiteX423" fmla="*/ 1503834 w 2048870"/>
                <a:gd name="connsiteY423" fmla="*/ 1289494 h 1413227"/>
                <a:gd name="connsiteX424" fmla="*/ 1514205 w 2048870"/>
                <a:gd name="connsiteY424" fmla="*/ 1301593 h 1413227"/>
                <a:gd name="connsiteX425" fmla="*/ 1517662 w 2048870"/>
                <a:gd name="connsiteY425" fmla="*/ 1306779 h 1413227"/>
                <a:gd name="connsiteX426" fmla="*/ 1515934 w 2048870"/>
                <a:gd name="connsiteY426" fmla="*/ 1355178 h 1413227"/>
                <a:gd name="connsiteX427" fmla="*/ 1509020 w 2048870"/>
                <a:gd name="connsiteY427" fmla="*/ 1360364 h 1413227"/>
                <a:gd name="connsiteX428" fmla="*/ 1503834 w 2048870"/>
                <a:gd name="connsiteY428" fmla="*/ 1370735 h 1413227"/>
                <a:gd name="connsiteX429" fmla="*/ 1534948 w 2048870"/>
                <a:gd name="connsiteY429" fmla="*/ 1374192 h 1413227"/>
                <a:gd name="connsiteX430" fmla="*/ 1540133 w 2048870"/>
                <a:gd name="connsiteY430" fmla="*/ 1377649 h 1413227"/>
                <a:gd name="connsiteX431" fmla="*/ 1559147 w 2048870"/>
                <a:gd name="connsiteY431" fmla="*/ 1375921 h 1413227"/>
                <a:gd name="connsiteX432" fmla="*/ 1564333 w 2048870"/>
                <a:gd name="connsiteY432" fmla="*/ 1372464 h 1413227"/>
                <a:gd name="connsiteX433" fmla="*/ 1579890 w 2048870"/>
                <a:gd name="connsiteY433" fmla="*/ 1370735 h 1413227"/>
                <a:gd name="connsiteX434" fmla="*/ 1597175 w 2048870"/>
                <a:gd name="connsiteY434" fmla="*/ 1363821 h 1413227"/>
                <a:gd name="connsiteX435" fmla="*/ 1600633 w 2048870"/>
                <a:gd name="connsiteY435" fmla="*/ 1360364 h 1413227"/>
                <a:gd name="connsiteX436" fmla="*/ 1612732 w 2048870"/>
                <a:gd name="connsiteY436" fmla="*/ 1341350 h 1413227"/>
                <a:gd name="connsiteX437" fmla="*/ 1617918 w 2048870"/>
                <a:gd name="connsiteY437" fmla="*/ 1305051 h 1413227"/>
                <a:gd name="connsiteX438" fmla="*/ 1623104 w 2048870"/>
                <a:gd name="connsiteY438" fmla="*/ 1301593 h 1413227"/>
                <a:gd name="connsiteX439" fmla="*/ 1624832 w 2048870"/>
                <a:gd name="connsiteY439" fmla="*/ 1284308 h 1413227"/>
                <a:gd name="connsiteX440" fmla="*/ 1631746 w 2048870"/>
                <a:gd name="connsiteY440" fmla="*/ 1270480 h 1413227"/>
                <a:gd name="connsiteX441" fmla="*/ 1643846 w 2048870"/>
                <a:gd name="connsiteY441" fmla="*/ 1263565 h 1413227"/>
                <a:gd name="connsiteX442" fmla="*/ 1669774 w 2048870"/>
                <a:gd name="connsiteY442" fmla="*/ 1260108 h 1413227"/>
                <a:gd name="connsiteX443" fmla="*/ 1681874 w 2048870"/>
                <a:gd name="connsiteY443" fmla="*/ 1254923 h 1413227"/>
                <a:gd name="connsiteX444" fmla="*/ 1687060 w 2048870"/>
                <a:gd name="connsiteY444" fmla="*/ 1253194 h 1413227"/>
                <a:gd name="connsiteX445" fmla="*/ 1702617 w 2048870"/>
                <a:gd name="connsiteY445" fmla="*/ 1249737 h 1413227"/>
                <a:gd name="connsiteX446" fmla="*/ 1704345 w 2048870"/>
                <a:gd name="connsiteY446" fmla="*/ 1232452 h 1413227"/>
                <a:gd name="connsiteX447" fmla="*/ 1706074 w 2048870"/>
                <a:gd name="connsiteY447" fmla="*/ 1208252 h 1413227"/>
                <a:gd name="connsiteX448" fmla="*/ 1711259 w 2048870"/>
                <a:gd name="connsiteY448" fmla="*/ 1201338 h 1413227"/>
                <a:gd name="connsiteX449" fmla="*/ 1718174 w 2048870"/>
                <a:gd name="connsiteY449" fmla="*/ 1192695 h 1413227"/>
                <a:gd name="connsiteX450" fmla="*/ 1725088 w 2048870"/>
                <a:gd name="connsiteY450" fmla="*/ 1189238 h 1413227"/>
                <a:gd name="connsiteX451" fmla="*/ 1735459 w 2048870"/>
                <a:gd name="connsiteY451" fmla="*/ 1184052 h 1413227"/>
                <a:gd name="connsiteX452" fmla="*/ 1773487 w 2048870"/>
                <a:gd name="connsiteY452" fmla="*/ 1189238 h 1413227"/>
                <a:gd name="connsiteX453" fmla="*/ 1778673 w 2048870"/>
                <a:gd name="connsiteY453" fmla="*/ 1194424 h 1413227"/>
                <a:gd name="connsiteX454" fmla="*/ 1808058 w 2048870"/>
                <a:gd name="connsiteY454" fmla="*/ 1187510 h 1413227"/>
                <a:gd name="connsiteX455" fmla="*/ 1811515 w 2048870"/>
                <a:gd name="connsiteY455" fmla="*/ 1180595 h 1413227"/>
                <a:gd name="connsiteX456" fmla="*/ 1818429 w 2048870"/>
                <a:gd name="connsiteY456" fmla="*/ 1171953 h 1413227"/>
                <a:gd name="connsiteX457" fmla="*/ 1825343 w 2048870"/>
                <a:gd name="connsiteY457" fmla="*/ 1158124 h 1413227"/>
                <a:gd name="connsiteX458" fmla="*/ 1827072 w 2048870"/>
                <a:gd name="connsiteY458" fmla="*/ 1151210 h 1413227"/>
                <a:gd name="connsiteX459" fmla="*/ 1833986 w 2048870"/>
                <a:gd name="connsiteY459" fmla="*/ 1133925 h 1413227"/>
                <a:gd name="connsiteX460" fmla="*/ 1820158 w 2048870"/>
                <a:gd name="connsiteY460" fmla="*/ 1128739 h 1413227"/>
                <a:gd name="connsiteX461" fmla="*/ 1816701 w 2048870"/>
                <a:gd name="connsiteY461" fmla="*/ 1123553 h 1413227"/>
                <a:gd name="connsiteX462" fmla="*/ 1820158 w 2048870"/>
                <a:gd name="connsiteY462" fmla="*/ 1118368 h 1413227"/>
                <a:gd name="connsiteX463" fmla="*/ 1825343 w 2048870"/>
                <a:gd name="connsiteY463" fmla="*/ 1111454 h 1413227"/>
                <a:gd name="connsiteX464" fmla="*/ 1828800 w 2048870"/>
                <a:gd name="connsiteY464" fmla="*/ 1099354 h 1413227"/>
                <a:gd name="connsiteX465" fmla="*/ 1832257 w 2048870"/>
                <a:gd name="connsiteY465" fmla="*/ 1094168 h 1413227"/>
                <a:gd name="connsiteX466" fmla="*/ 1830529 w 2048870"/>
                <a:gd name="connsiteY466" fmla="*/ 1083797 h 1413227"/>
                <a:gd name="connsiteX467" fmla="*/ 1816701 w 2048870"/>
                <a:gd name="connsiteY467" fmla="*/ 1087254 h 1413227"/>
                <a:gd name="connsiteX468" fmla="*/ 1789044 w 2048870"/>
                <a:gd name="connsiteY468" fmla="*/ 1092440 h 1413227"/>
                <a:gd name="connsiteX469" fmla="*/ 1778673 w 2048870"/>
                <a:gd name="connsiteY469" fmla="*/ 1095897 h 1413227"/>
                <a:gd name="connsiteX470" fmla="*/ 1771758 w 2048870"/>
                <a:gd name="connsiteY470" fmla="*/ 1099354 h 1413227"/>
                <a:gd name="connsiteX471" fmla="*/ 1766573 w 2048870"/>
                <a:gd name="connsiteY471" fmla="*/ 1116639 h 1413227"/>
                <a:gd name="connsiteX472" fmla="*/ 1756202 w 2048870"/>
                <a:gd name="connsiteY472" fmla="*/ 1118368 h 1413227"/>
                <a:gd name="connsiteX473" fmla="*/ 1738916 w 2048870"/>
                <a:gd name="connsiteY473" fmla="*/ 1130468 h 1413227"/>
                <a:gd name="connsiteX474" fmla="*/ 1718174 w 2048870"/>
                <a:gd name="connsiteY474" fmla="*/ 1140839 h 1413227"/>
                <a:gd name="connsiteX475" fmla="*/ 1709531 w 2048870"/>
                <a:gd name="connsiteY475" fmla="*/ 1146024 h 1413227"/>
                <a:gd name="connsiteX476" fmla="*/ 1707802 w 2048870"/>
                <a:gd name="connsiteY476" fmla="*/ 1151210 h 1413227"/>
                <a:gd name="connsiteX477" fmla="*/ 1700888 w 2048870"/>
                <a:gd name="connsiteY477" fmla="*/ 1154667 h 1413227"/>
                <a:gd name="connsiteX478" fmla="*/ 1647303 w 2048870"/>
                <a:gd name="connsiteY478" fmla="*/ 1152939 h 1413227"/>
                <a:gd name="connsiteX479" fmla="*/ 1650760 w 2048870"/>
                <a:gd name="connsiteY479" fmla="*/ 1142567 h 1413227"/>
                <a:gd name="connsiteX480" fmla="*/ 1649032 w 2048870"/>
                <a:gd name="connsiteY480" fmla="*/ 1120096 h 1413227"/>
                <a:gd name="connsiteX481" fmla="*/ 1598904 w 2048870"/>
                <a:gd name="connsiteY481" fmla="*/ 1114911 h 1413227"/>
                <a:gd name="connsiteX482" fmla="*/ 1591990 w 2048870"/>
                <a:gd name="connsiteY482" fmla="*/ 1113182 h 1413227"/>
                <a:gd name="connsiteX483" fmla="*/ 1564333 w 2048870"/>
                <a:gd name="connsiteY483" fmla="*/ 1109725 h 1413227"/>
                <a:gd name="connsiteX484" fmla="*/ 1553962 w 2048870"/>
                <a:gd name="connsiteY484" fmla="*/ 1101082 h 1413227"/>
                <a:gd name="connsiteX485" fmla="*/ 1543591 w 2048870"/>
                <a:gd name="connsiteY485" fmla="*/ 1092440 h 1413227"/>
                <a:gd name="connsiteX486" fmla="*/ 1526305 w 2048870"/>
                <a:gd name="connsiteY486" fmla="*/ 1090711 h 1413227"/>
                <a:gd name="connsiteX487" fmla="*/ 1514205 w 2048870"/>
                <a:gd name="connsiteY487" fmla="*/ 1085525 h 1413227"/>
                <a:gd name="connsiteX488" fmla="*/ 1512477 w 2048870"/>
                <a:gd name="connsiteY488" fmla="*/ 1092440 h 1413227"/>
                <a:gd name="connsiteX489" fmla="*/ 1507291 w 2048870"/>
                <a:gd name="connsiteY489" fmla="*/ 1085525 h 1413227"/>
                <a:gd name="connsiteX490" fmla="*/ 1496920 w 2048870"/>
                <a:gd name="connsiteY490" fmla="*/ 1075154 h 1413227"/>
                <a:gd name="connsiteX491" fmla="*/ 1445064 w 2048870"/>
                <a:gd name="connsiteY491" fmla="*/ 1076883 h 1413227"/>
                <a:gd name="connsiteX492" fmla="*/ 1439878 w 2048870"/>
                <a:gd name="connsiteY492" fmla="*/ 1080340 h 1413227"/>
                <a:gd name="connsiteX493" fmla="*/ 1438149 w 2048870"/>
                <a:gd name="connsiteY493" fmla="*/ 1085525 h 1413227"/>
                <a:gd name="connsiteX494" fmla="*/ 1451978 w 2048870"/>
                <a:gd name="connsiteY494" fmla="*/ 1071697 h 1413227"/>
                <a:gd name="connsiteX495" fmla="*/ 1458892 w 2048870"/>
                <a:gd name="connsiteY495" fmla="*/ 1064783 h 1413227"/>
                <a:gd name="connsiteX496" fmla="*/ 1464078 w 2048870"/>
                <a:gd name="connsiteY496" fmla="*/ 1059597 h 1413227"/>
                <a:gd name="connsiteX497" fmla="*/ 1479634 w 2048870"/>
                <a:gd name="connsiteY497" fmla="*/ 1064783 h 1413227"/>
                <a:gd name="connsiteX498" fmla="*/ 1490006 w 2048870"/>
                <a:gd name="connsiteY498" fmla="*/ 1071697 h 1413227"/>
                <a:gd name="connsiteX499" fmla="*/ 1498648 w 2048870"/>
                <a:gd name="connsiteY499" fmla="*/ 1068240 h 1413227"/>
                <a:gd name="connsiteX500" fmla="*/ 1500377 w 2048870"/>
                <a:gd name="connsiteY500" fmla="*/ 1063054 h 1413227"/>
                <a:gd name="connsiteX501" fmla="*/ 1503834 w 2048870"/>
                <a:gd name="connsiteY501" fmla="*/ 1057869 h 1413227"/>
                <a:gd name="connsiteX502" fmla="*/ 1507291 w 2048870"/>
                <a:gd name="connsiteY502" fmla="*/ 1045769 h 1413227"/>
                <a:gd name="connsiteX503" fmla="*/ 1540133 w 2048870"/>
                <a:gd name="connsiteY503" fmla="*/ 1044040 h 1413227"/>
                <a:gd name="connsiteX504" fmla="*/ 1557419 w 2048870"/>
                <a:gd name="connsiteY504" fmla="*/ 1059597 h 1413227"/>
                <a:gd name="connsiteX505" fmla="*/ 1560876 w 2048870"/>
                <a:gd name="connsiteY505" fmla="*/ 1073426 h 1413227"/>
                <a:gd name="connsiteX506" fmla="*/ 1564333 w 2048870"/>
                <a:gd name="connsiteY506" fmla="*/ 1087254 h 1413227"/>
                <a:gd name="connsiteX507" fmla="*/ 1566062 w 2048870"/>
                <a:gd name="connsiteY507" fmla="*/ 1094168 h 1413227"/>
                <a:gd name="connsiteX508" fmla="*/ 1569519 w 2048870"/>
                <a:gd name="connsiteY508" fmla="*/ 1099354 h 1413227"/>
                <a:gd name="connsiteX509" fmla="*/ 1576433 w 2048870"/>
                <a:gd name="connsiteY509" fmla="*/ 1037126 h 1413227"/>
                <a:gd name="connsiteX510" fmla="*/ 1588533 w 2048870"/>
                <a:gd name="connsiteY510" fmla="*/ 1052683 h 1413227"/>
                <a:gd name="connsiteX511" fmla="*/ 1591990 w 2048870"/>
                <a:gd name="connsiteY511" fmla="*/ 1069969 h 1413227"/>
                <a:gd name="connsiteX512" fmla="*/ 1607547 w 2048870"/>
                <a:gd name="connsiteY512" fmla="*/ 1080340 h 1413227"/>
                <a:gd name="connsiteX513" fmla="*/ 1612732 w 2048870"/>
                <a:gd name="connsiteY513" fmla="*/ 1083797 h 1413227"/>
                <a:gd name="connsiteX514" fmla="*/ 1621375 w 2048870"/>
                <a:gd name="connsiteY514" fmla="*/ 1085525 h 1413227"/>
                <a:gd name="connsiteX515" fmla="*/ 1633475 w 2048870"/>
                <a:gd name="connsiteY515" fmla="*/ 1092440 h 1413227"/>
                <a:gd name="connsiteX516" fmla="*/ 1640389 w 2048870"/>
                <a:gd name="connsiteY516" fmla="*/ 1095897 h 1413227"/>
                <a:gd name="connsiteX517" fmla="*/ 1649032 w 2048870"/>
                <a:gd name="connsiteY517" fmla="*/ 1109725 h 1413227"/>
                <a:gd name="connsiteX518" fmla="*/ 1659403 w 2048870"/>
                <a:gd name="connsiteY518" fmla="*/ 1113182 h 1413227"/>
                <a:gd name="connsiteX519" fmla="*/ 1669774 w 2048870"/>
                <a:gd name="connsiteY519" fmla="*/ 1118368 h 1413227"/>
                <a:gd name="connsiteX520" fmla="*/ 1680146 w 2048870"/>
                <a:gd name="connsiteY520" fmla="*/ 1125282 h 1413227"/>
                <a:gd name="connsiteX521" fmla="*/ 1699160 w 2048870"/>
                <a:gd name="connsiteY521" fmla="*/ 1139110 h 1413227"/>
                <a:gd name="connsiteX522" fmla="*/ 1712988 w 2048870"/>
                <a:gd name="connsiteY522" fmla="*/ 1142567 h 1413227"/>
                <a:gd name="connsiteX523" fmla="*/ 1704345 w 2048870"/>
                <a:gd name="connsiteY523" fmla="*/ 1137382 h 1413227"/>
                <a:gd name="connsiteX524" fmla="*/ 1699160 w 2048870"/>
                <a:gd name="connsiteY524" fmla="*/ 1132196 h 1413227"/>
                <a:gd name="connsiteX525" fmla="*/ 1688788 w 2048870"/>
                <a:gd name="connsiteY525" fmla="*/ 1128739 h 1413227"/>
                <a:gd name="connsiteX526" fmla="*/ 1674960 w 2048870"/>
                <a:gd name="connsiteY526" fmla="*/ 1125282 h 1413227"/>
                <a:gd name="connsiteX527" fmla="*/ 1659403 w 2048870"/>
                <a:gd name="connsiteY527" fmla="*/ 1121825 h 1413227"/>
                <a:gd name="connsiteX528" fmla="*/ 1650760 w 2048870"/>
                <a:gd name="connsiteY528" fmla="*/ 1116639 h 1413227"/>
                <a:gd name="connsiteX529" fmla="*/ 1645575 w 2048870"/>
                <a:gd name="connsiteY529" fmla="*/ 1113182 h 1413227"/>
                <a:gd name="connsiteX530" fmla="*/ 1642118 w 2048870"/>
                <a:gd name="connsiteY530" fmla="*/ 1107996 h 1413227"/>
                <a:gd name="connsiteX531" fmla="*/ 1628289 w 2048870"/>
                <a:gd name="connsiteY531" fmla="*/ 1088983 h 1413227"/>
                <a:gd name="connsiteX532" fmla="*/ 1626561 w 2048870"/>
                <a:gd name="connsiteY532" fmla="*/ 1083797 h 1413227"/>
                <a:gd name="connsiteX533" fmla="*/ 1619647 w 2048870"/>
                <a:gd name="connsiteY533" fmla="*/ 1075154 h 1413227"/>
                <a:gd name="connsiteX534" fmla="*/ 1616189 w 2048870"/>
                <a:gd name="connsiteY534" fmla="*/ 1061326 h 1413227"/>
                <a:gd name="connsiteX535" fmla="*/ 1614461 w 2048870"/>
                <a:gd name="connsiteY535" fmla="*/ 1056140 h 1413227"/>
                <a:gd name="connsiteX536" fmla="*/ 1604090 w 2048870"/>
                <a:gd name="connsiteY536" fmla="*/ 1038855 h 1413227"/>
                <a:gd name="connsiteX537" fmla="*/ 1598904 w 2048870"/>
                <a:gd name="connsiteY537" fmla="*/ 1037126 h 1413227"/>
                <a:gd name="connsiteX538" fmla="*/ 1593718 w 2048870"/>
                <a:gd name="connsiteY538" fmla="*/ 1030212 h 1413227"/>
                <a:gd name="connsiteX539" fmla="*/ 1585076 w 2048870"/>
                <a:gd name="connsiteY539" fmla="*/ 1019841 h 1413227"/>
                <a:gd name="connsiteX540" fmla="*/ 1590261 w 2048870"/>
                <a:gd name="connsiteY540" fmla="*/ 1000827 h 1413227"/>
                <a:gd name="connsiteX541" fmla="*/ 1598904 w 2048870"/>
                <a:gd name="connsiteY541" fmla="*/ 999098 h 1413227"/>
                <a:gd name="connsiteX542" fmla="*/ 1611004 w 2048870"/>
                <a:gd name="connsiteY542" fmla="*/ 990455 h 1413227"/>
                <a:gd name="connsiteX543" fmla="*/ 1617918 w 2048870"/>
                <a:gd name="connsiteY543" fmla="*/ 985270 h 1413227"/>
                <a:gd name="connsiteX544" fmla="*/ 1616189 w 2048870"/>
                <a:gd name="connsiteY544" fmla="*/ 1021569 h 1413227"/>
                <a:gd name="connsiteX545" fmla="*/ 1612732 w 2048870"/>
                <a:gd name="connsiteY545" fmla="*/ 1028483 h 1413227"/>
                <a:gd name="connsiteX546" fmla="*/ 1607547 w 2048870"/>
                <a:gd name="connsiteY546" fmla="*/ 1035398 h 1413227"/>
                <a:gd name="connsiteX547" fmla="*/ 1612732 w 2048870"/>
                <a:gd name="connsiteY547" fmla="*/ 1031941 h 1413227"/>
                <a:gd name="connsiteX548" fmla="*/ 1621375 w 2048870"/>
                <a:gd name="connsiteY548" fmla="*/ 1016384 h 1413227"/>
                <a:gd name="connsiteX549" fmla="*/ 1626561 w 2048870"/>
                <a:gd name="connsiteY549" fmla="*/ 997370 h 1413227"/>
                <a:gd name="connsiteX550" fmla="*/ 1626561 w 2048870"/>
                <a:gd name="connsiteY550" fmla="*/ 976627 h 1413227"/>
                <a:gd name="connsiteX551" fmla="*/ 1619647 w 2048870"/>
                <a:gd name="connsiteY551" fmla="*/ 962799 h 1413227"/>
                <a:gd name="connsiteX552" fmla="*/ 1626561 w 2048870"/>
                <a:gd name="connsiteY552" fmla="*/ 966256 h 1413227"/>
                <a:gd name="connsiteX553" fmla="*/ 1638661 w 2048870"/>
                <a:gd name="connsiteY553" fmla="*/ 969713 h 1413227"/>
                <a:gd name="connsiteX554" fmla="*/ 1645575 w 2048870"/>
                <a:gd name="connsiteY554" fmla="*/ 967984 h 1413227"/>
                <a:gd name="connsiteX555" fmla="*/ 1650760 w 2048870"/>
                <a:gd name="connsiteY555" fmla="*/ 955885 h 1413227"/>
                <a:gd name="connsiteX556" fmla="*/ 1659403 w 2048870"/>
                <a:gd name="connsiteY556" fmla="*/ 933414 h 1413227"/>
                <a:gd name="connsiteX557" fmla="*/ 1662860 w 2048870"/>
                <a:gd name="connsiteY557" fmla="*/ 929956 h 1413227"/>
                <a:gd name="connsiteX558" fmla="*/ 1664589 w 2048870"/>
                <a:gd name="connsiteY558" fmla="*/ 923042 h 1413227"/>
                <a:gd name="connsiteX559" fmla="*/ 1673231 w 2048870"/>
                <a:gd name="connsiteY559" fmla="*/ 893657 h 1413227"/>
                <a:gd name="connsiteX560" fmla="*/ 1687060 w 2048870"/>
                <a:gd name="connsiteY560" fmla="*/ 891928 h 1413227"/>
                <a:gd name="connsiteX561" fmla="*/ 1693974 w 2048870"/>
                <a:gd name="connsiteY561" fmla="*/ 890200 h 1413227"/>
                <a:gd name="connsiteX562" fmla="*/ 1700888 w 2048870"/>
                <a:gd name="connsiteY562" fmla="*/ 886743 h 1413227"/>
                <a:gd name="connsiteX563" fmla="*/ 1719902 w 2048870"/>
                <a:gd name="connsiteY563" fmla="*/ 878100 h 1413227"/>
                <a:gd name="connsiteX564" fmla="*/ 1726816 w 2048870"/>
                <a:gd name="connsiteY564" fmla="*/ 876372 h 1413227"/>
                <a:gd name="connsiteX565" fmla="*/ 1745830 w 2048870"/>
                <a:gd name="connsiteY565" fmla="*/ 860815 h 1413227"/>
                <a:gd name="connsiteX566" fmla="*/ 1751016 w 2048870"/>
                <a:gd name="connsiteY566" fmla="*/ 857358 h 1413227"/>
                <a:gd name="connsiteX567" fmla="*/ 1757930 w 2048870"/>
                <a:gd name="connsiteY567" fmla="*/ 855629 h 1413227"/>
                <a:gd name="connsiteX568" fmla="*/ 1764844 w 2048870"/>
                <a:gd name="connsiteY568" fmla="*/ 841801 h 1413227"/>
                <a:gd name="connsiteX569" fmla="*/ 1771758 w 2048870"/>
                <a:gd name="connsiteY569" fmla="*/ 836615 h 1413227"/>
                <a:gd name="connsiteX570" fmla="*/ 1776944 w 2048870"/>
                <a:gd name="connsiteY570" fmla="*/ 833158 h 1413227"/>
                <a:gd name="connsiteX571" fmla="*/ 1787315 w 2048870"/>
                <a:gd name="connsiteY571" fmla="*/ 831429 h 1413227"/>
                <a:gd name="connsiteX572" fmla="*/ 1795958 w 2048870"/>
                <a:gd name="connsiteY572" fmla="*/ 829701 h 1413227"/>
                <a:gd name="connsiteX573" fmla="*/ 1797687 w 2048870"/>
                <a:gd name="connsiteY573" fmla="*/ 824515 h 1413227"/>
                <a:gd name="connsiteX574" fmla="*/ 1825343 w 2048870"/>
                <a:gd name="connsiteY574" fmla="*/ 796859 h 1413227"/>
                <a:gd name="connsiteX575" fmla="*/ 1830529 w 2048870"/>
                <a:gd name="connsiteY575" fmla="*/ 776116 h 1413227"/>
                <a:gd name="connsiteX576" fmla="*/ 1835715 w 2048870"/>
                <a:gd name="connsiteY576" fmla="*/ 770930 h 1413227"/>
                <a:gd name="connsiteX577" fmla="*/ 1863371 w 2048870"/>
                <a:gd name="connsiteY577" fmla="*/ 760559 h 1413227"/>
                <a:gd name="connsiteX578" fmla="*/ 1868557 w 2048870"/>
                <a:gd name="connsiteY578" fmla="*/ 755373 h 1413227"/>
                <a:gd name="connsiteX579" fmla="*/ 1880657 w 2048870"/>
                <a:gd name="connsiteY579" fmla="*/ 753645 h 1413227"/>
                <a:gd name="connsiteX580" fmla="*/ 1889299 w 2048870"/>
                <a:gd name="connsiteY580" fmla="*/ 750188 h 1413227"/>
                <a:gd name="connsiteX581" fmla="*/ 1894485 w 2048870"/>
                <a:gd name="connsiteY581" fmla="*/ 731174 h 1413227"/>
                <a:gd name="connsiteX582" fmla="*/ 1910042 w 2048870"/>
                <a:gd name="connsiteY582" fmla="*/ 719074 h 1413227"/>
                <a:gd name="connsiteX583" fmla="*/ 1916956 w 2048870"/>
                <a:gd name="connsiteY583" fmla="*/ 710431 h 1413227"/>
                <a:gd name="connsiteX584" fmla="*/ 1908313 w 2048870"/>
                <a:gd name="connsiteY584" fmla="*/ 689689 h 1413227"/>
                <a:gd name="connsiteX585" fmla="*/ 1901399 w 2048870"/>
                <a:gd name="connsiteY585" fmla="*/ 675860 h 1413227"/>
                <a:gd name="connsiteX586" fmla="*/ 1897942 w 2048870"/>
                <a:gd name="connsiteY586" fmla="*/ 665489 h 1413227"/>
                <a:gd name="connsiteX587" fmla="*/ 1901399 w 2048870"/>
                <a:gd name="connsiteY587" fmla="*/ 651661 h 1413227"/>
                <a:gd name="connsiteX588" fmla="*/ 1897942 w 2048870"/>
                <a:gd name="connsiteY588" fmla="*/ 629190 h 1413227"/>
                <a:gd name="connsiteX589" fmla="*/ 1904856 w 2048870"/>
                <a:gd name="connsiteY589" fmla="*/ 624004 h 1413227"/>
                <a:gd name="connsiteX590" fmla="*/ 1910042 w 2048870"/>
                <a:gd name="connsiteY590" fmla="*/ 613633 h 1413227"/>
                <a:gd name="connsiteX591" fmla="*/ 1918685 w 2048870"/>
                <a:gd name="connsiteY591" fmla="*/ 608447 h 1413227"/>
                <a:gd name="connsiteX592" fmla="*/ 1925599 w 2048870"/>
                <a:gd name="connsiteY592" fmla="*/ 601533 h 1413227"/>
                <a:gd name="connsiteX593" fmla="*/ 1929056 w 2048870"/>
                <a:gd name="connsiteY593" fmla="*/ 587705 h 1413227"/>
                <a:gd name="connsiteX594" fmla="*/ 1932513 w 2048870"/>
                <a:gd name="connsiteY594" fmla="*/ 582519 h 1413227"/>
                <a:gd name="connsiteX595" fmla="*/ 1939427 w 2048870"/>
                <a:gd name="connsiteY595" fmla="*/ 565234 h 1413227"/>
                <a:gd name="connsiteX596" fmla="*/ 1963627 w 2048870"/>
                <a:gd name="connsiteY596" fmla="*/ 556591 h 1413227"/>
                <a:gd name="connsiteX597" fmla="*/ 1968812 w 2048870"/>
                <a:gd name="connsiteY597" fmla="*/ 547948 h 1413227"/>
                <a:gd name="connsiteX598" fmla="*/ 1986098 w 2048870"/>
                <a:gd name="connsiteY598" fmla="*/ 544491 h 1413227"/>
                <a:gd name="connsiteX599" fmla="*/ 2008569 w 2048870"/>
                <a:gd name="connsiteY599" fmla="*/ 539305 h 1413227"/>
                <a:gd name="connsiteX600" fmla="*/ 2017212 w 2048870"/>
                <a:gd name="connsiteY600" fmla="*/ 530663 h 1413227"/>
                <a:gd name="connsiteX601" fmla="*/ 2048326 w 2048870"/>
                <a:gd name="connsiteY601" fmla="*/ 525477 h 1413227"/>
                <a:gd name="connsiteX602" fmla="*/ 2043140 w 2048870"/>
                <a:gd name="connsiteY602" fmla="*/ 499549 h 1413227"/>
                <a:gd name="connsiteX603" fmla="*/ 2032769 w 2048870"/>
                <a:gd name="connsiteY603" fmla="*/ 492635 h 1413227"/>
                <a:gd name="connsiteX604" fmla="*/ 2025854 w 2048870"/>
                <a:gd name="connsiteY604" fmla="*/ 447693 h 1413227"/>
                <a:gd name="connsiteX605" fmla="*/ 2018940 w 2048870"/>
                <a:gd name="connsiteY605" fmla="*/ 428679 h 1413227"/>
                <a:gd name="connsiteX606" fmla="*/ 2015483 w 2048870"/>
                <a:gd name="connsiteY606" fmla="*/ 418307 h 1413227"/>
                <a:gd name="connsiteX607" fmla="*/ 2010298 w 2048870"/>
                <a:gd name="connsiteY607" fmla="*/ 411393 h 1413227"/>
                <a:gd name="connsiteX608" fmla="*/ 2003383 w 2048870"/>
                <a:gd name="connsiteY608" fmla="*/ 407936 h 1413227"/>
                <a:gd name="connsiteX609" fmla="*/ 1984369 w 2048870"/>
                <a:gd name="connsiteY609" fmla="*/ 404479 h 1413227"/>
                <a:gd name="connsiteX610" fmla="*/ 1977455 w 2048870"/>
                <a:gd name="connsiteY610" fmla="*/ 394108 h 1413227"/>
                <a:gd name="connsiteX611" fmla="*/ 1972270 w 2048870"/>
                <a:gd name="connsiteY611" fmla="*/ 390651 h 1413227"/>
                <a:gd name="connsiteX612" fmla="*/ 1968812 w 2048870"/>
                <a:gd name="connsiteY612" fmla="*/ 382008 h 1413227"/>
                <a:gd name="connsiteX613" fmla="*/ 1973998 w 2048870"/>
                <a:gd name="connsiteY613" fmla="*/ 366451 h 1413227"/>
                <a:gd name="connsiteX614" fmla="*/ 1982641 w 2048870"/>
                <a:gd name="connsiteY614" fmla="*/ 354351 h 1413227"/>
                <a:gd name="connsiteX615" fmla="*/ 1984369 w 2048870"/>
                <a:gd name="connsiteY615" fmla="*/ 347437 h 1413227"/>
                <a:gd name="connsiteX616" fmla="*/ 1994741 w 2048870"/>
                <a:gd name="connsiteY616" fmla="*/ 343980 h 1413227"/>
                <a:gd name="connsiteX617" fmla="*/ 1960170 w 2048870"/>
                <a:gd name="connsiteY617" fmla="*/ 337066 h 1413227"/>
                <a:gd name="connsiteX618" fmla="*/ 1958441 w 2048870"/>
                <a:gd name="connsiteY618" fmla="*/ 331880 h 1413227"/>
                <a:gd name="connsiteX619" fmla="*/ 1954984 w 2048870"/>
                <a:gd name="connsiteY619" fmla="*/ 326694 h 1413227"/>
                <a:gd name="connsiteX620" fmla="*/ 1958441 w 2048870"/>
                <a:gd name="connsiteY620" fmla="*/ 318052 h 1413227"/>
                <a:gd name="connsiteX621" fmla="*/ 1963627 w 2048870"/>
                <a:gd name="connsiteY621" fmla="*/ 311138 h 1413227"/>
                <a:gd name="connsiteX622" fmla="*/ 1967084 w 2048870"/>
                <a:gd name="connsiteY622" fmla="*/ 305952 h 1413227"/>
                <a:gd name="connsiteX623" fmla="*/ 1968812 w 2048870"/>
                <a:gd name="connsiteY623" fmla="*/ 299038 h 1413227"/>
                <a:gd name="connsiteX624" fmla="*/ 1973998 w 2048870"/>
                <a:gd name="connsiteY624" fmla="*/ 293852 h 1413227"/>
                <a:gd name="connsiteX625" fmla="*/ 1975727 w 2048870"/>
                <a:gd name="connsiteY625" fmla="*/ 269652 h 1413227"/>
                <a:gd name="connsiteX626" fmla="*/ 1970541 w 2048870"/>
                <a:gd name="connsiteY626" fmla="*/ 255824 h 1413227"/>
                <a:gd name="connsiteX627" fmla="*/ 1968812 w 2048870"/>
                <a:gd name="connsiteY627" fmla="*/ 250638 h 1413227"/>
                <a:gd name="connsiteX628" fmla="*/ 1967084 w 2048870"/>
                <a:gd name="connsiteY628" fmla="*/ 243724 h 1413227"/>
                <a:gd name="connsiteX629" fmla="*/ 1963627 w 2048870"/>
                <a:gd name="connsiteY629" fmla="*/ 238539 h 1413227"/>
                <a:gd name="connsiteX630" fmla="*/ 1965355 w 2048870"/>
                <a:gd name="connsiteY630" fmla="*/ 216068 h 1413227"/>
                <a:gd name="connsiteX631" fmla="*/ 1961898 w 2048870"/>
                <a:gd name="connsiteY631" fmla="*/ 209153 h 1413227"/>
                <a:gd name="connsiteX632" fmla="*/ 1954984 w 2048870"/>
                <a:gd name="connsiteY632" fmla="*/ 216068 h 1413227"/>
                <a:gd name="connsiteX633" fmla="*/ 1948070 w 2048870"/>
                <a:gd name="connsiteY633" fmla="*/ 217796 h 1413227"/>
                <a:gd name="connsiteX634" fmla="*/ 1937699 w 2048870"/>
                <a:gd name="connsiteY634" fmla="*/ 226439 h 1413227"/>
                <a:gd name="connsiteX635" fmla="*/ 1932513 w 2048870"/>
                <a:gd name="connsiteY635" fmla="*/ 228167 h 1413227"/>
                <a:gd name="connsiteX636" fmla="*/ 1922142 w 2048870"/>
                <a:gd name="connsiteY636" fmla="*/ 235082 h 1413227"/>
                <a:gd name="connsiteX637" fmla="*/ 1906585 w 2048870"/>
                <a:gd name="connsiteY637" fmla="*/ 231624 h 1413227"/>
                <a:gd name="connsiteX638" fmla="*/ 1885842 w 2048870"/>
                <a:gd name="connsiteY638" fmla="*/ 222982 h 1413227"/>
                <a:gd name="connsiteX639" fmla="*/ 1878928 w 2048870"/>
                <a:gd name="connsiteY639" fmla="*/ 224710 h 1413227"/>
                <a:gd name="connsiteX640" fmla="*/ 1868557 w 2048870"/>
                <a:gd name="connsiteY640" fmla="*/ 233353 h 1413227"/>
                <a:gd name="connsiteX641" fmla="*/ 1847814 w 2048870"/>
                <a:gd name="connsiteY641" fmla="*/ 221253 h 1413227"/>
                <a:gd name="connsiteX642" fmla="*/ 1839172 w 2048870"/>
                <a:gd name="connsiteY642" fmla="*/ 217796 h 1413227"/>
                <a:gd name="connsiteX643" fmla="*/ 1832257 w 2048870"/>
                <a:gd name="connsiteY643" fmla="*/ 214339 h 1413227"/>
                <a:gd name="connsiteX644" fmla="*/ 1823615 w 2048870"/>
                <a:gd name="connsiteY644" fmla="*/ 224710 h 1413227"/>
                <a:gd name="connsiteX645" fmla="*/ 1816701 w 2048870"/>
                <a:gd name="connsiteY645" fmla="*/ 229896 h 1413227"/>
                <a:gd name="connsiteX646" fmla="*/ 1787315 w 2048870"/>
                <a:gd name="connsiteY646" fmla="*/ 221253 h 1413227"/>
                <a:gd name="connsiteX647" fmla="*/ 1759659 w 2048870"/>
                <a:gd name="connsiteY647" fmla="*/ 222982 h 1413227"/>
                <a:gd name="connsiteX648" fmla="*/ 1754473 w 2048870"/>
                <a:gd name="connsiteY648" fmla="*/ 224710 h 1413227"/>
                <a:gd name="connsiteX649" fmla="*/ 1735459 w 2048870"/>
                <a:gd name="connsiteY649" fmla="*/ 222982 h 1413227"/>
                <a:gd name="connsiteX650" fmla="*/ 1728545 w 2048870"/>
                <a:gd name="connsiteY650" fmla="*/ 217796 h 1413227"/>
                <a:gd name="connsiteX651" fmla="*/ 1721631 w 2048870"/>
                <a:gd name="connsiteY651" fmla="*/ 207425 h 1413227"/>
                <a:gd name="connsiteX652" fmla="*/ 1712988 w 2048870"/>
                <a:gd name="connsiteY652" fmla="*/ 235082 h 1413227"/>
                <a:gd name="connsiteX653" fmla="*/ 1706074 w 2048870"/>
                <a:gd name="connsiteY653" fmla="*/ 250638 h 1413227"/>
                <a:gd name="connsiteX654" fmla="*/ 1692245 w 2048870"/>
                <a:gd name="connsiteY654" fmla="*/ 236810 h 1413227"/>
                <a:gd name="connsiteX655" fmla="*/ 1645575 w 2048870"/>
                <a:gd name="connsiteY655" fmla="*/ 224710 h 1413227"/>
                <a:gd name="connsiteX656" fmla="*/ 1640389 w 2048870"/>
                <a:gd name="connsiteY656" fmla="*/ 217796 h 1413227"/>
                <a:gd name="connsiteX657" fmla="*/ 1638661 w 2048870"/>
                <a:gd name="connsiteY657" fmla="*/ 212610 h 1413227"/>
                <a:gd name="connsiteX658" fmla="*/ 1623104 w 2048870"/>
                <a:gd name="connsiteY658" fmla="*/ 195325 h 1413227"/>
                <a:gd name="connsiteX659" fmla="*/ 1609275 w 2048870"/>
                <a:gd name="connsiteY659" fmla="*/ 191868 h 1413227"/>
                <a:gd name="connsiteX660" fmla="*/ 1600633 w 2048870"/>
                <a:gd name="connsiteY660" fmla="*/ 200511 h 1413227"/>
                <a:gd name="connsiteX661" fmla="*/ 1595447 w 2048870"/>
                <a:gd name="connsiteY661" fmla="*/ 202239 h 1413227"/>
                <a:gd name="connsiteX662" fmla="*/ 1574704 w 2048870"/>
                <a:gd name="connsiteY662" fmla="*/ 209153 h 1413227"/>
                <a:gd name="connsiteX663" fmla="*/ 1569519 w 2048870"/>
                <a:gd name="connsiteY663" fmla="*/ 214339 h 1413227"/>
                <a:gd name="connsiteX664" fmla="*/ 1564333 w 2048870"/>
                <a:gd name="connsiteY664" fmla="*/ 217796 h 1413227"/>
                <a:gd name="connsiteX665" fmla="*/ 1560876 w 2048870"/>
                <a:gd name="connsiteY665" fmla="*/ 224710 h 1413227"/>
                <a:gd name="connsiteX666" fmla="*/ 1543591 w 2048870"/>
                <a:gd name="connsiteY666" fmla="*/ 238539 h 1413227"/>
                <a:gd name="connsiteX667" fmla="*/ 1536676 w 2048870"/>
                <a:gd name="connsiteY667" fmla="*/ 245453 h 1413227"/>
                <a:gd name="connsiteX668" fmla="*/ 1534948 w 2048870"/>
                <a:gd name="connsiteY668" fmla="*/ 250638 h 1413227"/>
                <a:gd name="connsiteX669" fmla="*/ 1536676 w 2048870"/>
                <a:gd name="connsiteY669" fmla="*/ 255824 h 1413227"/>
                <a:gd name="connsiteX670" fmla="*/ 1510748 w 2048870"/>
                <a:gd name="connsiteY670" fmla="*/ 259281 h 1413227"/>
                <a:gd name="connsiteX671" fmla="*/ 1500377 w 2048870"/>
                <a:gd name="connsiteY671" fmla="*/ 252367 h 1413227"/>
                <a:gd name="connsiteX672" fmla="*/ 1472720 w 2048870"/>
                <a:gd name="connsiteY672" fmla="*/ 252367 h 1413227"/>
                <a:gd name="connsiteX673" fmla="*/ 1455435 w 2048870"/>
                <a:gd name="connsiteY673" fmla="*/ 254096 h 1413227"/>
                <a:gd name="connsiteX674" fmla="*/ 1446792 w 2048870"/>
                <a:gd name="connsiteY674" fmla="*/ 261010 h 1413227"/>
                <a:gd name="connsiteX675" fmla="*/ 1441606 w 2048870"/>
                <a:gd name="connsiteY675" fmla="*/ 267924 h 1413227"/>
                <a:gd name="connsiteX676" fmla="*/ 1438149 w 2048870"/>
                <a:gd name="connsiteY676" fmla="*/ 273110 h 1413227"/>
                <a:gd name="connsiteX677" fmla="*/ 1432964 w 2048870"/>
                <a:gd name="connsiteY677" fmla="*/ 274838 h 1413227"/>
                <a:gd name="connsiteX678" fmla="*/ 1419135 w 2048870"/>
                <a:gd name="connsiteY678" fmla="*/ 281752 h 1413227"/>
                <a:gd name="connsiteX679" fmla="*/ 1412221 w 2048870"/>
                <a:gd name="connsiteY679" fmla="*/ 278295 h 1413227"/>
                <a:gd name="connsiteX680" fmla="*/ 1408764 w 2048870"/>
                <a:gd name="connsiteY680" fmla="*/ 273110 h 1413227"/>
                <a:gd name="connsiteX681" fmla="*/ 1400121 w 2048870"/>
                <a:gd name="connsiteY681" fmla="*/ 257553 h 1413227"/>
                <a:gd name="connsiteX682" fmla="*/ 1394936 w 2048870"/>
                <a:gd name="connsiteY682" fmla="*/ 254096 h 1413227"/>
                <a:gd name="connsiteX683" fmla="*/ 1386293 w 2048870"/>
                <a:gd name="connsiteY683" fmla="*/ 243724 h 1413227"/>
                <a:gd name="connsiteX684" fmla="*/ 1381107 w 2048870"/>
                <a:gd name="connsiteY684" fmla="*/ 212610 h 1413227"/>
                <a:gd name="connsiteX685" fmla="*/ 1370736 w 2048870"/>
                <a:gd name="connsiteY685" fmla="*/ 202239 h 1413227"/>
                <a:gd name="connsiteX686" fmla="*/ 1363822 w 2048870"/>
                <a:gd name="connsiteY686" fmla="*/ 200511 h 1413227"/>
                <a:gd name="connsiteX687" fmla="*/ 1358636 w 2048870"/>
                <a:gd name="connsiteY687" fmla="*/ 193596 h 1413227"/>
                <a:gd name="connsiteX688" fmla="*/ 1349994 w 2048870"/>
                <a:gd name="connsiteY688" fmla="*/ 178040 h 1413227"/>
                <a:gd name="connsiteX689" fmla="*/ 1337894 w 2048870"/>
                <a:gd name="connsiteY689" fmla="*/ 167668 h 1413227"/>
                <a:gd name="connsiteX690" fmla="*/ 1298137 w 2048870"/>
                <a:gd name="connsiteY690" fmla="*/ 169397 h 1413227"/>
                <a:gd name="connsiteX691" fmla="*/ 1284309 w 2048870"/>
                <a:gd name="connsiteY691" fmla="*/ 179768 h 1413227"/>
                <a:gd name="connsiteX692" fmla="*/ 1268752 w 2048870"/>
                <a:gd name="connsiteY692" fmla="*/ 181497 h 1413227"/>
                <a:gd name="connsiteX693" fmla="*/ 1251467 w 2048870"/>
                <a:gd name="connsiteY693" fmla="*/ 174583 h 1413227"/>
                <a:gd name="connsiteX694" fmla="*/ 1241095 w 2048870"/>
                <a:gd name="connsiteY694" fmla="*/ 164211 h 1413227"/>
                <a:gd name="connsiteX695" fmla="*/ 1230724 w 2048870"/>
                <a:gd name="connsiteY695" fmla="*/ 160754 h 1413227"/>
                <a:gd name="connsiteX696" fmla="*/ 1215167 w 2048870"/>
                <a:gd name="connsiteY696" fmla="*/ 146926 h 1413227"/>
                <a:gd name="connsiteX697" fmla="*/ 1213439 w 2048870"/>
                <a:gd name="connsiteY697" fmla="*/ 140012 h 1413227"/>
                <a:gd name="connsiteX698" fmla="*/ 1206524 w 2048870"/>
                <a:gd name="connsiteY698" fmla="*/ 131369 h 1413227"/>
                <a:gd name="connsiteX699" fmla="*/ 1204796 w 2048870"/>
                <a:gd name="connsiteY699" fmla="*/ 122726 h 1413227"/>
                <a:gd name="connsiteX700" fmla="*/ 1190968 w 2048870"/>
                <a:gd name="connsiteY700" fmla="*/ 117541 h 1413227"/>
                <a:gd name="connsiteX701" fmla="*/ 1201339 w 2048870"/>
                <a:gd name="connsiteY701" fmla="*/ 105441 h 1413227"/>
                <a:gd name="connsiteX702" fmla="*/ 1208253 w 2048870"/>
                <a:gd name="connsiteY702" fmla="*/ 101984 h 1413227"/>
                <a:gd name="connsiteX703" fmla="*/ 1213439 w 2048870"/>
                <a:gd name="connsiteY703" fmla="*/ 95069 h 1413227"/>
                <a:gd name="connsiteX704" fmla="*/ 1218624 w 2048870"/>
                <a:gd name="connsiteY704" fmla="*/ 89884 h 1413227"/>
                <a:gd name="connsiteX705" fmla="*/ 1216896 w 2048870"/>
                <a:gd name="connsiteY705" fmla="*/ 84698 h 1413227"/>
                <a:gd name="connsiteX706" fmla="*/ 1206524 w 2048870"/>
                <a:gd name="connsiteY706" fmla="*/ 81241 h 1413227"/>
                <a:gd name="connsiteX707" fmla="*/ 1190968 w 2048870"/>
                <a:gd name="connsiteY707" fmla="*/ 76055 h 1413227"/>
                <a:gd name="connsiteX708" fmla="*/ 1175411 w 2048870"/>
                <a:gd name="connsiteY708" fmla="*/ 60499 h 1413227"/>
                <a:gd name="connsiteX709" fmla="*/ 1168496 w 2048870"/>
                <a:gd name="connsiteY709" fmla="*/ 53584 h 1413227"/>
                <a:gd name="connsiteX710" fmla="*/ 1165039 w 2048870"/>
                <a:gd name="connsiteY710" fmla="*/ 46670 h 1413227"/>
                <a:gd name="connsiteX711" fmla="*/ 1159854 w 2048870"/>
                <a:gd name="connsiteY711" fmla="*/ 39756 h 1413227"/>
                <a:gd name="connsiteX712" fmla="*/ 1151211 w 2048870"/>
                <a:gd name="connsiteY712" fmla="*/ 27656 h 1413227"/>
                <a:gd name="connsiteX713" fmla="*/ 1146025 w 2048870"/>
                <a:gd name="connsiteY713" fmla="*/ 24199 h 1413227"/>
                <a:gd name="connsiteX714" fmla="*/ 1140840 w 2048870"/>
                <a:gd name="connsiteY714" fmla="*/ 17285 h 1413227"/>
                <a:gd name="connsiteX715" fmla="*/ 1123554 w 2048870"/>
                <a:gd name="connsiteY715" fmla="*/ 3457 h 1413227"/>
                <a:gd name="connsiteX716" fmla="*/ 1116640 w 2048870"/>
                <a:gd name="connsiteY716" fmla="*/ 0 h 1413227"/>
                <a:gd name="connsiteX717" fmla="*/ 1102812 w 2048870"/>
                <a:gd name="connsiteY717" fmla="*/ 1728 h 1413227"/>
                <a:gd name="connsiteX718" fmla="*/ 1097626 w 2048870"/>
                <a:gd name="connsiteY718" fmla="*/ 3457 h 1413227"/>
                <a:gd name="connsiteX719" fmla="*/ 1090712 w 2048870"/>
                <a:gd name="connsiteY719" fmla="*/ 5185 h 1413227"/>
                <a:gd name="connsiteX720" fmla="*/ 1071698 w 2048870"/>
                <a:gd name="connsiteY720" fmla="*/ 17285 h 1413227"/>
                <a:gd name="connsiteX721" fmla="*/ 1056141 w 2048870"/>
                <a:gd name="connsiteY721" fmla="*/ 15556 h 1413227"/>
                <a:gd name="connsiteX722" fmla="*/ 1050955 w 2048870"/>
                <a:gd name="connsiteY722" fmla="*/ 19014 h 1413227"/>
                <a:gd name="connsiteX723" fmla="*/ 1042313 w 2048870"/>
                <a:gd name="connsiteY723" fmla="*/ 27656 h 1413227"/>
                <a:gd name="connsiteX724" fmla="*/ 1028484 w 2048870"/>
                <a:gd name="connsiteY724" fmla="*/ 38027 h 1413227"/>
                <a:gd name="connsiteX725" fmla="*/ 1025027 w 2048870"/>
                <a:gd name="connsiteY725" fmla="*/ 41485 h 1413227"/>
                <a:gd name="connsiteX726" fmla="*/ 1016385 w 2048870"/>
                <a:gd name="connsiteY726" fmla="*/ 46670 h 1413227"/>
                <a:gd name="connsiteX727" fmla="*/ 1012927 w 2048870"/>
                <a:gd name="connsiteY727" fmla="*/ 50127 h 1413227"/>
                <a:gd name="connsiteX728" fmla="*/ 997371 w 2048870"/>
                <a:gd name="connsiteY728" fmla="*/ 57041 h 1413227"/>
                <a:gd name="connsiteX729" fmla="*/ 973171 w 2048870"/>
                <a:gd name="connsiteY729" fmla="*/ 58770 h 1413227"/>
                <a:gd name="connsiteX730" fmla="*/ 967985 w 2048870"/>
                <a:gd name="connsiteY730" fmla="*/ 62227 h 1413227"/>
                <a:gd name="connsiteX731" fmla="*/ 966257 w 2048870"/>
                <a:gd name="connsiteY731" fmla="*/ 79513 h 1413227"/>
                <a:gd name="connsiteX732" fmla="*/ 962800 w 2048870"/>
                <a:gd name="connsiteY732" fmla="*/ 103712 h 1413227"/>
                <a:gd name="connsiteX733" fmla="*/ 961071 w 2048870"/>
                <a:gd name="connsiteY733" fmla="*/ 112355 h 1413227"/>
                <a:gd name="connsiteX734" fmla="*/ 916129 w 2048870"/>
                <a:gd name="connsiteY734" fmla="*/ 115812 h 1413227"/>
                <a:gd name="connsiteX735" fmla="*/ 910943 w 2048870"/>
                <a:gd name="connsiteY735" fmla="*/ 119269 h 1413227"/>
                <a:gd name="connsiteX736" fmla="*/ 905758 w 2048870"/>
                <a:gd name="connsiteY736" fmla="*/ 120998 h 1413227"/>
                <a:gd name="connsiteX737" fmla="*/ 893658 w 2048870"/>
                <a:gd name="connsiteY737" fmla="*/ 124455 h 1413227"/>
                <a:gd name="connsiteX738" fmla="*/ 888472 w 2048870"/>
                <a:gd name="connsiteY738" fmla="*/ 126183 h 1413227"/>
                <a:gd name="connsiteX739" fmla="*/ 895386 w 2048870"/>
                <a:gd name="connsiteY739" fmla="*/ 124455 h 1413227"/>
                <a:gd name="connsiteX740" fmla="*/ 904029 w 2048870"/>
                <a:gd name="connsiteY740" fmla="*/ 115812 h 1413227"/>
                <a:gd name="connsiteX741" fmla="*/ 966257 w 2048870"/>
                <a:gd name="connsiteY741" fmla="*/ 63956 h 1413227"/>
                <a:gd name="connsiteX0" fmla="*/ 966257 w 2048870"/>
                <a:gd name="connsiteY0" fmla="*/ 63956 h 1413227"/>
                <a:gd name="connsiteX1" fmla="*/ 962800 w 2048870"/>
                <a:gd name="connsiteY1" fmla="*/ 72598 h 1413227"/>
                <a:gd name="connsiteX2" fmla="*/ 919586 w 2048870"/>
                <a:gd name="connsiteY2" fmla="*/ 114083 h 1413227"/>
                <a:gd name="connsiteX3" fmla="*/ 902301 w 2048870"/>
                <a:gd name="connsiteY3" fmla="*/ 120998 h 1413227"/>
                <a:gd name="connsiteX4" fmla="*/ 885015 w 2048870"/>
                <a:gd name="connsiteY4" fmla="*/ 122726 h 1413227"/>
                <a:gd name="connsiteX5" fmla="*/ 878101 w 2048870"/>
                <a:gd name="connsiteY5" fmla="*/ 129640 h 1413227"/>
                <a:gd name="connsiteX6" fmla="*/ 855630 w 2048870"/>
                <a:gd name="connsiteY6" fmla="*/ 140012 h 1413227"/>
                <a:gd name="connsiteX7" fmla="*/ 850444 w 2048870"/>
                <a:gd name="connsiteY7" fmla="*/ 145197 h 1413227"/>
                <a:gd name="connsiteX8" fmla="*/ 831430 w 2048870"/>
                <a:gd name="connsiteY8" fmla="*/ 146926 h 1413227"/>
                <a:gd name="connsiteX9" fmla="*/ 808923 w 2048870"/>
                <a:gd name="connsiteY9" fmla="*/ 195183 h 1413227"/>
                <a:gd name="connsiteX10" fmla="*/ 817602 w 2048870"/>
                <a:gd name="connsiteY10" fmla="*/ 247181 h 1413227"/>
                <a:gd name="connsiteX11" fmla="*/ 821059 w 2048870"/>
                <a:gd name="connsiteY11" fmla="*/ 255824 h 1413227"/>
                <a:gd name="connsiteX12" fmla="*/ 826245 w 2048870"/>
                <a:gd name="connsiteY12" fmla="*/ 259281 h 1413227"/>
                <a:gd name="connsiteX13" fmla="*/ 833159 w 2048870"/>
                <a:gd name="connsiteY13" fmla="*/ 267924 h 1413227"/>
                <a:gd name="connsiteX14" fmla="*/ 836616 w 2048870"/>
                <a:gd name="connsiteY14" fmla="*/ 280024 h 1413227"/>
                <a:gd name="connsiteX15" fmla="*/ 834887 w 2048870"/>
                <a:gd name="connsiteY15" fmla="*/ 295581 h 1413227"/>
                <a:gd name="connsiteX16" fmla="*/ 821059 w 2048870"/>
                <a:gd name="connsiteY16" fmla="*/ 299038 h 1413227"/>
                <a:gd name="connsiteX17" fmla="*/ 800316 w 2048870"/>
                <a:gd name="connsiteY17" fmla="*/ 295581 h 1413227"/>
                <a:gd name="connsiteX18" fmla="*/ 786488 w 2048870"/>
                <a:gd name="connsiteY18" fmla="*/ 286938 h 1413227"/>
                <a:gd name="connsiteX19" fmla="*/ 781302 w 2048870"/>
                <a:gd name="connsiteY19" fmla="*/ 285209 h 1413227"/>
                <a:gd name="connsiteX20" fmla="*/ 774388 w 2048870"/>
                <a:gd name="connsiteY20" fmla="*/ 278295 h 1413227"/>
                <a:gd name="connsiteX21" fmla="*/ 767474 w 2048870"/>
                <a:gd name="connsiteY21" fmla="*/ 285209 h 1413227"/>
                <a:gd name="connsiteX22" fmla="*/ 758831 w 2048870"/>
                <a:gd name="connsiteY22" fmla="*/ 286938 h 1413227"/>
                <a:gd name="connsiteX23" fmla="*/ 751917 w 2048870"/>
                <a:gd name="connsiteY23" fmla="*/ 288666 h 1413227"/>
                <a:gd name="connsiteX24" fmla="*/ 746732 w 2048870"/>
                <a:gd name="connsiteY24" fmla="*/ 290395 h 1413227"/>
                <a:gd name="connsiteX25" fmla="*/ 722532 w 2048870"/>
                <a:gd name="connsiteY25" fmla="*/ 292124 h 1413227"/>
                <a:gd name="connsiteX26" fmla="*/ 720803 w 2048870"/>
                <a:gd name="connsiteY26" fmla="*/ 297309 h 1413227"/>
                <a:gd name="connsiteX27" fmla="*/ 701789 w 2048870"/>
                <a:gd name="connsiteY27" fmla="*/ 312866 h 1413227"/>
                <a:gd name="connsiteX28" fmla="*/ 686233 w 2048870"/>
                <a:gd name="connsiteY28" fmla="*/ 305952 h 1413227"/>
                <a:gd name="connsiteX29" fmla="*/ 684504 w 2048870"/>
                <a:gd name="connsiteY29" fmla="*/ 300766 h 1413227"/>
                <a:gd name="connsiteX30" fmla="*/ 681047 w 2048870"/>
                <a:gd name="connsiteY30" fmla="*/ 285209 h 1413227"/>
                <a:gd name="connsiteX31" fmla="*/ 649933 w 2048870"/>
                <a:gd name="connsiteY31" fmla="*/ 288666 h 1413227"/>
                <a:gd name="connsiteX32" fmla="*/ 646476 w 2048870"/>
                <a:gd name="connsiteY32" fmla="*/ 299038 h 1413227"/>
                <a:gd name="connsiteX33" fmla="*/ 639562 w 2048870"/>
                <a:gd name="connsiteY33" fmla="*/ 314595 h 1413227"/>
                <a:gd name="connsiteX34" fmla="*/ 634376 w 2048870"/>
                <a:gd name="connsiteY34" fmla="*/ 326694 h 1413227"/>
                <a:gd name="connsiteX35" fmla="*/ 629191 w 2048870"/>
                <a:gd name="connsiteY35" fmla="*/ 328423 h 1413227"/>
                <a:gd name="connsiteX36" fmla="*/ 613634 w 2048870"/>
                <a:gd name="connsiteY36" fmla="*/ 323237 h 1413227"/>
                <a:gd name="connsiteX37" fmla="*/ 601534 w 2048870"/>
                <a:gd name="connsiteY37" fmla="*/ 311138 h 1413227"/>
                <a:gd name="connsiteX38" fmla="*/ 572149 w 2048870"/>
                <a:gd name="connsiteY38" fmla="*/ 309409 h 1413227"/>
                <a:gd name="connsiteX39" fmla="*/ 566963 w 2048870"/>
                <a:gd name="connsiteY39" fmla="*/ 295581 h 1413227"/>
                <a:gd name="connsiteX40" fmla="*/ 563506 w 2048870"/>
                <a:gd name="connsiteY40" fmla="*/ 300766 h 1413227"/>
                <a:gd name="connsiteX41" fmla="*/ 558320 w 2048870"/>
                <a:gd name="connsiteY41" fmla="*/ 307680 h 1413227"/>
                <a:gd name="connsiteX42" fmla="*/ 549678 w 2048870"/>
                <a:gd name="connsiteY42" fmla="*/ 321509 h 1413227"/>
                <a:gd name="connsiteX43" fmla="*/ 509921 w 2048870"/>
                <a:gd name="connsiteY43" fmla="*/ 324966 h 1413227"/>
                <a:gd name="connsiteX44" fmla="*/ 515107 w 2048870"/>
                <a:gd name="connsiteY44" fmla="*/ 328423 h 1413227"/>
                <a:gd name="connsiteX45" fmla="*/ 525478 w 2048870"/>
                <a:gd name="connsiteY45" fmla="*/ 331880 h 1413227"/>
                <a:gd name="connsiteX46" fmla="*/ 523749 w 2048870"/>
                <a:gd name="connsiteY46" fmla="*/ 337066 h 1413227"/>
                <a:gd name="connsiteX47" fmla="*/ 516835 w 2048870"/>
                <a:gd name="connsiteY47" fmla="*/ 343980 h 1413227"/>
                <a:gd name="connsiteX48" fmla="*/ 511650 w 2048870"/>
                <a:gd name="connsiteY48" fmla="*/ 323237 h 1413227"/>
                <a:gd name="connsiteX49" fmla="*/ 483993 w 2048870"/>
                <a:gd name="connsiteY49" fmla="*/ 333609 h 1413227"/>
                <a:gd name="connsiteX50" fmla="*/ 478807 w 2048870"/>
                <a:gd name="connsiteY50" fmla="*/ 338794 h 1413227"/>
                <a:gd name="connsiteX51" fmla="*/ 466707 w 2048870"/>
                <a:gd name="connsiteY51" fmla="*/ 337066 h 1413227"/>
                <a:gd name="connsiteX52" fmla="*/ 463250 w 2048870"/>
                <a:gd name="connsiteY52" fmla="*/ 324966 h 1413227"/>
                <a:gd name="connsiteX53" fmla="*/ 454608 w 2048870"/>
                <a:gd name="connsiteY53" fmla="*/ 312866 h 1413227"/>
                <a:gd name="connsiteX54" fmla="*/ 449422 w 2048870"/>
                <a:gd name="connsiteY54" fmla="*/ 311138 h 1413227"/>
                <a:gd name="connsiteX55" fmla="*/ 425222 w 2048870"/>
                <a:gd name="connsiteY55" fmla="*/ 314595 h 1413227"/>
                <a:gd name="connsiteX56" fmla="*/ 273110 w 2048870"/>
                <a:gd name="connsiteY56" fmla="*/ 316323 h 1413227"/>
                <a:gd name="connsiteX57" fmla="*/ 262739 w 2048870"/>
                <a:gd name="connsiteY57" fmla="*/ 323237 h 1413227"/>
                <a:gd name="connsiteX58" fmla="*/ 255825 w 2048870"/>
                <a:gd name="connsiteY58" fmla="*/ 324966 h 1413227"/>
                <a:gd name="connsiteX59" fmla="*/ 250639 w 2048870"/>
                <a:gd name="connsiteY59" fmla="*/ 326694 h 1413227"/>
                <a:gd name="connsiteX60" fmla="*/ 238540 w 2048870"/>
                <a:gd name="connsiteY60" fmla="*/ 330152 h 1413227"/>
                <a:gd name="connsiteX61" fmla="*/ 200512 w 2048870"/>
                <a:gd name="connsiteY61" fmla="*/ 333609 h 1413227"/>
                <a:gd name="connsiteX62" fmla="*/ 188412 w 2048870"/>
                <a:gd name="connsiteY62" fmla="*/ 338794 h 1413227"/>
                <a:gd name="connsiteX63" fmla="*/ 176312 w 2048870"/>
                <a:gd name="connsiteY63" fmla="*/ 342251 h 1413227"/>
                <a:gd name="connsiteX64" fmla="*/ 146927 w 2048870"/>
                <a:gd name="connsiteY64" fmla="*/ 356080 h 1413227"/>
                <a:gd name="connsiteX65" fmla="*/ 138284 w 2048870"/>
                <a:gd name="connsiteY65" fmla="*/ 357808 h 1413227"/>
                <a:gd name="connsiteX66" fmla="*/ 136555 w 2048870"/>
                <a:gd name="connsiteY66" fmla="*/ 364722 h 1413227"/>
                <a:gd name="connsiteX67" fmla="*/ 134827 w 2048870"/>
                <a:gd name="connsiteY67" fmla="*/ 380279 h 1413227"/>
                <a:gd name="connsiteX68" fmla="*/ 127913 w 2048870"/>
                <a:gd name="connsiteY68" fmla="*/ 387193 h 1413227"/>
                <a:gd name="connsiteX69" fmla="*/ 126184 w 2048870"/>
                <a:gd name="connsiteY69" fmla="*/ 394108 h 1413227"/>
                <a:gd name="connsiteX70" fmla="*/ 124456 w 2048870"/>
                <a:gd name="connsiteY70" fmla="*/ 402750 h 1413227"/>
                <a:gd name="connsiteX71" fmla="*/ 117541 w 2048870"/>
                <a:gd name="connsiteY71" fmla="*/ 407936 h 1413227"/>
                <a:gd name="connsiteX72" fmla="*/ 105442 w 2048870"/>
                <a:gd name="connsiteY72" fmla="*/ 411393 h 1413227"/>
                <a:gd name="connsiteX73" fmla="*/ 100256 w 2048870"/>
                <a:gd name="connsiteY73" fmla="*/ 413122 h 1413227"/>
                <a:gd name="connsiteX74" fmla="*/ 70871 w 2048870"/>
                <a:gd name="connsiteY74" fmla="*/ 421764 h 1413227"/>
                <a:gd name="connsiteX75" fmla="*/ 67414 w 2048870"/>
                <a:gd name="connsiteY75" fmla="*/ 428679 h 1413227"/>
                <a:gd name="connsiteX76" fmla="*/ 69142 w 2048870"/>
                <a:gd name="connsiteY76" fmla="*/ 440778 h 1413227"/>
                <a:gd name="connsiteX77" fmla="*/ 65685 w 2048870"/>
                <a:gd name="connsiteY77" fmla="*/ 445964 h 1413227"/>
                <a:gd name="connsiteX78" fmla="*/ 63957 w 2048870"/>
                <a:gd name="connsiteY78" fmla="*/ 452878 h 1413227"/>
                <a:gd name="connsiteX79" fmla="*/ 69142 w 2048870"/>
                <a:gd name="connsiteY79" fmla="*/ 456335 h 1413227"/>
                <a:gd name="connsiteX80" fmla="*/ 74328 w 2048870"/>
                <a:gd name="connsiteY80" fmla="*/ 458064 h 1413227"/>
                <a:gd name="connsiteX81" fmla="*/ 84699 w 2048870"/>
                <a:gd name="connsiteY81" fmla="*/ 466707 h 1413227"/>
                <a:gd name="connsiteX82" fmla="*/ 81242 w 2048870"/>
                <a:gd name="connsiteY82" fmla="*/ 473621 h 1413227"/>
                <a:gd name="connsiteX83" fmla="*/ 77785 w 2048870"/>
                <a:gd name="connsiteY83" fmla="*/ 478806 h 1413227"/>
                <a:gd name="connsiteX84" fmla="*/ 79513 w 2048870"/>
                <a:gd name="connsiteY84" fmla="*/ 485721 h 1413227"/>
                <a:gd name="connsiteX85" fmla="*/ 72599 w 2048870"/>
                <a:gd name="connsiteY85" fmla="*/ 489178 h 1413227"/>
                <a:gd name="connsiteX86" fmla="*/ 63957 w 2048870"/>
                <a:gd name="connsiteY86" fmla="*/ 487449 h 1413227"/>
                <a:gd name="connsiteX87" fmla="*/ 76056 w 2048870"/>
                <a:gd name="connsiteY87" fmla="*/ 485721 h 1413227"/>
                <a:gd name="connsiteX88" fmla="*/ 86428 w 2048870"/>
                <a:gd name="connsiteY88" fmla="*/ 483992 h 1413227"/>
                <a:gd name="connsiteX89" fmla="*/ 84699 w 2048870"/>
                <a:gd name="connsiteY89" fmla="*/ 494363 h 1413227"/>
                <a:gd name="connsiteX90" fmla="*/ 86428 w 2048870"/>
                <a:gd name="connsiteY90" fmla="*/ 501277 h 1413227"/>
                <a:gd name="connsiteX91" fmla="*/ 96799 w 2048870"/>
                <a:gd name="connsiteY91" fmla="*/ 515106 h 1413227"/>
                <a:gd name="connsiteX92" fmla="*/ 101985 w 2048870"/>
                <a:gd name="connsiteY92" fmla="*/ 516834 h 1413227"/>
                <a:gd name="connsiteX93" fmla="*/ 114084 w 2048870"/>
                <a:gd name="connsiteY93" fmla="*/ 520291 h 1413227"/>
                <a:gd name="connsiteX94" fmla="*/ 119270 w 2048870"/>
                <a:gd name="connsiteY94" fmla="*/ 525477 h 1413227"/>
                <a:gd name="connsiteX95" fmla="*/ 133098 w 2048870"/>
                <a:gd name="connsiteY95" fmla="*/ 535848 h 1413227"/>
                <a:gd name="connsiteX96" fmla="*/ 136555 w 2048870"/>
                <a:gd name="connsiteY96" fmla="*/ 542762 h 1413227"/>
                <a:gd name="connsiteX97" fmla="*/ 134827 w 2048870"/>
                <a:gd name="connsiteY97" fmla="*/ 572148 h 1413227"/>
                <a:gd name="connsiteX98" fmla="*/ 140012 w 2048870"/>
                <a:gd name="connsiteY98" fmla="*/ 573876 h 1413227"/>
                <a:gd name="connsiteX99" fmla="*/ 143470 w 2048870"/>
                <a:gd name="connsiteY99" fmla="*/ 577333 h 1413227"/>
                <a:gd name="connsiteX100" fmla="*/ 146927 w 2048870"/>
                <a:gd name="connsiteY100" fmla="*/ 589433 h 1413227"/>
                <a:gd name="connsiteX101" fmla="*/ 150384 w 2048870"/>
                <a:gd name="connsiteY101" fmla="*/ 598076 h 1413227"/>
                <a:gd name="connsiteX102" fmla="*/ 148655 w 2048870"/>
                <a:gd name="connsiteY102" fmla="*/ 617090 h 1413227"/>
                <a:gd name="connsiteX103" fmla="*/ 146927 w 2048870"/>
                <a:gd name="connsiteY103" fmla="*/ 622276 h 1413227"/>
                <a:gd name="connsiteX104" fmla="*/ 141741 w 2048870"/>
                <a:gd name="connsiteY104" fmla="*/ 627461 h 1413227"/>
                <a:gd name="connsiteX105" fmla="*/ 136555 w 2048870"/>
                <a:gd name="connsiteY105" fmla="*/ 634375 h 1413227"/>
                <a:gd name="connsiteX106" fmla="*/ 120999 w 2048870"/>
                <a:gd name="connsiteY106" fmla="*/ 639561 h 1413227"/>
                <a:gd name="connsiteX107" fmla="*/ 95070 w 2048870"/>
                <a:gd name="connsiteY107" fmla="*/ 665489 h 1413227"/>
                <a:gd name="connsiteX108" fmla="*/ 89885 w 2048870"/>
                <a:gd name="connsiteY108" fmla="*/ 670675 h 1413227"/>
                <a:gd name="connsiteX109" fmla="*/ 86428 w 2048870"/>
                <a:gd name="connsiteY109" fmla="*/ 675860 h 1413227"/>
                <a:gd name="connsiteX110" fmla="*/ 81242 w 2048870"/>
                <a:gd name="connsiteY110" fmla="*/ 677589 h 1413227"/>
                <a:gd name="connsiteX111" fmla="*/ 77785 w 2048870"/>
                <a:gd name="connsiteY111" fmla="*/ 682775 h 1413227"/>
                <a:gd name="connsiteX112" fmla="*/ 63957 w 2048870"/>
                <a:gd name="connsiteY112" fmla="*/ 689689 h 1413227"/>
                <a:gd name="connsiteX113" fmla="*/ 60499 w 2048870"/>
                <a:gd name="connsiteY113" fmla="*/ 706974 h 1413227"/>
                <a:gd name="connsiteX114" fmla="*/ 50128 w 2048870"/>
                <a:gd name="connsiteY114" fmla="*/ 720803 h 1413227"/>
                <a:gd name="connsiteX115" fmla="*/ 48400 w 2048870"/>
                <a:gd name="connsiteY115" fmla="*/ 725988 h 1413227"/>
                <a:gd name="connsiteX116" fmla="*/ 46671 w 2048870"/>
                <a:gd name="connsiteY116" fmla="*/ 732902 h 1413227"/>
                <a:gd name="connsiteX117" fmla="*/ 25929 w 2048870"/>
                <a:gd name="connsiteY117" fmla="*/ 751916 h 1413227"/>
                <a:gd name="connsiteX118" fmla="*/ 19014 w 2048870"/>
                <a:gd name="connsiteY118" fmla="*/ 776116 h 1413227"/>
                <a:gd name="connsiteX119" fmla="*/ 12100 w 2048870"/>
                <a:gd name="connsiteY119" fmla="*/ 789944 h 1413227"/>
                <a:gd name="connsiteX120" fmla="*/ 17286 w 2048870"/>
                <a:gd name="connsiteY120" fmla="*/ 822787 h 1413227"/>
                <a:gd name="connsiteX121" fmla="*/ 25929 w 2048870"/>
                <a:gd name="connsiteY121" fmla="*/ 829701 h 1413227"/>
                <a:gd name="connsiteX122" fmla="*/ 29386 w 2048870"/>
                <a:gd name="connsiteY122" fmla="*/ 838344 h 1413227"/>
                <a:gd name="connsiteX123" fmla="*/ 36300 w 2048870"/>
                <a:gd name="connsiteY123" fmla="*/ 843529 h 1413227"/>
                <a:gd name="connsiteX124" fmla="*/ 38028 w 2048870"/>
                <a:gd name="connsiteY124" fmla="*/ 852172 h 1413227"/>
                <a:gd name="connsiteX125" fmla="*/ 43214 w 2048870"/>
                <a:gd name="connsiteY125" fmla="*/ 864272 h 1413227"/>
                <a:gd name="connsiteX126" fmla="*/ 44943 w 2048870"/>
                <a:gd name="connsiteY126" fmla="*/ 874643 h 1413227"/>
                <a:gd name="connsiteX127" fmla="*/ 51857 w 2048870"/>
                <a:gd name="connsiteY127" fmla="*/ 876372 h 1413227"/>
                <a:gd name="connsiteX128" fmla="*/ 53585 w 2048870"/>
                <a:gd name="connsiteY128" fmla="*/ 883286 h 1413227"/>
                <a:gd name="connsiteX129" fmla="*/ 58771 w 2048870"/>
                <a:gd name="connsiteY129" fmla="*/ 886743 h 1413227"/>
                <a:gd name="connsiteX130" fmla="*/ 51857 w 2048870"/>
                <a:gd name="connsiteY130" fmla="*/ 898843 h 1413227"/>
                <a:gd name="connsiteX131" fmla="*/ 43214 w 2048870"/>
                <a:gd name="connsiteY131" fmla="*/ 904028 h 1413227"/>
                <a:gd name="connsiteX132" fmla="*/ 29386 w 2048870"/>
                <a:gd name="connsiteY132" fmla="*/ 909214 h 1413227"/>
                <a:gd name="connsiteX133" fmla="*/ 27657 w 2048870"/>
                <a:gd name="connsiteY133" fmla="*/ 919585 h 1413227"/>
                <a:gd name="connsiteX134" fmla="*/ 25929 w 2048870"/>
                <a:gd name="connsiteY134" fmla="*/ 926499 h 1413227"/>
                <a:gd name="connsiteX135" fmla="*/ 19014 w 2048870"/>
                <a:gd name="connsiteY135" fmla="*/ 955885 h 1413227"/>
                <a:gd name="connsiteX136" fmla="*/ 10372 w 2048870"/>
                <a:gd name="connsiteY136" fmla="*/ 969713 h 1413227"/>
                <a:gd name="connsiteX137" fmla="*/ 8643 w 2048870"/>
                <a:gd name="connsiteY137" fmla="*/ 990455 h 1413227"/>
                <a:gd name="connsiteX138" fmla="*/ 0 w 2048870"/>
                <a:gd name="connsiteY138" fmla="*/ 999098 h 1413227"/>
                <a:gd name="connsiteX139" fmla="*/ 6915 w 2048870"/>
                <a:gd name="connsiteY139" fmla="*/ 1023298 h 1413227"/>
                <a:gd name="connsiteX140" fmla="*/ 15557 w 2048870"/>
                <a:gd name="connsiteY140" fmla="*/ 1025026 h 1413227"/>
                <a:gd name="connsiteX141" fmla="*/ 22471 w 2048870"/>
                <a:gd name="connsiteY141" fmla="*/ 1030212 h 1413227"/>
                <a:gd name="connsiteX142" fmla="*/ 27657 w 2048870"/>
                <a:gd name="connsiteY142" fmla="*/ 1031941 h 1413227"/>
                <a:gd name="connsiteX143" fmla="*/ 34571 w 2048870"/>
                <a:gd name="connsiteY143" fmla="*/ 1035398 h 1413227"/>
                <a:gd name="connsiteX144" fmla="*/ 39757 w 2048870"/>
                <a:gd name="connsiteY144" fmla="*/ 1042312 h 1413227"/>
                <a:gd name="connsiteX145" fmla="*/ 43214 w 2048870"/>
                <a:gd name="connsiteY145" fmla="*/ 1047497 h 1413227"/>
                <a:gd name="connsiteX146" fmla="*/ 53585 w 2048870"/>
                <a:gd name="connsiteY146" fmla="*/ 1052683 h 1413227"/>
                <a:gd name="connsiteX147" fmla="*/ 95070 w 2048870"/>
                <a:gd name="connsiteY147" fmla="*/ 1061326 h 1413227"/>
                <a:gd name="connsiteX148" fmla="*/ 96799 w 2048870"/>
                <a:gd name="connsiteY148" fmla="*/ 1073426 h 1413227"/>
                <a:gd name="connsiteX149" fmla="*/ 101985 w 2048870"/>
                <a:gd name="connsiteY149" fmla="*/ 1075154 h 1413227"/>
                <a:gd name="connsiteX150" fmla="*/ 112356 w 2048870"/>
                <a:gd name="connsiteY150" fmla="*/ 1066511 h 1413227"/>
                <a:gd name="connsiteX151" fmla="*/ 119270 w 2048870"/>
                <a:gd name="connsiteY151" fmla="*/ 1059597 h 1413227"/>
                <a:gd name="connsiteX152" fmla="*/ 120999 w 2048870"/>
                <a:gd name="connsiteY152" fmla="*/ 1054412 h 1413227"/>
                <a:gd name="connsiteX153" fmla="*/ 134827 w 2048870"/>
                <a:gd name="connsiteY153" fmla="*/ 1061326 h 1413227"/>
                <a:gd name="connsiteX154" fmla="*/ 141741 w 2048870"/>
                <a:gd name="connsiteY154" fmla="*/ 1063054 h 1413227"/>
                <a:gd name="connsiteX155" fmla="*/ 146927 w 2048870"/>
                <a:gd name="connsiteY155" fmla="*/ 1064783 h 1413227"/>
                <a:gd name="connsiteX156" fmla="*/ 247182 w 2048870"/>
                <a:gd name="connsiteY156" fmla="*/ 1068240 h 1413227"/>
                <a:gd name="connsiteX157" fmla="*/ 266196 w 2048870"/>
                <a:gd name="connsiteY157" fmla="*/ 1064783 h 1413227"/>
                <a:gd name="connsiteX158" fmla="*/ 276568 w 2048870"/>
                <a:gd name="connsiteY158" fmla="*/ 1059597 h 1413227"/>
                <a:gd name="connsiteX159" fmla="*/ 285210 w 2048870"/>
                <a:gd name="connsiteY159" fmla="*/ 1049226 h 1413227"/>
                <a:gd name="connsiteX160" fmla="*/ 295581 w 2048870"/>
                <a:gd name="connsiteY160" fmla="*/ 1052683 h 1413227"/>
                <a:gd name="connsiteX161" fmla="*/ 299039 w 2048870"/>
                <a:gd name="connsiteY161" fmla="*/ 1059597 h 1413227"/>
                <a:gd name="connsiteX162" fmla="*/ 312867 w 2048870"/>
                <a:gd name="connsiteY162" fmla="*/ 1071697 h 1413227"/>
                <a:gd name="connsiteX163" fmla="*/ 338795 w 2048870"/>
                <a:gd name="connsiteY163" fmla="*/ 1078611 h 1413227"/>
                <a:gd name="connsiteX164" fmla="*/ 361266 w 2048870"/>
                <a:gd name="connsiteY164" fmla="*/ 1075154 h 1413227"/>
                <a:gd name="connsiteX165" fmla="*/ 362995 w 2048870"/>
                <a:gd name="connsiteY165" fmla="*/ 1068240 h 1413227"/>
                <a:gd name="connsiteX166" fmla="*/ 373366 w 2048870"/>
                <a:gd name="connsiteY166" fmla="*/ 1050955 h 1413227"/>
                <a:gd name="connsiteX167" fmla="*/ 378552 w 2048870"/>
                <a:gd name="connsiteY167" fmla="*/ 1045769 h 1413227"/>
                <a:gd name="connsiteX168" fmla="*/ 397566 w 2048870"/>
                <a:gd name="connsiteY168" fmla="*/ 1038855 h 1413227"/>
                <a:gd name="connsiteX169" fmla="*/ 432137 w 2048870"/>
                <a:gd name="connsiteY169" fmla="*/ 1035398 h 1413227"/>
                <a:gd name="connsiteX170" fmla="*/ 444236 w 2048870"/>
                <a:gd name="connsiteY170" fmla="*/ 1031941 h 1413227"/>
                <a:gd name="connsiteX171" fmla="*/ 447693 w 2048870"/>
                <a:gd name="connsiteY171" fmla="*/ 1025026 h 1413227"/>
                <a:gd name="connsiteX172" fmla="*/ 452879 w 2048870"/>
                <a:gd name="connsiteY172" fmla="*/ 1021569 h 1413227"/>
                <a:gd name="connsiteX173" fmla="*/ 468436 w 2048870"/>
                <a:gd name="connsiteY173" fmla="*/ 1011198 h 1413227"/>
                <a:gd name="connsiteX174" fmla="*/ 473622 w 2048870"/>
                <a:gd name="connsiteY174" fmla="*/ 999098 h 1413227"/>
                <a:gd name="connsiteX175" fmla="*/ 478807 w 2048870"/>
                <a:gd name="connsiteY175" fmla="*/ 986998 h 1413227"/>
                <a:gd name="connsiteX176" fmla="*/ 485721 w 2048870"/>
                <a:gd name="connsiteY176" fmla="*/ 980084 h 1413227"/>
                <a:gd name="connsiteX177" fmla="*/ 489178 w 2048870"/>
                <a:gd name="connsiteY177" fmla="*/ 974899 h 1413227"/>
                <a:gd name="connsiteX178" fmla="*/ 511650 w 2048870"/>
                <a:gd name="connsiteY178" fmla="*/ 955885 h 1413227"/>
                <a:gd name="connsiteX179" fmla="*/ 530664 w 2048870"/>
                <a:gd name="connsiteY179" fmla="*/ 947242 h 1413227"/>
                <a:gd name="connsiteX180" fmla="*/ 537578 w 2048870"/>
                <a:gd name="connsiteY180" fmla="*/ 933414 h 1413227"/>
                <a:gd name="connsiteX181" fmla="*/ 539306 w 2048870"/>
                <a:gd name="connsiteY181" fmla="*/ 928228 h 1413227"/>
                <a:gd name="connsiteX182" fmla="*/ 541035 w 2048870"/>
                <a:gd name="connsiteY182" fmla="*/ 921314 h 1413227"/>
                <a:gd name="connsiteX183" fmla="*/ 563506 w 2048870"/>
                <a:gd name="connsiteY183" fmla="*/ 917857 h 1413227"/>
                <a:gd name="connsiteX184" fmla="*/ 568692 w 2048870"/>
                <a:gd name="connsiteY184" fmla="*/ 916128 h 1413227"/>
                <a:gd name="connsiteX185" fmla="*/ 584248 w 2048870"/>
                <a:gd name="connsiteY185" fmla="*/ 914400 h 1413227"/>
                <a:gd name="connsiteX186" fmla="*/ 589434 w 2048870"/>
                <a:gd name="connsiteY186" fmla="*/ 910942 h 1413227"/>
                <a:gd name="connsiteX187" fmla="*/ 599805 w 2048870"/>
                <a:gd name="connsiteY187" fmla="*/ 905757 h 1413227"/>
                <a:gd name="connsiteX188" fmla="*/ 604991 w 2048870"/>
                <a:gd name="connsiteY188" fmla="*/ 900571 h 1413227"/>
                <a:gd name="connsiteX189" fmla="*/ 606719 w 2048870"/>
                <a:gd name="connsiteY189" fmla="*/ 895386 h 1413227"/>
                <a:gd name="connsiteX190" fmla="*/ 615362 w 2048870"/>
                <a:gd name="connsiteY190" fmla="*/ 891928 h 1413227"/>
                <a:gd name="connsiteX191" fmla="*/ 620548 w 2048870"/>
                <a:gd name="connsiteY191" fmla="*/ 886743 h 1413227"/>
                <a:gd name="connsiteX192" fmla="*/ 639562 w 2048870"/>
                <a:gd name="connsiteY192" fmla="*/ 879829 h 1413227"/>
                <a:gd name="connsiteX193" fmla="*/ 653390 w 2048870"/>
                <a:gd name="connsiteY193" fmla="*/ 883286 h 1413227"/>
                <a:gd name="connsiteX194" fmla="*/ 660304 w 2048870"/>
                <a:gd name="connsiteY194" fmla="*/ 885014 h 1413227"/>
                <a:gd name="connsiteX195" fmla="*/ 668947 w 2048870"/>
                <a:gd name="connsiteY195" fmla="*/ 886743 h 1413227"/>
                <a:gd name="connsiteX196" fmla="*/ 675861 w 2048870"/>
                <a:gd name="connsiteY196" fmla="*/ 890200 h 1413227"/>
                <a:gd name="connsiteX197" fmla="*/ 682775 w 2048870"/>
                <a:gd name="connsiteY197" fmla="*/ 891928 h 1413227"/>
                <a:gd name="connsiteX198" fmla="*/ 687961 w 2048870"/>
                <a:gd name="connsiteY198" fmla="*/ 895386 h 1413227"/>
                <a:gd name="connsiteX199" fmla="*/ 700061 w 2048870"/>
                <a:gd name="connsiteY199" fmla="*/ 898843 h 1413227"/>
                <a:gd name="connsiteX200" fmla="*/ 706975 w 2048870"/>
                <a:gd name="connsiteY200" fmla="*/ 904028 h 1413227"/>
                <a:gd name="connsiteX201" fmla="*/ 720803 w 2048870"/>
                <a:gd name="connsiteY201" fmla="*/ 907485 h 1413227"/>
                <a:gd name="connsiteX202" fmla="*/ 727718 w 2048870"/>
                <a:gd name="connsiteY202" fmla="*/ 905757 h 1413227"/>
                <a:gd name="connsiteX203" fmla="*/ 736360 w 2048870"/>
                <a:gd name="connsiteY203" fmla="*/ 904028 h 1413227"/>
                <a:gd name="connsiteX204" fmla="*/ 738089 w 2048870"/>
                <a:gd name="connsiteY204" fmla="*/ 910942 h 1413227"/>
                <a:gd name="connsiteX205" fmla="*/ 760560 w 2048870"/>
                <a:gd name="connsiteY205" fmla="*/ 904028 h 1413227"/>
                <a:gd name="connsiteX206" fmla="*/ 770931 w 2048870"/>
                <a:gd name="connsiteY206" fmla="*/ 895386 h 1413227"/>
                <a:gd name="connsiteX207" fmla="*/ 776117 w 2048870"/>
                <a:gd name="connsiteY207" fmla="*/ 909214 h 1413227"/>
                <a:gd name="connsiteX208" fmla="*/ 783031 w 2048870"/>
                <a:gd name="connsiteY208" fmla="*/ 914400 h 1413227"/>
                <a:gd name="connsiteX209" fmla="*/ 788217 w 2048870"/>
                <a:gd name="connsiteY209" fmla="*/ 919585 h 1413227"/>
                <a:gd name="connsiteX210" fmla="*/ 793402 w 2048870"/>
                <a:gd name="connsiteY210" fmla="*/ 923042 h 1413227"/>
                <a:gd name="connsiteX211" fmla="*/ 798588 w 2048870"/>
                <a:gd name="connsiteY211" fmla="*/ 928228 h 1413227"/>
                <a:gd name="connsiteX212" fmla="*/ 815873 w 2048870"/>
                <a:gd name="connsiteY212" fmla="*/ 935142 h 1413227"/>
                <a:gd name="connsiteX213" fmla="*/ 821059 w 2048870"/>
                <a:gd name="connsiteY213" fmla="*/ 926499 h 1413227"/>
                <a:gd name="connsiteX214" fmla="*/ 824516 w 2048870"/>
                <a:gd name="connsiteY214" fmla="*/ 910942 h 1413227"/>
                <a:gd name="connsiteX215" fmla="*/ 833159 w 2048870"/>
                <a:gd name="connsiteY215" fmla="*/ 912671 h 1413227"/>
                <a:gd name="connsiteX216" fmla="*/ 838344 w 2048870"/>
                <a:gd name="connsiteY216" fmla="*/ 926499 h 1413227"/>
                <a:gd name="connsiteX217" fmla="*/ 841802 w 2048870"/>
                <a:gd name="connsiteY217" fmla="*/ 929956 h 1413227"/>
                <a:gd name="connsiteX218" fmla="*/ 850444 w 2048870"/>
                <a:gd name="connsiteY218" fmla="*/ 948970 h 1413227"/>
                <a:gd name="connsiteX219" fmla="*/ 853901 w 2048870"/>
                <a:gd name="connsiteY219" fmla="*/ 954156 h 1413227"/>
                <a:gd name="connsiteX220" fmla="*/ 859087 w 2048870"/>
                <a:gd name="connsiteY220" fmla="*/ 988727 h 1413227"/>
                <a:gd name="connsiteX221" fmla="*/ 864273 w 2048870"/>
                <a:gd name="connsiteY221" fmla="*/ 1009469 h 1413227"/>
                <a:gd name="connsiteX222" fmla="*/ 878101 w 2048870"/>
                <a:gd name="connsiteY222" fmla="*/ 1012927 h 1413227"/>
                <a:gd name="connsiteX223" fmla="*/ 885015 w 2048870"/>
                <a:gd name="connsiteY223" fmla="*/ 1016384 h 1413227"/>
                <a:gd name="connsiteX224" fmla="*/ 888472 w 2048870"/>
                <a:gd name="connsiteY224" fmla="*/ 1021569 h 1413227"/>
                <a:gd name="connsiteX225" fmla="*/ 900572 w 2048870"/>
                <a:gd name="connsiteY225" fmla="*/ 1026755 h 1413227"/>
                <a:gd name="connsiteX226" fmla="*/ 905758 w 2048870"/>
                <a:gd name="connsiteY226" fmla="*/ 1033669 h 1413227"/>
                <a:gd name="connsiteX227" fmla="*/ 909215 w 2048870"/>
                <a:gd name="connsiteY227" fmla="*/ 1040583 h 1413227"/>
                <a:gd name="connsiteX228" fmla="*/ 912672 w 2048870"/>
                <a:gd name="connsiteY228" fmla="*/ 1045769 h 1413227"/>
                <a:gd name="connsiteX229" fmla="*/ 921315 w 2048870"/>
                <a:gd name="connsiteY229" fmla="*/ 1061326 h 1413227"/>
                <a:gd name="connsiteX230" fmla="*/ 928229 w 2048870"/>
                <a:gd name="connsiteY230" fmla="*/ 1082068 h 1413227"/>
                <a:gd name="connsiteX231" fmla="*/ 929957 w 2048870"/>
                <a:gd name="connsiteY231" fmla="*/ 1088983 h 1413227"/>
                <a:gd name="connsiteX232" fmla="*/ 940329 w 2048870"/>
                <a:gd name="connsiteY232" fmla="*/ 1095897 h 1413227"/>
                <a:gd name="connsiteX233" fmla="*/ 959343 w 2048870"/>
                <a:gd name="connsiteY233" fmla="*/ 1097625 h 1413227"/>
                <a:gd name="connsiteX234" fmla="*/ 967985 w 2048870"/>
                <a:gd name="connsiteY234" fmla="*/ 1101082 h 1413227"/>
                <a:gd name="connsiteX235" fmla="*/ 973171 w 2048870"/>
                <a:gd name="connsiteY235" fmla="*/ 1106268 h 1413227"/>
                <a:gd name="connsiteX236" fmla="*/ 978357 w 2048870"/>
                <a:gd name="connsiteY236" fmla="*/ 1109725 h 1413227"/>
                <a:gd name="connsiteX237" fmla="*/ 983542 w 2048870"/>
                <a:gd name="connsiteY237" fmla="*/ 1118368 h 1413227"/>
                <a:gd name="connsiteX238" fmla="*/ 985271 w 2048870"/>
                <a:gd name="connsiteY238" fmla="*/ 1132196 h 1413227"/>
                <a:gd name="connsiteX239" fmla="*/ 992185 w 2048870"/>
                <a:gd name="connsiteY239" fmla="*/ 1139110 h 1413227"/>
                <a:gd name="connsiteX240" fmla="*/ 1006013 w 2048870"/>
                <a:gd name="connsiteY240" fmla="*/ 1147753 h 1413227"/>
                <a:gd name="connsiteX241" fmla="*/ 1019842 w 2048870"/>
                <a:gd name="connsiteY241" fmla="*/ 1165038 h 1413227"/>
                <a:gd name="connsiteX242" fmla="*/ 1012927 w 2048870"/>
                <a:gd name="connsiteY242" fmla="*/ 1168496 h 1413227"/>
                <a:gd name="connsiteX243" fmla="*/ 1009470 w 2048870"/>
                <a:gd name="connsiteY243" fmla="*/ 1173681 h 1413227"/>
                <a:gd name="connsiteX244" fmla="*/ 997371 w 2048870"/>
                <a:gd name="connsiteY244" fmla="*/ 1177138 h 1413227"/>
                <a:gd name="connsiteX245" fmla="*/ 990456 w 2048870"/>
                <a:gd name="connsiteY245" fmla="*/ 1182324 h 1413227"/>
                <a:gd name="connsiteX246" fmla="*/ 973171 w 2048870"/>
                <a:gd name="connsiteY246" fmla="*/ 1182324 h 1413227"/>
                <a:gd name="connsiteX247" fmla="*/ 971442 w 2048870"/>
                <a:gd name="connsiteY247" fmla="*/ 1161581 h 1413227"/>
                <a:gd name="connsiteX248" fmla="*/ 962800 w 2048870"/>
                <a:gd name="connsiteY248" fmla="*/ 1171953 h 1413227"/>
                <a:gd name="connsiteX249" fmla="*/ 959343 w 2048870"/>
                <a:gd name="connsiteY249" fmla="*/ 1178867 h 1413227"/>
                <a:gd name="connsiteX250" fmla="*/ 955885 w 2048870"/>
                <a:gd name="connsiteY250" fmla="*/ 1184052 h 1413227"/>
                <a:gd name="connsiteX251" fmla="*/ 947243 w 2048870"/>
                <a:gd name="connsiteY251" fmla="*/ 1187510 h 1413227"/>
                <a:gd name="connsiteX252" fmla="*/ 940329 w 2048870"/>
                <a:gd name="connsiteY252" fmla="*/ 1190967 h 1413227"/>
                <a:gd name="connsiteX253" fmla="*/ 935143 w 2048870"/>
                <a:gd name="connsiteY253" fmla="*/ 1189238 h 1413227"/>
                <a:gd name="connsiteX254" fmla="*/ 929957 w 2048870"/>
                <a:gd name="connsiteY254" fmla="*/ 1171953 h 1413227"/>
                <a:gd name="connsiteX255" fmla="*/ 926500 w 2048870"/>
                <a:gd name="connsiteY255" fmla="*/ 1165038 h 1413227"/>
                <a:gd name="connsiteX256" fmla="*/ 921315 w 2048870"/>
                <a:gd name="connsiteY256" fmla="*/ 1178867 h 1413227"/>
                <a:gd name="connsiteX257" fmla="*/ 917857 w 2048870"/>
                <a:gd name="connsiteY257" fmla="*/ 1182324 h 1413227"/>
                <a:gd name="connsiteX258" fmla="*/ 914400 w 2048870"/>
                <a:gd name="connsiteY258" fmla="*/ 1194424 h 1413227"/>
                <a:gd name="connsiteX259" fmla="*/ 909215 w 2048870"/>
                <a:gd name="connsiteY259" fmla="*/ 1199609 h 1413227"/>
                <a:gd name="connsiteX260" fmla="*/ 886744 w 2048870"/>
                <a:gd name="connsiteY260" fmla="*/ 1180595 h 1413227"/>
                <a:gd name="connsiteX261" fmla="*/ 883287 w 2048870"/>
                <a:gd name="connsiteY261" fmla="*/ 1189238 h 1413227"/>
                <a:gd name="connsiteX262" fmla="*/ 879830 w 2048870"/>
                <a:gd name="connsiteY262" fmla="*/ 1194424 h 1413227"/>
                <a:gd name="connsiteX263" fmla="*/ 874644 w 2048870"/>
                <a:gd name="connsiteY263" fmla="*/ 1204795 h 1413227"/>
                <a:gd name="connsiteX264" fmla="*/ 879830 w 2048870"/>
                <a:gd name="connsiteY264" fmla="*/ 1211709 h 1413227"/>
                <a:gd name="connsiteX265" fmla="*/ 890201 w 2048870"/>
                <a:gd name="connsiteY265" fmla="*/ 1215166 h 1413227"/>
                <a:gd name="connsiteX266" fmla="*/ 893658 w 2048870"/>
                <a:gd name="connsiteY266" fmla="*/ 1235909 h 1413227"/>
                <a:gd name="connsiteX267" fmla="*/ 891929 w 2048870"/>
                <a:gd name="connsiteY267" fmla="*/ 1258380 h 1413227"/>
                <a:gd name="connsiteX268" fmla="*/ 890201 w 2048870"/>
                <a:gd name="connsiteY268" fmla="*/ 1263565 h 1413227"/>
                <a:gd name="connsiteX269" fmla="*/ 878101 w 2048870"/>
                <a:gd name="connsiteY269" fmla="*/ 1275665 h 1413227"/>
                <a:gd name="connsiteX270" fmla="*/ 871187 w 2048870"/>
                <a:gd name="connsiteY270" fmla="*/ 1282579 h 1413227"/>
                <a:gd name="connsiteX271" fmla="*/ 876372 w 2048870"/>
                <a:gd name="connsiteY271" fmla="*/ 1287765 h 1413227"/>
                <a:gd name="connsiteX272" fmla="*/ 874644 w 2048870"/>
                <a:gd name="connsiteY272" fmla="*/ 1306779 h 1413227"/>
                <a:gd name="connsiteX273" fmla="*/ 869458 w 2048870"/>
                <a:gd name="connsiteY273" fmla="*/ 1308508 h 1413227"/>
                <a:gd name="connsiteX274" fmla="*/ 864273 w 2048870"/>
                <a:gd name="connsiteY274" fmla="*/ 1320607 h 1413227"/>
                <a:gd name="connsiteX275" fmla="*/ 862544 w 2048870"/>
                <a:gd name="connsiteY275" fmla="*/ 1360364 h 1413227"/>
                <a:gd name="connsiteX276" fmla="*/ 857358 w 2048870"/>
                <a:gd name="connsiteY276" fmla="*/ 1363821 h 1413227"/>
                <a:gd name="connsiteX277" fmla="*/ 852173 w 2048870"/>
                <a:gd name="connsiteY277" fmla="*/ 1365550 h 1413227"/>
                <a:gd name="connsiteX278" fmla="*/ 850444 w 2048870"/>
                <a:gd name="connsiteY278" fmla="*/ 1370735 h 1413227"/>
                <a:gd name="connsiteX279" fmla="*/ 838344 w 2048870"/>
                <a:gd name="connsiteY279" fmla="*/ 1379378 h 1413227"/>
                <a:gd name="connsiteX280" fmla="*/ 841802 w 2048870"/>
                <a:gd name="connsiteY280" fmla="*/ 1389749 h 1413227"/>
                <a:gd name="connsiteX281" fmla="*/ 835734 w 2048870"/>
                <a:gd name="connsiteY281" fmla="*/ 1400773 h 1413227"/>
                <a:gd name="connsiteX282" fmla="*/ 842648 w 2048870"/>
                <a:gd name="connsiteY282" fmla="*/ 1403578 h 1413227"/>
                <a:gd name="connsiteX283" fmla="*/ 859087 w 2048870"/>
                <a:gd name="connsiteY283" fmla="*/ 1410492 h 1413227"/>
                <a:gd name="connsiteX284" fmla="*/ 885015 w 2048870"/>
                <a:gd name="connsiteY284" fmla="*/ 1408763 h 1413227"/>
                <a:gd name="connsiteX285" fmla="*/ 890201 w 2048870"/>
                <a:gd name="connsiteY285" fmla="*/ 1413103 h 1413227"/>
                <a:gd name="connsiteX286" fmla="*/ 921633 w 2048870"/>
                <a:gd name="connsiteY286" fmla="*/ 1403013 h 1413227"/>
                <a:gd name="connsiteX287" fmla="*/ 932427 w 2048870"/>
                <a:gd name="connsiteY287" fmla="*/ 1394371 h 1413227"/>
                <a:gd name="connsiteX288" fmla="*/ 933873 w 2048870"/>
                <a:gd name="connsiteY288" fmla="*/ 1386010 h 1413227"/>
                <a:gd name="connsiteX289" fmla="*/ 943362 w 2048870"/>
                <a:gd name="connsiteY289" fmla="*/ 1367278 h 1413227"/>
                <a:gd name="connsiteX290" fmla="*/ 943786 w 2048870"/>
                <a:gd name="connsiteY290" fmla="*/ 1362093 h 1413227"/>
                <a:gd name="connsiteX291" fmla="*/ 954157 w 2048870"/>
                <a:gd name="connsiteY291" fmla="*/ 1360364 h 1413227"/>
                <a:gd name="connsiteX292" fmla="*/ 993913 w 2048870"/>
                <a:gd name="connsiteY292" fmla="*/ 1356907 h 1413227"/>
                <a:gd name="connsiteX293" fmla="*/ 997371 w 2048870"/>
                <a:gd name="connsiteY293" fmla="*/ 1349993 h 1413227"/>
                <a:gd name="connsiteX294" fmla="*/ 1009470 w 2048870"/>
                <a:gd name="connsiteY294" fmla="*/ 1344807 h 1413227"/>
                <a:gd name="connsiteX295" fmla="*/ 997371 w 2048870"/>
                <a:gd name="connsiteY295" fmla="*/ 1334436 h 1413227"/>
                <a:gd name="connsiteX296" fmla="*/ 993913 w 2048870"/>
                <a:gd name="connsiteY296" fmla="*/ 1327522 h 1413227"/>
                <a:gd name="connsiteX297" fmla="*/ 988728 w 2048870"/>
                <a:gd name="connsiteY297" fmla="*/ 1322336 h 1413227"/>
                <a:gd name="connsiteX298" fmla="*/ 985271 w 2048870"/>
                <a:gd name="connsiteY298" fmla="*/ 1310236 h 1413227"/>
                <a:gd name="connsiteX299" fmla="*/ 981814 w 2048870"/>
                <a:gd name="connsiteY299" fmla="*/ 1299865 h 1413227"/>
                <a:gd name="connsiteX300" fmla="*/ 990456 w 2048870"/>
                <a:gd name="connsiteY300" fmla="*/ 1287765 h 1413227"/>
                <a:gd name="connsiteX301" fmla="*/ 992185 w 2048870"/>
                <a:gd name="connsiteY301" fmla="*/ 1292951 h 1413227"/>
                <a:gd name="connsiteX302" fmla="*/ 1014656 w 2048870"/>
                <a:gd name="connsiteY302" fmla="*/ 1299865 h 1413227"/>
                <a:gd name="connsiteX303" fmla="*/ 1016385 w 2048870"/>
                <a:gd name="connsiteY303" fmla="*/ 1294679 h 1413227"/>
                <a:gd name="connsiteX304" fmla="*/ 1018113 w 2048870"/>
                <a:gd name="connsiteY304" fmla="*/ 1284308 h 1413227"/>
                <a:gd name="connsiteX305" fmla="*/ 1031941 w 2048870"/>
                <a:gd name="connsiteY305" fmla="*/ 1270480 h 1413227"/>
                <a:gd name="connsiteX306" fmla="*/ 1037127 w 2048870"/>
                <a:gd name="connsiteY306" fmla="*/ 1265294 h 1413227"/>
                <a:gd name="connsiteX307" fmla="*/ 1038856 w 2048870"/>
                <a:gd name="connsiteY307" fmla="*/ 1260108 h 1413227"/>
                <a:gd name="connsiteX308" fmla="*/ 1054412 w 2048870"/>
                <a:gd name="connsiteY308" fmla="*/ 1251466 h 1413227"/>
                <a:gd name="connsiteX309" fmla="*/ 1063055 w 2048870"/>
                <a:gd name="connsiteY309" fmla="*/ 1242823 h 1413227"/>
                <a:gd name="connsiteX310" fmla="*/ 1068241 w 2048870"/>
                <a:gd name="connsiteY310" fmla="*/ 1223809 h 1413227"/>
                <a:gd name="connsiteX311" fmla="*/ 1069969 w 2048870"/>
                <a:gd name="connsiteY311" fmla="*/ 1215166 h 1413227"/>
                <a:gd name="connsiteX312" fmla="*/ 1075155 w 2048870"/>
                <a:gd name="connsiteY312" fmla="*/ 1201338 h 1413227"/>
                <a:gd name="connsiteX313" fmla="*/ 1080341 w 2048870"/>
                <a:gd name="connsiteY313" fmla="*/ 1175410 h 1413227"/>
                <a:gd name="connsiteX314" fmla="*/ 1082069 w 2048870"/>
                <a:gd name="connsiteY314" fmla="*/ 1170224 h 1413227"/>
                <a:gd name="connsiteX315" fmla="*/ 1083798 w 2048870"/>
                <a:gd name="connsiteY315" fmla="*/ 1161581 h 1413227"/>
                <a:gd name="connsiteX316" fmla="*/ 1085526 w 2048870"/>
                <a:gd name="connsiteY316" fmla="*/ 1156396 h 1413227"/>
                <a:gd name="connsiteX317" fmla="*/ 1087255 w 2048870"/>
                <a:gd name="connsiteY317" fmla="*/ 1147753 h 1413227"/>
                <a:gd name="connsiteX318" fmla="*/ 1097626 w 2048870"/>
                <a:gd name="connsiteY318" fmla="*/ 1128739 h 1413227"/>
                <a:gd name="connsiteX319" fmla="*/ 1099355 w 2048870"/>
                <a:gd name="connsiteY319" fmla="*/ 1111454 h 1413227"/>
                <a:gd name="connsiteX320" fmla="*/ 1106269 w 2048870"/>
                <a:gd name="connsiteY320" fmla="*/ 1097625 h 1413227"/>
                <a:gd name="connsiteX321" fmla="*/ 1111454 w 2048870"/>
                <a:gd name="connsiteY321" fmla="*/ 1095897 h 1413227"/>
                <a:gd name="connsiteX322" fmla="*/ 1127011 w 2048870"/>
                <a:gd name="connsiteY322" fmla="*/ 1094168 h 1413227"/>
                <a:gd name="connsiteX323" fmla="*/ 1132197 w 2048870"/>
                <a:gd name="connsiteY323" fmla="*/ 1088983 h 1413227"/>
                <a:gd name="connsiteX324" fmla="*/ 1166768 w 2048870"/>
                <a:gd name="connsiteY324" fmla="*/ 1083797 h 1413227"/>
                <a:gd name="connsiteX325" fmla="*/ 1175411 w 2048870"/>
                <a:gd name="connsiteY325" fmla="*/ 1073426 h 1413227"/>
                <a:gd name="connsiteX326" fmla="*/ 1177139 w 2048870"/>
                <a:gd name="connsiteY326" fmla="*/ 1061326 h 1413227"/>
                <a:gd name="connsiteX327" fmla="*/ 1170225 w 2048870"/>
                <a:gd name="connsiteY327" fmla="*/ 1047497 h 1413227"/>
                <a:gd name="connsiteX328" fmla="*/ 1163311 w 2048870"/>
                <a:gd name="connsiteY328" fmla="*/ 1050955 h 1413227"/>
                <a:gd name="connsiteX329" fmla="*/ 1166768 w 2048870"/>
                <a:gd name="connsiteY329" fmla="*/ 1068240 h 1413227"/>
                <a:gd name="connsiteX330" fmla="*/ 1170225 w 2048870"/>
                <a:gd name="connsiteY330" fmla="*/ 1076883 h 1413227"/>
                <a:gd name="connsiteX331" fmla="*/ 1182325 w 2048870"/>
                <a:gd name="connsiteY331" fmla="*/ 1080340 h 1413227"/>
                <a:gd name="connsiteX332" fmla="*/ 1206524 w 2048870"/>
                <a:gd name="connsiteY332" fmla="*/ 1078611 h 1413227"/>
                <a:gd name="connsiteX333" fmla="*/ 1211710 w 2048870"/>
                <a:gd name="connsiteY333" fmla="*/ 1073426 h 1413227"/>
                <a:gd name="connsiteX334" fmla="*/ 1218624 w 2048870"/>
                <a:gd name="connsiteY334" fmla="*/ 1057869 h 1413227"/>
                <a:gd name="connsiteX335" fmla="*/ 1220353 w 2048870"/>
                <a:gd name="connsiteY335" fmla="*/ 1044040 h 1413227"/>
                <a:gd name="connsiteX336" fmla="*/ 1218624 w 2048870"/>
                <a:gd name="connsiteY336" fmla="*/ 1014655 h 1413227"/>
                <a:gd name="connsiteX337" fmla="*/ 1211710 w 2048870"/>
                <a:gd name="connsiteY337" fmla="*/ 997370 h 1413227"/>
                <a:gd name="connsiteX338" fmla="*/ 1206524 w 2048870"/>
                <a:gd name="connsiteY338" fmla="*/ 993913 h 1413227"/>
                <a:gd name="connsiteX339" fmla="*/ 1184053 w 2048870"/>
                <a:gd name="connsiteY339" fmla="*/ 973170 h 1413227"/>
                <a:gd name="connsiteX340" fmla="*/ 1173682 w 2048870"/>
                <a:gd name="connsiteY340" fmla="*/ 962799 h 1413227"/>
                <a:gd name="connsiteX341" fmla="*/ 1168496 w 2048870"/>
                <a:gd name="connsiteY341" fmla="*/ 957613 h 1413227"/>
                <a:gd name="connsiteX342" fmla="*/ 1171954 w 2048870"/>
                <a:gd name="connsiteY342" fmla="*/ 961070 h 1413227"/>
                <a:gd name="connsiteX343" fmla="*/ 1178868 w 2048870"/>
                <a:gd name="connsiteY343" fmla="*/ 971441 h 1413227"/>
                <a:gd name="connsiteX344" fmla="*/ 1185782 w 2048870"/>
                <a:gd name="connsiteY344" fmla="*/ 980084 h 1413227"/>
                <a:gd name="connsiteX345" fmla="*/ 1190968 w 2048870"/>
                <a:gd name="connsiteY345" fmla="*/ 985270 h 1413227"/>
                <a:gd name="connsiteX346" fmla="*/ 1194425 w 2048870"/>
                <a:gd name="connsiteY346" fmla="*/ 993913 h 1413227"/>
                <a:gd name="connsiteX347" fmla="*/ 1206524 w 2048870"/>
                <a:gd name="connsiteY347" fmla="*/ 1007741 h 1413227"/>
                <a:gd name="connsiteX348" fmla="*/ 1208253 w 2048870"/>
                <a:gd name="connsiteY348" fmla="*/ 1014655 h 1413227"/>
                <a:gd name="connsiteX349" fmla="*/ 1211710 w 2048870"/>
                <a:gd name="connsiteY349" fmla="*/ 1023298 h 1413227"/>
                <a:gd name="connsiteX350" fmla="*/ 1213439 w 2048870"/>
                <a:gd name="connsiteY350" fmla="*/ 1035398 h 1413227"/>
                <a:gd name="connsiteX351" fmla="*/ 1215167 w 2048870"/>
                <a:gd name="connsiteY351" fmla="*/ 1044040 h 1413227"/>
                <a:gd name="connsiteX352" fmla="*/ 1220353 w 2048870"/>
                <a:gd name="connsiteY352" fmla="*/ 1045769 h 1413227"/>
                <a:gd name="connsiteX353" fmla="*/ 1223810 w 2048870"/>
                <a:gd name="connsiteY353" fmla="*/ 1050955 h 1413227"/>
                <a:gd name="connsiteX354" fmla="*/ 1234181 w 2048870"/>
                <a:gd name="connsiteY354" fmla="*/ 1063054 h 1413227"/>
                <a:gd name="connsiteX355" fmla="*/ 1253195 w 2048870"/>
                <a:gd name="connsiteY355" fmla="*/ 1057869 h 1413227"/>
                <a:gd name="connsiteX356" fmla="*/ 1258381 w 2048870"/>
                <a:gd name="connsiteY356" fmla="*/ 1054412 h 1413227"/>
                <a:gd name="connsiteX357" fmla="*/ 1265295 w 2048870"/>
                <a:gd name="connsiteY357" fmla="*/ 1050955 h 1413227"/>
                <a:gd name="connsiteX358" fmla="*/ 1267023 w 2048870"/>
                <a:gd name="connsiteY358" fmla="*/ 1056140 h 1413227"/>
                <a:gd name="connsiteX359" fmla="*/ 1268752 w 2048870"/>
                <a:gd name="connsiteY359" fmla="*/ 1068240 h 1413227"/>
                <a:gd name="connsiteX360" fmla="*/ 1279123 w 2048870"/>
                <a:gd name="connsiteY360" fmla="*/ 1064783 h 1413227"/>
                <a:gd name="connsiteX361" fmla="*/ 1289495 w 2048870"/>
                <a:gd name="connsiteY361" fmla="*/ 1056140 h 1413227"/>
                <a:gd name="connsiteX362" fmla="*/ 1299866 w 2048870"/>
                <a:gd name="connsiteY362" fmla="*/ 1045769 h 1413227"/>
                <a:gd name="connsiteX363" fmla="*/ 1305051 w 2048870"/>
                <a:gd name="connsiteY363" fmla="*/ 1042312 h 1413227"/>
                <a:gd name="connsiteX364" fmla="*/ 1294680 w 2048870"/>
                <a:gd name="connsiteY364" fmla="*/ 1061326 h 1413227"/>
                <a:gd name="connsiteX365" fmla="*/ 1286037 w 2048870"/>
                <a:gd name="connsiteY365" fmla="*/ 1075154 h 1413227"/>
                <a:gd name="connsiteX366" fmla="*/ 1272209 w 2048870"/>
                <a:gd name="connsiteY366" fmla="*/ 1082068 h 1413227"/>
                <a:gd name="connsiteX367" fmla="*/ 1265295 w 2048870"/>
                <a:gd name="connsiteY367" fmla="*/ 1085525 h 1413227"/>
                <a:gd name="connsiteX368" fmla="*/ 1260109 w 2048870"/>
                <a:gd name="connsiteY368" fmla="*/ 1087254 h 1413227"/>
                <a:gd name="connsiteX369" fmla="*/ 1251467 w 2048870"/>
                <a:gd name="connsiteY369" fmla="*/ 1092440 h 1413227"/>
                <a:gd name="connsiteX370" fmla="*/ 1232453 w 2048870"/>
                <a:gd name="connsiteY370" fmla="*/ 1095897 h 1413227"/>
                <a:gd name="connsiteX371" fmla="*/ 1230724 w 2048870"/>
                <a:gd name="connsiteY371" fmla="*/ 1121825 h 1413227"/>
                <a:gd name="connsiteX372" fmla="*/ 1223810 w 2048870"/>
                <a:gd name="connsiteY372" fmla="*/ 1128739 h 1413227"/>
                <a:gd name="connsiteX373" fmla="*/ 1216896 w 2048870"/>
                <a:gd name="connsiteY373" fmla="*/ 1130468 h 1413227"/>
                <a:gd name="connsiteX374" fmla="*/ 1248009 w 2048870"/>
                <a:gd name="connsiteY374" fmla="*/ 1123553 h 1413227"/>
                <a:gd name="connsiteX375" fmla="*/ 1275666 w 2048870"/>
                <a:gd name="connsiteY375" fmla="*/ 1125282 h 1413227"/>
                <a:gd name="connsiteX376" fmla="*/ 1282580 w 2048870"/>
                <a:gd name="connsiteY376" fmla="*/ 1128739 h 1413227"/>
                <a:gd name="connsiteX377" fmla="*/ 1318880 w 2048870"/>
                <a:gd name="connsiteY377" fmla="*/ 1127010 h 1413227"/>
                <a:gd name="connsiteX378" fmla="*/ 1330980 w 2048870"/>
                <a:gd name="connsiteY378" fmla="*/ 1123553 h 1413227"/>
                <a:gd name="connsiteX379" fmla="*/ 1339622 w 2048870"/>
                <a:gd name="connsiteY379" fmla="*/ 1118368 h 1413227"/>
                <a:gd name="connsiteX380" fmla="*/ 1356908 w 2048870"/>
                <a:gd name="connsiteY380" fmla="*/ 1123553 h 1413227"/>
                <a:gd name="connsiteX381" fmla="*/ 1384564 w 2048870"/>
                <a:gd name="connsiteY381" fmla="*/ 1114911 h 1413227"/>
                <a:gd name="connsiteX382" fmla="*/ 1391479 w 2048870"/>
                <a:gd name="connsiteY382" fmla="*/ 1109725 h 1413227"/>
                <a:gd name="connsiteX383" fmla="*/ 1400121 w 2048870"/>
                <a:gd name="connsiteY383" fmla="*/ 1095897 h 1413227"/>
                <a:gd name="connsiteX384" fmla="*/ 1403578 w 2048870"/>
                <a:gd name="connsiteY384" fmla="*/ 1090711 h 1413227"/>
                <a:gd name="connsiteX385" fmla="*/ 1408764 w 2048870"/>
                <a:gd name="connsiteY385" fmla="*/ 1088983 h 1413227"/>
                <a:gd name="connsiteX386" fmla="*/ 1415678 w 2048870"/>
                <a:gd name="connsiteY386" fmla="*/ 1097625 h 1413227"/>
                <a:gd name="connsiteX387" fmla="*/ 1419135 w 2048870"/>
                <a:gd name="connsiteY387" fmla="*/ 1104539 h 1413227"/>
                <a:gd name="connsiteX388" fmla="*/ 1424321 w 2048870"/>
                <a:gd name="connsiteY388" fmla="*/ 1111454 h 1413227"/>
                <a:gd name="connsiteX389" fmla="*/ 1434692 w 2048870"/>
                <a:gd name="connsiteY389" fmla="*/ 1109725 h 1413227"/>
                <a:gd name="connsiteX390" fmla="*/ 1438149 w 2048870"/>
                <a:gd name="connsiteY390" fmla="*/ 1101082 h 1413227"/>
                <a:gd name="connsiteX391" fmla="*/ 1446792 w 2048870"/>
                <a:gd name="connsiteY391" fmla="*/ 1076883 h 1413227"/>
                <a:gd name="connsiteX392" fmla="*/ 1455435 w 2048870"/>
                <a:gd name="connsiteY392" fmla="*/ 1082068 h 1413227"/>
                <a:gd name="connsiteX393" fmla="*/ 1457163 w 2048870"/>
                <a:gd name="connsiteY393" fmla="*/ 1097625 h 1413227"/>
                <a:gd name="connsiteX394" fmla="*/ 1462349 w 2048870"/>
                <a:gd name="connsiteY394" fmla="*/ 1104539 h 1413227"/>
                <a:gd name="connsiteX395" fmla="*/ 1464078 w 2048870"/>
                <a:gd name="connsiteY395" fmla="*/ 1116639 h 1413227"/>
                <a:gd name="connsiteX396" fmla="*/ 1450249 w 2048870"/>
                <a:gd name="connsiteY396" fmla="*/ 1132196 h 1413227"/>
                <a:gd name="connsiteX397" fmla="*/ 1436421 w 2048870"/>
                <a:gd name="connsiteY397" fmla="*/ 1149482 h 1413227"/>
                <a:gd name="connsiteX398" fmla="*/ 1427778 w 2048870"/>
                <a:gd name="connsiteY398" fmla="*/ 1158124 h 1413227"/>
                <a:gd name="connsiteX399" fmla="*/ 1415678 w 2048870"/>
                <a:gd name="connsiteY399" fmla="*/ 1163310 h 1413227"/>
                <a:gd name="connsiteX400" fmla="*/ 1400121 w 2048870"/>
                <a:gd name="connsiteY400" fmla="*/ 1171953 h 1413227"/>
                <a:gd name="connsiteX401" fmla="*/ 1398393 w 2048870"/>
                <a:gd name="connsiteY401" fmla="*/ 1177138 h 1413227"/>
                <a:gd name="connsiteX402" fmla="*/ 1389750 w 2048870"/>
                <a:gd name="connsiteY402" fmla="*/ 1189238 h 1413227"/>
                <a:gd name="connsiteX403" fmla="*/ 1384564 w 2048870"/>
                <a:gd name="connsiteY403" fmla="*/ 1197881 h 1413227"/>
                <a:gd name="connsiteX404" fmla="*/ 1382836 w 2048870"/>
                <a:gd name="connsiteY404" fmla="*/ 1203066 h 1413227"/>
                <a:gd name="connsiteX405" fmla="*/ 1374193 w 2048870"/>
                <a:gd name="connsiteY405" fmla="*/ 1211709 h 1413227"/>
                <a:gd name="connsiteX406" fmla="*/ 1369008 w 2048870"/>
                <a:gd name="connsiteY406" fmla="*/ 1216895 h 1413227"/>
                <a:gd name="connsiteX407" fmla="*/ 1356908 w 2048870"/>
                <a:gd name="connsiteY407" fmla="*/ 1230723 h 1413227"/>
                <a:gd name="connsiteX408" fmla="*/ 1351722 w 2048870"/>
                <a:gd name="connsiteY408" fmla="*/ 1237637 h 1413227"/>
                <a:gd name="connsiteX409" fmla="*/ 1349994 w 2048870"/>
                <a:gd name="connsiteY409" fmla="*/ 1242823 h 1413227"/>
                <a:gd name="connsiteX410" fmla="*/ 1344808 w 2048870"/>
                <a:gd name="connsiteY410" fmla="*/ 1253194 h 1413227"/>
                <a:gd name="connsiteX411" fmla="*/ 1377650 w 2048870"/>
                <a:gd name="connsiteY411" fmla="*/ 1253194 h 1413227"/>
                <a:gd name="connsiteX412" fmla="*/ 1386293 w 2048870"/>
                <a:gd name="connsiteY412" fmla="*/ 1246280 h 1413227"/>
                <a:gd name="connsiteX413" fmla="*/ 1391479 w 2048870"/>
                <a:gd name="connsiteY413" fmla="*/ 1244552 h 1413227"/>
                <a:gd name="connsiteX414" fmla="*/ 1412221 w 2048870"/>
                <a:gd name="connsiteY414" fmla="*/ 1248009 h 1413227"/>
                <a:gd name="connsiteX415" fmla="*/ 1415678 w 2048870"/>
                <a:gd name="connsiteY415" fmla="*/ 1253194 h 1413227"/>
                <a:gd name="connsiteX416" fmla="*/ 1426050 w 2048870"/>
                <a:gd name="connsiteY416" fmla="*/ 1260108 h 1413227"/>
                <a:gd name="connsiteX417" fmla="*/ 1451978 w 2048870"/>
                <a:gd name="connsiteY417" fmla="*/ 1258380 h 1413227"/>
                <a:gd name="connsiteX418" fmla="*/ 1457163 w 2048870"/>
                <a:gd name="connsiteY418" fmla="*/ 1253194 h 1413227"/>
                <a:gd name="connsiteX419" fmla="*/ 1465806 w 2048870"/>
                <a:gd name="connsiteY419" fmla="*/ 1248009 h 1413227"/>
                <a:gd name="connsiteX420" fmla="*/ 1483092 w 2048870"/>
                <a:gd name="connsiteY420" fmla="*/ 1249737 h 1413227"/>
                <a:gd name="connsiteX421" fmla="*/ 1491734 w 2048870"/>
                <a:gd name="connsiteY421" fmla="*/ 1258380 h 1413227"/>
                <a:gd name="connsiteX422" fmla="*/ 1502106 w 2048870"/>
                <a:gd name="connsiteY422" fmla="*/ 1272208 h 1413227"/>
                <a:gd name="connsiteX423" fmla="*/ 1503834 w 2048870"/>
                <a:gd name="connsiteY423" fmla="*/ 1289494 h 1413227"/>
                <a:gd name="connsiteX424" fmla="*/ 1514205 w 2048870"/>
                <a:gd name="connsiteY424" fmla="*/ 1301593 h 1413227"/>
                <a:gd name="connsiteX425" fmla="*/ 1517662 w 2048870"/>
                <a:gd name="connsiteY425" fmla="*/ 1306779 h 1413227"/>
                <a:gd name="connsiteX426" fmla="*/ 1515934 w 2048870"/>
                <a:gd name="connsiteY426" fmla="*/ 1355178 h 1413227"/>
                <a:gd name="connsiteX427" fmla="*/ 1509020 w 2048870"/>
                <a:gd name="connsiteY427" fmla="*/ 1360364 h 1413227"/>
                <a:gd name="connsiteX428" fmla="*/ 1503834 w 2048870"/>
                <a:gd name="connsiteY428" fmla="*/ 1370735 h 1413227"/>
                <a:gd name="connsiteX429" fmla="*/ 1534948 w 2048870"/>
                <a:gd name="connsiteY429" fmla="*/ 1374192 h 1413227"/>
                <a:gd name="connsiteX430" fmla="*/ 1540133 w 2048870"/>
                <a:gd name="connsiteY430" fmla="*/ 1377649 h 1413227"/>
                <a:gd name="connsiteX431" fmla="*/ 1559147 w 2048870"/>
                <a:gd name="connsiteY431" fmla="*/ 1375921 h 1413227"/>
                <a:gd name="connsiteX432" fmla="*/ 1564333 w 2048870"/>
                <a:gd name="connsiteY432" fmla="*/ 1372464 h 1413227"/>
                <a:gd name="connsiteX433" fmla="*/ 1579890 w 2048870"/>
                <a:gd name="connsiteY433" fmla="*/ 1370735 h 1413227"/>
                <a:gd name="connsiteX434" fmla="*/ 1597175 w 2048870"/>
                <a:gd name="connsiteY434" fmla="*/ 1363821 h 1413227"/>
                <a:gd name="connsiteX435" fmla="*/ 1600633 w 2048870"/>
                <a:gd name="connsiteY435" fmla="*/ 1360364 h 1413227"/>
                <a:gd name="connsiteX436" fmla="*/ 1612732 w 2048870"/>
                <a:gd name="connsiteY436" fmla="*/ 1341350 h 1413227"/>
                <a:gd name="connsiteX437" fmla="*/ 1617918 w 2048870"/>
                <a:gd name="connsiteY437" fmla="*/ 1305051 h 1413227"/>
                <a:gd name="connsiteX438" fmla="*/ 1623104 w 2048870"/>
                <a:gd name="connsiteY438" fmla="*/ 1301593 h 1413227"/>
                <a:gd name="connsiteX439" fmla="*/ 1624832 w 2048870"/>
                <a:gd name="connsiteY439" fmla="*/ 1284308 h 1413227"/>
                <a:gd name="connsiteX440" fmla="*/ 1631746 w 2048870"/>
                <a:gd name="connsiteY440" fmla="*/ 1270480 h 1413227"/>
                <a:gd name="connsiteX441" fmla="*/ 1643846 w 2048870"/>
                <a:gd name="connsiteY441" fmla="*/ 1263565 h 1413227"/>
                <a:gd name="connsiteX442" fmla="*/ 1669774 w 2048870"/>
                <a:gd name="connsiteY442" fmla="*/ 1260108 h 1413227"/>
                <a:gd name="connsiteX443" fmla="*/ 1681874 w 2048870"/>
                <a:gd name="connsiteY443" fmla="*/ 1254923 h 1413227"/>
                <a:gd name="connsiteX444" fmla="*/ 1687060 w 2048870"/>
                <a:gd name="connsiteY444" fmla="*/ 1253194 h 1413227"/>
                <a:gd name="connsiteX445" fmla="*/ 1702617 w 2048870"/>
                <a:gd name="connsiteY445" fmla="*/ 1249737 h 1413227"/>
                <a:gd name="connsiteX446" fmla="*/ 1704345 w 2048870"/>
                <a:gd name="connsiteY446" fmla="*/ 1232452 h 1413227"/>
                <a:gd name="connsiteX447" fmla="*/ 1706074 w 2048870"/>
                <a:gd name="connsiteY447" fmla="*/ 1208252 h 1413227"/>
                <a:gd name="connsiteX448" fmla="*/ 1711259 w 2048870"/>
                <a:gd name="connsiteY448" fmla="*/ 1201338 h 1413227"/>
                <a:gd name="connsiteX449" fmla="*/ 1718174 w 2048870"/>
                <a:gd name="connsiteY449" fmla="*/ 1192695 h 1413227"/>
                <a:gd name="connsiteX450" fmla="*/ 1725088 w 2048870"/>
                <a:gd name="connsiteY450" fmla="*/ 1189238 h 1413227"/>
                <a:gd name="connsiteX451" fmla="*/ 1735459 w 2048870"/>
                <a:gd name="connsiteY451" fmla="*/ 1184052 h 1413227"/>
                <a:gd name="connsiteX452" fmla="*/ 1773487 w 2048870"/>
                <a:gd name="connsiteY452" fmla="*/ 1189238 h 1413227"/>
                <a:gd name="connsiteX453" fmla="*/ 1778673 w 2048870"/>
                <a:gd name="connsiteY453" fmla="*/ 1194424 h 1413227"/>
                <a:gd name="connsiteX454" fmla="*/ 1808058 w 2048870"/>
                <a:gd name="connsiteY454" fmla="*/ 1187510 h 1413227"/>
                <a:gd name="connsiteX455" fmla="*/ 1811515 w 2048870"/>
                <a:gd name="connsiteY455" fmla="*/ 1180595 h 1413227"/>
                <a:gd name="connsiteX456" fmla="*/ 1818429 w 2048870"/>
                <a:gd name="connsiteY456" fmla="*/ 1171953 h 1413227"/>
                <a:gd name="connsiteX457" fmla="*/ 1825343 w 2048870"/>
                <a:gd name="connsiteY457" fmla="*/ 1158124 h 1413227"/>
                <a:gd name="connsiteX458" fmla="*/ 1827072 w 2048870"/>
                <a:gd name="connsiteY458" fmla="*/ 1151210 h 1413227"/>
                <a:gd name="connsiteX459" fmla="*/ 1833986 w 2048870"/>
                <a:gd name="connsiteY459" fmla="*/ 1133925 h 1413227"/>
                <a:gd name="connsiteX460" fmla="*/ 1820158 w 2048870"/>
                <a:gd name="connsiteY460" fmla="*/ 1128739 h 1413227"/>
                <a:gd name="connsiteX461" fmla="*/ 1816701 w 2048870"/>
                <a:gd name="connsiteY461" fmla="*/ 1123553 h 1413227"/>
                <a:gd name="connsiteX462" fmla="*/ 1820158 w 2048870"/>
                <a:gd name="connsiteY462" fmla="*/ 1118368 h 1413227"/>
                <a:gd name="connsiteX463" fmla="*/ 1825343 w 2048870"/>
                <a:gd name="connsiteY463" fmla="*/ 1111454 h 1413227"/>
                <a:gd name="connsiteX464" fmla="*/ 1828800 w 2048870"/>
                <a:gd name="connsiteY464" fmla="*/ 1099354 h 1413227"/>
                <a:gd name="connsiteX465" fmla="*/ 1832257 w 2048870"/>
                <a:gd name="connsiteY465" fmla="*/ 1094168 h 1413227"/>
                <a:gd name="connsiteX466" fmla="*/ 1830529 w 2048870"/>
                <a:gd name="connsiteY466" fmla="*/ 1083797 h 1413227"/>
                <a:gd name="connsiteX467" fmla="*/ 1816701 w 2048870"/>
                <a:gd name="connsiteY467" fmla="*/ 1087254 h 1413227"/>
                <a:gd name="connsiteX468" fmla="*/ 1789044 w 2048870"/>
                <a:gd name="connsiteY468" fmla="*/ 1092440 h 1413227"/>
                <a:gd name="connsiteX469" fmla="*/ 1778673 w 2048870"/>
                <a:gd name="connsiteY469" fmla="*/ 1095897 h 1413227"/>
                <a:gd name="connsiteX470" fmla="*/ 1771758 w 2048870"/>
                <a:gd name="connsiteY470" fmla="*/ 1099354 h 1413227"/>
                <a:gd name="connsiteX471" fmla="*/ 1766573 w 2048870"/>
                <a:gd name="connsiteY471" fmla="*/ 1116639 h 1413227"/>
                <a:gd name="connsiteX472" fmla="*/ 1756202 w 2048870"/>
                <a:gd name="connsiteY472" fmla="*/ 1118368 h 1413227"/>
                <a:gd name="connsiteX473" fmla="*/ 1738916 w 2048870"/>
                <a:gd name="connsiteY473" fmla="*/ 1130468 h 1413227"/>
                <a:gd name="connsiteX474" fmla="*/ 1718174 w 2048870"/>
                <a:gd name="connsiteY474" fmla="*/ 1140839 h 1413227"/>
                <a:gd name="connsiteX475" fmla="*/ 1709531 w 2048870"/>
                <a:gd name="connsiteY475" fmla="*/ 1146024 h 1413227"/>
                <a:gd name="connsiteX476" fmla="*/ 1707802 w 2048870"/>
                <a:gd name="connsiteY476" fmla="*/ 1151210 h 1413227"/>
                <a:gd name="connsiteX477" fmla="*/ 1700888 w 2048870"/>
                <a:gd name="connsiteY477" fmla="*/ 1154667 h 1413227"/>
                <a:gd name="connsiteX478" fmla="*/ 1647303 w 2048870"/>
                <a:gd name="connsiteY478" fmla="*/ 1152939 h 1413227"/>
                <a:gd name="connsiteX479" fmla="*/ 1650760 w 2048870"/>
                <a:gd name="connsiteY479" fmla="*/ 1142567 h 1413227"/>
                <a:gd name="connsiteX480" fmla="*/ 1649032 w 2048870"/>
                <a:gd name="connsiteY480" fmla="*/ 1120096 h 1413227"/>
                <a:gd name="connsiteX481" fmla="*/ 1598904 w 2048870"/>
                <a:gd name="connsiteY481" fmla="*/ 1114911 h 1413227"/>
                <a:gd name="connsiteX482" fmla="*/ 1591990 w 2048870"/>
                <a:gd name="connsiteY482" fmla="*/ 1113182 h 1413227"/>
                <a:gd name="connsiteX483" fmla="*/ 1564333 w 2048870"/>
                <a:gd name="connsiteY483" fmla="*/ 1109725 h 1413227"/>
                <a:gd name="connsiteX484" fmla="*/ 1553962 w 2048870"/>
                <a:gd name="connsiteY484" fmla="*/ 1101082 h 1413227"/>
                <a:gd name="connsiteX485" fmla="*/ 1543591 w 2048870"/>
                <a:gd name="connsiteY485" fmla="*/ 1092440 h 1413227"/>
                <a:gd name="connsiteX486" fmla="*/ 1526305 w 2048870"/>
                <a:gd name="connsiteY486" fmla="*/ 1090711 h 1413227"/>
                <a:gd name="connsiteX487" fmla="*/ 1514205 w 2048870"/>
                <a:gd name="connsiteY487" fmla="*/ 1085525 h 1413227"/>
                <a:gd name="connsiteX488" fmla="*/ 1512477 w 2048870"/>
                <a:gd name="connsiteY488" fmla="*/ 1092440 h 1413227"/>
                <a:gd name="connsiteX489" fmla="*/ 1507291 w 2048870"/>
                <a:gd name="connsiteY489" fmla="*/ 1085525 h 1413227"/>
                <a:gd name="connsiteX490" fmla="*/ 1496920 w 2048870"/>
                <a:gd name="connsiteY490" fmla="*/ 1075154 h 1413227"/>
                <a:gd name="connsiteX491" fmla="*/ 1445064 w 2048870"/>
                <a:gd name="connsiteY491" fmla="*/ 1076883 h 1413227"/>
                <a:gd name="connsiteX492" fmla="*/ 1439878 w 2048870"/>
                <a:gd name="connsiteY492" fmla="*/ 1080340 h 1413227"/>
                <a:gd name="connsiteX493" fmla="*/ 1438149 w 2048870"/>
                <a:gd name="connsiteY493" fmla="*/ 1085525 h 1413227"/>
                <a:gd name="connsiteX494" fmla="*/ 1451978 w 2048870"/>
                <a:gd name="connsiteY494" fmla="*/ 1071697 h 1413227"/>
                <a:gd name="connsiteX495" fmla="*/ 1458892 w 2048870"/>
                <a:gd name="connsiteY495" fmla="*/ 1064783 h 1413227"/>
                <a:gd name="connsiteX496" fmla="*/ 1464078 w 2048870"/>
                <a:gd name="connsiteY496" fmla="*/ 1059597 h 1413227"/>
                <a:gd name="connsiteX497" fmla="*/ 1479634 w 2048870"/>
                <a:gd name="connsiteY497" fmla="*/ 1064783 h 1413227"/>
                <a:gd name="connsiteX498" fmla="*/ 1490006 w 2048870"/>
                <a:gd name="connsiteY498" fmla="*/ 1071697 h 1413227"/>
                <a:gd name="connsiteX499" fmla="*/ 1498648 w 2048870"/>
                <a:gd name="connsiteY499" fmla="*/ 1068240 h 1413227"/>
                <a:gd name="connsiteX500" fmla="*/ 1500377 w 2048870"/>
                <a:gd name="connsiteY500" fmla="*/ 1063054 h 1413227"/>
                <a:gd name="connsiteX501" fmla="*/ 1503834 w 2048870"/>
                <a:gd name="connsiteY501" fmla="*/ 1057869 h 1413227"/>
                <a:gd name="connsiteX502" fmla="*/ 1507291 w 2048870"/>
                <a:gd name="connsiteY502" fmla="*/ 1045769 h 1413227"/>
                <a:gd name="connsiteX503" fmla="*/ 1540133 w 2048870"/>
                <a:gd name="connsiteY503" fmla="*/ 1044040 h 1413227"/>
                <a:gd name="connsiteX504" fmla="*/ 1557419 w 2048870"/>
                <a:gd name="connsiteY504" fmla="*/ 1059597 h 1413227"/>
                <a:gd name="connsiteX505" fmla="*/ 1560876 w 2048870"/>
                <a:gd name="connsiteY505" fmla="*/ 1073426 h 1413227"/>
                <a:gd name="connsiteX506" fmla="*/ 1564333 w 2048870"/>
                <a:gd name="connsiteY506" fmla="*/ 1087254 h 1413227"/>
                <a:gd name="connsiteX507" fmla="*/ 1566062 w 2048870"/>
                <a:gd name="connsiteY507" fmla="*/ 1094168 h 1413227"/>
                <a:gd name="connsiteX508" fmla="*/ 1569519 w 2048870"/>
                <a:gd name="connsiteY508" fmla="*/ 1099354 h 1413227"/>
                <a:gd name="connsiteX509" fmla="*/ 1576433 w 2048870"/>
                <a:gd name="connsiteY509" fmla="*/ 1037126 h 1413227"/>
                <a:gd name="connsiteX510" fmla="*/ 1588533 w 2048870"/>
                <a:gd name="connsiteY510" fmla="*/ 1052683 h 1413227"/>
                <a:gd name="connsiteX511" fmla="*/ 1591990 w 2048870"/>
                <a:gd name="connsiteY511" fmla="*/ 1069969 h 1413227"/>
                <a:gd name="connsiteX512" fmla="*/ 1607547 w 2048870"/>
                <a:gd name="connsiteY512" fmla="*/ 1080340 h 1413227"/>
                <a:gd name="connsiteX513" fmla="*/ 1612732 w 2048870"/>
                <a:gd name="connsiteY513" fmla="*/ 1083797 h 1413227"/>
                <a:gd name="connsiteX514" fmla="*/ 1621375 w 2048870"/>
                <a:gd name="connsiteY514" fmla="*/ 1085525 h 1413227"/>
                <a:gd name="connsiteX515" fmla="*/ 1633475 w 2048870"/>
                <a:gd name="connsiteY515" fmla="*/ 1092440 h 1413227"/>
                <a:gd name="connsiteX516" fmla="*/ 1640389 w 2048870"/>
                <a:gd name="connsiteY516" fmla="*/ 1095897 h 1413227"/>
                <a:gd name="connsiteX517" fmla="*/ 1649032 w 2048870"/>
                <a:gd name="connsiteY517" fmla="*/ 1109725 h 1413227"/>
                <a:gd name="connsiteX518" fmla="*/ 1659403 w 2048870"/>
                <a:gd name="connsiteY518" fmla="*/ 1113182 h 1413227"/>
                <a:gd name="connsiteX519" fmla="*/ 1669774 w 2048870"/>
                <a:gd name="connsiteY519" fmla="*/ 1118368 h 1413227"/>
                <a:gd name="connsiteX520" fmla="*/ 1680146 w 2048870"/>
                <a:gd name="connsiteY520" fmla="*/ 1125282 h 1413227"/>
                <a:gd name="connsiteX521" fmla="*/ 1699160 w 2048870"/>
                <a:gd name="connsiteY521" fmla="*/ 1139110 h 1413227"/>
                <a:gd name="connsiteX522" fmla="*/ 1712988 w 2048870"/>
                <a:gd name="connsiteY522" fmla="*/ 1142567 h 1413227"/>
                <a:gd name="connsiteX523" fmla="*/ 1704345 w 2048870"/>
                <a:gd name="connsiteY523" fmla="*/ 1137382 h 1413227"/>
                <a:gd name="connsiteX524" fmla="*/ 1699160 w 2048870"/>
                <a:gd name="connsiteY524" fmla="*/ 1132196 h 1413227"/>
                <a:gd name="connsiteX525" fmla="*/ 1688788 w 2048870"/>
                <a:gd name="connsiteY525" fmla="*/ 1128739 h 1413227"/>
                <a:gd name="connsiteX526" fmla="*/ 1674960 w 2048870"/>
                <a:gd name="connsiteY526" fmla="*/ 1125282 h 1413227"/>
                <a:gd name="connsiteX527" fmla="*/ 1659403 w 2048870"/>
                <a:gd name="connsiteY527" fmla="*/ 1121825 h 1413227"/>
                <a:gd name="connsiteX528" fmla="*/ 1650760 w 2048870"/>
                <a:gd name="connsiteY528" fmla="*/ 1116639 h 1413227"/>
                <a:gd name="connsiteX529" fmla="*/ 1645575 w 2048870"/>
                <a:gd name="connsiteY529" fmla="*/ 1113182 h 1413227"/>
                <a:gd name="connsiteX530" fmla="*/ 1642118 w 2048870"/>
                <a:gd name="connsiteY530" fmla="*/ 1107996 h 1413227"/>
                <a:gd name="connsiteX531" fmla="*/ 1628289 w 2048870"/>
                <a:gd name="connsiteY531" fmla="*/ 1088983 h 1413227"/>
                <a:gd name="connsiteX532" fmla="*/ 1626561 w 2048870"/>
                <a:gd name="connsiteY532" fmla="*/ 1083797 h 1413227"/>
                <a:gd name="connsiteX533" fmla="*/ 1619647 w 2048870"/>
                <a:gd name="connsiteY533" fmla="*/ 1075154 h 1413227"/>
                <a:gd name="connsiteX534" fmla="*/ 1616189 w 2048870"/>
                <a:gd name="connsiteY534" fmla="*/ 1061326 h 1413227"/>
                <a:gd name="connsiteX535" fmla="*/ 1614461 w 2048870"/>
                <a:gd name="connsiteY535" fmla="*/ 1056140 h 1413227"/>
                <a:gd name="connsiteX536" fmla="*/ 1604090 w 2048870"/>
                <a:gd name="connsiteY536" fmla="*/ 1038855 h 1413227"/>
                <a:gd name="connsiteX537" fmla="*/ 1598904 w 2048870"/>
                <a:gd name="connsiteY537" fmla="*/ 1037126 h 1413227"/>
                <a:gd name="connsiteX538" fmla="*/ 1593718 w 2048870"/>
                <a:gd name="connsiteY538" fmla="*/ 1030212 h 1413227"/>
                <a:gd name="connsiteX539" fmla="*/ 1585076 w 2048870"/>
                <a:gd name="connsiteY539" fmla="*/ 1019841 h 1413227"/>
                <a:gd name="connsiteX540" fmla="*/ 1590261 w 2048870"/>
                <a:gd name="connsiteY540" fmla="*/ 1000827 h 1413227"/>
                <a:gd name="connsiteX541" fmla="*/ 1598904 w 2048870"/>
                <a:gd name="connsiteY541" fmla="*/ 999098 h 1413227"/>
                <a:gd name="connsiteX542" fmla="*/ 1611004 w 2048870"/>
                <a:gd name="connsiteY542" fmla="*/ 990455 h 1413227"/>
                <a:gd name="connsiteX543" fmla="*/ 1617918 w 2048870"/>
                <a:gd name="connsiteY543" fmla="*/ 985270 h 1413227"/>
                <a:gd name="connsiteX544" fmla="*/ 1616189 w 2048870"/>
                <a:gd name="connsiteY544" fmla="*/ 1021569 h 1413227"/>
                <a:gd name="connsiteX545" fmla="*/ 1612732 w 2048870"/>
                <a:gd name="connsiteY545" fmla="*/ 1028483 h 1413227"/>
                <a:gd name="connsiteX546" fmla="*/ 1607547 w 2048870"/>
                <a:gd name="connsiteY546" fmla="*/ 1035398 h 1413227"/>
                <a:gd name="connsiteX547" fmla="*/ 1612732 w 2048870"/>
                <a:gd name="connsiteY547" fmla="*/ 1031941 h 1413227"/>
                <a:gd name="connsiteX548" fmla="*/ 1621375 w 2048870"/>
                <a:gd name="connsiteY548" fmla="*/ 1016384 h 1413227"/>
                <a:gd name="connsiteX549" fmla="*/ 1626561 w 2048870"/>
                <a:gd name="connsiteY549" fmla="*/ 997370 h 1413227"/>
                <a:gd name="connsiteX550" fmla="*/ 1626561 w 2048870"/>
                <a:gd name="connsiteY550" fmla="*/ 976627 h 1413227"/>
                <a:gd name="connsiteX551" fmla="*/ 1619647 w 2048870"/>
                <a:gd name="connsiteY551" fmla="*/ 962799 h 1413227"/>
                <a:gd name="connsiteX552" fmla="*/ 1626561 w 2048870"/>
                <a:gd name="connsiteY552" fmla="*/ 966256 h 1413227"/>
                <a:gd name="connsiteX553" fmla="*/ 1638661 w 2048870"/>
                <a:gd name="connsiteY553" fmla="*/ 969713 h 1413227"/>
                <a:gd name="connsiteX554" fmla="*/ 1645575 w 2048870"/>
                <a:gd name="connsiteY554" fmla="*/ 967984 h 1413227"/>
                <a:gd name="connsiteX555" fmla="*/ 1650760 w 2048870"/>
                <a:gd name="connsiteY555" fmla="*/ 955885 h 1413227"/>
                <a:gd name="connsiteX556" fmla="*/ 1659403 w 2048870"/>
                <a:gd name="connsiteY556" fmla="*/ 933414 h 1413227"/>
                <a:gd name="connsiteX557" fmla="*/ 1662860 w 2048870"/>
                <a:gd name="connsiteY557" fmla="*/ 929956 h 1413227"/>
                <a:gd name="connsiteX558" fmla="*/ 1664589 w 2048870"/>
                <a:gd name="connsiteY558" fmla="*/ 923042 h 1413227"/>
                <a:gd name="connsiteX559" fmla="*/ 1673231 w 2048870"/>
                <a:gd name="connsiteY559" fmla="*/ 893657 h 1413227"/>
                <a:gd name="connsiteX560" fmla="*/ 1687060 w 2048870"/>
                <a:gd name="connsiteY560" fmla="*/ 891928 h 1413227"/>
                <a:gd name="connsiteX561" fmla="*/ 1693974 w 2048870"/>
                <a:gd name="connsiteY561" fmla="*/ 890200 h 1413227"/>
                <a:gd name="connsiteX562" fmla="*/ 1700888 w 2048870"/>
                <a:gd name="connsiteY562" fmla="*/ 886743 h 1413227"/>
                <a:gd name="connsiteX563" fmla="*/ 1719902 w 2048870"/>
                <a:gd name="connsiteY563" fmla="*/ 878100 h 1413227"/>
                <a:gd name="connsiteX564" fmla="*/ 1726816 w 2048870"/>
                <a:gd name="connsiteY564" fmla="*/ 876372 h 1413227"/>
                <a:gd name="connsiteX565" fmla="*/ 1745830 w 2048870"/>
                <a:gd name="connsiteY565" fmla="*/ 860815 h 1413227"/>
                <a:gd name="connsiteX566" fmla="*/ 1751016 w 2048870"/>
                <a:gd name="connsiteY566" fmla="*/ 857358 h 1413227"/>
                <a:gd name="connsiteX567" fmla="*/ 1757930 w 2048870"/>
                <a:gd name="connsiteY567" fmla="*/ 855629 h 1413227"/>
                <a:gd name="connsiteX568" fmla="*/ 1764844 w 2048870"/>
                <a:gd name="connsiteY568" fmla="*/ 841801 h 1413227"/>
                <a:gd name="connsiteX569" fmla="*/ 1771758 w 2048870"/>
                <a:gd name="connsiteY569" fmla="*/ 836615 h 1413227"/>
                <a:gd name="connsiteX570" fmla="*/ 1776944 w 2048870"/>
                <a:gd name="connsiteY570" fmla="*/ 833158 h 1413227"/>
                <a:gd name="connsiteX571" fmla="*/ 1787315 w 2048870"/>
                <a:gd name="connsiteY571" fmla="*/ 831429 h 1413227"/>
                <a:gd name="connsiteX572" fmla="*/ 1795958 w 2048870"/>
                <a:gd name="connsiteY572" fmla="*/ 829701 h 1413227"/>
                <a:gd name="connsiteX573" fmla="*/ 1797687 w 2048870"/>
                <a:gd name="connsiteY573" fmla="*/ 824515 h 1413227"/>
                <a:gd name="connsiteX574" fmla="*/ 1825343 w 2048870"/>
                <a:gd name="connsiteY574" fmla="*/ 796859 h 1413227"/>
                <a:gd name="connsiteX575" fmla="*/ 1830529 w 2048870"/>
                <a:gd name="connsiteY575" fmla="*/ 776116 h 1413227"/>
                <a:gd name="connsiteX576" fmla="*/ 1835715 w 2048870"/>
                <a:gd name="connsiteY576" fmla="*/ 770930 h 1413227"/>
                <a:gd name="connsiteX577" fmla="*/ 1863371 w 2048870"/>
                <a:gd name="connsiteY577" fmla="*/ 760559 h 1413227"/>
                <a:gd name="connsiteX578" fmla="*/ 1868557 w 2048870"/>
                <a:gd name="connsiteY578" fmla="*/ 755373 h 1413227"/>
                <a:gd name="connsiteX579" fmla="*/ 1880657 w 2048870"/>
                <a:gd name="connsiteY579" fmla="*/ 753645 h 1413227"/>
                <a:gd name="connsiteX580" fmla="*/ 1889299 w 2048870"/>
                <a:gd name="connsiteY580" fmla="*/ 750188 h 1413227"/>
                <a:gd name="connsiteX581" fmla="*/ 1894485 w 2048870"/>
                <a:gd name="connsiteY581" fmla="*/ 731174 h 1413227"/>
                <a:gd name="connsiteX582" fmla="*/ 1910042 w 2048870"/>
                <a:gd name="connsiteY582" fmla="*/ 719074 h 1413227"/>
                <a:gd name="connsiteX583" fmla="*/ 1916956 w 2048870"/>
                <a:gd name="connsiteY583" fmla="*/ 710431 h 1413227"/>
                <a:gd name="connsiteX584" fmla="*/ 1908313 w 2048870"/>
                <a:gd name="connsiteY584" fmla="*/ 689689 h 1413227"/>
                <a:gd name="connsiteX585" fmla="*/ 1901399 w 2048870"/>
                <a:gd name="connsiteY585" fmla="*/ 675860 h 1413227"/>
                <a:gd name="connsiteX586" fmla="*/ 1897942 w 2048870"/>
                <a:gd name="connsiteY586" fmla="*/ 665489 h 1413227"/>
                <a:gd name="connsiteX587" fmla="*/ 1901399 w 2048870"/>
                <a:gd name="connsiteY587" fmla="*/ 651661 h 1413227"/>
                <a:gd name="connsiteX588" fmla="*/ 1897942 w 2048870"/>
                <a:gd name="connsiteY588" fmla="*/ 629190 h 1413227"/>
                <a:gd name="connsiteX589" fmla="*/ 1904856 w 2048870"/>
                <a:gd name="connsiteY589" fmla="*/ 624004 h 1413227"/>
                <a:gd name="connsiteX590" fmla="*/ 1910042 w 2048870"/>
                <a:gd name="connsiteY590" fmla="*/ 613633 h 1413227"/>
                <a:gd name="connsiteX591" fmla="*/ 1918685 w 2048870"/>
                <a:gd name="connsiteY591" fmla="*/ 608447 h 1413227"/>
                <a:gd name="connsiteX592" fmla="*/ 1925599 w 2048870"/>
                <a:gd name="connsiteY592" fmla="*/ 601533 h 1413227"/>
                <a:gd name="connsiteX593" fmla="*/ 1929056 w 2048870"/>
                <a:gd name="connsiteY593" fmla="*/ 587705 h 1413227"/>
                <a:gd name="connsiteX594" fmla="*/ 1932513 w 2048870"/>
                <a:gd name="connsiteY594" fmla="*/ 582519 h 1413227"/>
                <a:gd name="connsiteX595" fmla="*/ 1939427 w 2048870"/>
                <a:gd name="connsiteY595" fmla="*/ 565234 h 1413227"/>
                <a:gd name="connsiteX596" fmla="*/ 1963627 w 2048870"/>
                <a:gd name="connsiteY596" fmla="*/ 556591 h 1413227"/>
                <a:gd name="connsiteX597" fmla="*/ 1968812 w 2048870"/>
                <a:gd name="connsiteY597" fmla="*/ 547948 h 1413227"/>
                <a:gd name="connsiteX598" fmla="*/ 1986098 w 2048870"/>
                <a:gd name="connsiteY598" fmla="*/ 544491 h 1413227"/>
                <a:gd name="connsiteX599" fmla="*/ 2008569 w 2048870"/>
                <a:gd name="connsiteY599" fmla="*/ 539305 h 1413227"/>
                <a:gd name="connsiteX600" fmla="*/ 2017212 w 2048870"/>
                <a:gd name="connsiteY600" fmla="*/ 530663 h 1413227"/>
                <a:gd name="connsiteX601" fmla="*/ 2048326 w 2048870"/>
                <a:gd name="connsiteY601" fmla="*/ 525477 h 1413227"/>
                <a:gd name="connsiteX602" fmla="*/ 2043140 w 2048870"/>
                <a:gd name="connsiteY602" fmla="*/ 499549 h 1413227"/>
                <a:gd name="connsiteX603" fmla="*/ 2032769 w 2048870"/>
                <a:gd name="connsiteY603" fmla="*/ 492635 h 1413227"/>
                <a:gd name="connsiteX604" fmla="*/ 2025854 w 2048870"/>
                <a:gd name="connsiteY604" fmla="*/ 447693 h 1413227"/>
                <a:gd name="connsiteX605" fmla="*/ 2018940 w 2048870"/>
                <a:gd name="connsiteY605" fmla="*/ 428679 h 1413227"/>
                <a:gd name="connsiteX606" fmla="*/ 2015483 w 2048870"/>
                <a:gd name="connsiteY606" fmla="*/ 418307 h 1413227"/>
                <a:gd name="connsiteX607" fmla="*/ 2010298 w 2048870"/>
                <a:gd name="connsiteY607" fmla="*/ 411393 h 1413227"/>
                <a:gd name="connsiteX608" fmla="*/ 2003383 w 2048870"/>
                <a:gd name="connsiteY608" fmla="*/ 407936 h 1413227"/>
                <a:gd name="connsiteX609" fmla="*/ 1984369 w 2048870"/>
                <a:gd name="connsiteY609" fmla="*/ 404479 h 1413227"/>
                <a:gd name="connsiteX610" fmla="*/ 1977455 w 2048870"/>
                <a:gd name="connsiteY610" fmla="*/ 394108 h 1413227"/>
                <a:gd name="connsiteX611" fmla="*/ 1972270 w 2048870"/>
                <a:gd name="connsiteY611" fmla="*/ 390651 h 1413227"/>
                <a:gd name="connsiteX612" fmla="*/ 1968812 w 2048870"/>
                <a:gd name="connsiteY612" fmla="*/ 382008 h 1413227"/>
                <a:gd name="connsiteX613" fmla="*/ 1973998 w 2048870"/>
                <a:gd name="connsiteY613" fmla="*/ 366451 h 1413227"/>
                <a:gd name="connsiteX614" fmla="*/ 1982641 w 2048870"/>
                <a:gd name="connsiteY614" fmla="*/ 354351 h 1413227"/>
                <a:gd name="connsiteX615" fmla="*/ 1984369 w 2048870"/>
                <a:gd name="connsiteY615" fmla="*/ 347437 h 1413227"/>
                <a:gd name="connsiteX616" fmla="*/ 1994741 w 2048870"/>
                <a:gd name="connsiteY616" fmla="*/ 343980 h 1413227"/>
                <a:gd name="connsiteX617" fmla="*/ 1960170 w 2048870"/>
                <a:gd name="connsiteY617" fmla="*/ 337066 h 1413227"/>
                <a:gd name="connsiteX618" fmla="*/ 1958441 w 2048870"/>
                <a:gd name="connsiteY618" fmla="*/ 331880 h 1413227"/>
                <a:gd name="connsiteX619" fmla="*/ 1954984 w 2048870"/>
                <a:gd name="connsiteY619" fmla="*/ 326694 h 1413227"/>
                <a:gd name="connsiteX620" fmla="*/ 1958441 w 2048870"/>
                <a:gd name="connsiteY620" fmla="*/ 318052 h 1413227"/>
                <a:gd name="connsiteX621" fmla="*/ 1963627 w 2048870"/>
                <a:gd name="connsiteY621" fmla="*/ 311138 h 1413227"/>
                <a:gd name="connsiteX622" fmla="*/ 1967084 w 2048870"/>
                <a:gd name="connsiteY622" fmla="*/ 305952 h 1413227"/>
                <a:gd name="connsiteX623" fmla="*/ 1968812 w 2048870"/>
                <a:gd name="connsiteY623" fmla="*/ 299038 h 1413227"/>
                <a:gd name="connsiteX624" fmla="*/ 1973998 w 2048870"/>
                <a:gd name="connsiteY624" fmla="*/ 293852 h 1413227"/>
                <a:gd name="connsiteX625" fmla="*/ 1975727 w 2048870"/>
                <a:gd name="connsiteY625" fmla="*/ 269652 h 1413227"/>
                <a:gd name="connsiteX626" fmla="*/ 1970541 w 2048870"/>
                <a:gd name="connsiteY626" fmla="*/ 255824 h 1413227"/>
                <a:gd name="connsiteX627" fmla="*/ 1968812 w 2048870"/>
                <a:gd name="connsiteY627" fmla="*/ 250638 h 1413227"/>
                <a:gd name="connsiteX628" fmla="*/ 1967084 w 2048870"/>
                <a:gd name="connsiteY628" fmla="*/ 243724 h 1413227"/>
                <a:gd name="connsiteX629" fmla="*/ 1963627 w 2048870"/>
                <a:gd name="connsiteY629" fmla="*/ 238539 h 1413227"/>
                <a:gd name="connsiteX630" fmla="*/ 1965355 w 2048870"/>
                <a:gd name="connsiteY630" fmla="*/ 216068 h 1413227"/>
                <a:gd name="connsiteX631" fmla="*/ 1961898 w 2048870"/>
                <a:gd name="connsiteY631" fmla="*/ 209153 h 1413227"/>
                <a:gd name="connsiteX632" fmla="*/ 1954984 w 2048870"/>
                <a:gd name="connsiteY632" fmla="*/ 216068 h 1413227"/>
                <a:gd name="connsiteX633" fmla="*/ 1948070 w 2048870"/>
                <a:gd name="connsiteY633" fmla="*/ 217796 h 1413227"/>
                <a:gd name="connsiteX634" fmla="*/ 1937699 w 2048870"/>
                <a:gd name="connsiteY634" fmla="*/ 226439 h 1413227"/>
                <a:gd name="connsiteX635" fmla="*/ 1932513 w 2048870"/>
                <a:gd name="connsiteY635" fmla="*/ 228167 h 1413227"/>
                <a:gd name="connsiteX636" fmla="*/ 1922142 w 2048870"/>
                <a:gd name="connsiteY636" fmla="*/ 235082 h 1413227"/>
                <a:gd name="connsiteX637" fmla="*/ 1906585 w 2048870"/>
                <a:gd name="connsiteY637" fmla="*/ 231624 h 1413227"/>
                <a:gd name="connsiteX638" fmla="*/ 1885842 w 2048870"/>
                <a:gd name="connsiteY638" fmla="*/ 222982 h 1413227"/>
                <a:gd name="connsiteX639" fmla="*/ 1878928 w 2048870"/>
                <a:gd name="connsiteY639" fmla="*/ 224710 h 1413227"/>
                <a:gd name="connsiteX640" fmla="*/ 1868557 w 2048870"/>
                <a:gd name="connsiteY640" fmla="*/ 233353 h 1413227"/>
                <a:gd name="connsiteX641" fmla="*/ 1847814 w 2048870"/>
                <a:gd name="connsiteY641" fmla="*/ 221253 h 1413227"/>
                <a:gd name="connsiteX642" fmla="*/ 1839172 w 2048870"/>
                <a:gd name="connsiteY642" fmla="*/ 217796 h 1413227"/>
                <a:gd name="connsiteX643" fmla="*/ 1832257 w 2048870"/>
                <a:gd name="connsiteY643" fmla="*/ 214339 h 1413227"/>
                <a:gd name="connsiteX644" fmla="*/ 1823615 w 2048870"/>
                <a:gd name="connsiteY644" fmla="*/ 224710 h 1413227"/>
                <a:gd name="connsiteX645" fmla="*/ 1816701 w 2048870"/>
                <a:gd name="connsiteY645" fmla="*/ 229896 h 1413227"/>
                <a:gd name="connsiteX646" fmla="*/ 1787315 w 2048870"/>
                <a:gd name="connsiteY646" fmla="*/ 221253 h 1413227"/>
                <a:gd name="connsiteX647" fmla="*/ 1759659 w 2048870"/>
                <a:gd name="connsiteY647" fmla="*/ 222982 h 1413227"/>
                <a:gd name="connsiteX648" fmla="*/ 1754473 w 2048870"/>
                <a:gd name="connsiteY648" fmla="*/ 224710 h 1413227"/>
                <a:gd name="connsiteX649" fmla="*/ 1735459 w 2048870"/>
                <a:gd name="connsiteY649" fmla="*/ 222982 h 1413227"/>
                <a:gd name="connsiteX650" fmla="*/ 1728545 w 2048870"/>
                <a:gd name="connsiteY650" fmla="*/ 217796 h 1413227"/>
                <a:gd name="connsiteX651" fmla="*/ 1721631 w 2048870"/>
                <a:gd name="connsiteY651" fmla="*/ 207425 h 1413227"/>
                <a:gd name="connsiteX652" fmla="*/ 1712988 w 2048870"/>
                <a:gd name="connsiteY652" fmla="*/ 235082 h 1413227"/>
                <a:gd name="connsiteX653" fmla="*/ 1706074 w 2048870"/>
                <a:gd name="connsiteY653" fmla="*/ 250638 h 1413227"/>
                <a:gd name="connsiteX654" fmla="*/ 1692245 w 2048870"/>
                <a:gd name="connsiteY654" fmla="*/ 236810 h 1413227"/>
                <a:gd name="connsiteX655" fmla="*/ 1645575 w 2048870"/>
                <a:gd name="connsiteY655" fmla="*/ 224710 h 1413227"/>
                <a:gd name="connsiteX656" fmla="*/ 1640389 w 2048870"/>
                <a:gd name="connsiteY656" fmla="*/ 217796 h 1413227"/>
                <a:gd name="connsiteX657" fmla="*/ 1638661 w 2048870"/>
                <a:gd name="connsiteY657" fmla="*/ 212610 h 1413227"/>
                <a:gd name="connsiteX658" fmla="*/ 1623104 w 2048870"/>
                <a:gd name="connsiteY658" fmla="*/ 195325 h 1413227"/>
                <a:gd name="connsiteX659" fmla="*/ 1609275 w 2048870"/>
                <a:gd name="connsiteY659" fmla="*/ 191868 h 1413227"/>
                <a:gd name="connsiteX660" fmla="*/ 1600633 w 2048870"/>
                <a:gd name="connsiteY660" fmla="*/ 200511 h 1413227"/>
                <a:gd name="connsiteX661" fmla="*/ 1595447 w 2048870"/>
                <a:gd name="connsiteY661" fmla="*/ 202239 h 1413227"/>
                <a:gd name="connsiteX662" fmla="*/ 1574704 w 2048870"/>
                <a:gd name="connsiteY662" fmla="*/ 209153 h 1413227"/>
                <a:gd name="connsiteX663" fmla="*/ 1569519 w 2048870"/>
                <a:gd name="connsiteY663" fmla="*/ 214339 h 1413227"/>
                <a:gd name="connsiteX664" fmla="*/ 1564333 w 2048870"/>
                <a:gd name="connsiteY664" fmla="*/ 217796 h 1413227"/>
                <a:gd name="connsiteX665" fmla="*/ 1560876 w 2048870"/>
                <a:gd name="connsiteY665" fmla="*/ 224710 h 1413227"/>
                <a:gd name="connsiteX666" fmla="*/ 1543591 w 2048870"/>
                <a:gd name="connsiteY666" fmla="*/ 238539 h 1413227"/>
                <a:gd name="connsiteX667" fmla="*/ 1536676 w 2048870"/>
                <a:gd name="connsiteY667" fmla="*/ 245453 h 1413227"/>
                <a:gd name="connsiteX668" fmla="*/ 1534948 w 2048870"/>
                <a:gd name="connsiteY668" fmla="*/ 250638 h 1413227"/>
                <a:gd name="connsiteX669" fmla="*/ 1536676 w 2048870"/>
                <a:gd name="connsiteY669" fmla="*/ 255824 h 1413227"/>
                <a:gd name="connsiteX670" fmla="*/ 1510748 w 2048870"/>
                <a:gd name="connsiteY670" fmla="*/ 259281 h 1413227"/>
                <a:gd name="connsiteX671" fmla="*/ 1500377 w 2048870"/>
                <a:gd name="connsiteY671" fmla="*/ 252367 h 1413227"/>
                <a:gd name="connsiteX672" fmla="*/ 1472720 w 2048870"/>
                <a:gd name="connsiteY672" fmla="*/ 252367 h 1413227"/>
                <a:gd name="connsiteX673" fmla="*/ 1455435 w 2048870"/>
                <a:gd name="connsiteY673" fmla="*/ 254096 h 1413227"/>
                <a:gd name="connsiteX674" fmla="*/ 1446792 w 2048870"/>
                <a:gd name="connsiteY674" fmla="*/ 261010 h 1413227"/>
                <a:gd name="connsiteX675" fmla="*/ 1441606 w 2048870"/>
                <a:gd name="connsiteY675" fmla="*/ 267924 h 1413227"/>
                <a:gd name="connsiteX676" fmla="*/ 1438149 w 2048870"/>
                <a:gd name="connsiteY676" fmla="*/ 273110 h 1413227"/>
                <a:gd name="connsiteX677" fmla="*/ 1432964 w 2048870"/>
                <a:gd name="connsiteY677" fmla="*/ 274838 h 1413227"/>
                <a:gd name="connsiteX678" fmla="*/ 1419135 w 2048870"/>
                <a:gd name="connsiteY678" fmla="*/ 281752 h 1413227"/>
                <a:gd name="connsiteX679" fmla="*/ 1412221 w 2048870"/>
                <a:gd name="connsiteY679" fmla="*/ 278295 h 1413227"/>
                <a:gd name="connsiteX680" fmla="*/ 1408764 w 2048870"/>
                <a:gd name="connsiteY680" fmla="*/ 273110 h 1413227"/>
                <a:gd name="connsiteX681" fmla="*/ 1400121 w 2048870"/>
                <a:gd name="connsiteY681" fmla="*/ 257553 h 1413227"/>
                <a:gd name="connsiteX682" fmla="*/ 1394936 w 2048870"/>
                <a:gd name="connsiteY682" fmla="*/ 254096 h 1413227"/>
                <a:gd name="connsiteX683" fmla="*/ 1386293 w 2048870"/>
                <a:gd name="connsiteY683" fmla="*/ 243724 h 1413227"/>
                <a:gd name="connsiteX684" fmla="*/ 1381107 w 2048870"/>
                <a:gd name="connsiteY684" fmla="*/ 212610 h 1413227"/>
                <a:gd name="connsiteX685" fmla="*/ 1370736 w 2048870"/>
                <a:gd name="connsiteY685" fmla="*/ 202239 h 1413227"/>
                <a:gd name="connsiteX686" fmla="*/ 1363822 w 2048870"/>
                <a:gd name="connsiteY686" fmla="*/ 200511 h 1413227"/>
                <a:gd name="connsiteX687" fmla="*/ 1358636 w 2048870"/>
                <a:gd name="connsiteY687" fmla="*/ 193596 h 1413227"/>
                <a:gd name="connsiteX688" fmla="*/ 1349994 w 2048870"/>
                <a:gd name="connsiteY688" fmla="*/ 178040 h 1413227"/>
                <a:gd name="connsiteX689" fmla="*/ 1337894 w 2048870"/>
                <a:gd name="connsiteY689" fmla="*/ 167668 h 1413227"/>
                <a:gd name="connsiteX690" fmla="*/ 1298137 w 2048870"/>
                <a:gd name="connsiteY690" fmla="*/ 169397 h 1413227"/>
                <a:gd name="connsiteX691" fmla="*/ 1284309 w 2048870"/>
                <a:gd name="connsiteY691" fmla="*/ 179768 h 1413227"/>
                <a:gd name="connsiteX692" fmla="*/ 1268752 w 2048870"/>
                <a:gd name="connsiteY692" fmla="*/ 181497 h 1413227"/>
                <a:gd name="connsiteX693" fmla="*/ 1251467 w 2048870"/>
                <a:gd name="connsiteY693" fmla="*/ 174583 h 1413227"/>
                <a:gd name="connsiteX694" fmla="*/ 1241095 w 2048870"/>
                <a:gd name="connsiteY694" fmla="*/ 164211 h 1413227"/>
                <a:gd name="connsiteX695" fmla="*/ 1230724 w 2048870"/>
                <a:gd name="connsiteY695" fmla="*/ 160754 h 1413227"/>
                <a:gd name="connsiteX696" fmla="*/ 1215167 w 2048870"/>
                <a:gd name="connsiteY696" fmla="*/ 146926 h 1413227"/>
                <a:gd name="connsiteX697" fmla="*/ 1213439 w 2048870"/>
                <a:gd name="connsiteY697" fmla="*/ 140012 h 1413227"/>
                <a:gd name="connsiteX698" fmla="*/ 1206524 w 2048870"/>
                <a:gd name="connsiteY698" fmla="*/ 131369 h 1413227"/>
                <a:gd name="connsiteX699" fmla="*/ 1204796 w 2048870"/>
                <a:gd name="connsiteY699" fmla="*/ 122726 h 1413227"/>
                <a:gd name="connsiteX700" fmla="*/ 1190968 w 2048870"/>
                <a:gd name="connsiteY700" fmla="*/ 117541 h 1413227"/>
                <a:gd name="connsiteX701" fmla="*/ 1201339 w 2048870"/>
                <a:gd name="connsiteY701" fmla="*/ 105441 h 1413227"/>
                <a:gd name="connsiteX702" fmla="*/ 1208253 w 2048870"/>
                <a:gd name="connsiteY702" fmla="*/ 101984 h 1413227"/>
                <a:gd name="connsiteX703" fmla="*/ 1213439 w 2048870"/>
                <a:gd name="connsiteY703" fmla="*/ 95069 h 1413227"/>
                <a:gd name="connsiteX704" fmla="*/ 1218624 w 2048870"/>
                <a:gd name="connsiteY704" fmla="*/ 89884 h 1413227"/>
                <a:gd name="connsiteX705" fmla="*/ 1216896 w 2048870"/>
                <a:gd name="connsiteY705" fmla="*/ 84698 h 1413227"/>
                <a:gd name="connsiteX706" fmla="*/ 1206524 w 2048870"/>
                <a:gd name="connsiteY706" fmla="*/ 81241 h 1413227"/>
                <a:gd name="connsiteX707" fmla="*/ 1190968 w 2048870"/>
                <a:gd name="connsiteY707" fmla="*/ 76055 h 1413227"/>
                <a:gd name="connsiteX708" fmla="*/ 1175411 w 2048870"/>
                <a:gd name="connsiteY708" fmla="*/ 60499 h 1413227"/>
                <a:gd name="connsiteX709" fmla="*/ 1168496 w 2048870"/>
                <a:gd name="connsiteY709" fmla="*/ 53584 h 1413227"/>
                <a:gd name="connsiteX710" fmla="*/ 1165039 w 2048870"/>
                <a:gd name="connsiteY710" fmla="*/ 46670 h 1413227"/>
                <a:gd name="connsiteX711" fmla="*/ 1159854 w 2048870"/>
                <a:gd name="connsiteY711" fmla="*/ 39756 h 1413227"/>
                <a:gd name="connsiteX712" fmla="*/ 1151211 w 2048870"/>
                <a:gd name="connsiteY712" fmla="*/ 27656 h 1413227"/>
                <a:gd name="connsiteX713" fmla="*/ 1146025 w 2048870"/>
                <a:gd name="connsiteY713" fmla="*/ 24199 h 1413227"/>
                <a:gd name="connsiteX714" fmla="*/ 1140840 w 2048870"/>
                <a:gd name="connsiteY714" fmla="*/ 17285 h 1413227"/>
                <a:gd name="connsiteX715" fmla="*/ 1123554 w 2048870"/>
                <a:gd name="connsiteY715" fmla="*/ 3457 h 1413227"/>
                <a:gd name="connsiteX716" fmla="*/ 1116640 w 2048870"/>
                <a:gd name="connsiteY716" fmla="*/ 0 h 1413227"/>
                <a:gd name="connsiteX717" fmla="*/ 1102812 w 2048870"/>
                <a:gd name="connsiteY717" fmla="*/ 1728 h 1413227"/>
                <a:gd name="connsiteX718" fmla="*/ 1097626 w 2048870"/>
                <a:gd name="connsiteY718" fmla="*/ 3457 h 1413227"/>
                <a:gd name="connsiteX719" fmla="*/ 1090712 w 2048870"/>
                <a:gd name="connsiteY719" fmla="*/ 5185 h 1413227"/>
                <a:gd name="connsiteX720" fmla="*/ 1071698 w 2048870"/>
                <a:gd name="connsiteY720" fmla="*/ 17285 h 1413227"/>
                <a:gd name="connsiteX721" fmla="*/ 1056141 w 2048870"/>
                <a:gd name="connsiteY721" fmla="*/ 15556 h 1413227"/>
                <a:gd name="connsiteX722" fmla="*/ 1050955 w 2048870"/>
                <a:gd name="connsiteY722" fmla="*/ 19014 h 1413227"/>
                <a:gd name="connsiteX723" fmla="*/ 1042313 w 2048870"/>
                <a:gd name="connsiteY723" fmla="*/ 27656 h 1413227"/>
                <a:gd name="connsiteX724" fmla="*/ 1028484 w 2048870"/>
                <a:gd name="connsiteY724" fmla="*/ 38027 h 1413227"/>
                <a:gd name="connsiteX725" fmla="*/ 1025027 w 2048870"/>
                <a:gd name="connsiteY725" fmla="*/ 41485 h 1413227"/>
                <a:gd name="connsiteX726" fmla="*/ 1016385 w 2048870"/>
                <a:gd name="connsiteY726" fmla="*/ 46670 h 1413227"/>
                <a:gd name="connsiteX727" fmla="*/ 1012927 w 2048870"/>
                <a:gd name="connsiteY727" fmla="*/ 50127 h 1413227"/>
                <a:gd name="connsiteX728" fmla="*/ 997371 w 2048870"/>
                <a:gd name="connsiteY728" fmla="*/ 57041 h 1413227"/>
                <a:gd name="connsiteX729" fmla="*/ 973171 w 2048870"/>
                <a:gd name="connsiteY729" fmla="*/ 58770 h 1413227"/>
                <a:gd name="connsiteX730" fmla="*/ 967985 w 2048870"/>
                <a:gd name="connsiteY730" fmla="*/ 62227 h 1413227"/>
                <a:gd name="connsiteX731" fmla="*/ 966257 w 2048870"/>
                <a:gd name="connsiteY731" fmla="*/ 79513 h 1413227"/>
                <a:gd name="connsiteX732" fmla="*/ 962800 w 2048870"/>
                <a:gd name="connsiteY732" fmla="*/ 103712 h 1413227"/>
                <a:gd name="connsiteX733" fmla="*/ 961071 w 2048870"/>
                <a:gd name="connsiteY733" fmla="*/ 112355 h 1413227"/>
                <a:gd name="connsiteX734" fmla="*/ 916129 w 2048870"/>
                <a:gd name="connsiteY734" fmla="*/ 115812 h 1413227"/>
                <a:gd name="connsiteX735" fmla="*/ 910943 w 2048870"/>
                <a:gd name="connsiteY735" fmla="*/ 119269 h 1413227"/>
                <a:gd name="connsiteX736" fmla="*/ 905758 w 2048870"/>
                <a:gd name="connsiteY736" fmla="*/ 120998 h 1413227"/>
                <a:gd name="connsiteX737" fmla="*/ 893658 w 2048870"/>
                <a:gd name="connsiteY737" fmla="*/ 124455 h 1413227"/>
                <a:gd name="connsiteX738" fmla="*/ 888472 w 2048870"/>
                <a:gd name="connsiteY738" fmla="*/ 126183 h 1413227"/>
                <a:gd name="connsiteX739" fmla="*/ 895386 w 2048870"/>
                <a:gd name="connsiteY739" fmla="*/ 124455 h 1413227"/>
                <a:gd name="connsiteX740" fmla="*/ 904029 w 2048870"/>
                <a:gd name="connsiteY740" fmla="*/ 115812 h 1413227"/>
                <a:gd name="connsiteX741" fmla="*/ 966257 w 2048870"/>
                <a:gd name="connsiteY741" fmla="*/ 63956 h 1413227"/>
                <a:gd name="connsiteX0" fmla="*/ 966257 w 2048870"/>
                <a:gd name="connsiteY0" fmla="*/ 63956 h 1413227"/>
                <a:gd name="connsiteX1" fmla="*/ 962800 w 2048870"/>
                <a:gd name="connsiteY1" fmla="*/ 72598 h 1413227"/>
                <a:gd name="connsiteX2" fmla="*/ 919586 w 2048870"/>
                <a:gd name="connsiteY2" fmla="*/ 114083 h 1413227"/>
                <a:gd name="connsiteX3" fmla="*/ 902301 w 2048870"/>
                <a:gd name="connsiteY3" fmla="*/ 120998 h 1413227"/>
                <a:gd name="connsiteX4" fmla="*/ 885015 w 2048870"/>
                <a:gd name="connsiteY4" fmla="*/ 122726 h 1413227"/>
                <a:gd name="connsiteX5" fmla="*/ 878101 w 2048870"/>
                <a:gd name="connsiteY5" fmla="*/ 129640 h 1413227"/>
                <a:gd name="connsiteX6" fmla="*/ 855630 w 2048870"/>
                <a:gd name="connsiteY6" fmla="*/ 140012 h 1413227"/>
                <a:gd name="connsiteX7" fmla="*/ 850444 w 2048870"/>
                <a:gd name="connsiteY7" fmla="*/ 145197 h 1413227"/>
                <a:gd name="connsiteX8" fmla="*/ 831430 w 2048870"/>
                <a:gd name="connsiteY8" fmla="*/ 146926 h 1413227"/>
                <a:gd name="connsiteX9" fmla="*/ 808923 w 2048870"/>
                <a:gd name="connsiteY9" fmla="*/ 195183 h 1413227"/>
                <a:gd name="connsiteX10" fmla="*/ 817602 w 2048870"/>
                <a:gd name="connsiteY10" fmla="*/ 247181 h 1413227"/>
                <a:gd name="connsiteX11" fmla="*/ 821059 w 2048870"/>
                <a:gd name="connsiteY11" fmla="*/ 255824 h 1413227"/>
                <a:gd name="connsiteX12" fmla="*/ 826245 w 2048870"/>
                <a:gd name="connsiteY12" fmla="*/ 259281 h 1413227"/>
                <a:gd name="connsiteX13" fmla="*/ 833159 w 2048870"/>
                <a:gd name="connsiteY13" fmla="*/ 267924 h 1413227"/>
                <a:gd name="connsiteX14" fmla="*/ 836616 w 2048870"/>
                <a:gd name="connsiteY14" fmla="*/ 280024 h 1413227"/>
                <a:gd name="connsiteX15" fmla="*/ 834887 w 2048870"/>
                <a:gd name="connsiteY15" fmla="*/ 295581 h 1413227"/>
                <a:gd name="connsiteX16" fmla="*/ 821059 w 2048870"/>
                <a:gd name="connsiteY16" fmla="*/ 299038 h 1413227"/>
                <a:gd name="connsiteX17" fmla="*/ 800316 w 2048870"/>
                <a:gd name="connsiteY17" fmla="*/ 295581 h 1413227"/>
                <a:gd name="connsiteX18" fmla="*/ 786488 w 2048870"/>
                <a:gd name="connsiteY18" fmla="*/ 286938 h 1413227"/>
                <a:gd name="connsiteX19" fmla="*/ 781302 w 2048870"/>
                <a:gd name="connsiteY19" fmla="*/ 285209 h 1413227"/>
                <a:gd name="connsiteX20" fmla="*/ 774388 w 2048870"/>
                <a:gd name="connsiteY20" fmla="*/ 278295 h 1413227"/>
                <a:gd name="connsiteX21" fmla="*/ 767474 w 2048870"/>
                <a:gd name="connsiteY21" fmla="*/ 285209 h 1413227"/>
                <a:gd name="connsiteX22" fmla="*/ 758831 w 2048870"/>
                <a:gd name="connsiteY22" fmla="*/ 286938 h 1413227"/>
                <a:gd name="connsiteX23" fmla="*/ 751917 w 2048870"/>
                <a:gd name="connsiteY23" fmla="*/ 288666 h 1413227"/>
                <a:gd name="connsiteX24" fmla="*/ 746732 w 2048870"/>
                <a:gd name="connsiteY24" fmla="*/ 290395 h 1413227"/>
                <a:gd name="connsiteX25" fmla="*/ 722532 w 2048870"/>
                <a:gd name="connsiteY25" fmla="*/ 292124 h 1413227"/>
                <a:gd name="connsiteX26" fmla="*/ 720803 w 2048870"/>
                <a:gd name="connsiteY26" fmla="*/ 297309 h 1413227"/>
                <a:gd name="connsiteX27" fmla="*/ 701789 w 2048870"/>
                <a:gd name="connsiteY27" fmla="*/ 312866 h 1413227"/>
                <a:gd name="connsiteX28" fmla="*/ 686233 w 2048870"/>
                <a:gd name="connsiteY28" fmla="*/ 305952 h 1413227"/>
                <a:gd name="connsiteX29" fmla="*/ 684504 w 2048870"/>
                <a:gd name="connsiteY29" fmla="*/ 300766 h 1413227"/>
                <a:gd name="connsiteX30" fmla="*/ 681047 w 2048870"/>
                <a:gd name="connsiteY30" fmla="*/ 285209 h 1413227"/>
                <a:gd name="connsiteX31" fmla="*/ 649933 w 2048870"/>
                <a:gd name="connsiteY31" fmla="*/ 288666 h 1413227"/>
                <a:gd name="connsiteX32" fmla="*/ 646476 w 2048870"/>
                <a:gd name="connsiteY32" fmla="*/ 299038 h 1413227"/>
                <a:gd name="connsiteX33" fmla="*/ 639562 w 2048870"/>
                <a:gd name="connsiteY33" fmla="*/ 314595 h 1413227"/>
                <a:gd name="connsiteX34" fmla="*/ 634376 w 2048870"/>
                <a:gd name="connsiteY34" fmla="*/ 326694 h 1413227"/>
                <a:gd name="connsiteX35" fmla="*/ 629191 w 2048870"/>
                <a:gd name="connsiteY35" fmla="*/ 328423 h 1413227"/>
                <a:gd name="connsiteX36" fmla="*/ 613634 w 2048870"/>
                <a:gd name="connsiteY36" fmla="*/ 323237 h 1413227"/>
                <a:gd name="connsiteX37" fmla="*/ 601534 w 2048870"/>
                <a:gd name="connsiteY37" fmla="*/ 311138 h 1413227"/>
                <a:gd name="connsiteX38" fmla="*/ 572149 w 2048870"/>
                <a:gd name="connsiteY38" fmla="*/ 309409 h 1413227"/>
                <a:gd name="connsiteX39" fmla="*/ 566963 w 2048870"/>
                <a:gd name="connsiteY39" fmla="*/ 295581 h 1413227"/>
                <a:gd name="connsiteX40" fmla="*/ 563506 w 2048870"/>
                <a:gd name="connsiteY40" fmla="*/ 300766 h 1413227"/>
                <a:gd name="connsiteX41" fmla="*/ 558320 w 2048870"/>
                <a:gd name="connsiteY41" fmla="*/ 307680 h 1413227"/>
                <a:gd name="connsiteX42" fmla="*/ 549678 w 2048870"/>
                <a:gd name="connsiteY42" fmla="*/ 321509 h 1413227"/>
                <a:gd name="connsiteX43" fmla="*/ 509921 w 2048870"/>
                <a:gd name="connsiteY43" fmla="*/ 324966 h 1413227"/>
                <a:gd name="connsiteX44" fmla="*/ 515107 w 2048870"/>
                <a:gd name="connsiteY44" fmla="*/ 328423 h 1413227"/>
                <a:gd name="connsiteX45" fmla="*/ 525478 w 2048870"/>
                <a:gd name="connsiteY45" fmla="*/ 331880 h 1413227"/>
                <a:gd name="connsiteX46" fmla="*/ 523749 w 2048870"/>
                <a:gd name="connsiteY46" fmla="*/ 337066 h 1413227"/>
                <a:gd name="connsiteX47" fmla="*/ 516835 w 2048870"/>
                <a:gd name="connsiteY47" fmla="*/ 343980 h 1413227"/>
                <a:gd name="connsiteX48" fmla="*/ 511650 w 2048870"/>
                <a:gd name="connsiteY48" fmla="*/ 323237 h 1413227"/>
                <a:gd name="connsiteX49" fmla="*/ 483993 w 2048870"/>
                <a:gd name="connsiteY49" fmla="*/ 333609 h 1413227"/>
                <a:gd name="connsiteX50" fmla="*/ 478807 w 2048870"/>
                <a:gd name="connsiteY50" fmla="*/ 338794 h 1413227"/>
                <a:gd name="connsiteX51" fmla="*/ 466707 w 2048870"/>
                <a:gd name="connsiteY51" fmla="*/ 337066 h 1413227"/>
                <a:gd name="connsiteX52" fmla="*/ 463250 w 2048870"/>
                <a:gd name="connsiteY52" fmla="*/ 324966 h 1413227"/>
                <a:gd name="connsiteX53" fmla="*/ 454608 w 2048870"/>
                <a:gd name="connsiteY53" fmla="*/ 312866 h 1413227"/>
                <a:gd name="connsiteX54" fmla="*/ 449422 w 2048870"/>
                <a:gd name="connsiteY54" fmla="*/ 311138 h 1413227"/>
                <a:gd name="connsiteX55" fmla="*/ 425222 w 2048870"/>
                <a:gd name="connsiteY55" fmla="*/ 314595 h 1413227"/>
                <a:gd name="connsiteX56" fmla="*/ 273110 w 2048870"/>
                <a:gd name="connsiteY56" fmla="*/ 316323 h 1413227"/>
                <a:gd name="connsiteX57" fmla="*/ 262739 w 2048870"/>
                <a:gd name="connsiteY57" fmla="*/ 323237 h 1413227"/>
                <a:gd name="connsiteX58" fmla="*/ 255825 w 2048870"/>
                <a:gd name="connsiteY58" fmla="*/ 324966 h 1413227"/>
                <a:gd name="connsiteX59" fmla="*/ 250639 w 2048870"/>
                <a:gd name="connsiteY59" fmla="*/ 326694 h 1413227"/>
                <a:gd name="connsiteX60" fmla="*/ 238540 w 2048870"/>
                <a:gd name="connsiteY60" fmla="*/ 330152 h 1413227"/>
                <a:gd name="connsiteX61" fmla="*/ 200512 w 2048870"/>
                <a:gd name="connsiteY61" fmla="*/ 333609 h 1413227"/>
                <a:gd name="connsiteX62" fmla="*/ 188412 w 2048870"/>
                <a:gd name="connsiteY62" fmla="*/ 338794 h 1413227"/>
                <a:gd name="connsiteX63" fmla="*/ 176312 w 2048870"/>
                <a:gd name="connsiteY63" fmla="*/ 342251 h 1413227"/>
                <a:gd name="connsiteX64" fmla="*/ 146927 w 2048870"/>
                <a:gd name="connsiteY64" fmla="*/ 356080 h 1413227"/>
                <a:gd name="connsiteX65" fmla="*/ 138284 w 2048870"/>
                <a:gd name="connsiteY65" fmla="*/ 357808 h 1413227"/>
                <a:gd name="connsiteX66" fmla="*/ 136555 w 2048870"/>
                <a:gd name="connsiteY66" fmla="*/ 364722 h 1413227"/>
                <a:gd name="connsiteX67" fmla="*/ 134827 w 2048870"/>
                <a:gd name="connsiteY67" fmla="*/ 380279 h 1413227"/>
                <a:gd name="connsiteX68" fmla="*/ 127913 w 2048870"/>
                <a:gd name="connsiteY68" fmla="*/ 387193 h 1413227"/>
                <a:gd name="connsiteX69" fmla="*/ 126184 w 2048870"/>
                <a:gd name="connsiteY69" fmla="*/ 394108 h 1413227"/>
                <a:gd name="connsiteX70" fmla="*/ 124456 w 2048870"/>
                <a:gd name="connsiteY70" fmla="*/ 402750 h 1413227"/>
                <a:gd name="connsiteX71" fmla="*/ 117541 w 2048870"/>
                <a:gd name="connsiteY71" fmla="*/ 407936 h 1413227"/>
                <a:gd name="connsiteX72" fmla="*/ 105442 w 2048870"/>
                <a:gd name="connsiteY72" fmla="*/ 411393 h 1413227"/>
                <a:gd name="connsiteX73" fmla="*/ 100256 w 2048870"/>
                <a:gd name="connsiteY73" fmla="*/ 413122 h 1413227"/>
                <a:gd name="connsiteX74" fmla="*/ 70871 w 2048870"/>
                <a:gd name="connsiteY74" fmla="*/ 421764 h 1413227"/>
                <a:gd name="connsiteX75" fmla="*/ 67414 w 2048870"/>
                <a:gd name="connsiteY75" fmla="*/ 428679 h 1413227"/>
                <a:gd name="connsiteX76" fmla="*/ 69142 w 2048870"/>
                <a:gd name="connsiteY76" fmla="*/ 440778 h 1413227"/>
                <a:gd name="connsiteX77" fmla="*/ 65685 w 2048870"/>
                <a:gd name="connsiteY77" fmla="*/ 445964 h 1413227"/>
                <a:gd name="connsiteX78" fmla="*/ 63957 w 2048870"/>
                <a:gd name="connsiteY78" fmla="*/ 452878 h 1413227"/>
                <a:gd name="connsiteX79" fmla="*/ 69142 w 2048870"/>
                <a:gd name="connsiteY79" fmla="*/ 456335 h 1413227"/>
                <a:gd name="connsiteX80" fmla="*/ 74328 w 2048870"/>
                <a:gd name="connsiteY80" fmla="*/ 458064 h 1413227"/>
                <a:gd name="connsiteX81" fmla="*/ 84699 w 2048870"/>
                <a:gd name="connsiteY81" fmla="*/ 466707 h 1413227"/>
                <a:gd name="connsiteX82" fmla="*/ 81242 w 2048870"/>
                <a:gd name="connsiteY82" fmla="*/ 473621 h 1413227"/>
                <a:gd name="connsiteX83" fmla="*/ 77785 w 2048870"/>
                <a:gd name="connsiteY83" fmla="*/ 478806 h 1413227"/>
                <a:gd name="connsiteX84" fmla="*/ 79513 w 2048870"/>
                <a:gd name="connsiteY84" fmla="*/ 485721 h 1413227"/>
                <a:gd name="connsiteX85" fmla="*/ 72599 w 2048870"/>
                <a:gd name="connsiteY85" fmla="*/ 489178 h 1413227"/>
                <a:gd name="connsiteX86" fmla="*/ 63957 w 2048870"/>
                <a:gd name="connsiteY86" fmla="*/ 487449 h 1413227"/>
                <a:gd name="connsiteX87" fmla="*/ 76056 w 2048870"/>
                <a:gd name="connsiteY87" fmla="*/ 485721 h 1413227"/>
                <a:gd name="connsiteX88" fmla="*/ 86428 w 2048870"/>
                <a:gd name="connsiteY88" fmla="*/ 483992 h 1413227"/>
                <a:gd name="connsiteX89" fmla="*/ 84699 w 2048870"/>
                <a:gd name="connsiteY89" fmla="*/ 494363 h 1413227"/>
                <a:gd name="connsiteX90" fmla="*/ 86428 w 2048870"/>
                <a:gd name="connsiteY90" fmla="*/ 501277 h 1413227"/>
                <a:gd name="connsiteX91" fmla="*/ 96799 w 2048870"/>
                <a:gd name="connsiteY91" fmla="*/ 515106 h 1413227"/>
                <a:gd name="connsiteX92" fmla="*/ 101985 w 2048870"/>
                <a:gd name="connsiteY92" fmla="*/ 516834 h 1413227"/>
                <a:gd name="connsiteX93" fmla="*/ 114084 w 2048870"/>
                <a:gd name="connsiteY93" fmla="*/ 520291 h 1413227"/>
                <a:gd name="connsiteX94" fmla="*/ 119270 w 2048870"/>
                <a:gd name="connsiteY94" fmla="*/ 525477 h 1413227"/>
                <a:gd name="connsiteX95" fmla="*/ 133098 w 2048870"/>
                <a:gd name="connsiteY95" fmla="*/ 535848 h 1413227"/>
                <a:gd name="connsiteX96" fmla="*/ 136555 w 2048870"/>
                <a:gd name="connsiteY96" fmla="*/ 542762 h 1413227"/>
                <a:gd name="connsiteX97" fmla="*/ 134827 w 2048870"/>
                <a:gd name="connsiteY97" fmla="*/ 572148 h 1413227"/>
                <a:gd name="connsiteX98" fmla="*/ 140012 w 2048870"/>
                <a:gd name="connsiteY98" fmla="*/ 573876 h 1413227"/>
                <a:gd name="connsiteX99" fmla="*/ 143470 w 2048870"/>
                <a:gd name="connsiteY99" fmla="*/ 577333 h 1413227"/>
                <a:gd name="connsiteX100" fmla="*/ 146927 w 2048870"/>
                <a:gd name="connsiteY100" fmla="*/ 589433 h 1413227"/>
                <a:gd name="connsiteX101" fmla="*/ 150384 w 2048870"/>
                <a:gd name="connsiteY101" fmla="*/ 598076 h 1413227"/>
                <a:gd name="connsiteX102" fmla="*/ 148655 w 2048870"/>
                <a:gd name="connsiteY102" fmla="*/ 617090 h 1413227"/>
                <a:gd name="connsiteX103" fmla="*/ 146927 w 2048870"/>
                <a:gd name="connsiteY103" fmla="*/ 622276 h 1413227"/>
                <a:gd name="connsiteX104" fmla="*/ 141741 w 2048870"/>
                <a:gd name="connsiteY104" fmla="*/ 627461 h 1413227"/>
                <a:gd name="connsiteX105" fmla="*/ 136555 w 2048870"/>
                <a:gd name="connsiteY105" fmla="*/ 634375 h 1413227"/>
                <a:gd name="connsiteX106" fmla="*/ 120999 w 2048870"/>
                <a:gd name="connsiteY106" fmla="*/ 639561 h 1413227"/>
                <a:gd name="connsiteX107" fmla="*/ 95070 w 2048870"/>
                <a:gd name="connsiteY107" fmla="*/ 665489 h 1413227"/>
                <a:gd name="connsiteX108" fmla="*/ 89885 w 2048870"/>
                <a:gd name="connsiteY108" fmla="*/ 670675 h 1413227"/>
                <a:gd name="connsiteX109" fmla="*/ 86428 w 2048870"/>
                <a:gd name="connsiteY109" fmla="*/ 675860 h 1413227"/>
                <a:gd name="connsiteX110" fmla="*/ 81242 w 2048870"/>
                <a:gd name="connsiteY110" fmla="*/ 677589 h 1413227"/>
                <a:gd name="connsiteX111" fmla="*/ 77785 w 2048870"/>
                <a:gd name="connsiteY111" fmla="*/ 682775 h 1413227"/>
                <a:gd name="connsiteX112" fmla="*/ 63957 w 2048870"/>
                <a:gd name="connsiteY112" fmla="*/ 689689 h 1413227"/>
                <a:gd name="connsiteX113" fmla="*/ 60499 w 2048870"/>
                <a:gd name="connsiteY113" fmla="*/ 706974 h 1413227"/>
                <a:gd name="connsiteX114" fmla="*/ 50128 w 2048870"/>
                <a:gd name="connsiteY114" fmla="*/ 720803 h 1413227"/>
                <a:gd name="connsiteX115" fmla="*/ 48400 w 2048870"/>
                <a:gd name="connsiteY115" fmla="*/ 725988 h 1413227"/>
                <a:gd name="connsiteX116" fmla="*/ 46671 w 2048870"/>
                <a:gd name="connsiteY116" fmla="*/ 732902 h 1413227"/>
                <a:gd name="connsiteX117" fmla="*/ 25929 w 2048870"/>
                <a:gd name="connsiteY117" fmla="*/ 751916 h 1413227"/>
                <a:gd name="connsiteX118" fmla="*/ 19014 w 2048870"/>
                <a:gd name="connsiteY118" fmla="*/ 776116 h 1413227"/>
                <a:gd name="connsiteX119" fmla="*/ 12100 w 2048870"/>
                <a:gd name="connsiteY119" fmla="*/ 789944 h 1413227"/>
                <a:gd name="connsiteX120" fmla="*/ 17286 w 2048870"/>
                <a:gd name="connsiteY120" fmla="*/ 822787 h 1413227"/>
                <a:gd name="connsiteX121" fmla="*/ 25929 w 2048870"/>
                <a:gd name="connsiteY121" fmla="*/ 829701 h 1413227"/>
                <a:gd name="connsiteX122" fmla="*/ 29386 w 2048870"/>
                <a:gd name="connsiteY122" fmla="*/ 838344 h 1413227"/>
                <a:gd name="connsiteX123" fmla="*/ 36300 w 2048870"/>
                <a:gd name="connsiteY123" fmla="*/ 843529 h 1413227"/>
                <a:gd name="connsiteX124" fmla="*/ 38028 w 2048870"/>
                <a:gd name="connsiteY124" fmla="*/ 852172 h 1413227"/>
                <a:gd name="connsiteX125" fmla="*/ 43214 w 2048870"/>
                <a:gd name="connsiteY125" fmla="*/ 864272 h 1413227"/>
                <a:gd name="connsiteX126" fmla="*/ 44943 w 2048870"/>
                <a:gd name="connsiteY126" fmla="*/ 874643 h 1413227"/>
                <a:gd name="connsiteX127" fmla="*/ 51857 w 2048870"/>
                <a:gd name="connsiteY127" fmla="*/ 876372 h 1413227"/>
                <a:gd name="connsiteX128" fmla="*/ 53585 w 2048870"/>
                <a:gd name="connsiteY128" fmla="*/ 883286 h 1413227"/>
                <a:gd name="connsiteX129" fmla="*/ 58771 w 2048870"/>
                <a:gd name="connsiteY129" fmla="*/ 886743 h 1413227"/>
                <a:gd name="connsiteX130" fmla="*/ 51857 w 2048870"/>
                <a:gd name="connsiteY130" fmla="*/ 898843 h 1413227"/>
                <a:gd name="connsiteX131" fmla="*/ 43214 w 2048870"/>
                <a:gd name="connsiteY131" fmla="*/ 904028 h 1413227"/>
                <a:gd name="connsiteX132" fmla="*/ 29386 w 2048870"/>
                <a:gd name="connsiteY132" fmla="*/ 909214 h 1413227"/>
                <a:gd name="connsiteX133" fmla="*/ 27657 w 2048870"/>
                <a:gd name="connsiteY133" fmla="*/ 919585 h 1413227"/>
                <a:gd name="connsiteX134" fmla="*/ 25929 w 2048870"/>
                <a:gd name="connsiteY134" fmla="*/ 926499 h 1413227"/>
                <a:gd name="connsiteX135" fmla="*/ 19014 w 2048870"/>
                <a:gd name="connsiteY135" fmla="*/ 955885 h 1413227"/>
                <a:gd name="connsiteX136" fmla="*/ 10372 w 2048870"/>
                <a:gd name="connsiteY136" fmla="*/ 969713 h 1413227"/>
                <a:gd name="connsiteX137" fmla="*/ 8643 w 2048870"/>
                <a:gd name="connsiteY137" fmla="*/ 990455 h 1413227"/>
                <a:gd name="connsiteX138" fmla="*/ 0 w 2048870"/>
                <a:gd name="connsiteY138" fmla="*/ 999098 h 1413227"/>
                <a:gd name="connsiteX139" fmla="*/ 6915 w 2048870"/>
                <a:gd name="connsiteY139" fmla="*/ 1023298 h 1413227"/>
                <a:gd name="connsiteX140" fmla="*/ 15557 w 2048870"/>
                <a:gd name="connsiteY140" fmla="*/ 1025026 h 1413227"/>
                <a:gd name="connsiteX141" fmla="*/ 22471 w 2048870"/>
                <a:gd name="connsiteY141" fmla="*/ 1030212 h 1413227"/>
                <a:gd name="connsiteX142" fmla="*/ 27657 w 2048870"/>
                <a:gd name="connsiteY142" fmla="*/ 1031941 h 1413227"/>
                <a:gd name="connsiteX143" fmla="*/ 34571 w 2048870"/>
                <a:gd name="connsiteY143" fmla="*/ 1035398 h 1413227"/>
                <a:gd name="connsiteX144" fmla="*/ 39757 w 2048870"/>
                <a:gd name="connsiteY144" fmla="*/ 1042312 h 1413227"/>
                <a:gd name="connsiteX145" fmla="*/ 43214 w 2048870"/>
                <a:gd name="connsiteY145" fmla="*/ 1047497 h 1413227"/>
                <a:gd name="connsiteX146" fmla="*/ 53585 w 2048870"/>
                <a:gd name="connsiteY146" fmla="*/ 1052683 h 1413227"/>
                <a:gd name="connsiteX147" fmla="*/ 95070 w 2048870"/>
                <a:gd name="connsiteY147" fmla="*/ 1061326 h 1413227"/>
                <a:gd name="connsiteX148" fmla="*/ 96799 w 2048870"/>
                <a:gd name="connsiteY148" fmla="*/ 1073426 h 1413227"/>
                <a:gd name="connsiteX149" fmla="*/ 101985 w 2048870"/>
                <a:gd name="connsiteY149" fmla="*/ 1075154 h 1413227"/>
                <a:gd name="connsiteX150" fmla="*/ 112356 w 2048870"/>
                <a:gd name="connsiteY150" fmla="*/ 1066511 h 1413227"/>
                <a:gd name="connsiteX151" fmla="*/ 119270 w 2048870"/>
                <a:gd name="connsiteY151" fmla="*/ 1059597 h 1413227"/>
                <a:gd name="connsiteX152" fmla="*/ 120999 w 2048870"/>
                <a:gd name="connsiteY152" fmla="*/ 1054412 h 1413227"/>
                <a:gd name="connsiteX153" fmla="*/ 134827 w 2048870"/>
                <a:gd name="connsiteY153" fmla="*/ 1061326 h 1413227"/>
                <a:gd name="connsiteX154" fmla="*/ 141741 w 2048870"/>
                <a:gd name="connsiteY154" fmla="*/ 1063054 h 1413227"/>
                <a:gd name="connsiteX155" fmla="*/ 146927 w 2048870"/>
                <a:gd name="connsiteY155" fmla="*/ 1064783 h 1413227"/>
                <a:gd name="connsiteX156" fmla="*/ 247182 w 2048870"/>
                <a:gd name="connsiteY156" fmla="*/ 1068240 h 1413227"/>
                <a:gd name="connsiteX157" fmla="*/ 266196 w 2048870"/>
                <a:gd name="connsiteY157" fmla="*/ 1064783 h 1413227"/>
                <a:gd name="connsiteX158" fmla="*/ 276568 w 2048870"/>
                <a:gd name="connsiteY158" fmla="*/ 1059597 h 1413227"/>
                <a:gd name="connsiteX159" fmla="*/ 285210 w 2048870"/>
                <a:gd name="connsiteY159" fmla="*/ 1049226 h 1413227"/>
                <a:gd name="connsiteX160" fmla="*/ 295581 w 2048870"/>
                <a:gd name="connsiteY160" fmla="*/ 1052683 h 1413227"/>
                <a:gd name="connsiteX161" fmla="*/ 299039 w 2048870"/>
                <a:gd name="connsiteY161" fmla="*/ 1059597 h 1413227"/>
                <a:gd name="connsiteX162" fmla="*/ 312867 w 2048870"/>
                <a:gd name="connsiteY162" fmla="*/ 1071697 h 1413227"/>
                <a:gd name="connsiteX163" fmla="*/ 338795 w 2048870"/>
                <a:gd name="connsiteY163" fmla="*/ 1078611 h 1413227"/>
                <a:gd name="connsiteX164" fmla="*/ 361266 w 2048870"/>
                <a:gd name="connsiteY164" fmla="*/ 1075154 h 1413227"/>
                <a:gd name="connsiteX165" fmla="*/ 362995 w 2048870"/>
                <a:gd name="connsiteY165" fmla="*/ 1068240 h 1413227"/>
                <a:gd name="connsiteX166" fmla="*/ 373366 w 2048870"/>
                <a:gd name="connsiteY166" fmla="*/ 1050955 h 1413227"/>
                <a:gd name="connsiteX167" fmla="*/ 378552 w 2048870"/>
                <a:gd name="connsiteY167" fmla="*/ 1045769 h 1413227"/>
                <a:gd name="connsiteX168" fmla="*/ 397566 w 2048870"/>
                <a:gd name="connsiteY168" fmla="*/ 1038855 h 1413227"/>
                <a:gd name="connsiteX169" fmla="*/ 432137 w 2048870"/>
                <a:gd name="connsiteY169" fmla="*/ 1035398 h 1413227"/>
                <a:gd name="connsiteX170" fmla="*/ 444236 w 2048870"/>
                <a:gd name="connsiteY170" fmla="*/ 1031941 h 1413227"/>
                <a:gd name="connsiteX171" fmla="*/ 447693 w 2048870"/>
                <a:gd name="connsiteY171" fmla="*/ 1025026 h 1413227"/>
                <a:gd name="connsiteX172" fmla="*/ 452879 w 2048870"/>
                <a:gd name="connsiteY172" fmla="*/ 1021569 h 1413227"/>
                <a:gd name="connsiteX173" fmla="*/ 468436 w 2048870"/>
                <a:gd name="connsiteY173" fmla="*/ 1011198 h 1413227"/>
                <a:gd name="connsiteX174" fmla="*/ 473622 w 2048870"/>
                <a:gd name="connsiteY174" fmla="*/ 999098 h 1413227"/>
                <a:gd name="connsiteX175" fmla="*/ 478807 w 2048870"/>
                <a:gd name="connsiteY175" fmla="*/ 986998 h 1413227"/>
                <a:gd name="connsiteX176" fmla="*/ 485721 w 2048870"/>
                <a:gd name="connsiteY176" fmla="*/ 980084 h 1413227"/>
                <a:gd name="connsiteX177" fmla="*/ 489178 w 2048870"/>
                <a:gd name="connsiteY177" fmla="*/ 974899 h 1413227"/>
                <a:gd name="connsiteX178" fmla="*/ 511650 w 2048870"/>
                <a:gd name="connsiteY178" fmla="*/ 955885 h 1413227"/>
                <a:gd name="connsiteX179" fmla="*/ 530664 w 2048870"/>
                <a:gd name="connsiteY179" fmla="*/ 947242 h 1413227"/>
                <a:gd name="connsiteX180" fmla="*/ 537578 w 2048870"/>
                <a:gd name="connsiteY180" fmla="*/ 933414 h 1413227"/>
                <a:gd name="connsiteX181" fmla="*/ 539306 w 2048870"/>
                <a:gd name="connsiteY181" fmla="*/ 928228 h 1413227"/>
                <a:gd name="connsiteX182" fmla="*/ 541035 w 2048870"/>
                <a:gd name="connsiteY182" fmla="*/ 921314 h 1413227"/>
                <a:gd name="connsiteX183" fmla="*/ 563506 w 2048870"/>
                <a:gd name="connsiteY183" fmla="*/ 917857 h 1413227"/>
                <a:gd name="connsiteX184" fmla="*/ 568692 w 2048870"/>
                <a:gd name="connsiteY184" fmla="*/ 916128 h 1413227"/>
                <a:gd name="connsiteX185" fmla="*/ 584248 w 2048870"/>
                <a:gd name="connsiteY185" fmla="*/ 914400 h 1413227"/>
                <a:gd name="connsiteX186" fmla="*/ 589434 w 2048870"/>
                <a:gd name="connsiteY186" fmla="*/ 910942 h 1413227"/>
                <a:gd name="connsiteX187" fmla="*/ 599805 w 2048870"/>
                <a:gd name="connsiteY187" fmla="*/ 905757 h 1413227"/>
                <a:gd name="connsiteX188" fmla="*/ 604991 w 2048870"/>
                <a:gd name="connsiteY188" fmla="*/ 900571 h 1413227"/>
                <a:gd name="connsiteX189" fmla="*/ 606719 w 2048870"/>
                <a:gd name="connsiteY189" fmla="*/ 895386 h 1413227"/>
                <a:gd name="connsiteX190" fmla="*/ 615362 w 2048870"/>
                <a:gd name="connsiteY190" fmla="*/ 891928 h 1413227"/>
                <a:gd name="connsiteX191" fmla="*/ 620548 w 2048870"/>
                <a:gd name="connsiteY191" fmla="*/ 886743 h 1413227"/>
                <a:gd name="connsiteX192" fmla="*/ 639562 w 2048870"/>
                <a:gd name="connsiteY192" fmla="*/ 879829 h 1413227"/>
                <a:gd name="connsiteX193" fmla="*/ 653390 w 2048870"/>
                <a:gd name="connsiteY193" fmla="*/ 883286 h 1413227"/>
                <a:gd name="connsiteX194" fmla="*/ 660304 w 2048870"/>
                <a:gd name="connsiteY194" fmla="*/ 885014 h 1413227"/>
                <a:gd name="connsiteX195" fmla="*/ 668947 w 2048870"/>
                <a:gd name="connsiteY195" fmla="*/ 886743 h 1413227"/>
                <a:gd name="connsiteX196" fmla="*/ 675861 w 2048870"/>
                <a:gd name="connsiteY196" fmla="*/ 890200 h 1413227"/>
                <a:gd name="connsiteX197" fmla="*/ 682775 w 2048870"/>
                <a:gd name="connsiteY197" fmla="*/ 891928 h 1413227"/>
                <a:gd name="connsiteX198" fmla="*/ 687961 w 2048870"/>
                <a:gd name="connsiteY198" fmla="*/ 895386 h 1413227"/>
                <a:gd name="connsiteX199" fmla="*/ 700061 w 2048870"/>
                <a:gd name="connsiteY199" fmla="*/ 898843 h 1413227"/>
                <a:gd name="connsiteX200" fmla="*/ 706975 w 2048870"/>
                <a:gd name="connsiteY200" fmla="*/ 904028 h 1413227"/>
                <a:gd name="connsiteX201" fmla="*/ 720803 w 2048870"/>
                <a:gd name="connsiteY201" fmla="*/ 907485 h 1413227"/>
                <a:gd name="connsiteX202" fmla="*/ 727718 w 2048870"/>
                <a:gd name="connsiteY202" fmla="*/ 905757 h 1413227"/>
                <a:gd name="connsiteX203" fmla="*/ 736360 w 2048870"/>
                <a:gd name="connsiteY203" fmla="*/ 904028 h 1413227"/>
                <a:gd name="connsiteX204" fmla="*/ 738089 w 2048870"/>
                <a:gd name="connsiteY204" fmla="*/ 910942 h 1413227"/>
                <a:gd name="connsiteX205" fmla="*/ 760560 w 2048870"/>
                <a:gd name="connsiteY205" fmla="*/ 904028 h 1413227"/>
                <a:gd name="connsiteX206" fmla="*/ 770931 w 2048870"/>
                <a:gd name="connsiteY206" fmla="*/ 895386 h 1413227"/>
                <a:gd name="connsiteX207" fmla="*/ 776117 w 2048870"/>
                <a:gd name="connsiteY207" fmla="*/ 909214 h 1413227"/>
                <a:gd name="connsiteX208" fmla="*/ 783031 w 2048870"/>
                <a:gd name="connsiteY208" fmla="*/ 914400 h 1413227"/>
                <a:gd name="connsiteX209" fmla="*/ 788217 w 2048870"/>
                <a:gd name="connsiteY209" fmla="*/ 919585 h 1413227"/>
                <a:gd name="connsiteX210" fmla="*/ 793402 w 2048870"/>
                <a:gd name="connsiteY210" fmla="*/ 923042 h 1413227"/>
                <a:gd name="connsiteX211" fmla="*/ 798588 w 2048870"/>
                <a:gd name="connsiteY211" fmla="*/ 928228 h 1413227"/>
                <a:gd name="connsiteX212" fmla="*/ 815873 w 2048870"/>
                <a:gd name="connsiteY212" fmla="*/ 935142 h 1413227"/>
                <a:gd name="connsiteX213" fmla="*/ 821059 w 2048870"/>
                <a:gd name="connsiteY213" fmla="*/ 926499 h 1413227"/>
                <a:gd name="connsiteX214" fmla="*/ 824516 w 2048870"/>
                <a:gd name="connsiteY214" fmla="*/ 910942 h 1413227"/>
                <a:gd name="connsiteX215" fmla="*/ 833159 w 2048870"/>
                <a:gd name="connsiteY215" fmla="*/ 912671 h 1413227"/>
                <a:gd name="connsiteX216" fmla="*/ 838344 w 2048870"/>
                <a:gd name="connsiteY216" fmla="*/ 926499 h 1413227"/>
                <a:gd name="connsiteX217" fmla="*/ 841802 w 2048870"/>
                <a:gd name="connsiteY217" fmla="*/ 929956 h 1413227"/>
                <a:gd name="connsiteX218" fmla="*/ 850444 w 2048870"/>
                <a:gd name="connsiteY218" fmla="*/ 948970 h 1413227"/>
                <a:gd name="connsiteX219" fmla="*/ 853901 w 2048870"/>
                <a:gd name="connsiteY219" fmla="*/ 954156 h 1413227"/>
                <a:gd name="connsiteX220" fmla="*/ 859087 w 2048870"/>
                <a:gd name="connsiteY220" fmla="*/ 988727 h 1413227"/>
                <a:gd name="connsiteX221" fmla="*/ 864273 w 2048870"/>
                <a:gd name="connsiteY221" fmla="*/ 1009469 h 1413227"/>
                <a:gd name="connsiteX222" fmla="*/ 878101 w 2048870"/>
                <a:gd name="connsiteY222" fmla="*/ 1012927 h 1413227"/>
                <a:gd name="connsiteX223" fmla="*/ 885015 w 2048870"/>
                <a:gd name="connsiteY223" fmla="*/ 1016384 h 1413227"/>
                <a:gd name="connsiteX224" fmla="*/ 888472 w 2048870"/>
                <a:gd name="connsiteY224" fmla="*/ 1021569 h 1413227"/>
                <a:gd name="connsiteX225" fmla="*/ 900572 w 2048870"/>
                <a:gd name="connsiteY225" fmla="*/ 1026755 h 1413227"/>
                <a:gd name="connsiteX226" fmla="*/ 905758 w 2048870"/>
                <a:gd name="connsiteY226" fmla="*/ 1033669 h 1413227"/>
                <a:gd name="connsiteX227" fmla="*/ 909215 w 2048870"/>
                <a:gd name="connsiteY227" fmla="*/ 1040583 h 1413227"/>
                <a:gd name="connsiteX228" fmla="*/ 912672 w 2048870"/>
                <a:gd name="connsiteY228" fmla="*/ 1045769 h 1413227"/>
                <a:gd name="connsiteX229" fmla="*/ 921315 w 2048870"/>
                <a:gd name="connsiteY229" fmla="*/ 1061326 h 1413227"/>
                <a:gd name="connsiteX230" fmla="*/ 928229 w 2048870"/>
                <a:gd name="connsiteY230" fmla="*/ 1082068 h 1413227"/>
                <a:gd name="connsiteX231" fmla="*/ 929957 w 2048870"/>
                <a:gd name="connsiteY231" fmla="*/ 1088983 h 1413227"/>
                <a:gd name="connsiteX232" fmla="*/ 940329 w 2048870"/>
                <a:gd name="connsiteY232" fmla="*/ 1095897 h 1413227"/>
                <a:gd name="connsiteX233" fmla="*/ 959343 w 2048870"/>
                <a:gd name="connsiteY233" fmla="*/ 1097625 h 1413227"/>
                <a:gd name="connsiteX234" fmla="*/ 967985 w 2048870"/>
                <a:gd name="connsiteY234" fmla="*/ 1101082 h 1413227"/>
                <a:gd name="connsiteX235" fmla="*/ 973171 w 2048870"/>
                <a:gd name="connsiteY235" fmla="*/ 1106268 h 1413227"/>
                <a:gd name="connsiteX236" fmla="*/ 978357 w 2048870"/>
                <a:gd name="connsiteY236" fmla="*/ 1109725 h 1413227"/>
                <a:gd name="connsiteX237" fmla="*/ 983542 w 2048870"/>
                <a:gd name="connsiteY237" fmla="*/ 1118368 h 1413227"/>
                <a:gd name="connsiteX238" fmla="*/ 985271 w 2048870"/>
                <a:gd name="connsiteY238" fmla="*/ 1132196 h 1413227"/>
                <a:gd name="connsiteX239" fmla="*/ 992185 w 2048870"/>
                <a:gd name="connsiteY239" fmla="*/ 1139110 h 1413227"/>
                <a:gd name="connsiteX240" fmla="*/ 1006013 w 2048870"/>
                <a:gd name="connsiteY240" fmla="*/ 1147753 h 1413227"/>
                <a:gd name="connsiteX241" fmla="*/ 1019842 w 2048870"/>
                <a:gd name="connsiteY241" fmla="*/ 1165038 h 1413227"/>
                <a:gd name="connsiteX242" fmla="*/ 1012927 w 2048870"/>
                <a:gd name="connsiteY242" fmla="*/ 1168496 h 1413227"/>
                <a:gd name="connsiteX243" fmla="*/ 1009470 w 2048870"/>
                <a:gd name="connsiteY243" fmla="*/ 1173681 h 1413227"/>
                <a:gd name="connsiteX244" fmla="*/ 997371 w 2048870"/>
                <a:gd name="connsiteY244" fmla="*/ 1177138 h 1413227"/>
                <a:gd name="connsiteX245" fmla="*/ 990456 w 2048870"/>
                <a:gd name="connsiteY245" fmla="*/ 1182324 h 1413227"/>
                <a:gd name="connsiteX246" fmla="*/ 973171 w 2048870"/>
                <a:gd name="connsiteY246" fmla="*/ 1182324 h 1413227"/>
                <a:gd name="connsiteX247" fmla="*/ 971442 w 2048870"/>
                <a:gd name="connsiteY247" fmla="*/ 1161581 h 1413227"/>
                <a:gd name="connsiteX248" fmla="*/ 962800 w 2048870"/>
                <a:gd name="connsiteY248" fmla="*/ 1171953 h 1413227"/>
                <a:gd name="connsiteX249" fmla="*/ 959343 w 2048870"/>
                <a:gd name="connsiteY249" fmla="*/ 1178867 h 1413227"/>
                <a:gd name="connsiteX250" fmla="*/ 955885 w 2048870"/>
                <a:gd name="connsiteY250" fmla="*/ 1184052 h 1413227"/>
                <a:gd name="connsiteX251" fmla="*/ 947243 w 2048870"/>
                <a:gd name="connsiteY251" fmla="*/ 1187510 h 1413227"/>
                <a:gd name="connsiteX252" fmla="*/ 940329 w 2048870"/>
                <a:gd name="connsiteY252" fmla="*/ 1190967 h 1413227"/>
                <a:gd name="connsiteX253" fmla="*/ 935143 w 2048870"/>
                <a:gd name="connsiteY253" fmla="*/ 1189238 h 1413227"/>
                <a:gd name="connsiteX254" fmla="*/ 929957 w 2048870"/>
                <a:gd name="connsiteY254" fmla="*/ 1171953 h 1413227"/>
                <a:gd name="connsiteX255" fmla="*/ 926500 w 2048870"/>
                <a:gd name="connsiteY255" fmla="*/ 1165038 h 1413227"/>
                <a:gd name="connsiteX256" fmla="*/ 921315 w 2048870"/>
                <a:gd name="connsiteY256" fmla="*/ 1178867 h 1413227"/>
                <a:gd name="connsiteX257" fmla="*/ 917857 w 2048870"/>
                <a:gd name="connsiteY257" fmla="*/ 1182324 h 1413227"/>
                <a:gd name="connsiteX258" fmla="*/ 914400 w 2048870"/>
                <a:gd name="connsiteY258" fmla="*/ 1194424 h 1413227"/>
                <a:gd name="connsiteX259" fmla="*/ 909215 w 2048870"/>
                <a:gd name="connsiteY259" fmla="*/ 1199609 h 1413227"/>
                <a:gd name="connsiteX260" fmla="*/ 886744 w 2048870"/>
                <a:gd name="connsiteY260" fmla="*/ 1180595 h 1413227"/>
                <a:gd name="connsiteX261" fmla="*/ 883287 w 2048870"/>
                <a:gd name="connsiteY261" fmla="*/ 1189238 h 1413227"/>
                <a:gd name="connsiteX262" fmla="*/ 879830 w 2048870"/>
                <a:gd name="connsiteY262" fmla="*/ 1194424 h 1413227"/>
                <a:gd name="connsiteX263" fmla="*/ 874644 w 2048870"/>
                <a:gd name="connsiteY263" fmla="*/ 1204795 h 1413227"/>
                <a:gd name="connsiteX264" fmla="*/ 879830 w 2048870"/>
                <a:gd name="connsiteY264" fmla="*/ 1211709 h 1413227"/>
                <a:gd name="connsiteX265" fmla="*/ 890201 w 2048870"/>
                <a:gd name="connsiteY265" fmla="*/ 1215166 h 1413227"/>
                <a:gd name="connsiteX266" fmla="*/ 893658 w 2048870"/>
                <a:gd name="connsiteY266" fmla="*/ 1235909 h 1413227"/>
                <a:gd name="connsiteX267" fmla="*/ 891929 w 2048870"/>
                <a:gd name="connsiteY267" fmla="*/ 1258380 h 1413227"/>
                <a:gd name="connsiteX268" fmla="*/ 890201 w 2048870"/>
                <a:gd name="connsiteY268" fmla="*/ 1263565 h 1413227"/>
                <a:gd name="connsiteX269" fmla="*/ 878101 w 2048870"/>
                <a:gd name="connsiteY269" fmla="*/ 1275665 h 1413227"/>
                <a:gd name="connsiteX270" fmla="*/ 871187 w 2048870"/>
                <a:gd name="connsiteY270" fmla="*/ 1282579 h 1413227"/>
                <a:gd name="connsiteX271" fmla="*/ 876372 w 2048870"/>
                <a:gd name="connsiteY271" fmla="*/ 1287765 h 1413227"/>
                <a:gd name="connsiteX272" fmla="*/ 874644 w 2048870"/>
                <a:gd name="connsiteY272" fmla="*/ 1306779 h 1413227"/>
                <a:gd name="connsiteX273" fmla="*/ 869458 w 2048870"/>
                <a:gd name="connsiteY273" fmla="*/ 1308508 h 1413227"/>
                <a:gd name="connsiteX274" fmla="*/ 864273 w 2048870"/>
                <a:gd name="connsiteY274" fmla="*/ 1320607 h 1413227"/>
                <a:gd name="connsiteX275" fmla="*/ 862544 w 2048870"/>
                <a:gd name="connsiteY275" fmla="*/ 1360364 h 1413227"/>
                <a:gd name="connsiteX276" fmla="*/ 857358 w 2048870"/>
                <a:gd name="connsiteY276" fmla="*/ 1363821 h 1413227"/>
                <a:gd name="connsiteX277" fmla="*/ 852173 w 2048870"/>
                <a:gd name="connsiteY277" fmla="*/ 1365550 h 1413227"/>
                <a:gd name="connsiteX278" fmla="*/ 850444 w 2048870"/>
                <a:gd name="connsiteY278" fmla="*/ 1370735 h 1413227"/>
                <a:gd name="connsiteX279" fmla="*/ 838344 w 2048870"/>
                <a:gd name="connsiteY279" fmla="*/ 1379378 h 1413227"/>
                <a:gd name="connsiteX280" fmla="*/ 841802 w 2048870"/>
                <a:gd name="connsiteY280" fmla="*/ 1389749 h 1413227"/>
                <a:gd name="connsiteX281" fmla="*/ 835734 w 2048870"/>
                <a:gd name="connsiteY281" fmla="*/ 1400773 h 1413227"/>
                <a:gd name="connsiteX282" fmla="*/ 835505 w 2048870"/>
                <a:gd name="connsiteY282" fmla="*/ 1401197 h 1413227"/>
                <a:gd name="connsiteX283" fmla="*/ 859087 w 2048870"/>
                <a:gd name="connsiteY283" fmla="*/ 1410492 h 1413227"/>
                <a:gd name="connsiteX284" fmla="*/ 885015 w 2048870"/>
                <a:gd name="connsiteY284" fmla="*/ 1408763 h 1413227"/>
                <a:gd name="connsiteX285" fmla="*/ 890201 w 2048870"/>
                <a:gd name="connsiteY285" fmla="*/ 1413103 h 1413227"/>
                <a:gd name="connsiteX286" fmla="*/ 921633 w 2048870"/>
                <a:gd name="connsiteY286" fmla="*/ 1403013 h 1413227"/>
                <a:gd name="connsiteX287" fmla="*/ 932427 w 2048870"/>
                <a:gd name="connsiteY287" fmla="*/ 1394371 h 1413227"/>
                <a:gd name="connsiteX288" fmla="*/ 933873 w 2048870"/>
                <a:gd name="connsiteY288" fmla="*/ 1386010 h 1413227"/>
                <a:gd name="connsiteX289" fmla="*/ 943362 w 2048870"/>
                <a:gd name="connsiteY289" fmla="*/ 1367278 h 1413227"/>
                <a:gd name="connsiteX290" fmla="*/ 943786 w 2048870"/>
                <a:gd name="connsiteY290" fmla="*/ 1362093 h 1413227"/>
                <a:gd name="connsiteX291" fmla="*/ 954157 w 2048870"/>
                <a:gd name="connsiteY291" fmla="*/ 1360364 h 1413227"/>
                <a:gd name="connsiteX292" fmla="*/ 993913 w 2048870"/>
                <a:gd name="connsiteY292" fmla="*/ 1356907 h 1413227"/>
                <a:gd name="connsiteX293" fmla="*/ 997371 w 2048870"/>
                <a:gd name="connsiteY293" fmla="*/ 1349993 h 1413227"/>
                <a:gd name="connsiteX294" fmla="*/ 1009470 w 2048870"/>
                <a:gd name="connsiteY294" fmla="*/ 1344807 h 1413227"/>
                <a:gd name="connsiteX295" fmla="*/ 997371 w 2048870"/>
                <a:gd name="connsiteY295" fmla="*/ 1334436 h 1413227"/>
                <a:gd name="connsiteX296" fmla="*/ 993913 w 2048870"/>
                <a:gd name="connsiteY296" fmla="*/ 1327522 h 1413227"/>
                <a:gd name="connsiteX297" fmla="*/ 988728 w 2048870"/>
                <a:gd name="connsiteY297" fmla="*/ 1322336 h 1413227"/>
                <a:gd name="connsiteX298" fmla="*/ 985271 w 2048870"/>
                <a:gd name="connsiteY298" fmla="*/ 1310236 h 1413227"/>
                <a:gd name="connsiteX299" fmla="*/ 981814 w 2048870"/>
                <a:gd name="connsiteY299" fmla="*/ 1299865 h 1413227"/>
                <a:gd name="connsiteX300" fmla="*/ 990456 w 2048870"/>
                <a:gd name="connsiteY300" fmla="*/ 1287765 h 1413227"/>
                <a:gd name="connsiteX301" fmla="*/ 992185 w 2048870"/>
                <a:gd name="connsiteY301" fmla="*/ 1292951 h 1413227"/>
                <a:gd name="connsiteX302" fmla="*/ 1014656 w 2048870"/>
                <a:gd name="connsiteY302" fmla="*/ 1299865 h 1413227"/>
                <a:gd name="connsiteX303" fmla="*/ 1016385 w 2048870"/>
                <a:gd name="connsiteY303" fmla="*/ 1294679 h 1413227"/>
                <a:gd name="connsiteX304" fmla="*/ 1018113 w 2048870"/>
                <a:gd name="connsiteY304" fmla="*/ 1284308 h 1413227"/>
                <a:gd name="connsiteX305" fmla="*/ 1031941 w 2048870"/>
                <a:gd name="connsiteY305" fmla="*/ 1270480 h 1413227"/>
                <a:gd name="connsiteX306" fmla="*/ 1037127 w 2048870"/>
                <a:gd name="connsiteY306" fmla="*/ 1265294 h 1413227"/>
                <a:gd name="connsiteX307" fmla="*/ 1038856 w 2048870"/>
                <a:gd name="connsiteY307" fmla="*/ 1260108 h 1413227"/>
                <a:gd name="connsiteX308" fmla="*/ 1054412 w 2048870"/>
                <a:gd name="connsiteY308" fmla="*/ 1251466 h 1413227"/>
                <a:gd name="connsiteX309" fmla="*/ 1063055 w 2048870"/>
                <a:gd name="connsiteY309" fmla="*/ 1242823 h 1413227"/>
                <a:gd name="connsiteX310" fmla="*/ 1068241 w 2048870"/>
                <a:gd name="connsiteY310" fmla="*/ 1223809 h 1413227"/>
                <a:gd name="connsiteX311" fmla="*/ 1069969 w 2048870"/>
                <a:gd name="connsiteY311" fmla="*/ 1215166 h 1413227"/>
                <a:gd name="connsiteX312" fmla="*/ 1075155 w 2048870"/>
                <a:gd name="connsiteY312" fmla="*/ 1201338 h 1413227"/>
                <a:gd name="connsiteX313" fmla="*/ 1080341 w 2048870"/>
                <a:gd name="connsiteY313" fmla="*/ 1175410 h 1413227"/>
                <a:gd name="connsiteX314" fmla="*/ 1082069 w 2048870"/>
                <a:gd name="connsiteY314" fmla="*/ 1170224 h 1413227"/>
                <a:gd name="connsiteX315" fmla="*/ 1083798 w 2048870"/>
                <a:gd name="connsiteY315" fmla="*/ 1161581 h 1413227"/>
                <a:gd name="connsiteX316" fmla="*/ 1085526 w 2048870"/>
                <a:gd name="connsiteY316" fmla="*/ 1156396 h 1413227"/>
                <a:gd name="connsiteX317" fmla="*/ 1087255 w 2048870"/>
                <a:gd name="connsiteY317" fmla="*/ 1147753 h 1413227"/>
                <a:gd name="connsiteX318" fmla="*/ 1097626 w 2048870"/>
                <a:gd name="connsiteY318" fmla="*/ 1128739 h 1413227"/>
                <a:gd name="connsiteX319" fmla="*/ 1099355 w 2048870"/>
                <a:gd name="connsiteY319" fmla="*/ 1111454 h 1413227"/>
                <a:gd name="connsiteX320" fmla="*/ 1106269 w 2048870"/>
                <a:gd name="connsiteY320" fmla="*/ 1097625 h 1413227"/>
                <a:gd name="connsiteX321" fmla="*/ 1111454 w 2048870"/>
                <a:gd name="connsiteY321" fmla="*/ 1095897 h 1413227"/>
                <a:gd name="connsiteX322" fmla="*/ 1127011 w 2048870"/>
                <a:gd name="connsiteY322" fmla="*/ 1094168 h 1413227"/>
                <a:gd name="connsiteX323" fmla="*/ 1132197 w 2048870"/>
                <a:gd name="connsiteY323" fmla="*/ 1088983 h 1413227"/>
                <a:gd name="connsiteX324" fmla="*/ 1166768 w 2048870"/>
                <a:gd name="connsiteY324" fmla="*/ 1083797 h 1413227"/>
                <a:gd name="connsiteX325" fmla="*/ 1175411 w 2048870"/>
                <a:gd name="connsiteY325" fmla="*/ 1073426 h 1413227"/>
                <a:gd name="connsiteX326" fmla="*/ 1177139 w 2048870"/>
                <a:gd name="connsiteY326" fmla="*/ 1061326 h 1413227"/>
                <a:gd name="connsiteX327" fmla="*/ 1170225 w 2048870"/>
                <a:gd name="connsiteY327" fmla="*/ 1047497 h 1413227"/>
                <a:gd name="connsiteX328" fmla="*/ 1163311 w 2048870"/>
                <a:gd name="connsiteY328" fmla="*/ 1050955 h 1413227"/>
                <a:gd name="connsiteX329" fmla="*/ 1166768 w 2048870"/>
                <a:gd name="connsiteY329" fmla="*/ 1068240 h 1413227"/>
                <a:gd name="connsiteX330" fmla="*/ 1170225 w 2048870"/>
                <a:gd name="connsiteY330" fmla="*/ 1076883 h 1413227"/>
                <a:gd name="connsiteX331" fmla="*/ 1182325 w 2048870"/>
                <a:gd name="connsiteY331" fmla="*/ 1080340 h 1413227"/>
                <a:gd name="connsiteX332" fmla="*/ 1206524 w 2048870"/>
                <a:gd name="connsiteY332" fmla="*/ 1078611 h 1413227"/>
                <a:gd name="connsiteX333" fmla="*/ 1211710 w 2048870"/>
                <a:gd name="connsiteY333" fmla="*/ 1073426 h 1413227"/>
                <a:gd name="connsiteX334" fmla="*/ 1218624 w 2048870"/>
                <a:gd name="connsiteY334" fmla="*/ 1057869 h 1413227"/>
                <a:gd name="connsiteX335" fmla="*/ 1220353 w 2048870"/>
                <a:gd name="connsiteY335" fmla="*/ 1044040 h 1413227"/>
                <a:gd name="connsiteX336" fmla="*/ 1218624 w 2048870"/>
                <a:gd name="connsiteY336" fmla="*/ 1014655 h 1413227"/>
                <a:gd name="connsiteX337" fmla="*/ 1211710 w 2048870"/>
                <a:gd name="connsiteY337" fmla="*/ 997370 h 1413227"/>
                <a:gd name="connsiteX338" fmla="*/ 1206524 w 2048870"/>
                <a:gd name="connsiteY338" fmla="*/ 993913 h 1413227"/>
                <a:gd name="connsiteX339" fmla="*/ 1184053 w 2048870"/>
                <a:gd name="connsiteY339" fmla="*/ 973170 h 1413227"/>
                <a:gd name="connsiteX340" fmla="*/ 1173682 w 2048870"/>
                <a:gd name="connsiteY340" fmla="*/ 962799 h 1413227"/>
                <a:gd name="connsiteX341" fmla="*/ 1168496 w 2048870"/>
                <a:gd name="connsiteY341" fmla="*/ 957613 h 1413227"/>
                <a:gd name="connsiteX342" fmla="*/ 1171954 w 2048870"/>
                <a:gd name="connsiteY342" fmla="*/ 961070 h 1413227"/>
                <a:gd name="connsiteX343" fmla="*/ 1178868 w 2048870"/>
                <a:gd name="connsiteY343" fmla="*/ 971441 h 1413227"/>
                <a:gd name="connsiteX344" fmla="*/ 1185782 w 2048870"/>
                <a:gd name="connsiteY344" fmla="*/ 980084 h 1413227"/>
                <a:gd name="connsiteX345" fmla="*/ 1190968 w 2048870"/>
                <a:gd name="connsiteY345" fmla="*/ 985270 h 1413227"/>
                <a:gd name="connsiteX346" fmla="*/ 1194425 w 2048870"/>
                <a:gd name="connsiteY346" fmla="*/ 993913 h 1413227"/>
                <a:gd name="connsiteX347" fmla="*/ 1206524 w 2048870"/>
                <a:gd name="connsiteY347" fmla="*/ 1007741 h 1413227"/>
                <a:gd name="connsiteX348" fmla="*/ 1208253 w 2048870"/>
                <a:gd name="connsiteY348" fmla="*/ 1014655 h 1413227"/>
                <a:gd name="connsiteX349" fmla="*/ 1211710 w 2048870"/>
                <a:gd name="connsiteY349" fmla="*/ 1023298 h 1413227"/>
                <a:gd name="connsiteX350" fmla="*/ 1213439 w 2048870"/>
                <a:gd name="connsiteY350" fmla="*/ 1035398 h 1413227"/>
                <a:gd name="connsiteX351" fmla="*/ 1215167 w 2048870"/>
                <a:gd name="connsiteY351" fmla="*/ 1044040 h 1413227"/>
                <a:gd name="connsiteX352" fmla="*/ 1220353 w 2048870"/>
                <a:gd name="connsiteY352" fmla="*/ 1045769 h 1413227"/>
                <a:gd name="connsiteX353" fmla="*/ 1223810 w 2048870"/>
                <a:gd name="connsiteY353" fmla="*/ 1050955 h 1413227"/>
                <a:gd name="connsiteX354" fmla="*/ 1234181 w 2048870"/>
                <a:gd name="connsiteY354" fmla="*/ 1063054 h 1413227"/>
                <a:gd name="connsiteX355" fmla="*/ 1253195 w 2048870"/>
                <a:gd name="connsiteY355" fmla="*/ 1057869 h 1413227"/>
                <a:gd name="connsiteX356" fmla="*/ 1258381 w 2048870"/>
                <a:gd name="connsiteY356" fmla="*/ 1054412 h 1413227"/>
                <a:gd name="connsiteX357" fmla="*/ 1265295 w 2048870"/>
                <a:gd name="connsiteY357" fmla="*/ 1050955 h 1413227"/>
                <a:gd name="connsiteX358" fmla="*/ 1267023 w 2048870"/>
                <a:gd name="connsiteY358" fmla="*/ 1056140 h 1413227"/>
                <a:gd name="connsiteX359" fmla="*/ 1268752 w 2048870"/>
                <a:gd name="connsiteY359" fmla="*/ 1068240 h 1413227"/>
                <a:gd name="connsiteX360" fmla="*/ 1279123 w 2048870"/>
                <a:gd name="connsiteY360" fmla="*/ 1064783 h 1413227"/>
                <a:gd name="connsiteX361" fmla="*/ 1289495 w 2048870"/>
                <a:gd name="connsiteY361" fmla="*/ 1056140 h 1413227"/>
                <a:gd name="connsiteX362" fmla="*/ 1299866 w 2048870"/>
                <a:gd name="connsiteY362" fmla="*/ 1045769 h 1413227"/>
                <a:gd name="connsiteX363" fmla="*/ 1305051 w 2048870"/>
                <a:gd name="connsiteY363" fmla="*/ 1042312 h 1413227"/>
                <a:gd name="connsiteX364" fmla="*/ 1294680 w 2048870"/>
                <a:gd name="connsiteY364" fmla="*/ 1061326 h 1413227"/>
                <a:gd name="connsiteX365" fmla="*/ 1286037 w 2048870"/>
                <a:gd name="connsiteY365" fmla="*/ 1075154 h 1413227"/>
                <a:gd name="connsiteX366" fmla="*/ 1272209 w 2048870"/>
                <a:gd name="connsiteY366" fmla="*/ 1082068 h 1413227"/>
                <a:gd name="connsiteX367" fmla="*/ 1265295 w 2048870"/>
                <a:gd name="connsiteY367" fmla="*/ 1085525 h 1413227"/>
                <a:gd name="connsiteX368" fmla="*/ 1260109 w 2048870"/>
                <a:gd name="connsiteY368" fmla="*/ 1087254 h 1413227"/>
                <a:gd name="connsiteX369" fmla="*/ 1251467 w 2048870"/>
                <a:gd name="connsiteY369" fmla="*/ 1092440 h 1413227"/>
                <a:gd name="connsiteX370" fmla="*/ 1232453 w 2048870"/>
                <a:gd name="connsiteY370" fmla="*/ 1095897 h 1413227"/>
                <a:gd name="connsiteX371" fmla="*/ 1230724 w 2048870"/>
                <a:gd name="connsiteY371" fmla="*/ 1121825 h 1413227"/>
                <a:gd name="connsiteX372" fmla="*/ 1223810 w 2048870"/>
                <a:gd name="connsiteY372" fmla="*/ 1128739 h 1413227"/>
                <a:gd name="connsiteX373" fmla="*/ 1216896 w 2048870"/>
                <a:gd name="connsiteY373" fmla="*/ 1130468 h 1413227"/>
                <a:gd name="connsiteX374" fmla="*/ 1248009 w 2048870"/>
                <a:gd name="connsiteY374" fmla="*/ 1123553 h 1413227"/>
                <a:gd name="connsiteX375" fmla="*/ 1275666 w 2048870"/>
                <a:gd name="connsiteY375" fmla="*/ 1125282 h 1413227"/>
                <a:gd name="connsiteX376" fmla="*/ 1282580 w 2048870"/>
                <a:gd name="connsiteY376" fmla="*/ 1128739 h 1413227"/>
                <a:gd name="connsiteX377" fmla="*/ 1318880 w 2048870"/>
                <a:gd name="connsiteY377" fmla="*/ 1127010 h 1413227"/>
                <a:gd name="connsiteX378" fmla="*/ 1330980 w 2048870"/>
                <a:gd name="connsiteY378" fmla="*/ 1123553 h 1413227"/>
                <a:gd name="connsiteX379" fmla="*/ 1339622 w 2048870"/>
                <a:gd name="connsiteY379" fmla="*/ 1118368 h 1413227"/>
                <a:gd name="connsiteX380" fmla="*/ 1356908 w 2048870"/>
                <a:gd name="connsiteY380" fmla="*/ 1123553 h 1413227"/>
                <a:gd name="connsiteX381" fmla="*/ 1384564 w 2048870"/>
                <a:gd name="connsiteY381" fmla="*/ 1114911 h 1413227"/>
                <a:gd name="connsiteX382" fmla="*/ 1391479 w 2048870"/>
                <a:gd name="connsiteY382" fmla="*/ 1109725 h 1413227"/>
                <a:gd name="connsiteX383" fmla="*/ 1400121 w 2048870"/>
                <a:gd name="connsiteY383" fmla="*/ 1095897 h 1413227"/>
                <a:gd name="connsiteX384" fmla="*/ 1403578 w 2048870"/>
                <a:gd name="connsiteY384" fmla="*/ 1090711 h 1413227"/>
                <a:gd name="connsiteX385" fmla="*/ 1408764 w 2048870"/>
                <a:gd name="connsiteY385" fmla="*/ 1088983 h 1413227"/>
                <a:gd name="connsiteX386" fmla="*/ 1415678 w 2048870"/>
                <a:gd name="connsiteY386" fmla="*/ 1097625 h 1413227"/>
                <a:gd name="connsiteX387" fmla="*/ 1419135 w 2048870"/>
                <a:gd name="connsiteY387" fmla="*/ 1104539 h 1413227"/>
                <a:gd name="connsiteX388" fmla="*/ 1424321 w 2048870"/>
                <a:gd name="connsiteY388" fmla="*/ 1111454 h 1413227"/>
                <a:gd name="connsiteX389" fmla="*/ 1434692 w 2048870"/>
                <a:gd name="connsiteY389" fmla="*/ 1109725 h 1413227"/>
                <a:gd name="connsiteX390" fmla="*/ 1438149 w 2048870"/>
                <a:gd name="connsiteY390" fmla="*/ 1101082 h 1413227"/>
                <a:gd name="connsiteX391" fmla="*/ 1446792 w 2048870"/>
                <a:gd name="connsiteY391" fmla="*/ 1076883 h 1413227"/>
                <a:gd name="connsiteX392" fmla="*/ 1455435 w 2048870"/>
                <a:gd name="connsiteY392" fmla="*/ 1082068 h 1413227"/>
                <a:gd name="connsiteX393" fmla="*/ 1457163 w 2048870"/>
                <a:gd name="connsiteY393" fmla="*/ 1097625 h 1413227"/>
                <a:gd name="connsiteX394" fmla="*/ 1462349 w 2048870"/>
                <a:gd name="connsiteY394" fmla="*/ 1104539 h 1413227"/>
                <a:gd name="connsiteX395" fmla="*/ 1464078 w 2048870"/>
                <a:gd name="connsiteY395" fmla="*/ 1116639 h 1413227"/>
                <a:gd name="connsiteX396" fmla="*/ 1450249 w 2048870"/>
                <a:gd name="connsiteY396" fmla="*/ 1132196 h 1413227"/>
                <a:gd name="connsiteX397" fmla="*/ 1436421 w 2048870"/>
                <a:gd name="connsiteY397" fmla="*/ 1149482 h 1413227"/>
                <a:gd name="connsiteX398" fmla="*/ 1427778 w 2048870"/>
                <a:gd name="connsiteY398" fmla="*/ 1158124 h 1413227"/>
                <a:gd name="connsiteX399" fmla="*/ 1415678 w 2048870"/>
                <a:gd name="connsiteY399" fmla="*/ 1163310 h 1413227"/>
                <a:gd name="connsiteX400" fmla="*/ 1400121 w 2048870"/>
                <a:gd name="connsiteY400" fmla="*/ 1171953 h 1413227"/>
                <a:gd name="connsiteX401" fmla="*/ 1398393 w 2048870"/>
                <a:gd name="connsiteY401" fmla="*/ 1177138 h 1413227"/>
                <a:gd name="connsiteX402" fmla="*/ 1389750 w 2048870"/>
                <a:gd name="connsiteY402" fmla="*/ 1189238 h 1413227"/>
                <a:gd name="connsiteX403" fmla="*/ 1384564 w 2048870"/>
                <a:gd name="connsiteY403" fmla="*/ 1197881 h 1413227"/>
                <a:gd name="connsiteX404" fmla="*/ 1382836 w 2048870"/>
                <a:gd name="connsiteY404" fmla="*/ 1203066 h 1413227"/>
                <a:gd name="connsiteX405" fmla="*/ 1374193 w 2048870"/>
                <a:gd name="connsiteY405" fmla="*/ 1211709 h 1413227"/>
                <a:gd name="connsiteX406" fmla="*/ 1369008 w 2048870"/>
                <a:gd name="connsiteY406" fmla="*/ 1216895 h 1413227"/>
                <a:gd name="connsiteX407" fmla="*/ 1356908 w 2048870"/>
                <a:gd name="connsiteY407" fmla="*/ 1230723 h 1413227"/>
                <a:gd name="connsiteX408" fmla="*/ 1351722 w 2048870"/>
                <a:gd name="connsiteY408" fmla="*/ 1237637 h 1413227"/>
                <a:gd name="connsiteX409" fmla="*/ 1349994 w 2048870"/>
                <a:gd name="connsiteY409" fmla="*/ 1242823 h 1413227"/>
                <a:gd name="connsiteX410" fmla="*/ 1344808 w 2048870"/>
                <a:gd name="connsiteY410" fmla="*/ 1253194 h 1413227"/>
                <a:gd name="connsiteX411" fmla="*/ 1377650 w 2048870"/>
                <a:gd name="connsiteY411" fmla="*/ 1253194 h 1413227"/>
                <a:gd name="connsiteX412" fmla="*/ 1386293 w 2048870"/>
                <a:gd name="connsiteY412" fmla="*/ 1246280 h 1413227"/>
                <a:gd name="connsiteX413" fmla="*/ 1391479 w 2048870"/>
                <a:gd name="connsiteY413" fmla="*/ 1244552 h 1413227"/>
                <a:gd name="connsiteX414" fmla="*/ 1412221 w 2048870"/>
                <a:gd name="connsiteY414" fmla="*/ 1248009 h 1413227"/>
                <a:gd name="connsiteX415" fmla="*/ 1415678 w 2048870"/>
                <a:gd name="connsiteY415" fmla="*/ 1253194 h 1413227"/>
                <a:gd name="connsiteX416" fmla="*/ 1426050 w 2048870"/>
                <a:gd name="connsiteY416" fmla="*/ 1260108 h 1413227"/>
                <a:gd name="connsiteX417" fmla="*/ 1451978 w 2048870"/>
                <a:gd name="connsiteY417" fmla="*/ 1258380 h 1413227"/>
                <a:gd name="connsiteX418" fmla="*/ 1457163 w 2048870"/>
                <a:gd name="connsiteY418" fmla="*/ 1253194 h 1413227"/>
                <a:gd name="connsiteX419" fmla="*/ 1465806 w 2048870"/>
                <a:gd name="connsiteY419" fmla="*/ 1248009 h 1413227"/>
                <a:gd name="connsiteX420" fmla="*/ 1483092 w 2048870"/>
                <a:gd name="connsiteY420" fmla="*/ 1249737 h 1413227"/>
                <a:gd name="connsiteX421" fmla="*/ 1491734 w 2048870"/>
                <a:gd name="connsiteY421" fmla="*/ 1258380 h 1413227"/>
                <a:gd name="connsiteX422" fmla="*/ 1502106 w 2048870"/>
                <a:gd name="connsiteY422" fmla="*/ 1272208 h 1413227"/>
                <a:gd name="connsiteX423" fmla="*/ 1503834 w 2048870"/>
                <a:gd name="connsiteY423" fmla="*/ 1289494 h 1413227"/>
                <a:gd name="connsiteX424" fmla="*/ 1514205 w 2048870"/>
                <a:gd name="connsiteY424" fmla="*/ 1301593 h 1413227"/>
                <a:gd name="connsiteX425" fmla="*/ 1517662 w 2048870"/>
                <a:gd name="connsiteY425" fmla="*/ 1306779 h 1413227"/>
                <a:gd name="connsiteX426" fmla="*/ 1515934 w 2048870"/>
                <a:gd name="connsiteY426" fmla="*/ 1355178 h 1413227"/>
                <a:gd name="connsiteX427" fmla="*/ 1509020 w 2048870"/>
                <a:gd name="connsiteY427" fmla="*/ 1360364 h 1413227"/>
                <a:gd name="connsiteX428" fmla="*/ 1503834 w 2048870"/>
                <a:gd name="connsiteY428" fmla="*/ 1370735 h 1413227"/>
                <a:gd name="connsiteX429" fmla="*/ 1534948 w 2048870"/>
                <a:gd name="connsiteY429" fmla="*/ 1374192 h 1413227"/>
                <a:gd name="connsiteX430" fmla="*/ 1540133 w 2048870"/>
                <a:gd name="connsiteY430" fmla="*/ 1377649 h 1413227"/>
                <a:gd name="connsiteX431" fmla="*/ 1559147 w 2048870"/>
                <a:gd name="connsiteY431" fmla="*/ 1375921 h 1413227"/>
                <a:gd name="connsiteX432" fmla="*/ 1564333 w 2048870"/>
                <a:gd name="connsiteY432" fmla="*/ 1372464 h 1413227"/>
                <a:gd name="connsiteX433" fmla="*/ 1579890 w 2048870"/>
                <a:gd name="connsiteY433" fmla="*/ 1370735 h 1413227"/>
                <a:gd name="connsiteX434" fmla="*/ 1597175 w 2048870"/>
                <a:gd name="connsiteY434" fmla="*/ 1363821 h 1413227"/>
                <a:gd name="connsiteX435" fmla="*/ 1600633 w 2048870"/>
                <a:gd name="connsiteY435" fmla="*/ 1360364 h 1413227"/>
                <a:gd name="connsiteX436" fmla="*/ 1612732 w 2048870"/>
                <a:gd name="connsiteY436" fmla="*/ 1341350 h 1413227"/>
                <a:gd name="connsiteX437" fmla="*/ 1617918 w 2048870"/>
                <a:gd name="connsiteY437" fmla="*/ 1305051 h 1413227"/>
                <a:gd name="connsiteX438" fmla="*/ 1623104 w 2048870"/>
                <a:gd name="connsiteY438" fmla="*/ 1301593 h 1413227"/>
                <a:gd name="connsiteX439" fmla="*/ 1624832 w 2048870"/>
                <a:gd name="connsiteY439" fmla="*/ 1284308 h 1413227"/>
                <a:gd name="connsiteX440" fmla="*/ 1631746 w 2048870"/>
                <a:gd name="connsiteY440" fmla="*/ 1270480 h 1413227"/>
                <a:gd name="connsiteX441" fmla="*/ 1643846 w 2048870"/>
                <a:gd name="connsiteY441" fmla="*/ 1263565 h 1413227"/>
                <a:gd name="connsiteX442" fmla="*/ 1669774 w 2048870"/>
                <a:gd name="connsiteY442" fmla="*/ 1260108 h 1413227"/>
                <a:gd name="connsiteX443" fmla="*/ 1681874 w 2048870"/>
                <a:gd name="connsiteY443" fmla="*/ 1254923 h 1413227"/>
                <a:gd name="connsiteX444" fmla="*/ 1687060 w 2048870"/>
                <a:gd name="connsiteY444" fmla="*/ 1253194 h 1413227"/>
                <a:gd name="connsiteX445" fmla="*/ 1702617 w 2048870"/>
                <a:gd name="connsiteY445" fmla="*/ 1249737 h 1413227"/>
                <a:gd name="connsiteX446" fmla="*/ 1704345 w 2048870"/>
                <a:gd name="connsiteY446" fmla="*/ 1232452 h 1413227"/>
                <a:gd name="connsiteX447" fmla="*/ 1706074 w 2048870"/>
                <a:gd name="connsiteY447" fmla="*/ 1208252 h 1413227"/>
                <a:gd name="connsiteX448" fmla="*/ 1711259 w 2048870"/>
                <a:gd name="connsiteY448" fmla="*/ 1201338 h 1413227"/>
                <a:gd name="connsiteX449" fmla="*/ 1718174 w 2048870"/>
                <a:gd name="connsiteY449" fmla="*/ 1192695 h 1413227"/>
                <a:gd name="connsiteX450" fmla="*/ 1725088 w 2048870"/>
                <a:gd name="connsiteY450" fmla="*/ 1189238 h 1413227"/>
                <a:gd name="connsiteX451" fmla="*/ 1735459 w 2048870"/>
                <a:gd name="connsiteY451" fmla="*/ 1184052 h 1413227"/>
                <a:gd name="connsiteX452" fmla="*/ 1773487 w 2048870"/>
                <a:gd name="connsiteY452" fmla="*/ 1189238 h 1413227"/>
                <a:gd name="connsiteX453" fmla="*/ 1778673 w 2048870"/>
                <a:gd name="connsiteY453" fmla="*/ 1194424 h 1413227"/>
                <a:gd name="connsiteX454" fmla="*/ 1808058 w 2048870"/>
                <a:gd name="connsiteY454" fmla="*/ 1187510 h 1413227"/>
                <a:gd name="connsiteX455" fmla="*/ 1811515 w 2048870"/>
                <a:gd name="connsiteY455" fmla="*/ 1180595 h 1413227"/>
                <a:gd name="connsiteX456" fmla="*/ 1818429 w 2048870"/>
                <a:gd name="connsiteY456" fmla="*/ 1171953 h 1413227"/>
                <a:gd name="connsiteX457" fmla="*/ 1825343 w 2048870"/>
                <a:gd name="connsiteY457" fmla="*/ 1158124 h 1413227"/>
                <a:gd name="connsiteX458" fmla="*/ 1827072 w 2048870"/>
                <a:gd name="connsiteY458" fmla="*/ 1151210 h 1413227"/>
                <a:gd name="connsiteX459" fmla="*/ 1833986 w 2048870"/>
                <a:gd name="connsiteY459" fmla="*/ 1133925 h 1413227"/>
                <a:gd name="connsiteX460" fmla="*/ 1820158 w 2048870"/>
                <a:gd name="connsiteY460" fmla="*/ 1128739 h 1413227"/>
                <a:gd name="connsiteX461" fmla="*/ 1816701 w 2048870"/>
                <a:gd name="connsiteY461" fmla="*/ 1123553 h 1413227"/>
                <a:gd name="connsiteX462" fmla="*/ 1820158 w 2048870"/>
                <a:gd name="connsiteY462" fmla="*/ 1118368 h 1413227"/>
                <a:gd name="connsiteX463" fmla="*/ 1825343 w 2048870"/>
                <a:gd name="connsiteY463" fmla="*/ 1111454 h 1413227"/>
                <a:gd name="connsiteX464" fmla="*/ 1828800 w 2048870"/>
                <a:gd name="connsiteY464" fmla="*/ 1099354 h 1413227"/>
                <a:gd name="connsiteX465" fmla="*/ 1832257 w 2048870"/>
                <a:gd name="connsiteY465" fmla="*/ 1094168 h 1413227"/>
                <a:gd name="connsiteX466" fmla="*/ 1830529 w 2048870"/>
                <a:gd name="connsiteY466" fmla="*/ 1083797 h 1413227"/>
                <a:gd name="connsiteX467" fmla="*/ 1816701 w 2048870"/>
                <a:gd name="connsiteY467" fmla="*/ 1087254 h 1413227"/>
                <a:gd name="connsiteX468" fmla="*/ 1789044 w 2048870"/>
                <a:gd name="connsiteY468" fmla="*/ 1092440 h 1413227"/>
                <a:gd name="connsiteX469" fmla="*/ 1778673 w 2048870"/>
                <a:gd name="connsiteY469" fmla="*/ 1095897 h 1413227"/>
                <a:gd name="connsiteX470" fmla="*/ 1771758 w 2048870"/>
                <a:gd name="connsiteY470" fmla="*/ 1099354 h 1413227"/>
                <a:gd name="connsiteX471" fmla="*/ 1766573 w 2048870"/>
                <a:gd name="connsiteY471" fmla="*/ 1116639 h 1413227"/>
                <a:gd name="connsiteX472" fmla="*/ 1756202 w 2048870"/>
                <a:gd name="connsiteY472" fmla="*/ 1118368 h 1413227"/>
                <a:gd name="connsiteX473" fmla="*/ 1738916 w 2048870"/>
                <a:gd name="connsiteY473" fmla="*/ 1130468 h 1413227"/>
                <a:gd name="connsiteX474" fmla="*/ 1718174 w 2048870"/>
                <a:gd name="connsiteY474" fmla="*/ 1140839 h 1413227"/>
                <a:gd name="connsiteX475" fmla="*/ 1709531 w 2048870"/>
                <a:gd name="connsiteY475" fmla="*/ 1146024 h 1413227"/>
                <a:gd name="connsiteX476" fmla="*/ 1707802 w 2048870"/>
                <a:gd name="connsiteY476" fmla="*/ 1151210 h 1413227"/>
                <a:gd name="connsiteX477" fmla="*/ 1700888 w 2048870"/>
                <a:gd name="connsiteY477" fmla="*/ 1154667 h 1413227"/>
                <a:gd name="connsiteX478" fmla="*/ 1647303 w 2048870"/>
                <a:gd name="connsiteY478" fmla="*/ 1152939 h 1413227"/>
                <a:gd name="connsiteX479" fmla="*/ 1650760 w 2048870"/>
                <a:gd name="connsiteY479" fmla="*/ 1142567 h 1413227"/>
                <a:gd name="connsiteX480" fmla="*/ 1649032 w 2048870"/>
                <a:gd name="connsiteY480" fmla="*/ 1120096 h 1413227"/>
                <a:gd name="connsiteX481" fmla="*/ 1598904 w 2048870"/>
                <a:gd name="connsiteY481" fmla="*/ 1114911 h 1413227"/>
                <a:gd name="connsiteX482" fmla="*/ 1591990 w 2048870"/>
                <a:gd name="connsiteY482" fmla="*/ 1113182 h 1413227"/>
                <a:gd name="connsiteX483" fmla="*/ 1564333 w 2048870"/>
                <a:gd name="connsiteY483" fmla="*/ 1109725 h 1413227"/>
                <a:gd name="connsiteX484" fmla="*/ 1553962 w 2048870"/>
                <a:gd name="connsiteY484" fmla="*/ 1101082 h 1413227"/>
                <a:gd name="connsiteX485" fmla="*/ 1543591 w 2048870"/>
                <a:gd name="connsiteY485" fmla="*/ 1092440 h 1413227"/>
                <a:gd name="connsiteX486" fmla="*/ 1526305 w 2048870"/>
                <a:gd name="connsiteY486" fmla="*/ 1090711 h 1413227"/>
                <a:gd name="connsiteX487" fmla="*/ 1514205 w 2048870"/>
                <a:gd name="connsiteY487" fmla="*/ 1085525 h 1413227"/>
                <a:gd name="connsiteX488" fmla="*/ 1512477 w 2048870"/>
                <a:gd name="connsiteY488" fmla="*/ 1092440 h 1413227"/>
                <a:gd name="connsiteX489" fmla="*/ 1507291 w 2048870"/>
                <a:gd name="connsiteY489" fmla="*/ 1085525 h 1413227"/>
                <a:gd name="connsiteX490" fmla="*/ 1496920 w 2048870"/>
                <a:gd name="connsiteY490" fmla="*/ 1075154 h 1413227"/>
                <a:gd name="connsiteX491" fmla="*/ 1445064 w 2048870"/>
                <a:gd name="connsiteY491" fmla="*/ 1076883 h 1413227"/>
                <a:gd name="connsiteX492" fmla="*/ 1439878 w 2048870"/>
                <a:gd name="connsiteY492" fmla="*/ 1080340 h 1413227"/>
                <a:gd name="connsiteX493" fmla="*/ 1438149 w 2048870"/>
                <a:gd name="connsiteY493" fmla="*/ 1085525 h 1413227"/>
                <a:gd name="connsiteX494" fmla="*/ 1451978 w 2048870"/>
                <a:gd name="connsiteY494" fmla="*/ 1071697 h 1413227"/>
                <a:gd name="connsiteX495" fmla="*/ 1458892 w 2048870"/>
                <a:gd name="connsiteY495" fmla="*/ 1064783 h 1413227"/>
                <a:gd name="connsiteX496" fmla="*/ 1464078 w 2048870"/>
                <a:gd name="connsiteY496" fmla="*/ 1059597 h 1413227"/>
                <a:gd name="connsiteX497" fmla="*/ 1479634 w 2048870"/>
                <a:gd name="connsiteY497" fmla="*/ 1064783 h 1413227"/>
                <a:gd name="connsiteX498" fmla="*/ 1490006 w 2048870"/>
                <a:gd name="connsiteY498" fmla="*/ 1071697 h 1413227"/>
                <a:gd name="connsiteX499" fmla="*/ 1498648 w 2048870"/>
                <a:gd name="connsiteY499" fmla="*/ 1068240 h 1413227"/>
                <a:gd name="connsiteX500" fmla="*/ 1500377 w 2048870"/>
                <a:gd name="connsiteY500" fmla="*/ 1063054 h 1413227"/>
                <a:gd name="connsiteX501" fmla="*/ 1503834 w 2048870"/>
                <a:gd name="connsiteY501" fmla="*/ 1057869 h 1413227"/>
                <a:gd name="connsiteX502" fmla="*/ 1507291 w 2048870"/>
                <a:gd name="connsiteY502" fmla="*/ 1045769 h 1413227"/>
                <a:gd name="connsiteX503" fmla="*/ 1540133 w 2048870"/>
                <a:gd name="connsiteY503" fmla="*/ 1044040 h 1413227"/>
                <a:gd name="connsiteX504" fmla="*/ 1557419 w 2048870"/>
                <a:gd name="connsiteY504" fmla="*/ 1059597 h 1413227"/>
                <a:gd name="connsiteX505" fmla="*/ 1560876 w 2048870"/>
                <a:gd name="connsiteY505" fmla="*/ 1073426 h 1413227"/>
                <a:gd name="connsiteX506" fmla="*/ 1564333 w 2048870"/>
                <a:gd name="connsiteY506" fmla="*/ 1087254 h 1413227"/>
                <a:gd name="connsiteX507" fmla="*/ 1566062 w 2048870"/>
                <a:gd name="connsiteY507" fmla="*/ 1094168 h 1413227"/>
                <a:gd name="connsiteX508" fmla="*/ 1569519 w 2048870"/>
                <a:gd name="connsiteY508" fmla="*/ 1099354 h 1413227"/>
                <a:gd name="connsiteX509" fmla="*/ 1576433 w 2048870"/>
                <a:gd name="connsiteY509" fmla="*/ 1037126 h 1413227"/>
                <a:gd name="connsiteX510" fmla="*/ 1588533 w 2048870"/>
                <a:gd name="connsiteY510" fmla="*/ 1052683 h 1413227"/>
                <a:gd name="connsiteX511" fmla="*/ 1591990 w 2048870"/>
                <a:gd name="connsiteY511" fmla="*/ 1069969 h 1413227"/>
                <a:gd name="connsiteX512" fmla="*/ 1607547 w 2048870"/>
                <a:gd name="connsiteY512" fmla="*/ 1080340 h 1413227"/>
                <a:gd name="connsiteX513" fmla="*/ 1612732 w 2048870"/>
                <a:gd name="connsiteY513" fmla="*/ 1083797 h 1413227"/>
                <a:gd name="connsiteX514" fmla="*/ 1621375 w 2048870"/>
                <a:gd name="connsiteY514" fmla="*/ 1085525 h 1413227"/>
                <a:gd name="connsiteX515" fmla="*/ 1633475 w 2048870"/>
                <a:gd name="connsiteY515" fmla="*/ 1092440 h 1413227"/>
                <a:gd name="connsiteX516" fmla="*/ 1640389 w 2048870"/>
                <a:gd name="connsiteY516" fmla="*/ 1095897 h 1413227"/>
                <a:gd name="connsiteX517" fmla="*/ 1649032 w 2048870"/>
                <a:gd name="connsiteY517" fmla="*/ 1109725 h 1413227"/>
                <a:gd name="connsiteX518" fmla="*/ 1659403 w 2048870"/>
                <a:gd name="connsiteY518" fmla="*/ 1113182 h 1413227"/>
                <a:gd name="connsiteX519" fmla="*/ 1669774 w 2048870"/>
                <a:gd name="connsiteY519" fmla="*/ 1118368 h 1413227"/>
                <a:gd name="connsiteX520" fmla="*/ 1680146 w 2048870"/>
                <a:gd name="connsiteY520" fmla="*/ 1125282 h 1413227"/>
                <a:gd name="connsiteX521" fmla="*/ 1699160 w 2048870"/>
                <a:gd name="connsiteY521" fmla="*/ 1139110 h 1413227"/>
                <a:gd name="connsiteX522" fmla="*/ 1712988 w 2048870"/>
                <a:gd name="connsiteY522" fmla="*/ 1142567 h 1413227"/>
                <a:gd name="connsiteX523" fmla="*/ 1704345 w 2048870"/>
                <a:gd name="connsiteY523" fmla="*/ 1137382 h 1413227"/>
                <a:gd name="connsiteX524" fmla="*/ 1699160 w 2048870"/>
                <a:gd name="connsiteY524" fmla="*/ 1132196 h 1413227"/>
                <a:gd name="connsiteX525" fmla="*/ 1688788 w 2048870"/>
                <a:gd name="connsiteY525" fmla="*/ 1128739 h 1413227"/>
                <a:gd name="connsiteX526" fmla="*/ 1674960 w 2048870"/>
                <a:gd name="connsiteY526" fmla="*/ 1125282 h 1413227"/>
                <a:gd name="connsiteX527" fmla="*/ 1659403 w 2048870"/>
                <a:gd name="connsiteY527" fmla="*/ 1121825 h 1413227"/>
                <a:gd name="connsiteX528" fmla="*/ 1650760 w 2048870"/>
                <a:gd name="connsiteY528" fmla="*/ 1116639 h 1413227"/>
                <a:gd name="connsiteX529" fmla="*/ 1645575 w 2048870"/>
                <a:gd name="connsiteY529" fmla="*/ 1113182 h 1413227"/>
                <a:gd name="connsiteX530" fmla="*/ 1642118 w 2048870"/>
                <a:gd name="connsiteY530" fmla="*/ 1107996 h 1413227"/>
                <a:gd name="connsiteX531" fmla="*/ 1628289 w 2048870"/>
                <a:gd name="connsiteY531" fmla="*/ 1088983 h 1413227"/>
                <a:gd name="connsiteX532" fmla="*/ 1626561 w 2048870"/>
                <a:gd name="connsiteY532" fmla="*/ 1083797 h 1413227"/>
                <a:gd name="connsiteX533" fmla="*/ 1619647 w 2048870"/>
                <a:gd name="connsiteY533" fmla="*/ 1075154 h 1413227"/>
                <a:gd name="connsiteX534" fmla="*/ 1616189 w 2048870"/>
                <a:gd name="connsiteY534" fmla="*/ 1061326 h 1413227"/>
                <a:gd name="connsiteX535" fmla="*/ 1614461 w 2048870"/>
                <a:gd name="connsiteY535" fmla="*/ 1056140 h 1413227"/>
                <a:gd name="connsiteX536" fmla="*/ 1604090 w 2048870"/>
                <a:gd name="connsiteY536" fmla="*/ 1038855 h 1413227"/>
                <a:gd name="connsiteX537" fmla="*/ 1598904 w 2048870"/>
                <a:gd name="connsiteY537" fmla="*/ 1037126 h 1413227"/>
                <a:gd name="connsiteX538" fmla="*/ 1593718 w 2048870"/>
                <a:gd name="connsiteY538" fmla="*/ 1030212 h 1413227"/>
                <a:gd name="connsiteX539" fmla="*/ 1585076 w 2048870"/>
                <a:gd name="connsiteY539" fmla="*/ 1019841 h 1413227"/>
                <a:gd name="connsiteX540" fmla="*/ 1590261 w 2048870"/>
                <a:gd name="connsiteY540" fmla="*/ 1000827 h 1413227"/>
                <a:gd name="connsiteX541" fmla="*/ 1598904 w 2048870"/>
                <a:gd name="connsiteY541" fmla="*/ 999098 h 1413227"/>
                <a:gd name="connsiteX542" fmla="*/ 1611004 w 2048870"/>
                <a:gd name="connsiteY542" fmla="*/ 990455 h 1413227"/>
                <a:gd name="connsiteX543" fmla="*/ 1617918 w 2048870"/>
                <a:gd name="connsiteY543" fmla="*/ 985270 h 1413227"/>
                <a:gd name="connsiteX544" fmla="*/ 1616189 w 2048870"/>
                <a:gd name="connsiteY544" fmla="*/ 1021569 h 1413227"/>
                <a:gd name="connsiteX545" fmla="*/ 1612732 w 2048870"/>
                <a:gd name="connsiteY545" fmla="*/ 1028483 h 1413227"/>
                <a:gd name="connsiteX546" fmla="*/ 1607547 w 2048870"/>
                <a:gd name="connsiteY546" fmla="*/ 1035398 h 1413227"/>
                <a:gd name="connsiteX547" fmla="*/ 1612732 w 2048870"/>
                <a:gd name="connsiteY547" fmla="*/ 1031941 h 1413227"/>
                <a:gd name="connsiteX548" fmla="*/ 1621375 w 2048870"/>
                <a:gd name="connsiteY548" fmla="*/ 1016384 h 1413227"/>
                <a:gd name="connsiteX549" fmla="*/ 1626561 w 2048870"/>
                <a:gd name="connsiteY549" fmla="*/ 997370 h 1413227"/>
                <a:gd name="connsiteX550" fmla="*/ 1626561 w 2048870"/>
                <a:gd name="connsiteY550" fmla="*/ 976627 h 1413227"/>
                <a:gd name="connsiteX551" fmla="*/ 1619647 w 2048870"/>
                <a:gd name="connsiteY551" fmla="*/ 962799 h 1413227"/>
                <a:gd name="connsiteX552" fmla="*/ 1626561 w 2048870"/>
                <a:gd name="connsiteY552" fmla="*/ 966256 h 1413227"/>
                <a:gd name="connsiteX553" fmla="*/ 1638661 w 2048870"/>
                <a:gd name="connsiteY553" fmla="*/ 969713 h 1413227"/>
                <a:gd name="connsiteX554" fmla="*/ 1645575 w 2048870"/>
                <a:gd name="connsiteY554" fmla="*/ 967984 h 1413227"/>
                <a:gd name="connsiteX555" fmla="*/ 1650760 w 2048870"/>
                <a:gd name="connsiteY555" fmla="*/ 955885 h 1413227"/>
                <a:gd name="connsiteX556" fmla="*/ 1659403 w 2048870"/>
                <a:gd name="connsiteY556" fmla="*/ 933414 h 1413227"/>
                <a:gd name="connsiteX557" fmla="*/ 1662860 w 2048870"/>
                <a:gd name="connsiteY557" fmla="*/ 929956 h 1413227"/>
                <a:gd name="connsiteX558" fmla="*/ 1664589 w 2048870"/>
                <a:gd name="connsiteY558" fmla="*/ 923042 h 1413227"/>
                <a:gd name="connsiteX559" fmla="*/ 1673231 w 2048870"/>
                <a:gd name="connsiteY559" fmla="*/ 893657 h 1413227"/>
                <a:gd name="connsiteX560" fmla="*/ 1687060 w 2048870"/>
                <a:gd name="connsiteY560" fmla="*/ 891928 h 1413227"/>
                <a:gd name="connsiteX561" fmla="*/ 1693974 w 2048870"/>
                <a:gd name="connsiteY561" fmla="*/ 890200 h 1413227"/>
                <a:gd name="connsiteX562" fmla="*/ 1700888 w 2048870"/>
                <a:gd name="connsiteY562" fmla="*/ 886743 h 1413227"/>
                <a:gd name="connsiteX563" fmla="*/ 1719902 w 2048870"/>
                <a:gd name="connsiteY563" fmla="*/ 878100 h 1413227"/>
                <a:gd name="connsiteX564" fmla="*/ 1726816 w 2048870"/>
                <a:gd name="connsiteY564" fmla="*/ 876372 h 1413227"/>
                <a:gd name="connsiteX565" fmla="*/ 1745830 w 2048870"/>
                <a:gd name="connsiteY565" fmla="*/ 860815 h 1413227"/>
                <a:gd name="connsiteX566" fmla="*/ 1751016 w 2048870"/>
                <a:gd name="connsiteY566" fmla="*/ 857358 h 1413227"/>
                <a:gd name="connsiteX567" fmla="*/ 1757930 w 2048870"/>
                <a:gd name="connsiteY567" fmla="*/ 855629 h 1413227"/>
                <a:gd name="connsiteX568" fmla="*/ 1764844 w 2048870"/>
                <a:gd name="connsiteY568" fmla="*/ 841801 h 1413227"/>
                <a:gd name="connsiteX569" fmla="*/ 1771758 w 2048870"/>
                <a:gd name="connsiteY569" fmla="*/ 836615 h 1413227"/>
                <a:gd name="connsiteX570" fmla="*/ 1776944 w 2048870"/>
                <a:gd name="connsiteY570" fmla="*/ 833158 h 1413227"/>
                <a:gd name="connsiteX571" fmla="*/ 1787315 w 2048870"/>
                <a:gd name="connsiteY571" fmla="*/ 831429 h 1413227"/>
                <a:gd name="connsiteX572" fmla="*/ 1795958 w 2048870"/>
                <a:gd name="connsiteY572" fmla="*/ 829701 h 1413227"/>
                <a:gd name="connsiteX573" fmla="*/ 1797687 w 2048870"/>
                <a:gd name="connsiteY573" fmla="*/ 824515 h 1413227"/>
                <a:gd name="connsiteX574" fmla="*/ 1825343 w 2048870"/>
                <a:gd name="connsiteY574" fmla="*/ 796859 h 1413227"/>
                <a:gd name="connsiteX575" fmla="*/ 1830529 w 2048870"/>
                <a:gd name="connsiteY575" fmla="*/ 776116 h 1413227"/>
                <a:gd name="connsiteX576" fmla="*/ 1835715 w 2048870"/>
                <a:gd name="connsiteY576" fmla="*/ 770930 h 1413227"/>
                <a:gd name="connsiteX577" fmla="*/ 1863371 w 2048870"/>
                <a:gd name="connsiteY577" fmla="*/ 760559 h 1413227"/>
                <a:gd name="connsiteX578" fmla="*/ 1868557 w 2048870"/>
                <a:gd name="connsiteY578" fmla="*/ 755373 h 1413227"/>
                <a:gd name="connsiteX579" fmla="*/ 1880657 w 2048870"/>
                <a:gd name="connsiteY579" fmla="*/ 753645 h 1413227"/>
                <a:gd name="connsiteX580" fmla="*/ 1889299 w 2048870"/>
                <a:gd name="connsiteY580" fmla="*/ 750188 h 1413227"/>
                <a:gd name="connsiteX581" fmla="*/ 1894485 w 2048870"/>
                <a:gd name="connsiteY581" fmla="*/ 731174 h 1413227"/>
                <a:gd name="connsiteX582" fmla="*/ 1910042 w 2048870"/>
                <a:gd name="connsiteY582" fmla="*/ 719074 h 1413227"/>
                <a:gd name="connsiteX583" fmla="*/ 1916956 w 2048870"/>
                <a:gd name="connsiteY583" fmla="*/ 710431 h 1413227"/>
                <a:gd name="connsiteX584" fmla="*/ 1908313 w 2048870"/>
                <a:gd name="connsiteY584" fmla="*/ 689689 h 1413227"/>
                <a:gd name="connsiteX585" fmla="*/ 1901399 w 2048870"/>
                <a:gd name="connsiteY585" fmla="*/ 675860 h 1413227"/>
                <a:gd name="connsiteX586" fmla="*/ 1897942 w 2048870"/>
                <a:gd name="connsiteY586" fmla="*/ 665489 h 1413227"/>
                <a:gd name="connsiteX587" fmla="*/ 1901399 w 2048870"/>
                <a:gd name="connsiteY587" fmla="*/ 651661 h 1413227"/>
                <a:gd name="connsiteX588" fmla="*/ 1897942 w 2048870"/>
                <a:gd name="connsiteY588" fmla="*/ 629190 h 1413227"/>
                <a:gd name="connsiteX589" fmla="*/ 1904856 w 2048870"/>
                <a:gd name="connsiteY589" fmla="*/ 624004 h 1413227"/>
                <a:gd name="connsiteX590" fmla="*/ 1910042 w 2048870"/>
                <a:gd name="connsiteY590" fmla="*/ 613633 h 1413227"/>
                <a:gd name="connsiteX591" fmla="*/ 1918685 w 2048870"/>
                <a:gd name="connsiteY591" fmla="*/ 608447 h 1413227"/>
                <a:gd name="connsiteX592" fmla="*/ 1925599 w 2048870"/>
                <a:gd name="connsiteY592" fmla="*/ 601533 h 1413227"/>
                <a:gd name="connsiteX593" fmla="*/ 1929056 w 2048870"/>
                <a:gd name="connsiteY593" fmla="*/ 587705 h 1413227"/>
                <a:gd name="connsiteX594" fmla="*/ 1932513 w 2048870"/>
                <a:gd name="connsiteY594" fmla="*/ 582519 h 1413227"/>
                <a:gd name="connsiteX595" fmla="*/ 1939427 w 2048870"/>
                <a:gd name="connsiteY595" fmla="*/ 565234 h 1413227"/>
                <a:gd name="connsiteX596" fmla="*/ 1963627 w 2048870"/>
                <a:gd name="connsiteY596" fmla="*/ 556591 h 1413227"/>
                <a:gd name="connsiteX597" fmla="*/ 1968812 w 2048870"/>
                <a:gd name="connsiteY597" fmla="*/ 547948 h 1413227"/>
                <a:gd name="connsiteX598" fmla="*/ 1986098 w 2048870"/>
                <a:gd name="connsiteY598" fmla="*/ 544491 h 1413227"/>
                <a:gd name="connsiteX599" fmla="*/ 2008569 w 2048870"/>
                <a:gd name="connsiteY599" fmla="*/ 539305 h 1413227"/>
                <a:gd name="connsiteX600" fmla="*/ 2017212 w 2048870"/>
                <a:gd name="connsiteY600" fmla="*/ 530663 h 1413227"/>
                <a:gd name="connsiteX601" fmla="*/ 2048326 w 2048870"/>
                <a:gd name="connsiteY601" fmla="*/ 525477 h 1413227"/>
                <a:gd name="connsiteX602" fmla="*/ 2043140 w 2048870"/>
                <a:gd name="connsiteY602" fmla="*/ 499549 h 1413227"/>
                <a:gd name="connsiteX603" fmla="*/ 2032769 w 2048870"/>
                <a:gd name="connsiteY603" fmla="*/ 492635 h 1413227"/>
                <a:gd name="connsiteX604" fmla="*/ 2025854 w 2048870"/>
                <a:gd name="connsiteY604" fmla="*/ 447693 h 1413227"/>
                <a:gd name="connsiteX605" fmla="*/ 2018940 w 2048870"/>
                <a:gd name="connsiteY605" fmla="*/ 428679 h 1413227"/>
                <a:gd name="connsiteX606" fmla="*/ 2015483 w 2048870"/>
                <a:gd name="connsiteY606" fmla="*/ 418307 h 1413227"/>
                <a:gd name="connsiteX607" fmla="*/ 2010298 w 2048870"/>
                <a:gd name="connsiteY607" fmla="*/ 411393 h 1413227"/>
                <a:gd name="connsiteX608" fmla="*/ 2003383 w 2048870"/>
                <a:gd name="connsiteY608" fmla="*/ 407936 h 1413227"/>
                <a:gd name="connsiteX609" fmla="*/ 1984369 w 2048870"/>
                <a:gd name="connsiteY609" fmla="*/ 404479 h 1413227"/>
                <a:gd name="connsiteX610" fmla="*/ 1977455 w 2048870"/>
                <a:gd name="connsiteY610" fmla="*/ 394108 h 1413227"/>
                <a:gd name="connsiteX611" fmla="*/ 1972270 w 2048870"/>
                <a:gd name="connsiteY611" fmla="*/ 390651 h 1413227"/>
                <a:gd name="connsiteX612" fmla="*/ 1968812 w 2048870"/>
                <a:gd name="connsiteY612" fmla="*/ 382008 h 1413227"/>
                <a:gd name="connsiteX613" fmla="*/ 1973998 w 2048870"/>
                <a:gd name="connsiteY613" fmla="*/ 366451 h 1413227"/>
                <a:gd name="connsiteX614" fmla="*/ 1982641 w 2048870"/>
                <a:gd name="connsiteY614" fmla="*/ 354351 h 1413227"/>
                <a:gd name="connsiteX615" fmla="*/ 1984369 w 2048870"/>
                <a:gd name="connsiteY615" fmla="*/ 347437 h 1413227"/>
                <a:gd name="connsiteX616" fmla="*/ 1994741 w 2048870"/>
                <a:gd name="connsiteY616" fmla="*/ 343980 h 1413227"/>
                <a:gd name="connsiteX617" fmla="*/ 1960170 w 2048870"/>
                <a:gd name="connsiteY617" fmla="*/ 337066 h 1413227"/>
                <a:gd name="connsiteX618" fmla="*/ 1958441 w 2048870"/>
                <a:gd name="connsiteY618" fmla="*/ 331880 h 1413227"/>
                <a:gd name="connsiteX619" fmla="*/ 1954984 w 2048870"/>
                <a:gd name="connsiteY619" fmla="*/ 326694 h 1413227"/>
                <a:gd name="connsiteX620" fmla="*/ 1958441 w 2048870"/>
                <a:gd name="connsiteY620" fmla="*/ 318052 h 1413227"/>
                <a:gd name="connsiteX621" fmla="*/ 1963627 w 2048870"/>
                <a:gd name="connsiteY621" fmla="*/ 311138 h 1413227"/>
                <a:gd name="connsiteX622" fmla="*/ 1967084 w 2048870"/>
                <a:gd name="connsiteY622" fmla="*/ 305952 h 1413227"/>
                <a:gd name="connsiteX623" fmla="*/ 1968812 w 2048870"/>
                <a:gd name="connsiteY623" fmla="*/ 299038 h 1413227"/>
                <a:gd name="connsiteX624" fmla="*/ 1973998 w 2048870"/>
                <a:gd name="connsiteY624" fmla="*/ 293852 h 1413227"/>
                <a:gd name="connsiteX625" fmla="*/ 1975727 w 2048870"/>
                <a:gd name="connsiteY625" fmla="*/ 269652 h 1413227"/>
                <a:gd name="connsiteX626" fmla="*/ 1970541 w 2048870"/>
                <a:gd name="connsiteY626" fmla="*/ 255824 h 1413227"/>
                <a:gd name="connsiteX627" fmla="*/ 1968812 w 2048870"/>
                <a:gd name="connsiteY627" fmla="*/ 250638 h 1413227"/>
                <a:gd name="connsiteX628" fmla="*/ 1967084 w 2048870"/>
                <a:gd name="connsiteY628" fmla="*/ 243724 h 1413227"/>
                <a:gd name="connsiteX629" fmla="*/ 1963627 w 2048870"/>
                <a:gd name="connsiteY629" fmla="*/ 238539 h 1413227"/>
                <a:gd name="connsiteX630" fmla="*/ 1965355 w 2048870"/>
                <a:gd name="connsiteY630" fmla="*/ 216068 h 1413227"/>
                <a:gd name="connsiteX631" fmla="*/ 1961898 w 2048870"/>
                <a:gd name="connsiteY631" fmla="*/ 209153 h 1413227"/>
                <a:gd name="connsiteX632" fmla="*/ 1954984 w 2048870"/>
                <a:gd name="connsiteY632" fmla="*/ 216068 h 1413227"/>
                <a:gd name="connsiteX633" fmla="*/ 1948070 w 2048870"/>
                <a:gd name="connsiteY633" fmla="*/ 217796 h 1413227"/>
                <a:gd name="connsiteX634" fmla="*/ 1937699 w 2048870"/>
                <a:gd name="connsiteY634" fmla="*/ 226439 h 1413227"/>
                <a:gd name="connsiteX635" fmla="*/ 1932513 w 2048870"/>
                <a:gd name="connsiteY635" fmla="*/ 228167 h 1413227"/>
                <a:gd name="connsiteX636" fmla="*/ 1922142 w 2048870"/>
                <a:gd name="connsiteY636" fmla="*/ 235082 h 1413227"/>
                <a:gd name="connsiteX637" fmla="*/ 1906585 w 2048870"/>
                <a:gd name="connsiteY637" fmla="*/ 231624 h 1413227"/>
                <a:gd name="connsiteX638" fmla="*/ 1885842 w 2048870"/>
                <a:gd name="connsiteY638" fmla="*/ 222982 h 1413227"/>
                <a:gd name="connsiteX639" fmla="*/ 1878928 w 2048870"/>
                <a:gd name="connsiteY639" fmla="*/ 224710 h 1413227"/>
                <a:gd name="connsiteX640" fmla="*/ 1868557 w 2048870"/>
                <a:gd name="connsiteY640" fmla="*/ 233353 h 1413227"/>
                <a:gd name="connsiteX641" fmla="*/ 1847814 w 2048870"/>
                <a:gd name="connsiteY641" fmla="*/ 221253 h 1413227"/>
                <a:gd name="connsiteX642" fmla="*/ 1839172 w 2048870"/>
                <a:gd name="connsiteY642" fmla="*/ 217796 h 1413227"/>
                <a:gd name="connsiteX643" fmla="*/ 1832257 w 2048870"/>
                <a:gd name="connsiteY643" fmla="*/ 214339 h 1413227"/>
                <a:gd name="connsiteX644" fmla="*/ 1823615 w 2048870"/>
                <a:gd name="connsiteY644" fmla="*/ 224710 h 1413227"/>
                <a:gd name="connsiteX645" fmla="*/ 1816701 w 2048870"/>
                <a:gd name="connsiteY645" fmla="*/ 229896 h 1413227"/>
                <a:gd name="connsiteX646" fmla="*/ 1787315 w 2048870"/>
                <a:gd name="connsiteY646" fmla="*/ 221253 h 1413227"/>
                <a:gd name="connsiteX647" fmla="*/ 1759659 w 2048870"/>
                <a:gd name="connsiteY647" fmla="*/ 222982 h 1413227"/>
                <a:gd name="connsiteX648" fmla="*/ 1754473 w 2048870"/>
                <a:gd name="connsiteY648" fmla="*/ 224710 h 1413227"/>
                <a:gd name="connsiteX649" fmla="*/ 1735459 w 2048870"/>
                <a:gd name="connsiteY649" fmla="*/ 222982 h 1413227"/>
                <a:gd name="connsiteX650" fmla="*/ 1728545 w 2048870"/>
                <a:gd name="connsiteY650" fmla="*/ 217796 h 1413227"/>
                <a:gd name="connsiteX651" fmla="*/ 1721631 w 2048870"/>
                <a:gd name="connsiteY651" fmla="*/ 207425 h 1413227"/>
                <a:gd name="connsiteX652" fmla="*/ 1712988 w 2048870"/>
                <a:gd name="connsiteY652" fmla="*/ 235082 h 1413227"/>
                <a:gd name="connsiteX653" fmla="*/ 1706074 w 2048870"/>
                <a:gd name="connsiteY653" fmla="*/ 250638 h 1413227"/>
                <a:gd name="connsiteX654" fmla="*/ 1692245 w 2048870"/>
                <a:gd name="connsiteY654" fmla="*/ 236810 h 1413227"/>
                <a:gd name="connsiteX655" fmla="*/ 1645575 w 2048870"/>
                <a:gd name="connsiteY655" fmla="*/ 224710 h 1413227"/>
                <a:gd name="connsiteX656" fmla="*/ 1640389 w 2048870"/>
                <a:gd name="connsiteY656" fmla="*/ 217796 h 1413227"/>
                <a:gd name="connsiteX657" fmla="*/ 1638661 w 2048870"/>
                <a:gd name="connsiteY657" fmla="*/ 212610 h 1413227"/>
                <a:gd name="connsiteX658" fmla="*/ 1623104 w 2048870"/>
                <a:gd name="connsiteY658" fmla="*/ 195325 h 1413227"/>
                <a:gd name="connsiteX659" fmla="*/ 1609275 w 2048870"/>
                <a:gd name="connsiteY659" fmla="*/ 191868 h 1413227"/>
                <a:gd name="connsiteX660" fmla="*/ 1600633 w 2048870"/>
                <a:gd name="connsiteY660" fmla="*/ 200511 h 1413227"/>
                <a:gd name="connsiteX661" fmla="*/ 1595447 w 2048870"/>
                <a:gd name="connsiteY661" fmla="*/ 202239 h 1413227"/>
                <a:gd name="connsiteX662" fmla="*/ 1574704 w 2048870"/>
                <a:gd name="connsiteY662" fmla="*/ 209153 h 1413227"/>
                <a:gd name="connsiteX663" fmla="*/ 1569519 w 2048870"/>
                <a:gd name="connsiteY663" fmla="*/ 214339 h 1413227"/>
                <a:gd name="connsiteX664" fmla="*/ 1564333 w 2048870"/>
                <a:gd name="connsiteY664" fmla="*/ 217796 h 1413227"/>
                <a:gd name="connsiteX665" fmla="*/ 1560876 w 2048870"/>
                <a:gd name="connsiteY665" fmla="*/ 224710 h 1413227"/>
                <a:gd name="connsiteX666" fmla="*/ 1543591 w 2048870"/>
                <a:gd name="connsiteY666" fmla="*/ 238539 h 1413227"/>
                <a:gd name="connsiteX667" fmla="*/ 1536676 w 2048870"/>
                <a:gd name="connsiteY667" fmla="*/ 245453 h 1413227"/>
                <a:gd name="connsiteX668" fmla="*/ 1534948 w 2048870"/>
                <a:gd name="connsiteY668" fmla="*/ 250638 h 1413227"/>
                <a:gd name="connsiteX669" fmla="*/ 1536676 w 2048870"/>
                <a:gd name="connsiteY669" fmla="*/ 255824 h 1413227"/>
                <a:gd name="connsiteX670" fmla="*/ 1510748 w 2048870"/>
                <a:gd name="connsiteY670" fmla="*/ 259281 h 1413227"/>
                <a:gd name="connsiteX671" fmla="*/ 1500377 w 2048870"/>
                <a:gd name="connsiteY671" fmla="*/ 252367 h 1413227"/>
                <a:gd name="connsiteX672" fmla="*/ 1472720 w 2048870"/>
                <a:gd name="connsiteY672" fmla="*/ 252367 h 1413227"/>
                <a:gd name="connsiteX673" fmla="*/ 1455435 w 2048870"/>
                <a:gd name="connsiteY673" fmla="*/ 254096 h 1413227"/>
                <a:gd name="connsiteX674" fmla="*/ 1446792 w 2048870"/>
                <a:gd name="connsiteY674" fmla="*/ 261010 h 1413227"/>
                <a:gd name="connsiteX675" fmla="*/ 1441606 w 2048870"/>
                <a:gd name="connsiteY675" fmla="*/ 267924 h 1413227"/>
                <a:gd name="connsiteX676" fmla="*/ 1438149 w 2048870"/>
                <a:gd name="connsiteY676" fmla="*/ 273110 h 1413227"/>
                <a:gd name="connsiteX677" fmla="*/ 1432964 w 2048870"/>
                <a:gd name="connsiteY677" fmla="*/ 274838 h 1413227"/>
                <a:gd name="connsiteX678" fmla="*/ 1419135 w 2048870"/>
                <a:gd name="connsiteY678" fmla="*/ 281752 h 1413227"/>
                <a:gd name="connsiteX679" fmla="*/ 1412221 w 2048870"/>
                <a:gd name="connsiteY679" fmla="*/ 278295 h 1413227"/>
                <a:gd name="connsiteX680" fmla="*/ 1408764 w 2048870"/>
                <a:gd name="connsiteY680" fmla="*/ 273110 h 1413227"/>
                <a:gd name="connsiteX681" fmla="*/ 1400121 w 2048870"/>
                <a:gd name="connsiteY681" fmla="*/ 257553 h 1413227"/>
                <a:gd name="connsiteX682" fmla="*/ 1394936 w 2048870"/>
                <a:gd name="connsiteY682" fmla="*/ 254096 h 1413227"/>
                <a:gd name="connsiteX683" fmla="*/ 1386293 w 2048870"/>
                <a:gd name="connsiteY683" fmla="*/ 243724 h 1413227"/>
                <a:gd name="connsiteX684" fmla="*/ 1381107 w 2048870"/>
                <a:gd name="connsiteY684" fmla="*/ 212610 h 1413227"/>
                <a:gd name="connsiteX685" fmla="*/ 1370736 w 2048870"/>
                <a:gd name="connsiteY685" fmla="*/ 202239 h 1413227"/>
                <a:gd name="connsiteX686" fmla="*/ 1363822 w 2048870"/>
                <a:gd name="connsiteY686" fmla="*/ 200511 h 1413227"/>
                <a:gd name="connsiteX687" fmla="*/ 1358636 w 2048870"/>
                <a:gd name="connsiteY687" fmla="*/ 193596 h 1413227"/>
                <a:gd name="connsiteX688" fmla="*/ 1349994 w 2048870"/>
                <a:gd name="connsiteY688" fmla="*/ 178040 h 1413227"/>
                <a:gd name="connsiteX689" fmla="*/ 1337894 w 2048870"/>
                <a:gd name="connsiteY689" fmla="*/ 167668 h 1413227"/>
                <a:gd name="connsiteX690" fmla="*/ 1298137 w 2048870"/>
                <a:gd name="connsiteY690" fmla="*/ 169397 h 1413227"/>
                <a:gd name="connsiteX691" fmla="*/ 1284309 w 2048870"/>
                <a:gd name="connsiteY691" fmla="*/ 179768 h 1413227"/>
                <a:gd name="connsiteX692" fmla="*/ 1268752 w 2048870"/>
                <a:gd name="connsiteY692" fmla="*/ 181497 h 1413227"/>
                <a:gd name="connsiteX693" fmla="*/ 1251467 w 2048870"/>
                <a:gd name="connsiteY693" fmla="*/ 174583 h 1413227"/>
                <a:gd name="connsiteX694" fmla="*/ 1241095 w 2048870"/>
                <a:gd name="connsiteY694" fmla="*/ 164211 h 1413227"/>
                <a:gd name="connsiteX695" fmla="*/ 1230724 w 2048870"/>
                <a:gd name="connsiteY695" fmla="*/ 160754 h 1413227"/>
                <a:gd name="connsiteX696" fmla="*/ 1215167 w 2048870"/>
                <a:gd name="connsiteY696" fmla="*/ 146926 h 1413227"/>
                <a:gd name="connsiteX697" fmla="*/ 1213439 w 2048870"/>
                <a:gd name="connsiteY697" fmla="*/ 140012 h 1413227"/>
                <a:gd name="connsiteX698" fmla="*/ 1206524 w 2048870"/>
                <a:gd name="connsiteY698" fmla="*/ 131369 h 1413227"/>
                <a:gd name="connsiteX699" fmla="*/ 1204796 w 2048870"/>
                <a:gd name="connsiteY699" fmla="*/ 122726 h 1413227"/>
                <a:gd name="connsiteX700" fmla="*/ 1190968 w 2048870"/>
                <a:gd name="connsiteY700" fmla="*/ 117541 h 1413227"/>
                <a:gd name="connsiteX701" fmla="*/ 1201339 w 2048870"/>
                <a:gd name="connsiteY701" fmla="*/ 105441 h 1413227"/>
                <a:gd name="connsiteX702" fmla="*/ 1208253 w 2048870"/>
                <a:gd name="connsiteY702" fmla="*/ 101984 h 1413227"/>
                <a:gd name="connsiteX703" fmla="*/ 1213439 w 2048870"/>
                <a:gd name="connsiteY703" fmla="*/ 95069 h 1413227"/>
                <a:gd name="connsiteX704" fmla="*/ 1218624 w 2048870"/>
                <a:gd name="connsiteY704" fmla="*/ 89884 h 1413227"/>
                <a:gd name="connsiteX705" fmla="*/ 1216896 w 2048870"/>
                <a:gd name="connsiteY705" fmla="*/ 84698 h 1413227"/>
                <a:gd name="connsiteX706" fmla="*/ 1206524 w 2048870"/>
                <a:gd name="connsiteY706" fmla="*/ 81241 h 1413227"/>
                <a:gd name="connsiteX707" fmla="*/ 1190968 w 2048870"/>
                <a:gd name="connsiteY707" fmla="*/ 76055 h 1413227"/>
                <a:gd name="connsiteX708" fmla="*/ 1175411 w 2048870"/>
                <a:gd name="connsiteY708" fmla="*/ 60499 h 1413227"/>
                <a:gd name="connsiteX709" fmla="*/ 1168496 w 2048870"/>
                <a:gd name="connsiteY709" fmla="*/ 53584 h 1413227"/>
                <a:gd name="connsiteX710" fmla="*/ 1165039 w 2048870"/>
                <a:gd name="connsiteY710" fmla="*/ 46670 h 1413227"/>
                <a:gd name="connsiteX711" fmla="*/ 1159854 w 2048870"/>
                <a:gd name="connsiteY711" fmla="*/ 39756 h 1413227"/>
                <a:gd name="connsiteX712" fmla="*/ 1151211 w 2048870"/>
                <a:gd name="connsiteY712" fmla="*/ 27656 h 1413227"/>
                <a:gd name="connsiteX713" fmla="*/ 1146025 w 2048870"/>
                <a:gd name="connsiteY713" fmla="*/ 24199 h 1413227"/>
                <a:gd name="connsiteX714" fmla="*/ 1140840 w 2048870"/>
                <a:gd name="connsiteY714" fmla="*/ 17285 h 1413227"/>
                <a:gd name="connsiteX715" fmla="*/ 1123554 w 2048870"/>
                <a:gd name="connsiteY715" fmla="*/ 3457 h 1413227"/>
                <a:gd name="connsiteX716" fmla="*/ 1116640 w 2048870"/>
                <a:gd name="connsiteY716" fmla="*/ 0 h 1413227"/>
                <a:gd name="connsiteX717" fmla="*/ 1102812 w 2048870"/>
                <a:gd name="connsiteY717" fmla="*/ 1728 h 1413227"/>
                <a:gd name="connsiteX718" fmla="*/ 1097626 w 2048870"/>
                <a:gd name="connsiteY718" fmla="*/ 3457 h 1413227"/>
                <a:gd name="connsiteX719" fmla="*/ 1090712 w 2048870"/>
                <a:gd name="connsiteY719" fmla="*/ 5185 h 1413227"/>
                <a:gd name="connsiteX720" fmla="*/ 1071698 w 2048870"/>
                <a:gd name="connsiteY720" fmla="*/ 17285 h 1413227"/>
                <a:gd name="connsiteX721" fmla="*/ 1056141 w 2048870"/>
                <a:gd name="connsiteY721" fmla="*/ 15556 h 1413227"/>
                <a:gd name="connsiteX722" fmla="*/ 1050955 w 2048870"/>
                <a:gd name="connsiteY722" fmla="*/ 19014 h 1413227"/>
                <a:gd name="connsiteX723" fmla="*/ 1042313 w 2048870"/>
                <a:gd name="connsiteY723" fmla="*/ 27656 h 1413227"/>
                <a:gd name="connsiteX724" fmla="*/ 1028484 w 2048870"/>
                <a:gd name="connsiteY724" fmla="*/ 38027 h 1413227"/>
                <a:gd name="connsiteX725" fmla="*/ 1025027 w 2048870"/>
                <a:gd name="connsiteY725" fmla="*/ 41485 h 1413227"/>
                <a:gd name="connsiteX726" fmla="*/ 1016385 w 2048870"/>
                <a:gd name="connsiteY726" fmla="*/ 46670 h 1413227"/>
                <a:gd name="connsiteX727" fmla="*/ 1012927 w 2048870"/>
                <a:gd name="connsiteY727" fmla="*/ 50127 h 1413227"/>
                <a:gd name="connsiteX728" fmla="*/ 997371 w 2048870"/>
                <a:gd name="connsiteY728" fmla="*/ 57041 h 1413227"/>
                <a:gd name="connsiteX729" fmla="*/ 973171 w 2048870"/>
                <a:gd name="connsiteY729" fmla="*/ 58770 h 1413227"/>
                <a:gd name="connsiteX730" fmla="*/ 967985 w 2048870"/>
                <a:gd name="connsiteY730" fmla="*/ 62227 h 1413227"/>
                <a:gd name="connsiteX731" fmla="*/ 966257 w 2048870"/>
                <a:gd name="connsiteY731" fmla="*/ 79513 h 1413227"/>
                <a:gd name="connsiteX732" fmla="*/ 962800 w 2048870"/>
                <a:gd name="connsiteY732" fmla="*/ 103712 h 1413227"/>
                <a:gd name="connsiteX733" fmla="*/ 961071 w 2048870"/>
                <a:gd name="connsiteY733" fmla="*/ 112355 h 1413227"/>
                <a:gd name="connsiteX734" fmla="*/ 916129 w 2048870"/>
                <a:gd name="connsiteY734" fmla="*/ 115812 h 1413227"/>
                <a:gd name="connsiteX735" fmla="*/ 910943 w 2048870"/>
                <a:gd name="connsiteY735" fmla="*/ 119269 h 1413227"/>
                <a:gd name="connsiteX736" fmla="*/ 905758 w 2048870"/>
                <a:gd name="connsiteY736" fmla="*/ 120998 h 1413227"/>
                <a:gd name="connsiteX737" fmla="*/ 893658 w 2048870"/>
                <a:gd name="connsiteY737" fmla="*/ 124455 h 1413227"/>
                <a:gd name="connsiteX738" fmla="*/ 888472 w 2048870"/>
                <a:gd name="connsiteY738" fmla="*/ 126183 h 1413227"/>
                <a:gd name="connsiteX739" fmla="*/ 895386 w 2048870"/>
                <a:gd name="connsiteY739" fmla="*/ 124455 h 1413227"/>
                <a:gd name="connsiteX740" fmla="*/ 904029 w 2048870"/>
                <a:gd name="connsiteY740" fmla="*/ 115812 h 1413227"/>
                <a:gd name="connsiteX741" fmla="*/ 966257 w 2048870"/>
                <a:gd name="connsiteY741" fmla="*/ 63956 h 1413227"/>
                <a:gd name="connsiteX0" fmla="*/ 966257 w 2048870"/>
                <a:gd name="connsiteY0" fmla="*/ 63956 h 1413227"/>
                <a:gd name="connsiteX1" fmla="*/ 962800 w 2048870"/>
                <a:gd name="connsiteY1" fmla="*/ 72598 h 1413227"/>
                <a:gd name="connsiteX2" fmla="*/ 919586 w 2048870"/>
                <a:gd name="connsiteY2" fmla="*/ 114083 h 1413227"/>
                <a:gd name="connsiteX3" fmla="*/ 902301 w 2048870"/>
                <a:gd name="connsiteY3" fmla="*/ 120998 h 1413227"/>
                <a:gd name="connsiteX4" fmla="*/ 885015 w 2048870"/>
                <a:gd name="connsiteY4" fmla="*/ 122726 h 1413227"/>
                <a:gd name="connsiteX5" fmla="*/ 878101 w 2048870"/>
                <a:gd name="connsiteY5" fmla="*/ 129640 h 1413227"/>
                <a:gd name="connsiteX6" fmla="*/ 855630 w 2048870"/>
                <a:gd name="connsiteY6" fmla="*/ 140012 h 1413227"/>
                <a:gd name="connsiteX7" fmla="*/ 850444 w 2048870"/>
                <a:gd name="connsiteY7" fmla="*/ 145197 h 1413227"/>
                <a:gd name="connsiteX8" fmla="*/ 831430 w 2048870"/>
                <a:gd name="connsiteY8" fmla="*/ 146926 h 1413227"/>
                <a:gd name="connsiteX9" fmla="*/ 808923 w 2048870"/>
                <a:gd name="connsiteY9" fmla="*/ 195183 h 1413227"/>
                <a:gd name="connsiteX10" fmla="*/ 817602 w 2048870"/>
                <a:gd name="connsiteY10" fmla="*/ 247181 h 1413227"/>
                <a:gd name="connsiteX11" fmla="*/ 821059 w 2048870"/>
                <a:gd name="connsiteY11" fmla="*/ 255824 h 1413227"/>
                <a:gd name="connsiteX12" fmla="*/ 826245 w 2048870"/>
                <a:gd name="connsiteY12" fmla="*/ 259281 h 1413227"/>
                <a:gd name="connsiteX13" fmla="*/ 833159 w 2048870"/>
                <a:gd name="connsiteY13" fmla="*/ 267924 h 1413227"/>
                <a:gd name="connsiteX14" fmla="*/ 836616 w 2048870"/>
                <a:gd name="connsiteY14" fmla="*/ 280024 h 1413227"/>
                <a:gd name="connsiteX15" fmla="*/ 834887 w 2048870"/>
                <a:gd name="connsiteY15" fmla="*/ 295581 h 1413227"/>
                <a:gd name="connsiteX16" fmla="*/ 821059 w 2048870"/>
                <a:gd name="connsiteY16" fmla="*/ 299038 h 1413227"/>
                <a:gd name="connsiteX17" fmla="*/ 800316 w 2048870"/>
                <a:gd name="connsiteY17" fmla="*/ 295581 h 1413227"/>
                <a:gd name="connsiteX18" fmla="*/ 786488 w 2048870"/>
                <a:gd name="connsiteY18" fmla="*/ 286938 h 1413227"/>
                <a:gd name="connsiteX19" fmla="*/ 781302 w 2048870"/>
                <a:gd name="connsiteY19" fmla="*/ 285209 h 1413227"/>
                <a:gd name="connsiteX20" fmla="*/ 774388 w 2048870"/>
                <a:gd name="connsiteY20" fmla="*/ 278295 h 1413227"/>
                <a:gd name="connsiteX21" fmla="*/ 767474 w 2048870"/>
                <a:gd name="connsiteY21" fmla="*/ 285209 h 1413227"/>
                <a:gd name="connsiteX22" fmla="*/ 758831 w 2048870"/>
                <a:gd name="connsiteY22" fmla="*/ 286938 h 1413227"/>
                <a:gd name="connsiteX23" fmla="*/ 751917 w 2048870"/>
                <a:gd name="connsiteY23" fmla="*/ 288666 h 1413227"/>
                <a:gd name="connsiteX24" fmla="*/ 746732 w 2048870"/>
                <a:gd name="connsiteY24" fmla="*/ 290395 h 1413227"/>
                <a:gd name="connsiteX25" fmla="*/ 722532 w 2048870"/>
                <a:gd name="connsiteY25" fmla="*/ 292124 h 1413227"/>
                <a:gd name="connsiteX26" fmla="*/ 720803 w 2048870"/>
                <a:gd name="connsiteY26" fmla="*/ 297309 h 1413227"/>
                <a:gd name="connsiteX27" fmla="*/ 701789 w 2048870"/>
                <a:gd name="connsiteY27" fmla="*/ 312866 h 1413227"/>
                <a:gd name="connsiteX28" fmla="*/ 686233 w 2048870"/>
                <a:gd name="connsiteY28" fmla="*/ 305952 h 1413227"/>
                <a:gd name="connsiteX29" fmla="*/ 684504 w 2048870"/>
                <a:gd name="connsiteY29" fmla="*/ 300766 h 1413227"/>
                <a:gd name="connsiteX30" fmla="*/ 681047 w 2048870"/>
                <a:gd name="connsiteY30" fmla="*/ 285209 h 1413227"/>
                <a:gd name="connsiteX31" fmla="*/ 649933 w 2048870"/>
                <a:gd name="connsiteY31" fmla="*/ 288666 h 1413227"/>
                <a:gd name="connsiteX32" fmla="*/ 646476 w 2048870"/>
                <a:gd name="connsiteY32" fmla="*/ 299038 h 1413227"/>
                <a:gd name="connsiteX33" fmla="*/ 639562 w 2048870"/>
                <a:gd name="connsiteY33" fmla="*/ 314595 h 1413227"/>
                <a:gd name="connsiteX34" fmla="*/ 634376 w 2048870"/>
                <a:gd name="connsiteY34" fmla="*/ 326694 h 1413227"/>
                <a:gd name="connsiteX35" fmla="*/ 629191 w 2048870"/>
                <a:gd name="connsiteY35" fmla="*/ 328423 h 1413227"/>
                <a:gd name="connsiteX36" fmla="*/ 613634 w 2048870"/>
                <a:gd name="connsiteY36" fmla="*/ 323237 h 1413227"/>
                <a:gd name="connsiteX37" fmla="*/ 601534 w 2048870"/>
                <a:gd name="connsiteY37" fmla="*/ 311138 h 1413227"/>
                <a:gd name="connsiteX38" fmla="*/ 572149 w 2048870"/>
                <a:gd name="connsiteY38" fmla="*/ 309409 h 1413227"/>
                <a:gd name="connsiteX39" fmla="*/ 566963 w 2048870"/>
                <a:gd name="connsiteY39" fmla="*/ 295581 h 1413227"/>
                <a:gd name="connsiteX40" fmla="*/ 563506 w 2048870"/>
                <a:gd name="connsiteY40" fmla="*/ 300766 h 1413227"/>
                <a:gd name="connsiteX41" fmla="*/ 558320 w 2048870"/>
                <a:gd name="connsiteY41" fmla="*/ 307680 h 1413227"/>
                <a:gd name="connsiteX42" fmla="*/ 549678 w 2048870"/>
                <a:gd name="connsiteY42" fmla="*/ 321509 h 1413227"/>
                <a:gd name="connsiteX43" fmla="*/ 509921 w 2048870"/>
                <a:gd name="connsiteY43" fmla="*/ 324966 h 1413227"/>
                <a:gd name="connsiteX44" fmla="*/ 515107 w 2048870"/>
                <a:gd name="connsiteY44" fmla="*/ 328423 h 1413227"/>
                <a:gd name="connsiteX45" fmla="*/ 525478 w 2048870"/>
                <a:gd name="connsiteY45" fmla="*/ 331880 h 1413227"/>
                <a:gd name="connsiteX46" fmla="*/ 523749 w 2048870"/>
                <a:gd name="connsiteY46" fmla="*/ 337066 h 1413227"/>
                <a:gd name="connsiteX47" fmla="*/ 516835 w 2048870"/>
                <a:gd name="connsiteY47" fmla="*/ 343980 h 1413227"/>
                <a:gd name="connsiteX48" fmla="*/ 511650 w 2048870"/>
                <a:gd name="connsiteY48" fmla="*/ 323237 h 1413227"/>
                <a:gd name="connsiteX49" fmla="*/ 483993 w 2048870"/>
                <a:gd name="connsiteY49" fmla="*/ 333609 h 1413227"/>
                <a:gd name="connsiteX50" fmla="*/ 478807 w 2048870"/>
                <a:gd name="connsiteY50" fmla="*/ 338794 h 1413227"/>
                <a:gd name="connsiteX51" fmla="*/ 466707 w 2048870"/>
                <a:gd name="connsiteY51" fmla="*/ 337066 h 1413227"/>
                <a:gd name="connsiteX52" fmla="*/ 463250 w 2048870"/>
                <a:gd name="connsiteY52" fmla="*/ 324966 h 1413227"/>
                <a:gd name="connsiteX53" fmla="*/ 454608 w 2048870"/>
                <a:gd name="connsiteY53" fmla="*/ 312866 h 1413227"/>
                <a:gd name="connsiteX54" fmla="*/ 449422 w 2048870"/>
                <a:gd name="connsiteY54" fmla="*/ 311138 h 1413227"/>
                <a:gd name="connsiteX55" fmla="*/ 425222 w 2048870"/>
                <a:gd name="connsiteY55" fmla="*/ 314595 h 1413227"/>
                <a:gd name="connsiteX56" fmla="*/ 273110 w 2048870"/>
                <a:gd name="connsiteY56" fmla="*/ 316323 h 1413227"/>
                <a:gd name="connsiteX57" fmla="*/ 262739 w 2048870"/>
                <a:gd name="connsiteY57" fmla="*/ 323237 h 1413227"/>
                <a:gd name="connsiteX58" fmla="*/ 255825 w 2048870"/>
                <a:gd name="connsiteY58" fmla="*/ 324966 h 1413227"/>
                <a:gd name="connsiteX59" fmla="*/ 250639 w 2048870"/>
                <a:gd name="connsiteY59" fmla="*/ 326694 h 1413227"/>
                <a:gd name="connsiteX60" fmla="*/ 238540 w 2048870"/>
                <a:gd name="connsiteY60" fmla="*/ 330152 h 1413227"/>
                <a:gd name="connsiteX61" fmla="*/ 200512 w 2048870"/>
                <a:gd name="connsiteY61" fmla="*/ 333609 h 1413227"/>
                <a:gd name="connsiteX62" fmla="*/ 188412 w 2048870"/>
                <a:gd name="connsiteY62" fmla="*/ 338794 h 1413227"/>
                <a:gd name="connsiteX63" fmla="*/ 176312 w 2048870"/>
                <a:gd name="connsiteY63" fmla="*/ 342251 h 1413227"/>
                <a:gd name="connsiteX64" fmla="*/ 146927 w 2048870"/>
                <a:gd name="connsiteY64" fmla="*/ 356080 h 1413227"/>
                <a:gd name="connsiteX65" fmla="*/ 138284 w 2048870"/>
                <a:gd name="connsiteY65" fmla="*/ 357808 h 1413227"/>
                <a:gd name="connsiteX66" fmla="*/ 136555 w 2048870"/>
                <a:gd name="connsiteY66" fmla="*/ 364722 h 1413227"/>
                <a:gd name="connsiteX67" fmla="*/ 134827 w 2048870"/>
                <a:gd name="connsiteY67" fmla="*/ 380279 h 1413227"/>
                <a:gd name="connsiteX68" fmla="*/ 127913 w 2048870"/>
                <a:gd name="connsiteY68" fmla="*/ 387193 h 1413227"/>
                <a:gd name="connsiteX69" fmla="*/ 126184 w 2048870"/>
                <a:gd name="connsiteY69" fmla="*/ 394108 h 1413227"/>
                <a:gd name="connsiteX70" fmla="*/ 124456 w 2048870"/>
                <a:gd name="connsiteY70" fmla="*/ 402750 h 1413227"/>
                <a:gd name="connsiteX71" fmla="*/ 117541 w 2048870"/>
                <a:gd name="connsiteY71" fmla="*/ 407936 h 1413227"/>
                <a:gd name="connsiteX72" fmla="*/ 105442 w 2048870"/>
                <a:gd name="connsiteY72" fmla="*/ 411393 h 1413227"/>
                <a:gd name="connsiteX73" fmla="*/ 100256 w 2048870"/>
                <a:gd name="connsiteY73" fmla="*/ 413122 h 1413227"/>
                <a:gd name="connsiteX74" fmla="*/ 70871 w 2048870"/>
                <a:gd name="connsiteY74" fmla="*/ 421764 h 1413227"/>
                <a:gd name="connsiteX75" fmla="*/ 67414 w 2048870"/>
                <a:gd name="connsiteY75" fmla="*/ 428679 h 1413227"/>
                <a:gd name="connsiteX76" fmla="*/ 69142 w 2048870"/>
                <a:gd name="connsiteY76" fmla="*/ 440778 h 1413227"/>
                <a:gd name="connsiteX77" fmla="*/ 65685 w 2048870"/>
                <a:gd name="connsiteY77" fmla="*/ 445964 h 1413227"/>
                <a:gd name="connsiteX78" fmla="*/ 63957 w 2048870"/>
                <a:gd name="connsiteY78" fmla="*/ 452878 h 1413227"/>
                <a:gd name="connsiteX79" fmla="*/ 69142 w 2048870"/>
                <a:gd name="connsiteY79" fmla="*/ 456335 h 1413227"/>
                <a:gd name="connsiteX80" fmla="*/ 74328 w 2048870"/>
                <a:gd name="connsiteY80" fmla="*/ 458064 h 1413227"/>
                <a:gd name="connsiteX81" fmla="*/ 84699 w 2048870"/>
                <a:gd name="connsiteY81" fmla="*/ 466707 h 1413227"/>
                <a:gd name="connsiteX82" fmla="*/ 81242 w 2048870"/>
                <a:gd name="connsiteY82" fmla="*/ 473621 h 1413227"/>
                <a:gd name="connsiteX83" fmla="*/ 77785 w 2048870"/>
                <a:gd name="connsiteY83" fmla="*/ 478806 h 1413227"/>
                <a:gd name="connsiteX84" fmla="*/ 79513 w 2048870"/>
                <a:gd name="connsiteY84" fmla="*/ 485721 h 1413227"/>
                <a:gd name="connsiteX85" fmla="*/ 72599 w 2048870"/>
                <a:gd name="connsiteY85" fmla="*/ 489178 h 1413227"/>
                <a:gd name="connsiteX86" fmla="*/ 63957 w 2048870"/>
                <a:gd name="connsiteY86" fmla="*/ 487449 h 1413227"/>
                <a:gd name="connsiteX87" fmla="*/ 76056 w 2048870"/>
                <a:gd name="connsiteY87" fmla="*/ 485721 h 1413227"/>
                <a:gd name="connsiteX88" fmla="*/ 86428 w 2048870"/>
                <a:gd name="connsiteY88" fmla="*/ 483992 h 1413227"/>
                <a:gd name="connsiteX89" fmla="*/ 84699 w 2048870"/>
                <a:gd name="connsiteY89" fmla="*/ 494363 h 1413227"/>
                <a:gd name="connsiteX90" fmla="*/ 86428 w 2048870"/>
                <a:gd name="connsiteY90" fmla="*/ 501277 h 1413227"/>
                <a:gd name="connsiteX91" fmla="*/ 96799 w 2048870"/>
                <a:gd name="connsiteY91" fmla="*/ 515106 h 1413227"/>
                <a:gd name="connsiteX92" fmla="*/ 101985 w 2048870"/>
                <a:gd name="connsiteY92" fmla="*/ 516834 h 1413227"/>
                <a:gd name="connsiteX93" fmla="*/ 114084 w 2048870"/>
                <a:gd name="connsiteY93" fmla="*/ 520291 h 1413227"/>
                <a:gd name="connsiteX94" fmla="*/ 119270 w 2048870"/>
                <a:gd name="connsiteY94" fmla="*/ 525477 h 1413227"/>
                <a:gd name="connsiteX95" fmla="*/ 133098 w 2048870"/>
                <a:gd name="connsiteY95" fmla="*/ 535848 h 1413227"/>
                <a:gd name="connsiteX96" fmla="*/ 136555 w 2048870"/>
                <a:gd name="connsiteY96" fmla="*/ 542762 h 1413227"/>
                <a:gd name="connsiteX97" fmla="*/ 134827 w 2048870"/>
                <a:gd name="connsiteY97" fmla="*/ 572148 h 1413227"/>
                <a:gd name="connsiteX98" fmla="*/ 140012 w 2048870"/>
                <a:gd name="connsiteY98" fmla="*/ 573876 h 1413227"/>
                <a:gd name="connsiteX99" fmla="*/ 143470 w 2048870"/>
                <a:gd name="connsiteY99" fmla="*/ 577333 h 1413227"/>
                <a:gd name="connsiteX100" fmla="*/ 146927 w 2048870"/>
                <a:gd name="connsiteY100" fmla="*/ 589433 h 1413227"/>
                <a:gd name="connsiteX101" fmla="*/ 150384 w 2048870"/>
                <a:gd name="connsiteY101" fmla="*/ 598076 h 1413227"/>
                <a:gd name="connsiteX102" fmla="*/ 148655 w 2048870"/>
                <a:gd name="connsiteY102" fmla="*/ 617090 h 1413227"/>
                <a:gd name="connsiteX103" fmla="*/ 146927 w 2048870"/>
                <a:gd name="connsiteY103" fmla="*/ 622276 h 1413227"/>
                <a:gd name="connsiteX104" fmla="*/ 141741 w 2048870"/>
                <a:gd name="connsiteY104" fmla="*/ 627461 h 1413227"/>
                <a:gd name="connsiteX105" fmla="*/ 136555 w 2048870"/>
                <a:gd name="connsiteY105" fmla="*/ 634375 h 1413227"/>
                <a:gd name="connsiteX106" fmla="*/ 120999 w 2048870"/>
                <a:gd name="connsiteY106" fmla="*/ 639561 h 1413227"/>
                <a:gd name="connsiteX107" fmla="*/ 95070 w 2048870"/>
                <a:gd name="connsiteY107" fmla="*/ 665489 h 1413227"/>
                <a:gd name="connsiteX108" fmla="*/ 89885 w 2048870"/>
                <a:gd name="connsiteY108" fmla="*/ 670675 h 1413227"/>
                <a:gd name="connsiteX109" fmla="*/ 86428 w 2048870"/>
                <a:gd name="connsiteY109" fmla="*/ 675860 h 1413227"/>
                <a:gd name="connsiteX110" fmla="*/ 81242 w 2048870"/>
                <a:gd name="connsiteY110" fmla="*/ 677589 h 1413227"/>
                <a:gd name="connsiteX111" fmla="*/ 77785 w 2048870"/>
                <a:gd name="connsiteY111" fmla="*/ 682775 h 1413227"/>
                <a:gd name="connsiteX112" fmla="*/ 63957 w 2048870"/>
                <a:gd name="connsiteY112" fmla="*/ 689689 h 1413227"/>
                <a:gd name="connsiteX113" fmla="*/ 60499 w 2048870"/>
                <a:gd name="connsiteY113" fmla="*/ 706974 h 1413227"/>
                <a:gd name="connsiteX114" fmla="*/ 50128 w 2048870"/>
                <a:gd name="connsiteY114" fmla="*/ 720803 h 1413227"/>
                <a:gd name="connsiteX115" fmla="*/ 48400 w 2048870"/>
                <a:gd name="connsiteY115" fmla="*/ 725988 h 1413227"/>
                <a:gd name="connsiteX116" fmla="*/ 46671 w 2048870"/>
                <a:gd name="connsiteY116" fmla="*/ 732902 h 1413227"/>
                <a:gd name="connsiteX117" fmla="*/ 25929 w 2048870"/>
                <a:gd name="connsiteY117" fmla="*/ 751916 h 1413227"/>
                <a:gd name="connsiteX118" fmla="*/ 19014 w 2048870"/>
                <a:gd name="connsiteY118" fmla="*/ 776116 h 1413227"/>
                <a:gd name="connsiteX119" fmla="*/ 12100 w 2048870"/>
                <a:gd name="connsiteY119" fmla="*/ 789944 h 1413227"/>
                <a:gd name="connsiteX120" fmla="*/ 17286 w 2048870"/>
                <a:gd name="connsiteY120" fmla="*/ 822787 h 1413227"/>
                <a:gd name="connsiteX121" fmla="*/ 25929 w 2048870"/>
                <a:gd name="connsiteY121" fmla="*/ 829701 h 1413227"/>
                <a:gd name="connsiteX122" fmla="*/ 29386 w 2048870"/>
                <a:gd name="connsiteY122" fmla="*/ 838344 h 1413227"/>
                <a:gd name="connsiteX123" fmla="*/ 36300 w 2048870"/>
                <a:gd name="connsiteY123" fmla="*/ 843529 h 1413227"/>
                <a:gd name="connsiteX124" fmla="*/ 38028 w 2048870"/>
                <a:gd name="connsiteY124" fmla="*/ 852172 h 1413227"/>
                <a:gd name="connsiteX125" fmla="*/ 43214 w 2048870"/>
                <a:gd name="connsiteY125" fmla="*/ 864272 h 1413227"/>
                <a:gd name="connsiteX126" fmla="*/ 44943 w 2048870"/>
                <a:gd name="connsiteY126" fmla="*/ 874643 h 1413227"/>
                <a:gd name="connsiteX127" fmla="*/ 51857 w 2048870"/>
                <a:gd name="connsiteY127" fmla="*/ 876372 h 1413227"/>
                <a:gd name="connsiteX128" fmla="*/ 53585 w 2048870"/>
                <a:gd name="connsiteY128" fmla="*/ 883286 h 1413227"/>
                <a:gd name="connsiteX129" fmla="*/ 58771 w 2048870"/>
                <a:gd name="connsiteY129" fmla="*/ 886743 h 1413227"/>
                <a:gd name="connsiteX130" fmla="*/ 51857 w 2048870"/>
                <a:gd name="connsiteY130" fmla="*/ 898843 h 1413227"/>
                <a:gd name="connsiteX131" fmla="*/ 43214 w 2048870"/>
                <a:gd name="connsiteY131" fmla="*/ 904028 h 1413227"/>
                <a:gd name="connsiteX132" fmla="*/ 29386 w 2048870"/>
                <a:gd name="connsiteY132" fmla="*/ 909214 h 1413227"/>
                <a:gd name="connsiteX133" fmla="*/ 27657 w 2048870"/>
                <a:gd name="connsiteY133" fmla="*/ 919585 h 1413227"/>
                <a:gd name="connsiteX134" fmla="*/ 25929 w 2048870"/>
                <a:gd name="connsiteY134" fmla="*/ 926499 h 1413227"/>
                <a:gd name="connsiteX135" fmla="*/ 19014 w 2048870"/>
                <a:gd name="connsiteY135" fmla="*/ 955885 h 1413227"/>
                <a:gd name="connsiteX136" fmla="*/ 10372 w 2048870"/>
                <a:gd name="connsiteY136" fmla="*/ 969713 h 1413227"/>
                <a:gd name="connsiteX137" fmla="*/ 8643 w 2048870"/>
                <a:gd name="connsiteY137" fmla="*/ 990455 h 1413227"/>
                <a:gd name="connsiteX138" fmla="*/ 0 w 2048870"/>
                <a:gd name="connsiteY138" fmla="*/ 999098 h 1413227"/>
                <a:gd name="connsiteX139" fmla="*/ 6915 w 2048870"/>
                <a:gd name="connsiteY139" fmla="*/ 1023298 h 1413227"/>
                <a:gd name="connsiteX140" fmla="*/ 15557 w 2048870"/>
                <a:gd name="connsiteY140" fmla="*/ 1025026 h 1413227"/>
                <a:gd name="connsiteX141" fmla="*/ 22471 w 2048870"/>
                <a:gd name="connsiteY141" fmla="*/ 1030212 h 1413227"/>
                <a:gd name="connsiteX142" fmla="*/ 27657 w 2048870"/>
                <a:gd name="connsiteY142" fmla="*/ 1031941 h 1413227"/>
                <a:gd name="connsiteX143" fmla="*/ 34571 w 2048870"/>
                <a:gd name="connsiteY143" fmla="*/ 1035398 h 1413227"/>
                <a:gd name="connsiteX144" fmla="*/ 39757 w 2048870"/>
                <a:gd name="connsiteY144" fmla="*/ 1042312 h 1413227"/>
                <a:gd name="connsiteX145" fmla="*/ 43214 w 2048870"/>
                <a:gd name="connsiteY145" fmla="*/ 1047497 h 1413227"/>
                <a:gd name="connsiteX146" fmla="*/ 53585 w 2048870"/>
                <a:gd name="connsiteY146" fmla="*/ 1052683 h 1413227"/>
                <a:gd name="connsiteX147" fmla="*/ 95070 w 2048870"/>
                <a:gd name="connsiteY147" fmla="*/ 1061326 h 1413227"/>
                <a:gd name="connsiteX148" fmla="*/ 96799 w 2048870"/>
                <a:gd name="connsiteY148" fmla="*/ 1073426 h 1413227"/>
                <a:gd name="connsiteX149" fmla="*/ 101985 w 2048870"/>
                <a:gd name="connsiteY149" fmla="*/ 1075154 h 1413227"/>
                <a:gd name="connsiteX150" fmla="*/ 112356 w 2048870"/>
                <a:gd name="connsiteY150" fmla="*/ 1066511 h 1413227"/>
                <a:gd name="connsiteX151" fmla="*/ 119270 w 2048870"/>
                <a:gd name="connsiteY151" fmla="*/ 1059597 h 1413227"/>
                <a:gd name="connsiteX152" fmla="*/ 120999 w 2048870"/>
                <a:gd name="connsiteY152" fmla="*/ 1054412 h 1413227"/>
                <a:gd name="connsiteX153" fmla="*/ 134827 w 2048870"/>
                <a:gd name="connsiteY153" fmla="*/ 1061326 h 1413227"/>
                <a:gd name="connsiteX154" fmla="*/ 141741 w 2048870"/>
                <a:gd name="connsiteY154" fmla="*/ 1063054 h 1413227"/>
                <a:gd name="connsiteX155" fmla="*/ 146927 w 2048870"/>
                <a:gd name="connsiteY155" fmla="*/ 1064783 h 1413227"/>
                <a:gd name="connsiteX156" fmla="*/ 247182 w 2048870"/>
                <a:gd name="connsiteY156" fmla="*/ 1068240 h 1413227"/>
                <a:gd name="connsiteX157" fmla="*/ 266196 w 2048870"/>
                <a:gd name="connsiteY157" fmla="*/ 1064783 h 1413227"/>
                <a:gd name="connsiteX158" fmla="*/ 276568 w 2048870"/>
                <a:gd name="connsiteY158" fmla="*/ 1059597 h 1413227"/>
                <a:gd name="connsiteX159" fmla="*/ 285210 w 2048870"/>
                <a:gd name="connsiteY159" fmla="*/ 1049226 h 1413227"/>
                <a:gd name="connsiteX160" fmla="*/ 295581 w 2048870"/>
                <a:gd name="connsiteY160" fmla="*/ 1052683 h 1413227"/>
                <a:gd name="connsiteX161" fmla="*/ 299039 w 2048870"/>
                <a:gd name="connsiteY161" fmla="*/ 1059597 h 1413227"/>
                <a:gd name="connsiteX162" fmla="*/ 312867 w 2048870"/>
                <a:gd name="connsiteY162" fmla="*/ 1071697 h 1413227"/>
                <a:gd name="connsiteX163" fmla="*/ 338795 w 2048870"/>
                <a:gd name="connsiteY163" fmla="*/ 1078611 h 1413227"/>
                <a:gd name="connsiteX164" fmla="*/ 361266 w 2048870"/>
                <a:gd name="connsiteY164" fmla="*/ 1075154 h 1413227"/>
                <a:gd name="connsiteX165" fmla="*/ 362995 w 2048870"/>
                <a:gd name="connsiteY165" fmla="*/ 1068240 h 1413227"/>
                <a:gd name="connsiteX166" fmla="*/ 373366 w 2048870"/>
                <a:gd name="connsiteY166" fmla="*/ 1050955 h 1413227"/>
                <a:gd name="connsiteX167" fmla="*/ 378552 w 2048870"/>
                <a:gd name="connsiteY167" fmla="*/ 1045769 h 1413227"/>
                <a:gd name="connsiteX168" fmla="*/ 397566 w 2048870"/>
                <a:gd name="connsiteY168" fmla="*/ 1038855 h 1413227"/>
                <a:gd name="connsiteX169" fmla="*/ 432137 w 2048870"/>
                <a:gd name="connsiteY169" fmla="*/ 1035398 h 1413227"/>
                <a:gd name="connsiteX170" fmla="*/ 444236 w 2048870"/>
                <a:gd name="connsiteY170" fmla="*/ 1031941 h 1413227"/>
                <a:gd name="connsiteX171" fmla="*/ 447693 w 2048870"/>
                <a:gd name="connsiteY171" fmla="*/ 1025026 h 1413227"/>
                <a:gd name="connsiteX172" fmla="*/ 452879 w 2048870"/>
                <a:gd name="connsiteY172" fmla="*/ 1021569 h 1413227"/>
                <a:gd name="connsiteX173" fmla="*/ 468436 w 2048870"/>
                <a:gd name="connsiteY173" fmla="*/ 1011198 h 1413227"/>
                <a:gd name="connsiteX174" fmla="*/ 473622 w 2048870"/>
                <a:gd name="connsiteY174" fmla="*/ 999098 h 1413227"/>
                <a:gd name="connsiteX175" fmla="*/ 478807 w 2048870"/>
                <a:gd name="connsiteY175" fmla="*/ 986998 h 1413227"/>
                <a:gd name="connsiteX176" fmla="*/ 485721 w 2048870"/>
                <a:gd name="connsiteY176" fmla="*/ 980084 h 1413227"/>
                <a:gd name="connsiteX177" fmla="*/ 489178 w 2048870"/>
                <a:gd name="connsiteY177" fmla="*/ 974899 h 1413227"/>
                <a:gd name="connsiteX178" fmla="*/ 511650 w 2048870"/>
                <a:gd name="connsiteY178" fmla="*/ 955885 h 1413227"/>
                <a:gd name="connsiteX179" fmla="*/ 530664 w 2048870"/>
                <a:gd name="connsiteY179" fmla="*/ 947242 h 1413227"/>
                <a:gd name="connsiteX180" fmla="*/ 537578 w 2048870"/>
                <a:gd name="connsiteY180" fmla="*/ 933414 h 1413227"/>
                <a:gd name="connsiteX181" fmla="*/ 539306 w 2048870"/>
                <a:gd name="connsiteY181" fmla="*/ 928228 h 1413227"/>
                <a:gd name="connsiteX182" fmla="*/ 541035 w 2048870"/>
                <a:gd name="connsiteY182" fmla="*/ 921314 h 1413227"/>
                <a:gd name="connsiteX183" fmla="*/ 563506 w 2048870"/>
                <a:gd name="connsiteY183" fmla="*/ 917857 h 1413227"/>
                <a:gd name="connsiteX184" fmla="*/ 568692 w 2048870"/>
                <a:gd name="connsiteY184" fmla="*/ 916128 h 1413227"/>
                <a:gd name="connsiteX185" fmla="*/ 584248 w 2048870"/>
                <a:gd name="connsiteY185" fmla="*/ 914400 h 1413227"/>
                <a:gd name="connsiteX186" fmla="*/ 589434 w 2048870"/>
                <a:gd name="connsiteY186" fmla="*/ 910942 h 1413227"/>
                <a:gd name="connsiteX187" fmla="*/ 599805 w 2048870"/>
                <a:gd name="connsiteY187" fmla="*/ 905757 h 1413227"/>
                <a:gd name="connsiteX188" fmla="*/ 604991 w 2048870"/>
                <a:gd name="connsiteY188" fmla="*/ 900571 h 1413227"/>
                <a:gd name="connsiteX189" fmla="*/ 606719 w 2048870"/>
                <a:gd name="connsiteY189" fmla="*/ 895386 h 1413227"/>
                <a:gd name="connsiteX190" fmla="*/ 615362 w 2048870"/>
                <a:gd name="connsiteY190" fmla="*/ 891928 h 1413227"/>
                <a:gd name="connsiteX191" fmla="*/ 620548 w 2048870"/>
                <a:gd name="connsiteY191" fmla="*/ 886743 h 1413227"/>
                <a:gd name="connsiteX192" fmla="*/ 639562 w 2048870"/>
                <a:gd name="connsiteY192" fmla="*/ 879829 h 1413227"/>
                <a:gd name="connsiteX193" fmla="*/ 653390 w 2048870"/>
                <a:gd name="connsiteY193" fmla="*/ 883286 h 1413227"/>
                <a:gd name="connsiteX194" fmla="*/ 660304 w 2048870"/>
                <a:gd name="connsiteY194" fmla="*/ 885014 h 1413227"/>
                <a:gd name="connsiteX195" fmla="*/ 668947 w 2048870"/>
                <a:gd name="connsiteY195" fmla="*/ 886743 h 1413227"/>
                <a:gd name="connsiteX196" fmla="*/ 675861 w 2048870"/>
                <a:gd name="connsiteY196" fmla="*/ 890200 h 1413227"/>
                <a:gd name="connsiteX197" fmla="*/ 682775 w 2048870"/>
                <a:gd name="connsiteY197" fmla="*/ 891928 h 1413227"/>
                <a:gd name="connsiteX198" fmla="*/ 687961 w 2048870"/>
                <a:gd name="connsiteY198" fmla="*/ 895386 h 1413227"/>
                <a:gd name="connsiteX199" fmla="*/ 700061 w 2048870"/>
                <a:gd name="connsiteY199" fmla="*/ 898843 h 1413227"/>
                <a:gd name="connsiteX200" fmla="*/ 706975 w 2048870"/>
                <a:gd name="connsiteY200" fmla="*/ 904028 h 1413227"/>
                <a:gd name="connsiteX201" fmla="*/ 720803 w 2048870"/>
                <a:gd name="connsiteY201" fmla="*/ 907485 h 1413227"/>
                <a:gd name="connsiteX202" fmla="*/ 727718 w 2048870"/>
                <a:gd name="connsiteY202" fmla="*/ 905757 h 1413227"/>
                <a:gd name="connsiteX203" fmla="*/ 736360 w 2048870"/>
                <a:gd name="connsiteY203" fmla="*/ 904028 h 1413227"/>
                <a:gd name="connsiteX204" fmla="*/ 738089 w 2048870"/>
                <a:gd name="connsiteY204" fmla="*/ 910942 h 1413227"/>
                <a:gd name="connsiteX205" fmla="*/ 760560 w 2048870"/>
                <a:gd name="connsiteY205" fmla="*/ 904028 h 1413227"/>
                <a:gd name="connsiteX206" fmla="*/ 770931 w 2048870"/>
                <a:gd name="connsiteY206" fmla="*/ 895386 h 1413227"/>
                <a:gd name="connsiteX207" fmla="*/ 776117 w 2048870"/>
                <a:gd name="connsiteY207" fmla="*/ 909214 h 1413227"/>
                <a:gd name="connsiteX208" fmla="*/ 783031 w 2048870"/>
                <a:gd name="connsiteY208" fmla="*/ 914400 h 1413227"/>
                <a:gd name="connsiteX209" fmla="*/ 788217 w 2048870"/>
                <a:gd name="connsiteY209" fmla="*/ 919585 h 1413227"/>
                <a:gd name="connsiteX210" fmla="*/ 793402 w 2048870"/>
                <a:gd name="connsiteY210" fmla="*/ 923042 h 1413227"/>
                <a:gd name="connsiteX211" fmla="*/ 798588 w 2048870"/>
                <a:gd name="connsiteY211" fmla="*/ 928228 h 1413227"/>
                <a:gd name="connsiteX212" fmla="*/ 815873 w 2048870"/>
                <a:gd name="connsiteY212" fmla="*/ 935142 h 1413227"/>
                <a:gd name="connsiteX213" fmla="*/ 821059 w 2048870"/>
                <a:gd name="connsiteY213" fmla="*/ 926499 h 1413227"/>
                <a:gd name="connsiteX214" fmla="*/ 824516 w 2048870"/>
                <a:gd name="connsiteY214" fmla="*/ 910942 h 1413227"/>
                <a:gd name="connsiteX215" fmla="*/ 833159 w 2048870"/>
                <a:gd name="connsiteY215" fmla="*/ 912671 h 1413227"/>
                <a:gd name="connsiteX216" fmla="*/ 838344 w 2048870"/>
                <a:gd name="connsiteY216" fmla="*/ 926499 h 1413227"/>
                <a:gd name="connsiteX217" fmla="*/ 841802 w 2048870"/>
                <a:gd name="connsiteY217" fmla="*/ 929956 h 1413227"/>
                <a:gd name="connsiteX218" fmla="*/ 850444 w 2048870"/>
                <a:gd name="connsiteY218" fmla="*/ 948970 h 1413227"/>
                <a:gd name="connsiteX219" fmla="*/ 853901 w 2048870"/>
                <a:gd name="connsiteY219" fmla="*/ 954156 h 1413227"/>
                <a:gd name="connsiteX220" fmla="*/ 859087 w 2048870"/>
                <a:gd name="connsiteY220" fmla="*/ 988727 h 1413227"/>
                <a:gd name="connsiteX221" fmla="*/ 864273 w 2048870"/>
                <a:gd name="connsiteY221" fmla="*/ 1009469 h 1413227"/>
                <a:gd name="connsiteX222" fmla="*/ 878101 w 2048870"/>
                <a:gd name="connsiteY222" fmla="*/ 1012927 h 1413227"/>
                <a:gd name="connsiteX223" fmla="*/ 885015 w 2048870"/>
                <a:gd name="connsiteY223" fmla="*/ 1016384 h 1413227"/>
                <a:gd name="connsiteX224" fmla="*/ 888472 w 2048870"/>
                <a:gd name="connsiteY224" fmla="*/ 1021569 h 1413227"/>
                <a:gd name="connsiteX225" fmla="*/ 900572 w 2048870"/>
                <a:gd name="connsiteY225" fmla="*/ 1026755 h 1413227"/>
                <a:gd name="connsiteX226" fmla="*/ 905758 w 2048870"/>
                <a:gd name="connsiteY226" fmla="*/ 1033669 h 1413227"/>
                <a:gd name="connsiteX227" fmla="*/ 909215 w 2048870"/>
                <a:gd name="connsiteY227" fmla="*/ 1040583 h 1413227"/>
                <a:gd name="connsiteX228" fmla="*/ 912672 w 2048870"/>
                <a:gd name="connsiteY228" fmla="*/ 1045769 h 1413227"/>
                <a:gd name="connsiteX229" fmla="*/ 921315 w 2048870"/>
                <a:gd name="connsiteY229" fmla="*/ 1061326 h 1413227"/>
                <a:gd name="connsiteX230" fmla="*/ 928229 w 2048870"/>
                <a:gd name="connsiteY230" fmla="*/ 1082068 h 1413227"/>
                <a:gd name="connsiteX231" fmla="*/ 929957 w 2048870"/>
                <a:gd name="connsiteY231" fmla="*/ 1088983 h 1413227"/>
                <a:gd name="connsiteX232" fmla="*/ 940329 w 2048870"/>
                <a:gd name="connsiteY232" fmla="*/ 1095897 h 1413227"/>
                <a:gd name="connsiteX233" fmla="*/ 959343 w 2048870"/>
                <a:gd name="connsiteY233" fmla="*/ 1097625 h 1413227"/>
                <a:gd name="connsiteX234" fmla="*/ 967985 w 2048870"/>
                <a:gd name="connsiteY234" fmla="*/ 1101082 h 1413227"/>
                <a:gd name="connsiteX235" fmla="*/ 973171 w 2048870"/>
                <a:gd name="connsiteY235" fmla="*/ 1106268 h 1413227"/>
                <a:gd name="connsiteX236" fmla="*/ 978357 w 2048870"/>
                <a:gd name="connsiteY236" fmla="*/ 1109725 h 1413227"/>
                <a:gd name="connsiteX237" fmla="*/ 983542 w 2048870"/>
                <a:gd name="connsiteY237" fmla="*/ 1118368 h 1413227"/>
                <a:gd name="connsiteX238" fmla="*/ 985271 w 2048870"/>
                <a:gd name="connsiteY238" fmla="*/ 1132196 h 1413227"/>
                <a:gd name="connsiteX239" fmla="*/ 992185 w 2048870"/>
                <a:gd name="connsiteY239" fmla="*/ 1139110 h 1413227"/>
                <a:gd name="connsiteX240" fmla="*/ 1006013 w 2048870"/>
                <a:gd name="connsiteY240" fmla="*/ 1147753 h 1413227"/>
                <a:gd name="connsiteX241" fmla="*/ 1019842 w 2048870"/>
                <a:gd name="connsiteY241" fmla="*/ 1165038 h 1413227"/>
                <a:gd name="connsiteX242" fmla="*/ 1012927 w 2048870"/>
                <a:gd name="connsiteY242" fmla="*/ 1168496 h 1413227"/>
                <a:gd name="connsiteX243" fmla="*/ 1009470 w 2048870"/>
                <a:gd name="connsiteY243" fmla="*/ 1173681 h 1413227"/>
                <a:gd name="connsiteX244" fmla="*/ 997371 w 2048870"/>
                <a:gd name="connsiteY244" fmla="*/ 1177138 h 1413227"/>
                <a:gd name="connsiteX245" fmla="*/ 990456 w 2048870"/>
                <a:gd name="connsiteY245" fmla="*/ 1182324 h 1413227"/>
                <a:gd name="connsiteX246" fmla="*/ 973171 w 2048870"/>
                <a:gd name="connsiteY246" fmla="*/ 1182324 h 1413227"/>
                <a:gd name="connsiteX247" fmla="*/ 971442 w 2048870"/>
                <a:gd name="connsiteY247" fmla="*/ 1161581 h 1413227"/>
                <a:gd name="connsiteX248" fmla="*/ 962800 w 2048870"/>
                <a:gd name="connsiteY248" fmla="*/ 1171953 h 1413227"/>
                <a:gd name="connsiteX249" fmla="*/ 959343 w 2048870"/>
                <a:gd name="connsiteY249" fmla="*/ 1178867 h 1413227"/>
                <a:gd name="connsiteX250" fmla="*/ 955885 w 2048870"/>
                <a:gd name="connsiteY250" fmla="*/ 1184052 h 1413227"/>
                <a:gd name="connsiteX251" fmla="*/ 947243 w 2048870"/>
                <a:gd name="connsiteY251" fmla="*/ 1187510 h 1413227"/>
                <a:gd name="connsiteX252" fmla="*/ 940329 w 2048870"/>
                <a:gd name="connsiteY252" fmla="*/ 1190967 h 1413227"/>
                <a:gd name="connsiteX253" fmla="*/ 935143 w 2048870"/>
                <a:gd name="connsiteY253" fmla="*/ 1189238 h 1413227"/>
                <a:gd name="connsiteX254" fmla="*/ 929957 w 2048870"/>
                <a:gd name="connsiteY254" fmla="*/ 1171953 h 1413227"/>
                <a:gd name="connsiteX255" fmla="*/ 926500 w 2048870"/>
                <a:gd name="connsiteY255" fmla="*/ 1165038 h 1413227"/>
                <a:gd name="connsiteX256" fmla="*/ 921315 w 2048870"/>
                <a:gd name="connsiteY256" fmla="*/ 1178867 h 1413227"/>
                <a:gd name="connsiteX257" fmla="*/ 917857 w 2048870"/>
                <a:gd name="connsiteY257" fmla="*/ 1182324 h 1413227"/>
                <a:gd name="connsiteX258" fmla="*/ 914400 w 2048870"/>
                <a:gd name="connsiteY258" fmla="*/ 1194424 h 1413227"/>
                <a:gd name="connsiteX259" fmla="*/ 909215 w 2048870"/>
                <a:gd name="connsiteY259" fmla="*/ 1199609 h 1413227"/>
                <a:gd name="connsiteX260" fmla="*/ 886744 w 2048870"/>
                <a:gd name="connsiteY260" fmla="*/ 1180595 h 1413227"/>
                <a:gd name="connsiteX261" fmla="*/ 883287 w 2048870"/>
                <a:gd name="connsiteY261" fmla="*/ 1189238 h 1413227"/>
                <a:gd name="connsiteX262" fmla="*/ 879830 w 2048870"/>
                <a:gd name="connsiteY262" fmla="*/ 1194424 h 1413227"/>
                <a:gd name="connsiteX263" fmla="*/ 874644 w 2048870"/>
                <a:gd name="connsiteY263" fmla="*/ 1204795 h 1413227"/>
                <a:gd name="connsiteX264" fmla="*/ 879830 w 2048870"/>
                <a:gd name="connsiteY264" fmla="*/ 1211709 h 1413227"/>
                <a:gd name="connsiteX265" fmla="*/ 890201 w 2048870"/>
                <a:gd name="connsiteY265" fmla="*/ 1215166 h 1413227"/>
                <a:gd name="connsiteX266" fmla="*/ 893658 w 2048870"/>
                <a:gd name="connsiteY266" fmla="*/ 1235909 h 1413227"/>
                <a:gd name="connsiteX267" fmla="*/ 891929 w 2048870"/>
                <a:gd name="connsiteY267" fmla="*/ 1258380 h 1413227"/>
                <a:gd name="connsiteX268" fmla="*/ 890201 w 2048870"/>
                <a:gd name="connsiteY268" fmla="*/ 1263565 h 1413227"/>
                <a:gd name="connsiteX269" fmla="*/ 878101 w 2048870"/>
                <a:gd name="connsiteY269" fmla="*/ 1275665 h 1413227"/>
                <a:gd name="connsiteX270" fmla="*/ 871187 w 2048870"/>
                <a:gd name="connsiteY270" fmla="*/ 1282579 h 1413227"/>
                <a:gd name="connsiteX271" fmla="*/ 876372 w 2048870"/>
                <a:gd name="connsiteY271" fmla="*/ 1287765 h 1413227"/>
                <a:gd name="connsiteX272" fmla="*/ 874644 w 2048870"/>
                <a:gd name="connsiteY272" fmla="*/ 1306779 h 1413227"/>
                <a:gd name="connsiteX273" fmla="*/ 869458 w 2048870"/>
                <a:gd name="connsiteY273" fmla="*/ 1308508 h 1413227"/>
                <a:gd name="connsiteX274" fmla="*/ 864273 w 2048870"/>
                <a:gd name="connsiteY274" fmla="*/ 1320607 h 1413227"/>
                <a:gd name="connsiteX275" fmla="*/ 862544 w 2048870"/>
                <a:gd name="connsiteY275" fmla="*/ 1360364 h 1413227"/>
                <a:gd name="connsiteX276" fmla="*/ 857358 w 2048870"/>
                <a:gd name="connsiteY276" fmla="*/ 1363821 h 1413227"/>
                <a:gd name="connsiteX277" fmla="*/ 852173 w 2048870"/>
                <a:gd name="connsiteY277" fmla="*/ 1365550 h 1413227"/>
                <a:gd name="connsiteX278" fmla="*/ 850444 w 2048870"/>
                <a:gd name="connsiteY278" fmla="*/ 1370735 h 1413227"/>
                <a:gd name="connsiteX279" fmla="*/ 838344 w 2048870"/>
                <a:gd name="connsiteY279" fmla="*/ 1379378 h 1413227"/>
                <a:gd name="connsiteX280" fmla="*/ 841802 w 2048870"/>
                <a:gd name="connsiteY280" fmla="*/ 1389749 h 1413227"/>
                <a:gd name="connsiteX281" fmla="*/ 840497 w 2048870"/>
                <a:gd name="connsiteY281" fmla="*/ 1405535 h 1413227"/>
                <a:gd name="connsiteX282" fmla="*/ 835505 w 2048870"/>
                <a:gd name="connsiteY282" fmla="*/ 1401197 h 1413227"/>
                <a:gd name="connsiteX283" fmla="*/ 859087 w 2048870"/>
                <a:gd name="connsiteY283" fmla="*/ 1410492 h 1413227"/>
                <a:gd name="connsiteX284" fmla="*/ 885015 w 2048870"/>
                <a:gd name="connsiteY284" fmla="*/ 1408763 h 1413227"/>
                <a:gd name="connsiteX285" fmla="*/ 890201 w 2048870"/>
                <a:gd name="connsiteY285" fmla="*/ 1413103 h 1413227"/>
                <a:gd name="connsiteX286" fmla="*/ 921633 w 2048870"/>
                <a:gd name="connsiteY286" fmla="*/ 1403013 h 1413227"/>
                <a:gd name="connsiteX287" fmla="*/ 932427 w 2048870"/>
                <a:gd name="connsiteY287" fmla="*/ 1394371 h 1413227"/>
                <a:gd name="connsiteX288" fmla="*/ 933873 w 2048870"/>
                <a:gd name="connsiteY288" fmla="*/ 1386010 h 1413227"/>
                <a:gd name="connsiteX289" fmla="*/ 943362 w 2048870"/>
                <a:gd name="connsiteY289" fmla="*/ 1367278 h 1413227"/>
                <a:gd name="connsiteX290" fmla="*/ 943786 w 2048870"/>
                <a:gd name="connsiteY290" fmla="*/ 1362093 h 1413227"/>
                <a:gd name="connsiteX291" fmla="*/ 954157 w 2048870"/>
                <a:gd name="connsiteY291" fmla="*/ 1360364 h 1413227"/>
                <a:gd name="connsiteX292" fmla="*/ 993913 w 2048870"/>
                <a:gd name="connsiteY292" fmla="*/ 1356907 h 1413227"/>
                <a:gd name="connsiteX293" fmla="*/ 997371 w 2048870"/>
                <a:gd name="connsiteY293" fmla="*/ 1349993 h 1413227"/>
                <a:gd name="connsiteX294" fmla="*/ 1009470 w 2048870"/>
                <a:gd name="connsiteY294" fmla="*/ 1344807 h 1413227"/>
                <a:gd name="connsiteX295" fmla="*/ 997371 w 2048870"/>
                <a:gd name="connsiteY295" fmla="*/ 1334436 h 1413227"/>
                <a:gd name="connsiteX296" fmla="*/ 993913 w 2048870"/>
                <a:gd name="connsiteY296" fmla="*/ 1327522 h 1413227"/>
                <a:gd name="connsiteX297" fmla="*/ 988728 w 2048870"/>
                <a:gd name="connsiteY297" fmla="*/ 1322336 h 1413227"/>
                <a:gd name="connsiteX298" fmla="*/ 985271 w 2048870"/>
                <a:gd name="connsiteY298" fmla="*/ 1310236 h 1413227"/>
                <a:gd name="connsiteX299" fmla="*/ 981814 w 2048870"/>
                <a:gd name="connsiteY299" fmla="*/ 1299865 h 1413227"/>
                <a:gd name="connsiteX300" fmla="*/ 990456 w 2048870"/>
                <a:gd name="connsiteY300" fmla="*/ 1287765 h 1413227"/>
                <a:gd name="connsiteX301" fmla="*/ 992185 w 2048870"/>
                <a:gd name="connsiteY301" fmla="*/ 1292951 h 1413227"/>
                <a:gd name="connsiteX302" fmla="*/ 1014656 w 2048870"/>
                <a:gd name="connsiteY302" fmla="*/ 1299865 h 1413227"/>
                <a:gd name="connsiteX303" fmla="*/ 1016385 w 2048870"/>
                <a:gd name="connsiteY303" fmla="*/ 1294679 h 1413227"/>
                <a:gd name="connsiteX304" fmla="*/ 1018113 w 2048870"/>
                <a:gd name="connsiteY304" fmla="*/ 1284308 h 1413227"/>
                <a:gd name="connsiteX305" fmla="*/ 1031941 w 2048870"/>
                <a:gd name="connsiteY305" fmla="*/ 1270480 h 1413227"/>
                <a:gd name="connsiteX306" fmla="*/ 1037127 w 2048870"/>
                <a:gd name="connsiteY306" fmla="*/ 1265294 h 1413227"/>
                <a:gd name="connsiteX307" fmla="*/ 1038856 w 2048870"/>
                <a:gd name="connsiteY307" fmla="*/ 1260108 h 1413227"/>
                <a:gd name="connsiteX308" fmla="*/ 1054412 w 2048870"/>
                <a:gd name="connsiteY308" fmla="*/ 1251466 h 1413227"/>
                <a:gd name="connsiteX309" fmla="*/ 1063055 w 2048870"/>
                <a:gd name="connsiteY309" fmla="*/ 1242823 h 1413227"/>
                <a:gd name="connsiteX310" fmla="*/ 1068241 w 2048870"/>
                <a:gd name="connsiteY310" fmla="*/ 1223809 h 1413227"/>
                <a:gd name="connsiteX311" fmla="*/ 1069969 w 2048870"/>
                <a:gd name="connsiteY311" fmla="*/ 1215166 h 1413227"/>
                <a:gd name="connsiteX312" fmla="*/ 1075155 w 2048870"/>
                <a:gd name="connsiteY312" fmla="*/ 1201338 h 1413227"/>
                <a:gd name="connsiteX313" fmla="*/ 1080341 w 2048870"/>
                <a:gd name="connsiteY313" fmla="*/ 1175410 h 1413227"/>
                <a:gd name="connsiteX314" fmla="*/ 1082069 w 2048870"/>
                <a:gd name="connsiteY314" fmla="*/ 1170224 h 1413227"/>
                <a:gd name="connsiteX315" fmla="*/ 1083798 w 2048870"/>
                <a:gd name="connsiteY315" fmla="*/ 1161581 h 1413227"/>
                <a:gd name="connsiteX316" fmla="*/ 1085526 w 2048870"/>
                <a:gd name="connsiteY316" fmla="*/ 1156396 h 1413227"/>
                <a:gd name="connsiteX317" fmla="*/ 1087255 w 2048870"/>
                <a:gd name="connsiteY317" fmla="*/ 1147753 h 1413227"/>
                <a:gd name="connsiteX318" fmla="*/ 1097626 w 2048870"/>
                <a:gd name="connsiteY318" fmla="*/ 1128739 h 1413227"/>
                <a:gd name="connsiteX319" fmla="*/ 1099355 w 2048870"/>
                <a:gd name="connsiteY319" fmla="*/ 1111454 h 1413227"/>
                <a:gd name="connsiteX320" fmla="*/ 1106269 w 2048870"/>
                <a:gd name="connsiteY320" fmla="*/ 1097625 h 1413227"/>
                <a:gd name="connsiteX321" fmla="*/ 1111454 w 2048870"/>
                <a:gd name="connsiteY321" fmla="*/ 1095897 h 1413227"/>
                <a:gd name="connsiteX322" fmla="*/ 1127011 w 2048870"/>
                <a:gd name="connsiteY322" fmla="*/ 1094168 h 1413227"/>
                <a:gd name="connsiteX323" fmla="*/ 1132197 w 2048870"/>
                <a:gd name="connsiteY323" fmla="*/ 1088983 h 1413227"/>
                <a:gd name="connsiteX324" fmla="*/ 1166768 w 2048870"/>
                <a:gd name="connsiteY324" fmla="*/ 1083797 h 1413227"/>
                <a:gd name="connsiteX325" fmla="*/ 1175411 w 2048870"/>
                <a:gd name="connsiteY325" fmla="*/ 1073426 h 1413227"/>
                <a:gd name="connsiteX326" fmla="*/ 1177139 w 2048870"/>
                <a:gd name="connsiteY326" fmla="*/ 1061326 h 1413227"/>
                <a:gd name="connsiteX327" fmla="*/ 1170225 w 2048870"/>
                <a:gd name="connsiteY327" fmla="*/ 1047497 h 1413227"/>
                <a:gd name="connsiteX328" fmla="*/ 1163311 w 2048870"/>
                <a:gd name="connsiteY328" fmla="*/ 1050955 h 1413227"/>
                <a:gd name="connsiteX329" fmla="*/ 1166768 w 2048870"/>
                <a:gd name="connsiteY329" fmla="*/ 1068240 h 1413227"/>
                <a:gd name="connsiteX330" fmla="*/ 1170225 w 2048870"/>
                <a:gd name="connsiteY330" fmla="*/ 1076883 h 1413227"/>
                <a:gd name="connsiteX331" fmla="*/ 1182325 w 2048870"/>
                <a:gd name="connsiteY331" fmla="*/ 1080340 h 1413227"/>
                <a:gd name="connsiteX332" fmla="*/ 1206524 w 2048870"/>
                <a:gd name="connsiteY332" fmla="*/ 1078611 h 1413227"/>
                <a:gd name="connsiteX333" fmla="*/ 1211710 w 2048870"/>
                <a:gd name="connsiteY333" fmla="*/ 1073426 h 1413227"/>
                <a:gd name="connsiteX334" fmla="*/ 1218624 w 2048870"/>
                <a:gd name="connsiteY334" fmla="*/ 1057869 h 1413227"/>
                <a:gd name="connsiteX335" fmla="*/ 1220353 w 2048870"/>
                <a:gd name="connsiteY335" fmla="*/ 1044040 h 1413227"/>
                <a:gd name="connsiteX336" fmla="*/ 1218624 w 2048870"/>
                <a:gd name="connsiteY336" fmla="*/ 1014655 h 1413227"/>
                <a:gd name="connsiteX337" fmla="*/ 1211710 w 2048870"/>
                <a:gd name="connsiteY337" fmla="*/ 997370 h 1413227"/>
                <a:gd name="connsiteX338" fmla="*/ 1206524 w 2048870"/>
                <a:gd name="connsiteY338" fmla="*/ 993913 h 1413227"/>
                <a:gd name="connsiteX339" fmla="*/ 1184053 w 2048870"/>
                <a:gd name="connsiteY339" fmla="*/ 973170 h 1413227"/>
                <a:gd name="connsiteX340" fmla="*/ 1173682 w 2048870"/>
                <a:gd name="connsiteY340" fmla="*/ 962799 h 1413227"/>
                <a:gd name="connsiteX341" fmla="*/ 1168496 w 2048870"/>
                <a:gd name="connsiteY341" fmla="*/ 957613 h 1413227"/>
                <a:gd name="connsiteX342" fmla="*/ 1171954 w 2048870"/>
                <a:gd name="connsiteY342" fmla="*/ 961070 h 1413227"/>
                <a:gd name="connsiteX343" fmla="*/ 1178868 w 2048870"/>
                <a:gd name="connsiteY343" fmla="*/ 971441 h 1413227"/>
                <a:gd name="connsiteX344" fmla="*/ 1185782 w 2048870"/>
                <a:gd name="connsiteY344" fmla="*/ 980084 h 1413227"/>
                <a:gd name="connsiteX345" fmla="*/ 1190968 w 2048870"/>
                <a:gd name="connsiteY345" fmla="*/ 985270 h 1413227"/>
                <a:gd name="connsiteX346" fmla="*/ 1194425 w 2048870"/>
                <a:gd name="connsiteY346" fmla="*/ 993913 h 1413227"/>
                <a:gd name="connsiteX347" fmla="*/ 1206524 w 2048870"/>
                <a:gd name="connsiteY347" fmla="*/ 1007741 h 1413227"/>
                <a:gd name="connsiteX348" fmla="*/ 1208253 w 2048870"/>
                <a:gd name="connsiteY348" fmla="*/ 1014655 h 1413227"/>
                <a:gd name="connsiteX349" fmla="*/ 1211710 w 2048870"/>
                <a:gd name="connsiteY349" fmla="*/ 1023298 h 1413227"/>
                <a:gd name="connsiteX350" fmla="*/ 1213439 w 2048870"/>
                <a:gd name="connsiteY350" fmla="*/ 1035398 h 1413227"/>
                <a:gd name="connsiteX351" fmla="*/ 1215167 w 2048870"/>
                <a:gd name="connsiteY351" fmla="*/ 1044040 h 1413227"/>
                <a:gd name="connsiteX352" fmla="*/ 1220353 w 2048870"/>
                <a:gd name="connsiteY352" fmla="*/ 1045769 h 1413227"/>
                <a:gd name="connsiteX353" fmla="*/ 1223810 w 2048870"/>
                <a:gd name="connsiteY353" fmla="*/ 1050955 h 1413227"/>
                <a:gd name="connsiteX354" fmla="*/ 1234181 w 2048870"/>
                <a:gd name="connsiteY354" fmla="*/ 1063054 h 1413227"/>
                <a:gd name="connsiteX355" fmla="*/ 1253195 w 2048870"/>
                <a:gd name="connsiteY355" fmla="*/ 1057869 h 1413227"/>
                <a:gd name="connsiteX356" fmla="*/ 1258381 w 2048870"/>
                <a:gd name="connsiteY356" fmla="*/ 1054412 h 1413227"/>
                <a:gd name="connsiteX357" fmla="*/ 1265295 w 2048870"/>
                <a:gd name="connsiteY357" fmla="*/ 1050955 h 1413227"/>
                <a:gd name="connsiteX358" fmla="*/ 1267023 w 2048870"/>
                <a:gd name="connsiteY358" fmla="*/ 1056140 h 1413227"/>
                <a:gd name="connsiteX359" fmla="*/ 1268752 w 2048870"/>
                <a:gd name="connsiteY359" fmla="*/ 1068240 h 1413227"/>
                <a:gd name="connsiteX360" fmla="*/ 1279123 w 2048870"/>
                <a:gd name="connsiteY360" fmla="*/ 1064783 h 1413227"/>
                <a:gd name="connsiteX361" fmla="*/ 1289495 w 2048870"/>
                <a:gd name="connsiteY361" fmla="*/ 1056140 h 1413227"/>
                <a:gd name="connsiteX362" fmla="*/ 1299866 w 2048870"/>
                <a:gd name="connsiteY362" fmla="*/ 1045769 h 1413227"/>
                <a:gd name="connsiteX363" fmla="*/ 1305051 w 2048870"/>
                <a:gd name="connsiteY363" fmla="*/ 1042312 h 1413227"/>
                <a:gd name="connsiteX364" fmla="*/ 1294680 w 2048870"/>
                <a:gd name="connsiteY364" fmla="*/ 1061326 h 1413227"/>
                <a:gd name="connsiteX365" fmla="*/ 1286037 w 2048870"/>
                <a:gd name="connsiteY365" fmla="*/ 1075154 h 1413227"/>
                <a:gd name="connsiteX366" fmla="*/ 1272209 w 2048870"/>
                <a:gd name="connsiteY366" fmla="*/ 1082068 h 1413227"/>
                <a:gd name="connsiteX367" fmla="*/ 1265295 w 2048870"/>
                <a:gd name="connsiteY367" fmla="*/ 1085525 h 1413227"/>
                <a:gd name="connsiteX368" fmla="*/ 1260109 w 2048870"/>
                <a:gd name="connsiteY368" fmla="*/ 1087254 h 1413227"/>
                <a:gd name="connsiteX369" fmla="*/ 1251467 w 2048870"/>
                <a:gd name="connsiteY369" fmla="*/ 1092440 h 1413227"/>
                <a:gd name="connsiteX370" fmla="*/ 1232453 w 2048870"/>
                <a:gd name="connsiteY370" fmla="*/ 1095897 h 1413227"/>
                <a:gd name="connsiteX371" fmla="*/ 1230724 w 2048870"/>
                <a:gd name="connsiteY371" fmla="*/ 1121825 h 1413227"/>
                <a:gd name="connsiteX372" fmla="*/ 1223810 w 2048870"/>
                <a:gd name="connsiteY372" fmla="*/ 1128739 h 1413227"/>
                <a:gd name="connsiteX373" fmla="*/ 1216896 w 2048870"/>
                <a:gd name="connsiteY373" fmla="*/ 1130468 h 1413227"/>
                <a:gd name="connsiteX374" fmla="*/ 1248009 w 2048870"/>
                <a:gd name="connsiteY374" fmla="*/ 1123553 h 1413227"/>
                <a:gd name="connsiteX375" fmla="*/ 1275666 w 2048870"/>
                <a:gd name="connsiteY375" fmla="*/ 1125282 h 1413227"/>
                <a:gd name="connsiteX376" fmla="*/ 1282580 w 2048870"/>
                <a:gd name="connsiteY376" fmla="*/ 1128739 h 1413227"/>
                <a:gd name="connsiteX377" fmla="*/ 1318880 w 2048870"/>
                <a:gd name="connsiteY377" fmla="*/ 1127010 h 1413227"/>
                <a:gd name="connsiteX378" fmla="*/ 1330980 w 2048870"/>
                <a:gd name="connsiteY378" fmla="*/ 1123553 h 1413227"/>
                <a:gd name="connsiteX379" fmla="*/ 1339622 w 2048870"/>
                <a:gd name="connsiteY379" fmla="*/ 1118368 h 1413227"/>
                <a:gd name="connsiteX380" fmla="*/ 1356908 w 2048870"/>
                <a:gd name="connsiteY380" fmla="*/ 1123553 h 1413227"/>
                <a:gd name="connsiteX381" fmla="*/ 1384564 w 2048870"/>
                <a:gd name="connsiteY381" fmla="*/ 1114911 h 1413227"/>
                <a:gd name="connsiteX382" fmla="*/ 1391479 w 2048870"/>
                <a:gd name="connsiteY382" fmla="*/ 1109725 h 1413227"/>
                <a:gd name="connsiteX383" fmla="*/ 1400121 w 2048870"/>
                <a:gd name="connsiteY383" fmla="*/ 1095897 h 1413227"/>
                <a:gd name="connsiteX384" fmla="*/ 1403578 w 2048870"/>
                <a:gd name="connsiteY384" fmla="*/ 1090711 h 1413227"/>
                <a:gd name="connsiteX385" fmla="*/ 1408764 w 2048870"/>
                <a:gd name="connsiteY385" fmla="*/ 1088983 h 1413227"/>
                <a:gd name="connsiteX386" fmla="*/ 1415678 w 2048870"/>
                <a:gd name="connsiteY386" fmla="*/ 1097625 h 1413227"/>
                <a:gd name="connsiteX387" fmla="*/ 1419135 w 2048870"/>
                <a:gd name="connsiteY387" fmla="*/ 1104539 h 1413227"/>
                <a:gd name="connsiteX388" fmla="*/ 1424321 w 2048870"/>
                <a:gd name="connsiteY388" fmla="*/ 1111454 h 1413227"/>
                <a:gd name="connsiteX389" fmla="*/ 1434692 w 2048870"/>
                <a:gd name="connsiteY389" fmla="*/ 1109725 h 1413227"/>
                <a:gd name="connsiteX390" fmla="*/ 1438149 w 2048870"/>
                <a:gd name="connsiteY390" fmla="*/ 1101082 h 1413227"/>
                <a:gd name="connsiteX391" fmla="*/ 1446792 w 2048870"/>
                <a:gd name="connsiteY391" fmla="*/ 1076883 h 1413227"/>
                <a:gd name="connsiteX392" fmla="*/ 1455435 w 2048870"/>
                <a:gd name="connsiteY392" fmla="*/ 1082068 h 1413227"/>
                <a:gd name="connsiteX393" fmla="*/ 1457163 w 2048870"/>
                <a:gd name="connsiteY393" fmla="*/ 1097625 h 1413227"/>
                <a:gd name="connsiteX394" fmla="*/ 1462349 w 2048870"/>
                <a:gd name="connsiteY394" fmla="*/ 1104539 h 1413227"/>
                <a:gd name="connsiteX395" fmla="*/ 1464078 w 2048870"/>
                <a:gd name="connsiteY395" fmla="*/ 1116639 h 1413227"/>
                <a:gd name="connsiteX396" fmla="*/ 1450249 w 2048870"/>
                <a:gd name="connsiteY396" fmla="*/ 1132196 h 1413227"/>
                <a:gd name="connsiteX397" fmla="*/ 1436421 w 2048870"/>
                <a:gd name="connsiteY397" fmla="*/ 1149482 h 1413227"/>
                <a:gd name="connsiteX398" fmla="*/ 1427778 w 2048870"/>
                <a:gd name="connsiteY398" fmla="*/ 1158124 h 1413227"/>
                <a:gd name="connsiteX399" fmla="*/ 1415678 w 2048870"/>
                <a:gd name="connsiteY399" fmla="*/ 1163310 h 1413227"/>
                <a:gd name="connsiteX400" fmla="*/ 1400121 w 2048870"/>
                <a:gd name="connsiteY400" fmla="*/ 1171953 h 1413227"/>
                <a:gd name="connsiteX401" fmla="*/ 1398393 w 2048870"/>
                <a:gd name="connsiteY401" fmla="*/ 1177138 h 1413227"/>
                <a:gd name="connsiteX402" fmla="*/ 1389750 w 2048870"/>
                <a:gd name="connsiteY402" fmla="*/ 1189238 h 1413227"/>
                <a:gd name="connsiteX403" fmla="*/ 1384564 w 2048870"/>
                <a:gd name="connsiteY403" fmla="*/ 1197881 h 1413227"/>
                <a:gd name="connsiteX404" fmla="*/ 1382836 w 2048870"/>
                <a:gd name="connsiteY404" fmla="*/ 1203066 h 1413227"/>
                <a:gd name="connsiteX405" fmla="*/ 1374193 w 2048870"/>
                <a:gd name="connsiteY405" fmla="*/ 1211709 h 1413227"/>
                <a:gd name="connsiteX406" fmla="*/ 1369008 w 2048870"/>
                <a:gd name="connsiteY406" fmla="*/ 1216895 h 1413227"/>
                <a:gd name="connsiteX407" fmla="*/ 1356908 w 2048870"/>
                <a:gd name="connsiteY407" fmla="*/ 1230723 h 1413227"/>
                <a:gd name="connsiteX408" fmla="*/ 1351722 w 2048870"/>
                <a:gd name="connsiteY408" fmla="*/ 1237637 h 1413227"/>
                <a:gd name="connsiteX409" fmla="*/ 1349994 w 2048870"/>
                <a:gd name="connsiteY409" fmla="*/ 1242823 h 1413227"/>
                <a:gd name="connsiteX410" fmla="*/ 1344808 w 2048870"/>
                <a:gd name="connsiteY410" fmla="*/ 1253194 h 1413227"/>
                <a:gd name="connsiteX411" fmla="*/ 1377650 w 2048870"/>
                <a:gd name="connsiteY411" fmla="*/ 1253194 h 1413227"/>
                <a:gd name="connsiteX412" fmla="*/ 1386293 w 2048870"/>
                <a:gd name="connsiteY412" fmla="*/ 1246280 h 1413227"/>
                <a:gd name="connsiteX413" fmla="*/ 1391479 w 2048870"/>
                <a:gd name="connsiteY413" fmla="*/ 1244552 h 1413227"/>
                <a:gd name="connsiteX414" fmla="*/ 1412221 w 2048870"/>
                <a:gd name="connsiteY414" fmla="*/ 1248009 h 1413227"/>
                <a:gd name="connsiteX415" fmla="*/ 1415678 w 2048870"/>
                <a:gd name="connsiteY415" fmla="*/ 1253194 h 1413227"/>
                <a:gd name="connsiteX416" fmla="*/ 1426050 w 2048870"/>
                <a:gd name="connsiteY416" fmla="*/ 1260108 h 1413227"/>
                <a:gd name="connsiteX417" fmla="*/ 1451978 w 2048870"/>
                <a:gd name="connsiteY417" fmla="*/ 1258380 h 1413227"/>
                <a:gd name="connsiteX418" fmla="*/ 1457163 w 2048870"/>
                <a:gd name="connsiteY418" fmla="*/ 1253194 h 1413227"/>
                <a:gd name="connsiteX419" fmla="*/ 1465806 w 2048870"/>
                <a:gd name="connsiteY419" fmla="*/ 1248009 h 1413227"/>
                <a:gd name="connsiteX420" fmla="*/ 1483092 w 2048870"/>
                <a:gd name="connsiteY420" fmla="*/ 1249737 h 1413227"/>
                <a:gd name="connsiteX421" fmla="*/ 1491734 w 2048870"/>
                <a:gd name="connsiteY421" fmla="*/ 1258380 h 1413227"/>
                <a:gd name="connsiteX422" fmla="*/ 1502106 w 2048870"/>
                <a:gd name="connsiteY422" fmla="*/ 1272208 h 1413227"/>
                <a:gd name="connsiteX423" fmla="*/ 1503834 w 2048870"/>
                <a:gd name="connsiteY423" fmla="*/ 1289494 h 1413227"/>
                <a:gd name="connsiteX424" fmla="*/ 1514205 w 2048870"/>
                <a:gd name="connsiteY424" fmla="*/ 1301593 h 1413227"/>
                <a:gd name="connsiteX425" fmla="*/ 1517662 w 2048870"/>
                <a:gd name="connsiteY425" fmla="*/ 1306779 h 1413227"/>
                <a:gd name="connsiteX426" fmla="*/ 1515934 w 2048870"/>
                <a:gd name="connsiteY426" fmla="*/ 1355178 h 1413227"/>
                <a:gd name="connsiteX427" fmla="*/ 1509020 w 2048870"/>
                <a:gd name="connsiteY427" fmla="*/ 1360364 h 1413227"/>
                <a:gd name="connsiteX428" fmla="*/ 1503834 w 2048870"/>
                <a:gd name="connsiteY428" fmla="*/ 1370735 h 1413227"/>
                <a:gd name="connsiteX429" fmla="*/ 1534948 w 2048870"/>
                <a:gd name="connsiteY429" fmla="*/ 1374192 h 1413227"/>
                <a:gd name="connsiteX430" fmla="*/ 1540133 w 2048870"/>
                <a:gd name="connsiteY430" fmla="*/ 1377649 h 1413227"/>
                <a:gd name="connsiteX431" fmla="*/ 1559147 w 2048870"/>
                <a:gd name="connsiteY431" fmla="*/ 1375921 h 1413227"/>
                <a:gd name="connsiteX432" fmla="*/ 1564333 w 2048870"/>
                <a:gd name="connsiteY432" fmla="*/ 1372464 h 1413227"/>
                <a:gd name="connsiteX433" fmla="*/ 1579890 w 2048870"/>
                <a:gd name="connsiteY433" fmla="*/ 1370735 h 1413227"/>
                <a:gd name="connsiteX434" fmla="*/ 1597175 w 2048870"/>
                <a:gd name="connsiteY434" fmla="*/ 1363821 h 1413227"/>
                <a:gd name="connsiteX435" fmla="*/ 1600633 w 2048870"/>
                <a:gd name="connsiteY435" fmla="*/ 1360364 h 1413227"/>
                <a:gd name="connsiteX436" fmla="*/ 1612732 w 2048870"/>
                <a:gd name="connsiteY436" fmla="*/ 1341350 h 1413227"/>
                <a:gd name="connsiteX437" fmla="*/ 1617918 w 2048870"/>
                <a:gd name="connsiteY437" fmla="*/ 1305051 h 1413227"/>
                <a:gd name="connsiteX438" fmla="*/ 1623104 w 2048870"/>
                <a:gd name="connsiteY438" fmla="*/ 1301593 h 1413227"/>
                <a:gd name="connsiteX439" fmla="*/ 1624832 w 2048870"/>
                <a:gd name="connsiteY439" fmla="*/ 1284308 h 1413227"/>
                <a:gd name="connsiteX440" fmla="*/ 1631746 w 2048870"/>
                <a:gd name="connsiteY440" fmla="*/ 1270480 h 1413227"/>
                <a:gd name="connsiteX441" fmla="*/ 1643846 w 2048870"/>
                <a:gd name="connsiteY441" fmla="*/ 1263565 h 1413227"/>
                <a:gd name="connsiteX442" fmla="*/ 1669774 w 2048870"/>
                <a:gd name="connsiteY442" fmla="*/ 1260108 h 1413227"/>
                <a:gd name="connsiteX443" fmla="*/ 1681874 w 2048870"/>
                <a:gd name="connsiteY443" fmla="*/ 1254923 h 1413227"/>
                <a:gd name="connsiteX444" fmla="*/ 1687060 w 2048870"/>
                <a:gd name="connsiteY444" fmla="*/ 1253194 h 1413227"/>
                <a:gd name="connsiteX445" fmla="*/ 1702617 w 2048870"/>
                <a:gd name="connsiteY445" fmla="*/ 1249737 h 1413227"/>
                <a:gd name="connsiteX446" fmla="*/ 1704345 w 2048870"/>
                <a:gd name="connsiteY446" fmla="*/ 1232452 h 1413227"/>
                <a:gd name="connsiteX447" fmla="*/ 1706074 w 2048870"/>
                <a:gd name="connsiteY447" fmla="*/ 1208252 h 1413227"/>
                <a:gd name="connsiteX448" fmla="*/ 1711259 w 2048870"/>
                <a:gd name="connsiteY448" fmla="*/ 1201338 h 1413227"/>
                <a:gd name="connsiteX449" fmla="*/ 1718174 w 2048870"/>
                <a:gd name="connsiteY449" fmla="*/ 1192695 h 1413227"/>
                <a:gd name="connsiteX450" fmla="*/ 1725088 w 2048870"/>
                <a:gd name="connsiteY450" fmla="*/ 1189238 h 1413227"/>
                <a:gd name="connsiteX451" fmla="*/ 1735459 w 2048870"/>
                <a:gd name="connsiteY451" fmla="*/ 1184052 h 1413227"/>
                <a:gd name="connsiteX452" fmla="*/ 1773487 w 2048870"/>
                <a:gd name="connsiteY452" fmla="*/ 1189238 h 1413227"/>
                <a:gd name="connsiteX453" fmla="*/ 1778673 w 2048870"/>
                <a:gd name="connsiteY453" fmla="*/ 1194424 h 1413227"/>
                <a:gd name="connsiteX454" fmla="*/ 1808058 w 2048870"/>
                <a:gd name="connsiteY454" fmla="*/ 1187510 h 1413227"/>
                <a:gd name="connsiteX455" fmla="*/ 1811515 w 2048870"/>
                <a:gd name="connsiteY455" fmla="*/ 1180595 h 1413227"/>
                <a:gd name="connsiteX456" fmla="*/ 1818429 w 2048870"/>
                <a:gd name="connsiteY456" fmla="*/ 1171953 h 1413227"/>
                <a:gd name="connsiteX457" fmla="*/ 1825343 w 2048870"/>
                <a:gd name="connsiteY457" fmla="*/ 1158124 h 1413227"/>
                <a:gd name="connsiteX458" fmla="*/ 1827072 w 2048870"/>
                <a:gd name="connsiteY458" fmla="*/ 1151210 h 1413227"/>
                <a:gd name="connsiteX459" fmla="*/ 1833986 w 2048870"/>
                <a:gd name="connsiteY459" fmla="*/ 1133925 h 1413227"/>
                <a:gd name="connsiteX460" fmla="*/ 1820158 w 2048870"/>
                <a:gd name="connsiteY460" fmla="*/ 1128739 h 1413227"/>
                <a:gd name="connsiteX461" fmla="*/ 1816701 w 2048870"/>
                <a:gd name="connsiteY461" fmla="*/ 1123553 h 1413227"/>
                <a:gd name="connsiteX462" fmla="*/ 1820158 w 2048870"/>
                <a:gd name="connsiteY462" fmla="*/ 1118368 h 1413227"/>
                <a:gd name="connsiteX463" fmla="*/ 1825343 w 2048870"/>
                <a:gd name="connsiteY463" fmla="*/ 1111454 h 1413227"/>
                <a:gd name="connsiteX464" fmla="*/ 1828800 w 2048870"/>
                <a:gd name="connsiteY464" fmla="*/ 1099354 h 1413227"/>
                <a:gd name="connsiteX465" fmla="*/ 1832257 w 2048870"/>
                <a:gd name="connsiteY465" fmla="*/ 1094168 h 1413227"/>
                <a:gd name="connsiteX466" fmla="*/ 1830529 w 2048870"/>
                <a:gd name="connsiteY466" fmla="*/ 1083797 h 1413227"/>
                <a:gd name="connsiteX467" fmla="*/ 1816701 w 2048870"/>
                <a:gd name="connsiteY467" fmla="*/ 1087254 h 1413227"/>
                <a:gd name="connsiteX468" fmla="*/ 1789044 w 2048870"/>
                <a:gd name="connsiteY468" fmla="*/ 1092440 h 1413227"/>
                <a:gd name="connsiteX469" fmla="*/ 1778673 w 2048870"/>
                <a:gd name="connsiteY469" fmla="*/ 1095897 h 1413227"/>
                <a:gd name="connsiteX470" fmla="*/ 1771758 w 2048870"/>
                <a:gd name="connsiteY470" fmla="*/ 1099354 h 1413227"/>
                <a:gd name="connsiteX471" fmla="*/ 1766573 w 2048870"/>
                <a:gd name="connsiteY471" fmla="*/ 1116639 h 1413227"/>
                <a:gd name="connsiteX472" fmla="*/ 1756202 w 2048870"/>
                <a:gd name="connsiteY472" fmla="*/ 1118368 h 1413227"/>
                <a:gd name="connsiteX473" fmla="*/ 1738916 w 2048870"/>
                <a:gd name="connsiteY473" fmla="*/ 1130468 h 1413227"/>
                <a:gd name="connsiteX474" fmla="*/ 1718174 w 2048870"/>
                <a:gd name="connsiteY474" fmla="*/ 1140839 h 1413227"/>
                <a:gd name="connsiteX475" fmla="*/ 1709531 w 2048870"/>
                <a:gd name="connsiteY475" fmla="*/ 1146024 h 1413227"/>
                <a:gd name="connsiteX476" fmla="*/ 1707802 w 2048870"/>
                <a:gd name="connsiteY476" fmla="*/ 1151210 h 1413227"/>
                <a:gd name="connsiteX477" fmla="*/ 1700888 w 2048870"/>
                <a:gd name="connsiteY477" fmla="*/ 1154667 h 1413227"/>
                <a:gd name="connsiteX478" fmla="*/ 1647303 w 2048870"/>
                <a:gd name="connsiteY478" fmla="*/ 1152939 h 1413227"/>
                <a:gd name="connsiteX479" fmla="*/ 1650760 w 2048870"/>
                <a:gd name="connsiteY479" fmla="*/ 1142567 h 1413227"/>
                <a:gd name="connsiteX480" fmla="*/ 1649032 w 2048870"/>
                <a:gd name="connsiteY480" fmla="*/ 1120096 h 1413227"/>
                <a:gd name="connsiteX481" fmla="*/ 1598904 w 2048870"/>
                <a:gd name="connsiteY481" fmla="*/ 1114911 h 1413227"/>
                <a:gd name="connsiteX482" fmla="*/ 1591990 w 2048870"/>
                <a:gd name="connsiteY482" fmla="*/ 1113182 h 1413227"/>
                <a:gd name="connsiteX483" fmla="*/ 1564333 w 2048870"/>
                <a:gd name="connsiteY483" fmla="*/ 1109725 h 1413227"/>
                <a:gd name="connsiteX484" fmla="*/ 1553962 w 2048870"/>
                <a:gd name="connsiteY484" fmla="*/ 1101082 h 1413227"/>
                <a:gd name="connsiteX485" fmla="*/ 1543591 w 2048870"/>
                <a:gd name="connsiteY485" fmla="*/ 1092440 h 1413227"/>
                <a:gd name="connsiteX486" fmla="*/ 1526305 w 2048870"/>
                <a:gd name="connsiteY486" fmla="*/ 1090711 h 1413227"/>
                <a:gd name="connsiteX487" fmla="*/ 1514205 w 2048870"/>
                <a:gd name="connsiteY487" fmla="*/ 1085525 h 1413227"/>
                <a:gd name="connsiteX488" fmla="*/ 1512477 w 2048870"/>
                <a:gd name="connsiteY488" fmla="*/ 1092440 h 1413227"/>
                <a:gd name="connsiteX489" fmla="*/ 1507291 w 2048870"/>
                <a:gd name="connsiteY489" fmla="*/ 1085525 h 1413227"/>
                <a:gd name="connsiteX490" fmla="*/ 1496920 w 2048870"/>
                <a:gd name="connsiteY490" fmla="*/ 1075154 h 1413227"/>
                <a:gd name="connsiteX491" fmla="*/ 1445064 w 2048870"/>
                <a:gd name="connsiteY491" fmla="*/ 1076883 h 1413227"/>
                <a:gd name="connsiteX492" fmla="*/ 1439878 w 2048870"/>
                <a:gd name="connsiteY492" fmla="*/ 1080340 h 1413227"/>
                <a:gd name="connsiteX493" fmla="*/ 1438149 w 2048870"/>
                <a:gd name="connsiteY493" fmla="*/ 1085525 h 1413227"/>
                <a:gd name="connsiteX494" fmla="*/ 1451978 w 2048870"/>
                <a:gd name="connsiteY494" fmla="*/ 1071697 h 1413227"/>
                <a:gd name="connsiteX495" fmla="*/ 1458892 w 2048870"/>
                <a:gd name="connsiteY495" fmla="*/ 1064783 h 1413227"/>
                <a:gd name="connsiteX496" fmla="*/ 1464078 w 2048870"/>
                <a:gd name="connsiteY496" fmla="*/ 1059597 h 1413227"/>
                <a:gd name="connsiteX497" fmla="*/ 1479634 w 2048870"/>
                <a:gd name="connsiteY497" fmla="*/ 1064783 h 1413227"/>
                <a:gd name="connsiteX498" fmla="*/ 1490006 w 2048870"/>
                <a:gd name="connsiteY498" fmla="*/ 1071697 h 1413227"/>
                <a:gd name="connsiteX499" fmla="*/ 1498648 w 2048870"/>
                <a:gd name="connsiteY499" fmla="*/ 1068240 h 1413227"/>
                <a:gd name="connsiteX500" fmla="*/ 1500377 w 2048870"/>
                <a:gd name="connsiteY500" fmla="*/ 1063054 h 1413227"/>
                <a:gd name="connsiteX501" fmla="*/ 1503834 w 2048870"/>
                <a:gd name="connsiteY501" fmla="*/ 1057869 h 1413227"/>
                <a:gd name="connsiteX502" fmla="*/ 1507291 w 2048870"/>
                <a:gd name="connsiteY502" fmla="*/ 1045769 h 1413227"/>
                <a:gd name="connsiteX503" fmla="*/ 1540133 w 2048870"/>
                <a:gd name="connsiteY503" fmla="*/ 1044040 h 1413227"/>
                <a:gd name="connsiteX504" fmla="*/ 1557419 w 2048870"/>
                <a:gd name="connsiteY504" fmla="*/ 1059597 h 1413227"/>
                <a:gd name="connsiteX505" fmla="*/ 1560876 w 2048870"/>
                <a:gd name="connsiteY505" fmla="*/ 1073426 h 1413227"/>
                <a:gd name="connsiteX506" fmla="*/ 1564333 w 2048870"/>
                <a:gd name="connsiteY506" fmla="*/ 1087254 h 1413227"/>
                <a:gd name="connsiteX507" fmla="*/ 1566062 w 2048870"/>
                <a:gd name="connsiteY507" fmla="*/ 1094168 h 1413227"/>
                <a:gd name="connsiteX508" fmla="*/ 1569519 w 2048870"/>
                <a:gd name="connsiteY508" fmla="*/ 1099354 h 1413227"/>
                <a:gd name="connsiteX509" fmla="*/ 1576433 w 2048870"/>
                <a:gd name="connsiteY509" fmla="*/ 1037126 h 1413227"/>
                <a:gd name="connsiteX510" fmla="*/ 1588533 w 2048870"/>
                <a:gd name="connsiteY510" fmla="*/ 1052683 h 1413227"/>
                <a:gd name="connsiteX511" fmla="*/ 1591990 w 2048870"/>
                <a:gd name="connsiteY511" fmla="*/ 1069969 h 1413227"/>
                <a:gd name="connsiteX512" fmla="*/ 1607547 w 2048870"/>
                <a:gd name="connsiteY512" fmla="*/ 1080340 h 1413227"/>
                <a:gd name="connsiteX513" fmla="*/ 1612732 w 2048870"/>
                <a:gd name="connsiteY513" fmla="*/ 1083797 h 1413227"/>
                <a:gd name="connsiteX514" fmla="*/ 1621375 w 2048870"/>
                <a:gd name="connsiteY514" fmla="*/ 1085525 h 1413227"/>
                <a:gd name="connsiteX515" fmla="*/ 1633475 w 2048870"/>
                <a:gd name="connsiteY515" fmla="*/ 1092440 h 1413227"/>
                <a:gd name="connsiteX516" fmla="*/ 1640389 w 2048870"/>
                <a:gd name="connsiteY516" fmla="*/ 1095897 h 1413227"/>
                <a:gd name="connsiteX517" fmla="*/ 1649032 w 2048870"/>
                <a:gd name="connsiteY517" fmla="*/ 1109725 h 1413227"/>
                <a:gd name="connsiteX518" fmla="*/ 1659403 w 2048870"/>
                <a:gd name="connsiteY518" fmla="*/ 1113182 h 1413227"/>
                <a:gd name="connsiteX519" fmla="*/ 1669774 w 2048870"/>
                <a:gd name="connsiteY519" fmla="*/ 1118368 h 1413227"/>
                <a:gd name="connsiteX520" fmla="*/ 1680146 w 2048870"/>
                <a:gd name="connsiteY520" fmla="*/ 1125282 h 1413227"/>
                <a:gd name="connsiteX521" fmla="*/ 1699160 w 2048870"/>
                <a:gd name="connsiteY521" fmla="*/ 1139110 h 1413227"/>
                <a:gd name="connsiteX522" fmla="*/ 1712988 w 2048870"/>
                <a:gd name="connsiteY522" fmla="*/ 1142567 h 1413227"/>
                <a:gd name="connsiteX523" fmla="*/ 1704345 w 2048870"/>
                <a:gd name="connsiteY523" fmla="*/ 1137382 h 1413227"/>
                <a:gd name="connsiteX524" fmla="*/ 1699160 w 2048870"/>
                <a:gd name="connsiteY524" fmla="*/ 1132196 h 1413227"/>
                <a:gd name="connsiteX525" fmla="*/ 1688788 w 2048870"/>
                <a:gd name="connsiteY525" fmla="*/ 1128739 h 1413227"/>
                <a:gd name="connsiteX526" fmla="*/ 1674960 w 2048870"/>
                <a:gd name="connsiteY526" fmla="*/ 1125282 h 1413227"/>
                <a:gd name="connsiteX527" fmla="*/ 1659403 w 2048870"/>
                <a:gd name="connsiteY527" fmla="*/ 1121825 h 1413227"/>
                <a:gd name="connsiteX528" fmla="*/ 1650760 w 2048870"/>
                <a:gd name="connsiteY528" fmla="*/ 1116639 h 1413227"/>
                <a:gd name="connsiteX529" fmla="*/ 1645575 w 2048870"/>
                <a:gd name="connsiteY529" fmla="*/ 1113182 h 1413227"/>
                <a:gd name="connsiteX530" fmla="*/ 1642118 w 2048870"/>
                <a:gd name="connsiteY530" fmla="*/ 1107996 h 1413227"/>
                <a:gd name="connsiteX531" fmla="*/ 1628289 w 2048870"/>
                <a:gd name="connsiteY531" fmla="*/ 1088983 h 1413227"/>
                <a:gd name="connsiteX532" fmla="*/ 1626561 w 2048870"/>
                <a:gd name="connsiteY532" fmla="*/ 1083797 h 1413227"/>
                <a:gd name="connsiteX533" fmla="*/ 1619647 w 2048870"/>
                <a:gd name="connsiteY533" fmla="*/ 1075154 h 1413227"/>
                <a:gd name="connsiteX534" fmla="*/ 1616189 w 2048870"/>
                <a:gd name="connsiteY534" fmla="*/ 1061326 h 1413227"/>
                <a:gd name="connsiteX535" fmla="*/ 1614461 w 2048870"/>
                <a:gd name="connsiteY535" fmla="*/ 1056140 h 1413227"/>
                <a:gd name="connsiteX536" fmla="*/ 1604090 w 2048870"/>
                <a:gd name="connsiteY536" fmla="*/ 1038855 h 1413227"/>
                <a:gd name="connsiteX537" fmla="*/ 1598904 w 2048870"/>
                <a:gd name="connsiteY537" fmla="*/ 1037126 h 1413227"/>
                <a:gd name="connsiteX538" fmla="*/ 1593718 w 2048870"/>
                <a:gd name="connsiteY538" fmla="*/ 1030212 h 1413227"/>
                <a:gd name="connsiteX539" fmla="*/ 1585076 w 2048870"/>
                <a:gd name="connsiteY539" fmla="*/ 1019841 h 1413227"/>
                <a:gd name="connsiteX540" fmla="*/ 1590261 w 2048870"/>
                <a:gd name="connsiteY540" fmla="*/ 1000827 h 1413227"/>
                <a:gd name="connsiteX541" fmla="*/ 1598904 w 2048870"/>
                <a:gd name="connsiteY541" fmla="*/ 999098 h 1413227"/>
                <a:gd name="connsiteX542" fmla="*/ 1611004 w 2048870"/>
                <a:gd name="connsiteY542" fmla="*/ 990455 h 1413227"/>
                <a:gd name="connsiteX543" fmla="*/ 1617918 w 2048870"/>
                <a:gd name="connsiteY543" fmla="*/ 985270 h 1413227"/>
                <a:gd name="connsiteX544" fmla="*/ 1616189 w 2048870"/>
                <a:gd name="connsiteY544" fmla="*/ 1021569 h 1413227"/>
                <a:gd name="connsiteX545" fmla="*/ 1612732 w 2048870"/>
                <a:gd name="connsiteY545" fmla="*/ 1028483 h 1413227"/>
                <a:gd name="connsiteX546" fmla="*/ 1607547 w 2048870"/>
                <a:gd name="connsiteY546" fmla="*/ 1035398 h 1413227"/>
                <a:gd name="connsiteX547" fmla="*/ 1612732 w 2048870"/>
                <a:gd name="connsiteY547" fmla="*/ 1031941 h 1413227"/>
                <a:gd name="connsiteX548" fmla="*/ 1621375 w 2048870"/>
                <a:gd name="connsiteY548" fmla="*/ 1016384 h 1413227"/>
                <a:gd name="connsiteX549" fmla="*/ 1626561 w 2048870"/>
                <a:gd name="connsiteY549" fmla="*/ 997370 h 1413227"/>
                <a:gd name="connsiteX550" fmla="*/ 1626561 w 2048870"/>
                <a:gd name="connsiteY550" fmla="*/ 976627 h 1413227"/>
                <a:gd name="connsiteX551" fmla="*/ 1619647 w 2048870"/>
                <a:gd name="connsiteY551" fmla="*/ 962799 h 1413227"/>
                <a:gd name="connsiteX552" fmla="*/ 1626561 w 2048870"/>
                <a:gd name="connsiteY552" fmla="*/ 966256 h 1413227"/>
                <a:gd name="connsiteX553" fmla="*/ 1638661 w 2048870"/>
                <a:gd name="connsiteY553" fmla="*/ 969713 h 1413227"/>
                <a:gd name="connsiteX554" fmla="*/ 1645575 w 2048870"/>
                <a:gd name="connsiteY554" fmla="*/ 967984 h 1413227"/>
                <a:gd name="connsiteX555" fmla="*/ 1650760 w 2048870"/>
                <a:gd name="connsiteY555" fmla="*/ 955885 h 1413227"/>
                <a:gd name="connsiteX556" fmla="*/ 1659403 w 2048870"/>
                <a:gd name="connsiteY556" fmla="*/ 933414 h 1413227"/>
                <a:gd name="connsiteX557" fmla="*/ 1662860 w 2048870"/>
                <a:gd name="connsiteY557" fmla="*/ 929956 h 1413227"/>
                <a:gd name="connsiteX558" fmla="*/ 1664589 w 2048870"/>
                <a:gd name="connsiteY558" fmla="*/ 923042 h 1413227"/>
                <a:gd name="connsiteX559" fmla="*/ 1673231 w 2048870"/>
                <a:gd name="connsiteY559" fmla="*/ 893657 h 1413227"/>
                <a:gd name="connsiteX560" fmla="*/ 1687060 w 2048870"/>
                <a:gd name="connsiteY560" fmla="*/ 891928 h 1413227"/>
                <a:gd name="connsiteX561" fmla="*/ 1693974 w 2048870"/>
                <a:gd name="connsiteY561" fmla="*/ 890200 h 1413227"/>
                <a:gd name="connsiteX562" fmla="*/ 1700888 w 2048870"/>
                <a:gd name="connsiteY562" fmla="*/ 886743 h 1413227"/>
                <a:gd name="connsiteX563" fmla="*/ 1719902 w 2048870"/>
                <a:gd name="connsiteY563" fmla="*/ 878100 h 1413227"/>
                <a:gd name="connsiteX564" fmla="*/ 1726816 w 2048870"/>
                <a:gd name="connsiteY564" fmla="*/ 876372 h 1413227"/>
                <a:gd name="connsiteX565" fmla="*/ 1745830 w 2048870"/>
                <a:gd name="connsiteY565" fmla="*/ 860815 h 1413227"/>
                <a:gd name="connsiteX566" fmla="*/ 1751016 w 2048870"/>
                <a:gd name="connsiteY566" fmla="*/ 857358 h 1413227"/>
                <a:gd name="connsiteX567" fmla="*/ 1757930 w 2048870"/>
                <a:gd name="connsiteY567" fmla="*/ 855629 h 1413227"/>
                <a:gd name="connsiteX568" fmla="*/ 1764844 w 2048870"/>
                <a:gd name="connsiteY568" fmla="*/ 841801 h 1413227"/>
                <a:gd name="connsiteX569" fmla="*/ 1771758 w 2048870"/>
                <a:gd name="connsiteY569" fmla="*/ 836615 h 1413227"/>
                <a:gd name="connsiteX570" fmla="*/ 1776944 w 2048870"/>
                <a:gd name="connsiteY570" fmla="*/ 833158 h 1413227"/>
                <a:gd name="connsiteX571" fmla="*/ 1787315 w 2048870"/>
                <a:gd name="connsiteY571" fmla="*/ 831429 h 1413227"/>
                <a:gd name="connsiteX572" fmla="*/ 1795958 w 2048870"/>
                <a:gd name="connsiteY572" fmla="*/ 829701 h 1413227"/>
                <a:gd name="connsiteX573" fmla="*/ 1797687 w 2048870"/>
                <a:gd name="connsiteY573" fmla="*/ 824515 h 1413227"/>
                <a:gd name="connsiteX574" fmla="*/ 1825343 w 2048870"/>
                <a:gd name="connsiteY574" fmla="*/ 796859 h 1413227"/>
                <a:gd name="connsiteX575" fmla="*/ 1830529 w 2048870"/>
                <a:gd name="connsiteY575" fmla="*/ 776116 h 1413227"/>
                <a:gd name="connsiteX576" fmla="*/ 1835715 w 2048870"/>
                <a:gd name="connsiteY576" fmla="*/ 770930 h 1413227"/>
                <a:gd name="connsiteX577" fmla="*/ 1863371 w 2048870"/>
                <a:gd name="connsiteY577" fmla="*/ 760559 h 1413227"/>
                <a:gd name="connsiteX578" fmla="*/ 1868557 w 2048870"/>
                <a:gd name="connsiteY578" fmla="*/ 755373 h 1413227"/>
                <a:gd name="connsiteX579" fmla="*/ 1880657 w 2048870"/>
                <a:gd name="connsiteY579" fmla="*/ 753645 h 1413227"/>
                <a:gd name="connsiteX580" fmla="*/ 1889299 w 2048870"/>
                <a:gd name="connsiteY580" fmla="*/ 750188 h 1413227"/>
                <a:gd name="connsiteX581" fmla="*/ 1894485 w 2048870"/>
                <a:gd name="connsiteY581" fmla="*/ 731174 h 1413227"/>
                <a:gd name="connsiteX582" fmla="*/ 1910042 w 2048870"/>
                <a:gd name="connsiteY582" fmla="*/ 719074 h 1413227"/>
                <a:gd name="connsiteX583" fmla="*/ 1916956 w 2048870"/>
                <a:gd name="connsiteY583" fmla="*/ 710431 h 1413227"/>
                <a:gd name="connsiteX584" fmla="*/ 1908313 w 2048870"/>
                <a:gd name="connsiteY584" fmla="*/ 689689 h 1413227"/>
                <a:gd name="connsiteX585" fmla="*/ 1901399 w 2048870"/>
                <a:gd name="connsiteY585" fmla="*/ 675860 h 1413227"/>
                <a:gd name="connsiteX586" fmla="*/ 1897942 w 2048870"/>
                <a:gd name="connsiteY586" fmla="*/ 665489 h 1413227"/>
                <a:gd name="connsiteX587" fmla="*/ 1901399 w 2048870"/>
                <a:gd name="connsiteY587" fmla="*/ 651661 h 1413227"/>
                <a:gd name="connsiteX588" fmla="*/ 1897942 w 2048870"/>
                <a:gd name="connsiteY588" fmla="*/ 629190 h 1413227"/>
                <a:gd name="connsiteX589" fmla="*/ 1904856 w 2048870"/>
                <a:gd name="connsiteY589" fmla="*/ 624004 h 1413227"/>
                <a:gd name="connsiteX590" fmla="*/ 1910042 w 2048870"/>
                <a:gd name="connsiteY590" fmla="*/ 613633 h 1413227"/>
                <a:gd name="connsiteX591" fmla="*/ 1918685 w 2048870"/>
                <a:gd name="connsiteY591" fmla="*/ 608447 h 1413227"/>
                <a:gd name="connsiteX592" fmla="*/ 1925599 w 2048870"/>
                <a:gd name="connsiteY592" fmla="*/ 601533 h 1413227"/>
                <a:gd name="connsiteX593" fmla="*/ 1929056 w 2048870"/>
                <a:gd name="connsiteY593" fmla="*/ 587705 h 1413227"/>
                <a:gd name="connsiteX594" fmla="*/ 1932513 w 2048870"/>
                <a:gd name="connsiteY594" fmla="*/ 582519 h 1413227"/>
                <a:gd name="connsiteX595" fmla="*/ 1939427 w 2048870"/>
                <a:gd name="connsiteY595" fmla="*/ 565234 h 1413227"/>
                <a:gd name="connsiteX596" fmla="*/ 1963627 w 2048870"/>
                <a:gd name="connsiteY596" fmla="*/ 556591 h 1413227"/>
                <a:gd name="connsiteX597" fmla="*/ 1968812 w 2048870"/>
                <a:gd name="connsiteY597" fmla="*/ 547948 h 1413227"/>
                <a:gd name="connsiteX598" fmla="*/ 1986098 w 2048870"/>
                <a:gd name="connsiteY598" fmla="*/ 544491 h 1413227"/>
                <a:gd name="connsiteX599" fmla="*/ 2008569 w 2048870"/>
                <a:gd name="connsiteY599" fmla="*/ 539305 h 1413227"/>
                <a:gd name="connsiteX600" fmla="*/ 2017212 w 2048870"/>
                <a:gd name="connsiteY600" fmla="*/ 530663 h 1413227"/>
                <a:gd name="connsiteX601" fmla="*/ 2048326 w 2048870"/>
                <a:gd name="connsiteY601" fmla="*/ 525477 h 1413227"/>
                <a:gd name="connsiteX602" fmla="*/ 2043140 w 2048870"/>
                <a:gd name="connsiteY602" fmla="*/ 499549 h 1413227"/>
                <a:gd name="connsiteX603" fmla="*/ 2032769 w 2048870"/>
                <a:gd name="connsiteY603" fmla="*/ 492635 h 1413227"/>
                <a:gd name="connsiteX604" fmla="*/ 2025854 w 2048870"/>
                <a:gd name="connsiteY604" fmla="*/ 447693 h 1413227"/>
                <a:gd name="connsiteX605" fmla="*/ 2018940 w 2048870"/>
                <a:gd name="connsiteY605" fmla="*/ 428679 h 1413227"/>
                <a:gd name="connsiteX606" fmla="*/ 2015483 w 2048870"/>
                <a:gd name="connsiteY606" fmla="*/ 418307 h 1413227"/>
                <a:gd name="connsiteX607" fmla="*/ 2010298 w 2048870"/>
                <a:gd name="connsiteY607" fmla="*/ 411393 h 1413227"/>
                <a:gd name="connsiteX608" fmla="*/ 2003383 w 2048870"/>
                <a:gd name="connsiteY608" fmla="*/ 407936 h 1413227"/>
                <a:gd name="connsiteX609" fmla="*/ 1984369 w 2048870"/>
                <a:gd name="connsiteY609" fmla="*/ 404479 h 1413227"/>
                <a:gd name="connsiteX610" fmla="*/ 1977455 w 2048870"/>
                <a:gd name="connsiteY610" fmla="*/ 394108 h 1413227"/>
                <a:gd name="connsiteX611" fmla="*/ 1972270 w 2048870"/>
                <a:gd name="connsiteY611" fmla="*/ 390651 h 1413227"/>
                <a:gd name="connsiteX612" fmla="*/ 1968812 w 2048870"/>
                <a:gd name="connsiteY612" fmla="*/ 382008 h 1413227"/>
                <a:gd name="connsiteX613" fmla="*/ 1973998 w 2048870"/>
                <a:gd name="connsiteY613" fmla="*/ 366451 h 1413227"/>
                <a:gd name="connsiteX614" fmla="*/ 1982641 w 2048870"/>
                <a:gd name="connsiteY614" fmla="*/ 354351 h 1413227"/>
                <a:gd name="connsiteX615" fmla="*/ 1984369 w 2048870"/>
                <a:gd name="connsiteY615" fmla="*/ 347437 h 1413227"/>
                <a:gd name="connsiteX616" fmla="*/ 1994741 w 2048870"/>
                <a:gd name="connsiteY616" fmla="*/ 343980 h 1413227"/>
                <a:gd name="connsiteX617" fmla="*/ 1960170 w 2048870"/>
                <a:gd name="connsiteY617" fmla="*/ 337066 h 1413227"/>
                <a:gd name="connsiteX618" fmla="*/ 1958441 w 2048870"/>
                <a:gd name="connsiteY618" fmla="*/ 331880 h 1413227"/>
                <a:gd name="connsiteX619" fmla="*/ 1954984 w 2048870"/>
                <a:gd name="connsiteY619" fmla="*/ 326694 h 1413227"/>
                <a:gd name="connsiteX620" fmla="*/ 1958441 w 2048870"/>
                <a:gd name="connsiteY620" fmla="*/ 318052 h 1413227"/>
                <a:gd name="connsiteX621" fmla="*/ 1963627 w 2048870"/>
                <a:gd name="connsiteY621" fmla="*/ 311138 h 1413227"/>
                <a:gd name="connsiteX622" fmla="*/ 1967084 w 2048870"/>
                <a:gd name="connsiteY622" fmla="*/ 305952 h 1413227"/>
                <a:gd name="connsiteX623" fmla="*/ 1968812 w 2048870"/>
                <a:gd name="connsiteY623" fmla="*/ 299038 h 1413227"/>
                <a:gd name="connsiteX624" fmla="*/ 1973998 w 2048870"/>
                <a:gd name="connsiteY624" fmla="*/ 293852 h 1413227"/>
                <a:gd name="connsiteX625" fmla="*/ 1975727 w 2048870"/>
                <a:gd name="connsiteY625" fmla="*/ 269652 h 1413227"/>
                <a:gd name="connsiteX626" fmla="*/ 1970541 w 2048870"/>
                <a:gd name="connsiteY626" fmla="*/ 255824 h 1413227"/>
                <a:gd name="connsiteX627" fmla="*/ 1968812 w 2048870"/>
                <a:gd name="connsiteY627" fmla="*/ 250638 h 1413227"/>
                <a:gd name="connsiteX628" fmla="*/ 1967084 w 2048870"/>
                <a:gd name="connsiteY628" fmla="*/ 243724 h 1413227"/>
                <a:gd name="connsiteX629" fmla="*/ 1963627 w 2048870"/>
                <a:gd name="connsiteY629" fmla="*/ 238539 h 1413227"/>
                <a:gd name="connsiteX630" fmla="*/ 1965355 w 2048870"/>
                <a:gd name="connsiteY630" fmla="*/ 216068 h 1413227"/>
                <a:gd name="connsiteX631" fmla="*/ 1961898 w 2048870"/>
                <a:gd name="connsiteY631" fmla="*/ 209153 h 1413227"/>
                <a:gd name="connsiteX632" fmla="*/ 1954984 w 2048870"/>
                <a:gd name="connsiteY632" fmla="*/ 216068 h 1413227"/>
                <a:gd name="connsiteX633" fmla="*/ 1948070 w 2048870"/>
                <a:gd name="connsiteY633" fmla="*/ 217796 h 1413227"/>
                <a:gd name="connsiteX634" fmla="*/ 1937699 w 2048870"/>
                <a:gd name="connsiteY634" fmla="*/ 226439 h 1413227"/>
                <a:gd name="connsiteX635" fmla="*/ 1932513 w 2048870"/>
                <a:gd name="connsiteY635" fmla="*/ 228167 h 1413227"/>
                <a:gd name="connsiteX636" fmla="*/ 1922142 w 2048870"/>
                <a:gd name="connsiteY636" fmla="*/ 235082 h 1413227"/>
                <a:gd name="connsiteX637" fmla="*/ 1906585 w 2048870"/>
                <a:gd name="connsiteY637" fmla="*/ 231624 h 1413227"/>
                <a:gd name="connsiteX638" fmla="*/ 1885842 w 2048870"/>
                <a:gd name="connsiteY638" fmla="*/ 222982 h 1413227"/>
                <a:gd name="connsiteX639" fmla="*/ 1878928 w 2048870"/>
                <a:gd name="connsiteY639" fmla="*/ 224710 h 1413227"/>
                <a:gd name="connsiteX640" fmla="*/ 1868557 w 2048870"/>
                <a:gd name="connsiteY640" fmla="*/ 233353 h 1413227"/>
                <a:gd name="connsiteX641" fmla="*/ 1847814 w 2048870"/>
                <a:gd name="connsiteY641" fmla="*/ 221253 h 1413227"/>
                <a:gd name="connsiteX642" fmla="*/ 1839172 w 2048870"/>
                <a:gd name="connsiteY642" fmla="*/ 217796 h 1413227"/>
                <a:gd name="connsiteX643" fmla="*/ 1832257 w 2048870"/>
                <a:gd name="connsiteY643" fmla="*/ 214339 h 1413227"/>
                <a:gd name="connsiteX644" fmla="*/ 1823615 w 2048870"/>
                <a:gd name="connsiteY644" fmla="*/ 224710 h 1413227"/>
                <a:gd name="connsiteX645" fmla="*/ 1816701 w 2048870"/>
                <a:gd name="connsiteY645" fmla="*/ 229896 h 1413227"/>
                <a:gd name="connsiteX646" fmla="*/ 1787315 w 2048870"/>
                <a:gd name="connsiteY646" fmla="*/ 221253 h 1413227"/>
                <a:gd name="connsiteX647" fmla="*/ 1759659 w 2048870"/>
                <a:gd name="connsiteY647" fmla="*/ 222982 h 1413227"/>
                <a:gd name="connsiteX648" fmla="*/ 1754473 w 2048870"/>
                <a:gd name="connsiteY648" fmla="*/ 224710 h 1413227"/>
                <a:gd name="connsiteX649" fmla="*/ 1735459 w 2048870"/>
                <a:gd name="connsiteY649" fmla="*/ 222982 h 1413227"/>
                <a:gd name="connsiteX650" fmla="*/ 1728545 w 2048870"/>
                <a:gd name="connsiteY650" fmla="*/ 217796 h 1413227"/>
                <a:gd name="connsiteX651" fmla="*/ 1721631 w 2048870"/>
                <a:gd name="connsiteY651" fmla="*/ 207425 h 1413227"/>
                <a:gd name="connsiteX652" fmla="*/ 1712988 w 2048870"/>
                <a:gd name="connsiteY652" fmla="*/ 235082 h 1413227"/>
                <a:gd name="connsiteX653" fmla="*/ 1706074 w 2048870"/>
                <a:gd name="connsiteY653" fmla="*/ 250638 h 1413227"/>
                <a:gd name="connsiteX654" fmla="*/ 1692245 w 2048870"/>
                <a:gd name="connsiteY654" fmla="*/ 236810 h 1413227"/>
                <a:gd name="connsiteX655" fmla="*/ 1645575 w 2048870"/>
                <a:gd name="connsiteY655" fmla="*/ 224710 h 1413227"/>
                <a:gd name="connsiteX656" fmla="*/ 1640389 w 2048870"/>
                <a:gd name="connsiteY656" fmla="*/ 217796 h 1413227"/>
                <a:gd name="connsiteX657" fmla="*/ 1638661 w 2048870"/>
                <a:gd name="connsiteY657" fmla="*/ 212610 h 1413227"/>
                <a:gd name="connsiteX658" fmla="*/ 1623104 w 2048870"/>
                <a:gd name="connsiteY658" fmla="*/ 195325 h 1413227"/>
                <a:gd name="connsiteX659" fmla="*/ 1609275 w 2048870"/>
                <a:gd name="connsiteY659" fmla="*/ 191868 h 1413227"/>
                <a:gd name="connsiteX660" fmla="*/ 1600633 w 2048870"/>
                <a:gd name="connsiteY660" fmla="*/ 200511 h 1413227"/>
                <a:gd name="connsiteX661" fmla="*/ 1595447 w 2048870"/>
                <a:gd name="connsiteY661" fmla="*/ 202239 h 1413227"/>
                <a:gd name="connsiteX662" fmla="*/ 1574704 w 2048870"/>
                <a:gd name="connsiteY662" fmla="*/ 209153 h 1413227"/>
                <a:gd name="connsiteX663" fmla="*/ 1569519 w 2048870"/>
                <a:gd name="connsiteY663" fmla="*/ 214339 h 1413227"/>
                <a:gd name="connsiteX664" fmla="*/ 1564333 w 2048870"/>
                <a:gd name="connsiteY664" fmla="*/ 217796 h 1413227"/>
                <a:gd name="connsiteX665" fmla="*/ 1560876 w 2048870"/>
                <a:gd name="connsiteY665" fmla="*/ 224710 h 1413227"/>
                <a:gd name="connsiteX666" fmla="*/ 1543591 w 2048870"/>
                <a:gd name="connsiteY666" fmla="*/ 238539 h 1413227"/>
                <a:gd name="connsiteX667" fmla="*/ 1536676 w 2048870"/>
                <a:gd name="connsiteY667" fmla="*/ 245453 h 1413227"/>
                <a:gd name="connsiteX668" fmla="*/ 1534948 w 2048870"/>
                <a:gd name="connsiteY668" fmla="*/ 250638 h 1413227"/>
                <a:gd name="connsiteX669" fmla="*/ 1536676 w 2048870"/>
                <a:gd name="connsiteY669" fmla="*/ 255824 h 1413227"/>
                <a:gd name="connsiteX670" fmla="*/ 1510748 w 2048870"/>
                <a:gd name="connsiteY670" fmla="*/ 259281 h 1413227"/>
                <a:gd name="connsiteX671" fmla="*/ 1500377 w 2048870"/>
                <a:gd name="connsiteY671" fmla="*/ 252367 h 1413227"/>
                <a:gd name="connsiteX672" fmla="*/ 1472720 w 2048870"/>
                <a:gd name="connsiteY672" fmla="*/ 252367 h 1413227"/>
                <a:gd name="connsiteX673" fmla="*/ 1455435 w 2048870"/>
                <a:gd name="connsiteY673" fmla="*/ 254096 h 1413227"/>
                <a:gd name="connsiteX674" fmla="*/ 1446792 w 2048870"/>
                <a:gd name="connsiteY674" fmla="*/ 261010 h 1413227"/>
                <a:gd name="connsiteX675" fmla="*/ 1441606 w 2048870"/>
                <a:gd name="connsiteY675" fmla="*/ 267924 h 1413227"/>
                <a:gd name="connsiteX676" fmla="*/ 1438149 w 2048870"/>
                <a:gd name="connsiteY676" fmla="*/ 273110 h 1413227"/>
                <a:gd name="connsiteX677" fmla="*/ 1432964 w 2048870"/>
                <a:gd name="connsiteY677" fmla="*/ 274838 h 1413227"/>
                <a:gd name="connsiteX678" fmla="*/ 1419135 w 2048870"/>
                <a:gd name="connsiteY678" fmla="*/ 281752 h 1413227"/>
                <a:gd name="connsiteX679" fmla="*/ 1412221 w 2048870"/>
                <a:gd name="connsiteY679" fmla="*/ 278295 h 1413227"/>
                <a:gd name="connsiteX680" fmla="*/ 1408764 w 2048870"/>
                <a:gd name="connsiteY680" fmla="*/ 273110 h 1413227"/>
                <a:gd name="connsiteX681" fmla="*/ 1400121 w 2048870"/>
                <a:gd name="connsiteY681" fmla="*/ 257553 h 1413227"/>
                <a:gd name="connsiteX682" fmla="*/ 1394936 w 2048870"/>
                <a:gd name="connsiteY682" fmla="*/ 254096 h 1413227"/>
                <a:gd name="connsiteX683" fmla="*/ 1386293 w 2048870"/>
                <a:gd name="connsiteY683" fmla="*/ 243724 h 1413227"/>
                <a:gd name="connsiteX684" fmla="*/ 1381107 w 2048870"/>
                <a:gd name="connsiteY684" fmla="*/ 212610 h 1413227"/>
                <a:gd name="connsiteX685" fmla="*/ 1370736 w 2048870"/>
                <a:gd name="connsiteY685" fmla="*/ 202239 h 1413227"/>
                <a:gd name="connsiteX686" fmla="*/ 1363822 w 2048870"/>
                <a:gd name="connsiteY686" fmla="*/ 200511 h 1413227"/>
                <a:gd name="connsiteX687" fmla="*/ 1358636 w 2048870"/>
                <a:gd name="connsiteY687" fmla="*/ 193596 h 1413227"/>
                <a:gd name="connsiteX688" fmla="*/ 1349994 w 2048870"/>
                <a:gd name="connsiteY688" fmla="*/ 178040 h 1413227"/>
                <a:gd name="connsiteX689" fmla="*/ 1337894 w 2048870"/>
                <a:gd name="connsiteY689" fmla="*/ 167668 h 1413227"/>
                <a:gd name="connsiteX690" fmla="*/ 1298137 w 2048870"/>
                <a:gd name="connsiteY690" fmla="*/ 169397 h 1413227"/>
                <a:gd name="connsiteX691" fmla="*/ 1284309 w 2048870"/>
                <a:gd name="connsiteY691" fmla="*/ 179768 h 1413227"/>
                <a:gd name="connsiteX692" fmla="*/ 1268752 w 2048870"/>
                <a:gd name="connsiteY692" fmla="*/ 181497 h 1413227"/>
                <a:gd name="connsiteX693" fmla="*/ 1251467 w 2048870"/>
                <a:gd name="connsiteY693" fmla="*/ 174583 h 1413227"/>
                <a:gd name="connsiteX694" fmla="*/ 1241095 w 2048870"/>
                <a:gd name="connsiteY694" fmla="*/ 164211 h 1413227"/>
                <a:gd name="connsiteX695" fmla="*/ 1230724 w 2048870"/>
                <a:gd name="connsiteY695" fmla="*/ 160754 h 1413227"/>
                <a:gd name="connsiteX696" fmla="*/ 1215167 w 2048870"/>
                <a:gd name="connsiteY696" fmla="*/ 146926 h 1413227"/>
                <a:gd name="connsiteX697" fmla="*/ 1213439 w 2048870"/>
                <a:gd name="connsiteY697" fmla="*/ 140012 h 1413227"/>
                <a:gd name="connsiteX698" fmla="*/ 1206524 w 2048870"/>
                <a:gd name="connsiteY698" fmla="*/ 131369 h 1413227"/>
                <a:gd name="connsiteX699" fmla="*/ 1204796 w 2048870"/>
                <a:gd name="connsiteY699" fmla="*/ 122726 h 1413227"/>
                <a:gd name="connsiteX700" fmla="*/ 1190968 w 2048870"/>
                <a:gd name="connsiteY700" fmla="*/ 117541 h 1413227"/>
                <a:gd name="connsiteX701" fmla="*/ 1201339 w 2048870"/>
                <a:gd name="connsiteY701" fmla="*/ 105441 h 1413227"/>
                <a:gd name="connsiteX702" fmla="*/ 1208253 w 2048870"/>
                <a:gd name="connsiteY702" fmla="*/ 101984 h 1413227"/>
                <a:gd name="connsiteX703" fmla="*/ 1213439 w 2048870"/>
                <a:gd name="connsiteY703" fmla="*/ 95069 h 1413227"/>
                <a:gd name="connsiteX704" fmla="*/ 1218624 w 2048870"/>
                <a:gd name="connsiteY704" fmla="*/ 89884 h 1413227"/>
                <a:gd name="connsiteX705" fmla="*/ 1216896 w 2048870"/>
                <a:gd name="connsiteY705" fmla="*/ 84698 h 1413227"/>
                <a:gd name="connsiteX706" fmla="*/ 1206524 w 2048870"/>
                <a:gd name="connsiteY706" fmla="*/ 81241 h 1413227"/>
                <a:gd name="connsiteX707" fmla="*/ 1190968 w 2048870"/>
                <a:gd name="connsiteY707" fmla="*/ 76055 h 1413227"/>
                <a:gd name="connsiteX708" fmla="*/ 1175411 w 2048870"/>
                <a:gd name="connsiteY708" fmla="*/ 60499 h 1413227"/>
                <a:gd name="connsiteX709" fmla="*/ 1168496 w 2048870"/>
                <a:gd name="connsiteY709" fmla="*/ 53584 h 1413227"/>
                <a:gd name="connsiteX710" fmla="*/ 1165039 w 2048870"/>
                <a:gd name="connsiteY710" fmla="*/ 46670 h 1413227"/>
                <a:gd name="connsiteX711" fmla="*/ 1159854 w 2048870"/>
                <a:gd name="connsiteY711" fmla="*/ 39756 h 1413227"/>
                <a:gd name="connsiteX712" fmla="*/ 1151211 w 2048870"/>
                <a:gd name="connsiteY712" fmla="*/ 27656 h 1413227"/>
                <a:gd name="connsiteX713" fmla="*/ 1146025 w 2048870"/>
                <a:gd name="connsiteY713" fmla="*/ 24199 h 1413227"/>
                <a:gd name="connsiteX714" fmla="*/ 1140840 w 2048870"/>
                <a:gd name="connsiteY714" fmla="*/ 17285 h 1413227"/>
                <a:gd name="connsiteX715" fmla="*/ 1123554 w 2048870"/>
                <a:gd name="connsiteY715" fmla="*/ 3457 h 1413227"/>
                <a:gd name="connsiteX716" fmla="*/ 1116640 w 2048870"/>
                <a:gd name="connsiteY716" fmla="*/ 0 h 1413227"/>
                <a:gd name="connsiteX717" fmla="*/ 1102812 w 2048870"/>
                <a:gd name="connsiteY717" fmla="*/ 1728 h 1413227"/>
                <a:gd name="connsiteX718" fmla="*/ 1097626 w 2048870"/>
                <a:gd name="connsiteY718" fmla="*/ 3457 h 1413227"/>
                <a:gd name="connsiteX719" fmla="*/ 1090712 w 2048870"/>
                <a:gd name="connsiteY719" fmla="*/ 5185 h 1413227"/>
                <a:gd name="connsiteX720" fmla="*/ 1071698 w 2048870"/>
                <a:gd name="connsiteY720" fmla="*/ 17285 h 1413227"/>
                <a:gd name="connsiteX721" fmla="*/ 1056141 w 2048870"/>
                <a:gd name="connsiteY721" fmla="*/ 15556 h 1413227"/>
                <a:gd name="connsiteX722" fmla="*/ 1050955 w 2048870"/>
                <a:gd name="connsiteY722" fmla="*/ 19014 h 1413227"/>
                <a:gd name="connsiteX723" fmla="*/ 1042313 w 2048870"/>
                <a:gd name="connsiteY723" fmla="*/ 27656 h 1413227"/>
                <a:gd name="connsiteX724" fmla="*/ 1028484 w 2048870"/>
                <a:gd name="connsiteY724" fmla="*/ 38027 h 1413227"/>
                <a:gd name="connsiteX725" fmla="*/ 1025027 w 2048870"/>
                <a:gd name="connsiteY725" fmla="*/ 41485 h 1413227"/>
                <a:gd name="connsiteX726" fmla="*/ 1016385 w 2048870"/>
                <a:gd name="connsiteY726" fmla="*/ 46670 h 1413227"/>
                <a:gd name="connsiteX727" fmla="*/ 1012927 w 2048870"/>
                <a:gd name="connsiteY727" fmla="*/ 50127 h 1413227"/>
                <a:gd name="connsiteX728" fmla="*/ 997371 w 2048870"/>
                <a:gd name="connsiteY728" fmla="*/ 57041 h 1413227"/>
                <a:gd name="connsiteX729" fmla="*/ 973171 w 2048870"/>
                <a:gd name="connsiteY729" fmla="*/ 58770 h 1413227"/>
                <a:gd name="connsiteX730" fmla="*/ 967985 w 2048870"/>
                <a:gd name="connsiteY730" fmla="*/ 62227 h 1413227"/>
                <a:gd name="connsiteX731" fmla="*/ 966257 w 2048870"/>
                <a:gd name="connsiteY731" fmla="*/ 79513 h 1413227"/>
                <a:gd name="connsiteX732" fmla="*/ 962800 w 2048870"/>
                <a:gd name="connsiteY732" fmla="*/ 103712 h 1413227"/>
                <a:gd name="connsiteX733" fmla="*/ 961071 w 2048870"/>
                <a:gd name="connsiteY733" fmla="*/ 112355 h 1413227"/>
                <a:gd name="connsiteX734" fmla="*/ 916129 w 2048870"/>
                <a:gd name="connsiteY734" fmla="*/ 115812 h 1413227"/>
                <a:gd name="connsiteX735" fmla="*/ 910943 w 2048870"/>
                <a:gd name="connsiteY735" fmla="*/ 119269 h 1413227"/>
                <a:gd name="connsiteX736" fmla="*/ 905758 w 2048870"/>
                <a:gd name="connsiteY736" fmla="*/ 120998 h 1413227"/>
                <a:gd name="connsiteX737" fmla="*/ 893658 w 2048870"/>
                <a:gd name="connsiteY737" fmla="*/ 124455 h 1413227"/>
                <a:gd name="connsiteX738" fmla="*/ 888472 w 2048870"/>
                <a:gd name="connsiteY738" fmla="*/ 126183 h 1413227"/>
                <a:gd name="connsiteX739" fmla="*/ 895386 w 2048870"/>
                <a:gd name="connsiteY739" fmla="*/ 124455 h 1413227"/>
                <a:gd name="connsiteX740" fmla="*/ 904029 w 2048870"/>
                <a:gd name="connsiteY740" fmla="*/ 115812 h 1413227"/>
                <a:gd name="connsiteX741" fmla="*/ 966257 w 2048870"/>
                <a:gd name="connsiteY741" fmla="*/ 63956 h 1413227"/>
                <a:gd name="connsiteX0" fmla="*/ 966257 w 2048870"/>
                <a:gd name="connsiteY0" fmla="*/ 63956 h 1413227"/>
                <a:gd name="connsiteX1" fmla="*/ 962800 w 2048870"/>
                <a:gd name="connsiteY1" fmla="*/ 72598 h 1413227"/>
                <a:gd name="connsiteX2" fmla="*/ 919586 w 2048870"/>
                <a:gd name="connsiteY2" fmla="*/ 114083 h 1413227"/>
                <a:gd name="connsiteX3" fmla="*/ 902301 w 2048870"/>
                <a:gd name="connsiteY3" fmla="*/ 120998 h 1413227"/>
                <a:gd name="connsiteX4" fmla="*/ 885015 w 2048870"/>
                <a:gd name="connsiteY4" fmla="*/ 122726 h 1413227"/>
                <a:gd name="connsiteX5" fmla="*/ 878101 w 2048870"/>
                <a:gd name="connsiteY5" fmla="*/ 129640 h 1413227"/>
                <a:gd name="connsiteX6" fmla="*/ 855630 w 2048870"/>
                <a:gd name="connsiteY6" fmla="*/ 140012 h 1413227"/>
                <a:gd name="connsiteX7" fmla="*/ 850444 w 2048870"/>
                <a:gd name="connsiteY7" fmla="*/ 145197 h 1413227"/>
                <a:gd name="connsiteX8" fmla="*/ 831430 w 2048870"/>
                <a:gd name="connsiteY8" fmla="*/ 146926 h 1413227"/>
                <a:gd name="connsiteX9" fmla="*/ 808923 w 2048870"/>
                <a:gd name="connsiteY9" fmla="*/ 195183 h 1413227"/>
                <a:gd name="connsiteX10" fmla="*/ 817602 w 2048870"/>
                <a:gd name="connsiteY10" fmla="*/ 247181 h 1413227"/>
                <a:gd name="connsiteX11" fmla="*/ 821059 w 2048870"/>
                <a:gd name="connsiteY11" fmla="*/ 255824 h 1413227"/>
                <a:gd name="connsiteX12" fmla="*/ 826245 w 2048870"/>
                <a:gd name="connsiteY12" fmla="*/ 259281 h 1413227"/>
                <a:gd name="connsiteX13" fmla="*/ 833159 w 2048870"/>
                <a:gd name="connsiteY13" fmla="*/ 267924 h 1413227"/>
                <a:gd name="connsiteX14" fmla="*/ 836616 w 2048870"/>
                <a:gd name="connsiteY14" fmla="*/ 280024 h 1413227"/>
                <a:gd name="connsiteX15" fmla="*/ 834887 w 2048870"/>
                <a:gd name="connsiteY15" fmla="*/ 295581 h 1413227"/>
                <a:gd name="connsiteX16" fmla="*/ 821059 w 2048870"/>
                <a:gd name="connsiteY16" fmla="*/ 299038 h 1413227"/>
                <a:gd name="connsiteX17" fmla="*/ 800316 w 2048870"/>
                <a:gd name="connsiteY17" fmla="*/ 295581 h 1413227"/>
                <a:gd name="connsiteX18" fmla="*/ 786488 w 2048870"/>
                <a:gd name="connsiteY18" fmla="*/ 286938 h 1413227"/>
                <a:gd name="connsiteX19" fmla="*/ 781302 w 2048870"/>
                <a:gd name="connsiteY19" fmla="*/ 285209 h 1413227"/>
                <a:gd name="connsiteX20" fmla="*/ 774388 w 2048870"/>
                <a:gd name="connsiteY20" fmla="*/ 278295 h 1413227"/>
                <a:gd name="connsiteX21" fmla="*/ 767474 w 2048870"/>
                <a:gd name="connsiteY21" fmla="*/ 285209 h 1413227"/>
                <a:gd name="connsiteX22" fmla="*/ 758831 w 2048870"/>
                <a:gd name="connsiteY22" fmla="*/ 286938 h 1413227"/>
                <a:gd name="connsiteX23" fmla="*/ 751917 w 2048870"/>
                <a:gd name="connsiteY23" fmla="*/ 288666 h 1413227"/>
                <a:gd name="connsiteX24" fmla="*/ 746732 w 2048870"/>
                <a:gd name="connsiteY24" fmla="*/ 290395 h 1413227"/>
                <a:gd name="connsiteX25" fmla="*/ 722532 w 2048870"/>
                <a:gd name="connsiteY25" fmla="*/ 292124 h 1413227"/>
                <a:gd name="connsiteX26" fmla="*/ 720803 w 2048870"/>
                <a:gd name="connsiteY26" fmla="*/ 297309 h 1413227"/>
                <a:gd name="connsiteX27" fmla="*/ 701789 w 2048870"/>
                <a:gd name="connsiteY27" fmla="*/ 312866 h 1413227"/>
                <a:gd name="connsiteX28" fmla="*/ 686233 w 2048870"/>
                <a:gd name="connsiteY28" fmla="*/ 305952 h 1413227"/>
                <a:gd name="connsiteX29" fmla="*/ 684504 w 2048870"/>
                <a:gd name="connsiteY29" fmla="*/ 300766 h 1413227"/>
                <a:gd name="connsiteX30" fmla="*/ 681047 w 2048870"/>
                <a:gd name="connsiteY30" fmla="*/ 285209 h 1413227"/>
                <a:gd name="connsiteX31" fmla="*/ 649933 w 2048870"/>
                <a:gd name="connsiteY31" fmla="*/ 288666 h 1413227"/>
                <a:gd name="connsiteX32" fmla="*/ 646476 w 2048870"/>
                <a:gd name="connsiteY32" fmla="*/ 299038 h 1413227"/>
                <a:gd name="connsiteX33" fmla="*/ 639562 w 2048870"/>
                <a:gd name="connsiteY33" fmla="*/ 314595 h 1413227"/>
                <a:gd name="connsiteX34" fmla="*/ 634376 w 2048870"/>
                <a:gd name="connsiteY34" fmla="*/ 326694 h 1413227"/>
                <a:gd name="connsiteX35" fmla="*/ 629191 w 2048870"/>
                <a:gd name="connsiteY35" fmla="*/ 328423 h 1413227"/>
                <a:gd name="connsiteX36" fmla="*/ 613634 w 2048870"/>
                <a:gd name="connsiteY36" fmla="*/ 323237 h 1413227"/>
                <a:gd name="connsiteX37" fmla="*/ 601534 w 2048870"/>
                <a:gd name="connsiteY37" fmla="*/ 311138 h 1413227"/>
                <a:gd name="connsiteX38" fmla="*/ 572149 w 2048870"/>
                <a:gd name="connsiteY38" fmla="*/ 309409 h 1413227"/>
                <a:gd name="connsiteX39" fmla="*/ 566963 w 2048870"/>
                <a:gd name="connsiteY39" fmla="*/ 295581 h 1413227"/>
                <a:gd name="connsiteX40" fmla="*/ 563506 w 2048870"/>
                <a:gd name="connsiteY40" fmla="*/ 300766 h 1413227"/>
                <a:gd name="connsiteX41" fmla="*/ 558320 w 2048870"/>
                <a:gd name="connsiteY41" fmla="*/ 307680 h 1413227"/>
                <a:gd name="connsiteX42" fmla="*/ 549678 w 2048870"/>
                <a:gd name="connsiteY42" fmla="*/ 321509 h 1413227"/>
                <a:gd name="connsiteX43" fmla="*/ 509921 w 2048870"/>
                <a:gd name="connsiteY43" fmla="*/ 324966 h 1413227"/>
                <a:gd name="connsiteX44" fmla="*/ 515107 w 2048870"/>
                <a:gd name="connsiteY44" fmla="*/ 328423 h 1413227"/>
                <a:gd name="connsiteX45" fmla="*/ 525478 w 2048870"/>
                <a:gd name="connsiteY45" fmla="*/ 331880 h 1413227"/>
                <a:gd name="connsiteX46" fmla="*/ 523749 w 2048870"/>
                <a:gd name="connsiteY46" fmla="*/ 337066 h 1413227"/>
                <a:gd name="connsiteX47" fmla="*/ 516835 w 2048870"/>
                <a:gd name="connsiteY47" fmla="*/ 343980 h 1413227"/>
                <a:gd name="connsiteX48" fmla="*/ 511650 w 2048870"/>
                <a:gd name="connsiteY48" fmla="*/ 323237 h 1413227"/>
                <a:gd name="connsiteX49" fmla="*/ 483993 w 2048870"/>
                <a:gd name="connsiteY49" fmla="*/ 333609 h 1413227"/>
                <a:gd name="connsiteX50" fmla="*/ 478807 w 2048870"/>
                <a:gd name="connsiteY50" fmla="*/ 338794 h 1413227"/>
                <a:gd name="connsiteX51" fmla="*/ 466707 w 2048870"/>
                <a:gd name="connsiteY51" fmla="*/ 337066 h 1413227"/>
                <a:gd name="connsiteX52" fmla="*/ 463250 w 2048870"/>
                <a:gd name="connsiteY52" fmla="*/ 324966 h 1413227"/>
                <a:gd name="connsiteX53" fmla="*/ 454608 w 2048870"/>
                <a:gd name="connsiteY53" fmla="*/ 312866 h 1413227"/>
                <a:gd name="connsiteX54" fmla="*/ 449422 w 2048870"/>
                <a:gd name="connsiteY54" fmla="*/ 311138 h 1413227"/>
                <a:gd name="connsiteX55" fmla="*/ 425222 w 2048870"/>
                <a:gd name="connsiteY55" fmla="*/ 314595 h 1413227"/>
                <a:gd name="connsiteX56" fmla="*/ 273110 w 2048870"/>
                <a:gd name="connsiteY56" fmla="*/ 316323 h 1413227"/>
                <a:gd name="connsiteX57" fmla="*/ 262739 w 2048870"/>
                <a:gd name="connsiteY57" fmla="*/ 323237 h 1413227"/>
                <a:gd name="connsiteX58" fmla="*/ 255825 w 2048870"/>
                <a:gd name="connsiteY58" fmla="*/ 324966 h 1413227"/>
                <a:gd name="connsiteX59" fmla="*/ 250639 w 2048870"/>
                <a:gd name="connsiteY59" fmla="*/ 326694 h 1413227"/>
                <a:gd name="connsiteX60" fmla="*/ 238540 w 2048870"/>
                <a:gd name="connsiteY60" fmla="*/ 330152 h 1413227"/>
                <a:gd name="connsiteX61" fmla="*/ 200512 w 2048870"/>
                <a:gd name="connsiteY61" fmla="*/ 333609 h 1413227"/>
                <a:gd name="connsiteX62" fmla="*/ 188412 w 2048870"/>
                <a:gd name="connsiteY62" fmla="*/ 338794 h 1413227"/>
                <a:gd name="connsiteX63" fmla="*/ 176312 w 2048870"/>
                <a:gd name="connsiteY63" fmla="*/ 342251 h 1413227"/>
                <a:gd name="connsiteX64" fmla="*/ 146927 w 2048870"/>
                <a:gd name="connsiteY64" fmla="*/ 356080 h 1413227"/>
                <a:gd name="connsiteX65" fmla="*/ 138284 w 2048870"/>
                <a:gd name="connsiteY65" fmla="*/ 357808 h 1413227"/>
                <a:gd name="connsiteX66" fmla="*/ 136555 w 2048870"/>
                <a:gd name="connsiteY66" fmla="*/ 364722 h 1413227"/>
                <a:gd name="connsiteX67" fmla="*/ 134827 w 2048870"/>
                <a:gd name="connsiteY67" fmla="*/ 380279 h 1413227"/>
                <a:gd name="connsiteX68" fmla="*/ 127913 w 2048870"/>
                <a:gd name="connsiteY68" fmla="*/ 387193 h 1413227"/>
                <a:gd name="connsiteX69" fmla="*/ 126184 w 2048870"/>
                <a:gd name="connsiteY69" fmla="*/ 394108 h 1413227"/>
                <a:gd name="connsiteX70" fmla="*/ 124456 w 2048870"/>
                <a:gd name="connsiteY70" fmla="*/ 402750 h 1413227"/>
                <a:gd name="connsiteX71" fmla="*/ 117541 w 2048870"/>
                <a:gd name="connsiteY71" fmla="*/ 407936 h 1413227"/>
                <a:gd name="connsiteX72" fmla="*/ 105442 w 2048870"/>
                <a:gd name="connsiteY72" fmla="*/ 411393 h 1413227"/>
                <a:gd name="connsiteX73" fmla="*/ 100256 w 2048870"/>
                <a:gd name="connsiteY73" fmla="*/ 413122 h 1413227"/>
                <a:gd name="connsiteX74" fmla="*/ 70871 w 2048870"/>
                <a:gd name="connsiteY74" fmla="*/ 421764 h 1413227"/>
                <a:gd name="connsiteX75" fmla="*/ 67414 w 2048870"/>
                <a:gd name="connsiteY75" fmla="*/ 428679 h 1413227"/>
                <a:gd name="connsiteX76" fmla="*/ 69142 w 2048870"/>
                <a:gd name="connsiteY76" fmla="*/ 440778 h 1413227"/>
                <a:gd name="connsiteX77" fmla="*/ 65685 w 2048870"/>
                <a:gd name="connsiteY77" fmla="*/ 445964 h 1413227"/>
                <a:gd name="connsiteX78" fmla="*/ 63957 w 2048870"/>
                <a:gd name="connsiteY78" fmla="*/ 452878 h 1413227"/>
                <a:gd name="connsiteX79" fmla="*/ 69142 w 2048870"/>
                <a:gd name="connsiteY79" fmla="*/ 456335 h 1413227"/>
                <a:gd name="connsiteX80" fmla="*/ 74328 w 2048870"/>
                <a:gd name="connsiteY80" fmla="*/ 458064 h 1413227"/>
                <a:gd name="connsiteX81" fmla="*/ 84699 w 2048870"/>
                <a:gd name="connsiteY81" fmla="*/ 466707 h 1413227"/>
                <a:gd name="connsiteX82" fmla="*/ 81242 w 2048870"/>
                <a:gd name="connsiteY82" fmla="*/ 473621 h 1413227"/>
                <a:gd name="connsiteX83" fmla="*/ 77785 w 2048870"/>
                <a:gd name="connsiteY83" fmla="*/ 478806 h 1413227"/>
                <a:gd name="connsiteX84" fmla="*/ 79513 w 2048870"/>
                <a:gd name="connsiteY84" fmla="*/ 485721 h 1413227"/>
                <a:gd name="connsiteX85" fmla="*/ 72599 w 2048870"/>
                <a:gd name="connsiteY85" fmla="*/ 489178 h 1413227"/>
                <a:gd name="connsiteX86" fmla="*/ 63957 w 2048870"/>
                <a:gd name="connsiteY86" fmla="*/ 487449 h 1413227"/>
                <a:gd name="connsiteX87" fmla="*/ 76056 w 2048870"/>
                <a:gd name="connsiteY87" fmla="*/ 485721 h 1413227"/>
                <a:gd name="connsiteX88" fmla="*/ 86428 w 2048870"/>
                <a:gd name="connsiteY88" fmla="*/ 483992 h 1413227"/>
                <a:gd name="connsiteX89" fmla="*/ 84699 w 2048870"/>
                <a:gd name="connsiteY89" fmla="*/ 494363 h 1413227"/>
                <a:gd name="connsiteX90" fmla="*/ 86428 w 2048870"/>
                <a:gd name="connsiteY90" fmla="*/ 501277 h 1413227"/>
                <a:gd name="connsiteX91" fmla="*/ 96799 w 2048870"/>
                <a:gd name="connsiteY91" fmla="*/ 515106 h 1413227"/>
                <a:gd name="connsiteX92" fmla="*/ 101985 w 2048870"/>
                <a:gd name="connsiteY92" fmla="*/ 516834 h 1413227"/>
                <a:gd name="connsiteX93" fmla="*/ 114084 w 2048870"/>
                <a:gd name="connsiteY93" fmla="*/ 520291 h 1413227"/>
                <a:gd name="connsiteX94" fmla="*/ 119270 w 2048870"/>
                <a:gd name="connsiteY94" fmla="*/ 525477 h 1413227"/>
                <a:gd name="connsiteX95" fmla="*/ 133098 w 2048870"/>
                <a:gd name="connsiteY95" fmla="*/ 535848 h 1413227"/>
                <a:gd name="connsiteX96" fmla="*/ 136555 w 2048870"/>
                <a:gd name="connsiteY96" fmla="*/ 542762 h 1413227"/>
                <a:gd name="connsiteX97" fmla="*/ 134827 w 2048870"/>
                <a:gd name="connsiteY97" fmla="*/ 572148 h 1413227"/>
                <a:gd name="connsiteX98" fmla="*/ 140012 w 2048870"/>
                <a:gd name="connsiteY98" fmla="*/ 573876 h 1413227"/>
                <a:gd name="connsiteX99" fmla="*/ 143470 w 2048870"/>
                <a:gd name="connsiteY99" fmla="*/ 577333 h 1413227"/>
                <a:gd name="connsiteX100" fmla="*/ 146927 w 2048870"/>
                <a:gd name="connsiteY100" fmla="*/ 589433 h 1413227"/>
                <a:gd name="connsiteX101" fmla="*/ 150384 w 2048870"/>
                <a:gd name="connsiteY101" fmla="*/ 598076 h 1413227"/>
                <a:gd name="connsiteX102" fmla="*/ 148655 w 2048870"/>
                <a:gd name="connsiteY102" fmla="*/ 617090 h 1413227"/>
                <a:gd name="connsiteX103" fmla="*/ 146927 w 2048870"/>
                <a:gd name="connsiteY103" fmla="*/ 622276 h 1413227"/>
                <a:gd name="connsiteX104" fmla="*/ 141741 w 2048870"/>
                <a:gd name="connsiteY104" fmla="*/ 627461 h 1413227"/>
                <a:gd name="connsiteX105" fmla="*/ 136555 w 2048870"/>
                <a:gd name="connsiteY105" fmla="*/ 634375 h 1413227"/>
                <a:gd name="connsiteX106" fmla="*/ 120999 w 2048870"/>
                <a:gd name="connsiteY106" fmla="*/ 639561 h 1413227"/>
                <a:gd name="connsiteX107" fmla="*/ 95070 w 2048870"/>
                <a:gd name="connsiteY107" fmla="*/ 665489 h 1413227"/>
                <a:gd name="connsiteX108" fmla="*/ 89885 w 2048870"/>
                <a:gd name="connsiteY108" fmla="*/ 670675 h 1413227"/>
                <a:gd name="connsiteX109" fmla="*/ 86428 w 2048870"/>
                <a:gd name="connsiteY109" fmla="*/ 675860 h 1413227"/>
                <a:gd name="connsiteX110" fmla="*/ 81242 w 2048870"/>
                <a:gd name="connsiteY110" fmla="*/ 677589 h 1413227"/>
                <a:gd name="connsiteX111" fmla="*/ 77785 w 2048870"/>
                <a:gd name="connsiteY111" fmla="*/ 682775 h 1413227"/>
                <a:gd name="connsiteX112" fmla="*/ 63957 w 2048870"/>
                <a:gd name="connsiteY112" fmla="*/ 689689 h 1413227"/>
                <a:gd name="connsiteX113" fmla="*/ 60499 w 2048870"/>
                <a:gd name="connsiteY113" fmla="*/ 706974 h 1413227"/>
                <a:gd name="connsiteX114" fmla="*/ 50128 w 2048870"/>
                <a:gd name="connsiteY114" fmla="*/ 720803 h 1413227"/>
                <a:gd name="connsiteX115" fmla="*/ 48400 w 2048870"/>
                <a:gd name="connsiteY115" fmla="*/ 725988 h 1413227"/>
                <a:gd name="connsiteX116" fmla="*/ 46671 w 2048870"/>
                <a:gd name="connsiteY116" fmla="*/ 732902 h 1413227"/>
                <a:gd name="connsiteX117" fmla="*/ 25929 w 2048870"/>
                <a:gd name="connsiteY117" fmla="*/ 751916 h 1413227"/>
                <a:gd name="connsiteX118" fmla="*/ 19014 w 2048870"/>
                <a:gd name="connsiteY118" fmla="*/ 776116 h 1413227"/>
                <a:gd name="connsiteX119" fmla="*/ 12100 w 2048870"/>
                <a:gd name="connsiteY119" fmla="*/ 789944 h 1413227"/>
                <a:gd name="connsiteX120" fmla="*/ 17286 w 2048870"/>
                <a:gd name="connsiteY120" fmla="*/ 822787 h 1413227"/>
                <a:gd name="connsiteX121" fmla="*/ 25929 w 2048870"/>
                <a:gd name="connsiteY121" fmla="*/ 829701 h 1413227"/>
                <a:gd name="connsiteX122" fmla="*/ 29386 w 2048870"/>
                <a:gd name="connsiteY122" fmla="*/ 838344 h 1413227"/>
                <a:gd name="connsiteX123" fmla="*/ 36300 w 2048870"/>
                <a:gd name="connsiteY123" fmla="*/ 843529 h 1413227"/>
                <a:gd name="connsiteX124" fmla="*/ 38028 w 2048870"/>
                <a:gd name="connsiteY124" fmla="*/ 852172 h 1413227"/>
                <a:gd name="connsiteX125" fmla="*/ 43214 w 2048870"/>
                <a:gd name="connsiteY125" fmla="*/ 864272 h 1413227"/>
                <a:gd name="connsiteX126" fmla="*/ 44943 w 2048870"/>
                <a:gd name="connsiteY126" fmla="*/ 874643 h 1413227"/>
                <a:gd name="connsiteX127" fmla="*/ 51857 w 2048870"/>
                <a:gd name="connsiteY127" fmla="*/ 876372 h 1413227"/>
                <a:gd name="connsiteX128" fmla="*/ 53585 w 2048870"/>
                <a:gd name="connsiteY128" fmla="*/ 883286 h 1413227"/>
                <a:gd name="connsiteX129" fmla="*/ 58771 w 2048870"/>
                <a:gd name="connsiteY129" fmla="*/ 886743 h 1413227"/>
                <a:gd name="connsiteX130" fmla="*/ 51857 w 2048870"/>
                <a:gd name="connsiteY130" fmla="*/ 898843 h 1413227"/>
                <a:gd name="connsiteX131" fmla="*/ 43214 w 2048870"/>
                <a:gd name="connsiteY131" fmla="*/ 904028 h 1413227"/>
                <a:gd name="connsiteX132" fmla="*/ 29386 w 2048870"/>
                <a:gd name="connsiteY132" fmla="*/ 909214 h 1413227"/>
                <a:gd name="connsiteX133" fmla="*/ 27657 w 2048870"/>
                <a:gd name="connsiteY133" fmla="*/ 919585 h 1413227"/>
                <a:gd name="connsiteX134" fmla="*/ 25929 w 2048870"/>
                <a:gd name="connsiteY134" fmla="*/ 926499 h 1413227"/>
                <a:gd name="connsiteX135" fmla="*/ 19014 w 2048870"/>
                <a:gd name="connsiteY135" fmla="*/ 955885 h 1413227"/>
                <a:gd name="connsiteX136" fmla="*/ 10372 w 2048870"/>
                <a:gd name="connsiteY136" fmla="*/ 969713 h 1413227"/>
                <a:gd name="connsiteX137" fmla="*/ 8643 w 2048870"/>
                <a:gd name="connsiteY137" fmla="*/ 990455 h 1413227"/>
                <a:gd name="connsiteX138" fmla="*/ 0 w 2048870"/>
                <a:gd name="connsiteY138" fmla="*/ 999098 h 1413227"/>
                <a:gd name="connsiteX139" fmla="*/ 6915 w 2048870"/>
                <a:gd name="connsiteY139" fmla="*/ 1023298 h 1413227"/>
                <a:gd name="connsiteX140" fmla="*/ 15557 w 2048870"/>
                <a:gd name="connsiteY140" fmla="*/ 1025026 h 1413227"/>
                <a:gd name="connsiteX141" fmla="*/ 22471 w 2048870"/>
                <a:gd name="connsiteY141" fmla="*/ 1030212 h 1413227"/>
                <a:gd name="connsiteX142" fmla="*/ 27657 w 2048870"/>
                <a:gd name="connsiteY142" fmla="*/ 1031941 h 1413227"/>
                <a:gd name="connsiteX143" fmla="*/ 34571 w 2048870"/>
                <a:gd name="connsiteY143" fmla="*/ 1035398 h 1413227"/>
                <a:gd name="connsiteX144" fmla="*/ 39757 w 2048870"/>
                <a:gd name="connsiteY144" fmla="*/ 1042312 h 1413227"/>
                <a:gd name="connsiteX145" fmla="*/ 43214 w 2048870"/>
                <a:gd name="connsiteY145" fmla="*/ 1047497 h 1413227"/>
                <a:gd name="connsiteX146" fmla="*/ 53585 w 2048870"/>
                <a:gd name="connsiteY146" fmla="*/ 1052683 h 1413227"/>
                <a:gd name="connsiteX147" fmla="*/ 95070 w 2048870"/>
                <a:gd name="connsiteY147" fmla="*/ 1061326 h 1413227"/>
                <a:gd name="connsiteX148" fmla="*/ 96799 w 2048870"/>
                <a:gd name="connsiteY148" fmla="*/ 1073426 h 1413227"/>
                <a:gd name="connsiteX149" fmla="*/ 101985 w 2048870"/>
                <a:gd name="connsiteY149" fmla="*/ 1075154 h 1413227"/>
                <a:gd name="connsiteX150" fmla="*/ 112356 w 2048870"/>
                <a:gd name="connsiteY150" fmla="*/ 1066511 h 1413227"/>
                <a:gd name="connsiteX151" fmla="*/ 119270 w 2048870"/>
                <a:gd name="connsiteY151" fmla="*/ 1059597 h 1413227"/>
                <a:gd name="connsiteX152" fmla="*/ 120999 w 2048870"/>
                <a:gd name="connsiteY152" fmla="*/ 1054412 h 1413227"/>
                <a:gd name="connsiteX153" fmla="*/ 134827 w 2048870"/>
                <a:gd name="connsiteY153" fmla="*/ 1061326 h 1413227"/>
                <a:gd name="connsiteX154" fmla="*/ 141741 w 2048870"/>
                <a:gd name="connsiteY154" fmla="*/ 1063054 h 1413227"/>
                <a:gd name="connsiteX155" fmla="*/ 146927 w 2048870"/>
                <a:gd name="connsiteY155" fmla="*/ 1064783 h 1413227"/>
                <a:gd name="connsiteX156" fmla="*/ 247182 w 2048870"/>
                <a:gd name="connsiteY156" fmla="*/ 1068240 h 1413227"/>
                <a:gd name="connsiteX157" fmla="*/ 266196 w 2048870"/>
                <a:gd name="connsiteY157" fmla="*/ 1064783 h 1413227"/>
                <a:gd name="connsiteX158" fmla="*/ 276568 w 2048870"/>
                <a:gd name="connsiteY158" fmla="*/ 1059597 h 1413227"/>
                <a:gd name="connsiteX159" fmla="*/ 285210 w 2048870"/>
                <a:gd name="connsiteY159" fmla="*/ 1049226 h 1413227"/>
                <a:gd name="connsiteX160" fmla="*/ 295581 w 2048870"/>
                <a:gd name="connsiteY160" fmla="*/ 1052683 h 1413227"/>
                <a:gd name="connsiteX161" fmla="*/ 299039 w 2048870"/>
                <a:gd name="connsiteY161" fmla="*/ 1059597 h 1413227"/>
                <a:gd name="connsiteX162" fmla="*/ 312867 w 2048870"/>
                <a:gd name="connsiteY162" fmla="*/ 1071697 h 1413227"/>
                <a:gd name="connsiteX163" fmla="*/ 338795 w 2048870"/>
                <a:gd name="connsiteY163" fmla="*/ 1078611 h 1413227"/>
                <a:gd name="connsiteX164" fmla="*/ 361266 w 2048870"/>
                <a:gd name="connsiteY164" fmla="*/ 1075154 h 1413227"/>
                <a:gd name="connsiteX165" fmla="*/ 362995 w 2048870"/>
                <a:gd name="connsiteY165" fmla="*/ 1068240 h 1413227"/>
                <a:gd name="connsiteX166" fmla="*/ 373366 w 2048870"/>
                <a:gd name="connsiteY166" fmla="*/ 1050955 h 1413227"/>
                <a:gd name="connsiteX167" fmla="*/ 378552 w 2048870"/>
                <a:gd name="connsiteY167" fmla="*/ 1045769 h 1413227"/>
                <a:gd name="connsiteX168" fmla="*/ 397566 w 2048870"/>
                <a:gd name="connsiteY168" fmla="*/ 1038855 h 1413227"/>
                <a:gd name="connsiteX169" fmla="*/ 432137 w 2048870"/>
                <a:gd name="connsiteY169" fmla="*/ 1035398 h 1413227"/>
                <a:gd name="connsiteX170" fmla="*/ 444236 w 2048870"/>
                <a:gd name="connsiteY170" fmla="*/ 1031941 h 1413227"/>
                <a:gd name="connsiteX171" fmla="*/ 447693 w 2048870"/>
                <a:gd name="connsiteY171" fmla="*/ 1025026 h 1413227"/>
                <a:gd name="connsiteX172" fmla="*/ 452879 w 2048870"/>
                <a:gd name="connsiteY172" fmla="*/ 1021569 h 1413227"/>
                <a:gd name="connsiteX173" fmla="*/ 468436 w 2048870"/>
                <a:gd name="connsiteY173" fmla="*/ 1011198 h 1413227"/>
                <a:gd name="connsiteX174" fmla="*/ 473622 w 2048870"/>
                <a:gd name="connsiteY174" fmla="*/ 999098 h 1413227"/>
                <a:gd name="connsiteX175" fmla="*/ 478807 w 2048870"/>
                <a:gd name="connsiteY175" fmla="*/ 986998 h 1413227"/>
                <a:gd name="connsiteX176" fmla="*/ 485721 w 2048870"/>
                <a:gd name="connsiteY176" fmla="*/ 980084 h 1413227"/>
                <a:gd name="connsiteX177" fmla="*/ 489178 w 2048870"/>
                <a:gd name="connsiteY177" fmla="*/ 974899 h 1413227"/>
                <a:gd name="connsiteX178" fmla="*/ 511650 w 2048870"/>
                <a:gd name="connsiteY178" fmla="*/ 955885 h 1413227"/>
                <a:gd name="connsiteX179" fmla="*/ 530664 w 2048870"/>
                <a:gd name="connsiteY179" fmla="*/ 947242 h 1413227"/>
                <a:gd name="connsiteX180" fmla="*/ 537578 w 2048870"/>
                <a:gd name="connsiteY180" fmla="*/ 933414 h 1413227"/>
                <a:gd name="connsiteX181" fmla="*/ 539306 w 2048870"/>
                <a:gd name="connsiteY181" fmla="*/ 928228 h 1413227"/>
                <a:gd name="connsiteX182" fmla="*/ 541035 w 2048870"/>
                <a:gd name="connsiteY182" fmla="*/ 921314 h 1413227"/>
                <a:gd name="connsiteX183" fmla="*/ 563506 w 2048870"/>
                <a:gd name="connsiteY183" fmla="*/ 917857 h 1413227"/>
                <a:gd name="connsiteX184" fmla="*/ 568692 w 2048870"/>
                <a:gd name="connsiteY184" fmla="*/ 916128 h 1413227"/>
                <a:gd name="connsiteX185" fmla="*/ 584248 w 2048870"/>
                <a:gd name="connsiteY185" fmla="*/ 914400 h 1413227"/>
                <a:gd name="connsiteX186" fmla="*/ 589434 w 2048870"/>
                <a:gd name="connsiteY186" fmla="*/ 910942 h 1413227"/>
                <a:gd name="connsiteX187" fmla="*/ 599805 w 2048870"/>
                <a:gd name="connsiteY187" fmla="*/ 905757 h 1413227"/>
                <a:gd name="connsiteX188" fmla="*/ 604991 w 2048870"/>
                <a:gd name="connsiteY188" fmla="*/ 900571 h 1413227"/>
                <a:gd name="connsiteX189" fmla="*/ 606719 w 2048870"/>
                <a:gd name="connsiteY189" fmla="*/ 895386 h 1413227"/>
                <a:gd name="connsiteX190" fmla="*/ 615362 w 2048870"/>
                <a:gd name="connsiteY190" fmla="*/ 891928 h 1413227"/>
                <a:gd name="connsiteX191" fmla="*/ 620548 w 2048870"/>
                <a:gd name="connsiteY191" fmla="*/ 886743 h 1413227"/>
                <a:gd name="connsiteX192" fmla="*/ 639562 w 2048870"/>
                <a:gd name="connsiteY192" fmla="*/ 879829 h 1413227"/>
                <a:gd name="connsiteX193" fmla="*/ 653390 w 2048870"/>
                <a:gd name="connsiteY193" fmla="*/ 883286 h 1413227"/>
                <a:gd name="connsiteX194" fmla="*/ 660304 w 2048870"/>
                <a:gd name="connsiteY194" fmla="*/ 885014 h 1413227"/>
                <a:gd name="connsiteX195" fmla="*/ 668947 w 2048870"/>
                <a:gd name="connsiteY195" fmla="*/ 886743 h 1413227"/>
                <a:gd name="connsiteX196" fmla="*/ 675861 w 2048870"/>
                <a:gd name="connsiteY196" fmla="*/ 890200 h 1413227"/>
                <a:gd name="connsiteX197" fmla="*/ 682775 w 2048870"/>
                <a:gd name="connsiteY197" fmla="*/ 891928 h 1413227"/>
                <a:gd name="connsiteX198" fmla="*/ 687961 w 2048870"/>
                <a:gd name="connsiteY198" fmla="*/ 895386 h 1413227"/>
                <a:gd name="connsiteX199" fmla="*/ 700061 w 2048870"/>
                <a:gd name="connsiteY199" fmla="*/ 898843 h 1413227"/>
                <a:gd name="connsiteX200" fmla="*/ 706975 w 2048870"/>
                <a:gd name="connsiteY200" fmla="*/ 904028 h 1413227"/>
                <a:gd name="connsiteX201" fmla="*/ 720803 w 2048870"/>
                <a:gd name="connsiteY201" fmla="*/ 907485 h 1413227"/>
                <a:gd name="connsiteX202" fmla="*/ 727718 w 2048870"/>
                <a:gd name="connsiteY202" fmla="*/ 905757 h 1413227"/>
                <a:gd name="connsiteX203" fmla="*/ 736360 w 2048870"/>
                <a:gd name="connsiteY203" fmla="*/ 904028 h 1413227"/>
                <a:gd name="connsiteX204" fmla="*/ 738089 w 2048870"/>
                <a:gd name="connsiteY204" fmla="*/ 910942 h 1413227"/>
                <a:gd name="connsiteX205" fmla="*/ 760560 w 2048870"/>
                <a:gd name="connsiteY205" fmla="*/ 904028 h 1413227"/>
                <a:gd name="connsiteX206" fmla="*/ 770931 w 2048870"/>
                <a:gd name="connsiteY206" fmla="*/ 895386 h 1413227"/>
                <a:gd name="connsiteX207" fmla="*/ 776117 w 2048870"/>
                <a:gd name="connsiteY207" fmla="*/ 909214 h 1413227"/>
                <a:gd name="connsiteX208" fmla="*/ 783031 w 2048870"/>
                <a:gd name="connsiteY208" fmla="*/ 914400 h 1413227"/>
                <a:gd name="connsiteX209" fmla="*/ 788217 w 2048870"/>
                <a:gd name="connsiteY209" fmla="*/ 919585 h 1413227"/>
                <a:gd name="connsiteX210" fmla="*/ 793402 w 2048870"/>
                <a:gd name="connsiteY210" fmla="*/ 923042 h 1413227"/>
                <a:gd name="connsiteX211" fmla="*/ 798588 w 2048870"/>
                <a:gd name="connsiteY211" fmla="*/ 928228 h 1413227"/>
                <a:gd name="connsiteX212" fmla="*/ 815873 w 2048870"/>
                <a:gd name="connsiteY212" fmla="*/ 935142 h 1413227"/>
                <a:gd name="connsiteX213" fmla="*/ 821059 w 2048870"/>
                <a:gd name="connsiteY213" fmla="*/ 926499 h 1413227"/>
                <a:gd name="connsiteX214" fmla="*/ 824516 w 2048870"/>
                <a:gd name="connsiteY214" fmla="*/ 910942 h 1413227"/>
                <a:gd name="connsiteX215" fmla="*/ 833159 w 2048870"/>
                <a:gd name="connsiteY215" fmla="*/ 912671 h 1413227"/>
                <a:gd name="connsiteX216" fmla="*/ 838344 w 2048870"/>
                <a:gd name="connsiteY216" fmla="*/ 926499 h 1413227"/>
                <a:gd name="connsiteX217" fmla="*/ 841802 w 2048870"/>
                <a:gd name="connsiteY217" fmla="*/ 929956 h 1413227"/>
                <a:gd name="connsiteX218" fmla="*/ 850444 w 2048870"/>
                <a:gd name="connsiteY218" fmla="*/ 948970 h 1413227"/>
                <a:gd name="connsiteX219" fmla="*/ 853901 w 2048870"/>
                <a:gd name="connsiteY219" fmla="*/ 954156 h 1413227"/>
                <a:gd name="connsiteX220" fmla="*/ 859087 w 2048870"/>
                <a:gd name="connsiteY220" fmla="*/ 988727 h 1413227"/>
                <a:gd name="connsiteX221" fmla="*/ 864273 w 2048870"/>
                <a:gd name="connsiteY221" fmla="*/ 1009469 h 1413227"/>
                <a:gd name="connsiteX222" fmla="*/ 878101 w 2048870"/>
                <a:gd name="connsiteY222" fmla="*/ 1012927 h 1413227"/>
                <a:gd name="connsiteX223" fmla="*/ 885015 w 2048870"/>
                <a:gd name="connsiteY223" fmla="*/ 1016384 h 1413227"/>
                <a:gd name="connsiteX224" fmla="*/ 888472 w 2048870"/>
                <a:gd name="connsiteY224" fmla="*/ 1021569 h 1413227"/>
                <a:gd name="connsiteX225" fmla="*/ 900572 w 2048870"/>
                <a:gd name="connsiteY225" fmla="*/ 1026755 h 1413227"/>
                <a:gd name="connsiteX226" fmla="*/ 905758 w 2048870"/>
                <a:gd name="connsiteY226" fmla="*/ 1033669 h 1413227"/>
                <a:gd name="connsiteX227" fmla="*/ 909215 w 2048870"/>
                <a:gd name="connsiteY227" fmla="*/ 1040583 h 1413227"/>
                <a:gd name="connsiteX228" fmla="*/ 912672 w 2048870"/>
                <a:gd name="connsiteY228" fmla="*/ 1045769 h 1413227"/>
                <a:gd name="connsiteX229" fmla="*/ 921315 w 2048870"/>
                <a:gd name="connsiteY229" fmla="*/ 1061326 h 1413227"/>
                <a:gd name="connsiteX230" fmla="*/ 928229 w 2048870"/>
                <a:gd name="connsiteY230" fmla="*/ 1082068 h 1413227"/>
                <a:gd name="connsiteX231" fmla="*/ 929957 w 2048870"/>
                <a:gd name="connsiteY231" fmla="*/ 1088983 h 1413227"/>
                <a:gd name="connsiteX232" fmla="*/ 940329 w 2048870"/>
                <a:gd name="connsiteY232" fmla="*/ 1095897 h 1413227"/>
                <a:gd name="connsiteX233" fmla="*/ 959343 w 2048870"/>
                <a:gd name="connsiteY233" fmla="*/ 1097625 h 1413227"/>
                <a:gd name="connsiteX234" fmla="*/ 967985 w 2048870"/>
                <a:gd name="connsiteY234" fmla="*/ 1101082 h 1413227"/>
                <a:gd name="connsiteX235" fmla="*/ 973171 w 2048870"/>
                <a:gd name="connsiteY235" fmla="*/ 1106268 h 1413227"/>
                <a:gd name="connsiteX236" fmla="*/ 978357 w 2048870"/>
                <a:gd name="connsiteY236" fmla="*/ 1109725 h 1413227"/>
                <a:gd name="connsiteX237" fmla="*/ 983542 w 2048870"/>
                <a:gd name="connsiteY237" fmla="*/ 1118368 h 1413227"/>
                <a:gd name="connsiteX238" fmla="*/ 985271 w 2048870"/>
                <a:gd name="connsiteY238" fmla="*/ 1132196 h 1413227"/>
                <a:gd name="connsiteX239" fmla="*/ 992185 w 2048870"/>
                <a:gd name="connsiteY239" fmla="*/ 1139110 h 1413227"/>
                <a:gd name="connsiteX240" fmla="*/ 1006013 w 2048870"/>
                <a:gd name="connsiteY240" fmla="*/ 1147753 h 1413227"/>
                <a:gd name="connsiteX241" fmla="*/ 1019842 w 2048870"/>
                <a:gd name="connsiteY241" fmla="*/ 1165038 h 1413227"/>
                <a:gd name="connsiteX242" fmla="*/ 1012927 w 2048870"/>
                <a:gd name="connsiteY242" fmla="*/ 1168496 h 1413227"/>
                <a:gd name="connsiteX243" fmla="*/ 1009470 w 2048870"/>
                <a:gd name="connsiteY243" fmla="*/ 1173681 h 1413227"/>
                <a:gd name="connsiteX244" fmla="*/ 997371 w 2048870"/>
                <a:gd name="connsiteY244" fmla="*/ 1177138 h 1413227"/>
                <a:gd name="connsiteX245" fmla="*/ 990456 w 2048870"/>
                <a:gd name="connsiteY245" fmla="*/ 1182324 h 1413227"/>
                <a:gd name="connsiteX246" fmla="*/ 973171 w 2048870"/>
                <a:gd name="connsiteY246" fmla="*/ 1182324 h 1413227"/>
                <a:gd name="connsiteX247" fmla="*/ 971442 w 2048870"/>
                <a:gd name="connsiteY247" fmla="*/ 1161581 h 1413227"/>
                <a:gd name="connsiteX248" fmla="*/ 962800 w 2048870"/>
                <a:gd name="connsiteY248" fmla="*/ 1171953 h 1413227"/>
                <a:gd name="connsiteX249" fmla="*/ 959343 w 2048870"/>
                <a:gd name="connsiteY249" fmla="*/ 1178867 h 1413227"/>
                <a:gd name="connsiteX250" fmla="*/ 955885 w 2048870"/>
                <a:gd name="connsiteY250" fmla="*/ 1184052 h 1413227"/>
                <a:gd name="connsiteX251" fmla="*/ 947243 w 2048870"/>
                <a:gd name="connsiteY251" fmla="*/ 1187510 h 1413227"/>
                <a:gd name="connsiteX252" fmla="*/ 940329 w 2048870"/>
                <a:gd name="connsiteY252" fmla="*/ 1190967 h 1413227"/>
                <a:gd name="connsiteX253" fmla="*/ 935143 w 2048870"/>
                <a:gd name="connsiteY253" fmla="*/ 1189238 h 1413227"/>
                <a:gd name="connsiteX254" fmla="*/ 929957 w 2048870"/>
                <a:gd name="connsiteY254" fmla="*/ 1171953 h 1413227"/>
                <a:gd name="connsiteX255" fmla="*/ 926500 w 2048870"/>
                <a:gd name="connsiteY255" fmla="*/ 1165038 h 1413227"/>
                <a:gd name="connsiteX256" fmla="*/ 921315 w 2048870"/>
                <a:gd name="connsiteY256" fmla="*/ 1178867 h 1413227"/>
                <a:gd name="connsiteX257" fmla="*/ 917857 w 2048870"/>
                <a:gd name="connsiteY257" fmla="*/ 1182324 h 1413227"/>
                <a:gd name="connsiteX258" fmla="*/ 914400 w 2048870"/>
                <a:gd name="connsiteY258" fmla="*/ 1194424 h 1413227"/>
                <a:gd name="connsiteX259" fmla="*/ 909215 w 2048870"/>
                <a:gd name="connsiteY259" fmla="*/ 1199609 h 1413227"/>
                <a:gd name="connsiteX260" fmla="*/ 886744 w 2048870"/>
                <a:gd name="connsiteY260" fmla="*/ 1180595 h 1413227"/>
                <a:gd name="connsiteX261" fmla="*/ 883287 w 2048870"/>
                <a:gd name="connsiteY261" fmla="*/ 1189238 h 1413227"/>
                <a:gd name="connsiteX262" fmla="*/ 879830 w 2048870"/>
                <a:gd name="connsiteY262" fmla="*/ 1194424 h 1413227"/>
                <a:gd name="connsiteX263" fmla="*/ 874644 w 2048870"/>
                <a:gd name="connsiteY263" fmla="*/ 1204795 h 1413227"/>
                <a:gd name="connsiteX264" fmla="*/ 879830 w 2048870"/>
                <a:gd name="connsiteY264" fmla="*/ 1211709 h 1413227"/>
                <a:gd name="connsiteX265" fmla="*/ 890201 w 2048870"/>
                <a:gd name="connsiteY265" fmla="*/ 1215166 h 1413227"/>
                <a:gd name="connsiteX266" fmla="*/ 893658 w 2048870"/>
                <a:gd name="connsiteY266" fmla="*/ 1235909 h 1413227"/>
                <a:gd name="connsiteX267" fmla="*/ 891929 w 2048870"/>
                <a:gd name="connsiteY267" fmla="*/ 1258380 h 1413227"/>
                <a:gd name="connsiteX268" fmla="*/ 890201 w 2048870"/>
                <a:gd name="connsiteY268" fmla="*/ 1263565 h 1413227"/>
                <a:gd name="connsiteX269" fmla="*/ 878101 w 2048870"/>
                <a:gd name="connsiteY269" fmla="*/ 1275665 h 1413227"/>
                <a:gd name="connsiteX270" fmla="*/ 871187 w 2048870"/>
                <a:gd name="connsiteY270" fmla="*/ 1282579 h 1413227"/>
                <a:gd name="connsiteX271" fmla="*/ 876372 w 2048870"/>
                <a:gd name="connsiteY271" fmla="*/ 1287765 h 1413227"/>
                <a:gd name="connsiteX272" fmla="*/ 874644 w 2048870"/>
                <a:gd name="connsiteY272" fmla="*/ 1306779 h 1413227"/>
                <a:gd name="connsiteX273" fmla="*/ 869458 w 2048870"/>
                <a:gd name="connsiteY273" fmla="*/ 1308508 h 1413227"/>
                <a:gd name="connsiteX274" fmla="*/ 864273 w 2048870"/>
                <a:gd name="connsiteY274" fmla="*/ 1320607 h 1413227"/>
                <a:gd name="connsiteX275" fmla="*/ 862544 w 2048870"/>
                <a:gd name="connsiteY275" fmla="*/ 1360364 h 1413227"/>
                <a:gd name="connsiteX276" fmla="*/ 857358 w 2048870"/>
                <a:gd name="connsiteY276" fmla="*/ 1363821 h 1413227"/>
                <a:gd name="connsiteX277" fmla="*/ 852173 w 2048870"/>
                <a:gd name="connsiteY277" fmla="*/ 1365550 h 1413227"/>
                <a:gd name="connsiteX278" fmla="*/ 850444 w 2048870"/>
                <a:gd name="connsiteY278" fmla="*/ 1370735 h 1413227"/>
                <a:gd name="connsiteX279" fmla="*/ 838344 w 2048870"/>
                <a:gd name="connsiteY279" fmla="*/ 1379378 h 1413227"/>
                <a:gd name="connsiteX280" fmla="*/ 841802 w 2048870"/>
                <a:gd name="connsiteY280" fmla="*/ 1389749 h 1413227"/>
                <a:gd name="connsiteX281" fmla="*/ 840497 w 2048870"/>
                <a:gd name="connsiteY281" fmla="*/ 1405535 h 1413227"/>
                <a:gd name="connsiteX282" fmla="*/ 835505 w 2048870"/>
                <a:gd name="connsiteY282" fmla="*/ 1401197 h 1413227"/>
                <a:gd name="connsiteX283" fmla="*/ 859087 w 2048870"/>
                <a:gd name="connsiteY283" fmla="*/ 1410492 h 1413227"/>
                <a:gd name="connsiteX284" fmla="*/ 885015 w 2048870"/>
                <a:gd name="connsiteY284" fmla="*/ 1408763 h 1413227"/>
                <a:gd name="connsiteX285" fmla="*/ 890201 w 2048870"/>
                <a:gd name="connsiteY285" fmla="*/ 1413103 h 1413227"/>
                <a:gd name="connsiteX286" fmla="*/ 921633 w 2048870"/>
                <a:gd name="connsiteY286" fmla="*/ 1403013 h 1413227"/>
                <a:gd name="connsiteX287" fmla="*/ 932427 w 2048870"/>
                <a:gd name="connsiteY287" fmla="*/ 1394371 h 1413227"/>
                <a:gd name="connsiteX288" fmla="*/ 933873 w 2048870"/>
                <a:gd name="connsiteY288" fmla="*/ 1386010 h 1413227"/>
                <a:gd name="connsiteX289" fmla="*/ 943362 w 2048870"/>
                <a:gd name="connsiteY289" fmla="*/ 1367278 h 1413227"/>
                <a:gd name="connsiteX290" fmla="*/ 943786 w 2048870"/>
                <a:gd name="connsiteY290" fmla="*/ 1362093 h 1413227"/>
                <a:gd name="connsiteX291" fmla="*/ 954157 w 2048870"/>
                <a:gd name="connsiteY291" fmla="*/ 1360364 h 1413227"/>
                <a:gd name="connsiteX292" fmla="*/ 993913 w 2048870"/>
                <a:gd name="connsiteY292" fmla="*/ 1356907 h 1413227"/>
                <a:gd name="connsiteX293" fmla="*/ 997371 w 2048870"/>
                <a:gd name="connsiteY293" fmla="*/ 1349993 h 1413227"/>
                <a:gd name="connsiteX294" fmla="*/ 1009470 w 2048870"/>
                <a:gd name="connsiteY294" fmla="*/ 1344807 h 1413227"/>
                <a:gd name="connsiteX295" fmla="*/ 997371 w 2048870"/>
                <a:gd name="connsiteY295" fmla="*/ 1334436 h 1413227"/>
                <a:gd name="connsiteX296" fmla="*/ 993913 w 2048870"/>
                <a:gd name="connsiteY296" fmla="*/ 1327522 h 1413227"/>
                <a:gd name="connsiteX297" fmla="*/ 988728 w 2048870"/>
                <a:gd name="connsiteY297" fmla="*/ 1322336 h 1413227"/>
                <a:gd name="connsiteX298" fmla="*/ 985271 w 2048870"/>
                <a:gd name="connsiteY298" fmla="*/ 1310236 h 1413227"/>
                <a:gd name="connsiteX299" fmla="*/ 981814 w 2048870"/>
                <a:gd name="connsiteY299" fmla="*/ 1299865 h 1413227"/>
                <a:gd name="connsiteX300" fmla="*/ 990456 w 2048870"/>
                <a:gd name="connsiteY300" fmla="*/ 1287765 h 1413227"/>
                <a:gd name="connsiteX301" fmla="*/ 992185 w 2048870"/>
                <a:gd name="connsiteY301" fmla="*/ 1292951 h 1413227"/>
                <a:gd name="connsiteX302" fmla="*/ 1014656 w 2048870"/>
                <a:gd name="connsiteY302" fmla="*/ 1299865 h 1413227"/>
                <a:gd name="connsiteX303" fmla="*/ 1016385 w 2048870"/>
                <a:gd name="connsiteY303" fmla="*/ 1294679 h 1413227"/>
                <a:gd name="connsiteX304" fmla="*/ 1018113 w 2048870"/>
                <a:gd name="connsiteY304" fmla="*/ 1284308 h 1413227"/>
                <a:gd name="connsiteX305" fmla="*/ 1031941 w 2048870"/>
                <a:gd name="connsiteY305" fmla="*/ 1270480 h 1413227"/>
                <a:gd name="connsiteX306" fmla="*/ 1037127 w 2048870"/>
                <a:gd name="connsiteY306" fmla="*/ 1265294 h 1413227"/>
                <a:gd name="connsiteX307" fmla="*/ 1038856 w 2048870"/>
                <a:gd name="connsiteY307" fmla="*/ 1260108 h 1413227"/>
                <a:gd name="connsiteX308" fmla="*/ 1054412 w 2048870"/>
                <a:gd name="connsiteY308" fmla="*/ 1251466 h 1413227"/>
                <a:gd name="connsiteX309" fmla="*/ 1063055 w 2048870"/>
                <a:gd name="connsiteY309" fmla="*/ 1242823 h 1413227"/>
                <a:gd name="connsiteX310" fmla="*/ 1068241 w 2048870"/>
                <a:gd name="connsiteY310" fmla="*/ 1223809 h 1413227"/>
                <a:gd name="connsiteX311" fmla="*/ 1069969 w 2048870"/>
                <a:gd name="connsiteY311" fmla="*/ 1215166 h 1413227"/>
                <a:gd name="connsiteX312" fmla="*/ 1075155 w 2048870"/>
                <a:gd name="connsiteY312" fmla="*/ 1201338 h 1413227"/>
                <a:gd name="connsiteX313" fmla="*/ 1080341 w 2048870"/>
                <a:gd name="connsiteY313" fmla="*/ 1175410 h 1413227"/>
                <a:gd name="connsiteX314" fmla="*/ 1082069 w 2048870"/>
                <a:gd name="connsiteY314" fmla="*/ 1170224 h 1413227"/>
                <a:gd name="connsiteX315" fmla="*/ 1083798 w 2048870"/>
                <a:gd name="connsiteY315" fmla="*/ 1161581 h 1413227"/>
                <a:gd name="connsiteX316" fmla="*/ 1085526 w 2048870"/>
                <a:gd name="connsiteY316" fmla="*/ 1156396 h 1413227"/>
                <a:gd name="connsiteX317" fmla="*/ 1087255 w 2048870"/>
                <a:gd name="connsiteY317" fmla="*/ 1147753 h 1413227"/>
                <a:gd name="connsiteX318" fmla="*/ 1097626 w 2048870"/>
                <a:gd name="connsiteY318" fmla="*/ 1128739 h 1413227"/>
                <a:gd name="connsiteX319" fmla="*/ 1099355 w 2048870"/>
                <a:gd name="connsiteY319" fmla="*/ 1111454 h 1413227"/>
                <a:gd name="connsiteX320" fmla="*/ 1106269 w 2048870"/>
                <a:gd name="connsiteY320" fmla="*/ 1097625 h 1413227"/>
                <a:gd name="connsiteX321" fmla="*/ 1111454 w 2048870"/>
                <a:gd name="connsiteY321" fmla="*/ 1095897 h 1413227"/>
                <a:gd name="connsiteX322" fmla="*/ 1127011 w 2048870"/>
                <a:gd name="connsiteY322" fmla="*/ 1094168 h 1413227"/>
                <a:gd name="connsiteX323" fmla="*/ 1132197 w 2048870"/>
                <a:gd name="connsiteY323" fmla="*/ 1088983 h 1413227"/>
                <a:gd name="connsiteX324" fmla="*/ 1166768 w 2048870"/>
                <a:gd name="connsiteY324" fmla="*/ 1083797 h 1413227"/>
                <a:gd name="connsiteX325" fmla="*/ 1175411 w 2048870"/>
                <a:gd name="connsiteY325" fmla="*/ 1073426 h 1413227"/>
                <a:gd name="connsiteX326" fmla="*/ 1177139 w 2048870"/>
                <a:gd name="connsiteY326" fmla="*/ 1061326 h 1413227"/>
                <a:gd name="connsiteX327" fmla="*/ 1170225 w 2048870"/>
                <a:gd name="connsiteY327" fmla="*/ 1047497 h 1413227"/>
                <a:gd name="connsiteX328" fmla="*/ 1163311 w 2048870"/>
                <a:gd name="connsiteY328" fmla="*/ 1050955 h 1413227"/>
                <a:gd name="connsiteX329" fmla="*/ 1166768 w 2048870"/>
                <a:gd name="connsiteY329" fmla="*/ 1068240 h 1413227"/>
                <a:gd name="connsiteX330" fmla="*/ 1170225 w 2048870"/>
                <a:gd name="connsiteY330" fmla="*/ 1076883 h 1413227"/>
                <a:gd name="connsiteX331" fmla="*/ 1182325 w 2048870"/>
                <a:gd name="connsiteY331" fmla="*/ 1080340 h 1413227"/>
                <a:gd name="connsiteX332" fmla="*/ 1206524 w 2048870"/>
                <a:gd name="connsiteY332" fmla="*/ 1078611 h 1413227"/>
                <a:gd name="connsiteX333" fmla="*/ 1211710 w 2048870"/>
                <a:gd name="connsiteY333" fmla="*/ 1073426 h 1413227"/>
                <a:gd name="connsiteX334" fmla="*/ 1218624 w 2048870"/>
                <a:gd name="connsiteY334" fmla="*/ 1057869 h 1413227"/>
                <a:gd name="connsiteX335" fmla="*/ 1220353 w 2048870"/>
                <a:gd name="connsiteY335" fmla="*/ 1044040 h 1413227"/>
                <a:gd name="connsiteX336" fmla="*/ 1218624 w 2048870"/>
                <a:gd name="connsiteY336" fmla="*/ 1014655 h 1413227"/>
                <a:gd name="connsiteX337" fmla="*/ 1211710 w 2048870"/>
                <a:gd name="connsiteY337" fmla="*/ 997370 h 1413227"/>
                <a:gd name="connsiteX338" fmla="*/ 1206524 w 2048870"/>
                <a:gd name="connsiteY338" fmla="*/ 993913 h 1413227"/>
                <a:gd name="connsiteX339" fmla="*/ 1184053 w 2048870"/>
                <a:gd name="connsiteY339" fmla="*/ 973170 h 1413227"/>
                <a:gd name="connsiteX340" fmla="*/ 1173682 w 2048870"/>
                <a:gd name="connsiteY340" fmla="*/ 962799 h 1413227"/>
                <a:gd name="connsiteX341" fmla="*/ 1168496 w 2048870"/>
                <a:gd name="connsiteY341" fmla="*/ 957613 h 1413227"/>
                <a:gd name="connsiteX342" fmla="*/ 1171954 w 2048870"/>
                <a:gd name="connsiteY342" fmla="*/ 961070 h 1413227"/>
                <a:gd name="connsiteX343" fmla="*/ 1178868 w 2048870"/>
                <a:gd name="connsiteY343" fmla="*/ 971441 h 1413227"/>
                <a:gd name="connsiteX344" fmla="*/ 1185782 w 2048870"/>
                <a:gd name="connsiteY344" fmla="*/ 980084 h 1413227"/>
                <a:gd name="connsiteX345" fmla="*/ 1190968 w 2048870"/>
                <a:gd name="connsiteY345" fmla="*/ 985270 h 1413227"/>
                <a:gd name="connsiteX346" fmla="*/ 1194425 w 2048870"/>
                <a:gd name="connsiteY346" fmla="*/ 993913 h 1413227"/>
                <a:gd name="connsiteX347" fmla="*/ 1206524 w 2048870"/>
                <a:gd name="connsiteY347" fmla="*/ 1007741 h 1413227"/>
                <a:gd name="connsiteX348" fmla="*/ 1208253 w 2048870"/>
                <a:gd name="connsiteY348" fmla="*/ 1014655 h 1413227"/>
                <a:gd name="connsiteX349" fmla="*/ 1211710 w 2048870"/>
                <a:gd name="connsiteY349" fmla="*/ 1023298 h 1413227"/>
                <a:gd name="connsiteX350" fmla="*/ 1213439 w 2048870"/>
                <a:gd name="connsiteY350" fmla="*/ 1035398 h 1413227"/>
                <a:gd name="connsiteX351" fmla="*/ 1215167 w 2048870"/>
                <a:gd name="connsiteY351" fmla="*/ 1044040 h 1413227"/>
                <a:gd name="connsiteX352" fmla="*/ 1220353 w 2048870"/>
                <a:gd name="connsiteY352" fmla="*/ 1045769 h 1413227"/>
                <a:gd name="connsiteX353" fmla="*/ 1223810 w 2048870"/>
                <a:gd name="connsiteY353" fmla="*/ 1050955 h 1413227"/>
                <a:gd name="connsiteX354" fmla="*/ 1234181 w 2048870"/>
                <a:gd name="connsiteY354" fmla="*/ 1063054 h 1413227"/>
                <a:gd name="connsiteX355" fmla="*/ 1253195 w 2048870"/>
                <a:gd name="connsiteY355" fmla="*/ 1057869 h 1413227"/>
                <a:gd name="connsiteX356" fmla="*/ 1258381 w 2048870"/>
                <a:gd name="connsiteY356" fmla="*/ 1054412 h 1413227"/>
                <a:gd name="connsiteX357" fmla="*/ 1265295 w 2048870"/>
                <a:gd name="connsiteY357" fmla="*/ 1050955 h 1413227"/>
                <a:gd name="connsiteX358" fmla="*/ 1267023 w 2048870"/>
                <a:gd name="connsiteY358" fmla="*/ 1056140 h 1413227"/>
                <a:gd name="connsiteX359" fmla="*/ 1268752 w 2048870"/>
                <a:gd name="connsiteY359" fmla="*/ 1068240 h 1413227"/>
                <a:gd name="connsiteX360" fmla="*/ 1279123 w 2048870"/>
                <a:gd name="connsiteY360" fmla="*/ 1064783 h 1413227"/>
                <a:gd name="connsiteX361" fmla="*/ 1289495 w 2048870"/>
                <a:gd name="connsiteY361" fmla="*/ 1056140 h 1413227"/>
                <a:gd name="connsiteX362" fmla="*/ 1299866 w 2048870"/>
                <a:gd name="connsiteY362" fmla="*/ 1045769 h 1413227"/>
                <a:gd name="connsiteX363" fmla="*/ 1305051 w 2048870"/>
                <a:gd name="connsiteY363" fmla="*/ 1042312 h 1413227"/>
                <a:gd name="connsiteX364" fmla="*/ 1294680 w 2048870"/>
                <a:gd name="connsiteY364" fmla="*/ 1061326 h 1413227"/>
                <a:gd name="connsiteX365" fmla="*/ 1286037 w 2048870"/>
                <a:gd name="connsiteY365" fmla="*/ 1075154 h 1413227"/>
                <a:gd name="connsiteX366" fmla="*/ 1272209 w 2048870"/>
                <a:gd name="connsiteY366" fmla="*/ 1082068 h 1413227"/>
                <a:gd name="connsiteX367" fmla="*/ 1265295 w 2048870"/>
                <a:gd name="connsiteY367" fmla="*/ 1085525 h 1413227"/>
                <a:gd name="connsiteX368" fmla="*/ 1260109 w 2048870"/>
                <a:gd name="connsiteY368" fmla="*/ 1087254 h 1413227"/>
                <a:gd name="connsiteX369" fmla="*/ 1251467 w 2048870"/>
                <a:gd name="connsiteY369" fmla="*/ 1092440 h 1413227"/>
                <a:gd name="connsiteX370" fmla="*/ 1232453 w 2048870"/>
                <a:gd name="connsiteY370" fmla="*/ 1095897 h 1413227"/>
                <a:gd name="connsiteX371" fmla="*/ 1230724 w 2048870"/>
                <a:gd name="connsiteY371" fmla="*/ 1121825 h 1413227"/>
                <a:gd name="connsiteX372" fmla="*/ 1223810 w 2048870"/>
                <a:gd name="connsiteY372" fmla="*/ 1128739 h 1413227"/>
                <a:gd name="connsiteX373" fmla="*/ 1216896 w 2048870"/>
                <a:gd name="connsiteY373" fmla="*/ 1130468 h 1413227"/>
                <a:gd name="connsiteX374" fmla="*/ 1248009 w 2048870"/>
                <a:gd name="connsiteY374" fmla="*/ 1123553 h 1413227"/>
                <a:gd name="connsiteX375" fmla="*/ 1275666 w 2048870"/>
                <a:gd name="connsiteY375" fmla="*/ 1125282 h 1413227"/>
                <a:gd name="connsiteX376" fmla="*/ 1282580 w 2048870"/>
                <a:gd name="connsiteY376" fmla="*/ 1128739 h 1413227"/>
                <a:gd name="connsiteX377" fmla="*/ 1318880 w 2048870"/>
                <a:gd name="connsiteY377" fmla="*/ 1127010 h 1413227"/>
                <a:gd name="connsiteX378" fmla="*/ 1330980 w 2048870"/>
                <a:gd name="connsiteY378" fmla="*/ 1123553 h 1413227"/>
                <a:gd name="connsiteX379" fmla="*/ 1339622 w 2048870"/>
                <a:gd name="connsiteY379" fmla="*/ 1118368 h 1413227"/>
                <a:gd name="connsiteX380" fmla="*/ 1356908 w 2048870"/>
                <a:gd name="connsiteY380" fmla="*/ 1123553 h 1413227"/>
                <a:gd name="connsiteX381" fmla="*/ 1384564 w 2048870"/>
                <a:gd name="connsiteY381" fmla="*/ 1114911 h 1413227"/>
                <a:gd name="connsiteX382" fmla="*/ 1391479 w 2048870"/>
                <a:gd name="connsiteY382" fmla="*/ 1109725 h 1413227"/>
                <a:gd name="connsiteX383" fmla="*/ 1400121 w 2048870"/>
                <a:gd name="connsiteY383" fmla="*/ 1095897 h 1413227"/>
                <a:gd name="connsiteX384" fmla="*/ 1403578 w 2048870"/>
                <a:gd name="connsiteY384" fmla="*/ 1090711 h 1413227"/>
                <a:gd name="connsiteX385" fmla="*/ 1408764 w 2048870"/>
                <a:gd name="connsiteY385" fmla="*/ 1088983 h 1413227"/>
                <a:gd name="connsiteX386" fmla="*/ 1415678 w 2048870"/>
                <a:gd name="connsiteY386" fmla="*/ 1097625 h 1413227"/>
                <a:gd name="connsiteX387" fmla="*/ 1419135 w 2048870"/>
                <a:gd name="connsiteY387" fmla="*/ 1104539 h 1413227"/>
                <a:gd name="connsiteX388" fmla="*/ 1424321 w 2048870"/>
                <a:gd name="connsiteY388" fmla="*/ 1111454 h 1413227"/>
                <a:gd name="connsiteX389" fmla="*/ 1434692 w 2048870"/>
                <a:gd name="connsiteY389" fmla="*/ 1109725 h 1413227"/>
                <a:gd name="connsiteX390" fmla="*/ 1438149 w 2048870"/>
                <a:gd name="connsiteY390" fmla="*/ 1101082 h 1413227"/>
                <a:gd name="connsiteX391" fmla="*/ 1446792 w 2048870"/>
                <a:gd name="connsiteY391" fmla="*/ 1076883 h 1413227"/>
                <a:gd name="connsiteX392" fmla="*/ 1455435 w 2048870"/>
                <a:gd name="connsiteY392" fmla="*/ 1082068 h 1413227"/>
                <a:gd name="connsiteX393" fmla="*/ 1457163 w 2048870"/>
                <a:gd name="connsiteY393" fmla="*/ 1097625 h 1413227"/>
                <a:gd name="connsiteX394" fmla="*/ 1462349 w 2048870"/>
                <a:gd name="connsiteY394" fmla="*/ 1104539 h 1413227"/>
                <a:gd name="connsiteX395" fmla="*/ 1464078 w 2048870"/>
                <a:gd name="connsiteY395" fmla="*/ 1116639 h 1413227"/>
                <a:gd name="connsiteX396" fmla="*/ 1450249 w 2048870"/>
                <a:gd name="connsiteY396" fmla="*/ 1132196 h 1413227"/>
                <a:gd name="connsiteX397" fmla="*/ 1436421 w 2048870"/>
                <a:gd name="connsiteY397" fmla="*/ 1149482 h 1413227"/>
                <a:gd name="connsiteX398" fmla="*/ 1427778 w 2048870"/>
                <a:gd name="connsiteY398" fmla="*/ 1158124 h 1413227"/>
                <a:gd name="connsiteX399" fmla="*/ 1415678 w 2048870"/>
                <a:gd name="connsiteY399" fmla="*/ 1163310 h 1413227"/>
                <a:gd name="connsiteX400" fmla="*/ 1400121 w 2048870"/>
                <a:gd name="connsiteY400" fmla="*/ 1171953 h 1413227"/>
                <a:gd name="connsiteX401" fmla="*/ 1398393 w 2048870"/>
                <a:gd name="connsiteY401" fmla="*/ 1177138 h 1413227"/>
                <a:gd name="connsiteX402" fmla="*/ 1389750 w 2048870"/>
                <a:gd name="connsiteY402" fmla="*/ 1189238 h 1413227"/>
                <a:gd name="connsiteX403" fmla="*/ 1384564 w 2048870"/>
                <a:gd name="connsiteY403" fmla="*/ 1197881 h 1413227"/>
                <a:gd name="connsiteX404" fmla="*/ 1382836 w 2048870"/>
                <a:gd name="connsiteY404" fmla="*/ 1203066 h 1413227"/>
                <a:gd name="connsiteX405" fmla="*/ 1374193 w 2048870"/>
                <a:gd name="connsiteY405" fmla="*/ 1211709 h 1413227"/>
                <a:gd name="connsiteX406" fmla="*/ 1369008 w 2048870"/>
                <a:gd name="connsiteY406" fmla="*/ 1216895 h 1413227"/>
                <a:gd name="connsiteX407" fmla="*/ 1356908 w 2048870"/>
                <a:gd name="connsiteY407" fmla="*/ 1230723 h 1413227"/>
                <a:gd name="connsiteX408" fmla="*/ 1351722 w 2048870"/>
                <a:gd name="connsiteY408" fmla="*/ 1237637 h 1413227"/>
                <a:gd name="connsiteX409" fmla="*/ 1349994 w 2048870"/>
                <a:gd name="connsiteY409" fmla="*/ 1242823 h 1413227"/>
                <a:gd name="connsiteX410" fmla="*/ 1344808 w 2048870"/>
                <a:gd name="connsiteY410" fmla="*/ 1253194 h 1413227"/>
                <a:gd name="connsiteX411" fmla="*/ 1377650 w 2048870"/>
                <a:gd name="connsiteY411" fmla="*/ 1253194 h 1413227"/>
                <a:gd name="connsiteX412" fmla="*/ 1386293 w 2048870"/>
                <a:gd name="connsiteY412" fmla="*/ 1246280 h 1413227"/>
                <a:gd name="connsiteX413" fmla="*/ 1391479 w 2048870"/>
                <a:gd name="connsiteY413" fmla="*/ 1244552 h 1413227"/>
                <a:gd name="connsiteX414" fmla="*/ 1412221 w 2048870"/>
                <a:gd name="connsiteY414" fmla="*/ 1248009 h 1413227"/>
                <a:gd name="connsiteX415" fmla="*/ 1415678 w 2048870"/>
                <a:gd name="connsiteY415" fmla="*/ 1253194 h 1413227"/>
                <a:gd name="connsiteX416" fmla="*/ 1426050 w 2048870"/>
                <a:gd name="connsiteY416" fmla="*/ 1260108 h 1413227"/>
                <a:gd name="connsiteX417" fmla="*/ 1451978 w 2048870"/>
                <a:gd name="connsiteY417" fmla="*/ 1258380 h 1413227"/>
                <a:gd name="connsiteX418" fmla="*/ 1457163 w 2048870"/>
                <a:gd name="connsiteY418" fmla="*/ 1253194 h 1413227"/>
                <a:gd name="connsiteX419" fmla="*/ 1465806 w 2048870"/>
                <a:gd name="connsiteY419" fmla="*/ 1248009 h 1413227"/>
                <a:gd name="connsiteX420" fmla="*/ 1483092 w 2048870"/>
                <a:gd name="connsiteY420" fmla="*/ 1249737 h 1413227"/>
                <a:gd name="connsiteX421" fmla="*/ 1491734 w 2048870"/>
                <a:gd name="connsiteY421" fmla="*/ 1258380 h 1413227"/>
                <a:gd name="connsiteX422" fmla="*/ 1502106 w 2048870"/>
                <a:gd name="connsiteY422" fmla="*/ 1272208 h 1413227"/>
                <a:gd name="connsiteX423" fmla="*/ 1503834 w 2048870"/>
                <a:gd name="connsiteY423" fmla="*/ 1289494 h 1413227"/>
                <a:gd name="connsiteX424" fmla="*/ 1514205 w 2048870"/>
                <a:gd name="connsiteY424" fmla="*/ 1301593 h 1413227"/>
                <a:gd name="connsiteX425" fmla="*/ 1517662 w 2048870"/>
                <a:gd name="connsiteY425" fmla="*/ 1306779 h 1413227"/>
                <a:gd name="connsiteX426" fmla="*/ 1515934 w 2048870"/>
                <a:gd name="connsiteY426" fmla="*/ 1355178 h 1413227"/>
                <a:gd name="connsiteX427" fmla="*/ 1509020 w 2048870"/>
                <a:gd name="connsiteY427" fmla="*/ 1360364 h 1413227"/>
                <a:gd name="connsiteX428" fmla="*/ 1503834 w 2048870"/>
                <a:gd name="connsiteY428" fmla="*/ 1370735 h 1413227"/>
                <a:gd name="connsiteX429" fmla="*/ 1534948 w 2048870"/>
                <a:gd name="connsiteY429" fmla="*/ 1374192 h 1413227"/>
                <a:gd name="connsiteX430" fmla="*/ 1540133 w 2048870"/>
                <a:gd name="connsiteY430" fmla="*/ 1377649 h 1413227"/>
                <a:gd name="connsiteX431" fmla="*/ 1559147 w 2048870"/>
                <a:gd name="connsiteY431" fmla="*/ 1375921 h 1413227"/>
                <a:gd name="connsiteX432" fmla="*/ 1564333 w 2048870"/>
                <a:gd name="connsiteY432" fmla="*/ 1372464 h 1413227"/>
                <a:gd name="connsiteX433" fmla="*/ 1579890 w 2048870"/>
                <a:gd name="connsiteY433" fmla="*/ 1370735 h 1413227"/>
                <a:gd name="connsiteX434" fmla="*/ 1597175 w 2048870"/>
                <a:gd name="connsiteY434" fmla="*/ 1363821 h 1413227"/>
                <a:gd name="connsiteX435" fmla="*/ 1600633 w 2048870"/>
                <a:gd name="connsiteY435" fmla="*/ 1360364 h 1413227"/>
                <a:gd name="connsiteX436" fmla="*/ 1612732 w 2048870"/>
                <a:gd name="connsiteY436" fmla="*/ 1341350 h 1413227"/>
                <a:gd name="connsiteX437" fmla="*/ 1617918 w 2048870"/>
                <a:gd name="connsiteY437" fmla="*/ 1305051 h 1413227"/>
                <a:gd name="connsiteX438" fmla="*/ 1623104 w 2048870"/>
                <a:gd name="connsiteY438" fmla="*/ 1301593 h 1413227"/>
                <a:gd name="connsiteX439" fmla="*/ 1624832 w 2048870"/>
                <a:gd name="connsiteY439" fmla="*/ 1284308 h 1413227"/>
                <a:gd name="connsiteX440" fmla="*/ 1631746 w 2048870"/>
                <a:gd name="connsiteY440" fmla="*/ 1270480 h 1413227"/>
                <a:gd name="connsiteX441" fmla="*/ 1643846 w 2048870"/>
                <a:gd name="connsiteY441" fmla="*/ 1263565 h 1413227"/>
                <a:gd name="connsiteX442" fmla="*/ 1669774 w 2048870"/>
                <a:gd name="connsiteY442" fmla="*/ 1260108 h 1413227"/>
                <a:gd name="connsiteX443" fmla="*/ 1681874 w 2048870"/>
                <a:gd name="connsiteY443" fmla="*/ 1254923 h 1413227"/>
                <a:gd name="connsiteX444" fmla="*/ 1687060 w 2048870"/>
                <a:gd name="connsiteY444" fmla="*/ 1253194 h 1413227"/>
                <a:gd name="connsiteX445" fmla="*/ 1702617 w 2048870"/>
                <a:gd name="connsiteY445" fmla="*/ 1249737 h 1413227"/>
                <a:gd name="connsiteX446" fmla="*/ 1704345 w 2048870"/>
                <a:gd name="connsiteY446" fmla="*/ 1232452 h 1413227"/>
                <a:gd name="connsiteX447" fmla="*/ 1706074 w 2048870"/>
                <a:gd name="connsiteY447" fmla="*/ 1208252 h 1413227"/>
                <a:gd name="connsiteX448" fmla="*/ 1711259 w 2048870"/>
                <a:gd name="connsiteY448" fmla="*/ 1201338 h 1413227"/>
                <a:gd name="connsiteX449" fmla="*/ 1718174 w 2048870"/>
                <a:gd name="connsiteY449" fmla="*/ 1192695 h 1413227"/>
                <a:gd name="connsiteX450" fmla="*/ 1725088 w 2048870"/>
                <a:gd name="connsiteY450" fmla="*/ 1189238 h 1413227"/>
                <a:gd name="connsiteX451" fmla="*/ 1735459 w 2048870"/>
                <a:gd name="connsiteY451" fmla="*/ 1184052 h 1413227"/>
                <a:gd name="connsiteX452" fmla="*/ 1773487 w 2048870"/>
                <a:gd name="connsiteY452" fmla="*/ 1189238 h 1413227"/>
                <a:gd name="connsiteX453" fmla="*/ 1778673 w 2048870"/>
                <a:gd name="connsiteY453" fmla="*/ 1194424 h 1413227"/>
                <a:gd name="connsiteX454" fmla="*/ 1808058 w 2048870"/>
                <a:gd name="connsiteY454" fmla="*/ 1187510 h 1413227"/>
                <a:gd name="connsiteX455" fmla="*/ 1811515 w 2048870"/>
                <a:gd name="connsiteY455" fmla="*/ 1180595 h 1413227"/>
                <a:gd name="connsiteX456" fmla="*/ 1818429 w 2048870"/>
                <a:gd name="connsiteY456" fmla="*/ 1171953 h 1413227"/>
                <a:gd name="connsiteX457" fmla="*/ 1825343 w 2048870"/>
                <a:gd name="connsiteY457" fmla="*/ 1158124 h 1413227"/>
                <a:gd name="connsiteX458" fmla="*/ 1827072 w 2048870"/>
                <a:gd name="connsiteY458" fmla="*/ 1151210 h 1413227"/>
                <a:gd name="connsiteX459" fmla="*/ 1833986 w 2048870"/>
                <a:gd name="connsiteY459" fmla="*/ 1133925 h 1413227"/>
                <a:gd name="connsiteX460" fmla="*/ 1820158 w 2048870"/>
                <a:gd name="connsiteY460" fmla="*/ 1128739 h 1413227"/>
                <a:gd name="connsiteX461" fmla="*/ 1816701 w 2048870"/>
                <a:gd name="connsiteY461" fmla="*/ 1123553 h 1413227"/>
                <a:gd name="connsiteX462" fmla="*/ 1820158 w 2048870"/>
                <a:gd name="connsiteY462" fmla="*/ 1118368 h 1413227"/>
                <a:gd name="connsiteX463" fmla="*/ 1825343 w 2048870"/>
                <a:gd name="connsiteY463" fmla="*/ 1111454 h 1413227"/>
                <a:gd name="connsiteX464" fmla="*/ 1828800 w 2048870"/>
                <a:gd name="connsiteY464" fmla="*/ 1099354 h 1413227"/>
                <a:gd name="connsiteX465" fmla="*/ 1832257 w 2048870"/>
                <a:gd name="connsiteY465" fmla="*/ 1094168 h 1413227"/>
                <a:gd name="connsiteX466" fmla="*/ 1830529 w 2048870"/>
                <a:gd name="connsiteY466" fmla="*/ 1083797 h 1413227"/>
                <a:gd name="connsiteX467" fmla="*/ 1816701 w 2048870"/>
                <a:gd name="connsiteY467" fmla="*/ 1087254 h 1413227"/>
                <a:gd name="connsiteX468" fmla="*/ 1789044 w 2048870"/>
                <a:gd name="connsiteY468" fmla="*/ 1092440 h 1413227"/>
                <a:gd name="connsiteX469" fmla="*/ 1778673 w 2048870"/>
                <a:gd name="connsiteY469" fmla="*/ 1095897 h 1413227"/>
                <a:gd name="connsiteX470" fmla="*/ 1771758 w 2048870"/>
                <a:gd name="connsiteY470" fmla="*/ 1099354 h 1413227"/>
                <a:gd name="connsiteX471" fmla="*/ 1766573 w 2048870"/>
                <a:gd name="connsiteY471" fmla="*/ 1116639 h 1413227"/>
                <a:gd name="connsiteX472" fmla="*/ 1756202 w 2048870"/>
                <a:gd name="connsiteY472" fmla="*/ 1118368 h 1413227"/>
                <a:gd name="connsiteX473" fmla="*/ 1738916 w 2048870"/>
                <a:gd name="connsiteY473" fmla="*/ 1130468 h 1413227"/>
                <a:gd name="connsiteX474" fmla="*/ 1718174 w 2048870"/>
                <a:gd name="connsiteY474" fmla="*/ 1140839 h 1413227"/>
                <a:gd name="connsiteX475" fmla="*/ 1709531 w 2048870"/>
                <a:gd name="connsiteY475" fmla="*/ 1146024 h 1413227"/>
                <a:gd name="connsiteX476" fmla="*/ 1707802 w 2048870"/>
                <a:gd name="connsiteY476" fmla="*/ 1151210 h 1413227"/>
                <a:gd name="connsiteX477" fmla="*/ 1700888 w 2048870"/>
                <a:gd name="connsiteY477" fmla="*/ 1154667 h 1413227"/>
                <a:gd name="connsiteX478" fmla="*/ 1647303 w 2048870"/>
                <a:gd name="connsiteY478" fmla="*/ 1152939 h 1413227"/>
                <a:gd name="connsiteX479" fmla="*/ 1650760 w 2048870"/>
                <a:gd name="connsiteY479" fmla="*/ 1142567 h 1413227"/>
                <a:gd name="connsiteX480" fmla="*/ 1649032 w 2048870"/>
                <a:gd name="connsiteY480" fmla="*/ 1120096 h 1413227"/>
                <a:gd name="connsiteX481" fmla="*/ 1598904 w 2048870"/>
                <a:gd name="connsiteY481" fmla="*/ 1114911 h 1413227"/>
                <a:gd name="connsiteX482" fmla="*/ 1591990 w 2048870"/>
                <a:gd name="connsiteY482" fmla="*/ 1113182 h 1413227"/>
                <a:gd name="connsiteX483" fmla="*/ 1564333 w 2048870"/>
                <a:gd name="connsiteY483" fmla="*/ 1109725 h 1413227"/>
                <a:gd name="connsiteX484" fmla="*/ 1553962 w 2048870"/>
                <a:gd name="connsiteY484" fmla="*/ 1101082 h 1413227"/>
                <a:gd name="connsiteX485" fmla="*/ 1543591 w 2048870"/>
                <a:gd name="connsiteY485" fmla="*/ 1092440 h 1413227"/>
                <a:gd name="connsiteX486" fmla="*/ 1526305 w 2048870"/>
                <a:gd name="connsiteY486" fmla="*/ 1090711 h 1413227"/>
                <a:gd name="connsiteX487" fmla="*/ 1514205 w 2048870"/>
                <a:gd name="connsiteY487" fmla="*/ 1085525 h 1413227"/>
                <a:gd name="connsiteX488" fmla="*/ 1512477 w 2048870"/>
                <a:gd name="connsiteY488" fmla="*/ 1092440 h 1413227"/>
                <a:gd name="connsiteX489" fmla="*/ 1507291 w 2048870"/>
                <a:gd name="connsiteY489" fmla="*/ 1085525 h 1413227"/>
                <a:gd name="connsiteX490" fmla="*/ 1496920 w 2048870"/>
                <a:gd name="connsiteY490" fmla="*/ 1075154 h 1413227"/>
                <a:gd name="connsiteX491" fmla="*/ 1445064 w 2048870"/>
                <a:gd name="connsiteY491" fmla="*/ 1076883 h 1413227"/>
                <a:gd name="connsiteX492" fmla="*/ 1439878 w 2048870"/>
                <a:gd name="connsiteY492" fmla="*/ 1080340 h 1413227"/>
                <a:gd name="connsiteX493" fmla="*/ 1438149 w 2048870"/>
                <a:gd name="connsiteY493" fmla="*/ 1085525 h 1413227"/>
                <a:gd name="connsiteX494" fmla="*/ 1451978 w 2048870"/>
                <a:gd name="connsiteY494" fmla="*/ 1071697 h 1413227"/>
                <a:gd name="connsiteX495" fmla="*/ 1458892 w 2048870"/>
                <a:gd name="connsiteY495" fmla="*/ 1064783 h 1413227"/>
                <a:gd name="connsiteX496" fmla="*/ 1464078 w 2048870"/>
                <a:gd name="connsiteY496" fmla="*/ 1059597 h 1413227"/>
                <a:gd name="connsiteX497" fmla="*/ 1479634 w 2048870"/>
                <a:gd name="connsiteY497" fmla="*/ 1064783 h 1413227"/>
                <a:gd name="connsiteX498" fmla="*/ 1490006 w 2048870"/>
                <a:gd name="connsiteY498" fmla="*/ 1071697 h 1413227"/>
                <a:gd name="connsiteX499" fmla="*/ 1498648 w 2048870"/>
                <a:gd name="connsiteY499" fmla="*/ 1068240 h 1413227"/>
                <a:gd name="connsiteX500" fmla="*/ 1500377 w 2048870"/>
                <a:gd name="connsiteY500" fmla="*/ 1063054 h 1413227"/>
                <a:gd name="connsiteX501" fmla="*/ 1503834 w 2048870"/>
                <a:gd name="connsiteY501" fmla="*/ 1057869 h 1413227"/>
                <a:gd name="connsiteX502" fmla="*/ 1507291 w 2048870"/>
                <a:gd name="connsiteY502" fmla="*/ 1045769 h 1413227"/>
                <a:gd name="connsiteX503" fmla="*/ 1540133 w 2048870"/>
                <a:gd name="connsiteY503" fmla="*/ 1044040 h 1413227"/>
                <a:gd name="connsiteX504" fmla="*/ 1557419 w 2048870"/>
                <a:gd name="connsiteY504" fmla="*/ 1059597 h 1413227"/>
                <a:gd name="connsiteX505" fmla="*/ 1560876 w 2048870"/>
                <a:gd name="connsiteY505" fmla="*/ 1073426 h 1413227"/>
                <a:gd name="connsiteX506" fmla="*/ 1564333 w 2048870"/>
                <a:gd name="connsiteY506" fmla="*/ 1087254 h 1413227"/>
                <a:gd name="connsiteX507" fmla="*/ 1566062 w 2048870"/>
                <a:gd name="connsiteY507" fmla="*/ 1094168 h 1413227"/>
                <a:gd name="connsiteX508" fmla="*/ 1569519 w 2048870"/>
                <a:gd name="connsiteY508" fmla="*/ 1099354 h 1413227"/>
                <a:gd name="connsiteX509" fmla="*/ 1576433 w 2048870"/>
                <a:gd name="connsiteY509" fmla="*/ 1037126 h 1413227"/>
                <a:gd name="connsiteX510" fmla="*/ 1588533 w 2048870"/>
                <a:gd name="connsiteY510" fmla="*/ 1052683 h 1413227"/>
                <a:gd name="connsiteX511" fmla="*/ 1591990 w 2048870"/>
                <a:gd name="connsiteY511" fmla="*/ 1069969 h 1413227"/>
                <a:gd name="connsiteX512" fmla="*/ 1607547 w 2048870"/>
                <a:gd name="connsiteY512" fmla="*/ 1080340 h 1413227"/>
                <a:gd name="connsiteX513" fmla="*/ 1612732 w 2048870"/>
                <a:gd name="connsiteY513" fmla="*/ 1083797 h 1413227"/>
                <a:gd name="connsiteX514" fmla="*/ 1621375 w 2048870"/>
                <a:gd name="connsiteY514" fmla="*/ 1085525 h 1413227"/>
                <a:gd name="connsiteX515" fmla="*/ 1633475 w 2048870"/>
                <a:gd name="connsiteY515" fmla="*/ 1092440 h 1413227"/>
                <a:gd name="connsiteX516" fmla="*/ 1640389 w 2048870"/>
                <a:gd name="connsiteY516" fmla="*/ 1095897 h 1413227"/>
                <a:gd name="connsiteX517" fmla="*/ 1649032 w 2048870"/>
                <a:gd name="connsiteY517" fmla="*/ 1109725 h 1413227"/>
                <a:gd name="connsiteX518" fmla="*/ 1659403 w 2048870"/>
                <a:gd name="connsiteY518" fmla="*/ 1113182 h 1413227"/>
                <a:gd name="connsiteX519" fmla="*/ 1669774 w 2048870"/>
                <a:gd name="connsiteY519" fmla="*/ 1118368 h 1413227"/>
                <a:gd name="connsiteX520" fmla="*/ 1680146 w 2048870"/>
                <a:gd name="connsiteY520" fmla="*/ 1125282 h 1413227"/>
                <a:gd name="connsiteX521" fmla="*/ 1699160 w 2048870"/>
                <a:gd name="connsiteY521" fmla="*/ 1139110 h 1413227"/>
                <a:gd name="connsiteX522" fmla="*/ 1712988 w 2048870"/>
                <a:gd name="connsiteY522" fmla="*/ 1142567 h 1413227"/>
                <a:gd name="connsiteX523" fmla="*/ 1704345 w 2048870"/>
                <a:gd name="connsiteY523" fmla="*/ 1137382 h 1413227"/>
                <a:gd name="connsiteX524" fmla="*/ 1699160 w 2048870"/>
                <a:gd name="connsiteY524" fmla="*/ 1132196 h 1413227"/>
                <a:gd name="connsiteX525" fmla="*/ 1688788 w 2048870"/>
                <a:gd name="connsiteY525" fmla="*/ 1128739 h 1413227"/>
                <a:gd name="connsiteX526" fmla="*/ 1674960 w 2048870"/>
                <a:gd name="connsiteY526" fmla="*/ 1125282 h 1413227"/>
                <a:gd name="connsiteX527" fmla="*/ 1659403 w 2048870"/>
                <a:gd name="connsiteY527" fmla="*/ 1121825 h 1413227"/>
                <a:gd name="connsiteX528" fmla="*/ 1650760 w 2048870"/>
                <a:gd name="connsiteY528" fmla="*/ 1116639 h 1413227"/>
                <a:gd name="connsiteX529" fmla="*/ 1645575 w 2048870"/>
                <a:gd name="connsiteY529" fmla="*/ 1113182 h 1413227"/>
                <a:gd name="connsiteX530" fmla="*/ 1642118 w 2048870"/>
                <a:gd name="connsiteY530" fmla="*/ 1107996 h 1413227"/>
                <a:gd name="connsiteX531" fmla="*/ 1628289 w 2048870"/>
                <a:gd name="connsiteY531" fmla="*/ 1088983 h 1413227"/>
                <a:gd name="connsiteX532" fmla="*/ 1626561 w 2048870"/>
                <a:gd name="connsiteY532" fmla="*/ 1083797 h 1413227"/>
                <a:gd name="connsiteX533" fmla="*/ 1619647 w 2048870"/>
                <a:gd name="connsiteY533" fmla="*/ 1075154 h 1413227"/>
                <a:gd name="connsiteX534" fmla="*/ 1616189 w 2048870"/>
                <a:gd name="connsiteY534" fmla="*/ 1061326 h 1413227"/>
                <a:gd name="connsiteX535" fmla="*/ 1614461 w 2048870"/>
                <a:gd name="connsiteY535" fmla="*/ 1056140 h 1413227"/>
                <a:gd name="connsiteX536" fmla="*/ 1604090 w 2048870"/>
                <a:gd name="connsiteY536" fmla="*/ 1038855 h 1413227"/>
                <a:gd name="connsiteX537" fmla="*/ 1598904 w 2048870"/>
                <a:gd name="connsiteY537" fmla="*/ 1037126 h 1413227"/>
                <a:gd name="connsiteX538" fmla="*/ 1593718 w 2048870"/>
                <a:gd name="connsiteY538" fmla="*/ 1030212 h 1413227"/>
                <a:gd name="connsiteX539" fmla="*/ 1585076 w 2048870"/>
                <a:gd name="connsiteY539" fmla="*/ 1019841 h 1413227"/>
                <a:gd name="connsiteX540" fmla="*/ 1590261 w 2048870"/>
                <a:gd name="connsiteY540" fmla="*/ 1000827 h 1413227"/>
                <a:gd name="connsiteX541" fmla="*/ 1598904 w 2048870"/>
                <a:gd name="connsiteY541" fmla="*/ 999098 h 1413227"/>
                <a:gd name="connsiteX542" fmla="*/ 1611004 w 2048870"/>
                <a:gd name="connsiteY542" fmla="*/ 990455 h 1413227"/>
                <a:gd name="connsiteX543" fmla="*/ 1617918 w 2048870"/>
                <a:gd name="connsiteY543" fmla="*/ 985270 h 1413227"/>
                <a:gd name="connsiteX544" fmla="*/ 1616189 w 2048870"/>
                <a:gd name="connsiteY544" fmla="*/ 1021569 h 1413227"/>
                <a:gd name="connsiteX545" fmla="*/ 1612732 w 2048870"/>
                <a:gd name="connsiteY545" fmla="*/ 1028483 h 1413227"/>
                <a:gd name="connsiteX546" fmla="*/ 1607547 w 2048870"/>
                <a:gd name="connsiteY546" fmla="*/ 1035398 h 1413227"/>
                <a:gd name="connsiteX547" fmla="*/ 1612732 w 2048870"/>
                <a:gd name="connsiteY547" fmla="*/ 1031941 h 1413227"/>
                <a:gd name="connsiteX548" fmla="*/ 1621375 w 2048870"/>
                <a:gd name="connsiteY548" fmla="*/ 1016384 h 1413227"/>
                <a:gd name="connsiteX549" fmla="*/ 1626561 w 2048870"/>
                <a:gd name="connsiteY549" fmla="*/ 997370 h 1413227"/>
                <a:gd name="connsiteX550" fmla="*/ 1626561 w 2048870"/>
                <a:gd name="connsiteY550" fmla="*/ 976627 h 1413227"/>
                <a:gd name="connsiteX551" fmla="*/ 1619647 w 2048870"/>
                <a:gd name="connsiteY551" fmla="*/ 962799 h 1413227"/>
                <a:gd name="connsiteX552" fmla="*/ 1626561 w 2048870"/>
                <a:gd name="connsiteY552" fmla="*/ 966256 h 1413227"/>
                <a:gd name="connsiteX553" fmla="*/ 1638661 w 2048870"/>
                <a:gd name="connsiteY553" fmla="*/ 969713 h 1413227"/>
                <a:gd name="connsiteX554" fmla="*/ 1645575 w 2048870"/>
                <a:gd name="connsiteY554" fmla="*/ 967984 h 1413227"/>
                <a:gd name="connsiteX555" fmla="*/ 1650760 w 2048870"/>
                <a:gd name="connsiteY555" fmla="*/ 955885 h 1413227"/>
                <a:gd name="connsiteX556" fmla="*/ 1659403 w 2048870"/>
                <a:gd name="connsiteY556" fmla="*/ 933414 h 1413227"/>
                <a:gd name="connsiteX557" fmla="*/ 1662860 w 2048870"/>
                <a:gd name="connsiteY557" fmla="*/ 929956 h 1413227"/>
                <a:gd name="connsiteX558" fmla="*/ 1664589 w 2048870"/>
                <a:gd name="connsiteY558" fmla="*/ 923042 h 1413227"/>
                <a:gd name="connsiteX559" fmla="*/ 1673231 w 2048870"/>
                <a:gd name="connsiteY559" fmla="*/ 893657 h 1413227"/>
                <a:gd name="connsiteX560" fmla="*/ 1687060 w 2048870"/>
                <a:gd name="connsiteY560" fmla="*/ 891928 h 1413227"/>
                <a:gd name="connsiteX561" fmla="*/ 1693974 w 2048870"/>
                <a:gd name="connsiteY561" fmla="*/ 890200 h 1413227"/>
                <a:gd name="connsiteX562" fmla="*/ 1700888 w 2048870"/>
                <a:gd name="connsiteY562" fmla="*/ 886743 h 1413227"/>
                <a:gd name="connsiteX563" fmla="*/ 1719902 w 2048870"/>
                <a:gd name="connsiteY563" fmla="*/ 878100 h 1413227"/>
                <a:gd name="connsiteX564" fmla="*/ 1726816 w 2048870"/>
                <a:gd name="connsiteY564" fmla="*/ 876372 h 1413227"/>
                <a:gd name="connsiteX565" fmla="*/ 1745830 w 2048870"/>
                <a:gd name="connsiteY565" fmla="*/ 860815 h 1413227"/>
                <a:gd name="connsiteX566" fmla="*/ 1751016 w 2048870"/>
                <a:gd name="connsiteY566" fmla="*/ 857358 h 1413227"/>
                <a:gd name="connsiteX567" fmla="*/ 1757930 w 2048870"/>
                <a:gd name="connsiteY567" fmla="*/ 855629 h 1413227"/>
                <a:gd name="connsiteX568" fmla="*/ 1764844 w 2048870"/>
                <a:gd name="connsiteY568" fmla="*/ 841801 h 1413227"/>
                <a:gd name="connsiteX569" fmla="*/ 1771758 w 2048870"/>
                <a:gd name="connsiteY569" fmla="*/ 836615 h 1413227"/>
                <a:gd name="connsiteX570" fmla="*/ 1776944 w 2048870"/>
                <a:gd name="connsiteY570" fmla="*/ 833158 h 1413227"/>
                <a:gd name="connsiteX571" fmla="*/ 1787315 w 2048870"/>
                <a:gd name="connsiteY571" fmla="*/ 831429 h 1413227"/>
                <a:gd name="connsiteX572" fmla="*/ 1795958 w 2048870"/>
                <a:gd name="connsiteY572" fmla="*/ 829701 h 1413227"/>
                <a:gd name="connsiteX573" fmla="*/ 1797687 w 2048870"/>
                <a:gd name="connsiteY573" fmla="*/ 824515 h 1413227"/>
                <a:gd name="connsiteX574" fmla="*/ 1825343 w 2048870"/>
                <a:gd name="connsiteY574" fmla="*/ 796859 h 1413227"/>
                <a:gd name="connsiteX575" fmla="*/ 1830529 w 2048870"/>
                <a:gd name="connsiteY575" fmla="*/ 776116 h 1413227"/>
                <a:gd name="connsiteX576" fmla="*/ 1835715 w 2048870"/>
                <a:gd name="connsiteY576" fmla="*/ 770930 h 1413227"/>
                <a:gd name="connsiteX577" fmla="*/ 1863371 w 2048870"/>
                <a:gd name="connsiteY577" fmla="*/ 760559 h 1413227"/>
                <a:gd name="connsiteX578" fmla="*/ 1868557 w 2048870"/>
                <a:gd name="connsiteY578" fmla="*/ 755373 h 1413227"/>
                <a:gd name="connsiteX579" fmla="*/ 1880657 w 2048870"/>
                <a:gd name="connsiteY579" fmla="*/ 753645 h 1413227"/>
                <a:gd name="connsiteX580" fmla="*/ 1889299 w 2048870"/>
                <a:gd name="connsiteY580" fmla="*/ 750188 h 1413227"/>
                <a:gd name="connsiteX581" fmla="*/ 1894485 w 2048870"/>
                <a:gd name="connsiteY581" fmla="*/ 731174 h 1413227"/>
                <a:gd name="connsiteX582" fmla="*/ 1910042 w 2048870"/>
                <a:gd name="connsiteY582" fmla="*/ 719074 h 1413227"/>
                <a:gd name="connsiteX583" fmla="*/ 1916956 w 2048870"/>
                <a:gd name="connsiteY583" fmla="*/ 710431 h 1413227"/>
                <a:gd name="connsiteX584" fmla="*/ 1908313 w 2048870"/>
                <a:gd name="connsiteY584" fmla="*/ 689689 h 1413227"/>
                <a:gd name="connsiteX585" fmla="*/ 1901399 w 2048870"/>
                <a:gd name="connsiteY585" fmla="*/ 675860 h 1413227"/>
                <a:gd name="connsiteX586" fmla="*/ 1897942 w 2048870"/>
                <a:gd name="connsiteY586" fmla="*/ 665489 h 1413227"/>
                <a:gd name="connsiteX587" fmla="*/ 1901399 w 2048870"/>
                <a:gd name="connsiteY587" fmla="*/ 651661 h 1413227"/>
                <a:gd name="connsiteX588" fmla="*/ 1897942 w 2048870"/>
                <a:gd name="connsiteY588" fmla="*/ 629190 h 1413227"/>
                <a:gd name="connsiteX589" fmla="*/ 1904856 w 2048870"/>
                <a:gd name="connsiteY589" fmla="*/ 624004 h 1413227"/>
                <a:gd name="connsiteX590" fmla="*/ 1910042 w 2048870"/>
                <a:gd name="connsiteY590" fmla="*/ 613633 h 1413227"/>
                <a:gd name="connsiteX591" fmla="*/ 1918685 w 2048870"/>
                <a:gd name="connsiteY591" fmla="*/ 608447 h 1413227"/>
                <a:gd name="connsiteX592" fmla="*/ 1925599 w 2048870"/>
                <a:gd name="connsiteY592" fmla="*/ 601533 h 1413227"/>
                <a:gd name="connsiteX593" fmla="*/ 1929056 w 2048870"/>
                <a:gd name="connsiteY593" fmla="*/ 587705 h 1413227"/>
                <a:gd name="connsiteX594" fmla="*/ 1932513 w 2048870"/>
                <a:gd name="connsiteY594" fmla="*/ 582519 h 1413227"/>
                <a:gd name="connsiteX595" fmla="*/ 1939427 w 2048870"/>
                <a:gd name="connsiteY595" fmla="*/ 565234 h 1413227"/>
                <a:gd name="connsiteX596" fmla="*/ 1963627 w 2048870"/>
                <a:gd name="connsiteY596" fmla="*/ 556591 h 1413227"/>
                <a:gd name="connsiteX597" fmla="*/ 1968812 w 2048870"/>
                <a:gd name="connsiteY597" fmla="*/ 547948 h 1413227"/>
                <a:gd name="connsiteX598" fmla="*/ 1986098 w 2048870"/>
                <a:gd name="connsiteY598" fmla="*/ 544491 h 1413227"/>
                <a:gd name="connsiteX599" fmla="*/ 2008569 w 2048870"/>
                <a:gd name="connsiteY599" fmla="*/ 539305 h 1413227"/>
                <a:gd name="connsiteX600" fmla="*/ 2017212 w 2048870"/>
                <a:gd name="connsiteY600" fmla="*/ 530663 h 1413227"/>
                <a:gd name="connsiteX601" fmla="*/ 2048326 w 2048870"/>
                <a:gd name="connsiteY601" fmla="*/ 525477 h 1413227"/>
                <a:gd name="connsiteX602" fmla="*/ 2043140 w 2048870"/>
                <a:gd name="connsiteY602" fmla="*/ 499549 h 1413227"/>
                <a:gd name="connsiteX603" fmla="*/ 2032769 w 2048870"/>
                <a:gd name="connsiteY603" fmla="*/ 492635 h 1413227"/>
                <a:gd name="connsiteX604" fmla="*/ 2025854 w 2048870"/>
                <a:gd name="connsiteY604" fmla="*/ 447693 h 1413227"/>
                <a:gd name="connsiteX605" fmla="*/ 2018940 w 2048870"/>
                <a:gd name="connsiteY605" fmla="*/ 428679 h 1413227"/>
                <a:gd name="connsiteX606" fmla="*/ 2015483 w 2048870"/>
                <a:gd name="connsiteY606" fmla="*/ 418307 h 1413227"/>
                <a:gd name="connsiteX607" fmla="*/ 2010298 w 2048870"/>
                <a:gd name="connsiteY607" fmla="*/ 411393 h 1413227"/>
                <a:gd name="connsiteX608" fmla="*/ 2003383 w 2048870"/>
                <a:gd name="connsiteY608" fmla="*/ 407936 h 1413227"/>
                <a:gd name="connsiteX609" fmla="*/ 1984369 w 2048870"/>
                <a:gd name="connsiteY609" fmla="*/ 404479 h 1413227"/>
                <a:gd name="connsiteX610" fmla="*/ 1977455 w 2048870"/>
                <a:gd name="connsiteY610" fmla="*/ 394108 h 1413227"/>
                <a:gd name="connsiteX611" fmla="*/ 1972270 w 2048870"/>
                <a:gd name="connsiteY611" fmla="*/ 390651 h 1413227"/>
                <a:gd name="connsiteX612" fmla="*/ 1968812 w 2048870"/>
                <a:gd name="connsiteY612" fmla="*/ 382008 h 1413227"/>
                <a:gd name="connsiteX613" fmla="*/ 1973998 w 2048870"/>
                <a:gd name="connsiteY613" fmla="*/ 366451 h 1413227"/>
                <a:gd name="connsiteX614" fmla="*/ 1982641 w 2048870"/>
                <a:gd name="connsiteY614" fmla="*/ 354351 h 1413227"/>
                <a:gd name="connsiteX615" fmla="*/ 1984369 w 2048870"/>
                <a:gd name="connsiteY615" fmla="*/ 347437 h 1413227"/>
                <a:gd name="connsiteX616" fmla="*/ 1994741 w 2048870"/>
                <a:gd name="connsiteY616" fmla="*/ 343980 h 1413227"/>
                <a:gd name="connsiteX617" fmla="*/ 1960170 w 2048870"/>
                <a:gd name="connsiteY617" fmla="*/ 337066 h 1413227"/>
                <a:gd name="connsiteX618" fmla="*/ 1958441 w 2048870"/>
                <a:gd name="connsiteY618" fmla="*/ 331880 h 1413227"/>
                <a:gd name="connsiteX619" fmla="*/ 1954984 w 2048870"/>
                <a:gd name="connsiteY619" fmla="*/ 326694 h 1413227"/>
                <a:gd name="connsiteX620" fmla="*/ 1958441 w 2048870"/>
                <a:gd name="connsiteY620" fmla="*/ 318052 h 1413227"/>
                <a:gd name="connsiteX621" fmla="*/ 1963627 w 2048870"/>
                <a:gd name="connsiteY621" fmla="*/ 311138 h 1413227"/>
                <a:gd name="connsiteX622" fmla="*/ 1967084 w 2048870"/>
                <a:gd name="connsiteY622" fmla="*/ 305952 h 1413227"/>
                <a:gd name="connsiteX623" fmla="*/ 1968812 w 2048870"/>
                <a:gd name="connsiteY623" fmla="*/ 299038 h 1413227"/>
                <a:gd name="connsiteX624" fmla="*/ 1973998 w 2048870"/>
                <a:gd name="connsiteY624" fmla="*/ 293852 h 1413227"/>
                <a:gd name="connsiteX625" fmla="*/ 1975727 w 2048870"/>
                <a:gd name="connsiteY625" fmla="*/ 269652 h 1413227"/>
                <a:gd name="connsiteX626" fmla="*/ 1970541 w 2048870"/>
                <a:gd name="connsiteY626" fmla="*/ 255824 h 1413227"/>
                <a:gd name="connsiteX627" fmla="*/ 1968812 w 2048870"/>
                <a:gd name="connsiteY627" fmla="*/ 250638 h 1413227"/>
                <a:gd name="connsiteX628" fmla="*/ 1967084 w 2048870"/>
                <a:gd name="connsiteY628" fmla="*/ 243724 h 1413227"/>
                <a:gd name="connsiteX629" fmla="*/ 1963627 w 2048870"/>
                <a:gd name="connsiteY629" fmla="*/ 238539 h 1413227"/>
                <a:gd name="connsiteX630" fmla="*/ 1965355 w 2048870"/>
                <a:gd name="connsiteY630" fmla="*/ 216068 h 1413227"/>
                <a:gd name="connsiteX631" fmla="*/ 1961898 w 2048870"/>
                <a:gd name="connsiteY631" fmla="*/ 209153 h 1413227"/>
                <a:gd name="connsiteX632" fmla="*/ 1954984 w 2048870"/>
                <a:gd name="connsiteY632" fmla="*/ 216068 h 1413227"/>
                <a:gd name="connsiteX633" fmla="*/ 1948070 w 2048870"/>
                <a:gd name="connsiteY633" fmla="*/ 217796 h 1413227"/>
                <a:gd name="connsiteX634" fmla="*/ 1937699 w 2048870"/>
                <a:gd name="connsiteY634" fmla="*/ 226439 h 1413227"/>
                <a:gd name="connsiteX635" fmla="*/ 1932513 w 2048870"/>
                <a:gd name="connsiteY635" fmla="*/ 228167 h 1413227"/>
                <a:gd name="connsiteX636" fmla="*/ 1922142 w 2048870"/>
                <a:gd name="connsiteY636" fmla="*/ 235082 h 1413227"/>
                <a:gd name="connsiteX637" fmla="*/ 1906585 w 2048870"/>
                <a:gd name="connsiteY637" fmla="*/ 231624 h 1413227"/>
                <a:gd name="connsiteX638" fmla="*/ 1885842 w 2048870"/>
                <a:gd name="connsiteY638" fmla="*/ 222982 h 1413227"/>
                <a:gd name="connsiteX639" fmla="*/ 1878928 w 2048870"/>
                <a:gd name="connsiteY639" fmla="*/ 224710 h 1413227"/>
                <a:gd name="connsiteX640" fmla="*/ 1868557 w 2048870"/>
                <a:gd name="connsiteY640" fmla="*/ 233353 h 1413227"/>
                <a:gd name="connsiteX641" fmla="*/ 1847814 w 2048870"/>
                <a:gd name="connsiteY641" fmla="*/ 221253 h 1413227"/>
                <a:gd name="connsiteX642" fmla="*/ 1839172 w 2048870"/>
                <a:gd name="connsiteY642" fmla="*/ 217796 h 1413227"/>
                <a:gd name="connsiteX643" fmla="*/ 1832257 w 2048870"/>
                <a:gd name="connsiteY643" fmla="*/ 214339 h 1413227"/>
                <a:gd name="connsiteX644" fmla="*/ 1823615 w 2048870"/>
                <a:gd name="connsiteY644" fmla="*/ 224710 h 1413227"/>
                <a:gd name="connsiteX645" fmla="*/ 1816701 w 2048870"/>
                <a:gd name="connsiteY645" fmla="*/ 229896 h 1413227"/>
                <a:gd name="connsiteX646" fmla="*/ 1787315 w 2048870"/>
                <a:gd name="connsiteY646" fmla="*/ 221253 h 1413227"/>
                <a:gd name="connsiteX647" fmla="*/ 1759659 w 2048870"/>
                <a:gd name="connsiteY647" fmla="*/ 222982 h 1413227"/>
                <a:gd name="connsiteX648" fmla="*/ 1754473 w 2048870"/>
                <a:gd name="connsiteY648" fmla="*/ 224710 h 1413227"/>
                <a:gd name="connsiteX649" fmla="*/ 1735459 w 2048870"/>
                <a:gd name="connsiteY649" fmla="*/ 222982 h 1413227"/>
                <a:gd name="connsiteX650" fmla="*/ 1728545 w 2048870"/>
                <a:gd name="connsiteY650" fmla="*/ 217796 h 1413227"/>
                <a:gd name="connsiteX651" fmla="*/ 1721631 w 2048870"/>
                <a:gd name="connsiteY651" fmla="*/ 207425 h 1413227"/>
                <a:gd name="connsiteX652" fmla="*/ 1712988 w 2048870"/>
                <a:gd name="connsiteY652" fmla="*/ 235082 h 1413227"/>
                <a:gd name="connsiteX653" fmla="*/ 1706074 w 2048870"/>
                <a:gd name="connsiteY653" fmla="*/ 250638 h 1413227"/>
                <a:gd name="connsiteX654" fmla="*/ 1692245 w 2048870"/>
                <a:gd name="connsiteY654" fmla="*/ 236810 h 1413227"/>
                <a:gd name="connsiteX655" fmla="*/ 1645575 w 2048870"/>
                <a:gd name="connsiteY655" fmla="*/ 224710 h 1413227"/>
                <a:gd name="connsiteX656" fmla="*/ 1640389 w 2048870"/>
                <a:gd name="connsiteY656" fmla="*/ 217796 h 1413227"/>
                <a:gd name="connsiteX657" fmla="*/ 1638661 w 2048870"/>
                <a:gd name="connsiteY657" fmla="*/ 212610 h 1413227"/>
                <a:gd name="connsiteX658" fmla="*/ 1623104 w 2048870"/>
                <a:gd name="connsiteY658" fmla="*/ 195325 h 1413227"/>
                <a:gd name="connsiteX659" fmla="*/ 1609275 w 2048870"/>
                <a:gd name="connsiteY659" fmla="*/ 191868 h 1413227"/>
                <a:gd name="connsiteX660" fmla="*/ 1600633 w 2048870"/>
                <a:gd name="connsiteY660" fmla="*/ 200511 h 1413227"/>
                <a:gd name="connsiteX661" fmla="*/ 1595447 w 2048870"/>
                <a:gd name="connsiteY661" fmla="*/ 202239 h 1413227"/>
                <a:gd name="connsiteX662" fmla="*/ 1574704 w 2048870"/>
                <a:gd name="connsiteY662" fmla="*/ 209153 h 1413227"/>
                <a:gd name="connsiteX663" fmla="*/ 1569519 w 2048870"/>
                <a:gd name="connsiteY663" fmla="*/ 214339 h 1413227"/>
                <a:gd name="connsiteX664" fmla="*/ 1564333 w 2048870"/>
                <a:gd name="connsiteY664" fmla="*/ 217796 h 1413227"/>
                <a:gd name="connsiteX665" fmla="*/ 1560876 w 2048870"/>
                <a:gd name="connsiteY665" fmla="*/ 224710 h 1413227"/>
                <a:gd name="connsiteX666" fmla="*/ 1543591 w 2048870"/>
                <a:gd name="connsiteY666" fmla="*/ 238539 h 1413227"/>
                <a:gd name="connsiteX667" fmla="*/ 1536676 w 2048870"/>
                <a:gd name="connsiteY667" fmla="*/ 245453 h 1413227"/>
                <a:gd name="connsiteX668" fmla="*/ 1534948 w 2048870"/>
                <a:gd name="connsiteY668" fmla="*/ 250638 h 1413227"/>
                <a:gd name="connsiteX669" fmla="*/ 1536676 w 2048870"/>
                <a:gd name="connsiteY669" fmla="*/ 255824 h 1413227"/>
                <a:gd name="connsiteX670" fmla="*/ 1510748 w 2048870"/>
                <a:gd name="connsiteY670" fmla="*/ 259281 h 1413227"/>
                <a:gd name="connsiteX671" fmla="*/ 1500377 w 2048870"/>
                <a:gd name="connsiteY671" fmla="*/ 252367 h 1413227"/>
                <a:gd name="connsiteX672" fmla="*/ 1472720 w 2048870"/>
                <a:gd name="connsiteY672" fmla="*/ 252367 h 1413227"/>
                <a:gd name="connsiteX673" fmla="*/ 1455435 w 2048870"/>
                <a:gd name="connsiteY673" fmla="*/ 254096 h 1413227"/>
                <a:gd name="connsiteX674" fmla="*/ 1446792 w 2048870"/>
                <a:gd name="connsiteY674" fmla="*/ 261010 h 1413227"/>
                <a:gd name="connsiteX675" fmla="*/ 1441606 w 2048870"/>
                <a:gd name="connsiteY675" fmla="*/ 267924 h 1413227"/>
                <a:gd name="connsiteX676" fmla="*/ 1438149 w 2048870"/>
                <a:gd name="connsiteY676" fmla="*/ 273110 h 1413227"/>
                <a:gd name="connsiteX677" fmla="*/ 1432964 w 2048870"/>
                <a:gd name="connsiteY677" fmla="*/ 274838 h 1413227"/>
                <a:gd name="connsiteX678" fmla="*/ 1419135 w 2048870"/>
                <a:gd name="connsiteY678" fmla="*/ 281752 h 1413227"/>
                <a:gd name="connsiteX679" fmla="*/ 1412221 w 2048870"/>
                <a:gd name="connsiteY679" fmla="*/ 278295 h 1413227"/>
                <a:gd name="connsiteX680" fmla="*/ 1408764 w 2048870"/>
                <a:gd name="connsiteY680" fmla="*/ 273110 h 1413227"/>
                <a:gd name="connsiteX681" fmla="*/ 1400121 w 2048870"/>
                <a:gd name="connsiteY681" fmla="*/ 257553 h 1413227"/>
                <a:gd name="connsiteX682" fmla="*/ 1394936 w 2048870"/>
                <a:gd name="connsiteY682" fmla="*/ 254096 h 1413227"/>
                <a:gd name="connsiteX683" fmla="*/ 1386293 w 2048870"/>
                <a:gd name="connsiteY683" fmla="*/ 243724 h 1413227"/>
                <a:gd name="connsiteX684" fmla="*/ 1381107 w 2048870"/>
                <a:gd name="connsiteY684" fmla="*/ 212610 h 1413227"/>
                <a:gd name="connsiteX685" fmla="*/ 1370736 w 2048870"/>
                <a:gd name="connsiteY685" fmla="*/ 202239 h 1413227"/>
                <a:gd name="connsiteX686" fmla="*/ 1363822 w 2048870"/>
                <a:gd name="connsiteY686" fmla="*/ 200511 h 1413227"/>
                <a:gd name="connsiteX687" fmla="*/ 1358636 w 2048870"/>
                <a:gd name="connsiteY687" fmla="*/ 193596 h 1413227"/>
                <a:gd name="connsiteX688" fmla="*/ 1349994 w 2048870"/>
                <a:gd name="connsiteY688" fmla="*/ 178040 h 1413227"/>
                <a:gd name="connsiteX689" fmla="*/ 1337894 w 2048870"/>
                <a:gd name="connsiteY689" fmla="*/ 167668 h 1413227"/>
                <a:gd name="connsiteX690" fmla="*/ 1298137 w 2048870"/>
                <a:gd name="connsiteY690" fmla="*/ 169397 h 1413227"/>
                <a:gd name="connsiteX691" fmla="*/ 1284309 w 2048870"/>
                <a:gd name="connsiteY691" fmla="*/ 179768 h 1413227"/>
                <a:gd name="connsiteX692" fmla="*/ 1268752 w 2048870"/>
                <a:gd name="connsiteY692" fmla="*/ 181497 h 1413227"/>
                <a:gd name="connsiteX693" fmla="*/ 1251467 w 2048870"/>
                <a:gd name="connsiteY693" fmla="*/ 174583 h 1413227"/>
                <a:gd name="connsiteX694" fmla="*/ 1241095 w 2048870"/>
                <a:gd name="connsiteY694" fmla="*/ 164211 h 1413227"/>
                <a:gd name="connsiteX695" fmla="*/ 1230724 w 2048870"/>
                <a:gd name="connsiteY695" fmla="*/ 160754 h 1413227"/>
                <a:gd name="connsiteX696" fmla="*/ 1215167 w 2048870"/>
                <a:gd name="connsiteY696" fmla="*/ 146926 h 1413227"/>
                <a:gd name="connsiteX697" fmla="*/ 1213439 w 2048870"/>
                <a:gd name="connsiteY697" fmla="*/ 140012 h 1413227"/>
                <a:gd name="connsiteX698" fmla="*/ 1206524 w 2048870"/>
                <a:gd name="connsiteY698" fmla="*/ 131369 h 1413227"/>
                <a:gd name="connsiteX699" fmla="*/ 1204796 w 2048870"/>
                <a:gd name="connsiteY699" fmla="*/ 122726 h 1413227"/>
                <a:gd name="connsiteX700" fmla="*/ 1190968 w 2048870"/>
                <a:gd name="connsiteY700" fmla="*/ 117541 h 1413227"/>
                <a:gd name="connsiteX701" fmla="*/ 1201339 w 2048870"/>
                <a:gd name="connsiteY701" fmla="*/ 105441 h 1413227"/>
                <a:gd name="connsiteX702" fmla="*/ 1208253 w 2048870"/>
                <a:gd name="connsiteY702" fmla="*/ 101984 h 1413227"/>
                <a:gd name="connsiteX703" fmla="*/ 1213439 w 2048870"/>
                <a:gd name="connsiteY703" fmla="*/ 95069 h 1413227"/>
                <a:gd name="connsiteX704" fmla="*/ 1218624 w 2048870"/>
                <a:gd name="connsiteY704" fmla="*/ 89884 h 1413227"/>
                <a:gd name="connsiteX705" fmla="*/ 1216896 w 2048870"/>
                <a:gd name="connsiteY705" fmla="*/ 84698 h 1413227"/>
                <a:gd name="connsiteX706" fmla="*/ 1206524 w 2048870"/>
                <a:gd name="connsiteY706" fmla="*/ 81241 h 1413227"/>
                <a:gd name="connsiteX707" fmla="*/ 1190968 w 2048870"/>
                <a:gd name="connsiteY707" fmla="*/ 76055 h 1413227"/>
                <a:gd name="connsiteX708" fmla="*/ 1175411 w 2048870"/>
                <a:gd name="connsiteY708" fmla="*/ 60499 h 1413227"/>
                <a:gd name="connsiteX709" fmla="*/ 1168496 w 2048870"/>
                <a:gd name="connsiteY709" fmla="*/ 53584 h 1413227"/>
                <a:gd name="connsiteX710" fmla="*/ 1165039 w 2048870"/>
                <a:gd name="connsiteY710" fmla="*/ 46670 h 1413227"/>
                <a:gd name="connsiteX711" fmla="*/ 1159854 w 2048870"/>
                <a:gd name="connsiteY711" fmla="*/ 39756 h 1413227"/>
                <a:gd name="connsiteX712" fmla="*/ 1151211 w 2048870"/>
                <a:gd name="connsiteY712" fmla="*/ 27656 h 1413227"/>
                <a:gd name="connsiteX713" fmla="*/ 1146025 w 2048870"/>
                <a:gd name="connsiteY713" fmla="*/ 24199 h 1413227"/>
                <a:gd name="connsiteX714" fmla="*/ 1140840 w 2048870"/>
                <a:gd name="connsiteY714" fmla="*/ 17285 h 1413227"/>
                <a:gd name="connsiteX715" fmla="*/ 1123554 w 2048870"/>
                <a:gd name="connsiteY715" fmla="*/ 3457 h 1413227"/>
                <a:gd name="connsiteX716" fmla="*/ 1116640 w 2048870"/>
                <a:gd name="connsiteY716" fmla="*/ 0 h 1413227"/>
                <a:gd name="connsiteX717" fmla="*/ 1102812 w 2048870"/>
                <a:gd name="connsiteY717" fmla="*/ 1728 h 1413227"/>
                <a:gd name="connsiteX718" fmla="*/ 1097626 w 2048870"/>
                <a:gd name="connsiteY718" fmla="*/ 3457 h 1413227"/>
                <a:gd name="connsiteX719" fmla="*/ 1090712 w 2048870"/>
                <a:gd name="connsiteY719" fmla="*/ 5185 h 1413227"/>
                <a:gd name="connsiteX720" fmla="*/ 1071698 w 2048870"/>
                <a:gd name="connsiteY720" fmla="*/ 17285 h 1413227"/>
                <a:gd name="connsiteX721" fmla="*/ 1056141 w 2048870"/>
                <a:gd name="connsiteY721" fmla="*/ 15556 h 1413227"/>
                <a:gd name="connsiteX722" fmla="*/ 1050955 w 2048870"/>
                <a:gd name="connsiteY722" fmla="*/ 19014 h 1413227"/>
                <a:gd name="connsiteX723" fmla="*/ 1042313 w 2048870"/>
                <a:gd name="connsiteY723" fmla="*/ 27656 h 1413227"/>
                <a:gd name="connsiteX724" fmla="*/ 1028484 w 2048870"/>
                <a:gd name="connsiteY724" fmla="*/ 38027 h 1413227"/>
                <a:gd name="connsiteX725" fmla="*/ 1025027 w 2048870"/>
                <a:gd name="connsiteY725" fmla="*/ 41485 h 1413227"/>
                <a:gd name="connsiteX726" fmla="*/ 1016385 w 2048870"/>
                <a:gd name="connsiteY726" fmla="*/ 46670 h 1413227"/>
                <a:gd name="connsiteX727" fmla="*/ 1012927 w 2048870"/>
                <a:gd name="connsiteY727" fmla="*/ 50127 h 1413227"/>
                <a:gd name="connsiteX728" fmla="*/ 997371 w 2048870"/>
                <a:gd name="connsiteY728" fmla="*/ 57041 h 1413227"/>
                <a:gd name="connsiteX729" fmla="*/ 973171 w 2048870"/>
                <a:gd name="connsiteY729" fmla="*/ 58770 h 1413227"/>
                <a:gd name="connsiteX730" fmla="*/ 967985 w 2048870"/>
                <a:gd name="connsiteY730" fmla="*/ 62227 h 1413227"/>
                <a:gd name="connsiteX731" fmla="*/ 966257 w 2048870"/>
                <a:gd name="connsiteY731" fmla="*/ 79513 h 1413227"/>
                <a:gd name="connsiteX732" fmla="*/ 962800 w 2048870"/>
                <a:gd name="connsiteY732" fmla="*/ 103712 h 1413227"/>
                <a:gd name="connsiteX733" fmla="*/ 961071 w 2048870"/>
                <a:gd name="connsiteY733" fmla="*/ 112355 h 1413227"/>
                <a:gd name="connsiteX734" fmla="*/ 916129 w 2048870"/>
                <a:gd name="connsiteY734" fmla="*/ 115812 h 1413227"/>
                <a:gd name="connsiteX735" fmla="*/ 910943 w 2048870"/>
                <a:gd name="connsiteY735" fmla="*/ 119269 h 1413227"/>
                <a:gd name="connsiteX736" fmla="*/ 905758 w 2048870"/>
                <a:gd name="connsiteY736" fmla="*/ 120998 h 1413227"/>
                <a:gd name="connsiteX737" fmla="*/ 893658 w 2048870"/>
                <a:gd name="connsiteY737" fmla="*/ 124455 h 1413227"/>
                <a:gd name="connsiteX738" fmla="*/ 888472 w 2048870"/>
                <a:gd name="connsiteY738" fmla="*/ 126183 h 1413227"/>
                <a:gd name="connsiteX739" fmla="*/ 895386 w 2048870"/>
                <a:gd name="connsiteY739" fmla="*/ 124455 h 1413227"/>
                <a:gd name="connsiteX740" fmla="*/ 904029 w 2048870"/>
                <a:gd name="connsiteY740" fmla="*/ 115812 h 1413227"/>
                <a:gd name="connsiteX741" fmla="*/ 966257 w 2048870"/>
                <a:gd name="connsiteY741" fmla="*/ 63956 h 1413227"/>
                <a:gd name="connsiteX0" fmla="*/ 966257 w 2048870"/>
                <a:gd name="connsiteY0" fmla="*/ 63956 h 1413227"/>
                <a:gd name="connsiteX1" fmla="*/ 962800 w 2048870"/>
                <a:gd name="connsiteY1" fmla="*/ 72598 h 1413227"/>
                <a:gd name="connsiteX2" fmla="*/ 919586 w 2048870"/>
                <a:gd name="connsiteY2" fmla="*/ 114083 h 1413227"/>
                <a:gd name="connsiteX3" fmla="*/ 902301 w 2048870"/>
                <a:gd name="connsiteY3" fmla="*/ 120998 h 1413227"/>
                <a:gd name="connsiteX4" fmla="*/ 885015 w 2048870"/>
                <a:gd name="connsiteY4" fmla="*/ 122726 h 1413227"/>
                <a:gd name="connsiteX5" fmla="*/ 878101 w 2048870"/>
                <a:gd name="connsiteY5" fmla="*/ 129640 h 1413227"/>
                <a:gd name="connsiteX6" fmla="*/ 855630 w 2048870"/>
                <a:gd name="connsiteY6" fmla="*/ 140012 h 1413227"/>
                <a:gd name="connsiteX7" fmla="*/ 850444 w 2048870"/>
                <a:gd name="connsiteY7" fmla="*/ 145197 h 1413227"/>
                <a:gd name="connsiteX8" fmla="*/ 831430 w 2048870"/>
                <a:gd name="connsiteY8" fmla="*/ 146926 h 1413227"/>
                <a:gd name="connsiteX9" fmla="*/ 808923 w 2048870"/>
                <a:gd name="connsiteY9" fmla="*/ 195183 h 1413227"/>
                <a:gd name="connsiteX10" fmla="*/ 817602 w 2048870"/>
                <a:gd name="connsiteY10" fmla="*/ 247181 h 1413227"/>
                <a:gd name="connsiteX11" fmla="*/ 821059 w 2048870"/>
                <a:gd name="connsiteY11" fmla="*/ 255824 h 1413227"/>
                <a:gd name="connsiteX12" fmla="*/ 826245 w 2048870"/>
                <a:gd name="connsiteY12" fmla="*/ 259281 h 1413227"/>
                <a:gd name="connsiteX13" fmla="*/ 833159 w 2048870"/>
                <a:gd name="connsiteY13" fmla="*/ 267924 h 1413227"/>
                <a:gd name="connsiteX14" fmla="*/ 836616 w 2048870"/>
                <a:gd name="connsiteY14" fmla="*/ 280024 h 1413227"/>
                <a:gd name="connsiteX15" fmla="*/ 834887 w 2048870"/>
                <a:gd name="connsiteY15" fmla="*/ 295581 h 1413227"/>
                <a:gd name="connsiteX16" fmla="*/ 821059 w 2048870"/>
                <a:gd name="connsiteY16" fmla="*/ 299038 h 1413227"/>
                <a:gd name="connsiteX17" fmla="*/ 800316 w 2048870"/>
                <a:gd name="connsiteY17" fmla="*/ 295581 h 1413227"/>
                <a:gd name="connsiteX18" fmla="*/ 786488 w 2048870"/>
                <a:gd name="connsiteY18" fmla="*/ 286938 h 1413227"/>
                <a:gd name="connsiteX19" fmla="*/ 781302 w 2048870"/>
                <a:gd name="connsiteY19" fmla="*/ 285209 h 1413227"/>
                <a:gd name="connsiteX20" fmla="*/ 774388 w 2048870"/>
                <a:gd name="connsiteY20" fmla="*/ 278295 h 1413227"/>
                <a:gd name="connsiteX21" fmla="*/ 767474 w 2048870"/>
                <a:gd name="connsiteY21" fmla="*/ 285209 h 1413227"/>
                <a:gd name="connsiteX22" fmla="*/ 758831 w 2048870"/>
                <a:gd name="connsiteY22" fmla="*/ 286938 h 1413227"/>
                <a:gd name="connsiteX23" fmla="*/ 751917 w 2048870"/>
                <a:gd name="connsiteY23" fmla="*/ 288666 h 1413227"/>
                <a:gd name="connsiteX24" fmla="*/ 746732 w 2048870"/>
                <a:gd name="connsiteY24" fmla="*/ 290395 h 1413227"/>
                <a:gd name="connsiteX25" fmla="*/ 722532 w 2048870"/>
                <a:gd name="connsiteY25" fmla="*/ 292124 h 1413227"/>
                <a:gd name="connsiteX26" fmla="*/ 720803 w 2048870"/>
                <a:gd name="connsiteY26" fmla="*/ 297309 h 1413227"/>
                <a:gd name="connsiteX27" fmla="*/ 701789 w 2048870"/>
                <a:gd name="connsiteY27" fmla="*/ 312866 h 1413227"/>
                <a:gd name="connsiteX28" fmla="*/ 686233 w 2048870"/>
                <a:gd name="connsiteY28" fmla="*/ 305952 h 1413227"/>
                <a:gd name="connsiteX29" fmla="*/ 684504 w 2048870"/>
                <a:gd name="connsiteY29" fmla="*/ 300766 h 1413227"/>
                <a:gd name="connsiteX30" fmla="*/ 681047 w 2048870"/>
                <a:gd name="connsiteY30" fmla="*/ 285209 h 1413227"/>
                <a:gd name="connsiteX31" fmla="*/ 649933 w 2048870"/>
                <a:gd name="connsiteY31" fmla="*/ 288666 h 1413227"/>
                <a:gd name="connsiteX32" fmla="*/ 646476 w 2048870"/>
                <a:gd name="connsiteY32" fmla="*/ 299038 h 1413227"/>
                <a:gd name="connsiteX33" fmla="*/ 639562 w 2048870"/>
                <a:gd name="connsiteY33" fmla="*/ 314595 h 1413227"/>
                <a:gd name="connsiteX34" fmla="*/ 634376 w 2048870"/>
                <a:gd name="connsiteY34" fmla="*/ 326694 h 1413227"/>
                <a:gd name="connsiteX35" fmla="*/ 629191 w 2048870"/>
                <a:gd name="connsiteY35" fmla="*/ 328423 h 1413227"/>
                <a:gd name="connsiteX36" fmla="*/ 613634 w 2048870"/>
                <a:gd name="connsiteY36" fmla="*/ 323237 h 1413227"/>
                <a:gd name="connsiteX37" fmla="*/ 601534 w 2048870"/>
                <a:gd name="connsiteY37" fmla="*/ 311138 h 1413227"/>
                <a:gd name="connsiteX38" fmla="*/ 572149 w 2048870"/>
                <a:gd name="connsiteY38" fmla="*/ 309409 h 1413227"/>
                <a:gd name="connsiteX39" fmla="*/ 566963 w 2048870"/>
                <a:gd name="connsiteY39" fmla="*/ 295581 h 1413227"/>
                <a:gd name="connsiteX40" fmla="*/ 563506 w 2048870"/>
                <a:gd name="connsiteY40" fmla="*/ 300766 h 1413227"/>
                <a:gd name="connsiteX41" fmla="*/ 558320 w 2048870"/>
                <a:gd name="connsiteY41" fmla="*/ 307680 h 1413227"/>
                <a:gd name="connsiteX42" fmla="*/ 549678 w 2048870"/>
                <a:gd name="connsiteY42" fmla="*/ 321509 h 1413227"/>
                <a:gd name="connsiteX43" fmla="*/ 509921 w 2048870"/>
                <a:gd name="connsiteY43" fmla="*/ 324966 h 1413227"/>
                <a:gd name="connsiteX44" fmla="*/ 515107 w 2048870"/>
                <a:gd name="connsiteY44" fmla="*/ 328423 h 1413227"/>
                <a:gd name="connsiteX45" fmla="*/ 525478 w 2048870"/>
                <a:gd name="connsiteY45" fmla="*/ 331880 h 1413227"/>
                <a:gd name="connsiteX46" fmla="*/ 523749 w 2048870"/>
                <a:gd name="connsiteY46" fmla="*/ 337066 h 1413227"/>
                <a:gd name="connsiteX47" fmla="*/ 516835 w 2048870"/>
                <a:gd name="connsiteY47" fmla="*/ 343980 h 1413227"/>
                <a:gd name="connsiteX48" fmla="*/ 511650 w 2048870"/>
                <a:gd name="connsiteY48" fmla="*/ 323237 h 1413227"/>
                <a:gd name="connsiteX49" fmla="*/ 483993 w 2048870"/>
                <a:gd name="connsiteY49" fmla="*/ 333609 h 1413227"/>
                <a:gd name="connsiteX50" fmla="*/ 478807 w 2048870"/>
                <a:gd name="connsiteY50" fmla="*/ 338794 h 1413227"/>
                <a:gd name="connsiteX51" fmla="*/ 466707 w 2048870"/>
                <a:gd name="connsiteY51" fmla="*/ 337066 h 1413227"/>
                <a:gd name="connsiteX52" fmla="*/ 463250 w 2048870"/>
                <a:gd name="connsiteY52" fmla="*/ 324966 h 1413227"/>
                <a:gd name="connsiteX53" fmla="*/ 454608 w 2048870"/>
                <a:gd name="connsiteY53" fmla="*/ 312866 h 1413227"/>
                <a:gd name="connsiteX54" fmla="*/ 449422 w 2048870"/>
                <a:gd name="connsiteY54" fmla="*/ 311138 h 1413227"/>
                <a:gd name="connsiteX55" fmla="*/ 425222 w 2048870"/>
                <a:gd name="connsiteY55" fmla="*/ 314595 h 1413227"/>
                <a:gd name="connsiteX56" fmla="*/ 273110 w 2048870"/>
                <a:gd name="connsiteY56" fmla="*/ 316323 h 1413227"/>
                <a:gd name="connsiteX57" fmla="*/ 262739 w 2048870"/>
                <a:gd name="connsiteY57" fmla="*/ 323237 h 1413227"/>
                <a:gd name="connsiteX58" fmla="*/ 255825 w 2048870"/>
                <a:gd name="connsiteY58" fmla="*/ 324966 h 1413227"/>
                <a:gd name="connsiteX59" fmla="*/ 250639 w 2048870"/>
                <a:gd name="connsiteY59" fmla="*/ 326694 h 1413227"/>
                <a:gd name="connsiteX60" fmla="*/ 238540 w 2048870"/>
                <a:gd name="connsiteY60" fmla="*/ 330152 h 1413227"/>
                <a:gd name="connsiteX61" fmla="*/ 200512 w 2048870"/>
                <a:gd name="connsiteY61" fmla="*/ 333609 h 1413227"/>
                <a:gd name="connsiteX62" fmla="*/ 188412 w 2048870"/>
                <a:gd name="connsiteY62" fmla="*/ 338794 h 1413227"/>
                <a:gd name="connsiteX63" fmla="*/ 176312 w 2048870"/>
                <a:gd name="connsiteY63" fmla="*/ 342251 h 1413227"/>
                <a:gd name="connsiteX64" fmla="*/ 146927 w 2048870"/>
                <a:gd name="connsiteY64" fmla="*/ 356080 h 1413227"/>
                <a:gd name="connsiteX65" fmla="*/ 138284 w 2048870"/>
                <a:gd name="connsiteY65" fmla="*/ 357808 h 1413227"/>
                <a:gd name="connsiteX66" fmla="*/ 136555 w 2048870"/>
                <a:gd name="connsiteY66" fmla="*/ 364722 h 1413227"/>
                <a:gd name="connsiteX67" fmla="*/ 134827 w 2048870"/>
                <a:gd name="connsiteY67" fmla="*/ 380279 h 1413227"/>
                <a:gd name="connsiteX68" fmla="*/ 127913 w 2048870"/>
                <a:gd name="connsiteY68" fmla="*/ 387193 h 1413227"/>
                <a:gd name="connsiteX69" fmla="*/ 126184 w 2048870"/>
                <a:gd name="connsiteY69" fmla="*/ 394108 h 1413227"/>
                <a:gd name="connsiteX70" fmla="*/ 124456 w 2048870"/>
                <a:gd name="connsiteY70" fmla="*/ 402750 h 1413227"/>
                <a:gd name="connsiteX71" fmla="*/ 117541 w 2048870"/>
                <a:gd name="connsiteY71" fmla="*/ 407936 h 1413227"/>
                <a:gd name="connsiteX72" fmla="*/ 105442 w 2048870"/>
                <a:gd name="connsiteY72" fmla="*/ 411393 h 1413227"/>
                <a:gd name="connsiteX73" fmla="*/ 100256 w 2048870"/>
                <a:gd name="connsiteY73" fmla="*/ 413122 h 1413227"/>
                <a:gd name="connsiteX74" fmla="*/ 70871 w 2048870"/>
                <a:gd name="connsiteY74" fmla="*/ 421764 h 1413227"/>
                <a:gd name="connsiteX75" fmla="*/ 67414 w 2048870"/>
                <a:gd name="connsiteY75" fmla="*/ 428679 h 1413227"/>
                <a:gd name="connsiteX76" fmla="*/ 69142 w 2048870"/>
                <a:gd name="connsiteY76" fmla="*/ 440778 h 1413227"/>
                <a:gd name="connsiteX77" fmla="*/ 65685 w 2048870"/>
                <a:gd name="connsiteY77" fmla="*/ 445964 h 1413227"/>
                <a:gd name="connsiteX78" fmla="*/ 63957 w 2048870"/>
                <a:gd name="connsiteY78" fmla="*/ 452878 h 1413227"/>
                <a:gd name="connsiteX79" fmla="*/ 69142 w 2048870"/>
                <a:gd name="connsiteY79" fmla="*/ 456335 h 1413227"/>
                <a:gd name="connsiteX80" fmla="*/ 74328 w 2048870"/>
                <a:gd name="connsiteY80" fmla="*/ 458064 h 1413227"/>
                <a:gd name="connsiteX81" fmla="*/ 84699 w 2048870"/>
                <a:gd name="connsiteY81" fmla="*/ 466707 h 1413227"/>
                <a:gd name="connsiteX82" fmla="*/ 81242 w 2048870"/>
                <a:gd name="connsiteY82" fmla="*/ 473621 h 1413227"/>
                <a:gd name="connsiteX83" fmla="*/ 77785 w 2048870"/>
                <a:gd name="connsiteY83" fmla="*/ 478806 h 1413227"/>
                <a:gd name="connsiteX84" fmla="*/ 79513 w 2048870"/>
                <a:gd name="connsiteY84" fmla="*/ 485721 h 1413227"/>
                <a:gd name="connsiteX85" fmla="*/ 72599 w 2048870"/>
                <a:gd name="connsiteY85" fmla="*/ 489178 h 1413227"/>
                <a:gd name="connsiteX86" fmla="*/ 63957 w 2048870"/>
                <a:gd name="connsiteY86" fmla="*/ 487449 h 1413227"/>
                <a:gd name="connsiteX87" fmla="*/ 76056 w 2048870"/>
                <a:gd name="connsiteY87" fmla="*/ 485721 h 1413227"/>
                <a:gd name="connsiteX88" fmla="*/ 86428 w 2048870"/>
                <a:gd name="connsiteY88" fmla="*/ 483992 h 1413227"/>
                <a:gd name="connsiteX89" fmla="*/ 84699 w 2048870"/>
                <a:gd name="connsiteY89" fmla="*/ 494363 h 1413227"/>
                <a:gd name="connsiteX90" fmla="*/ 86428 w 2048870"/>
                <a:gd name="connsiteY90" fmla="*/ 501277 h 1413227"/>
                <a:gd name="connsiteX91" fmla="*/ 96799 w 2048870"/>
                <a:gd name="connsiteY91" fmla="*/ 515106 h 1413227"/>
                <a:gd name="connsiteX92" fmla="*/ 101985 w 2048870"/>
                <a:gd name="connsiteY92" fmla="*/ 516834 h 1413227"/>
                <a:gd name="connsiteX93" fmla="*/ 114084 w 2048870"/>
                <a:gd name="connsiteY93" fmla="*/ 520291 h 1413227"/>
                <a:gd name="connsiteX94" fmla="*/ 119270 w 2048870"/>
                <a:gd name="connsiteY94" fmla="*/ 525477 h 1413227"/>
                <a:gd name="connsiteX95" fmla="*/ 133098 w 2048870"/>
                <a:gd name="connsiteY95" fmla="*/ 535848 h 1413227"/>
                <a:gd name="connsiteX96" fmla="*/ 136555 w 2048870"/>
                <a:gd name="connsiteY96" fmla="*/ 542762 h 1413227"/>
                <a:gd name="connsiteX97" fmla="*/ 134827 w 2048870"/>
                <a:gd name="connsiteY97" fmla="*/ 572148 h 1413227"/>
                <a:gd name="connsiteX98" fmla="*/ 140012 w 2048870"/>
                <a:gd name="connsiteY98" fmla="*/ 573876 h 1413227"/>
                <a:gd name="connsiteX99" fmla="*/ 143470 w 2048870"/>
                <a:gd name="connsiteY99" fmla="*/ 577333 h 1413227"/>
                <a:gd name="connsiteX100" fmla="*/ 146927 w 2048870"/>
                <a:gd name="connsiteY100" fmla="*/ 589433 h 1413227"/>
                <a:gd name="connsiteX101" fmla="*/ 150384 w 2048870"/>
                <a:gd name="connsiteY101" fmla="*/ 598076 h 1413227"/>
                <a:gd name="connsiteX102" fmla="*/ 148655 w 2048870"/>
                <a:gd name="connsiteY102" fmla="*/ 617090 h 1413227"/>
                <a:gd name="connsiteX103" fmla="*/ 146927 w 2048870"/>
                <a:gd name="connsiteY103" fmla="*/ 622276 h 1413227"/>
                <a:gd name="connsiteX104" fmla="*/ 141741 w 2048870"/>
                <a:gd name="connsiteY104" fmla="*/ 627461 h 1413227"/>
                <a:gd name="connsiteX105" fmla="*/ 136555 w 2048870"/>
                <a:gd name="connsiteY105" fmla="*/ 634375 h 1413227"/>
                <a:gd name="connsiteX106" fmla="*/ 120999 w 2048870"/>
                <a:gd name="connsiteY106" fmla="*/ 639561 h 1413227"/>
                <a:gd name="connsiteX107" fmla="*/ 95070 w 2048870"/>
                <a:gd name="connsiteY107" fmla="*/ 665489 h 1413227"/>
                <a:gd name="connsiteX108" fmla="*/ 89885 w 2048870"/>
                <a:gd name="connsiteY108" fmla="*/ 670675 h 1413227"/>
                <a:gd name="connsiteX109" fmla="*/ 86428 w 2048870"/>
                <a:gd name="connsiteY109" fmla="*/ 675860 h 1413227"/>
                <a:gd name="connsiteX110" fmla="*/ 81242 w 2048870"/>
                <a:gd name="connsiteY110" fmla="*/ 677589 h 1413227"/>
                <a:gd name="connsiteX111" fmla="*/ 77785 w 2048870"/>
                <a:gd name="connsiteY111" fmla="*/ 682775 h 1413227"/>
                <a:gd name="connsiteX112" fmla="*/ 63957 w 2048870"/>
                <a:gd name="connsiteY112" fmla="*/ 689689 h 1413227"/>
                <a:gd name="connsiteX113" fmla="*/ 60499 w 2048870"/>
                <a:gd name="connsiteY113" fmla="*/ 706974 h 1413227"/>
                <a:gd name="connsiteX114" fmla="*/ 50128 w 2048870"/>
                <a:gd name="connsiteY114" fmla="*/ 720803 h 1413227"/>
                <a:gd name="connsiteX115" fmla="*/ 48400 w 2048870"/>
                <a:gd name="connsiteY115" fmla="*/ 725988 h 1413227"/>
                <a:gd name="connsiteX116" fmla="*/ 46671 w 2048870"/>
                <a:gd name="connsiteY116" fmla="*/ 732902 h 1413227"/>
                <a:gd name="connsiteX117" fmla="*/ 25929 w 2048870"/>
                <a:gd name="connsiteY117" fmla="*/ 751916 h 1413227"/>
                <a:gd name="connsiteX118" fmla="*/ 19014 w 2048870"/>
                <a:gd name="connsiteY118" fmla="*/ 776116 h 1413227"/>
                <a:gd name="connsiteX119" fmla="*/ 12100 w 2048870"/>
                <a:gd name="connsiteY119" fmla="*/ 789944 h 1413227"/>
                <a:gd name="connsiteX120" fmla="*/ 17286 w 2048870"/>
                <a:gd name="connsiteY120" fmla="*/ 822787 h 1413227"/>
                <a:gd name="connsiteX121" fmla="*/ 25929 w 2048870"/>
                <a:gd name="connsiteY121" fmla="*/ 829701 h 1413227"/>
                <a:gd name="connsiteX122" fmla="*/ 29386 w 2048870"/>
                <a:gd name="connsiteY122" fmla="*/ 838344 h 1413227"/>
                <a:gd name="connsiteX123" fmla="*/ 36300 w 2048870"/>
                <a:gd name="connsiteY123" fmla="*/ 843529 h 1413227"/>
                <a:gd name="connsiteX124" fmla="*/ 38028 w 2048870"/>
                <a:gd name="connsiteY124" fmla="*/ 852172 h 1413227"/>
                <a:gd name="connsiteX125" fmla="*/ 43214 w 2048870"/>
                <a:gd name="connsiteY125" fmla="*/ 864272 h 1413227"/>
                <a:gd name="connsiteX126" fmla="*/ 44943 w 2048870"/>
                <a:gd name="connsiteY126" fmla="*/ 874643 h 1413227"/>
                <a:gd name="connsiteX127" fmla="*/ 51857 w 2048870"/>
                <a:gd name="connsiteY127" fmla="*/ 876372 h 1413227"/>
                <a:gd name="connsiteX128" fmla="*/ 53585 w 2048870"/>
                <a:gd name="connsiteY128" fmla="*/ 883286 h 1413227"/>
                <a:gd name="connsiteX129" fmla="*/ 58771 w 2048870"/>
                <a:gd name="connsiteY129" fmla="*/ 886743 h 1413227"/>
                <a:gd name="connsiteX130" fmla="*/ 51857 w 2048870"/>
                <a:gd name="connsiteY130" fmla="*/ 898843 h 1413227"/>
                <a:gd name="connsiteX131" fmla="*/ 43214 w 2048870"/>
                <a:gd name="connsiteY131" fmla="*/ 904028 h 1413227"/>
                <a:gd name="connsiteX132" fmla="*/ 29386 w 2048870"/>
                <a:gd name="connsiteY132" fmla="*/ 909214 h 1413227"/>
                <a:gd name="connsiteX133" fmla="*/ 27657 w 2048870"/>
                <a:gd name="connsiteY133" fmla="*/ 919585 h 1413227"/>
                <a:gd name="connsiteX134" fmla="*/ 25929 w 2048870"/>
                <a:gd name="connsiteY134" fmla="*/ 926499 h 1413227"/>
                <a:gd name="connsiteX135" fmla="*/ 19014 w 2048870"/>
                <a:gd name="connsiteY135" fmla="*/ 955885 h 1413227"/>
                <a:gd name="connsiteX136" fmla="*/ 10372 w 2048870"/>
                <a:gd name="connsiteY136" fmla="*/ 969713 h 1413227"/>
                <a:gd name="connsiteX137" fmla="*/ 8643 w 2048870"/>
                <a:gd name="connsiteY137" fmla="*/ 990455 h 1413227"/>
                <a:gd name="connsiteX138" fmla="*/ 0 w 2048870"/>
                <a:gd name="connsiteY138" fmla="*/ 999098 h 1413227"/>
                <a:gd name="connsiteX139" fmla="*/ 6915 w 2048870"/>
                <a:gd name="connsiteY139" fmla="*/ 1023298 h 1413227"/>
                <a:gd name="connsiteX140" fmla="*/ 15557 w 2048870"/>
                <a:gd name="connsiteY140" fmla="*/ 1025026 h 1413227"/>
                <a:gd name="connsiteX141" fmla="*/ 22471 w 2048870"/>
                <a:gd name="connsiteY141" fmla="*/ 1030212 h 1413227"/>
                <a:gd name="connsiteX142" fmla="*/ 27657 w 2048870"/>
                <a:gd name="connsiteY142" fmla="*/ 1031941 h 1413227"/>
                <a:gd name="connsiteX143" fmla="*/ 34571 w 2048870"/>
                <a:gd name="connsiteY143" fmla="*/ 1035398 h 1413227"/>
                <a:gd name="connsiteX144" fmla="*/ 39757 w 2048870"/>
                <a:gd name="connsiteY144" fmla="*/ 1042312 h 1413227"/>
                <a:gd name="connsiteX145" fmla="*/ 43214 w 2048870"/>
                <a:gd name="connsiteY145" fmla="*/ 1047497 h 1413227"/>
                <a:gd name="connsiteX146" fmla="*/ 53585 w 2048870"/>
                <a:gd name="connsiteY146" fmla="*/ 1052683 h 1413227"/>
                <a:gd name="connsiteX147" fmla="*/ 95070 w 2048870"/>
                <a:gd name="connsiteY147" fmla="*/ 1061326 h 1413227"/>
                <a:gd name="connsiteX148" fmla="*/ 96799 w 2048870"/>
                <a:gd name="connsiteY148" fmla="*/ 1073426 h 1413227"/>
                <a:gd name="connsiteX149" fmla="*/ 101985 w 2048870"/>
                <a:gd name="connsiteY149" fmla="*/ 1075154 h 1413227"/>
                <a:gd name="connsiteX150" fmla="*/ 112356 w 2048870"/>
                <a:gd name="connsiteY150" fmla="*/ 1066511 h 1413227"/>
                <a:gd name="connsiteX151" fmla="*/ 119270 w 2048870"/>
                <a:gd name="connsiteY151" fmla="*/ 1059597 h 1413227"/>
                <a:gd name="connsiteX152" fmla="*/ 120999 w 2048870"/>
                <a:gd name="connsiteY152" fmla="*/ 1054412 h 1413227"/>
                <a:gd name="connsiteX153" fmla="*/ 134827 w 2048870"/>
                <a:gd name="connsiteY153" fmla="*/ 1061326 h 1413227"/>
                <a:gd name="connsiteX154" fmla="*/ 141741 w 2048870"/>
                <a:gd name="connsiteY154" fmla="*/ 1063054 h 1413227"/>
                <a:gd name="connsiteX155" fmla="*/ 146927 w 2048870"/>
                <a:gd name="connsiteY155" fmla="*/ 1064783 h 1413227"/>
                <a:gd name="connsiteX156" fmla="*/ 247182 w 2048870"/>
                <a:gd name="connsiteY156" fmla="*/ 1068240 h 1413227"/>
                <a:gd name="connsiteX157" fmla="*/ 266196 w 2048870"/>
                <a:gd name="connsiteY157" fmla="*/ 1064783 h 1413227"/>
                <a:gd name="connsiteX158" fmla="*/ 276568 w 2048870"/>
                <a:gd name="connsiteY158" fmla="*/ 1059597 h 1413227"/>
                <a:gd name="connsiteX159" fmla="*/ 285210 w 2048870"/>
                <a:gd name="connsiteY159" fmla="*/ 1049226 h 1413227"/>
                <a:gd name="connsiteX160" fmla="*/ 295581 w 2048870"/>
                <a:gd name="connsiteY160" fmla="*/ 1052683 h 1413227"/>
                <a:gd name="connsiteX161" fmla="*/ 299039 w 2048870"/>
                <a:gd name="connsiteY161" fmla="*/ 1059597 h 1413227"/>
                <a:gd name="connsiteX162" fmla="*/ 312867 w 2048870"/>
                <a:gd name="connsiteY162" fmla="*/ 1071697 h 1413227"/>
                <a:gd name="connsiteX163" fmla="*/ 338795 w 2048870"/>
                <a:gd name="connsiteY163" fmla="*/ 1078611 h 1413227"/>
                <a:gd name="connsiteX164" fmla="*/ 361266 w 2048870"/>
                <a:gd name="connsiteY164" fmla="*/ 1075154 h 1413227"/>
                <a:gd name="connsiteX165" fmla="*/ 362995 w 2048870"/>
                <a:gd name="connsiteY165" fmla="*/ 1068240 h 1413227"/>
                <a:gd name="connsiteX166" fmla="*/ 373366 w 2048870"/>
                <a:gd name="connsiteY166" fmla="*/ 1050955 h 1413227"/>
                <a:gd name="connsiteX167" fmla="*/ 378552 w 2048870"/>
                <a:gd name="connsiteY167" fmla="*/ 1045769 h 1413227"/>
                <a:gd name="connsiteX168" fmla="*/ 397566 w 2048870"/>
                <a:gd name="connsiteY168" fmla="*/ 1038855 h 1413227"/>
                <a:gd name="connsiteX169" fmla="*/ 432137 w 2048870"/>
                <a:gd name="connsiteY169" fmla="*/ 1035398 h 1413227"/>
                <a:gd name="connsiteX170" fmla="*/ 444236 w 2048870"/>
                <a:gd name="connsiteY170" fmla="*/ 1031941 h 1413227"/>
                <a:gd name="connsiteX171" fmla="*/ 447693 w 2048870"/>
                <a:gd name="connsiteY171" fmla="*/ 1025026 h 1413227"/>
                <a:gd name="connsiteX172" fmla="*/ 452879 w 2048870"/>
                <a:gd name="connsiteY172" fmla="*/ 1021569 h 1413227"/>
                <a:gd name="connsiteX173" fmla="*/ 468436 w 2048870"/>
                <a:gd name="connsiteY173" fmla="*/ 1011198 h 1413227"/>
                <a:gd name="connsiteX174" fmla="*/ 473622 w 2048870"/>
                <a:gd name="connsiteY174" fmla="*/ 999098 h 1413227"/>
                <a:gd name="connsiteX175" fmla="*/ 478807 w 2048870"/>
                <a:gd name="connsiteY175" fmla="*/ 986998 h 1413227"/>
                <a:gd name="connsiteX176" fmla="*/ 485721 w 2048870"/>
                <a:gd name="connsiteY176" fmla="*/ 980084 h 1413227"/>
                <a:gd name="connsiteX177" fmla="*/ 489178 w 2048870"/>
                <a:gd name="connsiteY177" fmla="*/ 974899 h 1413227"/>
                <a:gd name="connsiteX178" fmla="*/ 511650 w 2048870"/>
                <a:gd name="connsiteY178" fmla="*/ 955885 h 1413227"/>
                <a:gd name="connsiteX179" fmla="*/ 530664 w 2048870"/>
                <a:gd name="connsiteY179" fmla="*/ 947242 h 1413227"/>
                <a:gd name="connsiteX180" fmla="*/ 537578 w 2048870"/>
                <a:gd name="connsiteY180" fmla="*/ 933414 h 1413227"/>
                <a:gd name="connsiteX181" fmla="*/ 539306 w 2048870"/>
                <a:gd name="connsiteY181" fmla="*/ 928228 h 1413227"/>
                <a:gd name="connsiteX182" fmla="*/ 541035 w 2048870"/>
                <a:gd name="connsiteY182" fmla="*/ 921314 h 1413227"/>
                <a:gd name="connsiteX183" fmla="*/ 563506 w 2048870"/>
                <a:gd name="connsiteY183" fmla="*/ 917857 h 1413227"/>
                <a:gd name="connsiteX184" fmla="*/ 568692 w 2048870"/>
                <a:gd name="connsiteY184" fmla="*/ 916128 h 1413227"/>
                <a:gd name="connsiteX185" fmla="*/ 584248 w 2048870"/>
                <a:gd name="connsiteY185" fmla="*/ 914400 h 1413227"/>
                <a:gd name="connsiteX186" fmla="*/ 589434 w 2048870"/>
                <a:gd name="connsiteY186" fmla="*/ 910942 h 1413227"/>
                <a:gd name="connsiteX187" fmla="*/ 599805 w 2048870"/>
                <a:gd name="connsiteY187" fmla="*/ 905757 h 1413227"/>
                <a:gd name="connsiteX188" fmla="*/ 604991 w 2048870"/>
                <a:gd name="connsiteY188" fmla="*/ 900571 h 1413227"/>
                <a:gd name="connsiteX189" fmla="*/ 606719 w 2048870"/>
                <a:gd name="connsiteY189" fmla="*/ 895386 h 1413227"/>
                <a:gd name="connsiteX190" fmla="*/ 615362 w 2048870"/>
                <a:gd name="connsiteY190" fmla="*/ 891928 h 1413227"/>
                <a:gd name="connsiteX191" fmla="*/ 620548 w 2048870"/>
                <a:gd name="connsiteY191" fmla="*/ 886743 h 1413227"/>
                <a:gd name="connsiteX192" fmla="*/ 639562 w 2048870"/>
                <a:gd name="connsiteY192" fmla="*/ 879829 h 1413227"/>
                <a:gd name="connsiteX193" fmla="*/ 653390 w 2048870"/>
                <a:gd name="connsiteY193" fmla="*/ 883286 h 1413227"/>
                <a:gd name="connsiteX194" fmla="*/ 660304 w 2048870"/>
                <a:gd name="connsiteY194" fmla="*/ 885014 h 1413227"/>
                <a:gd name="connsiteX195" fmla="*/ 668947 w 2048870"/>
                <a:gd name="connsiteY195" fmla="*/ 886743 h 1413227"/>
                <a:gd name="connsiteX196" fmla="*/ 675861 w 2048870"/>
                <a:gd name="connsiteY196" fmla="*/ 890200 h 1413227"/>
                <a:gd name="connsiteX197" fmla="*/ 682775 w 2048870"/>
                <a:gd name="connsiteY197" fmla="*/ 891928 h 1413227"/>
                <a:gd name="connsiteX198" fmla="*/ 687961 w 2048870"/>
                <a:gd name="connsiteY198" fmla="*/ 895386 h 1413227"/>
                <a:gd name="connsiteX199" fmla="*/ 700061 w 2048870"/>
                <a:gd name="connsiteY199" fmla="*/ 898843 h 1413227"/>
                <a:gd name="connsiteX200" fmla="*/ 706975 w 2048870"/>
                <a:gd name="connsiteY200" fmla="*/ 904028 h 1413227"/>
                <a:gd name="connsiteX201" fmla="*/ 720803 w 2048870"/>
                <a:gd name="connsiteY201" fmla="*/ 907485 h 1413227"/>
                <a:gd name="connsiteX202" fmla="*/ 727718 w 2048870"/>
                <a:gd name="connsiteY202" fmla="*/ 905757 h 1413227"/>
                <a:gd name="connsiteX203" fmla="*/ 736360 w 2048870"/>
                <a:gd name="connsiteY203" fmla="*/ 904028 h 1413227"/>
                <a:gd name="connsiteX204" fmla="*/ 738089 w 2048870"/>
                <a:gd name="connsiteY204" fmla="*/ 910942 h 1413227"/>
                <a:gd name="connsiteX205" fmla="*/ 760560 w 2048870"/>
                <a:gd name="connsiteY205" fmla="*/ 904028 h 1413227"/>
                <a:gd name="connsiteX206" fmla="*/ 770931 w 2048870"/>
                <a:gd name="connsiteY206" fmla="*/ 895386 h 1413227"/>
                <a:gd name="connsiteX207" fmla="*/ 776117 w 2048870"/>
                <a:gd name="connsiteY207" fmla="*/ 909214 h 1413227"/>
                <a:gd name="connsiteX208" fmla="*/ 783031 w 2048870"/>
                <a:gd name="connsiteY208" fmla="*/ 914400 h 1413227"/>
                <a:gd name="connsiteX209" fmla="*/ 788217 w 2048870"/>
                <a:gd name="connsiteY209" fmla="*/ 919585 h 1413227"/>
                <a:gd name="connsiteX210" fmla="*/ 793402 w 2048870"/>
                <a:gd name="connsiteY210" fmla="*/ 923042 h 1413227"/>
                <a:gd name="connsiteX211" fmla="*/ 798588 w 2048870"/>
                <a:gd name="connsiteY211" fmla="*/ 928228 h 1413227"/>
                <a:gd name="connsiteX212" fmla="*/ 815873 w 2048870"/>
                <a:gd name="connsiteY212" fmla="*/ 935142 h 1413227"/>
                <a:gd name="connsiteX213" fmla="*/ 821059 w 2048870"/>
                <a:gd name="connsiteY213" fmla="*/ 926499 h 1413227"/>
                <a:gd name="connsiteX214" fmla="*/ 824516 w 2048870"/>
                <a:gd name="connsiteY214" fmla="*/ 910942 h 1413227"/>
                <a:gd name="connsiteX215" fmla="*/ 833159 w 2048870"/>
                <a:gd name="connsiteY215" fmla="*/ 912671 h 1413227"/>
                <a:gd name="connsiteX216" fmla="*/ 838344 w 2048870"/>
                <a:gd name="connsiteY216" fmla="*/ 926499 h 1413227"/>
                <a:gd name="connsiteX217" fmla="*/ 841802 w 2048870"/>
                <a:gd name="connsiteY217" fmla="*/ 929956 h 1413227"/>
                <a:gd name="connsiteX218" fmla="*/ 850444 w 2048870"/>
                <a:gd name="connsiteY218" fmla="*/ 948970 h 1413227"/>
                <a:gd name="connsiteX219" fmla="*/ 853901 w 2048870"/>
                <a:gd name="connsiteY219" fmla="*/ 954156 h 1413227"/>
                <a:gd name="connsiteX220" fmla="*/ 859087 w 2048870"/>
                <a:gd name="connsiteY220" fmla="*/ 988727 h 1413227"/>
                <a:gd name="connsiteX221" fmla="*/ 864273 w 2048870"/>
                <a:gd name="connsiteY221" fmla="*/ 1009469 h 1413227"/>
                <a:gd name="connsiteX222" fmla="*/ 878101 w 2048870"/>
                <a:gd name="connsiteY222" fmla="*/ 1012927 h 1413227"/>
                <a:gd name="connsiteX223" fmla="*/ 885015 w 2048870"/>
                <a:gd name="connsiteY223" fmla="*/ 1016384 h 1413227"/>
                <a:gd name="connsiteX224" fmla="*/ 888472 w 2048870"/>
                <a:gd name="connsiteY224" fmla="*/ 1021569 h 1413227"/>
                <a:gd name="connsiteX225" fmla="*/ 900572 w 2048870"/>
                <a:gd name="connsiteY225" fmla="*/ 1026755 h 1413227"/>
                <a:gd name="connsiteX226" fmla="*/ 905758 w 2048870"/>
                <a:gd name="connsiteY226" fmla="*/ 1033669 h 1413227"/>
                <a:gd name="connsiteX227" fmla="*/ 909215 w 2048870"/>
                <a:gd name="connsiteY227" fmla="*/ 1040583 h 1413227"/>
                <a:gd name="connsiteX228" fmla="*/ 912672 w 2048870"/>
                <a:gd name="connsiteY228" fmla="*/ 1045769 h 1413227"/>
                <a:gd name="connsiteX229" fmla="*/ 921315 w 2048870"/>
                <a:gd name="connsiteY229" fmla="*/ 1061326 h 1413227"/>
                <a:gd name="connsiteX230" fmla="*/ 928229 w 2048870"/>
                <a:gd name="connsiteY230" fmla="*/ 1082068 h 1413227"/>
                <a:gd name="connsiteX231" fmla="*/ 929957 w 2048870"/>
                <a:gd name="connsiteY231" fmla="*/ 1088983 h 1413227"/>
                <a:gd name="connsiteX232" fmla="*/ 940329 w 2048870"/>
                <a:gd name="connsiteY232" fmla="*/ 1095897 h 1413227"/>
                <a:gd name="connsiteX233" fmla="*/ 959343 w 2048870"/>
                <a:gd name="connsiteY233" fmla="*/ 1097625 h 1413227"/>
                <a:gd name="connsiteX234" fmla="*/ 967985 w 2048870"/>
                <a:gd name="connsiteY234" fmla="*/ 1101082 h 1413227"/>
                <a:gd name="connsiteX235" fmla="*/ 973171 w 2048870"/>
                <a:gd name="connsiteY235" fmla="*/ 1106268 h 1413227"/>
                <a:gd name="connsiteX236" fmla="*/ 978357 w 2048870"/>
                <a:gd name="connsiteY236" fmla="*/ 1109725 h 1413227"/>
                <a:gd name="connsiteX237" fmla="*/ 983542 w 2048870"/>
                <a:gd name="connsiteY237" fmla="*/ 1118368 h 1413227"/>
                <a:gd name="connsiteX238" fmla="*/ 985271 w 2048870"/>
                <a:gd name="connsiteY238" fmla="*/ 1132196 h 1413227"/>
                <a:gd name="connsiteX239" fmla="*/ 992185 w 2048870"/>
                <a:gd name="connsiteY239" fmla="*/ 1139110 h 1413227"/>
                <a:gd name="connsiteX240" fmla="*/ 1006013 w 2048870"/>
                <a:gd name="connsiteY240" fmla="*/ 1147753 h 1413227"/>
                <a:gd name="connsiteX241" fmla="*/ 1019842 w 2048870"/>
                <a:gd name="connsiteY241" fmla="*/ 1165038 h 1413227"/>
                <a:gd name="connsiteX242" fmla="*/ 1012927 w 2048870"/>
                <a:gd name="connsiteY242" fmla="*/ 1168496 h 1413227"/>
                <a:gd name="connsiteX243" fmla="*/ 1009470 w 2048870"/>
                <a:gd name="connsiteY243" fmla="*/ 1173681 h 1413227"/>
                <a:gd name="connsiteX244" fmla="*/ 997371 w 2048870"/>
                <a:gd name="connsiteY244" fmla="*/ 1177138 h 1413227"/>
                <a:gd name="connsiteX245" fmla="*/ 990456 w 2048870"/>
                <a:gd name="connsiteY245" fmla="*/ 1182324 h 1413227"/>
                <a:gd name="connsiteX246" fmla="*/ 973171 w 2048870"/>
                <a:gd name="connsiteY246" fmla="*/ 1182324 h 1413227"/>
                <a:gd name="connsiteX247" fmla="*/ 971442 w 2048870"/>
                <a:gd name="connsiteY247" fmla="*/ 1161581 h 1413227"/>
                <a:gd name="connsiteX248" fmla="*/ 962800 w 2048870"/>
                <a:gd name="connsiteY248" fmla="*/ 1171953 h 1413227"/>
                <a:gd name="connsiteX249" fmla="*/ 959343 w 2048870"/>
                <a:gd name="connsiteY249" fmla="*/ 1178867 h 1413227"/>
                <a:gd name="connsiteX250" fmla="*/ 955885 w 2048870"/>
                <a:gd name="connsiteY250" fmla="*/ 1184052 h 1413227"/>
                <a:gd name="connsiteX251" fmla="*/ 947243 w 2048870"/>
                <a:gd name="connsiteY251" fmla="*/ 1187510 h 1413227"/>
                <a:gd name="connsiteX252" fmla="*/ 940329 w 2048870"/>
                <a:gd name="connsiteY252" fmla="*/ 1190967 h 1413227"/>
                <a:gd name="connsiteX253" fmla="*/ 935143 w 2048870"/>
                <a:gd name="connsiteY253" fmla="*/ 1189238 h 1413227"/>
                <a:gd name="connsiteX254" fmla="*/ 929957 w 2048870"/>
                <a:gd name="connsiteY254" fmla="*/ 1171953 h 1413227"/>
                <a:gd name="connsiteX255" fmla="*/ 926500 w 2048870"/>
                <a:gd name="connsiteY255" fmla="*/ 1165038 h 1413227"/>
                <a:gd name="connsiteX256" fmla="*/ 921315 w 2048870"/>
                <a:gd name="connsiteY256" fmla="*/ 1178867 h 1413227"/>
                <a:gd name="connsiteX257" fmla="*/ 917857 w 2048870"/>
                <a:gd name="connsiteY257" fmla="*/ 1182324 h 1413227"/>
                <a:gd name="connsiteX258" fmla="*/ 914400 w 2048870"/>
                <a:gd name="connsiteY258" fmla="*/ 1194424 h 1413227"/>
                <a:gd name="connsiteX259" fmla="*/ 909215 w 2048870"/>
                <a:gd name="connsiteY259" fmla="*/ 1199609 h 1413227"/>
                <a:gd name="connsiteX260" fmla="*/ 886744 w 2048870"/>
                <a:gd name="connsiteY260" fmla="*/ 1180595 h 1413227"/>
                <a:gd name="connsiteX261" fmla="*/ 883287 w 2048870"/>
                <a:gd name="connsiteY261" fmla="*/ 1189238 h 1413227"/>
                <a:gd name="connsiteX262" fmla="*/ 879830 w 2048870"/>
                <a:gd name="connsiteY262" fmla="*/ 1194424 h 1413227"/>
                <a:gd name="connsiteX263" fmla="*/ 874644 w 2048870"/>
                <a:gd name="connsiteY263" fmla="*/ 1204795 h 1413227"/>
                <a:gd name="connsiteX264" fmla="*/ 879830 w 2048870"/>
                <a:gd name="connsiteY264" fmla="*/ 1211709 h 1413227"/>
                <a:gd name="connsiteX265" fmla="*/ 890201 w 2048870"/>
                <a:gd name="connsiteY265" fmla="*/ 1215166 h 1413227"/>
                <a:gd name="connsiteX266" fmla="*/ 893658 w 2048870"/>
                <a:gd name="connsiteY266" fmla="*/ 1235909 h 1413227"/>
                <a:gd name="connsiteX267" fmla="*/ 891929 w 2048870"/>
                <a:gd name="connsiteY267" fmla="*/ 1258380 h 1413227"/>
                <a:gd name="connsiteX268" fmla="*/ 890201 w 2048870"/>
                <a:gd name="connsiteY268" fmla="*/ 1263565 h 1413227"/>
                <a:gd name="connsiteX269" fmla="*/ 878101 w 2048870"/>
                <a:gd name="connsiteY269" fmla="*/ 1275665 h 1413227"/>
                <a:gd name="connsiteX270" fmla="*/ 871187 w 2048870"/>
                <a:gd name="connsiteY270" fmla="*/ 1282579 h 1413227"/>
                <a:gd name="connsiteX271" fmla="*/ 876372 w 2048870"/>
                <a:gd name="connsiteY271" fmla="*/ 1287765 h 1413227"/>
                <a:gd name="connsiteX272" fmla="*/ 874644 w 2048870"/>
                <a:gd name="connsiteY272" fmla="*/ 1306779 h 1413227"/>
                <a:gd name="connsiteX273" fmla="*/ 869458 w 2048870"/>
                <a:gd name="connsiteY273" fmla="*/ 1308508 h 1413227"/>
                <a:gd name="connsiteX274" fmla="*/ 864273 w 2048870"/>
                <a:gd name="connsiteY274" fmla="*/ 1320607 h 1413227"/>
                <a:gd name="connsiteX275" fmla="*/ 862544 w 2048870"/>
                <a:gd name="connsiteY275" fmla="*/ 1360364 h 1413227"/>
                <a:gd name="connsiteX276" fmla="*/ 857358 w 2048870"/>
                <a:gd name="connsiteY276" fmla="*/ 1363821 h 1413227"/>
                <a:gd name="connsiteX277" fmla="*/ 852173 w 2048870"/>
                <a:gd name="connsiteY277" fmla="*/ 1365550 h 1413227"/>
                <a:gd name="connsiteX278" fmla="*/ 850444 w 2048870"/>
                <a:gd name="connsiteY278" fmla="*/ 1370735 h 1413227"/>
                <a:gd name="connsiteX279" fmla="*/ 838344 w 2048870"/>
                <a:gd name="connsiteY279" fmla="*/ 1379378 h 1413227"/>
                <a:gd name="connsiteX280" fmla="*/ 841802 w 2048870"/>
                <a:gd name="connsiteY280" fmla="*/ 1389749 h 1413227"/>
                <a:gd name="connsiteX281" fmla="*/ 840497 w 2048870"/>
                <a:gd name="connsiteY281" fmla="*/ 1405535 h 1413227"/>
                <a:gd name="connsiteX282" fmla="*/ 835505 w 2048870"/>
                <a:gd name="connsiteY282" fmla="*/ 1401197 h 1413227"/>
                <a:gd name="connsiteX283" fmla="*/ 859087 w 2048870"/>
                <a:gd name="connsiteY283" fmla="*/ 1410492 h 1413227"/>
                <a:gd name="connsiteX284" fmla="*/ 885015 w 2048870"/>
                <a:gd name="connsiteY284" fmla="*/ 1408763 h 1413227"/>
                <a:gd name="connsiteX285" fmla="*/ 890201 w 2048870"/>
                <a:gd name="connsiteY285" fmla="*/ 1413103 h 1413227"/>
                <a:gd name="connsiteX286" fmla="*/ 921633 w 2048870"/>
                <a:gd name="connsiteY286" fmla="*/ 1403013 h 1413227"/>
                <a:gd name="connsiteX287" fmla="*/ 932427 w 2048870"/>
                <a:gd name="connsiteY287" fmla="*/ 1394371 h 1413227"/>
                <a:gd name="connsiteX288" fmla="*/ 933873 w 2048870"/>
                <a:gd name="connsiteY288" fmla="*/ 1386010 h 1413227"/>
                <a:gd name="connsiteX289" fmla="*/ 943362 w 2048870"/>
                <a:gd name="connsiteY289" fmla="*/ 1367278 h 1413227"/>
                <a:gd name="connsiteX290" fmla="*/ 943786 w 2048870"/>
                <a:gd name="connsiteY290" fmla="*/ 1362093 h 1413227"/>
                <a:gd name="connsiteX291" fmla="*/ 954157 w 2048870"/>
                <a:gd name="connsiteY291" fmla="*/ 1360364 h 1413227"/>
                <a:gd name="connsiteX292" fmla="*/ 993913 w 2048870"/>
                <a:gd name="connsiteY292" fmla="*/ 1356907 h 1413227"/>
                <a:gd name="connsiteX293" fmla="*/ 997371 w 2048870"/>
                <a:gd name="connsiteY293" fmla="*/ 1349993 h 1413227"/>
                <a:gd name="connsiteX294" fmla="*/ 1009470 w 2048870"/>
                <a:gd name="connsiteY294" fmla="*/ 1344807 h 1413227"/>
                <a:gd name="connsiteX295" fmla="*/ 997371 w 2048870"/>
                <a:gd name="connsiteY295" fmla="*/ 1334436 h 1413227"/>
                <a:gd name="connsiteX296" fmla="*/ 993913 w 2048870"/>
                <a:gd name="connsiteY296" fmla="*/ 1327522 h 1413227"/>
                <a:gd name="connsiteX297" fmla="*/ 988728 w 2048870"/>
                <a:gd name="connsiteY297" fmla="*/ 1322336 h 1413227"/>
                <a:gd name="connsiteX298" fmla="*/ 985271 w 2048870"/>
                <a:gd name="connsiteY298" fmla="*/ 1310236 h 1413227"/>
                <a:gd name="connsiteX299" fmla="*/ 981814 w 2048870"/>
                <a:gd name="connsiteY299" fmla="*/ 1299865 h 1413227"/>
                <a:gd name="connsiteX300" fmla="*/ 990456 w 2048870"/>
                <a:gd name="connsiteY300" fmla="*/ 1287765 h 1413227"/>
                <a:gd name="connsiteX301" fmla="*/ 992185 w 2048870"/>
                <a:gd name="connsiteY301" fmla="*/ 1292951 h 1413227"/>
                <a:gd name="connsiteX302" fmla="*/ 1014656 w 2048870"/>
                <a:gd name="connsiteY302" fmla="*/ 1299865 h 1413227"/>
                <a:gd name="connsiteX303" fmla="*/ 1016385 w 2048870"/>
                <a:gd name="connsiteY303" fmla="*/ 1294679 h 1413227"/>
                <a:gd name="connsiteX304" fmla="*/ 1018113 w 2048870"/>
                <a:gd name="connsiteY304" fmla="*/ 1284308 h 1413227"/>
                <a:gd name="connsiteX305" fmla="*/ 1031941 w 2048870"/>
                <a:gd name="connsiteY305" fmla="*/ 1270480 h 1413227"/>
                <a:gd name="connsiteX306" fmla="*/ 1037127 w 2048870"/>
                <a:gd name="connsiteY306" fmla="*/ 1265294 h 1413227"/>
                <a:gd name="connsiteX307" fmla="*/ 1038856 w 2048870"/>
                <a:gd name="connsiteY307" fmla="*/ 1260108 h 1413227"/>
                <a:gd name="connsiteX308" fmla="*/ 1054412 w 2048870"/>
                <a:gd name="connsiteY308" fmla="*/ 1251466 h 1413227"/>
                <a:gd name="connsiteX309" fmla="*/ 1063055 w 2048870"/>
                <a:gd name="connsiteY309" fmla="*/ 1242823 h 1413227"/>
                <a:gd name="connsiteX310" fmla="*/ 1068241 w 2048870"/>
                <a:gd name="connsiteY310" fmla="*/ 1223809 h 1413227"/>
                <a:gd name="connsiteX311" fmla="*/ 1069969 w 2048870"/>
                <a:gd name="connsiteY311" fmla="*/ 1215166 h 1413227"/>
                <a:gd name="connsiteX312" fmla="*/ 1075155 w 2048870"/>
                <a:gd name="connsiteY312" fmla="*/ 1201338 h 1413227"/>
                <a:gd name="connsiteX313" fmla="*/ 1080341 w 2048870"/>
                <a:gd name="connsiteY313" fmla="*/ 1175410 h 1413227"/>
                <a:gd name="connsiteX314" fmla="*/ 1082069 w 2048870"/>
                <a:gd name="connsiteY314" fmla="*/ 1170224 h 1413227"/>
                <a:gd name="connsiteX315" fmla="*/ 1083798 w 2048870"/>
                <a:gd name="connsiteY315" fmla="*/ 1161581 h 1413227"/>
                <a:gd name="connsiteX316" fmla="*/ 1085526 w 2048870"/>
                <a:gd name="connsiteY316" fmla="*/ 1156396 h 1413227"/>
                <a:gd name="connsiteX317" fmla="*/ 1087255 w 2048870"/>
                <a:gd name="connsiteY317" fmla="*/ 1147753 h 1413227"/>
                <a:gd name="connsiteX318" fmla="*/ 1097626 w 2048870"/>
                <a:gd name="connsiteY318" fmla="*/ 1128739 h 1413227"/>
                <a:gd name="connsiteX319" fmla="*/ 1099355 w 2048870"/>
                <a:gd name="connsiteY319" fmla="*/ 1111454 h 1413227"/>
                <a:gd name="connsiteX320" fmla="*/ 1106269 w 2048870"/>
                <a:gd name="connsiteY320" fmla="*/ 1097625 h 1413227"/>
                <a:gd name="connsiteX321" fmla="*/ 1111454 w 2048870"/>
                <a:gd name="connsiteY321" fmla="*/ 1095897 h 1413227"/>
                <a:gd name="connsiteX322" fmla="*/ 1127011 w 2048870"/>
                <a:gd name="connsiteY322" fmla="*/ 1094168 h 1413227"/>
                <a:gd name="connsiteX323" fmla="*/ 1132197 w 2048870"/>
                <a:gd name="connsiteY323" fmla="*/ 1088983 h 1413227"/>
                <a:gd name="connsiteX324" fmla="*/ 1166768 w 2048870"/>
                <a:gd name="connsiteY324" fmla="*/ 1083797 h 1413227"/>
                <a:gd name="connsiteX325" fmla="*/ 1175411 w 2048870"/>
                <a:gd name="connsiteY325" fmla="*/ 1073426 h 1413227"/>
                <a:gd name="connsiteX326" fmla="*/ 1177139 w 2048870"/>
                <a:gd name="connsiteY326" fmla="*/ 1061326 h 1413227"/>
                <a:gd name="connsiteX327" fmla="*/ 1170225 w 2048870"/>
                <a:gd name="connsiteY327" fmla="*/ 1047497 h 1413227"/>
                <a:gd name="connsiteX328" fmla="*/ 1163311 w 2048870"/>
                <a:gd name="connsiteY328" fmla="*/ 1050955 h 1413227"/>
                <a:gd name="connsiteX329" fmla="*/ 1166768 w 2048870"/>
                <a:gd name="connsiteY329" fmla="*/ 1068240 h 1413227"/>
                <a:gd name="connsiteX330" fmla="*/ 1170225 w 2048870"/>
                <a:gd name="connsiteY330" fmla="*/ 1076883 h 1413227"/>
                <a:gd name="connsiteX331" fmla="*/ 1182325 w 2048870"/>
                <a:gd name="connsiteY331" fmla="*/ 1080340 h 1413227"/>
                <a:gd name="connsiteX332" fmla="*/ 1206524 w 2048870"/>
                <a:gd name="connsiteY332" fmla="*/ 1078611 h 1413227"/>
                <a:gd name="connsiteX333" fmla="*/ 1211710 w 2048870"/>
                <a:gd name="connsiteY333" fmla="*/ 1073426 h 1413227"/>
                <a:gd name="connsiteX334" fmla="*/ 1218624 w 2048870"/>
                <a:gd name="connsiteY334" fmla="*/ 1057869 h 1413227"/>
                <a:gd name="connsiteX335" fmla="*/ 1220353 w 2048870"/>
                <a:gd name="connsiteY335" fmla="*/ 1044040 h 1413227"/>
                <a:gd name="connsiteX336" fmla="*/ 1218624 w 2048870"/>
                <a:gd name="connsiteY336" fmla="*/ 1014655 h 1413227"/>
                <a:gd name="connsiteX337" fmla="*/ 1211710 w 2048870"/>
                <a:gd name="connsiteY337" fmla="*/ 997370 h 1413227"/>
                <a:gd name="connsiteX338" fmla="*/ 1206524 w 2048870"/>
                <a:gd name="connsiteY338" fmla="*/ 993913 h 1413227"/>
                <a:gd name="connsiteX339" fmla="*/ 1184053 w 2048870"/>
                <a:gd name="connsiteY339" fmla="*/ 973170 h 1413227"/>
                <a:gd name="connsiteX340" fmla="*/ 1173682 w 2048870"/>
                <a:gd name="connsiteY340" fmla="*/ 962799 h 1413227"/>
                <a:gd name="connsiteX341" fmla="*/ 1168496 w 2048870"/>
                <a:gd name="connsiteY341" fmla="*/ 957613 h 1413227"/>
                <a:gd name="connsiteX342" fmla="*/ 1171954 w 2048870"/>
                <a:gd name="connsiteY342" fmla="*/ 961070 h 1413227"/>
                <a:gd name="connsiteX343" fmla="*/ 1178868 w 2048870"/>
                <a:gd name="connsiteY343" fmla="*/ 971441 h 1413227"/>
                <a:gd name="connsiteX344" fmla="*/ 1185782 w 2048870"/>
                <a:gd name="connsiteY344" fmla="*/ 980084 h 1413227"/>
                <a:gd name="connsiteX345" fmla="*/ 1190968 w 2048870"/>
                <a:gd name="connsiteY345" fmla="*/ 985270 h 1413227"/>
                <a:gd name="connsiteX346" fmla="*/ 1194425 w 2048870"/>
                <a:gd name="connsiteY346" fmla="*/ 993913 h 1413227"/>
                <a:gd name="connsiteX347" fmla="*/ 1206524 w 2048870"/>
                <a:gd name="connsiteY347" fmla="*/ 1007741 h 1413227"/>
                <a:gd name="connsiteX348" fmla="*/ 1208253 w 2048870"/>
                <a:gd name="connsiteY348" fmla="*/ 1014655 h 1413227"/>
                <a:gd name="connsiteX349" fmla="*/ 1211710 w 2048870"/>
                <a:gd name="connsiteY349" fmla="*/ 1023298 h 1413227"/>
                <a:gd name="connsiteX350" fmla="*/ 1213439 w 2048870"/>
                <a:gd name="connsiteY350" fmla="*/ 1035398 h 1413227"/>
                <a:gd name="connsiteX351" fmla="*/ 1215167 w 2048870"/>
                <a:gd name="connsiteY351" fmla="*/ 1044040 h 1413227"/>
                <a:gd name="connsiteX352" fmla="*/ 1220353 w 2048870"/>
                <a:gd name="connsiteY352" fmla="*/ 1045769 h 1413227"/>
                <a:gd name="connsiteX353" fmla="*/ 1223810 w 2048870"/>
                <a:gd name="connsiteY353" fmla="*/ 1050955 h 1413227"/>
                <a:gd name="connsiteX354" fmla="*/ 1234181 w 2048870"/>
                <a:gd name="connsiteY354" fmla="*/ 1063054 h 1413227"/>
                <a:gd name="connsiteX355" fmla="*/ 1253195 w 2048870"/>
                <a:gd name="connsiteY355" fmla="*/ 1057869 h 1413227"/>
                <a:gd name="connsiteX356" fmla="*/ 1258381 w 2048870"/>
                <a:gd name="connsiteY356" fmla="*/ 1054412 h 1413227"/>
                <a:gd name="connsiteX357" fmla="*/ 1265295 w 2048870"/>
                <a:gd name="connsiteY357" fmla="*/ 1050955 h 1413227"/>
                <a:gd name="connsiteX358" fmla="*/ 1267023 w 2048870"/>
                <a:gd name="connsiteY358" fmla="*/ 1056140 h 1413227"/>
                <a:gd name="connsiteX359" fmla="*/ 1268752 w 2048870"/>
                <a:gd name="connsiteY359" fmla="*/ 1068240 h 1413227"/>
                <a:gd name="connsiteX360" fmla="*/ 1279123 w 2048870"/>
                <a:gd name="connsiteY360" fmla="*/ 1064783 h 1413227"/>
                <a:gd name="connsiteX361" fmla="*/ 1289495 w 2048870"/>
                <a:gd name="connsiteY361" fmla="*/ 1056140 h 1413227"/>
                <a:gd name="connsiteX362" fmla="*/ 1299866 w 2048870"/>
                <a:gd name="connsiteY362" fmla="*/ 1045769 h 1413227"/>
                <a:gd name="connsiteX363" fmla="*/ 1305051 w 2048870"/>
                <a:gd name="connsiteY363" fmla="*/ 1042312 h 1413227"/>
                <a:gd name="connsiteX364" fmla="*/ 1294680 w 2048870"/>
                <a:gd name="connsiteY364" fmla="*/ 1061326 h 1413227"/>
                <a:gd name="connsiteX365" fmla="*/ 1286037 w 2048870"/>
                <a:gd name="connsiteY365" fmla="*/ 1075154 h 1413227"/>
                <a:gd name="connsiteX366" fmla="*/ 1272209 w 2048870"/>
                <a:gd name="connsiteY366" fmla="*/ 1082068 h 1413227"/>
                <a:gd name="connsiteX367" fmla="*/ 1265295 w 2048870"/>
                <a:gd name="connsiteY367" fmla="*/ 1085525 h 1413227"/>
                <a:gd name="connsiteX368" fmla="*/ 1260109 w 2048870"/>
                <a:gd name="connsiteY368" fmla="*/ 1087254 h 1413227"/>
                <a:gd name="connsiteX369" fmla="*/ 1251467 w 2048870"/>
                <a:gd name="connsiteY369" fmla="*/ 1092440 h 1413227"/>
                <a:gd name="connsiteX370" fmla="*/ 1232453 w 2048870"/>
                <a:gd name="connsiteY370" fmla="*/ 1095897 h 1413227"/>
                <a:gd name="connsiteX371" fmla="*/ 1230724 w 2048870"/>
                <a:gd name="connsiteY371" fmla="*/ 1121825 h 1413227"/>
                <a:gd name="connsiteX372" fmla="*/ 1223810 w 2048870"/>
                <a:gd name="connsiteY372" fmla="*/ 1128739 h 1413227"/>
                <a:gd name="connsiteX373" fmla="*/ 1216896 w 2048870"/>
                <a:gd name="connsiteY373" fmla="*/ 1130468 h 1413227"/>
                <a:gd name="connsiteX374" fmla="*/ 1248009 w 2048870"/>
                <a:gd name="connsiteY374" fmla="*/ 1123553 h 1413227"/>
                <a:gd name="connsiteX375" fmla="*/ 1275666 w 2048870"/>
                <a:gd name="connsiteY375" fmla="*/ 1125282 h 1413227"/>
                <a:gd name="connsiteX376" fmla="*/ 1282580 w 2048870"/>
                <a:gd name="connsiteY376" fmla="*/ 1128739 h 1413227"/>
                <a:gd name="connsiteX377" fmla="*/ 1318880 w 2048870"/>
                <a:gd name="connsiteY377" fmla="*/ 1127010 h 1413227"/>
                <a:gd name="connsiteX378" fmla="*/ 1330980 w 2048870"/>
                <a:gd name="connsiteY378" fmla="*/ 1123553 h 1413227"/>
                <a:gd name="connsiteX379" fmla="*/ 1339622 w 2048870"/>
                <a:gd name="connsiteY379" fmla="*/ 1118368 h 1413227"/>
                <a:gd name="connsiteX380" fmla="*/ 1356908 w 2048870"/>
                <a:gd name="connsiteY380" fmla="*/ 1123553 h 1413227"/>
                <a:gd name="connsiteX381" fmla="*/ 1384564 w 2048870"/>
                <a:gd name="connsiteY381" fmla="*/ 1114911 h 1413227"/>
                <a:gd name="connsiteX382" fmla="*/ 1391479 w 2048870"/>
                <a:gd name="connsiteY382" fmla="*/ 1109725 h 1413227"/>
                <a:gd name="connsiteX383" fmla="*/ 1400121 w 2048870"/>
                <a:gd name="connsiteY383" fmla="*/ 1095897 h 1413227"/>
                <a:gd name="connsiteX384" fmla="*/ 1403578 w 2048870"/>
                <a:gd name="connsiteY384" fmla="*/ 1090711 h 1413227"/>
                <a:gd name="connsiteX385" fmla="*/ 1408764 w 2048870"/>
                <a:gd name="connsiteY385" fmla="*/ 1088983 h 1413227"/>
                <a:gd name="connsiteX386" fmla="*/ 1415678 w 2048870"/>
                <a:gd name="connsiteY386" fmla="*/ 1097625 h 1413227"/>
                <a:gd name="connsiteX387" fmla="*/ 1419135 w 2048870"/>
                <a:gd name="connsiteY387" fmla="*/ 1104539 h 1413227"/>
                <a:gd name="connsiteX388" fmla="*/ 1424321 w 2048870"/>
                <a:gd name="connsiteY388" fmla="*/ 1111454 h 1413227"/>
                <a:gd name="connsiteX389" fmla="*/ 1434692 w 2048870"/>
                <a:gd name="connsiteY389" fmla="*/ 1109725 h 1413227"/>
                <a:gd name="connsiteX390" fmla="*/ 1438149 w 2048870"/>
                <a:gd name="connsiteY390" fmla="*/ 1101082 h 1413227"/>
                <a:gd name="connsiteX391" fmla="*/ 1446792 w 2048870"/>
                <a:gd name="connsiteY391" fmla="*/ 1076883 h 1413227"/>
                <a:gd name="connsiteX392" fmla="*/ 1455435 w 2048870"/>
                <a:gd name="connsiteY392" fmla="*/ 1082068 h 1413227"/>
                <a:gd name="connsiteX393" fmla="*/ 1457163 w 2048870"/>
                <a:gd name="connsiteY393" fmla="*/ 1097625 h 1413227"/>
                <a:gd name="connsiteX394" fmla="*/ 1462349 w 2048870"/>
                <a:gd name="connsiteY394" fmla="*/ 1104539 h 1413227"/>
                <a:gd name="connsiteX395" fmla="*/ 1464078 w 2048870"/>
                <a:gd name="connsiteY395" fmla="*/ 1116639 h 1413227"/>
                <a:gd name="connsiteX396" fmla="*/ 1450249 w 2048870"/>
                <a:gd name="connsiteY396" fmla="*/ 1132196 h 1413227"/>
                <a:gd name="connsiteX397" fmla="*/ 1436421 w 2048870"/>
                <a:gd name="connsiteY397" fmla="*/ 1149482 h 1413227"/>
                <a:gd name="connsiteX398" fmla="*/ 1427778 w 2048870"/>
                <a:gd name="connsiteY398" fmla="*/ 1158124 h 1413227"/>
                <a:gd name="connsiteX399" fmla="*/ 1415678 w 2048870"/>
                <a:gd name="connsiteY399" fmla="*/ 1163310 h 1413227"/>
                <a:gd name="connsiteX400" fmla="*/ 1400121 w 2048870"/>
                <a:gd name="connsiteY400" fmla="*/ 1171953 h 1413227"/>
                <a:gd name="connsiteX401" fmla="*/ 1398393 w 2048870"/>
                <a:gd name="connsiteY401" fmla="*/ 1177138 h 1413227"/>
                <a:gd name="connsiteX402" fmla="*/ 1389750 w 2048870"/>
                <a:gd name="connsiteY402" fmla="*/ 1189238 h 1413227"/>
                <a:gd name="connsiteX403" fmla="*/ 1384564 w 2048870"/>
                <a:gd name="connsiteY403" fmla="*/ 1197881 h 1413227"/>
                <a:gd name="connsiteX404" fmla="*/ 1382836 w 2048870"/>
                <a:gd name="connsiteY404" fmla="*/ 1203066 h 1413227"/>
                <a:gd name="connsiteX405" fmla="*/ 1374193 w 2048870"/>
                <a:gd name="connsiteY405" fmla="*/ 1211709 h 1413227"/>
                <a:gd name="connsiteX406" fmla="*/ 1369008 w 2048870"/>
                <a:gd name="connsiteY406" fmla="*/ 1216895 h 1413227"/>
                <a:gd name="connsiteX407" fmla="*/ 1356908 w 2048870"/>
                <a:gd name="connsiteY407" fmla="*/ 1230723 h 1413227"/>
                <a:gd name="connsiteX408" fmla="*/ 1351722 w 2048870"/>
                <a:gd name="connsiteY408" fmla="*/ 1237637 h 1413227"/>
                <a:gd name="connsiteX409" fmla="*/ 1349994 w 2048870"/>
                <a:gd name="connsiteY409" fmla="*/ 1242823 h 1413227"/>
                <a:gd name="connsiteX410" fmla="*/ 1344808 w 2048870"/>
                <a:gd name="connsiteY410" fmla="*/ 1253194 h 1413227"/>
                <a:gd name="connsiteX411" fmla="*/ 1377650 w 2048870"/>
                <a:gd name="connsiteY411" fmla="*/ 1253194 h 1413227"/>
                <a:gd name="connsiteX412" fmla="*/ 1386293 w 2048870"/>
                <a:gd name="connsiteY412" fmla="*/ 1246280 h 1413227"/>
                <a:gd name="connsiteX413" fmla="*/ 1391479 w 2048870"/>
                <a:gd name="connsiteY413" fmla="*/ 1244552 h 1413227"/>
                <a:gd name="connsiteX414" fmla="*/ 1412221 w 2048870"/>
                <a:gd name="connsiteY414" fmla="*/ 1248009 h 1413227"/>
                <a:gd name="connsiteX415" fmla="*/ 1415678 w 2048870"/>
                <a:gd name="connsiteY415" fmla="*/ 1253194 h 1413227"/>
                <a:gd name="connsiteX416" fmla="*/ 1426050 w 2048870"/>
                <a:gd name="connsiteY416" fmla="*/ 1260108 h 1413227"/>
                <a:gd name="connsiteX417" fmla="*/ 1451978 w 2048870"/>
                <a:gd name="connsiteY417" fmla="*/ 1258380 h 1413227"/>
                <a:gd name="connsiteX418" fmla="*/ 1457163 w 2048870"/>
                <a:gd name="connsiteY418" fmla="*/ 1253194 h 1413227"/>
                <a:gd name="connsiteX419" fmla="*/ 1465806 w 2048870"/>
                <a:gd name="connsiteY419" fmla="*/ 1248009 h 1413227"/>
                <a:gd name="connsiteX420" fmla="*/ 1483092 w 2048870"/>
                <a:gd name="connsiteY420" fmla="*/ 1249737 h 1413227"/>
                <a:gd name="connsiteX421" fmla="*/ 1491734 w 2048870"/>
                <a:gd name="connsiteY421" fmla="*/ 1258380 h 1413227"/>
                <a:gd name="connsiteX422" fmla="*/ 1502106 w 2048870"/>
                <a:gd name="connsiteY422" fmla="*/ 1272208 h 1413227"/>
                <a:gd name="connsiteX423" fmla="*/ 1503834 w 2048870"/>
                <a:gd name="connsiteY423" fmla="*/ 1289494 h 1413227"/>
                <a:gd name="connsiteX424" fmla="*/ 1514205 w 2048870"/>
                <a:gd name="connsiteY424" fmla="*/ 1301593 h 1413227"/>
                <a:gd name="connsiteX425" fmla="*/ 1517662 w 2048870"/>
                <a:gd name="connsiteY425" fmla="*/ 1306779 h 1413227"/>
                <a:gd name="connsiteX426" fmla="*/ 1515934 w 2048870"/>
                <a:gd name="connsiteY426" fmla="*/ 1355178 h 1413227"/>
                <a:gd name="connsiteX427" fmla="*/ 1509020 w 2048870"/>
                <a:gd name="connsiteY427" fmla="*/ 1360364 h 1413227"/>
                <a:gd name="connsiteX428" fmla="*/ 1503834 w 2048870"/>
                <a:gd name="connsiteY428" fmla="*/ 1370735 h 1413227"/>
                <a:gd name="connsiteX429" fmla="*/ 1534948 w 2048870"/>
                <a:gd name="connsiteY429" fmla="*/ 1374192 h 1413227"/>
                <a:gd name="connsiteX430" fmla="*/ 1540133 w 2048870"/>
                <a:gd name="connsiteY430" fmla="*/ 1377649 h 1413227"/>
                <a:gd name="connsiteX431" fmla="*/ 1559147 w 2048870"/>
                <a:gd name="connsiteY431" fmla="*/ 1375921 h 1413227"/>
                <a:gd name="connsiteX432" fmla="*/ 1564333 w 2048870"/>
                <a:gd name="connsiteY432" fmla="*/ 1372464 h 1413227"/>
                <a:gd name="connsiteX433" fmla="*/ 1579890 w 2048870"/>
                <a:gd name="connsiteY433" fmla="*/ 1370735 h 1413227"/>
                <a:gd name="connsiteX434" fmla="*/ 1597175 w 2048870"/>
                <a:gd name="connsiteY434" fmla="*/ 1363821 h 1413227"/>
                <a:gd name="connsiteX435" fmla="*/ 1600633 w 2048870"/>
                <a:gd name="connsiteY435" fmla="*/ 1360364 h 1413227"/>
                <a:gd name="connsiteX436" fmla="*/ 1612732 w 2048870"/>
                <a:gd name="connsiteY436" fmla="*/ 1341350 h 1413227"/>
                <a:gd name="connsiteX437" fmla="*/ 1617918 w 2048870"/>
                <a:gd name="connsiteY437" fmla="*/ 1305051 h 1413227"/>
                <a:gd name="connsiteX438" fmla="*/ 1623104 w 2048870"/>
                <a:gd name="connsiteY438" fmla="*/ 1301593 h 1413227"/>
                <a:gd name="connsiteX439" fmla="*/ 1624832 w 2048870"/>
                <a:gd name="connsiteY439" fmla="*/ 1284308 h 1413227"/>
                <a:gd name="connsiteX440" fmla="*/ 1631746 w 2048870"/>
                <a:gd name="connsiteY440" fmla="*/ 1270480 h 1413227"/>
                <a:gd name="connsiteX441" fmla="*/ 1643846 w 2048870"/>
                <a:gd name="connsiteY441" fmla="*/ 1263565 h 1413227"/>
                <a:gd name="connsiteX442" fmla="*/ 1669774 w 2048870"/>
                <a:gd name="connsiteY442" fmla="*/ 1260108 h 1413227"/>
                <a:gd name="connsiteX443" fmla="*/ 1681874 w 2048870"/>
                <a:gd name="connsiteY443" fmla="*/ 1254923 h 1413227"/>
                <a:gd name="connsiteX444" fmla="*/ 1687060 w 2048870"/>
                <a:gd name="connsiteY444" fmla="*/ 1253194 h 1413227"/>
                <a:gd name="connsiteX445" fmla="*/ 1702617 w 2048870"/>
                <a:gd name="connsiteY445" fmla="*/ 1249737 h 1413227"/>
                <a:gd name="connsiteX446" fmla="*/ 1704345 w 2048870"/>
                <a:gd name="connsiteY446" fmla="*/ 1232452 h 1413227"/>
                <a:gd name="connsiteX447" fmla="*/ 1706074 w 2048870"/>
                <a:gd name="connsiteY447" fmla="*/ 1208252 h 1413227"/>
                <a:gd name="connsiteX448" fmla="*/ 1711259 w 2048870"/>
                <a:gd name="connsiteY448" fmla="*/ 1201338 h 1413227"/>
                <a:gd name="connsiteX449" fmla="*/ 1718174 w 2048870"/>
                <a:gd name="connsiteY449" fmla="*/ 1192695 h 1413227"/>
                <a:gd name="connsiteX450" fmla="*/ 1725088 w 2048870"/>
                <a:gd name="connsiteY450" fmla="*/ 1189238 h 1413227"/>
                <a:gd name="connsiteX451" fmla="*/ 1735459 w 2048870"/>
                <a:gd name="connsiteY451" fmla="*/ 1184052 h 1413227"/>
                <a:gd name="connsiteX452" fmla="*/ 1773487 w 2048870"/>
                <a:gd name="connsiteY452" fmla="*/ 1189238 h 1413227"/>
                <a:gd name="connsiteX453" fmla="*/ 1778673 w 2048870"/>
                <a:gd name="connsiteY453" fmla="*/ 1194424 h 1413227"/>
                <a:gd name="connsiteX454" fmla="*/ 1808058 w 2048870"/>
                <a:gd name="connsiteY454" fmla="*/ 1187510 h 1413227"/>
                <a:gd name="connsiteX455" fmla="*/ 1811515 w 2048870"/>
                <a:gd name="connsiteY455" fmla="*/ 1180595 h 1413227"/>
                <a:gd name="connsiteX456" fmla="*/ 1818429 w 2048870"/>
                <a:gd name="connsiteY456" fmla="*/ 1171953 h 1413227"/>
                <a:gd name="connsiteX457" fmla="*/ 1825343 w 2048870"/>
                <a:gd name="connsiteY457" fmla="*/ 1158124 h 1413227"/>
                <a:gd name="connsiteX458" fmla="*/ 1827072 w 2048870"/>
                <a:gd name="connsiteY458" fmla="*/ 1151210 h 1413227"/>
                <a:gd name="connsiteX459" fmla="*/ 1833986 w 2048870"/>
                <a:gd name="connsiteY459" fmla="*/ 1133925 h 1413227"/>
                <a:gd name="connsiteX460" fmla="*/ 1820158 w 2048870"/>
                <a:gd name="connsiteY460" fmla="*/ 1128739 h 1413227"/>
                <a:gd name="connsiteX461" fmla="*/ 1816701 w 2048870"/>
                <a:gd name="connsiteY461" fmla="*/ 1123553 h 1413227"/>
                <a:gd name="connsiteX462" fmla="*/ 1820158 w 2048870"/>
                <a:gd name="connsiteY462" fmla="*/ 1118368 h 1413227"/>
                <a:gd name="connsiteX463" fmla="*/ 1825343 w 2048870"/>
                <a:gd name="connsiteY463" fmla="*/ 1111454 h 1413227"/>
                <a:gd name="connsiteX464" fmla="*/ 1828800 w 2048870"/>
                <a:gd name="connsiteY464" fmla="*/ 1099354 h 1413227"/>
                <a:gd name="connsiteX465" fmla="*/ 1832257 w 2048870"/>
                <a:gd name="connsiteY465" fmla="*/ 1094168 h 1413227"/>
                <a:gd name="connsiteX466" fmla="*/ 1830529 w 2048870"/>
                <a:gd name="connsiteY466" fmla="*/ 1083797 h 1413227"/>
                <a:gd name="connsiteX467" fmla="*/ 1816701 w 2048870"/>
                <a:gd name="connsiteY467" fmla="*/ 1087254 h 1413227"/>
                <a:gd name="connsiteX468" fmla="*/ 1789044 w 2048870"/>
                <a:gd name="connsiteY468" fmla="*/ 1092440 h 1413227"/>
                <a:gd name="connsiteX469" fmla="*/ 1778673 w 2048870"/>
                <a:gd name="connsiteY469" fmla="*/ 1095897 h 1413227"/>
                <a:gd name="connsiteX470" fmla="*/ 1771758 w 2048870"/>
                <a:gd name="connsiteY470" fmla="*/ 1099354 h 1413227"/>
                <a:gd name="connsiteX471" fmla="*/ 1766573 w 2048870"/>
                <a:gd name="connsiteY471" fmla="*/ 1116639 h 1413227"/>
                <a:gd name="connsiteX472" fmla="*/ 1756202 w 2048870"/>
                <a:gd name="connsiteY472" fmla="*/ 1118368 h 1413227"/>
                <a:gd name="connsiteX473" fmla="*/ 1738916 w 2048870"/>
                <a:gd name="connsiteY473" fmla="*/ 1130468 h 1413227"/>
                <a:gd name="connsiteX474" fmla="*/ 1718174 w 2048870"/>
                <a:gd name="connsiteY474" fmla="*/ 1140839 h 1413227"/>
                <a:gd name="connsiteX475" fmla="*/ 1709531 w 2048870"/>
                <a:gd name="connsiteY475" fmla="*/ 1146024 h 1413227"/>
                <a:gd name="connsiteX476" fmla="*/ 1707802 w 2048870"/>
                <a:gd name="connsiteY476" fmla="*/ 1151210 h 1413227"/>
                <a:gd name="connsiteX477" fmla="*/ 1700888 w 2048870"/>
                <a:gd name="connsiteY477" fmla="*/ 1154667 h 1413227"/>
                <a:gd name="connsiteX478" fmla="*/ 1647303 w 2048870"/>
                <a:gd name="connsiteY478" fmla="*/ 1152939 h 1413227"/>
                <a:gd name="connsiteX479" fmla="*/ 1650760 w 2048870"/>
                <a:gd name="connsiteY479" fmla="*/ 1142567 h 1413227"/>
                <a:gd name="connsiteX480" fmla="*/ 1649032 w 2048870"/>
                <a:gd name="connsiteY480" fmla="*/ 1120096 h 1413227"/>
                <a:gd name="connsiteX481" fmla="*/ 1598904 w 2048870"/>
                <a:gd name="connsiteY481" fmla="*/ 1114911 h 1413227"/>
                <a:gd name="connsiteX482" fmla="*/ 1591990 w 2048870"/>
                <a:gd name="connsiteY482" fmla="*/ 1113182 h 1413227"/>
                <a:gd name="connsiteX483" fmla="*/ 1564333 w 2048870"/>
                <a:gd name="connsiteY483" fmla="*/ 1109725 h 1413227"/>
                <a:gd name="connsiteX484" fmla="*/ 1553962 w 2048870"/>
                <a:gd name="connsiteY484" fmla="*/ 1101082 h 1413227"/>
                <a:gd name="connsiteX485" fmla="*/ 1543591 w 2048870"/>
                <a:gd name="connsiteY485" fmla="*/ 1092440 h 1413227"/>
                <a:gd name="connsiteX486" fmla="*/ 1526305 w 2048870"/>
                <a:gd name="connsiteY486" fmla="*/ 1090711 h 1413227"/>
                <a:gd name="connsiteX487" fmla="*/ 1514205 w 2048870"/>
                <a:gd name="connsiteY487" fmla="*/ 1085525 h 1413227"/>
                <a:gd name="connsiteX488" fmla="*/ 1512477 w 2048870"/>
                <a:gd name="connsiteY488" fmla="*/ 1092440 h 1413227"/>
                <a:gd name="connsiteX489" fmla="*/ 1507291 w 2048870"/>
                <a:gd name="connsiteY489" fmla="*/ 1085525 h 1413227"/>
                <a:gd name="connsiteX490" fmla="*/ 1496920 w 2048870"/>
                <a:gd name="connsiteY490" fmla="*/ 1075154 h 1413227"/>
                <a:gd name="connsiteX491" fmla="*/ 1445064 w 2048870"/>
                <a:gd name="connsiteY491" fmla="*/ 1076883 h 1413227"/>
                <a:gd name="connsiteX492" fmla="*/ 1439878 w 2048870"/>
                <a:gd name="connsiteY492" fmla="*/ 1080340 h 1413227"/>
                <a:gd name="connsiteX493" fmla="*/ 1438149 w 2048870"/>
                <a:gd name="connsiteY493" fmla="*/ 1085525 h 1413227"/>
                <a:gd name="connsiteX494" fmla="*/ 1451978 w 2048870"/>
                <a:gd name="connsiteY494" fmla="*/ 1071697 h 1413227"/>
                <a:gd name="connsiteX495" fmla="*/ 1458892 w 2048870"/>
                <a:gd name="connsiteY495" fmla="*/ 1064783 h 1413227"/>
                <a:gd name="connsiteX496" fmla="*/ 1464078 w 2048870"/>
                <a:gd name="connsiteY496" fmla="*/ 1059597 h 1413227"/>
                <a:gd name="connsiteX497" fmla="*/ 1479634 w 2048870"/>
                <a:gd name="connsiteY497" fmla="*/ 1064783 h 1413227"/>
                <a:gd name="connsiteX498" fmla="*/ 1490006 w 2048870"/>
                <a:gd name="connsiteY498" fmla="*/ 1071697 h 1413227"/>
                <a:gd name="connsiteX499" fmla="*/ 1498648 w 2048870"/>
                <a:gd name="connsiteY499" fmla="*/ 1068240 h 1413227"/>
                <a:gd name="connsiteX500" fmla="*/ 1500377 w 2048870"/>
                <a:gd name="connsiteY500" fmla="*/ 1063054 h 1413227"/>
                <a:gd name="connsiteX501" fmla="*/ 1503834 w 2048870"/>
                <a:gd name="connsiteY501" fmla="*/ 1057869 h 1413227"/>
                <a:gd name="connsiteX502" fmla="*/ 1507291 w 2048870"/>
                <a:gd name="connsiteY502" fmla="*/ 1045769 h 1413227"/>
                <a:gd name="connsiteX503" fmla="*/ 1540133 w 2048870"/>
                <a:gd name="connsiteY503" fmla="*/ 1044040 h 1413227"/>
                <a:gd name="connsiteX504" fmla="*/ 1557419 w 2048870"/>
                <a:gd name="connsiteY504" fmla="*/ 1059597 h 1413227"/>
                <a:gd name="connsiteX505" fmla="*/ 1560876 w 2048870"/>
                <a:gd name="connsiteY505" fmla="*/ 1073426 h 1413227"/>
                <a:gd name="connsiteX506" fmla="*/ 1564333 w 2048870"/>
                <a:gd name="connsiteY506" fmla="*/ 1087254 h 1413227"/>
                <a:gd name="connsiteX507" fmla="*/ 1566062 w 2048870"/>
                <a:gd name="connsiteY507" fmla="*/ 1094168 h 1413227"/>
                <a:gd name="connsiteX508" fmla="*/ 1569519 w 2048870"/>
                <a:gd name="connsiteY508" fmla="*/ 1099354 h 1413227"/>
                <a:gd name="connsiteX509" fmla="*/ 1576433 w 2048870"/>
                <a:gd name="connsiteY509" fmla="*/ 1037126 h 1413227"/>
                <a:gd name="connsiteX510" fmla="*/ 1588533 w 2048870"/>
                <a:gd name="connsiteY510" fmla="*/ 1052683 h 1413227"/>
                <a:gd name="connsiteX511" fmla="*/ 1591990 w 2048870"/>
                <a:gd name="connsiteY511" fmla="*/ 1069969 h 1413227"/>
                <a:gd name="connsiteX512" fmla="*/ 1607547 w 2048870"/>
                <a:gd name="connsiteY512" fmla="*/ 1080340 h 1413227"/>
                <a:gd name="connsiteX513" fmla="*/ 1612732 w 2048870"/>
                <a:gd name="connsiteY513" fmla="*/ 1083797 h 1413227"/>
                <a:gd name="connsiteX514" fmla="*/ 1621375 w 2048870"/>
                <a:gd name="connsiteY514" fmla="*/ 1085525 h 1413227"/>
                <a:gd name="connsiteX515" fmla="*/ 1633475 w 2048870"/>
                <a:gd name="connsiteY515" fmla="*/ 1092440 h 1413227"/>
                <a:gd name="connsiteX516" fmla="*/ 1640389 w 2048870"/>
                <a:gd name="connsiteY516" fmla="*/ 1095897 h 1413227"/>
                <a:gd name="connsiteX517" fmla="*/ 1649032 w 2048870"/>
                <a:gd name="connsiteY517" fmla="*/ 1109725 h 1413227"/>
                <a:gd name="connsiteX518" fmla="*/ 1659403 w 2048870"/>
                <a:gd name="connsiteY518" fmla="*/ 1113182 h 1413227"/>
                <a:gd name="connsiteX519" fmla="*/ 1669774 w 2048870"/>
                <a:gd name="connsiteY519" fmla="*/ 1118368 h 1413227"/>
                <a:gd name="connsiteX520" fmla="*/ 1680146 w 2048870"/>
                <a:gd name="connsiteY520" fmla="*/ 1125282 h 1413227"/>
                <a:gd name="connsiteX521" fmla="*/ 1699160 w 2048870"/>
                <a:gd name="connsiteY521" fmla="*/ 1139110 h 1413227"/>
                <a:gd name="connsiteX522" fmla="*/ 1712988 w 2048870"/>
                <a:gd name="connsiteY522" fmla="*/ 1142567 h 1413227"/>
                <a:gd name="connsiteX523" fmla="*/ 1704345 w 2048870"/>
                <a:gd name="connsiteY523" fmla="*/ 1137382 h 1413227"/>
                <a:gd name="connsiteX524" fmla="*/ 1699160 w 2048870"/>
                <a:gd name="connsiteY524" fmla="*/ 1132196 h 1413227"/>
                <a:gd name="connsiteX525" fmla="*/ 1688788 w 2048870"/>
                <a:gd name="connsiteY525" fmla="*/ 1128739 h 1413227"/>
                <a:gd name="connsiteX526" fmla="*/ 1674960 w 2048870"/>
                <a:gd name="connsiteY526" fmla="*/ 1125282 h 1413227"/>
                <a:gd name="connsiteX527" fmla="*/ 1659403 w 2048870"/>
                <a:gd name="connsiteY527" fmla="*/ 1121825 h 1413227"/>
                <a:gd name="connsiteX528" fmla="*/ 1650760 w 2048870"/>
                <a:gd name="connsiteY528" fmla="*/ 1116639 h 1413227"/>
                <a:gd name="connsiteX529" fmla="*/ 1645575 w 2048870"/>
                <a:gd name="connsiteY529" fmla="*/ 1113182 h 1413227"/>
                <a:gd name="connsiteX530" fmla="*/ 1642118 w 2048870"/>
                <a:gd name="connsiteY530" fmla="*/ 1107996 h 1413227"/>
                <a:gd name="connsiteX531" fmla="*/ 1628289 w 2048870"/>
                <a:gd name="connsiteY531" fmla="*/ 1088983 h 1413227"/>
                <a:gd name="connsiteX532" fmla="*/ 1626561 w 2048870"/>
                <a:gd name="connsiteY532" fmla="*/ 1083797 h 1413227"/>
                <a:gd name="connsiteX533" fmla="*/ 1619647 w 2048870"/>
                <a:gd name="connsiteY533" fmla="*/ 1075154 h 1413227"/>
                <a:gd name="connsiteX534" fmla="*/ 1616189 w 2048870"/>
                <a:gd name="connsiteY534" fmla="*/ 1061326 h 1413227"/>
                <a:gd name="connsiteX535" fmla="*/ 1614461 w 2048870"/>
                <a:gd name="connsiteY535" fmla="*/ 1056140 h 1413227"/>
                <a:gd name="connsiteX536" fmla="*/ 1604090 w 2048870"/>
                <a:gd name="connsiteY536" fmla="*/ 1038855 h 1413227"/>
                <a:gd name="connsiteX537" fmla="*/ 1598904 w 2048870"/>
                <a:gd name="connsiteY537" fmla="*/ 1037126 h 1413227"/>
                <a:gd name="connsiteX538" fmla="*/ 1593718 w 2048870"/>
                <a:gd name="connsiteY538" fmla="*/ 1030212 h 1413227"/>
                <a:gd name="connsiteX539" fmla="*/ 1585076 w 2048870"/>
                <a:gd name="connsiteY539" fmla="*/ 1019841 h 1413227"/>
                <a:gd name="connsiteX540" fmla="*/ 1590261 w 2048870"/>
                <a:gd name="connsiteY540" fmla="*/ 1000827 h 1413227"/>
                <a:gd name="connsiteX541" fmla="*/ 1598904 w 2048870"/>
                <a:gd name="connsiteY541" fmla="*/ 999098 h 1413227"/>
                <a:gd name="connsiteX542" fmla="*/ 1611004 w 2048870"/>
                <a:gd name="connsiteY542" fmla="*/ 990455 h 1413227"/>
                <a:gd name="connsiteX543" fmla="*/ 1617918 w 2048870"/>
                <a:gd name="connsiteY543" fmla="*/ 985270 h 1413227"/>
                <a:gd name="connsiteX544" fmla="*/ 1616189 w 2048870"/>
                <a:gd name="connsiteY544" fmla="*/ 1021569 h 1413227"/>
                <a:gd name="connsiteX545" fmla="*/ 1612732 w 2048870"/>
                <a:gd name="connsiteY545" fmla="*/ 1028483 h 1413227"/>
                <a:gd name="connsiteX546" fmla="*/ 1607547 w 2048870"/>
                <a:gd name="connsiteY546" fmla="*/ 1035398 h 1413227"/>
                <a:gd name="connsiteX547" fmla="*/ 1612732 w 2048870"/>
                <a:gd name="connsiteY547" fmla="*/ 1031941 h 1413227"/>
                <a:gd name="connsiteX548" fmla="*/ 1621375 w 2048870"/>
                <a:gd name="connsiteY548" fmla="*/ 1016384 h 1413227"/>
                <a:gd name="connsiteX549" fmla="*/ 1626561 w 2048870"/>
                <a:gd name="connsiteY549" fmla="*/ 997370 h 1413227"/>
                <a:gd name="connsiteX550" fmla="*/ 1626561 w 2048870"/>
                <a:gd name="connsiteY550" fmla="*/ 976627 h 1413227"/>
                <a:gd name="connsiteX551" fmla="*/ 1619647 w 2048870"/>
                <a:gd name="connsiteY551" fmla="*/ 962799 h 1413227"/>
                <a:gd name="connsiteX552" fmla="*/ 1626561 w 2048870"/>
                <a:gd name="connsiteY552" fmla="*/ 966256 h 1413227"/>
                <a:gd name="connsiteX553" fmla="*/ 1638661 w 2048870"/>
                <a:gd name="connsiteY553" fmla="*/ 969713 h 1413227"/>
                <a:gd name="connsiteX554" fmla="*/ 1645575 w 2048870"/>
                <a:gd name="connsiteY554" fmla="*/ 967984 h 1413227"/>
                <a:gd name="connsiteX555" fmla="*/ 1650760 w 2048870"/>
                <a:gd name="connsiteY555" fmla="*/ 955885 h 1413227"/>
                <a:gd name="connsiteX556" fmla="*/ 1659403 w 2048870"/>
                <a:gd name="connsiteY556" fmla="*/ 933414 h 1413227"/>
                <a:gd name="connsiteX557" fmla="*/ 1662860 w 2048870"/>
                <a:gd name="connsiteY557" fmla="*/ 929956 h 1413227"/>
                <a:gd name="connsiteX558" fmla="*/ 1664589 w 2048870"/>
                <a:gd name="connsiteY558" fmla="*/ 923042 h 1413227"/>
                <a:gd name="connsiteX559" fmla="*/ 1673231 w 2048870"/>
                <a:gd name="connsiteY559" fmla="*/ 893657 h 1413227"/>
                <a:gd name="connsiteX560" fmla="*/ 1687060 w 2048870"/>
                <a:gd name="connsiteY560" fmla="*/ 891928 h 1413227"/>
                <a:gd name="connsiteX561" fmla="*/ 1693974 w 2048870"/>
                <a:gd name="connsiteY561" fmla="*/ 890200 h 1413227"/>
                <a:gd name="connsiteX562" fmla="*/ 1700888 w 2048870"/>
                <a:gd name="connsiteY562" fmla="*/ 886743 h 1413227"/>
                <a:gd name="connsiteX563" fmla="*/ 1719902 w 2048870"/>
                <a:gd name="connsiteY563" fmla="*/ 878100 h 1413227"/>
                <a:gd name="connsiteX564" fmla="*/ 1726816 w 2048870"/>
                <a:gd name="connsiteY564" fmla="*/ 876372 h 1413227"/>
                <a:gd name="connsiteX565" fmla="*/ 1745830 w 2048870"/>
                <a:gd name="connsiteY565" fmla="*/ 860815 h 1413227"/>
                <a:gd name="connsiteX566" fmla="*/ 1751016 w 2048870"/>
                <a:gd name="connsiteY566" fmla="*/ 857358 h 1413227"/>
                <a:gd name="connsiteX567" fmla="*/ 1757930 w 2048870"/>
                <a:gd name="connsiteY567" fmla="*/ 855629 h 1413227"/>
                <a:gd name="connsiteX568" fmla="*/ 1764844 w 2048870"/>
                <a:gd name="connsiteY568" fmla="*/ 841801 h 1413227"/>
                <a:gd name="connsiteX569" fmla="*/ 1771758 w 2048870"/>
                <a:gd name="connsiteY569" fmla="*/ 836615 h 1413227"/>
                <a:gd name="connsiteX570" fmla="*/ 1776944 w 2048870"/>
                <a:gd name="connsiteY570" fmla="*/ 833158 h 1413227"/>
                <a:gd name="connsiteX571" fmla="*/ 1787315 w 2048870"/>
                <a:gd name="connsiteY571" fmla="*/ 831429 h 1413227"/>
                <a:gd name="connsiteX572" fmla="*/ 1795958 w 2048870"/>
                <a:gd name="connsiteY572" fmla="*/ 829701 h 1413227"/>
                <a:gd name="connsiteX573" fmla="*/ 1797687 w 2048870"/>
                <a:gd name="connsiteY573" fmla="*/ 824515 h 1413227"/>
                <a:gd name="connsiteX574" fmla="*/ 1825343 w 2048870"/>
                <a:gd name="connsiteY574" fmla="*/ 796859 h 1413227"/>
                <a:gd name="connsiteX575" fmla="*/ 1830529 w 2048870"/>
                <a:gd name="connsiteY575" fmla="*/ 776116 h 1413227"/>
                <a:gd name="connsiteX576" fmla="*/ 1835715 w 2048870"/>
                <a:gd name="connsiteY576" fmla="*/ 770930 h 1413227"/>
                <a:gd name="connsiteX577" fmla="*/ 1863371 w 2048870"/>
                <a:gd name="connsiteY577" fmla="*/ 760559 h 1413227"/>
                <a:gd name="connsiteX578" fmla="*/ 1868557 w 2048870"/>
                <a:gd name="connsiteY578" fmla="*/ 755373 h 1413227"/>
                <a:gd name="connsiteX579" fmla="*/ 1880657 w 2048870"/>
                <a:gd name="connsiteY579" fmla="*/ 753645 h 1413227"/>
                <a:gd name="connsiteX580" fmla="*/ 1889299 w 2048870"/>
                <a:gd name="connsiteY580" fmla="*/ 750188 h 1413227"/>
                <a:gd name="connsiteX581" fmla="*/ 1894485 w 2048870"/>
                <a:gd name="connsiteY581" fmla="*/ 731174 h 1413227"/>
                <a:gd name="connsiteX582" fmla="*/ 1910042 w 2048870"/>
                <a:gd name="connsiteY582" fmla="*/ 719074 h 1413227"/>
                <a:gd name="connsiteX583" fmla="*/ 1916956 w 2048870"/>
                <a:gd name="connsiteY583" fmla="*/ 710431 h 1413227"/>
                <a:gd name="connsiteX584" fmla="*/ 1908313 w 2048870"/>
                <a:gd name="connsiteY584" fmla="*/ 689689 h 1413227"/>
                <a:gd name="connsiteX585" fmla="*/ 1901399 w 2048870"/>
                <a:gd name="connsiteY585" fmla="*/ 675860 h 1413227"/>
                <a:gd name="connsiteX586" fmla="*/ 1897942 w 2048870"/>
                <a:gd name="connsiteY586" fmla="*/ 665489 h 1413227"/>
                <a:gd name="connsiteX587" fmla="*/ 1901399 w 2048870"/>
                <a:gd name="connsiteY587" fmla="*/ 651661 h 1413227"/>
                <a:gd name="connsiteX588" fmla="*/ 1897942 w 2048870"/>
                <a:gd name="connsiteY588" fmla="*/ 629190 h 1413227"/>
                <a:gd name="connsiteX589" fmla="*/ 1904856 w 2048870"/>
                <a:gd name="connsiteY589" fmla="*/ 624004 h 1413227"/>
                <a:gd name="connsiteX590" fmla="*/ 1910042 w 2048870"/>
                <a:gd name="connsiteY590" fmla="*/ 613633 h 1413227"/>
                <a:gd name="connsiteX591" fmla="*/ 1918685 w 2048870"/>
                <a:gd name="connsiteY591" fmla="*/ 608447 h 1413227"/>
                <a:gd name="connsiteX592" fmla="*/ 1925599 w 2048870"/>
                <a:gd name="connsiteY592" fmla="*/ 601533 h 1413227"/>
                <a:gd name="connsiteX593" fmla="*/ 1929056 w 2048870"/>
                <a:gd name="connsiteY593" fmla="*/ 587705 h 1413227"/>
                <a:gd name="connsiteX594" fmla="*/ 1932513 w 2048870"/>
                <a:gd name="connsiteY594" fmla="*/ 582519 h 1413227"/>
                <a:gd name="connsiteX595" fmla="*/ 1939427 w 2048870"/>
                <a:gd name="connsiteY595" fmla="*/ 565234 h 1413227"/>
                <a:gd name="connsiteX596" fmla="*/ 1963627 w 2048870"/>
                <a:gd name="connsiteY596" fmla="*/ 556591 h 1413227"/>
                <a:gd name="connsiteX597" fmla="*/ 1968812 w 2048870"/>
                <a:gd name="connsiteY597" fmla="*/ 547948 h 1413227"/>
                <a:gd name="connsiteX598" fmla="*/ 1986098 w 2048870"/>
                <a:gd name="connsiteY598" fmla="*/ 544491 h 1413227"/>
                <a:gd name="connsiteX599" fmla="*/ 2008569 w 2048870"/>
                <a:gd name="connsiteY599" fmla="*/ 539305 h 1413227"/>
                <a:gd name="connsiteX600" fmla="*/ 2017212 w 2048870"/>
                <a:gd name="connsiteY600" fmla="*/ 530663 h 1413227"/>
                <a:gd name="connsiteX601" fmla="*/ 2048326 w 2048870"/>
                <a:gd name="connsiteY601" fmla="*/ 525477 h 1413227"/>
                <a:gd name="connsiteX602" fmla="*/ 2043140 w 2048870"/>
                <a:gd name="connsiteY602" fmla="*/ 499549 h 1413227"/>
                <a:gd name="connsiteX603" fmla="*/ 2032769 w 2048870"/>
                <a:gd name="connsiteY603" fmla="*/ 492635 h 1413227"/>
                <a:gd name="connsiteX604" fmla="*/ 2025854 w 2048870"/>
                <a:gd name="connsiteY604" fmla="*/ 447693 h 1413227"/>
                <a:gd name="connsiteX605" fmla="*/ 2018940 w 2048870"/>
                <a:gd name="connsiteY605" fmla="*/ 428679 h 1413227"/>
                <a:gd name="connsiteX606" fmla="*/ 2015483 w 2048870"/>
                <a:gd name="connsiteY606" fmla="*/ 418307 h 1413227"/>
                <a:gd name="connsiteX607" fmla="*/ 2010298 w 2048870"/>
                <a:gd name="connsiteY607" fmla="*/ 411393 h 1413227"/>
                <a:gd name="connsiteX608" fmla="*/ 2003383 w 2048870"/>
                <a:gd name="connsiteY608" fmla="*/ 407936 h 1413227"/>
                <a:gd name="connsiteX609" fmla="*/ 1984369 w 2048870"/>
                <a:gd name="connsiteY609" fmla="*/ 404479 h 1413227"/>
                <a:gd name="connsiteX610" fmla="*/ 1977455 w 2048870"/>
                <a:gd name="connsiteY610" fmla="*/ 394108 h 1413227"/>
                <a:gd name="connsiteX611" fmla="*/ 1972270 w 2048870"/>
                <a:gd name="connsiteY611" fmla="*/ 390651 h 1413227"/>
                <a:gd name="connsiteX612" fmla="*/ 1968812 w 2048870"/>
                <a:gd name="connsiteY612" fmla="*/ 382008 h 1413227"/>
                <a:gd name="connsiteX613" fmla="*/ 1973998 w 2048870"/>
                <a:gd name="connsiteY613" fmla="*/ 366451 h 1413227"/>
                <a:gd name="connsiteX614" fmla="*/ 1982641 w 2048870"/>
                <a:gd name="connsiteY614" fmla="*/ 354351 h 1413227"/>
                <a:gd name="connsiteX615" fmla="*/ 1984369 w 2048870"/>
                <a:gd name="connsiteY615" fmla="*/ 347437 h 1413227"/>
                <a:gd name="connsiteX616" fmla="*/ 1994741 w 2048870"/>
                <a:gd name="connsiteY616" fmla="*/ 343980 h 1413227"/>
                <a:gd name="connsiteX617" fmla="*/ 1960170 w 2048870"/>
                <a:gd name="connsiteY617" fmla="*/ 337066 h 1413227"/>
                <a:gd name="connsiteX618" fmla="*/ 1958441 w 2048870"/>
                <a:gd name="connsiteY618" fmla="*/ 331880 h 1413227"/>
                <a:gd name="connsiteX619" fmla="*/ 1954984 w 2048870"/>
                <a:gd name="connsiteY619" fmla="*/ 326694 h 1413227"/>
                <a:gd name="connsiteX620" fmla="*/ 1958441 w 2048870"/>
                <a:gd name="connsiteY620" fmla="*/ 318052 h 1413227"/>
                <a:gd name="connsiteX621" fmla="*/ 1963627 w 2048870"/>
                <a:gd name="connsiteY621" fmla="*/ 311138 h 1413227"/>
                <a:gd name="connsiteX622" fmla="*/ 1967084 w 2048870"/>
                <a:gd name="connsiteY622" fmla="*/ 305952 h 1413227"/>
                <a:gd name="connsiteX623" fmla="*/ 1968812 w 2048870"/>
                <a:gd name="connsiteY623" fmla="*/ 299038 h 1413227"/>
                <a:gd name="connsiteX624" fmla="*/ 1973998 w 2048870"/>
                <a:gd name="connsiteY624" fmla="*/ 293852 h 1413227"/>
                <a:gd name="connsiteX625" fmla="*/ 1975727 w 2048870"/>
                <a:gd name="connsiteY625" fmla="*/ 269652 h 1413227"/>
                <a:gd name="connsiteX626" fmla="*/ 1970541 w 2048870"/>
                <a:gd name="connsiteY626" fmla="*/ 255824 h 1413227"/>
                <a:gd name="connsiteX627" fmla="*/ 1968812 w 2048870"/>
                <a:gd name="connsiteY627" fmla="*/ 250638 h 1413227"/>
                <a:gd name="connsiteX628" fmla="*/ 1967084 w 2048870"/>
                <a:gd name="connsiteY628" fmla="*/ 243724 h 1413227"/>
                <a:gd name="connsiteX629" fmla="*/ 1963627 w 2048870"/>
                <a:gd name="connsiteY629" fmla="*/ 238539 h 1413227"/>
                <a:gd name="connsiteX630" fmla="*/ 1965355 w 2048870"/>
                <a:gd name="connsiteY630" fmla="*/ 216068 h 1413227"/>
                <a:gd name="connsiteX631" fmla="*/ 1961898 w 2048870"/>
                <a:gd name="connsiteY631" fmla="*/ 209153 h 1413227"/>
                <a:gd name="connsiteX632" fmla="*/ 1954984 w 2048870"/>
                <a:gd name="connsiteY632" fmla="*/ 216068 h 1413227"/>
                <a:gd name="connsiteX633" fmla="*/ 1948070 w 2048870"/>
                <a:gd name="connsiteY633" fmla="*/ 217796 h 1413227"/>
                <a:gd name="connsiteX634" fmla="*/ 1937699 w 2048870"/>
                <a:gd name="connsiteY634" fmla="*/ 226439 h 1413227"/>
                <a:gd name="connsiteX635" fmla="*/ 1932513 w 2048870"/>
                <a:gd name="connsiteY635" fmla="*/ 228167 h 1413227"/>
                <a:gd name="connsiteX636" fmla="*/ 1922142 w 2048870"/>
                <a:gd name="connsiteY636" fmla="*/ 235082 h 1413227"/>
                <a:gd name="connsiteX637" fmla="*/ 1906585 w 2048870"/>
                <a:gd name="connsiteY637" fmla="*/ 231624 h 1413227"/>
                <a:gd name="connsiteX638" fmla="*/ 1885842 w 2048870"/>
                <a:gd name="connsiteY638" fmla="*/ 222982 h 1413227"/>
                <a:gd name="connsiteX639" fmla="*/ 1878928 w 2048870"/>
                <a:gd name="connsiteY639" fmla="*/ 224710 h 1413227"/>
                <a:gd name="connsiteX640" fmla="*/ 1868557 w 2048870"/>
                <a:gd name="connsiteY640" fmla="*/ 233353 h 1413227"/>
                <a:gd name="connsiteX641" fmla="*/ 1847814 w 2048870"/>
                <a:gd name="connsiteY641" fmla="*/ 221253 h 1413227"/>
                <a:gd name="connsiteX642" fmla="*/ 1839172 w 2048870"/>
                <a:gd name="connsiteY642" fmla="*/ 217796 h 1413227"/>
                <a:gd name="connsiteX643" fmla="*/ 1832257 w 2048870"/>
                <a:gd name="connsiteY643" fmla="*/ 214339 h 1413227"/>
                <a:gd name="connsiteX644" fmla="*/ 1823615 w 2048870"/>
                <a:gd name="connsiteY644" fmla="*/ 224710 h 1413227"/>
                <a:gd name="connsiteX645" fmla="*/ 1816701 w 2048870"/>
                <a:gd name="connsiteY645" fmla="*/ 229896 h 1413227"/>
                <a:gd name="connsiteX646" fmla="*/ 1787315 w 2048870"/>
                <a:gd name="connsiteY646" fmla="*/ 221253 h 1413227"/>
                <a:gd name="connsiteX647" fmla="*/ 1759659 w 2048870"/>
                <a:gd name="connsiteY647" fmla="*/ 222982 h 1413227"/>
                <a:gd name="connsiteX648" fmla="*/ 1754473 w 2048870"/>
                <a:gd name="connsiteY648" fmla="*/ 224710 h 1413227"/>
                <a:gd name="connsiteX649" fmla="*/ 1735459 w 2048870"/>
                <a:gd name="connsiteY649" fmla="*/ 222982 h 1413227"/>
                <a:gd name="connsiteX650" fmla="*/ 1728545 w 2048870"/>
                <a:gd name="connsiteY650" fmla="*/ 217796 h 1413227"/>
                <a:gd name="connsiteX651" fmla="*/ 1721631 w 2048870"/>
                <a:gd name="connsiteY651" fmla="*/ 207425 h 1413227"/>
                <a:gd name="connsiteX652" fmla="*/ 1712988 w 2048870"/>
                <a:gd name="connsiteY652" fmla="*/ 235082 h 1413227"/>
                <a:gd name="connsiteX653" fmla="*/ 1706074 w 2048870"/>
                <a:gd name="connsiteY653" fmla="*/ 250638 h 1413227"/>
                <a:gd name="connsiteX654" fmla="*/ 1692245 w 2048870"/>
                <a:gd name="connsiteY654" fmla="*/ 236810 h 1413227"/>
                <a:gd name="connsiteX655" fmla="*/ 1645575 w 2048870"/>
                <a:gd name="connsiteY655" fmla="*/ 224710 h 1413227"/>
                <a:gd name="connsiteX656" fmla="*/ 1640389 w 2048870"/>
                <a:gd name="connsiteY656" fmla="*/ 217796 h 1413227"/>
                <a:gd name="connsiteX657" fmla="*/ 1638661 w 2048870"/>
                <a:gd name="connsiteY657" fmla="*/ 212610 h 1413227"/>
                <a:gd name="connsiteX658" fmla="*/ 1623104 w 2048870"/>
                <a:gd name="connsiteY658" fmla="*/ 195325 h 1413227"/>
                <a:gd name="connsiteX659" fmla="*/ 1609275 w 2048870"/>
                <a:gd name="connsiteY659" fmla="*/ 191868 h 1413227"/>
                <a:gd name="connsiteX660" fmla="*/ 1600633 w 2048870"/>
                <a:gd name="connsiteY660" fmla="*/ 200511 h 1413227"/>
                <a:gd name="connsiteX661" fmla="*/ 1595447 w 2048870"/>
                <a:gd name="connsiteY661" fmla="*/ 202239 h 1413227"/>
                <a:gd name="connsiteX662" fmla="*/ 1574704 w 2048870"/>
                <a:gd name="connsiteY662" fmla="*/ 209153 h 1413227"/>
                <a:gd name="connsiteX663" fmla="*/ 1569519 w 2048870"/>
                <a:gd name="connsiteY663" fmla="*/ 214339 h 1413227"/>
                <a:gd name="connsiteX664" fmla="*/ 1564333 w 2048870"/>
                <a:gd name="connsiteY664" fmla="*/ 217796 h 1413227"/>
                <a:gd name="connsiteX665" fmla="*/ 1560876 w 2048870"/>
                <a:gd name="connsiteY665" fmla="*/ 224710 h 1413227"/>
                <a:gd name="connsiteX666" fmla="*/ 1543591 w 2048870"/>
                <a:gd name="connsiteY666" fmla="*/ 238539 h 1413227"/>
                <a:gd name="connsiteX667" fmla="*/ 1536676 w 2048870"/>
                <a:gd name="connsiteY667" fmla="*/ 245453 h 1413227"/>
                <a:gd name="connsiteX668" fmla="*/ 1534948 w 2048870"/>
                <a:gd name="connsiteY668" fmla="*/ 250638 h 1413227"/>
                <a:gd name="connsiteX669" fmla="*/ 1536676 w 2048870"/>
                <a:gd name="connsiteY669" fmla="*/ 255824 h 1413227"/>
                <a:gd name="connsiteX670" fmla="*/ 1510748 w 2048870"/>
                <a:gd name="connsiteY670" fmla="*/ 259281 h 1413227"/>
                <a:gd name="connsiteX671" fmla="*/ 1500377 w 2048870"/>
                <a:gd name="connsiteY671" fmla="*/ 252367 h 1413227"/>
                <a:gd name="connsiteX672" fmla="*/ 1472720 w 2048870"/>
                <a:gd name="connsiteY672" fmla="*/ 252367 h 1413227"/>
                <a:gd name="connsiteX673" fmla="*/ 1455435 w 2048870"/>
                <a:gd name="connsiteY673" fmla="*/ 254096 h 1413227"/>
                <a:gd name="connsiteX674" fmla="*/ 1446792 w 2048870"/>
                <a:gd name="connsiteY674" fmla="*/ 261010 h 1413227"/>
                <a:gd name="connsiteX675" fmla="*/ 1441606 w 2048870"/>
                <a:gd name="connsiteY675" fmla="*/ 267924 h 1413227"/>
                <a:gd name="connsiteX676" fmla="*/ 1438149 w 2048870"/>
                <a:gd name="connsiteY676" fmla="*/ 273110 h 1413227"/>
                <a:gd name="connsiteX677" fmla="*/ 1432964 w 2048870"/>
                <a:gd name="connsiteY677" fmla="*/ 274838 h 1413227"/>
                <a:gd name="connsiteX678" fmla="*/ 1419135 w 2048870"/>
                <a:gd name="connsiteY678" fmla="*/ 281752 h 1413227"/>
                <a:gd name="connsiteX679" fmla="*/ 1412221 w 2048870"/>
                <a:gd name="connsiteY679" fmla="*/ 278295 h 1413227"/>
                <a:gd name="connsiteX680" fmla="*/ 1408764 w 2048870"/>
                <a:gd name="connsiteY680" fmla="*/ 273110 h 1413227"/>
                <a:gd name="connsiteX681" fmla="*/ 1400121 w 2048870"/>
                <a:gd name="connsiteY681" fmla="*/ 257553 h 1413227"/>
                <a:gd name="connsiteX682" fmla="*/ 1394936 w 2048870"/>
                <a:gd name="connsiteY682" fmla="*/ 254096 h 1413227"/>
                <a:gd name="connsiteX683" fmla="*/ 1386293 w 2048870"/>
                <a:gd name="connsiteY683" fmla="*/ 243724 h 1413227"/>
                <a:gd name="connsiteX684" fmla="*/ 1381107 w 2048870"/>
                <a:gd name="connsiteY684" fmla="*/ 212610 h 1413227"/>
                <a:gd name="connsiteX685" fmla="*/ 1370736 w 2048870"/>
                <a:gd name="connsiteY685" fmla="*/ 202239 h 1413227"/>
                <a:gd name="connsiteX686" fmla="*/ 1363822 w 2048870"/>
                <a:gd name="connsiteY686" fmla="*/ 200511 h 1413227"/>
                <a:gd name="connsiteX687" fmla="*/ 1358636 w 2048870"/>
                <a:gd name="connsiteY687" fmla="*/ 193596 h 1413227"/>
                <a:gd name="connsiteX688" fmla="*/ 1349994 w 2048870"/>
                <a:gd name="connsiteY688" fmla="*/ 178040 h 1413227"/>
                <a:gd name="connsiteX689" fmla="*/ 1337894 w 2048870"/>
                <a:gd name="connsiteY689" fmla="*/ 167668 h 1413227"/>
                <a:gd name="connsiteX690" fmla="*/ 1298137 w 2048870"/>
                <a:gd name="connsiteY690" fmla="*/ 169397 h 1413227"/>
                <a:gd name="connsiteX691" fmla="*/ 1284309 w 2048870"/>
                <a:gd name="connsiteY691" fmla="*/ 179768 h 1413227"/>
                <a:gd name="connsiteX692" fmla="*/ 1268752 w 2048870"/>
                <a:gd name="connsiteY692" fmla="*/ 181497 h 1413227"/>
                <a:gd name="connsiteX693" fmla="*/ 1251467 w 2048870"/>
                <a:gd name="connsiteY693" fmla="*/ 174583 h 1413227"/>
                <a:gd name="connsiteX694" fmla="*/ 1241095 w 2048870"/>
                <a:gd name="connsiteY694" fmla="*/ 164211 h 1413227"/>
                <a:gd name="connsiteX695" fmla="*/ 1230724 w 2048870"/>
                <a:gd name="connsiteY695" fmla="*/ 160754 h 1413227"/>
                <a:gd name="connsiteX696" fmla="*/ 1215167 w 2048870"/>
                <a:gd name="connsiteY696" fmla="*/ 146926 h 1413227"/>
                <a:gd name="connsiteX697" fmla="*/ 1213439 w 2048870"/>
                <a:gd name="connsiteY697" fmla="*/ 140012 h 1413227"/>
                <a:gd name="connsiteX698" fmla="*/ 1206524 w 2048870"/>
                <a:gd name="connsiteY698" fmla="*/ 131369 h 1413227"/>
                <a:gd name="connsiteX699" fmla="*/ 1204796 w 2048870"/>
                <a:gd name="connsiteY699" fmla="*/ 122726 h 1413227"/>
                <a:gd name="connsiteX700" fmla="*/ 1190968 w 2048870"/>
                <a:gd name="connsiteY700" fmla="*/ 117541 h 1413227"/>
                <a:gd name="connsiteX701" fmla="*/ 1201339 w 2048870"/>
                <a:gd name="connsiteY701" fmla="*/ 105441 h 1413227"/>
                <a:gd name="connsiteX702" fmla="*/ 1208253 w 2048870"/>
                <a:gd name="connsiteY702" fmla="*/ 101984 h 1413227"/>
                <a:gd name="connsiteX703" fmla="*/ 1213439 w 2048870"/>
                <a:gd name="connsiteY703" fmla="*/ 95069 h 1413227"/>
                <a:gd name="connsiteX704" fmla="*/ 1218624 w 2048870"/>
                <a:gd name="connsiteY704" fmla="*/ 89884 h 1413227"/>
                <a:gd name="connsiteX705" fmla="*/ 1216896 w 2048870"/>
                <a:gd name="connsiteY705" fmla="*/ 84698 h 1413227"/>
                <a:gd name="connsiteX706" fmla="*/ 1206524 w 2048870"/>
                <a:gd name="connsiteY706" fmla="*/ 81241 h 1413227"/>
                <a:gd name="connsiteX707" fmla="*/ 1190968 w 2048870"/>
                <a:gd name="connsiteY707" fmla="*/ 76055 h 1413227"/>
                <a:gd name="connsiteX708" fmla="*/ 1175411 w 2048870"/>
                <a:gd name="connsiteY708" fmla="*/ 60499 h 1413227"/>
                <a:gd name="connsiteX709" fmla="*/ 1168496 w 2048870"/>
                <a:gd name="connsiteY709" fmla="*/ 53584 h 1413227"/>
                <a:gd name="connsiteX710" fmla="*/ 1165039 w 2048870"/>
                <a:gd name="connsiteY710" fmla="*/ 46670 h 1413227"/>
                <a:gd name="connsiteX711" fmla="*/ 1159854 w 2048870"/>
                <a:gd name="connsiteY711" fmla="*/ 39756 h 1413227"/>
                <a:gd name="connsiteX712" fmla="*/ 1151211 w 2048870"/>
                <a:gd name="connsiteY712" fmla="*/ 27656 h 1413227"/>
                <a:gd name="connsiteX713" fmla="*/ 1146025 w 2048870"/>
                <a:gd name="connsiteY713" fmla="*/ 24199 h 1413227"/>
                <a:gd name="connsiteX714" fmla="*/ 1140840 w 2048870"/>
                <a:gd name="connsiteY714" fmla="*/ 17285 h 1413227"/>
                <a:gd name="connsiteX715" fmla="*/ 1123554 w 2048870"/>
                <a:gd name="connsiteY715" fmla="*/ 3457 h 1413227"/>
                <a:gd name="connsiteX716" fmla="*/ 1116640 w 2048870"/>
                <a:gd name="connsiteY716" fmla="*/ 0 h 1413227"/>
                <a:gd name="connsiteX717" fmla="*/ 1102812 w 2048870"/>
                <a:gd name="connsiteY717" fmla="*/ 1728 h 1413227"/>
                <a:gd name="connsiteX718" fmla="*/ 1097626 w 2048870"/>
                <a:gd name="connsiteY718" fmla="*/ 3457 h 1413227"/>
                <a:gd name="connsiteX719" fmla="*/ 1090712 w 2048870"/>
                <a:gd name="connsiteY719" fmla="*/ 5185 h 1413227"/>
                <a:gd name="connsiteX720" fmla="*/ 1071698 w 2048870"/>
                <a:gd name="connsiteY720" fmla="*/ 17285 h 1413227"/>
                <a:gd name="connsiteX721" fmla="*/ 1056141 w 2048870"/>
                <a:gd name="connsiteY721" fmla="*/ 15556 h 1413227"/>
                <a:gd name="connsiteX722" fmla="*/ 1050955 w 2048870"/>
                <a:gd name="connsiteY722" fmla="*/ 19014 h 1413227"/>
                <a:gd name="connsiteX723" fmla="*/ 1042313 w 2048870"/>
                <a:gd name="connsiteY723" fmla="*/ 27656 h 1413227"/>
                <a:gd name="connsiteX724" fmla="*/ 1028484 w 2048870"/>
                <a:gd name="connsiteY724" fmla="*/ 38027 h 1413227"/>
                <a:gd name="connsiteX725" fmla="*/ 1025027 w 2048870"/>
                <a:gd name="connsiteY725" fmla="*/ 41485 h 1413227"/>
                <a:gd name="connsiteX726" fmla="*/ 1016385 w 2048870"/>
                <a:gd name="connsiteY726" fmla="*/ 46670 h 1413227"/>
                <a:gd name="connsiteX727" fmla="*/ 1012927 w 2048870"/>
                <a:gd name="connsiteY727" fmla="*/ 50127 h 1413227"/>
                <a:gd name="connsiteX728" fmla="*/ 997371 w 2048870"/>
                <a:gd name="connsiteY728" fmla="*/ 57041 h 1413227"/>
                <a:gd name="connsiteX729" fmla="*/ 973171 w 2048870"/>
                <a:gd name="connsiteY729" fmla="*/ 58770 h 1413227"/>
                <a:gd name="connsiteX730" fmla="*/ 967985 w 2048870"/>
                <a:gd name="connsiteY730" fmla="*/ 62227 h 1413227"/>
                <a:gd name="connsiteX731" fmla="*/ 966257 w 2048870"/>
                <a:gd name="connsiteY731" fmla="*/ 79513 h 1413227"/>
                <a:gd name="connsiteX732" fmla="*/ 962800 w 2048870"/>
                <a:gd name="connsiteY732" fmla="*/ 103712 h 1413227"/>
                <a:gd name="connsiteX733" fmla="*/ 961071 w 2048870"/>
                <a:gd name="connsiteY733" fmla="*/ 112355 h 1413227"/>
                <a:gd name="connsiteX734" fmla="*/ 916129 w 2048870"/>
                <a:gd name="connsiteY734" fmla="*/ 115812 h 1413227"/>
                <a:gd name="connsiteX735" fmla="*/ 910943 w 2048870"/>
                <a:gd name="connsiteY735" fmla="*/ 119269 h 1413227"/>
                <a:gd name="connsiteX736" fmla="*/ 905758 w 2048870"/>
                <a:gd name="connsiteY736" fmla="*/ 120998 h 1413227"/>
                <a:gd name="connsiteX737" fmla="*/ 893658 w 2048870"/>
                <a:gd name="connsiteY737" fmla="*/ 124455 h 1413227"/>
                <a:gd name="connsiteX738" fmla="*/ 888472 w 2048870"/>
                <a:gd name="connsiteY738" fmla="*/ 126183 h 1413227"/>
                <a:gd name="connsiteX739" fmla="*/ 895386 w 2048870"/>
                <a:gd name="connsiteY739" fmla="*/ 124455 h 1413227"/>
                <a:gd name="connsiteX740" fmla="*/ 904029 w 2048870"/>
                <a:gd name="connsiteY740" fmla="*/ 115812 h 1413227"/>
                <a:gd name="connsiteX741" fmla="*/ 966257 w 2048870"/>
                <a:gd name="connsiteY741" fmla="*/ 63956 h 1413227"/>
                <a:gd name="connsiteX0" fmla="*/ 966257 w 2048870"/>
                <a:gd name="connsiteY0" fmla="*/ 63956 h 1413227"/>
                <a:gd name="connsiteX1" fmla="*/ 962800 w 2048870"/>
                <a:gd name="connsiteY1" fmla="*/ 72598 h 1413227"/>
                <a:gd name="connsiteX2" fmla="*/ 919586 w 2048870"/>
                <a:gd name="connsiteY2" fmla="*/ 114083 h 1413227"/>
                <a:gd name="connsiteX3" fmla="*/ 902301 w 2048870"/>
                <a:gd name="connsiteY3" fmla="*/ 120998 h 1413227"/>
                <a:gd name="connsiteX4" fmla="*/ 885015 w 2048870"/>
                <a:gd name="connsiteY4" fmla="*/ 122726 h 1413227"/>
                <a:gd name="connsiteX5" fmla="*/ 878101 w 2048870"/>
                <a:gd name="connsiteY5" fmla="*/ 129640 h 1413227"/>
                <a:gd name="connsiteX6" fmla="*/ 855630 w 2048870"/>
                <a:gd name="connsiteY6" fmla="*/ 140012 h 1413227"/>
                <a:gd name="connsiteX7" fmla="*/ 850444 w 2048870"/>
                <a:gd name="connsiteY7" fmla="*/ 145197 h 1413227"/>
                <a:gd name="connsiteX8" fmla="*/ 831430 w 2048870"/>
                <a:gd name="connsiteY8" fmla="*/ 146926 h 1413227"/>
                <a:gd name="connsiteX9" fmla="*/ 808923 w 2048870"/>
                <a:gd name="connsiteY9" fmla="*/ 195183 h 1413227"/>
                <a:gd name="connsiteX10" fmla="*/ 817602 w 2048870"/>
                <a:gd name="connsiteY10" fmla="*/ 247181 h 1413227"/>
                <a:gd name="connsiteX11" fmla="*/ 821059 w 2048870"/>
                <a:gd name="connsiteY11" fmla="*/ 255824 h 1413227"/>
                <a:gd name="connsiteX12" fmla="*/ 826245 w 2048870"/>
                <a:gd name="connsiteY12" fmla="*/ 259281 h 1413227"/>
                <a:gd name="connsiteX13" fmla="*/ 833159 w 2048870"/>
                <a:gd name="connsiteY13" fmla="*/ 267924 h 1413227"/>
                <a:gd name="connsiteX14" fmla="*/ 836616 w 2048870"/>
                <a:gd name="connsiteY14" fmla="*/ 280024 h 1413227"/>
                <a:gd name="connsiteX15" fmla="*/ 834887 w 2048870"/>
                <a:gd name="connsiteY15" fmla="*/ 295581 h 1413227"/>
                <a:gd name="connsiteX16" fmla="*/ 821059 w 2048870"/>
                <a:gd name="connsiteY16" fmla="*/ 299038 h 1413227"/>
                <a:gd name="connsiteX17" fmla="*/ 800316 w 2048870"/>
                <a:gd name="connsiteY17" fmla="*/ 295581 h 1413227"/>
                <a:gd name="connsiteX18" fmla="*/ 786488 w 2048870"/>
                <a:gd name="connsiteY18" fmla="*/ 286938 h 1413227"/>
                <a:gd name="connsiteX19" fmla="*/ 781302 w 2048870"/>
                <a:gd name="connsiteY19" fmla="*/ 285209 h 1413227"/>
                <a:gd name="connsiteX20" fmla="*/ 774388 w 2048870"/>
                <a:gd name="connsiteY20" fmla="*/ 278295 h 1413227"/>
                <a:gd name="connsiteX21" fmla="*/ 767474 w 2048870"/>
                <a:gd name="connsiteY21" fmla="*/ 285209 h 1413227"/>
                <a:gd name="connsiteX22" fmla="*/ 758831 w 2048870"/>
                <a:gd name="connsiteY22" fmla="*/ 286938 h 1413227"/>
                <a:gd name="connsiteX23" fmla="*/ 751917 w 2048870"/>
                <a:gd name="connsiteY23" fmla="*/ 288666 h 1413227"/>
                <a:gd name="connsiteX24" fmla="*/ 746732 w 2048870"/>
                <a:gd name="connsiteY24" fmla="*/ 290395 h 1413227"/>
                <a:gd name="connsiteX25" fmla="*/ 722532 w 2048870"/>
                <a:gd name="connsiteY25" fmla="*/ 292124 h 1413227"/>
                <a:gd name="connsiteX26" fmla="*/ 720803 w 2048870"/>
                <a:gd name="connsiteY26" fmla="*/ 297309 h 1413227"/>
                <a:gd name="connsiteX27" fmla="*/ 701789 w 2048870"/>
                <a:gd name="connsiteY27" fmla="*/ 312866 h 1413227"/>
                <a:gd name="connsiteX28" fmla="*/ 686233 w 2048870"/>
                <a:gd name="connsiteY28" fmla="*/ 305952 h 1413227"/>
                <a:gd name="connsiteX29" fmla="*/ 684504 w 2048870"/>
                <a:gd name="connsiteY29" fmla="*/ 300766 h 1413227"/>
                <a:gd name="connsiteX30" fmla="*/ 681047 w 2048870"/>
                <a:gd name="connsiteY30" fmla="*/ 285209 h 1413227"/>
                <a:gd name="connsiteX31" fmla="*/ 649933 w 2048870"/>
                <a:gd name="connsiteY31" fmla="*/ 288666 h 1413227"/>
                <a:gd name="connsiteX32" fmla="*/ 646476 w 2048870"/>
                <a:gd name="connsiteY32" fmla="*/ 299038 h 1413227"/>
                <a:gd name="connsiteX33" fmla="*/ 639562 w 2048870"/>
                <a:gd name="connsiteY33" fmla="*/ 314595 h 1413227"/>
                <a:gd name="connsiteX34" fmla="*/ 634376 w 2048870"/>
                <a:gd name="connsiteY34" fmla="*/ 326694 h 1413227"/>
                <a:gd name="connsiteX35" fmla="*/ 629191 w 2048870"/>
                <a:gd name="connsiteY35" fmla="*/ 328423 h 1413227"/>
                <a:gd name="connsiteX36" fmla="*/ 613634 w 2048870"/>
                <a:gd name="connsiteY36" fmla="*/ 323237 h 1413227"/>
                <a:gd name="connsiteX37" fmla="*/ 601534 w 2048870"/>
                <a:gd name="connsiteY37" fmla="*/ 311138 h 1413227"/>
                <a:gd name="connsiteX38" fmla="*/ 572149 w 2048870"/>
                <a:gd name="connsiteY38" fmla="*/ 309409 h 1413227"/>
                <a:gd name="connsiteX39" fmla="*/ 566963 w 2048870"/>
                <a:gd name="connsiteY39" fmla="*/ 295581 h 1413227"/>
                <a:gd name="connsiteX40" fmla="*/ 563506 w 2048870"/>
                <a:gd name="connsiteY40" fmla="*/ 300766 h 1413227"/>
                <a:gd name="connsiteX41" fmla="*/ 558320 w 2048870"/>
                <a:gd name="connsiteY41" fmla="*/ 307680 h 1413227"/>
                <a:gd name="connsiteX42" fmla="*/ 549678 w 2048870"/>
                <a:gd name="connsiteY42" fmla="*/ 321509 h 1413227"/>
                <a:gd name="connsiteX43" fmla="*/ 509921 w 2048870"/>
                <a:gd name="connsiteY43" fmla="*/ 324966 h 1413227"/>
                <a:gd name="connsiteX44" fmla="*/ 515107 w 2048870"/>
                <a:gd name="connsiteY44" fmla="*/ 328423 h 1413227"/>
                <a:gd name="connsiteX45" fmla="*/ 525478 w 2048870"/>
                <a:gd name="connsiteY45" fmla="*/ 331880 h 1413227"/>
                <a:gd name="connsiteX46" fmla="*/ 523749 w 2048870"/>
                <a:gd name="connsiteY46" fmla="*/ 337066 h 1413227"/>
                <a:gd name="connsiteX47" fmla="*/ 516835 w 2048870"/>
                <a:gd name="connsiteY47" fmla="*/ 343980 h 1413227"/>
                <a:gd name="connsiteX48" fmla="*/ 511650 w 2048870"/>
                <a:gd name="connsiteY48" fmla="*/ 323237 h 1413227"/>
                <a:gd name="connsiteX49" fmla="*/ 483993 w 2048870"/>
                <a:gd name="connsiteY49" fmla="*/ 333609 h 1413227"/>
                <a:gd name="connsiteX50" fmla="*/ 478807 w 2048870"/>
                <a:gd name="connsiteY50" fmla="*/ 338794 h 1413227"/>
                <a:gd name="connsiteX51" fmla="*/ 466707 w 2048870"/>
                <a:gd name="connsiteY51" fmla="*/ 337066 h 1413227"/>
                <a:gd name="connsiteX52" fmla="*/ 463250 w 2048870"/>
                <a:gd name="connsiteY52" fmla="*/ 324966 h 1413227"/>
                <a:gd name="connsiteX53" fmla="*/ 454608 w 2048870"/>
                <a:gd name="connsiteY53" fmla="*/ 312866 h 1413227"/>
                <a:gd name="connsiteX54" fmla="*/ 449422 w 2048870"/>
                <a:gd name="connsiteY54" fmla="*/ 311138 h 1413227"/>
                <a:gd name="connsiteX55" fmla="*/ 425222 w 2048870"/>
                <a:gd name="connsiteY55" fmla="*/ 314595 h 1413227"/>
                <a:gd name="connsiteX56" fmla="*/ 273110 w 2048870"/>
                <a:gd name="connsiteY56" fmla="*/ 316323 h 1413227"/>
                <a:gd name="connsiteX57" fmla="*/ 262739 w 2048870"/>
                <a:gd name="connsiteY57" fmla="*/ 323237 h 1413227"/>
                <a:gd name="connsiteX58" fmla="*/ 255825 w 2048870"/>
                <a:gd name="connsiteY58" fmla="*/ 324966 h 1413227"/>
                <a:gd name="connsiteX59" fmla="*/ 250639 w 2048870"/>
                <a:gd name="connsiteY59" fmla="*/ 326694 h 1413227"/>
                <a:gd name="connsiteX60" fmla="*/ 238540 w 2048870"/>
                <a:gd name="connsiteY60" fmla="*/ 330152 h 1413227"/>
                <a:gd name="connsiteX61" fmla="*/ 200512 w 2048870"/>
                <a:gd name="connsiteY61" fmla="*/ 333609 h 1413227"/>
                <a:gd name="connsiteX62" fmla="*/ 188412 w 2048870"/>
                <a:gd name="connsiteY62" fmla="*/ 338794 h 1413227"/>
                <a:gd name="connsiteX63" fmla="*/ 176312 w 2048870"/>
                <a:gd name="connsiteY63" fmla="*/ 342251 h 1413227"/>
                <a:gd name="connsiteX64" fmla="*/ 146927 w 2048870"/>
                <a:gd name="connsiteY64" fmla="*/ 356080 h 1413227"/>
                <a:gd name="connsiteX65" fmla="*/ 138284 w 2048870"/>
                <a:gd name="connsiteY65" fmla="*/ 357808 h 1413227"/>
                <a:gd name="connsiteX66" fmla="*/ 136555 w 2048870"/>
                <a:gd name="connsiteY66" fmla="*/ 364722 h 1413227"/>
                <a:gd name="connsiteX67" fmla="*/ 134827 w 2048870"/>
                <a:gd name="connsiteY67" fmla="*/ 380279 h 1413227"/>
                <a:gd name="connsiteX68" fmla="*/ 127913 w 2048870"/>
                <a:gd name="connsiteY68" fmla="*/ 387193 h 1413227"/>
                <a:gd name="connsiteX69" fmla="*/ 126184 w 2048870"/>
                <a:gd name="connsiteY69" fmla="*/ 394108 h 1413227"/>
                <a:gd name="connsiteX70" fmla="*/ 124456 w 2048870"/>
                <a:gd name="connsiteY70" fmla="*/ 402750 h 1413227"/>
                <a:gd name="connsiteX71" fmla="*/ 117541 w 2048870"/>
                <a:gd name="connsiteY71" fmla="*/ 407936 h 1413227"/>
                <a:gd name="connsiteX72" fmla="*/ 105442 w 2048870"/>
                <a:gd name="connsiteY72" fmla="*/ 411393 h 1413227"/>
                <a:gd name="connsiteX73" fmla="*/ 100256 w 2048870"/>
                <a:gd name="connsiteY73" fmla="*/ 413122 h 1413227"/>
                <a:gd name="connsiteX74" fmla="*/ 70871 w 2048870"/>
                <a:gd name="connsiteY74" fmla="*/ 421764 h 1413227"/>
                <a:gd name="connsiteX75" fmla="*/ 67414 w 2048870"/>
                <a:gd name="connsiteY75" fmla="*/ 428679 h 1413227"/>
                <a:gd name="connsiteX76" fmla="*/ 69142 w 2048870"/>
                <a:gd name="connsiteY76" fmla="*/ 440778 h 1413227"/>
                <a:gd name="connsiteX77" fmla="*/ 65685 w 2048870"/>
                <a:gd name="connsiteY77" fmla="*/ 445964 h 1413227"/>
                <a:gd name="connsiteX78" fmla="*/ 63957 w 2048870"/>
                <a:gd name="connsiteY78" fmla="*/ 452878 h 1413227"/>
                <a:gd name="connsiteX79" fmla="*/ 69142 w 2048870"/>
                <a:gd name="connsiteY79" fmla="*/ 456335 h 1413227"/>
                <a:gd name="connsiteX80" fmla="*/ 74328 w 2048870"/>
                <a:gd name="connsiteY80" fmla="*/ 458064 h 1413227"/>
                <a:gd name="connsiteX81" fmla="*/ 84699 w 2048870"/>
                <a:gd name="connsiteY81" fmla="*/ 466707 h 1413227"/>
                <a:gd name="connsiteX82" fmla="*/ 81242 w 2048870"/>
                <a:gd name="connsiteY82" fmla="*/ 473621 h 1413227"/>
                <a:gd name="connsiteX83" fmla="*/ 77785 w 2048870"/>
                <a:gd name="connsiteY83" fmla="*/ 478806 h 1413227"/>
                <a:gd name="connsiteX84" fmla="*/ 79513 w 2048870"/>
                <a:gd name="connsiteY84" fmla="*/ 485721 h 1413227"/>
                <a:gd name="connsiteX85" fmla="*/ 72599 w 2048870"/>
                <a:gd name="connsiteY85" fmla="*/ 489178 h 1413227"/>
                <a:gd name="connsiteX86" fmla="*/ 63957 w 2048870"/>
                <a:gd name="connsiteY86" fmla="*/ 487449 h 1413227"/>
                <a:gd name="connsiteX87" fmla="*/ 76056 w 2048870"/>
                <a:gd name="connsiteY87" fmla="*/ 485721 h 1413227"/>
                <a:gd name="connsiteX88" fmla="*/ 86428 w 2048870"/>
                <a:gd name="connsiteY88" fmla="*/ 483992 h 1413227"/>
                <a:gd name="connsiteX89" fmla="*/ 84699 w 2048870"/>
                <a:gd name="connsiteY89" fmla="*/ 494363 h 1413227"/>
                <a:gd name="connsiteX90" fmla="*/ 86428 w 2048870"/>
                <a:gd name="connsiteY90" fmla="*/ 501277 h 1413227"/>
                <a:gd name="connsiteX91" fmla="*/ 96799 w 2048870"/>
                <a:gd name="connsiteY91" fmla="*/ 515106 h 1413227"/>
                <a:gd name="connsiteX92" fmla="*/ 101985 w 2048870"/>
                <a:gd name="connsiteY92" fmla="*/ 516834 h 1413227"/>
                <a:gd name="connsiteX93" fmla="*/ 114084 w 2048870"/>
                <a:gd name="connsiteY93" fmla="*/ 520291 h 1413227"/>
                <a:gd name="connsiteX94" fmla="*/ 119270 w 2048870"/>
                <a:gd name="connsiteY94" fmla="*/ 525477 h 1413227"/>
                <a:gd name="connsiteX95" fmla="*/ 133098 w 2048870"/>
                <a:gd name="connsiteY95" fmla="*/ 535848 h 1413227"/>
                <a:gd name="connsiteX96" fmla="*/ 136555 w 2048870"/>
                <a:gd name="connsiteY96" fmla="*/ 542762 h 1413227"/>
                <a:gd name="connsiteX97" fmla="*/ 134827 w 2048870"/>
                <a:gd name="connsiteY97" fmla="*/ 572148 h 1413227"/>
                <a:gd name="connsiteX98" fmla="*/ 140012 w 2048870"/>
                <a:gd name="connsiteY98" fmla="*/ 573876 h 1413227"/>
                <a:gd name="connsiteX99" fmla="*/ 143470 w 2048870"/>
                <a:gd name="connsiteY99" fmla="*/ 577333 h 1413227"/>
                <a:gd name="connsiteX100" fmla="*/ 146927 w 2048870"/>
                <a:gd name="connsiteY100" fmla="*/ 589433 h 1413227"/>
                <a:gd name="connsiteX101" fmla="*/ 150384 w 2048870"/>
                <a:gd name="connsiteY101" fmla="*/ 598076 h 1413227"/>
                <a:gd name="connsiteX102" fmla="*/ 148655 w 2048870"/>
                <a:gd name="connsiteY102" fmla="*/ 617090 h 1413227"/>
                <a:gd name="connsiteX103" fmla="*/ 146927 w 2048870"/>
                <a:gd name="connsiteY103" fmla="*/ 622276 h 1413227"/>
                <a:gd name="connsiteX104" fmla="*/ 141741 w 2048870"/>
                <a:gd name="connsiteY104" fmla="*/ 627461 h 1413227"/>
                <a:gd name="connsiteX105" fmla="*/ 136555 w 2048870"/>
                <a:gd name="connsiteY105" fmla="*/ 634375 h 1413227"/>
                <a:gd name="connsiteX106" fmla="*/ 120999 w 2048870"/>
                <a:gd name="connsiteY106" fmla="*/ 639561 h 1413227"/>
                <a:gd name="connsiteX107" fmla="*/ 95070 w 2048870"/>
                <a:gd name="connsiteY107" fmla="*/ 665489 h 1413227"/>
                <a:gd name="connsiteX108" fmla="*/ 89885 w 2048870"/>
                <a:gd name="connsiteY108" fmla="*/ 670675 h 1413227"/>
                <a:gd name="connsiteX109" fmla="*/ 86428 w 2048870"/>
                <a:gd name="connsiteY109" fmla="*/ 675860 h 1413227"/>
                <a:gd name="connsiteX110" fmla="*/ 81242 w 2048870"/>
                <a:gd name="connsiteY110" fmla="*/ 677589 h 1413227"/>
                <a:gd name="connsiteX111" fmla="*/ 77785 w 2048870"/>
                <a:gd name="connsiteY111" fmla="*/ 682775 h 1413227"/>
                <a:gd name="connsiteX112" fmla="*/ 63957 w 2048870"/>
                <a:gd name="connsiteY112" fmla="*/ 689689 h 1413227"/>
                <a:gd name="connsiteX113" fmla="*/ 60499 w 2048870"/>
                <a:gd name="connsiteY113" fmla="*/ 706974 h 1413227"/>
                <a:gd name="connsiteX114" fmla="*/ 50128 w 2048870"/>
                <a:gd name="connsiteY114" fmla="*/ 720803 h 1413227"/>
                <a:gd name="connsiteX115" fmla="*/ 48400 w 2048870"/>
                <a:gd name="connsiteY115" fmla="*/ 725988 h 1413227"/>
                <a:gd name="connsiteX116" fmla="*/ 46671 w 2048870"/>
                <a:gd name="connsiteY116" fmla="*/ 732902 h 1413227"/>
                <a:gd name="connsiteX117" fmla="*/ 25929 w 2048870"/>
                <a:gd name="connsiteY117" fmla="*/ 751916 h 1413227"/>
                <a:gd name="connsiteX118" fmla="*/ 19014 w 2048870"/>
                <a:gd name="connsiteY118" fmla="*/ 776116 h 1413227"/>
                <a:gd name="connsiteX119" fmla="*/ 12100 w 2048870"/>
                <a:gd name="connsiteY119" fmla="*/ 789944 h 1413227"/>
                <a:gd name="connsiteX120" fmla="*/ 17286 w 2048870"/>
                <a:gd name="connsiteY120" fmla="*/ 822787 h 1413227"/>
                <a:gd name="connsiteX121" fmla="*/ 25929 w 2048870"/>
                <a:gd name="connsiteY121" fmla="*/ 829701 h 1413227"/>
                <a:gd name="connsiteX122" fmla="*/ 29386 w 2048870"/>
                <a:gd name="connsiteY122" fmla="*/ 838344 h 1413227"/>
                <a:gd name="connsiteX123" fmla="*/ 36300 w 2048870"/>
                <a:gd name="connsiteY123" fmla="*/ 843529 h 1413227"/>
                <a:gd name="connsiteX124" fmla="*/ 38028 w 2048870"/>
                <a:gd name="connsiteY124" fmla="*/ 852172 h 1413227"/>
                <a:gd name="connsiteX125" fmla="*/ 43214 w 2048870"/>
                <a:gd name="connsiteY125" fmla="*/ 864272 h 1413227"/>
                <a:gd name="connsiteX126" fmla="*/ 44943 w 2048870"/>
                <a:gd name="connsiteY126" fmla="*/ 874643 h 1413227"/>
                <a:gd name="connsiteX127" fmla="*/ 51857 w 2048870"/>
                <a:gd name="connsiteY127" fmla="*/ 876372 h 1413227"/>
                <a:gd name="connsiteX128" fmla="*/ 53585 w 2048870"/>
                <a:gd name="connsiteY128" fmla="*/ 883286 h 1413227"/>
                <a:gd name="connsiteX129" fmla="*/ 58771 w 2048870"/>
                <a:gd name="connsiteY129" fmla="*/ 886743 h 1413227"/>
                <a:gd name="connsiteX130" fmla="*/ 51857 w 2048870"/>
                <a:gd name="connsiteY130" fmla="*/ 898843 h 1413227"/>
                <a:gd name="connsiteX131" fmla="*/ 43214 w 2048870"/>
                <a:gd name="connsiteY131" fmla="*/ 904028 h 1413227"/>
                <a:gd name="connsiteX132" fmla="*/ 29386 w 2048870"/>
                <a:gd name="connsiteY132" fmla="*/ 909214 h 1413227"/>
                <a:gd name="connsiteX133" fmla="*/ 27657 w 2048870"/>
                <a:gd name="connsiteY133" fmla="*/ 919585 h 1413227"/>
                <a:gd name="connsiteX134" fmla="*/ 25929 w 2048870"/>
                <a:gd name="connsiteY134" fmla="*/ 926499 h 1413227"/>
                <a:gd name="connsiteX135" fmla="*/ 19014 w 2048870"/>
                <a:gd name="connsiteY135" fmla="*/ 955885 h 1413227"/>
                <a:gd name="connsiteX136" fmla="*/ 10372 w 2048870"/>
                <a:gd name="connsiteY136" fmla="*/ 969713 h 1413227"/>
                <a:gd name="connsiteX137" fmla="*/ 8643 w 2048870"/>
                <a:gd name="connsiteY137" fmla="*/ 990455 h 1413227"/>
                <a:gd name="connsiteX138" fmla="*/ 0 w 2048870"/>
                <a:gd name="connsiteY138" fmla="*/ 999098 h 1413227"/>
                <a:gd name="connsiteX139" fmla="*/ 6915 w 2048870"/>
                <a:gd name="connsiteY139" fmla="*/ 1023298 h 1413227"/>
                <a:gd name="connsiteX140" fmla="*/ 15557 w 2048870"/>
                <a:gd name="connsiteY140" fmla="*/ 1025026 h 1413227"/>
                <a:gd name="connsiteX141" fmla="*/ 22471 w 2048870"/>
                <a:gd name="connsiteY141" fmla="*/ 1030212 h 1413227"/>
                <a:gd name="connsiteX142" fmla="*/ 27657 w 2048870"/>
                <a:gd name="connsiteY142" fmla="*/ 1031941 h 1413227"/>
                <a:gd name="connsiteX143" fmla="*/ 34571 w 2048870"/>
                <a:gd name="connsiteY143" fmla="*/ 1035398 h 1413227"/>
                <a:gd name="connsiteX144" fmla="*/ 39757 w 2048870"/>
                <a:gd name="connsiteY144" fmla="*/ 1042312 h 1413227"/>
                <a:gd name="connsiteX145" fmla="*/ 43214 w 2048870"/>
                <a:gd name="connsiteY145" fmla="*/ 1047497 h 1413227"/>
                <a:gd name="connsiteX146" fmla="*/ 53585 w 2048870"/>
                <a:gd name="connsiteY146" fmla="*/ 1052683 h 1413227"/>
                <a:gd name="connsiteX147" fmla="*/ 95070 w 2048870"/>
                <a:gd name="connsiteY147" fmla="*/ 1061326 h 1413227"/>
                <a:gd name="connsiteX148" fmla="*/ 96799 w 2048870"/>
                <a:gd name="connsiteY148" fmla="*/ 1073426 h 1413227"/>
                <a:gd name="connsiteX149" fmla="*/ 101985 w 2048870"/>
                <a:gd name="connsiteY149" fmla="*/ 1075154 h 1413227"/>
                <a:gd name="connsiteX150" fmla="*/ 112356 w 2048870"/>
                <a:gd name="connsiteY150" fmla="*/ 1066511 h 1413227"/>
                <a:gd name="connsiteX151" fmla="*/ 119270 w 2048870"/>
                <a:gd name="connsiteY151" fmla="*/ 1059597 h 1413227"/>
                <a:gd name="connsiteX152" fmla="*/ 120999 w 2048870"/>
                <a:gd name="connsiteY152" fmla="*/ 1054412 h 1413227"/>
                <a:gd name="connsiteX153" fmla="*/ 134827 w 2048870"/>
                <a:gd name="connsiteY153" fmla="*/ 1061326 h 1413227"/>
                <a:gd name="connsiteX154" fmla="*/ 141741 w 2048870"/>
                <a:gd name="connsiteY154" fmla="*/ 1063054 h 1413227"/>
                <a:gd name="connsiteX155" fmla="*/ 146927 w 2048870"/>
                <a:gd name="connsiteY155" fmla="*/ 1064783 h 1413227"/>
                <a:gd name="connsiteX156" fmla="*/ 247182 w 2048870"/>
                <a:gd name="connsiteY156" fmla="*/ 1068240 h 1413227"/>
                <a:gd name="connsiteX157" fmla="*/ 266196 w 2048870"/>
                <a:gd name="connsiteY157" fmla="*/ 1064783 h 1413227"/>
                <a:gd name="connsiteX158" fmla="*/ 276568 w 2048870"/>
                <a:gd name="connsiteY158" fmla="*/ 1059597 h 1413227"/>
                <a:gd name="connsiteX159" fmla="*/ 285210 w 2048870"/>
                <a:gd name="connsiteY159" fmla="*/ 1049226 h 1413227"/>
                <a:gd name="connsiteX160" fmla="*/ 295581 w 2048870"/>
                <a:gd name="connsiteY160" fmla="*/ 1052683 h 1413227"/>
                <a:gd name="connsiteX161" fmla="*/ 299039 w 2048870"/>
                <a:gd name="connsiteY161" fmla="*/ 1059597 h 1413227"/>
                <a:gd name="connsiteX162" fmla="*/ 312867 w 2048870"/>
                <a:gd name="connsiteY162" fmla="*/ 1071697 h 1413227"/>
                <a:gd name="connsiteX163" fmla="*/ 338795 w 2048870"/>
                <a:gd name="connsiteY163" fmla="*/ 1078611 h 1413227"/>
                <a:gd name="connsiteX164" fmla="*/ 361266 w 2048870"/>
                <a:gd name="connsiteY164" fmla="*/ 1075154 h 1413227"/>
                <a:gd name="connsiteX165" fmla="*/ 362995 w 2048870"/>
                <a:gd name="connsiteY165" fmla="*/ 1068240 h 1413227"/>
                <a:gd name="connsiteX166" fmla="*/ 373366 w 2048870"/>
                <a:gd name="connsiteY166" fmla="*/ 1050955 h 1413227"/>
                <a:gd name="connsiteX167" fmla="*/ 378552 w 2048870"/>
                <a:gd name="connsiteY167" fmla="*/ 1045769 h 1413227"/>
                <a:gd name="connsiteX168" fmla="*/ 397566 w 2048870"/>
                <a:gd name="connsiteY168" fmla="*/ 1038855 h 1413227"/>
                <a:gd name="connsiteX169" fmla="*/ 432137 w 2048870"/>
                <a:gd name="connsiteY169" fmla="*/ 1035398 h 1413227"/>
                <a:gd name="connsiteX170" fmla="*/ 444236 w 2048870"/>
                <a:gd name="connsiteY170" fmla="*/ 1031941 h 1413227"/>
                <a:gd name="connsiteX171" fmla="*/ 447693 w 2048870"/>
                <a:gd name="connsiteY171" fmla="*/ 1025026 h 1413227"/>
                <a:gd name="connsiteX172" fmla="*/ 452879 w 2048870"/>
                <a:gd name="connsiteY172" fmla="*/ 1021569 h 1413227"/>
                <a:gd name="connsiteX173" fmla="*/ 468436 w 2048870"/>
                <a:gd name="connsiteY173" fmla="*/ 1011198 h 1413227"/>
                <a:gd name="connsiteX174" fmla="*/ 473622 w 2048870"/>
                <a:gd name="connsiteY174" fmla="*/ 999098 h 1413227"/>
                <a:gd name="connsiteX175" fmla="*/ 478807 w 2048870"/>
                <a:gd name="connsiteY175" fmla="*/ 986998 h 1413227"/>
                <a:gd name="connsiteX176" fmla="*/ 485721 w 2048870"/>
                <a:gd name="connsiteY176" fmla="*/ 980084 h 1413227"/>
                <a:gd name="connsiteX177" fmla="*/ 489178 w 2048870"/>
                <a:gd name="connsiteY177" fmla="*/ 974899 h 1413227"/>
                <a:gd name="connsiteX178" fmla="*/ 511650 w 2048870"/>
                <a:gd name="connsiteY178" fmla="*/ 955885 h 1413227"/>
                <a:gd name="connsiteX179" fmla="*/ 530664 w 2048870"/>
                <a:gd name="connsiteY179" fmla="*/ 947242 h 1413227"/>
                <a:gd name="connsiteX180" fmla="*/ 537578 w 2048870"/>
                <a:gd name="connsiteY180" fmla="*/ 933414 h 1413227"/>
                <a:gd name="connsiteX181" fmla="*/ 539306 w 2048870"/>
                <a:gd name="connsiteY181" fmla="*/ 928228 h 1413227"/>
                <a:gd name="connsiteX182" fmla="*/ 541035 w 2048870"/>
                <a:gd name="connsiteY182" fmla="*/ 921314 h 1413227"/>
                <a:gd name="connsiteX183" fmla="*/ 563506 w 2048870"/>
                <a:gd name="connsiteY183" fmla="*/ 917857 h 1413227"/>
                <a:gd name="connsiteX184" fmla="*/ 568692 w 2048870"/>
                <a:gd name="connsiteY184" fmla="*/ 916128 h 1413227"/>
                <a:gd name="connsiteX185" fmla="*/ 584248 w 2048870"/>
                <a:gd name="connsiteY185" fmla="*/ 914400 h 1413227"/>
                <a:gd name="connsiteX186" fmla="*/ 589434 w 2048870"/>
                <a:gd name="connsiteY186" fmla="*/ 910942 h 1413227"/>
                <a:gd name="connsiteX187" fmla="*/ 599805 w 2048870"/>
                <a:gd name="connsiteY187" fmla="*/ 905757 h 1413227"/>
                <a:gd name="connsiteX188" fmla="*/ 604991 w 2048870"/>
                <a:gd name="connsiteY188" fmla="*/ 900571 h 1413227"/>
                <a:gd name="connsiteX189" fmla="*/ 606719 w 2048870"/>
                <a:gd name="connsiteY189" fmla="*/ 895386 h 1413227"/>
                <a:gd name="connsiteX190" fmla="*/ 615362 w 2048870"/>
                <a:gd name="connsiteY190" fmla="*/ 891928 h 1413227"/>
                <a:gd name="connsiteX191" fmla="*/ 620548 w 2048870"/>
                <a:gd name="connsiteY191" fmla="*/ 886743 h 1413227"/>
                <a:gd name="connsiteX192" fmla="*/ 639562 w 2048870"/>
                <a:gd name="connsiteY192" fmla="*/ 879829 h 1413227"/>
                <a:gd name="connsiteX193" fmla="*/ 653390 w 2048870"/>
                <a:gd name="connsiteY193" fmla="*/ 883286 h 1413227"/>
                <a:gd name="connsiteX194" fmla="*/ 660304 w 2048870"/>
                <a:gd name="connsiteY194" fmla="*/ 885014 h 1413227"/>
                <a:gd name="connsiteX195" fmla="*/ 668947 w 2048870"/>
                <a:gd name="connsiteY195" fmla="*/ 886743 h 1413227"/>
                <a:gd name="connsiteX196" fmla="*/ 675861 w 2048870"/>
                <a:gd name="connsiteY196" fmla="*/ 890200 h 1413227"/>
                <a:gd name="connsiteX197" fmla="*/ 682775 w 2048870"/>
                <a:gd name="connsiteY197" fmla="*/ 891928 h 1413227"/>
                <a:gd name="connsiteX198" fmla="*/ 687961 w 2048870"/>
                <a:gd name="connsiteY198" fmla="*/ 895386 h 1413227"/>
                <a:gd name="connsiteX199" fmla="*/ 700061 w 2048870"/>
                <a:gd name="connsiteY199" fmla="*/ 898843 h 1413227"/>
                <a:gd name="connsiteX200" fmla="*/ 706975 w 2048870"/>
                <a:gd name="connsiteY200" fmla="*/ 904028 h 1413227"/>
                <a:gd name="connsiteX201" fmla="*/ 720803 w 2048870"/>
                <a:gd name="connsiteY201" fmla="*/ 907485 h 1413227"/>
                <a:gd name="connsiteX202" fmla="*/ 727718 w 2048870"/>
                <a:gd name="connsiteY202" fmla="*/ 905757 h 1413227"/>
                <a:gd name="connsiteX203" fmla="*/ 736360 w 2048870"/>
                <a:gd name="connsiteY203" fmla="*/ 904028 h 1413227"/>
                <a:gd name="connsiteX204" fmla="*/ 738089 w 2048870"/>
                <a:gd name="connsiteY204" fmla="*/ 910942 h 1413227"/>
                <a:gd name="connsiteX205" fmla="*/ 760560 w 2048870"/>
                <a:gd name="connsiteY205" fmla="*/ 904028 h 1413227"/>
                <a:gd name="connsiteX206" fmla="*/ 770931 w 2048870"/>
                <a:gd name="connsiteY206" fmla="*/ 895386 h 1413227"/>
                <a:gd name="connsiteX207" fmla="*/ 776117 w 2048870"/>
                <a:gd name="connsiteY207" fmla="*/ 909214 h 1413227"/>
                <a:gd name="connsiteX208" fmla="*/ 783031 w 2048870"/>
                <a:gd name="connsiteY208" fmla="*/ 914400 h 1413227"/>
                <a:gd name="connsiteX209" fmla="*/ 788217 w 2048870"/>
                <a:gd name="connsiteY209" fmla="*/ 919585 h 1413227"/>
                <a:gd name="connsiteX210" fmla="*/ 793402 w 2048870"/>
                <a:gd name="connsiteY210" fmla="*/ 923042 h 1413227"/>
                <a:gd name="connsiteX211" fmla="*/ 798588 w 2048870"/>
                <a:gd name="connsiteY211" fmla="*/ 928228 h 1413227"/>
                <a:gd name="connsiteX212" fmla="*/ 815873 w 2048870"/>
                <a:gd name="connsiteY212" fmla="*/ 935142 h 1413227"/>
                <a:gd name="connsiteX213" fmla="*/ 821059 w 2048870"/>
                <a:gd name="connsiteY213" fmla="*/ 926499 h 1413227"/>
                <a:gd name="connsiteX214" fmla="*/ 824516 w 2048870"/>
                <a:gd name="connsiteY214" fmla="*/ 910942 h 1413227"/>
                <a:gd name="connsiteX215" fmla="*/ 833159 w 2048870"/>
                <a:gd name="connsiteY215" fmla="*/ 912671 h 1413227"/>
                <a:gd name="connsiteX216" fmla="*/ 838344 w 2048870"/>
                <a:gd name="connsiteY216" fmla="*/ 926499 h 1413227"/>
                <a:gd name="connsiteX217" fmla="*/ 841802 w 2048870"/>
                <a:gd name="connsiteY217" fmla="*/ 929956 h 1413227"/>
                <a:gd name="connsiteX218" fmla="*/ 850444 w 2048870"/>
                <a:gd name="connsiteY218" fmla="*/ 948970 h 1413227"/>
                <a:gd name="connsiteX219" fmla="*/ 853901 w 2048870"/>
                <a:gd name="connsiteY219" fmla="*/ 954156 h 1413227"/>
                <a:gd name="connsiteX220" fmla="*/ 859087 w 2048870"/>
                <a:gd name="connsiteY220" fmla="*/ 988727 h 1413227"/>
                <a:gd name="connsiteX221" fmla="*/ 864273 w 2048870"/>
                <a:gd name="connsiteY221" fmla="*/ 1009469 h 1413227"/>
                <a:gd name="connsiteX222" fmla="*/ 878101 w 2048870"/>
                <a:gd name="connsiteY222" fmla="*/ 1012927 h 1413227"/>
                <a:gd name="connsiteX223" fmla="*/ 885015 w 2048870"/>
                <a:gd name="connsiteY223" fmla="*/ 1016384 h 1413227"/>
                <a:gd name="connsiteX224" fmla="*/ 888472 w 2048870"/>
                <a:gd name="connsiteY224" fmla="*/ 1021569 h 1413227"/>
                <a:gd name="connsiteX225" fmla="*/ 900572 w 2048870"/>
                <a:gd name="connsiteY225" fmla="*/ 1026755 h 1413227"/>
                <a:gd name="connsiteX226" fmla="*/ 905758 w 2048870"/>
                <a:gd name="connsiteY226" fmla="*/ 1033669 h 1413227"/>
                <a:gd name="connsiteX227" fmla="*/ 909215 w 2048870"/>
                <a:gd name="connsiteY227" fmla="*/ 1040583 h 1413227"/>
                <a:gd name="connsiteX228" fmla="*/ 912672 w 2048870"/>
                <a:gd name="connsiteY228" fmla="*/ 1045769 h 1413227"/>
                <a:gd name="connsiteX229" fmla="*/ 921315 w 2048870"/>
                <a:gd name="connsiteY229" fmla="*/ 1061326 h 1413227"/>
                <a:gd name="connsiteX230" fmla="*/ 928229 w 2048870"/>
                <a:gd name="connsiteY230" fmla="*/ 1082068 h 1413227"/>
                <a:gd name="connsiteX231" fmla="*/ 929957 w 2048870"/>
                <a:gd name="connsiteY231" fmla="*/ 1088983 h 1413227"/>
                <a:gd name="connsiteX232" fmla="*/ 940329 w 2048870"/>
                <a:gd name="connsiteY232" fmla="*/ 1095897 h 1413227"/>
                <a:gd name="connsiteX233" fmla="*/ 959343 w 2048870"/>
                <a:gd name="connsiteY233" fmla="*/ 1097625 h 1413227"/>
                <a:gd name="connsiteX234" fmla="*/ 967985 w 2048870"/>
                <a:gd name="connsiteY234" fmla="*/ 1101082 h 1413227"/>
                <a:gd name="connsiteX235" fmla="*/ 973171 w 2048870"/>
                <a:gd name="connsiteY235" fmla="*/ 1106268 h 1413227"/>
                <a:gd name="connsiteX236" fmla="*/ 978357 w 2048870"/>
                <a:gd name="connsiteY236" fmla="*/ 1109725 h 1413227"/>
                <a:gd name="connsiteX237" fmla="*/ 983542 w 2048870"/>
                <a:gd name="connsiteY237" fmla="*/ 1118368 h 1413227"/>
                <a:gd name="connsiteX238" fmla="*/ 985271 w 2048870"/>
                <a:gd name="connsiteY238" fmla="*/ 1132196 h 1413227"/>
                <a:gd name="connsiteX239" fmla="*/ 992185 w 2048870"/>
                <a:gd name="connsiteY239" fmla="*/ 1139110 h 1413227"/>
                <a:gd name="connsiteX240" fmla="*/ 1006013 w 2048870"/>
                <a:gd name="connsiteY240" fmla="*/ 1147753 h 1413227"/>
                <a:gd name="connsiteX241" fmla="*/ 1019842 w 2048870"/>
                <a:gd name="connsiteY241" fmla="*/ 1165038 h 1413227"/>
                <a:gd name="connsiteX242" fmla="*/ 1012927 w 2048870"/>
                <a:gd name="connsiteY242" fmla="*/ 1168496 h 1413227"/>
                <a:gd name="connsiteX243" fmla="*/ 1009470 w 2048870"/>
                <a:gd name="connsiteY243" fmla="*/ 1173681 h 1413227"/>
                <a:gd name="connsiteX244" fmla="*/ 997371 w 2048870"/>
                <a:gd name="connsiteY244" fmla="*/ 1177138 h 1413227"/>
                <a:gd name="connsiteX245" fmla="*/ 990456 w 2048870"/>
                <a:gd name="connsiteY245" fmla="*/ 1182324 h 1413227"/>
                <a:gd name="connsiteX246" fmla="*/ 973171 w 2048870"/>
                <a:gd name="connsiteY246" fmla="*/ 1182324 h 1413227"/>
                <a:gd name="connsiteX247" fmla="*/ 971442 w 2048870"/>
                <a:gd name="connsiteY247" fmla="*/ 1161581 h 1413227"/>
                <a:gd name="connsiteX248" fmla="*/ 962800 w 2048870"/>
                <a:gd name="connsiteY248" fmla="*/ 1171953 h 1413227"/>
                <a:gd name="connsiteX249" fmla="*/ 959343 w 2048870"/>
                <a:gd name="connsiteY249" fmla="*/ 1178867 h 1413227"/>
                <a:gd name="connsiteX250" fmla="*/ 955885 w 2048870"/>
                <a:gd name="connsiteY250" fmla="*/ 1184052 h 1413227"/>
                <a:gd name="connsiteX251" fmla="*/ 947243 w 2048870"/>
                <a:gd name="connsiteY251" fmla="*/ 1187510 h 1413227"/>
                <a:gd name="connsiteX252" fmla="*/ 940329 w 2048870"/>
                <a:gd name="connsiteY252" fmla="*/ 1190967 h 1413227"/>
                <a:gd name="connsiteX253" fmla="*/ 935143 w 2048870"/>
                <a:gd name="connsiteY253" fmla="*/ 1189238 h 1413227"/>
                <a:gd name="connsiteX254" fmla="*/ 929957 w 2048870"/>
                <a:gd name="connsiteY254" fmla="*/ 1171953 h 1413227"/>
                <a:gd name="connsiteX255" fmla="*/ 926500 w 2048870"/>
                <a:gd name="connsiteY255" fmla="*/ 1165038 h 1413227"/>
                <a:gd name="connsiteX256" fmla="*/ 921315 w 2048870"/>
                <a:gd name="connsiteY256" fmla="*/ 1178867 h 1413227"/>
                <a:gd name="connsiteX257" fmla="*/ 917857 w 2048870"/>
                <a:gd name="connsiteY257" fmla="*/ 1182324 h 1413227"/>
                <a:gd name="connsiteX258" fmla="*/ 914400 w 2048870"/>
                <a:gd name="connsiteY258" fmla="*/ 1194424 h 1413227"/>
                <a:gd name="connsiteX259" fmla="*/ 909215 w 2048870"/>
                <a:gd name="connsiteY259" fmla="*/ 1199609 h 1413227"/>
                <a:gd name="connsiteX260" fmla="*/ 886744 w 2048870"/>
                <a:gd name="connsiteY260" fmla="*/ 1180595 h 1413227"/>
                <a:gd name="connsiteX261" fmla="*/ 883287 w 2048870"/>
                <a:gd name="connsiteY261" fmla="*/ 1189238 h 1413227"/>
                <a:gd name="connsiteX262" fmla="*/ 879830 w 2048870"/>
                <a:gd name="connsiteY262" fmla="*/ 1194424 h 1413227"/>
                <a:gd name="connsiteX263" fmla="*/ 874644 w 2048870"/>
                <a:gd name="connsiteY263" fmla="*/ 1204795 h 1413227"/>
                <a:gd name="connsiteX264" fmla="*/ 879830 w 2048870"/>
                <a:gd name="connsiteY264" fmla="*/ 1211709 h 1413227"/>
                <a:gd name="connsiteX265" fmla="*/ 890201 w 2048870"/>
                <a:gd name="connsiteY265" fmla="*/ 1215166 h 1413227"/>
                <a:gd name="connsiteX266" fmla="*/ 893658 w 2048870"/>
                <a:gd name="connsiteY266" fmla="*/ 1235909 h 1413227"/>
                <a:gd name="connsiteX267" fmla="*/ 891929 w 2048870"/>
                <a:gd name="connsiteY267" fmla="*/ 1258380 h 1413227"/>
                <a:gd name="connsiteX268" fmla="*/ 890201 w 2048870"/>
                <a:gd name="connsiteY268" fmla="*/ 1263565 h 1413227"/>
                <a:gd name="connsiteX269" fmla="*/ 878101 w 2048870"/>
                <a:gd name="connsiteY269" fmla="*/ 1275665 h 1413227"/>
                <a:gd name="connsiteX270" fmla="*/ 871187 w 2048870"/>
                <a:gd name="connsiteY270" fmla="*/ 1282579 h 1413227"/>
                <a:gd name="connsiteX271" fmla="*/ 876372 w 2048870"/>
                <a:gd name="connsiteY271" fmla="*/ 1287765 h 1413227"/>
                <a:gd name="connsiteX272" fmla="*/ 874644 w 2048870"/>
                <a:gd name="connsiteY272" fmla="*/ 1306779 h 1413227"/>
                <a:gd name="connsiteX273" fmla="*/ 869458 w 2048870"/>
                <a:gd name="connsiteY273" fmla="*/ 1308508 h 1413227"/>
                <a:gd name="connsiteX274" fmla="*/ 864273 w 2048870"/>
                <a:gd name="connsiteY274" fmla="*/ 1320607 h 1413227"/>
                <a:gd name="connsiteX275" fmla="*/ 862544 w 2048870"/>
                <a:gd name="connsiteY275" fmla="*/ 1360364 h 1413227"/>
                <a:gd name="connsiteX276" fmla="*/ 857358 w 2048870"/>
                <a:gd name="connsiteY276" fmla="*/ 1363821 h 1413227"/>
                <a:gd name="connsiteX277" fmla="*/ 852173 w 2048870"/>
                <a:gd name="connsiteY277" fmla="*/ 1365550 h 1413227"/>
                <a:gd name="connsiteX278" fmla="*/ 850444 w 2048870"/>
                <a:gd name="connsiteY278" fmla="*/ 1370735 h 1413227"/>
                <a:gd name="connsiteX279" fmla="*/ 838344 w 2048870"/>
                <a:gd name="connsiteY279" fmla="*/ 1379378 h 1413227"/>
                <a:gd name="connsiteX280" fmla="*/ 841802 w 2048870"/>
                <a:gd name="connsiteY280" fmla="*/ 1389749 h 1413227"/>
                <a:gd name="connsiteX281" fmla="*/ 840497 w 2048870"/>
                <a:gd name="connsiteY281" fmla="*/ 1405535 h 1413227"/>
                <a:gd name="connsiteX282" fmla="*/ 835505 w 2048870"/>
                <a:gd name="connsiteY282" fmla="*/ 1401197 h 1413227"/>
                <a:gd name="connsiteX283" fmla="*/ 859087 w 2048870"/>
                <a:gd name="connsiteY283" fmla="*/ 1410492 h 1413227"/>
                <a:gd name="connsiteX284" fmla="*/ 885015 w 2048870"/>
                <a:gd name="connsiteY284" fmla="*/ 1408763 h 1413227"/>
                <a:gd name="connsiteX285" fmla="*/ 890201 w 2048870"/>
                <a:gd name="connsiteY285" fmla="*/ 1413103 h 1413227"/>
                <a:gd name="connsiteX286" fmla="*/ 921633 w 2048870"/>
                <a:gd name="connsiteY286" fmla="*/ 1403013 h 1413227"/>
                <a:gd name="connsiteX287" fmla="*/ 932427 w 2048870"/>
                <a:gd name="connsiteY287" fmla="*/ 1394371 h 1413227"/>
                <a:gd name="connsiteX288" fmla="*/ 933873 w 2048870"/>
                <a:gd name="connsiteY288" fmla="*/ 1386010 h 1413227"/>
                <a:gd name="connsiteX289" fmla="*/ 943362 w 2048870"/>
                <a:gd name="connsiteY289" fmla="*/ 1367278 h 1413227"/>
                <a:gd name="connsiteX290" fmla="*/ 943786 w 2048870"/>
                <a:gd name="connsiteY290" fmla="*/ 1362093 h 1413227"/>
                <a:gd name="connsiteX291" fmla="*/ 954157 w 2048870"/>
                <a:gd name="connsiteY291" fmla="*/ 1360364 h 1413227"/>
                <a:gd name="connsiteX292" fmla="*/ 993913 w 2048870"/>
                <a:gd name="connsiteY292" fmla="*/ 1356907 h 1413227"/>
                <a:gd name="connsiteX293" fmla="*/ 997371 w 2048870"/>
                <a:gd name="connsiteY293" fmla="*/ 1349993 h 1413227"/>
                <a:gd name="connsiteX294" fmla="*/ 1009470 w 2048870"/>
                <a:gd name="connsiteY294" fmla="*/ 1344807 h 1413227"/>
                <a:gd name="connsiteX295" fmla="*/ 997371 w 2048870"/>
                <a:gd name="connsiteY295" fmla="*/ 1334436 h 1413227"/>
                <a:gd name="connsiteX296" fmla="*/ 993913 w 2048870"/>
                <a:gd name="connsiteY296" fmla="*/ 1327522 h 1413227"/>
                <a:gd name="connsiteX297" fmla="*/ 988728 w 2048870"/>
                <a:gd name="connsiteY297" fmla="*/ 1322336 h 1413227"/>
                <a:gd name="connsiteX298" fmla="*/ 985271 w 2048870"/>
                <a:gd name="connsiteY298" fmla="*/ 1310236 h 1413227"/>
                <a:gd name="connsiteX299" fmla="*/ 981814 w 2048870"/>
                <a:gd name="connsiteY299" fmla="*/ 1299865 h 1413227"/>
                <a:gd name="connsiteX300" fmla="*/ 990456 w 2048870"/>
                <a:gd name="connsiteY300" fmla="*/ 1287765 h 1413227"/>
                <a:gd name="connsiteX301" fmla="*/ 992185 w 2048870"/>
                <a:gd name="connsiteY301" fmla="*/ 1292951 h 1413227"/>
                <a:gd name="connsiteX302" fmla="*/ 1014656 w 2048870"/>
                <a:gd name="connsiteY302" fmla="*/ 1299865 h 1413227"/>
                <a:gd name="connsiteX303" fmla="*/ 1016385 w 2048870"/>
                <a:gd name="connsiteY303" fmla="*/ 1294679 h 1413227"/>
                <a:gd name="connsiteX304" fmla="*/ 1018113 w 2048870"/>
                <a:gd name="connsiteY304" fmla="*/ 1284308 h 1413227"/>
                <a:gd name="connsiteX305" fmla="*/ 1031941 w 2048870"/>
                <a:gd name="connsiteY305" fmla="*/ 1270480 h 1413227"/>
                <a:gd name="connsiteX306" fmla="*/ 1037127 w 2048870"/>
                <a:gd name="connsiteY306" fmla="*/ 1265294 h 1413227"/>
                <a:gd name="connsiteX307" fmla="*/ 1038856 w 2048870"/>
                <a:gd name="connsiteY307" fmla="*/ 1260108 h 1413227"/>
                <a:gd name="connsiteX308" fmla="*/ 1054412 w 2048870"/>
                <a:gd name="connsiteY308" fmla="*/ 1251466 h 1413227"/>
                <a:gd name="connsiteX309" fmla="*/ 1063055 w 2048870"/>
                <a:gd name="connsiteY309" fmla="*/ 1242823 h 1413227"/>
                <a:gd name="connsiteX310" fmla="*/ 1068241 w 2048870"/>
                <a:gd name="connsiteY310" fmla="*/ 1223809 h 1413227"/>
                <a:gd name="connsiteX311" fmla="*/ 1069969 w 2048870"/>
                <a:gd name="connsiteY311" fmla="*/ 1215166 h 1413227"/>
                <a:gd name="connsiteX312" fmla="*/ 1075155 w 2048870"/>
                <a:gd name="connsiteY312" fmla="*/ 1201338 h 1413227"/>
                <a:gd name="connsiteX313" fmla="*/ 1080341 w 2048870"/>
                <a:gd name="connsiteY313" fmla="*/ 1175410 h 1413227"/>
                <a:gd name="connsiteX314" fmla="*/ 1082069 w 2048870"/>
                <a:gd name="connsiteY314" fmla="*/ 1170224 h 1413227"/>
                <a:gd name="connsiteX315" fmla="*/ 1083798 w 2048870"/>
                <a:gd name="connsiteY315" fmla="*/ 1161581 h 1413227"/>
                <a:gd name="connsiteX316" fmla="*/ 1085526 w 2048870"/>
                <a:gd name="connsiteY316" fmla="*/ 1156396 h 1413227"/>
                <a:gd name="connsiteX317" fmla="*/ 1087255 w 2048870"/>
                <a:gd name="connsiteY317" fmla="*/ 1147753 h 1413227"/>
                <a:gd name="connsiteX318" fmla="*/ 1097626 w 2048870"/>
                <a:gd name="connsiteY318" fmla="*/ 1128739 h 1413227"/>
                <a:gd name="connsiteX319" fmla="*/ 1099355 w 2048870"/>
                <a:gd name="connsiteY319" fmla="*/ 1111454 h 1413227"/>
                <a:gd name="connsiteX320" fmla="*/ 1106269 w 2048870"/>
                <a:gd name="connsiteY320" fmla="*/ 1097625 h 1413227"/>
                <a:gd name="connsiteX321" fmla="*/ 1111454 w 2048870"/>
                <a:gd name="connsiteY321" fmla="*/ 1095897 h 1413227"/>
                <a:gd name="connsiteX322" fmla="*/ 1127011 w 2048870"/>
                <a:gd name="connsiteY322" fmla="*/ 1094168 h 1413227"/>
                <a:gd name="connsiteX323" fmla="*/ 1132197 w 2048870"/>
                <a:gd name="connsiteY323" fmla="*/ 1088983 h 1413227"/>
                <a:gd name="connsiteX324" fmla="*/ 1166768 w 2048870"/>
                <a:gd name="connsiteY324" fmla="*/ 1083797 h 1413227"/>
                <a:gd name="connsiteX325" fmla="*/ 1175411 w 2048870"/>
                <a:gd name="connsiteY325" fmla="*/ 1073426 h 1413227"/>
                <a:gd name="connsiteX326" fmla="*/ 1177139 w 2048870"/>
                <a:gd name="connsiteY326" fmla="*/ 1061326 h 1413227"/>
                <a:gd name="connsiteX327" fmla="*/ 1170225 w 2048870"/>
                <a:gd name="connsiteY327" fmla="*/ 1047497 h 1413227"/>
                <a:gd name="connsiteX328" fmla="*/ 1163311 w 2048870"/>
                <a:gd name="connsiteY328" fmla="*/ 1050955 h 1413227"/>
                <a:gd name="connsiteX329" fmla="*/ 1166768 w 2048870"/>
                <a:gd name="connsiteY329" fmla="*/ 1068240 h 1413227"/>
                <a:gd name="connsiteX330" fmla="*/ 1170225 w 2048870"/>
                <a:gd name="connsiteY330" fmla="*/ 1076883 h 1413227"/>
                <a:gd name="connsiteX331" fmla="*/ 1182325 w 2048870"/>
                <a:gd name="connsiteY331" fmla="*/ 1080340 h 1413227"/>
                <a:gd name="connsiteX332" fmla="*/ 1206524 w 2048870"/>
                <a:gd name="connsiteY332" fmla="*/ 1078611 h 1413227"/>
                <a:gd name="connsiteX333" fmla="*/ 1211710 w 2048870"/>
                <a:gd name="connsiteY333" fmla="*/ 1073426 h 1413227"/>
                <a:gd name="connsiteX334" fmla="*/ 1218624 w 2048870"/>
                <a:gd name="connsiteY334" fmla="*/ 1057869 h 1413227"/>
                <a:gd name="connsiteX335" fmla="*/ 1220353 w 2048870"/>
                <a:gd name="connsiteY335" fmla="*/ 1044040 h 1413227"/>
                <a:gd name="connsiteX336" fmla="*/ 1218624 w 2048870"/>
                <a:gd name="connsiteY336" fmla="*/ 1014655 h 1413227"/>
                <a:gd name="connsiteX337" fmla="*/ 1211710 w 2048870"/>
                <a:gd name="connsiteY337" fmla="*/ 997370 h 1413227"/>
                <a:gd name="connsiteX338" fmla="*/ 1206524 w 2048870"/>
                <a:gd name="connsiteY338" fmla="*/ 993913 h 1413227"/>
                <a:gd name="connsiteX339" fmla="*/ 1184053 w 2048870"/>
                <a:gd name="connsiteY339" fmla="*/ 973170 h 1413227"/>
                <a:gd name="connsiteX340" fmla="*/ 1173682 w 2048870"/>
                <a:gd name="connsiteY340" fmla="*/ 962799 h 1413227"/>
                <a:gd name="connsiteX341" fmla="*/ 1168496 w 2048870"/>
                <a:gd name="connsiteY341" fmla="*/ 957613 h 1413227"/>
                <a:gd name="connsiteX342" fmla="*/ 1171954 w 2048870"/>
                <a:gd name="connsiteY342" fmla="*/ 961070 h 1413227"/>
                <a:gd name="connsiteX343" fmla="*/ 1178868 w 2048870"/>
                <a:gd name="connsiteY343" fmla="*/ 971441 h 1413227"/>
                <a:gd name="connsiteX344" fmla="*/ 1185782 w 2048870"/>
                <a:gd name="connsiteY344" fmla="*/ 980084 h 1413227"/>
                <a:gd name="connsiteX345" fmla="*/ 1190968 w 2048870"/>
                <a:gd name="connsiteY345" fmla="*/ 985270 h 1413227"/>
                <a:gd name="connsiteX346" fmla="*/ 1194425 w 2048870"/>
                <a:gd name="connsiteY346" fmla="*/ 993913 h 1413227"/>
                <a:gd name="connsiteX347" fmla="*/ 1206524 w 2048870"/>
                <a:gd name="connsiteY347" fmla="*/ 1007741 h 1413227"/>
                <a:gd name="connsiteX348" fmla="*/ 1208253 w 2048870"/>
                <a:gd name="connsiteY348" fmla="*/ 1014655 h 1413227"/>
                <a:gd name="connsiteX349" fmla="*/ 1211710 w 2048870"/>
                <a:gd name="connsiteY349" fmla="*/ 1023298 h 1413227"/>
                <a:gd name="connsiteX350" fmla="*/ 1213439 w 2048870"/>
                <a:gd name="connsiteY350" fmla="*/ 1035398 h 1413227"/>
                <a:gd name="connsiteX351" fmla="*/ 1215167 w 2048870"/>
                <a:gd name="connsiteY351" fmla="*/ 1044040 h 1413227"/>
                <a:gd name="connsiteX352" fmla="*/ 1220353 w 2048870"/>
                <a:gd name="connsiteY352" fmla="*/ 1045769 h 1413227"/>
                <a:gd name="connsiteX353" fmla="*/ 1223810 w 2048870"/>
                <a:gd name="connsiteY353" fmla="*/ 1050955 h 1413227"/>
                <a:gd name="connsiteX354" fmla="*/ 1234181 w 2048870"/>
                <a:gd name="connsiteY354" fmla="*/ 1063054 h 1413227"/>
                <a:gd name="connsiteX355" fmla="*/ 1253195 w 2048870"/>
                <a:gd name="connsiteY355" fmla="*/ 1057869 h 1413227"/>
                <a:gd name="connsiteX356" fmla="*/ 1258381 w 2048870"/>
                <a:gd name="connsiteY356" fmla="*/ 1054412 h 1413227"/>
                <a:gd name="connsiteX357" fmla="*/ 1265295 w 2048870"/>
                <a:gd name="connsiteY357" fmla="*/ 1050955 h 1413227"/>
                <a:gd name="connsiteX358" fmla="*/ 1267023 w 2048870"/>
                <a:gd name="connsiteY358" fmla="*/ 1056140 h 1413227"/>
                <a:gd name="connsiteX359" fmla="*/ 1268752 w 2048870"/>
                <a:gd name="connsiteY359" fmla="*/ 1068240 h 1413227"/>
                <a:gd name="connsiteX360" fmla="*/ 1279123 w 2048870"/>
                <a:gd name="connsiteY360" fmla="*/ 1064783 h 1413227"/>
                <a:gd name="connsiteX361" fmla="*/ 1289495 w 2048870"/>
                <a:gd name="connsiteY361" fmla="*/ 1056140 h 1413227"/>
                <a:gd name="connsiteX362" fmla="*/ 1299866 w 2048870"/>
                <a:gd name="connsiteY362" fmla="*/ 1045769 h 1413227"/>
                <a:gd name="connsiteX363" fmla="*/ 1305051 w 2048870"/>
                <a:gd name="connsiteY363" fmla="*/ 1042312 h 1413227"/>
                <a:gd name="connsiteX364" fmla="*/ 1294680 w 2048870"/>
                <a:gd name="connsiteY364" fmla="*/ 1061326 h 1413227"/>
                <a:gd name="connsiteX365" fmla="*/ 1286037 w 2048870"/>
                <a:gd name="connsiteY365" fmla="*/ 1075154 h 1413227"/>
                <a:gd name="connsiteX366" fmla="*/ 1272209 w 2048870"/>
                <a:gd name="connsiteY366" fmla="*/ 1082068 h 1413227"/>
                <a:gd name="connsiteX367" fmla="*/ 1265295 w 2048870"/>
                <a:gd name="connsiteY367" fmla="*/ 1085525 h 1413227"/>
                <a:gd name="connsiteX368" fmla="*/ 1260109 w 2048870"/>
                <a:gd name="connsiteY368" fmla="*/ 1087254 h 1413227"/>
                <a:gd name="connsiteX369" fmla="*/ 1251467 w 2048870"/>
                <a:gd name="connsiteY369" fmla="*/ 1092440 h 1413227"/>
                <a:gd name="connsiteX370" fmla="*/ 1232453 w 2048870"/>
                <a:gd name="connsiteY370" fmla="*/ 1095897 h 1413227"/>
                <a:gd name="connsiteX371" fmla="*/ 1230724 w 2048870"/>
                <a:gd name="connsiteY371" fmla="*/ 1121825 h 1413227"/>
                <a:gd name="connsiteX372" fmla="*/ 1223810 w 2048870"/>
                <a:gd name="connsiteY372" fmla="*/ 1128739 h 1413227"/>
                <a:gd name="connsiteX373" fmla="*/ 1216896 w 2048870"/>
                <a:gd name="connsiteY373" fmla="*/ 1130468 h 1413227"/>
                <a:gd name="connsiteX374" fmla="*/ 1248009 w 2048870"/>
                <a:gd name="connsiteY374" fmla="*/ 1123553 h 1413227"/>
                <a:gd name="connsiteX375" fmla="*/ 1275666 w 2048870"/>
                <a:gd name="connsiteY375" fmla="*/ 1125282 h 1413227"/>
                <a:gd name="connsiteX376" fmla="*/ 1282580 w 2048870"/>
                <a:gd name="connsiteY376" fmla="*/ 1128739 h 1413227"/>
                <a:gd name="connsiteX377" fmla="*/ 1318880 w 2048870"/>
                <a:gd name="connsiteY377" fmla="*/ 1127010 h 1413227"/>
                <a:gd name="connsiteX378" fmla="*/ 1330980 w 2048870"/>
                <a:gd name="connsiteY378" fmla="*/ 1123553 h 1413227"/>
                <a:gd name="connsiteX379" fmla="*/ 1339622 w 2048870"/>
                <a:gd name="connsiteY379" fmla="*/ 1118368 h 1413227"/>
                <a:gd name="connsiteX380" fmla="*/ 1356908 w 2048870"/>
                <a:gd name="connsiteY380" fmla="*/ 1123553 h 1413227"/>
                <a:gd name="connsiteX381" fmla="*/ 1384564 w 2048870"/>
                <a:gd name="connsiteY381" fmla="*/ 1114911 h 1413227"/>
                <a:gd name="connsiteX382" fmla="*/ 1391479 w 2048870"/>
                <a:gd name="connsiteY382" fmla="*/ 1109725 h 1413227"/>
                <a:gd name="connsiteX383" fmla="*/ 1400121 w 2048870"/>
                <a:gd name="connsiteY383" fmla="*/ 1095897 h 1413227"/>
                <a:gd name="connsiteX384" fmla="*/ 1403578 w 2048870"/>
                <a:gd name="connsiteY384" fmla="*/ 1090711 h 1413227"/>
                <a:gd name="connsiteX385" fmla="*/ 1408764 w 2048870"/>
                <a:gd name="connsiteY385" fmla="*/ 1088983 h 1413227"/>
                <a:gd name="connsiteX386" fmla="*/ 1415678 w 2048870"/>
                <a:gd name="connsiteY386" fmla="*/ 1097625 h 1413227"/>
                <a:gd name="connsiteX387" fmla="*/ 1419135 w 2048870"/>
                <a:gd name="connsiteY387" fmla="*/ 1104539 h 1413227"/>
                <a:gd name="connsiteX388" fmla="*/ 1424321 w 2048870"/>
                <a:gd name="connsiteY388" fmla="*/ 1111454 h 1413227"/>
                <a:gd name="connsiteX389" fmla="*/ 1434692 w 2048870"/>
                <a:gd name="connsiteY389" fmla="*/ 1109725 h 1413227"/>
                <a:gd name="connsiteX390" fmla="*/ 1438149 w 2048870"/>
                <a:gd name="connsiteY390" fmla="*/ 1101082 h 1413227"/>
                <a:gd name="connsiteX391" fmla="*/ 1446792 w 2048870"/>
                <a:gd name="connsiteY391" fmla="*/ 1076883 h 1413227"/>
                <a:gd name="connsiteX392" fmla="*/ 1455435 w 2048870"/>
                <a:gd name="connsiteY392" fmla="*/ 1082068 h 1413227"/>
                <a:gd name="connsiteX393" fmla="*/ 1457163 w 2048870"/>
                <a:gd name="connsiteY393" fmla="*/ 1097625 h 1413227"/>
                <a:gd name="connsiteX394" fmla="*/ 1462349 w 2048870"/>
                <a:gd name="connsiteY394" fmla="*/ 1104539 h 1413227"/>
                <a:gd name="connsiteX395" fmla="*/ 1464078 w 2048870"/>
                <a:gd name="connsiteY395" fmla="*/ 1116639 h 1413227"/>
                <a:gd name="connsiteX396" fmla="*/ 1450249 w 2048870"/>
                <a:gd name="connsiteY396" fmla="*/ 1132196 h 1413227"/>
                <a:gd name="connsiteX397" fmla="*/ 1436421 w 2048870"/>
                <a:gd name="connsiteY397" fmla="*/ 1149482 h 1413227"/>
                <a:gd name="connsiteX398" fmla="*/ 1427778 w 2048870"/>
                <a:gd name="connsiteY398" fmla="*/ 1158124 h 1413227"/>
                <a:gd name="connsiteX399" fmla="*/ 1415678 w 2048870"/>
                <a:gd name="connsiteY399" fmla="*/ 1163310 h 1413227"/>
                <a:gd name="connsiteX400" fmla="*/ 1400121 w 2048870"/>
                <a:gd name="connsiteY400" fmla="*/ 1171953 h 1413227"/>
                <a:gd name="connsiteX401" fmla="*/ 1398393 w 2048870"/>
                <a:gd name="connsiteY401" fmla="*/ 1177138 h 1413227"/>
                <a:gd name="connsiteX402" fmla="*/ 1389750 w 2048870"/>
                <a:gd name="connsiteY402" fmla="*/ 1189238 h 1413227"/>
                <a:gd name="connsiteX403" fmla="*/ 1384564 w 2048870"/>
                <a:gd name="connsiteY403" fmla="*/ 1197881 h 1413227"/>
                <a:gd name="connsiteX404" fmla="*/ 1382836 w 2048870"/>
                <a:gd name="connsiteY404" fmla="*/ 1203066 h 1413227"/>
                <a:gd name="connsiteX405" fmla="*/ 1374193 w 2048870"/>
                <a:gd name="connsiteY405" fmla="*/ 1211709 h 1413227"/>
                <a:gd name="connsiteX406" fmla="*/ 1369008 w 2048870"/>
                <a:gd name="connsiteY406" fmla="*/ 1216895 h 1413227"/>
                <a:gd name="connsiteX407" fmla="*/ 1356908 w 2048870"/>
                <a:gd name="connsiteY407" fmla="*/ 1230723 h 1413227"/>
                <a:gd name="connsiteX408" fmla="*/ 1351722 w 2048870"/>
                <a:gd name="connsiteY408" fmla="*/ 1237637 h 1413227"/>
                <a:gd name="connsiteX409" fmla="*/ 1349994 w 2048870"/>
                <a:gd name="connsiteY409" fmla="*/ 1242823 h 1413227"/>
                <a:gd name="connsiteX410" fmla="*/ 1344808 w 2048870"/>
                <a:gd name="connsiteY410" fmla="*/ 1253194 h 1413227"/>
                <a:gd name="connsiteX411" fmla="*/ 1377650 w 2048870"/>
                <a:gd name="connsiteY411" fmla="*/ 1253194 h 1413227"/>
                <a:gd name="connsiteX412" fmla="*/ 1386293 w 2048870"/>
                <a:gd name="connsiteY412" fmla="*/ 1246280 h 1413227"/>
                <a:gd name="connsiteX413" fmla="*/ 1391479 w 2048870"/>
                <a:gd name="connsiteY413" fmla="*/ 1244552 h 1413227"/>
                <a:gd name="connsiteX414" fmla="*/ 1412221 w 2048870"/>
                <a:gd name="connsiteY414" fmla="*/ 1248009 h 1413227"/>
                <a:gd name="connsiteX415" fmla="*/ 1415678 w 2048870"/>
                <a:gd name="connsiteY415" fmla="*/ 1253194 h 1413227"/>
                <a:gd name="connsiteX416" fmla="*/ 1426050 w 2048870"/>
                <a:gd name="connsiteY416" fmla="*/ 1260108 h 1413227"/>
                <a:gd name="connsiteX417" fmla="*/ 1451978 w 2048870"/>
                <a:gd name="connsiteY417" fmla="*/ 1258380 h 1413227"/>
                <a:gd name="connsiteX418" fmla="*/ 1457163 w 2048870"/>
                <a:gd name="connsiteY418" fmla="*/ 1253194 h 1413227"/>
                <a:gd name="connsiteX419" fmla="*/ 1465806 w 2048870"/>
                <a:gd name="connsiteY419" fmla="*/ 1248009 h 1413227"/>
                <a:gd name="connsiteX420" fmla="*/ 1483092 w 2048870"/>
                <a:gd name="connsiteY420" fmla="*/ 1249737 h 1413227"/>
                <a:gd name="connsiteX421" fmla="*/ 1491734 w 2048870"/>
                <a:gd name="connsiteY421" fmla="*/ 1258380 h 1413227"/>
                <a:gd name="connsiteX422" fmla="*/ 1502106 w 2048870"/>
                <a:gd name="connsiteY422" fmla="*/ 1272208 h 1413227"/>
                <a:gd name="connsiteX423" fmla="*/ 1503834 w 2048870"/>
                <a:gd name="connsiteY423" fmla="*/ 1289494 h 1413227"/>
                <a:gd name="connsiteX424" fmla="*/ 1514205 w 2048870"/>
                <a:gd name="connsiteY424" fmla="*/ 1301593 h 1413227"/>
                <a:gd name="connsiteX425" fmla="*/ 1517662 w 2048870"/>
                <a:gd name="connsiteY425" fmla="*/ 1306779 h 1413227"/>
                <a:gd name="connsiteX426" fmla="*/ 1515934 w 2048870"/>
                <a:gd name="connsiteY426" fmla="*/ 1355178 h 1413227"/>
                <a:gd name="connsiteX427" fmla="*/ 1509020 w 2048870"/>
                <a:gd name="connsiteY427" fmla="*/ 1360364 h 1413227"/>
                <a:gd name="connsiteX428" fmla="*/ 1503834 w 2048870"/>
                <a:gd name="connsiteY428" fmla="*/ 1370735 h 1413227"/>
                <a:gd name="connsiteX429" fmla="*/ 1534948 w 2048870"/>
                <a:gd name="connsiteY429" fmla="*/ 1374192 h 1413227"/>
                <a:gd name="connsiteX430" fmla="*/ 1540133 w 2048870"/>
                <a:gd name="connsiteY430" fmla="*/ 1377649 h 1413227"/>
                <a:gd name="connsiteX431" fmla="*/ 1559147 w 2048870"/>
                <a:gd name="connsiteY431" fmla="*/ 1375921 h 1413227"/>
                <a:gd name="connsiteX432" fmla="*/ 1564333 w 2048870"/>
                <a:gd name="connsiteY432" fmla="*/ 1372464 h 1413227"/>
                <a:gd name="connsiteX433" fmla="*/ 1579890 w 2048870"/>
                <a:gd name="connsiteY433" fmla="*/ 1370735 h 1413227"/>
                <a:gd name="connsiteX434" fmla="*/ 1597175 w 2048870"/>
                <a:gd name="connsiteY434" fmla="*/ 1363821 h 1413227"/>
                <a:gd name="connsiteX435" fmla="*/ 1600633 w 2048870"/>
                <a:gd name="connsiteY435" fmla="*/ 1360364 h 1413227"/>
                <a:gd name="connsiteX436" fmla="*/ 1612732 w 2048870"/>
                <a:gd name="connsiteY436" fmla="*/ 1341350 h 1413227"/>
                <a:gd name="connsiteX437" fmla="*/ 1617918 w 2048870"/>
                <a:gd name="connsiteY437" fmla="*/ 1305051 h 1413227"/>
                <a:gd name="connsiteX438" fmla="*/ 1623104 w 2048870"/>
                <a:gd name="connsiteY438" fmla="*/ 1301593 h 1413227"/>
                <a:gd name="connsiteX439" fmla="*/ 1624832 w 2048870"/>
                <a:gd name="connsiteY439" fmla="*/ 1284308 h 1413227"/>
                <a:gd name="connsiteX440" fmla="*/ 1631746 w 2048870"/>
                <a:gd name="connsiteY440" fmla="*/ 1270480 h 1413227"/>
                <a:gd name="connsiteX441" fmla="*/ 1643846 w 2048870"/>
                <a:gd name="connsiteY441" fmla="*/ 1263565 h 1413227"/>
                <a:gd name="connsiteX442" fmla="*/ 1669774 w 2048870"/>
                <a:gd name="connsiteY442" fmla="*/ 1260108 h 1413227"/>
                <a:gd name="connsiteX443" fmla="*/ 1681874 w 2048870"/>
                <a:gd name="connsiteY443" fmla="*/ 1254923 h 1413227"/>
                <a:gd name="connsiteX444" fmla="*/ 1687060 w 2048870"/>
                <a:gd name="connsiteY444" fmla="*/ 1253194 h 1413227"/>
                <a:gd name="connsiteX445" fmla="*/ 1702617 w 2048870"/>
                <a:gd name="connsiteY445" fmla="*/ 1249737 h 1413227"/>
                <a:gd name="connsiteX446" fmla="*/ 1704345 w 2048870"/>
                <a:gd name="connsiteY446" fmla="*/ 1232452 h 1413227"/>
                <a:gd name="connsiteX447" fmla="*/ 1706074 w 2048870"/>
                <a:gd name="connsiteY447" fmla="*/ 1208252 h 1413227"/>
                <a:gd name="connsiteX448" fmla="*/ 1711259 w 2048870"/>
                <a:gd name="connsiteY448" fmla="*/ 1201338 h 1413227"/>
                <a:gd name="connsiteX449" fmla="*/ 1718174 w 2048870"/>
                <a:gd name="connsiteY449" fmla="*/ 1192695 h 1413227"/>
                <a:gd name="connsiteX450" fmla="*/ 1725088 w 2048870"/>
                <a:gd name="connsiteY450" fmla="*/ 1189238 h 1413227"/>
                <a:gd name="connsiteX451" fmla="*/ 1735459 w 2048870"/>
                <a:gd name="connsiteY451" fmla="*/ 1184052 h 1413227"/>
                <a:gd name="connsiteX452" fmla="*/ 1773487 w 2048870"/>
                <a:gd name="connsiteY452" fmla="*/ 1189238 h 1413227"/>
                <a:gd name="connsiteX453" fmla="*/ 1778673 w 2048870"/>
                <a:gd name="connsiteY453" fmla="*/ 1194424 h 1413227"/>
                <a:gd name="connsiteX454" fmla="*/ 1808058 w 2048870"/>
                <a:gd name="connsiteY454" fmla="*/ 1187510 h 1413227"/>
                <a:gd name="connsiteX455" fmla="*/ 1811515 w 2048870"/>
                <a:gd name="connsiteY455" fmla="*/ 1180595 h 1413227"/>
                <a:gd name="connsiteX456" fmla="*/ 1818429 w 2048870"/>
                <a:gd name="connsiteY456" fmla="*/ 1171953 h 1413227"/>
                <a:gd name="connsiteX457" fmla="*/ 1825343 w 2048870"/>
                <a:gd name="connsiteY457" fmla="*/ 1158124 h 1413227"/>
                <a:gd name="connsiteX458" fmla="*/ 1827072 w 2048870"/>
                <a:gd name="connsiteY458" fmla="*/ 1151210 h 1413227"/>
                <a:gd name="connsiteX459" fmla="*/ 1833986 w 2048870"/>
                <a:gd name="connsiteY459" fmla="*/ 1133925 h 1413227"/>
                <a:gd name="connsiteX460" fmla="*/ 1820158 w 2048870"/>
                <a:gd name="connsiteY460" fmla="*/ 1128739 h 1413227"/>
                <a:gd name="connsiteX461" fmla="*/ 1816701 w 2048870"/>
                <a:gd name="connsiteY461" fmla="*/ 1123553 h 1413227"/>
                <a:gd name="connsiteX462" fmla="*/ 1820158 w 2048870"/>
                <a:gd name="connsiteY462" fmla="*/ 1118368 h 1413227"/>
                <a:gd name="connsiteX463" fmla="*/ 1825343 w 2048870"/>
                <a:gd name="connsiteY463" fmla="*/ 1111454 h 1413227"/>
                <a:gd name="connsiteX464" fmla="*/ 1828800 w 2048870"/>
                <a:gd name="connsiteY464" fmla="*/ 1099354 h 1413227"/>
                <a:gd name="connsiteX465" fmla="*/ 1832257 w 2048870"/>
                <a:gd name="connsiteY465" fmla="*/ 1094168 h 1413227"/>
                <a:gd name="connsiteX466" fmla="*/ 1830529 w 2048870"/>
                <a:gd name="connsiteY466" fmla="*/ 1083797 h 1413227"/>
                <a:gd name="connsiteX467" fmla="*/ 1816701 w 2048870"/>
                <a:gd name="connsiteY467" fmla="*/ 1087254 h 1413227"/>
                <a:gd name="connsiteX468" fmla="*/ 1789044 w 2048870"/>
                <a:gd name="connsiteY468" fmla="*/ 1092440 h 1413227"/>
                <a:gd name="connsiteX469" fmla="*/ 1778673 w 2048870"/>
                <a:gd name="connsiteY469" fmla="*/ 1095897 h 1413227"/>
                <a:gd name="connsiteX470" fmla="*/ 1771758 w 2048870"/>
                <a:gd name="connsiteY470" fmla="*/ 1099354 h 1413227"/>
                <a:gd name="connsiteX471" fmla="*/ 1766573 w 2048870"/>
                <a:gd name="connsiteY471" fmla="*/ 1116639 h 1413227"/>
                <a:gd name="connsiteX472" fmla="*/ 1756202 w 2048870"/>
                <a:gd name="connsiteY472" fmla="*/ 1118368 h 1413227"/>
                <a:gd name="connsiteX473" fmla="*/ 1738916 w 2048870"/>
                <a:gd name="connsiteY473" fmla="*/ 1130468 h 1413227"/>
                <a:gd name="connsiteX474" fmla="*/ 1718174 w 2048870"/>
                <a:gd name="connsiteY474" fmla="*/ 1140839 h 1413227"/>
                <a:gd name="connsiteX475" fmla="*/ 1709531 w 2048870"/>
                <a:gd name="connsiteY475" fmla="*/ 1146024 h 1413227"/>
                <a:gd name="connsiteX476" fmla="*/ 1707802 w 2048870"/>
                <a:gd name="connsiteY476" fmla="*/ 1151210 h 1413227"/>
                <a:gd name="connsiteX477" fmla="*/ 1700888 w 2048870"/>
                <a:gd name="connsiteY477" fmla="*/ 1154667 h 1413227"/>
                <a:gd name="connsiteX478" fmla="*/ 1647303 w 2048870"/>
                <a:gd name="connsiteY478" fmla="*/ 1152939 h 1413227"/>
                <a:gd name="connsiteX479" fmla="*/ 1650760 w 2048870"/>
                <a:gd name="connsiteY479" fmla="*/ 1142567 h 1413227"/>
                <a:gd name="connsiteX480" fmla="*/ 1649032 w 2048870"/>
                <a:gd name="connsiteY480" fmla="*/ 1120096 h 1413227"/>
                <a:gd name="connsiteX481" fmla="*/ 1598904 w 2048870"/>
                <a:gd name="connsiteY481" fmla="*/ 1114911 h 1413227"/>
                <a:gd name="connsiteX482" fmla="*/ 1591990 w 2048870"/>
                <a:gd name="connsiteY482" fmla="*/ 1113182 h 1413227"/>
                <a:gd name="connsiteX483" fmla="*/ 1564333 w 2048870"/>
                <a:gd name="connsiteY483" fmla="*/ 1109725 h 1413227"/>
                <a:gd name="connsiteX484" fmla="*/ 1553962 w 2048870"/>
                <a:gd name="connsiteY484" fmla="*/ 1101082 h 1413227"/>
                <a:gd name="connsiteX485" fmla="*/ 1543591 w 2048870"/>
                <a:gd name="connsiteY485" fmla="*/ 1092440 h 1413227"/>
                <a:gd name="connsiteX486" fmla="*/ 1526305 w 2048870"/>
                <a:gd name="connsiteY486" fmla="*/ 1090711 h 1413227"/>
                <a:gd name="connsiteX487" fmla="*/ 1514205 w 2048870"/>
                <a:gd name="connsiteY487" fmla="*/ 1085525 h 1413227"/>
                <a:gd name="connsiteX488" fmla="*/ 1512477 w 2048870"/>
                <a:gd name="connsiteY488" fmla="*/ 1092440 h 1413227"/>
                <a:gd name="connsiteX489" fmla="*/ 1507291 w 2048870"/>
                <a:gd name="connsiteY489" fmla="*/ 1085525 h 1413227"/>
                <a:gd name="connsiteX490" fmla="*/ 1496920 w 2048870"/>
                <a:gd name="connsiteY490" fmla="*/ 1075154 h 1413227"/>
                <a:gd name="connsiteX491" fmla="*/ 1445064 w 2048870"/>
                <a:gd name="connsiteY491" fmla="*/ 1076883 h 1413227"/>
                <a:gd name="connsiteX492" fmla="*/ 1439878 w 2048870"/>
                <a:gd name="connsiteY492" fmla="*/ 1080340 h 1413227"/>
                <a:gd name="connsiteX493" fmla="*/ 1438149 w 2048870"/>
                <a:gd name="connsiteY493" fmla="*/ 1085525 h 1413227"/>
                <a:gd name="connsiteX494" fmla="*/ 1451978 w 2048870"/>
                <a:gd name="connsiteY494" fmla="*/ 1071697 h 1413227"/>
                <a:gd name="connsiteX495" fmla="*/ 1458892 w 2048870"/>
                <a:gd name="connsiteY495" fmla="*/ 1064783 h 1413227"/>
                <a:gd name="connsiteX496" fmla="*/ 1464078 w 2048870"/>
                <a:gd name="connsiteY496" fmla="*/ 1059597 h 1413227"/>
                <a:gd name="connsiteX497" fmla="*/ 1479634 w 2048870"/>
                <a:gd name="connsiteY497" fmla="*/ 1064783 h 1413227"/>
                <a:gd name="connsiteX498" fmla="*/ 1490006 w 2048870"/>
                <a:gd name="connsiteY498" fmla="*/ 1071697 h 1413227"/>
                <a:gd name="connsiteX499" fmla="*/ 1498648 w 2048870"/>
                <a:gd name="connsiteY499" fmla="*/ 1068240 h 1413227"/>
                <a:gd name="connsiteX500" fmla="*/ 1500377 w 2048870"/>
                <a:gd name="connsiteY500" fmla="*/ 1063054 h 1413227"/>
                <a:gd name="connsiteX501" fmla="*/ 1503834 w 2048870"/>
                <a:gd name="connsiteY501" fmla="*/ 1057869 h 1413227"/>
                <a:gd name="connsiteX502" fmla="*/ 1507291 w 2048870"/>
                <a:gd name="connsiteY502" fmla="*/ 1045769 h 1413227"/>
                <a:gd name="connsiteX503" fmla="*/ 1540133 w 2048870"/>
                <a:gd name="connsiteY503" fmla="*/ 1044040 h 1413227"/>
                <a:gd name="connsiteX504" fmla="*/ 1557419 w 2048870"/>
                <a:gd name="connsiteY504" fmla="*/ 1059597 h 1413227"/>
                <a:gd name="connsiteX505" fmla="*/ 1560876 w 2048870"/>
                <a:gd name="connsiteY505" fmla="*/ 1073426 h 1413227"/>
                <a:gd name="connsiteX506" fmla="*/ 1564333 w 2048870"/>
                <a:gd name="connsiteY506" fmla="*/ 1087254 h 1413227"/>
                <a:gd name="connsiteX507" fmla="*/ 1566062 w 2048870"/>
                <a:gd name="connsiteY507" fmla="*/ 1094168 h 1413227"/>
                <a:gd name="connsiteX508" fmla="*/ 1569519 w 2048870"/>
                <a:gd name="connsiteY508" fmla="*/ 1099354 h 1413227"/>
                <a:gd name="connsiteX509" fmla="*/ 1576433 w 2048870"/>
                <a:gd name="connsiteY509" fmla="*/ 1037126 h 1413227"/>
                <a:gd name="connsiteX510" fmla="*/ 1588533 w 2048870"/>
                <a:gd name="connsiteY510" fmla="*/ 1052683 h 1413227"/>
                <a:gd name="connsiteX511" fmla="*/ 1591990 w 2048870"/>
                <a:gd name="connsiteY511" fmla="*/ 1069969 h 1413227"/>
                <a:gd name="connsiteX512" fmla="*/ 1607547 w 2048870"/>
                <a:gd name="connsiteY512" fmla="*/ 1080340 h 1413227"/>
                <a:gd name="connsiteX513" fmla="*/ 1612732 w 2048870"/>
                <a:gd name="connsiteY513" fmla="*/ 1083797 h 1413227"/>
                <a:gd name="connsiteX514" fmla="*/ 1621375 w 2048870"/>
                <a:gd name="connsiteY514" fmla="*/ 1085525 h 1413227"/>
                <a:gd name="connsiteX515" fmla="*/ 1633475 w 2048870"/>
                <a:gd name="connsiteY515" fmla="*/ 1092440 h 1413227"/>
                <a:gd name="connsiteX516" fmla="*/ 1640389 w 2048870"/>
                <a:gd name="connsiteY516" fmla="*/ 1095897 h 1413227"/>
                <a:gd name="connsiteX517" fmla="*/ 1649032 w 2048870"/>
                <a:gd name="connsiteY517" fmla="*/ 1109725 h 1413227"/>
                <a:gd name="connsiteX518" fmla="*/ 1659403 w 2048870"/>
                <a:gd name="connsiteY518" fmla="*/ 1113182 h 1413227"/>
                <a:gd name="connsiteX519" fmla="*/ 1669774 w 2048870"/>
                <a:gd name="connsiteY519" fmla="*/ 1118368 h 1413227"/>
                <a:gd name="connsiteX520" fmla="*/ 1680146 w 2048870"/>
                <a:gd name="connsiteY520" fmla="*/ 1125282 h 1413227"/>
                <a:gd name="connsiteX521" fmla="*/ 1699160 w 2048870"/>
                <a:gd name="connsiteY521" fmla="*/ 1139110 h 1413227"/>
                <a:gd name="connsiteX522" fmla="*/ 1712988 w 2048870"/>
                <a:gd name="connsiteY522" fmla="*/ 1142567 h 1413227"/>
                <a:gd name="connsiteX523" fmla="*/ 1704345 w 2048870"/>
                <a:gd name="connsiteY523" fmla="*/ 1137382 h 1413227"/>
                <a:gd name="connsiteX524" fmla="*/ 1699160 w 2048870"/>
                <a:gd name="connsiteY524" fmla="*/ 1132196 h 1413227"/>
                <a:gd name="connsiteX525" fmla="*/ 1688788 w 2048870"/>
                <a:gd name="connsiteY525" fmla="*/ 1128739 h 1413227"/>
                <a:gd name="connsiteX526" fmla="*/ 1674960 w 2048870"/>
                <a:gd name="connsiteY526" fmla="*/ 1125282 h 1413227"/>
                <a:gd name="connsiteX527" fmla="*/ 1659403 w 2048870"/>
                <a:gd name="connsiteY527" fmla="*/ 1121825 h 1413227"/>
                <a:gd name="connsiteX528" fmla="*/ 1650760 w 2048870"/>
                <a:gd name="connsiteY528" fmla="*/ 1116639 h 1413227"/>
                <a:gd name="connsiteX529" fmla="*/ 1645575 w 2048870"/>
                <a:gd name="connsiteY529" fmla="*/ 1113182 h 1413227"/>
                <a:gd name="connsiteX530" fmla="*/ 1642118 w 2048870"/>
                <a:gd name="connsiteY530" fmla="*/ 1107996 h 1413227"/>
                <a:gd name="connsiteX531" fmla="*/ 1628289 w 2048870"/>
                <a:gd name="connsiteY531" fmla="*/ 1088983 h 1413227"/>
                <a:gd name="connsiteX532" fmla="*/ 1626561 w 2048870"/>
                <a:gd name="connsiteY532" fmla="*/ 1083797 h 1413227"/>
                <a:gd name="connsiteX533" fmla="*/ 1619647 w 2048870"/>
                <a:gd name="connsiteY533" fmla="*/ 1075154 h 1413227"/>
                <a:gd name="connsiteX534" fmla="*/ 1616189 w 2048870"/>
                <a:gd name="connsiteY534" fmla="*/ 1061326 h 1413227"/>
                <a:gd name="connsiteX535" fmla="*/ 1614461 w 2048870"/>
                <a:gd name="connsiteY535" fmla="*/ 1056140 h 1413227"/>
                <a:gd name="connsiteX536" fmla="*/ 1604090 w 2048870"/>
                <a:gd name="connsiteY536" fmla="*/ 1038855 h 1413227"/>
                <a:gd name="connsiteX537" fmla="*/ 1598904 w 2048870"/>
                <a:gd name="connsiteY537" fmla="*/ 1037126 h 1413227"/>
                <a:gd name="connsiteX538" fmla="*/ 1593718 w 2048870"/>
                <a:gd name="connsiteY538" fmla="*/ 1030212 h 1413227"/>
                <a:gd name="connsiteX539" fmla="*/ 1585076 w 2048870"/>
                <a:gd name="connsiteY539" fmla="*/ 1019841 h 1413227"/>
                <a:gd name="connsiteX540" fmla="*/ 1590261 w 2048870"/>
                <a:gd name="connsiteY540" fmla="*/ 1000827 h 1413227"/>
                <a:gd name="connsiteX541" fmla="*/ 1598904 w 2048870"/>
                <a:gd name="connsiteY541" fmla="*/ 999098 h 1413227"/>
                <a:gd name="connsiteX542" fmla="*/ 1611004 w 2048870"/>
                <a:gd name="connsiteY542" fmla="*/ 990455 h 1413227"/>
                <a:gd name="connsiteX543" fmla="*/ 1617918 w 2048870"/>
                <a:gd name="connsiteY543" fmla="*/ 985270 h 1413227"/>
                <a:gd name="connsiteX544" fmla="*/ 1616189 w 2048870"/>
                <a:gd name="connsiteY544" fmla="*/ 1021569 h 1413227"/>
                <a:gd name="connsiteX545" fmla="*/ 1612732 w 2048870"/>
                <a:gd name="connsiteY545" fmla="*/ 1028483 h 1413227"/>
                <a:gd name="connsiteX546" fmla="*/ 1607547 w 2048870"/>
                <a:gd name="connsiteY546" fmla="*/ 1035398 h 1413227"/>
                <a:gd name="connsiteX547" fmla="*/ 1612732 w 2048870"/>
                <a:gd name="connsiteY547" fmla="*/ 1031941 h 1413227"/>
                <a:gd name="connsiteX548" fmla="*/ 1621375 w 2048870"/>
                <a:gd name="connsiteY548" fmla="*/ 1016384 h 1413227"/>
                <a:gd name="connsiteX549" fmla="*/ 1626561 w 2048870"/>
                <a:gd name="connsiteY549" fmla="*/ 997370 h 1413227"/>
                <a:gd name="connsiteX550" fmla="*/ 1626561 w 2048870"/>
                <a:gd name="connsiteY550" fmla="*/ 976627 h 1413227"/>
                <a:gd name="connsiteX551" fmla="*/ 1619647 w 2048870"/>
                <a:gd name="connsiteY551" fmla="*/ 962799 h 1413227"/>
                <a:gd name="connsiteX552" fmla="*/ 1626561 w 2048870"/>
                <a:gd name="connsiteY552" fmla="*/ 966256 h 1413227"/>
                <a:gd name="connsiteX553" fmla="*/ 1638661 w 2048870"/>
                <a:gd name="connsiteY553" fmla="*/ 969713 h 1413227"/>
                <a:gd name="connsiteX554" fmla="*/ 1645575 w 2048870"/>
                <a:gd name="connsiteY554" fmla="*/ 967984 h 1413227"/>
                <a:gd name="connsiteX555" fmla="*/ 1650760 w 2048870"/>
                <a:gd name="connsiteY555" fmla="*/ 955885 h 1413227"/>
                <a:gd name="connsiteX556" fmla="*/ 1659403 w 2048870"/>
                <a:gd name="connsiteY556" fmla="*/ 933414 h 1413227"/>
                <a:gd name="connsiteX557" fmla="*/ 1662860 w 2048870"/>
                <a:gd name="connsiteY557" fmla="*/ 929956 h 1413227"/>
                <a:gd name="connsiteX558" fmla="*/ 1664589 w 2048870"/>
                <a:gd name="connsiteY558" fmla="*/ 923042 h 1413227"/>
                <a:gd name="connsiteX559" fmla="*/ 1673231 w 2048870"/>
                <a:gd name="connsiteY559" fmla="*/ 893657 h 1413227"/>
                <a:gd name="connsiteX560" fmla="*/ 1687060 w 2048870"/>
                <a:gd name="connsiteY560" fmla="*/ 891928 h 1413227"/>
                <a:gd name="connsiteX561" fmla="*/ 1693974 w 2048870"/>
                <a:gd name="connsiteY561" fmla="*/ 890200 h 1413227"/>
                <a:gd name="connsiteX562" fmla="*/ 1700888 w 2048870"/>
                <a:gd name="connsiteY562" fmla="*/ 886743 h 1413227"/>
                <a:gd name="connsiteX563" fmla="*/ 1719902 w 2048870"/>
                <a:gd name="connsiteY563" fmla="*/ 878100 h 1413227"/>
                <a:gd name="connsiteX564" fmla="*/ 1726816 w 2048870"/>
                <a:gd name="connsiteY564" fmla="*/ 876372 h 1413227"/>
                <a:gd name="connsiteX565" fmla="*/ 1745830 w 2048870"/>
                <a:gd name="connsiteY565" fmla="*/ 860815 h 1413227"/>
                <a:gd name="connsiteX566" fmla="*/ 1751016 w 2048870"/>
                <a:gd name="connsiteY566" fmla="*/ 857358 h 1413227"/>
                <a:gd name="connsiteX567" fmla="*/ 1757930 w 2048870"/>
                <a:gd name="connsiteY567" fmla="*/ 855629 h 1413227"/>
                <a:gd name="connsiteX568" fmla="*/ 1764844 w 2048870"/>
                <a:gd name="connsiteY568" fmla="*/ 841801 h 1413227"/>
                <a:gd name="connsiteX569" fmla="*/ 1771758 w 2048870"/>
                <a:gd name="connsiteY569" fmla="*/ 836615 h 1413227"/>
                <a:gd name="connsiteX570" fmla="*/ 1776944 w 2048870"/>
                <a:gd name="connsiteY570" fmla="*/ 833158 h 1413227"/>
                <a:gd name="connsiteX571" fmla="*/ 1787315 w 2048870"/>
                <a:gd name="connsiteY571" fmla="*/ 831429 h 1413227"/>
                <a:gd name="connsiteX572" fmla="*/ 1795958 w 2048870"/>
                <a:gd name="connsiteY572" fmla="*/ 829701 h 1413227"/>
                <a:gd name="connsiteX573" fmla="*/ 1797687 w 2048870"/>
                <a:gd name="connsiteY573" fmla="*/ 824515 h 1413227"/>
                <a:gd name="connsiteX574" fmla="*/ 1825343 w 2048870"/>
                <a:gd name="connsiteY574" fmla="*/ 796859 h 1413227"/>
                <a:gd name="connsiteX575" fmla="*/ 1830529 w 2048870"/>
                <a:gd name="connsiteY575" fmla="*/ 776116 h 1413227"/>
                <a:gd name="connsiteX576" fmla="*/ 1835715 w 2048870"/>
                <a:gd name="connsiteY576" fmla="*/ 770930 h 1413227"/>
                <a:gd name="connsiteX577" fmla="*/ 1863371 w 2048870"/>
                <a:gd name="connsiteY577" fmla="*/ 760559 h 1413227"/>
                <a:gd name="connsiteX578" fmla="*/ 1868557 w 2048870"/>
                <a:gd name="connsiteY578" fmla="*/ 755373 h 1413227"/>
                <a:gd name="connsiteX579" fmla="*/ 1880657 w 2048870"/>
                <a:gd name="connsiteY579" fmla="*/ 753645 h 1413227"/>
                <a:gd name="connsiteX580" fmla="*/ 1889299 w 2048870"/>
                <a:gd name="connsiteY580" fmla="*/ 750188 h 1413227"/>
                <a:gd name="connsiteX581" fmla="*/ 1894485 w 2048870"/>
                <a:gd name="connsiteY581" fmla="*/ 731174 h 1413227"/>
                <a:gd name="connsiteX582" fmla="*/ 1910042 w 2048870"/>
                <a:gd name="connsiteY582" fmla="*/ 719074 h 1413227"/>
                <a:gd name="connsiteX583" fmla="*/ 1916956 w 2048870"/>
                <a:gd name="connsiteY583" fmla="*/ 710431 h 1413227"/>
                <a:gd name="connsiteX584" fmla="*/ 1908313 w 2048870"/>
                <a:gd name="connsiteY584" fmla="*/ 689689 h 1413227"/>
                <a:gd name="connsiteX585" fmla="*/ 1901399 w 2048870"/>
                <a:gd name="connsiteY585" fmla="*/ 675860 h 1413227"/>
                <a:gd name="connsiteX586" fmla="*/ 1897942 w 2048870"/>
                <a:gd name="connsiteY586" fmla="*/ 665489 h 1413227"/>
                <a:gd name="connsiteX587" fmla="*/ 1901399 w 2048870"/>
                <a:gd name="connsiteY587" fmla="*/ 651661 h 1413227"/>
                <a:gd name="connsiteX588" fmla="*/ 1897942 w 2048870"/>
                <a:gd name="connsiteY588" fmla="*/ 629190 h 1413227"/>
                <a:gd name="connsiteX589" fmla="*/ 1904856 w 2048870"/>
                <a:gd name="connsiteY589" fmla="*/ 624004 h 1413227"/>
                <a:gd name="connsiteX590" fmla="*/ 1910042 w 2048870"/>
                <a:gd name="connsiteY590" fmla="*/ 613633 h 1413227"/>
                <a:gd name="connsiteX591" fmla="*/ 1918685 w 2048870"/>
                <a:gd name="connsiteY591" fmla="*/ 608447 h 1413227"/>
                <a:gd name="connsiteX592" fmla="*/ 1925599 w 2048870"/>
                <a:gd name="connsiteY592" fmla="*/ 601533 h 1413227"/>
                <a:gd name="connsiteX593" fmla="*/ 1929056 w 2048870"/>
                <a:gd name="connsiteY593" fmla="*/ 587705 h 1413227"/>
                <a:gd name="connsiteX594" fmla="*/ 1932513 w 2048870"/>
                <a:gd name="connsiteY594" fmla="*/ 582519 h 1413227"/>
                <a:gd name="connsiteX595" fmla="*/ 1939427 w 2048870"/>
                <a:gd name="connsiteY595" fmla="*/ 565234 h 1413227"/>
                <a:gd name="connsiteX596" fmla="*/ 1963627 w 2048870"/>
                <a:gd name="connsiteY596" fmla="*/ 556591 h 1413227"/>
                <a:gd name="connsiteX597" fmla="*/ 1968812 w 2048870"/>
                <a:gd name="connsiteY597" fmla="*/ 547948 h 1413227"/>
                <a:gd name="connsiteX598" fmla="*/ 1986098 w 2048870"/>
                <a:gd name="connsiteY598" fmla="*/ 544491 h 1413227"/>
                <a:gd name="connsiteX599" fmla="*/ 2008569 w 2048870"/>
                <a:gd name="connsiteY599" fmla="*/ 539305 h 1413227"/>
                <a:gd name="connsiteX600" fmla="*/ 2017212 w 2048870"/>
                <a:gd name="connsiteY600" fmla="*/ 530663 h 1413227"/>
                <a:gd name="connsiteX601" fmla="*/ 2048326 w 2048870"/>
                <a:gd name="connsiteY601" fmla="*/ 525477 h 1413227"/>
                <a:gd name="connsiteX602" fmla="*/ 2043140 w 2048870"/>
                <a:gd name="connsiteY602" fmla="*/ 499549 h 1413227"/>
                <a:gd name="connsiteX603" fmla="*/ 2032769 w 2048870"/>
                <a:gd name="connsiteY603" fmla="*/ 492635 h 1413227"/>
                <a:gd name="connsiteX604" fmla="*/ 2025854 w 2048870"/>
                <a:gd name="connsiteY604" fmla="*/ 447693 h 1413227"/>
                <a:gd name="connsiteX605" fmla="*/ 2018940 w 2048870"/>
                <a:gd name="connsiteY605" fmla="*/ 428679 h 1413227"/>
                <a:gd name="connsiteX606" fmla="*/ 2015483 w 2048870"/>
                <a:gd name="connsiteY606" fmla="*/ 418307 h 1413227"/>
                <a:gd name="connsiteX607" fmla="*/ 2010298 w 2048870"/>
                <a:gd name="connsiteY607" fmla="*/ 411393 h 1413227"/>
                <a:gd name="connsiteX608" fmla="*/ 2003383 w 2048870"/>
                <a:gd name="connsiteY608" fmla="*/ 407936 h 1413227"/>
                <a:gd name="connsiteX609" fmla="*/ 1984369 w 2048870"/>
                <a:gd name="connsiteY609" fmla="*/ 404479 h 1413227"/>
                <a:gd name="connsiteX610" fmla="*/ 1977455 w 2048870"/>
                <a:gd name="connsiteY610" fmla="*/ 394108 h 1413227"/>
                <a:gd name="connsiteX611" fmla="*/ 1972270 w 2048870"/>
                <a:gd name="connsiteY611" fmla="*/ 390651 h 1413227"/>
                <a:gd name="connsiteX612" fmla="*/ 1968812 w 2048870"/>
                <a:gd name="connsiteY612" fmla="*/ 382008 h 1413227"/>
                <a:gd name="connsiteX613" fmla="*/ 1973998 w 2048870"/>
                <a:gd name="connsiteY613" fmla="*/ 366451 h 1413227"/>
                <a:gd name="connsiteX614" fmla="*/ 1982641 w 2048870"/>
                <a:gd name="connsiteY614" fmla="*/ 354351 h 1413227"/>
                <a:gd name="connsiteX615" fmla="*/ 1984369 w 2048870"/>
                <a:gd name="connsiteY615" fmla="*/ 347437 h 1413227"/>
                <a:gd name="connsiteX616" fmla="*/ 1994741 w 2048870"/>
                <a:gd name="connsiteY616" fmla="*/ 343980 h 1413227"/>
                <a:gd name="connsiteX617" fmla="*/ 1960170 w 2048870"/>
                <a:gd name="connsiteY617" fmla="*/ 337066 h 1413227"/>
                <a:gd name="connsiteX618" fmla="*/ 1958441 w 2048870"/>
                <a:gd name="connsiteY618" fmla="*/ 331880 h 1413227"/>
                <a:gd name="connsiteX619" fmla="*/ 1954984 w 2048870"/>
                <a:gd name="connsiteY619" fmla="*/ 326694 h 1413227"/>
                <a:gd name="connsiteX620" fmla="*/ 1958441 w 2048870"/>
                <a:gd name="connsiteY620" fmla="*/ 318052 h 1413227"/>
                <a:gd name="connsiteX621" fmla="*/ 1963627 w 2048870"/>
                <a:gd name="connsiteY621" fmla="*/ 311138 h 1413227"/>
                <a:gd name="connsiteX622" fmla="*/ 1967084 w 2048870"/>
                <a:gd name="connsiteY622" fmla="*/ 305952 h 1413227"/>
                <a:gd name="connsiteX623" fmla="*/ 1968812 w 2048870"/>
                <a:gd name="connsiteY623" fmla="*/ 299038 h 1413227"/>
                <a:gd name="connsiteX624" fmla="*/ 1973998 w 2048870"/>
                <a:gd name="connsiteY624" fmla="*/ 293852 h 1413227"/>
                <a:gd name="connsiteX625" fmla="*/ 1975727 w 2048870"/>
                <a:gd name="connsiteY625" fmla="*/ 269652 h 1413227"/>
                <a:gd name="connsiteX626" fmla="*/ 1970541 w 2048870"/>
                <a:gd name="connsiteY626" fmla="*/ 255824 h 1413227"/>
                <a:gd name="connsiteX627" fmla="*/ 1968812 w 2048870"/>
                <a:gd name="connsiteY627" fmla="*/ 250638 h 1413227"/>
                <a:gd name="connsiteX628" fmla="*/ 1967084 w 2048870"/>
                <a:gd name="connsiteY628" fmla="*/ 243724 h 1413227"/>
                <a:gd name="connsiteX629" fmla="*/ 1963627 w 2048870"/>
                <a:gd name="connsiteY629" fmla="*/ 238539 h 1413227"/>
                <a:gd name="connsiteX630" fmla="*/ 1965355 w 2048870"/>
                <a:gd name="connsiteY630" fmla="*/ 216068 h 1413227"/>
                <a:gd name="connsiteX631" fmla="*/ 1961898 w 2048870"/>
                <a:gd name="connsiteY631" fmla="*/ 209153 h 1413227"/>
                <a:gd name="connsiteX632" fmla="*/ 1954984 w 2048870"/>
                <a:gd name="connsiteY632" fmla="*/ 216068 h 1413227"/>
                <a:gd name="connsiteX633" fmla="*/ 1948070 w 2048870"/>
                <a:gd name="connsiteY633" fmla="*/ 217796 h 1413227"/>
                <a:gd name="connsiteX634" fmla="*/ 1937699 w 2048870"/>
                <a:gd name="connsiteY634" fmla="*/ 226439 h 1413227"/>
                <a:gd name="connsiteX635" fmla="*/ 1932513 w 2048870"/>
                <a:gd name="connsiteY635" fmla="*/ 228167 h 1413227"/>
                <a:gd name="connsiteX636" fmla="*/ 1922142 w 2048870"/>
                <a:gd name="connsiteY636" fmla="*/ 235082 h 1413227"/>
                <a:gd name="connsiteX637" fmla="*/ 1906585 w 2048870"/>
                <a:gd name="connsiteY637" fmla="*/ 231624 h 1413227"/>
                <a:gd name="connsiteX638" fmla="*/ 1885842 w 2048870"/>
                <a:gd name="connsiteY638" fmla="*/ 222982 h 1413227"/>
                <a:gd name="connsiteX639" fmla="*/ 1878928 w 2048870"/>
                <a:gd name="connsiteY639" fmla="*/ 224710 h 1413227"/>
                <a:gd name="connsiteX640" fmla="*/ 1868557 w 2048870"/>
                <a:gd name="connsiteY640" fmla="*/ 233353 h 1413227"/>
                <a:gd name="connsiteX641" fmla="*/ 1847814 w 2048870"/>
                <a:gd name="connsiteY641" fmla="*/ 221253 h 1413227"/>
                <a:gd name="connsiteX642" fmla="*/ 1839172 w 2048870"/>
                <a:gd name="connsiteY642" fmla="*/ 217796 h 1413227"/>
                <a:gd name="connsiteX643" fmla="*/ 1832257 w 2048870"/>
                <a:gd name="connsiteY643" fmla="*/ 214339 h 1413227"/>
                <a:gd name="connsiteX644" fmla="*/ 1823615 w 2048870"/>
                <a:gd name="connsiteY644" fmla="*/ 224710 h 1413227"/>
                <a:gd name="connsiteX645" fmla="*/ 1816701 w 2048870"/>
                <a:gd name="connsiteY645" fmla="*/ 229896 h 1413227"/>
                <a:gd name="connsiteX646" fmla="*/ 1787315 w 2048870"/>
                <a:gd name="connsiteY646" fmla="*/ 221253 h 1413227"/>
                <a:gd name="connsiteX647" fmla="*/ 1759659 w 2048870"/>
                <a:gd name="connsiteY647" fmla="*/ 222982 h 1413227"/>
                <a:gd name="connsiteX648" fmla="*/ 1754473 w 2048870"/>
                <a:gd name="connsiteY648" fmla="*/ 224710 h 1413227"/>
                <a:gd name="connsiteX649" fmla="*/ 1735459 w 2048870"/>
                <a:gd name="connsiteY649" fmla="*/ 222982 h 1413227"/>
                <a:gd name="connsiteX650" fmla="*/ 1728545 w 2048870"/>
                <a:gd name="connsiteY650" fmla="*/ 217796 h 1413227"/>
                <a:gd name="connsiteX651" fmla="*/ 1721631 w 2048870"/>
                <a:gd name="connsiteY651" fmla="*/ 207425 h 1413227"/>
                <a:gd name="connsiteX652" fmla="*/ 1712988 w 2048870"/>
                <a:gd name="connsiteY652" fmla="*/ 235082 h 1413227"/>
                <a:gd name="connsiteX653" fmla="*/ 1706074 w 2048870"/>
                <a:gd name="connsiteY653" fmla="*/ 250638 h 1413227"/>
                <a:gd name="connsiteX654" fmla="*/ 1692245 w 2048870"/>
                <a:gd name="connsiteY654" fmla="*/ 236810 h 1413227"/>
                <a:gd name="connsiteX655" fmla="*/ 1645575 w 2048870"/>
                <a:gd name="connsiteY655" fmla="*/ 224710 h 1413227"/>
                <a:gd name="connsiteX656" fmla="*/ 1640389 w 2048870"/>
                <a:gd name="connsiteY656" fmla="*/ 217796 h 1413227"/>
                <a:gd name="connsiteX657" fmla="*/ 1638661 w 2048870"/>
                <a:gd name="connsiteY657" fmla="*/ 212610 h 1413227"/>
                <a:gd name="connsiteX658" fmla="*/ 1623104 w 2048870"/>
                <a:gd name="connsiteY658" fmla="*/ 195325 h 1413227"/>
                <a:gd name="connsiteX659" fmla="*/ 1609275 w 2048870"/>
                <a:gd name="connsiteY659" fmla="*/ 191868 h 1413227"/>
                <a:gd name="connsiteX660" fmla="*/ 1600633 w 2048870"/>
                <a:gd name="connsiteY660" fmla="*/ 200511 h 1413227"/>
                <a:gd name="connsiteX661" fmla="*/ 1595447 w 2048870"/>
                <a:gd name="connsiteY661" fmla="*/ 202239 h 1413227"/>
                <a:gd name="connsiteX662" fmla="*/ 1574704 w 2048870"/>
                <a:gd name="connsiteY662" fmla="*/ 209153 h 1413227"/>
                <a:gd name="connsiteX663" fmla="*/ 1569519 w 2048870"/>
                <a:gd name="connsiteY663" fmla="*/ 214339 h 1413227"/>
                <a:gd name="connsiteX664" fmla="*/ 1564333 w 2048870"/>
                <a:gd name="connsiteY664" fmla="*/ 217796 h 1413227"/>
                <a:gd name="connsiteX665" fmla="*/ 1560876 w 2048870"/>
                <a:gd name="connsiteY665" fmla="*/ 224710 h 1413227"/>
                <a:gd name="connsiteX666" fmla="*/ 1543591 w 2048870"/>
                <a:gd name="connsiteY666" fmla="*/ 238539 h 1413227"/>
                <a:gd name="connsiteX667" fmla="*/ 1536676 w 2048870"/>
                <a:gd name="connsiteY667" fmla="*/ 245453 h 1413227"/>
                <a:gd name="connsiteX668" fmla="*/ 1534948 w 2048870"/>
                <a:gd name="connsiteY668" fmla="*/ 250638 h 1413227"/>
                <a:gd name="connsiteX669" fmla="*/ 1536676 w 2048870"/>
                <a:gd name="connsiteY669" fmla="*/ 255824 h 1413227"/>
                <a:gd name="connsiteX670" fmla="*/ 1510748 w 2048870"/>
                <a:gd name="connsiteY670" fmla="*/ 259281 h 1413227"/>
                <a:gd name="connsiteX671" fmla="*/ 1500377 w 2048870"/>
                <a:gd name="connsiteY671" fmla="*/ 252367 h 1413227"/>
                <a:gd name="connsiteX672" fmla="*/ 1472720 w 2048870"/>
                <a:gd name="connsiteY672" fmla="*/ 252367 h 1413227"/>
                <a:gd name="connsiteX673" fmla="*/ 1455435 w 2048870"/>
                <a:gd name="connsiteY673" fmla="*/ 254096 h 1413227"/>
                <a:gd name="connsiteX674" fmla="*/ 1446792 w 2048870"/>
                <a:gd name="connsiteY674" fmla="*/ 261010 h 1413227"/>
                <a:gd name="connsiteX675" fmla="*/ 1441606 w 2048870"/>
                <a:gd name="connsiteY675" fmla="*/ 267924 h 1413227"/>
                <a:gd name="connsiteX676" fmla="*/ 1438149 w 2048870"/>
                <a:gd name="connsiteY676" fmla="*/ 273110 h 1413227"/>
                <a:gd name="connsiteX677" fmla="*/ 1432964 w 2048870"/>
                <a:gd name="connsiteY677" fmla="*/ 274838 h 1413227"/>
                <a:gd name="connsiteX678" fmla="*/ 1419135 w 2048870"/>
                <a:gd name="connsiteY678" fmla="*/ 281752 h 1413227"/>
                <a:gd name="connsiteX679" fmla="*/ 1412221 w 2048870"/>
                <a:gd name="connsiteY679" fmla="*/ 278295 h 1413227"/>
                <a:gd name="connsiteX680" fmla="*/ 1408764 w 2048870"/>
                <a:gd name="connsiteY680" fmla="*/ 273110 h 1413227"/>
                <a:gd name="connsiteX681" fmla="*/ 1400121 w 2048870"/>
                <a:gd name="connsiteY681" fmla="*/ 257553 h 1413227"/>
                <a:gd name="connsiteX682" fmla="*/ 1394936 w 2048870"/>
                <a:gd name="connsiteY682" fmla="*/ 254096 h 1413227"/>
                <a:gd name="connsiteX683" fmla="*/ 1386293 w 2048870"/>
                <a:gd name="connsiteY683" fmla="*/ 243724 h 1413227"/>
                <a:gd name="connsiteX684" fmla="*/ 1381107 w 2048870"/>
                <a:gd name="connsiteY684" fmla="*/ 212610 h 1413227"/>
                <a:gd name="connsiteX685" fmla="*/ 1370736 w 2048870"/>
                <a:gd name="connsiteY685" fmla="*/ 202239 h 1413227"/>
                <a:gd name="connsiteX686" fmla="*/ 1363822 w 2048870"/>
                <a:gd name="connsiteY686" fmla="*/ 200511 h 1413227"/>
                <a:gd name="connsiteX687" fmla="*/ 1358636 w 2048870"/>
                <a:gd name="connsiteY687" fmla="*/ 193596 h 1413227"/>
                <a:gd name="connsiteX688" fmla="*/ 1349994 w 2048870"/>
                <a:gd name="connsiteY688" fmla="*/ 178040 h 1413227"/>
                <a:gd name="connsiteX689" fmla="*/ 1337894 w 2048870"/>
                <a:gd name="connsiteY689" fmla="*/ 167668 h 1413227"/>
                <a:gd name="connsiteX690" fmla="*/ 1298137 w 2048870"/>
                <a:gd name="connsiteY690" fmla="*/ 169397 h 1413227"/>
                <a:gd name="connsiteX691" fmla="*/ 1284309 w 2048870"/>
                <a:gd name="connsiteY691" fmla="*/ 179768 h 1413227"/>
                <a:gd name="connsiteX692" fmla="*/ 1268752 w 2048870"/>
                <a:gd name="connsiteY692" fmla="*/ 181497 h 1413227"/>
                <a:gd name="connsiteX693" fmla="*/ 1251467 w 2048870"/>
                <a:gd name="connsiteY693" fmla="*/ 174583 h 1413227"/>
                <a:gd name="connsiteX694" fmla="*/ 1241095 w 2048870"/>
                <a:gd name="connsiteY694" fmla="*/ 164211 h 1413227"/>
                <a:gd name="connsiteX695" fmla="*/ 1230724 w 2048870"/>
                <a:gd name="connsiteY695" fmla="*/ 160754 h 1413227"/>
                <a:gd name="connsiteX696" fmla="*/ 1215167 w 2048870"/>
                <a:gd name="connsiteY696" fmla="*/ 146926 h 1413227"/>
                <a:gd name="connsiteX697" fmla="*/ 1213439 w 2048870"/>
                <a:gd name="connsiteY697" fmla="*/ 140012 h 1413227"/>
                <a:gd name="connsiteX698" fmla="*/ 1206524 w 2048870"/>
                <a:gd name="connsiteY698" fmla="*/ 131369 h 1413227"/>
                <a:gd name="connsiteX699" fmla="*/ 1204796 w 2048870"/>
                <a:gd name="connsiteY699" fmla="*/ 122726 h 1413227"/>
                <a:gd name="connsiteX700" fmla="*/ 1190968 w 2048870"/>
                <a:gd name="connsiteY700" fmla="*/ 117541 h 1413227"/>
                <a:gd name="connsiteX701" fmla="*/ 1201339 w 2048870"/>
                <a:gd name="connsiteY701" fmla="*/ 105441 h 1413227"/>
                <a:gd name="connsiteX702" fmla="*/ 1208253 w 2048870"/>
                <a:gd name="connsiteY702" fmla="*/ 101984 h 1413227"/>
                <a:gd name="connsiteX703" fmla="*/ 1213439 w 2048870"/>
                <a:gd name="connsiteY703" fmla="*/ 95069 h 1413227"/>
                <a:gd name="connsiteX704" fmla="*/ 1218624 w 2048870"/>
                <a:gd name="connsiteY704" fmla="*/ 89884 h 1413227"/>
                <a:gd name="connsiteX705" fmla="*/ 1216896 w 2048870"/>
                <a:gd name="connsiteY705" fmla="*/ 84698 h 1413227"/>
                <a:gd name="connsiteX706" fmla="*/ 1206524 w 2048870"/>
                <a:gd name="connsiteY706" fmla="*/ 81241 h 1413227"/>
                <a:gd name="connsiteX707" fmla="*/ 1190968 w 2048870"/>
                <a:gd name="connsiteY707" fmla="*/ 76055 h 1413227"/>
                <a:gd name="connsiteX708" fmla="*/ 1175411 w 2048870"/>
                <a:gd name="connsiteY708" fmla="*/ 60499 h 1413227"/>
                <a:gd name="connsiteX709" fmla="*/ 1168496 w 2048870"/>
                <a:gd name="connsiteY709" fmla="*/ 53584 h 1413227"/>
                <a:gd name="connsiteX710" fmla="*/ 1165039 w 2048870"/>
                <a:gd name="connsiteY710" fmla="*/ 46670 h 1413227"/>
                <a:gd name="connsiteX711" fmla="*/ 1159854 w 2048870"/>
                <a:gd name="connsiteY711" fmla="*/ 39756 h 1413227"/>
                <a:gd name="connsiteX712" fmla="*/ 1151211 w 2048870"/>
                <a:gd name="connsiteY712" fmla="*/ 27656 h 1413227"/>
                <a:gd name="connsiteX713" fmla="*/ 1146025 w 2048870"/>
                <a:gd name="connsiteY713" fmla="*/ 24199 h 1413227"/>
                <a:gd name="connsiteX714" fmla="*/ 1140840 w 2048870"/>
                <a:gd name="connsiteY714" fmla="*/ 17285 h 1413227"/>
                <a:gd name="connsiteX715" fmla="*/ 1123554 w 2048870"/>
                <a:gd name="connsiteY715" fmla="*/ 3457 h 1413227"/>
                <a:gd name="connsiteX716" fmla="*/ 1116640 w 2048870"/>
                <a:gd name="connsiteY716" fmla="*/ 0 h 1413227"/>
                <a:gd name="connsiteX717" fmla="*/ 1102812 w 2048870"/>
                <a:gd name="connsiteY717" fmla="*/ 1728 h 1413227"/>
                <a:gd name="connsiteX718" fmla="*/ 1097626 w 2048870"/>
                <a:gd name="connsiteY718" fmla="*/ 3457 h 1413227"/>
                <a:gd name="connsiteX719" fmla="*/ 1090712 w 2048870"/>
                <a:gd name="connsiteY719" fmla="*/ 5185 h 1413227"/>
                <a:gd name="connsiteX720" fmla="*/ 1071698 w 2048870"/>
                <a:gd name="connsiteY720" fmla="*/ 17285 h 1413227"/>
                <a:gd name="connsiteX721" fmla="*/ 1056141 w 2048870"/>
                <a:gd name="connsiteY721" fmla="*/ 15556 h 1413227"/>
                <a:gd name="connsiteX722" fmla="*/ 1050955 w 2048870"/>
                <a:gd name="connsiteY722" fmla="*/ 19014 h 1413227"/>
                <a:gd name="connsiteX723" fmla="*/ 1042313 w 2048870"/>
                <a:gd name="connsiteY723" fmla="*/ 27656 h 1413227"/>
                <a:gd name="connsiteX724" fmla="*/ 1028484 w 2048870"/>
                <a:gd name="connsiteY724" fmla="*/ 38027 h 1413227"/>
                <a:gd name="connsiteX725" fmla="*/ 1025027 w 2048870"/>
                <a:gd name="connsiteY725" fmla="*/ 41485 h 1413227"/>
                <a:gd name="connsiteX726" fmla="*/ 1016385 w 2048870"/>
                <a:gd name="connsiteY726" fmla="*/ 46670 h 1413227"/>
                <a:gd name="connsiteX727" fmla="*/ 1012927 w 2048870"/>
                <a:gd name="connsiteY727" fmla="*/ 50127 h 1413227"/>
                <a:gd name="connsiteX728" fmla="*/ 997371 w 2048870"/>
                <a:gd name="connsiteY728" fmla="*/ 57041 h 1413227"/>
                <a:gd name="connsiteX729" fmla="*/ 973171 w 2048870"/>
                <a:gd name="connsiteY729" fmla="*/ 58770 h 1413227"/>
                <a:gd name="connsiteX730" fmla="*/ 967985 w 2048870"/>
                <a:gd name="connsiteY730" fmla="*/ 62227 h 1413227"/>
                <a:gd name="connsiteX731" fmla="*/ 966257 w 2048870"/>
                <a:gd name="connsiteY731" fmla="*/ 79513 h 1413227"/>
                <a:gd name="connsiteX732" fmla="*/ 962800 w 2048870"/>
                <a:gd name="connsiteY732" fmla="*/ 103712 h 1413227"/>
                <a:gd name="connsiteX733" fmla="*/ 961071 w 2048870"/>
                <a:gd name="connsiteY733" fmla="*/ 112355 h 1413227"/>
                <a:gd name="connsiteX734" fmla="*/ 916129 w 2048870"/>
                <a:gd name="connsiteY734" fmla="*/ 115812 h 1413227"/>
                <a:gd name="connsiteX735" fmla="*/ 910943 w 2048870"/>
                <a:gd name="connsiteY735" fmla="*/ 119269 h 1413227"/>
                <a:gd name="connsiteX736" fmla="*/ 905758 w 2048870"/>
                <a:gd name="connsiteY736" fmla="*/ 120998 h 1413227"/>
                <a:gd name="connsiteX737" fmla="*/ 893658 w 2048870"/>
                <a:gd name="connsiteY737" fmla="*/ 124455 h 1413227"/>
                <a:gd name="connsiteX738" fmla="*/ 888472 w 2048870"/>
                <a:gd name="connsiteY738" fmla="*/ 126183 h 1413227"/>
                <a:gd name="connsiteX739" fmla="*/ 895386 w 2048870"/>
                <a:gd name="connsiteY739" fmla="*/ 124455 h 1413227"/>
                <a:gd name="connsiteX740" fmla="*/ 904029 w 2048870"/>
                <a:gd name="connsiteY740" fmla="*/ 115812 h 1413227"/>
                <a:gd name="connsiteX741" fmla="*/ 966257 w 2048870"/>
                <a:gd name="connsiteY741" fmla="*/ 63956 h 1413227"/>
                <a:gd name="connsiteX0" fmla="*/ 966257 w 2048870"/>
                <a:gd name="connsiteY0" fmla="*/ 63956 h 1413227"/>
                <a:gd name="connsiteX1" fmla="*/ 962800 w 2048870"/>
                <a:gd name="connsiteY1" fmla="*/ 72598 h 1413227"/>
                <a:gd name="connsiteX2" fmla="*/ 919586 w 2048870"/>
                <a:gd name="connsiteY2" fmla="*/ 114083 h 1413227"/>
                <a:gd name="connsiteX3" fmla="*/ 902301 w 2048870"/>
                <a:gd name="connsiteY3" fmla="*/ 120998 h 1413227"/>
                <a:gd name="connsiteX4" fmla="*/ 885015 w 2048870"/>
                <a:gd name="connsiteY4" fmla="*/ 122726 h 1413227"/>
                <a:gd name="connsiteX5" fmla="*/ 878101 w 2048870"/>
                <a:gd name="connsiteY5" fmla="*/ 129640 h 1413227"/>
                <a:gd name="connsiteX6" fmla="*/ 855630 w 2048870"/>
                <a:gd name="connsiteY6" fmla="*/ 140012 h 1413227"/>
                <a:gd name="connsiteX7" fmla="*/ 850444 w 2048870"/>
                <a:gd name="connsiteY7" fmla="*/ 145197 h 1413227"/>
                <a:gd name="connsiteX8" fmla="*/ 831430 w 2048870"/>
                <a:gd name="connsiteY8" fmla="*/ 146926 h 1413227"/>
                <a:gd name="connsiteX9" fmla="*/ 808923 w 2048870"/>
                <a:gd name="connsiteY9" fmla="*/ 195183 h 1413227"/>
                <a:gd name="connsiteX10" fmla="*/ 817602 w 2048870"/>
                <a:gd name="connsiteY10" fmla="*/ 247181 h 1413227"/>
                <a:gd name="connsiteX11" fmla="*/ 821059 w 2048870"/>
                <a:gd name="connsiteY11" fmla="*/ 255824 h 1413227"/>
                <a:gd name="connsiteX12" fmla="*/ 826245 w 2048870"/>
                <a:gd name="connsiteY12" fmla="*/ 259281 h 1413227"/>
                <a:gd name="connsiteX13" fmla="*/ 833159 w 2048870"/>
                <a:gd name="connsiteY13" fmla="*/ 267924 h 1413227"/>
                <a:gd name="connsiteX14" fmla="*/ 836616 w 2048870"/>
                <a:gd name="connsiteY14" fmla="*/ 280024 h 1413227"/>
                <a:gd name="connsiteX15" fmla="*/ 834887 w 2048870"/>
                <a:gd name="connsiteY15" fmla="*/ 295581 h 1413227"/>
                <a:gd name="connsiteX16" fmla="*/ 821059 w 2048870"/>
                <a:gd name="connsiteY16" fmla="*/ 299038 h 1413227"/>
                <a:gd name="connsiteX17" fmla="*/ 800316 w 2048870"/>
                <a:gd name="connsiteY17" fmla="*/ 295581 h 1413227"/>
                <a:gd name="connsiteX18" fmla="*/ 786488 w 2048870"/>
                <a:gd name="connsiteY18" fmla="*/ 286938 h 1413227"/>
                <a:gd name="connsiteX19" fmla="*/ 781302 w 2048870"/>
                <a:gd name="connsiteY19" fmla="*/ 285209 h 1413227"/>
                <a:gd name="connsiteX20" fmla="*/ 774388 w 2048870"/>
                <a:gd name="connsiteY20" fmla="*/ 278295 h 1413227"/>
                <a:gd name="connsiteX21" fmla="*/ 767474 w 2048870"/>
                <a:gd name="connsiteY21" fmla="*/ 285209 h 1413227"/>
                <a:gd name="connsiteX22" fmla="*/ 758831 w 2048870"/>
                <a:gd name="connsiteY22" fmla="*/ 286938 h 1413227"/>
                <a:gd name="connsiteX23" fmla="*/ 751917 w 2048870"/>
                <a:gd name="connsiteY23" fmla="*/ 288666 h 1413227"/>
                <a:gd name="connsiteX24" fmla="*/ 746732 w 2048870"/>
                <a:gd name="connsiteY24" fmla="*/ 290395 h 1413227"/>
                <a:gd name="connsiteX25" fmla="*/ 722532 w 2048870"/>
                <a:gd name="connsiteY25" fmla="*/ 292124 h 1413227"/>
                <a:gd name="connsiteX26" fmla="*/ 720803 w 2048870"/>
                <a:gd name="connsiteY26" fmla="*/ 297309 h 1413227"/>
                <a:gd name="connsiteX27" fmla="*/ 701789 w 2048870"/>
                <a:gd name="connsiteY27" fmla="*/ 312866 h 1413227"/>
                <a:gd name="connsiteX28" fmla="*/ 686233 w 2048870"/>
                <a:gd name="connsiteY28" fmla="*/ 305952 h 1413227"/>
                <a:gd name="connsiteX29" fmla="*/ 684504 w 2048870"/>
                <a:gd name="connsiteY29" fmla="*/ 300766 h 1413227"/>
                <a:gd name="connsiteX30" fmla="*/ 681047 w 2048870"/>
                <a:gd name="connsiteY30" fmla="*/ 285209 h 1413227"/>
                <a:gd name="connsiteX31" fmla="*/ 649933 w 2048870"/>
                <a:gd name="connsiteY31" fmla="*/ 288666 h 1413227"/>
                <a:gd name="connsiteX32" fmla="*/ 646476 w 2048870"/>
                <a:gd name="connsiteY32" fmla="*/ 299038 h 1413227"/>
                <a:gd name="connsiteX33" fmla="*/ 639562 w 2048870"/>
                <a:gd name="connsiteY33" fmla="*/ 314595 h 1413227"/>
                <a:gd name="connsiteX34" fmla="*/ 634376 w 2048870"/>
                <a:gd name="connsiteY34" fmla="*/ 326694 h 1413227"/>
                <a:gd name="connsiteX35" fmla="*/ 629191 w 2048870"/>
                <a:gd name="connsiteY35" fmla="*/ 328423 h 1413227"/>
                <a:gd name="connsiteX36" fmla="*/ 613634 w 2048870"/>
                <a:gd name="connsiteY36" fmla="*/ 323237 h 1413227"/>
                <a:gd name="connsiteX37" fmla="*/ 601534 w 2048870"/>
                <a:gd name="connsiteY37" fmla="*/ 311138 h 1413227"/>
                <a:gd name="connsiteX38" fmla="*/ 572149 w 2048870"/>
                <a:gd name="connsiteY38" fmla="*/ 309409 h 1413227"/>
                <a:gd name="connsiteX39" fmla="*/ 566963 w 2048870"/>
                <a:gd name="connsiteY39" fmla="*/ 295581 h 1413227"/>
                <a:gd name="connsiteX40" fmla="*/ 563506 w 2048870"/>
                <a:gd name="connsiteY40" fmla="*/ 300766 h 1413227"/>
                <a:gd name="connsiteX41" fmla="*/ 558320 w 2048870"/>
                <a:gd name="connsiteY41" fmla="*/ 307680 h 1413227"/>
                <a:gd name="connsiteX42" fmla="*/ 549678 w 2048870"/>
                <a:gd name="connsiteY42" fmla="*/ 321509 h 1413227"/>
                <a:gd name="connsiteX43" fmla="*/ 509921 w 2048870"/>
                <a:gd name="connsiteY43" fmla="*/ 324966 h 1413227"/>
                <a:gd name="connsiteX44" fmla="*/ 515107 w 2048870"/>
                <a:gd name="connsiteY44" fmla="*/ 328423 h 1413227"/>
                <a:gd name="connsiteX45" fmla="*/ 525478 w 2048870"/>
                <a:gd name="connsiteY45" fmla="*/ 331880 h 1413227"/>
                <a:gd name="connsiteX46" fmla="*/ 523749 w 2048870"/>
                <a:gd name="connsiteY46" fmla="*/ 337066 h 1413227"/>
                <a:gd name="connsiteX47" fmla="*/ 516835 w 2048870"/>
                <a:gd name="connsiteY47" fmla="*/ 343980 h 1413227"/>
                <a:gd name="connsiteX48" fmla="*/ 511650 w 2048870"/>
                <a:gd name="connsiteY48" fmla="*/ 323237 h 1413227"/>
                <a:gd name="connsiteX49" fmla="*/ 483993 w 2048870"/>
                <a:gd name="connsiteY49" fmla="*/ 333609 h 1413227"/>
                <a:gd name="connsiteX50" fmla="*/ 478807 w 2048870"/>
                <a:gd name="connsiteY50" fmla="*/ 338794 h 1413227"/>
                <a:gd name="connsiteX51" fmla="*/ 466707 w 2048870"/>
                <a:gd name="connsiteY51" fmla="*/ 337066 h 1413227"/>
                <a:gd name="connsiteX52" fmla="*/ 463250 w 2048870"/>
                <a:gd name="connsiteY52" fmla="*/ 324966 h 1413227"/>
                <a:gd name="connsiteX53" fmla="*/ 454608 w 2048870"/>
                <a:gd name="connsiteY53" fmla="*/ 312866 h 1413227"/>
                <a:gd name="connsiteX54" fmla="*/ 449422 w 2048870"/>
                <a:gd name="connsiteY54" fmla="*/ 311138 h 1413227"/>
                <a:gd name="connsiteX55" fmla="*/ 425222 w 2048870"/>
                <a:gd name="connsiteY55" fmla="*/ 314595 h 1413227"/>
                <a:gd name="connsiteX56" fmla="*/ 273110 w 2048870"/>
                <a:gd name="connsiteY56" fmla="*/ 316323 h 1413227"/>
                <a:gd name="connsiteX57" fmla="*/ 262739 w 2048870"/>
                <a:gd name="connsiteY57" fmla="*/ 323237 h 1413227"/>
                <a:gd name="connsiteX58" fmla="*/ 255825 w 2048870"/>
                <a:gd name="connsiteY58" fmla="*/ 324966 h 1413227"/>
                <a:gd name="connsiteX59" fmla="*/ 250639 w 2048870"/>
                <a:gd name="connsiteY59" fmla="*/ 326694 h 1413227"/>
                <a:gd name="connsiteX60" fmla="*/ 238540 w 2048870"/>
                <a:gd name="connsiteY60" fmla="*/ 330152 h 1413227"/>
                <a:gd name="connsiteX61" fmla="*/ 200512 w 2048870"/>
                <a:gd name="connsiteY61" fmla="*/ 333609 h 1413227"/>
                <a:gd name="connsiteX62" fmla="*/ 188412 w 2048870"/>
                <a:gd name="connsiteY62" fmla="*/ 338794 h 1413227"/>
                <a:gd name="connsiteX63" fmla="*/ 176312 w 2048870"/>
                <a:gd name="connsiteY63" fmla="*/ 342251 h 1413227"/>
                <a:gd name="connsiteX64" fmla="*/ 146927 w 2048870"/>
                <a:gd name="connsiteY64" fmla="*/ 356080 h 1413227"/>
                <a:gd name="connsiteX65" fmla="*/ 138284 w 2048870"/>
                <a:gd name="connsiteY65" fmla="*/ 357808 h 1413227"/>
                <a:gd name="connsiteX66" fmla="*/ 136555 w 2048870"/>
                <a:gd name="connsiteY66" fmla="*/ 364722 h 1413227"/>
                <a:gd name="connsiteX67" fmla="*/ 134827 w 2048870"/>
                <a:gd name="connsiteY67" fmla="*/ 380279 h 1413227"/>
                <a:gd name="connsiteX68" fmla="*/ 127913 w 2048870"/>
                <a:gd name="connsiteY68" fmla="*/ 387193 h 1413227"/>
                <a:gd name="connsiteX69" fmla="*/ 126184 w 2048870"/>
                <a:gd name="connsiteY69" fmla="*/ 394108 h 1413227"/>
                <a:gd name="connsiteX70" fmla="*/ 124456 w 2048870"/>
                <a:gd name="connsiteY70" fmla="*/ 402750 h 1413227"/>
                <a:gd name="connsiteX71" fmla="*/ 117541 w 2048870"/>
                <a:gd name="connsiteY71" fmla="*/ 407936 h 1413227"/>
                <a:gd name="connsiteX72" fmla="*/ 105442 w 2048870"/>
                <a:gd name="connsiteY72" fmla="*/ 411393 h 1413227"/>
                <a:gd name="connsiteX73" fmla="*/ 100256 w 2048870"/>
                <a:gd name="connsiteY73" fmla="*/ 413122 h 1413227"/>
                <a:gd name="connsiteX74" fmla="*/ 70871 w 2048870"/>
                <a:gd name="connsiteY74" fmla="*/ 421764 h 1413227"/>
                <a:gd name="connsiteX75" fmla="*/ 67414 w 2048870"/>
                <a:gd name="connsiteY75" fmla="*/ 428679 h 1413227"/>
                <a:gd name="connsiteX76" fmla="*/ 69142 w 2048870"/>
                <a:gd name="connsiteY76" fmla="*/ 440778 h 1413227"/>
                <a:gd name="connsiteX77" fmla="*/ 65685 w 2048870"/>
                <a:gd name="connsiteY77" fmla="*/ 445964 h 1413227"/>
                <a:gd name="connsiteX78" fmla="*/ 63957 w 2048870"/>
                <a:gd name="connsiteY78" fmla="*/ 452878 h 1413227"/>
                <a:gd name="connsiteX79" fmla="*/ 69142 w 2048870"/>
                <a:gd name="connsiteY79" fmla="*/ 456335 h 1413227"/>
                <a:gd name="connsiteX80" fmla="*/ 74328 w 2048870"/>
                <a:gd name="connsiteY80" fmla="*/ 458064 h 1413227"/>
                <a:gd name="connsiteX81" fmla="*/ 84699 w 2048870"/>
                <a:gd name="connsiteY81" fmla="*/ 466707 h 1413227"/>
                <a:gd name="connsiteX82" fmla="*/ 81242 w 2048870"/>
                <a:gd name="connsiteY82" fmla="*/ 473621 h 1413227"/>
                <a:gd name="connsiteX83" fmla="*/ 77785 w 2048870"/>
                <a:gd name="connsiteY83" fmla="*/ 478806 h 1413227"/>
                <a:gd name="connsiteX84" fmla="*/ 79513 w 2048870"/>
                <a:gd name="connsiteY84" fmla="*/ 485721 h 1413227"/>
                <a:gd name="connsiteX85" fmla="*/ 72599 w 2048870"/>
                <a:gd name="connsiteY85" fmla="*/ 489178 h 1413227"/>
                <a:gd name="connsiteX86" fmla="*/ 63957 w 2048870"/>
                <a:gd name="connsiteY86" fmla="*/ 487449 h 1413227"/>
                <a:gd name="connsiteX87" fmla="*/ 76056 w 2048870"/>
                <a:gd name="connsiteY87" fmla="*/ 485721 h 1413227"/>
                <a:gd name="connsiteX88" fmla="*/ 86428 w 2048870"/>
                <a:gd name="connsiteY88" fmla="*/ 483992 h 1413227"/>
                <a:gd name="connsiteX89" fmla="*/ 84699 w 2048870"/>
                <a:gd name="connsiteY89" fmla="*/ 494363 h 1413227"/>
                <a:gd name="connsiteX90" fmla="*/ 86428 w 2048870"/>
                <a:gd name="connsiteY90" fmla="*/ 501277 h 1413227"/>
                <a:gd name="connsiteX91" fmla="*/ 96799 w 2048870"/>
                <a:gd name="connsiteY91" fmla="*/ 515106 h 1413227"/>
                <a:gd name="connsiteX92" fmla="*/ 101985 w 2048870"/>
                <a:gd name="connsiteY92" fmla="*/ 516834 h 1413227"/>
                <a:gd name="connsiteX93" fmla="*/ 114084 w 2048870"/>
                <a:gd name="connsiteY93" fmla="*/ 520291 h 1413227"/>
                <a:gd name="connsiteX94" fmla="*/ 119270 w 2048870"/>
                <a:gd name="connsiteY94" fmla="*/ 525477 h 1413227"/>
                <a:gd name="connsiteX95" fmla="*/ 133098 w 2048870"/>
                <a:gd name="connsiteY95" fmla="*/ 535848 h 1413227"/>
                <a:gd name="connsiteX96" fmla="*/ 136555 w 2048870"/>
                <a:gd name="connsiteY96" fmla="*/ 542762 h 1413227"/>
                <a:gd name="connsiteX97" fmla="*/ 134827 w 2048870"/>
                <a:gd name="connsiteY97" fmla="*/ 572148 h 1413227"/>
                <a:gd name="connsiteX98" fmla="*/ 140012 w 2048870"/>
                <a:gd name="connsiteY98" fmla="*/ 573876 h 1413227"/>
                <a:gd name="connsiteX99" fmla="*/ 143470 w 2048870"/>
                <a:gd name="connsiteY99" fmla="*/ 577333 h 1413227"/>
                <a:gd name="connsiteX100" fmla="*/ 146927 w 2048870"/>
                <a:gd name="connsiteY100" fmla="*/ 589433 h 1413227"/>
                <a:gd name="connsiteX101" fmla="*/ 150384 w 2048870"/>
                <a:gd name="connsiteY101" fmla="*/ 598076 h 1413227"/>
                <a:gd name="connsiteX102" fmla="*/ 148655 w 2048870"/>
                <a:gd name="connsiteY102" fmla="*/ 617090 h 1413227"/>
                <a:gd name="connsiteX103" fmla="*/ 146927 w 2048870"/>
                <a:gd name="connsiteY103" fmla="*/ 622276 h 1413227"/>
                <a:gd name="connsiteX104" fmla="*/ 141741 w 2048870"/>
                <a:gd name="connsiteY104" fmla="*/ 627461 h 1413227"/>
                <a:gd name="connsiteX105" fmla="*/ 136555 w 2048870"/>
                <a:gd name="connsiteY105" fmla="*/ 634375 h 1413227"/>
                <a:gd name="connsiteX106" fmla="*/ 120999 w 2048870"/>
                <a:gd name="connsiteY106" fmla="*/ 639561 h 1413227"/>
                <a:gd name="connsiteX107" fmla="*/ 95070 w 2048870"/>
                <a:gd name="connsiteY107" fmla="*/ 665489 h 1413227"/>
                <a:gd name="connsiteX108" fmla="*/ 89885 w 2048870"/>
                <a:gd name="connsiteY108" fmla="*/ 670675 h 1413227"/>
                <a:gd name="connsiteX109" fmla="*/ 86428 w 2048870"/>
                <a:gd name="connsiteY109" fmla="*/ 675860 h 1413227"/>
                <a:gd name="connsiteX110" fmla="*/ 81242 w 2048870"/>
                <a:gd name="connsiteY110" fmla="*/ 677589 h 1413227"/>
                <a:gd name="connsiteX111" fmla="*/ 77785 w 2048870"/>
                <a:gd name="connsiteY111" fmla="*/ 682775 h 1413227"/>
                <a:gd name="connsiteX112" fmla="*/ 63957 w 2048870"/>
                <a:gd name="connsiteY112" fmla="*/ 689689 h 1413227"/>
                <a:gd name="connsiteX113" fmla="*/ 60499 w 2048870"/>
                <a:gd name="connsiteY113" fmla="*/ 706974 h 1413227"/>
                <a:gd name="connsiteX114" fmla="*/ 50128 w 2048870"/>
                <a:gd name="connsiteY114" fmla="*/ 720803 h 1413227"/>
                <a:gd name="connsiteX115" fmla="*/ 48400 w 2048870"/>
                <a:gd name="connsiteY115" fmla="*/ 725988 h 1413227"/>
                <a:gd name="connsiteX116" fmla="*/ 46671 w 2048870"/>
                <a:gd name="connsiteY116" fmla="*/ 732902 h 1413227"/>
                <a:gd name="connsiteX117" fmla="*/ 25929 w 2048870"/>
                <a:gd name="connsiteY117" fmla="*/ 751916 h 1413227"/>
                <a:gd name="connsiteX118" fmla="*/ 19014 w 2048870"/>
                <a:gd name="connsiteY118" fmla="*/ 776116 h 1413227"/>
                <a:gd name="connsiteX119" fmla="*/ 12100 w 2048870"/>
                <a:gd name="connsiteY119" fmla="*/ 789944 h 1413227"/>
                <a:gd name="connsiteX120" fmla="*/ 17286 w 2048870"/>
                <a:gd name="connsiteY120" fmla="*/ 822787 h 1413227"/>
                <a:gd name="connsiteX121" fmla="*/ 25929 w 2048870"/>
                <a:gd name="connsiteY121" fmla="*/ 829701 h 1413227"/>
                <a:gd name="connsiteX122" fmla="*/ 29386 w 2048870"/>
                <a:gd name="connsiteY122" fmla="*/ 838344 h 1413227"/>
                <a:gd name="connsiteX123" fmla="*/ 36300 w 2048870"/>
                <a:gd name="connsiteY123" fmla="*/ 843529 h 1413227"/>
                <a:gd name="connsiteX124" fmla="*/ 38028 w 2048870"/>
                <a:gd name="connsiteY124" fmla="*/ 852172 h 1413227"/>
                <a:gd name="connsiteX125" fmla="*/ 43214 w 2048870"/>
                <a:gd name="connsiteY125" fmla="*/ 864272 h 1413227"/>
                <a:gd name="connsiteX126" fmla="*/ 44943 w 2048870"/>
                <a:gd name="connsiteY126" fmla="*/ 874643 h 1413227"/>
                <a:gd name="connsiteX127" fmla="*/ 51857 w 2048870"/>
                <a:gd name="connsiteY127" fmla="*/ 876372 h 1413227"/>
                <a:gd name="connsiteX128" fmla="*/ 53585 w 2048870"/>
                <a:gd name="connsiteY128" fmla="*/ 883286 h 1413227"/>
                <a:gd name="connsiteX129" fmla="*/ 58771 w 2048870"/>
                <a:gd name="connsiteY129" fmla="*/ 886743 h 1413227"/>
                <a:gd name="connsiteX130" fmla="*/ 51857 w 2048870"/>
                <a:gd name="connsiteY130" fmla="*/ 898843 h 1413227"/>
                <a:gd name="connsiteX131" fmla="*/ 43214 w 2048870"/>
                <a:gd name="connsiteY131" fmla="*/ 904028 h 1413227"/>
                <a:gd name="connsiteX132" fmla="*/ 29386 w 2048870"/>
                <a:gd name="connsiteY132" fmla="*/ 909214 h 1413227"/>
                <a:gd name="connsiteX133" fmla="*/ 27657 w 2048870"/>
                <a:gd name="connsiteY133" fmla="*/ 919585 h 1413227"/>
                <a:gd name="connsiteX134" fmla="*/ 25929 w 2048870"/>
                <a:gd name="connsiteY134" fmla="*/ 926499 h 1413227"/>
                <a:gd name="connsiteX135" fmla="*/ 19014 w 2048870"/>
                <a:gd name="connsiteY135" fmla="*/ 955885 h 1413227"/>
                <a:gd name="connsiteX136" fmla="*/ 10372 w 2048870"/>
                <a:gd name="connsiteY136" fmla="*/ 969713 h 1413227"/>
                <a:gd name="connsiteX137" fmla="*/ 8643 w 2048870"/>
                <a:gd name="connsiteY137" fmla="*/ 990455 h 1413227"/>
                <a:gd name="connsiteX138" fmla="*/ 0 w 2048870"/>
                <a:gd name="connsiteY138" fmla="*/ 999098 h 1413227"/>
                <a:gd name="connsiteX139" fmla="*/ 6915 w 2048870"/>
                <a:gd name="connsiteY139" fmla="*/ 1023298 h 1413227"/>
                <a:gd name="connsiteX140" fmla="*/ 15557 w 2048870"/>
                <a:gd name="connsiteY140" fmla="*/ 1025026 h 1413227"/>
                <a:gd name="connsiteX141" fmla="*/ 22471 w 2048870"/>
                <a:gd name="connsiteY141" fmla="*/ 1030212 h 1413227"/>
                <a:gd name="connsiteX142" fmla="*/ 27657 w 2048870"/>
                <a:gd name="connsiteY142" fmla="*/ 1031941 h 1413227"/>
                <a:gd name="connsiteX143" fmla="*/ 34571 w 2048870"/>
                <a:gd name="connsiteY143" fmla="*/ 1035398 h 1413227"/>
                <a:gd name="connsiteX144" fmla="*/ 39757 w 2048870"/>
                <a:gd name="connsiteY144" fmla="*/ 1042312 h 1413227"/>
                <a:gd name="connsiteX145" fmla="*/ 43214 w 2048870"/>
                <a:gd name="connsiteY145" fmla="*/ 1047497 h 1413227"/>
                <a:gd name="connsiteX146" fmla="*/ 53585 w 2048870"/>
                <a:gd name="connsiteY146" fmla="*/ 1052683 h 1413227"/>
                <a:gd name="connsiteX147" fmla="*/ 95070 w 2048870"/>
                <a:gd name="connsiteY147" fmla="*/ 1061326 h 1413227"/>
                <a:gd name="connsiteX148" fmla="*/ 96799 w 2048870"/>
                <a:gd name="connsiteY148" fmla="*/ 1073426 h 1413227"/>
                <a:gd name="connsiteX149" fmla="*/ 101985 w 2048870"/>
                <a:gd name="connsiteY149" fmla="*/ 1075154 h 1413227"/>
                <a:gd name="connsiteX150" fmla="*/ 112356 w 2048870"/>
                <a:gd name="connsiteY150" fmla="*/ 1066511 h 1413227"/>
                <a:gd name="connsiteX151" fmla="*/ 119270 w 2048870"/>
                <a:gd name="connsiteY151" fmla="*/ 1059597 h 1413227"/>
                <a:gd name="connsiteX152" fmla="*/ 120999 w 2048870"/>
                <a:gd name="connsiteY152" fmla="*/ 1054412 h 1413227"/>
                <a:gd name="connsiteX153" fmla="*/ 134827 w 2048870"/>
                <a:gd name="connsiteY153" fmla="*/ 1061326 h 1413227"/>
                <a:gd name="connsiteX154" fmla="*/ 141741 w 2048870"/>
                <a:gd name="connsiteY154" fmla="*/ 1063054 h 1413227"/>
                <a:gd name="connsiteX155" fmla="*/ 146927 w 2048870"/>
                <a:gd name="connsiteY155" fmla="*/ 1064783 h 1413227"/>
                <a:gd name="connsiteX156" fmla="*/ 247182 w 2048870"/>
                <a:gd name="connsiteY156" fmla="*/ 1068240 h 1413227"/>
                <a:gd name="connsiteX157" fmla="*/ 266196 w 2048870"/>
                <a:gd name="connsiteY157" fmla="*/ 1064783 h 1413227"/>
                <a:gd name="connsiteX158" fmla="*/ 276568 w 2048870"/>
                <a:gd name="connsiteY158" fmla="*/ 1059597 h 1413227"/>
                <a:gd name="connsiteX159" fmla="*/ 285210 w 2048870"/>
                <a:gd name="connsiteY159" fmla="*/ 1049226 h 1413227"/>
                <a:gd name="connsiteX160" fmla="*/ 295581 w 2048870"/>
                <a:gd name="connsiteY160" fmla="*/ 1052683 h 1413227"/>
                <a:gd name="connsiteX161" fmla="*/ 299039 w 2048870"/>
                <a:gd name="connsiteY161" fmla="*/ 1059597 h 1413227"/>
                <a:gd name="connsiteX162" fmla="*/ 312867 w 2048870"/>
                <a:gd name="connsiteY162" fmla="*/ 1071697 h 1413227"/>
                <a:gd name="connsiteX163" fmla="*/ 338795 w 2048870"/>
                <a:gd name="connsiteY163" fmla="*/ 1078611 h 1413227"/>
                <a:gd name="connsiteX164" fmla="*/ 361266 w 2048870"/>
                <a:gd name="connsiteY164" fmla="*/ 1075154 h 1413227"/>
                <a:gd name="connsiteX165" fmla="*/ 362995 w 2048870"/>
                <a:gd name="connsiteY165" fmla="*/ 1068240 h 1413227"/>
                <a:gd name="connsiteX166" fmla="*/ 373366 w 2048870"/>
                <a:gd name="connsiteY166" fmla="*/ 1050955 h 1413227"/>
                <a:gd name="connsiteX167" fmla="*/ 378552 w 2048870"/>
                <a:gd name="connsiteY167" fmla="*/ 1045769 h 1413227"/>
                <a:gd name="connsiteX168" fmla="*/ 397566 w 2048870"/>
                <a:gd name="connsiteY168" fmla="*/ 1038855 h 1413227"/>
                <a:gd name="connsiteX169" fmla="*/ 432137 w 2048870"/>
                <a:gd name="connsiteY169" fmla="*/ 1035398 h 1413227"/>
                <a:gd name="connsiteX170" fmla="*/ 444236 w 2048870"/>
                <a:gd name="connsiteY170" fmla="*/ 1031941 h 1413227"/>
                <a:gd name="connsiteX171" fmla="*/ 447693 w 2048870"/>
                <a:gd name="connsiteY171" fmla="*/ 1025026 h 1413227"/>
                <a:gd name="connsiteX172" fmla="*/ 452879 w 2048870"/>
                <a:gd name="connsiteY172" fmla="*/ 1021569 h 1413227"/>
                <a:gd name="connsiteX173" fmla="*/ 468436 w 2048870"/>
                <a:gd name="connsiteY173" fmla="*/ 1011198 h 1413227"/>
                <a:gd name="connsiteX174" fmla="*/ 473622 w 2048870"/>
                <a:gd name="connsiteY174" fmla="*/ 999098 h 1413227"/>
                <a:gd name="connsiteX175" fmla="*/ 478807 w 2048870"/>
                <a:gd name="connsiteY175" fmla="*/ 986998 h 1413227"/>
                <a:gd name="connsiteX176" fmla="*/ 485721 w 2048870"/>
                <a:gd name="connsiteY176" fmla="*/ 980084 h 1413227"/>
                <a:gd name="connsiteX177" fmla="*/ 489178 w 2048870"/>
                <a:gd name="connsiteY177" fmla="*/ 974899 h 1413227"/>
                <a:gd name="connsiteX178" fmla="*/ 511650 w 2048870"/>
                <a:gd name="connsiteY178" fmla="*/ 955885 h 1413227"/>
                <a:gd name="connsiteX179" fmla="*/ 530664 w 2048870"/>
                <a:gd name="connsiteY179" fmla="*/ 947242 h 1413227"/>
                <a:gd name="connsiteX180" fmla="*/ 537578 w 2048870"/>
                <a:gd name="connsiteY180" fmla="*/ 933414 h 1413227"/>
                <a:gd name="connsiteX181" fmla="*/ 539306 w 2048870"/>
                <a:gd name="connsiteY181" fmla="*/ 928228 h 1413227"/>
                <a:gd name="connsiteX182" fmla="*/ 541035 w 2048870"/>
                <a:gd name="connsiteY182" fmla="*/ 921314 h 1413227"/>
                <a:gd name="connsiteX183" fmla="*/ 563506 w 2048870"/>
                <a:gd name="connsiteY183" fmla="*/ 917857 h 1413227"/>
                <a:gd name="connsiteX184" fmla="*/ 568692 w 2048870"/>
                <a:gd name="connsiteY184" fmla="*/ 916128 h 1413227"/>
                <a:gd name="connsiteX185" fmla="*/ 584248 w 2048870"/>
                <a:gd name="connsiteY185" fmla="*/ 914400 h 1413227"/>
                <a:gd name="connsiteX186" fmla="*/ 589434 w 2048870"/>
                <a:gd name="connsiteY186" fmla="*/ 910942 h 1413227"/>
                <a:gd name="connsiteX187" fmla="*/ 599805 w 2048870"/>
                <a:gd name="connsiteY187" fmla="*/ 905757 h 1413227"/>
                <a:gd name="connsiteX188" fmla="*/ 604991 w 2048870"/>
                <a:gd name="connsiteY188" fmla="*/ 900571 h 1413227"/>
                <a:gd name="connsiteX189" fmla="*/ 606719 w 2048870"/>
                <a:gd name="connsiteY189" fmla="*/ 895386 h 1413227"/>
                <a:gd name="connsiteX190" fmla="*/ 615362 w 2048870"/>
                <a:gd name="connsiteY190" fmla="*/ 891928 h 1413227"/>
                <a:gd name="connsiteX191" fmla="*/ 620548 w 2048870"/>
                <a:gd name="connsiteY191" fmla="*/ 886743 h 1413227"/>
                <a:gd name="connsiteX192" fmla="*/ 639562 w 2048870"/>
                <a:gd name="connsiteY192" fmla="*/ 879829 h 1413227"/>
                <a:gd name="connsiteX193" fmla="*/ 653390 w 2048870"/>
                <a:gd name="connsiteY193" fmla="*/ 883286 h 1413227"/>
                <a:gd name="connsiteX194" fmla="*/ 660304 w 2048870"/>
                <a:gd name="connsiteY194" fmla="*/ 885014 h 1413227"/>
                <a:gd name="connsiteX195" fmla="*/ 668947 w 2048870"/>
                <a:gd name="connsiteY195" fmla="*/ 886743 h 1413227"/>
                <a:gd name="connsiteX196" fmla="*/ 675861 w 2048870"/>
                <a:gd name="connsiteY196" fmla="*/ 890200 h 1413227"/>
                <a:gd name="connsiteX197" fmla="*/ 682775 w 2048870"/>
                <a:gd name="connsiteY197" fmla="*/ 891928 h 1413227"/>
                <a:gd name="connsiteX198" fmla="*/ 687961 w 2048870"/>
                <a:gd name="connsiteY198" fmla="*/ 895386 h 1413227"/>
                <a:gd name="connsiteX199" fmla="*/ 700061 w 2048870"/>
                <a:gd name="connsiteY199" fmla="*/ 898843 h 1413227"/>
                <a:gd name="connsiteX200" fmla="*/ 706975 w 2048870"/>
                <a:gd name="connsiteY200" fmla="*/ 904028 h 1413227"/>
                <a:gd name="connsiteX201" fmla="*/ 720803 w 2048870"/>
                <a:gd name="connsiteY201" fmla="*/ 907485 h 1413227"/>
                <a:gd name="connsiteX202" fmla="*/ 727718 w 2048870"/>
                <a:gd name="connsiteY202" fmla="*/ 905757 h 1413227"/>
                <a:gd name="connsiteX203" fmla="*/ 736360 w 2048870"/>
                <a:gd name="connsiteY203" fmla="*/ 904028 h 1413227"/>
                <a:gd name="connsiteX204" fmla="*/ 738089 w 2048870"/>
                <a:gd name="connsiteY204" fmla="*/ 910942 h 1413227"/>
                <a:gd name="connsiteX205" fmla="*/ 760560 w 2048870"/>
                <a:gd name="connsiteY205" fmla="*/ 904028 h 1413227"/>
                <a:gd name="connsiteX206" fmla="*/ 770931 w 2048870"/>
                <a:gd name="connsiteY206" fmla="*/ 895386 h 1413227"/>
                <a:gd name="connsiteX207" fmla="*/ 776117 w 2048870"/>
                <a:gd name="connsiteY207" fmla="*/ 909214 h 1413227"/>
                <a:gd name="connsiteX208" fmla="*/ 783031 w 2048870"/>
                <a:gd name="connsiteY208" fmla="*/ 914400 h 1413227"/>
                <a:gd name="connsiteX209" fmla="*/ 788217 w 2048870"/>
                <a:gd name="connsiteY209" fmla="*/ 919585 h 1413227"/>
                <a:gd name="connsiteX210" fmla="*/ 793402 w 2048870"/>
                <a:gd name="connsiteY210" fmla="*/ 923042 h 1413227"/>
                <a:gd name="connsiteX211" fmla="*/ 798588 w 2048870"/>
                <a:gd name="connsiteY211" fmla="*/ 928228 h 1413227"/>
                <a:gd name="connsiteX212" fmla="*/ 815873 w 2048870"/>
                <a:gd name="connsiteY212" fmla="*/ 935142 h 1413227"/>
                <a:gd name="connsiteX213" fmla="*/ 821059 w 2048870"/>
                <a:gd name="connsiteY213" fmla="*/ 926499 h 1413227"/>
                <a:gd name="connsiteX214" fmla="*/ 824516 w 2048870"/>
                <a:gd name="connsiteY214" fmla="*/ 910942 h 1413227"/>
                <a:gd name="connsiteX215" fmla="*/ 833159 w 2048870"/>
                <a:gd name="connsiteY215" fmla="*/ 912671 h 1413227"/>
                <a:gd name="connsiteX216" fmla="*/ 838344 w 2048870"/>
                <a:gd name="connsiteY216" fmla="*/ 926499 h 1413227"/>
                <a:gd name="connsiteX217" fmla="*/ 841802 w 2048870"/>
                <a:gd name="connsiteY217" fmla="*/ 929956 h 1413227"/>
                <a:gd name="connsiteX218" fmla="*/ 850444 w 2048870"/>
                <a:gd name="connsiteY218" fmla="*/ 948970 h 1413227"/>
                <a:gd name="connsiteX219" fmla="*/ 853901 w 2048870"/>
                <a:gd name="connsiteY219" fmla="*/ 954156 h 1413227"/>
                <a:gd name="connsiteX220" fmla="*/ 859087 w 2048870"/>
                <a:gd name="connsiteY220" fmla="*/ 988727 h 1413227"/>
                <a:gd name="connsiteX221" fmla="*/ 864273 w 2048870"/>
                <a:gd name="connsiteY221" fmla="*/ 1009469 h 1413227"/>
                <a:gd name="connsiteX222" fmla="*/ 878101 w 2048870"/>
                <a:gd name="connsiteY222" fmla="*/ 1012927 h 1413227"/>
                <a:gd name="connsiteX223" fmla="*/ 885015 w 2048870"/>
                <a:gd name="connsiteY223" fmla="*/ 1016384 h 1413227"/>
                <a:gd name="connsiteX224" fmla="*/ 888472 w 2048870"/>
                <a:gd name="connsiteY224" fmla="*/ 1021569 h 1413227"/>
                <a:gd name="connsiteX225" fmla="*/ 900572 w 2048870"/>
                <a:gd name="connsiteY225" fmla="*/ 1026755 h 1413227"/>
                <a:gd name="connsiteX226" fmla="*/ 905758 w 2048870"/>
                <a:gd name="connsiteY226" fmla="*/ 1033669 h 1413227"/>
                <a:gd name="connsiteX227" fmla="*/ 909215 w 2048870"/>
                <a:gd name="connsiteY227" fmla="*/ 1040583 h 1413227"/>
                <a:gd name="connsiteX228" fmla="*/ 912672 w 2048870"/>
                <a:gd name="connsiteY228" fmla="*/ 1045769 h 1413227"/>
                <a:gd name="connsiteX229" fmla="*/ 921315 w 2048870"/>
                <a:gd name="connsiteY229" fmla="*/ 1061326 h 1413227"/>
                <a:gd name="connsiteX230" fmla="*/ 928229 w 2048870"/>
                <a:gd name="connsiteY230" fmla="*/ 1082068 h 1413227"/>
                <a:gd name="connsiteX231" fmla="*/ 929957 w 2048870"/>
                <a:gd name="connsiteY231" fmla="*/ 1088983 h 1413227"/>
                <a:gd name="connsiteX232" fmla="*/ 940329 w 2048870"/>
                <a:gd name="connsiteY232" fmla="*/ 1095897 h 1413227"/>
                <a:gd name="connsiteX233" fmla="*/ 959343 w 2048870"/>
                <a:gd name="connsiteY233" fmla="*/ 1097625 h 1413227"/>
                <a:gd name="connsiteX234" fmla="*/ 967985 w 2048870"/>
                <a:gd name="connsiteY234" fmla="*/ 1101082 h 1413227"/>
                <a:gd name="connsiteX235" fmla="*/ 973171 w 2048870"/>
                <a:gd name="connsiteY235" fmla="*/ 1106268 h 1413227"/>
                <a:gd name="connsiteX236" fmla="*/ 978357 w 2048870"/>
                <a:gd name="connsiteY236" fmla="*/ 1109725 h 1413227"/>
                <a:gd name="connsiteX237" fmla="*/ 983542 w 2048870"/>
                <a:gd name="connsiteY237" fmla="*/ 1118368 h 1413227"/>
                <a:gd name="connsiteX238" fmla="*/ 985271 w 2048870"/>
                <a:gd name="connsiteY238" fmla="*/ 1132196 h 1413227"/>
                <a:gd name="connsiteX239" fmla="*/ 992185 w 2048870"/>
                <a:gd name="connsiteY239" fmla="*/ 1139110 h 1413227"/>
                <a:gd name="connsiteX240" fmla="*/ 1006013 w 2048870"/>
                <a:gd name="connsiteY240" fmla="*/ 1147753 h 1413227"/>
                <a:gd name="connsiteX241" fmla="*/ 1019842 w 2048870"/>
                <a:gd name="connsiteY241" fmla="*/ 1165038 h 1413227"/>
                <a:gd name="connsiteX242" fmla="*/ 1012927 w 2048870"/>
                <a:gd name="connsiteY242" fmla="*/ 1168496 h 1413227"/>
                <a:gd name="connsiteX243" fmla="*/ 1009470 w 2048870"/>
                <a:gd name="connsiteY243" fmla="*/ 1173681 h 1413227"/>
                <a:gd name="connsiteX244" fmla="*/ 997371 w 2048870"/>
                <a:gd name="connsiteY244" fmla="*/ 1177138 h 1413227"/>
                <a:gd name="connsiteX245" fmla="*/ 990456 w 2048870"/>
                <a:gd name="connsiteY245" fmla="*/ 1182324 h 1413227"/>
                <a:gd name="connsiteX246" fmla="*/ 973171 w 2048870"/>
                <a:gd name="connsiteY246" fmla="*/ 1182324 h 1413227"/>
                <a:gd name="connsiteX247" fmla="*/ 971442 w 2048870"/>
                <a:gd name="connsiteY247" fmla="*/ 1161581 h 1413227"/>
                <a:gd name="connsiteX248" fmla="*/ 962800 w 2048870"/>
                <a:gd name="connsiteY248" fmla="*/ 1171953 h 1413227"/>
                <a:gd name="connsiteX249" fmla="*/ 959343 w 2048870"/>
                <a:gd name="connsiteY249" fmla="*/ 1178867 h 1413227"/>
                <a:gd name="connsiteX250" fmla="*/ 955885 w 2048870"/>
                <a:gd name="connsiteY250" fmla="*/ 1184052 h 1413227"/>
                <a:gd name="connsiteX251" fmla="*/ 947243 w 2048870"/>
                <a:gd name="connsiteY251" fmla="*/ 1187510 h 1413227"/>
                <a:gd name="connsiteX252" fmla="*/ 940329 w 2048870"/>
                <a:gd name="connsiteY252" fmla="*/ 1190967 h 1413227"/>
                <a:gd name="connsiteX253" fmla="*/ 935143 w 2048870"/>
                <a:gd name="connsiteY253" fmla="*/ 1189238 h 1413227"/>
                <a:gd name="connsiteX254" fmla="*/ 929957 w 2048870"/>
                <a:gd name="connsiteY254" fmla="*/ 1171953 h 1413227"/>
                <a:gd name="connsiteX255" fmla="*/ 926500 w 2048870"/>
                <a:gd name="connsiteY255" fmla="*/ 1165038 h 1413227"/>
                <a:gd name="connsiteX256" fmla="*/ 921315 w 2048870"/>
                <a:gd name="connsiteY256" fmla="*/ 1178867 h 1413227"/>
                <a:gd name="connsiteX257" fmla="*/ 917857 w 2048870"/>
                <a:gd name="connsiteY257" fmla="*/ 1182324 h 1413227"/>
                <a:gd name="connsiteX258" fmla="*/ 914400 w 2048870"/>
                <a:gd name="connsiteY258" fmla="*/ 1194424 h 1413227"/>
                <a:gd name="connsiteX259" fmla="*/ 909215 w 2048870"/>
                <a:gd name="connsiteY259" fmla="*/ 1199609 h 1413227"/>
                <a:gd name="connsiteX260" fmla="*/ 886744 w 2048870"/>
                <a:gd name="connsiteY260" fmla="*/ 1180595 h 1413227"/>
                <a:gd name="connsiteX261" fmla="*/ 883287 w 2048870"/>
                <a:gd name="connsiteY261" fmla="*/ 1189238 h 1413227"/>
                <a:gd name="connsiteX262" fmla="*/ 879830 w 2048870"/>
                <a:gd name="connsiteY262" fmla="*/ 1194424 h 1413227"/>
                <a:gd name="connsiteX263" fmla="*/ 874644 w 2048870"/>
                <a:gd name="connsiteY263" fmla="*/ 1204795 h 1413227"/>
                <a:gd name="connsiteX264" fmla="*/ 879830 w 2048870"/>
                <a:gd name="connsiteY264" fmla="*/ 1211709 h 1413227"/>
                <a:gd name="connsiteX265" fmla="*/ 890201 w 2048870"/>
                <a:gd name="connsiteY265" fmla="*/ 1215166 h 1413227"/>
                <a:gd name="connsiteX266" fmla="*/ 893658 w 2048870"/>
                <a:gd name="connsiteY266" fmla="*/ 1235909 h 1413227"/>
                <a:gd name="connsiteX267" fmla="*/ 891929 w 2048870"/>
                <a:gd name="connsiteY267" fmla="*/ 1258380 h 1413227"/>
                <a:gd name="connsiteX268" fmla="*/ 890201 w 2048870"/>
                <a:gd name="connsiteY268" fmla="*/ 1263565 h 1413227"/>
                <a:gd name="connsiteX269" fmla="*/ 878101 w 2048870"/>
                <a:gd name="connsiteY269" fmla="*/ 1275665 h 1413227"/>
                <a:gd name="connsiteX270" fmla="*/ 871187 w 2048870"/>
                <a:gd name="connsiteY270" fmla="*/ 1282579 h 1413227"/>
                <a:gd name="connsiteX271" fmla="*/ 876372 w 2048870"/>
                <a:gd name="connsiteY271" fmla="*/ 1287765 h 1413227"/>
                <a:gd name="connsiteX272" fmla="*/ 874644 w 2048870"/>
                <a:gd name="connsiteY272" fmla="*/ 1306779 h 1413227"/>
                <a:gd name="connsiteX273" fmla="*/ 869458 w 2048870"/>
                <a:gd name="connsiteY273" fmla="*/ 1308508 h 1413227"/>
                <a:gd name="connsiteX274" fmla="*/ 864273 w 2048870"/>
                <a:gd name="connsiteY274" fmla="*/ 1320607 h 1413227"/>
                <a:gd name="connsiteX275" fmla="*/ 862544 w 2048870"/>
                <a:gd name="connsiteY275" fmla="*/ 1360364 h 1413227"/>
                <a:gd name="connsiteX276" fmla="*/ 857358 w 2048870"/>
                <a:gd name="connsiteY276" fmla="*/ 1363821 h 1413227"/>
                <a:gd name="connsiteX277" fmla="*/ 852173 w 2048870"/>
                <a:gd name="connsiteY277" fmla="*/ 1365550 h 1413227"/>
                <a:gd name="connsiteX278" fmla="*/ 850444 w 2048870"/>
                <a:gd name="connsiteY278" fmla="*/ 1370735 h 1413227"/>
                <a:gd name="connsiteX279" fmla="*/ 838344 w 2048870"/>
                <a:gd name="connsiteY279" fmla="*/ 1379378 h 1413227"/>
                <a:gd name="connsiteX280" fmla="*/ 841802 w 2048870"/>
                <a:gd name="connsiteY280" fmla="*/ 1389749 h 1413227"/>
                <a:gd name="connsiteX281" fmla="*/ 840497 w 2048870"/>
                <a:gd name="connsiteY281" fmla="*/ 1405535 h 1413227"/>
                <a:gd name="connsiteX282" fmla="*/ 835505 w 2048870"/>
                <a:gd name="connsiteY282" fmla="*/ 1401197 h 1413227"/>
                <a:gd name="connsiteX283" fmla="*/ 854324 w 2048870"/>
                <a:gd name="connsiteY283" fmla="*/ 1410492 h 1413227"/>
                <a:gd name="connsiteX284" fmla="*/ 885015 w 2048870"/>
                <a:gd name="connsiteY284" fmla="*/ 1408763 h 1413227"/>
                <a:gd name="connsiteX285" fmla="*/ 890201 w 2048870"/>
                <a:gd name="connsiteY285" fmla="*/ 1413103 h 1413227"/>
                <a:gd name="connsiteX286" fmla="*/ 921633 w 2048870"/>
                <a:gd name="connsiteY286" fmla="*/ 1403013 h 1413227"/>
                <a:gd name="connsiteX287" fmla="*/ 932427 w 2048870"/>
                <a:gd name="connsiteY287" fmla="*/ 1394371 h 1413227"/>
                <a:gd name="connsiteX288" fmla="*/ 933873 w 2048870"/>
                <a:gd name="connsiteY288" fmla="*/ 1386010 h 1413227"/>
                <a:gd name="connsiteX289" fmla="*/ 943362 w 2048870"/>
                <a:gd name="connsiteY289" fmla="*/ 1367278 h 1413227"/>
                <a:gd name="connsiteX290" fmla="*/ 943786 w 2048870"/>
                <a:gd name="connsiteY290" fmla="*/ 1362093 h 1413227"/>
                <a:gd name="connsiteX291" fmla="*/ 954157 w 2048870"/>
                <a:gd name="connsiteY291" fmla="*/ 1360364 h 1413227"/>
                <a:gd name="connsiteX292" fmla="*/ 993913 w 2048870"/>
                <a:gd name="connsiteY292" fmla="*/ 1356907 h 1413227"/>
                <a:gd name="connsiteX293" fmla="*/ 997371 w 2048870"/>
                <a:gd name="connsiteY293" fmla="*/ 1349993 h 1413227"/>
                <a:gd name="connsiteX294" fmla="*/ 1009470 w 2048870"/>
                <a:gd name="connsiteY294" fmla="*/ 1344807 h 1413227"/>
                <a:gd name="connsiteX295" fmla="*/ 997371 w 2048870"/>
                <a:gd name="connsiteY295" fmla="*/ 1334436 h 1413227"/>
                <a:gd name="connsiteX296" fmla="*/ 993913 w 2048870"/>
                <a:gd name="connsiteY296" fmla="*/ 1327522 h 1413227"/>
                <a:gd name="connsiteX297" fmla="*/ 988728 w 2048870"/>
                <a:gd name="connsiteY297" fmla="*/ 1322336 h 1413227"/>
                <a:gd name="connsiteX298" fmla="*/ 985271 w 2048870"/>
                <a:gd name="connsiteY298" fmla="*/ 1310236 h 1413227"/>
                <a:gd name="connsiteX299" fmla="*/ 981814 w 2048870"/>
                <a:gd name="connsiteY299" fmla="*/ 1299865 h 1413227"/>
                <a:gd name="connsiteX300" fmla="*/ 990456 w 2048870"/>
                <a:gd name="connsiteY300" fmla="*/ 1287765 h 1413227"/>
                <a:gd name="connsiteX301" fmla="*/ 992185 w 2048870"/>
                <a:gd name="connsiteY301" fmla="*/ 1292951 h 1413227"/>
                <a:gd name="connsiteX302" fmla="*/ 1014656 w 2048870"/>
                <a:gd name="connsiteY302" fmla="*/ 1299865 h 1413227"/>
                <a:gd name="connsiteX303" fmla="*/ 1016385 w 2048870"/>
                <a:gd name="connsiteY303" fmla="*/ 1294679 h 1413227"/>
                <a:gd name="connsiteX304" fmla="*/ 1018113 w 2048870"/>
                <a:gd name="connsiteY304" fmla="*/ 1284308 h 1413227"/>
                <a:gd name="connsiteX305" fmla="*/ 1031941 w 2048870"/>
                <a:gd name="connsiteY305" fmla="*/ 1270480 h 1413227"/>
                <a:gd name="connsiteX306" fmla="*/ 1037127 w 2048870"/>
                <a:gd name="connsiteY306" fmla="*/ 1265294 h 1413227"/>
                <a:gd name="connsiteX307" fmla="*/ 1038856 w 2048870"/>
                <a:gd name="connsiteY307" fmla="*/ 1260108 h 1413227"/>
                <a:gd name="connsiteX308" fmla="*/ 1054412 w 2048870"/>
                <a:gd name="connsiteY308" fmla="*/ 1251466 h 1413227"/>
                <a:gd name="connsiteX309" fmla="*/ 1063055 w 2048870"/>
                <a:gd name="connsiteY309" fmla="*/ 1242823 h 1413227"/>
                <a:gd name="connsiteX310" fmla="*/ 1068241 w 2048870"/>
                <a:gd name="connsiteY310" fmla="*/ 1223809 h 1413227"/>
                <a:gd name="connsiteX311" fmla="*/ 1069969 w 2048870"/>
                <a:gd name="connsiteY311" fmla="*/ 1215166 h 1413227"/>
                <a:gd name="connsiteX312" fmla="*/ 1075155 w 2048870"/>
                <a:gd name="connsiteY312" fmla="*/ 1201338 h 1413227"/>
                <a:gd name="connsiteX313" fmla="*/ 1080341 w 2048870"/>
                <a:gd name="connsiteY313" fmla="*/ 1175410 h 1413227"/>
                <a:gd name="connsiteX314" fmla="*/ 1082069 w 2048870"/>
                <a:gd name="connsiteY314" fmla="*/ 1170224 h 1413227"/>
                <a:gd name="connsiteX315" fmla="*/ 1083798 w 2048870"/>
                <a:gd name="connsiteY315" fmla="*/ 1161581 h 1413227"/>
                <a:gd name="connsiteX316" fmla="*/ 1085526 w 2048870"/>
                <a:gd name="connsiteY316" fmla="*/ 1156396 h 1413227"/>
                <a:gd name="connsiteX317" fmla="*/ 1087255 w 2048870"/>
                <a:gd name="connsiteY317" fmla="*/ 1147753 h 1413227"/>
                <a:gd name="connsiteX318" fmla="*/ 1097626 w 2048870"/>
                <a:gd name="connsiteY318" fmla="*/ 1128739 h 1413227"/>
                <a:gd name="connsiteX319" fmla="*/ 1099355 w 2048870"/>
                <a:gd name="connsiteY319" fmla="*/ 1111454 h 1413227"/>
                <a:gd name="connsiteX320" fmla="*/ 1106269 w 2048870"/>
                <a:gd name="connsiteY320" fmla="*/ 1097625 h 1413227"/>
                <a:gd name="connsiteX321" fmla="*/ 1111454 w 2048870"/>
                <a:gd name="connsiteY321" fmla="*/ 1095897 h 1413227"/>
                <a:gd name="connsiteX322" fmla="*/ 1127011 w 2048870"/>
                <a:gd name="connsiteY322" fmla="*/ 1094168 h 1413227"/>
                <a:gd name="connsiteX323" fmla="*/ 1132197 w 2048870"/>
                <a:gd name="connsiteY323" fmla="*/ 1088983 h 1413227"/>
                <a:gd name="connsiteX324" fmla="*/ 1166768 w 2048870"/>
                <a:gd name="connsiteY324" fmla="*/ 1083797 h 1413227"/>
                <a:gd name="connsiteX325" fmla="*/ 1175411 w 2048870"/>
                <a:gd name="connsiteY325" fmla="*/ 1073426 h 1413227"/>
                <a:gd name="connsiteX326" fmla="*/ 1177139 w 2048870"/>
                <a:gd name="connsiteY326" fmla="*/ 1061326 h 1413227"/>
                <a:gd name="connsiteX327" fmla="*/ 1170225 w 2048870"/>
                <a:gd name="connsiteY327" fmla="*/ 1047497 h 1413227"/>
                <a:gd name="connsiteX328" fmla="*/ 1163311 w 2048870"/>
                <a:gd name="connsiteY328" fmla="*/ 1050955 h 1413227"/>
                <a:gd name="connsiteX329" fmla="*/ 1166768 w 2048870"/>
                <a:gd name="connsiteY329" fmla="*/ 1068240 h 1413227"/>
                <a:gd name="connsiteX330" fmla="*/ 1170225 w 2048870"/>
                <a:gd name="connsiteY330" fmla="*/ 1076883 h 1413227"/>
                <a:gd name="connsiteX331" fmla="*/ 1182325 w 2048870"/>
                <a:gd name="connsiteY331" fmla="*/ 1080340 h 1413227"/>
                <a:gd name="connsiteX332" fmla="*/ 1206524 w 2048870"/>
                <a:gd name="connsiteY332" fmla="*/ 1078611 h 1413227"/>
                <a:gd name="connsiteX333" fmla="*/ 1211710 w 2048870"/>
                <a:gd name="connsiteY333" fmla="*/ 1073426 h 1413227"/>
                <a:gd name="connsiteX334" fmla="*/ 1218624 w 2048870"/>
                <a:gd name="connsiteY334" fmla="*/ 1057869 h 1413227"/>
                <a:gd name="connsiteX335" fmla="*/ 1220353 w 2048870"/>
                <a:gd name="connsiteY335" fmla="*/ 1044040 h 1413227"/>
                <a:gd name="connsiteX336" fmla="*/ 1218624 w 2048870"/>
                <a:gd name="connsiteY336" fmla="*/ 1014655 h 1413227"/>
                <a:gd name="connsiteX337" fmla="*/ 1211710 w 2048870"/>
                <a:gd name="connsiteY337" fmla="*/ 997370 h 1413227"/>
                <a:gd name="connsiteX338" fmla="*/ 1206524 w 2048870"/>
                <a:gd name="connsiteY338" fmla="*/ 993913 h 1413227"/>
                <a:gd name="connsiteX339" fmla="*/ 1184053 w 2048870"/>
                <a:gd name="connsiteY339" fmla="*/ 973170 h 1413227"/>
                <a:gd name="connsiteX340" fmla="*/ 1173682 w 2048870"/>
                <a:gd name="connsiteY340" fmla="*/ 962799 h 1413227"/>
                <a:gd name="connsiteX341" fmla="*/ 1168496 w 2048870"/>
                <a:gd name="connsiteY341" fmla="*/ 957613 h 1413227"/>
                <a:gd name="connsiteX342" fmla="*/ 1171954 w 2048870"/>
                <a:gd name="connsiteY342" fmla="*/ 961070 h 1413227"/>
                <a:gd name="connsiteX343" fmla="*/ 1178868 w 2048870"/>
                <a:gd name="connsiteY343" fmla="*/ 971441 h 1413227"/>
                <a:gd name="connsiteX344" fmla="*/ 1185782 w 2048870"/>
                <a:gd name="connsiteY344" fmla="*/ 980084 h 1413227"/>
                <a:gd name="connsiteX345" fmla="*/ 1190968 w 2048870"/>
                <a:gd name="connsiteY345" fmla="*/ 985270 h 1413227"/>
                <a:gd name="connsiteX346" fmla="*/ 1194425 w 2048870"/>
                <a:gd name="connsiteY346" fmla="*/ 993913 h 1413227"/>
                <a:gd name="connsiteX347" fmla="*/ 1206524 w 2048870"/>
                <a:gd name="connsiteY347" fmla="*/ 1007741 h 1413227"/>
                <a:gd name="connsiteX348" fmla="*/ 1208253 w 2048870"/>
                <a:gd name="connsiteY348" fmla="*/ 1014655 h 1413227"/>
                <a:gd name="connsiteX349" fmla="*/ 1211710 w 2048870"/>
                <a:gd name="connsiteY349" fmla="*/ 1023298 h 1413227"/>
                <a:gd name="connsiteX350" fmla="*/ 1213439 w 2048870"/>
                <a:gd name="connsiteY350" fmla="*/ 1035398 h 1413227"/>
                <a:gd name="connsiteX351" fmla="*/ 1215167 w 2048870"/>
                <a:gd name="connsiteY351" fmla="*/ 1044040 h 1413227"/>
                <a:gd name="connsiteX352" fmla="*/ 1220353 w 2048870"/>
                <a:gd name="connsiteY352" fmla="*/ 1045769 h 1413227"/>
                <a:gd name="connsiteX353" fmla="*/ 1223810 w 2048870"/>
                <a:gd name="connsiteY353" fmla="*/ 1050955 h 1413227"/>
                <a:gd name="connsiteX354" fmla="*/ 1234181 w 2048870"/>
                <a:gd name="connsiteY354" fmla="*/ 1063054 h 1413227"/>
                <a:gd name="connsiteX355" fmla="*/ 1253195 w 2048870"/>
                <a:gd name="connsiteY355" fmla="*/ 1057869 h 1413227"/>
                <a:gd name="connsiteX356" fmla="*/ 1258381 w 2048870"/>
                <a:gd name="connsiteY356" fmla="*/ 1054412 h 1413227"/>
                <a:gd name="connsiteX357" fmla="*/ 1265295 w 2048870"/>
                <a:gd name="connsiteY357" fmla="*/ 1050955 h 1413227"/>
                <a:gd name="connsiteX358" fmla="*/ 1267023 w 2048870"/>
                <a:gd name="connsiteY358" fmla="*/ 1056140 h 1413227"/>
                <a:gd name="connsiteX359" fmla="*/ 1268752 w 2048870"/>
                <a:gd name="connsiteY359" fmla="*/ 1068240 h 1413227"/>
                <a:gd name="connsiteX360" fmla="*/ 1279123 w 2048870"/>
                <a:gd name="connsiteY360" fmla="*/ 1064783 h 1413227"/>
                <a:gd name="connsiteX361" fmla="*/ 1289495 w 2048870"/>
                <a:gd name="connsiteY361" fmla="*/ 1056140 h 1413227"/>
                <a:gd name="connsiteX362" fmla="*/ 1299866 w 2048870"/>
                <a:gd name="connsiteY362" fmla="*/ 1045769 h 1413227"/>
                <a:gd name="connsiteX363" fmla="*/ 1305051 w 2048870"/>
                <a:gd name="connsiteY363" fmla="*/ 1042312 h 1413227"/>
                <a:gd name="connsiteX364" fmla="*/ 1294680 w 2048870"/>
                <a:gd name="connsiteY364" fmla="*/ 1061326 h 1413227"/>
                <a:gd name="connsiteX365" fmla="*/ 1286037 w 2048870"/>
                <a:gd name="connsiteY365" fmla="*/ 1075154 h 1413227"/>
                <a:gd name="connsiteX366" fmla="*/ 1272209 w 2048870"/>
                <a:gd name="connsiteY366" fmla="*/ 1082068 h 1413227"/>
                <a:gd name="connsiteX367" fmla="*/ 1265295 w 2048870"/>
                <a:gd name="connsiteY367" fmla="*/ 1085525 h 1413227"/>
                <a:gd name="connsiteX368" fmla="*/ 1260109 w 2048870"/>
                <a:gd name="connsiteY368" fmla="*/ 1087254 h 1413227"/>
                <a:gd name="connsiteX369" fmla="*/ 1251467 w 2048870"/>
                <a:gd name="connsiteY369" fmla="*/ 1092440 h 1413227"/>
                <a:gd name="connsiteX370" fmla="*/ 1232453 w 2048870"/>
                <a:gd name="connsiteY370" fmla="*/ 1095897 h 1413227"/>
                <a:gd name="connsiteX371" fmla="*/ 1230724 w 2048870"/>
                <a:gd name="connsiteY371" fmla="*/ 1121825 h 1413227"/>
                <a:gd name="connsiteX372" fmla="*/ 1223810 w 2048870"/>
                <a:gd name="connsiteY372" fmla="*/ 1128739 h 1413227"/>
                <a:gd name="connsiteX373" fmla="*/ 1216896 w 2048870"/>
                <a:gd name="connsiteY373" fmla="*/ 1130468 h 1413227"/>
                <a:gd name="connsiteX374" fmla="*/ 1248009 w 2048870"/>
                <a:gd name="connsiteY374" fmla="*/ 1123553 h 1413227"/>
                <a:gd name="connsiteX375" fmla="*/ 1275666 w 2048870"/>
                <a:gd name="connsiteY375" fmla="*/ 1125282 h 1413227"/>
                <a:gd name="connsiteX376" fmla="*/ 1282580 w 2048870"/>
                <a:gd name="connsiteY376" fmla="*/ 1128739 h 1413227"/>
                <a:gd name="connsiteX377" fmla="*/ 1318880 w 2048870"/>
                <a:gd name="connsiteY377" fmla="*/ 1127010 h 1413227"/>
                <a:gd name="connsiteX378" fmla="*/ 1330980 w 2048870"/>
                <a:gd name="connsiteY378" fmla="*/ 1123553 h 1413227"/>
                <a:gd name="connsiteX379" fmla="*/ 1339622 w 2048870"/>
                <a:gd name="connsiteY379" fmla="*/ 1118368 h 1413227"/>
                <a:gd name="connsiteX380" fmla="*/ 1356908 w 2048870"/>
                <a:gd name="connsiteY380" fmla="*/ 1123553 h 1413227"/>
                <a:gd name="connsiteX381" fmla="*/ 1384564 w 2048870"/>
                <a:gd name="connsiteY381" fmla="*/ 1114911 h 1413227"/>
                <a:gd name="connsiteX382" fmla="*/ 1391479 w 2048870"/>
                <a:gd name="connsiteY382" fmla="*/ 1109725 h 1413227"/>
                <a:gd name="connsiteX383" fmla="*/ 1400121 w 2048870"/>
                <a:gd name="connsiteY383" fmla="*/ 1095897 h 1413227"/>
                <a:gd name="connsiteX384" fmla="*/ 1403578 w 2048870"/>
                <a:gd name="connsiteY384" fmla="*/ 1090711 h 1413227"/>
                <a:gd name="connsiteX385" fmla="*/ 1408764 w 2048870"/>
                <a:gd name="connsiteY385" fmla="*/ 1088983 h 1413227"/>
                <a:gd name="connsiteX386" fmla="*/ 1415678 w 2048870"/>
                <a:gd name="connsiteY386" fmla="*/ 1097625 h 1413227"/>
                <a:gd name="connsiteX387" fmla="*/ 1419135 w 2048870"/>
                <a:gd name="connsiteY387" fmla="*/ 1104539 h 1413227"/>
                <a:gd name="connsiteX388" fmla="*/ 1424321 w 2048870"/>
                <a:gd name="connsiteY388" fmla="*/ 1111454 h 1413227"/>
                <a:gd name="connsiteX389" fmla="*/ 1434692 w 2048870"/>
                <a:gd name="connsiteY389" fmla="*/ 1109725 h 1413227"/>
                <a:gd name="connsiteX390" fmla="*/ 1438149 w 2048870"/>
                <a:gd name="connsiteY390" fmla="*/ 1101082 h 1413227"/>
                <a:gd name="connsiteX391" fmla="*/ 1446792 w 2048870"/>
                <a:gd name="connsiteY391" fmla="*/ 1076883 h 1413227"/>
                <a:gd name="connsiteX392" fmla="*/ 1455435 w 2048870"/>
                <a:gd name="connsiteY392" fmla="*/ 1082068 h 1413227"/>
                <a:gd name="connsiteX393" fmla="*/ 1457163 w 2048870"/>
                <a:gd name="connsiteY393" fmla="*/ 1097625 h 1413227"/>
                <a:gd name="connsiteX394" fmla="*/ 1462349 w 2048870"/>
                <a:gd name="connsiteY394" fmla="*/ 1104539 h 1413227"/>
                <a:gd name="connsiteX395" fmla="*/ 1464078 w 2048870"/>
                <a:gd name="connsiteY395" fmla="*/ 1116639 h 1413227"/>
                <a:gd name="connsiteX396" fmla="*/ 1450249 w 2048870"/>
                <a:gd name="connsiteY396" fmla="*/ 1132196 h 1413227"/>
                <a:gd name="connsiteX397" fmla="*/ 1436421 w 2048870"/>
                <a:gd name="connsiteY397" fmla="*/ 1149482 h 1413227"/>
                <a:gd name="connsiteX398" fmla="*/ 1427778 w 2048870"/>
                <a:gd name="connsiteY398" fmla="*/ 1158124 h 1413227"/>
                <a:gd name="connsiteX399" fmla="*/ 1415678 w 2048870"/>
                <a:gd name="connsiteY399" fmla="*/ 1163310 h 1413227"/>
                <a:gd name="connsiteX400" fmla="*/ 1400121 w 2048870"/>
                <a:gd name="connsiteY400" fmla="*/ 1171953 h 1413227"/>
                <a:gd name="connsiteX401" fmla="*/ 1398393 w 2048870"/>
                <a:gd name="connsiteY401" fmla="*/ 1177138 h 1413227"/>
                <a:gd name="connsiteX402" fmla="*/ 1389750 w 2048870"/>
                <a:gd name="connsiteY402" fmla="*/ 1189238 h 1413227"/>
                <a:gd name="connsiteX403" fmla="*/ 1384564 w 2048870"/>
                <a:gd name="connsiteY403" fmla="*/ 1197881 h 1413227"/>
                <a:gd name="connsiteX404" fmla="*/ 1382836 w 2048870"/>
                <a:gd name="connsiteY404" fmla="*/ 1203066 h 1413227"/>
                <a:gd name="connsiteX405" fmla="*/ 1374193 w 2048870"/>
                <a:gd name="connsiteY405" fmla="*/ 1211709 h 1413227"/>
                <a:gd name="connsiteX406" fmla="*/ 1369008 w 2048870"/>
                <a:gd name="connsiteY406" fmla="*/ 1216895 h 1413227"/>
                <a:gd name="connsiteX407" fmla="*/ 1356908 w 2048870"/>
                <a:gd name="connsiteY407" fmla="*/ 1230723 h 1413227"/>
                <a:gd name="connsiteX408" fmla="*/ 1351722 w 2048870"/>
                <a:gd name="connsiteY408" fmla="*/ 1237637 h 1413227"/>
                <a:gd name="connsiteX409" fmla="*/ 1349994 w 2048870"/>
                <a:gd name="connsiteY409" fmla="*/ 1242823 h 1413227"/>
                <a:gd name="connsiteX410" fmla="*/ 1344808 w 2048870"/>
                <a:gd name="connsiteY410" fmla="*/ 1253194 h 1413227"/>
                <a:gd name="connsiteX411" fmla="*/ 1377650 w 2048870"/>
                <a:gd name="connsiteY411" fmla="*/ 1253194 h 1413227"/>
                <a:gd name="connsiteX412" fmla="*/ 1386293 w 2048870"/>
                <a:gd name="connsiteY412" fmla="*/ 1246280 h 1413227"/>
                <a:gd name="connsiteX413" fmla="*/ 1391479 w 2048870"/>
                <a:gd name="connsiteY413" fmla="*/ 1244552 h 1413227"/>
                <a:gd name="connsiteX414" fmla="*/ 1412221 w 2048870"/>
                <a:gd name="connsiteY414" fmla="*/ 1248009 h 1413227"/>
                <a:gd name="connsiteX415" fmla="*/ 1415678 w 2048870"/>
                <a:gd name="connsiteY415" fmla="*/ 1253194 h 1413227"/>
                <a:gd name="connsiteX416" fmla="*/ 1426050 w 2048870"/>
                <a:gd name="connsiteY416" fmla="*/ 1260108 h 1413227"/>
                <a:gd name="connsiteX417" fmla="*/ 1451978 w 2048870"/>
                <a:gd name="connsiteY417" fmla="*/ 1258380 h 1413227"/>
                <a:gd name="connsiteX418" fmla="*/ 1457163 w 2048870"/>
                <a:gd name="connsiteY418" fmla="*/ 1253194 h 1413227"/>
                <a:gd name="connsiteX419" fmla="*/ 1465806 w 2048870"/>
                <a:gd name="connsiteY419" fmla="*/ 1248009 h 1413227"/>
                <a:gd name="connsiteX420" fmla="*/ 1483092 w 2048870"/>
                <a:gd name="connsiteY420" fmla="*/ 1249737 h 1413227"/>
                <a:gd name="connsiteX421" fmla="*/ 1491734 w 2048870"/>
                <a:gd name="connsiteY421" fmla="*/ 1258380 h 1413227"/>
                <a:gd name="connsiteX422" fmla="*/ 1502106 w 2048870"/>
                <a:gd name="connsiteY422" fmla="*/ 1272208 h 1413227"/>
                <a:gd name="connsiteX423" fmla="*/ 1503834 w 2048870"/>
                <a:gd name="connsiteY423" fmla="*/ 1289494 h 1413227"/>
                <a:gd name="connsiteX424" fmla="*/ 1514205 w 2048870"/>
                <a:gd name="connsiteY424" fmla="*/ 1301593 h 1413227"/>
                <a:gd name="connsiteX425" fmla="*/ 1517662 w 2048870"/>
                <a:gd name="connsiteY425" fmla="*/ 1306779 h 1413227"/>
                <a:gd name="connsiteX426" fmla="*/ 1515934 w 2048870"/>
                <a:gd name="connsiteY426" fmla="*/ 1355178 h 1413227"/>
                <a:gd name="connsiteX427" fmla="*/ 1509020 w 2048870"/>
                <a:gd name="connsiteY427" fmla="*/ 1360364 h 1413227"/>
                <a:gd name="connsiteX428" fmla="*/ 1503834 w 2048870"/>
                <a:gd name="connsiteY428" fmla="*/ 1370735 h 1413227"/>
                <a:gd name="connsiteX429" fmla="*/ 1534948 w 2048870"/>
                <a:gd name="connsiteY429" fmla="*/ 1374192 h 1413227"/>
                <a:gd name="connsiteX430" fmla="*/ 1540133 w 2048870"/>
                <a:gd name="connsiteY430" fmla="*/ 1377649 h 1413227"/>
                <a:gd name="connsiteX431" fmla="*/ 1559147 w 2048870"/>
                <a:gd name="connsiteY431" fmla="*/ 1375921 h 1413227"/>
                <a:gd name="connsiteX432" fmla="*/ 1564333 w 2048870"/>
                <a:gd name="connsiteY432" fmla="*/ 1372464 h 1413227"/>
                <a:gd name="connsiteX433" fmla="*/ 1579890 w 2048870"/>
                <a:gd name="connsiteY433" fmla="*/ 1370735 h 1413227"/>
                <a:gd name="connsiteX434" fmla="*/ 1597175 w 2048870"/>
                <a:gd name="connsiteY434" fmla="*/ 1363821 h 1413227"/>
                <a:gd name="connsiteX435" fmla="*/ 1600633 w 2048870"/>
                <a:gd name="connsiteY435" fmla="*/ 1360364 h 1413227"/>
                <a:gd name="connsiteX436" fmla="*/ 1612732 w 2048870"/>
                <a:gd name="connsiteY436" fmla="*/ 1341350 h 1413227"/>
                <a:gd name="connsiteX437" fmla="*/ 1617918 w 2048870"/>
                <a:gd name="connsiteY437" fmla="*/ 1305051 h 1413227"/>
                <a:gd name="connsiteX438" fmla="*/ 1623104 w 2048870"/>
                <a:gd name="connsiteY438" fmla="*/ 1301593 h 1413227"/>
                <a:gd name="connsiteX439" fmla="*/ 1624832 w 2048870"/>
                <a:gd name="connsiteY439" fmla="*/ 1284308 h 1413227"/>
                <a:gd name="connsiteX440" fmla="*/ 1631746 w 2048870"/>
                <a:gd name="connsiteY440" fmla="*/ 1270480 h 1413227"/>
                <a:gd name="connsiteX441" fmla="*/ 1643846 w 2048870"/>
                <a:gd name="connsiteY441" fmla="*/ 1263565 h 1413227"/>
                <a:gd name="connsiteX442" fmla="*/ 1669774 w 2048870"/>
                <a:gd name="connsiteY442" fmla="*/ 1260108 h 1413227"/>
                <a:gd name="connsiteX443" fmla="*/ 1681874 w 2048870"/>
                <a:gd name="connsiteY443" fmla="*/ 1254923 h 1413227"/>
                <a:gd name="connsiteX444" fmla="*/ 1687060 w 2048870"/>
                <a:gd name="connsiteY444" fmla="*/ 1253194 h 1413227"/>
                <a:gd name="connsiteX445" fmla="*/ 1702617 w 2048870"/>
                <a:gd name="connsiteY445" fmla="*/ 1249737 h 1413227"/>
                <a:gd name="connsiteX446" fmla="*/ 1704345 w 2048870"/>
                <a:gd name="connsiteY446" fmla="*/ 1232452 h 1413227"/>
                <a:gd name="connsiteX447" fmla="*/ 1706074 w 2048870"/>
                <a:gd name="connsiteY447" fmla="*/ 1208252 h 1413227"/>
                <a:gd name="connsiteX448" fmla="*/ 1711259 w 2048870"/>
                <a:gd name="connsiteY448" fmla="*/ 1201338 h 1413227"/>
                <a:gd name="connsiteX449" fmla="*/ 1718174 w 2048870"/>
                <a:gd name="connsiteY449" fmla="*/ 1192695 h 1413227"/>
                <a:gd name="connsiteX450" fmla="*/ 1725088 w 2048870"/>
                <a:gd name="connsiteY450" fmla="*/ 1189238 h 1413227"/>
                <a:gd name="connsiteX451" fmla="*/ 1735459 w 2048870"/>
                <a:gd name="connsiteY451" fmla="*/ 1184052 h 1413227"/>
                <a:gd name="connsiteX452" fmla="*/ 1773487 w 2048870"/>
                <a:gd name="connsiteY452" fmla="*/ 1189238 h 1413227"/>
                <a:gd name="connsiteX453" fmla="*/ 1778673 w 2048870"/>
                <a:gd name="connsiteY453" fmla="*/ 1194424 h 1413227"/>
                <a:gd name="connsiteX454" fmla="*/ 1808058 w 2048870"/>
                <a:gd name="connsiteY454" fmla="*/ 1187510 h 1413227"/>
                <a:gd name="connsiteX455" fmla="*/ 1811515 w 2048870"/>
                <a:gd name="connsiteY455" fmla="*/ 1180595 h 1413227"/>
                <a:gd name="connsiteX456" fmla="*/ 1818429 w 2048870"/>
                <a:gd name="connsiteY456" fmla="*/ 1171953 h 1413227"/>
                <a:gd name="connsiteX457" fmla="*/ 1825343 w 2048870"/>
                <a:gd name="connsiteY457" fmla="*/ 1158124 h 1413227"/>
                <a:gd name="connsiteX458" fmla="*/ 1827072 w 2048870"/>
                <a:gd name="connsiteY458" fmla="*/ 1151210 h 1413227"/>
                <a:gd name="connsiteX459" fmla="*/ 1833986 w 2048870"/>
                <a:gd name="connsiteY459" fmla="*/ 1133925 h 1413227"/>
                <a:gd name="connsiteX460" fmla="*/ 1820158 w 2048870"/>
                <a:gd name="connsiteY460" fmla="*/ 1128739 h 1413227"/>
                <a:gd name="connsiteX461" fmla="*/ 1816701 w 2048870"/>
                <a:gd name="connsiteY461" fmla="*/ 1123553 h 1413227"/>
                <a:gd name="connsiteX462" fmla="*/ 1820158 w 2048870"/>
                <a:gd name="connsiteY462" fmla="*/ 1118368 h 1413227"/>
                <a:gd name="connsiteX463" fmla="*/ 1825343 w 2048870"/>
                <a:gd name="connsiteY463" fmla="*/ 1111454 h 1413227"/>
                <a:gd name="connsiteX464" fmla="*/ 1828800 w 2048870"/>
                <a:gd name="connsiteY464" fmla="*/ 1099354 h 1413227"/>
                <a:gd name="connsiteX465" fmla="*/ 1832257 w 2048870"/>
                <a:gd name="connsiteY465" fmla="*/ 1094168 h 1413227"/>
                <a:gd name="connsiteX466" fmla="*/ 1830529 w 2048870"/>
                <a:gd name="connsiteY466" fmla="*/ 1083797 h 1413227"/>
                <a:gd name="connsiteX467" fmla="*/ 1816701 w 2048870"/>
                <a:gd name="connsiteY467" fmla="*/ 1087254 h 1413227"/>
                <a:gd name="connsiteX468" fmla="*/ 1789044 w 2048870"/>
                <a:gd name="connsiteY468" fmla="*/ 1092440 h 1413227"/>
                <a:gd name="connsiteX469" fmla="*/ 1778673 w 2048870"/>
                <a:gd name="connsiteY469" fmla="*/ 1095897 h 1413227"/>
                <a:gd name="connsiteX470" fmla="*/ 1771758 w 2048870"/>
                <a:gd name="connsiteY470" fmla="*/ 1099354 h 1413227"/>
                <a:gd name="connsiteX471" fmla="*/ 1766573 w 2048870"/>
                <a:gd name="connsiteY471" fmla="*/ 1116639 h 1413227"/>
                <a:gd name="connsiteX472" fmla="*/ 1756202 w 2048870"/>
                <a:gd name="connsiteY472" fmla="*/ 1118368 h 1413227"/>
                <a:gd name="connsiteX473" fmla="*/ 1738916 w 2048870"/>
                <a:gd name="connsiteY473" fmla="*/ 1130468 h 1413227"/>
                <a:gd name="connsiteX474" fmla="*/ 1718174 w 2048870"/>
                <a:gd name="connsiteY474" fmla="*/ 1140839 h 1413227"/>
                <a:gd name="connsiteX475" fmla="*/ 1709531 w 2048870"/>
                <a:gd name="connsiteY475" fmla="*/ 1146024 h 1413227"/>
                <a:gd name="connsiteX476" fmla="*/ 1707802 w 2048870"/>
                <a:gd name="connsiteY476" fmla="*/ 1151210 h 1413227"/>
                <a:gd name="connsiteX477" fmla="*/ 1700888 w 2048870"/>
                <a:gd name="connsiteY477" fmla="*/ 1154667 h 1413227"/>
                <a:gd name="connsiteX478" fmla="*/ 1647303 w 2048870"/>
                <a:gd name="connsiteY478" fmla="*/ 1152939 h 1413227"/>
                <a:gd name="connsiteX479" fmla="*/ 1650760 w 2048870"/>
                <a:gd name="connsiteY479" fmla="*/ 1142567 h 1413227"/>
                <a:gd name="connsiteX480" fmla="*/ 1649032 w 2048870"/>
                <a:gd name="connsiteY480" fmla="*/ 1120096 h 1413227"/>
                <a:gd name="connsiteX481" fmla="*/ 1598904 w 2048870"/>
                <a:gd name="connsiteY481" fmla="*/ 1114911 h 1413227"/>
                <a:gd name="connsiteX482" fmla="*/ 1591990 w 2048870"/>
                <a:gd name="connsiteY482" fmla="*/ 1113182 h 1413227"/>
                <a:gd name="connsiteX483" fmla="*/ 1564333 w 2048870"/>
                <a:gd name="connsiteY483" fmla="*/ 1109725 h 1413227"/>
                <a:gd name="connsiteX484" fmla="*/ 1553962 w 2048870"/>
                <a:gd name="connsiteY484" fmla="*/ 1101082 h 1413227"/>
                <a:gd name="connsiteX485" fmla="*/ 1543591 w 2048870"/>
                <a:gd name="connsiteY485" fmla="*/ 1092440 h 1413227"/>
                <a:gd name="connsiteX486" fmla="*/ 1526305 w 2048870"/>
                <a:gd name="connsiteY486" fmla="*/ 1090711 h 1413227"/>
                <a:gd name="connsiteX487" fmla="*/ 1514205 w 2048870"/>
                <a:gd name="connsiteY487" fmla="*/ 1085525 h 1413227"/>
                <a:gd name="connsiteX488" fmla="*/ 1512477 w 2048870"/>
                <a:gd name="connsiteY488" fmla="*/ 1092440 h 1413227"/>
                <a:gd name="connsiteX489" fmla="*/ 1507291 w 2048870"/>
                <a:gd name="connsiteY489" fmla="*/ 1085525 h 1413227"/>
                <a:gd name="connsiteX490" fmla="*/ 1496920 w 2048870"/>
                <a:gd name="connsiteY490" fmla="*/ 1075154 h 1413227"/>
                <a:gd name="connsiteX491" fmla="*/ 1445064 w 2048870"/>
                <a:gd name="connsiteY491" fmla="*/ 1076883 h 1413227"/>
                <a:gd name="connsiteX492" fmla="*/ 1439878 w 2048870"/>
                <a:gd name="connsiteY492" fmla="*/ 1080340 h 1413227"/>
                <a:gd name="connsiteX493" fmla="*/ 1438149 w 2048870"/>
                <a:gd name="connsiteY493" fmla="*/ 1085525 h 1413227"/>
                <a:gd name="connsiteX494" fmla="*/ 1451978 w 2048870"/>
                <a:gd name="connsiteY494" fmla="*/ 1071697 h 1413227"/>
                <a:gd name="connsiteX495" fmla="*/ 1458892 w 2048870"/>
                <a:gd name="connsiteY495" fmla="*/ 1064783 h 1413227"/>
                <a:gd name="connsiteX496" fmla="*/ 1464078 w 2048870"/>
                <a:gd name="connsiteY496" fmla="*/ 1059597 h 1413227"/>
                <a:gd name="connsiteX497" fmla="*/ 1479634 w 2048870"/>
                <a:gd name="connsiteY497" fmla="*/ 1064783 h 1413227"/>
                <a:gd name="connsiteX498" fmla="*/ 1490006 w 2048870"/>
                <a:gd name="connsiteY498" fmla="*/ 1071697 h 1413227"/>
                <a:gd name="connsiteX499" fmla="*/ 1498648 w 2048870"/>
                <a:gd name="connsiteY499" fmla="*/ 1068240 h 1413227"/>
                <a:gd name="connsiteX500" fmla="*/ 1500377 w 2048870"/>
                <a:gd name="connsiteY500" fmla="*/ 1063054 h 1413227"/>
                <a:gd name="connsiteX501" fmla="*/ 1503834 w 2048870"/>
                <a:gd name="connsiteY501" fmla="*/ 1057869 h 1413227"/>
                <a:gd name="connsiteX502" fmla="*/ 1507291 w 2048870"/>
                <a:gd name="connsiteY502" fmla="*/ 1045769 h 1413227"/>
                <a:gd name="connsiteX503" fmla="*/ 1540133 w 2048870"/>
                <a:gd name="connsiteY503" fmla="*/ 1044040 h 1413227"/>
                <a:gd name="connsiteX504" fmla="*/ 1557419 w 2048870"/>
                <a:gd name="connsiteY504" fmla="*/ 1059597 h 1413227"/>
                <a:gd name="connsiteX505" fmla="*/ 1560876 w 2048870"/>
                <a:gd name="connsiteY505" fmla="*/ 1073426 h 1413227"/>
                <a:gd name="connsiteX506" fmla="*/ 1564333 w 2048870"/>
                <a:gd name="connsiteY506" fmla="*/ 1087254 h 1413227"/>
                <a:gd name="connsiteX507" fmla="*/ 1566062 w 2048870"/>
                <a:gd name="connsiteY507" fmla="*/ 1094168 h 1413227"/>
                <a:gd name="connsiteX508" fmla="*/ 1569519 w 2048870"/>
                <a:gd name="connsiteY508" fmla="*/ 1099354 h 1413227"/>
                <a:gd name="connsiteX509" fmla="*/ 1576433 w 2048870"/>
                <a:gd name="connsiteY509" fmla="*/ 1037126 h 1413227"/>
                <a:gd name="connsiteX510" fmla="*/ 1588533 w 2048870"/>
                <a:gd name="connsiteY510" fmla="*/ 1052683 h 1413227"/>
                <a:gd name="connsiteX511" fmla="*/ 1591990 w 2048870"/>
                <a:gd name="connsiteY511" fmla="*/ 1069969 h 1413227"/>
                <a:gd name="connsiteX512" fmla="*/ 1607547 w 2048870"/>
                <a:gd name="connsiteY512" fmla="*/ 1080340 h 1413227"/>
                <a:gd name="connsiteX513" fmla="*/ 1612732 w 2048870"/>
                <a:gd name="connsiteY513" fmla="*/ 1083797 h 1413227"/>
                <a:gd name="connsiteX514" fmla="*/ 1621375 w 2048870"/>
                <a:gd name="connsiteY514" fmla="*/ 1085525 h 1413227"/>
                <a:gd name="connsiteX515" fmla="*/ 1633475 w 2048870"/>
                <a:gd name="connsiteY515" fmla="*/ 1092440 h 1413227"/>
                <a:gd name="connsiteX516" fmla="*/ 1640389 w 2048870"/>
                <a:gd name="connsiteY516" fmla="*/ 1095897 h 1413227"/>
                <a:gd name="connsiteX517" fmla="*/ 1649032 w 2048870"/>
                <a:gd name="connsiteY517" fmla="*/ 1109725 h 1413227"/>
                <a:gd name="connsiteX518" fmla="*/ 1659403 w 2048870"/>
                <a:gd name="connsiteY518" fmla="*/ 1113182 h 1413227"/>
                <a:gd name="connsiteX519" fmla="*/ 1669774 w 2048870"/>
                <a:gd name="connsiteY519" fmla="*/ 1118368 h 1413227"/>
                <a:gd name="connsiteX520" fmla="*/ 1680146 w 2048870"/>
                <a:gd name="connsiteY520" fmla="*/ 1125282 h 1413227"/>
                <a:gd name="connsiteX521" fmla="*/ 1699160 w 2048870"/>
                <a:gd name="connsiteY521" fmla="*/ 1139110 h 1413227"/>
                <a:gd name="connsiteX522" fmla="*/ 1712988 w 2048870"/>
                <a:gd name="connsiteY522" fmla="*/ 1142567 h 1413227"/>
                <a:gd name="connsiteX523" fmla="*/ 1704345 w 2048870"/>
                <a:gd name="connsiteY523" fmla="*/ 1137382 h 1413227"/>
                <a:gd name="connsiteX524" fmla="*/ 1699160 w 2048870"/>
                <a:gd name="connsiteY524" fmla="*/ 1132196 h 1413227"/>
                <a:gd name="connsiteX525" fmla="*/ 1688788 w 2048870"/>
                <a:gd name="connsiteY525" fmla="*/ 1128739 h 1413227"/>
                <a:gd name="connsiteX526" fmla="*/ 1674960 w 2048870"/>
                <a:gd name="connsiteY526" fmla="*/ 1125282 h 1413227"/>
                <a:gd name="connsiteX527" fmla="*/ 1659403 w 2048870"/>
                <a:gd name="connsiteY527" fmla="*/ 1121825 h 1413227"/>
                <a:gd name="connsiteX528" fmla="*/ 1650760 w 2048870"/>
                <a:gd name="connsiteY528" fmla="*/ 1116639 h 1413227"/>
                <a:gd name="connsiteX529" fmla="*/ 1645575 w 2048870"/>
                <a:gd name="connsiteY529" fmla="*/ 1113182 h 1413227"/>
                <a:gd name="connsiteX530" fmla="*/ 1642118 w 2048870"/>
                <a:gd name="connsiteY530" fmla="*/ 1107996 h 1413227"/>
                <a:gd name="connsiteX531" fmla="*/ 1628289 w 2048870"/>
                <a:gd name="connsiteY531" fmla="*/ 1088983 h 1413227"/>
                <a:gd name="connsiteX532" fmla="*/ 1626561 w 2048870"/>
                <a:gd name="connsiteY532" fmla="*/ 1083797 h 1413227"/>
                <a:gd name="connsiteX533" fmla="*/ 1619647 w 2048870"/>
                <a:gd name="connsiteY533" fmla="*/ 1075154 h 1413227"/>
                <a:gd name="connsiteX534" fmla="*/ 1616189 w 2048870"/>
                <a:gd name="connsiteY534" fmla="*/ 1061326 h 1413227"/>
                <a:gd name="connsiteX535" fmla="*/ 1614461 w 2048870"/>
                <a:gd name="connsiteY535" fmla="*/ 1056140 h 1413227"/>
                <a:gd name="connsiteX536" fmla="*/ 1604090 w 2048870"/>
                <a:gd name="connsiteY536" fmla="*/ 1038855 h 1413227"/>
                <a:gd name="connsiteX537" fmla="*/ 1598904 w 2048870"/>
                <a:gd name="connsiteY537" fmla="*/ 1037126 h 1413227"/>
                <a:gd name="connsiteX538" fmla="*/ 1593718 w 2048870"/>
                <a:gd name="connsiteY538" fmla="*/ 1030212 h 1413227"/>
                <a:gd name="connsiteX539" fmla="*/ 1585076 w 2048870"/>
                <a:gd name="connsiteY539" fmla="*/ 1019841 h 1413227"/>
                <a:gd name="connsiteX540" fmla="*/ 1590261 w 2048870"/>
                <a:gd name="connsiteY540" fmla="*/ 1000827 h 1413227"/>
                <a:gd name="connsiteX541" fmla="*/ 1598904 w 2048870"/>
                <a:gd name="connsiteY541" fmla="*/ 999098 h 1413227"/>
                <a:gd name="connsiteX542" fmla="*/ 1611004 w 2048870"/>
                <a:gd name="connsiteY542" fmla="*/ 990455 h 1413227"/>
                <a:gd name="connsiteX543" fmla="*/ 1617918 w 2048870"/>
                <a:gd name="connsiteY543" fmla="*/ 985270 h 1413227"/>
                <a:gd name="connsiteX544" fmla="*/ 1616189 w 2048870"/>
                <a:gd name="connsiteY544" fmla="*/ 1021569 h 1413227"/>
                <a:gd name="connsiteX545" fmla="*/ 1612732 w 2048870"/>
                <a:gd name="connsiteY545" fmla="*/ 1028483 h 1413227"/>
                <a:gd name="connsiteX546" fmla="*/ 1607547 w 2048870"/>
                <a:gd name="connsiteY546" fmla="*/ 1035398 h 1413227"/>
                <a:gd name="connsiteX547" fmla="*/ 1612732 w 2048870"/>
                <a:gd name="connsiteY547" fmla="*/ 1031941 h 1413227"/>
                <a:gd name="connsiteX548" fmla="*/ 1621375 w 2048870"/>
                <a:gd name="connsiteY548" fmla="*/ 1016384 h 1413227"/>
                <a:gd name="connsiteX549" fmla="*/ 1626561 w 2048870"/>
                <a:gd name="connsiteY549" fmla="*/ 997370 h 1413227"/>
                <a:gd name="connsiteX550" fmla="*/ 1626561 w 2048870"/>
                <a:gd name="connsiteY550" fmla="*/ 976627 h 1413227"/>
                <a:gd name="connsiteX551" fmla="*/ 1619647 w 2048870"/>
                <a:gd name="connsiteY551" fmla="*/ 962799 h 1413227"/>
                <a:gd name="connsiteX552" fmla="*/ 1626561 w 2048870"/>
                <a:gd name="connsiteY552" fmla="*/ 966256 h 1413227"/>
                <a:gd name="connsiteX553" fmla="*/ 1638661 w 2048870"/>
                <a:gd name="connsiteY553" fmla="*/ 969713 h 1413227"/>
                <a:gd name="connsiteX554" fmla="*/ 1645575 w 2048870"/>
                <a:gd name="connsiteY554" fmla="*/ 967984 h 1413227"/>
                <a:gd name="connsiteX555" fmla="*/ 1650760 w 2048870"/>
                <a:gd name="connsiteY555" fmla="*/ 955885 h 1413227"/>
                <a:gd name="connsiteX556" fmla="*/ 1659403 w 2048870"/>
                <a:gd name="connsiteY556" fmla="*/ 933414 h 1413227"/>
                <a:gd name="connsiteX557" fmla="*/ 1662860 w 2048870"/>
                <a:gd name="connsiteY557" fmla="*/ 929956 h 1413227"/>
                <a:gd name="connsiteX558" fmla="*/ 1664589 w 2048870"/>
                <a:gd name="connsiteY558" fmla="*/ 923042 h 1413227"/>
                <a:gd name="connsiteX559" fmla="*/ 1673231 w 2048870"/>
                <a:gd name="connsiteY559" fmla="*/ 893657 h 1413227"/>
                <a:gd name="connsiteX560" fmla="*/ 1687060 w 2048870"/>
                <a:gd name="connsiteY560" fmla="*/ 891928 h 1413227"/>
                <a:gd name="connsiteX561" fmla="*/ 1693974 w 2048870"/>
                <a:gd name="connsiteY561" fmla="*/ 890200 h 1413227"/>
                <a:gd name="connsiteX562" fmla="*/ 1700888 w 2048870"/>
                <a:gd name="connsiteY562" fmla="*/ 886743 h 1413227"/>
                <a:gd name="connsiteX563" fmla="*/ 1719902 w 2048870"/>
                <a:gd name="connsiteY563" fmla="*/ 878100 h 1413227"/>
                <a:gd name="connsiteX564" fmla="*/ 1726816 w 2048870"/>
                <a:gd name="connsiteY564" fmla="*/ 876372 h 1413227"/>
                <a:gd name="connsiteX565" fmla="*/ 1745830 w 2048870"/>
                <a:gd name="connsiteY565" fmla="*/ 860815 h 1413227"/>
                <a:gd name="connsiteX566" fmla="*/ 1751016 w 2048870"/>
                <a:gd name="connsiteY566" fmla="*/ 857358 h 1413227"/>
                <a:gd name="connsiteX567" fmla="*/ 1757930 w 2048870"/>
                <a:gd name="connsiteY567" fmla="*/ 855629 h 1413227"/>
                <a:gd name="connsiteX568" fmla="*/ 1764844 w 2048870"/>
                <a:gd name="connsiteY568" fmla="*/ 841801 h 1413227"/>
                <a:gd name="connsiteX569" fmla="*/ 1771758 w 2048870"/>
                <a:gd name="connsiteY569" fmla="*/ 836615 h 1413227"/>
                <a:gd name="connsiteX570" fmla="*/ 1776944 w 2048870"/>
                <a:gd name="connsiteY570" fmla="*/ 833158 h 1413227"/>
                <a:gd name="connsiteX571" fmla="*/ 1787315 w 2048870"/>
                <a:gd name="connsiteY571" fmla="*/ 831429 h 1413227"/>
                <a:gd name="connsiteX572" fmla="*/ 1795958 w 2048870"/>
                <a:gd name="connsiteY572" fmla="*/ 829701 h 1413227"/>
                <a:gd name="connsiteX573" fmla="*/ 1797687 w 2048870"/>
                <a:gd name="connsiteY573" fmla="*/ 824515 h 1413227"/>
                <a:gd name="connsiteX574" fmla="*/ 1825343 w 2048870"/>
                <a:gd name="connsiteY574" fmla="*/ 796859 h 1413227"/>
                <a:gd name="connsiteX575" fmla="*/ 1830529 w 2048870"/>
                <a:gd name="connsiteY575" fmla="*/ 776116 h 1413227"/>
                <a:gd name="connsiteX576" fmla="*/ 1835715 w 2048870"/>
                <a:gd name="connsiteY576" fmla="*/ 770930 h 1413227"/>
                <a:gd name="connsiteX577" fmla="*/ 1863371 w 2048870"/>
                <a:gd name="connsiteY577" fmla="*/ 760559 h 1413227"/>
                <a:gd name="connsiteX578" fmla="*/ 1868557 w 2048870"/>
                <a:gd name="connsiteY578" fmla="*/ 755373 h 1413227"/>
                <a:gd name="connsiteX579" fmla="*/ 1880657 w 2048870"/>
                <a:gd name="connsiteY579" fmla="*/ 753645 h 1413227"/>
                <a:gd name="connsiteX580" fmla="*/ 1889299 w 2048870"/>
                <a:gd name="connsiteY580" fmla="*/ 750188 h 1413227"/>
                <a:gd name="connsiteX581" fmla="*/ 1894485 w 2048870"/>
                <a:gd name="connsiteY581" fmla="*/ 731174 h 1413227"/>
                <a:gd name="connsiteX582" fmla="*/ 1910042 w 2048870"/>
                <a:gd name="connsiteY582" fmla="*/ 719074 h 1413227"/>
                <a:gd name="connsiteX583" fmla="*/ 1916956 w 2048870"/>
                <a:gd name="connsiteY583" fmla="*/ 710431 h 1413227"/>
                <a:gd name="connsiteX584" fmla="*/ 1908313 w 2048870"/>
                <a:gd name="connsiteY584" fmla="*/ 689689 h 1413227"/>
                <a:gd name="connsiteX585" fmla="*/ 1901399 w 2048870"/>
                <a:gd name="connsiteY585" fmla="*/ 675860 h 1413227"/>
                <a:gd name="connsiteX586" fmla="*/ 1897942 w 2048870"/>
                <a:gd name="connsiteY586" fmla="*/ 665489 h 1413227"/>
                <a:gd name="connsiteX587" fmla="*/ 1901399 w 2048870"/>
                <a:gd name="connsiteY587" fmla="*/ 651661 h 1413227"/>
                <a:gd name="connsiteX588" fmla="*/ 1897942 w 2048870"/>
                <a:gd name="connsiteY588" fmla="*/ 629190 h 1413227"/>
                <a:gd name="connsiteX589" fmla="*/ 1904856 w 2048870"/>
                <a:gd name="connsiteY589" fmla="*/ 624004 h 1413227"/>
                <a:gd name="connsiteX590" fmla="*/ 1910042 w 2048870"/>
                <a:gd name="connsiteY590" fmla="*/ 613633 h 1413227"/>
                <a:gd name="connsiteX591" fmla="*/ 1918685 w 2048870"/>
                <a:gd name="connsiteY591" fmla="*/ 608447 h 1413227"/>
                <a:gd name="connsiteX592" fmla="*/ 1925599 w 2048870"/>
                <a:gd name="connsiteY592" fmla="*/ 601533 h 1413227"/>
                <a:gd name="connsiteX593" fmla="*/ 1929056 w 2048870"/>
                <a:gd name="connsiteY593" fmla="*/ 587705 h 1413227"/>
                <a:gd name="connsiteX594" fmla="*/ 1932513 w 2048870"/>
                <a:gd name="connsiteY594" fmla="*/ 582519 h 1413227"/>
                <a:gd name="connsiteX595" fmla="*/ 1939427 w 2048870"/>
                <a:gd name="connsiteY595" fmla="*/ 565234 h 1413227"/>
                <a:gd name="connsiteX596" fmla="*/ 1963627 w 2048870"/>
                <a:gd name="connsiteY596" fmla="*/ 556591 h 1413227"/>
                <a:gd name="connsiteX597" fmla="*/ 1968812 w 2048870"/>
                <a:gd name="connsiteY597" fmla="*/ 547948 h 1413227"/>
                <a:gd name="connsiteX598" fmla="*/ 1986098 w 2048870"/>
                <a:gd name="connsiteY598" fmla="*/ 544491 h 1413227"/>
                <a:gd name="connsiteX599" fmla="*/ 2008569 w 2048870"/>
                <a:gd name="connsiteY599" fmla="*/ 539305 h 1413227"/>
                <a:gd name="connsiteX600" fmla="*/ 2017212 w 2048870"/>
                <a:gd name="connsiteY600" fmla="*/ 530663 h 1413227"/>
                <a:gd name="connsiteX601" fmla="*/ 2048326 w 2048870"/>
                <a:gd name="connsiteY601" fmla="*/ 525477 h 1413227"/>
                <a:gd name="connsiteX602" fmla="*/ 2043140 w 2048870"/>
                <a:gd name="connsiteY602" fmla="*/ 499549 h 1413227"/>
                <a:gd name="connsiteX603" fmla="*/ 2032769 w 2048870"/>
                <a:gd name="connsiteY603" fmla="*/ 492635 h 1413227"/>
                <a:gd name="connsiteX604" fmla="*/ 2025854 w 2048870"/>
                <a:gd name="connsiteY604" fmla="*/ 447693 h 1413227"/>
                <a:gd name="connsiteX605" fmla="*/ 2018940 w 2048870"/>
                <a:gd name="connsiteY605" fmla="*/ 428679 h 1413227"/>
                <a:gd name="connsiteX606" fmla="*/ 2015483 w 2048870"/>
                <a:gd name="connsiteY606" fmla="*/ 418307 h 1413227"/>
                <a:gd name="connsiteX607" fmla="*/ 2010298 w 2048870"/>
                <a:gd name="connsiteY607" fmla="*/ 411393 h 1413227"/>
                <a:gd name="connsiteX608" fmla="*/ 2003383 w 2048870"/>
                <a:gd name="connsiteY608" fmla="*/ 407936 h 1413227"/>
                <a:gd name="connsiteX609" fmla="*/ 1984369 w 2048870"/>
                <a:gd name="connsiteY609" fmla="*/ 404479 h 1413227"/>
                <a:gd name="connsiteX610" fmla="*/ 1977455 w 2048870"/>
                <a:gd name="connsiteY610" fmla="*/ 394108 h 1413227"/>
                <a:gd name="connsiteX611" fmla="*/ 1972270 w 2048870"/>
                <a:gd name="connsiteY611" fmla="*/ 390651 h 1413227"/>
                <a:gd name="connsiteX612" fmla="*/ 1968812 w 2048870"/>
                <a:gd name="connsiteY612" fmla="*/ 382008 h 1413227"/>
                <a:gd name="connsiteX613" fmla="*/ 1973998 w 2048870"/>
                <a:gd name="connsiteY613" fmla="*/ 366451 h 1413227"/>
                <a:gd name="connsiteX614" fmla="*/ 1982641 w 2048870"/>
                <a:gd name="connsiteY614" fmla="*/ 354351 h 1413227"/>
                <a:gd name="connsiteX615" fmla="*/ 1984369 w 2048870"/>
                <a:gd name="connsiteY615" fmla="*/ 347437 h 1413227"/>
                <a:gd name="connsiteX616" fmla="*/ 1994741 w 2048870"/>
                <a:gd name="connsiteY616" fmla="*/ 343980 h 1413227"/>
                <a:gd name="connsiteX617" fmla="*/ 1960170 w 2048870"/>
                <a:gd name="connsiteY617" fmla="*/ 337066 h 1413227"/>
                <a:gd name="connsiteX618" fmla="*/ 1958441 w 2048870"/>
                <a:gd name="connsiteY618" fmla="*/ 331880 h 1413227"/>
                <a:gd name="connsiteX619" fmla="*/ 1954984 w 2048870"/>
                <a:gd name="connsiteY619" fmla="*/ 326694 h 1413227"/>
                <a:gd name="connsiteX620" fmla="*/ 1958441 w 2048870"/>
                <a:gd name="connsiteY620" fmla="*/ 318052 h 1413227"/>
                <a:gd name="connsiteX621" fmla="*/ 1963627 w 2048870"/>
                <a:gd name="connsiteY621" fmla="*/ 311138 h 1413227"/>
                <a:gd name="connsiteX622" fmla="*/ 1967084 w 2048870"/>
                <a:gd name="connsiteY622" fmla="*/ 305952 h 1413227"/>
                <a:gd name="connsiteX623" fmla="*/ 1968812 w 2048870"/>
                <a:gd name="connsiteY623" fmla="*/ 299038 h 1413227"/>
                <a:gd name="connsiteX624" fmla="*/ 1973998 w 2048870"/>
                <a:gd name="connsiteY624" fmla="*/ 293852 h 1413227"/>
                <a:gd name="connsiteX625" fmla="*/ 1975727 w 2048870"/>
                <a:gd name="connsiteY625" fmla="*/ 269652 h 1413227"/>
                <a:gd name="connsiteX626" fmla="*/ 1970541 w 2048870"/>
                <a:gd name="connsiteY626" fmla="*/ 255824 h 1413227"/>
                <a:gd name="connsiteX627" fmla="*/ 1968812 w 2048870"/>
                <a:gd name="connsiteY627" fmla="*/ 250638 h 1413227"/>
                <a:gd name="connsiteX628" fmla="*/ 1967084 w 2048870"/>
                <a:gd name="connsiteY628" fmla="*/ 243724 h 1413227"/>
                <a:gd name="connsiteX629" fmla="*/ 1963627 w 2048870"/>
                <a:gd name="connsiteY629" fmla="*/ 238539 h 1413227"/>
                <a:gd name="connsiteX630" fmla="*/ 1965355 w 2048870"/>
                <a:gd name="connsiteY630" fmla="*/ 216068 h 1413227"/>
                <a:gd name="connsiteX631" fmla="*/ 1961898 w 2048870"/>
                <a:gd name="connsiteY631" fmla="*/ 209153 h 1413227"/>
                <a:gd name="connsiteX632" fmla="*/ 1954984 w 2048870"/>
                <a:gd name="connsiteY632" fmla="*/ 216068 h 1413227"/>
                <a:gd name="connsiteX633" fmla="*/ 1948070 w 2048870"/>
                <a:gd name="connsiteY633" fmla="*/ 217796 h 1413227"/>
                <a:gd name="connsiteX634" fmla="*/ 1937699 w 2048870"/>
                <a:gd name="connsiteY634" fmla="*/ 226439 h 1413227"/>
                <a:gd name="connsiteX635" fmla="*/ 1932513 w 2048870"/>
                <a:gd name="connsiteY635" fmla="*/ 228167 h 1413227"/>
                <a:gd name="connsiteX636" fmla="*/ 1922142 w 2048870"/>
                <a:gd name="connsiteY636" fmla="*/ 235082 h 1413227"/>
                <a:gd name="connsiteX637" fmla="*/ 1906585 w 2048870"/>
                <a:gd name="connsiteY637" fmla="*/ 231624 h 1413227"/>
                <a:gd name="connsiteX638" fmla="*/ 1885842 w 2048870"/>
                <a:gd name="connsiteY638" fmla="*/ 222982 h 1413227"/>
                <a:gd name="connsiteX639" fmla="*/ 1878928 w 2048870"/>
                <a:gd name="connsiteY639" fmla="*/ 224710 h 1413227"/>
                <a:gd name="connsiteX640" fmla="*/ 1868557 w 2048870"/>
                <a:gd name="connsiteY640" fmla="*/ 233353 h 1413227"/>
                <a:gd name="connsiteX641" fmla="*/ 1847814 w 2048870"/>
                <a:gd name="connsiteY641" fmla="*/ 221253 h 1413227"/>
                <a:gd name="connsiteX642" fmla="*/ 1839172 w 2048870"/>
                <a:gd name="connsiteY642" fmla="*/ 217796 h 1413227"/>
                <a:gd name="connsiteX643" fmla="*/ 1832257 w 2048870"/>
                <a:gd name="connsiteY643" fmla="*/ 214339 h 1413227"/>
                <a:gd name="connsiteX644" fmla="*/ 1823615 w 2048870"/>
                <a:gd name="connsiteY644" fmla="*/ 224710 h 1413227"/>
                <a:gd name="connsiteX645" fmla="*/ 1816701 w 2048870"/>
                <a:gd name="connsiteY645" fmla="*/ 229896 h 1413227"/>
                <a:gd name="connsiteX646" fmla="*/ 1787315 w 2048870"/>
                <a:gd name="connsiteY646" fmla="*/ 221253 h 1413227"/>
                <a:gd name="connsiteX647" fmla="*/ 1759659 w 2048870"/>
                <a:gd name="connsiteY647" fmla="*/ 222982 h 1413227"/>
                <a:gd name="connsiteX648" fmla="*/ 1754473 w 2048870"/>
                <a:gd name="connsiteY648" fmla="*/ 224710 h 1413227"/>
                <a:gd name="connsiteX649" fmla="*/ 1735459 w 2048870"/>
                <a:gd name="connsiteY649" fmla="*/ 222982 h 1413227"/>
                <a:gd name="connsiteX650" fmla="*/ 1728545 w 2048870"/>
                <a:gd name="connsiteY650" fmla="*/ 217796 h 1413227"/>
                <a:gd name="connsiteX651" fmla="*/ 1721631 w 2048870"/>
                <a:gd name="connsiteY651" fmla="*/ 207425 h 1413227"/>
                <a:gd name="connsiteX652" fmla="*/ 1712988 w 2048870"/>
                <a:gd name="connsiteY652" fmla="*/ 235082 h 1413227"/>
                <a:gd name="connsiteX653" fmla="*/ 1706074 w 2048870"/>
                <a:gd name="connsiteY653" fmla="*/ 250638 h 1413227"/>
                <a:gd name="connsiteX654" fmla="*/ 1692245 w 2048870"/>
                <a:gd name="connsiteY654" fmla="*/ 236810 h 1413227"/>
                <a:gd name="connsiteX655" fmla="*/ 1645575 w 2048870"/>
                <a:gd name="connsiteY655" fmla="*/ 224710 h 1413227"/>
                <a:gd name="connsiteX656" fmla="*/ 1640389 w 2048870"/>
                <a:gd name="connsiteY656" fmla="*/ 217796 h 1413227"/>
                <a:gd name="connsiteX657" fmla="*/ 1638661 w 2048870"/>
                <a:gd name="connsiteY657" fmla="*/ 212610 h 1413227"/>
                <a:gd name="connsiteX658" fmla="*/ 1623104 w 2048870"/>
                <a:gd name="connsiteY658" fmla="*/ 195325 h 1413227"/>
                <a:gd name="connsiteX659" fmla="*/ 1609275 w 2048870"/>
                <a:gd name="connsiteY659" fmla="*/ 191868 h 1413227"/>
                <a:gd name="connsiteX660" fmla="*/ 1600633 w 2048870"/>
                <a:gd name="connsiteY660" fmla="*/ 200511 h 1413227"/>
                <a:gd name="connsiteX661" fmla="*/ 1595447 w 2048870"/>
                <a:gd name="connsiteY661" fmla="*/ 202239 h 1413227"/>
                <a:gd name="connsiteX662" fmla="*/ 1574704 w 2048870"/>
                <a:gd name="connsiteY662" fmla="*/ 209153 h 1413227"/>
                <a:gd name="connsiteX663" fmla="*/ 1569519 w 2048870"/>
                <a:gd name="connsiteY663" fmla="*/ 214339 h 1413227"/>
                <a:gd name="connsiteX664" fmla="*/ 1564333 w 2048870"/>
                <a:gd name="connsiteY664" fmla="*/ 217796 h 1413227"/>
                <a:gd name="connsiteX665" fmla="*/ 1560876 w 2048870"/>
                <a:gd name="connsiteY665" fmla="*/ 224710 h 1413227"/>
                <a:gd name="connsiteX666" fmla="*/ 1543591 w 2048870"/>
                <a:gd name="connsiteY666" fmla="*/ 238539 h 1413227"/>
                <a:gd name="connsiteX667" fmla="*/ 1536676 w 2048870"/>
                <a:gd name="connsiteY667" fmla="*/ 245453 h 1413227"/>
                <a:gd name="connsiteX668" fmla="*/ 1534948 w 2048870"/>
                <a:gd name="connsiteY668" fmla="*/ 250638 h 1413227"/>
                <a:gd name="connsiteX669" fmla="*/ 1536676 w 2048870"/>
                <a:gd name="connsiteY669" fmla="*/ 255824 h 1413227"/>
                <a:gd name="connsiteX670" fmla="*/ 1510748 w 2048870"/>
                <a:gd name="connsiteY670" fmla="*/ 259281 h 1413227"/>
                <a:gd name="connsiteX671" fmla="*/ 1500377 w 2048870"/>
                <a:gd name="connsiteY671" fmla="*/ 252367 h 1413227"/>
                <a:gd name="connsiteX672" fmla="*/ 1472720 w 2048870"/>
                <a:gd name="connsiteY672" fmla="*/ 252367 h 1413227"/>
                <a:gd name="connsiteX673" fmla="*/ 1455435 w 2048870"/>
                <a:gd name="connsiteY673" fmla="*/ 254096 h 1413227"/>
                <a:gd name="connsiteX674" fmla="*/ 1446792 w 2048870"/>
                <a:gd name="connsiteY674" fmla="*/ 261010 h 1413227"/>
                <a:gd name="connsiteX675" fmla="*/ 1441606 w 2048870"/>
                <a:gd name="connsiteY675" fmla="*/ 267924 h 1413227"/>
                <a:gd name="connsiteX676" fmla="*/ 1438149 w 2048870"/>
                <a:gd name="connsiteY676" fmla="*/ 273110 h 1413227"/>
                <a:gd name="connsiteX677" fmla="*/ 1432964 w 2048870"/>
                <a:gd name="connsiteY677" fmla="*/ 274838 h 1413227"/>
                <a:gd name="connsiteX678" fmla="*/ 1419135 w 2048870"/>
                <a:gd name="connsiteY678" fmla="*/ 281752 h 1413227"/>
                <a:gd name="connsiteX679" fmla="*/ 1412221 w 2048870"/>
                <a:gd name="connsiteY679" fmla="*/ 278295 h 1413227"/>
                <a:gd name="connsiteX680" fmla="*/ 1408764 w 2048870"/>
                <a:gd name="connsiteY680" fmla="*/ 273110 h 1413227"/>
                <a:gd name="connsiteX681" fmla="*/ 1400121 w 2048870"/>
                <a:gd name="connsiteY681" fmla="*/ 257553 h 1413227"/>
                <a:gd name="connsiteX682" fmla="*/ 1394936 w 2048870"/>
                <a:gd name="connsiteY682" fmla="*/ 254096 h 1413227"/>
                <a:gd name="connsiteX683" fmla="*/ 1386293 w 2048870"/>
                <a:gd name="connsiteY683" fmla="*/ 243724 h 1413227"/>
                <a:gd name="connsiteX684" fmla="*/ 1381107 w 2048870"/>
                <a:gd name="connsiteY684" fmla="*/ 212610 h 1413227"/>
                <a:gd name="connsiteX685" fmla="*/ 1370736 w 2048870"/>
                <a:gd name="connsiteY685" fmla="*/ 202239 h 1413227"/>
                <a:gd name="connsiteX686" fmla="*/ 1363822 w 2048870"/>
                <a:gd name="connsiteY686" fmla="*/ 200511 h 1413227"/>
                <a:gd name="connsiteX687" fmla="*/ 1358636 w 2048870"/>
                <a:gd name="connsiteY687" fmla="*/ 193596 h 1413227"/>
                <a:gd name="connsiteX688" fmla="*/ 1349994 w 2048870"/>
                <a:gd name="connsiteY688" fmla="*/ 178040 h 1413227"/>
                <a:gd name="connsiteX689" fmla="*/ 1337894 w 2048870"/>
                <a:gd name="connsiteY689" fmla="*/ 167668 h 1413227"/>
                <a:gd name="connsiteX690" fmla="*/ 1298137 w 2048870"/>
                <a:gd name="connsiteY690" fmla="*/ 169397 h 1413227"/>
                <a:gd name="connsiteX691" fmla="*/ 1284309 w 2048870"/>
                <a:gd name="connsiteY691" fmla="*/ 179768 h 1413227"/>
                <a:gd name="connsiteX692" fmla="*/ 1268752 w 2048870"/>
                <a:gd name="connsiteY692" fmla="*/ 181497 h 1413227"/>
                <a:gd name="connsiteX693" fmla="*/ 1251467 w 2048870"/>
                <a:gd name="connsiteY693" fmla="*/ 174583 h 1413227"/>
                <a:gd name="connsiteX694" fmla="*/ 1241095 w 2048870"/>
                <a:gd name="connsiteY694" fmla="*/ 164211 h 1413227"/>
                <a:gd name="connsiteX695" fmla="*/ 1230724 w 2048870"/>
                <a:gd name="connsiteY695" fmla="*/ 160754 h 1413227"/>
                <a:gd name="connsiteX696" fmla="*/ 1215167 w 2048870"/>
                <a:gd name="connsiteY696" fmla="*/ 146926 h 1413227"/>
                <a:gd name="connsiteX697" fmla="*/ 1213439 w 2048870"/>
                <a:gd name="connsiteY697" fmla="*/ 140012 h 1413227"/>
                <a:gd name="connsiteX698" fmla="*/ 1206524 w 2048870"/>
                <a:gd name="connsiteY698" fmla="*/ 131369 h 1413227"/>
                <a:gd name="connsiteX699" fmla="*/ 1204796 w 2048870"/>
                <a:gd name="connsiteY699" fmla="*/ 122726 h 1413227"/>
                <a:gd name="connsiteX700" fmla="*/ 1190968 w 2048870"/>
                <a:gd name="connsiteY700" fmla="*/ 117541 h 1413227"/>
                <a:gd name="connsiteX701" fmla="*/ 1201339 w 2048870"/>
                <a:gd name="connsiteY701" fmla="*/ 105441 h 1413227"/>
                <a:gd name="connsiteX702" fmla="*/ 1208253 w 2048870"/>
                <a:gd name="connsiteY702" fmla="*/ 101984 h 1413227"/>
                <a:gd name="connsiteX703" fmla="*/ 1213439 w 2048870"/>
                <a:gd name="connsiteY703" fmla="*/ 95069 h 1413227"/>
                <a:gd name="connsiteX704" fmla="*/ 1218624 w 2048870"/>
                <a:gd name="connsiteY704" fmla="*/ 89884 h 1413227"/>
                <a:gd name="connsiteX705" fmla="*/ 1216896 w 2048870"/>
                <a:gd name="connsiteY705" fmla="*/ 84698 h 1413227"/>
                <a:gd name="connsiteX706" fmla="*/ 1206524 w 2048870"/>
                <a:gd name="connsiteY706" fmla="*/ 81241 h 1413227"/>
                <a:gd name="connsiteX707" fmla="*/ 1190968 w 2048870"/>
                <a:gd name="connsiteY707" fmla="*/ 76055 h 1413227"/>
                <a:gd name="connsiteX708" fmla="*/ 1175411 w 2048870"/>
                <a:gd name="connsiteY708" fmla="*/ 60499 h 1413227"/>
                <a:gd name="connsiteX709" fmla="*/ 1168496 w 2048870"/>
                <a:gd name="connsiteY709" fmla="*/ 53584 h 1413227"/>
                <a:gd name="connsiteX710" fmla="*/ 1165039 w 2048870"/>
                <a:gd name="connsiteY710" fmla="*/ 46670 h 1413227"/>
                <a:gd name="connsiteX711" fmla="*/ 1159854 w 2048870"/>
                <a:gd name="connsiteY711" fmla="*/ 39756 h 1413227"/>
                <a:gd name="connsiteX712" fmla="*/ 1151211 w 2048870"/>
                <a:gd name="connsiteY712" fmla="*/ 27656 h 1413227"/>
                <a:gd name="connsiteX713" fmla="*/ 1146025 w 2048870"/>
                <a:gd name="connsiteY713" fmla="*/ 24199 h 1413227"/>
                <a:gd name="connsiteX714" fmla="*/ 1140840 w 2048870"/>
                <a:gd name="connsiteY714" fmla="*/ 17285 h 1413227"/>
                <a:gd name="connsiteX715" fmla="*/ 1123554 w 2048870"/>
                <a:gd name="connsiteY715" fmla="*/ 3457 h 1413227"/>
                <a:gd name="connsiteX716" fmla="*/ 1116640 w 2048870"/>
                <a:gd name="connsiteY716" fmla="*/ 0 h 1413227"/>
                <a:gd name="connsiteX717" fmla="*/ 1102812 w 2048870"/>
                <a:gd name="connsiteY717" fmla="*/ 1728 h 1413227"/>
                <a:gd name="connsiteX718" fmla="*/ 1097626 w 2048870"/>
                <a:gd name="connsiteY718" fmla="*/ 3457 h 1413227"/>
                <a:gd name="connsiteX719" fmla="*/ 1090712 w 2048870"/>
                <a:gd name="connsiteY719" fmla="*/ 5185 h 1413227"/>
                <a:gd name="connsiteX720" fmla="*/ 1071698 w 2048870"/>
                <a:gd name="connsiteY720" fmla="*/ 17285 h 1413227"/>
                <a:gd name="connsiteX721" fmla="*/ 1056141 w 2048870"/>
                <a:gd name="connsiteY721" fmla="*/ 15556 h 1413227"/>
                <a:gd name="connsiteX722" fmla="*/ 1050955 w 2048870"/>
                <a:gd name="connsiteY722" fmla="*/ 19014 h 1413227"/>
                <a:gd name="connsiteX723" fmla="*/ 1042313 w 2048870"/>
                <a:gd name="connsiteY723" fmla="*/ 27656 h 1413227"/>
                <a:gd name="connsiteX724" fmla="*/ 1028484 w 2048870"/>
                <a:gd name="connsiteY724" fmla="*/ 38027 h 1413227"/>
                <a:gd name="connsiteX725" fmla="*/ 1025027 w 2048870"/>
                <a:gd name="connsiteY725" fmla="*/ 41485 h 1413227"/>
                <a:gd name="connsiteX726" fmla="*/ 1016385 w 2048870"/>
                <a:gd name="connsiteY726" fmla="*/ 46670 h 1413227"/>
                <a:gd name="connsiteX727" fmla="*/ 1012927 w 2048870"/>
                <a:gd name="connsiteY727" fmla="*/ 50127 h 1413227"/>
                <a:gd name="connsiteX728" fmla="*/ 997371 w 2048870"/>
                <a:gd name="connsiteY728" fmla="*/ 57041 h 1413227"/>
                <a:gd name="connsiteX729" fmla="*/ 973171 w 2048870"/>
                <a:gd name="connsiteY729" fmla="*/ 58770 h 1413227"/>
                <a:gd name="connsiteX730" fmla="*/ 967985 w 2048870"/>
                <a:gd name="connsiteY730" fmla="*/ 62227 h 1413227"/>
                <a:gd name="connsiteX731" fmla="*/ 966257 w 2048870"/>
                <a:gd name="connsiteY731" fmla="*/ 79513 h 1413227"/>
                <a:gd name="connsiteX732" fmla="*/ 962800 w 2048870"/>
                <a:gd name="connsiteY732" fmla="*/ 103712 h 1413227"/>
                <a:gd name="connsiteX733" fmla="*/ 961071 w 2048870"/>
                <a:gd name="connsiteY733" fmla="*/ 112355 h 1413227"/>
                <a:gd name="connsiteX734" fmla="*/ 916129 w 2048870"/>
                <a:gd name="connsiteY734" fmla="*/ 115812 h 1413227"/>
                <a:gd name="connsiteX735" fmla="*/ 910943 w 2048870"/>
                <a:gd name="connsiteY735" fmla="*/ 119269 h 1413227"/>
                <a:gd name="connsiteX736" fmla="*/ 905758 w 2048870"/>
                <a:gd name="connsiteY736" fmla="*/ 120998 h 1413227"/>
                <a:gd name="connsiteX737" fmla="*/ 893658 w 2048870"/>
                <a:gd name="connsiteY737" fmla="*/ 124455 h 1413227"/>
                <a:gd name="connsiteX738" fmla="*/ 888472 w 2048870"/>
                <a:gd name="connsiteY738" fmla="*/ 126183 h 1413227"/>
                <a:gd name="connsiteX739" fmla="*/ 895386 w 2048870"/>
                <a:gd name="connsiteY739" fmla="*/ 124455 h 1413227"/>
                <a:gd name="connsiteX740" fmla="*/ 904029 w 2048870"/>
                <a:gd name="connsiteY740" fmla="*/ 115812 h 1413227"/>
                <a:gd name="connsiteX741" fmla="*/ 966257 w 2048870"/>
                <a:gd name="connsiteY741" fmla="*/ 63956 h 1413227"/>
                <a:gd name="connsiteX0" fmla="*/ 966257 w 2048870"/>
                <a:gd name="connsiteY0" fmla="*/ 63956 h 1413227"/>
                <a:gd name="connsiteX1" fmla="*/ 962800 w 2048870"/>
                <a:gd name="connsiteY1" fmla="*/ 72598 h 1413227"/>
                <a:gd name="connsiteX2" fmla="*/ 919586 w 2048870"/>
                <a:gd name="connsiteY2" fmla="*/ 114083 h 1413227"/>
                <a:gd name="connsiteX3" fmla="*/ 902301 w 2048870"/>
                <a:gd name="connsiteY3" fmla="*/ 120998 h 1413227"/>
                <a:gd name="connsiteX4" fmla="*/ 885015 w 2048870"/>
                <a:gd name="connsiteY4" fmla="*/ 122726 h 1413227"/>
                <a:gd name="connsiteX5" fmla="*/ 878101 w 2048870"/>
                <a:gd name="connsiteY5" fmla="*/ 129640 h 1413227"/>
                <a:gd name="connsiteX6" fmla="*/ 855630 w 2048870"/>
                <a:gd name="connsiteY6" fmla="*/ 140012 h 1413227"/>
                <a:gd name="connsiteX7" fmla="*/ 850444 w 2048870"/>
                <a:gd name="connsiteY7" fmla="*/ 145197 h 1413227"/>
                <a:gd name="connsiteX8" fmla="*/ 831430 w 2048870"/>
                <a:gd name="connsiteY8" fmla="*/ 146926 h 1413227"/>
                <a:gd name="connsiteX9" fmla="*/ 808923 w 2048870"/>
                <a:gd name="connsiteY9" fmla="*/ 195183 h 1413227"/>
                <a:gd name="connsiteX10" fmla="*/ 817602 w 2048870"/>
                <a:gd name="connsiteY10" fmla="*/ 247181 h 1413227"/>
                <a:gd name="connsiteX11" fmla="*/ 821059 w 2048870"/>
                <a:gd name="connsiteY11" fmla="*/ 255824 h 1413227"/>
                <a:gd name="connsiteX12" fmla="*/ 826245 w 2048870"/>
                <a:gd name="connsiteY12" fmla="*/ 259281 h 1413227"/>
                <a:gd name="connsiteX13" fmla="*/ 833159 w 2048870"/>
                <a:gd name="connsiteY13" fmla="*/ 267924 h 1413227"/>
                <a:gd name="connsiteX14" fmla="*/ 836616 w 2048870"/>
                <a:gd name="connsiteY14" fmla="*/ 280024 h 1413227"/>
                <a:gd name="connsiteX15" fmla="*/ 834887 w 2048870"/>
                <a:gd name="connsiteY15" fmla="*/ 295581 h 1413227"/>
                <a:gd name="connsiteX16" fmla="*/ 821059 w 2048870"/>
                <a:gd name="connsiteY16" fmla="*/ 299038 h 1413227"/>
                <a:gd name="connsiteX17" fmla="*/ 800316 w 2048870"/>
                <a:gd name="connsiteY17" fmla="*/ 295581 h 1413227"/>
                <a:gd name="connsiteX18" fmla="*/ 786488 w 2048870"/>
                <a:gd name="connsiteY18" fmla="*/ 286938 h 1413227"/>
                <a:gd name="connsiteX19" fmla="*/ 781302 w 2048870"/>
                <a:gd name="connsiteY19" fmla="*/ 285209 h 1413227"/>
                <a:gd name="connsiteX20" fmla="*/ 774388 w 2048870"/>
                <a:gd name="connsiteY20" fmla="*/ 278295 h 1413227"/>
                <a:gd name="connsiteX21" fmla="*/ 767474 w 2048870"/>
                <a:gd name="connsiteY21" fmla="*/ 285209 h 1413227"/>
                <a:gd name="connsiteX22" fmla="*/ 758831 w 2048870"/>
                <a:gd name="connsiteY22" fmla="*/ 286938 h 1413227"/>
                <a:gd name="connsiteX23" fmla="*/ 751917 w 2048870"/>
                <a:gd name="connsiteY23" fmla="*/ 288666 h 1413227"/>
                <a:gd name="connsiteX24" fmla="*/ 746732 w 2048870"/>
                <a:gd name="connsiteY24" fmla="*/ 290395 h 1413227"/>
                <a:gd name="connsiteX25" fmla="*/ 722532 w 2048870"/>
                <a:gd name="connsiteY25" fmla="*/ 292124 h 1413227"/>
                <a:gd name="connsiteX26" fmla="*/ 720803 w 2048870"/>
                <a:gd name="connsiteY26" fmla="*/ 297309 h 1413227"/>
                <a:gd name="connsiteX27" fmla="*/ 701789 w 2048870"/>
                <a:gd name="connsiteY27" fmla="*/ 312866 h 1413227"/>
                <a:gd name="connsiteX28" fmla="*/ 686233 w 2048870"/>
                <a:gd name="connsiteY28" fmla="*/ 305952 h 1413227"/>
                <a:gd name="connsiteX29" fmla="*/ 684504 w 2048870"/>
                <a:gd name="connsiteY29" fmla="*/ 300766 h 1413227"/>
                <a:gd name="connsiteX30" fmla="*/ 681047 w 2048870"/>
                <a:gd name="connsiteY30" fmla="*/ 285209 h 1413227"/>
                <a:gd name="connsiteX31" fmla="*/ 649933 w 2048870"/>
                <a:gd name="connsiteY31" fmla="*/ 288666 h 1413227"/>
                <a:gd name="connsiteX32" fmla="*/ 646476 w 2048870"/>
                <a:gd name="connsiteY32" fmla="*/ 299038 h 1413227"/>
                <a:gd name="connsiteX33" fmla="*/ 639562 w 2048870"/>
                <a:gd name="connsiteY33" fmla="*/ 314595 h 1413227"/>
                <a:gd name="connsiteX34" fmla="*/ 634376 w 2048870"/>
                <a:gd name="connsiteY34" fmla="*/ 326694 h 1413227"/>
                <a:gd name="connsiteX35" fmla="*/ 629191 w 2048870"/>
                <a:gd name="connsiteY35" fmla="*/ 328423 h 1413227"/>
                <a:gd name="connsiteX36" fmla="*/ 613634 w 2048870"/>
                <a:gd name="connsiteY36" fmla="*/ 323237 h 1413227"/>
                <a:gd name="connsiteX37" fmla="*/ 601534 w 2048870"/>
                <a:gd name="connsiteY37" fmla="*/ 311138 h 1413227"/>
                <a:gd name="connsiteX38" fmla="*/ 572149 w 2048870"/>
                <a:gd name="connsiteY38" fmla="*/ 309409 h 1413227"/>
                <a:gd name="connsiteX39" fmla="*/ 566963 w 2048870"/>
                <a:gd name="connsiteY39" fmla="*/ 295581 h 1413227"/>
                <a:gd name="connsiteX40" fmla="*/ 563506 w 2048870"/>
                <a:gd name="connsiteY40" fmla="*/ 300766 h 1413227"/>
                <a:gd name="connsiteX41" fmla="*/ 558320 w 2048870"/>
                <a:gd name="connsiteY41" fmla="*/ 307680 h 1413227"/>
                <a:gd name="connsiteX42" fmla="*/ 549678 w 2048870"/>
                <a:gd name="connsiteY42" fmla="*/ 321509 h 1413227"/>
                <a:gd name="connsiteX43" fmla="*/ 509921 w 2048870"/>
                <a:gd name="connsiteY43" fmla="*/ 324966 h 1413227"/>
                <a:gd name="connsiteX44" fmla="*/ 515107 w 2048870"/>
                <a:gd name="connsiteY44" fmla="*/ 328423 h 1413227"/>
                <a:gd name="connsiteX45" fmla="*/ 525478 w 2048870"/>
                <a:gd name="connsiteY45" fmla="*/ 331880 h 1413227"/>
                <a:gd name="connsiteX46" fmla="*/ 523749 w 2048870"/>
                <a:gd name="connsiteY46" fmla="*/ 337066 h 1413227"/>
                <a:gd name="connsiteX47" fmla="*/ 516835 w 2048870"/>
                <a:gd name="connsiteY47" fmla="*/ 343980 h 1413227"/>
                <a:gd name="connsiteX48" fmla="*/ 511650 w 2048870"/>
                <a:gd name="connsiteY48" fmla="*/ 323237 h 1413227"/>
                <a:gd name="connsiteX49" fmla="*/ 483993 w 2048870"/>
                <a:gd name="connsiteY49" fmla="*/ 333609 h 1413227"/>
                <a:gd name="connsiteX50" fmla="*/ 478807 w 2048870"/>
                <a:gd name="connsiteY50" fmla="*/ 338794 h 1413227"/>
                <a:gd name="connsiteX51" fmla="*/ 466707 w 2048870"/>
                <a:gd name="connsiteY51" fmla="*/ 337066 h 1413227"/>
                <a:gd name="connsiteX52" fmla="*/ 463250 w 2048870"/>
                <a:gd name="connsiteY52" fmla="*/ 324966 h 1413227"/>
                <a:gd name="connsiteX53" fmla="*/ 454608 w 2048870"/>
                <a:gd name="connsiteY53" fmla="*/ 312866 h 1413227"/>
                <a:gd name="connsiteX54" fmla="*/ 449422 w 2048870"/>
                <a:gd name="connsiteY54" fmla="*/ 311138 h 1413227"/>
                <a:gd name="connsiteX55" fmla="*/ 425222 w 2048870"/>
                <a:gd name="connsiteY55" fmla="*/ 314595 h 1413227"/>
                <a:gd name="connsiteX56" fmla="*/ 273110 w 2048870"/>
                <a:gd name="connsiteY56" fmla="*/ 316323 h 1413227"/>
                <a:gd name="connsiteX57" fmla="*/ 262739 w 2048870"/>
                <a:gd name="connsiteY57" fmla="*/ 323237 h 1413227"/>
                <a:gd name="connsiteX58" fmla="*/ 255825 w 2048870"/>
                <a:gd name="connsiteY58" fmla="*/ 324966 h 1413227"/>
                <a:gd name="connsiteX59" fmla="*/ 250639 w 2048870"/>
                <a:gd name="connsiteY59" fmla="*/ 326694 h 1413227"/>
                <a:gd name="connsiteX60" fmla="*/ 238540 w 2048870"/>
                <a:gd name="connsiteY60" fmla="*/ 330152 h 1413227"/>
                <a:gd name="connsiteX61" fmla="*/ 200512 w 2048870"/>
                <a:gd name="connsiteY61" fmla="*/ 333609 h 1413227"/>
                <a:gd name="connsiteX62" fmla="*/ 188412 w 2048870"/>
                <a:gd name="connsiteY62" fmla="*/ 338794 h 1413227"/>
                <a:gd name="connsiteX63" fmla="*/ 176312 w 2048870"/>
                <a:gd name="connsiteY63" fmla="*/ 342251 h 1413227"/>
                <a:gd name="connsiteX64" fmla="*/ 146927 w 2048870"/>
                <a:gd name="connsiteY64" fmla="*/ 356080 h 1413227"/>
                <a:gd name="connsiteX65" fmla="*/ 138284 w 2048870"/>
                <a:gd name="connsiteY65" fmla="*/ 357808 h 1413227"/>
                <a:gd name="connsiteX66" fmla="*/ 136555 w 2048870"/>
                <a:gd name="connsiteY66" fmla="*/ 364722 h 1413227"/>
                <a:gd name="connsiteX67" fmla="*/ 134827 w 2048870"/>
                <a:gd name="connsiteY67" fmla="*/ 380279 h 1413227"/>
                <a:gd name="connsiteX68" fmla="*/ 127913 w 2048870"/>
                <a:gd name="connsiteY68" fmla="*/ 387193 h 1413227"/>
                <a:gd name="connsiteX69" fmla="*/ 126184 w 2048870"/>
                <a:gd name="connsiteY69" fmla="*/ 394108 h 1413227"/>
                <a:gd name="connsiteX70" fmla="*/ 124456 w 2048870"/>
                <a:gd name="connsiteY70" fmla="*/ 402750 h 1413227"/>
                <a:gd name="connsiteX71" fmla="*/ 117541 w 2048870"/>
                <a:gd name="connsiteY71" fmla="*/ 407936 h 1413227"/>
                <a:gd name="connsiteX72" fmla="*/ 105442 w 2048870"/>
                <a:gd name="connsiteY72" fmla="*/ 411393 h 1413227"/>
                <a:gd name="connsiteX73" fmla="*/ 100256 w 2048870"/>
                <a:gd name="connsiteY73" fmla="*/ 413122 h 1413227"/>
                <a:gd name="connsiteX74" fmla="*/ 70871 w 2048870"/>
                <a:gd name="connsiteY74" fmla="*/ 421764 h 1413227"/>
                <a:gd name="connsiteX75" fmla="*/ 67414 w 2048870"/>
                <a:gd name="connsiteY75" fmla="*/ 428679 h 1413227"/>
                <a:gd name="connsiteX76" fmla="*/ 69142 w 2048870"/>
                <a:gd name="connsiteY76" fmla="*/ 440778 h 1413227"/>
                <a:gd name="connsiteX77" fmla="*/ 65685 w 2048870"/>
                <a:gd name="connsiteY77" fmla="*/ 445964 h 1413227"/>
                <a:gd name="connsiteX78" fmla="*/ 63957 w 2048870"/>
                <a:gd name="connsiteY78" fmla="*/ 452878 h 1413227"/>
                <a:gd name="connsiteX79" fmla="*/ 69142 w 2048870"/>
                <a:gd name="connsiteY79" fmla="*/ 456335 h 1413227"/>
                <a:gd name="connsiteX80" fmla="*/ 74328 w 2048870"/>
                <a:gd name="connsiteY80" fmla="*/ 458064 h 1413227"/>
                <a:gd name="connsiteX81" fmla="*/ 84699 w 2048870"/>
                <a:gd name="connsiteY81" fmla="*/ 466707 h 1413227"/>
                <a:gd name="connsiteX82" fmla="*/ 81242 w 2048870"/>
                <a:gd name="connsiteY82" fmla="*/ 473621 h 1413227"/>
                <a:gd name="connsiteX83" fmla="*/ 77785 w 2048870"/>
                <a:gd name="connsiteY83" fmla="*/ 478806 h 1413227"/>
                <a:gd name="connsiteX84" fmla="*/ 79513 w 2048870"/>
                <a:gd name="connsiteY84" fmla="*/ 485721 h 1413227"/>
                <a:gd name="connsiteX85" fmla="*/ 72599 w 2048870"/>
                <a:gd name="connsiteY85" fmla="*/ 489178 h 1413227"/>
                <a:gd name="connsiteX86" fmla="*/ 63957 w 2048870"/>
                <a:gd name="connsiteY86" fmla="*/ 487449 h 1413227"/>
                <a:gd name="connsiteX87" fmla="*/ 76056 w 2048870"/>
                <a:gd name="connsiteY87" fmla="*/ 485721 h 1413227"/>
                <a:gd name="connsiteX88" fmla="*/ 86428 w 2048870"/>
                <a:gd name="connsiteY88" fmla="*/ 483992 h 1413227"/>
                <a:gd name="connsiteX89" fmla="*/ 84699 w 2048870"/>
                <a:gd name="connsiteY89" fmla="*/ 494363 h 1413227"/>
                <a:gd name="connsiteX90" fmla="*/ 86428 w 2048870"/>
                <a:gd name="connsiteY90" fmla="*/ 501277 h 1413227"/>
                <a:gd name="connsiteX91" fmla="*/ 96799 w 2048870"/>
                <a:gd name="connsiteY91" fmla="*/ 515106 h 1413227"/>
                <a:gd name="connsiteX92" fmla="*/ 101985 w 2048870"/>
                <a:gd name="connsiteY92" fmla="*/ 516834 h 1413227"/>
                <a:gd name="connsiteX93" fmla="*/ 114084 w 2048870"/>
                <a:gd name="connsiteY93" fmla="*/ 520291 h 1413227"/>
                <a:gd name="connsiteX94" fmla="*/ 119270 w 2048870"/>
                <a:gd name="connsiteY94" fmla="*/ 525477 h 1413227"/>
                <a:gd name="connsiteX95" fmla="*/ 133098 w 2048870"/>
                <a:gd name="connsiteY95" fmla="*/ 535848 h 1413227"/>
                <a:gd name="connsiteX96" fmla="*/ 136555 w 2048870"/>
                <a:gd name="connsiteY96" fmla="*/ 542762 h 1413227"/>
                <a:gd name="connsiteX97" fmla="*/ 134827 w 2048870"/>
                <a:gd name="connsiteY97" fmla="*/ 572148 h 1413227"/>
                <a:gd name="connsiteX98" fmla="*/ 140012 w 2048870"/>
                <a:gd name="connsiteY98" fmla="*/ 573876 h 1413227"/>
                <a:gd name="connsiteX99" fmla="*/ 143470 w 2048870"/>
                <a:gd name="connsiteY99" fmla="*/ 577333 h 1413227"/>
                <a:gd name="connsiteX100" fmla="*/ 146927 w 2048870"/>
                <a:gd name="connsiteY100" fmla="*/ 589433 h 1413227"/>
                <a:gd name="connsiteX101" fmla="*/ 150384 w 2048870"/>
                <a:gd name="connsiteY101" fmla="*/ 598076 h 1413227"/>
                <a:gd name="connsiteX102" fmla="*/ 148655 w 2048870"/>
                <a:gd name="connsiteY102" fmla="*/ 617090 h 1413227"/>
                <a:gd name="connsiteX103" fmla="*/ 146927 w 2048870"/>
                <a:gd name="connsiteY103" fmla="*/ 622276 h 1413227"/>
                <a:gd name="connsiteX104" fmla="*/ 141741 w 2048870"/>
                <a:gd name="connsiteY104" fmla="*/ 627461 h 1413227"/>
                <a:gd name="connsiteX105" fmla="*/ 136555 w 2048870"/>
                <a:gd name="connsiteY105" fmla="*/ 634375 h 1413227"/>
                <a:gd name="connsiteX106" fmla="*/ 120999 w 2048870"/>
                <a:gd name="connsiteY106" fmla="*/ 639561 h 1413227"/>
                <a:gd name="connsiteX107" fmla="*/ 95070 w 2048870"/>
                <a:gd name="connsiteY107" fmla="*/ 665489 h 1413227"/>
                <a:gd name="connsiteX108" fmla="*/ 89885 w 2048870"/>
                <a:gd name="connsiteY108" fmla="*/ 670675 h 1413227"/>
                <a:gd name="connsiteX109" fmla="*/ 86428 w 2048870"/>
                <a:gd name="connsiteY109" fmla="*/ 675860 h 1413227"/>
                <a:gd name="connsiteX110" fmla="*/ 81242 w 2048870"/>
                <a:gd name="connsiteY110" fmla="*/ 677589 h 1413227"/>
                <a:gd name="connsiteX111" fmla="*/ 77785 w 2048870"/>
                <a:gd name="connsiteY111" fmla="*/ 682775 h 1413227"/>
                <a:gd name="connsiteX112" fmla="*/ 63957 w 2048870"/>
                <a:gd name="connsiteY112" fmla="*/ 689689 h 1413227"/>
                <a:gd name="connsiteX113" fmla="*/ 60499 w 2048870"/>
                <a:gd name="connsiteY113" fmla="*/ 706974 h 1413227"/>
                <a:gd name="connsiteX114" fmla="*/ 50128 w 2048870"/>
                <a:gd name="connsiteY114" fmla="*/ 720803 h 1413227"/>
                <a:gd name="connsiteX115" fmla="*/ 48400 w 2048870"/>
                <a:gd name="connsiteY115" fmla="*/ 725988 h 1413227"/>
                <a:gd name="connsiteX116" fmla="*/ 46671 w 2048870"/>
                <a:gd name="connsiteY116" fmla="*/ 732902 h 1413227"/>
                <a:gd name="connsiteX117" fmla="*/ 25929 w 2048870"/>
                <a:gd name="connsiteY117" fmla="*/ 751916 h 1413227"/>
                <a:gd name="connsiteX118" fmla="*/ 19014 w 2048870"/>
                <a:gd name="connsiteY118" fmla="*/ 776116 h 1413227"/>
                <a:gd name="connsiteX119" fmla="*/ 12100 w 2048870"/>
                <a:gd name="connsiteY119" fmla="*/ 789944 h 1413227"/>
                <a:gd name="connsiteX120" fmla="*/ 17286 w 2048870"/>
                <a:gd name="connsiteY120" fmla="*/ 822787 h 1413227"/>
                <a:gd name="connsiteX121" fmla="*/ 25929 w 2048870"/>
                <a:gd name="connsiteY121" fmla="*/ 829701 h 1413227"/>
                <a:gd name="connsiteX122" fmla="*/ 29386 w 2048870"/>
                <a:gd name="connsiteY122" fmla="*/ 838344 h 1413227"/>
                <a:gd name="connsiteX123" fmla="*/ 36300 w 2048870"/>
                <a:gd name="connsiteY123" fmla="*/ 843529 h 1413227"/>
                <a:gd name="connsiteX124" fmla="*/ 38028 w 2048870"/>
                <a:gd name="connsiteY124" fmla="*/ 852172 h 1413227"/>
                <a:gd name="connsiteX125" fmla="*/ 43214 w 2048870"/>
                <a:gd name="connsiteY125" fmla="*/ 864272 h 1413227"/>
                <a:gd name="connsiteX126" fmla="*/ 44943 w 2048870"/>
                <a:gd name="connsiteY126" fmla="*/ 874643 h 1413227"/>
                <a:gd name="connsiteX127" fmla="*/ 51857 w 2048870"/>
                <a:gd name="connsiteY127" fmla="*/ 876372 h 1413227"/>
                <a:gd name="connsiteX128" fmla="*/ 53585 w 2048870"/>
                <a:gd name="connsiteY128" fmla="*/ 883286 h 1413227"/>
                <a:gd name="connsiteX129" fmla="*/ 58771 w 2048870"/>
                <a:gd name="connsiteY129" fmla="*/ 886743 h 1413227"/>
                <a:gd name="connsiteX130" fmla="*/ 51857 w 2048870"/>
                <a:gd name="connsiteY130" fmla="*/ 898843 h 1413227"/>
                <a:gd name="connsiteX131" fmla="*/ 43214 w 2048870"/>
                <a:gd name="connsiteY131" fmla="*/ 904028 h 1413227"/>
                <a:gd name="connsiteX132" fmla="*/ 29386 w 2048870"/>
                <a:gd name="connsiteY132" fmla="*/ 909214 h 1413227"/>
                <a:gd name="connsiteX133" fmla="*/ 27657 w 2048870"/>
                <a:gd name="connsiteY133" fmla="*/ 919585 h 1413227"/>
                <a:gd name="connsiteX134" fmla="*/ 25929 w 2048870"/>
                <a:gd name="connsiteY134" fmla="*/ 926499 h 1413227"/>
                <a:gd name="connsiteX135" fmla="*/ 19014 w 2048870"/>
                <a:gd name="connsiteY135" fmla="*/ 955885 h 1413227"/>
                <a:gd name="connsiteX136" fmla="*/ 10372 w 2048870"/>
                <a:gd name="connsiteY136" fmla="*/ 969713 h 1413227"/>
                <a:gd name="connsiteX137" fmla="*/ 8643 w 2048870"/>
                <a:gd name="connsiteY137" fmla="*/ 990455 h 1413227"/>
                <a:gd name="connsiteX138" fmla="*/ 0 w 2048870"/>
                <a:gd name="connsiteY138" fmla="*/ 999098 h 1413227"/>
                <a:gd name="connsiteX139" fmla="*/ 6915 w 2048870"/>
                <a:gd name="connsiteY139" fmla="*/ 1023298 h 1413227"/>
                <a:gd name="connsiteX140" fmla="*/ 15557 w 2048870"/>
                <a:gd name="connsiteY140" fmla="*/ 1025026 h 1413227"/>
                <a:gd name="connsiteX141" fmla="*/ 22471 w 2048870"/>
                <a:gd name="connsiteY141" fmla="*/ 1030212 h 1413227"/>
                <a:gd name="connsiteX142" fmla="*/ 27657 w 2048870"/>
                <a:gd name="connsiteY142" fmla="*/ 1031941 h 1413227"/>
                <a:gd name="connsiteX143" fmla="*/ 34571 w 2048870"/>
                <a:gd name="connsiteY143" fmla="*/ 1035398 h 1413227"/>
                <a:gd name="connsiteX144" fmla="*/ 39757 w 2048870"/>
                <a:gd name="connsiteY144" fmla="*/ 1042312 h 1413227"/>
                <a:gd name="connsiteX145" fmla="*/ 43214 w 2048870"/>
                <a:gd name="connsiteY145" fmla="*/ 1047497 h 1413227"/>
                <a:gd name="connsiteX146" fmla="*/ 53585 w 2048870"/>
                <a:gd name="connsiteY146" fmla="*/ 1052683 h 1413227"/>
                <a:gd name="connsiteX147" fmla="*/ 95070 w 2048870"/>
                <a:gd name="connsiteY147" fmla="*/ 1061326 h 1413227"/>
                <a:gd name="connsiteX148" fmla="*/ 96799 w 2048870"/>
                <a:gd name="connsiteY148" fmla="*/ 1073426 h 1413227"/>
                <a:gd name="connsiteX149" fmla="*/ 101985 w 2048870"/>
                <a:gd name="connsiteY149" fmla="*/ 1075154 h 1413227"/>
                <a:gd name="connsiteX150" fmla="*/ 112356 w 2048870"/>
                <a:gd name="connsiteY150" fmla="*/ 1066511 h 1413227"/>
                <a:gd name="connsiteX151" fmla="*/ 119270 w 2048870"/>
                <a:gd name="connsiteY151" fmla="*/ 1059597 h 1413227"/>
                <a:gd name="connsiteX152" fmla="*/ 120999 w 2048870"/>
                <a:gd name="connsiteY152" fmla="*/ 1054412 h 1413227"/>
                <a:gd name="connsiteX153" fmla="*/ 134827 w 2048870"/>
                <a:gd name="connsiteY153" fmla="*/ 1061326 h 1413227"/>
                <a:gd name="connsiteX154" fmla="*/ 141741 w 2048870"/>
                <a:gd name="connsiteY154" fmla="*/ 1063054 h 1413227"/>
                <a:gd name="connsiteX155" fmla="*/ 146927 w 2048870"/>
                <a:gd name="connsiteY155" fmla="*/ 1064783 h 1413227"/>
                <a:gd name="connsiteX156" fmla="*/ 247182 w 2048870"/>
                <a:gd name="connsiteY156" fmla="*/ 1068240 h 1413227"/>
                <a:gd name="connsiteX157" fmla="*/ 266196 w 2048870"/>
                <a:gd name="connsiteY157" fmla="*/ 1064783 h 1413227"/>
                <a:gd name="connsiteX158" fmla="*/ 276568 w 2048870"/>
                <a:gd name="connsiteY158" fmla="*/ 1059597 h 1413227"/>
                <a:gd name="connsiteX159" fmla="*/ 285210 w 2048870"/>
                <a:gd name="connsiteY159" fmla="*/ 1049226 h 1413227"/>
                <a:gd name="connsiteX160" fmla="*/ 295581 w 2048870"/>
                <a:gd name="connsiteY160" fmla="*/ 1052683 h 1413227"/>
                <a:gd name="connsiteX161" fmla="*/ 299039 w 2048870"/>
                <a:gd name="connsiteY161" fmla="*/ 1059597 h 1413227"/>
                <a:gd name="connsiteX162" fmla="*/ 312867 w 2048870"/>
                <a:gd name="connsiteY162" fmla="*/ 1071697 h 1413227"/>
                <a:gd name="connsiteX163" fmla="*/ 338795 w 2048870"/>
                <a:gd name="connsiteY163" fmla="*/ 1078611 h 1413227"/>
                <a:gd name="connsiteX164" fmla="*/ 361266 w 2048870"/>
                <a:gd name="connsiteY164" fmla="*/ 1075154 h 1413227"/>
                <a:gd name="connsiteX165" fmla="*/ 362995 w 2048870"/>
                <a:gd name="connsiteY165" fmla="*/ 1068240 h 1413227"/>
                <a:gd name="connsiteX166" fmla="*/ 373366 w 2048870"/>
                <a:gd name="connsiteY166" fmla="*/ 1050955 h 1413227"/>
                <a:gd name="connsiteX167" fmla="*/ 378552 w 2048870"/>
                <a:gd name="connsiteY167" fmla="*/ 1045769 h 1413227"/>
                <a:gd name="connsiteX168" fmla="*/ 397566 w 2048870"/>
                <a:gd name="connsiteY168" fmla="*/ 1038855 h 1413227"/>
                <a:gd name="connsiteX169" fmla="*/ 432137 w 2048870"/>
                <a:gd name="connsiteY169" fmla="*/ 1035398 h 1413227"/>
                <a:gd name="connsiteX170" fmla="*/ 444236 w 2048870"/>
                <a:gd name="connsiteY170" fmla="*/ 1031941 h 1413227"/>
                <a:gd name="connsiteX171" fmla="*/ 447693 w 2048870"/>
                <a:gd name="connsiteY171" fmla="*/ 1025026 h 1413227"/>
                <a:gd name="connsiteX172" fmla="*/ 452879 w 2048870"/>
                <a:gd name="connsiteY172" fmla="*/ 1021569 h 1413227"/>
                <a:gd name="connsiteX173" fmla="*/ 468436 w 2048870"/>
                <a:gd name="connsiteY173" fmla="*/ 1011198 h 1413227"/>
                <a:gd name="connsiteX174" fmla="*/ 473622 w 2048870"/>
                <a:gd name="connsiteY174" fmla="*/ 999098 h 1413227"/>
                <a:gd name="connsiteX175" fmla="*/ 478807 w 2048870"/>
                <a:gd name="connsiteY175" fmla="*/ 986998 h 1413227"/>
                <a:gd name="connsiteX176" fmla="*/ 485721 w 2048870"/>
                <a:gd name="connsiteY176" fmla="*/ 980084 h 1413227"/>
                <a:gd name="connsiteX177" fmla="*/ 489178 w 2048870"/>
                <a:gd name="connsiteY177" fmla="*/ 974899 h 1413227"/>
                <a:gd name="connsiteX178" fmla="*/ 511650 w 2048870"/>
                <a:gd name="connsiteY178" fmla="*/ 955885 h 1413227"/>
                <a:gd name="connsiteX179" fmla="*/ 530664 w 2048870"/>
                <a:gd name="connsiteY179" fmla="*/ 947242 h 1413227"/>
                <a:gd name="connsiteX180" fmla="*/ 537578 w 2048870"/>
                <a:gd name="connsiteY180" fmla="*/ 933414 h 1413227"/>
                <a:gd name="connsiteX181" fmla="*/ 539306 w 2048870"/>
                <a:gd name="connsiteY181" fmla="*/ 928228 h 1413227"/>
                <a:gd name="connsiteX182" fmla="*/ 541035 w 2048870"/>
                <a:gd name="connsiteY182" fmla="*/ 921314 h 1413227"/>
                <a:gd name="connsiteX183" fmla="*/ 563506 w 2048870"/>
                <a:gd name="connsiteY183" fmla="*/ 917857 h 1413227"/>
                <a:gd name="connsiteX184" fmla="*/ 568692 w 2048870"/>
                <a:gd name="connsiteY184" fmla="*/ 916128 h 1413227"/>
                <a:gd name="connsiteX185" fmla="*/ 584248 w 2048870"/>
                <a:gd name="connsiteY185" fmla="*/ 914400 h 1413227"/>
                <a:gd name="connsiteX186" fmla="*/ 589434 w 2048870"/>
                <a:gd name="connsiteY186" fmla="*/ 910942 h 1413227"/>
                <a:gd name="connsiteX187" fmla="*/ 599805 w 2048870"/>
                <a:gd name="connsiteY187" fmla="*/ 905757 h 1413227"/>
                <a:gd name="connsiteX188" fmla="*/ 604991 w 2048870"/>
                <a:gd name="connsiteY188" fmla="*/ 900571 h 1413227"/>
                <a:gd name="connsiteX189" fmla="*/ 606719 w 2048870"/>
                <a:gd name="connsiteY189" fmla="*/ 895386 h 1413227"/>
                <a:gd name="connsiteX190" fmla="*/ 615362 w 2048870"/>
                <a:gd name="connsiteY190" fmla="*/ 891928 h 1413227"/>
                <a:gd name="connsiteX191" fmla="*/ 620548 w 2048870"/>
                <a:gd name="connsiteY191" fmla="*/ 886743 h 1413227"/>
                <a:gd name="connsiteX192" fmla="*/ 639562 w 2048870"/>
                <a:gd name="connsiteY192" fmla="*/ 879829 h 1413227"/>
                <a:gd name="connsiteX193" fmla="*/ 653390 w 2048870"/>
                <a:gd name="connsiteY193" fmla="*/ 883286 h 1413227"/>
                <a:gd name="connsiteX194" fmla="*/ 660304 w 2048870"/>
                <a:gd name="connsiteY194" fmla="*/ 885014 h 1413227"/>
                <a:gd name="connsiteX195" fmla="*/ 668947 w 2048870"/>
                <a:gd name="connsiteY195" fmla="*/ 886743 h 1413227"/>
                <a:gd name="connsiteX196" fmla="*/ 675861 w 2048870"/>
                <a:gd name="connsiteY196" fmla="*/ 890200 h 1413227"/>
                <a:gd name="connsiteX197" fmla="*/ 682775 w 2048870"/>
                <a:gd name="connsiteY197" fmla="*/ 891928 h 1413227"/>
                <a:gd name="connsiteX198" fmla="*/ 687961 w 2048870"/>
                <a:gd name="connsiteY198" fmla="*/ 895386 h 1413227"/>
                <a:gd name="connsiteX199" fmla="*/ 700061 w 2048870"/>
                <a:gd name="connsiteY199" fmla="*/ 898843 h 1413227"/>
                <a:gd name="connsiteX200" fmla="*/ 706975 w 2048870"/>
                <a:gd name="connsiteY200" fmla="*/ 904028 h 1413227"/>
                <a:gd name="connsiteX201" fmla="*/ 720803 w 2048870"/>
                <a:gd name="connsiteY201" fmla="*/ 907485 h 1413227"/>
                <a:gd name="connsiteX202" fmla="*/ 727718 w 2048870"/>
                <a:gd name="connsiteY202" fmla="*/ 905757 h 1413227"/>
                <a:gd name="connsiteX203" fmla="*/ 736360 w 2048870"/>
                <a:gd name="connsiteY203" fmla="*/ 904028 h 1413227"/>
                <a:gd name="connsiteX204" fmla="*/ 738089 w 2048870"/>
                <a:gd name="connsiteY204" fmla="*/ 910942 h 1413227"/>
                <a:gd name="connsiteX205" fmla="*/ 760560 w 2048870"/>
                <a:gd name="connsiteY205" fmla="*/ 904028 h 1413227"/>
                <a:gd name="connsiteX206" fmla="*/ 770931 w 2048870"/>
                <a:gd name="connsiteY206" fmla="*/ 895386 h 1413227"/>
                <a:gd name="connsiteX207" fmla="*/ 776117 w 2048870"/>
                <a:gd name="connsiteY207" fmla="*/ 909214 h 1413227"/>
                <a:gd name="connsiteX208" fmla="*/ 783031 w 2048870"/>
                <a:gd name="connsiteY208" fmla="*/ 914400 h 1413227"/>
                <a:gd name="connsiteX209" fmla="*/ 788217 w 2048870"/>
                <a:gd name="connsiteY209" fmla="*/ 919585 h 1413227"/>
                <a:gd name="connsiteX210" fmla="*/ 793402 w 2048870"/>
                <a:gd name="connsiteY210" fmla="*/ 923042 h 1413227"/>
                <a:gd name="connsiteX211" fmla="*/ 798588 w 2048870"/>
                <a:gd name="connsiteY211" fmla="*/ 928228 h 1413227"/>
                <a:gd name="connsiteX212" fmla="*/ 815873 w 2048870"/>
                <a:gd name="connsiteY212" fmla="*/ 935142 h 1413227"/>
                <a:gd name="connsiteX213" fmla="*/ 821059 w 2048870"/>
                <a:gd name="connsiteY213" fmla="*/ 926499 h 1413227"/>
                <a:gd name="connsiteX214" fmla="*/ 824516 w 2048870"/>
                <a:gd name="connsiteY214" fmla="*/ 910942 h 1413227"/>
                <a:gd name="connsiteX215" fmla="*/ 833159 w 2048870"/>
                <a:gd name="connsiteY215" fmla="*/ 912671 h 1413227"/>
                <a:gd name="connsiteX216" fmla="*/ 838344 w 2048870"/>
                <a:gd name="connsiteY216" fmla="*/ 926499 h 1413227"/>
                <a:gd name="connsiteX217" fmla="*/ 841802 w 2048870"/>
                <a:gd name="connsiteY217" fmla="*/ 929956 h 1413227"/>
                <a:gd name="connsiteX218" fmla="*/ 850444 w 2048870"/>
                <a:gd name="connsiteY218" fmla="*/ 948970 h 1413227"/>
                <a:gd name="connsiteX219" fmla="*/ 853901 w 2048870"/>
                <a:gd name="connsiteY219" fmla="*/ 954156 h 1413227"/>
                <a:gd name="connsiteX220" fmla="*/ 859087 w 2048870"/>
                <a:gd name="connsiteY220" fmla="*/ 988727 h 1413227"/>
                <a:gd name="connsiteX221" fmla="*/ 864273 w 2048870"/>
                <a:gd name="connsiteY221" fmla="*/ 1009469 h 1413227"/>
                <a:gd name="connsiteX222" fmla="*/ 878101 w 2048870"/>
                <a:gd name="connsiteY222" fmla="*/ 1012927 h 1413227"/>
                <a:gd name="connsiteX223" fmla="*/ 885015 w 2048870"/>
                <a:gd name="connsiteY223" fmla="*/ 1016384 h 1413227"/>
                <a:gd name="connsiteX224" fmla="*/ 888472 w 2048870"/>
                <a:gd name="connsiteY224" fmla="*/ 1021569 h 1413227"/>
                <a:gd name="connsiteX225" fmla="*/ 900572 w 2048870"/>
                <a:gd name="connsiteY225" fmla="*/ 1026755 h 1413227"/>
                <a:gd name="connsiteX226" fmla="*/ 905758 w 2048870"/>
                <a:gd name="connsiteY226" fmla="*/ 1033669 h 1413227"/>
                <a:gd name="connsiteX227" fmla="*/ 909215 w 2048870"/>
                <a:gd name="connsiteY227" fmla="*/ 1040583 h 1413227"/>
                <a:gd name="connsiteX228" fmla="*/ 912672 w 2048870"/>
                <a:gd name="connsiteY228" fmla="*/ 1045769 h 1413227"/>
                <a:gd name="connsiteX229" fmla="*/ 921315 w 2048870"/>
                <a:gd name="connsiteY229" fmla="*/ 1061326 h 1413227"/>
                <a:gd name="connsiteX230" fmla="*/ 928229 w 2048870"/>
                <a:gd name="connsiteY230" fmla="*/ 1082068 h 1413227"/>
                <a:gd name="connsiteX231" fmla="*/ 929957 w 2048870"/>
                <a:gd name="connsiteY231" fmla="*/ 1088983 h 1413227"/>
                <a:gd name="connsiteX232" fmla="*/ 940329 w 2048870"/>
                <a:gd name="connsiteY232" fmla="*/ 1095897 h 1413227"/>
                <a:gd name="connsiteX233" fmla="*/ 959343 w 2048870"/>
                <a:gd name="connsiteY233" fmla="*/ 1097625 h 1413227"/>
                <a:gd name="connsiteX234" fmla="*/ 967985 w 2048870"/>
                <a:gd name="connsiteY234" fmla="*/ 1101082 h 1413227"/>
                <a:gd name="connsiteX235" fmla="*/ 973171 w 2048870"/>
                <a:gd name="connsiteY235" fmla="*/ 1106268 h 1413227"/>
                <a:gd name="connsiteX236" fmla="*/ 978357 w 2048870"/>
                <a:gd name="connsiteY236" fmla="*/ 1109725 h 1413227"/>
                <a:gd name="connsiteX237" fmla="*/ 983542 w 2048870"/>
                <a:gd name="connsiteY237" fmla="*/ 1118368 h 1413227"/>
                <a:gd name="connsiteX238" fmla="*/ 985271 w 2048870"/>
                <a:gd name="connsiteY238" fmla="*/ 1132196 h 1413227"/>
                <a:gd name="connsiteX239" fmla="*/ 992185 w 2048870"/>
                <a:gd name="connsiteY239" fmla="*/ 1139110 h 1413227"/>
                <a:gd name="connsiteX240" fmla="*/ 1006013 w 2048870"/>
                <a:gd name="connsiteY240" fmla="*/ 1147753 h 1413227"/>
                <a:gd name="connsiteX241" fmla="*/ 1019842 w 2048870"/>
                <a:gd name="connsiteY241" fmla="*/ 1165038 h 1413227"/>
                <a:gd name="connsiteX242" fmla="*/ 1012927 w 2048870"/>
                <a:gd name="connsiteY242" fmla="*/ 1168496 h 1413227"/>
                <a:gd name="connsiteX243" fmla="*/ 1009470 w 2048870"/>
                <a:gd name="connsiteY243" fmla="*/ 1173681 h 1413227"/>
                <a:gd name="connsiteX244" fmla="*/ 997371 w 2048870"/>
                <a:gd name="connsiteY244" fmla="*/ 1177138 h 1413227"/>
                <a:gd name="connsiteX245" fmla="*/ 990456 w 2048870"/>
                <a:gd name="connsiteY245" fmla="*/ 1182324 h 1413227"/>
                <a:gd name="connsiteX246" fmla="*/ 973171 w 2048870"/>
                <a:gd name="connsiteY246" fmla="*/ 1182324 h 1413227"/>
                <a:gd name="connsiteX247" fmla="*/ 971442 w 2048870"/>
                <a:gd name="connsiteY247" fmla="*/ 1161581 h 1413227"/>
                <a:gd name="connsiteX248" fmla="*/ 962800 w 2048870"/>
                <a:gd name="connsiteY248" fmla="*/ 1171953 h 1413227"/>
                <a:gd name="connsiteX249" fmla="*/ 959343 w 2048870"/>
                <a:gd name="connsiteY249" fmla="*/ 1178867 h 1413227"/>
                <a:gd name="connsiteX250" fmla="*/ 955885 w 2048870"/>
                <a:gd name="connsiteY250" fmla="*/ 1184052 h 1413227"/>
                <a:gd name="connsiteX251" fmla="*/ 947243 w 2048870"/>
                <a:gd name="connsiteY251" fmla="*/ 1187510 h 1413227"/>
                <a:gd name="connsiteX252" fmla="*/ 940329 w 2048870"/>
                <a:gd name="connsiteY252" fmla="*/ 1190967 h 1413227"/>
                <a:gd name="connsiteX253" fmla="*/ 935143 w 2048870"/>
                <a:gd name="connsiteY253" fmla="*/ 1189238 h 1413227"/>
                <a:gd name="connsiteX254" fmla="*/ 929957 w 2048870"/>
                <a:gd name="connsiteY254" fmla="*/ 1171953 h 1413227"/>
                <a:gd name="connsiteX255" fmla="*/ 926500 w 2048870"/>
                <a:gd name="connsiteY255" fmla="*/ 1165038 h 1413227"/>
                <a:gd name="connsiteX256" fmla="*/ 921315 w 2048870"/>
                <a:gd name="connsiteY256" fmla="*/ 1178867 h 1413227"/>
                <a:gd name="connsiteX257" fmla="*/ 917857 w 2048870"/>
                <a:gd name="connsiteY257" fmla="*/ 1182324 h 1413227"/>
                <a:gd name="connsiteX258" fmla="*/ 914400 w 2048870"/>
                <a:gd name="connsiteY258" fmla="*/ 1194424 h 1413227"/>
                <a:gd name="connsiteX259" fmla="*/ 909215 w 2048870"/>
                <a:gd name="connsiteY259" fmla="*/ 1199609 h 1413227"/>
                <a:gd name="connsiteX260" fmla="*/ 886744 w 2048870"/>
                <a:gd name="connsiteY260" fmla="*/ 1180595 h 1413227"/>
                <a:gd name="connsiteX261" fmla="*/ 883287 w 2048870"/>
                <a:gd name="connsiteY261" fmla="*/ 1189238 h 1413227"/>
                <a:gd name="connsiteX262" fmla="*/ 879830 w 2048870"/>
                <a:gd name="connsiteY262" fmla="*/ 1194424 h 1413227"/>
                <a:gd name="connsiteX263" fmla="*/ 874644 w 2048870"/>
                <a:gd name="connsiteY263" fmla="*/ 1204795 h 1413227"/>
                <a:gd name="connsiteX264" fmla="*/ 879830 w 2048870"/>
                <a:gd name="connsiteY264" fmla="*/ 1211709 h 1413227"/>
                <a:gd name="connsiteX265" fmla="*/ 890201 w 2048870"/>
                <a:gd name="connsiteY265" fmla="*/ 1215166 h 1413227"/>
                <a:gd name="connsiteX266" fmla="*/ 893658 w 2048870"/>
                <a:gd name="connsiteY266" fmla="*/ 1235909 h 1413227"/>
                <a:gd name="connsiteX267" fmla="*/ 891929 w 2048870"/>
                <a:gd name="connsiteY267" fmla="*/ 1258380 h 1413227"/>
                <a:gd name="connsiteX268" fmla="*/ 890201 w 2048870"/>
                <a:gd name="connsiteY268" fmla="*/ 1263565 h 1413227"/>
                <a:gd name="connsiteX269" fmla="*/ 878101 w 2048870"/>
                <a:gd name="connsiteY269" fmla="*/ 1275665 h 1413227"/>
                <a:gd name="connsiteX270" fmla="*/ 871187 w 2048870"/>
                <a:gd name="connsiteY270" fmla="*/ 1282579 h 1413227"/>
                <a:gd name="connsiteX271" fmla="*/ 876372 w 2048870"/>
                <a:gd name="connsiteY271" fmla="*/ 1287765 h 1413227"/>
                <a:gd name="connsiteX272" fmla="*/ 874644 w 2048870"/>
                <a:gd name="connsiteY272" fmla="*/ 1306779 h 1413227"/>
                <a:gd name="connsiteX273" fmla="*/ 869458 w 2048870"/>
                <a:gd name="connsiteY273" fmla="*/ 1308508 h 1413227"/>
                <a:gd name="connsiteX274" fmla="*/ 864273 w 2048870"/>
                <a:gd name="connsiteY274" fmla="*/ 1320607 h 1413227"/>
                <a:gd name="connsiteX275" fmla="*/ 858371 w 2048870"/>
                <a:gd name="connsiteY275" fmla="*/ 1338987 h 1413227"/>
                <a:gd name="connsiteX276" fmla="*/ 862544 w 2048870"/>
                <a:gd name="connsiteY276" fmla="*/ 1360364 h 1413227"/>
                <a:gd name="connsiteX277" fmla="*/ 857358 w 2048870"/>
                <a:gd name="connsiteY277" fmla="*/ 1363821 h 1413227"/>
                <a:gd name="connsiteX278" fmla="*/ 852173 w 2048870"/>
                <a:gd name="connsiteY278" fmla="*/ 1365550 h 1413227"/>
                <a:gd name="connsiteX279" fmla="*/ 850444 w 2048870"/>
                <a:gd name="connsiteY279" fmla="*/ 1370735 h 1413227"/>
                <a:gd name="connsiteX280" fmla="*/ 838344 w 2048870"/>
                <a:gd name="connsiteY280" fmla="*/ 1379378 h 1413227"/>
                <a:gd name="connsiteX281" fmla="*/ 841802 w 2048870"/>
                <a:gd name="connsiteY281" fmla="*/ 1389749 h 1413227"/>
                <a:gd name="connsiteX282" fmla="*/ 840497 w 2048870"/>
                <a:gd name="connsiteY282" fmla="*/ 1405535 h 1413227"/>
                <a:gd name="connsiteX283" fmla="*/ 835505 w 2048870"/>
                <a:gd name="connsiteY283" fmla="*/ 1401197 h 1413227"/>
                <a:gd name="connsiteX284" fmla="*/ 854324 w 2048870"/>
                <a:gd name="connsiteY284" fmla="*/ 1410492 h 1413227"/>
                <a:gd name="connsiteX285" fmla="*/ 885015 w 2048870"/>
                <a:gd name="connsiteY285" fmla="*/ 1408763 h 1413227"/>
                <a:gd name="connsiteX286" fmla="*/ 890201 w 2048870"/>
                <a:gd name="connsiteY286" fmla="*/ 1413103 h 1413227"/>
                <a:gd name="connsiteX287" fmla="*/ 921633 w 2048870"/>
                <a:gd name="connsiteY287" fmla="*/ 1403013 h 1413227"/>
                <a:gd name="connsiteX288" fmla="*/ 932427 w 2048870"/>
                <a:gd name="connsiteY288" fmla="*/ 1394371 h 1413227"/>
                <a:gd name="connsiteX289" fmla="*/ 933873 w 2048870"/>
                <a:gd name="connsiteY289" fmla="*/ 1386010 h 1413227"/>
                <a:gd name="connsiteX290" fmla="*/ 943362 w 2048870"/>
                <a:gd name="connsiteY290" fmla="*/ 1367278 h 1413227"/>
                <a:gd name="connsiteX291" fmla="*/ 943786 w 2048870"/>
                <a:gd name="connsiteY291" fmla="*/ 1362093 h 1413227"/>
                <a:gd name="connsiteX292" fmla="*/ 954157 w 2048870"/>
                <a:gd name="connsiteY292" fmla="*/ 1360364 h 1413227"/>
                <a:gd name="connsiteX293" fmla="*/ 993913 w 2048870"/>
                <a:gd name="connsiteY293" fmla="*/ 1356907 h 1413227"/>
                <a:gd name="connsiteX294" fmla="*/ 997371 w 2048870"/>
                <a:gd name="connsiteY294" fmla="*/ 1349993 h 1413227"/>
                <a:gd name="connsiteX295" fmla="*/ 1009470 w 2048870"/>
                <a:gd name="connsiteY295" fmla="*/ 1344807 h 1413227"/>
                <a:gd name="connsiteX296" fmla="*/ 997371 w 2048870"/>
                <a:gd name="connsiteY296" fmla="*/ 1334436 h 1413227"/>
                <a:gd name="connsiteX297" fmla="*/ 993913 w 2048870"/>
                <a:gd name="connsiteY297" fmla="*/ 1327522 h 1413227"/>
                <a:gd name="connsiteX298" fmla="*/ 988728 w 2048870"/>
                <a:gd name="connsiteY298" fmla="*/ 1322336 h 1413227"/>
                <a:gd name="connsiteX299" fmla="*/ 985271 w 2048870"/>
                <a:gd name="connsiteY299" fmla="*/ 1310236 h 1413227"/>
                <a:gd name="connsiteX300" fmla="*/ 981814 w 2048870"/>
                <a:gd name="connsiteY300" fmla="*/ 1299865 h 1413227"/>
                <a:gd name="connsiteX301" fmla="*/ 990456 w 2048870"/>
                <a:gd name="connsiteY301" fmla="*/ 1287765 h 1413227"/>
                <a:gd name="connsiteX302" fmla="*/ 992185 w 2048870"/>
                <a:gd name="connsiteY302" fmla="*/ 1292951 h 1413227"/>
                <a:gd name="connsiteX303" fmla="*/ 1014656 w 2048870"/>
                <a:gd name="connsiteY303" fmla="*/ 1299865 h 1413227"/>
                <a:gd name="connsiteX304" fmla="*/ 1016385 w 2048870"/>
                <a:gd name="connsiteY304" fmla="*/ 1294679 h 1413227"/>
                <a:gd name="connsiteX305" fmla="*/ 1018113 w 2048870"/>
                <a:gd name="connsiteY305" fmla="*/ 1284308 h 1413227"/>
                <a:gd name="connsiteX306" fmla="*/ 1031941 w 2048870"/>
                <a:gd name="connsiteY306" fmla="*/ 1270480 h 1413227"/>
                <a:gd name="connsiteX307" fmla="*/ 1037127 w 2048870"/>
                <a:gd name="connsiteY307" fmla="*/ 1265294 h 1413227"/>
                <a:gd name="connsiteX308" fmla="*/ 1038856 w 2048870"/>
                <a:gd name="connsiteY308" fmla="*/ 1260108 h 1413227"/>
                <a:gd name="connsiteX309" fmla="*/ 1054412 w 2048870"/>
                <a:gd name="connsiteY309" fmla="*/ 1251466 h 1413227"/>
                <a:gd name="connsiteX310" fmla="*/ 1063055 w 2048870"/>
                <a:gd name="connsiteY310" fmla="*/ 1242823 h 1413227"/>
                <a:gd name="connsiteX311" fmla="*/ 1068241 w 2048870"/>
                <a:gd name="connsiteY311" fmla="*/ 1223809 h 1413227"/>
                <a:gd name="connsiteX312" fmla="*/ 1069969 w 2048870"/>
                <a:gd name="connsiteY312" fmla="*/ 1215166 h 1413227"/>
                <a:gd name="connsiteX313" fmla="*/ 1075155 w 2048870"/>
                <a:gd name="connsiteY313" fmla="*/ 1201338 h 1413227"/>
                <a:gd name="connsiteX314" fmla="*/ 1080341 w 2048870"/>
                <a:gd name="connsiteY314" fmla="*/ 1175410 h 1413227"/>
                <a:gd name="connsiteX315" fmla="*/ 1082069 w 2048870"/>
                <a:gd name="connsiteY315" fmla="*/ 1170224 h 1413227"/>
                <a:gd name="connsiteX316" fmla="*/ 1083798 w 2048870"/>
                <a:gd name="connsiteY316" fmla="*/ 1161581 h 1413227"/>
                <a:gd name="connsiteX317" fmla="*/ 1085526 w 2048870"/>
                <a:gd name="connsiteY317" fmla="*/ 1156396 h 1413227"/>
                <a:gd name="connsiteX318" fmla="*/ 1087255 w 2048870"/>
                <a:gd name="connsiteY318" fmla="*/ 1147753 h 1413227"/>
                <a:gd name="connsiteX319" fmla="*/ 1097626 w 2048870"/>
                <a:gd name="connsiteY319" fmla="*/ 1128739 h 1413227"/>
                <a:gd name="connsiteX320" fmla="*/ 1099355 w 2048870"/>
                <a:gd name="connsiteY320" fmla="*/ 1111454 h 1413227"/>
                <a:gd name="connsiteX321" fmla="*/ 1106269 w 2048870"/>
                <a:gd name="connsiteY321" fmla="*/ 1097625 h 1413227"/>
                <a:gd name="connsiteX322" fmla="*/ 1111454 w 2048870"/>
                <a:gd name="connsiteY322" fmla="*/ 1095897 h 1413227"/>
                <a:gd name="connsiteX323" fmla="*/ 1127011 w 2048870"/>
                <a:gd name="connsiteY323" fmla="*/ 1094168 h 1413227"/>
                <a:gd name="connsiteX324" fmla="*/ 1132197 w 2048870"/>
                <a:gd name="connsiteY324" fmla="*/ 1088983 h 1413227"/>
                <a:gd name="connsiteX325" fmla="*/ 1166768 w 2048870"/>
                <a:gd name="connsiteY325" fmla="*/ 1083797 h 1413227"/>
                <a:gd name="connsiteX326" fmla="*/ 1175411 w 2048870"/>
                <a:gd name="connsiteY326" fmla="*/ 1073426 h 1413227"/>
                <a:gd name="connsiteX327" fmla="*/ 1177139 w 2048870"/>
                <a:gd name="connsiteY327" fmla="*/ 1061326 h 1413227"/>
                <a:gd name="connsiteX328" fmla="*/ 1170225 w 2048870"/>
                <a:gd name="connsiteY328" fmla="*/ 1047497 h 1413227"/>
                <a:gd name="connsiteX329" fmla="*/ 1163311 w 2048870"/>
                <a:gd name="connsiteY329" fmla="*/ 1050955 h 1413227"/>
                <a:gd name="connsiteX330" fmla="*/ 1166768 w 2048870"/>
                <a:gd name="connsiteY330" fmla="*/ 1068240 h 1413227"/>
                <a:gd name="connsiteX331" fmla="*/ 1170225 w 2048870"/>
                <a:gd name="connsiteY331" fmla="*/ 1076883 h 1413227"/>
                <a:gd name="connsiteX332" fmla="*/ 1182325 w 2048870"/>
                <a:gd name="connsiteY332" fmla="*/ 1080340 h 1413227"/>
                <a:gd name="connsiteX333" fmla="*/ 1206524 w 2048870"/>
                <a:gd name="connsiteY333" fmla="*/ 1078611 h 1413227"/>
                <a:gd name="connsiteX334" fmla="*/ 1211710 w 2048870"/>
                <a:gd name="connsiteY334" fmla="*/ 1073426 h 1413227"/>
                <a:gd name="connsiteX335" fmla="*/ 1218624 w 2048870"/>
                <a:gd name="connsiteY335" fmla="*/ 1057869 h 1413227"/>
                <a:gd name="connsiteX336" fmla="*/ 1220353 w 2048870"/>
                <a:gd name="connsiteY336" fmla="*/ 1044040 h 1413227"/>
                <a:gd name="connsiteX337" fmla="*/ 1218624 w 2048870"/>
                <a:gd name="connsiteY337" fmla="*/ 1014655 h 1413227"/>
                <a:gd name="connsiteX338" fmla="*/ 1211710 w 2048870"/>
                <a:gd name="connsiteY338" fmla="*/ 997370 h 1413227"/>
                <a:gd name="connsiteX339" fmla="*/ 1206524 w 2048870"/>
                <a:gd name="connsiteY339" fmla="*/ 993913 h 1413227"/>
                <a:gd name="connsiteX340" fmla="*/ 1184053 w 2048870"/>
                <a:gd name="connsiteY340" fmla="*/ 973170 h 1413227"/>
                <a:gd name="connsiteX341" fmla="*/ 1173682 w 2048870"/>
                <a:gd name="connsiteY341" fmla="*/ 962799 h 1413227"/>
                <a:gd name="connsiteX342" fmla="*/ 1168496 w 2048870"/>
                <a:gd name="connsiteY342" fmla="*/ 957613 h 1413227"/>
                <a:gd name="connsiteX343" fmla="*/ 1171954 w 2048870"/>
                <a:gd name="connsiteY343" fmla="*/ 961070 h 1413227"/>
                <a:gd name="connsiteX344" fmla="*/ 1178868 w 2048870"/>
                <a:gd name="connsiteY344" fmla="*/ 971441 h 1413227"/>
                <a:gd name="connsiteX345" fmla="*/ 1185782 w 2048870"/>
                <a:gd name="connsiteY345" fmla="*/ 980084 h 1413227"/>
                <a:gd name="connsiteX346" fmla="*/ 1190968 w 2048870"/>
                <a:gd name="connsiteY346" fmla="*/ 985270 h 1413227"/>
                <a:gd name="connsiteX347" fmla="*/ 1194425 w 2048870"/>
                <a:gd name="connsiteY347" fmla="*/ 993913 h 1413227"/>
                <a:gd name="connsiteX348" fmla="*/ 1206524 w 2048870"/>
                <a:gd name="connsiteY348" fmla="*/ 1007741 h 1413227"/>
                <a:gd name="connsiteX349" fmla="*/ 1208253 w 2048870"/>
                <a:gd name="connsiteY349" fmla="*/ 1014655 h 1413227"/>
                <a:gd name="connsiteX350" fmla="*/ 1211710 w 2048870"/>
                <a:gd name="connsiteY350" fmla="*/ 1023298 h 1413227"/>
                <a:gd name="connsiteX351" fmla="*/ 1213439 w 2048870"/>
                <a:gd name="connsiteY351" fmla="*/ 1035398 h 1413227"/>
                <a:gd name="connsiteX352" fmla="*/ 1215167 w 2048870"/>
                <a:gd name="connsiteY352" fmla="*/ 1044040 h 1413227"/>
                <a:gd name="connsiteX353" fmla="*/ 1220353 w 2048870"/>
                <a:gd name="connsiteY353" fmla="*/ 1045769 h 1413227"/>
                <a:gd name="connsiteX354" fmla="*/ 1223810 w 2048870"/>
                <a:gd name="connsiteY354" fmla="*/ 1050955 h 1413227"/>
                <a:gd name="connsiteX355" fmla="*/ 1234181 w 2048870"/>
                <a:gd name="connsiteY355" fmla="*/ 1063054 h 1413227"/>
                <a:gd name="connsiteX356" fmla="*/ 1253195 w 2048870"/>
                <a:gd name="connsiteY356" fmla="*/ 1057869 h 1413227"/>
                <a:gd name="connsiteX357" fmla="*/ 1258381 w 2048870"/>
                <a:gd name="connsiteY357" fmla="*/ 1054412 h 1413227"/>
                <a:gd name="connsiteX358" fmla="*/ 1265295 w 2048870"/>
                <a:gd name="connsiteY358" fmla="*/ 1050955 h 1413227"/>
                <a:gd name="connsiteX359" fmla="*/ 1267023 w 2048870"/>
                <a:gd name="connsiteY359" fmla="*/ 1056140 h 1413227"/>
                <a:gd name="connsiteX360" fmla="*/ 1268752 w 2048870"/>
                <a:gd name="connsiteY360" fmla="*/ 1068240 h 1413227"/>
                <a:gd name="connsiteX361" fmla="*/ 1279123 w 2048870"/>
                <a:gd name="connsiteY361" fmla="*/ 1064783 h 1413227"/>
                <a:gd name="connsiteX362" fmla="*/ 1289495 w 2048870"/>
                <a:gd name="connsiteY362" fmla="*/ 1056140 h 1413227"/>
                <a:gd name="connsiteX363" fmla="*/ 1299866 w 2048870"/>
                <a:gd name="connsiteY363" fmla="*/ 1045769 h 1413227"/>
                <a:gd name="connsiteX364" fmla="*/ 1305051 w 2048870"/>
                <a:gd name="connsiteY364" fmla="*/ 1042312 h 1413227"/>
                <a:gd name="connsiteX365" fmla="*/ 1294680 w 2048870"/>
                <a:gd name="connsiteY365" fmla="*/ 1061326 h 1413227"/>
                <a:gd name="connsiteX366" fmla="*/ 1286037 w 2048870"/>
                <a:gd name="connsiteY366" fmla="*/ 1075154 h 1413227"/>
                <a:gd name="connsiteX367" fmla="*/ 1272209 w 2048870"/>
                <a:gd name="connsiteY367" fmla="*/ 1082068 h 1413227"/>
                <a:gd name="connsiteX368" fmla="*/ 1265295 w 2048870"/>
                <a:gd name="connsiteY368" fmla="*/ 1085525 h 1413227"/>
                <a:gd name="connsiteX369" fmla="*/ 1260109 w 2048870"/>
                <a:gd name="connsiteY369" fmla="*/ 1087254 h 1413227"/>
                <a:gd name="connsiteX370" fmla="*/ 1251467 w 2048870"/>
                <a:gd name="connsiteY370" fmla="*/ 1092440 h 1413227"/>
                <a:gd name="connsiteX371" fmla="*/ 1232453 w 2048870"/>
                <a:gd name="connsiteY371" fmla="*/ 1095897 h 1413227"/>
                <a:gd name="connsiteX372" fmla="*/ 1230724 w 2048870"/>
                <a:gd name="connsiteY372" fmla="*/ 1121825 h 1413227"/>
                <a:gd name="connsiteX373" fmla="*/ 1223810 w 2048870"/>
                <a:gd name="connsiteY373" fmla="*/ 1128739 h 1413227"/>
                <a:gd name="connsiteX374" fmla="*/ 1216896 w 2048870"/>
                <a:gd name="connsiteY374" fmla="*/ 1130468 h 1413227"/>
                <a:gd name="connsiteX375" fmla="*/ 1248009 w 2048870"/>
                <a:gd name="connsiteY375" fmla="*/ 1123553 h 1413227"/>
                <a:gd name="connsiteX376" fmla="*/ 1275666 w 2048870"/>
                <a:gd name="connsiteY376" fmla="*/ 1125282 h 1413227"/>
                <a:gd name="connsiteX377" fmla="*/ 1282580 w 2048870"/>
                <a:gd name="connsiteY377" fmla="*/ 1128739 h 1413227"/>
                <a:gd name="connsiteX378" fmla="*/ 1318880 w 2048870"/>
                <a:gd name="connsiteY378" fmla="*/ 1127010 h 1413227"/>
                <a:gd name="connsiteX379" fmla="*/ 1330980 w 2048870"/>
                <a:gd name="connsiteY379" fmla="*/ 1123553 h 1413227"/>
                <a:gd name="connsiteX380" fmla="*/ 1339622 w 2048870"/>
                <a:gd name="connsiteY380" fmla="*/ 1118368 h 1413227"/>
                <a:gd name="connsiteX381" fmla="*/ 1356908 w 2048870"/>
                <a:gd name="connsiteY381" fmla="*/ 1123553 h 1413227"/>
                <a:gd name="connsiteX382" fmla="*/ 1384564 w 2048870"/>
                <a:gd name="connsiteY382" fmla="*/ 1114911 h 1413227"/>
                <a:gd name="connsiteX383" fmla="*/ 1391479 w 2048870"/>
                <a:gd name="connsiteY383" fmla="*/ 1109725 h 1413227"/>
                <a:gd name="connsiteX384" fmla="*/ 1400121 w 2048870"/>
                <a:gd name="connsiteY384" fmla="*/ 1095897 h 1413227"/>
                <a:gd name="connsiteX385" fmla="*/ 1403578 w 2048870"/>
                <a:gd name="connsiteY385" fmla="*/ 1090711 h 1413227"/>
                <a:gd name="connsiteX386" fmla="*/ 1408764 w 2048870"/>
                <a:gd name="connsiteY386" fmla="*/ 1088983 h 1413227"/>
                <a:gd name="connsiteX387" fmla="*/ 1415678 w 2048870"/>
                <a:gd name="connsiteY387" fmla="*/ 1097625 h 1413227"/>
                <a:gd name="connsiteX388" fmla="*/ 1419135 w 2048870"/>
                <a:gd name="connsiteY388" fmla="*/ 1104539 h 1413227"/>
                <a:gd name="connsiteX389" fmla="*/ 1424321 w 2048870"/>
                <a:gd name="connsiteY389" fmla="*/ 1111454 h 1413227"/>
                <a:gd name="connsiteX390" fmla="*/ 1434692 w 2048870"/>
                <a:gd name="connsiteY390" fmla="*/ 1109725 h 1413227"/>
                <a:gd name="connsiteX391" fmla="*/ 1438149 w 2048870"/>
                <a:gd name="connsiteY391" fmla="*/ 1101082 h 1413227"/>
                <a:gd name="connsiteX392" fmla="*/ 1446792 w 2048870"/>
                <a:gd name="connsiteY392" fmla="*/ 1076883 h 1413227"/>
                <a:gd name="connsiteX393" fmla="*/ 1455435 w 2048870"/>
                <a:gd name="connsiteY393" fmla="*/ 1082068 h 1413227"/>
                <a:gd name="connsiteX394" fmla="*/ 1457163 w 2048870"/>
                <a:gd name="connsiteY394" fmla="*/ 1097625 h 1413227"/>
                <a:gd name="connsiteX395" fmla="*/ 1462349 w 2048870"/>
                <a:gd name="connsiteY395" fmla="*/ 1104539 h 1413227"/>
                <a:gd name="connsiteX396" fmla="*/ 1464078 w 2048870"/>
                <a:gd name="connsiteY396" fmla="*/ 1116639 h 1413227"/>
                <a:gd name="connsiteX397" fmla="*/ 1450249 w 2048870"/>
                <a:gd name="connsiteY397" fmla="*/ 1132196 h 1413227"/>
                <a:gd name="connsiteX398" fmla="*/ 1436421 w 2048870"/>
                <a:gd name="connsiteY398" fmla="*/ 1149482 h 1413227"/>
                <a:gd name="connsiteX399" fmla="*/ 1427778 w 2048870"/>
                <a:gd name="connsiteY399" fmla="*/ 1158124 h 1413227"/>
                <a:gd name="connsiteX400" fmla="*/ 1415678 w 2048870"/>
                <a:gd name="connsiteY400" fmla="*/ 1163310 h 1413227"/>
                <a:gd name="connsiteX401" fmla="*/ 1400121 w 2048870"/>
                <a:gd name="connsiteY401" fmla="*/ 1171953 h 1413227"/>
                <a:gd name="connsiteX402" fmla="*/ 1398393 w 2048870"/>
                <a:gd name="connsiteY402" fmla="*/ 1177138 h 1413227"/>
                <a:gd name="connsiteX403" fmla="*/ 1389750 w 2048870"/>
                <a:gd name="connsiteY403" fmla="*/ 1189238 h 1413227"/>
                <a:gd name="connsiteX404" fmla="*/ 1384564 w 2048870"/>
                <a:gd name="connsiteY404" fmla="*/ 1197881 h 1413227"/>
                <a:gd name="connsiteX405" fmla="*/ 1382836 w 2048870"/>
                <a:gd name="connsiteY405" fmla="*/ 1203066 h 1413227"/>
                <a:gd name="connsiteX406" fmla="*/ 1374193 w 2048870"/>
                <a:gd name="connsiteY406" fmla="*/ 1211709 h 1413227"/>
                <a:gd name="connsiteX407" fmla="*/ 1369008 w 2048870"/>
                <a:gd name="connsiteY407" fmla="*/ 1216895 h 1413227"/>
                <a:gd name="connsiteX408" fmla="*/ 1356908 w 2048870"/>
                <a:gd name="connsiteY408" fmla="*/ 1230723 h 1413227"/>
                <a:gd name="connsiteX409" fmla="*/ 1351722 w 2048870"/>
                <a:gd name="connsiteY409" fmla="*/ 1237637 h 1413227"/>
                <a:gd name="connsiteX410" fmla="*/ 1349994 w 2048870"/>
                <a:gd name="connsiteY410" fmla="*/ 1242823 h 1413227"/>
                <a:gd name="connsiteX411" fmla="*/ 1344808 w 2048870"/>
                <a:gd name="connsiteY411" fmla="*/ 1253194 h 1413227"/>
                <a:gd name="connsiteX412" fmla="*/ 1377650 w 2048870"/>
                <a:gd name="connsiteY412" fmla="*/ 1253194 h 1413227"/>
                <a:gd name="connsiteX413" fmla="*/ 1386293 w 2048870"/>
                <a:gd name="connsiteY413" fmla="*/ 1246280 h 1413227"/>
                <a:gd name="connsiteX414" fmla="*/ 1391479 w 2048870"/>
                <a:gd name="connsiteY414" fmla="*/ 1244552 h 1413227"/>
                <a:gd name="connsiteX415" fmla="*/ 1412221 w 2048870"/>
                <a:gd name="connsiteY415" fmla="*/ 1248009 h 1413227"/>
                <a:gd name="connsiteX416" fmla="*/ 1415678 w 2048870"/>
                <a:gd name="connsiteY416" fmla="*/ 1253194 h 1413227"/>
                <a:gd name="connsiteX417" fmla="*/ 1426050 w 2048870"/>
                <a:gd name="connsiteY417" fmla="*/ 1260108 h 1413227"/>
                <a:gd name="connsiteX418" fmla="*/ 1451978 w 2048870"/>
                <a:gd name="connsiteY418" fmla="*/ 1258380 h 1413227"/>
                <a:gd name="connsiteX419" fmla="*/ 1457163 w 2048870"/>
                <a:gd name="connsiteY419" fmla="*/ 1253194 h 1413227"/>
                <a:gd name="connsiteX420" fmla="*/ 1465806 w 2048870"/>
                <a:gd name="connsiteY420" fmla="*/ 1248009 h 1413227"/>
                <a:gd name="connsiteX421" fmla="*/ 1483092 w 2048870"/>
                <a:gd name="connsiteY421" fmla="*/ 1249737 h 1413227"/>
                <a:gd name="connsiteX422" fmla="*/ 1491734 w 2048870"/>
                <a:gd name="connsiteY422" fmla="*/ 1258380 h 1413227"/>
                <a:gd name="connsiteX423" fmla="*/ 1502106 w 2048870"/>
                <a:gd name="connsiteY423" fmla="*/ 1272208 h 1413227"/>
                <a:gd name="connsiteX424" fmla="*/ 1503834 w 2048870"/>
                <a:gd name="connsiteY424" fmla="*/ 1289494 h 1413227"/>
                <a:gd name="connsiteX425" fmla="*/ 1514205 w 2048870"/>
                <a:gd name="connsiteY425" fmla="*/ 1301593 h 1413227"/>
                <a:gd name="connsiteX426" fmla="*/ 1517662 w 2048870"/>
                <a:gd name="connsiteY426" fmla="*/ 1306779 h 1413227"/>
                <a:gd name="connsiteX427" fmla="*/ 1515934 w 2048870"/>
                <a:gd name="connsiteY427" fmla="*/ 1355178 h 1413227"/>
                <a:gd name="connsiteX428" fmla="*/ 1509020 w 2048870"/>
                <a:gd name="connsiteY428" fmla="*/ 1360364 h 1413227"/>
                <a:gd name="connsiteX429" fmla="*/ 1503834 w 2048870"/>
                <a:gd name="connsiteY429" fmla="*/ 1370735 h 1413227"/>
                <a:gd name="connsiteX430" fmla="*/ 1534948 w 2048870"/>
                <a:gd name="connsiteY430" fmla="*/ 1374192 h 1413227"/>
                <a:gd name="connsiteX431" fmla="*/ 1540133 w 2048870"/>
                <a:gd name="connsiteY431" fmla="*/ 1377649 h 1413227"/>
                <a:gd name="connsiteX432" fmla="*/ 1559147 w 2048870"/>
                <a:gd name="connsiteY432" fmla="*/ 1375921 h 1413227"/>
                <a:gd name="connsiteX433" fmla="*/ 1564333 w 2048870"/>
                <a:gd name="connsiteY433" fmla="*/ 1372464 h 1413227"/>
                <a:gd name="connsiteX434" fmla="*/ 1579890 w 2048870"/>
                <a:gd name="connsiteY434" fmla="*/ 1370735 h 1413227"/>
                <a:gd name="connsiteX435" fmla="*/ 1597175 w 2048870"/>
                <a:gd name="connsiteY435" fmla="*/ 1363821 h 1413227"/>
                <a:gd name="connsiteX436" fmla="*/ 1600633 w 2048870"/>
                <a:gd name="connsiteY436" fmla="*/ 1360364 h 1413227"/>
                <a:gd name="connsiteX437" fmla="*/ 1612732 w 2048870"/>
                <a:gd name="connsiteY437" fmla="*/ 1341350 h 1413227"/>
                <a:gd name="connsiteX438" fmla="*/ 1617918 w 2048870"/>
                <a:gd name="connsiteY438" fmla="*/ 1305051 h 1413227"/>
                <a:gd name="connsiteX439" fmla="*/ 1623104 w 2048870"/>
                <a:gd name="connsiteY439" fmla="*/ 1301593 h 1413227"/>
                <a:gd name="connsiteX440" fmla="*/ 1624832 w 2048870"/>
                <a:gd name="connsiteY440" fmla="*/ 1284308 h 1413227"/>
                <a:gd name="connsiteX441" fmla="*/ 1631746 w 2048870"/>
                <a:gd name="connsiteY441" fmla="*/ 1270480 h 1413227"/>
                <a:gd name="connsiteX442" fmla="*/ 1643846 w 2048870"/>
                <a:gd name="connsiteY442" fmla="*/ 1263565 h 1413227"/>
                <a:gd name="connsiteX443" fmla="*/ 1669774 w 2048870"/>
                <a:gd name="connsiteY443" fmla="*/ 1260108 h 1413227"/>
                <a:gd name="connsiteX444" fmla="*/ 1681874 w 2048870"/>
                <a:gd name="connsiteY444" fmla="*/ 1254923 h 1413227"/>
                <a:gd name="connsiteX445" fmla="*/ 1687060 w 2048870"/>
                <a:gd name="connsiteY445" fmla="*/ 1253194 h 1413227"/>
                <a:gd name="connsiteX446" fmla="*/ 1702617 w 2048870"/>
                <a:gd name="connsiteY446" fmla="*/ 1249737 h 1413227"/>
                <a:gd name="connsiteX447" fmla="*/ 1704345 w 2048870"/>
                <a:gd name="connsiteY447" fmla="*/ 1232452 h 1413227"/>
                <a:gd name="connsiteX448" fmla="*/ 1706074 w 2048870"/>
                <a:gd name="connsiteY448" fmla="*/ 1208252 h 1413227"/>
                <a:gd name="connsiteX449" fmla="*/ 1711259 w 2048870"/>
                <a:gd name="connsiteY449" fmla="*/ 1201338 h 1413227"/>
                <a:gd name="connsiteX450" fmla="*/ 1718174 w 2048870"/>
                <a:gd name="connsiteY450" fmla="*/ 1192695 h 1413227"/>
                <a:gd name="connsiteX451" fmla="*/ 1725088 w 2048870"/>
                <a:gd name="connsiteY451" fmla="*/ 1189238 h 1413227"/>
                <a:gd name="connsiteX452" fmla="*/ 1735459 w 2048870"/>
                <a:gd name="connsiteY452" fmla="*/ 1184052 h 1413227"/>
                <a:gd name="connsiteX453" fmla="*/ 1773487 w 2048870"/>
                <a:gd name="connsiteY453" fmla="*/ 1189238 h 1413227"/>
                <a:gd name="connsiteX454" fmla="*/ 1778673 w 2048870"/>
                <a:gd name="connsiteY454" fmla="*/ 1194424 h 1413227"/>
                <a:gd name="connsiteX455" fmla="*/ 1808058 w 2048870"/>
                <a:gd name="connsiteY455" fmla="*/ 1187510 h 1413227"/>
                <a:gd name="connsiteX456" fmla="*/ 1811515 w 2048870"/>
                <a:gd name="connsiteY456" fmla="*/ 1180595 h 1413227"/>
                <a:gd name="connsiteX457" fmla="*/ 1818429 w 2048870"/>
                <a:gd name="connsiteY457" fmla="*/ 1171953 h 1413227"/>
                <a:gd name="connsiteX458" fmla="*/ 1825343 w 2048870"/>
                <a:gd name="connsiteY458" fmla="*/ 1158124 h 1413227"/>
                <a:gd name="connsiteX459" fmla="*/ 1827072 w 2048870"/>
                <a:gd name="connsiteY459" fmla="*/ 1151210 h 1413227"/>
                <a:gd name="connsiteX460" fmla="*/ 1833986 w 2048870"/>
                <a:gd name="connsiteY460" fmla="*/ 1133925 h 1413227"/>
                <a:gd name="connsiteX461" fmla="*/ 1820158 w 2048870"/>
                <a:gd name="connsiteY461" fmla="*/ 1128739 h 1413227"/>
                <a:gd name="connsiteX462" fmla="*/ 1816701 w 2048870"/>
                <a:gd name="connsiteY462" fmla="*/ 1123553 h 1413227"/>
                <a:gd name="connsiteX463" fmla="*/ 1820158 w 2048870"/>
                <a:gd name="connsiteY463" fmla="*/ 1118368 h 1413227"/>
                <a:gd name="connsiteX464" fmla="*/ 1825343 w 2048870"/>
                <a:gd name="connsiteY464" fmla="*/ 1111454 h 1413227"/>
                <a:gd name="connsiteX465" fmla="*/ 1828800 w 2048870"/>
                <a:gd name="connsiteY465" fmla="*/ 1099354 h 1413227"/>
                <a:gd name="connsiteX466" fmla="*/ 1832257 w 2048870"/>
                <a:gd name="connsiteY466" fmla="*/ 1094168 h 1413227"/>
                <a:gd name="connsiteX467" fmla="*/ 1830529 w 2048870"/>
                <a:gd name="connsiteY467" fmla="*/ 1083797 h 1413227"/>
                <a:gd name="connsiteX468" fmla="*/ 1816701 w 2048870"/>
                <a:gd name="connsiteY468" fmla="*/ 1087254 h 1413227"/>
                <a:gd name="connsiteX469" fmla="*/ 1789044 w 2048870"/>
                <a:gd name="connsiteY469" fmla="*/ 1092440 h 1413227"/>
                <a:gd name="connsiteX470" fmla="*/ 1778673 w 2048870"/>
                <a:gd name="connsiteY470" fmla="*/ 1095897 h 1413227"/>
                <a:gd name="connsiteX471" fmla="*/ 1771758 w 2048870"/>
                <a:gd name="connsiteY471" fmla="*/ 1099354 h 1413227"/>
                <a:gd name="connsiteX472" fmla="*/ 1766573 w 2048870"/>
                <a:gd name="connsiteY472" fmla="*/ 1116639 h 1413227"/>
                <a:gd name="connsiteX473" fmla="*/ 1756202 w 2048870"/>
                <a:gd name="connsiteY473" fmla="*/ 1118368 h 1413227"/>
                <a:gd name="connsiteX474" fmla="*/ 1738916 w 2048870"/>
                <a:gd name="connsiteY474" fmla="*/ 1130468 h 1413227"/>
                <a:gd name="connsiteX475" fmla="*/ 1718174 w 2048870"/>
                <a:gd name="connsiteY475" fmla="*/ 1140839 h 1413227"/>
                <a:gd name="connsiteX476" fmla="*/ 1709531 w 2048870"/>
                <a:gd name="connsiteY476" fmla="*/ 1146024 h 1413227"/>
                <a:gd name="connsiteX477" fmla="*/ 1707802 w 2048870"/>
                <a:gd name="connsiteY477" fmla="*/ 1151210 h 1413227"/>
                <a:gd name="connsiteX478" fmla="*/ 1700888 w 2048870"/>
                <a:gd name="connsiteY478" fmla="*/ 1154667 h 1413227"/>
                <a:gd name="connsiteX479" fmla="*/ 1647303 w 2048870"/>
                <a:gd name="connsiteY479" fmla="*/ 1152939 h 1413227"/>
                <a:gd name="connsiteX480" fmla="*/ 1650760 w 2048870"/>
                <a:gd name="connsiteY480" fmla="*/ 1142567 h 1413227"/>
                <a:gd name="connsiteX481" fmla="*/ 1649032 w 2048870"/>
                <a:gd name="connsiteY481" fmla="*/ 1120096 h 1413227"/>
                <a:gd name="connsiteX482" fmla="*/ 1598904 w 2048870"/>
                <a:gd name="connsiteY482" fmla="*/ 1114911 h 1413227"/>
                <a:gd name="connsiteX483" fmla="*/ 1591990 w 2048870"/>
                <a:gd name="connsiteY483" fmla="*/ 1113182 h 1413227"/>
                <a:gd name="connsiteX484" fmla="*/ 1564333 w 2048870"/>
                <a:gd name="connsiteY484" fmla="*/ 1109725 h 1413227"/>
                <a:gd name="connsiteX485" fmla="*/ 1553962 w 2048870"/>
                <a:gd name="connsiteY485" fmla="*/ 1101082 h 1413227"/>
                <a:gd name="connsiteX486" fmla="*/ 1543591 w 2048870"/>
                <a:gd name="connsiteY486" fmla="*/ 1092440 h 1413227"/>
                <a:gd name="connsiteX487" fmla="*/ 1526305 w 2048870"/>
                <a:gd name="connsiteY487" fmla="*/ 1090711 h 1413227"/>
                <a:gd name="connsiteX488" fmla="*/ 1514205 w 2048870"/>
                <a:gd name="connsiteY488" fmla="*/ 1085525 h 1413227"/>
                <a:gd name="connsiteX489" fmla="*/ 1512477 w 2048870"/>
                <a:gd name="connsiteY489" fmla="*/ 1092440 h 1413227"/>
                <a:gd name="connsiteX490" fmla="*/ 1507291 w 2048870"/>
                <a:gd name="connsiteY490" fmla="*/ 1085525 h 1413227"/>
                <a:gd name="connsiteX491" fmla="*/ 1496920 w 2048870"/>
                <a:gd name="connsiteY491" fmla="*/ 1075154 h 1413227"/>
                <a:gd name="connsiteX492" fmla="*/ 1445064 w 2048870"/>
                <a:gd name="connsiteY492" fmla="*/ 1076883 h 1413227"/>
                <a:gd name="connsiteX493" fmla="*/ 1439878 w 2048870"/>
                <a:gd name="connsiteY493" fmla="*/ 1080340 h 1413227"/>
                <a:gd name="connsiteX494" fmla="*/ 1438149 w 2048870"/>
                <a:gd name="connsiteY494" fmla="*/ 1085525 h 1413227"/>
                <a:gd name="connsiteX495" fmla="*/ 1451978 w 2048870"/>
                <a:gd name="connsiteY495" fmla="*/ 1071697 h 1413227"/>
                <a:gd name="connsiteX496" fmla="*/ 1458892 w 2048870"/>
                <a:gd name="connsiteY496" fmla="*/ 1064783 h 1413227"/>
                <a:gd name="connsiteX497" fmla="*/ 1464078 w 2048870"/>
                <a:gd name="connsiteY497" fmla="*/ 1059597 h 1413227"/>
                <a:gd name="connsiteX498" fmla="*/ 1479634 w 2048870"/>
                <a:gd name="connsiteY498" fmla="*/ 1064783 h 1413227"/>
                <a:gd name="connsiteX499" fmla="*/ 1490006 w 2048870"/>
                <a:gd name="connsiteY499" fmla="*/ 1071697 h 1413227"/>
                <a:gd name="connsiteX500" fmla="*/ 1498648 w 2048870"/>
                <a:gd name="connsiteY500" fmla="*/ 1068240 h 1413227"/>
                <a:gd name="connsiteX501" fmla="*/ 1500377 w 2048870"/>
                <a:gd name="connsiteY501" fmla="*/ 1063054 h 1413227"/>
                <a:gd name="connsiteX502" fmla="*/ 1503834 w 2048870"/>
                <a:gd name="connsiteY502" fmla="*/ 1057869 h 1413227"/>
                <a:gd name="connsiteX503" fmla="*/ 1507291 w 2048870"/>
                <a:gd name="connsiteY503" fmla="*/ 1045769 h 1413227"/>
                <a:gd name="connsiteX504" fmla="*/ 1540133 w 2048870"/>
                <a:gd name="connsiteY504" fmla="*/ 1044040 h 1413227"/>
                <a:gd name="connsiteX505" fmla="*/ 1557419 w 2048870"/>
                <a:gd name="connsiteY505" fmla="*/ 1059597 h 1413227"/>
                <a:gd name="connsiteX506" fmla="*/ 1560876 w 2048870"/>
                <a:gd name="connsiteY506" fmla="*/ 1073426 h 1413227"/>
                <a:gd name="connsiteX507" fmla="*/ 1564333 w 2048870"/>
                <a:gd name="connsiteY507" fmla="*/ 1087254 h 1413227"/>
                <a:gd name="connsiteX508" fmla="*/ 1566062 w 2048870"/>
                <a:gd name="connsiteY508" fmla="*/ 1094168 h 1413227"/>
                <a:gd name="connsiteX509" fmla="*/ 1569519 w 2048870"/>
                <a:gd name="connsiteY509" fmla="*/ 1099354 h 1413227"/>
                <a:gd name="connsiteX510" fmla="*/ 1576433 w 2048870"/>
                <a:gd name="connsiteY510" fmla="*/ 1037126 h 1413227"/>
                <a:gd name="connsiteX511" fmla="*/ 1588533 w 2048870"/>
                <a:gd name="connsiteY511" fmla="*/ 1052683 h 1413227"/>
                <a:gd name="connsiteX512" fmla="*/ 1591990 w 2048870"/>
                <a:gd name="connsiteY512" fmla="*/ 1069969 h 1413227"/>
                <a:gd name="connsiteX513" fmla="*/ 1607547 w 2048870"/>
                <a:gd name="connsiteY513" fmla="*/ 1080340 h 1413227"/>
                <a:gd name="connsiteX514" fmla="*/ 1612732 w 2048870"/>
                <a:gd name="connsiteY514" fmla="*/ 1083797 h 1413227"/>
                <a:gd name="connsiteX515" fmla="*/ 1621375 w 2048870"/>
                <a:gd name="connsiteY515" fmla="*/ 1085525 h 1413227"/>
                <a:gd name="connsiteX516" fmla="*/ 1633475 w 2048870"/>
                <a:gd name="connsiteY516" fmla="*/ 1092440 h 1413227"/>
                <a:gd name="connsiteX517" fmla="*/ 1640389 w 2048870"/>
                <a:gd name="connsiteY517" fmla="*/ 1095897 h 1413227"/>
                <a:gd name="connsiteX518" fmla="*/ 1649032 w 2048870"/>
                <a:gd name="connsiteY518" fmla="*/ 1109725 h 1413227"/>
                <a:gd name="connsiteX519" fmla="*/ 1659403 w 2048870"/>
                <a:gd name="connsiteY519" fmla="*/ 1113182 h 1413227"/>
                <a:gd name="connsiteX520" fmla="*/ 1669774 w 2048870"/>
                <a:gd name="connsiteY520" fmla="*/ 1118368 h 1413227"/>
                <a:gd name="connsiteX521" fmla="*/ 1680146 w 2048870"/>
                <a:gd name="connsiteY521" fmla="*/ 1125282 h 1413227"/>
                <a:gd name="connsiteX522" fmla="*/ 1699160 w 2048870"/>
                <a:gd name="connsiteY522" fmla="*/ 1139110 h 1413227"/>
                <a:gd name="connsiteX523" fmla="*/ 1712988 w 2048870"/>
                <a:gd name="connsiteY523" fmla="*/ 1142567 h 1413227"/>
                <a:gd name="connsiteX524" fmla="*/ 1704345 w 2048870"/>
                <a:gd name="connsiteY524" fmla="*/ 1137382 h 1413227"/>
                <a:gd name="connsiteX525" fmla="*/ 1699160 w 2048870"/>
                <a:gd name="connsiteY525" fmla="*/ 1132196 h 1413227"/>
                <a:gd name="connsiteX526" fmla="*/ 1688788 w 2048870"/>
                <a:gd name="connsiteY526" fmla="*/ 1128739 h 1413227"/>
                <a:gd name="connsiteX527" fmla="*/ 1674960 w 2048870"/>
                <a:gd name="connsiteY527" fmla="*/ 1125282 h 1413227"/>
                <a:gd name="connsiteX528" fmla="*/ 1659403 w 2048870"/>
                <a:gd name="connsiteY528" fmla="*/ 1121825 h 1413227"/>
                <a:gd name="connsiteX529" fmla="*/ 1650760 w 2048870"/>
                <a:gd name="connsiteY529" fmla="*/ 1116639 h 1413227"/>
                <a:gd name="connsiteX530" fmla="*/ 1645575 w 2048870"/>
                <a:gd name="connsiteY530" fmla="*/ 1113182 h 1413227"/>
                <a:gd name="connsiteX531" fmla="*/ 1642118 w 2048870"/>
                <a:gd name="connsiteY531" fmla="*/ 1107996 h 1413227"/>
                <a:gd name="connsiteX532" fmla="*/ 1628289 w 2048870"/>
                <a:gd name="connsiteY532" fmla="*/ 1088983 h 1413227"/>
                <a:gd name="connsiteX533" fmla="*/ 1626561 w 2048870"/>
                <a:gd name="connsiteY533" fmla="*/ 1083797 h 1413227"/>
                <a:gd name="connsiteX534" fmla="*/ 1619647 w 2048870"/>
                <a:gd name="connsiteY534" fmla="*/ 1075154 h 1413227"/>
                <a:gd name="connsiteX535" fmla="*/ 1616189 w 2048870"/>
                <a:gd name="connsiteY535" fmla="*/ 1061326 h 1413227"/>
                <a:gd name="connsiteX536" fmla="*/ 1614461 w 2048870"/>
                <a:gd name="connsiteY536" fmla="*/ 1056140 h 1413227"/>
                <a:gd name="connsiteX537" fmla="*/ 1604090 w 2048870"/>
                <a:gd name="connsiteY537" fmla="*/ 1038855 h 1413227"/>
                <a:gd name="connsiteX538" fmla="*/ 1598904 w 2048870"/>
                <a:gd name="connsiteY538" fmla="*/ 1037126 h 1413227"/>
                <a:gd name="connsiteX539" fmla="*/ 1593718 w 2048870"/>
                <a:gd name="connsiteY539" fmla="*/ 1030212 h 1413227"/>
                <a:gd name="connsiteX540" fmla="*/ 1585076 w 2048870"/>
                <a:gd name="connsiteY540" fmla="*/ 1019841 h 1413227"/>
                <a:gd name="connsiteX541" fmla="*/ 1590261 w 2048870"/>
                <a:gd name="connsiteY541" fmla="*/ 1000827 h 1413227"/>
                <a:gd name="connsiteX542" fmla="*/ 1598904 w 2048870"/>
                <a:gd name="connsiteY542" fmla="*/ 999098 h 1413227"/>
                <a:gd name="connsiteX543" fmla="*/ 1611004 w 2048870"/>
                <a:gd name="connsiteY543" fmla="*/ 990455 h 1413227"/>
                <a:gd name="connsiteX544" fmla="*/ 1617918 w 2048870"/>
                <a:gd name="connsiteY544" fmla="*/ 985270 h 1413227"/>
                <a:gd name="connsiteX545" fmla="*/ 1616189 w 2048870"/>
                <a:gd name="connsiteY545" fmla="*/ 1021569 h 1413227"/>
                <a:gd name="connsiteX546" fmla="*/ 1612732 w 2048870"/>
                <a:gd name="connsiteY546" fmla="*/ 1028483 h 1413227"/>
                <a:gd name="connsiteX547" fmla="*/ 1607547 w 2048870"/>
                <a:gd name="connsiteY547" fmla="*/ 1035398 h 1413227"/>
                <a:gd name="connsiteX548" fmla="*/ 1612732 w 2048870"/>
                <a:gd name="connsiteY548" fmla="*/ 1031941 h 1413227"/>
                <a:gd name="connsiteX549" fmla="*/ 1621375 w 2048870"/>
                <a:gd name="connsiteY549" fmla="*/ 1016384 h 1413227"/>
                <a:gd name="connsiteX550" fmla="*/ 1626561 w 2048870"/>
                <a:gd name="connsiteY550" fmla="*/ 997370 h 1413227"/>
                <a:gd name="connsiteX551" fmla="*/ 1626561 w 2048870"/>
                <a:gd name="connsiteY551" fmla="*/ 976627 h 1413227"/>
                <a:gd name="connsiteX552" fmla="*/ 1619647 w 2048870"/>
                <a:gd name="connsiteY552" fmla="*/ 962799 h 1413227"/>
                <a:gd name="connsiteX553" fmla="*/ 1626561 w 2048870"/>
                <a:gd name="connsiteY553" fmla="*/ 966256 h 1413227"/>
                <a:gd name="connsiteX554" fmla="*/ 1638661 w 2048870"/>
                <a:gd name="connsiteY554" fmla="*/ 969713 h 1413227"/>
                <a:gd name="connsiteX555" fmla="*/ 1645575 w 2048870"/>
                <a:gd name="connsiteY555" fmla="*/ 967984 h 1413227"/>
                <a:gd name="connsiteX556" fmla="*/ 1650760 w 2048870"/>
                <a:gd name="connsiteY556" fmla="*/ 955885 h 1413227"/>
                <a:gd name="connsiteX557" fmla="*/ 1659403 w 2048870"/>
                <a:gd name="connsiteY557" fmla="*/ 933414 h 1413227"/>
                <a:gd name="connsiteX558" fmla="*/ 1662860 w 2048870"/>
                <a:gd name="connsiteY558" fmla="*/ 929956 h 1413227"/>
                <a:gd name="connsiteX559" fmla="*/ 1664589 w 2048870"/>
                <a:gd name="connsiteY559" fmla="*/ 923042 h 1413227"/>
                <a:gd name="connsiteX560" fmla="*/ 1673231 w 2048870"/>
                <a:gd name="connsiteY560" fmla="*/ 893657 h 1413227"/>
                <a:gd name="connsiteX561" fmla="*/ 1687060 w 2048870"/>
                <a:gd name="connsiteY561" fmla="*/ 891928 h 1413227"/>
                <a:gd name="connsiteX562" fmla="*/ 1693974 w 2048870"/>
                <a:gd name="connsiteY562" fmla="*/ 890200 h 1413227"/>
                <a:gd name="connsiteX563" fmla="*/ 1700888 w 2048870"/>
                <a:gd name="connsiteY563" fmla="*/ 886743 h 1413227"/>
                <a:gd name="connsiteX564" fmla="*/ 1719902 w 2048870"/>
                <a:gd name="connsiteY564" fmla="*/ 878100 h 1413227"/>
                <a:gd name="connsiteX565" fmla="*/ 1726816 w 2048870"/>
                <a:gd name="connsiteY565" fmla="*/ 876372 h 1413227"/>
                <a:gd name="connsiteX566" fmla="*/ 1745830 w 2048870"/>
                <a:gd name="connsiteY566" fmla="*/ 860815 h 1413227"/>
                <a:gd name="connsiteX567" fmla="*/ 1751016 w 2048870"/>
                <a:gd name="connsiteY567" fmla="*/ 857358 h 1413227"/>
                <a:gd name="connsiteX568" fmla="*/ 1757930 w 2048870"/>
                <a:gd name="connsiteY568" fmla="*/ 855629 h 1413227"/>
                <a:gd name="connsiteX569" fmla="*/ 1764844 w 2048870"/>
                <a:gd name="connsiteY569" fmla="*/ 841801 h 1413227"/>
                <a:gd name="connsiteX570" fmla="*/ 1771758 w 2048870"/>
                <a:gd name="connsiteY570" fmla="*/ 836615 h 1413227"/>
                <a:gd name="connsiteX571" fmla="*/ 1776944 w 2048870"/>
                <a:gd name="connsiteY571" fmla="*/ 833158 h 1413227"/>
                <a:gd name="connsiteX572" fmla="*/ 1787315 w 2048870"/>
                <a:gd name="connsiteY572" fmla="*/ 831429 h 1413227"/>
                <a:gd name="connsiteX573" fmla="*/ 1795958 w 2048870"/>
                <a:gd name="connsiteY573" fmla="*/ 829701 h 1413227"/>
                <a:gd name="connsiteX574" fmla="*/ 1797687 w 2048870"/>
                <a:gd name="connsiteY574" fmla="*/ 824515 h 1413227"/>
                <a:gd name="connsiteX575" fmla="*/ 1825343 w 2048870"/>
                <a:gd name="connsiteY575" fmla="*/ 796859 h 1413227"/>
                <a:gd name="connsiteX576" fmla="*/ 1830529 w 2048870"/>
                <a:gd name="connsiteY576" fmla="*/ 776116 h 1413227"/>
                <a:gd name="connsiteX577" fmla="*/ 1835715 w 2048870"/>
                <a:gd name="connsiteY577" fmla="*/ 770930 h 1413227"/>
                <a:gd name="connsiteX578" fmla="*/ 1863371 w 2048870"/>
                <a:gd name="connsiteY578" fmla="*/ 760559 h 1413227"/>
                <a:gd name="connsiteX579" fmla="*/ 1868557 w 2048870"/>
                <a:gd name="connsiteY579" fmla="*/ 755373 h 1413227"/>
                <a:gd name="connsiteX580" fmla="*/ 1880657 w 2048870"/>
                <a:gd name="connsiteY580" fmla="*/ 753645 h 1413227"/>
                <a:gd name="connsiteX581" fmla="*/ 1889299 w 2048870"/>
                <a:gd name="connsiteY581" fmla="*/ 750188 h 1413227"/>
                <a:gd name="connsiteX582" fmla="*/ 1894485 w 2048870"/>
                <a:gd name="connsiteY582" fmla="*/ 731174 h 1413227"/>
                <a:gd name="connsiteX583" fmla="*/ 1910042 w 2048870"/>
                <a:gd name="connsiteY583" fmla="*/ 719074 h 1413227"/>
                <a:gd name="connsiteX584" fmla="*/ 1916956 w 2048870"/>
                <a:gd name="connsiteY584" fmla="*/ 710431 h 1413227"/>
                <a:gd name="connsiteX585" fmla="*/ 1908313 w 2048870"/>
                <a:gd name="connsiteY585" fmla="*/ 689689 h 1413227"/>
                <a:gd name="connsiteX586" fmla="*/ 1901399 w 2048870"/>
                <a:gd name="connsiteY586" fmla="*/ 675860 h 1413227"/>
                <a:gd name="connsiteX587" fmla="*/ 1897942 w 2048870"/>
                <a:gd name="connsiteY587" fmla="*/ 665489 h 1413227"/>
                <a:gd name="connsiteX588" fmla="*/ 1901399 w 2048870"/>
                <a:gd name="connsiteY588" fmla="*/ 651661 h 1413227"/>
                <a:gd name="connsiteX589" fmla="*/ 1897942 w 2048870"/>
                <a:gd name="connsiteY589" fmla="*/ 629190 h 1413227"/>
                <a:gd name="connsiteX590" fmla="*/ 1904856 w 2048870"/>
                <a:gd name="connsiteY590" fmla="*/ 624004 h 1413227"/>
                <a:gd name="connsiteX591" fmla="*/ 1910042 w 2048870"/>
                <a:gd name="connsiteY591" fmla="*/ 613633 h 1413227"/>
                <a:gd name="connsiteX592" fmla="*/ 1918685 w 2048870"/>
                <a:gd name="connsiteY592" fmla="*/ 608447 h 1413227"/>
                <a:gd name="connsiteX593" fmla="*/ 1925599 w 2048870"/>
                <a:gd name="connsiteY593" fmla="*/ 601533 h 1413227"/>
                <a:gd name="connsiteX594" fmla="*/ 1929056 w 2048870"/>
                <a:gd name="connsiteY594" fmla="*/ 587705 h 1413227"/>
                <a:gd name="connsiteX595" fmla="*/ 1932513 w 2048870"/>
                <a:gd name="connsiteY595" fmla="*/ 582519 h 1413227"/>
                <a:gd name="connsiteX596" fmla="*/ 1939427 w 2048870"/>
                <a:gd name="connsiteY596" fmla="*/ 565234 h 1413227"/>
                <a:gd name="connsiteX597" fmla="*/ 1963627 w 2048870"/>
                <a:gd name="connsiteY597" fmla="*/ 556591 h 1413227"/>
                <a:gd name="connsiteX598" fmla="*/ 1968812 w 2048870"/>
                <a:gd name="connsiteY598" fmla="*/ 547948 h 1413227"/>
                <a:gd name="connsiteX599" fmla="*/ 1986098 w 2048870"/>
                <a:gd name="connsiteY599" fmla="*/ 544491 h 1413227"/>
                <a:gd name="connsiteX600" fmla="*/ 2008569 w 2048870"/>
                <a:gd name="connsiteY600" fmla="*/ 539305 h 1413227"/>
                <a:gd name="connsiteX601" fmla="*/ 2017212 w 2048870"/>
                <a:gd name="connsiteY601" fmla="*/ 530663 h 1413227"/>
                <a:gd name="connsiteX602" fmla="*/ 2048326 w 2048870"/>
                <a:gd name="connsiteY602" fmla="*/ 525477 h 1413227"/>
                <a:gd name="connsiteX603" fmla="*/ 2043140 w 2048870"/>
                <a:gd name="connsiteY603" fmla="*/ 499549 h 1413227"/>
                <a:gd name="connsiteX604" fmla="*/ 2032769 w 2048870"/>
                <a:gd name="connsiteY604" fmla="*/ 492635 h 1413227"/>
                <a:gd name="connsiteX605" fmla="*/ 2025854 w 2048870"/>
                <a:gd name="connsiteY605" fmla="*/ 447693 h 1413227"/>
                <a:gd name="connsiteX606" fmla="*/ 2018940 w 2048870"/>
                <a:gd name="connsiteY606" fmla="*/ 428679 h 1413227"/>
                <a:gd name="connsiteX607" fmla="*/ 2015483 w 2048870"/>
                <a:gd name="connsiteY607" fmla="*/ 418307 h 1413227"/>
                <a:gd name="connsiteX608" fmla="*/ 2010298 w 2048870"/>
                <a:gd name="connsiteY608" fmla="*/ 411393 h 1413227"/>
                <a:gd name="connsiteX609" fmla="*/ 2003383 w 2048870"/>
                <a:gd name="connsiteY609" fmla="*/ 407936 h 1413227"/>
                <a:gd name="connsiteX610" fmla="*/ 1984369 w 2048870"/>
                <a:gd name="connsiteY610" fmla="*/ 404479 h 1413227"/>
                <a:gd name="connsiteX611" fmla="*/ 1977455 w 2048870"/>
                <a:gd name="connsiteY611" fmla="*/ 394108 h 1413227"/>
                <a:gd name="connsiteX612" fmla="*/ 1972270 w 2048870"/>
                <a:gd name="connsiteY612" fmla="*/ 390651 h 1413227"/>
                <a:gd name="connsiteX613" fmla="*/ 1968812 w 2048870"/>
                <a:gd name="connsiteY613" fmla="*/ 382008 h 1413227"/>
                <a:gd name="connsiteX614" fmla="*/ 1973998 w 2048870"/>
                <a:gd name="connsiteY614" fmla="*/ 366451 h 1413227"/>
                <a:gd name="connsiteX615" fmla="*/ 1982641 w 2048870"/>
                <a:gd name="connsiteY615" fmla="*/ 354351 h 1413227"/>
                <a:gd name="connsiteX616" fmla="*/ 1984369 w 2048870"/>
                <a:gd name="connsiteY616" fmla="*/ 347437 h 1413227"/>
                <a:gd name="connsiteX617" fmla="*/ 1994741 w 2048870"/>
                <a:gd name="connsiteY617" fmla="*/ 343980 h 1413227"/>
                <a:gd name="connsiteX618" fmla="*/ 1960170 w 2048870"/>
                <a:gd name="connsiteY618" fmla="*/ 337066 h 1413227"/>
                <a:gd name="connsiteX619" fmla="*/ 1958441 w 2048870"/>
                <a:gd name="connsiteY619" fmla="*/ 331880 h 1413227"/>
                <a:gd name="connsiteX620" fmla="*/ 1954984 w 2048870"/>
                <a:gd name="connsiteY620" fmla="*/ 326694 h 1413227"/>
                <a:gd name="connsiteX621" fmla="*/ 1958441 w 2048870"/>
                <a:gd name="connsiteY621" fmla="*/ 318052 h 1413227"/>
                <a:gd name="connsiteX622" fmla="*/ 1963627 w 2048870"/>
                <a:gd name="connsiteY622" fmla="*/ 311138 h 1413227"/>
                <a:gd name="connsiteX623" fmla="*/ 1967084 w 2048870"/>
                <a:gd name="connsiteY623" fmla="*/ 305952 h 1413227"/>
                <a:gd name="connsiteX624" fmla="*/ 1968812 w 2048870"/>
                <a:gd name="connsiteY624" fmla="*/ 299038 h 1413227"/>
                <a:gd name="connsiteX625" fmla="*/ 1973998 w 2048870"/>
                <a:gd name="connsiteY625" fmla="*/ 293852 h 1413227"/>
                <a:gd name="connsiteX626" fmla="*/ 1975727 w 2048870"/>
                <a:gd name="connsiteY626" fmla="*/ 269652 h 1413227"/>
                <a:gd name="connsiteX627" fmla="*/ 1970541 w 2048870"/>
                <a:gd name="connsiteY627" fmla="*/ 255824 h 1413227"/>
                <a:gd name="connsiteX628" fmla="*/ 1968812 w 2048870"/>
                <a:gd name="connsiteY628" fmla="*/ 250638 h 1413227"/>
                <a:gd name="connsiteX629" fmla="*/ 1967084 w 2048870"/>
                <a:gd name="connsiteY629" fmla="*/ 243724 h 1413227"/>
                <a:gd name="connsiteX630" fmla="*/ 1963627 w 2048870"/>
                <a:gd name="connsiteY630" fmla="*/ 238539 h 1413227"/>
                <a:gd name="connsiteX631" fmla="*/ 1965355 w 2048870"/>
                <a:gd name="connsiteY631" fmla="*/ 216068 h 1413227"/>
                <a:gd name="connsiteX632" fmla="*/ 1961898 w 2048870"/>
                <a:gd name="connsiteY632" fmla="*/ 209153 h 1413227"/>
                <a:gd name="connsiteX633" fmla="*/ 1954984 w 2048870"/>
                <a:gd name="connsiteY633" fmla="*/ 216068 h 1413227"/>
                <a:gd name="connsiteX634" fmla="*/ 1948070 w 2048870"/>
                <a:gd name="connsiteY634" fmla="*/ 217796 h 1413227"/>
                <a:gd name="connsiteX635" fmla="*/ 1937699 w 2048870"/>
                <a:gd name="connsiteY635" fmla="*/ 226439 h 1413227"/>
                <a:gd name="connsiteX636" fmla="*/ 1932513 w 2048870"/>
                <a:gd name="connsiteY636" fmla="*/ 228167 h 1413227"/>
                <a:gd name="connsiteX637" fmla="*/ 1922142 w 2048870"/>
                <a:gd name="connsiteY637" fmla="*/ 235082 h 1413227"/>
                <a:gd name="connsiteX638" fmla="*/ 1906585 w 2048870"/>
                <a:gd name="connsiteY638" fmla="*/ 231624 h 1413227"/>
                <a:gd name="connsiteX639" fmla="*/ 1885842 w 2048870"/>
                <a:gd name="connsiteY639" fmla="*/ 222982 h 1413227"/>
                <a:gd name="connsiteX640" fmla="*/ 1878928 w 2048870"/>
                <a:gd name="connsiteY640" fmla="*/ 224710 h 1413227"/>
                <a:gd name="connsiteX641" fmla="*/ 1868557 w 2048870"/>
                <a:gd name="connsiteY641" fmla="*/ 233353 h 1413227"/>
                <a:gd name="connsiteX642" fmla="*/ 1847814 w 2048870"/>
                <a:gd name="connsiteY642" fmla="*/ 221253 h 1413227"/>
                <a:gd name="connsiteX643" fmla="*/ 1839172 w 2048870"/>
                <a:gd name="connsiteY643" fmla="*/ 217796 h 1413227"/>
                <a:gd name="connsiteX644" fmla="*/ 1832257 w 2048870"/>
                <a:gd name="connsiteY644" fmla="*/ 214339 h 1413227"/>
                <a:gd name="connsiteX645" fmla="*/ 1823615 w 2048870"/>
                <a:gd name="connsiteY645" fmla="*/ 224710 h 1413227"/>
                <a:gd name="connsiteX646" fmla="*/ 1816701 w 2048870"/>
                <a:gd name="connsiteY646" fmla="*/ 229896 h 1413227"/>
                <a:gd name="connsiteX647" fmla="*/ 1787315 w 2048870"/>
                <a:gd name="connsiteY647" fmla="*/ 221253 h 1413227"/>
                <a:gd name="connsiteX648" fmla="*/ 1759659 w 2048870"/>
                <a:gd name="connsiteY648" fmla="*/ 222982 h 1413227"/>
                <a:gd name="connsiteX649" fmla="*/ 1754473 w 2048870"/>
                <a:gd name="connsiteY649" fmla="*/ 224710 h 1413227"/>
                <a:gd name="connsiteX650" fmla="*/ 1735459 w 2048870"/>
                <a:gd name="connsiteY650" fmla="*/ 222982 h 1413227"/>
                <a:gd name="connsiteX651" fmla="*/ 1728545 w 2048870"/>
                <a:gd name="connsiteY651" fmla="*/ 217796 h 1413227"/>
                <a:gd name="connsiteX652" fmla="*/ 1721631 w 2048870"/>
                <a:gd name="connsiteY652" fmla="*/ 207425 h 1413227"/>
                <a:gd name="connsiteX653" fmla="*/ 1712988 w 2048870"/>
                <a:gd name="connsiteY653" fmla="*/ 235082 h 1413227"/>
                <a:gd name="connsiteX654" fmla="*/ 1706074 w 2048870"/>
                <a:gd name="connsiteY654" fmla="*/ 250638 h 1413227"/>
                <a:gd name="connsiteX655" fmla="*/ 1692245 w 2048870"/>
                <a:gd name="connsiteY655" fmla="*/ 236810 h 1413227"/>
                <a:gd name="connsiteX656" fmla="*/ 1645575 w 2048870"/>
                <a:gd name="connsiteY656" fmla="*/ 224710 h 1413227"/>
                <a:gd name="connsiteX657" fmla="*/ 1640389 w 2048870"/>
                <a:gd name="connsiteY657" fmla="*/ 217796 h 1413227"/>
                <a:gd name="connsiteX658" fmla="*/ 1638661 w 2048870"/>
                <a:gd name="connsiteY658" fmla="*/ 212610 h 1413227"/>
                <a:gd name="connsiteX659" fmla="*/ 1623104 w 2048870"/>
                <a:gd name="connsiteY659" fmla="*/ 195325 h 1413227"/>
                <a:gd name="connsiteX660" fmla="*/ 1609275 w 2048870"/>
                <a:gd name="connsiteY660" fmla="*/ 191868 h 1413227"/>
                <a:gd name="connsiteX661" fmla="*/ 1600633 w 2048870"/>
                <a:gd name="connsiteY661" fmla="*/ 200511 h 1413227"/>
                <a:gd name="connsiteX662" fmla="*/ 1595447 w 2048870"/>
                <a:gd name="connsiteY662" fmla="*/ 202239 h 1413227"/>
                <a:gd name="connsiteX663" fmla="*/ 1574704 w 2048870"/>
                <a:gd name="connsiteY663" fmla="*/ 209153 h 1413227"/>
                <a:gd name="connsiteX664" fmla="*/ 1569519 w 2048870"/>
                <a:gd name="connsiteY664" fmla="*/ 214339 h 1413227"/>
                <a:gd name="connsiteX665" fmla="*/ 1564333 w 2048870"/>
                <a:gd name="connsiteY665" fmla="*/ 217796 h 1413227"/>
                <a:gd name="connsiteX666" fmla="*/ 1560876 w 2048870"/>
                <a:gd name="connsiteY666" fmla="*/ 224710 h 1413227"/>
                <a:gd name="connsiteX667" fmla="*/ 1543591 w 2048870"/>
                <a:gd name="connsiteY667" fmla="*/ 238539 h 1413227"/>
                <a:gd name="connsiteX668" fmla="*/ 1536676 w 2048870"/>
                <a:gd name="connsiteY668" fmla="*/ 245453 h 1413227"/>
                <a:gd name="connsiteX669" fmla="*/ 1534948 w 2048870"/>
                <a:gd name="connsiteY669" fmla="*/ 250638 h 1413227"/>
                <a:gd name="connsiteX670" fmla="*/ 1536676 w 2048870"/>
                <a:gd name="connsiteY670" fmla="*/ 255824 h 1413227"/>
                <a:gd name="connsiteX671" fmla="*/ 1510748 w 2048870"/>
                <a:gd name="connsiteY671" fmla="*/ 259281 h 1413227"/>
                <a:gd name="connsiteX672" fmla="*/ 1500377 w 2048870"/>
                <a:gd name="connsiteY672" fmla="*/ 252367 h 1413227"/>
                <a:gd name="connsiteX673" fmla="*/ 1472720 w 2048870"/>
                <a:gd name="connsiteY673" fmla="*/ 252367 h 1413227"/>
                <a:gd name="connsiteX674" fmla="*/ 1455435 w 2048870"/>
                <a:gd name="connsiteY674" fmla="*/ 254096 h 1413227"/>
                <a:gd name="connsiteX675" fmla="*/ 1446792 w 2048870"/>
                <a:gd name="connsiteY675" fmla="*/ 261010 h 1413227"/>
                <a:gd name="connsiteX676" fmla="*/ 1441606 w 2048870"/>
                <a:gd name="connsiteY676" fmla="*/ 267924 h 1413227"/>
                <a:gd name="connsiteX677" fmla="*/ 1438149 w 2048870"/>
                <a:gd name="connsiteY677" fmla="*/ 273110 h 1413227"/>
                <a:gd name="connsiteX678" fmla="*/ 1432964 w 2048870"/>
                <a:gd name="connsiteY678" fmla="*/ 274838 h 1413227"/>
                <a:gd name="connsiteX679" fmla="*/ 1419135 w 2048870"/>
                <a:gd name="connsiteY679" fmla="*/ 281752 h 1413227"/>
                <a:gd name="connsiteX680" fmla="*/ 1412221 w 2048870"/>
                <a:gd name="connsiteY680" fmla="*/ 278295 h 1413227"/>
                <a:gd name="connsiteX681" fmla="*/ 1408764 w 2048870"/>
                <a:gd name="connsiteY681" fmla="*/ 273110 h 1413227"/>
                <a:gd name="connsiteX682" fmla="*/ 1400121 w 2048870"/>
                <a:gd name="connsiteY682" fmla="*/ 257553 h 1413227"/>
                <a:gd name="connsiteX683" fmla="*/ 1394936 w 2048870"/>
                <a:gd name="connsiteY683" fmla="*/ 254096 h 1413227"/>
                <a:gd name="connsiteX684" fmla="*/ 1386293 w 2048870"/>
                <a:gd name="connsiteY684" fmla="*/ 243724 h 1413227"/>
                <a:gd name="connsiteX685" fmla="*/ 1381107 w 2048870"/>
                <a:gd name="connsiteY685" fmla="*/ 212610 h 1413227"/>
                <a:gd name="connsiteX686" fmla="*/ 1370736 w 2048870"/>
                <a:gd name="connsiteY686" fmla="*/ 202239 h 1413227"/>
                <a:gd name="connsiteX687" fmla="*/ 1363822 w 2048870"/>
                <a:gd name="connsiteY687" fmla="*/ 200511 h 1413227"/>
                <a:gd name="connsiteX688" fmla="*/ 1358636 w 2048870"/>
                <a:gd name="connsiteY688" fmla="*/ 193596 h 1413227"/>
                <a:gd name="connsiteX689" fmla="*/ 1349994 w 2048870"/>
                <a:gd name="connsiteY689" fmla="*/ 178040 h 1413227"/>
                <a:gd name="connsiteX690" fmla="*/ 1337894 w 2048870"/>
                <a:gd name="connsiteY690" fmla="*/ 167668 h 1413227"/>
                <a:gd name="connsiteX691" fmla="*/ 1298137 w 2048870"/>
                <a:gd name="connsiteY691" fmla="*/ 169397 h 1413227"/>
                <a:gd name="connsiteX692" fmla="*/ 1284309 w 2048870"/>
                <a:gd name="connsiteY692" fmla="*/ 179768 h 1413227"/>
                <a:gd name="connsiteX693" fmla="*/ 1268752 w 2048870"/>
                <a:gd name="connsiteY693" fmla="*/ 181497 h 1413227"/>
                <a:gd name="connsiteX694" fmla="*/ 1251467 w 2048870"/>
                <a:gd name="connsiteY694" fmla="*/ 174583 h 1413227"/>
                <a:gd name="connsiteX695" fmla="*/ 1241095 w 2048870"/>
                <a:gd name="connsiteY695" fmla="*/ 164211 h 1413227"/>
                <a:gd name="connsiteX696" fmla="*/ 1230724 w 2048870"/>
                <a:gd name="connsiteY696" fmla="*/ 160754 h 1413227"/>
                <a:gd name="connsiteX697" fmla="*/ 1215167 w 2048870"/>
                <a:gd name="connsiteY697" fmla="*/ 146926 h 1413227"/>
                <a:gd name="connsiteX698" fmla="*/ 1213439 w 2048870"/>
                <a:gd name="connsiteY698" fmla="*/ 140012 h 1413227"/>
                <a:gd name="connsiteX699" fmla="*/ 1206524 w 2048870"/>
                <a:gd name="connsiteY699" fmla="*/ 131369 h 1413227"/>
                <a:gd name="connsiteX700" fmla="*/ 1204796 w 2048870"/>
                <a:gd name="connsiteY700" fmla="*/ 122726 h 1413227"/>
                <a:gd name="connsiteX701" fmla="*/ 1190968 w 2048870"/>
                <a:gd name="connsiteY701" fmla="*/ 117541 h 1413227"/>
                <a:gd name="connsiteX702" fmla="*/ 1201339 w 2048870"/>
                <a:gd name="connsiteY702" fmla="*/ 105441 h 1413227"/>
                <a:gd name="connsiteX703" fmla="*/ 1208253 w 2048870"/>
                <a:gd name="connsiteY703" fmla="*/ 101984 h 1413227"/>
                <a:gd name="connsiteX704" fmla="*/ 1213439 w 2048870"/>
                <a:gd name="connsiteY704" fmla="*/ 95069 h 1413227"/>
                <a:gd name="connsiteX705" fmla="*/ 1218624 w 2048870"/>
                <a:gd name="connsiteY705" fmla="*/ 89884 h 1413227"/>
                <a:gd name="connsiteX706" fmla="*/ 1216896 w 2048870"/>
                <a:gd name="connsiteY706" fmla="*/ 84698 h 1413227"/>
                <a:gd name="connsiteX707" fmla="*/ 1206524 w 2048870"/>
                <a:gd name="connsiteY707" fmla="*/ 81241 h 1413227"/>
                <a:gd name="connsiteX708" fmla="*/ 1190968 w 2048870"/>
                <a:gd name="connsiteY708" fmla="*/ 76055 h 1413227"/>
                <a:gd name="connsiteX709" fmla="*/ 1175411 w 2048870"/>
                <a:gd name="connsiteY709" fmla="*/ 60499 h 1413227"/>
                <a:gd name="connsiteX710" fmla="*/ 1168496 w 2048870"/>
                <a:gd name="connsiteY710" fmla="*/ 53584 h 1413227"/>
                <a:gd name="connsiteX711" fmla="*/ 1165039 w 2048870"/>
                <a:gd name="connsiteY711" fmla="*/ 46670 h 1413227"/>
                <a:gd name="connsiteX712" fmla="*/ 1159854 w 2048870"/>
                <a:gd name="connsiteY712" fmla="*/ 39756 h 1413227"/>
                <a:gd name="connsiteX713" fmla="*/ 1151211 w 2048870"/>
                <a:gd name="connsiteY713" fmla="*/ 27656 h 1413227"/>
                <a:gd name="connsiteX714" fmla="*/ 1146025 w 2048870"/>
                <a:gd name="connsiteY714" fmla="*/ 24199 h 1413227"/>
                <a:gd name="connsiteX715" fmla="*/ 1140840 w 2048870"/>
                <a:gd name="connsiteY715" fmla="*/ 17285 h 1413227"/>
                <a:gd name="connsiteX716" fmla="*/ 1123554 w 2048870"/>
                <a:gd name="connsiteY716" fmla="*/ 3457 h 1413227"/>
                <a:gd name="connsiteX717" fmla="*/ 1116640 w 2048870"/>
                <a:gd name="connsiteY717" fmla="*/ 0 h 1413227"/>
                <a:gd name="connsiteX718" fmla="*/ 1102812 w 2048870"/>
                <a:gd name="connsiteY718" fmla="*/ 1728 h 1413227"/>
                <a:gd name="connsiteX719" fmla="*/ 1097626 w 2048870"/>
                <a:gd name="connsiteY719" fmla="*/ 3457 h 1413227"/>
                <a:gd name="connsiteX720" fmla="*/ 1090712 w 2048870"/>
                <a:gd name="connsiteY720" fmla="*/ 5185 h 1413227"/>
                <a:gd name="connsiteX721" fmla="*/ 1071698 w 2048870"/>
                <a:gd name="connsiteY721" fmla="*/ 17285 h 1413227"/>
                <a:gd name="connsiteX722" fmla="*/ 1056141 w 2048870"/>
                <a:gd name="connsiteY722" fmla="*/ 15556 h 1413227"/>
                <a:gd name="connsiteX723" fmla="*/ 1050955 w 2048870"/>
                <a:gd name="connsiteY723" fmla="*/ 19014 h 1413227"/>
                <a:gd name="connsiteX724" fmla="*/ 1042313 w 2048870"/>
                <a:gd name="connsiteY724" fmla="*/ 27656 h 1413227"/>
                <a:gd name="connsiteX725" fmla="*/ 1028484 w 2048870"/>
                <a:gd name="connsiteY725" fmla="*/ 38027 h 1413227"/>
                <a:gd name="connsiteX726" fmla="*/ 1025027 w 2048870"/>
                <a:gd name="connsiteY726" fmla="*/ 41485 h 1413227"/>
                <a:gd name="connsiteX727" fmla="*/ 1016385 w 2048870"/>
                <a:gd name="connsiteY727" fmla="*/ 46670 h 1413227"/>
                <a:gd name="connsiteX728" fmla="*/ 1012927 w 2048870"/>
                <a:gd name="connsiteY728" fmla="*/ 50127 h 1413227"/>
                <a:gd name="connsiteX729" fmla="*/ 997371 w 2048870"/>
                <a:gd name="connsiteY729" fmla="*/ 57041 h 1413227"/>
                <a:gd name="connsiteX730" fmla="*/ 973171 w 2048870"/>
                <a:gd name="connsiteY730" fmla="*/ 58770 h 1413227"/>
                <a:gd name="connsiteX731" fmla="*/ 967985 w 2048870"/>
                <a:gd name="connsiteY731" fmla="*/ 62227 h 1413227"/>
                <a:gd name="connsiteX732" fmla="*/ 966257 w 2048870"/>
                <a:gd name="connsiteY732" fmla="*/ 79513 h 1413227"/>
                <a:gd name="connsiteX733" fmla="*/ 962800 w 2048870"/>
                <a:gd name="connsiteY733" fmla="*/ 103712 h 1413227"/>
                <a:gd name="connsiteX734" fmla="*/ 961071 w 2048870"/>
                <a:gd name="connsiteY734" fmla="*/ 112355 h 1413227"/>
                <a:gd name="connsiteX735" fmla="*/ 916129 w 2048870"/>
                <a:gd name="connsiteY735" fmla="*/ 115812 h 1413227"/>
                <a:gd name="connsiteX736" fmla="*/ 910943 w 2048870"/>
                <a:gd name="connsiteY736" fmla="*/ 119269 h 1413227"/>
                <a:gd name="connsiteX737" fmla="*/ 905758 w 2048870"/>
                <a:gd name="connsiteY737" fmla="*/ 120998 h 1413227"/>
                <a:gd name="connsiteX738" fmla="*/ 893658 w 2048870"/>
                <a:gd name="connsiteY738" fmla="*/ 124455 h 1413227"/>
                <a:gd name="connsiteX739" fmla="*/ 888472 w 2048870"/>
                <a:gd name="connsiteY739" fmla="*/ 126183 h 1413227"/>
                <a:gd name="connsiteX740" fmla="*/ 895386 w 2048870"/>
                <a:gd name="connsiteY740" fmla="*/ 124455 h 1413227"/>
                <a:gd name="connsiteX741" fmla="*/ 904029 w 2048870"/>
                <a:gd name="connsiteY741" fmla="*/ 115812 h 1413227"/>
                <a:gd name="connsiteX742" fmla="*/ 966257 w 2048870"/>
                <a:gd name="connsiteY742" fmla="*/ 63956 h 1413227"/>
                <a:gd name="connsiteX0" fmla="*/ 966257 w 2048870"/>
                <a:gd name="connsiteY0" fmla="*/ 63956 h 1413227"/>
                <a:gd name="connsiteX1" fmla="*/ 962800 w 2048870"/>
                <a:gd name="connsiteY1" fmla="*/ 72598 h 1413227"/>
                <a:gd name="connsiteX2" fmla="*/ 919586 w 2048870"/>
                <a:gd name="connsiteY2" fmla="*/ 114083 h 1413227"/>
                <a:gd name="connsiteX3" fmla="*/ 902301 w 2048870"/>
                <a:gd name="connsiteY3" fmla="*/ 120998 h 1413227"/>
                <a:gd name="connsiteX4" fmla="*/ 885015 w 2048870"/>
                <a:gd name="connsiteY4" fmla="*/ 122726 h 1413227"/>
                <a:gd name="connsiteX5" fmla="*/ 878101 w 2048870"/>
                <a:gd name="connsiteY5" fmla="*/ 129640 h 1413227"/>
                <a:gd name="connsiteX6" fmla="*/ 855630 w 2048870"/>
                <a:gd name="connsiteY6" fmla="*/ 140012 h 1413227"/>
                <a:gd name="connsiteX7" fmla="*/ 850444 w 2048870"/>
                <a:gd name="connsiteY7" fmla="*/ 145197 h 1413227"/>
                <a:gd name="connsiteX8" fmla="*/ 831430 w 2048870"/>
                <a:gd name="connsiteY8" fmla="*/ 146926 h 1413227"/>
                <a:gd name="connsiteX9" fmla="*/ 808923 w 2048870"/>
                <a:gd name="connsiteY9" fmla="*/ 195183 h 1413227"/>
                <a:gd name="connsiteX10" fmla="*/ 817602 w 2048870"/>
                <a:gd name="connsiteY10" fmla="*/ 247181 h 1413227"/>
                <a:gd name="connsiteX11" fmla="*/ 821059 w 2048870"/>
                <a:gd name="connsiteY11" fmla="*/ 255824 h 1413227"/>
                <a:gd name="connsiteX12" fmla="*/ 826245 w 2048870"/>
                <a:gd name="connsiteY12" fmla="*/ 259281 h 1413227"/>
                <a:gd name="connsiteX13" fmla="*/ 833159 w 2048870"/>
                <a:gd name="connsiteY13" fmla="*/ 267924 h 1413227"/>
                <a:gd name="connsiteX14" fmla="*/ 836616 w 2048870"/>
                <a:gd name="connsiteY14" fmla="*/ 280024 h 1413227"/>
                <a:gd name="connsiteX15" fmla="*/ 834887 w 2048870"/>
                <a:gd name="connsiteY15" fmla="*/ 295581 h 1413227"/>
                <a:gd name="connsiteX16" fmla="*/ 821059 w 2048870"/>
                <a:gd name="connsiteY16" fmla="*/ 299038 h 1413227"/>
                <a:gd name="connsiteX17" fmla="*/ 800316 w 2048870"/>
                <a:gd name="connsiteY17" fmla="*/ 295581 h 1413227"/>
                <a:gd name="connsiteX18" fmla="*/ 786488 w 2048870"/>
                <a:gd name="connsiteY18" fmla="*/ 286938 h 1413227"/>
                <a:gd name="connsiteX19" fmla="*/ 781302 w 2048870"/>
                <a:gd name="connsiteY19" fmla="*/ 285209 h 1413227"/>
                <a:gd name="connsiteX20" fmla="*/ 774388 w 2048870"/>
                <a:gd name="connsiteY20" fmla="*/ 278295 h 1413227"/>
                <a:gd name="connsiteX21" fmla="*/ 767474 w 2048870"/>
                <a:gd name="connsiteY21" fmla="*/ 285209 h 1413227"/>
                <a:gd name="connsiteX22" fmla="*/ 758831 w 2048870"/>
                <a:gd name="connsiteY22" fmla="*/ 286938 h 1413227"/>
                <a:gd name="connsiteX23" fmla="*/ 751917 w 2048870"/>
                <a:gd name="connsiteY23" fmla="*/ 288666 h 1413227"/>
                <a:gd name="connsiteX24" fmla="*/ 746732 w 2048870"/>
                <a:gd name="connsiteY24" fmla="*/ 290395 h 1413227"/>
                <a:gd name="connsiteX25" fmla="*/ 722532 w 2048870"/>
                <a:gd name="connsiteY25" fmla="*/ 292124 h 1413227"/>
                <a:gd name="connsiteX26" fmla="*/ 720803 w 2048870"/>
                <a:gd name="connsiteY26" fmla="*/ 297309 h 1413227"/>
                <a:gd name="connsiteX27" fmla="*/ 701789 w 2048870"/>
                <a:gd name="connsiteY27" fmla="*/ 312866 h 1413227"/>
                <a:gd name="connsiteX28" fmla="*/ 686233 w 2048870"/>
                <a:gd name="connsiteY28" fmla="*/ 305952 h 1413227"/>
                <a:gd name="connsiteX29" fmla="*/ 684504 w 2048870"/>
                <a:gd name="connsiteY29" fmla="*/ 300766 h 1413227"/>
                <a:gd name="connsiteX30" fmla="*/ 681047 w 2048870"/>
                <a:gd name="connsiteY30" fmla="*/ 285209 h 1413227"/>
                <a:gd name="connsiteX31" fmla="*/ 649933 w 2048870"/>
                <a:gd name="connsiteY31" fmla="*/ 288666 h 1413227"/>
                <a:gd name="connsiteX32" fmla="*/ 646476 w 2048870"/>
                <a:gd name="connsiteY32" fmla="*/ 299038 h 1413227"/>
                <a:gd name="connsiteX33" fmla="*/ 639562 w 2048870"/>
                <a:gd name="connsiteY33" fmla="*/ 314595 h 1413227"/>
                <a:gd name="connsiteX34" fmla="*/ 634376 w 2048870"/>
                <a:gd name="connsiteY34" fmla="*/ 326694 h 1413227"/>
                <a:gd name="connsiteX35" fmla="*/ 629191 w 2048870"/>
                <a:gd name="connsiteY35" fmla="*/ 328423 h 1413227"/>
                <a:gd name="connsiteX36" fmla="*/ 613634 w 2048870"/>
                <a:gd name="connsiteY36" fmla="*/ 323237 h 1413227"/>
                <a:gd name="connsiteX37" fmla="*/ 601534 w 2048870"/>
                <a:gd name="connsiteY37" fmla="*/ 311138 h 1413227"/>
                <a:gd name="connsiteX38" fmla="*/ 572149 w 2048870"/>
                <a:gd name="connsiteY38" fmla="*/ 309409 h 1413227"/>
                <a:gd name="connsiteX39" fmla="*/ 566963 w 2048870"/>
                <a:gd name="connsiteY39" fmla="*/ 295581 h 1413227"/>
                <a:gd name="connsiteX40" fmla="*/ 563506 w 2048870"/>
                <a:gd name="connsiteY40" fmla="*/ 300766 h 1413227"/>
                <a:gd name="connsiteX41" fmla="*/ 558320 w 2048870"/>
                <a:gd name="connsiteY41" fmla="*/ 307680 h 1413227"/>
                <a:gd name="connsiteX42" fmla="*/ 549678 w 2048870"/>
                <a:gd name="connsiteY42" fmla="*/ 321509 h 1413227"/>
                <a:gd name="connsiteX43" fmla="*/ 509921 w 2048870"/>
                <a:gd name="connsiteY43" fmla="*/ 324966 h 1413227"/>
                <a:gd name="connsiteX44" fmla="*/ 515107 w 2048870"/>
                <a:gd name="connsiteY44" fmla="*/ 328423 h 1413227"/>
                <a:gd name="connsiteX45" fmla="*/ 525478 w 2048870"/>
                <a:gd name="connsiteY45" fmla="*/ 331880 h 1413227"/>
                <a:gd name="connsiteX46" fmla="*/ 523749 w 2048870"/>
                <a:gd name="connsiteY46" fmla="*/ 337066 h 1413227"/>
                <a:gd name="connsiteX47" fmla="*/ 516835 w 2048870"/>
                <a:gd name="connsiteY47" fmla="*/ 343980 h 1413227"/>
                <a:gd name="connsiteX48" fmla="*/ 511650 w 2048870"/>
                <a:gd name="connsiteY48" fmla="*/ 323237 h 1413227"/>
                <a:gd name="connsiteX49" fmla="*/ 483993 w 2048870"/>
                <a:gd name="connsiteY49" fmla="*/ 333609 h 1413227"/>
                <a:gd name="connsiteX50" fmla="*/ 478807 w 2048870"/>
                <a:gd name="connsiteY50" fmla="*/ 338794 h 1413227"/>
                <a:gd name="connsiteX51" fmla="*/ 466707 w 2048870"/>
                <a:gd name="connsiteY51" fmla="*/ 337066 h 1413227"/>
                <a:gd name="connsiteX52" fmla="*/ 463250 w 2048870"/>
                <a:gd name="connsiteY52" fmla="*/ 324966 h 1413227"/>
                <a:gd name="connsiteX53" fmla="*/ 454608 w 2048870"/>
                <a:gd name="connsiteY53" fmla="*/ 312866 h 1413227"/>
                <a:gd name="connsiteX54" fmla="*/ 449422 w 2048870"/>
                <a:gd name="connsiteY54" fmla="*/ 311138 h 1413227"/>
                <a:gd name="connsiteX55" fmla="*/ 425222 w 2048870"/>
                <a:gd name="connsiteY55" fmla="*/ 314595 h 1413227"/>
                <a:gd name="connsiteX56" fmla="*/ 273110 w 2048870"/>
                <a:gd name="connsiteY56" fmla="*/ 316323 h 1413227"/>
                <a:gd name="connsiteX57" fmla="*/ 262739 w 2048870"/>
                <a:gd name="connsiteY57" fmla="*/ 323237 h 1413227"/>
                <a:gd name="connsiteX58" fmla="*/ 255825 w 2048870"/>
                <a:gd name="connsiteY58" fmla="*/ 324966 h 1413227"/>
                <a:gd name="connsiteX59" fmla="*/ 250639 w 2048870"/>
                <a:gd name="connsiteY59" fmla="*/ 326694 h 1413227"/>
                <a:gd name="connsiteX60" fmla="*/ 238540 w 2048870"/>
                <a:gd name="connsiteY60" fmla="*/ 330152 h 1413227"/>
                <a:gd name="connsiteX61" fmla="*/ 200512 w 2048870"/>
                <a:gd name="connsiteY61" fmla="*/ 333609 h 1413227"/>
                <a:gd name="connsiteX62" fmla="*/ 188412 w 2048870"/>
                <a:gd name="connsiteY62" fmla="*/ 338794 h 1413227"/>
                <a:gd name="connsiteX63" fmla="*/ 176312 w 2048870"/>
                <a:gd name="connsiteY63" fmla="*/ 342251 h 1413227"/>
                <a:gd name="connsiteX64" fmla="*/ 146927 w 2048870"/>
                <a:gd name="connsiteY64" fmla="*/ 356080 h 1413227"/>
                <a:gd name="connsiteX65" fmla="*/ 138284 w 2048870"/>
                <a:gd name="connsiteY65" fmla="*/ 357808 h 1413227"/>
                <a:gd name="connsiteX66" fmla="*/ 136555 w 2048870"/>
                <a:gd name="connsiteY66" fmla="*/ 364722 h 1413227"/>
                <a:gd name="connsiteX67" fmla="*/ 134827 w 2048870"/>
                <a:gd name="connsiteY67" fmla="*/ 380279 h 1413227"/>
                <a:gd name="connsiteX68" fmla="*/ 127913 w 2048870"/>
                <a:gd name="connsiteY68" fmla="*/ 387193 h 1413227"/>
                <a:gd name="connsiteX69" fmla="*/ 126184 w 2048870"/>
                <a:gd name="connsiteY69" fmla="*/ 394108 h 1413227"/>
                <a:gd name="connsiteX70" fmla="*/ 124456 w 2048870"/>
                <a:gd name="connsiteY70" fmla="*/ 402750 h 1413227"/>
                <a:gd name="connsiteX71" fmla="*/ 117541 w 2048870"/>
                <a:gd name="connsiteY71" fmla="*/ 407936 h 1413227"/>
                <a:gd name="connsiteX72" fmla="*/ 105442 w 2048870"/>
                <a:gd name="connsiteY72" fmla="*/ 411393 h 1413227"/>
                <a:gd name="connsiteX73" fmla="*/ 100256 w 2048870"/>
                <a:gd name="connsiteY73" fmla="*/ 413122 h 1413227"/>
                <a:gd name="connsiteX74" fmla="*/ 70871 w 2048870"/>
                <a:gd name="connsiteY74" fmla="*/ 421764 h 1413227"/>
                <a:gd name="connsiteX75" fmla="*/ 67414 w 2048870"/>
                <a:gd name="connsiteY75" fmla="*/ 428679 h 1413227"/>
                <a:gd name="connsiteX76" fmla="*/ 69142 w 2048870"/>
                <a:gd name="connsiteY76" fmla="*/ 440778 h 1413227"/>
                <a:gd name="connsiteX77" fmla="*/ 65685 w 2048870"/>
                <a:gd name="connsiteY77" fmla="*/ 445964 h 1413227"/>
                <a:gd name="connsiteX78" fmla="*/ 63957 w 2048870"/>
                <a:gd name="connsiteY78" fmla="*/ 452878 h 1413227"/>
                <a:gd name="connsiteX79" fmla="*/ 69142 w 2048870"/>
                <a:gd name="connsiteY79" fmla="*/ 456335 h 1413227"/>
                <a:gd name="connsiteX80" fmla="*/ 74328 w 2048870"/>
                <a:gd name="connsiteY80" fmla="*/ 458064 h 1413227"/>
                <a:gd name="connsiteX81" fmla="*/ 84699 w 2048870"/>
                <a:gd name="connsiteY81" fmla="*/ 466707 h 1413227"/>
                <a:gd name="connsiteX82" fmla="*/ 81242 w 2048870"/>
                <a:gd name="connsiteY82" fmla="*/ 473621 h 1413227"/>
                <a:gd name="connsiteX83" fmla="*/ 77785 w 2048870"/>
                <a:gd name="connsiteY83" fmla="*/ 478806 h 1413227"/>
                <a:gd name="connsiteX84" fmla="*/ 79513 w 2048870"/>
                <a:gd name="connsiteY84" fmla="*/ 485721 h 1413227"/>
                <a:gd name="connsiteX85" fmla="*/ 72599 w 2048870"/>
                <a:gd name="connsiteY85" fmla="*/ 489178 h 1413227"/>
                <a:gd name="connsiteX86" fmla="*/ 63957 w 2048870"/>
                <a:gd name="connsiteY86" fmla="*/ 487449 h 1413227"/>
                <a:gd name="connsiteX87" fmla="*/ 76056 w 2048870"/>
                <a:gd name="connsiteY87" fmla="*/ 485721 h 1413227"/>
                <a:gd name="connsiteX88" fmla="*/ 86428 w 2048870"/>
                <a:gd name="connsiteY88" fmla="*/ 483992 h 1413227"/>
                <a:gd name="connsiteX89" fmla="*/ 84699 w 2048870"/>
                <a:gd name="connsiteY89" fmla="*/ 494363 h 1413227"/>
                <a:gd name="connsiteX90" fmla="*/ 86428 w 2048870"/>
                <a:gd name="connsiteY90" fmla="*/ 501277 h 1413227"/>
                <a:gd name="connsiteX91" fmla="*/ 96799 w 2048870"/>
                <a:gd name="connsiteY91" fmla="*/ 515106 h 1413227"/>
                <a:gd name="connsiteX92" fmla="*/ 101985 w 2048870"/>
                <a:gd name="connsiteY92" fmla="*/ 516834 h 1413227"/>
                <a:gd name="connsiteX93" fmla="*/ 114084 w 2048870"/>
                <a:gd name="connsiteY93" fmla="*/ 520291 h 1413227"/>
                <a:gd name="connsiteX94" fmla="*/ 119270 w 2048870"/>
                <a:gd name="connsiteY94" fmla="*/ 525477 h 1413227"/>
                <a:gd name="connsiteX95" fmla="*/ 133098 w 2048870"/>
                <a:gd name="connsiteY95" fmla="*/ 535848 h 1413227"/>
                <a:gd name="connsiteX96" fmla="*/ 124649 w 2048870"/>
                <a:gd name="connsiteY96" fmla="*/ 554668 h 1413227"/>
                <a:gd name="connsiteX97" fmla="*/ 134827 w 2048870"/>
                <a:gd name="connsiteY97" fmla="*/ 572148 h 1413227"/>
                <a:gd name="connsiteX98" fmla="*/ 140012 w 2048870"/>
                <a:gd name="connsiteY98" fmla="*/ 573876 h 1413227"/>
                <a:gd name="connsiteX99" fmla="*/ 143470 w 2048870"/>
                <a:gd name="connsiteY99" fmla="*/ 577333 h 1413227"/>
                <a:gd name="connsiteX100" fmla="*/ 146927 w 2048870"/>
                <a:gd name="connsiteY100" fmla="*/ 589433 h 1413227"/>
                <a:gd name="connsiteX101" fmla="*/ 150384 w 2048870"/>
                <a:gd name="connsiteY101" fmla="*/ 598076 h 1413227"/>
                <a:gd name="connsiteX102" fmla="*/ 148655 w 2048870"/>
                <a:gd name="connsiteY102" fmla="*/ 617090 h 1413227"/>
                <a:gd name="connsiteX103" fmla="*/ 146927 w 2048870"/>
                <a:gd name="connsiteY103" fmla="*/ 622276 h 1413227"/>
                <a:gd name="connsiteX104" fmla="*/ 141741 w 2048870"/>
                <a:gd name="connsiteY104" fmla="*/ 627461 h 1413227"/>
                <a:gd name="connsiteX105" fmla="*/ 136555 w 2048870"/>
                <a:gd name="connsiteY105" fmla="*/ 634375 h 1413227"/>
                <a:gd name="connsiteX106" fmla="*/ 120999 w 2048870"/>
                <a:gd name="connsiteY106" fmla="*/ 639561 h 1413227"/>
                <a:gd name="connsiteX107" fmla="*/ 95070 w 2048870"/>
                <a:gd name="connsiteY107" fmla="*/ 665489 h 1413227"/>
                <a:gd name="connsiteX108" fmla="*/ 89885 w 2048870"/>
                <a:gd name="connsiteY108" fmla="*/ 670675 h 1413227"/>
                <a:gd name="connsiteX109" fmla="*/ 86428 w 2048870"/>
                <a:gd name="connsiteY109" fmla="*/ 675860 h 1413227"/>
                <a:gd name="connsiteX110" fmla="*/ 81242 w 2048870"/>
                <a:gd name="connsiteY110" fmla="*/ 677589 h 1413227"/>
                <a:gd name="connsiteX111" fmla="*/ 77785 w 2048870"/>
                <a:gd name="connsiteY111" fmla="*/ 682775 h 1413227"/>
                <a:gd name="connsiteX112" fmla="*/ 63957 w 2048870"/>
                <a:gd name="connsiteY112" fmla="*/ 689689 h 1413227"/>
                <a:gd name="connsiteX113" fmla="*/ 60499 w 2048870"/>
                <a:gd name="connsiteY113" fmla="*/ 706974 h 1413227"/>
                <a:gd name="connsiteX114" fmla="*/ 50128 w 2048870"/>
                <a:gd name="connsiteY114" fmla="*/ 720803 h 1413227"/>
                <a:gd name="connsiteX115" fmla="*/ 48400 w 2048870"/>
                <a:gd name="connsiteY115" fmla="*/ 725988 h 1413227"/>
                <a:gd name="connsiteX116" fmla="*/ 46671 w 2048870"/>
                <a:gd name="connsiteY116" fmla="*/ 732902 h 1413227"/>
                <a:gd name="connsiteX117" fmla="*/ 25929 w 2048870"/>
                <a:gd name="connsiteY117" fmla="*/ 751916 h 1413227"/>
                <a:gd name="connsiteX118" fmla="*/ 19014 w 2048870"/>
                <a:gd name="connsiteY118" fmla="*/ 776116 h 1413227"/>
                <a:gd name="connsiteX119" fmla="*/ 12100 w 2048870"/>
                <a:gd name="connsiteY119" fmla="*/ 789944 h 1413227"/>
                <a:gd name="connsiteX120" fmla="*/ 17286 w 2048870"/>
                <a:gd name="connsiteY120" fmla="*/ 822787 h 1413227"/>
                <a:gd name="connsiteX121" fmla="*/ 25929 w 2048870"/>
                <a:gd name="connsiteY121" fmla="*/ 829701 h 1413227"/>
                <a:gd name="connsiteX122" fmla="*/ 29386 w 2048870"/>
                <a:gd name="connsiteY122" fmla="*/ 838344 h 1413227"/>
                <a:gd name="connsiteX123" fmla="*/ 36300 w 2048870"/>
                <a:gd name="connsiteY123" fmla="*/ 843529 h 1413227"/>
                <a:gd name="connsiteX124" fmla="*/ 38028 w 2048870"/>
                <a:gd name="connsiteY124" fmla="*/ 852172 h 1413227"/>
                <a:gd name="connsiteX125" fmla="*/ 43214 w 2048870"/>
                <a:gd name="connsiteY125" fmla="*/ 864272 h 1413227"/>
                <a:gd name="connsiteX126" fmla="*/ 44943 w 2048870"/>
                <a:gd name="connsiteY126" fmla="*/ 874643 h 1413227"/>
                <a:gd name="connsiteX127" fmla="*/ 51857 w 2048870"/>
                <a:gd name="connsiteY127" fmla="*/ 876372 h 1413227"/>
                <a:gd name="connsiteX128" fmla="*/ 53585 w 2048870"/>
                <a:gd name="connsiteY128" fmla="*/ 883286 h 1413227"/>
                <a:gd name="connsiteX129" fmla="*/ 58771 w 2048870"/>
                <a:gd name="connsiteY129" fmla="*/ 886743 h 1413227"/>
                <a:gd name="connsiteX130" fmla="*/ 51857 w 2048870"/>
                <a:gd name="connsiteY130" fmla="*/ 898843 h 1413227"/>
                <a:gd name="connsiteX131" fmla="*/ 43214 w 2048870"/>
                <a:gd name="connsiteY131" fmla="*/ 904028 h 1413227"/>
                <a:gd name="connsiteX132" fmla="*/ 29386 w 2048870"/>
                <a:gd name="connsiteY132" fmla="*/ 909214 h 1413227"/>
                <a:gd name="connsiteX133" fmla="*/ 27657 w 2048870"/>
                <a:gd name="connsiteY133" fmla="*/ 919585 h 1413227"/>
                <a:gd name="connsiteX134" fmla="*/ 25929 w 2048870"/>
                <a:gd name="connsiteY134" fmla="*/ 926499 h 1413227"/>
                <a:gd name="connsiteX135" fmla="*/ 19014 w 2048870"/>
                <a:gd name="connsiteY135" fmla="*/ 955885 h 1413227"/>
                <a:gd name="connsiteX136" fmla="*/ 10372 w 2048870"/>
                <a:gd name="connsiteY136" fmla="*/ 969713 h 1413227"/>
                <a:gd name="connsiteX137" fmla="*/ 8643 w 2048870"/>
                <a:gd name="connsiteY137" fmla="*/ 990455 h 1413227"/>
                <a:gd name="connsiteX138" fmla="*/ 0 w 2048870"/>
                <a:gd name="connsiteY138" fmla="*/ 999098 h 1413227"/>
                <a:gd name="connsiteX139" fmla="*/ 6915 w 2048870"/>
                <a:gd name="connsiteY139" fmla="*/ 1023298 h 1413227"/>
                <a:gd name="connsiteX140" fmla="*/ 15557 w 2048870"/>
                <a:gd name="connsiteY140" fmla="*/ 1025026 h 1413227"/>
                <a:gd name="connsiteX141" fmla="*/ 22471 w 2048870"/>
                <a:gd name="connsiteY141" fmla="*/ 1030212 h 1413227"/>
                <a:gd name="connsiteX142" fmla="*/ 27657 w 2048870"/>
                <a:gd name="connsiteY142" fmla="*/ 1031941 h 1413227"/>
                <a:gd name="connsiteX143" fmla="*/ 34571 w 2048870"/>
                <a:gd name="connsiteY143" fmla="*/ 1035398 h 1413227"/>
                <a:gd name="connsiteX144" fmla="*/ 39757 w 2048870"/>
                <a:gd name="connsiteY144" fmla="*/ 1042312 h 1413227"/>
                <a:gd name="connsiteX145" fmla="*/ 43214 w 2048870"/>
                <a:gd name="connsiteY145" fmla="*/ 1047497 h 1413227"/>
                <a:gd name="connsiteX146" fmla="*/ 53585 w 2048870"/>
                <a:gd name="connsiteY146" fmla="*/ 1052683 h 1413227"/>
                <a:gd name="connsiteX147" fmla="*/ 95070 w 2048870"/>
                <a:gd name="connsiteY147" fmla="*/ 1061326 h 1413227"/>
                <a:gd name="connsiteX148" fmla="*/ 96799 w 2048870"/>
                <a:gd name="connsiteY148" fmla="*/ 1073426 h 1413227"/>
                <a:gd name="connsiteX149" fmla="*/ 101985 w 2048870"/>
                <a:gd name="connsiteY149" fmla="*/ 1075154 h 1413227"/>
                <a:gd name="connsiteX150" fmla="*/ 112356 w 2048870"/>
                <a:gd name="connsiteY150" fmla="*/ 1066511 h 1413227"/>
                <a:gd name="connsiteX151" fmla="*/ 119270 w 2048870"/>
                <a:gd name="connsiteY151" fmla="*/ 1059597 h 1413227"/>
                <a:gd name="connsiteX152" fmla="*/ 120999 w 2048870"/>
                <a:gd name="connsiteY152" fmla="*/ 1054412 h 1413227"/>
                <a:gd name="connsiteX153" fmla="*/ 134827 w 2048870"/>
                <a:gd name="connsiteY153" fmla="*/ 1061326 h 1413227"/>
                <a:gd name="connsiteX154" fmla="*/ 141741 w 2048870"/>
                <a:gd name="connsiteY154" fmla="*/ 1063054 h 1413227"/>
                <a:gd name="connsiteX155" fmla="*/ 146927 w 2048870"/>
                <a:gd name="connsiteY155" fmla="*/ 1064783 h 1413227"/>
                <a:gd name="connsiteX156" fmla="*/ 247182 w 2048870"/>
                <a:gd name="connsiteY156" fmla="*/ 1068240 h 1413227"/>
                <a:gd name="connsiteX157" fmla="*/ 266196 w 2048870"/>
                <a:gd name="connsiteY157" fmla="*/ 1064783 h 1413227"/>
                <a:gd name="connsiteX158" fmla="*/ 276568 w 2048870"/>
                <a:gd name="connsiteY158" fmla="*/ 1059597 h 1413227"/>
                <a:gd name="connsiteX159" fmla="*/ 285210 w 2048870"/>
                <a:gd name="connsiteY159" fmla="*/ 1049226 h 1413227"/>
                <a:gd name="connsiteX160" fmla="*/ 295581 w 2048870"/>
                <a:gd name="connsiteY160" fmla="*/ 1052683 h 1413227"/>
                <a:gd name="connsiteX161" fmla="*/ 299039 w 2048870"/>
                <a:gd name="connsiteY161" fmla="*/ 1059597 h 1413227"/>
                <a:gd name="connsiteX162" fmla="*/ 312867 w 2048870"/>
                <a:gd name="connsiteY162" fmla="*/ 1071697 h 1413227"/>
                <a:gd name="connsiteX163" fmla="*/ 338795 w 2048870"/>
                <a:gd name="connsiteY163" fmla="*/ 1078611 h 1413227"/>
                <a:gd name="connsiteX164" fmla="*/ 361266 w 2048870"/>
                <a:gd name="connsiteY164" fmla="*/ 1075154 h 1413227"/>
                <a:gd name="connsiteX165" fmla="*/ 362995 w 2048870"/>
                <a:gd name="connsiteY165" fmla="*/ 1068240 h 1413227"/>
                <a:gd name="connsiteX166" fmla="*/ 373366 w 2048870"/>
                <a:gd name="connsiteY166" fmla="*/ 1050955 h 1413227"/>
                <a:gd name="connsiteX167" fmla="*/ 378552 w 2048870"/>
                <a:gd name="connsiteY167" fmla="*/ 1045769 h 1413227"/>
                <a:gd name="connsiteX168" fmla="*/ 397566 w 2048870"/>
                <a:gd name="connsiteY168" fmla="*/ 1038855 h 1413227"/>
                <a:gd name="connsiteX169" fmla="*/ 432137 w 2048870"/>
                <a:gd name="connsiteY169" fmla="*/ 1035398 h 1413227"/>
                <a:gd name="connsiteX170" fmla="*/ 444236 w 2048870"/>
                <a:gd name="connsiteY170" fmla="*/ 1031941 h 1413227"/>
                <a:gd name="connsiteX171" fmla="*/ 447693 w 2048870"/>
                <a:gd name="connsiteY171" fmla="*/ 1025026 h 1413227"/>
                <a:gd name="connsiteX172" fmla="*/ 452879 w 2048870"/>
                <a:gd name="connsiteY172" fmla="*/ 1021569 h 1413227"/>
                <a:gd name="connsiteX173" fmla="*/ 468436 w 2048870"/>
                <a:gd name="connsiteY173" fmla="*/ 1011198 h 1413227"/>
                <a:gd name="connsiteX174" fmla="*/ 473622 w 2048870"/>
                <a:gd name="connsiteY174" fmla="*/ 999098 h 1413227"/>
                <a:gd name="connsiteX175" fmla="*/ 478807 w 2048870"/>
                <a:gd name="connsiteY175" fmla="*/ 986998 h 1413227"/>
                <a:gd name="connsiteX176" fmla="*/ 485721 w 2048870"/>
                <a:gd name="connsiteY176" fmla="*/ 980084 h 1413227"/>
                <a:gd name="connsiteX177" fmla="*/ 489178 w 2048870"/>
                <a:gd name="connsiteY177" fmla="*/ 974899 h 1413227"/>
                <a:gd name="connsiteX178" fmla="*/ 511650 w 2048870"/>
                <a:gd name="connsiteY178" fmla="*/ 955885 h 1413227"/>
                <a:gd name="connsiteX179" fmla="*/ 530664 w 2048870"/>
                <a:gd name="connsiteY179" fmla="*/ 947242 h 1413227"/>
                <a:gd name="connsiteX180" fmla="*/ 537578 w 2048870"/>
                <a:gd name="connsiteY180" fmla="*/ 933414 h 1413227"/>
                <a:gd name="connsiteX181" fmla="*/ 539306 w 2048870"/>
                <a:gd name="connsiteY181" fmla="*/ 928228 h 1413227"/>
                <a:gd name="connsiteX182" fmla="*/ 541035 w 2048870"/>
                <a:gd name="connsiteY182" fmla="*/ 921314 h 1413227"/>
                <a:gd name="connsiteX183" fmla="*/ 563506 w 2048870"/>
                <a:gd name="connsiteY183" fmla="*/ 917857 h 1413227"/>
                <a:gd name="connsiteX184" fmla="*/ 568692 w 2048870"/>
                <a:gd name="connsiteY184" fmla="*/ 916128 h 1413227"/>
                <a:gd name="connsiteX185" fmla="*/ 584248 w 2048870"/>
                <a:gd name="connsiteY185" fmla="*/ 914400 h 1413227"/>
                <a:gd name="connsiteX186" fmla="*/ 589434 w 2048870"/>
                <a:gd name="connsiteY186" fmla="*/ 910942 h 1413227"/>
                <a:gd name="connsiteX187" fmla="*/ 599805 w 2048870"/>
                <a:gd name="connsiteY187" fmla="*/ 905757 h 1413227"/>
                <a:gd name="connsiteX188" fmla="*/ 604991 w 2048870"/>
                <a:gd name="connsiteY188" fmla="*/ 900571 h 1413227"/>
                <a:gd name="connsiteX189" fmla="*/ 606719 w 2048870"/>
                <a:gd name="connsiteY189" fmla="*/ 895386 h 1413227"/>
                <a:gd name="connsiteX190" fmla="*/ 615362 w 2048870"/>
                <a:gd name="connsiteY190" fmla="*/ 891928 h 1413227"/>
                <a:gd name="connsiteX191" fmla="*/ 620548 w 2048870"/>
                <a:gd name="connsiteY191" fmla="*/ 886743 h 1413227"/>
                <a:gd name="connsiteX192" fmla="*/ 639562 w 2048870"/>
                <a:gd name="connsiteY192" fmla="*/ 879829 h 1413227"/>
                <a:gd name="connsiteX193" fmla="*/ 653390 w 2048870"/>
                <a:gd name="connsiteY193" fmla="*/ 883286 h 1413227"/>
                <a:gd name="connsiteX194" fmla="*/ 660304 w 2048870"/>
                <a:gd name="connsiteY194" fmla="*/ 885014 h 1413227"/>
                <a:gd name="connsiteX195" fmla="*/ 668947 w 2048870"/>
                <a:gd name="connsiteY195" fmla="*/ 886743 h 1413227"/>
                <a:gd name="connsiteX196" fmla="*/ 675861 w 2048870"/>
                <a:gd name="connsiteY196" fmla="*/ 890200 h 1413227"/>
                <a:gd name="connsiteX197" fmla="*/ 682775 w 2048870"/>
                <a:gd name="connsiteY197" fmla="*/ 891928 h 1413227"/>
                <a:gd name="connsiteX198" fmla="*/ 687961 w 2048870"/>
                <a:gd name="connsiteY198" fmla="*/ 895386 h 1413227"/>
                <a:gd name="connsiteX199" fmla="*/ 700061 w 2048870"/>
                <a:gd name="connsiteY199" fmla="*/ 898843 h 1413227"/>
                <a:gd name="connsiteX200" fmla="*/ 706975 w 2048870"/>
                <a:gd name="connsiteY200" fmla="*/ 904028 h 1413227"/>
                <a:gd name="connsiteX201" fmla="*/ 720803 w 2048870"/>
                <a:gd name="connsiteY201" fmla="*/ 907485 h 1413227"/>
                <a:gd name="connsiteX202" fmla="*/ 727718 w 2048870"/>
                <a:gd name="connsiteY202" fmla="*/ 905757 h 1413227"/>
                <a:gd name="connsiteX203" fmla="*/ 736360 w 2048870"/>
                <a:gd name="connsiteY203" fmla="*/ 904028 h 1413227"/>
                <a:gd name="connsiteX204" fmla="*/ 738089 w 2048870"/>
                <a:gd name="connsiteY204" fmla="*/ 910942 h 1413227"/>
                <a:gd name="connsiteX205" fmla="*/ 760560 w 2048870"/>
                <a:gd name="connsiteY205" fmla="*/ 904028 h 1413227"/>
                <a:gd name="connsiteX206" fmla="*/ 770931 w 2048870"/>
                <a:gd name="connsiteY206" fmla="*/ 895386 h 1413227"/>
                <a:gd name="connsiteX207" fmla="*/ 776117 w 2048870"/>
                <a:gd name="connsiteY207" fmla="*/ 909214 h 1413227"/>
                <a:gd name="connsiteX208" fmla="*/ 783031 w 2048870"/>
                <a:gd name="connsiteY208" fmla="*/ 914400 h 1413227"/>
                <a:gd name="connsiteX209" fmla="*/ 788217 w 2048870"/>
                <a:gd name="connsiteY209" fmla="*/ 919585 h 1413227"/>
                <a:gd name="connsiteX210" fmla="*/ 793402 w 2048870"/>
                <a:gd name="connsiteY210" fmla="*/ 923042 h 1413227"/>
                <a:gd name="connsiteX211" fmla="*/ 798588 w 2048870"/>
                <a:gd name="connsiteY211" fmla="*/ 928228 h 1413227"/>
                <a:gd name="connsiteX212" fmla="*/ 815873 w 2048870"/>
                <a:gd name="connsiteY212" fmla="*/ 935142 h 1413227"/>
                <a:gd name="connsiteX213" fmla="*/ 821059 w 2048870"/>
                <a:gd name="connsiteY213" fmla="*/ 926499 h 1413227"/>
                <a:gd name="connsiteX214" fmla="*/ 824516 w 2048870"/>
                <a:gd name="connsiteY214" fmla="*/ 910942 h 1413227"/>
                <a:gd name="connsiteX215" fmla="*/ 833159 w 2048870"/>
                <a:gd name="connsiteY215" fmla="*/ 912671 h 1413227"/>
                <a:gd name="connsiteX216" fmla="*/ 838344 w 2048870"/>
                <a:gd name="connsiteY216" fmla="*/ 926499 h 1413227"/>
                <a:gd name="connsiteX217" fmla="*/ 841802 w 2048870"/>
                <a:gd name="connsiteY217" fmla="*/ 929956 h 1413227"/>
                <a:gd name="connsiteX218" fmla="*/ 850444 w 2048870"/>
                <a:gd name="connsiteY218" fmla="*/ 948970 h 1413227"/>
                <a:gd name="connsiteX219" fmla="*/ 853901 w 2048870"/>
                <a:gd name="connsiteY219" fmla="*/ 954156 h 1413227"/>
                <a:gd name="connsiteX220" fmla="*/ 859087 w 2048870"/>
                <a:gd name="connsiteY220" fmla="*/ 988727 h 1413227"/>
                <a:gd name="connsiteX221" fmla="*/ 864273 w 2048870"/>
                <a:gd name="connsiteY221" fmla="*/ 1009469 h 1413227"/>
                <a:gd name="connsiteX222" fmla="*/ 878101 w 2048870"/>
                <a:gd name="connsiteY222" fmla="*/ 1012927 h 1413227"/>
                <a:gd name="connsiteX223" fmla="*/ 885015 w 2048870"/>
                <a:gd name="connsiteY223" fmla="*/ 1016384 h 1413227"/>
                <a:gd name="connsiteX224" fmla="*/ 888472 w 2048870"/>
                <a:gd name="connsiteY224" fmla="*/ 1021569 h 1413227"/>
                <a:gd name="connsiteX225" fmla="*/ 900572 w 2048870"/>
                <a:gd name="connsiteY225" fmla="*/ 1026755 h 1413227"/>
                <a:gd name="connsiteX226" fmla="*/ 905758 w 2048870"/>
                <a:gd name="connsiteY226" fmla="*/ 1033669 h 1413227"/>
                <a:gd name="connsiteX227" fmla="*/ 909215 w 2048870"/>
                <a:gd name="connsiteY227" fmla="*/ 1040583 h 1413227"/>
                <a:gd name="connsiteX228" fmla="*/ 912672 w 2048870"/>
                <a:gd name="connsiteY228" fmla="*/ 1045769 h 1413227"/>
                <a:gd name="connsiteX229" fmla="*/ 921315 w 2048870"/>
                <a:gd name="connsiteY229" fmla="*/ 1061326 h 1413227"/>
                <a:gd name="connsiteX230" fmla="*/ 928229 w 2048870"/>
                <a:gd name="connsiteY230" fmla="*/ 1082068 h 1413227"/>
                <a:gd name="connsiteX231" fmla="*/ 929957 w 2048870"/>
                <a:gd name="connsiteY231" fmla="*/ 1088983 h 1413227"/>
                <a:gd name="connsiteX232" fmla="*/ 940329 w 2048870"/>
                <a:gd name="connsiteY232" fmla="*/ 1095897 h 1413227"/>
                <a:gd name="connsiteX233" fmla="*/ 959343 w 2048870"/>
                <a:gd name="connsiteY233" fmla="*/ 1097625 h 1413227"/>
                <a:gd name="connsiteX234" fmla="*/ 967985 w 2048870"/>
                <a:gd name="connsiteY234" fmla="*/ 1101082 h 1413227"/>
                <a:gd name="connsiteX235" fmla="*/ 973171 w 2048870"/>
                <a:gd name="connsiteY235" fmla="*/ 1106268 h 1413227"/>
                <a:gd name="connsiteX236" fmla="*/ 978357 w 2048870"/>
                <a:gd name="connsiteY236" fmla="*/ 1109725 h 1413227"/>
                <a:gd name="connsiteX237" fmla="*/ 983542 w 2048870"/>
                <a:gd name="connsiteY237" fmla="*/ 1118368 h 1413227"/>
                <a:gd name="connsiteX238" fmla="*/ 985271 w 2048870"/>
                <a:gd name="connsiteY238" fmla="*/ 1132196 h 1413227"/>
                <a:gd name="connsiteX239" fmla="*/ 992185 w 2048870"/>
                <a:gd name="connsiteY239" fmla="*/ 1139110 h 1413227"/>
                <a:gd name="connsiteX240" fmla="*/ 1006013 w 2048870"/>
                <a:gd name="connsiteY240" fmla="*/ 1147753 h 1413227"/>
                <a:gd name="connsiteX241" fmla="*/ 1019842 w 2048870"/>
                <a:gd name="connsiteY241" fmla="*/ 1165038 h 1413227"/>
                <a:gd name="connsiteX242" fmla="*/ 1012927 w 2048870"/>
                <a:gd name="connsiteY242" fmla="*/ 1168496 h 1413227"/>
                <a:gd name="connsiteX243" fmla="*/ 1009470 w 2048870"/>
                <a:gd name="connsiteY243" fmla="*/ 1173681 h 1413227"/>
                <a:gd name="connsiteX244" fmla="*/ 997371 w 2048870"/>
                <a:gd name="connsiteY244" fmla="*/ 1177138 h 1413227"/>
                <a:gd name="connsiteX245" fmla="*/ 990456 w 2048870"/>
                <a:gd name="connsiteY245" fmla="*/ 1182324 h 1413227"/>
                <a:gd name="connsiteX246" fmla="*/ 973171 w 2048870"/>
                <a:gd name="connsiteY246" fmla="*/ 1182324 h 1413227"/>
                <a:gd name="connsiteX247" fmla="*/ 971442 w 2048870"/>
                <a:gd name="connsiteY247" fmla="*/ 1161581 h 1413227"/>
                <a:gd name="connsiteX248" fmla="*/ 962800 w 2048870"/>
                <a:gd name="connsiteY248" fmla="*/ 1171953 h 1413227"/>
                <a:gd name="connsiteX249" fmla="*/ 959343 w 2048870"/>
                <a:gd name="connsiteY249" fmla="*/ 1178867 h 1413227"/>
                <a:gd name="connsiteX250" fmla="*/ 955885 w 2048870"/>
                <a:gd name="connsiteY250" fmla="*/ 1184052 h 1413227"/>
                <a:gd name="connsiteX251" fmla="*/ 947243 w 2048870"/>
                <a:gd name="connsiteY251" fmla="*/ 1187510 h 1413227"/>
                <a:gd name="connsiteX252" fmla="*/ 940329 w 2048870"/>
                <a:gd name="connsiteY252" fmla="*/ 1190967 h 1413227"/>
                <a:gd name="connsiteX253" fmla="*/ 935143 w 2048870"/>
                <a:gd name="connsiteY253" fmla="*/ 1189238 h 1413227"/>
                <a:gd name="connsiteX254" fmla="*/ 929957 w 2048870"/>
                <a:gd name="connsiteY254" fmla="*/ 1171953 h 1413227"/>
                <a:gd name="connsiteX255" fmla="*/ 926500 w 2048870"/>
                <a:gd name="connsiteY255" fmla="*/ 1165038 h 1413227"/>
                <a:gd name="connsiteX256" fmla="*/ 921315 w 2048870"/>
                <a:gd name="connsiteY256" fmla="*/ 1178867 h 1413227"/>
                <a:gd name="connsiteX257" fmla="*/ 917857 w 2048870"/>
                <a:gd name="connsiteY257" fmla="*/ 1182324 h 1413227"/>
                <a:gd name="connsiteX258" fmla="*/ 914400 w 2048870"/>
                <a:gd name="connsiteY258" fmla="*/ 1194424 h 1413227"/>
                <a:gd name="connsiteX259" fmla="*/ 909215 w 2048870"/>
                <a:gd name="connsiteY259" fmla="*/ 1199609 h 1413227"/>
                <a:gd name="connsiteX260" fmla="*/ 886744 w 2048870"/>
                <a:gd name="connsiteY260" fmla="*/ 1180595 h 1413227"/>
                <a:gd name="connsiteX261" fmla="*/ 883287 w 2048870"/>
                <a:gd name="connsiteY261" fmla="*/ 1189238 h 1413227"/>
                <a:gd name="connsiteX262" fmla="*/ 879830 w 2048870"/>
                <a:gd name="connsiteY262" fmla="*/ 1194424 h 1413227"/>
                <a:gd name="connsiteX263" fmla="*/ 874644 w 2048870"/>
                <a:gd name="connsiteY263" fmla="*/ 1204795 h 1413227"/>
                <a:gd name="connsiteX264" fmla="*/ 879830 w 2048870"/>
                <a:gd name="connsiteY264" fmla="*/ 1211709 h 1413227"/>
                <a:gd name="connsiteX265" fmla="*/ 890201 w 2048870"/>
                <a:gd name="connsiteY265" fmla="*/ 1215166 h 1413227"/>
                <a:gd name="connsiteX266" fmla="*/ 893658 w 2048870"/>
                <a:gd name="connsiteY266" fmla="*/ 1235909 h 1413227"/>
                <a:gd name="connsiteX267" fmla="*/ 891929 w 2048870"/>
                <a:gd name="connsiteY267" fmla="*/ 1258380 h 1413227"/>
                <a:gd name="connsiteX268" fmla="*/ 890201 w 2048870"/>
                <a:gd name="connsiteY268" fmla="*/ 1263565 h 1413227"/>
                <a:gd name="connsiteX269" fmla="*/ 878101 w 2048870"/>
                <a:gd name="connsiteY269" fmla="*/ 1275665 h 1413227"/>
                <a:gd name="connsiteX270" fmla="*/ 871187 w 2048870"/>
                <a:gd name="connsiteY270" fmla="*/ 1282579 h 1413227"/>
                <a:gd name="connsiteX271" fmla="*/ 876372 w 2048870"/>
                <a:gd name="connsiteY271" fmla="*/ 1287765 h 1413227"/>
                <a:gd name="connsiteX272" fmla="*/ 874644 w 2048870"/>
                <a:gd name="connsiteY272" fmla="*/ 1306779 h 1413227"/>
                <a:gd name="connsiteX273" fmla="*/ 869458 w 2048870"/>
                <a:gd name="connsiteY273" fmla="*/ 1308508 h 1413227"/>
                <a:gd name="connsiteX274" fmla="*/ 864273 w 2048870"/>
                <a:gd name="connsiteY274" fmla="*/ 1320607 h 1413227"/>
                <a:gd name="connsiteX275" fmla="*/ 858371 w 2048870"/>
                <a:gd name="connsiteY275" fmla="*/ 1338987 h 1413227"/>
                <a:gd name="connsiteX276" fmla="*/ 862544 w 2048870"/>
                <a:gd name="connsiteY276" fmla="*/ 1360364 h 1413227"/>
                <a:gd name="connsiteX277" fmla="*/ 857358 w 2048870"/>
                <a:gd name="connsiteY277" fmla="*/ 1363821 h 1413227"/>
                <a:gd name="connsiteX278" fmla="*/ 852173 w 2048870"/>
                <a:gd name="connsiteY278" fmla="*/ 1365550 h 1413227"/>
                <a:gd name="connsiteX279" fmla="*/ 850444 w 2048870"/>
                <a:gd name="connsiteY279" fmla="*/ 1370735 h 1413227"/>
                <a:gd name="connsiteX280" fmla="*/ 838344 w 2048870"/>
                <a:gd name="connsiteY280" fmla="*/ 1379378 h 1413227"/>
                <a:gd name="connsiteX281" fmla="*/ 841802 w 2048870"/>
                <a:gd name="connsiteY281" fmla="*/ 1389749 h 1413227"/>
                <a:gd name="connsiteX282" fmla="*/ 840497 w 2048870"/>
                <a:gd name="connsiteY282" fmla="*/ 1405535 h 1413227"/>
                <a:gd name="connsiteX283" fmla="*/ 835505 w 2048870"/>
                <a:gd name="connsiteY283" fmla="*/ 1401197 h 1413227"/>
                <a:gd name="connsiteX284" fmla="*/ 854324 w 2048870"/>
                <a:gd name="connsiteY284" fmla="*/ 1410492 h 1413227"/>
                <a:gd name="connsiteX285" fmla="*/ 885015 w 2048870"/>
                <a:gd name="connsiteY285" fmla="*/ 1408763 h 1413227"/>
                <a:gd name="connsiteX286" fmla="*/ 890201 w 2048870"/>
                <a:gd name="connsiteY286" fmla="*/ 1413103 h 1413227"/>
                <a:gd name="connsiteX287" fmla="*/ 921633 w 2048870"/>
                <a:gd name="connsiteY287" fmla="*/ 1403013 h 1413227"/>
                <a:gd name="connsiteX288" fmla="*/ 932427 w 2048870"/>
                <a:gd name="connsiteY288" fmla="*/ 1394371 h 1413227"/>
                <a:gd name="connsiteX289" fmla="*/ 933873 w 2048870"/>
                <a:gd name="connsiteY289" fmla="*/ 1386010 h 1413227"/>
                <a:gd name="connsiteX290" fmla="*/ 943362 w 2048870"/>
                <a:gd name="connsiteY290" fmla="*/ 1367278 h 1413227"/>
                <a:gd name="connsiteX291" fmla="*/ 943786 w 2048870"/>
                <a:gd name="connsiteY291" fmla="*/ 1362093 h 1413227"/>
                <a:gd name="connsiteX292" fmla="*/ 954157 w 2048870"/>
                <a:gd name="connsiteY292" fmla="*/ 1360364 h 1413227"/>
                <a:gd name="connsiteX293" fmla="*/ 993913 w 2048870"/>
                <a:gd name="connsiteY293" fmla="*/ 1356907 h 1413227"/>
                <a:gd name="connsiteX294" fmla="*/ 997371 w 2048870"/>
                <a:gd name="connsiteY294" fmla="*/ 1349993 h 1413227"/>
                <a:gd name="connsiteX295" fmla="*/ 1009470 w 2048870"/>
                <a:gd name="connsiteY295" fmla="*/ 1344807 h 1413227"/>
                <a:gd name="connsiteX296" fmla="*/ 997371 w 2048870"/>
                <a:gd name="connsiteY296" fmla="*/ 1334436 h 1413227"/>
                <a:gd name="connsiteX297" fmla="*/ 993913 w 2048870"/>
                <a:gd name="connsiteY297" fmla="*/ 1327522 h 1413227"/>
                <a:gd name="connsiteX298" fmla="*/ 988728 w 2048870"/>
                <a:gd name="connsiteY298" fmla="*/ 1322336 h 1413227"/>
                <a:gd name="connsiteX299" fmla="*/ 985271 w 2048870"/>
                <a:gd name="connsiteY299" fmla="*/ 1310236 h 1413227"/>
                <a:gd name="connsiteX300" fmla="*/ 981814 w 2048870"/>
                <a:gd name="connsiteY300" fmla="*/ 1299865 h 1413227"/>
                <a:gd name="connsiteX301" fmla="*/ 990456 w 2048870"/>
                <a:gd name="connsiteY301" fmla="*/ 1287765 h 1413227"/>
                <a:gd name="connsiteX302" fmla="*/ 992185 w 2048870"/>
                <a:gd name="connsiteY302" fmla="*/ 1292951 h 1413227"/>
                <a:gd name="connsiteX303" fmla="*/ 1014656 w 2048870"/>
                <a:gd name="connsiteY303" fmla="*/ 1299865 h 1413227"/>
                <a:gd name="connsiteX304" fmla="*/ 1016385 w 2048870"/>
                <a:gd name="connsiteY304" fmla="*/ 1294679 h 1413227"/>
                <a:gd name="connsiteX305" fmla="*/ 1018113 w 2048870"/>
                <a:gd name="connsiteY305" fmla="*/ 1284308 h 1413227"/>
                <a:gd name="connsiteX306" fmla="*/ 1031941 w 2048870"/>
                <a:gd name="connsiteY306" fmla="*/ 1270480 h 1413227"/>
                <a:gd name="connsiteX307" fmla="*/ 1037127 w 2048870"/>
                <a:gd name="connsiteY307" fmla="*/ 1265294 h 1413227"/>
                <a:gd name="connsiteX308" fmla="*/ 1038856 w 2048870"/>
                <a:gd name="connsiteY308" fmla="*/ 1260108 h 1413227"/>
                <a:gd name="connsiteX309" fmla="*/ 1054412 w 2048870"/>
                <a:gd name="connsiteY309" fmla="*/ 1251466 h 1413227"/>
                <a:gd name="connsiteX310" fmla="*/ 1063055 w 2048870"/>
                <a:gd name="connsiteY310" fmla="*/ 1242823 h 1413227"/>
                <a:gd name="connsiteX311" fmla="*/ 1068241 w 2048870"/>
                <a:gd name="connsiteY311" fmla="*/ 1223809 h 1413227"/>
                <a:gd name="connsiteX312" fmla="*/ 1069969 w 2048870"/>
                <a:gd name="connsiteY312" fmla="*/ 1215166 h 1413227"/>
                <a:gd name="connsiteX313" fmla="*/ 1075155 w 2048870"/>
                <a:gd name="connsiteY313" fmla="*/ 1201338 h 1413227"/>
                <a:gd name="connsiteX314" fmla="*/ 1080341 w 2048870"/>
                <a:gd name="connsiteY314" fmla="*/ 1175410 h 1413227"/>
                <a:gd name="connsiteX315" fmla="*/ 1082069 w 2048870"/>
                <a:gd name="connsiteY315" fmla="*/ 1170224 h 1413227"/>
                <a:gd name="connsiteX316" fmla="*/ 1083798 w 2048870"/>
                <a:gd name="connsiteY316" fmla="*/ 1161581 h 1413227"/>
                <a:gd name="connsiteX317" fmla="*/ 1085526 w 2048870"/>
                <a:gd name="connsiteY317" fmla="*/ 1156396 h 1413227"/>
                <a:gd name="connsiteX318" fmla="*/ 1087255 w 2048870"/>
                <a:gd name="connsiteY318" fmla="*/ 1147753 h 1413227"/>
                <a:gd name="connsiteX319" fmla="*/ 1097626 w 2048870"/>
                <a:gd name="connsiteY319" fmla="*/ 1128739 h 1413227"/>
                <a:gd name="connsiteX320" fmla="*/ 1099355 w 2048870"/>
                <a:gd name="connsiteY320" fmla="*/ 1111454 h 1413227"/>
                <a:gd name="connsiteX321" fmla="*/ 1106269 w 2048870"/>
                <a:gd name="connsiteY321" fmla="*/ 1097625 h 1413227"/>
                <a:gd name="connsiteX322" fmla="*/ 1111454 w 2048870"/>
                <a:gd name="connsiteY322" fmla="*/ 1095897 h 1413227"/>
                <a:gd name="connsiteX323" fmla="*/ 1127011 w 2048870"/>
                <a:gd name="connsiteY323" fmla="*/ 1094168 h 1413227"/>
                <a:gd name="connsiteX324" fmla="*/ 1132197 w 2048870"/>
                <a:gd name="connsiteY324" fmla="*/ 1088983 h 1413227"/>
                <a:gd name="connsiteX325" fmla="*/ 1166768 w 2048870"/>
                <a:gd name="connsiteY325" fmla="*/ 1083797 h 1413227"/>
                <a:gd name="connsiteX326" fmla="*/ 1175411 w 2048870"/>
                <a:gd name="connsiteY326" fmla="*/ 1073426 h 1413227"/>
                <a:gd name="connsiteX327" fmla="*/ 1177139 w 2048870"/>
                <a:gd name="connsiteY327" fmla="*/ 1061326 h 1413227"/>
                <a:gd name="connsiteX328" fmla="*/ 1170225 w 2048870"/>
                <a:gd name="connsiteY328" fmla="*/ 1047497 h 1413227"/>
                <a:gd name="connsiteX329" fmla="*/ 1163311 w 2048870"/>
                <a:gd name="connsiteY329" fmla="*/ 1050955 h 1413227"/>
                <a:gd name="connsiteX330" fmla="*/ 1166768 w 2048870"/>
                <a:gd name="connsiteY330" fmla="*/ 1068240 h 1413227"/>
                <a:gd name="connsiteX331" fmla="*/ 1170225 w 2048870"/>
                <a:gd name="connsiteY331" fmla="*/ 1076883 h 1413227"/>
                <a:gd name="connsiteX332" fmla="*/ 1182325 w 2048870"/>
                <a:gd name="connsiteY332" fmla="*/ 1080340 h 1413227"/>
                <a:gd name="connsiteX333" fmla="*/ 1206524 w 2048870"/>
                <a:gd name="connsiteY333" fmla="*/ 1078611 h 1413227"/>
                <a:gd name="connsiteX334" fmla="*/ 1211710 w 2048870"/>
                <a:gd name="connsiteY334" fmla="*/ 1073426 h 1413227"/>
                <a:gd name="connsiteX335" fmla="*/ 1218624 w 2048870"/>
                <a:gd name="connsiteY335" fmla="*/ 1057869 h 1413227"/>
                <a:gd name="connsiteX336" fmla="*/ 1220353 w 2048870"/>
                <a:gd name="connsiteY336" fmla="*/ 1044040 h 1413227"/>
                <a:gd name="connsiteX337" fmla="*/ 1218624 w 2048870"/>
                <a:gd name="connsiteY337" fmla="*/ 1014655 h 1413227"/>
                <a:gd name="connsiteX338" fmla="*/ 1211710 w 2048870"/>
                <a:gd name="connsiteY338" fmla="*/ 997370 h 1413227"/>
                <a:gd name="connsiteX339" fmla="*/ 1206524 w 2048870"/>
                <a:gd name="connsiteY339" fmla="*/ 993913 h 1413227"/>
                <a:gd name="connsiteX340" fmla="*/ 1184053 w 2048870"/>
                <a:gd name="connsiteY340" fmla="*/ 973170 h 1413227"/>
                <a:gd name="connsiteX341" fmla="*/ 1173682 w 2048870"/>
                <a:gd name="connsiteY341" fmla="*/ 962799 h 1413227"/>
                <a:gd name="connsiteX342" fmla="*/ 1168496 w 2048870"/>
                <a:gd name="connsiteY342" fmla="*/ 957613 h 1413227"/>
                <a:gd name="connsiteX343" fmla="*/ 1171954 w 2048870"/>
                <a:gd name="connsiteY343" fmla="*/ 961070 h 1413227"/>
                <a:gd name="connsiteX344" fmla="*/ 1178868 w 2048870"/>
                <a:gd name="connsiteY344" fmla="*/ 971441 h 1413227"/>
                <a:gd name="connsiteX345" fmla="*/ 1185782 w 2048870"/>
                <a:gd name="connsiteY345" fmla="*/ 980084 h 1413227"/>
                <a:gd name="connsiteX346" fmla="*/ 1190968 w 2048870"/>
                <a:gd name="connsiteY346" fmla="*/ 985270 h 1413227"/>
                <a:gd name="connsiteX347" fmla="*/ 1194425 w 2048870"/>
                <a:gd name="connsiteY347" fmla="*/ 993913 h 1413227"/>
                <a:gd name="connsiteX348" fmla="*/ 1206524 w 2048870"/>
                <a:gd name="connsiteY348" fmla="*/ 1007741 h 1413227"/>
                <a:gd name="connsiteX349" fmla="*/ 1208253 w 2048870"/>
                <a:gd name="connsiteY349" fmla="*/ 1014655 h 1413227"/>
                <a:gd name="connsiteX350" fmla="*/ 1211710 w 2048870"/>
                <a:gd name="connsiteY350" fmla="*/ 1023298 h 1413227"/>
                <a:gd name="connsiteX351" fmla="*/ 1213439 w 2048870"/>
                <a:gd name="connsiteY351" fmla="*/ 1035398 h 1413227"/>
                <a:gd name="connsiteX352" fmla="*/ 1215167 w 2048870"/>
                <a:gd name="connsiteY352" fmla="*/ 1044040 h 1413227"/>
                <a:gd name="connsiteX353" fmla="*/ 1220353 w 2048870"/>
                <a:gd name="connsiteY353" fmla="*/ 1045769 h 1413227"/>
                <a:gd name="connsiteX354" fmla="*/ 1223810 w 2048870"/>
                <a:gd name="connsiteY354" fmla="*/ 1050955 h 1413227"/>
                <a:gd name="connsiteX355" fmla="*/ 1234181 w 2048870"/>
                <a:gd name="connsiteY355" fmla="*/ 1063054 h 1413227"/>
                <a:gd name="connsiteX356" fmla="*/ 1253195 w 2048870"/>
                <a:gd name="connsiteY356" fmla="*/ 1057869 h 1413227"/>
                <a:gd name="connsiteX357" fmla="*/ 1258381 w 2048870"/>
                <a:gd name="connsiteY357" fmla="*/ 1054412 h 1413227"/>
                <a:gd name="connsiteX358" fmla="*/ 1265295 w 2048870"/>
                <a:gd name="connsiteY358" fmla="*/ 1050955 h 1413227"/>
                <a:gd name="connsiteX359" fmla="*/ 1267023 w 2048870"/>
                <a:gd name="connsiteY359" fmla="*/ 1056140 h 1413227"/>
                <a:gd name="connsiteX360" fmla="*/ 1268752 w 2048870"/>
                <a:gd name="connsiteY360" fmla="*/ 1068240 h 1413227"/>
                <a:gd name="connsiteX361" fmla="*/ 1279123 w 2048870"/>
                <a:gd name="connsiteY361" fmla="*/ 1064783 h 1413227"/>
                <a:gd name="connsiteX362" fmla="*/ 1289495 w 2048870"/>
                <a:gd name="connsiteY362" fmla="*/ 1056140 h 1413227"/>
                <a:gd name="connsiteX363" fmla="*/ 1299866 w 2048870"/>
                <a:gd name="connsiteY363" fmla="*/ 1045769 h 1413227"/>
                <a:gd name="connsiteX364" fmla="*/ 1305051 w 2048870"/>
                <a:gd name="connsiteY364" fmla="*/ 1042312 h 1413227"/>
                <a:gd name="connsiteX365" fmla="*/ 1294680 w 2048870"/>
                <a:gd name="connsiteY365" fmla="*/ 1061326 h 1413227"/>
                <a:gd name="connsiteX366" fmla="*/ 1286037 w 2048870"/>
                <a:gd name="connsiteY366" fmla="*/ 1075154 h 1413227"/>
                <a:gd name="connsiteX367" fmla="*/ 1272209 w 2048870"/>
                <a:gd name="connsiteY367" fmla="*/ 1082068 h 1413227"/>
                <a:gd name="connsiteX368" fmla="*/ 1265295 w 2048870"/>
                <a:gd name="connsiteY368" fmla="*/ 1085525 h 1413227"/>
                <a:gd name="connsiteX369" fmla="*/ 1260109 w 2048870"/>
                <a:gd name="connsiteY369" fmla="*/ 1087254 h 1413227"/>
                <a:gd name="connsiteX370" fmla="*/ 1251467 w 2048870"/>
                <a:gd name="connsiteY370" fmla="*/ 1092440 h 1413227"/>
                <a:gd name="connsiteX371" fmla="*/ 1232453 w 2048870"/>
                <a:gd name="connsiteY371" fmla="*/ 1095897 h 1413227"/>
                <a:gd name="connsiteX372" fmla="*/ 1230724 w 2048870"/>
                <a:gd name="connsiteY372" fmla="*/ 1121825 h 1413227"/>
                <a:gd name="connsiteX373" fmla="*/ 1223810 w 2048870"/>
                <a:gd name="connsiteY373" fmla="*/ 1128739 h 1413227"/>
                <a:gd name="connsiteX374" fmla="*/ 1216896 w 2048870"/>
                <a:gd name="connsiteY374" fmla="*/ 1130468 h 1413227"/>
                <a:gd name="connsiteX375" fmla="*/ 1248009 w 2048870"/>
                <a:gd name="connsiteY375" fmla="*/ 1123553 h 1413227"/>
                <a:gd name="connsiteX376" fmla="*/ 1275666 w 2048870"/>
                <a:gd name="connsiteY376" fmla="*/ 1125282 h 1413227"/>
                <a:gd name="connsiteX377" fmla="*/ 1282580 w 2048870"/>
                <a:gd name="connsiteY377" fmla="*/ 1128739 h 1413227"/>
                <a:gd name="connsiteX378" fmla="*/ 1318880 w 2048870"/>
                <a:gd name="connsiteY378" fmla="*/ 1127010 h 1413227"/>
                <a:gd name="connsiteX379" fmla="*/ 1330980 w 2048870"/>
                <a:gd name="connsiteY379" fmla="*/ 1123553 h 1413227"/>
                <a:gd name="connsiteX380" fmla="*/ 1339622 w 2048870"/>
                <a:gd name="connsiteY380" fmla="*/ 1118368 h 1413227"/>
                <a:gd name="connsiteX381" fmla="*/ 1356908 w 2048870"/>
                <a:gd name="connsiteY381" fmla="*/ 1123553 h 1413227"/>
                <a:gd name="connsiteX382" fmla="*/ 1384564 w 2048870"/>
                <a:gd name="connsiteY382" fmla="*/ 1114911 h 1413227"/>
                <a:gd name="connsiteX383" fmla="*/ 1391479 w 2048870"/>
                <a:gd name="connsiteY383" fmla="*/ 1109725 h 1413227"/>
                <a:gd name="connsiteX384" fmla="*/ 1400121 w 2048870"/>
                <a:gd name="connsiteY384" fmla="*/ 1095897 h 1413227"/>
                <a:gd name="connsiteX385" fmla="*/ 1403578 w 2048870"/>
                <a:gd name="connsiteY385" fmla="*/ 1090711 h 1413227"/>
                <a:gd name="connsiteX386" fmla="*/ 1408764 w 2048870"/>
                <a:gd name="connsiteY386" fmla="*/ 1088983 h 1413227"/>
                <a:gd name="connsiteX387" fmla="*/ 1415678 w 2048870"/>
                <a:gd name="connsiteY387" fmla="*/ 1097625 h 1413227"/>
                <a:gd name="connsiteX388" fmla="*/ 1419135 w 2048870"/>
                <a:gd name="connsiteY388" fmla="*/ 1104539 h 1413227"/>
                <a:gd name="connsiteX389" fmla="*/ 1424321 w 2048870"/>
                <a:gd name="connsiteY389" fmla="*/ 1111454 h 1413227"/>
                <a:gd name="connsiteX390" fmla="*/ 1434692 w 2048870"/>
                <a:gd name="connsiteY390" fmla="*/ 1109725 h 1413227"/>
                <a:gd name="connsiteX391" fmla="*/ 1438149 w 2048870"/>
                <a:gd name="connsiteY391" fmla="*/ 1101082 h 1413227"/>
                <a:gd name="connsiteX392" fmla="*/ 1446792 w 2048870"/>
                <a:gd name="connsiteY392" fmla="*/ 1076883 h 1413227"/>
                <a:gd name="connsiteX393" fmla="*/ 1455435 w 2048870"/>
                <a:gd name="connsiteY393" fmla="*/ 1082068 h 1413227"/>
                <a:gd name="connsiteX394" fmla="*/ 1457163 w 2048870"/>
                <a:gd name="connsiteY394" fmla="*/ 1097625 h 1413227"/>
                <a:gd name="connsiteX395" fmla="*/ 1462349 w 2048870"/>
                <a:gd name="connsiteY395" fmla="*/ 1104539 h 1413227"/>
                <a:gd name="connsiteX396" fmla="*/ 1464078 w 2048870"/>
                <a:gd name="connsiteY396" fmla="*/ 1116639 h 1413227"/>
                <a:gd name="connsiteX397" fmla="*/ 1450249 w 2048870"/>
                <a:gd name="connsiteY397" fmla="*/ 1132196 h 1413227"/>
                <a:gd name="connsiteX398" fmla="*/ 1436421 w 2048870"/>
                <a:gd name="connsiteY398" fmla="*/ 1149482 h 1413227"/>
                <a:gd name="connsiteX399" fmla="*/ 1427778 w 2048870"/>
                <a:gd name="connsiteY399" fmla="*/ 1158124 h 1413227"/>
                <a:gd name="connsiteX400" fmla="*/ 1415678 w 2048870"/>
                <a:gd name="connsiteY400" fmla="*/ 1163310 h 1413227"/>
                <a:gd name="connsiteX401" fmla="*/ 1400121 w 2048870"/>
                <a:gd name="connsiteY401" fmla="*/ 1171953 h 1413227"/>
                <a:gd name="connsiteX402" fmla="*/ 1398393 w 2048870"/>
                <a:gd name="connsiteY402" fmla="*/ 1177138 h 1413227"/>
                <a:gd name="connsiteX403" fmla="*/ 1389750 w 2048870"/>
                <a:gd name="connsiteY403" fmla="*/ 1189238 h 1413227"/>
                <a:gd name="connsiteX404" fmla="*/ 1384564 w 2048870"/>
                <a:gd name="connsiteY404" fmla="*/ 1197881 h 1413227"/>
                <a:gd name="connsiteX405" fmla="*/ 1382836 w 2048870"/>
                <a:gd name="connsiteY405" fmla="*/ 1203066 h 1413227"/>
                <a:gd name="connsiteX406" fmla="*/ 1374193 w 2048870"/>
                <a:gd name="connsiteY406" fmla="*/ 1211709 h 1413227"/>
                <a:gd name="connsiteX407" fmla="*/ 1369008 w 2048870"/>
                <a:gd name="connsiteY407" fmla="*/ 1216895 h 1413227"/>
                <a:gd name="connsiteX408" fmla="*/ 1356908 w 2048870"/>
                <a:gd name="connsiteY408" fmla="*/ 1230723 h 1413227"/>
                <a:gd name="connsiteX409" fmla="*/ 1351722 w 2048870"/>
                <a:gd name="connsiteY409" fmla="*/ 1237637 h 1413227"/>
                <a:gd name="connsiteX410" fmla="*/ 1349994 w 2048870"/>
                <a:gd name="connsiteY410" fmla="*/ 1242823 h 1413227"/>
                <a:gd name="connsiteX411" fmla="*/ 1344808 w 2048870"/>
                <a:gd name="connsiteY411" fmla="*/ 1253194 h 1413227"/>
                <a:gd name="connsiteX412" fmla="*/ 1377650 w 2048870"/>
                <a:gd name="connsiteY412" fmla="*/ 1253194 h 1413227"/>
                <a:gd name="connsiteX413" fmla="*/ 1386293 w 2048870"/>
                <a:gd name="connsiteY413" fmla="*/ 1246280 h 1413227"/>
                <a:gd name="connsiteX414" fmla="*/ 1391479 w 2048870"/>
                <a:gd name="connsiteY414" fmla="*/ 1244552 h 1413227"/>
                <a:gd name="connsiteX415" fmla="*/ 1412221 w 2048870"/>
                <a:gd name="connsiteY415" fmla="*/ 1248009 h 1413227"/>
                <a:gd name="connsiteX416" fmla="*/ 1415678 w 2048870"/>
                <a:gd name="connsiteY416" fmla="*/ 1253194 h 1413227"/>
                <a:gd name="connsiteX417" fmla="*/ 1426050 w 2048870"/>
                <a:gd name="connsiteY417" fmla="*/ 1260108 h 1413227"/>
                <a:gd name="connsiteX418" fmla="*/ 1451978 w 2048870"/>
                <a:gd name="connsiteY418" fmla="*/ 1258380 h 1413227"/>
                <a:gd name="connsiteX419" fmla="*/ 1457163 w 2048870"/>
                <a:gd name="connsiteY419" fmla="*/ 1253194 h 1413227"/>
                <a:gd name="connsiteX420" fmla="*/ 1465806 w 2048870"/>
                <a:gd name="connsiteY420" fmla="*/ 1248009 h 1413227"/>
                <a:gd name="connsiteX421" fmla="*/ 1483092 w 2048870"/>
                <a:gd name="connsiteY421" fmla="*/ 1249737 h 1413227"/>
                <a:gd name="connsiteX422" fmla="*/ 1491734 w 2048870"/>
                <a:gd name="connsiteY422" fmla="*/ 1258380 h 1413227"/>
                <a:gd name="connsiteX423" fmla="*/ 1502106 w 2048870"/>
                <a:gd name="connsiteY423" fmla="*/ 1272208 h 1413227"/>
                <a:gd name="connsiteX424" fmla="*/ 1503834 w 2048870"/>
                <a:gd name="connsiteY424" fmla="*/ 1289494 h 1413227"/>
                <a:gd name="connsiteX425" fmla="*/ 1514205 w 2048870"/>
                <a:gd name="connsiteY425" fmla="*/ 1301593 h 1413227"/>
                <a:gd name="connsiteX426" fmla="*/ 1517662 w 2048870"/>
                <a:gd name="connsiteY426" fmla="*/ 1306779 h 1413227"/>
                <a:gd name="connsiteX427" fmla="*/ 1515934 w 2048870"/>
                <a:gd name="connsiteY427" fmla="*/ 1355178 h 1413227"/>
                <a:gd name="connsiteX428" fmla="*/ 1509020 w 2048870"/>
                <a:gd name="connsiteY428" fmla="*/ 1360364 h 1413227"/>
                <a:gd name="connsiteX429" fmla="*/ 1503834 w 2048870"/>
                <a:gd name="connsiteY429" fmla="*/ 1370735 h 1413227"/>
                <a:gd name="connsiteX430" fmla="*/ 1534948 w 2048870"/>
                <a:gd name="connsiteY430" fmla="*/ 1374192 h 1413227"/>
                <a:gd name="connsiteX431" fmla="*/ 1540133 w 2048870"/>
                <a:gd name="connsiteY431" fmla="*/ 1377649 h 1413227"/>
                <a:gd name="connsiteX432" fmla="*/ 1559147 w 2048870"/>
                <a:gd name="connsiteY432" fmla="*/ 1375921 h 1413227"/>
                <a:gd name="connsiteX433" fmla="*/ 1564333 w 2048870"/>
                <a:gd name="connsiteY433" fmla="*/ 1372464 h 1413227"/>
                <a:gd name="connsiteX434" fmla="*/ 1579890 w 2048870"/>
                <a:gd name="connsiteY434" fmla="*/ 1370735 h 1413227"/>
                <a:gd name="connsiteX435" fmla="*/ 1597175 w 2048870"/>
                <a:gd name="connsiteY435" fmla="*/ 1363821 h 1413227"/>
                <a:gd name="connsiteX436" fmla="*/ 1600633 w 2048870"/>
                <a:gd name="connsiteY436" fmla="*/ 1360364 h 1413227"/>
                <a:gd name="connsiteX437" fmla="*/ 1612732 w 2048870"/>
                <a:gd name="connsiteY437" fmla="*/ 1341350 h 1413227"/>
                <a:gd name="connsiteX438" fmla="*/ 1617918 w 2048870"/>
                <a:gd name="connsiteY438" fmla="*/ 1305051 h 1413227"/>
                <a:gd name="connsiteX439" fmla="*/ 1623104 w 2048870"/>
                <a:gd name="connsiteY439" fmla="*/ 1301593 h 1413227"/>
                <a:gd name="connsiteX440" fmla="*/ 1624832 w 2048870"/>
                <a:gd name="connsiteY440" fmla="*/ 1284308 h 1413227"/>
                <a:gd name="connsiteX441" fmla="*/ 1631746 w 2048870"/>
                <a:gd name="connsiteY441" fmla="*/ 1270480 h 1413227"/>
                <a:gd name="connsiteX442" fmla="*/ 1643846 w 2048870"/>
                <a:gd name="connsiteY442" fmla="*/ 1263565 h 1413227"/>
                <a:gd name="connsiteX443" fmla="*/ 1669774 w 2048870"/>
                <a:gd name="connsiteY443" fmla="*/ 1260108 h 1413227"/>
                <a:gd name="connsiteX444" fmla="*/ 1681874 w 2048870"/>
                <a:gd name="connsiteY444" fmla="*/ 1254923 h 1413227"/>
                <a:gd name="connsiteX445" fmla="*/ 1687060 w 2048870"/>
                <a:gd name="connsiteY445" fmla="*/ 1253194 h 1413227"/>
                <a:gd name="connsiteX446" fmla="*/ 1702617 w 2048870"/>
                <a:gd name="connsiteY446" fmla="*/ 1249737 h 1413227"/>
                <a:gd name="connsiteX447" fmla="*/ 1704345 w 2048870"/>
                <a:gd name="connsiteY447" fmla="*/ 1232452 h 1413227"/>
                <a:gd name="connsiteX448" fmla="*/ 1706074 w 2048870"/>
                <a:gd name="connsiteY448" fmla="*/ 1208252 h 1413227"/>
                <a:gd name="connsiteX449" fmla="*/ 1711259 w 2048870"/>
                <a:gd name="connsiteY449" fmla="*/ 1201338 h 1413227"/>
                <a:gd name="connsiteX450" fmla="*/ 1718174 w 2048870"/>
                <a:gd name="connsiteY450" fmla="*/ 1192695 h 1413227"/>
                <a:gd name="connsiteX451" fmla="*/ 1725088 w 2048870"/>
                <a:gd name="connsiteY451" fmla="*/ 1189238 h 1413227"/>
                <a:gd name="connsiteX452" fmla="*/ 1735459 w 2048870"/>
                <a:gd name="connsiteY452" fmla="*/ 1184052 h 1413227"/>
                <a:gd name="connsiteX453" fmla="*/ 1773487 w 2048870"/>
                <a:gd name="connsiteY453" fmla="*/ 1189238 h 1413227"/>
                <a:gd name="connsiteX454" fmla="*/ 1778673 w 2048870"/>
                <a:gd name="connsiteY454" fmla="*/ 1194424 h 1413227"/>
                <a:gd name="connsiteX455" fmla="*/ 1808058 w 2048870"/>
                <a:gd name="connsiteY455" fmla="*/ 1187510 h 1413227"/>
                <a:gd name="connsiteX456" fmla="*/ 1811515 w 2048870"/>
                <a:gd name="connsiteY456" fmla="*/ 1180595 h 1413227"/>
                <a:gd name="connsiteX457" fmla="*/ 1818429 w 2048870"/>
                <a:gd name="connsiteY457" fmla="*/ 1171953 h 1413227"/>
                <a:gd name="connsiteX458" fmla="*/ 1825343 w 2048870"/>
                <a:gd name="connsiteY458" fmla="*/ 1158124 h 1413227"/>
                <a:gd name="connsiteX459" fmla="*/ 1827072 w 2048870"/>
                <a:gd name="connsiteY459" fmla="*/ 1151210 h 1413227"/>
                <a:gd name="connsiteX460" fmla="*/ 1833986 w 2048870"/>
                <a:gd name="connsiteY460" fmla="*/ 1133925 h 1413227"/>
                <a:gd name="connsiteX461" fmla="*/ 1820158 w 2048870"/>
                <a:gd name="connsiteY461" fmla="*/ 1128739 h 1413227"/>
                <a:gd name="connsiteX462" fmla="*/ 1816701 w 2048870"/>
                <a:gd name="connsiteY462" fmla="*/ 1123553 h 1413227"/>
                <a:gd name="connsiteX463" fmla="*/ 1820158 w 2048870"/>
                <a:gd name="connsiteY463" fmla="*/ 1118368 h 1413227"/>
                <a:gd name="connsiteX464" fmla="*/ 1825343 w 2048870"/>
                <a:gd name="connsiteY464" fmla="*/ 1111454 h 1413227"/>
                <a:gd name="connsiteX465" fmla="*/ 1828800 w 2048870"/>
                <a:gd name="connsiteY465" fmla="*/ 1099354 h 1413227"/>
                <a:gd name="connsiteX466" fmla="*/ 1832257 w 2048870"/>
                <a:gd name="connsiteY466" fmla="*/ 1094168 h 1413227"/>
                <a:gd name="connsiteX467" fmla="*/ 1830529 w 2048870"/>
                <a:gd name="connsiteY467" fmla="*/ 1083797 h 1413227"/>
                <a:gd name="connsiteX468" fmla="*/ 1816701 w 2048870"/>
                <a:gd name="connsiteY468" fmla="*/ 1087254 h 1413227"/>
                <a:gd name="connsiteX469" fmla="*/ 1789044 w 2048870"/>
                <a:gd name="connsiteY469" fmla="*/ 1092440 h 1413227"/>
                <a:gd name="connsiteX470" fmla="*/ 1778673 w 2048870"/>
                <a:gd name="connsiteY470" fmla="*/ 1095897 h 1413227"/>
                <a:gd name="connsiteX471" fmla="*/ 1771758 w 2048870"/>
                <a:gd name="connsiteY471" fmla="*/ 1099354 h 1413227"/>
                <a:gd name="connsiteX472" fmla="*/ 1766573 w 2048870"/>
                <a:gd name="connsiteY472" fmla="*/ 1116639 h 1413227"/>
                <a:gd name="connsiteX473" fmla="*/ 1756202 w 2048870"/>
                <a:gd name="connsiteY473" fmla="*/ 1118368 h 1413227"/>
                <a:gd name="connsiteX474" fmla="*/ 1738916 w 2048870"/>
                <a:gd name="connsiteY474" fmla="*/ 1130468 h 1413227"/>
                <a:gd name="connsiteX475" fmla="*/ 1718174 w 2048870"/>
                <a:gd name="connsiteY475" fmla="*/ 1140839 h 1413227"/>
                <a:gd name="connsiteX476" fmla="*/ 1709531 w 2048870"/>
                <a:gd name="connsiteY476" fmla="*/ 1146024 h 1413227"/>
                <a:gd name="connsiteX477" fmla="*/ 1707802 w 2048870"/>
                <a:gd name="connsiteY477" fmla="*/ 1151210 h 1413227"/>
                <a:gd name="connsiteX478" fmla="*/ 1700888 w 2048870"/>
                <a:gd name="connsiteY478" fmla="*/ 1154667 h 1413227"/>
                <a:gd name="connsiteX479" fmla="*/ 1647303 w 2048870"/>
                <a:gd name="connsiteY479" fmla="*/ 1152939 h 1413227"/>
                <a:gd name="connsiteX480" fmla="*/ 1650760 w 2048870"/>
                <a:gd name="connsiteY480" fmla="*/ 1142567 h 1413227"/>
                <a:gd name="connsiteX481" fmla="*/ 1649032 w 2048870"/>
                <a:gd name="connsiteY481" fmla="*/ 1120096 h 1413227"/>
                <a:gd name="connsiteX482" fmla="*/ 1598904 w 2048870"/>
                <a:gd name="connsiteY482" fmla="*/ 1114911 h 1413227"/>
                <a:gd name="connsiteX483" fmla="*/ 1591990 w 2048870"/>
                <a:gd name="connsiteY483" fmla="*/ 1113182 h 1413227"/>
                <a:gd name="connsiteX484" fmla="*/ 1564333 w 2048870"/>
                <a:gd name="connsiteY484" fmla="*/ 1109725 h 1413227"/>
                <a:gd name="connsiteX485" fmla="*/ 1553962 w 2048870"/>
                <a:gd name="connsiteY485" fmla="*/ 1101082 h 1413227"/>
                <a:gd name="connsiteX486" fmla="*/ 1543591 w 2048870"/>
                <a:gd name="connsiteY486" fmla="*/ 1092440 h 1413227"/>
                <a:gd name="connsiteX487" fmla="*/ 1526305 w 2048870"/>
                <a:gd name="connsiteY487" fmla="*/ 1090711 h 1413227"/>
                <a:gd name="connsiteX488" fmla="*/ 1514205 w 2048870"/>
                <a:gd name="connsiteY488" fmla="*/ 1085525 h 1413227"/>
                <a:gd name="connsiteX489" fmla="*/ 1512477 w 2048870"/>
                <a:gd name="connsiteY489" fmla="*/ 1092440 h 1413227"/>
                <a:gd name="connsiteX490" fmla="*/ 1507291 w 2048870"/>
                <a:gd name="connsiteY490" fmla="*/ 1085525 h 1413227"/>
                <a:gd name="connsiteX491" fmla="*/ 1496920 w 2048870"/>
                <a:gd name="connsiteY491" fmla="*/ 1075154 h 1413227"/>
                <a:gd name="connsiteX492" fmla="*/ 1445064 w 2048870"/>
                <a:gd name="connsiteY492" fmla="*/ 1076883 h 1413227"/>
                <a:gd name="connsiteX493" fmla="*/ 1439878 w 2048870"/>
                <a:gd name="connsiteY493" fmla="*/ 1080340 h 1413227"/>
                <a:gd name="connsiteX494" fmla="*/ 1438149 w 2048870"/>
                <a:gd name="connsiteY494" fmla="*/ 1085525 h 1413227"/>
                <a:gd name="connsiteX495" fmla="*/ 1451978 w 2048870"/>
                <a:gd name="connsiteY495" fmla="*/ 1071697 h 1413227"/>
                <a:gd name="connsiteX496" fmla="*/ 1458892 w 2048870"/>
                <a:gd name="connsiteY496" fmla="*/ 1064783 h 1413227"/>
                <a:gd name="connsiteX497" fmla="*/ 1464078 w 2048870"/>
                <a:gd name="connsiteY497" fmla="*/ 1059597 h 1413227"/>
                <a:gd name="connsiteX498" fmla="*/ 1479634 w 2048870"/>
                <a:gd name="connsiteY498" fmla="*/ 1064783 h 1413227"/>
                <a:gd name="connsiteX499" fmla="*/ 1490006 w 2048870"/>
                <a:gd name="connsiteY499" fmla="*/ 1071697 h 1413227"/>
                <a:gd name="connsiteX500" fmla="*/ 1498648 w 2048870"/>
                <a:gd name="connsiteY500" fmla="*/ 1068240 h 1413227"/>
                <a:gd name="connsiteX501" fmla="*/ 1500377 w 2048870"/>
                <a:gd name="connsiteY501" fmla="*/ 1063054 h 1413227"/>
                <a:gd name="connsiteX502" fmla="*/ 1503834 w 2048870"/>
                <a:gd name="connsiteY502" fmla="*/ 1057869 h 1413227"/>
                <a:gd name="connsiteX503" fmla="*/ 1507291 w 2048870"/>
                <a:gd name="connsiteY503" fmla="*/ 1045769 h 1413227"/>
                <a:gd name="connsiteX504" fmla="*/ 1540133 w 2048870"/>
                <a:gd name="connsiteY504" fmla="*/ 1044040 h 1413227"/>
                <a:gd name="connsiteX505" fmla="*/ 1557419 w 2048870"/>
                <a:gd name="connsiteY505" fmla="*/ 1059597 h 1413227"/>
                <a:gd name="connsiteX506" fmla="*/ 1560876 w 2048870"/>
                <a:gd name="connsiteY506" fmla="*/ 1073426 h 1413227"/>
                <a:gd name="connsiteX507" fmla="*/ 1564333 w 2048870"/>
                <a:gd name="connsiteY507" fmla="*/ 1087254 h 1413227"/>
                <a:gd name="connsiteX508" fmla="*/ 1566062 w 2048870"/>
                <a:gd name="connsiteY508" fmla="*/ 1094168 h 1413227"/>
                <a:gd name="connsiteX509" fmla="*/ 1569519 w 2048870"/>
                <a:gd name="connsiteY509" fmla="*/ 1099354 h 1413227"/>
                <a:gd name="connsiteX510" fmla="*/ 1576433 w 2048870"/>
                <a:gd name="connsiteY510" fmla="*/ 1037126 h 1413227"/>
                <a:gd name="connsiteX511" fmla="*/ 1588533 w 2048870"/>
                <a:gd name="connsiteY511" fmla="*/ 1052683 h 1413227"/>
                <a:gd name="connsiteX512" fmla="*/ 1591990 w 2048870"/>
                <a:gd name="connsiteY512" fmla="*/ 1069969 h 1413227"/>
                <a:gd name="connsiteX513" fmla="*/ 1607547 w 2048870"/>
                <a:gd name="connsiteY513" fmla="*/ 1080340 h 1413227"/>
                <a:gd name="connsiteX514" fmla="*/ 1612732 w 2048870"/>
                <a:gd name="connsiteY514" fmla="*/ 1083797 h 1413227"/>
                <a:gd name="connsiteX515" fmla="*/ 1621375 w 2048870"/>
                <a:gd name="connsiteY515" fmla="*/ 1085525 h 1413227"/>
                <a:gd name="connsiteX516" fmla="*/ 1633475 w 2048870"/>
                <a:gd name="connsiteY516" fmla="*/ 1092440 h 1413227"/>
                <a:gd name="connsiteX517" fmla="*/ 1640389 w 2048870"/>
                <a:gd name="connsiteY517" fmla="*/ 1095897 h 1413227"/>
                <a:gd name="connsiteX518" fmla="*/ 1649032 w 2048870"/>
                <a:gd name="connsiteY518" fmla="*/ 1109725 h 1413227"/>
                <a:gd name="connsiteX519" fmla="*/ 1659403 w 2048870"/>
                <a:gd name="connsiteY519" fmla="*/ 1113182 h 1413227"/>
                <a:gd name="connsiteX520" fmla="*/ 1669774 w 2048870"/>
                <a:gd name="connsiteY520" fmla="*/ 1118368 h 1413227"/>
                <a:gd name="connsiteX521" fmla="*/ 1680146 w 2048870"/>
                <a:gd name="connsiteY521" fmla="*/ 1125282 h 1413227"/>
                <a:gd name="connsiteX522" fmla="*/ 1699160 w 2048870"/>
                <a:gd name="connsiteY522" fmla="*/ 1139110 h 1413227"/>
                <a:gd name="connsiteX523" fmla="*/ 1712988 w 2048870"/>
                <a:gd name="connsiteY523" fmla="*/ 1142567 h 1413227"/>
                <a:gd name="connsiteX524" fmla="*/ 1704345 w 2048870"/>
                <a:gd name="connsiteY524" fmla="*/ 1137382 h 1413227"/>
                <a:gd name="connsiteX525" fmla="*/ 1699160 w 2048870"/>
                <a:gd name="connsiteY525" fmla="*/ 1132196 h 1413227"/>
                <a:gd name="connsiteX526" fmla="*/ 1688788 w 2048870"/>
                <a:gd name="connsiteY526" fmla="*/ 1128739 h 1413227"/>
                <a:gd name="connsiteX527" fmla="*/ 1674960 w 2048870"/>
                <a:gd name="connsiteY527" fmla="*/ 1125282 h 1413227"/>
                <a:gd name="connsiteX528" fmla="*/ 1659403 w 2048870"/>
                <a:gd name="connsiteY528" fmla="*/ 1121825 h 1413227"/>
                <a:gd name="connsiteX529" fmla="*/ 1650760 w 2048870"/>
                <a:gd name="connsiteY529" fmla="*/ 1116639 h 1413227"/>
                <a:gd name="connsiteX530" fmla="*/ 1645575 w 2048870"/>
                <a:gd name="connsiteY530" fmla="*/ 1113182 h 1413227"/>
                <a:gd name="connsiteX531" fmla="*/ 1642118 w 2048870"/>
                <a:gd name="connsiteY531" fmla="*/ 1107996 h 1413227"/>
                <a:gd name="connsiteX532" fmla="*/ 1628289 w 2048870"/>
                <a:gd name="connsiteY532" fmla="*/ 1088983 h 1413227"/>
                <a:gd name="connsiteX533" fmla="*/ 1626561 w 2048870"/>
                <a:gd name="connsiteY533" fmla="*/ 1083797 h 1413227"/>
                <a:gd name="connsiteX534" fmla="*/ 1619647 w 2048870"/>
                <a:gd name="connsiteY534" fmla="*/ 1075154 h 1413227"/>
                <a:gd name="connsiteX535" fmla="*/ 1616189 w 2048870"/>
                <a:gd name="connsiteY535" fmla="*/ 1061326 h 1413227"/>
                <a:gd name="connsiteX536" fmla="*/ 1614461 w 2048870"/>
                <a:gd name="connsiteY536" fmla="*/ 1056140 h 1413227"/>
                <a:gd name="connsiteX537" fmla="*/ 1604090 w 2048870"/>
                <a:gd name="connsiteY537" fmla="*/ 1038855 h 1413227"/>
                <a:gd name="connsiteX538" fmla="*/ 1598904 w 2048870"/>
                <a:gd name="connsiteY538" fmla="*/ 1037126 h 1413227"/>
                <a:gd name="connsiteX539" fmla="*/ 1593718 w 2048870"/>
                <a:gd name="connsiteY539" fmla="*/ 1030212 h 1413227"/>
                <a:gd name="connsiteX540" fmla="*/ 1585076 w 2048870"/>
                <a:gd name="connsiteY540" fmla="*/ 1019841 h 1413227"/>
                <a:gd name="connsiteX541" fmla="*/ 1590261 w 2048870"/>
                <a:gd name="connsiteY541" fmla="*/ 1000827 h 1413227"/>
                <a:gd name="connsiteX542" fmla="*/ 1598904 w 2048870"/>
                <a:gd name="connsiteY542" fmla="*/ 999098 h 1413227"/>
                <a:gd name="connsiteX543" fmla="*/ 1611004 w 2048870"/>
                <a:gd name="connsiteY543" fmla="*/ 990455 h 1413227"/>
                <a:gd name="connsiteX544" fmla="*/ 1617918 w 2048870"/>
                <a:gd name="connsiteY544" fmla="*/ 985270 h 1413227"/>
                <a:gd name="connsiteX545" fmla="*/ 1616189 w 2048870"/>
                <a:gd name="connsiteY545" fmla="*/ 1021569 h 1413227"/>
                <a:gd name="connsiteX546" fmla="*/ 1612732 w 2048870"/>
                <a:gd name="connsiteY546" fmla="*/ 1028483 h 1413227"/>
                <a:gd name="connsiteX547" fmla="*/ 1607547 w 2048870"/>
                <a:gd name="connsiteY547" fmla="*/ 1035398 h 1413227"/>
                <a:gd name="connsiteX548" fmla="*/ 1612732 w 2048870"/>
                <a:gd name="connsiteY548" fmla="*/ 1031941 h 1413227"/>
                <a:gd name="connsiteX549" fmla="*/ 1621375 w 2048870"/>
                <a:gd name="connsiteY549" fmla="*/ 1016384 h 1413227"/>
                <a:gd name="connsiteX550" fmla="*/ 1626561 w 2048870"/>
                <a:gd name="connsiteY550" fmla="*/ 997370 h 1413227"/>
                <a:gd name="connsiteX551" fmla="*/ 1626561 w 2048870"/>
                <a:gd name="connsiteY551" fmla="*/ 976627 h 1413227"/>
                <a:gd name="connsiteX552" fmla="*/ 1619647 w 2048870"/>
                <a:gd name="connsiteY552" fmla="*/ 962799 h 1413227"/>
                <a:gd name="connsiteX553" fmla="*/ 1626561 w 2048870"/>
                <a:gd name="connsiteY553" fmla="*/ 966256 h 1413227"/>
                <a:gd name="connsiteX554" fmla="*/ 1638661 w 2048870"/>
                <a:gd name="connsiteY554" fmla="*/ 969713 h 1413227"/>
                <a:gd name="connsiteX555" fmla="*/ 1645575 w 2048870"/>
                <a:gd name="connsiteY555" fmla="*/ 967984 h 1413227"/>
                <a:gd name="connsiteX556" fmla="*/ 1650760 w 2048870"/>
                <a:gd name="connsiteY556" fmla="*/ 955885 h 1413227"/>
                <a:gd name="connsiteX557" fmla="*/ 1659403 w 2048870"/>
                <a:gd name="connsiteY557" fmla="*/ 933414 h 1413227"/>
                <a:gd name="connsiteX558" fmla="*/ 1662860 w 2048870"/>
                <a:gd name="connsiteY558" fmla="*/ 929956 h 1413227"/>
                <a:gd name="connsiteX559" fmla="*/ 1664589 w 2048870"/>
                <a:gd name="connsiteY559" fmla="*/ 923042 h 1413227"/>
                <a:gd name="connsiteX560" fmla="*/ 1673231 w 2048870"/>
                <a:gd name="connsiteY560" fmla="*/ 893657 h 1413227"/>
                <a:gd name="connsiteX561" fmla="*/ 1687060 w 2048870"/>
                <a:gd name="connsiteY561" fmla="*/ 891928 h 1413227"/>
                <a:gd name="connsiteX562" fmla="*/ 1693974 w 2048870"/>
                <a:gd name="connsiteY562" fmla="*/ 890200 h 1413227"/>
                <a:gd name="connsiteX563" fmla="*/ 1700888 w 2048870"/>
                <a:gd name="connsiteY563" fmla="*/ 886743 h 1413227"/>
                <a:gd name="connsiteX564" fmla="*/ 1719902 w 2048870"/>
                <a:gd name="connsiteY564" fmla="*/ 878100 h 1413227"/>
                <a:gd name="connsiteX565" fmla="*/ 1726816 w 2048870"/>
                <a:gd name="connsiteY565" fmla="*/ 876372 h 1413227"/>
                <a:gd name="connsiteX566" fmla="*/ 1745830 w 2048870"/>
                <a:gd name="connsiteY566" fmla="*/ 860815 h 1413227"/>
                <a:gd name="connsiteX567" fmla="*/ 1751016 w 2048870"/>
                <a:gd name="connsiteY567" fmla="*/ 857358 h 1413227"/>
                <a:gd name="connsiteX568" fmla="*/ 1757930 w 2048870"/>
                <a:gd name="connsiteY568" fmla="*/ 855629 h 1413227"/>
                <a:gd name="connsiteX569" fmla="*/ 1764844 w 2048870"/>
                <a:gd name="connsiteY569" fmla="*/ 841801 h 1413227"/>
                <a:gd name="connsiteX570" fmla="*/ 1771758 w 2048870"/>
                <a:gd name="connsiteY570" fmla="*/ 836615 h 1413227"/>
                <a:gd name="connsiteX571" fmla="*/ 1776944 w 2048870"/>
                <a:gd name="connsiteY571" fmla="*/ 833158 h 1413227"/>
                <a:gd name="connsiteX572" fmla="*/ 1787315 w 2048870"/>
                <a:gd name="connsiteY572" fmla="*/ 831429 h 1413227"/>
                <a:gd name="connsiteX573" fmla="*/ 1795958 w 2048870"/>
                <a:gd name="connsiteY573" fmla="*/ 829701 h 1413227"/>
                <a:gd name="connsiteX574" fmla="*/ 1797687 w 2048870"/>
                <a:gd name="connsiteY574" fmla="*/ 824515 h 1413227"/>
                <a:gd name="connsiteX575" fmla="*/ 1825343 w 2048870"/>
                <a:gd name="connsiteY575" fmla="*/ 796859 h 1413227"/>
                <a:gd name="connsiteX576" fmla="*/ 1830529 w 2048870"/>
                <a:gd name="connsiteY576" fmla="*/ 776116 h 1413227"/>
                <a:gd name="connsiteX577" fmla="*/ 1835715 w 2048870"/>
                <a:gd name="connsiteY577" fmla="*/ 770930 h 1413227"/>
                <a:gd name="connsiteX578" fmla="*/ 1863371 w 2048870"/>
                <a:gd name="connsiteY578" fmla="*/ 760559 h 1413227"/>
                <a:gd name="connsiteX579" fmla="*/ 1868557 w 2048870"/>
                <a:gd name="connsiteY579" fmla="*/ 755373 h 1413227"/>
                <a:gd name="connsiteX580" fmla="*/ 1880657 w 2048870"/>
                <a:gd name="connsiteY580" fmla="*/ 753645 h 1413227"/>
                <a:gd name="connsiteX581" fmla="*/ 1889299 w 2048870"/>
                <a:gd name="connsiteY581" fmla="*/ 750188 h 1413227"/>
                <a:gd name="connsiteX582" fmla="*/ 1894485 w 2048870"/>
                <a:gd name="connsiteY582" fmla="*/ 731174 h 1413227"/>
                <a:gd name="connsiteX583" fmla="*/ 1910042 w 2048870"/>
                <a:gd name="connsiteY583" fmla="*/ 719074 h 1413227"/>
                <a:gd name="connsiteX584" fmla="*/ 1916956 w 2048870"/>
                <a:gd name="connsiteY584" fmla="*/ 710431 h 1413227"/>
                <a:gd name="connsiteX585" fmla="*/ 1908313 w 2048870"/>
                <a:gd name="connsiteY585" fmla="*/ 689689 h 1413227"/>
                <a:gd name="connsiteX586" fmla="*/ 1901399 w 2048870"/>
                <a:gd name="connsiteY586" fmla="*/ 675860 h 1413227"/>
                <a:gd name="connsiteX587" fmla="*/ 1897942 w 2048870"/>
                <a:gd name="connsiteY587" fmla="*/ 665489 h 1413227"/>
                <a:gd name="connsiteX588" fmla="*/ 1901399 w 2048870"/>
                <a:gd name="connsiteY588" fmla="*/ 651661 h 1413227"/>
                <a:gd name="connsiteX589" fmla="*/ 1897942 w 2048870"/>
                <a:gd name="connsiteY589" fmla="*/ 629190 h 1413227"/>
                <a:gd name="connsiteX590" fmla="*/ 1904856 w 2048870"/>
                <a:gd name="connsiteY590" fmla="*/ 624004 h 1413227"/>
                <a:gd name="connsiteX591" fmla="*/ 1910042 w 2048870"/>
                <a:gd name="connsiteY591" fmla="*/ 613633 h 1413227"/>
                <a:gd name="connsiteX592" fmla="*/ 1918685 w 2048870"/>
                <a:gd name="connsiteY592" fmla="*/ 608447 h 1413227"/>
                <a:gd name="connsiteX593" fmla="*/ 1925599 w 2048870"/>
                <a:gd name="connsiteY593" fmla="*/ 601533 h 1413227"/>
                <a:gd name="connsiteX594" fmla="*/ 1929056 w 2048870"/>
                <a:gd name="connsiteY594" fmla="*/ 587705 h 1413227"/>
                <a:gd name="connsiteX595" fmla="*/ 1932513 w 2048870"/>
                <a:gd name="connsiteY595" fmla="*/ 582519 h 1413227"/>
                <a:gd name="connsiteX596" fmla="*/ 1939427 w 2048870"/>
                <a:gd name="connsiteY596" fmla="*/ 565234 h 1413227"/>
                <a:gd name="connsiteX597" fmla="*/ 1963627 w 2048870"/>
                <a:gd name="connsiteY597" fmla="*/ 556591 h 1413227"/>
                <a:gd name="connsiteX598" fmla="*/ 1968812 w 2048870"/>
                <a:gd name="connsiteY598" fmla="*/ 547948 h 1413227"/>
                <a:gd name="connsiteX599" fmla="*/ 1986098 w 2048870"/>
                <a:gd name="connsiteY599" fmla="*/ 544491 h 1413227"/>
                <a:gd name="connsiteX600" fmla="*/ 2008569 w 2048870"/>
                <a:gd name="connsiteY600" fmla="*/ 539305 h 1413227"/>
                <a:gd name="connsiteX601" fmla="*/ 2017212 w 2048870"/>
                <a:gd name="connsiteY601" fmla="*/ 530663 h 1413227"/>
                <a:gd name="connsiteX602" fmla="*/ 2048326 w 2048870"/>
                <a:gd name="connsiteY602" fmla="*/ 525477 h 1413227"/>
                <a:gd name="connsiteX603" fmla="*/ 2043140 w 2048870"/>
                <a:gd name="connsiteY603" fmla="*/ 499549 h 1413227"/>
                <a:gd name="connsiteX604" fmla="*/ 2032769 w 2048870"/>
                <a:gd name="connsiteY604" fmla="*/ 492635 h 1413227"/>
                <a:gd name="connsiteX605" fmla="*/ 2025854 w 2048870"/>
                <a:gd name="connsiteY605" fmla="*/ 447693 h 1413227"/>
                <a:gd name="connsiteX606" fmla="*/ 2018940 w 2048870"/>
                <a:gd name="connsiteY606" fmla="*/ 428679 h 1413227"/>
                <a:gd name="connsiteX607" fmla="*/ 2015483 w 2048870"/>
                <a:gd name="connsiteY607" fmla="*/ 418307 h 1413227"/>
                <a:gd name="connsiteX608" fmla="*/ 2010298 w 2048870"/>
                <a:gd name="connsiteY608" fmla="*/ 411393 h 1413227"/>
                <a:gd name="connsiteX609" fmla="*/ 2003383 w 2048870"/>
                <a:gd name="connsiteY609" fmla="*/ 407936 h 1413227"/>
                <a:gd name="connsiteX610" fmla="*/ 1984369 w 2048870"/>
                <a:gd name="connsiteY610" fmla="*/ 404479 h 1413227"/>
                <a:gd name="connsiteX611" fmla="*/ 1977455 w 2048870"/>
                <a:gd name="connsiteY611" fmla="*/ 394108 h 1413227"/>
                <a:gd name="connsiteX612" fmla="*/ 1972270 w 2048870"/>
                <a:gd name="connsiteY612" fmla="*/ 390651 h 1413227"/>
                <a:gd name="connsiteX613" fmla="*/ 1968812 w 2048870"/>
                <a:gd name="connsiteY613" fmla="*/ 382008 h 1413227"/>
                <a:gd name="connsiteX614" fmla="*/ 1973998 w 2048870"/>
                <a:gd name="connsiteY614" fmla="*/ 366451 h 1413227"/>
                <a:gd name="connsiteX615" fmla="*/ 1982641 w 2048870"/>
                <a:gd name="connsiteY615" fmla="*/ 354351 h 1413227"/>
                <a:gd name="connsiteX616" fmla="*/ 1984369 w 2048870"/>
                <a:gd name="connsiteY616" fmla="*/ 347437 h 1413227"/>
                <a:gd name="connsiteX617" fmla="*/ 1994741 w 2048870"/>
                <a:gd name="connsiteY617" fmla="*/ 343980 h 1413227"/>
                <a:gd name="connsiteX618" fmla="*/ 1960170 w 2048870"/>
                <a:gd name="connsiteY618" fmla="*/ 337066 h 1413227"/>
                <a:gd name="connsiteX619" fmla="*/ 1958441 w 2048870"/>
                <a:gd name="connsiteY619" fmla="*/ 331880 h 1413227"/>
                <a:gd name="connsiteX620" fmla="*/ 1954984 w 2048870"/>
                <a:gd name="connsiteY620" fmla="*/ 326694 h 1413227"/>
                <a:gd name="connsiteX621" fmla="*/ 1958441 w 2048870"/>
                <a:gd name="connsiteY621" fmla="*/ 318052 h 1413227"/>
                <a:gd name="connsiteX622" fmla="*/ 1963627 w 2048870"/>
                <a:gd name="connsiteY622" fmla="*/ 311138 h 1413227"/>
                <a:gd name="connsiteX623" fmla="*/ 1967084 w 2048870"/>
                <a:gd name="connsiteY623" fmla="*/ 305952 h 1413227"/>
                <a:gd name="connsiteX624" fmla="*/ 1968812 w 2048870"/>
                <a:gd name="connsiteY624" fmla="*/ 299038 h 1413227"/>
                <a:gd name="connsiteX625" fmla="*/ 1973998 w 2048870"/>
                <a:gd name="connsiteY625" fmla="*/ 293852 h 1413227"/>
                <a:gd name="connsiteX626" fmla="*/ 1975727 w 2048870"/>
                <a:gd name="connsiteY626" fmla="*/ 269652 h 1413227"/>
                <a:gd name="connsiteX627" fmla="*/ 1970541 w 2048870"/>
                <a:gd name="connsiteY627" fmla="*/ 255824 h 1413227"/>
                <a:gd name="connsiteX628" fmla="*/ 1968812 w 2048870"/>
                <a:gd name="connsiteY628" fmla="*/ 250638 h 1413227"/>
                <a:gd name="connsiteX629" fmla="*/ 1967084 w 2048870"/>
                <a:gd name="connsiteY629" fmla="*/ 243724 h 1413227"/>
                <a:gd name="connsiteX630" fmla="*/ 1963627 w 2048870"/>
                <a:gd name="connsiteY630" fmla="*/ 238539 h 1413227"/>
                <a:gd name="connsiteX631" fmla="*/ 1965355 w 2048870"/>
                <a:gd name="connsiteY631" fmla="*/ 216068 h 1413227"/>
                <a:gd name="connsiteX632" fmla="*/ 1961898 w 2048870"/>
                <a:gd name="connsiteY632" fmla="*/ 209153 h 1413227"/>
                <a:gd name="connsiteX633" fmla="*/ 1954984 w 2048870"/>
                <a:gd name="connsiteY633" fmla="*/ 216068 h 1413227"/>
                <a:gd name="connsiteX634" fmla="*/ 1948070 w 2048870"/>
                <a:gd name="connsiteY634" fmla="*/ 217796 h 1413227"/>
                <a:gd name="connsiteX635" fmla="*/ 1937699 w 2048870"/>
                <a:gd name="connsiteY635" fmla="*/ 226439 h 1413227"/>
                <a:gd name="connsiteX636" fmla="*/ 1932513 w 2048870"/>
                <a:gd name="connsiteY636" fmla="*/ 228167 h 1413227"/>
                <a:gd name="connsiteX637" fmla="*/ 1922142 w 2048870"/>
                <a:gd name="connsiteY637" fmla="*/ 235082 h 1413227"/>
                <a:gd name="connsiteX638" fmla="*/ 1906585 w 2048870"/>
                <a:gd name="connsiteY638" fmla="*/ 231624 h 1413227"/>
                <a:gd name="connsiteX639" fmla="*/ 1885842 w 2048870"/>
                <a:gd name="connsiteY639" fmla="*/ 222982 h 1413227"/>
                <a:gd name="connsiteX640" fmla="*/ 1878928 w 2048870"/>
                <a:gd name="connsiteY640" fmla="*/ 224710 h 1413227"/>
                <a:gd name="connsiteX641" fmla="*/ 1868557 w 2048870"/>
                <a:gd name="connsiteY641" fmla="*/ 233353 h 1413227"/>
                <a:gd name="connsiteX642" fmla="*/ 1847814 w 2048870"/>
                <a:gd name="connsiteY642" fmla="*/ 221253 h 1413227"/>
                <a:gd name="connsiteX643" fmla="*/ 1839172 w 2048870"/>
                <a:gd name="connsiteY643" fmla="*/ 217796 h 1413227"/>
                <a:gd name="connsiteX644" fmla="*/ 1832257 w 2048870"/>
                <a:gd name="connsiteY644" fmla="*/ 214339 h 1413227"/>
                <a:gd name="connsiteX645" fmla="*/ 1823615 w 2048870"/>
                <a:gd name="connsiteY645" fmla="*/ 224710 h 1413227"/>
                <a:gd name="connsiteX646" fmla="*/ 1816701 w 2048870"/>
                <a:gd name="connsiteY646" fmla="*/ 229896 h 1413227"/>
                <a:gd name="connsiteX647" fmla="*/ 1787315 w 2048870"/>
                <a:gd name="connsiteY647" fmla="*/ 221253 h 1413227"/>
                <a:gd name="connsiteX648" fmla="*/ 1759659 w 2048870"/>
                <a:gd name="connsiteY648" fmla="*/ 222982 h 1413227"/>
                <a:gd name="connsiteX649" fmla="*/ 1754473 w 2048870"/>
                <a:gd name="connsiteY649" fmla="*/ 224710 h 1413227"/>
                <a:gd name="connsiteX650" fmla="*/ 1735459 w 2048870"/>
                <a:gd name="connsiteY650" fmla="*/ 222982 h 1413227"/>
                <a:gd name="connsiteX651" fmla="*/ 1728545 w 2048870"/>
                <a:gd name="connsiteY651" fmla="*/ 217796 h 1413227"/>
                <a:gd name="connsiteX652" fmla="*/ 1721631 w 2048870"/>
                <a:gd name="connsiteY652" fmla="*/ 207425 h 1413227"/>
                <a:gd name="connsiteX653" fmla="*/ 1712988 w 2048870"/>
                <a:gd name="connsiteY653" fmla="*/ 235082 h 1413227"/>
                <a:gd name="connsiteX654" fmla="*/ 1706074 w 2048870"/>
                <a:gd name="connsiteY654" fmla="*/ 250638 h 1413227"/>
                <a:gd name="connsiteX655" fmla="*/ 1692245 w 2048870"/>
                <a:gd name="connsiteY655" fmla="*/ 236810 h 1413227"/>
                <a:gd name="connsiteX656" fmla="*/ 1645575 w 2048870"/>
                <a:gd name="connsiteY656" fmla="*/ 224710 h 1413227"/>
                <a:gd name="connsiteX657" fmla="*/ 1640389 w 2048870"/>
                <a:gd name="connsiteY657" fmla="*/ 217796 h 1413227"/>
                <a:gd name="connsiteX658" fmla="*/ 1638661 w 2048870"/>
                <a:gd name="connsiteY658" fmla="*/ 212610 h 1413227"/>
                <a:gd name="connsiteX659" fmla="*/ 1623104 w 2048870"/>
                <a:gd name="connsiteY659" fmla="*/ 195325 h 1413227"/>
                <a:gd name="connsiteX660" fmla="*/ 1609275 w 2048870"/>
                <a:gd name="connsiteY660" fmla="*/ 191868 h 1413227"/>
                <a:gd name="connsiteX661" fmla="*/ 1600633 w 2048870"/>
                <a:gd name="connsiteY661" fmla="*/ 200511 h 1413227"/>
                <a:gd name="connsiteX662" fmla="*/ 1595447 w 2048870"/>
                <a:gd name="connsiteY662" fmla="*/ 202239 h 1413227"/>
                <a:gd name="connsiteX663" fmla="*/ 1574704 w 2048870"/>
                <a:gd name="connsiteY663" fmla="*/ 209153 h 1413227"/>
                <a:gd name="connsiteX664" fmla="*/ 1569519 w 2048870"/>
                <a:gd name="connsiteY664" fmla="*/ 214339 h 1413227"/>
                <a:gd name="connsiteX665" fmla="*/ 1564333 w 2048870"/>
                <a:gd name="connsiteY665" fmla="*/ 217796 h 1413227"/>
                <a:gd name="connsiteX666" fmla="*/ 1560876 w 2048870"/>
                <a:gd name="connsiteY666" fmla="*/ 224710 h 1413227"/>
                <a:gd name="connsiteX667" fmla="*/ 1543591 w 2048870"/>
                <a:gd name="connsiteY667" fmla="*/ 238539 h 1413227"/>
                <a:gd name="connsiteX668" fmla="*/ 1536676 w 2048870"/>
                <a:gd name="connsiteY668" fmla="*/ 245453 h 1413227"/>
                <a:gd name="connsiteX669" fmla="*/ 1534948 w 2048870"/>
                <a:gd name="connsiteY669" fmla="*/ 250638 h 1413227"/>
                <a:gd name="connsiteX670" fmla="*/ 1536676 w 2048870"/>
                <a:gd name="connsiteY670" fmla="*/ 255824 h 1413227"/>
                <a:gd name="connsiteX671" fmla="*/ 1510748 w 2048870"/>
                <a:gd name="connsiteY671" fmla="*/ 259281 h 1413227"/>
                <a:gd name="connsiteX672" fmla="*/ 1500377 w 2048870"/>
                <a:gd name="connsiteY672" fmla="*/ 252367 h 1413227"/>
                <a:gd name="connsiteX673" fmla="*/ 1472720 w 2048870"/>
                <a:gd name="connsiteY673" fmla="*/ 252367 h 1413227"/>
                <a:gd name="connsiteX674" fmla="*/ 1455435 w 2048870"/>
                <a:gd name="connsiteY674" fmla="*/ 254096 h 1413227"/>
                <a:gd name="connsiteX675" fmla="*/ 1446792 w 2048870"/>
                <a:gd name="connsiteY675" fmla="*/ 261010 h 1413227"/>
                <a:gd name="connsiteX676" fmla="*/ 1441606 w 2048870"/>
                <a:gd name="connsiteY676" fmla="*/ 267924 h 1413227"/>
                <a:gd name="connsiteX677" fmla="*/ 1438149 w 2048870"/>
                <a:gd name="connsiteY677" fmla="*/ 273110 h 1413227"/>
                <a:gd name="connsiteX678" fmla="*/ 1432964 w 2048870"/>
                <a:gd name="connsiteY678" fmla="*/ 274838 h 1413227"/>
                <a:gd name="connsiteX679" fmla="*/ 1419135 w 2048870"/>
                <a:gd name="connsiteY679" fmla="*/ 281752 h 1413227"/>
                <a:gd name="connsiteX680" fmla="*/ 1412221 w 2048870"/>
                <a:gd name="connsiteY680" fmla="*/ 278295 h 1413227"/>
                <a:gd name="connsiteX681" fmla="*/ 1408764 w 2048870"/>
                <a:gd name="connsiteY681" fmla="*/ 273110 h 1413227"/>
                <a:gd name="connsiteX682" fmla="*/ 1400121 w 2048870"/>
                <a:gd name="connsiteY682" fmla="*/ 257553 h 1413227"/>
                <a:gd name="connsiteX683" fmla="*/ 1394936 w 2048870"/>
                <a:gd name="connsiteY683" fmla="*/ 254096 h 1413227"/>
                <a:gd name="connsiteX684" fmla="*/ 1386293 w 2048870"/>
                <a:gd name="connsiteY684" fmla="*/ 243724 h 1413227"/>
                <a:gd name="connsiteX685" fmla="*/ 1381107 w 2048870"/>
                <a:gd name="connsiteY685" fmla="*/ 212610 h 1413227"/>
                <a:gd name="connsiteX686" fmla="*/ 1370736 w 2048870"/>
                <a:gd name="connsiteY686" fmla="*/ 202239 h 1413227"/>
                <a:gd name="connsiteX687" fmla="*/ 1363822 w 2048870"/>
                <a:gd name="connsiteY687" fmla="*/ 200511 h 1413227"/>
                <a:gd name="connsiteX688" fmla="*/ 1358636 w 2048870"/>
                <a:gd name="connsiteY688" fmla="*/ 193596 h 1413227"/>
                <a:gd name="connsiteX689" fmla="*/ 1349994 w 2048870"/>
                <a:gd name="connsiteY689" fmla="*/ 178040 h 1413227"/>
                <a:gd name="connsiteX690" fmla="*/ 1337894 w 2048870"/>
                <a:gd name="connsiteY690" fmla="*/ 167668 h 1413227"/>
                <a:gd name="connsiteX691" fmla="*/ 1298137 w 2048870"/>
                <a:gd name="connsiteY691" fmla="*/ 169397 h 1413227"/>
                <a:gd name="connsiteX692" fmla="*/ 1284309 w 2048870"/>
                <a:gd name="connsiteY692" fmla="*/ 179768 h 1413227"/>
                <a:gd name="connsiteX693" fmla="*/ 1268752 w 2048870"/>
                <a:gd name="connsiteY693" fmla="*/ 181497 h 1413227"/>
                <a:gd name="connsiteX694" fmla="*/ 1251467 w 2048870"/>
                <a:gd name="connsiteY694" fmla="*/ 174583 h 1413227"/>
                <a:gd name="connsiteX695" fmla="*/ 1241095 w 2048870"/>
                <a:gd name="connsiteY695" fmla="*/ 164211 h 1413227"/>
                <a:gd name="connsiteX696" fmla="*/ 1230724 w 2048870"/>
                <a:gd name="connsiteY696" fmla="*/ 160754 h 1413227"/>
                <a:gd name="connsiteX697" fmla="*/ 1215167 w 2048870"/>
                <a:gd name="connsiteY697" fmla="*/ 146926 h 1413227"/>
                <a:gd name="connsiteX698" fmla="*/ 1213439 w 2048870"/>
                <a:gd name="connsiteY698" fmla="*/ 140012 h 1413227"/>
                <a:gd name="connsiteX699" fmla="*/ 1206524 w 2048870"/>
                <a:gd name="connsiteY699" fmla="*/ 131369 h 1413227"/>
                <a:gd name="connsiteX700" fmla="*/ 1204796 w 2048870"/>
                <a:gd name="connsiteY700" fmla="*/ 122726 h 1413227"/>
                <a:gd name="connsiteX701" fmla="*/ 1190968 w 2048870"/>
                <a:gd name="connsiteY701" fmla="*/ 117541 h 1413227"/>
                <a:gd name="connsiteX702" fmla="*/ 1201339 w 2048870"/>
                <a:gd name="connsiteY702" fmla="*/ 105441 h 1413227"/>
                <a:gd name="connsiteX703" fmla="*/ 1208253 w 2048870"/>
                <a:gd name="connsiteY703" fmla="*/ 101984 h 1413227"/>
                <a:gd name="connsiteX704" fmla="*/ 1213439 w 2048870"/>
                <a:gd name="connsiteY704" fmla="*/ 95069 h 1413227"/>
                <a:gd name="connsiteX705" fmla="*/ 1218624 w 2048870"/>
                <a:gd name="connsiteY705" fmla="*/ 89884 h 1413227"/>
                <a:gd name="connsiteX706" fmla="*/ 1216896 w 2048870"/>
                <a:gd name="connsiteY706" fmla="*/ 84698 h 1413227"/>
                <a:gd name="connsiteX707" fmla="*/ 1206524 w 2048870"/>
                <a:gd name="connsiteY707" fmla="*/ 81241 h 1413227"/>
                <a:gd name="connsiteX708" fmla="*/ 1190968 w 2048870"/>
                <a:gd name="connsiteY708" fmla="*/ 76055 h 1413227"/>
                <a:gd name="connsiteX709" fmla="*/ 1175411 w 2048870"/>
                <a:gd name="connsiteY709" fmla="*/ 60499 h 1413227"/>
                <a:gd name="connsiteX710" fmla="*/ 1168496 w 2048870"/>
                <a:gd name="connsiteY710" fmla="*/ 53584 h 1413227"/>
                <a:gd name="connsiteX711" fmla="*/ 1165039 w 2048870"/>
                <a:gd name="connsiteY711" fmla="*/ 46670 h 1413227"/>
                <a:gd name="connsiteX712" fmla="*/ 1159854 w 2048870"/>
                <a:gd name="connsiteY712" fmla="*/ 39756 h 1413227"/>
                <a:gd name="connsiteX713" fmla="*/ 1151211 w 2048870"/>
                <a:gd name="connsiteY713" fmla="*/ 27656 h 1413227"/>
                <a:gd name="connsiteX714" fmla="*/ 1146025 w 2048870"/>
                <a:gd name="connsiteY714" fmla="*/ 24199 h 1413227"/>
                <a:gd name="connsiteX715" fmla="*/ 1140840 w 2048870"/>
                <a:gd name="connsiteY715" fmla="*/ 17285 h 1413227"/>
                <a:gd name="connsiteX716" fmla="*/ 1123554 w 2048870"/>
                <a:gd name="connsiteY716" fmla="*/ 3457 h 1413227"/>
                <a:gd name="connsiteX717" fmla="*/ 1116640 w 2048870"/>
                <a:gd name="connsiteY717" fmla="*/ 0 h 1413227"/>
                <a:gd name="connsiteX718" fmla="*/ 1102812 w 2048870"/>
                <a:gd name="connsiteY718" fmla="*/ 1728 h 1413227"/>
                <a:gd name="connsiteX719" fmla="*/ 1097626 w 2048870"/>
                <a:gd name="connsiteY719" fmla="*/ 3457 h 1413227"/>
                <a:gd name="connsiteX720" fmla="*/ 1090712 w 2048870"/>
                <a:gd name="connsiteY720" fmla="*/ 5185 h 1413227"/>
                <a:gd name="connsiteX721" fmla="*/ 1071698 w 2048870"/>
                <a:gd name="connsiteY721" fmla="*/ 17285 h 1413227"/>
                <a:gd name="connsiteX722" fmla="*/ 1056141 w 2048870"/>
                <a:gd name="connsiteY722" fmla="*/ 15556 h 1413227"/>
                <a:gd name="connsiteX723" fmla="*/ 1050955 w 2048870"/>
                <a:gd name="connsiteY723" fmla="*/ 19014 h 1413227"/>
                <a:gd name="connsiteX724" fmla="*/ 1042313 w 2048870"/>
                <a:gd name="connsiteY724" fmla="*/ 27656 h 1413227"/>
                <a:gd name="connsiteX725" fmla="*/ 1028484 w 2048870"/>
                <a:gd name="connsiteY725" fmla="*/ 38027 h 1413227"/>
                <a:gd name="connsiteX726" fmla="*/ 1025027 w 2048870"/>
                <a:gd name="connsiteY726" fmla="*/ 41485 h 1413227"/>
                <a:gd name="connsiteX727" fmla="*/ 1016385 w 2048870"/>
                <a:gd name="connsiteY727" fmla="*/ 46670 h 1413227"/>
                <a:gd name="connsiteX728" fmla="*/ 1012927 w 2048870"/>
                <a:gd name="connsiteY728" fmla="*/ 50127 h 1413227"/>
                <a:gd name="connsiteX729" fmla="*/ 997371 w 2048870"/>
                <a:gd name="connsiteY729" fmla="*/ 57041 h 1413227"/>
                <a:gd name="connsiteX730" fmla="*/ 973171 w 2048870"/>
                <a:gd name="connsiteY730" fmla="*/ 58770 h 1413227"/>
                <a:gd name="connsiteX731" fmla="*/ 967985 w 2048870"/>
                <a:gd name="connsiteY731" fmla="*/ 62227 h 1413227"/>
                <a:gd name="connsiteX732" fmla="*/ 966257 w 2048870"/>
                <a:gd name="connsiteY732" fmla="*/ 79513 h 1413227"/>
                <a:gd name="connsiteX733" fmla="*/ 962800 w 2048870"/>
                <a:gd name="connsiteY733" fmla="*/ 103712 h 1413227"/>
                <a:gd name="connsiteX734" fmla="*/ 961071 w 2048870"/>
                <a:gd name="connsiteY734" fmla="*/ 112355 h 1413227"/>
                <a:gd name="connsiteX735" fmla="*/ 916129 w 2048870"/>
                <a:gd name="connsiteY735" fmla="*/ 115812 h 1413227"/>
                <a:gd name="connsiteX736" fmla="*/ 910943 w 2048870"/>
                <a:gd name="connsiteY736" fmla="*/ 119269 h 1413227"/>
                <a:gd name="connsiteX737" fmla="*/ 905758 w 2048870"/>
                <a:gd name="connsiteY737" fmla="*/ 120998 h 1413227"/>
                <a:gd name="connsiteX738" fmla="*/ 893658 w 2048870"/>
                <a:gd name="connsiteY738" fmla="*/ 124455 h 1413227"/>
                <a:gd name="connsiteX739" fmla="*/ 888472 w 2048870"/>
                <a:gd name="connsiteY739" fmla="*/ 126183 h 1413227"/>
                <a:gd name="connsiteX740" fmla="*/ 895386 w 2048870"/>
                <a:gd name="connsiteY740" fmla="*/ 124455 h 1413227"/>
                <a:gd name="connsiteX741" fmla="*/ 904029 w 2048870"/>
                <a:gd name="connsiteY741" fmla="*/ 115812 h 1413227"/>
                <a:gd name="connsiteX742" fmla="*/ 966257 w 2048870"/>
                <a:gd name="connsiteY742" fmla="*/ 63956 h 1413227"/>
                <a:gd name="connsiteX0" fmla="*/ 966257 w 2048870"/>
                <a:gd name="connsiteY0" fmla="*/ 63956 h 1413227"/>
                <a:gd name="connsiteX1" fmla="*/ 962800 w 2048870"/>
                <a:gd name="connsiteY1" fmla="*/ 72598 h 1413227"/>
                <a:gd name="connsiteX2" fmla="*/ 919586 w 2048870"/>
                <a:gd name="connsiteY2" fmla="*/ 114083 h 1413227"/>
                <a:gd name="connsiteX3" fmla="*/ 902301 w 2048870"/>
                <a:gd name="connsiteY3" fmla="*/ 120998 h 1413227"/>
                <a:gd name="connsiteX4" fmla="*/ 885015 w 2048870"/>
                <a:gd name="connsiteY4" fmla="*/ 122726 h 1413227"/>
                <a:gd name="connsiteX5" fmla="*/ 878101 w 2048870"/>
                <a:gd name="connsiteY5" fmla="*/ 129640 h 1413227"/>
                <a:gd name="connsiteX6" fmla="*/ 855630 w 2048870"/>
                <a:gd name="connsiteY6" fmla="*/ 140012 h 1413227"/>
                <a:gd name="connsiteX7" fmla="*/ 850444 w 2048870"/>
                <a:gd name="connsiteY7" fmla="*/ 145197 h 1413227"/>
                <a:gd name="connsiteX8" fmla="*/ 831430 w 2048870"/>
                <a:gd name="connsiteY8" fmla="*/ 146926 h 1413227"/>
                <a:gd name="connsiteX9" fmla="*/ 808923 w 2048870"/>
                <a:gd name="connsiteY9" fmla="*/ 195183 h 1413227"/>
                <a:gd name="connsiteX10" fmla="*/ 817602 w 2048870"/>
                <a:gd name="connsiteY10" fmla="*/ 247181 h 1413227"/>
                <a:gd name="connsiteX11" fmla="*/ 821059 w 2048870"/>
                <a:gd name="connsiteY11" fmla="*/ 255824 h 1413227"/>
                <a:gd name="connsiteX12" fmla="*/ 826245 w 2048870"/>
                <a:gd name="connsiteY12" fmla="*/ 259281 h 1413227"/>
                <a:gd name="connsiteX13" fmla="*/ 833159 w 2048870"/>
                <a:gd name="connsiteY13" fmla="*/ 267924 h 1413227"/>
                <a:gd name="connsiteX14" fmla="*/ 836616 w 2048870"/>
                <a:gd name="connsiteY14" fmla="*/ 280024 h 1413227"/>
                <a:gd name="connsiteX15" fmla="*/ 834887 w 2048870"/>
                <a:gd name="connsiteY15" fmla="*/ 295581 h 1413227"/>
                <a:gd name="connsiteX16" fmla="*/ 821059 w 2048870"/>
                <a:gd name="connsiteY16" fmla="*/ 299038 h 1413227"/>
                <a:gd name="connsiteX17" fmla="*/ 800316 w 2048870"/>
                <a:gd name="connsiteY17" fmla="*/ 295581 h 1413227"/>
                <a:gd name="connsiteX18" fmla="*/ 786488 w 2048870"/>
                <a:gd name="connsiteY18" fmla="*/ 286938 h 1413227"/>
                <a:gd name="connsiteX19" fmla="*/ 781302 w 2048870"/>
                <a:gd name="connsiteY19" fmla="*/ 285209 h 1413227"/>
                <a:gd name="connsiteX20" fmla="*/ 774388 w 2048870"/>
                <a:gd name="connsiteY20" fmla="*/ 278295 h 1413227"/>
                <a:gd name="connsiteX21" fmla="*/ 767474 w 2048870"/>
                <a:gd name="connsiteY21" fmla="*/ 285209 h 1413227"/>
                <a:gd name="connsiteX22" fmla="*/ 758831 w 2048870"/>
                <a:gd name="connsiteY22" fmla="*/ 286938 h 1413227"/>
                <a:gd name="connsiteX23" fmla="*/ 751917 w 2048870"/>
                <a:gd name="connsiteY23" fmla="*/ 288666 h 1413227"/>
                <a:gd name="connsiteX24" fmla="*/ 746732 w 2048870"/>
                <a:gd name="connsiteY24" fmla="*/ 290395 h 1413227"/>
                <a:gd name="connsiteX25" fmla="*/ 722532 w 2048870"/>
                <a:gd name="connsiteY25" fmla="*/ 292124 h 1413227"/>
                <a:gd name="connsiteX26" fmla="*/ 720803 w 2048870"/>
                <a:gd name="connsiteY26" fmla="*/ 297309 h 1413227"/>
                <a:gd name="connsiteX27" fmla="*/ 701789 w 2048870"/>
                <a:gd name="connsiteY27" fmla="*/ 312866 h 1413227"/>
                <a:gd name="connsiteX28" fmla="*/ 686233 w 2048870"/>
                <a:gd name="connsiteY28" fmla="*/ 305952 h 1413227"/>
                <a:gd name="connsiteX29" fmla="*/ 684504 w 2048870"/>
                <a:gd name="connsiteY29" fmla="*/ 300766 h 1413227"/>
                <a:gd name="connsiteX30" fmla="*/ 681047 w 2048870"/>
                <a:gd name="connsiteY30" fmla="*/ 285209 h 1413227"/>
                <a:gd name="connsiteX31" fmla="*/ 649933 w 2048870"/>
                <a:gd name="connsiteY31" fmla="*/ 288666 h 1413227"/>
                <a:gd name="connsiteX32" fmla="*/ 646476 w 2048870"/>
                <a:gd name="connsiteY32" fmla="*/ 299038 h 1413227"/>
                <a:gd name="connsiteX33" fmla="*/ 639562 w 2048870"/>
                <a:gd name="connsiteY33" fmla="*/ 314595 h 1413227"/>
                <a:gd name="connsiteX34" fmla="*/ 634376 w 2048870"/>
                <a:gd name="connsiteY34" fmla="*/ 326694 h 1413227"/>
                <a:gd name="connsiteX35" fmla="*/ 629191 w 2048870"/>
                <a:gd name="connsiteY35" fmla="*/ 328423 h 1413227"/>
                <a:gd name="connsiteX36" fmla="*/ 613634 w 2048870"/>
                <a:gd name="connsiteY36" fmla="*/ 323237 h 1413227"/>
                <a:gd name="connsiteX37" fmla="*/ 601534 w 2048870"/>
                <a:gd name="connsiteY37" fmla="*/ 311138 h 1413227"/>
                <a:gd name="connsiteX38" fmla="*/ 572149 w 2048870"/>
                <a:gd name="connsiteY38" fmla="*/ 309409 h 1413227"/>
                <a:gd name="connsiteX39" fmla="*/ 566963 w 2048870"/>
                <a:gd name="connsiteY39" fmla="*/ 295581 h 1413227"/>
                <a:gd name="connsiteX40" fmla="*/ 563506 w 2048870"/>
                <a:gd name="connsiteY40" fmla="*/ 300766 h 1413227"/>
                <a:gd name="connsiteX41" fmla="*/ 558320 w 2048870"/>
                <a:gd name="connsiteY41" fmla="*/ 307680 h 1413227"/>
                <a:gd name="connsiteX42" fmla="*/ 549678 w 2048870"/>
                <a:gd name="connsiteY42" fmla="*/ 321509 h 1413227"/>
                <a:gd name="connsiteX43" fmla="*/ 509921 w 2048870"/>
                <a:gd name="connsiteY43" fmla="*/ 324966 h 1413227"/>
                <a:gd name="connsiteX44" fmla="*/ 515107 w 2048870"/>
                <a:gd name="connsiteY44" fmla="*/ 328423 h 1413227"/>
                <a:gd name="connsiteX45" fmla="*/ 525478 w 2048870"/>
                <a:gd name="connsiteY45" fmla="*/ 331880 h 1413227"/>
                <a:gd name="connsiteX46" fmla="*/ 523749 w 2048870"/>
                <a:gd name="connsiteY46" fmla="*/ 337066 h 1413227"/>
                <a:gd name="connsiteX47" fmla="*/ 516835 w 2048870"/>
                <a:gd name="connsiteY47" fmla="*/ 343980 h 1413227"/>
                <a:gd name="connsiteX48" fmla="*/ 511650 w 2048870"/>
                <a:gd name="connsiteY48" fmla="*/ 323237 h 1413227"/>
                <a:gd name="connsiteX49" fmla="*/ 483993 w 2048870"/>
                <a:gd name="connsiteY49" fmla="*/ 333609 h 1413227"/>
                <a:gd name="connsiteX50" fmla="*/ 478807 w 2048870"/>
                <a:gd name="connsiteY50" fmla="*/ 338794 h 1413227"/>
                <a:gd name="connsiteX51" fmla="*/ 466707 w 2048870"/>
                <a:gd name="connsiteY51" fmla="*/ 337066 h 1413227"/>
                <a:gd name="connsiteX52" fmla="*/ 463250 w 2048870"/>
                <a:gd name="connsiteY52" fmla="*/ 324966 h 1413227"/>
                <a:gd name="connsiteX53" fmla="*/ 454608 w 2048870"/>
                <a:gd name="connsiteY53" fmla="*/ 312866 h 1413227"/>
                <a:gd name="connsiteX54" fmla="*/ 449422 w 2048870"/>
                <a:gd name="connsiteY54" fmla="*/ 311138 h 1413227"/>
                <a:gd name="connsiteX55" fmla="*/ 425222 w 2048870"/>
                <a:gd name="connsiteY55" fmla="*/ 314595 h 1413227"/>
                <a:gd name="connsiteX56" fmla="*/ 273110 w 2048870"/>
                <a:gd name="connsiteY56" fmla="*/ 316323 h 1413227"/>
                <a:gd name="connsiteX57" fmla="*/ 262739 w 2048870"/>
                <a:gd name="connsiteY57" fmla="*/ 323237 h 1413227"/>
                <a:gd name="connsiteX58" fmla="*/ 255825 w 2048870"/>
                <a:gd name="connsiteY58" fmla="*/ 324966 h 1413227"/>
                <a:gd name="connsiteX59" fmla="*/ 250639 w 2048870"/>
                <a:gd name="connsiteY59" fmla="*/ 326694 h 1413227"/>
                <a:gd name="connsiteX60" fmla="*/ 238540 w 2048870"/>
                <a:gd name="connsiteY60" fmla="*/ 330152 h 1413227"/>
                <a:gd name="connsiteX61" fmla="*/ 200512 w 2048870"/>
                <a:gd name="connsiteY61" fmla="*/ 333609 h 1413227"/>
                <a:gd name="connsiteX62" fmla="*/ 188412 w 2048870"/>
                <a:gd name="connsiteY62" fmla="*/ 338794 h 1413227"/>
                <a:gd name="connsiteX63" fmla="*/ 176312 w 2048870"/>
                <a:gd name="connsiteY63" fmla="*/ 342251 h 1413227"/>
                <a:gd name="connsiteX64" fmla="*/ 146927 w 2048870"/>
                <a:gd name="connsiteY64" fmla="*/ 356080 h 1413227"/>
                <a:gd name="connsiteX65" fmla="*/ 138284 w 2048870"/>
                <a:gd name="connsiteY65" fmla="*/ 357808 h 1413227"/>
                <a:gd name="connsiteX66" fmla="*/ 136555 w 2048870"/>
                <a:gd name="connsiteY66" fmla="*/ 364722 h 1413227"/>
                <a:gd name="connsiteX67" fmla="*/ 134827 w 2048870"/>
                <a:gd name="connsiteY67" fmla="*/ 380279 h 1413227"/>
                <a:gd name="connsiteX68" fmla="*/ 127913 w 2048870"/>
                <a:gd name="connsiteY68" fmla="*/ 387193 h 1413227"/>
                <a:gd name="connsiteX69" fmla="*/ 126184 w 2048870"/>
                <a:gd name="connsiteY69" fmla="*/ 394108 h 1413227"/>
                <a:gd name="connsiteX70" fmla="*/ 124456 w 2048870"/>
                <a:gd name="connsiteY70" fmla="*/ 402750 h 1413227"/>
                <a:gd name="connsiteX71" fmla="*/ 117541 w 2048870"/>
                <a:gd name="connsiteY71" fmla="*/ 407936 h 1413227"/>
                <a:gd name="connsiteX72" fmla="*/ 105442 w 2048870"/>
                <a:gd name="connsiteY72" fmla="*/ 411393 h 1413227"/>
                <a:gd name="connsiteX73" fmla="*/ 100256 w 2048870"/>
                <a:gd name="connsiteY73" fmla="*/ 413122 h 1413227"/>
                <a:gd name="connsiteX74" fmla="*/ 70871 w 2048870"/>
                <a:gd name="connsiteY74" fmla="*/ 421764 h 1413227"/>
                <a:gd name="connsiteX75" fmla="*/ 67414 w 2048870"/>
                <a:gd name="connsiteY75" fmla="*/ 428679 h 1413227"/>
                <a:gd name="connsiteX76" fmla="*/ 69142 w 2048870"/>
                <a:gd name="connsiteY76" fmla="*/ 440778 h 1413227"/>
                <a:gd name="connsiteX77" fmla="*/ 65685 w 2048870"/>
                <a:gd name="connsiteY77" fmla="*/ 445964 h 1413227"/>
                <a:gd name="connsiteX78" fmla="*/ 63957 w 2048870"/>
                <a:gd name="connsiteY78" fmla="*/ 452878 h 1413227"/>
                <a:gd name="connsiteX79" fmla="*/ 69142 w 2048870"/>
                <a:gd name="connsiteY79" fmla="*/ 456335 h 1413227"/>
                <a:gd name="connsiteX80" fmla="*/ 74328 w 2048870"/>
                <a:gd name="connsiteY80" fmla="*/ 458064 h 1413227"/>
                <a:gd name="connsiteX81" fmla="*/ 84699 w 2048870"/>
                <a:gd name="connsiteY81" fmla="*/ 466707 h 1413227"/>
                <a:gd name="connsiteX82" fmla="*/ 81242 w 2048870"/>
                <a:gd name="connsiteY82" fmla="*/ 473621 h 1413227"/>
                <a:gd name="connsiteX83" fmla="*/ 77785 w 2048870"/>
                <a:gd name="connsiteY83" fmla="*/ 478806 h 1413227"/>
                <a:gd name="connsiteX84" fmla="*/ 79513 w 2048870"/>
                <a:gd name="connsiteY84" fmla="*/ 485721 h 1413227"/>
                <a:gd name="connsiteX85" fmla="*/ 72599 w 2048870"/>
                <a:gd name="connsiteY85" fmla="*/ 489178 h 1413227"/>
                <a:gd name="connsiteX86" fmla="*/ 63957 w 2048870"/>
                <a:gd name="connsiteY86" fmla="*/ 487449 h 1413227"/>
                <a:gd name="connsiteX87" fmla="*/ 76056 w 2048870"/>
                <a:gd name="connsiteY87" fmla="*/ 485721 h 1413227"/>
                <a:gd name="connsiteX88" fmla="*/ 86428 w 2048870"/>
                <a:gd name="connsiteY88" fmla="*/ 483992 h 1413227"/>
                <a:gd name="connsiteX89" fmla="*/ 84699 w 2048870"/>
                <a:gd name="connsiteY89" fmla="*/ 494363 h 1413227"/>
                <a:gd name="connsiteX90" fmla="*/ 86428 w 2048870"/>
                <a:gd name="connsiteY90" fmla="*/ 501277 h 1413227"/>
                <a:gd name="connsiteX91" fmla="*/ 96799 w 2048870"/>
                <a:gd name="connsiteY91" fmla="*/ 515106 h 1413227"/>
                <a:gd name="connsiteX92" fmla="*/ 101985 w 2048870"/>
                <a:gd name="connsiteY92" fmla="*/ 516834 h 1413227"/>
                <a:gd name="connsiteX93" fmla="*/ 114084 w 2048870"/>
                <a:gd name="connsiteY93" fmla="*/ 520291 h 1413227"/>
                <a:gd name="connsiteX94" fmla="*/ 119270 w 2048870"/>
                <a:gd name="connsiteY94" fmla="*/ 525477 h 1413227"/>
                <a:gd name="connsiteX95" fmla="*/ 116429 w 2048870"/>
                <a:gd name="connsiteY95" fmla="*/ 533466 h 1413227"/>
                <a:gd name="connsiteX96" fmla="*/ 124649 w 2048870"/>
                <a:gd name="connsiteY96" fmla="*/ 554668 h 1413227"/>
                <a:gd name="connsiteX97" fmla="*/ 134827 w 2048870"/>
                <a:gd name="connsiteY97" fmla="*/ 572148 h 1413227"/>
                <a:gd name="connsiteX98" fmla="*/ 140012 w 2048870"/>
                <a:gd name="connsiteY98" fmla="*/ 573876 h 1413227"/>
                <a:gd name="connsiteX99" fmla="*/ 143470 w 2048870"/>
                <a:gd name="connsiteY99" fmla="*/ 577333 h 1413227"/>
                <a:gd name="connsiteX100" fmla="*/ 146927 w 2048870"/>
                <a:gd name="connsiteY100" fmla="*/ 589433 h 1413227"/>
                <a:gd name="connsiteX101" fmla="*/ 150384 w 2048870"/>
                <a:gd name="connsiteY101" fmla="*/ 598076 h 1413227"/>
                <a:gd name="connsiteX102" fmla="*/ 148655 w 2048870"/>
                <a:gd name="connsiteY102" fmla="*/ 617090 h 1413227"/>
                <a:gd name="connsiteX103" fmla="*/ 146927 w 2048870"/>
                <a:gd name="connsiteY103" fmla="*/ 622276 h 1413227"/>
                <a:gd name="connsiteX104" fmla="*/ 141741 w 2048870"/>
                <a:gd name="connsiteY104" fmla="*/ 627461 h 1413227"/>
                <a:gd name="connsiteX105" fmla="*/ 136555 w 2048870"/>
                <a:gd name="connsiteY105" fmla="*/ 634375 h 1413227"/>
                <a:gd name="connsiteX106" fmla="*/ 120999 w 2048870"/>
                <a:gd name="connsiteY106" fmla="*/ 639561 h 1413227"/>
                <a:gd name="connsiteX107" fmla="*/ 95070 w 2048870"/>
                <a:gd name="connsiteY107" fmla="*/ 665489 h 1413227"/>
                <a:gd name="connsiteX108" fmla="*/ 89885 w 2048870"/>
                <a:gd name="connsiteY108" fmla="*/ 670675 h 1413227"/>
                <a:gd name="connsiteX109" fmla="*/ 86428 w 2048870"/>
                <a:gd name="connsiteY109" fmla="*/ 675860 h 1413227"/>
                <a:gd name="connsiteX110" fmla="*/ 81242 w 2048870"/>
                <a:gd name="connsiteY110" fmla="*/ 677589 h 1413227"/>
                <a:gd name="connsiteX111" fmla="*/ 77785 w 2048870"/>
                <a:gd name="connsiteY111" fmla="*/ 682775 h 1413227"/>
                <a:gd name="connsiteX112" fmla="*/ 63957 w 2048870"/>
                <a:gd name="connsiteY112" fmla="*/ 689689 h 1413227"/>
                <a:gd name="connsiteX113" fmla="*/ 60499 w 2048870"/>
                <a:gd name="connsiteY113" fmla="*/ 706974 h 1413227"/>
                <a:gd name="connsiteX114" fmla="*/ 50128 w 2048870"/>
                <a:gd name="connsiteY114" fmla="*/ 720803 h 1413227"/>
                <a:gd name="connsiteX115" fmla="*/ 48400 w 2048870"/>
                <a:gd name="connsiteY115" fmla="*/ 725988 h 1413227"/>
                <a:gd name="connsiteX116" fmla="*/ 46671 w 2048870"/>
                <a:gd name="connsiteY116" fmla="*/ 732902 h 1413227"/>
                <a:gd name="connsiteX117" fmla="*/ 25929 w 2048870"/>
                <a:gd name="connsiteY117" fmla="*/ 751916 h 1413227"/>
                <a:gd name="connsiteX118" fmla="*/ 19014 w 2048870"/>
                <a:gd name="connsiteY118" fmla="*/ 776116 h 1413227"/>
                <a:gd name="connsiteX119" fmla="*/ 12100 w 2048870"/>
                <a:gd name="connsiteY119" fmla="*/ 789944 h 1413227"/>
                <a:gd name="connsiteX120" fmla="*/ 17286 w 2048870"/>
                <a:gd name="connsiteY120" fmla="*/ 822787 h 1413227"/>
                <a:gd name="connsiteX121" fmla="*/ 25929 w 2048870"/>
                <a:gd name="connsiteY121" fmla="*/ 829701 h 1413227"/>
                <a:gd name="connsiteX122" fmla="*/ 29386 w 2048870"/>
                <a:gd name="connsiteY122" fmla="*/ 838344 h 1413227"/>
                <a:gd name="connsiteX123" fmla="*/ 36300 w 2048870"/>
                <a:gd name="connsiteY123" fmla="*/ 843529 h 1413227"/>
                <a:gd name="connsiteX124" fmla="*/ 38028 w 2048870"/>
                <a:gd name="connsiteY124" fmla="*/ 852172 h 1413227"/>
                <a:gd name="connsiteX125" fmla="*/ 43214 w 2048870"/>
                <a:gd name="connsiteY125" fmla="*/ 864272 h 1413227"/>
                <a:gd name="connsiteX126" fmla="*/ 44943 w 2048870"/>
                <a:gd name="connsiteY126" fmla="*/ 874643 h 1413227"/>
                <a:gd name="connsiteX127" fmla="*/ 51857 w 2048870"/>
                <a:gd name="connsiteY127" fmla="*/ 876372 h 1413227"/>
                <a:gd name="connsiteX128" fmla="*/ 53585 w 2048870"/>
                <a:gd name="connsiteY128" fmla="*/ 883286 h 1413227"/>
                <a:gd name="connsiteX129" fmla="*/ 58771 w 2048870"/>
                <a:gd name="connsiteY129" fmla="*/ 886743 h 1413227"/>
                <a:gd name="connsiteX130" fmla="*/ 51857 w 2048870"/>
                <a:gd name="connsiteY130" fmla="*/ 898843 h 1413227"/>
                <a:gd name="connsiteX131" fmla="*/ 43214 w 2048870"/>
                <a:gd name="connsiteY131" fmla="*/ 904028 h 1413227"/>
                <a:gd name="connsiteX132" fmla="*/ 29386 w 2048870"/>
                <a:gd name="connsiteY132" fmla="*/ 909214 h 1413227"/>
                <a:gd name="connsiteX133" fmla="*/ 27657 w 2048870"/>
                <a:gd name="connsiteY133" fmla="*/ 919585 h 1413227"/>
                <a:gd name="connsiteX134" fmla="*/ 25929 w 2048870"/>
                <a:gd name="connsiteY134" fmla="*/ 926499 h 1413227"/>
                <a:gd name="connsiteX135" fmla="*/ 19014 w 2048870"/>
                <a:gd name="connsiteY135" fmla="*/ 955885 h 1413227"/>
                <a:gd name="connsiteX136" fmla="*/ 10372 w 2048870"/>
                <a:gd name="connsiteY136" fmla="*/ 969713 h 1413227"/>
                <a:gd name="connsiteX137" fmla="*/ 8643 w 2048870"/>
                <a:gd name="connsiteY137" fmla="*/ 990455 h 1413227"/>
                <a:gd name="connsiteX138" fmla="*/ 0 w 2048870"/>
                <a:gd name="connsiteY138" fmla="*/ 999098 h 1413227"/>
                <a:gd name="connsiteX139" fmla="*/ 6915 w 2048870"/>
                <a:gd name="connsiteY139" fmla="*/ 1023298 h 1413227"/>
                <a:gd name="connsiteX140" fmla="*/ 15557 w 2048870"/>
                <a:gd name="connsiteY140" fmla="*/ 1025026 h 1413227"/>
                <a:gd name="connsiteX141" fmla="*/ 22471 w 2048870"/>
                <a:gd name="connsiteY141" fmla="*/ 1030212 h 1413227"/>
                <a:gd name="connsiteX142" fmla="*/ 27657 w 2048870"/>
                <a:gd name="connsiteY142" fmla="*/ 1031941 h 1413227"/>
                <a:gd name="connsiteX143" fmla="*/ 34571 w 2048870"/>
                <a:gd name="connsiteY143" fmla="*/ 1035398 h 1413227"/>
                <a:gd name="connsiteX144" fmla="*/ 39757 w 2048870"/>
                <a:gd name="connsiteY144" fmla="*/ 1042312 h 1413227"/>
                <a:gd name="connsiteX145" fmla="*/ 43214 w 2048870"/>
                <a:gd name="connsiteY145" fmla="*/ 1047497 h 1413227"/>
                <a:gd name="connsiteX146" fmla="*/ 53585 w 2048870"/>
                <a:gd name="connsiteY146" fmla="*/ 1052683 h 1413227"/>
                <a:gd name="connsiteX147" fmla="*/ 95070 w 2048870"/>
                <a:gd name="connsiteY147" fmla="*/ 1061326 h 1413227"/>
                <a:gd name="connsiteX148" fmla="*/ 96799 w 2048870"/>
                <a:gd name="connsiteY148" fmla="*/ 1073426 h 1413227"/>
                <a:gd name="connsiteX149" fmla="*/ 101985 w 2048870"/>
                <a:gd name="connsiteY149" fmla="*/ 1075154 h 1413227"/>
                <a:gd name="connsiteX150" fmla="*/ 112356 w 2048870"/>
                <a:gd name="connsiteY150" fmla="*/ 1066511 h 1413227"/>
                <a:gd name="connsiteX151" fmla="*/ 119270 w 2048870"/>
                <a:gd name="connsiteY151" fmla="*/ 1059597 h 1413227"/>
                <a:gd name="connsiteX152" fmla="*/ 120999 w 2048870"/>
                <a:gd name="connsiteY152" fmla="*/ 1054412 h 1413227"/>
                <a:gd name="connsiteX153" fmla="*/ 134827 w 2048870"/>
                <a:gd name="connsiteY153" fmla="*/ 1061326 h 1413227"/>
                <a:gd name="connsiteX154" fmla="*/ 141741 w 2048870"/>
                <a:gd name="connsiteY154" fmla="*/ 1063054 h 1413227"/>
                <a:gd name="connsiteX155" fmla="*/ 146927 w 2048870"/>
                <a:gd name="connsiteY155" fmla="*/ 1064783 h 1413227"/>
                <a:gd name="connsiteX156" fmla="*/ 247182 w 2048870"/>
                <a:gd name="connsiteY156" fmla="*/ 1068240 h 1413227"/>
                <a:gd name="connsiteX157" fmla="*/ 266196 w 2048870"/>
                <a:gd name="connsiteY157" fmla="*/ 1064783 h 1413227"/>
                <a:gd name="connsiteX158" fmla="*/ 276568 w 2048870"/>
                <a:gd name="connsiteY158" fmla="*/ 1059597 h 1413227"/>
                <a:gd name="connsiteX159" fmla="*/ 285210 w 2048870"/>
                <a:gd name="connsiteY159" fmla="*/ 1049226 h 1413227"/>
                <a:gd name="connsiteX160" fmla="*/ 295581 w 2048870"/>
                <a:gd name="connsiteY160" fmla="*/ 1052683 h 1413227"/>
                <a:gd name="connsiteX161" fmla="*/ 299039 w 2048870"/>
                <a:gd name="connsiteY161" fmla="*/ 1059597 h 1413227"/>
                <a:gd name="connsiteX162" fmla="*/ 312867 w 2048870"/>
                <a:gd name="connsiteY162" fmla="*/ 1071697 h 1413227"/>
                <a:gd name="connsiteX163" fmla="*/ 338795 w 2048870"/>
                <a:gd name="connsiteY163" fmla="*/ 1078611 h 1413227"/>
                <a:gd name="connsiteX164" fmla="*/ 361266 w 2048870"/>
                <a:gd name="connsiteY164" fmla="*/ 1075154 h 1413227"/>
                <a:gd name="connsiteX165" fmla="*/ 362995 w 2048870"/>
                <a:gd name="connsiteY165" fmla="*/ 1068240 h 1413227"/>
                <a:gd name="connsiteX166" fmla="*/ 373366 w 2048870"/>
                <a:gd name="connsiteY166" fmla="*/ 1050955 h 1413227"/>
                <a:gd name="connsiteX167" fmla="*/ 378552 w 2048870"/>
                <a:gd name="connsiteY167" fmla="*/ 1045769 h 1413227"/>
                <a:gd name="connsiteX168" fmla="*/ 397566 w 2048870"/>
                <a:gd name="connsiteY168" fmla="*/ 1038855 h 1413227"/>
                <a:gd name="connsiteX169" fmla="*/ 432137 w 2048870"/>
                <a:gd name="connsiteY169" fmla="*/ 1035398 h 1413227"/>
                <a:gd name="connsiteX170" fmla="*/ 444236 w 2048870"/>
                <a:gd name="connsiteY170" fmla="*/ 1031941 h 1413227"/>
                <a:gd name="connsiteX171" fmla="*/ 447693 w 2048870"/>
                <a:gd name="connsiteY171" fmla="*/ 1025026 h 1413227"/>
                <a:gd name="connsiteX172" fmla="*/ 452879 w 2048870"/>
                <a:gd name="connsiteY172" fmla="*/ 1021569 h 1413227"/>
                <a:gd name="connsiteX173" fmla="*/ 468436 w 2048870"/>
                <a:gd name="connsiteY173" fmla="*/ 1011198 h 1413227"/>
                <a:gd name="connsiteX174" fmla="*/ 473622 w 2048870"/>
                <a:gd name="connsiteY174" fmla="*/ 999098 h 1413227"/>
                <a:gd name="connsiteX175" fmla="*/ 478807 w 2048870"/>
                <a:gd name="connsiteY175" fmla="*/ 986998 h 1413227"/>
                <a:gd name="connsiteX176" fmla="*/ 485721 w 2048870"/>
                <a:gd name="connsiteY176" fmla="*/ 980084 h 1413227"/>
                <a:gd name="connsiteX177" fmla="*/ 489178 w 2048870"/>
                <a:gd name="connsiteY177" fmla="*/ 974899 h 1413227"/>
                <a:gd name="connsiteX178" fmla="*/ 511650 w 2048870"/>
                <a:gd name="connsiteY178" fmla="*/ 955885 h 1413227"/>
                <a:gd name="connsiteX179" fmla="*/ 530664 w 2048870"/>
                <a:gd name="connsiteY179" fmla="*/ 947242 h 1413227"/>
                <a:gd name="connsiteX180" fmla="*/ 537578 w 2048870"/>
                <a:gd name="connsiteY180" fmla="*/ 933414 h 1413227"/>
                <a:gd name="connsiteX181" fmla="*/ 539306 w 2048870"/>
                <a:gd name="connsiteY181" fmla="*/ 928228 h 1413227"/>
                <a:gd name="connsiteX182" fmla="*/ 541035 w 2048870"/>
                <a:gd name="connsiteY182" fmla="*/ 921314 h 1413227"/>
                <a:gd name="connsiteX183" fmla="*/ 563506 w 2048870"/>
                <a:gd name="connsiteY183" fmla="*/ 917857 h 1413227"/>
                <a:gd name="connsiteX184" fmla="*/ 568692 w 2048870"/>
                <a:gd name="connsiteY184" fmla="*/ 916128 h 1413227"/>
                <a:gd name="connsiteX185" fmla="*/ 584248 w 2048870"/>
                <a:gd name="connsiteY185" fmla="*/ 914400 h 1413227"/>
                <a:gd name="connsiteX186" fmla="*/ 589434 w 2048870"/>
                <a:gd name="connsiteY186" fmla="*/ 910942 h 1413227"/>
                <a:gd name="connsiteX187" fmla="*/ 599805 w 2048870"/>
                <a:gd name="connsiteY187" fmla="*/ 905757 h 1413227"/>
                <a:gd name="connsiteX188" fmla="*/ 604991 w 2048870"/>
                <a:gd name="connsiteY188" fmla="*/ 900571 h 1413227"/>
                <a:gd name="connsiteX189" fmla="*/ 606719 w 2048870"/>
                <a:gd name="connsiteY189" fmla="*/ 895386 h 1413227"/>
                <a:gd name="connsiteX190" fmla="*/ 615362 w 2048870"/>
                <a:gd name="connsiteY190" fmla="*/ 891928 h 1413227"/>
                <a:gd name="connsiteX191" fmla="*/ 620548 w 2048870"/>
                <a:gd name="connsiteY191" fmla="*/ 886743 h 1413227"/>
                <a:gd name="connsiteX192" fmla="*/ 639562 w 2048870"/>
                <a:gd name="connsiteY192" fmla="*/ 879829 h 1413227"/>
                <a:gd name="connsiteX193" fmla="*/ 653390 w 2048870"/>
                <a:gd name="connsiteY193" fmla="*/ 883286 h 1413227"/>
                <a:gd name="connsiteX194" fmla="*/ 660304 w 2048870"/>
                <a:gd name="connsiteY194" fmla="*/ 885014 h 1413227"/>
                <a:gd name="connsiteX195" fmla="*/ 668947 w 2048870"/>
                <a:gd name="connsiteY195" fmla="*/ 886743 h 1413227"/>
                <a:gd name="connsiteX196" fmla="*/ 675861 w 2048870"/>
                <a:gd name="connsiteY196" fmla="*/ 890200 h 1413227"/>
                <a:gd name="connsiteX197" fmla="*/ 682775 w 2048870"/>
                <a:gd name="connsiteY197" fmla="*/ 891928 h 1413227"/>
                <a:gd name="connsiteX198" fmla="*/ 687961 w 2048870"/>
                <a:gd name="connsiteY198" fmla="*/ 895386 h 1413227"/>
                <a:gd name="connsiteX199" fmla="*/ 700061 w 2048870"/>
                <a:gd name="connsiteY199" fmla="*/ 898843 h 1413227"/>
                <a:gd name="connsiteX200" fmla="*/ 706975 w 2048870"/>
                <a:gd name="connsiteY200" fmla="*/ 904028 h 1413227"/>
                <a:gd name="connsiteX201" fmla="*/ 720803 w 2048870"/>
                <a:gd name="connsiteY201" fmla="*/ 907485 h 1413227"/>
                <a:gd name="connsiteX202" fmla="*/ 727718 w 2048870"/>
                <a:gd name="connsiteY202" fmla="*/ 905757 h 1413227"/>
                <a:gd name="connsiteX203" fmla="*/ 736360 w 2048870"/>
                <a:gd name="connsiteY203" fmla="*/ 904028 h 1413227"/>
                <a:gd name="connsiteX204" fmla="*/ 738089 w 2048870"/>
                <a:gd name="connsiteY204" fmla="*/ 910942 h 1413227"/>
                <a:gd name="connsiteX205" fmla="*/ 760560 w 2048870"/>
                <a:gd name="connsiteY205" fmla="*/ 904028 h 1413227"/>
                <a:gd name="connsiteX206" fmla="*/ 770931 w 2048870"/>
                <a:gd name="connsiteY206" fmla="*/ 895386 h 1413227"/>
                <a:gd name="connsiteX207" fmla="*/ 776117 w 2048870"/>
                <a:gd name="connsiteY207" fmla="*/ 909214 h 1413227"/>
                <a:gd name="connsiteX208" fmla="*/ 783031 w 2048870"/>
                <a:gd name="connsiteY208" fmla="*/ 914400 h 1413227"/>
                <a:gd name="connsiteX209" fmla="*/ 788217 w 2048870"/>
                <a:gd name="connsiteY209" fmla="*/ 919585 h 1413227"/>
                <a:gd name="connsiteX210" fmla="*/ 793402 w 2048870"/>
                <a:gd name="connsiteY210" fmla="*/ 923042 h 1413227"/>
                <a:gd name="connsiteX211" fmla="*/ 798588 w 2048870"/>
                <a:gd name="connsiteY211" fmla="*/ 928228 h 1413227"/>
                <a:gd name="connsiteX212" fmla="*/ 815873 w 2048870"/>
                <a:gd name="connsiteY212" fmla="*/ 935142 h 1413227"/>
                <a:gd name="connsiteX213" fmla="*/ 821059 w 2048870"/>
                <a:gd name="connsiteY213" fmla="*/ 926499 h 1413227"/>
                <a:gd name="connsiteX214" fmla="*/ 824516 w 2048870"/>
                <a:gd name="connsiteY214" fmla="*/ 910942 h 1413227"/>
                <a:gd name="connsiteX215" fmla="*/ 833159 w 2048870"/>
                <a:gd name="connsiteY215" fmla="*/ 912671 h 1413227"/>
                <a:gd name="connsiteX216" fmla="*/ 838344 w 2048870"/>
                <a:gd name="connsiteY216" fmla="*/ 926499 h 1413227"/>
                <a:gd name="connsiteX217" fmla="*/ 841802 w 2048870"/>
                <a:gd name="connsiteY217" fmla="*/ 929956 h 1413227"/>
                <a:gd name="connsiteX218" fmla="*/ 850444 w 2048870"/>
                <a:gd name="connsiteY218" fmla="*/ 948970 h 1413227"/>
                <a:gd name="connsiteX219" fmla="*/ 853901 w 2048870"/>
                <a:gd name="connsiteY219" fmla="*/ 954156 h 1413227"/>
                <a:gd name="connsiteX220" fmla="*/ 859087 w 2048870"/>
                <a:gd name="connsiteY220" fmla="*/ 988727 h 1413227"/>
                <a:gd name="connsiteX221" fmla="*/ 864273 w 2048870"/>
                <a:gd name="connsiteY221" fmla="*/ 1009469 h 1413227"/>
                <a:gd name="connsiteX222" fmla="*/ 878101 w 2048870"/>
                <a:gd name="connsiteY222" fmla="*/ 1012927 h 1413227"/>
                <a:gd name="connsiteX223" fmla="*/ 885015 w 2048870"/>
                <a:gd name="connsiteY223" fmla="*/ 1016384 h 1413227"/>
                <a:gd name="connsiteX224" fmla="*/ 888472 w 2048870"/>
                <a:gd name="connsiteY224" fmla="*/ 1021569 h 1413227"/>
                <a:gd name="connsiteX225" fmla="*/ 900572 w 2048870"/>
                <a:gd name="connsiteY225" fmla="*/ 1026755 h 1413227"/>
                <a:gd name="connsiteX226" fmla="*/ 905758 w 2048870"/>
                <a:gd name="connsiteY226" fmla="*/ 1033669 h 1413227"/>
                <a:gd name="connsiteX227" fmla="*/ 909215 w 2048870"/>
                <a:gd name="connsiteY227" fmla="*/ 1040583 h 1413227"/>
                <a:gd name="connsiteX228" fmla="*/ 912672 w 2048870"/>
                <a:gd name="connsiteY228" fmla="*/ 1045769 h 1413227"/>
                <a:gd name="connsiteX229" fmla="*/ 921315 w 2048870"/>
                <a:gd name="connsiteY229" fmla="*/ 1061326 h 1413227"/>
                <a:gd name="connsiteX230" fmla="*/ 928229 w 2048870"/>
                <a:gd name="connsiteY230" fmla="*/ 1082068 h 1413227"/>
                <a:gd name="connsiteX231" fmla="*/ 929957 w 2048870"/>
                <a:gd name="connsiteY231" fmla="*/ 1088983 h 1413227"/>
                <a:gd name="connsiteX232" fmla="*/ 940329 w 2048870"/>
                <a:gd name="connsiteY232" fmla="*/ 1095897 h 1413227"/>
                <a:gd name="connsiteX233" fmla="*/ 959343 w 2048870"/>
                <a:gd name="connsiteY233" fmla="*/ 1097625 h 1413227"/>
                <a:gd name="connsiteX234" fmla="*/ 967985 w 2048870"/>
                <a:gd name="connsiteY234" fmla="*/ 1101082 h 1413227"/>
                <a:gd name="connsiteX235" fmla="*/ 973171 w 2048870"/>
                <a:gd name="connsiteY235" fmla="*/ 1106268 h 1413227"/>
                <a:gd name="connsiteX236" fmla="*/ 978357 w 2048870"/>
                <a:gd name="connsiteY236" fmla="*/ 1109725 h 1413227"/>
                <a:gd name="connsiteX237" fmla="*/ 983542 w 2048870"/>
                <a:gd name="connsiteY237" fmla="*/ 1118368 h 1413227"/>
                <a:gd name="connsiteX238" fmla="*/ 985271 w 2048870"/>
                <a:gd name="connsiteY238" fmla="*/ 1132196 h 1413227"/>
                <a:gd name="connsiteX239" fmla="*/ 992185 w 2048870"/>
                <a:gd name="connsiteY239" fmla="*/ 1139110 h 1413227"/>
                <a:gd name="connsiteX240" fmla="*/ 1006013 w 2048870"/>
                <a:gd name="connsiteY240" fmla="*/ 1147753 h 1413227"/>
                <a:gd name="connsiteX241" fmla="*/ 1019842 w 2048870"/>
                <a:gd name="connsiteY241" fmla="*/ 1165038 h 1413227"/>
                <a:gd name="connsiteX242" fmla="*/ 1012927 w 2048870"/>
                <a:gd name="connsiteY242" fmla="*/ 1168496 h 1413227"/>
                <a:gd name="connsiteX243" fmla="*/ 1009470 w 2048870"/>
                <a:gd name="connsiteY243" fmla="*/ 1173681 h 1413227"/>
                <a:gd name="connsiteX244" fmla="*/ 997371 w 2048870"/>
                <a:gd name="connsiteY244" fmla="*/ 1177138 h 1413227"/>
                <a:gd name="connsiteX245" fmla="*/ 990456 w 2048870"/>
                <a:gd name="connsiteY245" fmla="*/ 1182324 h 1413227"/>
                <a:gd name="connsiteX246" fmla="*/ 973171 w 2048870"/>
                <a:gd name="connsiteY246" fmla="*/ 1182324 h 1413227"/>
                <a:gd name="connsiteX247" fmla="*/ 971442 w 2048870"/>
                <a:gd name="connsiteY247" fmla="*/ 1161581 h 1413227"/>
                <a:gd name="connsiteX248" fmla="*/ 962800 w 2048870"/>
                <a:gd name="connsiteY248" fmla="*/ 1171953 h 1413227"/>
                <a:gd name="connsiteX249" fmla="*/ 959343 w 2048870"/>
                <a:gd name="connsiteY249" fmla="*/ 1178867 h 1413227"/>
                <a:gd name="connsiteX250" fmla="*/ 955885 w 2048870"/>
                <a:gd name="connsiteY250" fmla="*/ 1184052 h 1413227"/>
                <a:gd name="connsiteX251" fmla="*/ 947243 w 2048870"/>
                <a:gd name="connsiteY251" fmla="*/ 1187510 h 1413227"/>
                <a:gd name="connsiteX252" fmla="*/ 940329 w 2048870"/>
                <a:gd name="connsiteY252" fmla="*/ 1190967 h 1413227"/>
                <a:gd name="connsiteX253" fmla="*/ 935143 w 2048870"/>
                <a:gd name="connsiteY253" fmla="*/ 1189238 h 1413227"/>
                <a:gd name="connsiteX254" fmla="*/ 929957 w 2048870"/>
                <a:gd name="connsiteY254" fmla="*/ 1171953 h 1413227"/>
                <a:gd name="connsiteX255" fmla="*/ 926500 w 2048870"/>
                <a:gd name="connsiteY255" fmla="*/ 1165038 h 1413227"/>
                <a:gd name="connsiteX256" fmla="*/ 921315 w 2048870"/>
                <a:gd name="connsiteY256" fmla="*/ 1178867 h 1413227"/>
                <a:gd name="connsiteX257" fmla="*/ 917857 w 2048870"/>
                <a:gd name="connsiteY257" fmla="*/ 1182324 h 1413227"/>
                <a:gd name="connsiteX258" fmla="*/ 914400 w 2048870"/>
                <a:gd name="connsiteY258" fmla="*/ 1194424 h 1413227"/>
                <a:gd name="connsiteX259" fmla="*/ 909215 w 2048870"/>
                <a:gd name="connsiteY259" fmla="*/ 1199609 h 1413227"/>
                <a:gd name="connsiteX260" fmla="*/ 886744 w 2048870"/>
                <a:gd name="connsiteY260" fmla="*/ 1180595 h 1413227"/>
                <a:gd name="connsiteX261" fmla="*/ 883287 w 2048870"/>
                <a:gd name="connsiteY261" fmla="*/ 1189238 h 1413227"/>
                <a:gd name="connsiteX262" fmla="*/ 879830 w 2048870"/>
                <a:gd name="connsiteY262" fmla="*/ 1194424 h 1413227"/>
                <a:gd name="connsiteX263" fmla="*/ 874644 w 2048870"/>
                <a:gd name="connsiteY263" fmla="*/ 1204795 h 1413227"/>
                <a:gd name="connsiteX264" fmla="*/ 879830 w 2048870"/>
                <a:gd name="connsiteY264" fmla="*/ 1211709 h 1413227"/>
                <a:gd name="connsiteX265" fmla="*/ 890201 w 2048870"/>
                <a:gd name="connsiteY265" fmla="*/ 1215166 h 1413227"/>
                <a:gd name="connsiteX266" fmla="*/ 893658 w 2048870"/>
                <a:gd name="connsiteY266" fmla="*/ 1235909 h 1413227"/>
                <a:gd name="connsiteX267" fmla="*/ 891929 w 2048870"/>
                <a:gd name="connsiteY267" fmla="*/ 1258380 h 1413227"/>
                <a:gd name="connsiteX268" fmla="*/ 890201 w 2048870"/>
                <a:gd name="connsiteY268" fmla="*/ 1263565 h 1413227"/>
                <a:gd name="connsiteX269" fmla="*/ 878101 w 2048870"/>
                <a:gd name="connsiteY269" fmla="*/ 1275665 h 1413227"/>
                <a:gd name="connsiteX270" fmla="*/ 871187 w 2048870"/>
                <a:gd name="connsiteY270" fmla="*/ 1282579 h 1413227"/>
                <a:gd name="connsiteX271" fmla="*/ 876372 w 2048870"/>
                <a:gd name="connsiteY271" fmla="*/ 1287765 h 1413227"/>
                <a:gd name="connsiteX272" fmla="*/ 874644 w 2048870"/>
                <a:gd name="connsiteY272" fmla="*/ 1306779 h 1413227"/>
                <a:gd name="connsiteX273" fmla="*/ 869458 w 2048870"/>
                <a:gd name="connsiteY273" fmla="*/ 1308508 h 1413227"/>
                <a:gd name="connsiteX274" fmla="*/ 864273 w 2048870"/>
                <a:gd name="connsiteY274" fmla="*/ 1320607 h 1413227"/>
                <a:gd name="connsiteX275" fmla="*/ 858371 w 2048870"/>
                <a:gd name="connsiteY275" fmla="*/ 1338987 h 1413227"/>
                <a:gd name="connsiteX276" fmla="*/ 862544 w 2048870"/>
                <a:gd name="connsiteY276" fmla="*/ 1360364 h 1413227"/>
                <a:gd name="connsiteX277" fmla="*/ 857358 w 2048870"/>
                <a:gd name="connsiteY277" fmla="*/ 1363821 h 1413227"/>
                <a:gd name="connsiteX278" fmla="*/ 852173 w 2048870"/>
                <a:gd name="connsiteY278" fmla="*/ 1365550 h 1413227"/>
                <a:gd name="connsiteX279" fmla="*/ 850444 w 2048870"/>
                <a:gd name="connsiteY279" fmla="*/ 1370735 h 1413227"/>
                <a:gd name="connsiteX280" fmla="*/ 838344 w 2048870"/>
                <a:gd name="connsiteY280" fmla="*/ 1379378 h 1413227"/>
                <a:gd name="connsiteX281" fmla="*/ 841802 w 2048870"/>
                <a:gd name="connsiteY281" fmla="*/ 1389749 h 1413227"/>
                <a:gd name="connsiteX282" fmla="*/ 840497 w 2048870"/>
                <a:gd name="connsiteY282" fmla="*/ 1405535 h 1413227"/>
                <a:gd name="connsiteX283" fmla="*/ 835505 w 2048870"/>
                <a:gd name="connsiteY283" fmla="*/ 1401197 h 1413227"/>
                <a:gd name="connsiteX284" fmla="*/ 854324 w 2048870"/>
                <a:gd name="connsiteY284" fmla="*/ 1410492 h 1413227"/>
                <a:gd name="connsiteX285" fmla="*/ 885015 w 2048870"/>
                <a:gd name="connsiteY285" fmla="*/ 1408763 h 1413227"/>
                <a:gd name="connsiteX286" fmla="*/ 890201 w 2048870"/>
                <a:gd name="connsiteY286" fmla="*/ 1413103 h 1413227"/>
                <a:gd name="connsiteX287" fmla="*/ 921633 w 2048870"/>
                <a:gd name="connsiteY287" fmla="*/ 1403013 h 1413227"/>
                <a:gd name="connsiteX288" fmla="*/ 932427 w 2048870"/>
                <a:gd name="connsiteY288" fmla="*/ 1394371 h 1413227"/>
                <a:gd name="connsiteX289" fmla="*/ 933873 w 2048870"/>
                <a:gd name="connsiteY289" fmla="*/ 1386010 h 1413227"/>
                <a:gd name="connsiteX290" fmla="*/ 943362 w 2048870"/>
                <a:gd name="connsiteY290" fmla="*/ 1367278 h 1413227"/>
                <a:gd name="connsiteX291" fmla="*/ 943786 w 2048870"/>
                <a:gd name="connsiteY291" fmla="*/ 1362093 h 1413227"/>
                <a:gd name="connsiteX292" fmla="*/ 954157 w 2048870"/>
                <a:gd name="connsiteY292" fmla="*/ 1360364 h 1413227"/>
                <a:gd name="connsiteX293" fmla="*/ 993913 w 2048870"/>
                <a:gd name="connsiteY293" fmla="*/ 1356907 h 1413227"/>
                <a:gd name="connsiteX294" fmla="*/ 997371 w 2048870"/>
                <a:gd name="connsiteY294" fmla="*/ 1349993 h 1413227"/>
                <a:gd name="connsiteX295" fmla="*/ 1009470 w 2048870"/>
                <a:gd name="connsiteY295" fmla="*/ 1344807 h 1413227"/>
                <a:gd name="connsiteX296" fmla="*/ 997371 w 2048870"/>
                <a:gd name="connsiteY296" fmla="*/ 1334436 h 1413227"/>
                <a:gd name="connsiteX297" fmla="*/ 993913 w 2048870"/>
                <a:gd name="connsiteY297" fmla="*/ 1327522 h 1413227"/>
                <a:gd name="connsiteX298" fmla="*/ 988728 w 2048870"/>
                <a:gd name="connsiteY298" fmla="*/ 1322336 h 1413227"/>
                <a:gd name="connsiteX299" fmla="*/ 985271 w 2048870"/>
                <a:gd name="connsiteY299" fmla="*/ 1310236 h 1413227"/>
                <a:gd name="connsiteX300" fmla="*/ 981814 w 2048870"/>
                <a:gd name="connsiteY300" fmla="*/ 1299865 h 1413227"/>
                <a:gd name="connsiteX301" fmla="*/ 990456 w 2048870"/>
                <a:gd name="connsiteY301" fmla="*/ 1287765 h 1413227"/>
                <a:gd name="connsiteX302" fmla="*/ 992185 w 2048870"/>
                <a:gd name="connsiteY302" fmla="*/ 1292951 h 1413227"/>
                <a:gd name="connsiteX303" fmla="*/ 1014656 w 2048870"/>
                <a:gd name="connsiteY303" fmla="*/ 1299865 h 1413227"/>
                <a:gd name="connsiteX304" fmla="*/ 1016385 w 2048870"/>
                <a:gd name="connsiteY304" fmla="*/ 1294679 h 1413227"/>
                <a:gd name="connsiteX305" fmla="*/ 1018113 w 2048870"/>
                <a:gd name="connsiteY305" fmla="*/ 1284308 h 1413227"/>
                <a:gd name="connsiteX306" fmla="*/ 1031941 w 2048870"/>
                <a:gd name="connsiteY306" fmla="*/ 1270480 h 1413227"/>
                <a:gd name="connsiteX307" fmla="*/ 1037127 w 2048870"/>
                <a:gd name="connsiteY307" fmla="*/ 1265294 h 1413227"/>
                <a:gd name="connsiteX308" fmla="*/ 1038856 w 2048870"/>
                <a:gd name="connsiteY308" fmla="*/ 1260108 h 1413227"/>
                <a:gd name="connsiteX309" fmla="*/ 1054412 w 2048870"/>
                <a:gd name="connsiteY309" fmla="*/ 1251466 h 1413227"/>
                <a:gd name="connsiteX310" fmla="*/ 1063055 w 2048870"/>
                <a:gd name="connsiteY310" fmla="*/ 1242823 h 1413227"/>
                <a:gd name="connsiteX311" fmla="*/ 1068241 w 2048870"/>
                <a:gd name="connsiteY311" fmla="*/ 1223809 h 1413227"/>
                <a:gd name="connsiteX312" fmla="*/ 1069969 w 2048870"/>
                <a:gd name="connsiteY312" fmla="*/ 1215166 h 1413227"/>
                <a:gd name="connsiteX313" fmla="*/ 1075155 w 2048870"/>
                <a:gd name="connsiteY313" fmla="*/ 1201338 h 1413227"/>
                <a:gd name="connsiteX314" fmla="*/ 1080341 w 2048870"/>
                <a:gd name="connsiteY314" fmla="*/ 1175410 h 1413227"/>
                <a:gd name="connsiteX315" fmla="*/ 1082069 w 2048870"/>
                <a:gd name="connsiteY315" fmla="*/ 1170224 h 1413227"/>
                <a:gd name="connsiteX316" fmla="*/ 1083798 w 2048870"/>
                <a:gd name="connsiteY316" fmla="*/ 1161581 h 1413227"/>
                <a:gd name="connsiteX317" fmla="*/ 1085526 w 2048870"/>
                <a:gd name="connsiteY317" fmla="*/ 1156396 h 1413227"/>
                <a:gd name="connsiteX318" fmla="*/ 1087255 w 2048870"/>
                <a:gd name="connsiteY318" fmla="*/ 1147753 h 1413227"/>
                <a:gd name="connsiteX319" fmla="*/ 1097626 w 2048870"/>
                <a:gd name="connsiteY319" fmla="*/ 1128739 h 1413227"/>
                <a:gd name="connsiteX320" fmla="*/ 1099355 w 2048870"/>
                <a:gd name="connsiteY320" fmla="*/ 1111454 h 1413227"/>
                <a:gd name="connsiteX321" fmla="*/ 1106269 w 2048870"/>
                <a:gd name="connsiteY321" fmla="*/ 1097625 h 1413227"/>
                <a:gd name="connsiteX322" fmla="*/ 1111454 w 2048870"/>
                <a:gd name="connsiteY322" fmla="*/ 1095897 h 1413227"/>
                <a:gd name="connsiteX323" fmla="*/ 1127011 w 2048870"/>
                <a:gd name="connsiteY323" fmla="*/ 1094168 h 1413227"/>
                <a:gd name="connsiteX324" fmla="*/ 1132197 w 2048870"/>
                <a:gd name="connsiteY324" fmla="*/ 1088983 h 1413227"/>
                <a:gd name="connsiteX325" fmla="*/ 1166768 w 2048870"/>
                <a:gd name="connsiteY325" fmla="*/ 1083797 h 1413227"/>
                <a:gd name="connsiteX326" fmla="*/ 1175411 w 2048870"/>
                <a:gd name="connsiteY326" fmla="*/ 1073426 h 1413227"/>
                <a:gd name="connsiteX327" fmla="*/ 1177139 w 2048870"/>
                <a:gd name="connsiteY327" fmla="*/ 1061326 h 1413227"/>
                <a:gd name="connsiteX328" fmla="*/ 1170225 w 2048870"/>
                <a:gd name="connsiteY328" fmla="*/ 1047497 h 1413227"/>
                <a:gd name="connsiteX329" fmla="*/ 1163311 w 2048870"/>
                <a:gd name="connsiteY329" fmla="*/ 1050955 h 1413227"/>
                <a:gd name="connsiteX330" fmla="*/ 1166768 w 2048870"/>
                <a:gd name="connsiteY330" fmla="*/ 1068240 h 1413227"/>
                <a:gd name="connsiteX331" fmla="*/ 1170225 w 2048870"/>
                <a:gd name="connsiteY331" fmla="*/ 1076883 h 1413227"/>
                <a:gd name="connsiteX332" fmla="*/ 1182325 w 2048870"/>
                <a:gd name="connsiteY332" fmla="*/ 1080340 h 1413227"/>
                <a:gd name="connsiteX333" fmla="*/ 1206524 w 2048870"/>
                <a:gd name="connsiteY333" fmla="*/ 1078611 h 1413227"/>
                <a:gd name="connsiteX334" fmla="*/ 1211710 w 2048870"/>
                <a:gd name="connsiteY334" fmla="*/ 1073426 h 1413227"/>
                <a:gd name="connsiteX335" fmla="*/ 1218624 w 2048870"/>
                <a:gd name="connsiteY335" fmla="*/ 1057869 h 1413227"/>
                <a:gd name="connsiteX336" fmla="*/ 1220353 w 2048870"/>
                <a:gd name="connsiteY336" fmla="*/ 1044040 h 1413227"/>
                <a:gd name="connsiteX337" fmla="*/ 1218624 w 2048870"/>
                <a:gd name="connsiteY337" fmla="*/ 1014655 h 1413227"/>
                <a:gd name="connsiteX338" fmla="*/ 1211710 w 2048870"/>
                <a:gd name="connsiteY338" fmla="*/ 997370 h 1413227"/>
                <a:gd name="connsiteX339" fmla="*/ 1206524 w 2048870"/>
                <a:gd name="connsiteY339" fmla="*/ 993913 h 1413227"/>
                <a:gd name="connsiteX340" fmla="*/ 1184053 w 2048870"/>
                <a:gd name="connsiteY340" fmla="*/ 973170 h 1413227"/>
                <a:gd name="connsiteX341" fmla="*/ 1173682 w 2048870"/>
                <a:gd name="connsiteY341" fmla="*/ 962799 h 1413227"/>
                <a:gd name="connsiteX342" fmla="*/ 1168496 w 2048870"/>
                <a:gd name="connsiteY342" fmla="*/ 957613 h 1413227"/>
                <a:gd name="connsiteX343" fmla="*/ 1171954 w 2048870"/>
                <a:gd name="connsiteY343" fmla="*/ 961070 h 1413227"/>
                <a:gd name="connsiteX344" fmla="*/ 1178868 w 2048870"/>
                <a:gd name="connsiteY344" fmla="*/ 971441 h 1413227"/>
                <a:gd name="connsiteX345" fmla="*/ 1185782 w 2048870"/>
                <a:gd name="connsiteY345" fmla="*/ 980084 h 1413227"/>
                <a:gd name="connsiteX346" fmla="*/ 1190968 w 2048870"/>
                <a:gd name="connsiteY346" fmla="*/ 985270 h 1413227"/>
                <a:gd name="connsiteX347" fmla="*/ 1194425 w 2048870"/>
                <a:gd name="connsiteY347" fmla="*/ 993913 h 1413227"/>
                <a:gd name="connsiteX348" fmla="*/ 1206524 w 2048870"/>
                <a:gd name="connsiteY348" fmla="*/ 1007741 h 1413227"/>
                <a:gd name="connsiteX349" fmla="*/ 1208253 w 2048870"/>
                <a:gd name="connsiteY349" fmla="*/ 1014655 h 1413227"/>
                <a:gd name="connsiteX350" fmla="*/ 1211710 w 2048870"/>
                <a:gd name="connsiteY350" fmla="*/ 1023298 h 1413227"/>
                <a:gd name="connsiteX351" fmla="*/ 1213439 w 2048870"/>
                <a:gd name="connsiteY351" fmla="*/ 1035398 h 1413227"/>
                <a:gd name="connsiteX352" fmla="*/ 1215167 w 2048870"/>
                <a:gd name="connsiteY352" fmla="*/ 1044040 h 1413227"/>
                <a:gd name="connsiteX353" fmla="*/ 1220353 w 2048870"/>
                <a:gd name="connsiteY353" fmla="*/ 1045769 h 1413227"/>
                <a:gd name="connsiteX354" fmla="*/ 1223810 w 2048870"/>
                <a:gd name="connsiteY354" fmla="*/ 1050955 h 1413227"/>
                <a:gd name="connsiteX355" fmla="*/ 1234181 w 2048870"/>
                <a:gd name="connsiteY355" fmla="*/ 1063054 h 1413227"/>
                <a:gd name="connsiteX356" fmla="*/ 1253195 w 2048870"/>
                <a:gd name="connsiteY356" fmla="*/ 1057869 h 1413227"/>
                <a:gd name="connsiteX357" fmla="*/ 1258381 w 2048870"/>
                <a:gd name="connsiteY357" fmla="*/ 1054412 h 1413227"/>
                <a:gd name="connsiteX358" fmla="*/ 1265295 w 2048870"/>
                <a:gd name="connsiteY358" fmla="*/ 1050955 h 1413227"/>
                <a:gd name="connsiteX359" fmla="*/ 1267023 w 2048870"/>
                <a:gd name="connsiteY359" fmla="*/ 1056140 h 1413227"/>
                <a:gd name="connsiteX360" fmla="*/ 1268752 w 2048870"/>
                <a:gd name="connsiteY360" fmla="*/ 1068240 h 1413227"/>
                <a:gd name="connsiteX361" fmla="*/ 1279123 w 2048870"/>
                <a:gd name="connsiteY361" fmla="*/ 1064783 h 1413227"/>
                <a:gd name="connsiteX362" fmla="*/ 1289495 w 2048870"/>
                <a:gd name="connsiteY362" fmla="*/ 1056140 h 1413227"/>
                <a:gd name="connsiteX363" fmla="*/ 1299866 w 2048870"/>
                <a:gd name="connsiteY363" fmla="*/ 1045769 h 1413227"/>
                <a:gd name="connsiteX364" fmla="*/ 1305051 w 2048870"/>
                <a:gd name="connsiteY364" fmla="*/ 1042312 h 1413227"/>
                <a:gd name="connsiteX365" fmla="*/ 1294680 w 2048870"/>
                <a:gd name="connsiteY365" fmla="*/ 1061326 h 1413227"/>
                <a:gd name="connsiteX366" fmla="*/ 1286037 w 2048870"/>
                <a:gd name="connsiteY366" fmla="*/ 1075154 h 1413227"/>
                <a:gd name="connsiteX367" fmla="*/ 1272209 w 2048870"/>
                <a:gd name="connsiteY367" fmla="*/ 1082068 h 1413227"/>
                <a:gd name="connsiteX368" fmla="*/ 1265295 w 2048870"/>
                <a:gd name="connsiteY368" fmla="*/ 1085525 h 1413227"/>
                <a:gd name="connsiteX369" fmla="*/ 1260109 w 2048870"/>
                <a:gd name="connsiteY369" fmla="*/ 1087254 h 1413227"/>
                <a:gd name="connsiteX370" fmla="*/ 1251467 w 2048870"/>
                <a:gd name="connsiteY370" fmla="*/ 1092440 h 1413227"/>
                <a:gd name="connsiteX371" fmla="*/ 1232453 w 2048870"/>
                <a:gd name="connsiteY371" fmla="*/ 1095897 h 1413227"/>
                <a:gd name="connsiteX372" fmla="*/ 1230724 w 2048870"/>
                <a:gd name="connsiteY372" fmla="*/ 1121825 h 1413227"/>
                <a:gd name="connsiteX373" fmla="*/ 1223810 w 2048870"/>
                <a:gd name="connsiteY373" fmla="*/ 1128739 h 1413227"/>
                <a:gd name="connsiteX374" fmla="*/ 1216896 w 2048870"/>
                <a:gd name="connsiteY374" fmla="*/ 1130468 h 1413227"/>
                <a:gd name="connsiteX375" fmla="*/ 1248009 w 2048870"/>
                <a:gd name="connsiteY375" fmla="*/ 1123553 h 1413227"/>
                <a:gd name="connsiteX376" fmla="*/ 1275666 w 2048870"/>
                <a:gd name="connsiteY376" fmla="*/ 1125282 h 1413227"/>
                <a:gd name="connsiteX377" fmla="*/ 1282580 w 2048870"/>
                <a:gd name="connsiteY377" fmla="*/ 1128739 h 1413227"/>
                <a:gd name="connsiteX378" fmla="*/ 1318880 w 2048870"/>
                <a:gd name="connsiteY378" fmla="*/ 1127010 h 1413227"/>
                <a:gd name="connsiteX379" fmla="*/ 1330980 w 2048870"/>
                <a:gd name="connsiteY379" fmla="*/ 1123553 h 1413227"/>
                <a:gd name="connsiteX380" fmla="*/ 1339622 w 2048870"/>
                <a:gd name="connsiteY380" fmla="*/ 1118368 h 1413227"/>
                <a:gd name="connsiteX381" fmla="*/ 1356908 w 2048870"/>
                <a:gd name="connsiteY381" fmla="*/ 1123553 h 1413227"/>
                <a:gd name="connsiteX382" fmla="*/ 1384564 w 2048870"/>
                <a:gd name="connsiteY382" fmla="*/ 1114911 h 1413227"/>
                <a:gd name="connsiteX383" fmla="*/ 1391479 w 2048870"/>
                <a:gd name="connsiteY383" fmla="*/ 1109725 h 1413227"/>
                <a:gd name="connsiteX384" fmla="*/ 1400121 w 2048870"/>
                <a:gd name="connsiteY384" fmla="*/ 1095897 h 1413227"/>
                <a:gd name="connsiteX385" fmla="*/ 1403578 w 2048870"/>
                <a:gd name="connsiteY385" fmla="*/ 1090711 h 1413227"/>
                <a:gd name="connsiteX386" fmla="*/ 1408764 w 2048870"/>
                <a:gd name="connsiteY386" fmla="*/ 1088983 h 1413227"/>
                <a:gd name="connsiteX387" fmla="*/ 1415678 w 2048870"/>
                <a:gd name="connsiteY387" fmla="*/ 1097625 h 1413227"/>
                <a:gd name="connsiteX388" fmla="*/ 1419135 w 2048870"/>
                <a:gd name="connsiteY388" fmla="*/ 1104539 h 1413227"/>
                <a:gd name="connsiteX389" fmla="*/ 1424321 w 2048870"/>
                <a:gd name="connsiteY389" fmla="*/ 1111454 h 1413227"/>
                <a:gd name="connsiteX390" fmla="*/ 1434692 w 2048870"/>
                <a:gd name="connsiteY390" fmla="*/ 1109725 h 1413227"/>
                <a:gd name="connsiteX391" fmla="*/ 1438149 w 2048870"/>
                <a:gd name="connsiteY391" fmla="*/ 1101082 h 1413227"/>
                <a:gd name="connsiteX392" fmla="*/ 1446792 w 2048870"/>
                <a:gd name="connsiteY392" fmla="*/ 1076883 h 1413227"/>
                <a:gd name="connsiteX393" fmla="*/ 1455435 w 2048870"/>
                <a:gd name="connsiteY393" fmla="*/ 1082068 h 1413227"/>
                <a:gd name="connsiteX394" fmla="*/ 1457163 w 2048870"/>
                <a:gd name="connsiteY394" fmla="*/ 1097625 h 1413227"/>
                <a:gd name="connsiteX395" fmla="*/ 1462349 w 2048870"/>
                <a:gd name="connsiteY395" fmla="*/ 1104539 h 1413227"/>
                <a:gd name="connsiteX396" fmla="*/ 1464078 w 2048870"/>
                <a:gd name="connsiteY396" fmla="*/ 1116639 h 1413227"/>
                <a:gd name="connsiteX397" fmla="*/ 1450249 w 2048870"/>
                <a:gd name="connsiteY397" fmla="*/ 1132196 h 1413227"/>
                <a:gd name="connsiteX398" fmla="*/ 1436421 w 2048870"/>
                <a:gd name="connsiteY398" fmla="*/ 1149482 h 1413227"/>
                <a:gd name="connsiteX399" fmla="*/ 1427778 w 2048870"/>
                <a:gd name="connsiteY399" fmla="*/ 1158124 h 1413227"/>
                <a:gd name="connsiteX400" fmla="*/ 1415678 w 2048870"/>
                <a:gd name="connsiteY400" fmla="*/ 1163310 h 1413227"/>
                <a:gd name="connsiteX401" fmla="*/ 1400121 w 2048870"/>
                <a:gd name="connsiteY401" fmla="*/ 1171953 h 1413227"/>
                <a:gd name="connsiteX402" fmla="*/ 1398393 w 2048870"/>
                <a:gd name="connsiteY402" fmla="*/ 1177138 h 1413227"/>
                <a:gd name="connsiteX403" fmla="*/ 1389750 w 2048870"/>
                <a:gd name="connsiteY403" fmla="*/ 1189238 h 1413227"/>
                <a:gd name="connsiteX404" fmla="*/ 1384564 w 2048870"/>
                <a:gd name="connsiteY404" fmla="*/ 1197881 h 1413227"/>
                <a:gd name="connsiteX405" fmla="*/ 1382836 w 2048870"/>
                <a:gd name="connsiteY405" fmla="*/ 1203066 h 1413227"/>
                <a:gd name="connsiteX406" fmla="*/ 1374193 w 2048870"/>
                <a:gd name="connsiteY406" fmla="*/ 1211709 h 1413227"/>
                <a:gd name="connsiteX407" fmla="*/ 1369008 w 2048870"/>
                <a:gd name="connsiteY407" fmla="*/ 1216895 h 1413227"/>
                <a:gd name="connsiteX408" fmla="*/ 1356908 w 2048870"/>
                <a:gd name="connsiteY408" fmla="*/ 1230723 h 1413227"/>
                <a:gd name="connsiteX409" fmla="*/ 1351722 w 2048870"/>
                <a:gd name="connsiteY409" fmla="*/ 1237637 h 1413227"/>
                <a:gd name="connsiteX410" fmla="*/ 1349994 w 2048870"/>
                <a:gd name="connsiteY410" fmla="*/ 1242823 h 1413227"/>
                <a:gd name="connsiteX411" fmla="*/ 1344808 w 2048870"/>
                <a:gd name="connsiteY411" fmla="*/ 1253194 h 1413227"/>
                <a:gd name="connsiteX412" fmla="*/ 1377650 w 2048870"/>
                <a:gd name="connsiteY412" fmla="*/ 1253194 h 1413227"/>
                <a:gd name="connsiteX413" fmla="*/ 1386293 w 2048870"/>
                <a:gd name="connsiteY413" fmla="*/ 1246280 h 1413227"/>
                <a:gd name="connsiteX414" fmla="*/ 1391479 w 2048870"/>
                <a:gd name="connsiteY414" fmla="*/ 1244552 h 1413227"/>
                <a:gd name="connsiteX415" fmla="*/ 1412221 w 2048870"/>
                <a:gd name="connsiteY415" fmla="*/ 1248009 h 1413227"/>
                <a:gd name="connsiteX416" fmla="*/ 1415678 w 2048870"/>
                <a:gd name="connsiteY416" fmla="*/ 1253194 h 1413227"/>
                <a:gd name="connsiteX417" fmla="*/ 1426050 w 2048870"/>
                <a:gd name="connsiteY417" fmla="*/ 1260108 h 1413227"/>
                <a:gd name="connsiteX418" fmla="*/ 1451978 w 2048870"/>
                <a:gd name="connsiteY418" fmla="*/ 1258380 h 1413227"/>
                <a:gd name="connsiteX419" fmla="*/ 1457163 w 2048870"/>
                <a:gd name="connsiteY419" fmla="*/ 1253194 h 1413227"/>
                <a:gd name="connsiteX420" fmla="*/ 1465806 w 2048870"/>
                <a:gd name="connsiteY420" fmla="*/ 1248009 h 1413227"/>
                <a:gd name="connsiteX421" fmla="*/ 1483092 w 2048870"/>
                <a:gd name="connsiteY421" fmla="*/ 1249737 h 1413227"/>
                <a:gd name="connsiteX422" fmla="*/ 1491734 w 2048870"/>
                <a:gd name="connsiteY422" fmla="*/ 1258380 h 1413227"/>
                <a:gd name="connsiteX423" fmla="*/ 1502106 w 2048870"/>
                <a:gd name="connsiteY423" fmla="*/ 1272208 h 1413227"/>
                <a:gd name="connsiteX424" fmla="*/ 1503834 w 2048870"/>
                <a:gd name="connsiteY424" fmla="*/ 1289494 h 1413227"/>
                <a:gd name="connsiteX425" fmla="*/ 1514205 w 2048870"/>
                <a:gd name="connsiteY425" fmla="*/ 1301593 h 1413227"/>
                <a:gd name="connsiteX426" fmla="*/ 1517662 w 2048870"/>
                <a:gd name="connsiteY426" fmla="*/ 1306779 h 1413227"/>
                <a:gd name="connsiteX427" fmla="*/ 1515934 w 2048870"/>
                <a:gd name="connsiteY427" fmla="*/ 1355178 h 1413227"/>
                <a:gd name="connsiteX428" fmla="*/ 1509020 w 2048870"/>
                <a:gd name="connsiteY428" fmla="*/ 1360364 h 1413227"/>
                <a:gd name="connsiteX429" fmla="*/ 1503834 w 2048870"/>
                <a:gd name="connsiteY429" fmla="*/ 1370735 h 1413227"/>
                <a:gd name="connsiteX430" fmla="*/ 1534948 w 2048870"/>
                <a:gd name="connsiteY430" fmla="*/ 1374192 h 1413227"/>
                <a:gd name="connsiteX431" fmla="*/ 1540133 w 2048870"/>
                <a:gd name="connsiteY431" fmla="*/ 1377649 h 1413227"/>
                <a:gd name="connsiteX432" fmla="*/ 1559147 w 2048870"/>
                <a:gd name="connsiteY432" fmla="*/ 1375921 h 1413227"/>
                <a:gd name="connsiteX433" fmla="*/ 1564333 w 2048870"/>
                <a:gd name="connsiteY433" fmla="*/ 1372464 h 1413227"/>
                <a:gd name="connsiteX434" fmla="*/ 1579890 w 2048870"/>
                <a:gd name="connsiteY434" fmla="*/ 1370735 h 1413227"/>
                <a:gd name="connsiteX435" fmla="*/ 1597175 w 2048870"/>
                <a:gd name="connsiteY435" fmla="*/ 1363821 h 1413227"/>
                <a:gd name="connsiteX436" fmla="*/ 1600633 w 2048870"/>
                <a:gd name="connsiteY436" fmla="*/ 1360364 h 1413227"/>
                <a:gd name="connsiteX437" fmla="*/ 1612732 w 2048870"/>
                <a:gd name="connsiteY437" fmla="*/ 1341350 h 1413227"/>
                <a:gd name="connsiteX438" fmla="*/ 1617918 w 2048870"/>
                <a:gd name="connsiteY438" fmla="*/ 1305051 h 1413227"/>
                <a:gd name="connsiteX439" fmla="*/ 1623104 w 2048870"/>
                <a:gd name="connsiteY439" fmla="*/ 1301593 h 1413227"/>
                <a:gd name="connsiteX440" fmla="*/ 1624832 w 2048870"/>
                <a:gd name="connsiteY440" fmla="*/ 1284308 h 1413227"/>
                <a:gd name="connsiteX441" fmla="*/ 1631746 w 2048870"/>
                <a:gd name="connsiteY441" fmla="*/ 1270480 h 1413227"/>
                <a:gd name="connsiteX442" fmla="*/ 1643846 w 2048870"/>
                <a:gd name="connsiteY442" fmla="*/ 1263565 h 1413227"/>
                <a:gd name="connsiteX443" fmla="*/ 1669774 w 2048870"/>
                <a:gd name="connsiteY443" fmla="*/ 1260108 h 1413227"/>
                <a:gd name="connsiteX444" fmla="*/ 1681874 w 2048870"/>
                <a:gd name="connsiteY444" fmla="*/ 1254923 h 1413227"/>
                <a:gd name="connsiteX445" fmla="*/ 1687060 w 2048870"/>
                <a:gd name="connsiteY445" fmla="*/ 1253194 h 1413227"/>
                <a:gd name="connsiteX446" fmla="*/ 1702617 w 2048870"/>
                <a:gd name="connsiteY446" fmla="*/ 1249737 h 1413227"/>
                <a:gd name="connsiteX447" fmla="*/ 1704345 w 2048870"/>
                <a:gd name="connsiteY447" fmla="*/ 1232452 h 1413227"/>
                <a:gd name="connsiteX448" fmla="*/ 1706074 w 2048870"/>
                <a:gd name="connsiteY448" fmla="*/ 1208252 h 1413227"/>
                <a:gd name="connsiteX449" fmla="*/ 1711259 w 2048870"/>
                <a:gd name="connsiteY449" fmla="*/ 1201338 h 1413227"/>
                <a:gd name="connsiteX450" fmla="*/ 1718174 w 2048870"/>
                <a:gd name="connsiteY450" fmla="*/ 1192695 h 1413227"/>
                <a:gd name="connsiteX451" fmla="*/ 1725088 w 2048870"/>
                <a:gd name="connsiteY451" fmla="*/ 1189238 h 1413227"/>
                <a:gd name="connsiteX452" fmla="*/ 1735459 w 2048870"/>
                <a:gd name="connsiteY452" fmla="*/ 1184052 h 1413227"/>
                <a:gd name="connsiteX453" fmla="*/ 1773487 w 2048870"/>
                <a:gd name="connsiteY453" fmla="*/ 1189238 h 1413227"/>
                <a:gd name="connsiteX454" fmla="*/ 1778673 w 2048870"/>
                <a:gd name="connsiteY454" fmla="*/ 1194424 h 1413227"/>
                <a:gd name="connsiteX455" fmla="*/ 1808058 w 2048870"/>
                <a:gd name="connsiteY455" fmla="*/ 1187510 h 1413227"/>
                <a:gd name="connsiteX456" fmla="*/ 1811515 w 2048870"/>
                <a:gd name="connsiteY456" fmla="*/ 1180595 h 1413227"/>
                <a:gd name="connsiteX457" fmla="*/ 1818429 w 2048870"/>
                <a:gd name="connsiteY457" fmla="*/ 1171953 h 1413227"/>
                <a:gd name="connsiteX458" fmla="*/ 1825343 w 2048870"/>
                <a:gd name="connsiteY458" fmla="*/ 1158124 h 1413227"/>
                <a:gd name="connsiteX459" fmla="*/ 1827072 w 2048870"/>
                <a:gd name="connsiteY459" fmla="*/ 1151210 h 1413227"/>
                <a:gd name="connsiteX460" fmla="*/ 1833986 w 2048870"/>
                <a:gd name="connsiteY460" fmla="*/ 1133925 h 1413227"/>
                <a:gd name="connsiteX461" fmla="*/ 1820158 w 2048870"/>
                <a:gd name="connsiteY461" fmla="*/ 1128739 h 1413227"/>
                <a:gd name="connsiteX462" fmla="*/ 1816701 w 2048870"/>
                <a:gd name="connsiteY462" fmla="*/ 1123553 h 1413227"/>
                <a:gd name="connsiteX463" fmla="*/ 1820158 w 2048870"/>
                <a:gd name="connsiteY463" fmla="*/ 1118368 h 1413227"/>
                <a:gd name="connsiteX464" fmla="*/ 1825343 w 2048870"/>
                <a:gd name="connsiteY464" fmla="*/ 1111454 h 1413227"/>
                <a:gd name="connsiteX465" fmla="*/ 1828800 w 2048870"/>
                <a:gd name="connsiteY465" fmla="*/ 1099354 h 1413227"/>
                <a:gd name="connsiteX466" fmla="*/ 1832257 w 2048870"/>
                <a:gd name="connsiteY466" fmla="*/ 1094168 h 1413227"/>
                <a:gd name="connsiteX467" fmla="*/ 1830529 w 2048870"/>
                <a:gd name="connsiteY467" fmla="*/ 1083797 h 1413227"/>
                <a:gd name="connsiteX468" fmla="*/ 1816701 w 2048870"/>
                <a:gd name="connsiteY468" fmla="*/ 1087254 h 1413227"/>
                <a:gd name="connsiteX469" fmla="*/ 1789044 w 2048870"/>
                <a:gd name="connsiteY469" fmla="*/ 1092440 h 1413227"/>
                <a:gd name="connsiteX470" fmla="*/ 1778673 w 2048870"/>
                <a:gd name="connsiteY470" fmla="*/ 1095897 h 1413227"/>
                <a:gd name="connsiteX471" fmla="*/ 1771758 w 2048870"/>
                <a:gd name="connsiteY471" fmla="*/ 1099354 h 1413227"/>
                <a:gd name="connsiteX472" fmla="*/ 1766573 w 2048870"/>
                <a:gd name="connsiteY472" fmla="*/ 1116639 h 1413227"/>
                <a:gd name="connsiteX473" fmla="*/ 1756202 w 2048870"/>
                <a:gd name="connsiteY473" fmla="*/ 1118368 h 1413227"/>
                <a:gd name="connsiteX474" fmla="*/ 1738916 w 2048870"/>
                <a:gd name="connsiteY474" fmla="*/ 1130468 h 1413227"/>
                <a:gd name="connsiteX475" fmla="*/ 1718174 w 2048870"/>
                <a:gd name="connsiteY475" fmla="*/ 1140839 h 1413227"/>
                <a:gd name="connsiteX476" fmla="*/ 1709531 w 2048870"/>
                <a:gd name="connsiteY476" fmla="*/ 1146024 h 1413227"/>
                <a:gd name="connsiteX477" fmla="*/ 1707802 w 2048870"/>
                <a:gd name="connsiteY477" fmla="*/ 1151210 h 1413227"/>
                <a:gd name="connsiteX478" fmla="*/ 1700888 w 2048870"/>
                <a:gd name="connsiteY478" fmla="*/ 1154667 h 1413227"/>
                <a:gd name="connsiteX479" fmla="*/ 1647303 w 2048870"/>
                <a:gd name="connsiteY479" fmla="*/ 1152939 h 1413227"/>
                <a:gd name="connsiteX480" fmla="*/ 1650760 w 2048870"/>
                <a:gd name="connsiteY480" fmla="*/ 1142567 h 1413227"/>
                <a:gd name="connsiteX481" fmla="*/ 1649032 w 2048870"/>
                <a:gd name="connsiteY481" fmla="*/ 1120096 h 1413227"/>
                <a:gd name="connsiteX482" fmla="*/ 1598904 w 2048870"/>
                <a:gd name="connsiteY482" fmla="*/ 1114911 h 1413227"/>
                <a:gd name="connsiteX483" fmla="*/ 1591990 w 2048870"/>
                <a:gd name="connsiteY483" fmla="*/ 1113182 h 1413227"/>
                <a:gd name="connsiteX484" fmla="*/ 1564333 w 2048870"/>
                <a:gd name="connsiteY484" fmla="*/ 1109725 h 1413227"/>
                <a:gd name="connsiteX485" fmla="*/ 1553962 w 2048870"/>
                <a:gd name="connsiteY485" fmla="*/ 1101082 h 1413227"/>
                <a:gd name="connsiteX486" fmla="*/ 1543591 w 2048870"/>
                <a:gd name="connsiteY486" fmla="*/ 1092440 h 1413227"/>
                <a:gd name="connsiteX487" fmla="*/ 1526305 w 2048870"/>
                <a:gd name="connsiteY487" fmla="*/ 1090711 h 1413227"/>
                <a:gd name="connsiteX488" fmla="*/ 1514205 w 2048870"/>
                <a:gd name="connsiteY488" fmla="*/ 1085525 h 1413227"/>
                <a:gd name="connsiteX489" fmla="*/ 1512477 w 2048870"/>
                <a:gd name="connsiteY489" fmla="*/ 1092440 h 1413227"/>
                <a:gd name="connsiteX490" fmla="*/ 1507291 w 2048870"/>
                <a:gd name="connsiteY490" fmla="*/ 1085525 h 1413227"/>
                <a:gd name="connsiteX491" fmla="*/ 1496920 w 2048870"/>
                <a:gd name="connsiteY491" fmla="*/ 1075154 h 1413227"/>
                <a:gd name="connsiteX492" fmla="*/ 1445064 w 2048870"/>
                <a:gd name="connsiteY492" fmla="*/ 1076883 h 1413227"/>
                <a:gd name="connsiteX493" fmla="*/ 1439878 w 2048870"/>
                <a:gd name="connsiteY493" fmla="*/ 1080340 h 1413227"/>
                <a:gd name="connsiteX494" fmla="*/ 1438149 w 2048870"/>
                <a:gd name="connsiteY494" fmla="*/ 1085525 h 1413227"/>
                <a:gd name="connsiteX495" fmla="*/ 1451978 w 2048870"/>
                <a:gd name="connsiteY495" fmla="*/ 1071697 h 1413227"/>
                <a:gd name="connsiteX496" fmla="*/ 1458892 w 2048870"/>
                <a:gd name="connsiteY496" fmla="*/ 1064783 h 1413227"/>
                <a:gd name="connsiteX497" fmla="*/ 1464078 w 2048870"/>
                <a:gd name="connsiteY497" fmla="*/ 1059597 h 1413227"/>
                <a:gd name="connsiteX498" fmla="*/ 1479634 w 2048870"/>
                <a:gd name="connsiteY498" fmla="*/ 1064783 h 1413227"/>
                <a:gd name="connsiteX499" fmla="*/ 1490006 w 2048870"/>
                <a:gd name="connsiteY499" fmla="*/ 1071697 h 1413227"/>
                <a:gd name="connsiteX500" fmla="*/ 1498648 w 2048870"/>
                <a:gd name="connsiteY500" fmla="*/ 1068240 h 1413227"/>
                <a:gd name="connsiteX501" fmla="*/ 1500377 w 2048870"/>
                <a:gd name="connsiteY501" fmla="*/ 1063054 h 1413227"/>
                <a:gd name="connsiteX502" fmla="*/ 1503834 w 2048870"/>
                <a:gd name="connsiteY502" fmla="*/ 1057869 h 1413227"/>
                <a:gd name="connsiteX503" fmla="*/ 1507291 w 2048870"/>
                <a:gd name="connsiteY503" fmla="*/ 1045769 h 1413227"/>
                <a:gd name="connsiteX504" fmla="*/ 1540133 w 2048870"/>
                <a:gd name="connsiteY504" fmla="*/ 1044040 h 1413227"/>
                <a:gd name="connsiteX505" fmla="*/ 1557419 w 2048870"/>
                <a:gd name="connsiteY505" fmla="*/ 1059597 h 1413227"/>
                <a:gd name="connsiteX506" fmla="*/ 1560876 w 2048870"/>
                <a:gd name="connsiteY506" fmla="*/ 1073426 h 1413227"/>
                <a:gd name="connsiteX507" fmla="*/ 1564333 w 2048870"/>
                <a:gd name="connsiteY507" fmla="*/ 1087254 h 1413227"/>
                <a:gd name="connsiteX508" fmla="*/ 1566062 w 2048870"/>
                <a:gd name="connsiteY508" fmla="*/ 1094168 h 1413227"/>
                <a:gd name="connsiteX509" fmla="*/ 1569519 w 2048870"/>
                <a:gd name="connsiteY509" fmla="*/ 1099354 h 1413227"/>
                <a:gd name="connsiteX510" fmla="*/ 1576433 w 2048870"/>
                <a:gd name="connsiteY510" fmla="*/ 1037126 h 1413227"/>
                <a:gd name="connsiteX511" fmla="*/ 1588533 w 2048870"/>
                <a:gd name="connsiteY511" fmla="*/ 1052683 h 1413227"/>
                <a:gd name="connsiteX512" fmla="*/ 1591990 w 2048870"/>
                <a:gd name="connsiteY512" fmla="*/ 1069969 h 1413227"/>
                <a:gd name="connsiteX513" fmla="*/ 1607547 w 2048870"/>
                <a:gd name="connsiteY513" fmla="*/ 1080340 h 1413227"/>
                <a:gd name="connsiteX514" fmla="*/ 1612732 w 2048870"/>
                <a:gd name="connsiteY514" fmla="*/ 1083797 h 1413227"/>
                <a:gd name="connsiteX515" fmla="*/ 1621375 w 2048870"/>
                <a:gd name="connsiteY515" fmla="*/ 1085525 h 1413227"/>
                <a:gd name="connsiteX516" fmla="*/ 1633475 w 2048870"/>
                <a:gd name="connsiteY516" fmla="*/ 1092440 h 1413227"/>
                <a:gd name="connsiteX517" fmla="*/ 1640389 w 2048870"/>
                <a:gd name="connsiteY517" fmla="*/ 1095897 h 1413227"/>
                <a:gd name="connsiteX518" fmla="*/ 1649032 w 2048870"/>
                <a:gd name="connsiteY518" fmla="*/ 1109725 h 1413227"/>
                <a:gd name="connsiteX519" fmla="*/ 1659403 w 2048870"/>
                <a:gd name="connsiteY519" fmla="*/ 1113182 h 1413227"/>
                <a:gd name="connsiteX520" fmla="*/ 1669774 w 2048870"/>
                <a:gd name="connsiteY520" fmla="*/ 1118368 h 1413227"/>
                <a:gd name="connsiteX521" fmla="*/ 1680146 w 2048870"/>
                <a:gd name="connsiteY521" fmla="*/ 1125282 h 1413227"/>
                <a:gd name="connsiteX522" fmla="*/ 1699160 w 2048870"/>
                <a:gd name="connsiteY522" fmla="*/ 1139110 h 1413227"/>
                <a:gd name="connsiteX523" fmla="*/ 1712988 w 2048870"/>
                <a:gd name="connsiteY523" fmla="*/ 1142567 h 1413227"/>
                <a:gd name="connsiteX524" fmla="*/ 1704345 w 2048870"/>
                <a:gd name="connsiteY524" fmla="*/ 1137382 h 1413227"/>
                <a:gd name="connsiteX525" fmla="*/ 1699160 w 2048870"/>
                <a:gd name="connsiteY525" fmla="*/ 1132196 h 1413227"/>
                <a:gd name="connsiteX526" fmla="*/ 1688788 w 2048870"/>
                <a:gd name="connsiteY526" fmla="*/ 1128739 h 1413227"/>
                <a:gd name="connsiteX527" fmla="*/ 1674960 w 2048870"/>
                <a:gd name="connsiteY527" fmla="*/ 1125282 h 1413227"/>
                <a:gd name="connsiteX528" fmla="*/ 1659403 w 2048870"/>
                <a:gd name="connsiteY528" fmla="*/ 1121825 h 1413227"/>
                <a:gd name="connsiteX529" fmla="*/ 1650760 w 2048870"/>
                <a:gd name="connsiteY529" fmla="*/ 1116639 h 1413227"/>
                <a:gd name="connsiteX530" fmla="*/ 1645575 w 2048870"/>
                <a:gd name="connsiteY530" fmla="*/ 1113182 h 1413227"/>
                <a:gd name="connsiteX531" fmla="*/ 1642118 w 2048870"/>
                <a:gd name="connsiteY531" fmla="*/ 1107996 h 1413227"/>
                <a:gd name="connsiteX532" fmla="*/ 1628289 w 2048870"/>
                <a:gd name="connsiteY532" fmla="*/ 1088983 h 1413227"/>
                <a:gd name="connsiteX533" fmla="*/ 1626561 w 2048870"/>
                <a:gd name="connsiteY533" fmla="*/ 1083797 h 1413227"/>
                <a:gd name="connsiteX534" fmla="*/ 1619647 w 2048870"/>
                <a:gd name="connsiteY534" fmla="*/ 1075154 h 1413227"/>
                <a:gd name="connsiteX535" fmla="*/ 1616189 w 2048870"/>
                <a:gd name="connsiteY535" fmla="*/ 1061326 h 1413227"/>
                <a:gd name="connsiteX536" fmla="*/ 1614461 w 2048870"/>
                <a:gd name="connsiteY536" fmla="*/ 1056140 h 1413227"/>
                <a:gd name="connsiteX537" fmla="*/ 1604090 w 2048870"/>
                <a:gd name="connsiteY537" fmla="*/ 1038855 h 1413227"/>
                <a:gd name="connsiteX538" fmla="*/ 1598904 w 2048870"/>
                <a:gd name="connsiteY538" fmla="*/ 1037126 h 1413227"/>
                <a:gd name="connsiteX539" fmla="*/ 1593718 w 2048870"/>
                <a:gd name="connsiteY539" fmla="*/ 1030212 h 1413227"/>
                <a:gd name="connsiteX540" fmla="*/ 1585076 w 2048870"/>
                <a:gd name="connsiteY540" fmla="*/ 1019841 h 1413227"/>
                <a:gd name="connsiteX541" fmla="*/ 1590261 w 2048870"/>
                <a:gd name="connsiteY541" fmla="*/ 1000827 h 1413227"/>
                <a:gd name="connsiteX542" fmla="*/ 1598904 w 2048870"/>
                <a:gd name="connsiteY542" fmla="*/ 999098 h 1413227"/>
                <a:gd name="connsiteX543" fmla="*/ 1611004 w 2048870"/>
                <a:gd name="connsiteY543" fmla="*/ 990455 h 1413227"/>
                <a:gd name="connsiteX544" fmla="*/ 1617918 w 2048870"/>
                <a:gd name="connsiteY544" fmla="*/ 985270 h 1413227"/>
                <a:gd name="connsiteX545" fmla="*/ 1616189 w 2048870"/>
                <a:gd name="connsiteY545" fmla="*/ 1021569 h 1413227"/>
                <a:gd name="connsiteX546" fmla="*/ 1612732 w 2048870"/>
                <a:gd name="connsiteY546" fmla="*/ 1028483 h 1413227"/>
                <a:gd name="connsiteX547" fmla="*/ 1607547 w 2048870"/>
                <a:gd name="connsiteY547" fmla="*/ 1035398 h 1413227"/>
                <a:gd name="connsiteX548" fmla="*/ 1612732 w 2048870"/>
                <a:gd name="connsiteY548" fmla="*/ 1031941 h 1413227"/>
                <a:gd name="connsiteX549" fmla="*/ 1621375 w 2048870"/>
                <a:gd name="connsiteY549" fmla="*/ 1016384 h 1413227"/>
                <a:gd name="connsiteX550" fmla="*/ 1626561 w 2048870"/>
                <a:gd name="connsiteY550" fmla="*/ 997370 h 1413227"/>
                <a:gd name="connsiteX551" fmla="*/ 1626561 w 2048870"/>
                <a:gd name="connsiteY551" fmla="*/ 976627 h 1413227"/>
                <a:gd name="connsiteX552" fmla="*/ 1619647 w 2048870"/>
                <a:gd name="connsiteY552" fmla="*/ 962799 h 1413227"/>
                <a:gd name="connsiteX553" fmla="*/ 1626561 w 2048870"/>
                <a:gd name="connsiteY553" fmla="*/ 966256 h 1413227"/>
                <a:gd name="connsiteX554" fmla="*/ 1638661 w 2048870"/>
                <a:gd name="connsiteY554" fmla="*/ 969713 h 1413227"/>
                <a:gd name="connsiteX555" fmla="*/ 1645575 w 2048870"/>
                <a:gd name="connsiteY555" fmla="*/ 967984 h 1413227"/>
                <a:gd name="connsiteX556" fmla="*/ 1650760 w 2048870"/>
                <a:gd name="connsiteY556" fmla="*/ 955885 h 1413227"/>
                <a:gd name="connsiteX557" fmla="*/ 1659403 w 2048870"/>
                <a:gd name="connsiteY557" fmla="*/ 933414 h 1413227"/>
                <a:gd name="connsiteX558" fmla="*/ 1662860 w 2048870"/>
                <a:gd name="connsiteY558" fmla="*/ 929956 h 1413227"/>
                <a:gd name="connsiteX559" fmla="*/ 1664589 w 2048870"/>
                <a:gd name="connsiteY559" fmla="*/ 923042 h 1413227"/>
                <a:gd name="connsiteX560" fmla="*/ 1673231 w 2048870"/>
                <a:gd name="connsiteY560" fmla="*/ 893657 h 1413227"/>
                <a:gd name="connsiteX561" fmla="*/ 1687060 w 2048870"/>
                <a:gd name="connsiteY561" fmla="*/ 891928 h 1413227"/>
                <a:gd name="connsiteX562" fmla="*/ 1693974 w 2048870"/>
                <a:gd name="connsiteY562" fmla="*/ 890200 h 1413227"/>
                <a:gd name="connsiteX563" fmla="*/ 1700888 w 2048870"/>
                <a:gd name="connsiteY563" fmla="*/ 886743 h 1413227"/>
                <a:gd name="connsiteX564" fmla="*/ 1719902 w 2048870"/>
                <a:gd name="connsiteY564" fmla="*/ 878100 h 1413227"/>
                <a:gd name="connsiteX565" fmla="*/ 1726816 w 2048870"/>
                <a:gd name="connsiteY565" fmla="*/ 876372 h 1413227"/>
                <a:gd name="connsiteX566" fmla="*/ 1745830 w 2048870"/>
                <a:gd name="connsiteY566" fmla="*/ 860815 h 1413227"/>
                <a:gd name="connsiteX567" fmla="*/ 1751016 w 2048870"/>
                <a:gd name="connsiteY567" fmla="*/ 857358 h 1413227"/>
                <a:gd name="connsiteX568" fmla="*/ 1757930 w 2048870"/>
                <a:gd name="connsiteY568" fmla="*/ 855629 h 1413227"/>
                <a:gd name="connsiteX569" fmla="*/ 1764844 w 2048870"/>
                <a:gd name="connsiteY569" fmla="*/ 841801 h 1413227"/>
                <a:gd name="connsiteX570" fmla="*/ 1771758 w 2048870"/>
                <a:gd name="connsiteY570" fmla="*/ 836615 h 1413227"/>
                <a:gd name="connsiteX571" fmla="*/ 1776944 w 2048870"/>
                <a:gd name="connsiteY571" fmla="*/ 833158 h 1413227"/>
                <a:gd name="connsiteX572" fmla="*/ 1787315 w 2048870"/>
                <a:gd name="connsiteY572" fmla="*/ 831429 h 1413227"/>
                <a:gd name="connsiteX573" fmla="*/ 1795958 w 2048870"/>
                <a:gd name="connsiteY573" fmla="*/ 829701 h 1413227"/>
                <a:gd name="connsiteX574" fmla="*/ 1797687 w 2048870"/>
                <a:gd name="connsiteY574" fmla="*/ 824515 h 1413227"/>
                <a:gd name="connsiteX575" fmla="*/ 1825343 w 2048870"/>
                <a:gd name="connsiteY575" fmla="*/ 796859 h 1413227"/>
                <a:gd name="connsiteX576" fmla="*/ 1830529 w 2048870"/>
                <a:gd name="connsiteY576" fmla="*/ 776116 h 1413227"/>
                <a:gd name="connsiteX577" fmla="*/ 1835715 w 2048870"/>
                <a:gd name="connsiteY577" fmla="*/ 770930 h 1413227"/>
                <a:gd name="connsiteX578" fmla="*/ 1863371 w 2048870"/>
                <a:gd name="connsiteY578" fmla="*/ 760559 h 1413227"/>
                <a:gd name="connsiteX579" fmla="*/ 1868557 w 2048870"/>
                <a:gd name="connsiteY579" fmla="*/ 755373 h 1413227"/>
                <a:gd name="connsiteX580" fmla="*/ 1880657 w 2048870"/>
                <a:gd name="connsiteY580" fmla="*/ 753645 h 1413227"/>
                <a:gd name="connsiteX581" fmla="*/ 1889299 w 2048870"/>
                <a:gd name="connsiteY581" fmla="*/ 750188 h 1413227"/>
                <a:gd name="connsiteX582" fmla="*/ 1894485 w 2048870"/>
                <a:gd name="connsiteY582" fmla="*/ 731174 h 1413227"/>
                <a:gd name="connsiteX583" fmla="*/ 1910042 w 2048870"/>
                <a:gd name="connsiteY583" fmla="*/ 719074 h 1413227"/>
                <a:gd name="connsiteX584" fmla="*/ 1916956 w 2048870"/>
                <a:gd name="connsiteY584" fmla="*/ 710431 h 1413227"/>
                <a:gd name="connsiteX585" fmla="*/ 1908313 w 2048870"/>
                <a:gd name="connsiteY585" fmla="*/ 689689 h 1413227"/>
                <a:gd name="connsiteX586" fmla="*/ 1901399 w 2048870"/>
                <a:gd name="connsiteY586" fmla="*/ 675860 h 1413227"/>
                <a:gd name="connsiteX587" fmla="*/ 1897942 w 2048870"/>
                <a:gd name="connsiteY587" fmla="*/ 665489 h 1413227"/>
                <a:gd name="connsiteX588" fmla="*/ 1901399 w 2048870"/>
                <a:gd name="connsiteY588" fmla="*/ 651661 h 1413227"/>
                <a:gd name="connsiteX589" fmla="*/ 1897942 w 2048870"/>
                <a:gd name="connsiteY589" fmla="*/ 629190 h 1413227"/>
                <a:gd name="connsiteX590" fmla="*/ 1904856 w 2048870"/>
                <a:gd name="connsiteY590" fmla="*/ 624004 h 1413227"/>
                <a:gd name="connsiteX591" fmla="*/ 1910042 w 2048870"/>
                <a:gd name="connsiteY591" fmla="*/ 613633 h 1413227"/>
                <a:gd name="connsiteX592" fmla="*/ 1918685 w 2048870"/>
                <a:gd name="connsiteY592" fmla="*/ 608447 h 1413227"/>
                <a:gd name="connsiteX593" fmla="*/ 1925599 w 2048870"/>
                <a:gd name="connsiteY593" fmla="*/ 601533 h 1413227"/>
                <a:gd name="connsiteX594" fmla="*/ 1929056 w 2048870"/>
                <a:gd name="connsiteY594" fmla="*/ 587705 h 1413227"/>
                <a:gd name="connsiteX595" fmla="*/ 1932513 w 2048870"/>
                <a:gd name="connsiteY595" fmla="*/ 582519 h 1413227"/>
                <a:gd name="connsiteX596" fmla="*/ 1939427 w 2048870"/>
                <a:gd name="connsiteY596" fmla="*/ 565234 h 1413227"/>
                <a:gd name="connsiteX597" fmla="*/ 1963627 w 2048870"/>
                <a:gd name="connsiteY597" fmla="*/ 556591 h 1413227"/>
                <a:gd name="connsiteX598" fmla="*/ 1968812 w 2048870"/>
                <a:gd name="connsiteY598" fmla="*/ 547948 h 1413227"/>
                <a:gd name="connsiteX599" fmla="*/ 1986098 w 2048870"/>
                <a:gd name="connsiteY599" fmla="*/ 544491 h 1413227"/>
                <a:gd name="connsiteX600" fmla="*/ 2008569 w 2048870"/>
                <a:gd name="connsiteY600" fmla="*/ 539305 h 1413227"/>
                <a:gd name="connsiteX601" fmla="*/ 2017212 w 2048870"/>
                <a:gd name="connsiteY601" fmla="*/ 530663 h 1413227"/>
                <a:gd name="connsiteX602" fmla="*/ 2048326 w 2048870"/>
                <a:gd name="connsiteY602" fmla="*/ 525477 h 1413227"/>
                <a:gd name="connsiteX603" fmla="*/ 2043140 w 2048870"/>
                <a:gd name="connsiteY603" fmla="*/ 499549 h 1413227"/>
                <a:gd name="connsiteX604" fmla="*/ 2032769 w 2048870"/>
                <a:gd name="connsiteY604" fmla="*/ 492635 h 1413227"/>
                <a:gd name="connsiteX605" fmla="*/ 2025854 w 2048870"/>
                <a:gd name="connsiteY605" fmla="*/ 447693 h 1413227"/>
                <a:gd name="connsiteX606" fmla="*/ 2018940 w 2048870"/>
                <a:gd name="connsiteY606" fmla="*/ 428679 h 1413227"/>
                <a:gd name="connsiteX607" fmla="*/ 2015483 w 2048870"/>
                <a:gd name="connsiteY607" fmla="*/ 418307 h 1413227"/>
                <a:gd name="connsiteX608" fmla="*/ 2010298 w 2048870"/>
                <a:gd name="connsiteY608" fmla="*/ 411393 h 1413227"/>
                <a:gd name="connsiteX609" fmla="*/ 2003383 w 2048870"/>
                <a:gd name="connsiteY609" fmla="*/ 407936 h 1413227"/>
                <a:gd name="connsiteX610" fmla="*/ 1984369 w 2048870"/>
                <a:gd name="connsiteY610" fmla="*/ 404479 h 1413227"/>
                <a:gd name="connsiteX611" fmla="*/ 1977455 w 2048870"/>
                <a:gd name="connsiteY611" fmla="*/ 394108 h 1413227"/>
                <a:gd name="connsiteX612" fmla="*/ 1972270 w 2048870"/>
                <a:gd name="connsiteY612" fmla="*/ 390651 h 1413227"/>
                <a:gd name="connsiteX613" fmla="*/ 1968812 w 2048870"/>
                <a:gd name="connsiteY613" fmla="*/ 382008 h 1413227"/>
                <a:gd name="connsiteX614" fmla="*/ 1973998 w 2048870"/>
                <a:gd name="connsiteY614" fmla="*/ 366451 h 1413227"/>
                <a:gd name="connsiteX615" fmla="*/ 1982641 w 2048870"/>
                <a:gd name="connsiteY615" fmla="*/ 354351 h 1413227"/>
                <a:gd name="connsiteX616" fmla="*/ 1984369 w 2048870"/>
                <a:gd name="connsiteY616" fmla="*/ 347437 h 1413227"/>
                <a:gd name="connsiteX617" fmla="*/ 1994741 w 2048870"/>
                <a:gd name="connsiteY617" fmla="*/ 343980 h 1413227"/>
                <a:gd name="connsiteX618" fmla="*/ 1960170 w 2048870"/>
                <a:gd name="connsiteY618" fmla="*/ 337066 h 1413227"/>
                <a:gd name="connsiteX619" fmla="*/ 1958441 w 2048870"/>
                <a:gd name="connsiteY619" fmla="*/ 331880 h 1413227"/>
                <a:gd name="connsiteX620" fmla="*/ 1954984 w 2048870"/>
                <a:gd name="connsiteY620" fmla="*/ 326694 h 1413227"/>
                <a:gd name="connsiteX621" fmla="*/ 1958441 w 2048870"/>
                <a:gd name="connsiteY621" fmla="*/ 318052 h 1413227"/>
                <a:gd name="connsiteX622" fmla="*/ 1963627 w 2048870"/>
                <a:gd name="connsiteY622" fmla="*/ 311138 h 1413227"/>
                <a:gd name="connsiteX623" fmla="*/ 1967084 w 2048870"/>
                <a:gd name="connsiteY623" fmla="*/ 305952 h 1413227"/>
                <a:gd name="connsiteX624" fmla="*/ 1968812 w 2048870"/>
                <a:gd name="connsiteY624" fmla="*/ 299038 h 1413227"/>
                <a:gd name="connsiteX625" fmla="*/ 1973998 w 2048870"/>
                <a:gd name="connsiteY625" fmla="*/ 293852 h 1413227"/>
                <a:gd name="connsiteX626" fmla="*/ 1975727 w 2048870"/>
                <a:gd name="connsiteY626" fmla="*/ 269652 h 1413227"/>
                <a:gd name="connsiteX627" fmla="*/ 1970541 w 2048870"/>
                <a:gd name="connsiteY627" fmla="*/ 255824 h 1413227"/>
                <a:gd name="connsiteX628" fmla="*/ 1968812 w 2048870"/>
                <a:gd name="connsiteY628" fmla="*/ 250638 h 1413227"/>
                <a:gd name="connsiteX629" fmla="*/ 1967084 w 2048870"/>
                <a:gd name="connsiteY629" fmla="*/ 243724 h 1413227"/>
                <a:gd name="connsiteX630" fmla="*/ 1963627 w 2048870"/>
                <a:gd name="connsiteY630" fmla="*/ 238539 h 1413227"/>
                <a:gd name="connsiteX631" fmla="*/ 1965355 w 2048870"/>
                <a:gd name="connsiteY631" fmla="*/ 216068 h 1413227"/>
                <a:gd name="connsiteX632" fmla="*/ 1961898 w 2048870"/>
                <a:gd name="connsiteY632" fmla="*/ 209153 h 1413227"/>
                <a:gd name="connsiteX633" fmla="*/ 1954984 w 2048870"/>
                <a:gd name="connsiteY633" fmla="*/ 216068 h 1413227"/>
                <a:gd name="connsiteX634" fmla="*/ 1948070 w 2048870"/>
                <a:gd name="connsiteY634" fmla="*/ 217796 h 1413227"/>
                <a:gd name="connsiteX635" fmla="*/ 1937699 w 2048870"/>
                <a:gd name="connsiteY635" fmla="*/ 226439 h 1413227"/>
                <a:gd name="connsiteX636" fmla="*/ 1932513 w 2048870"/>
                <a:gd name="connsiteY636" fmla="*/ 228167 h 1413227"/>
                <a:gd name="connsiteX637" fmla="*/ 1922142 w 2048870"/>
                <a:gd name="connsiteY637" fmla="*/ 235082 h 1413227"/>
                <a:gd name="connsiteX638" fmla="*/ 1906585 w 2048870"/>
                <a:gd name="connsiteY638" fmla="*/ 231624 h 1413227"/>
                <a:gd name="connsiteX639" fmla="*/ 1885842 w 2048870"/>
                <a:gd name="connsiteY639" fmla="*/ 222982 h 1413227"/>
                <a:gd name="connsiteX640" fmla="*/ 1878928 w 2048870"/>
                <a:gd name="connsiteY640" fmla="*/ 224710 h 1413227"/>
                <a:gd name="connsiteX641" fmla="*/ 1868557 w 2048870"/>
                <a:gd name="connsiteY641" fmla="*/ 233353 h 1413227"/>
                <a:gd name="connsiteX642" fmla="*/ 1847814 w 2048870"/>
                <a:gd name="connsiteY642" fmla="*/ 221253 h 1413227"/>
                <a:gd name="connsiteX643" fmla="*/ 1839172 w 2048870"/>
                <a:gd name="connsiteY643" fmla="*/ 217796 h 1413227"/>
                <a:gd name="connsiteX644" fmla="*/ 1832257 w 2048870"/>
                <a:gd name="connsiteY644" fmla="*/ 214339 h 1413227"/>
                <a:gd name="connsiteX645" fmla="*/ 1823615 w 2048870"/>
                <a:gd name="connsiteY645" fmla="*/ 224710 h 1413227"/>
                <a:gd name="connsiteX646" fmla="*/ 1816701 w 2048870"/>
                <a:gd name="connsiteY646" fmla="*/ 229896 h 1413227"/>
                <a:gd name="connsiteX647" fmla="*/ 1787315 w 2048870"/>
                <a:gd name="connsiteY647" fmla="*/ 221253 h 1413227"/>
                <a:gd name="connsiteX648" fmla="*/ 1759659 w 2048870"/>
                <a:gd name="connsiteY648" fmla="*/ 222982 h 1413227"/>
                <a:gd name="connsiteX649" fmla="*/ 1754473 w 2048870"/>
                <a:gd name="connsiteY649" fmla="*/ 224710 h 1413227"/>
                <a:gd name="connsiteX650" fmla="*/ 1735459 w 2048870"/>
                <a:gd name="connsiteY650" fmla="*/ 222982 h 1413227"/>
                <a:gd name="connsiteX651" fmla="*/ 1728545 w 2048870"/>
                <a:gd name="connsiteY651" fmla="*/ 217796 h 1413227"/>
                <a:gd name="connsiteX652" fmla="*/ 1721631 w 2048870"/>
                <a:gd name="connsiteY652" fmla="*/ 207425 h 1413227"/>
                <a:gd name="connsiteX653" fmla="*/ 1712988 w 2048870"/>
                <a:gd name="connsiteY653" fmla="*/ 235082 h 1413227"/>
                <a:gd name="connsiteX654" fmla="*/ 1706074 w 2048870"/>
                <a:gd name="connsiteY654" fmla="*/ 250638 h 1413227"/>
                <a:gd name="connsiteX655" fmla="*/ 1692245 w 2048870"/>
                <a:gd name="connsiteY655" fmla="*/ 236810 h 1413227"/>
                <a:gd name="connsiteX656" fmla="*/ 1645575 w 2048870"/>
                <a:gd name="connsiteY656" fmla="*/ 224710 h 1413227"/>
                <a:gd name="connsiteX657" fmla="*/ 1640389 w 2048870"/>
                <a:gd name="connsiteY657" fmla="*/ 217796 h 1413227"/>
                <a:gd name="connsiteX658" fmla="*/ 1638661 w 2048870"/>
                <a:gd name="connsiteY658" fmla="*/ 212610 h 1413227"/>
                <a:gd name="connsiteX659" fmla="*/ 1623104 w 2048870"/>
                <a:gd name="connsiteY659" fmla="*/ 195325 h 1413227"/>
                <a:gd name="connsiteX660" fmla="*/ 1609275 w 2048870"/>
                <a:gd name="connsiteY660" fmla="*/ 191868 h 1413227"/>
                <a:gd name="connsiteX661" fmla="*/ 1600633 w 2048870"/>
                <a:gd name="connsiteY661" fmla="*/ 200511 h 1413227"/>
                <a:gd name="connsiteX662" fmla="*/ 1595447 w 2048870"/>
                <a:gd name="connsiteY662" fmla="*/ 202239 h 1413227"/>
                <a:gd name="connsiteX663" fmla="*/ 1574704 w 2048870"/>
                <a:gd name="connsiteY663" fmla="*/ 209153 h 1413227"/>
                <a:gd name="connsiteX664" fmla="*/ 1569519 w 2048870"/>
                <a:gd name="connsiteY664" fmla="*/ 214339 h 1413227"/>
                <a:gd name="connsiteX665" fmla="*/ 1564333 w 2048870"/>
                <a:gd name="connsiteY665" fmla="*/ 217796 h 1413227"/>
                <a:gd name="connsiteX666" fmla="*/ 1560876 w 2048870"/>
                <a:gd name="connsiteY666" fmla="*/ 224710 h 1413227"/>
                <a:gd name="connsiteX667" fmla="*/ 1543591 w 2048870"/>
                <a:gd name="connsiteY667" fmla="*/ 238539 h 1413227"/>
                <a:gd name="connsiteX668" fmla="*/ 1536676 w 2048870"/>
                <a:gd name="connsiteY668" fmla="*/ 245453 h 1413227"/>
                <a:gd name="connsiteX669" fmla="*/ 1534948 w 2048870"/>
                <a:gd name="connsiteY669" fmla="*/ 250638 h 1413227"/>
                <a:gd name="connsiteX670" fmla="*/ 1536676 w 2048870"/>
                <a:gd name="connsiteY670" fmla="*/ 255824 h 1413227"/>
                <a:gd name="connsiteX671" fmla="*/ 1510748 w 2048870"/>
                <a:gd name="connsiteY671" fmla="*/ 259281 h 1413227"/>
                <a:gd name="connsiteX672" fmla="*/ 1500377 w 2048870"/>
                <a:gd name="connsiteY672" fmla="*/ 252367 h 1413227"/>
                <a:gd name="connsiteX673" fmla="*/ 1472720 w 2048870"/>
                <a:gd name="connsiteY673" fmla="*/ 252367 h 1413227"/>
                <a:gd name="connsiteX674" fmla="*/ 1455435 w 2048870"/>
                <a:gd name="connsiteY674" fmla="*/ 254096 h 1413227"/>
                <a:gd name="connsiteX675" fmla="*/ 1446792 w 2048870"/>
                <a:gd name="connsiteY675" fmla="*/ 261010 h 1413227"/>
                <a:gd name="connsiteX676" fmla="*/ 1441606 w 2048870"/>
                <a:gd name="connsiteY676" fmla="*/ 267924 h 1413227"/>
                <a:gd name="connsiteX677" fmla="*/ 1438149 w 2048870"/>
                <a:gd name="connsiteY677" fmla="*/ 273110 h 1413227"/>
                <a:gd name="connsiteX678" fmla="*/ 1432964 w 2048870"/>
                <a:gd name="connsiteY678" fmla="*/ 274838 h 1413227"/>
                <a:gd name="connsiteX679" fmla="*/ 1419135 w 2048870"/>
                <a:gd name="connsiteY679" fmla="*/ 281752 h 1413227"/>
                <a:gd name="connsiteX680" fmla="*/ 1412221 w 2048870"/>
                <a:gd name="connsiteY680" fmla="*/ 278295 h 1413227"/>
                <a:gd name="connsiteX681" fmla="*/ 1408764 w 2048870"/>
                <a:gd name="connsiteY681" fmla="*/ 273110 h 1413227"/>
                <a:gd name="connsiteX682" fmla="*/ 1400121 w 2048870"/>
                <a:gd name="connsiteY682" fmla="*/ 257553 h 1413227"/>
                <a:gd name="connsiteX683" fmla="*/ 1394936 w 2048870"/>
                <a:gd name="connsiteY683" fmla="*/ 254096 h 1413227"/>
                <a:gd name="connsiteX684" fmla="*/ 1386293 w 2048870"/>
                <a:gd name="connsiteY684" fmla="*/ 243724 h 1413227"/>
                <a:gd name="connsiteX685" fmla="*/ 1381107 w 2048870"/>
                <a:gd name="connsiteY685" fmla="*/ 212610 h 1413227"/>
                <a:gd name="connsiteX686" fmla="*/ 1370736 w 2048870"/>
                <a:gd name="connsiteY686" fmla="*/ 202239 h 1413227"/>
                <a:gd name="connsiteX687" fmla="*/ 1363822 w 2048870"/>
                <a:gd name="connsiteY687" fmla="*/ 200511 h 1413227"/>
                <a:gd name="connsiteX688" fmla="*/ 1358636 w 2048870"/>
                <a:gd name="connsiteY688" fmla="*/ 193596 h 1413227"/>
                <a:gd name="connsiteX689" fmla="*/ 1349994 w 2048870"/>
                <a:gd name="connsiteY689" fmla="*/ 178040 h 1413227"/>
                <a:gd name="connsiteX690" fmla="*/ 1337894 w 2048870"/>
                <a:gd name="connsiteY690" fmla="*/ 167668 h 1413227"/>
                <a:gd name="connsiteX691" fmla="*/ 1298137 w 2048870"/>
                <a:gd name="connsiteY691" fmla="*/ 169397 h 1413227"/>
                <a:gd name="connsiteX692" fmla="*/ 1284309 w 2048870"/>
                <a:gd name="connsiteY692" fmla="*/ 179768 h 1413227"/>
                <a:gd name="connsiteX693" fmla="*/ 1268752 w 2048870"/>
                <a:gd name="connsiteY693" fmla="*/ 181497 h 1413227"/>
                <a:gd name="connsiteX694" fmla="*/ 1251467 w 2048870"/>
                <a:gd name="connsiteY694" fmla="*/ 174583 h 1413227"/>
                <a:gd name="connsiteX695" fmla="*/ 1241095 w 2048870"/>
                <a:gd name="connsiteY695" fmla="*/ 164211 h 1413227"/>
                <a:gd name="connsiteX696" fmla="*/ 1230724 w 2048870"/>
                <a:gd name="connsiteY696" fmla="*/ 160754 h 1413227"/>
                <a:gd name="connsiteX697" fmla="*/ 1215167 w 2048870"/>
                <a:gd name="connsiteY697" fmla="*/ 146926 h 1413227"/>
                <a:gd name="connsiteX698" fmla="*/ 1213439 w 2048870"/>
                <a:gd name="connsiteY698" fmla="*/ 140012 h 1413227"/>
                <a:gd name="connsiteX699" fmla="*/ 1206524 w 2048870"/>
                <a:gd name="connsiteY699" fmla="*/ 131369 h 1413227"/>
                <a:gd name="connsiteX700" fmla="*/ 1204796 w 2048870"/>
                <a:gd name="connsiteY700" fmla="*/ 122726 h 1413227"/>
                <a:gd name="connsiteX701" fmla="*/ 1190968 w 2048870"/>
                <a:gd name="connsiteY701" fmla="*/ 117541 h 1413227"/>
                <a:gd name="connsiteX702" fmla="*/ 1201339 w 2048870"/>
                <a:gd name="connsiteY702" fmla="*/ 105441 h 1413227"/>
                <a:gd name="connsiteX703" fmla="*/ 1208253 w 2048870"/>
                <a:gd name="connsiteY703" fmla="*/ 101984 h 1413227"/>
                <a:gd name="connsiteX704" fmla="*/ 1213439 w 2048870"/>
                <a:gd name="connsiteY704" fmla="*/ 95069 h 1413227"/>
                <a:gd name="connsiteX705" fmla="*/ 1218624 w 2048870"/>
                <a:gd name="connsiteY705" fmla="*/ 89884 h 1413227"/>
                <a:gd name="connsiteX706" fmla="*/ 1216896 w 2048870"/>
                <a:gd name="connsiteY706" fmla="*/ 84698 h 1413227"/>
                <a:gd name="connsiteX707" fmla="*/ 1206524 w 2048870"/>
                <a:gd name="connsiteY707" fmla="*/ 81241 h 1413227"/>
                <a:gd name="connsiteX708" fmla="*/ 1190968 w 2048870"/>
                <a:gd name="connsiteY708" fmla="*/ 76055 h 1413227"/>
                <a:gd name="connsiteX709" fmla="*/ 1175411 w 2048870"/>
                <a:gd name="connsiteY709" fmla="*/ 60499 h 1413227"/>
                <a:gd name="connsiteX710" fmla="*/ 1168496 w 2048870"/>
                <a:gd name="connsiteY710" fmla="*/ 53584 h 1413227"/>
                <a:gd name="connsiteX711" fmla="*/ 1165039 w 2048870"/>
                <a:gd name="connsiteY711" fmla="*/ 46670 h 1413227"/>
                <a:gd name="connsiteX712" fmla="*/ 1159854 w 2048870"/>
                <a:gd name="connsiteY712" fmla="*/ 39756 h 1413227"/>
                <a:gd name="connsiteX713" fmla="*/ 1151211 w 2048870"/>
                <a:gd name="connsiteY713" fmla="*/ 27656 h 1413227"/>
                <a:gd name="connsiteX714" fmla="*/ 1146025 w 2048870"/>
                <a:gd name="connsiteY714" fmla="*/ 24199 h 1413227"/>
                <a:gd name="connsiteX715" fmla="*/ 1140840 w 2048870"/>
                <a:gd name="connsiteY715" fmla="*/ 17285 h 1413227"/>
                <a:gd name="connsiteX716" fmla="*/ 1123554 w 2048870"/>
                <a:gd name="connsiteY716" fmla="*/ 3457 h 1413227"/>
                <a:gd name="connsiteX717" fmla="*/ 1116640 w 2048870"/>
                <a:gd name="connsiteY717" fmla="*/ 0 h 1413227"/>
                <a:gd name="connsiteX718" fmla="*/ 1102812 w 2048870"/>
                <a:gd name="connsiteY718" fmla="*/ 1728 h 1413227"/>
                <a:gd name="connsiteX719" fmla="*/ 1097626 w 2048870"/>
                <a:gd name="connsiteY719" fmla="*/ 3457 h 1413227"/>
                <a:gd name="connsiteX720" fmla="*/ 1090712 w 2048870"/>
                <a:gd name="connsiteY720" fmla="*/ 5185 h 1413227"/>
                <a:gd name="connsiteX721" fmla="*/ 1071698 w 2048870"/>
                <a:gd name="connsiteY721" fmla="*/ 17285 h 1413227"/>
                <a:gd name="connsiteX722" fmla="*/ 1056141 w 2048870"/>
                <a:gd name="connsiteY722" fmla="*/ 15556 h 1413227"/>
                <a:gd name="connsiteX723" fmla="*/ 1050955 w 2048870"/>
                <a:gd name="connsiteY723" fmla="*/ 19014 h 1413227"/>
                <a:gd name="connsiteX724" fmla="*/ 1042313 w 2048870"/>
                <a:gd name="connsiteY724" fmla="*/ 27656 h 1413227"/>
                <a:gd name="connsiteX725" fmla="*/ 1028484 w 2048870"/>
                <a:gd name="connsiteY725" fmla="*/ 38027 h 1413227"/>
                <a:gd name="connsiteX726" fmla="*/ 1025027 w 2048870"/>
                <a:gd name="connsiteY726" fmla="*/ 41485 h 1413227"/>
                <a:gd name="connsiteX727" fmla="*/ 1016385 w 2048870"/>
                <a:gd name="connsiteY727" fmla="*/ 46670 h 1413227"/>
                <a:gd name="connsiteX728" fmla="*/ 1012927 w 2048870"/>
                <a:gd name="connsiteY728" fmla="*/ 50127 h 1413227"/>
                <a:gd name="connsiteX729" fmla="*/ 997371 w 2048870"/>
                <a:gd name="connsiteY729" fmla="*/ 57041 h 1413227"/>
                <a:gd name="connsiteX730" fmla="*/ 973171 w 2048870"/>
                <a:gd name="connsiteY730" fmla="*/ 58770 h 1413227"/>
                <a:gd name="connsiteX731" fmla="*/ 967985 w 2048870"/>
                <a:gd name="connsiteY731" fmla="*/ 62227 h 1413227"/>
                <a:gd name="connsiteX732" fmla="*/ 966257 w 2048870"/>
                <a:gd name="connsiteY732" fmla="*/ 79513 h 1413227"/>
                <a:gd name="connsiteX733" fmla="*/ 962800 w 2048870"/>
                <a:gd name="connsiteY733" fmla="*/ 103712 h 1413227"/>
                <a:gd name="connsiteX734" fmla="*/ 961071 w 2048870"/>
                <a:gd name="connsiteY734" fmla="*/ 112355 h 1413227"/>
                <a:gd name="connsiteX735" fmla="*/ 916129 w 2048870"/>
                <a:gd name="connsiteY735" fmla="*/ 115812 h 1413227"/>
                <a:gd name="connsiteX736" fmla="*/ 910943 w 2048870"/>
                <a:gd name="connsiteY736" fmla="*/ 119269 h 1413227"/>
                <a:gd name="connsiteX737" fmla="*/ 905758 w 2048870"/>
                <a:gd name="connsiteY737" fmla="*/ 120998 h 1413227"/>
                <a:gd name="connsiteX738" fmla="*/ 893658 w 2048870"/>
                <a:gd name="connsiteY738" fmla="*/ 124455 h 1413227"/>
                <a:gd name="connsiteX739" fmla="*/ 888472 w 2048870"/>
                <a:gd name="connsiteY739" fmla="*/ 126183 h 1413227"/>
                <a:gd name="connsiteX740" fmla="*/ 895386 w 2048870"/>
                <a:gd name="connsiteY740" fmla="*/ 124455 h 1413227"/>
                <a:gd name="connsiteX741" fmla="*/ 904029 w 2048870"/>
                <a:gd name="connsiteY741" fmla="*/ 115812 h 1413227"/>
                <a:gd name="connsiteX742" fmla="*/ 966257 w 2048870"/>
                <a:gd name="connsiteY742" fmla="*/ 63956 h 1413227"/>
                <a:gd name="connsiteX0" fmla="*/ 966257 w 2048870"/>
                <a:gd name="connsiteY0" fmla="*/ 63956 h 1413227"/>
                <a:gd name="connsiteX1" fmla="*/ 962800 w 2048870"/>
                <a:gd name="connsiteY1" fmla="*/ 72598 h 1413227"/>
                <a:gd name="connsiteX2" fmla="*/ 919586 w 2048870"/>
                <a:gd name="connsiteY2" fmla="*/ 114083 h 1413227"/>
                <a:gd name="connsiteX3" fmla="*/ 902301 w 2048870"/>
                <a:gd name="connsiteY3" fmla="*/ 120998 h 1413227"/>
                <a:gd name="connsiteX4" fmla="*/ 885015 w 2048870"/>
                <a:gd name="connsiteY4" fmla="*/ 122726 h 1413227"/>
                <a:gd name="connsiteX5" fmla="*/ 878101 w 2048870"/>
                <a:gd name="connsiteY5" fmla="*/ 129640 h 1413227"/>
                <a:gd name="connsiteX6" fmla="*/ 855630 w 2048870"/>
                <a:gd name="connsiteY6" fmla="*/ 140012 h 1413227"/>
                <a:gd name="connsiteX7" fmla="*/ 850444 w 2048870"/>
                <a:gd name="connsiteY7" fmla="*/ 145197 h 1413227"/>
                <a:gd name="connsiteX8" fmla="*/ 831430 w 2048870"/>
                <a:gd name="connsiteY8" fmla="*/ 146926 h 1413227"/>
                <a:gd name="connsiteX9" fmla="*/ 808923 w 2048870"/>
                <a:gd name="connsiteY9" fmla="*/ 195183 h 1413227"/>
                <a:gd name="connsiteX10" fmla="*/ 817602 w 2048870"/>
                <a:gd name="connsiteY10" fmla="*/ 247181 h 1413227"/>
                <a:gd name="connsiteX11" fmla="*/ 821059 w 2048870"/>
                <a:gd name="connsiteY11" fmla="*/ 255824 h 1413227"/>
                <a:gd name="connsiteX12" fmla="*/ 826245 w 2048870"/>
                <a:gd name="connsiteY12" fmla="*/ 259281 h 1413227"/>
                <a:gd name="connsiteX13" fmla="*/ 833159 w 2048870"/>
                <a:gd name="connsiteY13" fmla="*/ 267924 h 1413227"/>
                <a:gd name="connsiteX14" fmla="*/ 836616 w 2048870"/>
                <a:gd name="connsiteY14" fmla="*/ 280024 h 1413227"/>
                <a:gd name="connsiteX15" fmla="*/ 834887 w 2048870"/>
                <a:gd name="connsiteY15" fmla="*/ 295581 h 1413227"/>
                <a:gd name="connsiteX16" fmla="*/ 821059 w 2048870"/>
                <a:gd name="connsiteY16" fmla="*/ 299038 h 1413227"/>
                <a:gd name="connsiteX17" fmla="*/ 800316 w 2048870"/>
                <a:gd name="connsiteY17" fmla="*/ 295581 h 1413227"/>
                <a:gd name="connsiteX18" fmla="*/ 786488 w 2048870"/>
                <a:gd name="connsiteY18" fmla="*/ 286938 h 1413227"/>
                <a:gd name="connsiteX19" fmla="*/ 781302 w 2048870"/>
                <a:gd name="connsiteY19" fmla="*/ 285209 h 1413227"/>
                <a:gd name="connsiteX20" fmla="*/ 774388 w 2048870"/>
                <a:gd name="connsiteY20" fmla="*/ 278295 h 1413227"/>
                <a:gd name="connsiteX21" fmla="*/ 767474 w 2048870"/>
                <a:gd name="connsiteY21" fmla="*/ 285209 h 1413227"/>
                <a:gd name="connsiteX22" fmla="*/ 758831 w 2048870"/>
                <a:gd name="connsiteY22" fmla="*/ 286938 h 1413227"/>
                <a:gd name="connsiteX23" fmla="*/ 751917 w 2048870"/>
                <a:gd name="connsiteY23" fmla="*/ 288666 h 1413227"/>
                <a:gd name="connsiteX24" fmla="*/ 746732 w 2048870"/>
                <a:gd name="connsiteY24" fmla="*/ 290395 h 1413227"/>
                <a:gd name="connsiteX25" fmla="*/ 722532 w 2048870"/>
                <a:gd name="connsiteY25" fmla="*/ 292124 h 1413227"/>
                <a:gd name="connsiteX26" fmla="*/ 720803 w 2048870"/>
                <a:gd name="connsiteY26" fmla="*/ 297309 h 1413227"/>
                <a:gd name="connsiteX27" fmla="*/ 701789 w 2048870"/>
                <a:gd name="connsiteY27" fmla="*/ 312866 h 1413227"/>
                <a:gd name="connsiteX28" fmla="*/ 686233 w 2048870"/>
                <a:gd name="connsiteY28" fmla="*/ 305952 h 1413227"/>
                <a:gd name="connsiteX29" fmla="*/ 684504 w 2048870"/>
                <a:gd name="connsiteY29" fmla="*/ 300766 h 1413227"/>
                <a:gd name="connsiteX30" fmla="*/ 681047 w 2048870"/>
                <a:gd name="connsiteY30" fmla="*/ 285209 h 1413227"/>
                <a:gd name="connsiteX31" fmla="*/ 649933 w 2048870"/>
                <a:gd name="connsiteY31" fmla="*/ 288666 h 1413227"/>
                <a:gd name="connsiteX32" fmla="*/ 646476 w 2048870"/>
                <a:gd name="connsiteY32" fmla="*/ 299038 h 1413227"/>
                <a:gd name="connsiteX33" fmla="*/ 639562 w 2048870"/>
                <a:gd name="connsiteY33" fmla="*/ 314595 h 1413227"/>
                <a:gd name="connsiteX34" fmla="*/ 634376 w 2048870"/>
                <a:gd name="connsiteY34" fmla="*/ 326694 h 1413227"/>
                <a:gd name="connsiteX35" fmla="*/ 629191 w 2048870"/>
                <a:gd name="connsiteY35" fmla="*/ 328423 h 1413227"/>
                <a:gd name="connsiteX36" fmla="*/ 613634 w 2048870"/>
                <a:gd name="connsiteY36" fmla="*/ 323237 h 1413227"/>
                <a:gd name="connsiteX37" fmla="*/ 601534 w 2048870"/>
                <a:gd name="connsiteY37" fmla="*/ 311138 h 1413227"/>
                <a:gd name="connsiteX38" fmla="*/ 572149 w 2048870"/>
                <a:gd name="connsiteY38" fmla="*/ 309409 h 1413227"/>
                <a:gd name="connsiteX39" fmla="*/ 566963 w 2048870"/>
                <a:gd name="connsiteY39" fmla="*/ 295581 h 1413227"/>
                <a:gd name="connsiteX40" fmla="*/ 563506 w 2048870"/>
                <a:gd name="connsiteY40" fmla="*/ 300766 h 1413227"/>
                <a:gd name="connsiteX41" fmla="*/ 558320 w 2048870"/>
                <a:gd name="connsiteY41" fmla="*/ 307680 h 1413227"/>
                <a:gd name="connsiteX42" fmla="*/ 549678 w 2048870"/>
                <a:gd name="connsiteY42" fmla="*/ 321509 h 1413227"/>
                <a:gd name="connsiteX43" fmla="*/ 509921 w 2048870"/>
                <a:gd name="connsiteY43" fmla="*/ 324966 h 1413227"/>
                <a:gd name="connsiteX44" fmla="*/ 515107 w 2048870"/>
                <a:gd name="connsiteY44" fmla="*/ 328423 h 1413227"/>
                <a:gd name="connsiteX45" fmla="*/ 525478 w 2048870"/>
                <a:gd name="connsiteY45" fmla="*/ 331880 h 1413227"/>
                <a:gd name="connsiteX46" fmla="*/ 523749 w 2048870"/>
                <a:gd name="connsiteY46" fmla="*/ 337066 h 1413227"/>
                <a:gd name="connsiteX47" fmla="*/ 516835 w 2048870"/>
                <a:gd name="connsiteY47" fmla="*/ 343980 h 1413227"/>
                <a:gd name="connsiteX48" fmla="*/ 511650 w 2048870"/>
                <a:gd name="connsiteY48" fmla="*/ 323237 h 1413227"/>
                <a:gd name="connsiteX49" fmla="*/ 483993 w 2048870"/>
                <a:gd name="connsiteY49" fmla="*/ 333609 h 1413227"/>
                <a:gd name="connsiteX50" fmla="*/ 478807 w 2048870"/>
                <a:gd name="connsiteY50" fmla="*/ 338794 h 1413227"/>
                <a:gd name="connsiteX51" fmla="*/ 466707 w 2048870"/>
                <a:gd name="connsiteY51" fmla="*/ 337066 h 1413227"/>
                <a:gd name="connsiteX52" fmla="*/ 463250 w 2048870"/>
                <a:gd name="connsiteY52" fmla="*/ 324966 h 1413227"/>
                <a:gd name="connsiteX53" fmla="*/ 454608 w 2048870"/>
                <a:gd name="connsiteY53" fmla="*/ 312866 h 1413227"/>
                <a:gd name="connsiteX54" fmla="*/ 449422 w 2048870"/>
                <a:gd name="connsiteY54" fmla="*/ 311138 h 1413227"/>
                <a:gd name="connsiteX55" fmla="*/ 425222 w 2048870"/>
                <a:gd name="connsiteY55" fmla="*/ 314595 h 1413227"/>
                <a:gd name="connsiteX56" fmla="*/ 273110 w 2048870"/>
                <a:gd name="connsiteY56" fmla="*/ 316323 h 1413227"/>
                <a:gd name="connsiteX57" fmla="*/ 262739 w 2048870"/>
                <a:gd name="connsiteY57" fmla="*/ 323237 h 1413227"/>
                <a:gd name="connsiteX58" fmla="*/ 255825 w 2048870"/>
                <a:gd name="connsiteY58" fmla="*/ 324966 h 1413227"/>
                <a:gd name="connsiteX59" fmla="*/ 250639 w 2048870"/>
                <a:gd name="connsiteY59" fmla="*/ 326694 h 1413227"/>
                <a:gd name="connsiteX60" fmla="*/ 238540 w 2048870"/>
                <a:gd name="connsiteY60" fmla="*/ 330152 h 1413227"/>
                <a:gd name="connsiteX61" fmla="*/ 200512 w 2048870"/>
                <a:gd name="connsiteY61" fmla="*/ 333609 h 1413227"/>
                <a:gd name="connsiteX62" fmla="*/ 188412 w 2048870"/>
                <a:gd name="connsiteY62" fmla="*/ 338794 h 1413227"/>
                <a:gd name="connsiteX63" fmla="*/ 176312 w 2048870"/>
                <a:gd name="connsiteY63" fmla="*/ 342251 h 1413227"/>
                <a:gd name="connsiteX64" fmla="*/ 146927 w 2048870"/>
                <a:gd name="connsiteY64" fmla="*/ 356080 h 1413227"/>
                <a:gd name="connsiteX65" fmla="*/ 138284 w 2048870"/>
                <a:gd name="connsiteY65" fmla="*/ 357808 h 1413227"/>
                <a:gd name="connsiteX66" fmla="*/ 136555 w 2048870"/>
                <a:gd name="connsiteY66" fmla="*/ 364722 h 1413227"/>
                <a:gd name="connsiteX67" fmla="*/ 134827 w 2048870"/>
                <a:gd name="connsiteY67" fmla="*/ 380279 h 1413227"/>
                <a:gd name="connsiteX68" fmla="*/ 127913 w 2048870"/>
                <a:gd name="connsiteY68" fmla="*/ 387193 h 1413227"/>
                <a:gd name="connsiteX69" fmla="*/ 126184 w 2048870"/>
                <a:gd name="connsiteY69" fmla="*/ 394108 h 1413227"/>
                <a:gd name="connsiteX70" fmla="*/ 124456 w 2048870"/>
                <a:gd name="connsiteY70" fmla="*/ 402750 h 1413227"/>
                <a:gd name="connsiteX71" fmla="*/ 117541 w 2048870"/>
                <a:gd name="connsiteY71" fmla="*/ 407936 h 1413227"/>
                <a:gd name="connsiteX72" fmla="*/ 105442 w 2048870"/>
                <a:gd name="connsiteY72" fmla="*/ 411393 h 1413227"/>
                <a:gd name="connsiteX73" fmla="*/ 100256 w 2048870"/>
                <a:gd name="connsiteY73" fmla="*/ 413122 h 1413227"/>
                <a:gd name="connsiteX74" fmla="*/ 70871 w 2048870"/>
                <a:gd name="connsiteY74" fmla="*/ 421764 h 1413227"/>
                <a:gd name="connsiteX75" fmla="*/ 67414 w 2048870"/>
                <a:gd name="connsiteY75" fmla="*/ 428679 h 1413227"/>
                <a:gd name="connsiteX76" fmla="*/ 69142 w 2048870"/>
                <a:gd name="connsiteY76" fmla="*/ 440778 h 1413227"/>
                <a:gd name="connsiteX77" fmla="*/ 65685 w 2048870"/>
                <a:gd name="connsiteY77" fmla="*/ 445964 h 1413227"/>
                <a:gd name="connsiteX78" fmla="*/ 63957 w 2048870"/>
                <a:gd name="connsiteY78" fmla="*/ 452878 h 1413227"/>
                <a:gd name="connsiteX79" fmla="*/ 69142 w 2048870"/>
                <a:gd name="connsiteY79" fmla="*/ 456335 h 1413227"/>
                <a:gd name="connsiteX80" fmla="*/ 74328 w 2048870"/>
                <a:gd name="connsiteY80" fmla="*/ 458064 h 1413227"/>
                <a:gd name="connsiteX81" fmla="*/ 84699 w 2048870"/>
                <a:gd name="connsiteY81" fmla="*/ 466707 h 1413227"/>
                <a:gd name="connsiteX82" fmla="*/ 81242 w 2048870"/>
                <a:gd name="connsiteY82" fmla="*/ 473621 h 1413227"/>
                <a:gd name="connsiteX83" fmla="*/ 77785 w 2048870"/>
                <a:gd name="connsiteY83" fmla="*/ 478806 h 1413227"/>
                <a:gd name="connsiteX84" fmla="*/ 79513 w 2048870"/>
                <a:gd name="connsiteY84" fmla="*/ 485721 h 1413227"/>
                <a:gd name="connsiteX85" fmla="*/ 72599 w 2048870"/>
                <a:gd name="connsiteY85" fmla="*/ 489178 h 1413227"/>
                <a:gd name="connsiteX86" fmla="*/ 63957 w 2048870"/>
                <a:gd name="connsiteY86" fmla="*/ 487449 h 1413227"/>
                <a:gd name="connsiteX87" fmla="*/ 76056 w 2048870"/>
                <a:gd name="connsiteY87" fmla="*/ 485721 h 1413227"/>
                <a:gd name="connsiteX88" fmla="*/ 86428 w 2048870"/>
                <a:gd name="connsiteY88" fmla="*/ 483992 h 1413227"/>
                <a:gd name="connsiteX89" fmla="*/ 84699 w 2048870"/>
                <a:gd name="connsiteY89" fmla="*/ 494363 h 1413227"/>
                <a:gd name="connsiteX90" fmla="*/ 86428 w 2048870"/>
                <a:gd name="connsiteY90" fmla="*/ 501277 h 1413227"/>
                <a:gd name="connsiteX91" fmla="*/ 96799 w 2048870"/>
                <a:gd name="connsiteY91" fmla="*/ 515106 h 1413227"/>
                <a:gd name="connsiteX92" fmla="*/ 101985 w 2048870"/>
                <a:gd name="connsiteY92" fmla="*/ 516834 h 1413227"/>
                <a:gd name="connsiteX93" fmla="*/ 114084 w 2048870"/>
                <a:gd name="connsiteY93" fmla="*/ 520291 h 1413227"/>
                <a:gd name="connsiteX94" fmla="*/ 119270 w 2048870"/>
                <a:gd name="connsiteY94" fmla="*/ 525477 h 1413227"/>
                <a:gd name="connsiteX95" fmla="*/ 106904 w 2048870"/>
                <a:gd name="connsiteY95" fmla="*/ 535847 h 1413227"/>
                <a:gd name="connsiteX96" fmla="*/ 124649 w 2048870"/>
                <a:gd name="connsiteY96" fmla="*/ 554668 h 1413227"/>
                <a:gd name="connsiteX97" fmla="*/ 134827 w 2048870"/>
                <a:gd name="connsiteY97" fmla="*/ 572148 h 1413227"/>
                <a:gd name="connsiteX98" fmla="*/ 140012 w 2048870"/>
                <a:gd name="connsiteY98" fmla="*/ 573876 h 1413227"/>
                <a:gd name="connsiteX99" fmla="*/ 143470 w 2048870"/>
                <a:gd name="connsiteY99" fmla="*/ 577333 h 1413227"/>
                <a:gd name="connsiteX100" fmla="*/ 146927 w 2048870"/>
                <a:gd name="connsiteY100" fmla="*/ 589433 h 1413227"/>
                <a:gd name="connsiteX101" fmla="*/ 150384 w 2048870"/>
                <a:gd name="connsiteY101" fmla="*/ 598076 h 1413227"/>
                <a:gd name="connsiteX102" fmla="*/ 148655 w 2048870"/>
                <a:gd name="connsiteY102" fmla="*/ 617090 h 1413227"/>
                <a:gd name="connsiteX103" fmla="*/ 146927 w 2048870"/>
                <a:gd name="connsiteY103" fmla="*/ 622276 h 1413227"/>
                <a:gd name="connsiteX104" fmla="*/ 141741 w 2048870"/>
                <a:gd name="connsiteY104" fmla="*/ 627461 h 1413227"/>
                <a:gd name="connsiteX105" fmla="*/ 136555 w 2048870"/>
                <a:gd name="connsiteY105" fmla="*/ 634375 h 1413227"/>
                <a:gd name="connsiteX106" fmla="*/ 120999 w 2048870"/>
                <a:gd name="connsiteY106" fmla="*/ 639561 h 1413227"/>
                <a:gd name="connsiteX107" fmla="*/ 95070 w 2048870"/>
                <a:gd name="connsiteY107" fmla="*/ 665489 h 1413227"/>
                <a:gd name="connsiteX108" fmla="*/ 89885 w 2048870"/>
                <a:gd name="connsiteY108" fmla="*/ 670675 h 1413227"/>
                <a:gd name="connsiteX109" fmla="*/ 86428 w 2048870"/>
                <a:gd name="connsiteY109" fmla="*/ 675860 h 1413227"/>
                <a:gd name="connsiteX110" fmla="*/ 81242 w 2048870"/>
                <a:gd name="connsiteY110" fmla="*/ 677589 h 1413227"/>
                <a:gd name="connsiteX111" fmla="*/ 77785 w 2048870"/>
                <a:gd name="connsiteY111" fmla="*/ 682775 h 1413227"/>
                <a:gd name="connsiteX112" fmla="*/ 63957 w 2048870"/>
                <a:gd name="connsiteY112" fmla="*/ 689689 h 1413227"/>
                <a:gd name="connsiteX113" fmla="*/ 60499 w 2048870"/>
                <a:gd name="connsiteY113" fmla="*/ 706974 h 1413227"/>
                <a:gd name="connsiteX114" fmla="*/ 50128 w 2048870"/>
                <a:gd name="connsiteY114" fmla="*/ 720803 h 1413227"/>
                <a:gd name="connsiteX115" fmla="*/ 48400 w 2048870"/>
                <a:gd name="connsiteY115" fmla="*/ 725988 h 1413227"/>
                <a:gd name="connsiteX116" fmla="*/ 46671 w 2048870"/>
                <a:gd name="connsiteY116" fmla="*/ 732902 h 1413227"/>
                <a:gd name="connsiteX117" fmla="*/ 25929 w 2048870"/>
                <a:gd name="connsiteY117" fmla="*/ 751916 h 1413227"/>
                <a:gd name="connsiteX118" fmla="*/ 19014 w 2048870"/>
                <a:gd name="connsiteY118" fmla="*/ 776116 h 1413227"/>
                <a:gd name="connsiteX119" fmla="*/ 12100 w 2048870"/>
                <a:gd name="connsiteY119" fmla="*/ 789944 h 1413227"/>
                <a:gd name="connsiteX120" fmla="*/ 17286 w 2048870"/>
                <a:gd name="connsiteY120" fmla="*/ 822787 h 1413227"/>
                <a:gd name="connsiteX121" fmla="*/ 25929 w 2048870"/>
                <a:gd name="connsiteY121" fmla="*/ 829701 h 1413227"/>
                <a:gd name="connsiteX122" fmla="*/ 29386 w 2048870"/>
                <a:gd name="connsiteY122" fmla="*/ 838344 h 1413227"/>
                <a:gd name="connsiteX123" fmla="*/ 36300 w 2048870"/>
                <a:gd name="connsiteY123" fmla="*/ 843529 h 1413227"/>
                <a:gd name="connsiteX124" fmla="*/ 38028 w 2048870"/>
                <a:gd name="connsiteY124" fmla="*/ 852172 h 1413227"/>
                <a:gd name="connsiteX125" fmla="*/ 43214 w 2048870"/>
                <a:gd name="connsiteY125" fmla="*/ 864272 h 1413227"/>
                <a:gd name="connsiteX126" fmla="*/ 44943 w 2048870"/>
                <a:gd name="connsiteY126" fmla="*/ 874643 h 1413227"/>
                <a:gd name="connsiteX127" fmla="*/ 51857 w 2048870"/>
                <a:gd name="connsiteY127" fmla="*/ 876372 h 1413227"/>
                <a:gd name="connsiteX128" fmla="*/ 53585 w 2048870"/>
                <a:gd name="connsiteY128" fmla="*/ 883286 h 1413227"/>
                <a:gd name="connsiteX129" fmla="*/ 58771 w 2048870"/>
                <a:gd name="connsiteY129" fmla="*/ 886743 h 1413227"/>
                <a:gd name="connsiteX130" fmla="*/ 51857 w 2048870"/>
                <a:gd name="connsiteY130" fmla="*/ 898843 h 1413227"/>
                <a:gd name="connsiteX131" fmla="*/ 43214 w 2048870"/>
                <a:gd name="connsiteY131" fmla="*/ 904028 h 1413227"/>
                <a:gd name="connsiteX132" fmla="*/ 29386 w 2048870"/>
                <a:gd name="connsiteY132" fmla="*/ 909214 h 1413227"/>
                <a:gd name="connsiteX133" fmla="*/ 27657 w 2048870"/>
                <a:gd name="connsiteY133" fmla="*/ 919585 h 1413227"/>
                <a:gd name="connsiteX134" fmla="*/ 25929 w 2048870"/>
                <a:gd name="connsiteY134" fmla="*/ 926499 h 1413227"/>
                <a:gd name="connsiteX135" fmla="*/ 19014 w 2048870"/>
                <a:gd name="connsiteY135" fmla="*/ 955885 h 1413227"/>
                <a:gd name="connsiteX136" fmla="*/ 10372 w 2048870"/>
                <a:gd name="connsiteY136" fmla="*/ 969713 h 1413227"/>
                <a:gd name="connsiteX137" fmla="*/ 8643 w 2048870"/>
                <a:gd name="connsiteY137" fmla="*/ 990455 h 1413227"/>
                <a:gd name="connsiteX138" fmla="*/ 0 w 2048870"/>
                <a:gd name="connsiteY138" fmla="*/ 999098 h 1413227"/>
                <a:gd name="connsiteX139" fmla="*/ 6915 w 2048870"/>
                <a:gd name="connsiteY139" fmla="*/ 1023298 h 1413227"/>
                <a:gd name="connsiteX140" fmla="*/ 15557 w 2048870"/>
                <a:gd name="connsiteY140" fmla="*/ 1025026 h 1413227"/>
                <a:gd name="connsiteX141" fmla="*/ 22471 w 2048870"/>
                <a:gd name="connsiteY141" fmla="*/ 1030212 h 1413227"/>
                <a:gd name="connsiteX142" fmla="*/ 27657 w 2048870"/>
                <a:gd name="connsiteY142" fmla="*/ 1031941 h 1413227"/>
                <a:gd name="connsiteX143" fmla="*/ 34571 w 2048870"/>
                <a:gd name="connsiteY143" fmla="*/ 1035398 h 1413227"/>
                <a:gd name="connsiteX144" fmla="*/ 39757 w 2048870"/>
                <a:gd name="connsiteY144" fmla="*/ 1042312 h 1413227"/>
                <a:gd name="connsiteX145" fmla="*/ 43214 w 2048870"/>
                <a:gd name="connsiteY145" fmla="*/ 1047497 h 1413227"/>
                <a:gd name="connsiteX146" fmla="*/ 53585 w 2048870"/>
                <a:gd name="connsiteY146" fmla="*/ 1052683 h 1413227"/>
                <a:gd name="connsiteX147" fmla="*/ 95070 w 2048870"/>
                <a:gd name="connsiteY147" fmla="*/ 1061326 h 1413227"/>
                <a:gd name="connsiteX148" fmla="*/ 96799 w 2048870"/>
                <a:gd name="connsiteY148" fmla="*/ 1073426 h 1413227"/>
                <a:gd name="connsiteX149" fmla="*/ 101985 w 2048870"/>
                <a:gd name="connsiteY149" fmla="*/ 1075154 h 1413227"/>
                <a:gd name="connsiteX150" fmla="*/ 112356 w 2048870"/>
                <a:gd name="connsiteY150" fmla="*/ 1066511 h 1413227"/>
                <a:gd name="connsiteX151" fmla="*/ 119270 w 2048870"/>
                <a:gd name="connsiteY151" fmla="*/ 1059597 h 1413227"/>
                <a:gd name="connsiteX152" fmla="*/ 120999 w 2048870"/>
                <a:gd name="connsiteY152" fmla="*/ 1054412 h 1413227"/>
                <a:gd name="connsiteX153" fmla="*/ 134827 w 2048870"/>
                <a:gd name="connsiteY153" fmla="*/ 1061326 h 1413227"/>
                <a:gd name="connsiteX154" fmla="*/ 141741 w 2048870"/>
                <a:gd name="connsiteY154" fmla="*/ 1063054 h 1413227"/>
                <a:gd name="connsiteX155" fmla="*/ 146927 w 2048870"/>
                <a:gd name="connsiteY155" fmla="*/ 1064783 h 1413227"/>
                <a:gd name="connsiteX156" fmla="*/ 247182 w 2048870"/>
                <a:gd name="connsiteY156" fmla="*/ 1068240 h 1413227"/>
                <a:gd name="connsiteX157" fmla="*/ 266196 w 2048870"/>
                <a:gd name="connsiteY157" fmla="*/ 1064783 h 1413227"/>
                <a:gd name="connsiteX158" fmla="*/ 276568 w 2048870"/>
                <a:gd name="connsiteY158" fmla="*/ 1059597 h 1413227"/>
                <a:gd name="connsiteX159" fmla="*/ 285210 w 2048870"/>
                <a:gd name="connsiteY159" fmla="*/ 1049226 h 1413227"/>
                <a:gd name="connsiteX160" fmla="*/ 295581 w 2048870"/>
                <a:gd name="connsiteY160" fmla="*/ 1052683 h 1413227"/>
                <a:gd name="connsiteX161" fmla="*/ 299039 w 2048870"/>
                <a:gd name="connsiteY161" fmla="*/ 1059597 h 1413227"/>
                <a:gd name="connsiteX162" fmla="*/ 312867 w 2048870"/>
                <a:gd name="connsiteY162" fmla="*/ 1071697 h 1413227"/>
                <a:gd name="connsiteX163" fmla="*/ 338795 w 2048870"/>
                <a:gd name="connsiteY163" fmla="*/ 1078611 h 1413227"/>
                <a:gd name="connsiteX164" fmla="*/ 361266 w 2048870"/>
                <a:gd name="connsiteY164" fmla="*/ 1075154 h 1413227"/>
                <a:gd name="connsiteX165" fmla="*/ 362995 w 2048870"/>
                <a:gd name="connsiteY165" fmla="*/ 1068240 h 1413227"/>
                <a:gd name="connsiteX166" fmla="*/ 373366 w 2048870"/>
                <a:gd name="connsiteY166" fmla="*/ 1050955 h 1413227"/>
                <a:gd name="connsiteX167" fmla="*/ 378552 w 2048870"/>
                <a:gd name="connsiteY167" fmla="*/ 1045769 h 1413227"/>
                <a:gd name="connsiteX168" fmla="*/ 397566 w 2048870"/>
                <a:gd name="connsiteY168" fmla="*/ 1038855 h 1413227"/>
                <a:gd name="connsiteX169" fmla="*/ 432137 w 2048870"/>
                <a:gd name="connsiteY169" fmla="*/ 1035398 h 1413227"/>
                <a:gd name="connsiteX170" fmla="*/ 444236 w 2048870"/>
                <a:gd name="connsiteY170" fmla="*/ 1031941 h 1413227"/>
                <a:gd name="connsiteX171" fmla="*/ 447693 w 2048870"/>
                <a:gd name="connsiteY171" fmla="*/ 1025026 h 1413227"/>
                <a:gd name="connsiteX172" fmla="*/ 452879 w 2048870"/>
                <a:gd name="connsiteY172" fmla="*/ 1021569 h 1413227"/>
                <a:gd name="connsiteX173" fmla="*/ 468436 w 2048870"/>
                <a:gd name="connsiteY173" fmla="*/ 1011198 h 1413227"/>
                <a:gd name="connsiteX174" fmla="*/ 473622 w 2048870"/>
                <a:gd name="connsiteY174" fmla="*/ 999098 h 1413227"/>
                <a:gd name="connsiteX175" fmla="*/ 478807 w 2048870"/>
                <a:gd name="connsiteY175" fmla="*/ 986998 h 1413227"/>
                <a:gd name="connsiteX176" fmla="*/ 485721 w 2048870"/>
                <a:gd name="connsiteY176" fmla="*/ 980084 h 1413227"/>
                <a:gd name="connsiteX177" fmla="*/ 489178 w 2048870"/>
                <a:gd name="connsiteY177" fmla="*/ 974899 h 1413227"/>
                <a:gd name="connsiteX178" fmla="*/ 511650 w 2048870"/>
                <a:gd name="connsiteY178" fmla="*/ 955885 h 1413227"/>
                <a:gd name="connsiteX179" fmla="*/ 530664 w 2048870"/>
                <a:gd name="connsiteY179" fmla="*/ 947242 h 1413227"/>
                <a:gd name="connsiteX180" fmla="*/ 537578 w 2048870"/>
                <a:gd name="connsiteY180" fmla="*/ 933414 h 1413227"/>
                <a:gd name="connsiteX181" fmla="*/ 539306 w 2048870"/>
                <a:gd name="connsiteY181" fmla="*/ 928228 h 1413227"/>
                <a:gd name="connsiteX182" fmla="*/ 541035 w 2048870"/>
                <a:gd name="connsiteY182" fmla="*/ 921314 h 1413227"/>
                <a:gd name="connsiteX183" fmla="*/ 563506 w 2048870"/>
                <a:gd name="connsiteY183" fmla="*/ 917857 h 1413227"/>
                <a:gd name="connsiteX184" fmla="*/ 568692 w 2048870"/>
                <a:gd name="connsiteY184" fmla="*/ 916128 h 1413227"/>
                <a:gd name="connsiteX185" fmla="*/ 584248 w 2048870"/>
                <a:gd name="connsiteY185" fmla="*/ 914400 h 1413227"/>
                <a:gd name="connsiteX186" fmla="*/ 589434 w 2048870"/>
                <a:gd name="connsiteY186" fmla="*/ 910942 h 1413227"/>
                <a:gd name="connsiteX187" fmla="*/ 599805 w 2048870"/>
                <a:gd name="connsiteY187" fmla="*/ 905757 h 1413227"/>
                <a:gd name="connsiteX188" fmla="*/ 604991 w 2048870"/>
                <a:gd name="connsiteY188" fmla="*/ 900571 h 1413227"/>
                <a:gd name="connsiteX189" fmla="*/ 606719 w 2048870"/>
                <a:gd name="connsiteY189" fmla="*/ 895386 h 1413227"/>
                <a:gd name="connsiteX190" fmla="*/ 615362 w 2048870"/>
                <a:gd name="connsiteY190" fmla="*/ 891928 h 1413227"/>
                <a:gd name="connsiteX191" fmla="*/ 620548 w 2048870"/>
                <a:gd name="connsiteY191" fmla="*/ 886743 h 1413227"/>
                <a:gd name="connsiteX192" fmla="*/ 639562 w 2048870"/>
                <a:gd name="connsiteY192" fmla="*/ 879829 h 1413227"/>
                <a:gd name="connsiteX193" fmla="*/ 653390 w 2048870"/>
                <a:gd name="connsiteY193" fmla="*/ 883286 h 1413227"/>
                <a:gd name="connsiteX194" fmla="*/ 660304 w 2048870"/>
                <a:gd name="connsiteY194" fmla="*/ 885014 h 1413227"/>
                <a:gd name="connsiteX195" fmla="*/ 668947 w 2048870"/>
                <a:gd name="connsiteY195" fmla="*/ 886743 h 1413227"/>
                <a:gd name="connsiteX196" fmla="*/ 675861 w 2048870"/>
                <a:gd name="connsiteY196" fmla="*/ 890200 h 1413227"/>
                <a:gd name="connsiteX197" fmla="*/ 682775 w 2048870"/>
                <a:gd name="connsiteY197" fmla="*/ 891928 h 1413227"/>
                <a:gd name="connsiteX198" fmla="*/ 687961 w 2048870"/>
                <a:gd name="connsiteY198" fmla="*/ 895386 h 1413227"/>
                <a:gd name="connsiteX199" fmla="*/ 700061 w 2048870"/>
                <a:gd name="connsiteY199" fmla="*/ 898843 h 1413227"/>
                <a:gd name="connsiteX200" fmla="*/ 706975 w 2048870"/>
                <a:gd name="connsiteY200" fmla="*/ 904028 h 1413227"/>
                <a:gd name="connsiteX201" fmla="*/ 720803 w 2048870"/>
                <a:gd name="connsiteY201" fmla="*/ 907485 h 1413227"/>
                <a:gd name="connsiteX202" fmla="*/ 727718 w 2048870"/>
                <a:gd name="connsiteY202" fmla="*/ 905757 h 1413227"/>
                <a:gd name="connsiteX203" fmla="*/ 736360 w 2048870"/>
                <a:gd name="connsiteY203" fmla="*/ 904028 h 1413227"/>
                <a:gd name="connsiteX204" fmla="*/ 738089 w 2048870"/>
                <a:gd name="connsiteY204" fmla="*/ 910942 h 1413227"/>
                <a:gd name="connsiteX205" fmla="*/ 760560 w 2048870"/>
                <a:gd name="connsiteY205" fmla="*/ 904028 h 1413227"/>
                <a:gd name="connsiteX206" fmla="*/ 770931 w 2048870"/>
                <a:gd name="connsiteY206" fmla="*/ 895386 h 1413227"/>
                <a:gd name="connsiteX207" fmla="*/ 776117 w 2048870"/>
                <a:gd name="connsiteY207" fmla="*/ 909214 h 1413227"/>
                <a:gd name="connsiteX208" fmla="*/ 783031 w 2048870"/>
                <a:gd name="connsiteY208" fmla="*/ 914400 h 1413227"/>
                <a:gd name="connsiteX209" fmla="*/ 788217 w 2048870"/>
                <a:gd name="connsiteY209" fmla="*/ 919585 h 1413227"/>
                <a:gd name="connsiteX210" fmla="*/ 793402 w 2048870"/>
                <a:gd name="connsiteY210" fmla="*/ 923042 h 1413227"/>
                <a:gd name="connsiteX211" fmla="*/ 798588 w 2048870"/>
                <a:gd name="connsiteY211" fmla="*/ 928228 h 1413227"/>
                <a:gd name="connsiteX212" fmla="*/ 815873 w 2048870"/>
                <a:gd name="connsiteY212" fmla="*/ 935142 h 1413227"/>
                <a:gd name="connsiteX213" fmla="*/ 821059 w 2048870"/>
                <a:gd name="connsiteY213" fmla="*/ 926499 h 1413227"/>
                <a:gd name="connsiteX214" fmla="*/ 824516 w 2048870"/>
                <a:gd name="connsiteY214" fmla="*/ 910942 h 1413227"/>
                <a:gd name="connsiteX215" fmla="*/ 833159 w 2048870"/>
                <a:gd name="connsiteY215" fmla="*/ 912671 h 1413227"/>
                <a:gd name="connsiteX216" fmla="*/ 838344 w 2048870"/>
                <a:gd name="connsiteY216" fmla="*/ 926499 h 1413227"/>
                <a:gd name="connsiteX217" fmla="*/ 841802 w 2048870"/>
                <a:gd name="connsiteY217" fmla="*/ 929956 h 1413227"/>
                <a:gd name="connsiteX218" fmla="*/ 850444 w 2048870"/>
                <a:gd name="connsiteY218" fmla="*/ 948970 h 1413227"/>
                <a:gd name="connsiteX219" fmla="*/ 853901 w 2048870"/>
                <a:gd name="connsiteY219" fmla="*/ 954156 h 1413227"/>
                <a:gd name="connsiteX220" fmla="*/ 859087 w 2048870"/>
                <a:gd name="connsiteY220" fmla="*/ 988727 h 1413227"/>
                <a:gd name="connsiteX221" fmla="*/ 864273 w 2048870"/>
                <a:gd name="connsiteY221" fmla="*/ 1009469 h 1413227"/>
                <a:gd name="connsiteX222" fmla="*/ 878101 w 2048870"/>
                <a:gd name="connsiteY222" fmla="*/ 1012927 h 1413227"/>
                <a:gd name="connsiteX223" fmla="*/ 885015 w 2048870"/>
                <a:gd name="connsiteY223" fmla="*/ 1016384 h 1413227"/>
                <a:gd name="connsiteX224" fmla="*/ 888472 w 2048870"/>
                <a:gd name="connsiteY224" fmla="*/ 1021569 h 1413227"/>
                <a:gd name="connsiteX225" fmla="*/ 900572 w 2048870"/>
                <a:gd name="connsiteY225" fmla="*/ 1026755 h 1413227"/>
                <a:gd name="connsiteX226" fmla="*/ 905758 w 2048870"/>
                <a:gd name="connsiteY226" fmla="*/ 1033669 h 1413227"/>
                <a:gd name="connsiteX227" fmla="*/ 909215 w 2048870"/>
                <a:gd name="connsiteY227" fmla="*/ 1040583 h 1413227"/>
                <a:gd name="connsiteX228" fmla="*/ 912672 w 2048870"/>
                <a:gd name="connsiteY228" fmla="*/ 1045769 h 1413227"/>
                <a:gd name="connsiteX229" fmla="*/ 921315 w 2048870"/>
                <a:gd name="connsiteY229" fmla="*/ 1061326 h 1413227"/>
                <a:gd name="connsiteX230" fmla="*/ 928229 w 2048870"/>
                <a:gd name="connsiteY230" fmla="*/ 1082068 h 1413227"/>
                <a:gd name="connsiteX231" fmla="*/ 929957 w 2048870"/>
                <a:gd name="connsiteY231" fmla="*/ 1088983 h 1413227"/>
                <a:gd name="connsiteX232" fmla="*/ 940329 w 2048870"/>
                <a:gd name="connsiteY232" fmla="*/ 1095897 h 1413227"/>
                <a:gd name="connsiteX233" fmla="*/ 959343 w 2048870"/>
                <a:gd name="connsiteY233" fmla="*/ 1097625 h 1413227"/>
                <a:gd name="connsiteX234" fmla="*/ 967985 w 2048870"/>
                <a:gd name="connsiteY234" fmla="*/ 1101082 h 1413227"/>
                <a:gd name="connsiteX235" fmla="*/ 973171 w 2048870"/>
                <a:gd name="connsiteY235" fmla="*/ 1106268 h 1413227"/>
                <a:gd name="connsiteX236" fmla="*/ 978357 w 2048870"/>
                <a:gd name="connsiteY236" fmla="*/ 1109725 h 1413227"/>
                <a:gd name="connsiteX237" fmla="*/ 983542 w 2048870"/>
                <a:gd name="connsiteY237" fmla="*/ 1118368 h 1413227"/>
                <a:gd name="connsiteX238" fmla="*/ 985271 w 2048870"/>
                <a:gd name="connsiteY238" fmla="*/ 1132196 h 1413227"/>
                <a:gd name="connsiteX239" fmla="*/ 992185 w 2048870"/>
                <a:gd name="connsiteY239" fmla="*/ 1139110 h 1413227"/>
                <a:gd name="connsiteX240" fmla="*/ 1006013 w 2048870"/>
                <a:gd name="connsiteY240" fmla="*/ 1147753 h 1413227"/>
                <a:gd name="connsiteX241" fmla="*/ 1019842 w 2048870"/>
                <a:gd name="connsiteY241" fmla="*/ 1165038 h 1413227"/>
                <a:gd name="connsiteX242" fmla="*/ 1012927 w 2048870"/>
                <a:gd name="connsiteY242" fmla="*/ 1168496 h 1413227"/>
                <a:gd name="connsiteX243" fmla="*/ 1009470 w 2048870"/>
                <a:gd name="connsiteY243" fmla="*/ 1173681 h 1413227"/>
                <a:gd name="connsiteX244" fmla="*/ 997371 w 2048870"/>
                <a:gd name="connsiteY244" fmla="*/ 1177138 h 1413227"/>
                <a:gd name="connsiteX245" fmla="*/ 990456 w 2048870"/>
                <a:gd name="connsiteY245" fmla="*/ 1182324 h 1413227"/>
                <a:gd name="connsiteX246" fmla="*/ 973171 w 2048870"/>
                <a:gd name="connsiteY246" fmla="*/ 1182324 h 1413227"/>
                <a:gd name="connsiteX247" fmla="*/ 971442 w 2048870"/>
                <a:gd name="connsiteY247" fmla="*/ 1161581 h 1413227"/>
                <a:gd name="connsiteX248" fmla="*/ 962800 w 2048870"/>
                <a:gd name="connsiteY248" fmla="*/ 1171953 h 1413227"/>
                <a:gd name="connsiteX249" fmla="*/ 959343 w 2048870"/>
                <a:gd name="connsiteY249" fmla="*/ 1178867 h 1413227"/>
                <a:gd name="connsiteX250" fmla="*/ 955885 w 2048870"/>
                <a:gd name="connsiteY250" fmla="*/ 1184052 h 1413227"/>
                <a:gd name="connsiteX251" fmla="*/ 947243 w 2048870"/>
                <a:gd name="connsiteY251" fmla="*/ 1187510 h 1413227"/>
                <a:gd name="connsiteX252" fmla="*/ 940329 w 2048870"/>
                <a:gd name="connsiteY252" fmla="*/ 1190967 h 1413227"/>
                <a:gd name="connsiteX253" fmla="*/ 935143 w 2048870"/>
                <a:gd name="connsiteY253" fmla="*/ 1189238 h 1413227"/>
                <a:gd name="connsiteX254" fmla="*/ 929957 w 2048870"/>
                <a:gd name="connsiteY254" fmla="*/ 1171953 h 1413227"/>
                <a:gd name="connsiteX255" fmla="*/ 926500 w 2048870"/>
                <a:gd name="connsiteY255" fmla="*/ 1165038 h 1413227"/>
                <a:gd name="connsiteX256" fmla="*/ 921315 w 2048870"/>
                <a:gd name="connsiteY256" fmla="*/ 1178867 h 1413227"/>
                <a:gd name="connsiteX257" fmla="*/ 917857 w 2048870"/>
                <a:gd name="connsiteY257" fmla="*/ 1182324 h 1413227"/>
                <a:gd name="connsiteX258" fmla="*/ 914400 w 2048870"/>
                <a:gd name="connsiteY258" fmla="*/ 1194424 h 1413227"/>
                <a:gd name="connsiteX259" fmla="*/ 909215 w 2048870"/>
                <a:gd name="connsiteY259" fmla="*/ 1199609 h 1413227"/>
                <a:gd name="connsiteX260" fmla="*/ 886744 w 2048870"/>
                <a:gd name="connsiteY260" fmla="*/ 1180595 h 1413227"/>
                <a:gd name="connsiteX261" fmla="*/ 883287 w 2048870"/>
                <a:gd name="connsiteY261" fmla="*/ 1189238 h 1413227"/>
                <a:gd name="connsiteX262" fmla="*/ 879830 w 2048870"/>
                <a:gd name="connsiteY262" fmla="*/ 1194424 h 1413227"/>
                <a:gd name="connsiteX263" fmla="*/ 874644 w 2048870"/>
                <a:gd name="connsiteY263" fmla="*/ 1204795 h 1413227"/>
                <a:gd name="connsiteX264" fmla="*/ 879830 w 2048870"/>
                <a:gd name="connsiteY264" fmla="*/ 1211709 h 1413227"/>
                <a:gd name="connsiteX265" fmla="*/ 890201 w 2048870"/>
                <a:gd name="connsiteY265" fmla="*/ 1215166 h 1413227"/>
                <a:gd name="connsiteX266" fmla="*/ 893658 w 2048870"/>
                <a:gd name="connsiteY266" fmla="*/ 1235909 h 1413227"/>
                <a:gd name="connsiteX267" fmla="*/ 891929 w 2048870"/>
                <a:gd name="connsiteY267" fmla="*/ 1258380 h 1413227"/>
                <a:gd name="connsiteX268" fmla="*/ 890201 w 2048870"/>
                <a:gd name="connsiteY268" fmla="*/ 1263565 h 1413227"/>
                <a:gd name="connsiteX269" fmla="*/ 878101 w 2048870"/>
                <a:gd name="connsiteY269" fmla="*/ 1275665 h 1413227"/>
                <a:gd name="connsiteX270" fmla="*/ 871187 w 2048870"/>
                <a:gd name="connsiteY270" fmla="*/ 1282579 h 1413227"/>
                <a:gd name="connsiteX271" fmla="*/ 876372 w 2048870"/>
                <a:gd name="connsiteY271" fmla="*/ 1287765 h 1413227"/>
                <a:gd name="connsiteX272" fmla="*/ 874644 w 2048870"/>
                <a:gd name="connsiteY272" fmla="*/ 1306779 h 1413227"/>
                <a:gd name="connsiteX273" fmla="*/ 869458 w 2048870"/>
                <a:gd name="connsiteY273" fmla="*/ 1308508 h 1413227"/>
                <a:gd name="connsiteX274" fmla="*/ 864273 w 2048870"/>
                <a:gd name="connsiteY274" fmla="*/ 1320607 h 1413227"/>
                <a:gd name="connsiteX275" fmla="*/ 858371 w 2048870"/>
                <a:gd name="connsiteY275" fmla="*/ 1338987 h 1413227"/>
                <a:gd name="connsiteX276" fmla="*/ 862544 w 2048870"/>
                <a:gd name="connsiteY276" fmla="*/ 1360364 h 1413227"/>
                <a:gd name="connsiteX277" fmla="*/ 857358 w 2048870"/>
                <a:gd name="connsiteY277" fmla="*/ 1363821 h 1413227"/>
                <a:gd name="connsiteX278" fmla="*/ 852173 w 2048870"/>
                <a:gd name="connsiteY278" fmla="*/ 1365550 h 1413227"/>
                <a:gd name="connsiteX279" fmla="*/ 850444 w 2048870"/>
                <a:gd name="connsiteY279" fmla="*/ 1370735 h 1413227"/>
                <a:gd name="connsiteX280" fmla="*/ 838344 w 2048870"/>
                <a:gd name="connsiteY280" fmla="*/ 1379378 h 1413227"/>
                <a:gd name="connsiteX281" fmla="*/ 841802 w 2048870"/>
                <a:gd name="connsiteY281" fmla="*/ 1389749 h 1413227"/>
                <a:gd name="connsiteX282" fmla="*/ 840497 w 2048870"/>
                <a:gd name="connsiteY282" fmla="*/ 1405535 h 1413227"/>
                <a:gd name="connsiteX283" fmla="*/ 835505 w 2048870"/>
                <a:gd name="connsiteY283" fmla="*/ 1401197 h 1413227"/>
                <a:gd name="connsiteX284" fmla="*/ 854324 w 2048870"/>
                <a:gd name="connsiteY284" fmla="*/ 1410492 h 1413227"/>
                <a:gd name="connsiteX285" fmla="*/ 885015 w 2048870"/>
                <a:gd name="connsiteY285" fmla="*/ 1408763 h 1413227"/>
                <a:gd name="connsiteX286" fmla="*/ 890201 w 2048870"/>
                <a:gd name="connsiteY286" fmla="*/ 1413103 h 1413227"/>
                <a:gd name="connsiteX287" fmla="*/ 921633 w 2048870"/>
                <a:gd name="connsiteY287" fmla="*/ 1403013 h 1413227"/>
                <a:gd name="connsiteX288" fmla="*/ 932427 w 2048870"/>
                <a:gd name="connsiteY288" fmla="*/ 1394371 h 1413227"/>
                <a:gd name="connsiteX289" fmla="*/ 933873 w 2048870"/>
                <a:gd name="connsiteY289" fmla="*/ 1386010 h 1413227"/>
                <a:gd name="connsiteX290" fmla="*/ 943362 w 2048870"/>
                <a:gd name="connsiteY290" fmla="*/ 1367278 h 1413227"/>
                <a:gd name="connsiteX291" fmla="*/ 943786 w 2048870"/>
                <a:gd name="connsiteY291" fmla="*/ 1362093 h 1413227"/>
                <a:gd name="connsiteX292" fmla="*/ 954157 w 2048870"/>
                <a:gd name="connsiteY292" fmla="*/ 1360364 h 1413227"/>
                <a:gd name="connsiteX293" fmla="*/ 993913 w 2048870"/>
                <a:gd name="connsiteY293" fmla="*/ 1356907 h 1413227"/>
                <a:gd name="connsiteX294" fmla="*/ 997371 w 2048870"/>
                <a:gd name="connsiteY294" fmla="*/ 1349993 h 1413227"/>
                <a:gd name="connsiteX295" fmla="*/ 1009470 w 2048870"/>
                <a:gd name="connsiteY295" fmla="*/ 1344807 h 1413227"/>
                <a:gd name="connsiteX296" fmla="*/ 997371 w 2048870"/>
                <a:gd name="connsiteY296" fmla="*/ 1334436 h 1413227"/>
                <a:gd name="connsiteX297" fmla="*/ 993913 w 2048870"/>
                <a:gd name="connsiteY297" fmla="*/ 1327522 h 1413227"/>
                <a:gd name="connsiteX298" fmla="*/ 988728 w 2048870"/>
                <a:gd name="connsiteY298" fmla="*/ 1322336 h 1413227"/>
                <a:gd name="connsiteX299" fmla="*/ 985271 w 2048870"/>
                <a:gd name="connsiteY299" fmla="*/ 1310236 h 1413227"/>
                <a:gd name="connsiteX300" fmla="*/ 981814 w 2048870"/>
                <a:gd name="connsiteY300" fmla="*/ 1299865 h 1413227"/>
                <a:gd name="connsiteX301" fmla="*/ 990456 w 2048870"/>
                <a:gd name="connsiteY301" fmla="*/ 1287765 h 1413227"/>
                <a:gd name="connsiteX302" fmla="*/ 992185 w 2048870"/>
                <a:gd name="connsiteY302" fmla="*/ 1292951 h 1413227"/>
                <a:gd name="connsiteX303" fmla="*/ 1014656 w 2048870"/>
                <a:gd name="connsiteY303" fmla="*/ 1299865 h 1413227"/>
                <a:gd name="connsiteX304" fmla="*/ 1016385 w 2048870"/>
                <a:gd name="connsiteY304" fmla="*/ 1294679 h 1413227"/>
                <a:gd name="connsiteX305" fmla="*/ 1018113 w 2048870"/>
                <a:gd name="connsiteY305" fmla="*/ 1284308 h 1413227"/>
                <a:gd name="connsiteX306" fmla="*/ 1031941 w 2048870"/>
                <a:gd name="connsiteY306" fmla="*/ 1270480 h 1413227"/>
                <a:gd name="connsiteX307" fmla="*/ 1037127 w 2048870"/>
                <a:gd name="connsiteY307" fmla="*/ 1265294 h 1413227"/>
                <a:gd name="connsiteX308" fmla="*/ 1038856 w 2048870"/>
                <a:gd name="connsiteY308" fmla="*/ 1260108 h 1413227"/>
                <a:gd name="connsiteX309" fmla="*/ 1054412 w 2048870"/>
                <a:gd name="connsiteY309" fmla="*/ 1251466 h 1413227"/>
                <a:gd name="connsiteX310" fmla="*/ 1063055 w 2048870"/>
                <a:gd name="connsiteY310" fmla="*/ 1242823 h 1413227"/>
                <a:gd name="connsiteX311" fmla="*/ 1068241 w 2048870"/>
                <a:gd name="connsiteY311" fmla="*/ 1223809 h 1413227"/>
                <a:gd name="connsiteX312" fmla="*/ 1069969 w 2048870"/>
                <a:gd name="connsiteY312" fmla="*/ 1215166 h 1413227"/>
                <a:gd name="connsiteX313" fmla="*/ 1075155 w 2048870"/>
                <a:gd name="connsiteY313" fmla="*/ 1201338 h 1413227"/>
                <a:gd name="connsiteX314" fmla="*/ 1080341 w 2048870"/>
                <a:gd name="connsiteY314" fmla="*/ 1175410 h 1413227"/>
                <a:gd name="connsiteX315" fmla="*/ 1082069 w 2048870"/>
                <a:gd name="connsiteY315" fmla="*/ 1170224 h 1413227"/>
                <a:gd name="connsiteX316" fmla="*/ 1083798 w 2048870"/>
                <a:gd name="connsiteY316" fmla="*/ 1161581 h 1413227"/>
                <a:gd name="connsiteX317" fmla="*/ 1085526 w 2048870"/>
                <a:gd name="connsiteY317" fmla="*/ 1156396 h 1413227"/>
                <a:gd name="connsiteX318" fmla="*/ 1087255 w 2048870"/>
                <a:gd name="connsiteY318" fmla="*/ 1147753 h 1413227"/>
                <a:gd name="connsiteX319" fmla="*/ 1097626 w 2048870"/>
                <a:gd name="connsiteY319" fmla="*/ 1128739 h 1413227"/>
                <a:gd name="connsiteX320" fmla="*/ 1099355 w 2048870"/>
                <a:gd name="connsiteY320" fmla="*/ 1111454 h 1413227"/>
                <a:gd name="connsiteX321" fmla="*/ 1106269 w 2048870"/>
                <a:gd name="connsiteY321" fmla="*/ 1097625 h 1413227"/>
                <a:gd name="connsiteX322" fmla="*/ 1111454 w 2048870"/>
                <a:gd name="connsiteY322" fmla="*/ 1095897 h 1413227"/>
                <a:gd name="connsiteX323" fmla="*/ 1127011 w 2048870"/>
                <a:gd name="connsiteY323" fmla="*/ 1094168 h 1413227"/>
                <a:gd name="connsiteX324" fmla="*/ 1132197 w 2048870"/>
                <a:gd name="connsiteY324" fmla="*/ 1088983 h 1413227"/>
                <a:gd name="connsiteX325" fmla="*/ 1166768 w 2048870"/>
                <a:gd name="connsiteY325" fmla="*/ 1083797 h 1413227"/>
                <a:gd name="connsiteX326" fmla="*/ 1175411 w 2048870"/>
                <a:gd name="connsiteY326" fmla="*/ 1073426 h 1413227"/>
                <a:gd name="connsiteX327" fmla="*/ 1177139 w 2048870"/>
                <a:gd name="connsiteY327" fmla="*/ 1061326 h 1413227"/>
                <a:gd name="connsiteX328" fmla="*/ 1170225 w 2048870"/>
                <a:gd name="connsiteY328" fmla="*/ 1047497 h 1413227"/>
                <a:gd name="connsiteX329" fmla="*/ 1163311 w 2048870"/>
                <a:gd name="connsiteY329" fmla="*/ 1050955 h 1413227"/>
                <a:gd name="connsiteX330" fmla="*/ 1166768 w 2048870"/>
                <a:gd name="connsiteY330" fmla="*/ 1068240 h 1413227"/>
                <a:gd name="connsiteX331" fmla="*/ 1170225 w 2048870"/>
                <a:gd name="connsiteY331" fmla="*/ 1076883 h 1413227"/>
                <a:gd name="connsiteX332" fmla="*/ 1182325 w 2048870"/>
                <a:gd name="connsiteY332" fmla="*/ 1080340 h 1413227"/>
                <a:gd name="connsiteX333" fmla="*/ 1206524 w 2048870"/>
                <a:gd name="connsiteY333" fmla="*/ 1078611 h 1413227"/>
                <a:gd name="connsiteX334" fmla="*/ 1211710 w 2048870"/>
                <a:gd name="connsiteY334" fmla="*/ 1073426 h 1413227"/>
                <a:gd name="connsiteX335" fmla="*/ 1218624 w 2048870"/>
                <a:gd name="connsiteY335" fmla="*/ 1057869 h 1413227"/>
                <a:gd name="connsiteX336" fmla="*/ 1220353 w 2048870"/>
                <a:gd name="connsiteY336" fmla="*/ 1044040 h 1413227"/>
                <a:gd name="connsiteX337" fmla="*/ 1218624 w 2048870"/>
                <a:gd name="connsiteY337" fmla="*/ 1014655 h 1413227"/>
                <a:gd name="connsiteX338" fmla="*/ 1211710 w 2048870"/>
                <a:gd name="connsiteY338" fmla="*/ 997370 h 1413227"/>
                <a:gd name="connsiteX339" fmla="*/ 1206524 w 2048870"/>
                <a:gd name="connsiteY339" fmla="*/ 993913 h 1413227"/>
                <a:gd name="connsiteX340" fmla="*/ 1184053 w 2048870"/>
                <a:gd name="connsiteY340" fmla="*/ 973170 h 1413227"/>
                <a:gd name="connsiteX341" fmla="*/ 1173682 w 2048870"/>
                <a:gd name="connsiteY341" fmla="*/ 962799 h 1413227"/>
                <a:gd name="connsiteX342" fmla="*/ 1168496 w 2048870"/>
                <a:gd name="connsiteY342" fmla="*/ 957613 h 1413227"/>
                <a:gd name="connsiteX343" fmla="*/ 1171954 w 2048870"/>
                <a:gd name="connsiteY343" fmla="*/ 961070 h 1413227"/>
                <a:gd name="connsiteX344" fmla="*/ 1178868 w 2048870"/>
                <a:gd name="connsiteY344" fmla="*/ 971441 h 1413227"/>
                <a:gd name="connsiteX345" fmla="*/ 1185782 w 2048870"/>
                <a:gd name="connsiteY345" fmla="*/ 980084 h 1413227"/>
                <a:gd name="connsiteX346" fmla="*/ 1190968 w 2048870"/>
                <a:gd name="connsiteY346" fmla="*/ 985270 h 1413227"/>
                <a:gd name="connsiteX347" fmla="*/ 1194425 w 2048870"/>
                <a:gd name="connsiteY347" fmla="*/ 993913 h 1413227"/>
                <a:gd name="connsiteX348" fmla="*/ 1206524 w 2048870"/>
                <a:gd name="connsiteY348" fmla="*/ 1007741 h 1413227"/>
                <a:gd name="connsiteX349" fmla="*/ 1208253 w 2048870"/>
                <a:gd name="connsiteY349" fmla="*/ 1014655 h 1413227"/>
                <a:gd name="connsiteX350" fmla="*/ 1211710 w 2048870"/>
                <a:gd name="connsiteY350" fmla="*/ 1023298 h 1413227"/>
                <a:gd name="connsiteX351" fmla="*/ 1213439 w 2048870"/>
                <a:gd name="connsiteY351" fmla="*/ 1035398 h 1413227"/>
                <a:gd name="connsiteX352" fmla="*/ 1215167 w 2048870"/>
                <a:gd name="connsiteY352" fmla="*/ 1044040 h 1413227"/>
                <a:gd name="connsiteX353" fmla="*/ 1220353 w 2048870"/>
                <a:gd name="connsiteY353" fmla="*/ 1045769 h 1413227"/>
                <a:gd name="connsiteX354" fmla="*/ 1223810 w 2048870"/>
                <a:gd name="connsiteY354" fmla="*/ 1050955 h 1413227"/>
                <a:gd name="connsiteX355" fmla="*/ 1234181 w 2048870"/>
                <a:gd name="connsiteY355" fmla="*/ 1063054 h 1413227"/>
                <a:gd name="connsiteX356" fmla="*/ 1253195 w 2048870"/>
                <a:gd name="connsiteY356" fmla="*/ 1057869 h 1413227"/>
                <a:gd name="connsiteX357" fmla="*/ 1258381 w 2048870"/>
                <a:gd name="connsiteY357" fmla="*/ 1054412 h 1413227"/>
                <a:gd name="connsiteX358" fmla="*/ 1265295 w 2048870"/>
                <a:gd name="connsiteY358" fmla="*/ 1050955 h 1413227"/>
                <a:gd name="connsiteX359" fmla="*/ 1267023 w 2048870"/>
                <a:gd name="connsiteY359" fmla="*/ 1056140 h 1413227"/>
                <a:gd name="connsiteX360" fmla="*/ 1268752 w 2048870"/>
                <a:gd name="connsiteY360" fmla="*/ 1068240 h 1413227"/>
                <a:gd name="connsiteX361" fmla="*/ 1279123 w 2048870"/>
                <a:gd name="connsiteY361" fmla="*/ 1064783 h 1413227"/>
                <a:gd name="connsiteX362" fmla="*/ 1289495 w 2048870"/>
                <a:gd name="connsiteY362" fmla="*/ 1056140 h 1413227"/>
                <a:gd name="connsiteX363" fmla="*/ 1299866 w 2048870"/>
                <a:gd name="connsiteY363" fmla="*/ 1045769 h 1413227"/>
                <a:gd name="connsiteX364" fmla="*/ 1305051 w 2048870"/>
                <a:gd name="connsiteY364" fmla="*/ 1042312 h 1413227"/>
                <a:gd name="connsiteX365" fmla="*/ 1294680 w 2048870"/>
                <a:gd name="connsiteY365" fmla="*/ 1061326 h 1413227"/>
                <a:gd name="connsiteX366" fmla="*/ 1286037 w 2048870"/>
                <a:gd name="connsiteY366" fmla="*/ 1075154 h 1413227"/>
                <a:gd name="connsiteX367" fmla="*/ 1272209 w 2048870"/>
                <a:gd name="connsiteY367" fmla="*/ 1082068 h 1413227"/>
                <a:gd name="connsiteX368" fmla="*/ 1265295 w 2048870"/>
                <a:gd name="connsiteY368" fmla="*/ 1085525 h 1413227"/>
                <a:gd name="connsiteX369" fmla="*/ 1260109 w 2048870"/>
                <a:gd name="connsiteY369" fmla="*/ 1087254 h 1413227"/>
                <a:gd name="connsiteX370" fmla="*/ 1251467 w 2048870"/>
                <a:gd name="connsiteY370" fmla="*/ 1092440 h 1413227"/>
                <a:gd name="connsiteX371" fmla="*/ 1232453 w 2048870"/>
                <a:gd name="connsiteY371" fmla="*/ 1095897 h 1413227"/>
                <a:gd name="connsiteX372" fmla="*/ 1230724 w 2048870"/>
                <a:gd name="connsiteY372" fmla="*/ 1121825 h 1413227"/>
                <a:gd name="connsiteX373" fmla="*/ 1223810 w 2048870"/>
                <a:gd name="connsiteY373" fmla="*/ 1128739 h 1413227"/>
                <a:gd name="connsiteX374" fmla="*/ 1216896 w 2048870"/>
                <a:gd name="connsiteY374" fmla="*/ 1130468 h 1413227"/>
                <a:gd name="connsiteX375" fmla="*/ 1248009 w 2048870"/>
                <a:gd name="connsiteY375" fmla="*/ 1123553 h 1413227"/>
                <a:gd name="connsiteX376" fmla="*/ 1275666 w 2048870"/>
                <a:gd name="connsiteY376" fmla="*/ 1125282 h 1413227"/>
                <a:gd name="connsiteX377" fmla="*/ 1282580 w 2048870"/>
                <a:gd name="connsiteY377" fmla="*/ 1128739 h 1413227"/>
                <a:gd name="connsiteX378" fmla="*/ 1318880 w 2048870"/>
                <a:gd name="connsiteY378" fmla="*/ 1127010 h 1413227"/>
                <a:gd name="connsiteX379" fmla="*/ 1330980 w 2048870"/>
                <a:gd name="connsiteY379" fmla="*/ 1123553 h 1413227"/>
                <a:gd name="connsiteX380" fmla="*/ 1339622 w 2048870"/>
                <a:gd name="connsiteY380" fmla="*/ 1118368 h 1413227"/>
                <a:gd name="connsiteX381" fmla="*/ 1356908 w 2048870"/>
                <a:gd name="connsiteY381" fmla="*/ 1123553 h 1413227"/>
                <a:gd name="connsiteX382" fmla="*/ 1384564 w 2048870"/>
                <a:gd name="connsiteY382" fmla="*/ 1114911 h 1413227"/>
                <a:gd name="connsiteX383" fmla="*/ 1391479 w 2048870"/>
                <a:gd name="connsiteY383" fmla="*/ 1109725 h 1413227"/>
                <a:gd name="connsiteX384" fmla="*/ 1400121 w 2048870"/>
                <a:gd name="connsiteY384" fmla="*/ 1095897 h 1413227"/>
                <a:gd name="connsiteX385" fmla="*/ 1403578 w 2048870"/>
                <a:gd name="connsiteY385" fmla="*/ 1090711 h 1413227"/>
                <a:gd name="connsiteX386" fmla="*/ 1408764 w 2048870"/>
                <a:gd name="connsiteY386" fmla="*/ 1088983 h 1413227"/>
                <a:gd name="connsiteX387" fmla="*/ 1415678 w 2048870"/>
                <a:gd name="connsiteY387" fmla="*/ 1097625 h 1413227"/>
                <a:gd name="connsiteX388" fmla="*/ 1419135 w 2048870"/>
                <a:gd name="connsiteY388" fmla="*/ 1104539 h 1413227"/>
                <a:gd name="connsiteX389" fmla="*/ 1424321 w 2048870"/>
                <a:gd name="connsiteY389" fmla="*/ 1111454 h 1413227"/>
                <a:gd name="connsiteX390" fmla="*/ 1434692 w 2048870"/>
                <a:gd name="connsiteY390" fmla="*/ 1109725 h 1413227"/>
                <a:gd name="connsiteX391" fmla="*/ 1438149 w 2048870"/>
                <a:gd name="connsiteY391" fmla="*/ 1101082 h 1413227"/>
                <a:gd name="connsiteX392" fmla="*/ 1446792 w 2048870"/>
                <a:gd name="connsiteY392" fmla="*/ 1076883 h 1413227"/>
                <a:gd name="connsiteX393" fmla="*/ 1455435 w 2048870"/>
                <a:gd name="connsiteY393" fmla="*/ 1082068 h 1413227"/>
                <a:gd name="connsiteX394" fmla="*/ 1457163 w 2048870"/>
                <a:gd name="connsiteY394" fmla="*/ 1097625 h 1413227"/>
                <a:gd name="connsiteX395" fmla="*/ 1462349 w 2048870"/>
                <a:gd name="connsiteY395" fmla="*/ 1104539 h 1413227"/>
                <a:gd name="connsiteX396" fmla="*/ 1464078 w 2048870"/>
                <a:gd name="connsiteY396" fmla="*/ 1116639 h 1413227"/>
                <a:gd name="connsiteX397" fmla="*/ 1450249 w 2048870"/>
                <a:gd name="connsiteY397" fmla="*/ 1132196 h 1413227"/>
                <a:gd name="connsiteX398" fmla="*/ 1436421 w 2048870"/>
                <a:gd name="connsiteY398" fmla="*/ 1149482 h 1413227"/>
                <a:gd name="connsiteX399" fmla="*/ 1427778 w 2048870"/>
                <a:gd name="connsiteY399" fmla="*/ 1158124 h 1413227"/>
                <a:gd name="connsiteX400" fmla="*/ 1415678 w 2048870"/>
                <a:gd name="connsiteY400" fmla="*/ 1163310 h 1413227"/>
                <a:gd name="connsiteX401" fmla="*/ 1400121 w 2048870"/>
                <a:gd name="connsiteY401" fmla="*/ 1171953 h 1413227"/>
                <a:gd name="connsiteX402" fmla="*/ 1398393 w 2048870"/>
                <a:gd name="connsiteY402" fmla="*/ 1177138 h 1413227"/>
                <a:gd name="connsiteX403" fmla="*/ 1389750 w 2048870"/>
                <a:gd name="connsiteY403" fmla="*/ 1189238 h 1413227"/>
                <a:gd name="connsiteX404" fmla="*/ 1384564 w 2048870"/>
                <a:gd name="connsiteY404" fmla="*/ 1197881 h 1413227"/>
                <a:gd name="connsiteX405" fmla="*/ 1382836 w 2048870"/>
                <a:gd name="connsiteY405" fmla="*/ 1203066 h 1413227"/>
                <a:gd name="connsiteX406" fmla="*/ 1374193 w 2048870"/>
                <a:gd name="connsiteY406" fmla="*/ 1211709 h 1413227"/>
                <a:gd name="connsiteX407" fmla="*/ 1369008 w 2048870"/>
                <a:gd name="connsiteY407" fmla="*/ 1216895 h 1413227"/>
                <a:gd name="connsiteX408" fmla="*/ 1356908 w 2048870"/>
                <a:gd name="connsiteY408" fmla="*/ 1230723 h 1413227"/>
                <a:gd name="connsiteX409" fmla="*/ 1351722 w 2048870"/>
                <a:gd name="connsiteY409" fmla="*/ 1237637 h 1413227"/>
                <a:gd name="connsiteX410" fmla="*/ 1349994 w 2048870"/>
                <a:gd name="connsiteY410" fmla="*/ 1242823 h 1413227"/>
                <a:gd name="connsiteX411" fmla="*/ 1344808 w 2048870"/>
                <a:gd name="connsiteY411" fmla="*/ 1253194 h 1413227"/>
                <a:gd name="connsiteX412" fmla="*/ 1377650 w 2048870"/>
                <a:gd name="connsiteY412" fmla="*/ 1253194 h 1413227"/>
                <a:gd name="connsiteX413" fmla="*/ 1386293 w 2048870"/>
                <a:gd name="connsiteY413" fmla="*/ 1246280 h 1413227"/>
                <a:gd name="connsiteX414" fmla="*/ 1391479 w 2048870"/>
                <a:gd name="connsiteY414" fmla="*/ 1244552 h 1413227"/>
                <a:gd name="connsiteX415" fmla="*/ 1412221 w 2048870"/>
                <a:gd name="connsiteY415" fmla="*/ 1248009 h 1413227"/>
                <a:gd name="connsiteX416" fmla="*/ 1415678 w 2048870"/>
                <a:gd name="connsiteY416" fmla="*/ 1253194 h 1413227"/>
                <a:gd name="connsiteX417" fmla="*/ 1426050 w 2048870"/>
                <a:gd name="connsiteY417" fmla="*/ 1260108 h 1413227"/>
                <a:gd name="connsiteX418" fmla="*/ 1451978 w 2048870"/>
                <a:gd name="connsiteY418" fmla="*/ 1258380 h 1413227"/>
                <a:gd name="connsiteX419" fmla="*/ 1457163 w 2048870"/>
                <a:gd name="connsiteY419" fmla="*/ 1253194 h 1413227"/>
                <a:gd name="connsiteX420" fmla="*/ 1465806 w 2048870"/>
                <a:gd name="connsiteY420" fmla="*/ 1248009 h 1413227"/>
                <a:gd name="connsiteX421" fmla="*/ 1483092 w 2048870"/>
                <a:gd name="connsiteY421" fmla="*/ 1249737 h 1413227"/>
                <a:gd name="connsiteX422" fmla="*/ 1491734 w 2048870"/>
                <a:gd name="connsiteY422" fmla="*/ 1258380 h 1413227"/>
                <a:gd name="connsiteX423" fmla="*/ 1502106 w 2048870"/>
                <a:gd name="connsiteY423" fmla="*/ 1272208 h 1413227"/>
                <a:gd name="connsiteX424" fmla="*/ 1503834 w 2048870"/>
                <a:gd name="connsiteY424" fmla="*/ 1289494 h 1413227"/>
                <a:gd name="connsiteX425" fmla="*/ 1514205 w 2048870"/>
                <a:gd name="connsiteY425" fmla="*/ 1301593 h 1413227"/>
                <a:gd name="connsiteX426" fmla="*/ 1517662 w 2048870"/>
                <a:gd name="connsiteY426" fmla="*/ 1306779 h 1413227"/>
                <a:gd name="connsiteX427" fmla="*/ 1515934 w 2048870"/>
                <a:gd name="connsiteY427" fmla="*/ 1355178 h 1413227"/>
                <a:gd name="connsiteX428" fmla="*/ 1509020 w 2048870"/>
                <a:gd name="connsiteY428" fmla="*/ 1360364 h 1413227"/>
                <a:gd name="connsiteX429" fmla="*/ 1503834 w 2048870"/>
                <a:gd name="connsiteY429" fmla="*/ 1370735 h 1413227"/>
                <a:gd name="connsiteX430" fmla="*/ 1534948 w 2048870"/>
                <a:gd name="connsiteY430" fmla="*/ 1374192 h 1413227"/>
                <a:gd name="connsiteX431" fmla="*/ 1540133 w 2048870"/>
                <a:gd name="connsiteY431" fmla="*/ 1377649 h 1413227"/>
                <a:gd name="connsiteX432" fmla="*/ 1559147 w 2048870"/>
                <a:gd name="connsiteY432" fmla="*/ 1375921 h 1413227"/>
                <a:gd name="connsiteX433" fmla="*/ 1564333 w 2048870"/>
                <a:gd name="connsiteY433" fmla="*/ 1372464 h 1413227"/>
                <a:gd name="connsiteX434" fmla="*/ 1579890 w 2048870"/>
                <a:gd name="connsiteY434" fmla="*/ 1370735 h 1413227"/>
                <a:gd name="connsiteX435" fmla="*/ 1597175 w 2048870"/>
                <a:gd name="connsiteY435" fmla="*/ 1363821 h 1413227"/>
                <a:gd name="connsiteX436" fmla="*/ 1600633 w 2048870"/>
                <a:gd name="connsiteY436" fmla="*/ 1360364 h 1413227"/>
                <a:gd name="connsiteX437" fmla="*/ 1612732 w 2048870"/>
                <a:gd name="connsiteY437" fmla="*/ 1341350 h 1413227"/>
                <a:gd name="connsiteX438" fmla="*/ 1617918 w 2048870"/>
                <a:gd name="connsiteY438" fmla="*/ 1305051 h 1413227"/>
                <a:gd name="connsiteX439" fmla="*/ 1623104 w 2048870"/>
                <a:gd name="connsiteY439" fmla="*/ 1301593 h 1413227"/>
                <a:gd name="connsiteX440" fmla="*/ 1624832 w 2048870"/>
                <a:gd name="connsiteY440" fmla="*/ 1284308 h 1413227"/>
                <a:gd name="connsiteX441" fmla="*/ 1631746 w 2048870"/>
                <a:gd name="connsiteY441" fmla="*/ 1270480 h 1413227"/>
                <a:gd name="connsiteX442" fmla="*/ 1643846 w 2048870"/>
                <a:gd name="connsiteY442" fmla="*/ 1263565 h 1413227"/>
                <a:gd name="connsiteX443" fmla="*/ 1669774 w 2048870"/>
                <a:gd name="connsiteY443" fmla="*/ 1260108 h 1413227"/>
                <a:gd name="connsiteX444" fmla="*/ 1681874 w 2048870"/>
                <a:gd name="connsiteY444" fmla="*/ 1254923 h 1413227"/>
                <a:gd name="connsiteX445" fmla="*/ 1687060 w 2048870"/>
                <a:gd name="connsiteY445" fmla="*/ 1253194 h 1413227"/>
                <a:gd name="connsiteX446" fmla="*/ 1702617 w 2048870"/>
                <a:gd name="connsiteY446" fmla="*/ 1249737 h 1413227"/>
                <a:gd name="connsiteX447" fmla="*/ 1704345 w 2048870"/>
                <a:gd name="connsiteY447" fmla="*/ 1232452 h 1413227"/>
                <a:gd name="connsiteX448" fmla="*/ 1706074 w 2048870"/>
                <a:gd name="connsiteY448" fmla="*/ 1208252 h 1413227"/>
                <a:gd name="connsiteX449" fmla="*/ 1711259 w 2048870"/>
                <a:gd name="connsiteY449" fmla="*/ 1201338 h 1413227"/>
                <a:gd name="connsiteX450" fmla="*/ 1718174 w 2048870"/>
                <a:gd name="connsiteY450" fmla="*/ 1192695 h 1413227"/>
                <a:gd name="connsiteX451" fmla="*/ 1725088 w 2048870"/>
                <a:gd name="connsiteY451" fmla="*/ 1189238 h 1413227"/>
                <a:gd name="connsiteX452" fmla="*/ 1735459 w 2048870"/>
                <a:gd name="connsiteY452" fmla="*/ 1184052 h 1413227"/>
                <a:gd name="connsiteX453" fmla="*/ 1773487 w 2048870"/>
                <a:gd name="connsiteY453" fmla="*/ 1189238 h 1413227"/>
                <a:gd name="connsiteX454" fmla="*/ 1778673 w 2048870"/>
                <a:gd name="connsiteY454" fmla="*/ 1194424 h 1413227"/>
                <a:gd name="connsiteX455" fmla="*/ 1808058 w 2048870"/>
                <a:gd name="connsiteY455" fmla="*/ 1187510 h 1413227"/>
                <a:gd name="connsiteX456" fmla="*/ 1811515 w 2048870"/>
                <a:gd name="connsiteY456" fmla="*/ 1180595 h 1413227"/>
                <a:gd name="connsiteX457" fmla="*/ 1818429 w 2048870"/>
                <a:gd name="connsiteY457" fmla="*/ 1171953 h 1413227"/>
                <a:gd name="connsiteX458" fmla="*/ 1825343 w 2048870"/>
                <a:gd name="connsiteY458" fmla="*/ 1158124 h 1413227"/>
                <a:gd name="connsiteX459" fmla="*/ 1827072 w 2048870"/>
                <a:gd name="connsiteY459" fmla="*/ 1151210 h 1413227"/>
                <a:gd name="connsiteX460" fmla="*/ 1833986 w 2048870"/>
                <a:gd name="connsiteY460" fmla="*/ 1133925 h 1413227"/>
                <a:gd name="connsiteX461" fmla="*/ 1820158 w 2048870"/>
                <a:gd name="connsiteY461" fmla="*/ 1128739 h 1413227"/>
                <a:gd name="connsiteX462" fmla="*/ 1816701 w 2048870"/>
                <a:gd name="connsiteY462" fmla="*/ 1123553 h 1413227"/>
                <a:gd name="connsiteX463" fmla="*/ 1820158 w 2048870"/>
                <a:gd name="connsiteY463" fmla="*/ 1118368 h 1413227"/>
                <a:gd name="connsiteX464" fmla="*/ 1825343 w 2048870"/>
                <a:gd name="connsiteY464" fmla="*/ 1111454 h 1413227"/>
                <a:gd name="connsiteX465" fmla="*/ 1828800 w 2048870"/>
                <a:gd name="connsiteY465" fmla="*/ 1099354 h 1413227"/>
                <a:gd name="connsiteX466" fmla="*/ 1832257 w 2048870"/>
                <a:gd name="connsiteY466" fmla="*/ 1094168 h 1413227"/>
                <a:gd name="connsiteX467" fmla="*/ 1830529 w 2048870"/>
                <a:gd name="connsiteY467" fmla="*/ 1083797 h 1413227"/>
                <a:gd name="connsiteX468" fmla="*/ 1816701 w 2048870"/>
                <a:gd name="connsiteY468" fmla="*/ 1087254 h 1413227"/>
                <a:gd name="connsiteX469" fmla="*/ 1789044 w 2048870"/>
                <a:gd name="connsiteY469" fmla="*/ 1092440 h 1413227"/>
                <a:gd name="connsiteX470" fmla="*/ 1778673 w 2048870"/>
                <a:gd name="connsiteY470" fmla="*/ 1095897 h 1413227"/>
                <a:gd name="connsiteX471" fmla="*/ 1771758 w 2048870"/>
                <a:gd name="connsiteY471" fmla="*/ 1099354 h 1413227"/>
                <a:gd name="connsiteX472" fmla="*/ 1766573 w 2048870"/>
                <a:gd name="connsiteY472" fmla="*/ 1116639 h 1413227"/>
                <a:gd name="connsiteX473" fmla="*/ 1756202 w 2048870"/>
                <a:gd name="connsiteY473" fmla="*/ 1118368 h 1413227"/>
                <a:gd name="connsiteX474" fmla="*/ 1738916 w 2048870"/>
                <a:gd name="connsiteY474" fmla="*/ 1130468 h 1413227"/>
                <a:gd name="connsiteX475" fmla="*/ 1718174 w 2048870"/>
                <a:gd name="connsiteY475" fmla="*/ 1140839 h 1413227"/>
                <a:gd name="connsiteX476" fmla="*/ 1709531 w 2048870"/>
                <a:gd name="connsiteY476" fmla="*/ 1146024 h 1413227"/>
                <a:gd name="connsiteX477" fmla="*/ 1707802 w 2048870"/>
                <a:gd name="connsiteY477" fmla="*/ 1151210 h 1413227"/>
                <a:gd name="connsiteX478" fmla="*/ 1700888 w 2048870"/>
                <a:gd name="connsiteY478" fmla="*/ 1154667 h 1413227"/>
                <a:gd name="connsiteX479" fmla="*/ 1647303 w 2048870"/>
                <a:gd name="connsiteY479" fmla="*/ 1152939 h 1413227"/>
                <a:gd name="connsiteX480" fmla="*/ 1650760 w 2048870"/>
                <a:gd name="connsiteY480" fmla="*/ 1142567 h 1413227"/>
                <a:gd name="connsiteX481" fmla="*/ 1649032 w 2048870"/>
                <a:gd name="connsiteY481" fmla="*/ 1120096 h 1413227"/>
                <a:gd name="connsiteX482" fmla="*/ 1598904 w 2048870"/>
                <a:gd name="connsiteY482" fmla="*/ 1114911 h 1413227"/>
                <a:gd name="connsiteX483" fmla="*/ 1591990 w 2048870"/>
                <a:gd name="connsiteY483" fmla="*/ 1113182 h 1413227"/>
                <a:gd name="connsiteX484" fmla="*/ 1564333 w 2048870"/>
                <a:gd name="connsiteY484" fmla="*/ 1109725 h 1413227"/>
                <a:gd name="connsiteX485" fmla="*/ 1553962 w 2048870"/>
                <a:gd name="connsiteY485" fmla="*/ 1101082 h 1413227"/>
                <a:gd name="connsiteX486" fmla="*/ 1543591 w 2048870"/>
                <a:gd name="connsiteY486" fmla="*/ 1092440 h 1413227"/>
                <a:gd name="connsiteX487" fmla="*/ 1526305 w 2048870"/>
                <a:gd name="connsiteY487" fmla="*/ 1090711 h 1413227"/>
                <a:gd name="connsiteX488" fmla="*/ 1514205 w 2048870"/>
                <a:gd name="connsiteY488" fmla="*/ 1085525 h 1413227"/>
                <a:gd name="connsiteX489" fmla="*/ 1512477 w 2048870"/>
                <a:gd name="connsiteY489" fmla="*/ 1092440 h 1413227"/>
                <a:gd name="connsiteX490" fmla="*/ 1507291 w 2048870"/>
                <a:gd name="connsiteY490" fmla="*/ 1085525 h 1413227"/>
                <a:gd name="connsiteX491" fmla="*/ 1496920 w 2048870"/>
                <a:gd name="connsiteY491" fmla="*/ 1075154 h 1413227"/>
                <a:gd name="connsiteX492" fmla="*/ 1445064 w 2048870"/>
                <a:gd name="connsiteY492" fmla="*/ 1076883 h 1413227"/>
                <a:gd name="connsiteX493" fmla="*/ 1439878 w 2048870"/>
                <a:gd name="connsiteY493" fmla="*/ 1080340 h 1413227"/>
                <a:gd name="connsiteX494" fmla="*/ 1438149 w 2048870"/>
                <a:gd name="connsiteY494" fmla="*/ 1085525 h 1413227"/>
                <a:gd name="connsiteX495" fmla="*/ 1451978 w 2048870"/>
                <a:gd name="connsiteY495" fmla="*/ 1071697 h 1413227"/>
                <a:gd name="connsiteX496" fmla="*/ 1458892 w 2048870"/>
                <a:gd name="connsiteY496" fmla="*/ 1064783 h 1413227"/>
                <a:gd name="connsiteX497" fmla="*/ 1464078 w 2048870"/>
                <a:gd name="connsiteY497" fmla="*/ 1059597 h 1413227"/>
                <a:gd name="connsiteX498" fmla="*/ 1479634 w 2048870"/>
                <a:gd name="connsiteY498" fmla="*/ 1064783 h 1413227"/>
                <a:gd name="connsiteX499" fmla="*/ 1490006 w 2048870"/>
                <a:gd name="connsiteY499" fmla="*/ 1071697 h 1413227"/>
                <a:gd name="connsiteX500" fmla="*/ 1498648 w 2048870"/>
                <a:gd name="connsiteY500" fmla="*/ 1068240 h 1413227"/>
                <a:gd name="connsiteX501" fmla="*/ 1500377 w 2048870"/>
                <a:gd name="connsiteY501" fmla="*/ 1063054 h 1413227"/>
                <a:gd name="connsiteX502" fmla="*/ 1503834 w 2048870"/>
                <a:gd name="connsiteY502" fmla="*/ 1057869 h 1413227"/>
                <a:gd name="connsiteX503" fmla="*/ 1507291 w 2048870"/>
                <a:gd name="connsiteY503" fmla="*/ 1045769 h 1413227"/>
                <a:gd name="connsiteX504" fmla="*/ 1540133 w 2048870"/>
                <a:gd name="connsiteY504" fmla="*/ 1044040 h 1413227"/>
                <a:gd name="connsiteX505" fmla="*/ 1557419 w 2048870"/>
                <a:gd name="connsiteY505" fmla="*/ 1059597 h 1413227"/>
                <a:gd name="connsiteX506" fmla="*/ 1560876 w 2048870"/>
                <a:gd name="connsiteY506" fmla="*/ 1073426 h 1413227"/>
                <a:gd name="connsiteX507" fmla="*/ 1564333 w 2048870"/>
                <a:gd name="connsiteY507" fmla="*/ 1087254 h 1413227"/>
                <a:gd name="connsiteX508" fmla="*/ 1566062 w 2048870"/>
                <a:gd name="connsiteY508" fmla="*/ 1094168 h 1413227"/>
                <a:gd name="connsiteX509" fmla="*/ 1569519 w 2048870"/>
                <a:gd name="connsiteY509" fmla="*/ 1099354 h 1413227"/>
                <a:gd name="connsiteX510" fmla="*/ 1576433 w 2048870"/>
                <a:gd name="connsiteY510" fmla="*/ 1037126 h 1413227"/>
                <a:gd name="connsiteX511" fmla="*/ 1588533 w 2048870"/>
                <a:gd name="connsiteY511" fmla="*/ 1052683 h 1413227"/>
                <a:gd name="connsiteX512" fmla="*/ 1591990 w 2048870"/>
                <a:gd name="connsiteY512" fmla="*/ 1069969 h 1413227"/>
                <a:gd name="connsiteX513" fmla="*/ 1607547 w 2048870"/>
                <a:gd name="connsiteY513" fmla="*/ 1080340 h 1413227"/>
                <a:gd name="connsiteX514" fmla="*/ 1612732 w 2048870"/>
                <a:gd name="connsiteY514" fmla="*/ 1083797 h 1413227"/>
                <a:gd name="connsiteX515" fmla="*/ 1621375 w 2048870"/>
                <a:gd name="connsiteY515" fmla="*/ 1085525 h 1413227"/>
                <a:gd name="connsiteX516" fmla="*/ 1633475 w 2048870"/>
                <a:gd name="connsiteY516" fmla="*/ 1092440 h 1413227"/>
                <a:gd name="connsiteX517" fmla="*/ 1640389 w 2048870"/>
                <a:gd name="connsiteY517" fmla="*/ 1095897 h 1413227"/>
                <a:gd name="connsiteX518" fmla="*/ 1649032 w 2048870"/>
                <a:gd name="connsiteY518" fmla="*/ 1109725 h 1413227"/>
                <a:gd name="connsiteX519" fmla="*/ 1659403 w 2048870"/>
                <a:gd name="connsiteY519" fmla="*/ 1113182 h 1413227"/>
                <a:gd name="connsiteX520" fmla="*/ 1669774 w 2048870"/>
                <a:gd name="connsiteY520" fmla="*/ 1118368 h 1413227"/>
                <a:gd name="connsiteX521" fmla="*/ 1680146 w 2048870"/>
                <a:gd name="connsiteY521" fmla="*/ 1125282 h 1413227"/>
                <a:gd name="connsiteX522" fmla="*/ 1699160 w 2048870"/>
                <a:gd name="connsiteY522" fmla="*/ 1139110 h 1413227"/>
                <a:gd name="connsiteX523" fmla="*/ 1712988 w 2048870"/>
                <a:gd name="connsiteY523" fmla="*/ 1142567 h 1413227"/>
                <a:gd name="connsiteX524" fmla="*/ 1704345 w 2048870"/>
                <a:gd name="connsiteY524" fmla="*/ 1137382 h 1413227"/>
                <a:gd name="connsiteX525" fmla="*/ 1699160 w 2048870"/>
                <a:gd name="connsiteY525" fmla="*/ 1132196 h 1413227"/>
                <a:gd name="connsiteX526" fmla="*/ 1688788 w 2048870"/>
                <a:gd name="connsiteY526" fmla="*/ 1128739 h 1413227"/>
                <a:gd name="connsiteX527" fmla="*/ 1674960 w 2048870"/>
                <a:gd name="connsiteY527" fmla="*/ 1125282 h 1413227"/>
                <a:gd name="connsiteX528" fmla="*/ 1659403 w 2048870"/>
                <a:gd name="connsiteY528" fmla="*/ 1121825 h 1413227"/>
                <a:gd name="connsiteX529" fmla="*/ 1650760 w 2048870"/>
                <a:gd name="connsiteY529" fmla="*/ 1116639 h 1413227"/>
                <a:gd name="connsiteX530" fmla="*/ 1645575 w 2048870"/>
                <a:gd name="connsiteY530" fmla="*/ 1113182 h 1413227"/>
                <a:gd name="connsiteX531" fmla="*/ 1642118 w 2048870"/>
                <a:gd name="connsiteY531" fmla="*/ 1107996 h 1413227"/>
                <a:gd name="connsiteX532" fmla="*/ 1628289 w 2048870"/>
                <a:gd name="connsiteY532" fmla="*/ 1088983 h 1413227"/>
                <a:gd name="connsiteX533" fmla="*/ 1626561 w 2048870"/>
                <a:gd name="connsiteY533" fmla="*/ 1083797 h 1413227"/>
                <a:gd name="connsiteX534" fmla="*/ 1619647 w 2048870"/>
                <a:gd name="connsiteY534" fmla="*/ 1075154 h 1413227"/>
                <a:gd name="connsiteX535" fmla="*/ 1616189 w 2048870"/>
                <a:gd name="connsiteY535" fmla="*/ 1061326 h 1413227"/>
                <a:gd name="connsiteX536" fmla="*/ 1614461 w 2048870"/>
                <a:gd name="connsiteY536" fmla="*/ 1056140 h 1413227"/>
                <a:gd name="connsiteX537" fmla="*/ 1604090 w 2048870"/>
                <a:gd name="connsiteY537" fmla="*/ 1038855 h 1413227"/>
                <a:gd name="connsiteX538" fmla="*/ 1598904 w 2048870"/>
                <a:gd name="connsiteY538" fmla="*/ 1037126 h 1413227"/>
                <a:gd name="connsiteX539" fmla="*/ 1593718 w 2048870"/>
                <a:gd name="connsiteY539" fmla="*/ 1030212 h 1413227"/>
                <a:gd name="connsiteX540" fmla="*/ 1585076 w 2048870"/>
                <a:gd name="connsiteY540" fmla="*/ 1019841 h 1413227"/>
                <a:gd name="connsiteX541" fmla="*/ 1590261 w 2048870"/>
                <a:gd name="connsiteY541" fmla="*/ 1000827 h 1413227"/>
                <a:gd name="connsiteX542" fmla="*/ 1598904 w 2048870"/>
                <a:gd name="connsiteY542" fmla="*/ 999098 h 1413227"/>
                <a:gd name="connsiteX543" fmla="*/ 1611004 w 2048870"/>
                <a:gd name="connsiteY543" fmla="*/ 990455 h 1413227"/>
                <a:gd name="connsiteX544" fmla="*/ 1617918 w 2048870"/>
                <a:gd name="connsiteY544" fmla="*/ 985270 h 1413227"/>
                <a:gd name="connsiteX545" fmla="*/ 1616189 w 2048870"/>
                <a:gd name="connsiteY545" fmla="*/ 1021569 h 1413227"/>
                <a:gd name="connsiteX546" fmla="*/ 1612732 w 2048870"/>
                <a:gd name="connsiteY546" fmla="*/ 1028483 h 1413227"/>
                <a:gd name="connsiteX547" fmla="*/ 1607547 w 2048870"/>
                <a:gd name="connsiteY547" fmla="*/ 1035398 h 1413227"/>
                <a:gd name="connsiteX548" fmla="*/ 1612732 w 2048870"/>
                <a:gd name="connsiteY548" fmla="*/ 1031941 h 1413227"/>
                <a:gd name="connsiteX549" fmla="*/ 1621375 w 2048870"/>
                <a:gd name="connsiteY549" fmla="*/ 1016384 h 1413227"/>
                <a:gd name="connsiteX550" fmla="*/ 1626561 w 2048870"/>
                <a:gd name="connsiteY550" fmla="*/ 997370 h 1413227"/>
                <a:gd name="connsiteX551" fmla="*/ 1626561 w 2048870"/>
                <a:gd name="connsiteY551" fmla="*/ 976627 h 1413227"/>
                <a:gd name="connsiteX552" fmla="*/ 1619647 w 2048870"/>
                <a:gd name="connsiteY552" fmla="*/ 962799 h 1413227"/>
                <a:gd name="connsiteX553" fmla="*/ 1626561 w 2048870"/>
                <a:gd name="connsiteY553" fmla="*/ 966256 h 1413227"/>
                <a:gd name="connsiteX554" fmla="*/ 1638661 w 2048870"/>
                <a:gd name="connsiteY554" fmla="*/ 969713 h 1413227"/>
                <a:gd name="connsiteX555" fmla="*/ 1645575 w 2048870"/>
                <a:gd name="connsiteY555" fmla="*/ 967984 h 1413227"/>
                <a:gd name="connsiteX556" fmla="*/ 1650760 w 2048870"/>
                <a:gd name="connsiteY556" fmla="*/ 955885 h 1413227"/>
                <a:gd name="connsiteX557" fmla="*/ 1659403 w 2048870"/>
                <a:gd name="connsiteY557" fmla="*/ 933414 h 1413227"/>
                <a:gd name="connsiteX558" fmla="*/ 1662860 w 2048870"/>
                <a:gd name="connsiteY558" fmla="*/ 929956 h 1413227"/>
                <a:gd name="connsiteX559" fmla="*/ 1664589 w 2048870"/>
                <a:gd name="connsiteY559" fmla="*/ 923042 h 1413227"/>
                <a:gd name="connsiteX560" fmla="*/ 1673231 w 2048870"/>
                <a:gd name="connsiteY560" fmla="*/ 893657 h 1413227"/>
                <a:gd name="connsiteX561" fmla="*/ 1687060 w 2048870"/>
                <a:gd name="connsiteY561" fmla="*/ 891928 h 1413227"/>
                <a:gd name="connsiteX562" fmla="*/ 1693974 w 2048870"/>
                <a:gd name="connsiteY562" fmla="*/ 890200 h 1413227"/>
                <a:gd name="connsiteX563" fmla="*/ 1700888 w 2048870"/>
                <a:gd name="connsiteY563" fmla="*/ 886743 h 1413227"/>
                <a:gd name="connsiteX564" fmla="*/ 1719902 w 2048870"/>
                <a:gd name="connsiteY564" fmla="*/ 878100 h 1413227"/>
                <a:gd name="connsiteX565" fmla="*/ 1726816 w 2048870"/>
                <a:gd name="connsiteY565" fmla="*/ 876372 h 1413227"/>
                <a:gd name="connsiteX566" fmla="*/ 1745830 w 2048870"/>
                <a:gd name="connsiteY566" fmla="*/ 860815 h 1413227"/>
                <a:gd name="connsiteX567" fmla="*/ 1751016 w 2048870"/>
                <a:gd name="connsiteY567" fmla="*/ 857358 h 1413227"/>
                <a:gd name="connsiteX568" fmla="*/ 1757930 w 2048870"/>
                <a:gd name="connsiteY568" fmla="*/ 855629 h 1413227"/>
                <a:gd name="connsiteX569" fmla="*/ 1764844 w 2048870"/>
                <a:gd name="connsiteY569" fmla="*/ 841801 h 1413227"/>
                <a:gd name="connsiteX570" fmla="*/ 1771758 w 2048870"/>
                <a:gd name="connsiteY570" fmla="*/ 836615 h 1413227"/>
                <a:gd name="connsiteX571" fmla="*/ 1776944 w 2048870"/>
                <a:gd name="connsiteY571" fmla="*/ 833158 h 1413227"/>
                <a:gd name="connsiteX572" fmla="*/ 1787315 w 2048870"/>
                <a:gd name="connsiteY572" fmla="*/ 831429 h 1413227"/>
                <a:gd name="connsiteX573" fmla="*/ 1795958 w 2048870"/>
                <a:gd name="connsiteY573" fmla="*/ 829701 h 1413227"/>
                <a:gd name="connsiteX574" fmla="*/ 1797687 w 2048870"/>
                <a:gd name="connsiteY574" fmla="*/ 824515 h 1413227"/>
                <a:gd name="connsiteX575" fmla="*/ 1825343 w 2048870"/>
                <a:gd name="connsiteY575" fmla="*/ 796859 h 1413227"/>
                <a:gd name="connsiteX576" fmla="*/ 1830529 w 2048870"/>
                <a:gd name="connsiteY576" fmla="*/ 776116 h 1413227"/>
                <a:gd name="connsiteX577" fmla="*/ 1835715 w 2048870"/>
                <a:gd name="connsiteY577" fmla="*/ 770930 h 1413227"/>
                <a:gd name="connsiteX578" fmla="*/ 1863371 w 2048870"/>
                <a:gd name="connsiteY578" fmla="*/ 760559 h 1413227"/>
                <a:gd name="connsiteX579" fmla="*/ 1868557 w 2048870"/>
                <a:gd name="connsiteY579" fmla="*/ 755373 h 1413227"/>
                <a:gd name="connsiteX580" fmla="*/ 1880657 w 2048870"/>
                <a:gd name="connsiteY580" fmla="*/ 753645 h 1413227"/>
                <a:gd name="connsiteX581" fmla="*/ 1889299 w 2048870"/>
                <a:gd name="connsiteY581" fmla="*/ 750188 h 1413227"/>
                <a:gd name="connsiteX582" fmla="*/ 1894485 w 2048870"/>
                <a:gd name="connsiteY582" fmla="*/ 731174 h 1413227"/>
                <a:gd name="connsiteX583" fmla="*/ 1910042 w 2048870"/>
                <a:gd name="connsiteY583" fmla="*/ 719074 h 1413227"/>
                <a:gd name="connsiteX584" fmla="*/ 1916956 w 2048870"/>
                <a:gd name="connsiteY584" fmla="*/ 710431 h 1413227"/>
                <a:gd name="connsiteX585" fmla="*/ 1908313 w 2048870"/>
                <a:gd name="connsiteY585" fmla="*/ 689689 h 1413227"/>
                <a:gd name="connsiteX586" fmla="*/ 1901399 w 2048870"/>
                <a:gd name="connsiteY586" fmla="*/ 675860 h 1413227"/>
                <a:gd name="connsiteX587" fmla="*/ 1897942 w 2048870"/>
                <a:gd name="connsiteY587" fmla="*/ 665489 h 1413227"/>
                <a:gd name="connsiteX588" fmla="*/ 1901399 w 2048870"/>
                <a:gd name="connsiteY588" fmla="*/ 651661 h 1413227"/>
                <a:gd name="connsiteX589" fmla="*/ 1897942 w 2048870"/>
                <a:gd name="connsiteY589" fmla="*/ 629190 h 1413227"/>
                <a:gd name="connsiteX590" fmla="*/ 1904856 w 2048870"/>
                <a:gd name="connsiteY590" fmla="*/ 624004 h 1413227"/>
                <a:gd name="connsiteX591" fmla="*/ 1910042 w 2048870"/>
                <a:gd name="connsiteY591" fmla="*/ 613633 h 1413227"/>
                <a:gd name="connsiteX592" fmla="*/ 1918685 w 2048870"/>
                <a:gd name="connsiteY592" fmla="*/ 608447 h 1413227"/>
                <a:gd name="connsiteX593" fmla="*/ 1925599 w 2048870"/>
                <a:gd name="connsiteY593" fmla="*/ 601533 h 1413227"/>
                <a:gd name="connsiteX594" fmla="*/ 1929056 w 2048870"/>
                <a:gd name="connsiteY594" fmla="*/ 587705 h 1413227"/>
                <a:gd name="connsiteX595" fmla="*/ 1932513 w 2048870"/>
                <a:gd name="connsiteY595" fmla="*/ 582519 h 1413227"/>
                <a:gd name="connsiteX596" fmla="*/ 1939427 w 2048870"/>
                <a:gd name="connsiteY596" fmla="*/ 565234 h 1413227"/>
                <a:gd name="connsiteX597" fmla="*/ 1963627 w 2048870"/>
                <a:gd name="connsiteY597" fmla="*/ 556591 h 1413227"/>
                <a:gd name="connsiteX598" fmla="*/ 1968812 w 2048870"/>
                <a:gd name="connsiteY598" fmla="*/ 547948 h 1413227"/>
                <a:gd name="connsiteX599" fmla="*/ 1986098 w 2048870"/>
                <a:gd name="connsiteY599" fmla="*/ 544491 h 1413227"/>
                <a:gd name="connsiteX600" fmla="*/ 2008569 w 2048870"/>
                <a:gd name="connsiteY600" fmla="*/ 539305 h 1413227"/>
                <a:gd name="connsiteX601" fmla="*/ 2017212 w 2048870"/>
                <a:gd name="connsiteY601" fmla="*/ 530663 h 1413227"/>
                <a:gd name="connsiteX602" fmla="*/ 2048326 w 2048870"/>
                <a:gd name="connsiteY602" fmla="*/ 525477 h 1413227"/>
                <a:gd name="connsiteX603" fmla="*/ 2043140 w 2048870"/>
                <a:gd name="connsiteY603" fmla="*/ 499549 h 1413227"/>
                <a:gd name="connsiteX604" fmla="*/ 2032769 w 2048870"/>
                <a:gd name="connsiteY604" fmla="*/ 492635 h 1413227"/>
                <a:gd name="connsiteX605" fmla="*/ 2025854 w 2048870"/>
                <a:gd name="connsiteY605" fmla="*/ 447693 h 1413227"/>
                <a:gd name="connsiteX606" fmla="*/ 2018940 w 2048870"/>
                <a:gd name="connsiteY606" fmla="*/ 428679 h 1413227"/>
                <a:gd name="connsiteX607" fmla="*/ 2015483 w 2048870"/>
                <a:gd name="connsiteY607" fmla="*/ 418307 h 1413227"/>
                <a:gd name="connsiteX608" fmla="*/ 2010298 w 2048870"/>
                <a:gd name="connsiteY608" fmla="*/ 411393 h 1413227"/>
                <a:gd name="connsiteX609" fmla="*/ 2003383 w 2048870"/>
                <a:gd name="connsiteY609" fmla="*/ 407936 h 1413227"/>
                <a:gd name="connsiteX610" fmla="*/ 1984369 w 2048870"/>
                <a:gd name="connsiteY610" fmla="*/ 404479 h 1413227"/>
                <a:gd name="connsiteX611" fmla="*/ 1977455 w 2048870"/>
                <a:gd name="connsiteY611" fmla="*/ 394108 h 1413227"/>
                <a:gd name="connsiteX612" fmla="*/ 1972270 w 2048870"/>
                <a:gd name="connsiteY612" fmla="*/ 390651 h 1413227"/>
                <a:gd name="connsiteX613" fmla="*/ 1968812 w 2048870"/>
                <a:gd name="connsiteY613" fmla="*/ 382008 h 1413227"/>
                <a:gd name="connsiteX614" fmla="*/ 1973998 w 2048870"/>
                <a:gd name="connsiteY614" fmla="*/ 366451 h 1413227"/>
                <a:gd name="connsiteX615" fmla="*/ 1982641 w 2048870"/>
                <a:gd name="connsiteY615" fmla="*/ 354351 h 1413227"/>
                <a:gd name="connsiteX616" fmla="*/ 1984369 w 2048870"/>
                <a:gd name="connsiteY616" fmla="*/ 347437 h 1413227"/>
                <a:gd name="connsiteX617" fmla="*/ 1994741 w 2048870"/>
                <a:gd name="connsiteY617" fmla="*/ 343980 h 1413227"/>
                <a:gd name="connsiteX618" fmla="*/ 1960170 w 2048870"/>
                <a:gd name="connsiteY618" fmla="*/ 337066 h 1413227"/>
                <a:gd name="connsiteX619" fmla="*/ 1958441 w 2048870"/>
                <a:gd name="connsiteY619" fmla="*/ 331880 h 1413227"/>
                <a:gd name="connsiteX620" fmla="*/ 1954984 w 2048870"/>
                <a:gd name="connsiteY620" fmla="*/ 326694 h 1413227"/>
                <a:gd name="connsiteX621" fmla="*/ 1958441 w 2048870"/>
                <a:gd name="connsiteY621" fmla="*/ 318052 h 1413227"/>
                <a:gd name="connsiteX622" fmla="*/ 1963627 w 2048870"/>
                <a:gd name="connsiteY622" fmla="*/ 311138 h 1413227"/>
                <a:gd name="connsiteX623" fmla="*/ 1967084 w 2048870"/>
                <a:gd name="connsiteY623" fmla="*/ 305952 h 1413227"/>
                <a:gd name="connsiteX624" fmla="*/ 1968812 w 2048870"/>
                <a:gd name="connsiteY624" fmla="*/ 299038 h 1413227"/>
                <a:gd name="connsiteX625" fmla="*/ 1973998 w 2048870"/>
                <a:gd name="connsiteY625" fmla="*/ 293852 h 1413227"/>
                <a:gd name="connsiteX626" fmla="*/ 1975727 w 2048870"/>
                <a:gd name="connsiteY626" fmla="*/ 269652 h 1413227"/>
                <a:gd name="connsiteX627" fmla="*/ 1970541 w 2048870"/>
                <a:gd name="connsiteY627" fmla="*/ 255824 h 1413227"/>
                <a:gd name="connsiteX628" fmla="*/ 1968812 w 2048870"/>
                <a:gd name="connsiteY628" fmla="*/ 250638 h 1413227"/>
                <a:gd name="connsiteX629" fmla="*/ 1967084 w 2048870"/>
                <a:gd name="connsiteY629" fmla="*/ 243724 h 1413227"/>
                <a:gd name="connsiteX630" fmla="*/ 1963627 w 2048870"/>
                <a:gd name="connsiteY630" fmla="*/ 238539 h 1413227"/>
                <a:gd name="connsiteX631" fmla="*/ 1965355 w 2048870"/>
                <a:gd name="connsiteY631" fmla="*/ 216068 h 1413227"/>
                <a:gd name="connsiteX632" fmla="*/ 1961898 w 2048870"/>
                <a:gd name="connsiteY632" fmla="*/ 209153 h 1413227"/>
                <a:gd name="connsiteX633" fmla="*/ 1954984 w 2048870"/>
                <a:gd name="connsiteY633" fmla="*/ 216068 h 1413227"/>
                <a:gd name="connsiteX634" fmla="*/ 1948070 w 2048870"/>
                <a:gd name="connsiteY634" fmla="*/ 217796 h 1413227"/>
                <a:gd name="connsiteX635" fmla="*/ 1937699 w 2048870"/>
                <a:gd name="connsiteY635" fmla="*/ 226439 h 1413227"/>
                <a:gd name="connsiteX636" fmla="*/ 1932513 w 2048870"/>
                <a:gd name="connsiteY636" fmla="*/ 228167 h 1413227"/>
                <a:gd name="connsiteX637" fmla="*/ 1922142 w 2048870"/>
                <a:gd name="connsiteY637" fmla="*/ 235082 h 1413227"/>
                <a:gd name="connsiteX638" fmla="*/ 1906585 w 2048870"/>
                <a:gd name="connsiteY638" fmla="*/ 231624 h 1413227"/>
                <a:gd name="connsiteX639" fmla="*/ 1885842 w 2048870"/>
                <a:gd name="connsiteY639" fmla="*/ 222982 h 1413227"/>
                <a:gd name="connsiteX640" fmla="*/ 1878928 w 2048870"/>
                <a:gd name="connsiteY640" fmla="*/ 224710 h 1413227"/>
                <a:gd name="connsiteX641" fmla="*/ 1868557 w 2048870"/>
                <a:gd name="connsiteY641" fmla="*/ 233353 h 1413227"/>
                <a:gd name="connsiteX642" fmla="*/ 1847814 w 2048870"/>
                <a:gd name="connsiteY642" fmla="*/ 221253 h 1413227"/>
                <a:gd name="connsiteX643" fmla="*/ 1839172 w 2048870"/>
                <a:gd name="connsiteY643" fmla="*/ 217796 h 1413227"/>
                <a:gd name="connsiteX644" fmla="*/ 1832257 w 2048870"/>
                <a:gd name="connsiteY644" fmla="*/ 214339 h 1413227"/>
                <a:gd name="connsiteX645" fmla="*/ 1823615 w 2048870"/>
                <a:gd name="connsiteY645" fmla="*/ 224710 h 1413227"/>
                <a:gd name="connsiteX646" fmla="*/ 1816701 w 2048870"/>
                <a:gd name="connsiteY646" fmla="*/ 229896 h 1413227"/>
                <a:gd name="connsiteX647" fmla="*/ 1787315 w 2048870"/>
                <a:gd name="connsiteY647" fmla="*/ 221253 h 1413227"/>
                <a:gd name="connsiteX648" fmla="*/ 1759659 w 2048870"/>
                <a:gd name="connsiteY648" fmla="*/ 222982 h 1413227"/>
                <a:gd name="connsiteX649" fmla="*/ 1754473 w 2048870"/>
                <a:gd name="connsiteY649" fmla="*/ 224710 h 1413227"/>
                <a:gd name="connsiteX650" fmla="*/ 1735459 w 2048870"/>
                <a:gd name="connsiteY650" fmla="*/ 222982 h 1413227"/>
                <a:gd name="connsiteX651" fmla="*/ 1728545 w 2048870"/>
                <a:gd name="connsiteY651" fmla="*/ 217796 h 1413227"/>
                <a:gd name="connsiteX652" fmla="*/ 1721631 w 2048870"/>
                <a:gd name="connsiteY652" fmla="*/ 207425 h 1413227"/>
                <a:gd name="connsiteX653" fmla="*/ 1712988 w 2048870"/>
                <a:gd name="connsiteY653" fmla="*/ 235082 h 1413227"/>
                <a:gd name="connsiteX654" fmla="*/ 1706074 w 2048870"/>
                <a:gd name="connsiteY654" fmla="*/ 250638 h 1413227"/>
                <a:gd name="connsiteX655" fmla="*/ 1692245 w 2048870"/>
                <a:gd name="connsiteY655" fmla="*/ 236810 h 1413227"/>
                <a:gd name="connsiteX656" fmla="*/ 1645575 w 2048870"/>
                <a:gd name="connsiteY656" fmla="*/ 224710 h 1413227"/>
                <a:gd name="connsiteX657" fmla="*/ 1640389 w 2048870"/>
                <a:gd name="connsiteY657" fmla="*/ 217796 h 1413227"/>
                <a:gd name="connsiteX658" fmla="*/ 1638661 w 2048870"/>
                <a:gd name="connsiteY658" fmla="*/ 212610 h 1413227"/>
                <a:gd name="connsiteX659" fmla="*/ 1623104 w 2048870"/>
                <a:gd name="connsiteY659" fmla="*/ 195325 h 1413227"/>
                <a:gd name="connsiteX660" fmla="*/ 1609275 w 2048870"/>
                <a:gd name="connsiteY660" fmla="*/ 191868 h 1413227"/>
                <a:gd name="connsiteX661" fmla="*/ 1600633 w 2048870"/>
                <a:gd name="connsiteY661" fmla="*/ 200511 h 1413227"/>
                <a:gd name="connsiteX662" fmla="*/ 1595447 w 2048870"/>
                <a:gd name="connsiteY662" fmla="*/ 202239 h 1413227"/>
                <a:gd name="connsiteX663" fmla="*/ 1574704 w 2048870"/>
                <a:gd name="connsiteY663" fmla="*/ 209153 h 1413227"/>
                <a:gd name="connsiteX664" fmla="*/ 1569519 w 2048870"/>
                <a:gd name="connsiteY664" fmla="*/ 214339 h 1413227"/>
                <a:gd name="connsiteX665" fmla="*/ 1564333 w 2048870"/>
                <a:gd name="connsiteY665" fmla="*/ 217796 h 1413227"/>
                <a:gd name="connsiteX666" fmla="*/ 1560876 w 2048870"/>
                <a:gd name="connsiteY666" fmla="*/ 224710 h 1413227"/>
                <a:gd name="connsiteX667" fmla="*/ 1543591 w 2048870"/>
                <a:gd name="connsiteY667" fmla="*/ 238539 h 1413227"/>
                <a:gd name="connsiteX668" fmla="*/ 1536676 w 2048870"/>
                <a:gd name="connsiteY668" fmla="*/ 245453 h 1413227"/>
                <a:gd name="connsiteX669" fmla="*/ 1534948 w 2048870"/>
                <a:gd name="connsiteY669" fmla="*/ 250638 h 1413227"/>
                <a:gd name="connsiteX670" fmla="*/ 1536676 w 2048870"/>
                <a:gd name="connsiteY670" fmla="*/ 255824 h 1413227"/>
                <a:gd name="connsiteX671" fmla="*/ 1510748 w 2048870"/>
                <a:gd name="connsiteY671" fmla="*/ 259281 h 1413227"/>
                <a:gd name="connsiteX672" fmla="*/ 1500377 w 2048870"/>
                <a:gd name="connsiteY672" fmla="*/ 252367 h 1413227"/>
                <a:gd name="connsiteX673" fmla="*/ 1472720 w 2048870"/>
                <a:gd name="connsiteY673" fmla="*/ 252367 h 1413227"/>
                <a:gd name="connsiteX674" fmla="*/ 1455435 w 2048870"/>
                <a:gd name="connsiteY674" fmla="*/ 254096 h 1413227"/>
                <a:gd name="connsiteX675" fmla="*/ 1446792 w 2048870"/>
                <a:gd name="connsiteY675" fmla="*/ 261010 h 1413227"/>
                <a:gd name="connsiteX676" fmla="*/ 1441606 w 2048870"/>
                <a:gd name="connsiteY676" fmla="*/ 267924 h 1413227"/>
                <a:gd name="connsiteX677" fmla="*/ 1438149 w 2048870"/>
                <a:gd name="connsiteY677" fmla="*/ 273110 h 1413227"/>
                <a:gd name="connsiteX678" fmla="*/ 1432964 w 2048870"/>
                <a:gd name="connsiteY678" fmla="*/ 274838 h 1413227"/>
                <a:gd name="connsiteX679" fmla="*/ 1419135 w 2048870"/>
                <a:gd name="connsiteY679" fmla="*/ 281752 h 1413227"/>
                <a:gd name="connsiteX680" fmla="*/ 1412221 w 2048870"/>
                <a:gd name="connsiteY680" fmla="*/ 278295 h 1413227"/>
                <a:gd name="connsiteX681" fmla="*/ 1408764 w 2048870"/>
                <a:gd name="connsiteY681" fmla="*/ 273110 h 1413227"/>
                <a:gd name="connsiteX682" fmla="*/ 1400121 w 2048870"/>
                <a:gd name="connsiteY682" fmla="*/ 257553 h 1413227"/>
                <a:gd name="connsiteX683" fmla="*/ 1394936 w 2048870"/>
                <a:gd name="connsiteY683" fmla="*/ 254096 h 1413227"/>
                <a:gd name="connsiteX684" fmla="*/ 1386293 w 2048870"/>
                <a:gd name="connsiteY684" fmla="*/ 243724 h 1413227"/>
                <a:gd name="connsiteX685" fmla="*/ 1381107 w 2048870"/>
                <a:gd name="connsiteY685" fmla="*/ 212610 h 1413227"/>
                <a:gd name="connsiteX686" fmla="*/ 1370736 w 2048870"/>
                <a:gd name="connsiteY686" fmla="*/ 202239 h 1413227"/>
                <a:gd name="connsiteX687" fmla="*/ 1363822 w 2048870"/>
                <a:gd name="connsiteY687" fmla="*/ 200511 h 1413227"/>
                <a:gd name="connsiteX688" fmla="*/ 1358636 w 2048870"/>
                <a:gd name="connsiteY688" fmla="*/ 193596 h 1413227"/>
                <a:gd name="connsiteX689" fmla="*/ 1349994 w 2048870"/>
                <a:gd name="connsiteY689" fmla="*/ 178040 h 1413227"/>
                <a:gd name="connsiteX690" fmla="*/ 1337894 w 2048870"/>
                <a:gd name="connsiteY690" fmla="*/ 167668 h 1413227"/>
                <a:gd name="connsiteX691" fmla="*/ 1298137 w 2048870"/>
                <a:gd name="connsiteY691" fmla="*/ 169397 h 1413227"/>
                <a:gd name="connsiteX692" fmla="*/ 1284309 w 2048870"/>
                <a:gd name="connsiteY692" fmla="*/ 179768 h 1413227"/>
                <a:gd name="connsiteX693" fmla="*/ 1268752 w 2048870"/>
                <a:gd name="connsiteY693" fmla="*/ 181497 h 1413227"/>
                <a:gd name="connsiteX694" fmla="*/ 1251467 w 2048870"/>
                <a:gd name="connsiteY694" fmla="*/ 174583 h 1413227"/>
                <a:gd name="connsiteX695" fmla="*/ 1241095 w 2048870"/>
                <a:gd name="connsiteY695" fmla="*/ 164211 h 1413227"/>
                <a:gd name="connsiteX696" fmla="*/ 1230724 w 2048870"/>
                <a:gd name="connsiteY696" fmla="*/ 160754 h 1413227"/>
                <a:gd name="connsiteX697" fmla="*/ 1215167 w 2048870"/>
                <a:gd name="connsiteY697" fmla="*/ 146926 h 1413227"/>
                <a:gd name="connsiteX698" fmla="*/ 1213439 w 2048870"/>
                <a:gd name="connsiteY698" fmla="*/ 140012 h 1413227"/>
                <a:gd name="connsiteX699" fmla="*/ 1206524 w 2048870"/>
                <a:gd name="connsiteY699" fmla="*/ 131369 h 1413227"/>
                <a:gd name="connsiteX700" fmla="*/ 1204796 w 2048870"/>
                <a:gd name="connsiteY700" fmla="*/ 122726 h 1413227"/>
                <a:gd name="connsiteX701" fmla="*/ 1190968 w 2048870"/>
                <a:gd name="connsiteY701" fmla="*/ 117541 h 1413227"/>
                <a:gd name="connsiteX702" fmla="*/ 1201339 w 2048870"/>
                <a:gd name="connsiteY702" fmla="*/ 105441 h 1413227"/>
                <a:gd name="connsiteX703" fmla="*/ 1208253 w 2048870"/>
                <a:gd name="connsiteY703" fmla="*/ 101984 h 1413227"/>
                <a:gd name="connsiteX704" fmla="*/ 1213439 w 2048870"/>
                <a:gd name="connsiteY704" fmla="*/ 95069 h 1413227"/>
                <a:gd name="connsiteX705" fmla="*/ 1218624 w 2048870"/>
                <a:gd name="connsiteY705" fmla="*/ 89884 h 1413227"/>
                <a:gd name="connsiteX706" fmla="*/ 1216896 w 2048870"/>
                <a:gd name="connsiteY706" fmla="*/ 84698 h 1413227"/>
                <a:gd name="connsiteX707" fmla="*/ 1206524 w 2048870"/>
                <a:gd name="connsiteY707" fmla="*/ 81241 h 1413227"/>
                <a:gd name="connsiteX708" fmla="*/ 1190968 w 2048870"/>
                <a:gd name="connsiteY708" fmla="*/ 76055 h 1413227"/>
                <a:gd name="connsiteX709" fmla="*/ 1175411 w 2048870"/>
                <a:gd name="connsiteY709" fmla="*/ 60499 h 1413227"/>
                <a:gd name="connsiteX710" fmla="*/ 1168496 w 2048870"/>
                <a:gd name="connsiteY710" fmla="*/ 53584 h 1413227"/>
                <a:gd name="connsiteX711" fmla="*/ 1165039 w 2048870"/>
                <a:gd name="connsiteY711" fmla="*/ 46670 h 1413227"/>
                <a:gd name="connsiteX712" fmla="*/ 1159854 w 2048870"/>
                <a:gd name="connsiteY712" fmla="*/ 39756 h 1413227"/>
                <a:gd name="connsiteX713" fmla="*/ 1151211 w 2048870"/>
                <a:gd name="connsiteY713" fmla="*/ 27656 h 1413227"/>
                <a:gd name="connsiteX714" fmla="*/ 1146025 w 2048870"/>
                <a:gd name="connsiteY714" fmla="*/ 24199 h 1413227"/>
                <a:gd name="connsiteX715" fmla="*/ 1140840 w 2048870"/>
                <a:gd name="connsiteY715" fmla="*/ 17285 h 1413227"/>
                <a:gd name="connsiteX716" fmla="*/ 1123554 w 2048870"/>
                <a:gd name="connsiteY716" fmla="*/ 3457 h 1413227"/>
                <a:gd name="connsiteX717" fmla="*/ 1116640 w 2048870"/>
                <a:gd name="connsiteY717" fmla="*/ 0 h 1413227"/>
                <a:gd name="connsiteX718" fmla="*/ 1102812 w 2048870"/>
                <a:gd name="connsiteY718" fmla="*/ 1728 h 1413227"/>
                <a:gd name="connsiteX719" fmla="*/ 1097626 w 2048870"/>
                <a:gd name="connsiteY719" fmla="*/ 3457 h 1413227"/>
                <a:gd name="connsiteX720" fmla="*/ 1090712 w 2048870"/>
                <a:gd name="connsiteY720" fmla="*/ 5185 h 1413227"/>
                <a:gd name="connsiteX721" fmla="*/ 1071698 w 2048870"/>
                <a:gd name="connsiteY721" fmla="*/ 17285 h 1413227"/>
                <a:gd name="connsiteX722" fmla="*/ 1056141 w 2048870"/>
                <a:gd name="connsiteY722" fmla="*/ 15556 h 1413227"/>
                <a:gd name="connsiteX723" fmla="*/ 1050955 w 2048870"/>
                <a:gd name="connsiteY723" fmla="*/ 19014 h 1413227"/>
                <a:gd name="connsiteX724" fmla="*/ 1042313 w 2048870"/>
                <a:gd name="connsiteY724" fmla="*/ 27656 h 1413227"/>
                <a:gd name="connsiteX725" fmla="*/ 1028484 w 2048870"/>
                <a:gd name="connsiteY725" fmla="*/ 38027 h 1413227"/>
                <a:gd name="connsiteX726" fmla="*/ 1025027 w 2048870"/>
                <a:gd name="connsiteY726" fmla="*/ 41485 h 1413227"/>
                <a:gd name="connsiteX727" fmla="*/ 1016385 w 2048870"/>
                <a:gd name="connsiteY727" fmla="*/ 46670 h 1413227"/>
                <a:gd name="connsiteX728" fmla="*/ 1012927 w 2048870"/>
                <a:gd name="connsiteY728" fmla="*/ 50127 h 1413227"/>
                <a:gd name="connsiteX729" fmla="*/ 997371 w 2048870"/>
                <a:gd name="connsiteY729" fmla="*/ 57041 h 1413227"/>
                <a:gd name="connsiteX730" fmla="*/ 973171 w 2048870"/>
                <a:gd name="connsiteY730" fmla="*/ 58770 h 1413227"/>
                <a:gd name="connsiteX731" fmla="*/ 967985 w 2048870"/>
                <a:gd name="connsiteY731" fmla="*/ 62227 h 1413227"/>
                <a:gd name="connsiteX732" fmla="*/ 966257 w 2048870"/>
                <a:gd name="connsiteY732" fmla="*/ 79513 h 1413227"/>
                <a:gd name="connsiteX733" fmla="*/ 962800 w 2048870"/>
                <a:gd name="connsiteY733" fmla="*/ 103712 h 1413227"/>
                <a:gd name="connsiteX734" fmla="*/ 961071 w 2048870"/>
                <a:gd name="connsiteY734" fmla="*/ 112355 h 1413227"/>
                <a:gd name="connsiteX735" fmla="*/ 916129 w 2048870"/>
                <a:gd name="connsiteY735" fmla="*/ 115812 h 1413227"/>
                <a:gd name="connsiteX736" fmla="*/ 910943 w 2048870"/>
                <a:gd name="connsiteY736" fmla="*/ 119269 h 1413227"/>
                <a:gd name="connsiteX737" fmla="*/ 905758 w 2048870"/>
                <a:gd name="connsiteY737" fmla="*/ 120998 h 1413227"/>
                <a:gd name="connsiteX738" fmla="*/ 893658 w 2048870"/>
                <a:gd name="connsiteY738" fmla="*/ 124455 h 1413227"/>
                <a:gd name="connsiteX739" fmla="*/ 888472 w 2048870"/>
                <a:gd name="connsiteY739" fmla="*/ 126183 h 1413227"/>
                <a:gd name="connsiteX740" fmla="*/ 895386 w 2048870"/>
                <a:gd name="connsiteY740" fmla="*/ 124455 h 1413227"/>
                <a:gd name="connsiteX741" fmla="*/ 904029 w 2048870"/>
                <a:gd name="connsiteY741" fmla="*/ 115812 h 1413227"/>
                <a:gd name="connsiteX742" fmla="*/ 966257 w 2048870"/>
                <a:gd name="connsiteY742" fmla="*/ 63956 h 1413227"/>
                <a:gd name="connsiteX0" fmla="*/ 966257 w 2048870"/>
                <a:gd name="connsiteY0" fmla="*/ 63956 h 1413227"/>
                <a:gd name="connsiteX1" fmla="*/ 962800 w 2048870"/>
                <a:gd name="connsiteY1" fmla="*/ 72598 h 1413227"/>
                <a:gd name="connsiteX2" fmla="*/ 919586 w 2048870"/>
                <a:gd name="connsiteY2" fmla="*/ 114083 h 1413227"/>
                <a:gd name="connsiteX3" fmla="*/ 902301 w 2048870"/>
                <a:gd name="connsiteY3" fmla="*/ 120998 h 1413227"/>
                <a:gd name="connsiteX4" fmla="*/ 885015 w 2048870"/>
                <a:gd name="connsiteY4" fmla="*/ 122726 h 1413227"/>
                <a:gd name="connsiteX5" fmla="*/ 878101 w 2048870"/>
                <a:gd name="connsiteY5" fmla="*/ 129640 h 1413227"/>
                <a:gd name="connsiteX6" fmla="*/ 855630 w 2048870"/>
                <a:gd name="connsiteY6" fmla="*/ 140012 h 1413227"/>
                <a:gd name="connsiteX7" fmla="*/ 850444 w 2048870"/>
                <a:gd name="connsiteY7" fmla="*/ 145197 h 1413227"/>
                <a:gd name="connsiteX8" fmla="*/ 831430 w 2048870"/>
                <a:gd name="connsiteY8" fmla="*/ 146926 h 1413227"/>
                <a:gd name="connsiteX9" fmla="*/ 808923 w 2048870"/>
                <a:gd name="connsiteY9" fmla="*/ 195183 h 1413227"/>
                <a:gd name="connsiteX10" fmla="*/ 817602 w 2048870"/>
                <a:gd name="connsiteY10" fmla="*/ 247181 h 1413227"/>
                <a:gd name="connsiteX11" fmla="*/ 821059 w 2048870"/>
                <a:gd name="connsiteY11" fmla="*/ 255824 h 1413227"/>
                <a:gd name="connsiteX12" fmla="*/ 826245 w 2048870"/>
                <a:gd name="connsiteY12" fmla="*/ 259281 h 1413227"/>
                <a:gd name="connsiteX13" fmla="*/ 833159 w 2048870"/>
                <a:gd name="connsiteY13" fmla="*/ 267924 h 1413227"/>
                <a:gd name="connsiteX14" fmla="*/ 836616 w 2048870"/>
                <a:gd name="connsiteY14" fmla="*/ 280024 h 1413227"/>
                <a:gd name="connsiteX15" fmla="*/ 834887 w 2048870"/>
                <a:gd name="connsiteY15" fmla="*/ 295581 h 1413227"/>
                <a:gd name="connsiteX16" fmla="*/ 821059 w 2048870"/>
                <a:gd name="connsiteY16" fmla="*/ 299038 h 1413227"/>
                <a:gd name="connsiteX17" fmla="*/ 800316 w 2048870"/>
                <a:gd name="connsiteY17" fmla="*/ 295581 h 1413227"/>
                <a:gd name="connsiteX18" fmla="*/ 786488 w 2048870"/>
                <a:gd name="connsiteY18" fmla="*/ 286938 h 1413227"/>
                <a:gd name="connsiteX19" fmla="*/ 781302 w 2048870"/>
                <a:gd name="connsiteY19" fmla="*/ 285209 h 1413227"/>
                <a:gd name="connsiteX20" fmla="*/ 774388 w 2048870"/>
                <a:gd name="connsiteY20" fmla="*/ 278295 h 1413227"/>
                <a:gd name="connsiteX21" fmla="*/ 767474 w 2048870"/>
                <a:gd name="connsiteY21" fmla="*/ 285209 h 1413227"/>
                <a:gd name="connsiteX22" fmla="*/ 758831 w 2048870"/>
                <a:gd name="connsiteY22" fmla="*/ 286938 h 1413227"/>
                <a:gd name="connsiteX23" fmla="*/ 751917 w 2048870"/>
                <a:gd name="connsiteY23" fmla="*/ 288666 h 1413227"/>
                <a:gd name="connsiteX24" fmla="*/ 746732 w 2048870"/>
                <a:gd name="connsiteY24" fmla="*/ 290395 h 1413227"/>
                <a:gd name="connsiteX25" fmla="*/ 722532 w 2048870"/>
                <a:gd name="connsiteY25" fmla="*/ 292124 h 1413227"/>
                <a:gd name="connsiteX26" fmla="*/ 720803 w 2048870"/>
                <a:gd name="connsiteY26" fmla="*/ 297309 h 1413227"/>
                <a:gd name="connsiteX27" fmla="*/ 701789 w 2048870"/>
                <a:gd name="connsiteY27" fmla="*/ 312866 h 1413227"/>
                <a:gd name="connsiteX28" fmla="*/ 686233 w 2048870"/>
                <a:gd name="connsiteY28" fmla="*/ 305952 h 1413227"/>
                <a:gd name="connsiteX29" fmla="*/ 684504 w 2048870"/>
                <a:gd name="connsiteY29" fmla="*/ 300766 h 1413227"/>
                <a:gd name="connsiteX30" fmla="*/ 681047 w 2048870"/>
                <a:gd name="connsiteY30" fmla="*/ 285209 h 1413227"/>
                <a:gd name="connsiteX31" fmla="*/ 649933 w 2048870"/>
                <a:gd name="connsiteY31" fmla="*/ 288666 h 1413227"/>
                <a:gd name="connsiteX32" fmla="*/ 646476 w 2048870"/>
                <a:gd name="connsiteY32" fmla="*/ 299038 h 1413227"/>
                <a:gd name="connsiteX33" fmla="*/ 639562 w 2048870"/>
                <a:gd name="connsiteY33" fmla="*/ 314595 h 1413227"/>
                <a:gd name="connsiteX34" fmla="*/ 634376 w 2048870"/>
                <a:gd name="connsiteY34" fmla="*/ 326694 h 1413227"/>
                <a:gd name="connsiteX35" fmla="*/ 629191 w 2048870"/>
                <a:gd name="connsiteY35" fmla="*/ 328423 h 1413227"/>
                <a:gd name="connsiteX36" fmla="*/ 613634 w 2048870"/>
                <a:gd name="connsiteY36" fmla="*/ 323237 h 1413227"/>
                <a:gd name="connsiteX37" fmla="*/ 601534 w 2048870"/>
                <a:gd name="connsiteY37" fmla="*/ 311138 h 1413227"/>
                <a:gd name="connsiteX38" fmla="*/ 572149 w 2048870"/>
                <a:gd name="connsiteY38" fmla="*/ 309409 h 1413227"/>
                <a:gd name="connsiteX39" fmla="*/ 566963 w 2048870"/>
                <a:gd name="connsiteY39" fmla="*/ 295581 h 1413227"/>
                <a:gd name="connsiteX40" fmla="*/ 563506 w 2048870"/>
                <a:gd name="connsiteY40" fmla="*/ 300766 h 1413227"/>
                <a:gd name="connsiteX41" fmla="*/ 558320 w 2048870"/>
                <a:gd name="connsiteY41" fmla="*/ 307680 h 1413227"/>
                <a:gd name="connsiteX42" fmla="*/ 549678 w 2048870"/>
                <a:gd name="connsiteY42" fmla="*/ 321509 h 1413227"/>
                <a:gd name="connsiteX43" fmla="*/ 509921 w 2048870"/>
                <a:gd name="connsiteY43" fmla="*/ 324966 h 1413227"/>
                <a:gd name="connsiteX44" fmla="*/ 515107 w 2048870"/>
                <a:gd name="connsiteY44" fmla="*/ 328423 h 1413227"/>
                <a:gd name="connsiteX45" fmla="*/ 525478 w 2048870"/>
                <a:gd name="connsiteY45" fmla="*/ 331880 h 1413227"/>
                <a:gd name="connsiteX46" fmla="*/ 523749 w 2048870"/>
                <a:gd name="connsiteY46" fmla="*/ 337066 h 1413227"/>
                <a:gd name="connsiteX47" fmla="*/ 516835 w 2048870"/>
                <a:gd name="connsiteY47" fmla="*/ 343980 h 1413227"/>
                <a:gd name="connsiteX48" fmla="*/ 511650 w 2048870"/>
                <a:gd name="connsiteY48" fmla="*/ 323237 h 1413227"/>
                <a:gd name="connsiteX49" fmla="*/ 483993 w 2048870"/>
                <a:gd name="connsiteY49" fmla="*/ 333609 h 1413227"/>
                <a:gd name="connsiteX50" fmla="*/ 478807 w 2048870"/>
                <a:gd name="connsiteY50" fmla="*/ 338794 h 1413227"/>
                <a:gd name="connsiteX51" fmla="*/ 466707 w 2048870"/>
                <a:gd name="connsiteY51" fmla="*/ 337066 h 1413227"/>
                <a:gd name="connsiteX52" fmla="*/ 463250 w 2048870"/>
                <a:gd name="connsiteY52" fmla="*/ 324966 h 1413227"/>
                <a:gd name="connsiteX53" fmla="*/ 454608 w 2048870"/>
                <a:gd name="connsiteY53" fmla="*/ 312866 h 1413227"/>
                <a:gd name="connsiteX54" fmla="*/ 449422 w 2048870"/>
                <a:gd name="connsiteY54" fmla="*/ 311138 h 1413227"/>
                <a:gd name="connsiteX55" fmla="*/ 425222 w 2048870"/>
                <a:gd name="connsiteY55" fmla="*/ 314595 h 1413227"/>
                <a:gd name="connsiteX56" fmla="*/ 273110 w 2048870"/>
                <a:gd name="connsiteY56" fmla="*/ 316323 h 1413227"/>
                <a:gd name="connsiteX57" fmla="*/ 262739 w 2048870"/>
                <a:gd name="connsiteY57" fmla="*/ 323237 h 1413227"/>
                <a:gd name="connsiteX58" fmla="*/ 255825 w 2048870"/>
                <a:gd name="connsiteY58" fmla="*/ 324966 h 1413227"/>
                <a:gd name="connsiteX59" fmla="*/ 250639 w 2048870"/>
                <a:gd name="connsiteY59" fmla="*/ 326694 h 1413227"/>
                <a:gd name="connsiteX60" fmla="*/ 238540 w 2048870"/>
                <a:gd name="connsiteY60" fmla="*/ 330152 h 1413227"/>
                <a:gd name="connsiteX61" fmla="*/ 200512 w 2048870"/>
                <a:gd name="connsiteY61" fmla="*/ 333609 h 1413227"/>
                <a:gd name="connsiteX62" fmla="*/ 188412 w 2048870"/>
                <a:gd name="connsiteY62" fmla="*/ 338794 h 1413227"/>
                <a:gd name="connsiteX63" fmla="*/ 176312 w 2048870"/>
                <a:gd name="connsiteY63" fmla="*/ 342251 h 1413227"/>
                <a:gd name="connsiteX64" fmla="*/ 146927 w 2048870"/>
                <a:gd name="connsiteY64" fmla="*/ 356080 h 1413227"/>
                <a:gd name="connsiteX65" fmla="*/ 138284 w 2048870"/>
                <a:gd name="connsiteY65" fmla="*/ 357808 h 1413227"/>
                <a:gd name="connsiteX66" fmla="*/ 136555 w 2048870"/>
                <a:gd name="connsiteY66" fmla="*/ 364722 h 1413227"/>
                <a:gd name="connsiteX67" fmla="*/ 134827 w 2048870"/>
                <a:gd name="connsiteY67" fmla="*/ 380279 h 1413227"/>
                <a:gd name="connsiteX68" fmla="*/ 127913 w 2048870"/>
                <a:gd name="connsiteY68" fmla="*/ 387193 h 1413227"/>
                <a:gd name="connsiteX69" fmla="*/ 126184 w 2048870"/>
                <a:gd name="connsiteY69" fmla="*/ 394108 h 1413227"/>
                <a:gd name="connsiteX70" fmla="*/ 124456 w 2048870"/>
                <a:gd name="connsiteY70" fmla="*/ 402750 h 1413227"/>
                <a:gd name="connsiteX71" fmla="*/ 117541 w 2048870"/>
                <a:gd name="connsiteY71" fmla="*/ 407936 h 1413227"/>
                <a:gd name="connsiteX72" fmla="*/ 105442 w 2048870"/>
                <a:gd name="connsiteY72" fmla="*/ 411393 h 1413227"/>
                <a:gd name="connsiteX73" fmla="*/ 100256 w 2048870"/>
                <a:gd name="connsiteY73" fmla="*/ 413122 h 1413227"/>
                <a:gd name="connsiteX74" fmla="*/ 70871 w 2048870"/>
                <a:gd name="connsiteY74" fmla="*/ 421764 h 1413227"/>
                <a:gd name="connsiteX75" fmla="*/ 67414 w 2048870"/>
                <a:gd name="connsiteY75" fmla="*/ 428679 h 1413227"/>
                <a:gd name="connsiteX76" fmla="*/ 69142 w 2048870"/>
                <a:gd name="connsiteY76" fmla="*/ 440778 h 1413227"/>
                <a:gd name="connsiteX77" fmla="*/ 65685 w 2048870"/>
                <a:gd name="connsiteY77" fmla="*/ 445964 h 1413227"/>
                <a:gd name="connsiteX78" fmla="*/ 63957 w 2048870"/>
                <a:gd name="connsiteY78" fmla="*/ 452878 h 1413227"/>
                <a:gd name="connsiteX79" fmla="*/ 69142 w 2048870"/>
                <a:gd name="connsiteY79" fmla="*/ 456335 h 1413227"/>
                <a:gd name="connsiteX80" fmla="*/ 74328 w 2048870"/>
                <a:gd name="connsiteY80" fmla="*/ 458064 h 1413227"/>
                <a:gd name="connsiteX81" fmla="*/ 84699 w 2048870"/>
                <a:gd name="connsiteY81" fmla="*/ 466707 h 1413227"/>
                <a:gd name="connsiteX82" fmla="*/ 81242 w 2048870"/>
                <a:gd name="connsiteY82" fmla="*/ 473621 h 1413227"/>
                <a:gd name="connsiteX83" fmla="*/ 77785 w 2048870"/>
                <a:gd name="connsiteY83" fmla="*/ 478806 h 1413227"/>
                <a:gd name="connsiteX84" fmla="*/ 79513 w 2048870"/>
                <a:gd name="connsiteY84" fmla="*/ 485721 h 1413227"/>
                <a:gd name="connsiteX85" fmla="*/ 72599 w 2048870"/>
                <a:gd name="connsiteY85" fmla="*/ 489178 h 1413227"/>
                <a:gd name="connsiteX86" fmla="*/ 63957 w 2048870"/>
                <a:gd name="connsiteY86" fmla="*/ 487449 h 1413227"/>
                <a:gd name="connsiteX87" fmla="*/ 76056 w 2048870"/>
                <a:gd name="connsiteY87" fmla="*/ 485721 h 1413227"/>
                <a:gd name="connsiteX88" fmla="*/ 86428 w 2048870"/>
                <a:gd name="connsiteY88" fmla="*/ 483992 h 1413227"/>
                <a:gd name="connsiteX89" fmla="*/ 84699 w 2048870"/>
                <a:gd name="connsiteY89" fmla="*/ 494363 h 1413227"/>
                <a:gd name="connsiteX90" fmla="*/ 86428 w 2048870"/>
                <a:gd name="connsiteY90" fmla="*/ 501277 h 1413227"/>
                <a:gd name="connsiteX91" fmla="*/ 96799 w 2048870"/>
                <a:gd name="connsiteY91" fmla="*/ 515106 h 1413227"/>
                <a:gd name="connsiteX92" fmla="*/ 101985 w 2048870"/>
                <a:gd name="connsiteY92" fmla="*/ 516834 h 1413227"/>
                <a:gd name="connsiteX93" fmla="*/ 114084 w 2048870"/>
                <a:gd name="connsiteY93" fmla="*/ 520291 h 1413227"/>
                <a:gd name="connsiteX94" fmla="*/ 109745 w 2048870"/>
                <a:gd name="connsiteY94" fmla="*/ 523095 h 1413227"/>
                <a:gd name="connsiteX95" fmla="*/ 106904 w 2048870"/>
                <a:gd name="connsiteY95" fmla="*/ 535847 h 1413227"/>
                <a:gd name="connsiteX96" fmla="*/ 124649 w 2048870"/>
                <a:gd name="connsiteY96" fmla="*/ 554668 h 1413227"/>
                <a:gd name="connsiteX97" fmla="*/ 134827 w 2048870"/>
                <a:gd name="connsiteY97" fmla="*/ 572148 h 1413227"/>
                <a:gd name="connsiteX98" fmla="*/ 140012 w 2048870"/>
                <a:gd name="connsiteY98" fmla="*/ 573876 h 1413227"/>
                <a:gd name="connsiteX99" fmla="*/ 143470 w 2048870"/>
                <a:gd name="connsiteY99" fmla="*/ 577333 h 1413227"/>
                <a:gd name="connsiteX100" fmla="*/ 146927 w 2048870"/>
                <a:gd name="connsiteY100" fmla="*/ 589433 h 1413227"/>
                <a:gd name="connsiteX101" fmla="*/ 150384 w 2048870"/>
                <a:gd name="connsiteY101" fmla="*/ 598076 h 1413227"/>
                <a:gd name="connsiteX102" fmla="*/ 148655 w 2048870"/>
                <a:gd name="connsiteY102" fmla="*/ 617090 h 1413227"/>
                <a:gd name="connsiteX103" fmla="*/ 146927 w 2048870"/>
                <a:gd name="connsiteY103" fmla="*/ 622276 h 1413227"/>
                <a:gd name="connsiteX104" fmla="*/ 141741 w 2048870"/>
                <a:gd name="connsiteY104" fmla="*/ 627461 h 1413227"/>
                <a:gd name="connsiteX105" fmla="*/ 136555 w 2048870"/>
                <a:gd name="connsiteY105" fmla="*/ 634375 h 1413227"/>
                <a:gd name="connsiteX106" fmla="*/ 120999 w 2048870"/>
                <a:gd name="connsiteY106" fmla="*/ 639561 h 1413227"/>
                <a:gd name="connsiteX107" fmla="*/ 95070 w 2048870"/>
                <a:gd name="connsiteY107" fmla="*/ 665489 h 1413227"/>
                <a:gd name="connsiteX108" fmla="*/ 89885 w 2048870"/>
                <a:gd name="connsiteY108" fmla="*/ 670675 h 1413227"/>
                <a:gd name="connsiteX109" fmla="*/ 86428 w 2048870"/>
                <a:gd name="connsiteY109" fmla="*/ 675860 h 1413227"/>
                <a:gd name="connsiteX110" fmla="*/ 81242 w 2048870"/>
                <a:gd name="connsiteY110" fmla="*/ 677589 h 1413227"/>
                <a:gd name="connsiteX111" fmla="*/ 77785 w 2048870"/>
                <a:gd name="connsiteY111" fmla="*/ 682775 h 1413227"/>
                <a:gd name="connsiteX112" fmla="*/ 63957 w 2048870"/>
                <a:gd name="connsiteY112" fmla="*/ 689689 h 1413227"/>
                <a:gd name="connsiteX113" fmla="*/ 60499 w 2048870"/>
                <a:gd name="connsiteY113" fmla="*/ 706974 h 1413227"/>
                <a:gd name="connsiteX114" fmla="*/ 50128 w 2048870"/>
                <a:gd name="connsiteY114" fmla="*/ 720803 h 1413227"/>
                <a:gd name="connsiteX115" fmla="*/ 48400 w 2048870"/>
                <a:gd name="connsiteY115" fmla="*/ 725988 h 1413227"/>
                <a:gd name="connsiteX116" fmla="*/ 46671 w 2048870"/>
                <a:gd name="connsiteY116" fmla="*/ 732902 h 1413227"/>
                <a:gd name="connsiteX117" fmla="*/ 25929 w 2048870"/>
                <a:gd name="connsiteY117" fmla="*/ 751916 h 1413227"/>
                <a:gd name="connsiteX118" fmla="*/ 19014 w 2048870"/>
                <a:gd name="connsiteY118" fmla="*/ 776116 h 1413227"/>
                <a:gd name="connsiteX119" fmla="*/ 12100 w 2048870"/>
                <a:gd name="connsiteY119" fmla="*/ 789944 h 1413227"/>
                <a:gd name="connsiteX120" fmla="*/ 17286 w 2048870"/>
                <a:gd name="connsiteY120" fmla="*/ 822787 h 1413227"/>
                <a:gd name="connsiteX121" fmla="*/ 25929 w 2048870"/>
                <a:gd name="connsiteY121" fmla="*/ 829701 h 1413227"/>
                <a:gd name="connsiteX122" fmla="*/ 29386 w 2048870"/>
                <a:gd name="connsiteY122" fmla="*/ 838344 h 1413227"/>
                <a:gd name="connsiteX123" fmla="*/ 36300 w 2048870"/>
                <a:gd name="connsiteY123" fmla="*/ 843529 h 1413227"/>
                <a:gd name="connsiteX124" fmla="*/ 38028 w 2048870"/>
                <a:gd name="connsiteY124" fmla="*/ 852172 h 1413227"/>
                <a:gd name="connsiteX125" fmla="*/ 43214 w 2048870"/>
                <a:gd name="connsiteY125" fmla="*/ 864272 h 1413227"/>
                <a:gd name="connsiteX126" fmla="*/ 44943 w 2048870"/>
                <a:gd name="connsiteY126" fmla="*/ 874643 h 1413227"/>
                <a:gd name="connsiteX127" fmla="*/ 51857 w 2048870"/>
                <a:gd name="connsiteY127" fmla="*/ 876372 h 1413227"/>
                <a:gd name="connsiteX128" fmla="*/ 53585 w 2048870"/>
                <a:gd name="connsiteY128" fmla="*/ 883286 h 1413227"/>
                <a:gd name="connsiteX129" fmla="*/ 58771 w 2048870"/>
                <a:gd name="connsiteY129" fmla="*/ 886743 h 1413227"/>
                <a:gd name="connsiteX130" fmla="*/ 51857 w 2048870"/>
                <a:gd name="connsiteY130" fmla="*/ 898843 h 1413227"/>
                <a:gd name="connsiteX131" fmla="*/ 43214 w 2048870"/>
                <a:gd name="connsiteY131" fmla="*/ 904028 h 1413227"/>
                <a:gd name="connsiteX132" fmla="*/ 29386 w 2048870"/>
                <a:gd name="connsiteY132" fmla="*/ 909214 h 1413227"/>
                <a:gd name="connsiteX133" fmla="*/ 27657 w 2048870"/>
                <a:gd name="connsiteY133" fmla="*/ 919585 h 1413227"/>
                <a:gd name="connsiteX134" fmla="*/ 25929 w 2048870"/>
                <a:gd name="connsiteY134" fmla="*/ 926499 h 1413227"/>
                <a:gd name="connsiteX135" fmla="*/ 19014 w 2048870"/>
                <a:gd name="connsiteY135" fmla="*/ 955885 h 1413227"/>
                <a:gd name="connsiteX136" fmla="*/ 10372 w 2048870"/>
                <a:gd name="connsiteY136" fmla="*/ 969713 h 1413227"/>
                <a:gd name="connsiteX137" fmla="*/ 8643 w 2048870"/>
                <a:gd name="connsiteY137" fmla="*/ 990455 h 1413227"/>
                <a:gd name="connsiteX138" fmla="*/ 0 w 2048870"/>
                <a:gd name="connsiteY138" fmla="*/ 999098 h 1413227"/>
                <a:gd name="connsiteX139" fmla="*/ 6915 w 2048870"/>
                <a:gd name="connsiteY139" fmla="*/ 1023298 h 1413227"/>
                <a:gd name="connsiteX140" fmla="*/ 15557 w 2048870"/>
                <a:gd name="connsiteY140" fmla="*/ 1025026 h 1413227"/>
                <a:gd name="connsiteX141" fmla="*/ 22471 w 2048870"/>
                <a:gd name="connsiteY141" fmla="*/ 1030212 h 1413227"/>
                <a:gd name="connsiteX142" fmla="*/ 27657 w 2048870"/>
                <a:gd name="connsiteY142" fmla="*/ 1031941 h 1413227"/>
                <a:gd name="connsiteX143" fmla="*/ 34571 w 2048870"/>
                <a:gd name="connsiteY143" fmla="*/ 1035398 h 1413227"/>
                <a:gd name="connsiteX144" fmla="*/ 39757 w 2048870"/>
                <a:gd name="connsiteY144" fmla="*/ 1042312 h 1413227"/>
                <a:gd name="connsiteX145" fmla="*/ 43214 w 2048870"/>
                <a:gd name="connsiteY145" fmla="*/ 1047497 h 1413227"/>
                <a:gd name="connsiteX146" fmla="*/ 53585 w 2048870"/>
                <a:gd name="connsiteY146" fmla="*/ 1052683 h 1413227"/>
                <a:gd name="connsiteX147" fmla="*/ 95070 w 2048870"/>
                <a:gd name="connsiteY147" fmla="*/ 1061326 h 1413227"/>
                <a:gd name="connsiteX148" fmla="*/ 96799 w 2048870"/>
                <a:gd name="connsiteY148" fmla="*/ 1073426 h 1413227"/>
                <a:gd name="connsiteX149" fmla="*/ 101985 w 2048870"/>
                <a:gd name="connsiteY149" fmla="*/ 1075154 h 1413227"/>
                <a:gd name="connsiteX150" fmla="*/ 112356 w 2048870"/>
                <a:gd name="connsiteY150" fmla="*/ 1066511 h 1413227"/>
                <a:gd name="connsiteX151" fmla="*/ 119270 w 2048870"/>
                <a:gd name="connsiteY151" fmla="*/ 1059597 h 1413227"/>
                <a:gd name="connsiteX152" fmla="*/ 120999 w 2048870"/>
                <a:gd name="connsiteY152" fmla="*/ 1054412 h 1413227"/>
                <a:gd name="connsiteX153" fmla="*/ 134827 w 2048870"/>
                <a:gd name="connsiteY153" fmla="*/ 1061326 h 1413227"/>
                <a:gd name="connsiteX154" fmla="*/ 141741 w 2048870"/>
                <a:gd name="connsiteY154" fmla="*/ 1063054 h 1413227"/>
                <a:gd name="connsiteX155" fmla="*/ 146927 w 2048870"/>
                <a:gd name="connsiteY155" fmla="*/ 1064783 h 1413227"/>
                <a:gd name="connsiteX156" fmla="*/ 247182 w 2048870"/>
                <a:gd name="connsiteY156" fmla="*/ 1068240 h 1413227"/>
                <a:gd name="connsiteX157" fmla="*/ 266196 w 2048870"/>
                <a:gd name="connsiteY157" fmla="*/ 1064783 h 1413227"/>
                <a:gd name="connsiteX158" fmla="*/ 276568 w 2048870"/>
                <a:gd name="connsiteY158" fmla="*/ 1059597 h 1413227"/>
                <a:gd name="connsiteX159" fmla="*/ 285210 w 2048870"/>
                <a:gd name="connsiteY159" fmla="*/ 1049226 h 1413227"/>
                <a:gd name="connsiteX160" fmla="*/ 295581 w 2048870"/>
                <a:gd name="connsiteY160" fmla="*/ 1052683 h 1413227"/>
                <a:gd name="connsiteX161" fmla="*/ 299039 w 2048870"/>
                <a:gd name="connsiteY161" fmla="*/ 1059597 h 1413227"/>
                <a:gd name="connsiteX162" fmla="*/ 312867 w 2048870"/>
                <a:gd name="connsiteY162" fmla="*/ 1071697 h 1413227"/>
                <a:gd name="connsiteX163" fmla="*/ 338795 w 2048870"/>
                <a:gd name="connsiteY163" fmla="*/ 1078611 h 1413227"/>
                <a:gd name="connsiteX164" fmla="*/ 361266 w 2048870"/>
                <a:gd name="connsiteY164" fmla="*/ 1075154 h 1413227"/>
                <a:gd name="connsiteX165" fmla="*/ 362995 w 2048870"/>
                <a:gd name="connsiteY165" fmla="*/ 1068240 h 1413227"/>
                <a:gd name="connsiteX166" fmla="*/ 373366 w 2048870"/>
                <a:gd name="connsiteY166" fmla="*/ 1050955 h 1413227"/>
                <a:gd name="connsiteX167" fmla="*/ 378552 w 2048870"/>
                <a:gd name="connsiteY167" fmla="*/ 1045769 h 1413227"/>
                <a:gd name="connsiteX168" fmla="*/ 397566 w 2048870"/>
                <a:gd name="connsiteY168" fmla="*/ 1038855 h 1413227"/>
                <a:gd name="connsiteX169" fmla="*/ 432137 w 2048870"/>
                <a:gd name="connsiteY169" fmla="*/ 1035398 h 1413227"/>
                <a:gd name="connsiteX170" fmla="*/ 444236 w 2048870"/>
                <a:gd name="connsiteY170" fmla="*/ 1031941 h 1413227"/>
                <a:gd name="connsiteX171" fmla="*/ 447693 w 2048870"/>
                <a:gd name="connsiteY171" fmla="*/ 1025026 h 1413227"/>
                <a:gd name="connsiteX172" fmla="*/ 452879 w 2048870"/>
                <a:gd name="connsiteY172" fmla="*/ 1021569 h 1413227"/>
                <a:gd name="connsiteX173" fmla="*/ 468436 w 2048870"/>
                <a:gd name="connsiteY173" fmla="*/ 1011198 h 1413227"/>
                <a:gd name="connsiteX174" fmla="*/ 473622 w 2048870"/>
                <a:gd name="connsiteY174" fmla="*/ 999098 h 1413227"/>
                <a:gd name="connsiteX175" fmla="*/ 478807 w 2048870"/>
                <a:gd name="connsiteY175" fmla="*/ 986998 h 1413227"/>
                <a:gd name="connsiteX176" fmla="*/ 485721 w 2048870"/>
                <a:gd name="connsiteY176" fmla="*/ 980084 h 1413227"/>
                <a:gd name="connsiteX177" fmla="*/ 489178 w 2048870"/>
                <a:gd name="connsiteY177" fmla="*/ 974899 h 1413227"/>
                <a:gd name="connsiteX178" fmla="*/ 511650 w 2048870"/>
                <a:gd name="connsiteY178" fmla="*/ 955885 h 1413227"/>
                <a:gd name="connsiteX179" fmla="*/ 530664 w 2048870"/>
                <a:gd name="connsiteY179" fmla="*/ 947242 h 1413227"/>
                <a:gd name="connsiteX180" fmla="*/ 537578 w 2048870"/>
                <a:gd name="connsiteY180" fmla="*/ 933414 h 1413227"/>
                <a:gd name="connsiteX181" fmla="*/ 539306 w 2048870"/>
                <a:gd name="connsiteY181" fmla="*/ 928228 h 1413227"/>
                <a:gd name="connsiteX182" fmla="*/ 541035 w 2048870"/>
                <a:gd name="connsiteY182" fmla="*/ 921314 h 1413227"/>
                <a:gd name="connsiteX183" fmla="*/ 563506 w 2048870"/>
                <a:gd name="connsiteY183" fmla="*/ 917857 h 1413227"/>
                <a:gd name="connsiteX184" fmla="*/ 568692 w 2048870"/>
                <a:gd name="connsiteY184" fmla="*/ 916128 h 1413227"/>
                <a:gd name="connsiteX185" fmla="*/ 584248 w 2048870"/>
                <a:gd name="connsiteY185" fmla="*/ 914400 h 1413227"/>
                <a:gd name="connsiteX186" fmla="*/ 589434 w 2048870"/>
                <a:gd name="connsiteY186" fmla="*/ 910942 h 1413227"/>
                <a:gd name="connsiteX187" fmla="*/ 599805 w 2048870"/>
                <a:gd name="connsiteY187" fmla="*/ 905757 h 1413227"/>
                <a:gd name="connsiteX188" fmla="*/ 604991 w 2048870"/>
                <a:gd name="connsiteY188" fmla="*/ 900571 h 1413227"/>
                <a:gd name="connsiteX189" fmla="*/ 606719 w 2048870"/>
                <a:gd name="connsiteY189" fmla="*/ 895386 h 1413227"/>
                <a:gd name="connsiteX190" fmla="*/ 615362 w 2048870"/>
                <a:gd name="connsiteY190" fmla="*/ 891928 h 1413227"/>
                <a:gd name="connsiteX191" fmla="*/ 620548 w 2048870"/>
                <a:gd name="connsiteY191" fmla="*/ 886743 h 1413227"/>
                <a:gd name="connsiteX192" fmla="*/ 639562 w 2048870"/>
                <a:gd name="connsiteY192" fmla="*/ 879829 h 1413227"/>
                <a:gd name="connsiteX193" fmla="*/ 653390 w 2048870"/>
                <a:gd name="connsiteY193" fmla="*/ 883286 h 1413227"/>
                <a:gd name="connsiteX194" fmla="*/ 660304 w 2048870"/>
                <a:gd name="connsiteY194" fmla="*/ 885014 h 1413227"/>
                <a:gd name="connsiteX195" fmla="*/ 668947 w 2048870"/>
                <a:gd name="connsiteY195" fmla="*/ 886743 h 1413227"/>
                <a:gd name="connsiteX196" fmla="*/ 675861 w 2048870"/>
                <a:gd name="connsiteY196" fmla="*/ 890200 h 1413227"/>
                <a:gd name="connsiteX197" fmla="*/ 682775 w 2048870"/>
                <a:gd name="connsiteY197" fmla="*/ 891928 h 1413227"/>
                <a:gd name="connsiteX198" fmla="*/ 687961 w 2048870"/>
                <a:gd name="connsiteY198" fmla="*/ 895386 h 1413227"/>
                <a:gd name="connsiteX199" fmla="*/ 700061 w 2048870"/>
                <a:gd name="connsiteY199" fmla="*/ 898843 h 1413227"/>
                <a:gd name="connsiteX200" fmla="*/ 706975 w 2048870"/>
                <a:gd name="connsiteY200" fmla="*/ 904028 h 1413227"/>
                <a:gd name="connsiteX201" fmla="*/ 720803 w 2048870"/>
                <a:gd name="connsiteY201" fmla="*/ 907485 h 1413227"/>
                <a:gd name="connsiteX202" fmla="*/ 727718 w 2048870"/>
                <a:gd name="connsiteY202" fmla="*/ 905757 h 1413227"/>
                <a:gd name="connsiteX203" fmla="*/ 736360 w 2048870"/>
                <a:gd name="connsiteY203" fmla="*/ 904028 h 1413227"/>
                <a:gd name="connsiteX204" fmla="*/ 738089 w 2048870"/>
                <a:gd name="connsiteY204" fmla="*/ 910942 h 1413227"/>
                <a:gd name="connsiteX205" fmla="*/ 760560 w 2048870"/>
                <a:gd name="connsiteY205" fmla="*/ 904028 h 1413227"/>
                <a:gd name="connsiteX206" fmla="*/ 770931 w 2048870"/>
                <a:gd name="connsiteY206" fmla="*/ 895386 h 1413227"/>
                <a:gd name="connsiteX207" fmla="*/ 776117 w 2048870"/>
                <a:gd name="connsiteY207" fmla="*/ 909214 h 1413227"/>
                <a:gd name="connsiteX208" fmla="*/ 783031 w 2048870"/>
                <a:gd name="connsiteY208" fmla="*/ 914400 h 1413227"/>
                <a:gd name="connsiteX209" fmla="*/ 788217 w 2048870"/>
                <a:gd name="connsiteY209" fmla="*/ 919585 h 1413227"/>
                <a:gd name="connsiteX210" fmla="*/ 793402 w 2048870"/>
                <a:gd name="connsiteY210" fmla="*/ 923042 h 1413227"/>
                <a:gd name="connsiteX211" fmla="*/ 798588 w 2048870"/>
                <a:gd name="connsiteY211" fmla="*/ 928228 h 1413227"/>
                <a:gd name="connsiteX212" fmla="*/ 815873 w 2048870"/>
                <a:gd name="connsiteY212" fmla="*/ 935142 h 1413227"/>
                <a:gd name="connsiteX213" fmla="*/ 821059 w 2048870"/>
                <a:gd name="connsiteY213" fmla="*/ 926499 h 1413227"/>
                <a:gd name="connsiteX214" fmla="*/ 824516 w 2048870"/>
                <a:gd name="connsiteY214" fmla="*/ 910942 h 1413227"/>
                <a:gd name="connsiteX215" fmla="*/ 833159 w 2048870"/>
                <a:gd name="connsiteY215" fmla="*/ 912671 h 1413227"/>
                <a:gd name="connsiteX216" fmla="*/ 838344 w 2048870"/>
                <a:gd name="connsiteY216" fmla="*/ 926499 h 1413227"/>
                <a:gd name="connsiteX217" fmla="*/ 841802 w 2048870"/>
                <a:gd name="connsiteY217" fmla="*/ 929956 h 1413227"/>
                <a:gd name="connsiteX218" fmla="*/ 850444 w 2048870"/>
                <a:gd name="connsiteY218" fmla="*/ 948970 h 1413227"/>
                <a:gd name="connsiteX219" fmla="*/ 853901 w 2048870"/>
                <a:gd name="connsiteY219" fmla="*/ 954156 h 1413227"/>
                <a:gd name="connsiteX220" fmla="*/ 859087 w 2048870"/>
                <a:gd name="connsiteY220" fmla="*/ 988727 h 1413227"/>
                <a:gd name="connsiteX221" fmla="*/ 864273 w 2048870"/>
                <a:gd name="connsiteY221" fmla="*/ 1009469 h 1413227"/>
                <a:gd name="connsiteX222" fmla="*/ 878101 w 2048870"/>
                <a:gd name="connsiteY222" fmla="*/ 1012927 h 1413227"/>
                <a:gd name="connsiteX223" fmla="*/ 885015 w 2048870"/>
                <a:gd name="connsiteY223" fmla="*/ 1016384 h 1413227"/>
                <a:gd name="connsiteX224" fmla="*/ 888472 w 2048870"/>
                <a:gd name="connsiteY224" fmla="*/ 1021569 h 1413227"/>
                <a:gd name="connsiteX225" fmla="*/ 900572 w 2048870"/>
                <a:gd name="connsiteY225" fmla="*/ 1026755 h 1413227"/>
                <a:gd name="connsiteX226" fmla="*/ 905758 w 2048870"/>
                <a:gd name="connsiteY226" fmla="*/ 1033669 h 1413227"/>
                <a:gd name="connsiteX227" fmla="*/ 909215 w 2048870"/>
                <a:gd name="connsiteY227" fmla="*/ 1040583 h 1413227"/>
                <a:gd name="connsiteX228" fmla="*/ 912672 w 2048870"/>
                <a:gd name="connsiteY228" fmla="*/ 1045769 h 1413227"/>
                <a:gd name="connsiteX229" fmla="*/ 921315 w 2048870"/>
                <a:gd name="connsiteY229" fmla="*/ 1061326 h 1413227"/>
                <a:gd name="connsiteX230" fmla="*/ 928229 w 2048870"/>
                <a:gd name="connsiteY230" fmla="*/ 1082068 h 1413227"/>
                <a:gd name="connsiteX231" fmla="*/ 929957 w 2048870"/>
                <a:gd name="connsiteY231" fmla="*/ 1088983 h 1413227"/>
                <a:gd name="connsiteX232" fmla="*/ 940329 w 2048870"/>
                <a:gd name="connsiteY232" fmla="*/ 1095897 h 1413227"/>
                <a:gd name="connsiteX233" fmla="*/ 959343 w 2048870"/>
                <a:gd name="connsiteY233" fmla="*/ 1097625 h 1413227"/>
                <a:gd name="connsiteX234" fmla="*/ 967985 w 2048870"/>
                <a:gd name="connsiteY234" fmla="*/ 1101082 h 1413227"/>
                <a:gd name="connsiteX235" fmla="*/ 973171 w 2048870"/>
                <a:gd name="connsiteY235" fmla="*/ 1106268 h 1413227"/>
                <a:gd name="connsiteX236" fmla="*/ 978357 w 2048870"/>
                <a:gd name="connsiteY236" fmla="*/ 1109725 h 1413227"/>
                <a:gd name="connsiteX237" fmla="*/ 983542 w 2048870"/>
                <a:gd name="connsiteY237" fmla="*/ 1118368 h 1413227"/>
                <a:gd name="connsiteX238" fmla="*/ 985271 w 2048870"/>
                <a:gd name="connsiteY238" fmla="*/ 1132196 h 1413227"/>
                <a:gd name="connsiteX239" fmla="*/ 992185 w 2048870"/>
                <a:gd name="connsiteY239" fmla="*/ 1139110 h 1413227"/>
                <a:gd name="connsiteX240" fmla="*/ 1006013 w 2048870"/>
                <a:gd name="connsiteY240" fmla="*/ 1147753 h 1413227"/>
                <a:gd name="connsiteX241" fmla="*/ 1019842 w 2048870"/>
                <a:gd name="connsiteY241" fmla="*/ 1165038 h 1413227"/>
                <a:gd name="connsiteX242" fmla="*/ 1012927 w 2048870"/>
                <a:gd name="connsiteY242" fmla="*/ 1168496 h 1413227"/>
                <a:gd name="connsiteX243" fmla="*/ 1009470 w 2048870"/>
                <a:gd name="connsiteY243" fmla="*/ 1173681 h 1413227"/>
                <a:gd name="connsiteX244" fmla="*/ 997371 w 2048870"/>
                <a:gd name="connsiteY244" fmla="*/ 1177138 h 1413227"/>
                <a:gd name="connsiteX245" fmla="*/ 990456 w 2048870"/>
                <a:gd name="connsiteY245" fmla="*/ 1182324 h 1413227"/>
                <a:gd name="connsiteX246" fmla="*/ 973171 w 2048870"/>
                <a:gd name="connsiteY246" fmla="*/ 1182324 h 1413227"/>
                <a:gd name="connsiteX247" fmla="*/ 971442 w 2048870"/>
                <a:gd name="connsiteY247" fmla="*/ 1161581 h 1413227"/>
                <a:gd name="connsiteX248" fmla="*/ 962800 w 2048870"/>
                <a:gd name="connsiteY248" fmla="*/ 1171953 h 1413227"/>
                <a:gd name="connsiteX249" fmla="*/ 959343 w 2048870"/>
                <a:gd name="connsiteY249" fmla="*/ 1178867 h 1413227"/>
                <a:gd name="connsiteX250" fmla="*/ 955885 w 2048870"/>
                <a:gd name="connsiteY250" fmla="*/ 1184052 h 1413227"/>
                <a:gd name="connsiteX251" fmla="*/ 947243 w 2048870"/>
                <a:gd name="connsiteY251" fmla="*/ 1187510 h 1413227"/>
                <a:gd name="connsiteX252" fmla="*/ 940329 w 2048870"/>
                <a:gd name="connsiteY252" fmla="*/ 1190967 h 1413227"/>
                <a:gd name="connsiteX253" fmla="*/ 935143 w 2048870"/>
                <a:gd name="connsiteY253" fmla="*/ 1189238 h 1413227"/>
                <a:gd name="connsiteX254" fmla="*/ 929957 w 2048870"/>
                <a:gd name="connsiteY254" fmla="*/ 1171953 h 1413227"/>
                <a:gd name="connsiteX255" fmla="*/ 926500 w 2048870"/>
                <a:gd name="connsiteY255" fmla="*/ 1165038 h 1413227"/>
                <a:gd name="connsiteX256" fmla="*/ 921315 w 2048870"/>
                <a:gd name="connsiteY256" fmla="*/ 1178867 h 1413227"/>
                <a:gd name="connsiteX257" fmla="*/ 917857 w 2048870"/>
                <a:gd name="connsiteY257" fmla="*/ 1182324 h 1413227"/>
                <a:gd name="connsiteX258" fmla="*/ 914400 w 2048870"/>
                <a:gd name="connsiteY258" fmla="*/ 1194424 h 1413227"/>
                <a:gd name="connsiteX259" fmla="*/ 909215 w 2048870"/>
                <a:gd name="connsiteY259" fmla="*/ 1199609 h 1413227"/>
                <a:gd name="connsiteX260" fmla="*/ 886744 w 2048870"/>
                <a:gd name="connsiteY260" fmla="*/ 1180595 h 1413227"/>
                <a:gd name="connsiteX261" fmla="*/ 883287 w 2048870"/>
                <a:gd name="connsiteY261" fmla="*/ 1189238 h 1413227"/>
                <a:gd name="connsiteX262" fmla="*/ 879830 w 2048870"/>
                <a:gd name="connsiteY262" fmla="*/ 1194424 h 1413227"/>
                <a:gd name="connsiteX263" fmla="*/ 874644 w 2048870"/>
                <a:gd name="connsiteY263" fmla="*/ 1204795 h 1413227"/>
                <a:gd name="connsiteX264" fmla="*/ 879830 w 2048870"/>
                <a:gd name="connsiteY264" fmla="*/ 1211709 h 1413227"/>
                <a:gd name="connsiteX265" fmla="*/ 890201 w 2048870"/>
                <a:gd name="connsiteY265" fmla="*/ 1215166 h 1413227"/>
                <a:gd name="connsiteX266" fmla="*/ 893658 w 2048870"/>
                <a:gd name="connsiteY266" fmla="*/ 1235909 h 1413227"/>
                <a:gd name="connsiteX267" fmla="*/ 891929 w 2048870"/>
                <a:gd name="connsiteY267" fmla="*/ 1258380 h 1413227"/>
                <a:gd name="connsiteX268" fmla="*/ 890201 w 2048870"/>
                <a:gd name="connsiteY268" fmla="*/ 1263565 h 1413227"/>
                <a:gd name="connsiteX269" fmla="*/ 878101 w 2048870"/>
                <a:gd name="connsiteY269" fmla="*/ 1275665 h 1413227"/>
                <a:gd name="connsiteX270" fmla="*/ 871187 w 2048870"/>
                <a:gd name="connsiteY270" fmla="*/ 1282579 h 1413227"/>
                <a:gd name="connsiteX271" fmla="*/ 876372 w 2048870"/>
                <a:gd name="connsiteY271" fmla="*/ 1287765 h 1413227"/>
                <a:gd name="connsiteX272" fmla="*/ 874644 w 2048870"/>
                <a:gd name="connsiteY272" fmla="*/ 1306779 h 1413227"/>
                <a:gd name="connsiteX273" fmla="*/ 869458 w 2048870"/>
                <a:gd name="connsiteY273" fmla="*/ 1308508 h 1413227"/>
                <a:gd name="connsiteX274" fmla="*/ 864273 w 2048870"/>
                <a:gd name="connsiteY274" fmla="*/ 1320607 h 1413227"/>
                <a:gd name="connsiteX275" fmla="*/ 858371 w 2048870"/>
                <a:gd name="connsiteY275" fmla="*/ 1338987 h 1413227"/>
                <a:gd name="connsiteX276" fmla="*/ 862544 w 2048870"/>
                <a:gd name="connsiteY276" fmla="*/ 1360364 h 1413227"/>
                <a:gd name="connsiteX277" fmla="*/ 857358 w 2048870"/>
                <a:gd name="connsiteY277" fmla="*/ 1363821 h 1413227"/>
                <a:gd name="connsiteX278" fmla="*/ 852173 w 2048870"/>
                <a:gd name="connsiteY278" fmla="*/ 1365550 h 1413227"/>
                <a:gd name="connsiteX279" fmla="*/ 850444 w 2048870"/>
                <a:gd name="connsiteY279" fmla="*/ 1370735 h 1413227"/>
                <a:gd name="connsiteX280" fmla="*/ 838344 w 2048870"/>
                <a:gd name="connsiteY280" fmla="*/ 1379378 h 1413227"/>
                <a:gd name="connsiteX281" fmla="*/ 841802 w 2048870"/>
                <a:gd name="connsiteY281" fmla="*/ 1389749 h 1413227"/>
                <a:gd name="connsiteX282" fmla="*/ 840497 w 2048870"/>
                <a:gd name="connsiteY282" fmla="*/ 1405535 h 1413227"/>
                <a:gd name="connsiteX283" fmla="*/ 835505 w 2048870"/>
                <a:gd name="connsiteY283" fmla="*/ 1401197 h 1413227"/>
                <a:gd name="connsiteX284" fmla="*/ 854324 w 2048870"/>
                <a:gd name="connsiteY284" fmla="*/ 1410492 h 1413227"/>
                <a:gd name="connsiteX285" fmla="*/ 885015 w 2048870"/>
                <a:gd name="connsiteY285" fmla="*/ 1408763 h 1413227"/>
                <a:gd name="connsiteX286" fmla="*/ 890201 w 2048870"/>
                <a:gd name="connsiteY286" fmla="*/ 1413103 h 1413227"/>
                <a:gd name="connsiteX287" fmla="*/ 921633 w 2048870"/>
                <a:gd name="connsiteY287" fmla="*/ 1403013 h 1413227"/>
                <a:gd name="connsiteX288" fmla="*/ 932427 w 2048870"/>
                <a:gd name="connsiteY288" fmla="*/ 1394371 h 1413227"/>
                <a:gd name="connsiteX289" fmla="*/ 933873 w 2048870"/>
                <a:gd name="connsiteY289" fmla="*/ 1386010 h 1413227"/>
                <a:gd name="connsiteX290" fmla="*/ 943362 w 2048870"/>
                <a:gd name="connsiteY290" fmla="*/ 1367278 h 1413227"/>
                <a:gd name="connsiteX291" fmla="*/ 943786 w 2048870"/>
                <a:gd name="connsiteY291" fmla="*/ 1362093 h 1413227"/>
                <a:gd name="connsiteX292" fmla="*/ 954157 w 2048870"/>
                <a:gd name="connsiteY292" fmla="*/ 1360364 h 1413227"/>
                <a:gd name="connsiteX293" fmla="*/ 993913 w 2048870"/>
                <a:gd name="connsiteY293" fmla="*/ 1356907 h 1413227"/>
                <a:gd name="connsiteX294" fmla="*/ 997371 w 2048870"/>
                <a:gd name="connsiteY294" fmla="*/ 1349993 h 1413227"/>
                <a:gd name="connsiteX295" fmla="*/ 1009470 w 2048870"/>
                <a:gd name="connsiteY295" fmla="*/ 1344807 h 1413227"/>
                <a:gd name="connsiteX296" fmla="*/ 997371 w 2048870"/>
                <a:gd name="connsiteY296" fmla="*/ 1334436 h 1413227"/>
                <a:gd name="connsiteX297" fmla="*/ 993913 w 2048870"/>
                <a:gd name="connsiteY297" fmla="*/ 1327522 h 1413227"/>
                <a:gd name="connsiteX298" fmla="*/ 988728 w 2048870"/>
                <a:gd name="connsiteY298" fmla="*/ 1322336 h 1413227"/>
                <a:gd name="connsiteX299" fmla="*/ 985271 w 2048870"/>
                <a:gd name="connsiteY299" fmla="*/ 1310236 h 1413227"/>
                <a:gd name="connsiteX300" fmla="*/ 981814 w 2048870"/>
                <a:gd name="connsiteY300" fmla="*/ 1299865 h 1413227"/>
                <a:gd name="connsiteX301" fmla="*/ 990456 w 2048870"/>
                <a:gd name="connsiteY301" fmla="*/ 1287765 h 1413227"/>
                <a:gd name="connsiteX302" fmla="*/ 992185 w 2048870"/>
                <a:gd name="connsiteY302" fmla="*/ 1292951 h 1413227"/>
                <a:gd name="connsiteX303" fmla="*/ 1014656 w 2048870"/>
                <a:gd name="connsiteY303" fmla="*/ 1299865 h 1413227"/>
                <a:gd name="connsiteX304" fmla="*/ 1016385 w 2048870"/>
                <a:gd name="connsiteY304" fmla="*/ 1294679 h 1413227"/>
                <a:gd name="connsiteX305" fmla="*/ 1018113 w 2048870"/>
                <a:gd name="connsiteY305" fmla="*/ 1284308 h 1413227"/>
                <a:gd name="connsiteX306" fmla="*/ 1031941 w 2048870"/>
                <a:gd name="connsiteY306" fmla="*/ 1270480 h 1413227"/>
                <a:gd name="connsiteX307" fmla="*/ 1037127 w 2048870"/>
                <a:gd name="connsiteY307" fmla="*/ 1265294 h 1413227"/>
                <a:gd name="connsiteX308" fmla="*/ 1038856 w 2048870"/>
                <a:gd name="connsiteY308" fmla="*/ 1260108 h 1413227"/>
                <a:gd name="connsiteX309" fmla="*/ 1054412 w 2048870"/>
                <a:gd name="connsiteY309" fmla="*/ 1251466 h 1413227"/>
                <a:gd name="connsiteX310" fmla="*/ 1063055 w 2048870"/>
                <a:gd name="connsiteY310" fmla="*/ 1242823 h 1413227"/>
                <a:gd name="connsiteX311" fmla="*/ 1068241 w 2048870"/>
                <a:gd name="connsiteY311" fmla="*/ 1223809 h 1413227"/>
                <a:gd name="connsiteX312" fmla="*/ 1069969 w 2048870"/>
                <a:gd name="connsiteY312" fmla="*/ 1215166 h 1413227"/>
                <a:gd name="connsiteX313" fmla="*/ 1075155 w 2048870"/>
                <a:gd name="connsiteY313" fmla="*/ 1201338 h 1413227"/>
                <a:gd name="connsiteX314" fmla="*/ 1080341 w 2048870"/>
                <a:gd name="connsiteY314" fmla="*/ 1175410 h 1413227"/>
                <a:gd name="connsiteX315" fmla="*/ 1082069 w 2048870"/>
                <a:gd name="connsiteY315" fmla="*/ 1170224 h 1413227"/>
                <a:gd name="connsiteX316" fmla="*/ 1083798 w 2048870"/>
                <a:gd name="connsiteY316" fmla="*/ 1161581 h 1413227"/>
                <a:gd name="connsiteX317" fmla="*/ 1085526 w 2048870"/>
                <a:gd name="connsiteY317" fmla="*/ 1156396 h 1413227"/>
                <a:gd name="connsiteX318" fmla="*/ 1087255 w 2048870"/>
                <a:gd name="connsiteY318" fmla="*/ 1147753 h 1413227"/>
                <a:gd name="connsiteX319" fmla="*/ 1097626 w 2048870"/>
                <a:gd name="connsiteY319" fmla="*/ 1128739 h 1413227"/>
                <a:gd name="connsiteX320" fmla="*/ 1099355 w 2048870"/>
                <a:gd name="connsiteY320" fmla="*/ 1111454 h 1413227"/>
                <a:gd name="connsiteX321" fmla="*/ 1106269 w 2048870"/>
                <a:gd name="connsiteY321" fmla="*/ 1097625 h 1413227"/>
                <a:gd name="connsiteX322" fmla="*/ 1111454 w 2048870"/>
                <a:gd name="connsiteY322" fmla="*/ 1095897 h 1413227"/>
                <a:gd name="connsiteX323" fmla="*/ 1127011 w 2048870"/>
                <a:gd name="connsiteY323" fmla="*/ 1094168 h 1413227"/>
                <a:gd name="connsiteX324" fmla="*/ 1132197 w 2048870"/>
                <a:gd name="connsiteY324" fmla="*/ 1088983 h 1413227"/>
                <a:gd name="connsiteX325" fmla="*/ 1166768 w 2048870"/>
                <a:gd name="connsiteY325" fmla="*/ 1083797 h 1413227"/>
                <a:gd name="connsiteX326" fmla="*/ 1175411 w 2048870"/>
                <a:gd name="connsiteY326" fmla="*/ 1073426 h 1413227"/>
                <a:gd name="connsiteX327" fmla="*/ 1177139 w 2048870"/>
                <a:gd name="connsiteY327" fmla="*/ 1061326 h 1413227"/>
                <a:gd name="connsiteX328" fmla="*/ 1170225 w 2048870"/>
                <a:gd name="connsiteY328" fmla="*/ 1047497 h 1413227"/>
                <a:gd name="connsiteX329" fmla="*/ 1163311 w 2048870"/>
                <a:gd name="connsiteY329" fmla="*/ 1050955 h 1413227"/>
                <a:gd name="connsiteX330" fmla="*/ 1166768 w 2048870"/>
                <a:gd name="connsiteY330" fmla="*/ 1068240 h 1413227"/>
                <a:gd name="connsiteX331" fmla="*/ 1170225 w 2048870"/>
                <a:gd name="connsiteY331" fmla="*/ 1076883 h 1413227"/>
                <a:gd name="connsiteX332" fmla="*/ 1182325 w 2048870"/>
                <a:gd name="connsiteY332" fmla="*/ 1080340 h 1413227"/>
                <a:gd name="connsiteX333" fmla="*/ 1206524 w 2048870"/>
                <a:gd name="connsiteY333" fmla="*/ 1078611 h 1413227"/>
                <a:gd name="connsiteX334" fmla="*/ 1211710 w 2048870"/>
                <a:gd name="connsiteY334" fmla="*/ 1073426 h 1413227"/>
                <a:gd name="connsiteX335" fmla="*/ 1218624 w 2048870"/>
                <a:gd name="connsiteY335" fmla="*/ 1057869 h 1413227"/>
                <a:gd name="connsiteX336" fmla="*/ 1220353 w 2048870"/>
                <a:gd name="connsiteY336" fmla="*/ 1044040 h 1413227"/>
                <a:gd name="connsiteX337" fmla="*/ 1218624 w 2048870"/>
                <a:gd name="connsiteY337" fmla="*/ 1014655 h 1413227"/>
                <a:gd name="connsiteX338" fmla="*/ 1211710 w 2048870"/>
                <a:gd name="connsiteY338" fmla="*/ 997370 h 1413227"/>
                <a:gd name="connsiteX339" fmla="*/ 1206524 w 2048870"/>
                <a:gd name="connsiteY339" fmla="*/ 993913 h 1413227"/>
                <a:gd name="connsiteX340" fmla="*/ 1184053 w 2048870"/>
                <a:gd name="connsiteY340" fmla="*/ 973170 h 1413227"/>
                <a:gd name="connsiteX341" fmla="*/ 1173682 w 2048870"/>
                <a:gd name="connsiteY341" fmla="*/ 962799 h 1413227"/>
                <a:gd name="connsiteX342" fmla="*/ 1168496 w 2048870"/>
                <a:gd name="connsiteY342" fmla="*/ 957613 h 1413227"/>
                <a:gd name="connsiteX343" fmla="*/ 1171954 w 2048870"/>
                <a:gd name="connsiteY343" fmla="*/ 961070 h 1413227"/>
                <a:gd name="connsiteX344" fmla="*/ 1178868 w 2048870"/>
                <a:gd name="connsiteY344" fmla="*/ 971441 h 1413227"/>
                <a:gd name="connsiteX345" fmla="*/ 1185782 w 2048870"/>
                <a:gd name="connsiteY345" fmla="*/ 980084 h 1413227"/>
                <a:gd name="connsiteX346" fmla="*/ 1190968 w 2048870"/>
                <a:gd name="connsiteY346" fmla="*/ 985270 h 1413227"/>
                <a:gd name="connsiteX347" fmla="*/ 1194425 w 2048870"/>
                <a:gd name="connsiteY347" fmla="*/ 993913 h 1413227"/>
                <a:gd name="connsiteX348" fmla="*/ 1206524 w 2048870"/>
                <a:gd name="connsiteY348" fmla="*/ 1007741 h 1413227"/>
                <a:gd name="connsiteX349" fmla="*/ 1208253 w 2048870"/>
                <a:gd name="connsiteY349" fmla="*/ 1014655 h 1413227"/>
                <a:gd name="connsiteX350" fmla="*/ 1211710 w 2048870"/>
                <a:gd name="connsiteY350" fmla="*/ 1023298 h 1413227"/>
                <a:gd name="connsiteX351" fmla="*/ 1213439 w 2048870"/>
                <a:gd name="connsiteY351" fmla="*/ 1035398 h 1413227"/>
                <a:gd name="connsiteX352" fmla="*/ 1215167 w 2048870"/>
                <a:gd name="connsiteY352" fmla="*/ 1044040 h 1413227"/>
                <a:gd name="connsiteX353" fmla="*/ 1220353 w 2048870"/>
                <a:gd name="connsiteY353" fmla="*/ 1045769 h 1413227"/>
                <a:gd name="connsiteX354" fmla="*/ 1223810 w 2048870"/>
                <a:gd name="connsiteY354" fmla="*/ 1050955 h 1413227"/>
                <a:gd name="connsiteX355" fmla="*/ 1234181 w 2048870"/>
                <a:gd name="connsiteY355" fmla="*/ 1063054 h 1413227"/>
                <a:gd name="connsiteX356" fmla="*/ 1253195 w 2048870"/>
                <a:gd name="connsiteY356" fmla="*/ 1057869 h 1413227"/>
                <a:gd name="connsiteX357" fmla="*/ 1258381 w 2048870"/>
                <a:gd name="connsiteY357" fmla="*/ 1054412 h 1413227"/>
                <a:gd name="connsiteX358" fmla="*/ 1265295 w 2048870"/>
                <a:gd name="connsiteY358" fmla="*/ 1050955 h 1413227"/>
                <a:gd name="connsiteX359" fmla="*/ 1267023 w 2048870"/>
                <a:gd name="connsiteY359" fmla="*/ 1056140 h 1413227"/>
                <a:gd name="connsiteX360" fmla="*/ 1268752 w 2048870"/>
                <a:gd name="connsiteY360" fmla="*/ 1068240 h 1413227"/>
                <a:gd name="connsiteX361" fmla="*/ 1279123 w 2048870"/>
                <a:gd name="connsiteY361" fmla="*/ 1064783 h 1413227"/>
                <a:gd name="connsiteX362" fmla="*/ 1289495 w 2048870"/>
                <a:gd name="connsiteY362" fmla="*/ 1056140 h 1413227"/>
                <a:gd name="connsiteX363" fmla="*/ 1299866 w 2048870"/>
                <a:gd name="connsiteY363" fmla="*/ 1045769 h 1413227"/>
                <a:gd name="connsiteX364" fmla="*/ 1305051 w 2048870"/>
                <a:gd name="connsiteY364" fmla="*/ 1042312 h 1413227"/>
                <a:gd name="connsiteX365" fmla="*/ 1294680 w 2048870"/>
                <a:gd name="connsiteY365" fmla="*/ 1061326 h 1413227"/>
                <a:gd name="connsiteX366" fmla="*/ 1286037 w 2048870"/>
                <a:gd name="connsiteY366" fmla="*/ 1075154 h 1413227"/>
                <a:gd name="connsiteX367" fmla="*/ 1272209 w 2048870"/>
                <a:gd name="connsiteY367" fmla="*/ 1082068 h 1413227"/>
                <a:gd name="connsiteX368" fmla="*/ 1265295 w 2048870"/>
                <a:gd name="connsiteY368" fmla="*/ 1085525 h 1413227"/>
                <a:gd name="connsiteX369" fmla="*/ 1260109 w 2048870"/>
                <a:gd name="connsiteY369" fmla="*/ 1087254 h 1413227"/>
                <a:gd name="connsiteX370" fmla="*/ 1251467 w 2048870"/>
                <a:gd name="connsiteY370" fmla="*/ 1092440 h 1413227"/>
                <a:gd name="connsiteX371" fmla="*/ 1232453 w 2048870"/>
                <a:gd name="connsiteY371" fmla="*/ 1095897 h 1413227"/>
                <a:gd name="connsiteX372" fmla="*/ 1230724 w 2048870"/>
                <a:gd name="connsiteY372" fmla="*/ 1121825 h 1413227"/>
                <a:gd name="connsiteX373" fmla="*/ 1223810 w 2048870"/>
                <a:gd name="connsiteY373" fmla="*/ 1128739 h 1413227"/>
                <a:gd name="connsiteX374" fmla="*/ 1216896 w 2048870"/>
                <a:gd name="connsiteY374" fmla="*/ 1130468 h 1413227"/>
                <a:gd name="connsiteX375" fmla="*/ 1248009 w 2048870"/>
                <a:gd name="connsiteY375" fmla="*/ 1123553 h 1413227"/>
                <a:gd name="connsiteX376" fmla="*/ 1275666 w 2048870"/>
                <a:gd name="connsiteY376" fmla="*/ 1125282 h 1413227"/>
                <a:gd name="connsiteX377" fmla="*/ 1282580 w 2048870"/>
                <a:gd name="connsiteY377" fmla="*/ 1128739 h 1413227"/>
                <a:gd name="connsiteX378" fmla="*/ 1318880 w 2048870"/>
                <a:gd name="connsiteY378" fmla="*/ 1127010 h 1413227"/>
                <a:gd name="connsiteX379" fmla="*/ 1330980 w 2048870"/>
                <a:gd name="connsiteY379" fmla="*/ 1123553 h 1413227"/>
                <a:gd name="connsiteX380" fmla="*/ 1339622 w 2048870"/>
                <a:gd name="connsiteY380" fmla="*/ 1118368 h 1413227"/>
                <a:gd name="connsiteX381" fmla="*/ 1356908 w 2048870"/>
                <a:gd name="connsiteY381" fmla="*/ 1123553 h 1413227"/>
                <a:gd name="connsiteX382" fmla="*/ 1384564 w 2048870"/>
                <a:gd name="connsiteY382" fmla="*/ 1114911 h 1413227"/>
                <a:gd name="connsiteX383" fmla="*/ 1391479 w 2048870"/>
                <a:gd name="connsiteY383" fmla="*/ 1109725 h 1413227"/>
                <a:gd name="connsiteX384" fmla="*/ 1400121 w 2048870"/>
                <a:gd name="connsiteY384" fmla="*/ 1095897 h 1413227"/>
                <a:gd name="connsiteX385" fmla="*/ 1403578 w 2048870"/>
                <a:gd name="connsiteY385" fmla="*/ 1090711 h 1413227"/>
                <a:gd name="connsiteX386" fmla="*/ 1408764 w 2048870"/>
                <a:gd name="connsiteY386" fmla="*/ 1088983 h 1413227"/>
                <a:gd name="connsiteX387" fmla="*/ 1415678 w 2048870"/>
                <a:gd name="connsiteY387" fmla="*/ 1097625 h 1413227"/>
                <a:gd name="connsiteX388" fmla="*/ 1419135 w 2048870"/>
                <a:gd name="connsiteY388" fmla="*/ 1104539 h 1413227"/>
                <a:gd name="connsiteX389" fmla="*/ 1424321 w 2048870"/>
                <a:gd name="connsiteY389" fmla="*/ 1111454 h 1413227"/>
                <a:gd name="connsiteX390" fmla="*/ 1434692 w 2048870"/>
                <a:gd name="connsiteY390" fmla="*/ 1109725 h 1413227"/>
                <a:gd name="connsiteX391" fmla="*/ 1438149 w 2048870"/>
                <a:gd name="connsiteY391" fmla="*/ 1101082 h 1413227"/>
                <a:gd name="connsiteX392" fmla="*/ 1446792 w 2048870"/>
                <a:gd name="connsiteY392" fmla="*/ 1076883 h 1413227"/>
                <a:gd name="connsiteX393" fmla="*/ 1455435 w 2048870"/>
                <a:gd name="connsiteY393" fmla="*/ 1082068 h 1413227"/>
                <a:gd name="connsiteX394" fmla="*/ 1457163 w 2048870"/>
                <a:gd name="connsiteY394" fmla="*/ 1097625 h 1413227"/>
                <a:gd name="connsiteX395" fmla="*/ 1462349 w 2048870"/>
                <a:gd name="connsiteY395" fmla="*/ 1104539 h 1413227"/>
                <a:gd name="connsiteX396" fmla="*/ 1464078 w 2048870"/>
                <a:gd name="connsiteY396" fmla="*/ 1116639 h 1413227"/>
                <a:gd name="connsiteX397" fmla="*/ 1450249 w 2048870"/>
                <a:gd name="connsiteY397" fmla="*/ 1132196 h 1413227"/>
                <a:gd name="connsiteX398" fmla="*/ 1436421 w 2048870"/>
                <a:gd name="connsiteY398" fmla="*/ 1149482 h 1413227"/>
                <a:gd name="connsiteX399" fmla="*/ 1427778 w 2048870"/>
                <a:gd name="connsiteY399" fmla="*/ 1158124 h 1413227"/>
                <a:gd name="connsiteX400" fmla="*/ 1415678 w 2048870"/>
                <a:gd name="connsiteY400" fmla="*/ 1163310 h 1413227"/>
                <a:gd name="connsiteX401" fmla="*/ 1400121 w 2048870"/>
                <a:gd name="connsiteY401" fmla="*/ 1171953 h 1413227"/>
                <a:gd name="connsiteX402" fmla="*/ 1398393 w 2048870"/>
                <a:gd name="connsiteY402" fmla="*/ 1177138 h 1413227"/>
                <a:gd name="connsiteX403" fmla="*/ 1389750 w 2048870"/>
                <a:gd name="connsiteY403" fmla="*/ 1189238 h 1413227"/>
                <a:gd name="connsiteX404" fmla="*/ 1384564 w 2048870"/>
                <a:gd name="connsiteY404" fmla="*/ 1197881 h 1413227"/>
                <a:gd name="connsiteX405" fmla="*/ 1382836 w 2048870"/>
                <a:gd name="connsiteY405" fmla="*/ 1203066 h 1413227"/>
                <a:gd name="connsiteX406" fmla="*/ 1374193 w 2048870"/>
                <a:gd name="connsiteY406" fmla="*/ 1211709 h 1413227"/>
                <a:gd name="connsiteX407" fmla="*/ 1369008 w 2048870"/>
                <a:gd name="connsiteY407" fmla="*/ 1216895 h 1413227"/>
                <a:gd name="connsiteX408" fmla="*/ 1356908 w 2048870"/>
                <a:gd name="connsiteY408" fmla="*/ 1230723 h 1413227"/>
                <a:gd name="connsiteX409" fmla="*/ 1351722 w 2048870"/>
                <a:gd name="connsiteY409" fmla="*/ 1237637 h 1413227"/>
                <a:gd name="connsiteX410" fmla="*/ 1349994 w 2048870"/>
                <a:gd name="connsiteY410" fmla="*/ 1242823 h 1413227"/>
                <a:gd name="connsiteX411" fmla="*/ 1344808 w 2048870"/>
                <a:gd name="connsiteY411" fmla="*/ 1253194 h 1413227"/>
                <a:gd name="connsiteX412" fmla="*/ 1377650 w 2048870"/>
                <a:gd name="connsiteY412" fmla="*/ 1253194 h 1413227"/>
                <a:gd name="connsiteX413" fmla="*/ 1386293 w 2048870"/>
                <a:gd name="connsiteY413" fmla="*/ 1246280 h 1413227"/>
                <a:gd name="connsiteX414" fmla="*/ 1391479 w 2048870"/>
                <a:gd name="connsiteY414" fmla="*/ 1244552 h 1413227"/>
                <a:gd name="connsiteX415" fmla="*/ 1412221 w 2048870"/>
                <a:gd name="connsiteY415" fmla="*/ 1248009 h 1413227"/>
                <a:gd name="connsiteX416" fmla="*/ 1415678 w 2048870"/>
                <a:gd name="connsiteY416" fmla="*/ 1253194 h 1413227"/>
                <a:gd name="connsiteX417" fmla="*/ 1426050 w 2048870"/>
                <a:gd name="connsiteY417" fmla="*/ 1260108 h 1413227"/>
                <a:gd name="connsiteX418" fmla="*/ 1451978 w 2048870"/>
                <a:gd name="connsiteY418" fmla="*/ 1258380 h 1413227"/>
                <a:gd name="connsiteX419" fmla="*/ 1457163 w 2048870"/>
                <a:gd name="connsiteY419" fmla="*/ 1253194 h 1413227"/>
                <a:gd name="connsiteX420" fmla="*/ 1465806 w 2048870"/>
                <a:gd name="connsiteY420" fmla="*/ 1248009 h 1413227"/>
                <a:gd name="connsiteX421" fmla="*/ 1483092 w 2048870"/>
                <a:gd name="connsiteY421" fmla="*/ 1249737 h 1413227"/>
                <a:gd name="connsiteX422" fmla="*/ 1491734 w 2048870"/>
                <a:gd name="connsiteY422" fmla="*/ 1258380 h 1413227"/>
                <a:gd name="connsiteX423" fmla="*/ 1502106 w 2048870"/>
                <a:gd name="connsiteY423" fmla="*/ 1272208 h 1413227"/>
                <a:gd name="connsiteX424" fmla="*/ 1503834 w 2048870"/>
                <a:gd name="connsiteY424" fmla="*/ 1289494 h 1413227"/>
                <a:gd name="connsiteX425" fmla="*/ 1514205 w 2048870"/>
                <a:gd name="connsiteY425" fmla="*/ 1301593 h 1413227"/>
                <a:gd name="connsiteX426" fmla="*/ 1517662 w 2048870"/>
                <a:gd name="connsiteY426" fmla="*/ 1306779 h 1413227"/>
                <a:gd name="connsiteX427" fmla="*/ 1515934 w 2048870"/>
                <a:gd name="connsiteY427" fmla="*/ 1355178 h 1413227"/>
                <a:gd name="connsiteX428" fmla="*/ 1509020 w 2048870"/>
                <a:gd name="connsiteY428" fmla="*/ 1360364 h 1413227"/>
                <a:gd name="connsiteX429" fmla="*/ 1503834 w 2048870"/>
                <a:gd name="connsiteY429" fmla="*/ 1370735 h 1413227"/>
                <a:gd name="connsiteX430" fmla="*/ 1534948 w 2048870"/>
                <a:gd name="connsiteY430" fmla="*/ 1374192 h 1413227"/>
                <a:gd name="connsiteX431" fmla="*/ 1540133 w 2048870"/>
                <a:gd name="connsiteY431" fmla="*/ 1377649 h 1413227"/>
                <a:gd name="connsiteX432" fmla="*/ 1559147 w 2048870"/>
                <a:gd name="connsiteY432" fmla="*/ 1375921 h 1413227"/>
                <a:gd name="connsiteX433" fmla="*/ 1564333 w 2048870"/>
                <a:gd name="connsiteY433" fmla="*/ 1372464 h 1413227"/>
                <a:gd name="connsiteX434" fmla="*/ 1579890 w 2048870"/>
                <a:gd name="connsiteY434" fmla="*/ 1370735 h 1413227"/>
                <a:gd name="connsiteX435" fmla="*/ 1597175 w 2048870"/>
                <a:gd name="connsiteY435" fmla="*/ 1363821 h 1413227"/>
                <a:gd name="connsiteX436" fmla="*/ 1600633 w 2048870"/>
                <a:gd name="connsiteY436" fmla="*/ 1360364 h 1413227"/>
                <a:gd name="connsiteX437" fmla="*/ 1612732 w 2048870"/>
                <a:gd name="connsiteY437" fmla="*/ 1341350 h 1413227"/>
                <a:gd name="connsiteX438" fmla="*/ 1617918 w 2048870"/>
                <a:gd name="connsiteY438" fmla="*/ 1305051 h 1413227"/>
                <a:gd name="connsiteX439" fmla="*/ 1623104 w 2048870"/>
                <a:gd name="connsiteY439" fmla="*/ 1301593 h 1413227"/>
                <a:gd name="connsiteX440" fmla="*/ 1624832 w 2048870"/>
                <a:gd name="connsiteY440" fmla="*/ 1284308 h 1413227"/>
                <a:gd name="connsiteX441" fmla="*/ 1631746 w 2048870"/>
                <a:gd name="connsiteY441" fmla="*/ 1270480 h 1413227"/>
                <a:gd name="connsiteX442" fmla="*/ 1643846 w 2048870"/>
                <a:gd name="connsiteY442" fmla="*/ 1263565 h 1413227"/>
                <a:gd name="connsiteX443" fmla="*/ 1669774 w 2048870"/>
                <a:gd name="connsiteY443" fmla="*/ 1260108 h 1413227"/>
                <a:gd name="connsiteX444" fmla="*/ 1681874 w 2048870"/>
                <a:gd name="connsiteY444" fmla="*/ 1254923 h 1413227"/>
                <a:gd name="connsiteX445" fmla="*/ 1687060 w 2048870"/>
                <a:gd name="connsiteY445" fmla="*/ 1253194 h 1413227"/>
                <a:gd name="connsiteX446" fmla="*/ 1702617 w 2048870"/>
                <a:gd name="connsiteY446" fmla="*/ 1249737 h 1413227"/>
                <a:gd name="connsiteX447" fmla="*/ 1704345 w 2048870"/>
                <a:gd name="connsiteY447" fmla="*/ 1232452 h 1413227"/>
                <a:gd name="connsiteX448" fmla="*/ 1706074 w 2048870"/>
                <a:gd name="connsiteY448" fmla="*/ 1208252 h 1413227"/>
                <a:gd name="connsiteX449" fmla="*/ 1711259 w 2048870"/>
                <a:gd name="connsiteY449" fmla="*/ 1201338 h 1413227"/>
                <a:gd name="connsiteX450" fmla="*/ 1718174 w 2048870"/>
                <a:gd name="connsiteY450" fmla="*/ 1192695 h 1413227"/>
                <a:gd name="connsiteX451" fmla="*/ 1725088 w 2048870"/>
                <a:gd name="connsiteY451" fmla="*/ 1189238 h 1413227"/>
                <a:gd name="connsiteX452" fmla="*/ 1735459 w 2048870"/>
                <a:gd name="connsiteY452" fmla="*/ 1184052 h 1413227"/>
                <a:gd name="connsiteX453" fmla="*/ 1773487 w 2048870"/>
                <a:gd name="connsiteY453" fmla="*/ 1189238 h 1413227"/>
                <a:gd name="connsiteX454" fmla="*/ 1778673 w 2048870"/>
                <a:gd name="connsiteY454" fmla="*/ 1194424 h 1413227"/>
                <a:gd name="connsiteX455" fmla="*/ 1808058 w 2048870"/>
                <a:gd name="connsiteY455" fmla="*/ 1187510 h 1413227"/>
                <a:gd name="connsiteX456" fmla="*/ 1811515 w 2048870"/>
                <a:gd name="connsiteY456" fmla="*/ 1180595 h 1413227"/>
                <a:gd name="connsiteX457" fmla="*/ 1818429 w 2048870"/>
                <a:gd name="connsiteY457" fmla="*/ 1171953 h 1413227"/>
                <a:gd name="connsiteX458" fmla="*/ 1825343 w 2048870"/>
                <a:gd name="connsiteY458" fmla="*/ 1158124 h 1413227"/>
                <a:gd name="connsiteX459" fmla="*/ 1827072 w 2048870"/>
                <a:gd name="connsiteY459" fmla="*/ 1151210 h 1413227"/>
                <a:gd name="connsiteX460" fmla="*/ 1833986 w 2048870"/>
                <a:gd name="connsiteY460" fmla="*/ 1133925 h 1413227"/>
                <a:gd name="connsiteX461" fmla="*/ 1820158 w 2048870"/>
                <a:gd name="connsiteY461" fmla="*/ 1128739 h 1413227"/>
                <a:gd name="connsiteX462" fmla="*/ 1816701 w 2048870"/>
                <a:gd name="connsiteY462" fmla="*/ 1123553 h 1413227"/>
                <a:gd name="connsiteX463" fmla="*/ 1820158 w 2048870"/>
                <a:gd name="connsiteY463" fmla="*/ 1118368 h 1413227"/>
                <a:gd name="connsiteX464" fmla="*/ 1825343 w 2048870"/>
                <a:gd name="connsiteY464" fmla="*/ 1111454 h 1413227"/>
                <a:gd name="connsiteX465" fmla="*/ 1828800 w 2048870"/>
                <a:gd name="connsiteY465" fmla="*/ 1099354 h 1413227"/>
                <a:gd name="connsiteX466" fmla="*/ 1832257 w 2048870"/>
                <a:gd name="connsiteY466" fmla="*/ 1094168 h 1413227"/>
                <a:gd name="connsiteX467" fmla="*/ 1830529 w 2048870"/>
                <a:gd name="connsiteY467" fmla="*/ 1083797 h 1413227"/>
                <a:gd name="connsiteX468" fmla="*/ 1816701 w 2048870"/>
                <a:gd name="connsiteY468" fmla="*/ 1087254 h 1413227"/>
                <a:gd name="connsiteX469" fmla="*/ 1789044 w 2048870"/>
                <a:gd name="connsiteY469" fmla="*/ 1092440 h 1413227"/>
                <a:gd name="connsiteX470" fmla="*/ 1778673 w 2048870"/>
                <a:gd name="connsiteY470" fmla="*/ 1095897 h 1413227"/>
                <a:gd name="connsiteX471" fmla="*/ 1771758 w 2048870"/>
                <a:gd name="connsiteY471" fmla="*/ 1099354 h 1413227"/>
                <a:gd name="connsiteX472" fmla="*/ 1766573 w 2048870"/>
                <a:gd name="connsiteY472" fmla="*/ 1116639 h 1413227"/>
                <a:gd name="connsiteX473" fmla="*/ 1756202 w 2048870"/>
                <a:gd name="connsiteY473" fmla="*/ 1118368 h 1413227"/>
                <a:gd name="connsiteX474" fmla="*/ 1738916 w 2048870"/>
                <a:gd name="connsiteY474" fmla="*/ 1130468 h 1413227"/>
                <a:gd name="connsiteX475" fmla="*/ 1718174 w 2048870"/>
                <a:gd name="connsiteY475" fmla="*/ 1140839 h 1413227"/>
                <a:gd name="connsiteX476" fmla="*/ 1709531 w 2048870"/>
                <a:gd name="connsiteY476" fmla="*/ 1146024 h 1413227"/>
                <a:gd name="connsiteX477" fmla="*/ 1707802 w 2048870"/>
                <a:gd name="connsiteY477" fmla="*/ 1151210 h 1413227"/>
                <a:gd name="connsiteX478" fmla="*/ 1700888 w 2048870"/>
                <a:gd name="connsiteY478" fmla="*/ 1154667 h 1413227"/>
                <a:gd name="connsiteX479" fmla="*/ 1647303 w 2048870"/>
                <a:gd name="connsiteY479" fmla="*/ 1152939 h 1413227"/>
                <a:gd name="connsiteX480" fmla="*/ 1650760 w 2048870"/>
                <a:gd name="connsiteY480" fmla="*/ 1142567 h 1413227"/>
                <a:gd name="connsiteX481" fmla="*/ 1649032 w 2048870"/>
                <a:gd name="connsiteY481" fmla="*/ 1120096 h 1413227"/>
                <a:gd name="connsiteX482" fmla="*/ 1598904 w 2048870"/>
                <a:gd name="connsiteY482" fmla="*/ 1114911 h 1413227"/>
                <a:gd name="connsiteX483" fmla="*/ 1591990 w 2048870"/>
                <a:gd name="connsiteY483" fmla="*/ 1113182 h 1413227"/>
                <a:gd name="connsiteX484" fmla="*/ 1564333 w 2048870"/>
                <a:gd name="connsiteY484" fmla="*/ 1109725 h 1413227"/>
                <a:gd name="connsiteX485" fmla="*/ 1553962 w 2048870"/>
                <a:gd name="connsiteY485" fmla="*/ 1101082 h 1413227"/>
                <a:gd name="connsiteX486" fmla="*/ 1543591 w 2048870"/>
                <a:gd name="connsiteY486" fmla="*/ 1092440 h 1413227"/>
                <a:gd name="connsiteX487" fmla="*/ 1526305 w 2048870"/>
                <a:gd name="connsiteY487" fmla="*/ 1090711 h 1413227"/>
                <a:gd name="connsiteX488" fmla="*/ 1514205 w 2048870"/>
                <a:gd name="connsiteY488" fmla="*/ 1085525 h 1413227"/>
                <a:gd name="connsiteX489" fmla="*/ 1512477 w 2048870"/>
                <a:gd name="connsiteY489" fmla="*/ 1092440 h 1413227"/>
                <a:gd name="connsiteX490" fmla="*/ 1507291 w 2048870"/>
                <a:gd name="connsiteY490" fmla="*/ 1085525 h 1413227"/>
                <a:gd name="connsiteX491" fmla="*/ 1496920 w 2048870"/>
                <a:gd name="connsiteY491" fmla="*/ 1075154 h 1413227"/>
                <a:gd name="connsiteX492" fmla="*/ 1445064 w 2048870"/>
                <a:gd name="connsiteY492" fmla="*/ 1076883 h 1413227"/>
                <a:gd name="connsiteX493" fmla="*/ 1439878 w 2048870"/>
                <a:gd name="connsiteY493" fmla="*/ 1080340 h 1413227"/>
                <a:gd name="connsiteX494" fmla="*/ 1438149 w 2048870"/>
                <a:gd name="connsiteY494" fmla="*/ 1085525 h 1413227"/>
                <a:gd name="connsiteX495" fmla="*/ 1451978 w 2048870"/>
                <a:gd name="connsiteY495" fmla="*/ 1071697 h 1413227"/>
                <a:gd name="connsiteX496" fmla="*/ 1458892 w 2048870"/>
                <a:gd name="connsiteY496" fmla="*/ 1064783 h 1413227"/>
                <a:gd name="connsiteX497" fmla="*/ 1464078 w 2048870"/>
                <a:gd name="connsiteY497" fmla="*/ 1059597 h 1413227"/>
                <a:gd name="connsiteX498" fmla="*/ 1479634 w 2048870"/>
                <a:gd name="connsiteY498" fmla="*/ 1064783 h 1413227"/>
                <a:gd name="connsiteX499" fmla="*/ 1490006 w 2048870"/>
                <a:gd name="connsiteY499" fmla="*/ 1071697 h 1413227"/>
                <a:gd name="connsiteX500" fmla="*/ 1498648 w 2048870"/>
                <a:gd name="connsiteY500" fmla="*/ 1068240 h 1413227"/>
                <a:gd name="connsiteX501" fmla="*/ 1500377 w 2048870"/>
                <a:gd name="connsiteY501" fmla="*/ 1063054 h 1413227"/>
                <a:gd name="connsiteX502" fmla="*/ 1503834 w 2048870"/>
                <a:gd name="connsiteY502" fmla="*/ 1057869 h 1413227"/>
                <a:gd name="connsiteX503" fmla="*/ 1507291 w 2048870"/>
                <a:gd name="connsiteY503" fmla="*/ 1045769 h 1413227"/>
                <a:gd name="connsiteX504" fmla="*/ 1540133 w 2048870"/>
                <a:gd name="connsiteY504" fmla="*/ 1044040 h 1413227"/>
                <a:gd name="connsiteX505" fmla="*/ 1557419 w 2048870"/>
                <a:gd name="connsiteY505" fmla="*/ 1059597 h 1413227"/>
                <a:gd name="connsiteX506" fmla="*/ 1560876 w 2048870"/>
                <a:gd name="connsiteY506" fmla="*/ 1073426 h 1413227"/>
                <a:gd name="connsiteX507" fmla="*/ 1564333 w 2048870"/>
                <a:gd name="connsiteY507" fmla="*/ 1087254 h 1413227"/>
                <a:gd name="connsiteX508" fmla="*/ 1566062 w 2048870"/>
                <a:gd name="connsiteY508" fmla="*/ 1094168 h 1413227"/>
                <a:gd name="connsiteX509" fmla="*/ 1569519 w 2048870"/>
                <a:gd name="connsiteY509" fmla="*/ 1099354 h 1413227"/>
                <a:gd name="connsiteX510" fmla="*/ 1576433 w 2048870"/>
                <a:gd name="connsiteY510" fmla="*/ 1037126 h 1413227"/>
                <a:gd name="connsiteX511" fmla="*/ 1588533 w 2048870"/>
                <a:gd name="connsiteY511" fmla="*/ 1052683 h 1413227"/>
                <a:gd name="connsiteX512" fmla="*/ 1591990 w 2048870"/>
                <a:gd name="connsiteY512" fmla="*/ 1069969 h 1413227"/>
                <a:gd name="connsiteX513" fmla="*/ 1607547 w 2048870"/>
                <a:gd name="connsiteY513" fmla="*/ 1080340 h 1413227"/>
                <a:gd name="connsiteX514" fmla="*/ 1612732 w 2048870"/>
                <a:gd name="connsiteY514" fmla="*/ 1083797 h 1413227"/>
                <a:gd name="connsiteX515" fmla="*/ 1621375 w 2048870"/>
                <a:gd name="connsiteY515" fmla="*/ 1085525 h 1413227"/>
                <a:gd name="connsiteX516" fmla="*/ 1633475 w 2048870"/>
                <a:gd name="connsiteY516" fmla="*/ 1092440 h 1413227"/>
                <a:gd name="connsiteX517" fmla="*/ 1640389 w 2048870"/>
                <a:gd name="connsiteY517" fmla="*/ 1095897 h 1413227"/>
                <a:gd name="connsiteX518" fmla="*/ 1649032 w 2048870"/>
                <a:gd name="connsiteY518" fmla="*/ 1109725 h 1413227"/>
                <a:gd name="connsiteX519" fmla="*/ 1659403 w 2048870"/>
                <a:gd name="connsiteY519" fmla="*/ 1113182 h 1413227"/>
                <a:gd name="connsiteX520" fmla="*/ 1669774 w 2048870"/>
                <a:gd name="connsiteY520" fmla="*/ 1118368 h 1413227"/>
                <a:gd name="connsiteX521" fmla="*/ 1680146 w 2048870"/>
                <a:gd name="connsiteY521" fmla="*/ 1125282 h 1413227"/>
                <a:gd name="connsiteX522" fmla="*/ 1699160 w 2048870"/>
                <a:gd name="connsiteY522" fmla="*/ 1139110 h 1413227"/>
                <a:gd name="connsiteX523" fmla="*/ 1712988 w 2048870"/>
                <a:gd name="connsiteY523" fmla="*/ 1142567 h 1413227"/>
                <a:gd name="connsiteX524" fmla="*/ 1704345 w 2048870"/>
                <a:gd name="connsiteY524" fmla="*/ 1137382 h 1413227"/>
                <a:gd name="connsiteX525" fmla="*/ 1699160 w 2048870"/>
                <a:gd name="connsiteY525" fmla="*/ 1132196 h 1413227"/>
                <a:gd name="connsiteX526" fmla="*/ 1688788 w 2048870"/>
                <a:gd name="connsiteY526" fmla="*/ 1128739 h 1413227"/>
                <a:gd name="connsiteX527" fmla="*/ 1674960 w 2048870"/>
                <a:gd name="connsiteY527" fmla="*/ 1125282 h 1413227"/>
                <a:gd name="connsiteX528" fmla="*/ 1659403 w 2048870"/>
                <a:gd name="connsiteY528" fmla="*/ 1121825 h 1413227"/>
                <a:gd name="connsiteX529" fmla="*/ 1650760 w 2048870"/>
                <a:gd name="connsiteY529" fmla="*/ 1116639 h 1413227"/>
                <a:gd name="connsiteX530" fmla="*/ 1645575 w 2048870"/>
                <a:gd name="connsiteY530" fmla="*/ 1113182 h 1413227"/>
                <a:gd name="connsiteX531" fmla="*/ 1642118 w 2048870"/>
                <a:gd name="connsiteY531" fmla="*/ 1107996 h 1413227"/>
                <a:gd name="connsiteX532" fmla="*/ 1628289 w 2048870"/>
                <a:gd name="connsiteY532" fmla="*/ 1088983 h 1413227"/>
                <a:gd name="connsiteX533" fmla="*/ 1626561 w 2048870"/>
                <a:gd name="connsiteY533" fmla="*/ 1083797 h 1413227"/>
                <a:gd name="connsiteX534" fmla="*/ 1619647 w 2048870"/>
                <a:gd name="connsiteY534" fmla="*/ 1075154 h 1413227"/>
                <a:gd name="connsiteX535" fmla="*/ 1616189 w 2048870"/>
                <a:gd name="connsiteY535" fmla="*/ 1061326 h 1413227"/>
                <a:gd name="connsiteX536" fmla="*/ 1614461 w 2048870"/>
                <a:gd name="connsiteY536" fmla="*/ 1056140 h 1413227"/>
                <a:gd name="connsiteX537" fmla="*/ 1604090 w 2048870"/>
                <a:gd name="connsiteY537" fmla="*/ 1038855 h 1413227"/>
                <a:gd name="connsiteX538" fmla="*/ 1598904 w 2048870"/>
                <a:gd name="connsiteY538" fmla="*/ 1037126 h 1413227"/>
                <a:gd name="connsiteX539" fmla="*/ 1593718 w 2048870"/>
                <a:gd name="connsiteY539" fmla="*/ 1030212 h 1413227"/>
                <a:gd name="connsiteX540" fmla="*/ 1585076 w 2048870"/>
                <a:gd name="connsiteY540" fmla="*/ 1019841 h 1413227"/>
                <a:gd name="connsiteX541" fmla="*/ 1590261 w 2048870"/>
                <a:gd name="connsiteY541" fmla="*/ 1000827 h 1413227"/>
                <a:gd name="connsiteX542" fmla="*/ 1598904 w 2048870"/>
                <a:gd name="connsiteY542" fmla="*/ 999098 h 1413227"/>
                <a:gd name="connsiteX543" fmla="*/ 1611004 w 2048870"/>
                <a:gd name="connsiteY543" fmla="*/ 990455 h 1413227"/>
                <a:gd name="connsiteX544" fmla="*/ 1617918 w 2048870"/>
                <a:gd name="connsiteY544" fmla="*/ 985270 h 1413227"/>
                <a:gd name="connsiteX545" fmla="*/ 1616189 w 2048870"/>
                <a:gd name="connsiteY545" fmla="*/ 1021569 h 1413227"/>
                <a:gd name="connsiteX546" fmla="*/ 1612732 w 2048870"/>
                <a:gd name="connsiteY546" fmla="*/ 1028483 h 1413227"/>
                <a:gd name="connsiteX547" fmla="*/ 1607547 w 2048870"/>
                <a:gd name="connsiteY547" fmla="*/ 1035398 h 1413227"/>
                <a:gd name="connsiteX548" fmla="*/ 1612732 w 2048870"/>
                <a:gd name="connsiteY548" fmla="*/ 1031941 h 1413227"/>
                <a:gd name="connsiteX549" fmla="*/ 1621375 w 2048870"/>
                <a:gd name="connsiteY549" fmla="*/ 1016384 h 1413227"/>
                <a:gd name="connsiteX550" fmla="*/ 1626561 w 2048870"/>
                <a:gd name="connsiteY550" fmla="*/ 997370 h 1413227"/>
                <a:gd name="connsiteX551" fmla="*/ 1626561 w 2048870"/>
                <a:gd name="connsiteY551" fmla="*/ 976627 h 1413227"/>
                <a:gd name="connsiteX552" fmla="*/ 1619647 w 2048870"/>
                <a:gd name="connsiteY552" fmla="*/ 962799 h 1413227"/>
                <a:gd name="connsiteX553" fmla="*/ 1626561 w 2048870"/>
                <a:gd name="connsiteY553" fmla="*/ 966256 h 1413227"/>
                <a:gd name="connsiteX554" fmla="*/ 1638661 w 2048870"/>
                <a:gd name="connsiteY554" fmla="*/ 969713 h 1413227"/>
                <a:gd name="connsiteX555" fmla="*/ 1645575 w 2048870"/>
                <a:gd name="connsiteY555" fmla="*/ 967984 h 1413227"/>
                <a:gd name="connsiteX556" fmla="*/ 1650760 w 2048870"/>
                <a:gd name="connsiteY556" fmla="*/ 955885 h 1413227"/>
                <a:gd name="connsiteX557" fmla="*/ 1659403 w 2048870"/>
                <a:gd name="connsiteY557" fmla="*/ 933414 h 1413227"/>
                <a:gd name="connsiteX558" fmla="*/ 1662860 w 2048870"/>
                <a:gd name="connsiteY558" fmla="*/ 929956 h 1413227"/>
                <a:gd name="connsiteX559" fmla="*/ 1664589 w 2048870"/>
                <a:gd name="connsiteY559" fmla="*/ 923042 h 1413227"/>
                <a:gd name="connsiteX560" fmla="*/ 1673231 w 2048870"/>
                <a:gd name="connsiteY560" fmla="*/ 893657 h 1413227"/>
                <a:gd name="connsiteX561" fmla="*/ 1687060 w 2048870"/>
                <a:gd name="connsiteY561" fmla="*/ 891928 h 1413227"/>
                <a:gd name="connsiteX562" fmla="*/ 1693974 w 2048870"/>
                <a:gd name="connsiteY562" fmla="*/ 890200 h 1413227"/>
                <a:gd name="connsiteX563" fmla="*/ 1700888 w 2048870"/>
                <a:gd name="connsiteY563" fmla="*/ 886743 h 1413227"/>
                <a:gd name="connsiteX564" fmla="*/ 1719902 w 2048870"/>
                <a:gd name="connsiteY564" fmla="*/ 878100 h 1413227"/>
                <a:gd name="connsiteX565" fmla="*/ 1726816 w 2048870"/>
                <a:gd name="connsiteY565" fmla="*/ 876372 h 1413227"/>
                <a:gd name="connsiteX566" fmla="*/ 1745830 w 2048870"/>
                <a:gd name="connsiteY566" fmla="*/ 860815 h 1413227"/>
                <a:gd name="connsiteX567" fmla="*/ 1751016 w 2048870"/>
                <a:gd name="connsiteY567" fmla="*/ 857358 h 1413227"/>
                <a:gd name="connsiteX568" fmla="*/ 1757930 w 2048870"/>
                <a:gd name="connsiteY568" fmla="*/ 855629 h 1413227"/>
                <a:gd name="connsiteX569" fmla="*/ 1764844 w 2048870"/>
                <a:gd name="connsiteY569" fmla="*/ 841801 h 1413227"/>
                <a:gd name="connsiteX570" fmla="*/ 1771758 w 2048870"/>
                <a:gd name="connsiteY570" fmla="*/ 836615 h 1413227"/>
                <a:gd name="connsiteX571" fmla="*/ 1776944 w 2048870"/>
                <a:gd name="connsiteY571" fmla="*/ 833158 h 1413227"/>
                <a:gd name="connsiteX572" fmla="*/ 1787315 w 2048870"/>
                <a:gd name="connsiteY572" fmla="*/ 831429 h 1413227"/>
                <a:gd name="connsiteX573" fmla="*/ 1795958 w 2048870"/>
                <a:gd name="connsiteY573" fmla="*/ 829701 h 1413227"/>
                <a:gd name="connsiteX574" fmla="*/ 1797687 w 2048870"/>
                <a:gd name="connsiteY574" fmla="*/ 824515 h 1413227"/>
                <a:gd name="connsiteX575" fmla="*/ 1825343 w 2048870"/>
                <a:gd name="connsiteY575" fmla="*/ 796859 h 1413227"/>
                <a:gd name="connsiteX576" fmla="*/ 1830529 w 2048870"/>
                <a:gd name="connsiteY576" fmla="*/ 776116 h 1413227"/>
                <a:gd name="connsiteX577" fmla="*/ 1835715 w 2048870"/>
                <a:gd name="connsiteY577" fmla="*/ 770930 h 1413227"/>
                <a:gd name="connsiteX578" fmla="*/ 1863371 w 2048870"/>
                <a:gd name="connsiteY578" fmla="*/ 760559 h 1413227"/>
                <a:gd name="connsiteX579" fmla="*/ 1868557 w 2048870"/>
                <a:gd name="connsiteY579" fmla="*/ 755373 h 1413227"/>
                <a:gd name="connsiteX580" fmla="*/ 1880657 w 2048870"/>
                <a:gd name="connsiteY580" fmla="*/ 753645 h 1413227"/>
                <a:gd name="connsiteX581" fmla="*/ 1889299 w 2048870"/>
                <a:gd name="connsiteY581" fmla="*/ 750188 h 1413227"/>
                <a:gd name="connsiteX582" fmla="*/ 1894485 w 2048870"/>
                <a:gd name="connsiteY582" fmla="*/ 731174 h 1413227"/>
                <a:gd name="connsiteX583" fmla="*/ 1910042 w 2048870"/>
                <a:gd name="connsiteY583" fmla="*/ 719074 h 1413227"/>
                <a:gd name="connsiteX584" fmla="*/ 1916956 w 2048870"/>
                <a:gd name="connsiteY584" fmla="*/ 710431 h 1413227"/>
                <a:gd name="connsiteX585" fmla="*/ 1908313 w 2048870"/>
                <a:gd name="connsiteY585" fmla="*/ 689689 h 1413227"/>
                <a:gd name="connsiteX586" fmla="*/ 1901399 w 2048870"/>
                <a:gd name="connsiteY586" fmla="*/ 675860 h 1413227"/>
                <a:gd name="connsiteX587" fmla="*/ 1897942 w 2048870"/>
                <a:gd name="connsiteY587" fmla="*/ 665489 h 1413227"/>
                <a:gd name="connsiteX588" fmla="*/ 1901399 w 2048870"/>
                <a:gd name="connsiteY588" fmla="*/ 651661 h 1413227"/>
                <a:gd name="connsiteX589" fmla="*/ 1897942 w 2048870"/>
                <a:gd name="connsiteY589" fmla="*/ 629190 h 1413227"/>
                <a:gd name="connsiteX590" fmla="*/ 1904856 w 2048870"/>
                <a:gd name="connsiteY590" fmla="*/ 624004 h 1413227"/>
                <a:gd name="connsiteX591" fmla="*/ 1910042 w 2048870"/>
                <a:gd name="connsiteY591" fmla="*/ 613633 h 1413227"/>
                <a:gd name="connsiteX592" fmla="*/ 1918685 w 2048870"/>
                <a:gd name="connsiteY592" fmla="*/ 608447 h 1413227"/>
                <a:gd name="connsiteX593" fmla="*/ 1925599 w 2048870"/>
                <a:gd name="connsiteY593" fmla="*/ 601533 h 1413227"/>
                <a:gd name="connsiteX594" fmla="*/ 1929056 w 2048870"/>
                <a:gd name="connsiteY594" fmla="*/ 587705 h 1413227"/>
                <a:gd name="connsiteX595" fmla="*/ 1932513 w 2048870"/>
                <a:gd name="connsiteY595" fmla="*/ 582519 h 1413227"/>
                <a:gd name="connsiteX596" fmla="*/ 1939427 w 2048870"/>
                <a:gd name="connsiteY596" fmla="*/ 565234 h 1413227"/>
                <a:gd name="connsiteX597" fmla="*/ 1963627 w 2048870"/>
                <a:gd name="connsiteY597" fmla="*/ 556591 h 1413227"/>
                <a:gd name="connsiteX598" fmla="*/ 1968812 w 2048870"/>
                <a:gd name="connsiteY598" fmla="*/ 547948 h 1413227"/>
                <a:gd name="connsiteX599" fmla="*/ 1986098 w 2048870"/>
                <a:gd name="connsiteY599" fmla="*/ 544491 h 1413227"/>
                <a:gd name="connsiteX600" fmla="*/ 2008569 w 2048870"/>
                <a:gd name="connsiteY600" fmla="*/ 539305 h 1413227"/>
                <a:gd name="connsiteX601" fmla="*/ 2017212 w 2048870"/>
                <a:gd name="connsiteY601" fmla="*/ 530663 h 1413227"/>
                <a:gd name="connsiteX602" fmla="*/ 2048326 w 2048870"/>
                <a:gd name="connsiteY602" fmla="*/ 525477 h 1413227"/>
                <a:gd name="connsiteX603" fmla="*/ 2043140 w 2048870"/>
                <a:gd name="connsiteY603" fmla="*/ 499549 h 1413227"/>
                <a:gd name="connsiteX604" fmla="*/ 2032769 w 2048870"/>
                <a:gd name="connsiteY604" fmla="*/ 492635 h 1413227"/>
                <a:gd name="connsiteX605" fmla="*/ 2025854 w 2048870"/>
                <a:gd name="connsiteY605" fmla="*/ 447693 h 1413227"/>
                <a:gd name="connsiteX606" fmla="*/ 2018940 w 2048870"/>
                <a:gd name="connsiteY606" fmla="*/ 428679 h 1413227"/>
                <a:gd name="connsiteX607" fmla="*/ 2015483 w 2048870"/>
                <a:gd name="connsiteY607" fmla="*/ 418307 h 1413227"/>
                <a:gd name="connsiteX608" fmla="*/ 2010298 w 2048870"/>
                <a:gd name="connsiteY608" fmla="*/ 411393 h 1413227"/>
                <a:gd name="connsiteX609" fmla="*/ 2003383 w 2048870"/>
                <a:gd name="connsiteY609" fmla="*/ 407936 h 1413227"/>
                <a:gd name="connsiteX610" fmla="*/ 1984369 w 2048870"/>
                <a:gd name="connsiteY610" fmla="*/ 404479 h 1413227"/>
                <a:gd name="connsiteX611" fmla="*/ 1977455 w 2048870"/>
                <a:gd name="connsiteY611" fmla="*/ 394108 h 1413227"/>
                <a:gd name="connsiteX612" fmla="*/ 1972270 w 2048870"/>
                <a:gd name="connsiteY612" fmla="*/ 390651 h 1413227"/>
                <a:gd name="connsiteX613" fmla="*/ 1968812 w 2048870"/>
                <a:gd name="connsiteY613" fmla="*/ 382008 h 1413227"/>
                <a:gd name="connsiteX614" fmla="*/ 1973998 w 2048870"/>
                <a:gd name="connsiteY614" fmla="*/ 366451 h 1413227"/>
                <a:gd name="connsiteX615" fmla="*/ 1982641 w 2048870"/>
                <a:gd name="connsiteY615" fmla="*/ 354351 h 1413227"/>
                <a:gd name="connsiteX616" fmla="*/ 1984369 w 2048870"/>
                <a:gd name="connsiteY616" fmla="*/ 347437 h 1413227"/>
                <a:gd name="connsiteX617" fmla="*/ 1994741 w 2048870"/>
                <a:gd name="connsiteY617" fmla="*/ 343980 h 1413227"/>
                <a:gd name="connsiteX618" fmla="*/ 1960170 w 2048870"/>
                <a:gd name="connsiteY618" fmla="*/ 337066 h 1413227"/>
                <a:gd name="connsiteX619" fmla="*/ 1958441 w 2048870"/>
                <a:gd name="connsiteY619" fmla="*/ 331880 h 1413227"/>
                <a:gd name="connsiteX620" fmla="*/ 1954984 w 2048870"/>
                <a:gd name="connsiteY620" fmla="*/ 326694 h 1413227"/>
                <a:gd name="connsiteX621" fmla="*/ 1958441 w 2048870"/>
                <a:gd name="connsiteY621" fmla="*/ 318052 h 1413227"/>
                <a:gd name="connsiteX622" fmla="*/ 1963627 w 2048870"/>
                <a:gd name="connsiteY622" fmla="*/ 311138 h 1413227"/>
                <a:gd name="connsiteX623" fmla="*/ 1967084 w 2048870"/>
                <a:gd name="connsiteY623" fmla="*/ 305952 h 1413227"/>
                <a:gd name="connsiteX624" fmla="*/ 1968812 w 2048870"/>
                <a:gd name="connsiteY624" fmla="*/ 299038 h 1413227"/>
                <a:gd name="connsiteX625" fmla="*/ 1973998 w 2048870"/>
                <a:gd name="connsiteY625" fmla="*/ 293852 h 1413227"/>
                <a:gd name="connsiteX626" fmla="*/ 1975727 w 2048870"/>
                <a:gd name="connsiteY626" fmla="*/ 269652 h 1413227"/>
                <a:gd name="connsiteX627" fmla="*/ 1970541 w 2048870"/>
                <a:gd name="connsiteY627" fmla="*/ 255824 h 1413227"/>
                <a:gd name="connsiteX628" fmla="*/ 1968812 w 2048870"/>
                <a:gd name="connsiteY628" fmla="*/ 250638 h 1413227"/>
                <a:gd name="connsiteX629" fmla="*/ 1967084 w 2048870"/>
                <a:gd name="connsiteY629" fmla="*/ 243724 h 1413227"/>
                <a:gd name="connsiteX630" fmla="*/ 1963627 w 2048870"/>
                <a:gd name="connsiteY630" fmla="*/ 238539 h 1413227"/>
                <a:gd name="connsiteX631" fmla="*/ 1965355 w 2048870"/>
                <a:gd name="connsiteY631" fmla="*/ 216068 h 1413227"/>
                <a:gd name="connsiteX632" fmla="*/ 1961898 w 2048870"/>
                <a:gd name="connsiteY632" fmla="*/ 209153 h 1413227"/>
                <a:gd name="connsiteX633" fmla="*/ 1954984 w 2048870"/>
                <a:gd name="connsiteY633" fmla="*/ 216068 h 1413227"/>
                <a:gd name="connsiteX634" fmla="*/ 1948070 w 2048870"/>
                <a:gd name="connsiteY634" fmla="*/ 217796 h 1413227"/>
                <a:gd name="connsiteX635" fmla="*/ 1937699 w 2048870"/>
                <a:gd name="connsiteY635" fmla="*/ 226439 h 1413227"/>
                <a:gd name="connsiteX636" fmla="*/ 1932513 w 2048870"/>
                <a:gd name="connsiteY636" fmla="*/ 228167 h 1413227"/>
                <a:gd name="connsiteX637" fmla="*/ 1922142 w 2048870"/>
                <a:gd name="connsiteY637" fmla="*/ 235082 h 1413227"/>
                <a:gd name="connsiteX638" fmla="*/ 1906585 w 2048870"/>
                <a:gd name="connsiteY638" fmla="*/ 231624 h 1413227"/>
                <a:gd name="connsiteX639" fmla="*/ 1885842 w 2048870"/>
                <a:gd name="connsiteY639" fmla="*/ 222982 h 1413227"/>
                <a:gd name="connsiteX640" fmla="*/ 1878928 w 2048870"/>
                <a:gd name="connsiteY640" fmla="*/ 224710 h 1413227"/>
                <a:gd name="connsiteX641" fmla="*/ 1868557 w 2048870"/>
                <a:gd name="connsiteY641" fmla="*/ 233353 h 1413227"/>
                <a:gd name="connsiteX642" fmla="*/ 1847814 w 2048870"/>
                <a:gd name="connsiteY642" fmla="*/ 221253 h 1413227"/>
                <a:gd name="connsiteX643" fmla="*/ 1839172 w 2048870"/>
                <a:gd name="connsiteY643" fmla="*/ 217796 h 1413227"/>
                <a:gd name="connsiteX644" fmla="*/ 1832257 w 2048870"/>
                <a:gd name="connsiteY644" fmla="*/ 214339 h 1413227"/>
                <a:gd name="connsiteX645" fmla="*/ 1823615 w 2048870"/>
                <a:gd name="connsiteY645" fmla="*/ 224710 h 1413227"/>
                <a:gd name="connsiteX646" fmla="*/ 1816701 w 2048870"/>
                <a:gd name="connsiteY646" fmla="*/ 229896 h 1413227"/>
                <a:gd name="connsiteX647" fmla="*/ 1787315 w 2048870"/>
                <a:gd name="connsiteY647" fmla="*/ 221253 h 1413227"/>
                <a:gd name="connsiteX648" fmla="*/ 1759659 w 2048870"/>
                <a:gd name="connsiteY648" fmla="*/ 222982 h 1413227"/>
                <a:gd name="connsiteX649" fmla="*/ 1754473 w 2048870"/>
                <a:gd name="connsiteY649" fmla="*/ 224710 h 1413227"/>
                <a:gd name="connsiteX650" fmla="*/ 1735459 w 2048870"/>
                <a:gd name="connsiteY650" fmla="*/ 222982 h 1413227"/>
                <a:gd name="connsiteX651" fmla="*/ 1728545 w 2048870"/>
                <a:gd name="connsiteY651" fmla="*/ 217796 h 1413227"/>
                <a:gd name="connsiteX652" fmla="*/ 1721631 w 2048870"/>
                <a:gd name="connsiteY652" fmla="*/ 207425 h 1413227"/>
                <a:gd name="connsiteX653" fmla="*/ 1712988 w 2048870"/>
                <a:gd name="connsiteY653" fmla="*/ 235082 h 1413227"/>
                <a:gd name="connsiteX654" fmla="*/ 1706074 w 2048870"/>
                <a:gd name="connsiteY654" fmla="*/ 250638 h 1413227"/>
                <a:gd name="connsiteX655" fmla="*/ 1692245 w 2048870"/>
                <a:gd name="connsiteY655" fmla="*/ 236810 h 1413227"/>
                <a:gd name="connsiteX656" fmla="*/ 1645575 w 2048870"/>
                <a:gd name="connsiteY656" fmla="*/ 224710 h 1413227"/>
                <a:gd name="connsiteX657" fmla="*/ 1640389 w 2048870"/>
                <a:gd name="connsiteY657" fmla="*/ 217796 h 1413227"/>
                <a:gd name="connsiteX658" fmla="*/ 1638661 w 2048870"/>
                <a:gd name="connsiteY658" fmla="*/ 212610 h 1413227"/>
                <a:gd name="connsiteX659" fmla="*/ 1623104 w 2048870"/>
                <a:gd name="connsiteY659" fmla="*/ 195325 h 1413227"/>
                <a:gd name="connsiteX660" fmla="*/ 1609275 w 2048870"/>
                <a:gd name="connsiteY660" fmla="*/ 191868 h 1413227"/>
                <a:gd name="connsiteX661" fmla="*/ 1600633 w 2048870"/>
                <a:gd name="connsiteY661" fmla="*/ 200511 h 1413227"/>
                <a:gd name="connsiteX662" fmla="*/ 1595447 w 2048870"/>
                <a:gd name="connsiteY662" fmla="*/ 202239 h 1413227"/>
                <a:gd name="connsiteX663" fmla="*/ 1574704 w 2048870"/>
                <a:gd name="connsiteY663" fmla="*/ 209153 h 1413227"/>
                <a:gd name="connsiteX664" fmla="*/ 1569519 w 2048870"/>
                <a:gd name="connsiteY664" fmla="*/ 214339 h 1413227"/>
                <a:gd name="connsiteX665" fmla="*/ 1564333 w 2048870"/>
                <a:gd name="connsiteY665" fmla="*/ 217796 h 1413227"/>
                <a:gd name="connsiteX666" fmla="*/ 1560876 w 2048870"/>
                <a:gd name="connsiteY666" fmla="*/ 224710 h 1413227"/>
                <a:gd name="connsiteX667" fmla="*/ 1543591 w 2048870"/>
                <a:gd name="connsiteY667" fmla="*/ 238539 h 1413227"/>
                <a:gd name="connsiteX668" fmla="*/ 1536676 w 2048870"/>
                <a:gd name="connsiteY668" fmla="*/ 245453 h 1413227"/>
                <a:gd name="connsiteX669" fmla="*/ 1534948 w 2048870"/>
                <a:gd name="connsiteY669" fmla="*/ 250638 h 1413227"/>
                <a:gd name="connsiteX670" fmla="*/ 1536676 w 2048870"/>
                <a:gd name="connsiteY670" fmla="*/ 255824 h 1413227"/>
                <a:gd name="connsiteX671" fmla="*/ 1510748 w 2048870"/>
                <a:gd name="connsiteY671" fmla="*/ 259281 h 1413227"/>
                <a:gd name="connsiteX672" fmla="*/ 1500377 w 2048870"/>
                <a:gd name="connsiteY672" fmla="*/ 252367 h 1413227"/>
                <a:gd name="connsiteX673" fmla="*/ 1472720 w 2048870"/>
                <a:gd name="connsiteY673" fmla="*/ 252367 h 1413227"/>
                <a:gd name="connsiteX674" fmla="*/ 1455435 w 2048870"/>
                <a:gd name="connsiteY674" fmla="*/ 254096 h 1413227"/>
                <a:gd name="connsiteX675" fmla="*/ 1446792 w 2048870"/>
                <a:gd name="connsiteY675" fmla="*/ 261010 h 1413227"/>
                <a:gd name="connsiteX676" fmla="*/ 1441606 w 2048870"/>
                <a:gd name="connsiteY676" fmla="*/ 267924 h 1413227"/>
                <a:gd name="connsiteX677" fmla="*/ 1438149 w 2048870"/>
                <a:gd name="connsiteY677" fmla="*/ 273110 h 1413227"/>
                <a:gd name="connsiteX678" fmla="*/ 1432964 w 2048870"/>
                <a:gd name="connsiteY678" fmla="*/ 274838 h 1413227"/>
                <a:gd name="connsiteX679" fmla="*/ 1419135 w 2048870"/>
                <a:gd name="connsiteY679" fmla="*/ 281752 h 1413227"/>
                <a:gd name="connsiteX680" fmla="*/ 1412221 w 2048870"/>
                <a:gd name="connsiteY680" fmla="*/ 278295 h 1413227"/>
                <a:gd name="connsiteX681" fmla="*/ 1408764 w 2048870"/>
                <a:gd name="connsiteY681" fmla="*/ 273110 h 1413227"/>
                <a:gd name="connsiteX682" fmla="*/ 1400121 w 2048870"/>
                <a:gd name="connsiteY682" fmla="*/ 257553 h 1413227"/>
                <a:gd name="connsiteX683" fmla="*/ 1394936 w 2048870"/>
                <a:gd name="connsiteY683" fmla="*/ 254096 h 1413227"/>
                <a:gd name="connsiteX684" fmla="*/ 1386293 w 2048870"/>
                <a:gd name="connsiteY684" fmla="*/ 243724 h 1413227"/>
                <a:gd name="connsiteX685" fmla="*/ 1381107 w 2048870"/>
                <a:gd name="connsiteY685" fmla="*/ 212610 h 1413227"/>
                <a:gd name="connsiteX686" fmla="*/ 1370736 w 2048870"/>
                <a:gd name="connsiteY686" fmla="*/ 202239 h 1413227"/>
                <a:gd name="connsiteX687" fmla="*/ 1363822 w 2048870"/>
                <a:gd name="connsiteY687" fmla="*/ 200511 h 1413227"/>
                <a:gd name="connsiteX688" fmla="*/ 1358636 w 2048870"/>
                <a:gd name="connsiteY688" fmla="*/ 193596 h 1413227"/>
                <a:gd name="connsiteX689" fmla="*/ 1349994 w 2048870"/>
                <a:gd name="connsiteY689" fmla="*/ 178040 h 1413227"/>
                <a:gd name="connsiteX690" fmla="*/ 1337894 w 2048870"/>
                <a:gd name="connsiteY690" fmla="*/ 167668 h 1413227"/>
                <a:gd name="connsiteX691" fmla="*/ 1298137 w 2048870"/>
                <a:gd name="connsiteY691" fmla="*/ 169397 h 1413227"/>
                <a:gd name="connsiteX692" fmla="*/ 1284309 w 2048870"/>
                <a:gd name="connsiteY692" fmla="*/ 179768 h 1413227"/>
                <a:gd name="connsiteX693" fmla="*/ 1268752 w 2048870"/>
                <a:gd name="connsiteY693" fmla="*/ 181497 h 1413227"/>
                <a:gd name="connsiteX694" fmla="*/ 1251467 w 2048870"/>
                <a:gd name="connsiteY694" fmla="*/ 174583 h 1413227"/>
                <a:gd name="connsiteX695" fmla="*/ 1241095 w 2048870"/>
                <a:gd name="connsiteY695" fmla="*/ 164211 h 1413227"/>
                <a:gd name="connsiteX696" fmla="*/ 1230724 w 2048870"/>
                <a:gd name="connsiteY696" fmla="*/ 160754 h 1413227"/>
                <a:gd name="connsiteX697" fmla="*/ 1215167 w 2048870"/>
                <a:gd name="connsiteY697" fmla="*/ 146926 h 1413227"/>
                <a:gd name="connsiteX698" fmla="*/ 1213439 w 2048870"/>
                <a:gd name="connsiteY698" fmla="*/ 140012 h 1413227"/>
                <a:gd name="connsiteX699" fmla="*/ 1206524 w 2048870"/>
                <a:gd name="connsiteY699" fmla="*/ 131369 h 1413227"/>
                <a:gd name="connsiteX700" fmla="*/ 1204796 w 2048870"/>
                <a:gd name="connsiteY700" fmla="*/ 122726 h 1413227"/>
                <a:gd name="connsiteX701" fmla="*/ 1190968 w 2048870"/>
                <a:gd name="connsiteY701" fmla="*/ 117541 h 1413227"/>
                <a:gd name="connsiteX702" fmla="*/ 1201339 w 2048870"/>
                <a:gd name="connsiteY702" fmla="*/ 105441 h 1413227"/>
                <a:gd name="connsiteX703" fmla="*/ 1208253 w 2048870"/>
                <a:gd name="connsiteY703" fmla="*/ 101984 h 1413227"/>
                <a:gd name="connsiteX704" fmla="*/ 1213439 w 2048870"/>
                <a:gd name="connsiteY704" fmla="*/ 95069 h 1413227"/>
                <a:gd name="connsiteX705" fmla="*/ 1218624 w 2048870"/>
                <a:gd name="connsiteY705" fmla="*/ 89884 h 1413227"/>
                <a:gd name="connsiteX706" fmla="*/ 1216896 w 2048870"/>
                <a:gd name="connsiteY706" fmla="*/ 84698 h 1413227"/>
                <a:gd name="connsiteX707" fmla="*/ 1206524 w 2048870"/>
                <a:gd name="connsiteY707" fmla="*/ 81241 h 1413227"/>
                <a:gd name="connsiteX708" fmla="*/ 1190968 w 2048870"/>
                <a:gd name="connsiteY708" fmla="*/ 76055 h 1413227"/>
                <a:gd name="connsiteX709" fmla="*/ 1175411 w 2048870"/>
                <a:gd name="connsiteY709" fmla="*/ 60499 h 1413227"/>
                <a:gd name="connsiteX710" fmla="*/ 1168496 w 2048870"/>
                <a:gd name="connsiteY710" fmla="*/ 53584 h 1413227"/>
                <a:gd name="connsiteX711" fmla="*/ 1165039 w 2048870"/>
                <a:gd name="connsiteY711" fmla="*/ 46670 h 1413227"/>
                <a:gd name="connsiteX712" fmla="*/ 1159854 w 2048870"/>
                <a:gd name="connsiteY712" fmla="*/ 39756 h 1413227"/>
                <a:gd name="connsiteX713" fmla="*/ 1151211 w 2048870"/>
                <a:gd name="connsiteY713" fmla="*/ 27656 h 1413227"/>
                <a:gd name="connsiteX714" fmla="*/ 1146025 w 2048870"/>
                <a:gd name="connsiteY714" fmla="*/ 24199 h 1413227"/>
                <a:gd name="connsiteX715" fmla="*/ 1140840 w 2048870"/>
                <a:gd name="connsiteY715" fmla="*/ 17285 h 1413227"/>
                <a:gd name="connsiteX716" fmla="*/ 1123554 w 2048870"/>
                <a:gd name="connsiteY716" fmla="*/ 3457 h 1413227"/>
                <a:gd name="connsiteX717" fmla="*/ 1116640 w 2048870"/>
                <a:gd name="connsiteY717" fmla="*/ 0 h 1413227"/>
                <a:gd name="connsiteX718" fmla="*/ 1102812 w 2048870"/>
                <a:gd name="connsiteY718" fmla="*/ 1728 h 1413227"/>
                <a:gd name="connsiteX719" fmla="*/ 1097626 w 2048870"/>
                <a:gd name="connsiteY719" fmla="*/ 3457 h 1413227"/>
                <a:gd name="connsiteX720" fmla="*/ 1090712 w 2048870"/>
                <a:gd name="connsiteY720" fmla="*/ 5185 h 1413227"/>
                <a:gd name="connsiteX721" fmla="*/ 1071698 w 2048870"/>
                <a:gd name="connsiteY721" fmla="*/ 17285 h 1413227"/>
                <a:gd name="connsiteX722" fmla="*/ 1056141 w 2048870"/>
                <a:gd name="connsiteY722" fmla="*/ 15556 h 1413227"/>
                <a:gd name="connsiteX723" fmla="*/ 1050955 w 2048870"/>
                <a:gd name="connsiteY723" fmla="*/ 19014 h 1413227"/>
                <a:gd name="connsiteX724" fmla="*/ 1042313 w 2048870"/>
                <a:gd name="connsiteY724" fmla="*/ 27656 h 1413227"/>
                <a:gd name="connsiteX725" fmla="*/ 1028484 w 2048870"/>
                <a:gd name="connsiteY725" fmla="*/ 38027 h 1413227"/>
                <a:gd name="connsiteX726" fmla="*/ 1025027 w 2048870"/>
                <a:gd name="connsiteY726" fmla="*/ 41485 h 1413227"/>
                <a:gd name="connsiteX727" fmla="*/ 1016385 w 2048870"/>
                <a:gd name="connsiteY727" fmla="*/ 46670 h 1413227"/>
                <a:gd name="connsiteX728" fmla="*/ 1012927 w 2048870"/>
                <a:gd name="connsiteY728" fmla="*/ 50127 h 1413227"/>
                <a:gd name="connsiteX729" fmla="*/ 997371 w 2048870"/>
                <a:gd name="connsiteY729" fmla="*/ 57041 h 1413227"/>
                <a:gd name="connsiteX730" fmla="*/ 973171 w 2048870"/>
                <a:gd name="connsiteY730" fmla="*/ 58770 h 1413227"/>
                <a:gd name="connsiteX731" fmla="*/ 967985 w 2048870"/>
                <a:gd name="connsiteY731" fmla="*/ 62227 h 1413227"/>
                <a:gd name="connsiteX732" fmla="*/ 966257 w 2048870"/>
                <a:gd name="connsiteY732" fmla="*/ 79513 h 1413227"/>
                <a:gd name="connsiteX733" fmla="*/ 962800 w 2048870"/>
                <a:gd name="connsiteY733" fmla="*/ 103712 h 1413227"/>
                <a:gd name="connsiteX734" fmla="*/ 961071 w 2048870"/>
                <a:gd name="connsiteY734" fmla="*/ 112355 h 1413227"/>
                <a:gd name="connsiteX735" fmla="*/ 916129 w 2048870"/>
                <a:gd name="connsiteY735" fmla="*/ 115812 h 1413227"/>
                <a:gd name="connsiteX736" fmla="*/ 910943 w 2048870"/>
                <a:gd name="connsiteY736" fmla="*/ 119269 h 1413227"/>
                <a:gd name="connsiteX737" fmla="*/ 905758 w 2048870"/>
                <a:gd name="connsiteY737" fmla="*/ 120998 h 1413227"/>
                <a:gd name="connsiteX738" fmla="*/ 893658 w 2048870"/>
                <a:gd name="connsiteY738" fmla="*/ 124455 h 1413227"/>
                <a:gd name="connsiteX739" fmla="*/ 888472 w 2048870"/>
                <a:gd name="connsiteY739" fmla="*/ 126183 h 1413227"/>
                <a:gd name="connsiteX740" fmla="*/ 895386 w 2048870"/>
                <a:gd name="connsiteY740" fmla="*/ 124455 h 1413227"/>
                <a:gd name="connsiteX741" fmla="*/ 904029 w 2048870"/>
                <a:gd name="connsiteY741" fmla="*/ 115812 h 1413227"/>
                <a:gd name="connsiteX742" fmla="*/ 966257 w 2048870"/>
                <a:gd name="connsiteY742" fmla="*/ 63956 h 1413227"/>
                <a:gd name="connsiteX0" fmla="*/ 966257 w 2048870"/>
                <a:gd name="connsiteY0" fmla="*/ 63956 h 1413227"/>
                <a:gd name="connsiteX1" fmla="*/ 962800 w 2048870"/>
                <a:gd name="connsiteY1" fmla="*/ 72598 h 1413227"/>
                <a:gd name="connsiteX2" fmla="*/ 919586 w 2048870"/>
                <a:gd name="connsiteY2" fmla="*/ 114083 h 1413227"/>
                <a:gd name="connsiteX3" fmla="*/ 902301 w 2048870"/>
                <a:gd name="connsiteY3" fmla="*/ 120998 h 1413227"/>
                <a:gd name="connsiteX4" fmla="*/ 885015 w 2048870"/>
                <a:gd name="connsiteY4" fmla="*/ 122726 h 1413227"/>
                <a:gd name="connsiteX5" fmla="*/ 878101 w 2048870"/>
                <a:gd name="connsiteY5" fmla="*/ 129640 h 1413227"/>
                <a:gd name="connsiteX6" fmla="*/ 855630 w 2048870"/>
                <a:gd name="connsiteY6" fmla="*/ 140012 h 1413227"/>
                <a:gd name="connsiteX7" fmla="*/ 850444 w 2048870"/>
                <a:gd name="connsiteY7" fmla="*/ 145197 h 1413227"/>
                <a:gd name="connsiteX8" fmla="*/ 831430 w 2048870"/>
                <a:gd name="connsiteY8" fmla="*/ 146926 h 1413227"/>
                <a:gd name="connsiteX9" fmla="*/ 808923 w 2048870"/>
                <a:gd name="connsiteY9" fmla="*/ 195183 h 1413227"/>
                <a:gd name="connsiteX10" fmla="*/ 817602 w 2048870"/>
                <a:gd name="connsiteY10" fmla="*/ 247181 h 1413227"/>
                <a:gd name="connsiteX11" fmla="*/ 821059 w 2048870"/>
                <a:gd name="connsiteY11" fmla="*/ 255824 h 1413227"/>
                <a:gd name="connsiteX12" fmla="*/ 826245 w 2048870"/>
                <a:gd name="connsiteY12" fmla="*/ 259281 h 1413227"/>
                <a:gd name="connsiteX13" fmla="*/ 833159 w 2048870"/>
                <a:gd name="connsiteY13" fmla="*/ 267924 h 1413227"/>
                <a:gd name="connsiteX14" fmla="*/ 836616 w 2048870"/>
                <a:gd name="connsiteY14" fmla="*/ 280024 h 1413227"/>
                <a:gd name="connsiteX15" fmla="*/ 834887 w 2048870"/>
                <a:gd name="connsiteY15" fmla="*/ 295581 h 1413227"/>
                <a:gd name="connsiteX16" fmla="*/ 821059 w 2048870"/>
                <a:gd name="connsiteY16" fmla="*/ 299038 h 1413227"/>
                <a:gd name="connsiteX17" fmla="*/ 800316 w 2048870"/>
                <a:gd name="connsiteY17" fmla="*/ 295581 h 1413227"/>
                <a:gd name="connsiteX18" fmla="*/ 786488 w 2048870"/>
                <a:gd name="connsiteY18" fmla="*/ 286938 h 1413227"/>
                <a:gd name="connsiteX19" fmla="*/ 781302 w 2048870"/>
                <a:gd name="connsiteY19" fmla="*/ 285209 h 1413227"/>
                <a:gd name="connsiteX20" fmla="*/ 774388 w 2048870"/>
                <a:gd name="connsiteY20" fmla="*/ 278295 h 1413227"/>
                <a:gd name="connsiteX21" fmla="*/ 767474 w 2048870"/>
                <a:gd name="connsiteY21" fmla="*/ 285209 h 1413227"/>
                <a:gd name="connsiteX22" fmla="*/ 758831 w 2048870"/>
                <a:gd name="connsiteY22" fmla="*/ 286938 h 1413227"/>
                <a:gd name="connsiteX23" fmla="*/ 751917 w 2048870"/>
                <a:gd name="connsiteY23" fmla="*/ 288666 h 1413227"/>
                <a:gd name="connsiteX24" fmla="*/ 746732 w 2048870"/>
                <a:gd name="connsiteY24" fmla="*/ 290395 h 1413227"/>
                <a:gd name="connsiteX25" fmla="*/ 722532 w 2048870"/>
                <a:gd name="connsiteY25" fmla="*/ 292124 h 1413227"/>
                <a:gd name="connsiteX26" fmla="*/ 720803 w 2048870"/>
                <a:gd name="connsiteY26" fmla="*/ 297309 h 1413227"/>
                <a:gd name="connsiteX27" fmla="*/ 701789 w 2048870"/>
                <a:gd name="connsiteY27" fmla="*/ 312866 h 1413227"/>
                <a:gd name="connsiteX28" fmla="*/ 686233 w 2048870"/>
                <a:gd name="connsiteY28" fmla="*/ 305952 h 1413227"/>
                <a:gd name="connsiteX29" fmla="*/ 684504 w 2048870"/>
                <a:gd name="connsiteY29" fmla="*/ 300766 h 1413227"/>
                <a:gd name="connsiteX30" fmla="*/ 681047 w 2048870"/>
                <a:gd name="connsiteY30" fmla="*/ 285209 h 1413227"/>
                <a:gd name="connsiteX31" fmla="*/ 649933 w 2048870"/>
                <a:gd name="connsiteY31" fmla="*/ 288666 h 1413227"/>
                <a:gd name="connsiteX32" fmla="*/ 646476 w 2048870"/>
                <a:gd name="connsiteY32" fmla="*/ 299038 h 1413227"/>
                <a:gd name="connsiteX33" fmla="*/ 639562 w 2048870"/>
                <a:gd name="connsiteY33" fmla="*/ 314595 h 1413227"/>
                <a:gd name="connsiteX34" fmla="*/ 634376 w 2048870"/>
                <a:gd name="connsiteY34" fmla="*/ 326694 h 1413227"/>
                <a:gd name="connsiteX35" fmla="*/ 629191 w 2048870"/>
                <a:gd name="connsiteY35" fmla="*/ 328423 h 1413227"/>
                <a:gd name="connsiteX36" fmla="*/ 613634 w 2048870"/>
                <a:gd name="connsiteY36" fmla="*/ 323237 h 1413227"/>
                <a:gd name="connsiteX37" fmla="*/ 601534 w 2048870"/>
                <a:gd name="connsiteY37" fmla="*/ 311138 h 1413227"/>
                <a:gd name="connsiteX38" fmla="*/ 572149 w 2048870"/>
                <a:gd name="connsiteY38" fmla="*/ 309409 h 1413227"/>
                <a:gd name="connsiteX39" fmla="*/ 566963 w 2048870"/>
                <a:gd name="connsiteY39" fmla="*/ 295581 h 1413227"/>
                <a:gd name="connsiteX40" fmla="*/ 563506 w 2048870"/>
                <a:gd name="connsiteY40" fmla="*/ 300766 h 1413227"/>
                <a:gd name="connsiteX41" fmla="*/ 558320 w 2048870"/>
                <a:gd name="connsiteY41" fmla="*/ 307680 h 1413227"/>
                <a:gd name="connsiteX42" fmla="*/ 549678 w 2048870"/>
                <a:gd name="connsiteY42" fmla="*/ 321509 h 1413227"/>
                <a:gd name="connsiteX43" fmla="*/ 509921 w 2048870"/>
                <a:gd name="connsiteY43" fmla="*/ 324966 h 1413227"/>
                <a:gd name="connsiteX44" fmla="*/ 515107 w 2048870"/>
                <a:gd name="connsiteY44" fmla="*/ 328423 h 1413227"/>
                <a:gd name="connsiteX45" fmla="*/ 525478 w 2048870"/>
                <a:gd name="connsiteY45" fmla="*/ 331880 h 1413227"/>
                <a:gd name="connsiteX46" fmla="*/ 523749 w 2048870"/>
                <a:gd name="connsiteY46" fmla="*/ 337066 h 1413227"/>
                <a:gd name="connsiteX47" fmla="*/ 516835 w 2048870"/>
                <a:gd name="connsiteY47" fmla="*/ 343980 h 1413227"/>
                <a:gd name="connsiteX48" fmla="*/ 511650 w 2048870"/>
                <a:gd name="connsiteY48" fmla="*/ 323237 h 1413227"/>
                <a:gd name="connsiteX49" fmla="*/ 483993 w 2048870"/>
                <a:gd name="connsiteY49" fmla="*/ 333609 h 1413227"/>
                <a:gd name="connsiteX50" fmla="*/ 478807 w 2048870"/>
                <a:gd name="connsiteY50" fmla="*/ 338794 h 1413227"/>
                <a:gd name="connsiteX51" fmla="*/ 466707 w 2048870"/>
                <a:gd name="connsiteY51" fmla="*/ 337066 h 1413227"/>
                <a:gd name="connsiteX52" fmla="*/ 463250 w 2048870"/>
                <a:gd name="connsiteY52" fmla="*/ 324966 h 1413227"/>
                <a:gd name="connsiteX53" fmla="*/ 454608 w 2048870"/>
                <a:gd name="connsiteY53" fmla="*/ 312866 h 1413227"/>
                <a:gd name="connsiteX54" fmla="*/ 449422 w 2048870"/>
                <a:gd name="connsiteY54" fmla="*/ 311138 h 1413227"/>
                <a:gd name="connsiteX55" fmla="*/ 425222 w 2048870"/>
                <a:gd name="connsiteY55" fmla="*/ 314595 h 1413227"/>
                <a:gd name="connsiteX56" fmla="*/ 273110 w 2048870"/>
                <a:gd name="connsiteY56" fmla="*/ 316323 h 1413227"/>
                <a:gd name="connsiteX57" fmla="*/ 262739 w 2048870"/>
                <a:gd name="connsiteY57" fmla="*/ 323237 h 1413227"/>
                <a:gd name="connsiteX58" fmla="*/ 255825 w 2048870"/>
                <a:gd name="connsiteY58" fmla="*/ 324966 h 1413227"/>
                <a:gd name="connsiteX59" fmla="*/ 250639 w 2048870"/>
                <a:gd name="connsiteY59" fmla="*/ 326694 h 1413227"/>
                <a:gd name="connsiteX60" fmla="*/ 238540 w 2048870"/>
                <a:gd name="connsiteY60" fmla="*/ 330152 h 1413227"/>
                <a:gd name="connsiteX61" fmla="*/ 200512 w 2048870"/>
                <a:gd name="connsiteY61" fmla="*/ 333609 h 1413227"/>
                <a:gd name="connsiteX62" fmla="*/ 188412 w 2048870"/>
                <a:gd name="connsiteY62" fmla="*/ 338794 h 1413227"/>
                <a:gd name="connsiteX63" fmla="*/ 176312 w 2048870"/>
                <a:gd name="connsiteY63" fmla="*/ 342251 h 1413227"/>
                <a:gd name="connsiteX64" fmla="*/ 146927 w 2048870"/>
                <a:gd name="connsiteY64" fmla="*/ 356080 h 1413227"/>
                <a:gd name="connsiteX65" fmla="*/ 138284 w 2048870"/>
                <a:gd name="connsiteY65" fmla="*/ 357808 h 1413227"/>
                <a:gd name="connsiteX66" fmla="*/ 136555 w 2048870"/>
                <a:gd name="connsiteY66" fmla="*/ 364722 h 1413227"/>
                <a:gd name="connsiteX67" fmla="*/ 134827 w 2048870"/>
                <a:gd name="connsiteY67" fmla="*/ 380279 h 1413227"/>
                <a:gd name="connsiteX68" fmla="*/ 127913 w 2048870"/>
                <a:gd name="connsiteY68" fmla="*/ 387193 h 1413227"/>
                <a:gd name="connsiteX69" fmla="*/ 126184 w 2048870"/>
                <a:gd name="connsiteY69" fmla="*/ 394108 h 1413227"/>
                <a:gd name="connsiteX70" fmla="*/ 124456 w 2048870"/>
                <a:gd name="connsiteY70" fmla="*/ 402750 h 1413227"/>
                <a:gd name="connsiteX71" fmla="*/ 117541 w 2048870"/>
                <a:gd name="connsiteY71" fmla="*/ 407936 h 1413227"/>
                <a:gd name="connsiteX72" fmla="*/ 105442 w 2048870"/>
                <a:gd name="connsiteY72" fmla="*/ 411393 h 1413227"/>
                <a:gd name="connsiteX73" fmla="*/ 100256 w 2048870"/>
                <a:gd name="connsiteY73" fmla="*/ 413122 h 1413227"/>
                <a:gd name="connsiteX74" fmla="*/ 70871 w 2048870"/>
                <a:gd name="connsiteY74" fmla="*/ 421764 h 1413227"/>
                <a:gd name="connsiteX75" fmla="*/ 67414 w 2048870"/>
                <a:gd name="connsiteY75" fmla="*/ 428679 h 1413227"/>
                <a:gd name="connsiteX76" fmla="*/ 69142 w 2048870"/>
                <a:gd name="connsiteY76" fmla="*/ 440778 h 1413227"/>
                <a:gd name="connsiteX77" fmla="*/ 65685 w 2048870"/>
                <a:gd name="connsiteY77" fmla="*/ 445964 h 1413227"/>
                <a:gd name="connsiteX78" fmla="*/ 63957 w 2048870"/>
                <a:gd name="connsiteY78" fmla="*/ 452878 h 1413227"/>
                <a:gd name="connsiteX79" fmla="*/ 69142 w 2048870"/>
                <a:gd name="connsiteY79" fmla="*/ 456335 h 1413227"/>
                <a:gd name="connsiteX80" fmla="*/ 74328 w 2048870"/>
                <a:gd name="connsiteY80" fmla="*/ 458064 h 1413227"/>
                <a:gd name="connsiteX81" fmla="*/ 84699 w 2048870"/>
                <a:gd name="connsiteY81" fmla="*/ 466707 h 1413227"/>
                <a:gd name="connsiteX82" fmla="*/ 81242 w 2048870"/>
                <a:gd name="connsiteY82" fmla="*/ 473621 h 1413227"/>
                <a:gd name="connsiteX83" fmla="*/ 77785 w 2048870"/>
                <a:gd name="connsiteY83" fmla="*/ 478806 h 1413227"/>
                <a:gd name="connsiteX84" fmla="*/ 79513 w 2048870"/>
                <a:gd name="connsiteY84" fmla="*/ 485721 h 1413227"/>
                <a:gd name="connsiteX85" fmla="*/ 72599 w 2048870"/>
                <a:gd name="connsiteY85" fmla="*/ 489178 h 1413227"/>
                <a:gd name="connsiteX86" fmla="*/ 63957 w 2048870"/>
                <a:gd name="connsiteY86" fmla="*/ 487449 h 1413227"/>
                <a:gd name="connsiteX87" fmla="*/ 76056 w 2048870"/>
                <a:gd name="connsiteY87" fmla="*/ 485721 h 1413227"/>
                <a:gd name="connsiteX88" fmla="*/ 86428 w 2048870"/>
                <a:gd name="connsiteY88" fmla="*/ 483992 h 1413227"/>
                <a:gd name="connsiteX89" fmla="*/ 84699 w 2048870"/>
                <a:gd name="connsiteY89" fmla="*/ 494363 h 1413227"/>
                <a:gd name="connsiteX90" fmla="*/ 86428 w 2048870"/>
                <a:gd name="connsiteY90" fmla="*/ 501277 h 1413227"/>
                <a:gd name="connsiteX91" fmla="*/ 96799 w 2048870"/>
                <a:gd name="connsiteY91" fmla="*/ 515106 h 1413227"/>
                <a:gd name="connsiteX92" fmla="*/ 101985 w 2048870"/>
                <a:gd name="connsiteY92" fmla="*/ 516834 h 1413227"/>
                <a:gd name="connsiteX93" fmla="*/ 114084 w 2048870"/>
                <a:gd name="connsiteY93" fmla="*/ 520291 h 1413227"/>
                <a:gd name="connsiteX94" fmla="*/ 102601 w 2048870"/>
                <a:gd name="connsiteY94" fmla="*/ 523095 h 1413227"/>
                <a:gd name="connsiteX95" fmla="*/ 106904 w 2048870"/>
                <a:gd name="connsiteY95" fmla="*/ 535847 h 1413227"/>
                <a:gd name="connsiteX96" fmla="*/ 124649 w 2048870"/>
                <a:gd name="connsiteY96" fmla="*/ 554668 h 1413227"/>
                <a:gd name="connsiteX97" fmla="*/ 134827 w 2048870"/>
                <a:gd name="connsiteY97" fmla="*/ 572148 h 1413227"/>
                <a:gd name="connsiteX98" fmla="*/ 140012 w 2048870"/>
                <a:gd name="connsiteY98" fmla="*/ 573876 h 1413227"/>
                <a:gd name="connsiteX99" fmla="*/ 143470 w 2048870"/>
                <a:gd name="connsiteY99" fmla="*/ 577333 h 1413227"/>
                <a:gd name="connsiteX100" fmla="*/ 146927 w 2048870"/>
                <a:gd name="connsiteY100" fmla="*/ 589433 h 1413227"/>
                <a:gd name="connsiteX101" fmla="*/ 150384 w 2048870"/>
                <a:gd name="connsiteY101" fmla="*/ 598076 h 1413227"/>
                <a:gd name="connsiteX102" fmla="*/ 148655 w 2048870"/>
                <a:gd name="connsiteY102" fmla="*/ 617090 h 1413227"/>
                <a:gd name="connsiteX103" fmla="*/ 146927 w 2048870"/>
                <a:gd name="connsiteY103" fmla="*/ 622276 h 1413227"/>
                <a:gd name="connsiteX104" fmla="*/ 141741 w 2048870"/>
                <a:gd name="connsiteY104" fmla="*/ 627461 h 1413227"/>
                <a:gd name="connsiteX105" fmla="*/ 136555 w 2048870"/>
                <a:gd name="connsiteY105" fmla="*/ 634375 h 1413227"/>
                <a:gd name="connsiteX106" fmla="*/ 120999 w 2048870"/>
                <a:gd name="connsiteY106" fmla="*/ 639561 h 1413227"/>
                <a:gd name="connsiteX107" fmla="*/ 95070 w 2048870"/>
                <a:gd name="connsiteY107" fmla="*/ 665489 h 1413227"/>
                <a:gd name="connsiteX108" fmla="*/ 89885 w 2048870"/>
                <a:gd name="connsiteY108" fmla="*/ 670675 h 1413227"/>
                <a:gd name="connsiteX109" fmla="*/ 86428 w 2048870"/>
                <a:gd name="connsiteY109" fmla="*/ 675860 h 1413227"/>
                <a:gd name="connsiteX110" fmla="*/ 81242 w 2048870"/>
                <a:gd name="connsiteY110" fmla="*/ 677589 h 1413227"/>
                <a:gd name="connsiteX111" fmla="*/ 77785 w 2048870"/>
                <a:gd name="connsiteY111" fmla="*/ 682775 h 1413227"/>
                <a:gd name="connsiteX112" fmla="*/ 63957 w 2048870"/>
                <a:gd name="connsiteY112" fmla="*/ 689689 h 1413227"/>
                <a:gd name="connsiteX113" fmla="*/ 60499 w 2048870"/>
                <a:gd name="connsiteY113" fmla="*/ 706974 h 1413227"/>
                <a:gd name="connsiteX114" fmla="*/ 50128 w 2048870"/>
                <a:gd name="connsiteY114" fmla="*/ 720803 h 1413227"/>
                <a:gd name="connsiteX115" fmla="*/ 48400 w 2048870"/>
                <a:gd name="connsiteY115" fmla="*/ 725988 h 1413227"/>
                <a:gd name="connsiteX116" fmla="*/ 46671 w 2048870"/>
                <a:gd name="connsiteY116" fmla="*/ 732902 h 1413227"/>
                <a:gd name="connsiteX117" fmla="*/ 25929 w 2048870"/>
                <a:gd name="connsiteY117" fmla="*/ 751916 h 1413227"/>
                <a:gd name="connsiteX118" fmla="*/ 19014 w 2048870"/>
                <a:gd name="connsiteY118" fmla="*/ 776116 h 1413227"/>
                <a:gd name="connsiteX119" fmla="*/ 12100 w 2048870"/>
                <a:gd name="connsiteY119" fmla="*/ 789944 h 1413227"/>
                <a:gd name="connsiteX120" fmla="*/ 17286 w 2048870"/>
                <a:gd name="connsiteY120" fmla="*/ 822787 h 1413227"/>
                <a:gd name="connsiteX121" fmla="*/ 25929 w 2048870"/>
                <a:gd name="connsiteY121" fmla="*/ 829701 h 1413227"/>
                <a:gd name="connsiteX122" fmla="*/ 29386 w 2048870"/>
                <a:gd name="connsiteY122" fmla="*/ 838344 h 1413227"/>
                <a:gd name="connsiteX123" fmla="*/ 36300 w 2048870"/>
                <a:gd name="connsiteY123" fmla="*/ 843529 h 1413227"/>
                <a:gd name="connsiteX124" fmla="*/ 38028 w 2048870"/>
                <a:gd name="connsiteY124" fmla="*/ 852172 h 1413227"/>
                <a:gd name="connsiteX125" fmla="*/ 43214 w 2048870"/>
                <a:gd name="connsiteY125" fmla="*/ 864272 h 1413227"/>
                <a:gd name="connsiteX126" fmla="*/ 44943 w 2048870"/>
                <a:gd name="connsiteY126" fmla="*/ 874643 h 1413227"/>
                <a:gd name="connsiteX127" fmla="*/ 51857 w 2048870"/>
                <a:gd name="connsiteY127" fmla="*/ 876372 h 1413227"/>
                <a:gd name="connsiteX128" fmla="*/ 53585 w 2048870"/>
                <a:gd name="connsiteY128" fmla="*/ 883286 h 1413227"/>
                <a:gd name="connsiteX129" fmla="*/ 58771 w 2048870"/>
                <a:gd name="connsiteY129" fmla="*/ 886743 h 1413227"/>
                <a:gd name="connsiteX130" fmla="*/ 51857 w 2048870"/>
                <a:gd name="connsiteY130" fmla="*/ 898843 h 1413227"/>
                <a:gd name="connsiteX131" fmla="*/ 43214 w 2048870"/>
                <a:gd name="connsiteY131" fmla="*/ 904028 h 1413227"/>
                <a:gd name="connsiteX132" fmla="*/ 29386 w 2048870"/>
                <a:gd name="connsiteY132" fmla="*/ 909214 h 1413227"/>
                <a:gd name="connsiteX133" fmla="*/ 27657 w 2048870"/>
                <a:gd name="connsiteY133" fmla="*/ 919585 h 1413227"/>
                <a:gd name="connsiteX134" fmla="*/ 25929 w 2048870"/>
                <a:gd name="connsiteY134" fmla="*/ 926499 h 1413227"/>
                <a:gd name="connsiteX135" fmla="*/ 19014 w 2048870"/>
                <a:gd name="connsiteY135" fmla="*/ 955885 h 1413227"/>
                <a:gd name="connsiteX136" fmla="*/ 10372 w 2048870"/>
                <a:gd name="connsiteY136" fmla="*/ 969713 h 1413227"/>
                <a:gd name="connsiteX137" fmla="*/ 8643 w 2048870"/>
                <a:gd name="connsiteY137" fmla="*/ 990455 h 1413227"/>
                <a:gd name="connsiteX138" fmla="*/ 0 w 2048870"/>
                <a:gd name="connsiteY138" fmla="*/ 999098 h 1413227"/>
                <a:gd name="connsiteX139" fmla="*/ 6915 w 2048870"/>
                <a:gd name="connsiteY139" fmla="*/ 1023298 h 1413227"/>
                <a:gd name="connsiteX140" fmla="*/ 15557 w 2048870"/>
                <a:gd name="connsiteY140" fmla="*/ 1025026 h 1413227"/>
                <a:gd name="connsiteX141" fmla="*/ 22471 w 2048870"/>
                <a:gd name="connsiteY141" fmla="*/ 1030212 h 1413227"/>
                <a:gd name="connsiteX142" fmla="*/ 27657 w 2048870"/>
                <a:gd name="connsiteY142" fmla="*/ 1031941 h 1413227"/>
                <a:gd name="connsiteX143" fmla="*/ 34571 w 2048870"/>
                <a:gd name="connsiteY143" fmla="*/ 1035398 h 1413227"/>
                <a:gd name="connsiteX144" fmla="*/ 39757 w 2048870"/>
                <a:gd name="connsiteY144" fmla="*/ 1042312 h 1413227"/>
                <a:gd name="connsiteX145" fmla="*/ 43214 w 2048870"/>
                <a:gd name="connsiteY145" fmla="*/ 1047497 h 1413227"/>
                <a:gd name="connsiteX146" fmla="*/ 53585 w 2048870"/>
                <a:gd name="connsiteY146" fmla="*/ 1052683 h 1413227"/>
                <a:gd name="connsiteX147" fmla="*/ 95070 w 2048870"/>
                <a:gd name="connsiteY147" fmla="*/ 1061326 h 1413227"/>
                <a:gd name="connsiteX148" fmla="*/ 96799 w 2048870"/>
                <a:gd name="connsiteY148" fmla="*/ 1073426 h 1413227"/>
                <a:gd name="connsiteX149" fmla="*/ 101985 w 2048870"/>
                <a:gd name="connsiteY149" fmla="*/ 1075154 h 1413227"/>
                <a:gd name="connsiteX150" fmla="*/ 112356 w 2048870"/>
                <a:gd name="connsiteY150" fmla="*/ 1066511 h 1413227"/>
                <a:gd name="connsiteX151" fmla="*/ 119270 w 2048870"/>
                <a:gd name="connsiteY151" fmla="*/ 1059597 h 1413227"/>
                <a:gd name="connsiteX152" fmla="*/ 120999 w 2048870"/>
                <a:gd name="connsiteY152" fmla="*/ 1054412 h 1413227"/>
                <a:gd name="connsiteX153" fmla="*/ 134827 w 2048870"/>
                <a:gd name="connsiteY153" fmla="*/ 1061326 h 1413227"/>
                <a:gd name="connsiteX154" fmla="*/ 141741 w 2048870"/>
                <a:gd name="connsiteY154" fmla="*/ 1063054 h 1413227"/>
                <a:gd name="connsiteX155" fmla="*/ 146927 w 2048870"/>
                <a:gd name="connsiteY155" fmla="*/ 1064783 h 1413227"/>
                <a:gd name="connsiteX156" fmla="*/ 247182 w 2048870"/>
                <a:gd name="connsiteY156" fmla="*/ 1068240 h 1413227"/>
                <a:gd name="connsiteX157" fmla="*/ 266196 w 2048870"/>
                <a:gd name="connsiteY157" fmla="*/ 1064783 h 1413227"/>
                <a:gd name="connsiteX158" fmla="*/ 276568 w 2048870"/>
                <a:gd name="connsiteY158" fmla="*/ 1059597 h 1413227"/>
                <a:gd name="connsiteX159" fmla="*/ 285210 w 2048870"/>
                <a:gd name="connsiteY159" fmla="*/ 1049226 h 1413227"/>
                <a:gd name="connsiteX160" fmla="*/ 295581 w 2048870"/>
                <a:gd name="connsiteY160" fmla="*/ 1052683 h 1413227"/>
                <a:gd name="connsiteX161" fmla="*/ 299039 w 2048870"/>
                <a:gd name="connsiteY161" fmla="*/ 1059597 h 1413227"/>
                <a:gd name="connsiteX162" fmla="*/ 312867 w 2048870"/>
                <a:gd name="connsiteY162" fmla="*/ 1071697 h 1413227"/>
                <a:gd name="connsiteX163" fmla="*/ 338795 w 2048870"/>
                <a:gd name="connsiteY163" fmla="*/ 1078611 h 1413227"/>
                <a:gd name="connsiteX164" fmla="*/ 361266 w 2048870"/>
                <a:gd name="connsiteY164" fmla="*/ 1075154 h 1413227"/>
                <a:gd name="connsiteX165" fmla="*/ 362995 w 2048870"/>
                <a:gd name="connsiteY165" fmla="*/ 1068240 h 1413227"/>
                <a:gd name="connsiteX166" fmla="*/ 373366 w 2048870"/>
                <a:gd name="connsiteY166" fmla="*/ 1050955 h 1413227"/>
                <a:gd name="connsiteX167" fmla="*/ 378552 w 2048870"/>
                <a:gd name="connsiteY167" fmla="*/ 1045769 h 1413227"/>
                <a:gd name="connsiteX168" fmla="*/ 397566 w 2048870"/>
                <a:gd name="connsiteY168" fmla="*/ 1038855 h 1413227"/>
                <a:gd name="connsiteX169" fmla="*/ 432137 w 2048870"/>
                <a:gd name="connsiteY169" fmla="*/ 1035398 h 1413227"/>
                <a:gd name="connsiteX170" fmla="*/ 444236 w 2048870"/>
                <a:gd name="connsiteY170" fmla="*/ 1031941 h 1413227"/>
                <a:gd name="connsiteX171" fmla="*/ 447693 w 2048870"/>
                <a:gd name="connsiteY171" fmla="*/ 1025026 h 1413227"/>
                <a:gd name="connsiteX172" fmla="*/ 452879 w 2048870"/>
                <a:gd name="connsiteY172" fmla="*/ 1021569 h 1413227"/>
                <a:gd name="connsiteX173" fmla="*/ 468436 w 2048870"/>
                <a:gd name="connsiteY173" fmla="*/ 1011198 h 1413227"/>
                <a:gd name="connsiteX174" fmla="*/ 473622 w 2048870"/>
                <a:gd name="connsiteY174" fmla="*/ 999098 h 1413227"/>
                <a:gd name="connsiteX175" fmla="*/ 478807 w 2048870"/>
                <a:gd name="connsiteY175" fmla="*/ 986998 h 1413227"/>
                <a:gd name="connsiteX176" fmla="*/ 485721 w 2048870"/>
                <a:gd name="connsiteY176" fmla="*/ 980084 h 1413227"/>
                <a:gd name="connsiteX177" fmla="*/ 489178 w 2048870"/>
                <a:gd name="connsiteY177" fmla="*/ 974899 h 1413227"/>
                <a:gd name="connsiteX178" fmla="*/ 511650 w 2048870"/>
                <a:gd name="connsiteY178" fmla="*/ 955885 h 1413227"/>
                <a:gd name="connsiteX179" fmla="*/ 530664 w 2048870"/>
                <a:gd name="connsiteY179" fmla="*/ 947242 h 1413227"/>
                <a:gd name="connsiteX180" fmla="*/ 537578 w 2048870"/>
                <a:gd name="connsiteY180" fmla="*/ 933414 h 1413227"/>
                <a:gd name="connsiteX181" fmla="*/ 539306 w 2048870"/>
                <a:gd name="connsiteY181" fmla="*/ 928228 h 1413227"/>
                <a:gd name="connsiteX182" fmla="*/ 541035 w 2048870"/>
                <a:gd name="connsiteY182" fmla="*/ 921314 h 1413227"/>
                <a:gd name="connsiteX183" fmla="*/ 563506 w 2048870"/>
                <a:gd name="connsiteY183" fmla="*/ 917857 h 1413227"/>
                <a:gd name="connsiteX184" fmla="*/ 568692 w 2048870"/>
                <a:gd name="connsiteY184" fmla="*/ 916128 h 1413227"/>
                <a:gd name="connsiteX185" fmla="*/ 584248 w 2048870"/>
                <a:gd name="connsiteY185" fmla="*/ 914400 h 1413227"/>
                <a:gd name="connsiteX186" fmla="*/ 589434 w 2048870"/>
                <a:gd name="connsiteY186" fmla="*/ 910942 h 1413227"/>
                <a:gd name="connsiteX187" fmla="*/ 599805 w 2048870"/>
                <a:gd name="connsiteY187" fmla="*/ 905757 h 1413227"/>
                <a:gd name="connsiteX188" fmla="*/ 604991 w 2048870"/>
                <a:gd name="connsiteY188" fmla="*/ 900571 h 1413227"/>
                <a:gd name="connsiteX189" fmla="*/ 606719 w 2048870"/>
                <a:gd name="connsiteY189" fmla="*/ 895386 h 1413227"/>
                <a:gd name="connsiteX190" fmla="*/ 615362 w 2048870"/>
                <a:gd name="connsiteY190" fmla="*/ 891928 h 1413227"/>
                <a:gd name="connsiteX191" fmla="*/ 620548 w 2048870"/>
                <a:gd name="connsiteY191" fmla="*/ 886743 h 1413227"/>
                <a:gd name="connsiteX192" fmla="*/ 639562 w 2048870"/>
                <a:gd name="connsiteY192" fmla="*/ 879829 h 1413227"/>
                <a:gd name="connsiteX193" fmla="*/ 653390 w 2048870"/>
                <a:gd name="connsiteY193" fmla="*/ 883286 h 1413227"/>
                <a:gd name="connsiteX194" fmla="*/ 660304 w 2048870"/>
                <a:gd name="connsiteY194" fmla="*/ 885014 h 1413227"/>
                <a:gd name="connsiteX195" fmla="*/ 668947 w 2048870"/>
                <a:gd name="connsiteY195" fmla="*/ 886743 h 1413227"/>
                <a:gd name="connsiteX196" fmla="*/ 675861 w 2048870"/>
                <a:gd name="connsiteY196" fmla="*/ 890200 h 1413227"/>
                <a:gd name="connsiteX197" fmla="*/ 682775 w 2048870"/>
                <a:gd name="connsiteY197" fmla="*/ 891928 h 1413227"/>
                <a:gd name="connsiteX198" fmla="*/ 687961 w 2048870"/>
                <a:gd name="connsiteY198" fmla="*/ 895386 h 1413227"/>
                <a:gd name="connsiteX199" fmla="*/ 700061 w 2048870"/>
                <a:gd name="connsiteY199" fmla="*/ 898843 h 1413227"/>
                <a:gd name="connsiteX200" fmla="*/ 706975 w 2048870"/>
                <a:gd name="connsiteY200" fmla="*/ 904028 h 1413227"/>
                <a:gd name="connsiteX201" fmla="*/ 720803 w 2048870"/>
                <a:gd name="connsiteY201" fmla="*/ 907485 h 1413227"/>
                <a:gd name="connsiteX202" fmla="*/ 727718 w 2048870"/>
                <a:gd name="connsiteY202" fmla="*/ 905757 h 1413227"/>
                <a:gd name="connsiteX203" fmla="*/ 736360 w 2048870"/>
                <a:gd name="connsiteY203" fmla="*/ 904028 h 1413227"/>
                <a:gd name="connsiteX204" fmla="*/ 738089 w 2048870"/>
                <a:gd name="connsiteY204" fmla="*/ 910942 h 1413227"/>
                <a:gd name="connsiteX205" fmla="*/ 760560 w 2048870"/>
                <a:gd name="connsiteY205" fmla="*/ 904028 h 1413227"/>
                <a:gd name="connsiteX206" fmla="*/ 770931 w 2048870"/>
                <a:gd name="connsiteY206" fmla="*/ 895386 h 1413227"/>
                <a:gd name="connsiteX207" fmla="*/ 776117 w 2048870"/>
                <a:gd name="connsiteY207" fmla="*/ 909214 h 1413227"/>
                <a:gd name="connsiteX208" fmla="*/ 783031 w 2048870"/>
                <a:gd name="connsiteY208" fmla="*/ 914400 h 1413227"/>
                <a:gd name="connsiteX209" fmla="*/ 788217 w 2048870"/>
                <a:gd name="connsiteY209" fmla="*/ 919585 h 1413227"/>
                <a:gd name="connsiteX210" fmla="*/ 793402 w 2048870"/>
                <a:gd name="connsiteY210" fmla="*/ 923042 h 1413227"/>
                <a:gd name="connsiteX211" fmla="*/ 798588 w 2048870"/>
                <a:gd name="connsiteY211" fmla="*/ 928228 h 1413227"/>
                <a:gd name="connsiteX212" fmla="*/ 815873 w 2048870"/>
                <a:gd name="connsiteY212" fmla="*/ 935142 h 1413227"/>
                <a:gd name="connsiteX213" fmla="*/ 821059 w 2048870"/>
                <a:gd name="connsiteY213" fmla="*/ 926499 h 1413227"/>
                <a:gd name="connsiteX214" fmla="*/ 824516 w 2048870"/>
                <a:gd name="connsiteY214" fmla="*/ 910942 h 1413227"/>
                <a:gd name="connsiteX215" fmla="*/ 833159 w 2048870"/>
                <a:gd name="connsiteY215" fmla="*/ 912671 h 1413227"/>
                <a:gd name="connsiteX216" fmla="*/ 838344 w 2048870"/>
                <a:gd name="connsiteY216" fmla="*/ 926499 h 1413227"/>
                <a:gd name="connsiteX217" fmla="*/ 841802 w 2048870"/>
                <a:gd name="connsiteY217" fmla="*/ 929956 h 1413227"/>
                <a:gd name="connsiteX218" fmla="*/ 850444 w 2048870"/>
                <a:gd name="connsiteY218" fmla="*/ 948970 h 1413227"/>
                <a:gd name="connsiteX219" fmla="*/ 853901 w 2048870"/>
                <a:gd name="connsiteY219" fmla="*/ 954156 h 1413227"/>
                <a:gd name="connsiteX220" fmla="*/ 859087 w 2048870"/>
                <a:gd name="connsiteY220" fmla="*/ 988727 h 1413227"/>
                <a:gd name="connsiteX221" fmla="*/ 864273 w 2048870"/>
                <a:gd name="connsiteY221" fmla="*/ 1009469 h 1413227"/>
                <a:gd name="connsiteX222" fmla="*/ 878101 w 2048870"/>
                <a:gd name="connsiteY222" fmla="*/ 1012927 h 1413227"/>
                <a:gd name="connsiteX223" fmla="*/ 885015 w 2048870"/>
                <a:gd name="connsiteY223" fmla="*/ 1016384 h 1413227"/>
                <a:gd name="connsiteX224" fmla="*/ 888472 w 2048870"/>
                <a:gd name="connsiteY224" fmla="*/ 1021569 h 1413227"/>
                <a:gd name="connsiteX225" fmla="*/ 900572 w 2048870"/>
                <a:gd name="connsiteY225" fmla="*/ 1026755 h 1413227"/>
                <a:gd name="connsiteX226" fmla="*/ 905758 w 2048870"/>
                <a:gd name="connsiteY226" fmla="*/ 1033669 h 1413227"/>
                <a:gd name="connsiteX227" fmla="*/ 909215 w 2048870"/>
                <a:gd name="connsiteY227" fmla="*/ 1040583 h 1413227"/>
                <a:gd name="connsiteX228" fmla="*/ 912672 w 2048870"/>
                <a:gd name="connsiteY228" fmla="*/ 1045769 h 1413227"/>
                <a:gd name="connsiteX229" fmla="*/ 921315 w 2048870"/>
                <a:gd name="connsiteY229" fmla="*/ 1061326 h 1413227"/>
                <a:gd name="connsiteX230" fmla="*/ 928229 w 2048870"/>
                <a:gd name="connsiteY230" fmla="*/ 1082068 h 1413227"/>
                <a:gd name="connsiteX231" fmla="*/ 929957 w 2048870"/>
                <a:gd name="connsiteY231" fmla="*/ 1088983 h 1413227"/>
                <a:gd name="connsiteX232" fmla="*/ 940329 w 2048870"/>
                <a:gd name="connsiteY232" fmla="*/ 1095897 h 1413227"/>
                <a:gd name="connsiteX233" fmla="*/ 959343 w 2048870"/>
                <a:gd name="connsiteY233" fmla="*/ 1097625 h 1413227"/>
                <a:gd name="connsiteX234" fmla="*/ 967985 w 2048870"/>
                <a:gd name="connsiteY234" fmla="*/ 1101082 h 1413227"/>
                <a:gd name="connsiteX235" fmla="*/ 973171 w 2048870"/>
                <a:gd name="connsiteY235" fmla="*/ 1106268 h 1413227"/>
                <a:gd name="connsiteX236" fmla="*/ 978357 w 2048870"/>
                <a:gd name="connsiteY236" fmla="*/ 1109725 h 1413227"/>
                <a:gd name="connsiteX237" fmla="*/ 983542 w 2048870"/>
                <a:gd name="connsiteY237" fmla="*/ 1118368 h 1413227"/>
                <a:gd name="connsiteX238" fmla="*/ 985271 w 2048870"/>
                <a:gd name="connsiteY238" fmla="*/ 1132196 h 1413227"/>
                <a:gd name="connsiteX239" fmla="*/ 992185 w 2048870"/>
                <a:gd name="connsiteY239" fmla="*/ 1139110 h 1413227"/>
                <a:gd name="connsiteX240" fmla="*/ 1006013 w 2048870"/>
                <a:gd name="connsiteY240" fmla="*/ 1147753 h 1413227"/>
                <a:gd name="connsiteX241" fmla="*/ 1019842 w 2048870"/>
                <a:gd name="connsiteY241" fmla="*/ 1165038 h 1413227"/>
                <a:gd name="connsiteX242" fmla="*/ 1012927 w 2048870"/>
                <a:gd name="connsiteY242" fmla="*/ 1168496 h 1413227"/>
                <a:gd name="connsiteX243" fmla="*/ 1009470 w 2048870"/>
                <a:gd name="connsiteY243" fmla="*/ 1173681 h 1413227"/>
                <a:gd name="connsiteX244" fmla="*/ 997371 w 2048870"/>
                <a:gd name="connsiteY244" fmla="*/ 1177138 h 1413227"/>
                <a:gd name="connsiteX245" fmla="*/ 990456 w 2048870"/>
                <a:gd name="connsiteY245" fmla="*/ 1182324 h 1413227"/>
                <a:gd name="connsiteX246" fmla="*/ 973171 w 2048870"/>
                <a:gd name="connsiteY246" fmla="*/ 1182324 h 1413227"/>
                <a:gd name="connsiteX247" fmla="*/ 971442 w 2048870"/>
                <a:gd name="connsiteY247" fmla="*/ 1161581 h 1413227"/>
                <a:gd name="connsiteX248" fmla="*/ 962800 w 2048870"/>
                <a:gd name="connsiteY248" fmla="*/ 1171953 h 1413227"/>
                <a:gd name="connsiteX249" fmla="*/ 959343 w 2048870"/>
                <a:gd name="connsiteY249" fmla="*/ 1178867 h 1413227"/>
                <a:gd name="connsiteX250" fmla="*/ 955885 w 2048870"/>
                <a:gd name="connsiteY250" fmla="*/ 1184052 h 1413227"/>
                <a:gd name="connsiteX251" fmla="*/ 947243 w 2048870"/>
                <a:gd name="connsiteY251" fmla="*/ 1187510 h 1413227"/>
                <a:gd name="connsiteX252" fmla="*/ 940329 w 2048870"/>
                <a:gd name="connsiteY252" fmla="*/ 1190967 h 1413227"/>
                <a:gd name="connsiteX253" fmla="*/ 935143 w 2048870"/>
                <a:gd name="connsiteY253" fmla="*/ 1189238 h 1413227"/>
                <a:gd name="connsiteX254" fmla="*/ 929957 w 2048870"/>
                <a:gd name="connsiteY254" fmla="*/ 1171953 h 1413227"/>
                <a:gd name="connsiteX255" fmla="*/ 926500 w 2048870"/>
                <a:gd name="connsiteY255" fmla="*/ 1165038 h 1413227"/>
                <a:gd name="connsiteX256" fmla="*/ 921315 w 2048870"/>
                <a:gd name="connsiteY256" fmla="*/ 1178867 h 1413227"/>
                <a:gd name="connsiteX257" fmla="*/ 917857 w 2048870"/>
                <a:gd name="connsiteY257" fmla="*/ 1182324 h 1413227"/>
                <a:gd name="connsiteX258" fmla="*/ 914400 w 2048870"/>
                <a:gd name="connsiteY258" fmla="*/ 1194424 h 1413227"/>
                <a:gd name="connsiteX259" fmla="*/ 909215 w 2048870"/>
                <a:gd name="connsiteY259" fmla="*/ 1199609 h 1413227"/>
                <a:gd name="connsiteX260" fmla="*/ 886744 w 2048870"/>
                <a:gd name="connsiteY260" fmla="*/ 1180595 h 1413227"/>
                <a:gd name="connsiteX261" fmla="*/ 883287 w 2048870"/>
                <a:gd name="connsiteY261" fmla="*/ 1189238 h 1413227"/>
                <a:gd name="connsiteX262" fmla="*/ 879830 w 2048870"/>
                <a:gd name="connsiteY262" fmla="*/ 1194424 h 1413227"/>
                <a:gd name="connsiteX263" fmla="*/ 874644 w 2048870"/>
                <a:gd name="connsiteY263" fmla="*/ 1204795 h 1413227"/>
                <a:gd name="connsiteX264" fmla="*/ 879830 w 2048870"/>
                <a:gd name="connsiteY264" fmla="*/ 1211709 h 1413227"/>
                <a:gd name="connsiteX265" fmla="*/ 890201 w 2048870"/>
                <a:gd name="connsiteY265" fmla="*/ 1215166 h 1413227"/>
                <a:gd name="connsiteX266" fmla="*/ 893658 w 2048870"/>
                <a:gd name="connsiteY266" fmla="*/ 1235909 h 1413227"/>
                <a:gd name="connsiteX267" fmla="*/ 891929 w 2048870"/>
                <a:gd name="connsiteY267" fmla="*/ 1258380 h 1413227"/>
                <a:gd name="connsiteX268" fmla="*/ 890201 w 2048870"/>
                <a:gd name="connsiteY268" fmla="*/ 1263565 h 1413227"/>
                <a:gd name="connsiteX269" fmla="*/ 878101 w 2048870"/>
                <a:gd name="connsiteY269" fmla="*/ 1275665 h 1413227"/>
                <a:gd name="connsiteX270" fmla="*/ 871187 w 2048870"/>
                <a:gd name="connsiteY270" fmla="*/ 1282579 h 1413227"/>
                <a:gd name="connsiteX271" fmla="*/ 876372 w 2048870"/>
                <a:gd name="connsiteY271" fmla="*/ 1287765 h 1413227"/>
                <a:gd name="connsiteX272" fmla="*/ 874644 w 2048870"/>
                <a:gd name="connsiteY272" fmla="*/ 1306779 h 1413227"/>
                <a:gd name="connsiteX273" fmla="*/ 869458 w 2048870"/>
                <a:gd name="connsiteY273" fmla="*/ 1308508 h 1413227"/>
                <a:gd name="connsiteX274" fmla="*/ 864273 w 2048870"/>
                <a:gd name="connsiteY274" fmla="*/ 1320607 h 1413227"/>
                <a:gd name="connsiteX275" fmla="*/ 858371 w 2048870"/>
                <a:gd name="connsiteY275" fmla="*/ 1338987 h 1413227"/>
                <a:gd name="connsiteX276" fmla="*/ 862544 w 2048870"/>
                <a:gd name="connsiteY276" fmla="*/ 1360364 h 1413227"/>
                <a:gd name="connsiteX277" fmla="*/ 857358 w 2048870"/>
                <a:gd name="connsiteY277" fmla="*/ 1363821 h 1413227"/>
                <a:gd name="connsiteX278" fmla="*/ 852173 w 2048870"/>
                <a:gd name="connsiteY278" fmla="*/ 1365550 h 1413227"/>
                <a:gd name="connsiteX279" fmla="*/ 850444 w 2048870"/>
                <a:gd name="connsiteY279" fmla="*/ 1370735 h 1413227"/>
                <a:gd name="connsiteX280" fmla="*/ 838344 w 2048870"/>
                <a:gd name="connsiteY280" fmla="*/ 1379378 h 1413227"/>
                <a:gd name="connsiteX281" fmla="*/ 841802 w 2048870"/>
                <a:gd name="connsiteY281" fmla="*/ 1389749 h 1413227"/>
                <a:gd name="connsiteX282" fmla="*/ 840497 w 2048870"/>
                <a:gd name="connsiteY282" fmla="*/ 1405535 h 1413227"/>
                <a:gd name="connsiteX283" fmla="*/ 835505 w 2048870"/>
                <a:gd name="connsiteY283" fmla="*/ 1401197 h 1413227"/>
                <a:gd name="connsiteX284" fmla="*/ 854324 w 2048870"/>
                <a:gd name="connsiteY284" fmla="*/ 1410492 h 1413227"/>
                <a:gd name="connsiteX285" fmla="*/ 885015 w 2048870"/>
                <a:gd name="connsiteY285" fmla="*/ 1408763 h 1413227"/>
                <a:gd name="connsiteX286" fmla="*/ 890201 w 2048870"/>
                <a:gd name="connsiteY286" fmla="*/ 1413103 h 1413227"/>
                <a:gd name="connsiteX287" fmla="*/ 921633 w 2048870"/>
                <a:gd name="connsiteY287" fmla="*/ 1403013 h 1413227"/>
                <a:gd name="connsiteX288" fmla="*/ 932427 w 2048870"/>
                <a:gd name="connsiteY288" fmla="*/ 1394371 h 1413227"/>
                <a:gd name="connsiteX289" fmla="*/ 933873 w 2048870"/>
                <a:gd name="connsiteY289" fmla="*/ 1386010 h 1413227"/>
                <a:gd name="connsiteX290" fmla="*/ 943362 w 2048870"/>
                <a:gd name="connsiteY290" fmla="*/ 1367278 h 1413227"/>
                <a:gd name="connsiteX291" fmla="*/ 943786 w 2048870"/>
                <a:gd name="connsiteY291" fmla="*/ 1362093 h 1413227"/>
                <a:gd name="connsiteX292" fmla="*/ 954157 w 2048870"/>
                <a:gd name="connsiteY292" fmla="*/ 1360364 h 1413227"/>
                <a:gd name="connsiteX293" fmla="*/ 993913 w 2048870"/>
                <a:gd name="connsiteY293" fmla="*/ 1356907 h 1413227"/>
                <a:gd name="connsiteX294" fmla="*/ 997371 w 2048870"/>
                <a:gd name="connsiteY294" fmla="*/ 1349993 h 1413227"/>
                <a:gd name="connsiteX295" fmla="*/ 1009470 w 2048870"/>
                <a:gd name="connsiteY295" fmla="*/ 1344807 h 1413227"/>
                <a:gd name="connsiteX296" fmla="*/ 997371 w 2048870"/>
                <a:gd name="connsiteY296" fmla="*/ 1334436 h 1413227"/>
                <a:gd name="connsiteX297" fmla="*/ 993913 w 2048870"/>
                <a:gd name="connsiteY297" fmla="*/ 1327522 h 1413227"/>
                <a:gd name="connsiteX298" fmla="*/ 988728 w 2048870"/>
                <a:gd name="connsiteY298" fmla="*/ 1322336 h 1413227"/>
                <a:gd name="connsiteX299" fmla="*/ 985271 w 2048870"/>
                <a:gd name="connsiteY299" fmla="*/ 1310236 h 1413227"/>
                <a:gd name="connsiteX300" fmla="*/ 981814 w 2048870"/>
                <a:gd name="connsiteY300" fmla="*/ 1299865 h 1413227"/>
                <a:gd name="connsiteX301" fmla="*/ 990456 w 2048870"/>
                <a:gd name="connsiteY301" fmla="*/ 1287765 h 1413227"/>
                <a:gd name="connsiteX302" fmla="*/ 992185 w 2048870"/>
                <a:gd name="connsiteY302" fmla="*/ 1292951 h 1413227"/>
                <a:gd name="connsiteX303" fmla="*/ 1014656 w 2048870"/>
                <a:gd name="connsiteY303" fmla="*/ 1299865 h 1413227"/>
                <a:gd name="connsiteX304" fmla="*/ 1016385 w 2048870"/>
                <a:gd name="connsiteY304" fmla="*/ 1294679 h 1413227"/>
                <a:gd name="connsiteX305" fmla="*/ 1018113 w 2048870"/>
                <a:gd name="connsiteY305" fmla="*/ 1284308 h 1413227"/>
                <a:gd name="connsiteX306" fmla="*/ 1031941 w 2048870"/>
                <a:gd name="connsiteY306" fmla="*/ 1270480 h 1413227"/>
                <a:gd name="connsiteX307" fmla="*/ 1037127 w 2048870"/>
                <a:gd name="connsiteY307" fmla="*/ 1265294 h 1413227"/>
                <a:gd name="connsiteX308" fmla="*/ 1038856 w 2048870"/>
                <a:gd name="connsiteY308" fmla="*/ 1260108 h 1413227"/>
                <a:gd name="connsiteX309" fmla="*/ 1054412 w 2048870"/>
                <a:gd name="connsiteY309" fmla="*/ 1251466 h 1413227"/>
                <a:gd name="connsiteX310" fmla="*/ 1063055 w 2048870"/>
                <a:gd name="connsiteY310" fmla="*/ 1242823 h 1413227"/>
                <a:gd name="connsiteX311" fmla="*/ 1068241 w 2048870"/>
                <a:gd name="connsiteY311" fmla="*/ 1223809 h 1413227"/>
                <a:gd name="connsiteX312" fmla="*/ 1069969 w 2048870"/>
                <a:gd name="connsiteY312" fmla="*/ 1215166 h 1413227"/>
                <a:gd name="connsiteX313" fmla="*/ 1075155 w 2048870"/>
                <a:gd name="connsiteY313" fmla="*/ 1201338 h 1413227"/>
                <a:gd name="connsiteX314" fmla="*/ 1080341 w 2048870"/>
                <a:gd name="connsiteY314" fmla="*/ 1175410 h 1413227"/>
                <a:gd name="connsiteX315" fmla="*/ 1082069 w 2048870"/>
                <a:gd name="connsiteY315" fmla="*/ 1170224 h 1413227"/>
                <a:gd name="connsiteX316" fmla="*/ 1083798 w 2048870"/>
                <a:gd name="connsiteY316" fmla="*/ 1161581 h 1413227"/>
                <a:gd name="connsiteX317" fmla="*/ 1085526 w 2048870"/>
                <a:gd name="connsiteY317" fmla="*/ 1156396 h 1413227"/>
                <a:gd name="connsiteX318" fmla="*/ 1087255 w 2048870"/>
                <a:gd name="connsiteY318" fmla="*/ 1147753 h 1413227"/>
                <a:gd name="connsiteX319" fmla="*/ 1097626 w 2048870"/>
                <a:gd name="connsiteY319" fmla="*/ 1128739 h 1413227"/>
                <a:gd name="connsiteX320" fmla="*/ 1099355 w 2048870"/>
                <a:gd name="connsiteY320" fmla="*/ 1111454 h 1413227"/>
                <a:gd name="connsiteX321" fmla="*/ 1106269 w 2048870"/>
                <a:gd name="connsiteY321" fmla="*/ 1097625 h 1413227"/>
                <a:gd name="connsiteX322" fmla="*/ 1111454 w 2048870"/>
                <a:gd name="connsiteY322" fmla="*/ 1095897 h 1413227"/>
                <a:gd name="connsiteX323" fmla="*/ 1127011 w 2048870"/>
                <a:gd name="connsiteY323" fmla="*/ 1094168 h 1413227"/>
                <a:gd name="connsiteX324" fmla="*/ 1132197 w 2048870"/>
                <a:gd name="connsiteY324" fmla="*/ 1088983 h 1413227"/>
                <a:gd name="connsiteX325" fmla="*/ 1166768 w 2048870"/>
                <a:gd name="connsiteY325" fmla="*/ 1083797 h 1413227"/>
                <a:gd name="connsiteX326" fmla="*/ 1175411 w 2048870"/>
                <a:gd name="connsiteY326" fmla="*/ 1073426 h 1413227"/>
                <a:gd name="connsiteX327" fmla="*/ 1177139 w 2048870"/>
                <a:gd name="connsiteY327" fmla="*/ 1061326 h 1413227"/>
                <a:gd name="connsiteX328" fmla="*/ 1170225 w 2048870"/>
                <a:gd name="connsiteY328" fmla="*/ 1047497 h 1413227"/>
                <a:gd name="connsiteX329" fmla="*/ 1163311 w 2048870"/>
                <a:gd name="connsiteY329" fmla="*/ 1050955 h 1413227"/>
                <a:gd name="connsiteX330" fmla="*/ 1166768 w 2048870"/>
                <a:gd name="connsiteY330" fmla="*/ 1068240 h 1413227"/>
                <a:gd name="connsiteX331" fmla="*/ 1170225 w 2048870"/>
                <a:gd name="connsiteY331" fmla="*/ 1076883 h 1413227"/>
                <a:gd name="connsiteX332" fmla="*/ 1182325 w 2048870"/>
                <a:gd name="connsiteY332" fmla="*/ 1080340 h 1413227"/>
                <a:gd name="connsiteX333" fmla="*/ 1206524 w 2048870"/>
                <a:gd name="connsiteY333" fmla="*/ 1078611 h 1413227"/>
                <a:gd name="connsiteX334" fmla="*/ 1211710 w 2048870"/>
                <a:gd name="connsiteY334" fmla="*/ 1073426 h 1413227"/>
                <a:gd name="connsiteX335" fmla="*/ 1218624 w 2048870"/>
                <a:gd name="connsiteY335" fmla="*/ 1057869 h 1413227"/>
                <a:gd name="connsiteX336" fmla="*/ 1220353 w 2048870"/>
                <a:gd name="connsiteY336" fmla="*/ 1044040 h 1413227"/>
                <a:gd name="connsiteX337" fmla="*/ 1218624 w 2048870"/>
                <a:gd name="connsiteY337" fmla="*/ 1014655 h 1413227"/>
                <a:gd name="connsiteX338" fmla="*/ 1211710 w 2048870"/>
                <a:gd name="connsiteY338" fmla="*/ 997370 h 1413227"/>
                <a:gd name="connsiteX339" fmla="*/ 1206524 w 2048870"/>
                <a:gd name="connsiteY339" fmla="*/ 993913 h 1413227"/>
                <a:gd name="connsiteX340" fmla="*/ 1184053 w 2048870"/>
                <a:gd name="connsiteY340" fmla="*/ 973170 h 1413227"/>
                <a:gd name="connsiteX341" fmla="*/ 1173682 w 2048870"/>
                <a:gd name="connsiteY341" fmla="*/ 962799 h 1413227"/>
                <a:gd name="connsiteX342" fmla="*/ 1168496 w 2048870"/>
                <a:gd name="connsiteY342" fmla="*/ 957613 h 1413227"/>
                <a:gd name="connsiteX343" fmla="*/ 1171954 w 2048870"/>
                <a:gd name="connsiteY343" fmla="*/ 961070 h 1413227"/>
                <a:gd name="connsiteX344" fmla="*/ 1178868 w 2048870"/>
                <a:gd name="connsiteY344" fmla="*/ 971441 h 1413227"/>
                <a:gd name="connsiteX345" fmla="*/ 1185782 w 2048870"/>
                <a:gd name="connsiteY345" fmla="*/ 980084 h 1413227"/>
                <a:gd name="connsiteX346" fmla="*/ 1190968 w 2048870"/>
                <a:gd name="connsiteY346" fmla="*/ 985270 h 1413227"/>
                <a:gd name="connsiteX347" fmla="*/ 1194425 w 2048870"/>
                <a:gd name="connsiteY347" fmla="*/ 993913 h 1413227"/>
                <a:gd name="connsiteX348" fmla="*/ 1206524 w 2048870"/>
                <a:gd name="connsiteY348" fmla="*/ 1007741 h 1413227"/>
                <a:gd name="connsiteX349" fmla="*/ 1208253 w 2048870"/>
                <a:gd name="connsiteY349" fmla="*/ 1014655 h 1413227"/>
                <a:gd name="connsiteX350" fmla="*/ 1211710 w 2048870"/>
                <a:gd name="connsiteY350" fmla="*/ 1023298 h 1413227"/>
                <a:gd name="connsiteX351" fmla="*/ 1213439 w 2048870"/>
                <a:gd name="connsiteY351" fmla="*/ 1035398 h 1413227"/>
                <a:gd name="connsiteX352" fmla="*/ 1215167 w 2048870"/>
                <a:gd name="connsiteY352" fmla="*/ 1044040 h 1413227"/>
                <a:gd name="connsiteX353" fmla="*/ 1220353 w 2048870"/>
                <a:gd name="connsiteY353" fmla="*/ 1045769 h 1413227"/>
                <a:gd name="connsiteX354" fmla="*/ 1223810 w 2048870"/>
                <a:gd name="connsiteY354" fmla="*/ 1050955 h 1413227"/>
                <a:gd name="connsiteX355" fmla="*/ 1234181 w 2048870"/>
                <a:gd name="connsiteY355" fmla="*/ 1063054 h 1413227"/>
                <a:gd name="connsiteX356" fmla="*/ 1253195 w 2048870"/>
                <a:gd name="connsiteY356" fmla="*/ 1057869 h 1413227"/>
                <a:gd name="connsiteX357" fmla="*/ 1258381 w 2048870"/>
                <a:gd name="connsiteY357" fmla="*/ 1054412 h 1413227"/>
                <a:gd name="connsiteX358" fmla="*/ 1265295 w 2048870"/>
                <a:gd name="connsiteY358" fmla="*/ 1050955 h 1413227"/>
                <a:gd name="connsiteX359" fmla="*/ 1267023 w 2048870"/>
                <a:gd name="connsiteY359" fmla="*/ 1056140 h 1413227"/>
                <a:gd name="connsiteX360" fmla="*/ 1268752 w 2048870"/>
                <a:gd name="connsiteY360" fmla="*/ 1068240 h 1413227"/>
                <a:gd name="connsiteX361" fmla="*/ 1279123 w 2048870"/>
                <a:gd name="connsiteY361" fmla="*/ 1064783 h 1413227"/>
                <a:gd name="connsiteX362" fmla="*/ 1289495 w 2048870"/>
                <a:gd name="connsiteY362" fmla="*/ 1056140 h 1413227"/>
                <a:gd name="connsiteX363" fmla="*/ 1299866 w 2048870"/>
                <a:gd name="connsiteY363" fmla="*/ 1045769 h 1413227"/>
                <a:gd name="connsiteX364" fmla="*/ 1305051 w 2048870"/>
                <a:gd name="connsiteY364" fmla="*/ 1042312 h 1413227"/>
                <a:gd name="connsiteX365" fmla="*/ 1294680 w 2048870"/>
                <a:gd name="connsiteY365" fmla="*/ 1061326 h 1413227"/>
                <a:gd name="connsiteX366" fmla="*/ 1286037 w 2048870"/>
                <a:gd name="connsiteY366" fmla="*/ 1075154 h 1413227"/>
                <a:gd name="connsiteX367" fmla="*/ 1272209 w 2048870"/>
                <a:gd name="connsiteY367" fmla="*/ 1082068 h 1413227"/>
                <a:gd name="connsiteX368" fmla="*/ 1265295 w 2048870"/>
                <a:gd name="connsiteY368" fmla="*/ 1085525 h 1413227"/>
                <a:gd name="connsiteX369" fmla="*/ 1260109 w 2048870"/>
                <a:gd name="connsiteY369" fmla="*/ 1087254 h 1413227"/>
                <a:gd name="connsiteX370" fmla="*/ 1251467 w 2048870"/>
                <a:gd name="connsiteY370" fmla="*/ 1092440 h 1413227"/>
                <a:gd name="connsiteX371" fmla="*/ 1232453 w 2048870"/>
                <a:gd name="connsiteY371" fmla="*/ 1095897 h 1413227"/>
                <a:gd name="connsiteX372" fmla="*/ 1230724 w 2048870"/>
                <a:gd name="connsiteY372" fmla="*/ 1121825 h 1413227"/>
                <a:gd name="connsiteX373" fmla="*/ 1223810 w 2048870"/>
                <a:gd name="connsiteY373" fmla="*/ 1128739 h 1413227"/>
                <a:gd name="connsiteX374" fmla="*/ 1216896 w 2048870"/>
                <a:gd name="connsiteY374" fmla="*/ 1130468 h 1413227"/>
                <a:gd name="connsiteX375" fmla="*/ 1248009 w 2048870"/>
                <a:gd name="connsiteY375" fmla="*/ 1123553 h 1413227"/>
                <a:gd name="connsiteX376" fmla="*/ 1275666 w 2048870"/>
                <a:gd name="connsiteY376" fmla="*/ 1125282 h 1413227"/>
                <a:gd name="connsiteX377" fmla="*/ 1282580 w 2048870"/>
                <a:gd name="connsiteY377" fmla="*/ 1128739 h 1413227"/>
                <a:gd name="connsiteX378" fmla="*/ 1318880 w 2048870"/>
                <a:gd name="connsiteY378" fmla="*/ 1127010 h 1413227"/>
                <a:gd name="connsiteX379" fmla="*/ 1330980 w 2048870"/>
                <a:gd name="connsiteY379" fmla="*/ 1123553 h 1413227"/>
                <a:gd name="connsiteX380" fmla="*/ 1339622 w 2048870"/>
                <a:gd name="connsiteY380" fmla="*/ 1118368 h 1413227"/>
                <a:gd name="connsiteX381" fmla="*/ 1356908 w 2048870"/>
                <a:gd name="connsiteY381" fmla="*/ 1123553 h 1413227"/>
                <a:gd name="connsiteX382" fmla="*/ 1384564 w 2048870"/>
                <a:gd name="connsiteY382" fmla="*/ 1114911 h 1413227"/>
                <a:gd name="connsiteX383" fmla="*/ 1391479 w 2048870"/>
                <a:gd name="connsiteY383" fmla="*/ 1109725 h 1413227"/>
                <a:gd name="connsiteX384" fmla="*/ 1400121 w 2048870"/>
                <a:gd name="connsiteY384" fmla="*/ 1095897 h 1413227"/>
                <a:gd name="connsiteX385" fmla="*/ 1403578 w 2048870"/>
                <a:gd name="connsiteY385" fmla="*/ 1090711 h 1413227"/>
                <a:gd name="connsiteX386" fmla="*/ 1408764 w 2048870"/>
                <a:gd name="connsiteY386" fmla="*/ 1088983 h 1413227"/>
                <a:gd name="connsiteX387" fmla="*/ 1415678 w 2048870"/>
                <a:gd name="connsiteY387" fmla="*/ 1097625 h 1413227"/>
                <a:gd name="connsiteX388" fmla="*/ 1419135 w 2048870"/>
                <a:gd name="connsiteY388" fmla="*/ 1104539 h 1413227"/>
                <a:gd name="connsiteX389" fmla="*/ 1424321 w 2048870"/>
                <a:gd name="connsiteY389" fmla="*/ 1111454 h 1413227"/>
                <a:gd name="connsiteX390" fmla="*/ 1434692 w 2048870"/>
                <a:gd name="connsiteY390" fmla="*/ 1109725 h 1413227"/>
                <a:gd name="connsiteX391" fmla="*/ 1438149 w 2048870"/>
                <a:gd name="connsiteY391" fmla="*/ 1101082 h 1413227"/>
                <a:gd name="connsiteX392" fmla="*/ 1446792 w 2048870"/>
                <a:gd name="connsiteY392" fmla="*/ 1076883 h 1413227"/>
                <a:gd name="connsiteX393" fmla="*/ 1455435 w 2048870"/>
                <a:gd name="connsiteY393" fmla="*/ 1082068 h 1413227"/>
                <a:gd name="connsiteX394" fmla="*/ 1457163 w 2048870"/>
                <a:gd name="connsiteY394" fmla="*/ 1097625 h 1413227"/>
                <a:gd name="connsiteX395" fmla="*/ 1462349 w 2048870"/>
                <a:gd name="connsiteY395" fmla="*/ 1104539 h 1413227"/>
                <a:gd name="connsiteX396" fmla="*/ 1464078 w 2048870"/>
                <a:gd name="connsiteY396" fmla="*/ 1116639 h 1413227"/>
                <a:gd name="connsiteX397" fmla="*/ 1450249 w 2048870"/>
                <a:gd name="connsiteY397" fmla="*/ 1132196 h 1413227"/>
                <a:gd name="connsiteX398" fmla="*/ 1436421 w 2048870"/>
                <a:gd name="connsiteY398" fmla="*/ 1149482 h 1413227"/>
                <a:gd name="connsiteX399" fmla="*/ 1427778 w 2048870"/>
                <a:gd name="connsiteY399" fmla="*/ 1158124 h 1413227"/>
                <a:gd name="connsiteX400" fmla="*/ 1415678 w 2048870"/>
                <a:gd name="connsiteY400" fmla="*/ 1163310 h 1413227"/>
                <a:gd name="connsiteX401" fmla="*/ 1400121 w 2048870"/>
                <a:gd name="connsiteY401" fmla="*/ 1171953 h 1413227"/>
                <a:gd name="connsiteX402" fmla="*/ 1398393 w 2048870"/>
                <a:gd name="connsiteY402" fmla="*/ 1177138 h 1413227"/>
                <a:gd name="connsiteX403" fmla="*/ 1389750 w 2048870"/>
                <a:gd name="connsiteY403" fmla="*/ 1189238 h 1413227"/>
                <a:gd name="connsiteX404" fmla="*/ 1384564 w 2048870"/>
                <a:gd name="connsiteY404" fmla="*/ 1197881 h 1413227"/>
                <a:gd name="connsiteX405" fmla="*/ 1382836 w 2048870"/>
                <a:gd name="connsiteY405" fmla="*/ 1203066 h 1413227"/>
                <a:gd name="connsiteX406" fmla="*/ 1374193 w 2048870"/>
                <a:gd name="connsiteY406" fmla="*/ 1211709 h 1413227"/>
                <a:gd name="connsiteX407" fmla="*/ 1369008 w 2048870"/>
                <a:gd name="connsiteY407" fmla="*/ 1216895 h 1413227"/>
                <a:gd name="connsiteX408" fmla="*/ 1356908 w 2048870"/>
                <a:gd name="connsiteY408" fmla="*/ 1230723 h 1413227"/>
                <a:gd name="connsiteX409" fmla="*/ 1351722 w 2048870"/>
                <a:gd name="connsiteY409" fmla="*/ 1237637 h 1413227"/>
                <a:gd name="connsiteX410" fmla="*/ 1349994 w 2048870"/>
                <a:gd name="connsiteY410" fmla="*/ 1242823 h 1413227"/>
                <a:gd name="connsiteX411" fmla="*/ 1344808 w 2048870"/>
                <a:gd name="connsiteY411" fmla="*/ 1253194 h 1413227"/>
                <a:gd name="connsiteX412" fmla="*/ 1377650 w 2048870"/>
                <a:gd name="connsiteY412" fmla="*/ 1253194 h 1413227"/>
                <a:gd name="connsiteX413" fmla="*/ 1386293 w 2048870"/>
                <a:gd name="connsiteY413" fmla="*/ 1246280 h 1413227"/>
                <a:gd name="connsiteX414" fmla="*/ 1391479 w 2048870"/>
                <a:gd name="connsiteY414" fmla="*/ 1244552 h 1413227"/>
                <a:gd name="connsiteX415" fmla="*/ 1412221 w 2048870"/>
                <a:gd name="connsiteY415" fmla="*/ 1248009 h 1413227"/>
                <a:gd name="connsiteX416" fmla="*/ 1415678 w 2048870"/>
                <a:gd name="connsiteY416" fmla="*/ 1253194 h 1413227"/>
                <a:gd name="connsiteX417" fmla="*/ 1426050 w 2048870"/>
                <a:gd name="connsiteY417" fmla="*/ 1260108 h 1413227"/>
                <a:gd name="connsiteX418" fmla="*/ 1451978 w 2048870"/>
                <a:gd name="connsiteY418" fmla="*/ 1258380 h 1413227"/>
                <a:gd name="connsiteX419" fmla="*/ 1457163 w 2048870"/>
                <a:gd name="connsiteY419" fmla="*/ 1253194 h 1413227"/>
                <a:gd name="connsiteX420" fmla="*/ 1465806 w 2048870"/>
                <a:gd name="connsiteY420" fmla="*/ 1248009 h 1413227"/>
                <a:gd name="connsiteX421" fmla="*/ 1483092 w 2048870"/>
                <a:gd name="connsiteY421" fmla="*/ 1249737 h 1413227"/>
                <a:gd name="connsiteX422" fmla="*/ 1491734 w 2048870"/>
                <a:gd name="connsiteY422" fmla="*/ 1258380 h 1413227"/>
                <a:gd name="connsiteX423" fmla="*/ 1502106 w 2048870"/>
                <a:gd name="connsiteY423" fmla="*/ 1272208 h 1413227"/>
                <a:gd name="connsiteX424" fmla="*/ 1503834 w 2048870"/>
                <a:gd name="connsiteY424" fmla="*/ 1289494 h 1413227"/>
                <a:gd name="connsiteX425" fmla="*/ 1514205 w 2048870"/>
                <a:gd name="connsiteY425" fmla="*/ 1301593 h 1413227"/>
                <a:gd name="connsiteX426" fmla="*/ 1517662 w 2048870"/>
                <a:gd name="connsiteY426" fmla="*/ 1306779 h 1413227"/>
                <a:gd name="connsiteX427" fmla="*/ 1515934 w 2048870"/>
                <a:gd name="connsiteY427" fmla="*/ 1355178 h 1413227"/>
                <a:gd name="connsiteX428" fmla="*/ 1509020 w 2048870"/>
                <a:gd name="connsiteY428" fmla="*/ 1360364 h 1413227"/>
                <a:gd name="connsiteX429" fmla="*/ 1503834 w 2048870"/>
                <a:gd name="connsiteY429" fmla="*/ 1370735 h 1413227"/>
                <a:gd name="connsiteX430" fmla="*/ 1534948 w 2048870"/>
                <a:gd name="connsiteY430" fmla="*/ 1374192 h 1413227"/>
                <a:gd name="connsiteX431" fmla="*/ 1540133 w 2048870"/>
                <a:gd name="connsiteY431" fmla="*/ 1377649 h 1413227"/>
                <a:gd name="connsiteX432" fmla="*/ 1559147 w 2048870"/>
                <a:gd name="connsiteY432" fmla="*/ 1375921 h 1413227"/>
                <a:gd name="connsiteX433" fmla="*/ 1564333 w 2048870"/>
                <a:gd name="connsiteY433" fmla="*/ 1372464 h 1413227"/>
                <a:gd name="connsiteX434" fmla="*/ 1579890 w 2048870"/>
                <a:gd name="connsiteY434" fmla="*/ 1370735 h 1413227"/>
                <a:gd name="connsiteX435" fmla="*/ 1597175 w 2048870"/>
                <a:gd name="connsiteY435" fmla="*/ 1363821 h 1413227"/>
                <a:gd name="connsiteX436" fmla="*/ 1600633 w 2048870"/>
                <a:gd name="connsiteY436" fmla="*/ 1360364 h 1413227"/>
                <a:gd name="connsiteX437" fmla="*/ 1612732 w 2048870"/>
                <a:gd name="connsiteY437" fmla="*/ 1341350 h 1413227"/>
                <a:gd name="connsiteX438" fmla="*/ 1617918 w 2048870"/>
                <a:gd name="connsiteY438" fmla="*/ 1305051 h 1413227"/>
                <a:gd name="connsiteX439" fmla="*/ 1623104 w 2048870"/>
                <a:gd name="connsiteY439" fmla="*/ 1301593 h 1413227"/>
                <a:gd name="connsiteX440" fmla="*/ 1624832 w 2048870"/>
                <a:gd name="connsiteY440" fmla="*/ 1284308 h 1413227"/>
                <a:gd name="connsiteX441" fmla="*/ 1631746 w 2048870"/>
                <a:gd name="connsiteY441" fmla="*/ 1270480 h 1413227"/>
                <a:gd name="connsiteX442" fmla="*/ 1643846 w 2048870"/>
                <a:gd name="connsiteY442" fmla="*/ 1263565 h 1413227"/>
                <a:gd name="connsiteX443" fmla="*/ 1669774 w 2048870"/>
                <a:gd name="connsiteY443" fmla="*/ 1260108 h 1413227"/>
                <a:gd name="connsiteX444" fmla="*/ 1681874 w 2048870"/>
                <a:gd name="connsiteY444" fmla="*/ 1254923 h 1413227"/>
                <a:gd name="connsiteX445" fmla="*/ 1687060 w 2048870"/>
                <a:gd name="connsiteY445" fmla="*/ 1253194 h 1413227"/>
                <a:gd name="connsiteX446" fmla="*/ 1702617 w 2048870"/>
                <a:gd name="connsiteY446" fmla="*/ 1249737 h 1413227"/>
                <a:gd name="connsiteX447" fmla="*/ 1704345 w 2048870"/>
                <a:gd name="connsiteY447" fmla="*/ 1232452 h 1413227"/>
                <a:gd name="connsiteX448" fmla="*/ 1706074 w 2048870"/>
                <a:gd name="connsiteY448" fmla="*/ 1208252 h 1413227"/>
                <a:gd name="connsiteX449" fmla="*/ 1711259 w 2048870"/>
                <a:gd name="connsiteY449" fmla="*/ 1201338 h 1413227"/>
                <a:gd name="connsiteX450" fmla="*/ 1718174 w 2048870"/>
                <a:gd name="connsiteY450" fmla="*/ 1192695 h 1413227"/>
                <a:gd name="connsiteX451" fmla="*/ 1725088 w 2048870"/>
                <a:gd name="connsiteY451" fmla="*/ 1189238 h 1413227"/>
                <a:gd name="connsiteX452" fmla="*/ 1735459 w 2048870"/>
                <a:gd name="connsiteY452" fmla="*/ 1184052 h 1413227"/>
                <a:gd name="connsiteX453" fmla="*/ 1773487 w 2048870"/>
                <a:gd name="connsiteY453" fmla="*/ 1189238 h 1413227"/>
                <a:gd name="connsiteX454" fmla="*/ 1778673 w 2048870"/>
                <a:gd name="connsiteY454" fmla="*/ 1194424 h 1413227"/>
                <a:gd name="connsiteX455" fmla="*/ 1808058 w 2048870"/>
                <a:gd name="connsiteY455" fmla="*/ 1187510 h 1413227"/>
                <a:gd name="connsiteX456" fmla="*/ 1811515 w 2048870"/>
                <a:gd name="connsiteY456" fmla="*/ 1180595 h 1413227"/>
                <a:gd name="connsiteX457" fmla="*/ 1818429 w 2048870"/>
                <a:gd name="connsiteY457" fmla="*/ 1171953 h 1413227"/>
                <a:gd name="connsiteX458" fmla="*/ 1825343 w 2048870"/>
                <a:gd name="connsiteY458" fmla="*/ 1158124 h 1413227"/>
                <a:gd name="connsiteX459" fmla="*/ 1827072 w 2048870"/>
                <a:gd name="connsiteY459" fmla="*/ 1151210 h 1413227"/>
                <a:gd name="connsiteX460" fmla="*/ 1833986 w 2048870"/>
                <a:gd name="connsiteY460" fmla="*/ 1133925 h 1413227"/>
                <a:gd name="connsiteX461" fmla="*/ 1820158 w 2048870"/>
                <a:gd name="connsiteY461" fmla="*/ 1128739 h 1413227"/>
                <a:gd name="connsiteX462" fmla="*/ 1816701 w 2048870"/>
                <a:gd name="connsiteY462" fmla="*/ 1123553 h 1413227"/>
                <a:gd name="connsiteX463" fmla="*/ 1820158 w 2048870"/>
                <a:gd name="connsiteY463" fmla="*/ 1118368 h 1413227"/>
                <a:gd name="connsiteX464" fmla="*/ 1825343 w 2048870"/>
                <a:gd name="connsiteY464" fmla="*/ 1111454 h 1413227"/>
                <a:gd name="connsiteX465" fmla="*/ 1828800 w 2048870"/>
                <a:gd name="connsiteY465" fmla="*/ 1099354 h 1413227"/>
                <a:gd name="connsiteX466" fmla="*/ 1832257 w 2048870"/>
                <a:gd name="connsiteY466" fmla="*/ 1094168 h 1413227"/>
                <a:gd name="connsiteX467" fmla="*/ 1830529 w 2048870"/>
                <a:gd name="connsiteY467" fmla="*/ 1083797 h 1413227"/>
                <a:gd name="connsiteX468" fmla="*/ 1816701 w 2048870"/>
                <a:gd name="connsiteY468" fmla="*/ 1087254 h 1413227"/>
                <a:gd name="connsiteX469" fmla="*/ 1789044 w 2048870"/>
                <a:gd name="connsiteY469" fmla="*/ 1092440 h 1413227"/>
                <a:gd name="connsiteX470" fmla="*/ 1778673 w 2048870"/>
                <a:gd name="connsiteY470" fmla="*/ 1095897 h 1413227"/>
                <a:gd name="connsiteX471" fmla="*/ 1771758 w 2048870"/>
                <a:gd name="connsiteY471" fmla="*/ 1099354 h 1413227"/>
                <a:gd name="connsiteX472" fmla="*/ 1766573 w 2048870"/>
                <a:gd name="connsiteY472" fmla="*/ 1116639 h 1413227"/>
                <a:gd name="connsiteX473" fmla="*/ 1756202 w 2048870"/>
                <a:gd name="connsiteY473" fmla="*/ 1118368 h 1413227"/>
                <a:gd name="connsiteX474" fmla="*/ 1738916 w 2048870"/>
                <a:gd name="connsiteY474" fmla="*/ 1130468 h 1413227"/>
                <a:gd name="connsiteX475" fmla="*/ 1718174 w 2048870"/>
                <a:gd name="connsiteY475" fmla="*/ 1140839 h 1413227"/>
                <a:gd name="connsiteX476" fmla="*/ 1709531 w 2048870"/>
                <a:gd name="connsiteY476" fmla="*/ 1146024 h 1413227"/>
                <a:gd name="connsiteX477" fmla="*/ 1707802 w 2048870"/>
                <a:gd name="connsiteY477" fmla="*/ 1151210 h 1413227"/>
                <a:gd name="connsiteX478" fmla="*/ 1700888 w 2048870"/>
                <a:gd name="connsiteY478" fmla="*/ 1154667 h 1413227"/>
                <a:gd name="connsiteX479" fmla="*/ 1647303 w 2048870"/>
                <a:gd name="connsiteY479" fmla="*/ 1152939 h 1413227"/>
                <a:gd name="connsiteX480" fmla="*/ 1650760 w 2048870"/>
                <a:gd name="connsiteY480" fmla="*/ 1142567 h 1413227"/>
                <a:gd name="connsiteX481" fmla="*/ 1649032 w 2048870"/>
                <a:gd name="connsiteY481" fmla="*/ 1120096 h 1413227"/>
                <a:gd name="connsiteX482" fmla="*/ 1598904 w 2048870"/>
                <a:gd name="connsiteY482" fmla="*/ 1114911 h 1413227"/>
                <a:gd name="connsiteX483" fmla="*/ 1591990 w 2048870"/>
                <a:gd name="connsiteY483" fmla="*/ 1113182 h 1413227"/>
                <a:gd name="connsiteX484" fmla="*/ 1564333 w 2048870"/>
                <a:gd name="connsiteY484" fmla="*/ 1109725 h 1413227"/>
                <a:gd name="connsiteX485" fmla="*/ 1553962 w 2048870"/>
                <a:gd name="connsiteY485" fmla="*/ 1101082 h 1413227"/>
                <a:gd name="connsiteX486" fmla="*/ 1543591 w 2048870"/>
                <a:gd name="connsiteY486" fmla="*/ 1092440 h 1413227"/>
                <a:gd name="connsiteX487" fmla="*/ 1526305 w 2048870"/>
                <a:gd name="connsiteY487" fmla="*/ 1090711 h 1413227"/>
                <a:gd name="connsiteX488" fmla="*/ 1514205 w 2048870"/>
                <a:gd name="connsiteY488" fmla="*/ 1085525 h 1413227"/>
                <a:gd name="connsiteX489" fmla="*/ 1512477 w 2048870"/>
                <a:gd name="connsiteY489" fmla="*/ 1092440 h 1413227"/>
                <a:gd name="connsiteX490" fmla="*/ 1507291 w 2048870"/>
                <a:gd name="connsiteY490" fmla="*/ 1085525 h 1413227"/>
                <a:gd name="connsiteX491" fmla="*/ 1496920 w 2048870"/>
                <a:gd name="connsiteY491" fmla="*/ 1075154 h 1413227"/>
                <a:gd name="connsiteX492" fmla="*/ 1445064 w 2048870"/>
                <a:gd name="connsiteY492" fmla="*/ 1076883 h 1413227"/>
                <a:gd name="connsiteX493" fmla="*/ 1439878 w 2048870"/>
                <a:gd name="connsiteY493" fmla="*/ 1080340 h 1413227"/>
                <a:gd name="connsiteX494" fmla="*/ 1438149 w 2048870"/>
                <a:gd name="connsiteY494" fmla="*/ 1085525 h 1413227"/>
                <a:gd name="connsiteX495" fmla="*/ 1451978 w 2048870"/>
                <a:gd name="connsiteY495" fmla="*/ 1071697 h 1413227"/>
                <a:gd name="connsiteX496" fmla="*/ 1458892 w 2048870"/>
                <a:gd name="connsiteY496" fmla="*/ 1064783 h 1413227"/>
                <a:gd name="connsiteX497" fmla="*/ 1464078 w 2048870"/>
                <a:gd name="connsiteY497" fmla="*/ 1059597 h 1413227"/>
                <a:gd name="connsiteX498" fmla="*/ 1479634 w 2048870"/>
                <a:gd name="connsiteY498" fmla="*/ 1064783 h 1413227"/>
                <a:gd name="connsiteX499" fmla="*/ 1490006 w 2048870"/>
                <a:gd name="connsiteY499" fmla="*/ 1071697 h 1413227"/>
                <a:gd name="connsiteX500" fmla="*/ 1498648 w 2048870"/>
                <a:gd name="connsiteY500" fmla="*/ 1068240 h 1413227"/>
                <a:gd name="connsiteX501" fmla="*/ 1500377 w 2048870"/>
                <a:gd name="connsiteY501" fmla="*/ 1063054 h 1413227"/>
                <a:gd name="connsiteX502" fmla="*/ 1503834 w 2048870"/>
                <a:gd name="connsiteY502" fmla="*/ 1057869 h 1413227"/>
                <a:gd name="connsiteX503" fmla="*/ 1507291 w 2048870"/>
                <a:gd name="connsiteY503" fmla="*/ 1045769 h 1413227"/>
                <a:gd name="connsiteX504" fmla="*/ 1540133 w 2048870"/>
                <a:gd name="connsiteY504" fmla="*/ 1044040 h 1413227"/>
                <a:gd name="connsiteX505" fmla="*/ 1557419 w 2048870"/>
                <a:gd name="connsiteY505" fmla="*/ 1059597 h 1413227"/>
                <a:gd name="connsiteX506" fmla="*/ 1560876 w 2048870"/>
                <a:gd name="connsiteY506" fmla="*/ 1073426 h 1413227"/>
                <a:gd name="connsiteX507" fmla="*/ 1564333 w 2048870"/>
                <a:gd name="connsiteY507" fmla="*/ 1087254 h 1413227"/>
                <a:gd name="connsiteX508" fmla="*/ 1566062 w 2048870"/>
                <a:gd name="connsiteY508" fmla="*/ 1094168 h 1413227"/>
                <a:gd name="connsiteX509" fmla="*/ 1569519 w 2048870"/>
                <a:gd name="connsiteY509" fmla="*/ 1099354 h 1413227"/>
                <a:gd name="connsiteX510" fmla="*/ 1576433 w 2048870"/>
                <a:gd name="connsiteY510" fmla="*/ 1037126 h 1413227"/>
                <a:gd name="connsiteX511" fmla="*/ 1588533 w 2048870"/>
                <a:gd name="connsiteY511" fmla="*/ 1052683 h 1413227"/>
                <a:gd name="connsiteX512" fmla="*/ 1591990 w 2048870"/>
                <a:gd name="connsiteY512" fmla="*/ 1069969 h 1413227"/>
                <a:gd name="connsiteX513" fmla="*/ 1607547 w 2048870"/>
                <a:gd name="connsiteY513" fmla="*/ 1080340 h 1413227"/>
                <a:gd name="connsiteX514" fmla="*/ 1612732 w 2048870"/>
                <a:gd name="connsiteY514" fmla="*/ 1083797 h 1413227"/>
                <a:gd name="connsiteX515" fmla="*/ 1621375 w 2048870"/>
                <a:gd name="connsiteY515" fmla="*/ 1085525 h 1413227"/>
                <a:gd name="connsiteX516" fmla="*/ 1633475 w 2048870"/>
                <a:gd name="connsiteY516" fmla="*/ 1092440 h 1413227"/>
                <a:gd name="connsiteX517" fmla="*/ 1640389 w 2048870"/>
                <a:gd name="connsiteY517" fmla="*/ 1095897 h 1413227"/>
                <a:gd name="connsiteX518" fmla="*/ 1649032 w 2048870"/>
                <a:gd name="connsiteY518" fmla="*/ 1109725 h 1413227"/>
                <a:gd name="connsiteX519" fmla="*/ 1659403 w 2048870"/>
                <a:gd name="connsiteY519" fmla="*/ 1113182 h 1413227"/>
                <a:gd name="connsiteX520" fmla="*/ 1669774 w 2048870"/>
                <a:gd name="connsiteY520" fmla="*/ 1118368 h 1413227"/>
                <a:gd name="connsiteX521" fmla="*/ 1680146 w 2048870"/>
                <a:gd name="connsiteY521" fmla="*/ 1125282 h 1413227"/>
                <a:gd name="connsiteX522" fmla="*/ 1699160 w 2048870"/>
                <a:gd name="connsiteY522" fmla="*/ 1139110 h 1413227"/>
                <a:gd name="connsiteX523" fmla="*/ 1712988 w 2048870"/>
                <a:gd name="connsiteY523" fmla="*/ 1142567 h 1413227"/>
                <a:gd name="connsiteX524" fmla="*/ 1704345 w 2048870"/>
                <a:gd name="connsiteY524" fmla="*/ 1137382 h 1413227"/>
                <a:gd name="connsiteX525" fmla="*/ 1699160 w 2048870"/>
                <a:gd name="connsiteY525" fmla="*/ 1132196 h 1413227"/>
                <a:gd name="connsiteX526" fmla="*/ 1688788 w 2048870"/>
                <a:gd name="connsiteY526" fmla="*/ 1128739 h 1413227"/>
                <a:gd name="connsiteX527" fmla="*/ 1674960 w 2048870"/>
                <a:gd name="connsiteY527" fmla="*/ 1125282 h 1413227"/>
                <a:gd name="connsiteX528" fmla="*/ 1659403 w 2048870"/>
                <a:gd name="connsiteY528" fmla="*/ 1121825 h 1413227"/>
                <a:gd name="connsiteX529" fmla="*/ 1650760 w 2048870"/>
                <a:gd name="connsiteY529" fmla="*/ 1116639 h 1413227"/>
                <a:gd name="connsiteX530" fmla="*/ 1645575 w 2048870"/>
                <a:gd name="connsiteY530" fmla="*/ 1113182 h 1413227"/>
                <a:gd name="connsiteX531" fmla="*/ 1642118 w 2048870"/>
                <a:gd name="connsiteY531" fmla="*/ 1107996 h 1413227"/>
                <a:gd name="connsiteX532" fmla="*/ 1628289 w 2048870"/>
                <a:gd name="connsiteY532" fmla="*/ 1088983 h 1413227"/>
                <a:gd name="connsiteX533" fmla="*/ 1626561 w 2048870"/>
                <a:gd name="connsiteY533" fmla="*/ 1083797 h 1413227"/>
                <a:gd name="connsiteX534" fmla="*/ 1619647 w 2048870"/>
                <a:gd name="connsiteY534" fmla="*/ 1075154 h 1413227"/>
                <a:gd name="connsiteX535" fmla="*/ 1616189 w 2048870"/>
                <a:gd name="connsiteY535" fmla="*/ 1061326 h 1413227"/>
                <a:gd name="connsiteX536" fmla="*/ 1614461 w 2048870"/>
                <a:gd name="connsiteY536" fmla="*/ 1056140 h 1413227"/>
                <a:gd name="connsiteX537" fmla="*/ 1604090 w 2048870"/>
                <a:gd name="connsiteY537" fmla="*/ 1038855 h 1413227"/>
                <a:gd name="connsiteX538" fmla="*/ 1598904 w 2048870"/>
                <a:gd name="connsiteY538" fmla="*/ 1037126 h 1413227"/>
                <a:gd name="connsiteX539" fmla="*/ 1593718 w 2048870"/>
                <a:gd name="connsiteY539" fmla="*/ 1030212 h 1413227"/>
                <a:gd name="connsiteX540" fmla="*/ 1585076 w 2048870"/>
                <a:gd name="connsiteY540" fmla="*/ 1019841 h 1413227"/>
                <a:gd name="connsiteX541" fmla="*/ 1590261 w 2048870"/>
                <a:gd name="connsiteY541" fmla="*/ 1000827 h 1413227"/>
                <a:gd name="connsiteX542" fmla="*/ 1598904 w 2048870"/>
                <a:gd name="connsiteY542" fmla="*/ 999098 h 1413227"/>
                <a:gd name="connsiteX543" fmla="*/ 1611004 w 2048870"/>
                <a:gd name="connsiteY543" fmla="*/ 990455 h 1413227"/>
                <a:gd name="connsiteX544" fmla="*/ 1617918 w 2048870"/>
                <a:gd name="connsiteY544" fmla="*/ 985270 h 1413227"/>
                <a:gd name="connsiteX545" fmla="*/ 1616189 w 2048870"/>
                <a:gd name="connsiteY545" fmla="*/ 1021569 h 1413227"/>
                <a:gd name="connsiteX546" fmla="*/ 1612732 w 2048870"/>
                <a:gd name="connsiteY546" fmla="*/ 1028483 h 1413227"/>
                <a:gd name="connsiteX547" fmla="*/ 1607547 w 2048870"/>
                <a:gd name="connsiteY547" fmla="*/ 1035398 h 1413227"/>
                <a:gd name="connsiteX548" fmla="*/ 1612732 w 2048870"/>
                <a:gd name="connsiteY548" fmla="*/ 1031941 h 1413227"/>
                <a:gd name="connsiteX549" fmla="*/ 1621375 w 2048870"/>
                <a:gd name="connsiteY549" fmla="*/ 1016384 h 1413227"/>
                <a:gd name="connsiteX550" fmla="*/ 1626561 w 2048870"/>
                <a:gd name="connsiteY550" fmla="*/ 997370 h 1413227"/>
                <a:gd name="connsiteX551" fmla="*/ 1626561 w 2048870"/>
                <a:gd name="connsiteY551" fmla="*/ 976627 h 1413227"/>
                <a:gd name="connsiteX552" fmla="*/ 1619647 w 2048870"/>
                <a:gd name="connsiteY552" fmla="*/ 962799 h 1413227"/>
                <a:gd name="connsiteX553" fmla="*/ 1626561 w 2048870"/>
                <a:gd name="connsiteY553" fmla="*/ 966256 h 1413227"/>
                <a:gd name="connsiteX554" fmla="*/ 1638661 w 2048870"/>
                <a:gd name="connsiteY554" fmla="*/ 969713 h 1413227"/>
                <a:gd name="connsiteX555" fmla="*/ 1645575 w 2048870"/>
                <a:gd name="connsiteY555" fmla="*/ 967984 h 1413227"/>
                <a:gd name="connsiteX556" fmla="*/ 1650760 w 2048870"/>
                <a:gd name="connsiteY556" fmla="*/ 955885 h 1413227"/>
                <a:gd name="connsiteX557" fmla="*/ 1659403 w 2048870"/>
                <a:gd name="connsiteY557" fmla="*/ 933414 h 1413227"/>
                <a:gd name="connsiteX558" fmla="*/ 1662860 w 2048870"/>
                <a:gd name="connsiteY558" fmla="*/ 929956 h 1413227"/>
                <a:gd name="connsiteX559" fmla="*/ 1664589 w 2048870"/>
                <a:gd name="connsiteY559" fmla="*/ 923042 h 1413227"/>
                <a:gd name="connsiteX560" fmla="*/ 1673231 w 2048870"/>
                <a:gd name="connsiteY560" fmla="*/ 893657 h 1413227"/>
                <a:gd name="connsiteX561" fmla="*/ 1687060 w 2048870"/>
                <a:gd name="connsiteY561" fmla="*/ 891928 h 1413227"/>
                <a:gd name="connsiteX562" fmla="*/ 1693974 w 2048870"/>
                <a:gd name="connsiteY562" fmla="*/ 890200 h 1413227"/>
                <a:gd name="connsiteX563" fmla="*/ 1700888 w 2048870"/>
                <a:gd name="connsiteY563" fmla="*/ 886743 h 1413227"/>
                <a:gd name="connsiteX564" fmla="*/ 1719902 w 2048870"/>
                <a:gd name="connsiteY564" fmla="*/ 878100 h 1413227"/>
                <a:gd name="connsiteX565" fmla="*/ 1726816 w 2048870"/>
                <a:gd name="connsiteY565" fmla="*/ 876372 h 1413227"/>
                <a:gd name="connsiteX566" fmla="*/ 1745830 w 2048870"/>
                <a:gd name="connsiteY566" fmla="*/ 860815 h 1413227"/>
                <a:gd name="connsiteX567" fmla="*/ 1751016 w 2048870"/>
                <a:gd name="connsiteY567" fmla="*/ 857358 h 1413227"/>
                <a:gd name="connsiteX568" fmla="*/ 1757930 w 2048870"/>
                <a:gd name="connsiteY568" fmla="*/ 855629 h 1413227"/>
                <a:gd name="connsiteX569" fmla="*/ 1764844 w 2048870"/>
                <a:gd name="connsiteY569" fmla="*/ 841801 h 1413227"/>
                <a:gd name="connsiteX570" fmla="*/ 1771758 w 2048870"/>
                <a:gd name="connsiteY570" fmla="*/ 836615 h 1413227"/>
                <a:gd name="connsiteX571" fmla="*/ 1776944 w 2048870"/>
                <a:gd name="connsiteY571" fmla="*/ 833158 h 1413227"/>
                <a:gd name="connsiteX572" fmla="*/ 1787315 w 2048870"/>
                <a:gd name="connsiteY572" fmla="*/ 831429 h 1413227"/>
                <a:gd name="connsiteX573" fmla="*/ 1795958 w 2048870"/>
                <a:gd name="connsiteY573" fmla="*/ 829701 h 1413227"/>
                <a:gd name="connsiteX574" fmla="*/ 1797687 w 2048870"/>
                <a:gd name="connsiteY574" fmla="*/ 824515 h 1413227"/>
                <a:gd name="connsiteX575" fmla="*/ 1825343 w 2048870"/>
                <a:gd name="connsiteY575" fmla="*/ 796859 h 1413227"/>
                <a:gd name="connsiteX576" fmla="*/ 1830529 w 2048870"/>
                <a:gd name="connsiteY576" fmla="*/ 776116 h 1413227"/>
                <a:gd name="connsiteX577" fmla="*/ 1835715 w 2048870"/>
                <a:gd name="connsiteY577" fmla="*/ 770930 h 1413227"/>
                <a:gd name="connsiteX578" fmla="*/ 1863371 w 2048870"/>
                <a:gd name="connsiteY578" fmla="*/ 760559 h 1413227"/>
                <a:gd name="connsiteX579" fmla="*/ 1868557 w 2048870"/>
                <a:gd name="connsiteY579" fmla="*/ 755373 h 1413227"/>
                <a:gd name="connsiteX580" fmla="*/ 1880657 w 2048870"/>
                <a:gd name="connsiteY580" fmla="*/ 753645 h 1413227"/>
                <a:gd name="connsiteX581" fmla="*/ 1889299 w 2048870"/>
                <a:gd name="connsiteY581" fmla="*/ 750188 h 1413227"/>
                <a:gd name="connsiteX582" fmla="*/ 1894485 w 2048870"/>
                <a:gd name="connsiteY582" fmla="*/ 731174 h 1413227"/>
                <a:gd name="connsiteX583" fmla="*/ 1910042 w 2048870"/>
                <a:gd name="connsiteY583" fmla="*/ 719074 h 1413227"/>
                <a:gd name="connsiteX584" fmla="*/ 1916956 w 2048870"/>
                <a:gd name="connsiteY584" fmla="*/ 710431 h 1413227"/>
                <a:gd name="connsiteX585" fmla="*/ 1908313 w 2048870"/>
                <a:gd name="connsiteY585" fmla="*/ 689689 h 1413227"/>
                <a:gd name="connsiteX586" fmla="*/ 1901399 w 2048870"/>
                <a:gd name="connsiteY586" fmla="*/ 675860 h 1413227"/>
                <a:gd name="connsiteX587" fmla="*/ 1897942 w 2048870"/>
                <a:gd name="connsiteY587" fmla="*/ 665489 h 1413227"/>
                <a:gd name="connsiteX588" fmla="*/ 1901399 w 2048870"/>
                <a:gd name="connsiteY588" fmla="*/ 651661 h 1413227"/>
                <a:gd name="connsiteX589" fmla="*/ 1897942 w 2048870"/>
                <a:gd name="connsiteY589" fmla="*/ 629190 h 1413227"/>
                <a:gd name="connsiteX590" fmla="*/ 1904856 w 2048870"/>
                <a:gd name="connsiteY590" fmla="*/ 624004 h 1413227"/>
                <a:gd name="connsiteX591" fmla="*/ 1910042 w 2048870"/>
                <a:gd name="connsiteY591" fmla="*/ 613633 h 1413227"/>
                <a:gd name="connsiteX592" fmla="*/ 1918685 w 2048870"/>
                <a:gd name="connsiteY592" fmla="*/ 608447 h 1413227"/>
                <a:gd name="connsiteX593" fmla="*/ 1925599 w 2048870"/>
                <a:gd name="connsiteY593" fmla="*/ 601533 h 1413227"/>
                <a:gd name="connsiteX594" fmla="*/ 1929056 w 2048870"/>
                <a:gd name="connsiteY594" fmla="*/ 587705 h 1413227"/>
                <a:gd name="connsiteX595" fmla="*/ 1932513 w 2048870"/>
                <a:gd name="connsiteY595" fmla="*/ 582519 h 1413227"/>
                <a:gd name="connsiteX596" fmla="*/ 1939427 w 2048870"/>
                <a:gd name="connsiteY596" fmla="*/ 565234 h 1413227"/>
                <a:gd name="connsiteX597" fmla="*/ 1963627 w 2048870"/>
                <a:gd name="connsiteY597" fmla="*/ 556591 h 1413227"/>
                <a:gd name="connsiteX598" fmla="*/ 1968812 w 2048870"/>
                <a:gd name="connsiteY598" fmla="*/ 547948 h 1413227"/>
                <a:gd name="connsiteX599" fmla="*/ 1986098 w 2048870"/>
                <a:gd name="connsiteY599" fmla="*/ 544491 h 1413227"/>
                <a:gd name="connsiteX600" fmla="*/ 2008569 w 2048870"/>
                <a:gd name="connsiteY600" fmla="*/ 539305 h 1413227"/>
                <a:gd name="connsiteX601" fmla="*/ 2017212 w 2048870"/>
                <a:gd name="connsiteY601" fmla="*/ 530663 h 1413227"/>
                <a:gd name="connsiteX602" fmla="*/ 2048326 w 2048870"/>
                <a:gd name="connsiteY602" fmla="*/ 525477 h 1413227"/>
                <a:gd name="connsiteX603" fmla="*/ 2043140 w 2048870"/>
                <a:gd name="connsiteY603" fmla="*/ 499549 h 1413227"/>
                <a:gd name="connsiteX604" fmla="*/ 2032769 w 2048870"/>
                <a:gd name="connsiteY604" fmla="*/ 492635 h 1413227"/>
                <a:gd name="connsiteX605" fmla="*/ 2025854 w 2048870"/>
                <a:gd name="connsiteY605" fmla="*/ 447693 h 1413227"/>
                <a:gd name="connsiteX606" fmla="*/ 2018940 w 2048870"/>
                <a:gd name="connsiteY606" fmla="*/ 428679 h 1413227"/>
                <a:gd name="connsiteX607" fmla="*/ 2015483 w 2048870"/>
                <a:gd name="connsiteY607" fmla="*/ 418307 h 1413227"/>
                <a:gd name="connsiteX608" fmla="*/ 2010298 w 2048870"/>
                <a:gd name="connsiteY608" fmla="*/ 411393 h 1413227"/>
                <a:gd name="connsiteX609" fmla="*/ 2003383 w 2048870"/>
                <a:gd name="connsiteY609" fmla="*/ 407936 h 1413227"/>
                <a:gd name="connsiteX610" fmla="*/ 1984369 w 2048870"/>
                <a:gd name="connsiteY610" fmla="*/ 404479 h 1413227"/>
                <a:gd name="connsiteX611" fmla="*/ 1977455 w 2048870"/>
                <a:gd name="connsiteY611" fmla="*/ 394108 h 1413227"/>
                <a:gd name="connsiteX612" fmla="*/ 1972270 w 2048870"/>
                <a:gd name="connsiteY612" fmla="*/ 390651 h 1413227"/>
                <a:gd name="connsiteX613" fmla="*/ 1968812 w 2048870"/>
                <a:gd name="connsiteY613" fmla="*/ 382008 h 1413227"/>
                <a:gd name="connsiteX614" fmla="*/ 1973998 w 2048870"/>
                <a:gd name="connsiteY614" fmla="*/ 366451 h 1413227"/>
                <a:gd name="connsiteX615" fmla="*/ 1982641 w 2048870"/>
                <a:gd name="connsiteY615" fmla="*/ 354351 h 1413227"/>
                <a:gd name="connsiteX616" fmla="*/ 1984369 w 2048870"/>
                <a:gd name="connsiteY616" fmla="*/ 347437 h 1413227"/>
                <a:gd name="connsiteX617" fmla="*/ 1994741 w 2048870"/>
                <a:gd name="connsiteY617" fmla="*/ 343980 h 1413227"/>
                <a:gd name="connsiteX618" fmla="*/ 1960170 w 2048870"/>
                <a:gd name="connsiteY618" fmla="*/ 337066 h 1413227"/>
                <a:gd name="connsiteX619" fmla="*/ 1958441 w 2048870"/>
                <a:gd name="connsiteY619" fmla="*/ 331880 h 1413227"/>
                <a:gd name="connsiteX620" fmla="*/ 1954984 w 2048870"/>
                <a:gd name="connsiteY620" fmla="*/ 326694 h 1413227"/>
                <a:gd name="connsiteX621" fmla="*/ 1958441 w 2048870"/>
                <a:gd name="connsiteY621" fmla="*/ 318052 h 1413227"/>
                <a:gd name="connsiteX622" fmla="*/ 1963627 w 2048870"/>
                <a:gd name="connsiteY622" fmla="*/ 311138 h 1413227"/>
                <a:gd name="connsiteX623" fmla="*/ 1967084 w 2048870"/>
                <a:gd name="connsiteY623" fmla="*/ 305952 h 1413227"/>
                <a:gd name="connsiteX624" fmla="*/ 1968812 w 2048870"/>
                <a:gd name="connsiteY624" fmla="*/ 299038 h 1413227"/>
                <a:gd name="connsiteX625" fmla="*/ 1973998 w 2048870"/>
                <a:gd name="connsiteY625" fmla="*/ 293852 h 1413227"/>
                <a:gd name="connsiteX626" fmla="*/ 1975727 w 2048870"/>
                <a:gd name="connsiteY626" fmla="*/ 269652 h 1413227"/>
                <a:gd name="connsiteX627" fmla="*/ 1970541 w 2048870"/>
                <a:gd name="connsiteY627" fmla="*/ 255824 h 1413227"/>
                <a:gd name="connsiteX628" fmla="*/ 1968812 w 2048870"/>
                <a:gd name="connsiteY628" fmla="*/ 250638 h 1413227"/>
                <a:gd name="connsiteX629" fmla="*/ 1967084 w 2048870"/>
                <a:gd name="connsiteY629" fmla="*/ 243724 h 1413227"/>
                <a:gd name="connsiteX630" fmla="*/ 1963627 w 2048870"/>
                <a:gd name="connsiteY630" fmla="*/ 238539 h 1413227"/>
                <a:gd name="connsiteX631" fmla="*/ 1965355 w 2048870"/>
                <a:gd name="connsiteY631" fmla="*/ 216068 h 1413227"/>
                <a:gd name="connsiteX632" fmla="*/ 1961898 w 2048870"/>
                <a:gd name="connsiteY632" fmla="*/ 209153 h 1413227"/>
                <a:gd name="connsiteX633" fmla="*/ 1954984 w 2048870"/>
                <a:gd name="connsiteY633" fmla="*/ 216068 h 1413227"/>
                <a:gd name="connsiteX634" fmla="*/ 1948070 w 2048870"/>
                <a:gd name="connsiteY634" fmla="*/ 217796 h 1413227"/>
                <a:gd name="connsiteX635" fmla="*/ 1937699 w 2048870"/>
                <a:gd name="connsiteY635" fmla="*/ 226439 h 1413227"/>
                <a:gd name="connsiteX636" fmla="*/ 1932513 w 2048870"/>
                <a:gd name="connsiteY636" fmla="*/ 228167 h 1413227"/>
                <a:gd name="connsiteX637" fmla="*/ 1922142 w 2048870"/>
                <a:gd name="connsiteY637" fmla="*/ 235082 h 1413227"/>
                <a:gd name="connsiteX638" fmla="*/ 1906585 w 2048870"/>
                <a:gd name="connsiteY638" fmla="*/ 231624 h 1413227"/>
                <a:gd name="connsiteX639" fmla="*/ 1885842 w 2048870"/>
                <a:gd name="connsiteY639" fmla="*/ 222982 h 1413227"/>
                <a:gd name="connsiteX640" fmla="*/ 1878928 w 2048870"/>
                <a:gd name="connsiteY640" fmla="*/ 224710 h 1413227"/>
                <a:gd name="connsiteX641" fmla="*/ 1868557 w 2048870"/>
                <a:gd name="connsiteY641" fmla="*/ 233353 h 1413227"/>
                <a:gd name="connsiteX642" fmla="*/ 1847814 w 2048870"/>
                <a:gd name="connsiteY642" fmla="*/ 221253 h 1413227"/>
                <a:gd name="connsiteX643" fmla="*/ 1839172 w 2048870"/>
                <a:gd name="connsiteY643" fmla="*/ 217796 h 1413227"/>
                <a:gd name="connsiteX644" fmla="*/ 1832257 w 2048870"/>
                <a:gd name="connsiteY644" fmla="*/ 214339 h 1413227"/>
                <a:gd name="connsiteX645" fmla="*/ 1823615 w 2048870"/>
                <a:gd name="connsiteY645" fmla="*/ 224710 h 1413227"/>
                <a:gd name="connsiteX646" fmla="*/ 1816701 w 2048870"/>
                <a:gd name="connsiteY646" fmla="*/ 229896 h 1413227"/>
                <a:gd name="connsiteX647" fmla="*/ 1787315 w 2048870"/>
                <a:gd name="connsiteY647" fmla="*/ 221253 h 1413227"/>
                <a:gd name="connsiteX648" fmla="*/ 1759659 w 2048870"/>
                <a:gd name="connsiteY648" fmla="*/ 222982 h 1413227"/>
                <a:gd name="connsiteX649" fmla="*/ 1754473 w 2048870"/>
                <a:gd name="connsiteY649" fmla="*/ 224710 h 1413227"/>
                <a:gd name="connsiteX650" fmla="*/ 1735459 w 2048870"/>
                <a:gd name="connsiteY650" fmla="*/ 222982 h 1413227"/>
                <a:gd name="connsiteX651" fmla="*/ 1728545 w 2048870"/>
                <a:gd name="connsiteY651" fmla="*/ 217796 h 1413227"/>
                <a:gd name="connsiteX652" fmla="*/ 1721631 w 2048870"/>
                <a:gd name="connsiteY652" fmla="*/ 207425 h 1413227"/>
                <a:gd name="connsiteX653" fmla="*/ 1712988 w 2048870"/>
                <a:gd name="connsiteY653" fmla="*/ 235082 h 1413227"/>
                <a:gd name="connsiteX654" fmla="*/ 1706074 w 2048870"/>
                <a:gd name="connsiteY654" fmla="*/ 250638 h 1413227"/>
                <a:gd name="connsiteX655" fmla="*/ 1692245 w 2048870"/>
                <a:gd name="connsiteY655" fmla="*/ 236810 h 1413227"/>
                <a:gd name="connsiteX656" fmla="*/ 1645575 w 2048870"/>
                <a:gd name="connsiteY656" fmla="*/ 224710 h 1413227"/>
                <a:gd name="connsiteX657" fmla="*/ 1640389 w 2048870"/>
                <a:gd name="connsiteY657" fmla="*/ 217796 h 1413227"/>
                <a:gd name="connsiteX658" fmla="*/ 1638661 w 2048870"/>
                <a:gd name="connsiteY658" fmla="*/ 212610 h 1413227"/>
                <a:gd name="connsiteX659" fmla="*/ 1623104 w 2048870"/>
                <a:gd name="connsiteY659" fmla="*/ 195325 h 1413227"/>
                <a:gd name="connsiteX660" fmla="*/ 1609275 w 2048870"/>
                <a:gd name="connsiteY660" fmla="*/ 191868 h 1413227"/>
                <a:gd name="connsiteX661" fmla="*/ 1600633 w 2048870"/>
                <a:gd name="connsiteY661" fmla="*/ 200511 h 1413227"/>
                <a:gd name="connsiteX662" fmla="*/ 1595447 w 2048870"/>
                <a:gd name="connsiteY662" fmla="*/ 202239 h 1413227"/>
                <a:gd name="connsiteX663" fmla="*/ 1574704 w 2048870"/>
                <a:gd name="connsiteY663" fmla="*/ 209153 h 1413227"/>
                <a:gd name="connsiteX664" fmla="*/ 1569519 w 2048870"/>
                <a:gd name="connsiteY664" fmla="*/ 214339 h 1413227"/>
                <a:gd name="connsiteX665" fmla="*/ 1564333 w 2048870"/>
                <a:gd name="connsiteY665" fmla="*/ 217796 h 1413227"/>
                <a:gd name="connsiteX666" fmla="*/ 1560876 w 2048870"/>
                <a:gd name="connsiteY666" fmla="*/ 224710 h 1413227"/>
                <a:gd name="connsiteX667" fmla="*/ 1543591 w 2048870"/>
                <a:gd name="connsiteY667" fmla="*/ 238539 h 1413227"/>
                <a:gd name="connsiteX668" fmla="*/ 1536676 w 2048870"/>
                <a:gd name="connsiteY668" fmla="*/ 245453 h 1413227"/>
                <a:gd name="connsiteX669" fmla="*/ 1534948 w 2048870"/>
                <a:gd name="connsiteY669" fmla="*/ 250638 h 1413227"/>
                <a:gd name="connsiteX670" fmla="*/ 1536676 w 2048870"/>
                <a:gd name="connsiteY670" fmla="*/ 255824 h 1413227"/>
                <a:gd name="connsiteX671" fmla="*/ 1510748 w 2048870"/>
                <a:gd name="connsiteY671" fmla="*/ 259281 h 1413227"/>
                <a:gd name="connsiteX672" fmla="*/ 1500377 w 2048870"/>
                <a:gd name="connsiteY672" fmla="*/ 252367 h 1413227"/>
                <a:gd name="connsiteX673" fmla="*/ 1472720 w 2048870"/>
                <a:gd name="connsiteY673" fmla="*/ 252367 h 1413227"/>
                <a:gd name="connsiteX674" fmla="*/ 1455435 w 2048870"/>
                <a:gd name="connsiteY674" fmla="*/ 254096 h 1413227"/>
                <a:gd name="connsiteX675" fmla="*/ 1446792 w 2048870"/>
                <a:gd name="connsiteY675" fmla="*/ 261010 h 1413227"/>
                <a:gd name="connsiteX676" fmla="*/ 1441606 w 2048870"/>
                <a:gd name="connsiteY676" fmla="*/ 267924 h 1413227"/>
                <a:gd name="connsiteX677" fmla="*/ 1438149 w 2048870"/>
                <a:gd name="connsiteY677" fmla="*/ 273110 h 1413227"/>
                <a:gd name="connsiteX678" fmla="*/ 1432964 w 2048870"/>
                <a:gd name="connsiteY678" fmla="*/ 274838 h 1413227"/>
                <a:gd name="connsiteX679" fmla="*/ 1419135 w 2048870"/>
                <a:gd name="connsiteY679" fmla="*/ 281752 h 1413227"/>
                <a:gd name="connsiteX680" fmla="*/ 1412221 w 2048870"/>
                <a:gd name="connsiteY680" fmla="*/ 278295 h 1413227"/>
                <a:gd name="connsiteX681" fmla="*/ 1408764 w 2048870"/>
                <a:gd name="connsiteY681" fmla="*/ 273110 h 1413227"/>
                <a:gd name="connsiteX682" fmla="*/ 1400121 w 2048870"/>
                <a:gd name="connsiteY682" fmla="*/ 257553 h 1413227"/>
                <a:gd name="connsiteX683" fmla="*/ 1394936 w 2048870"/>
                <a:gd name="connsiteY683" fmla="*/ 254096 h 1413227"/>
                <a:gd name="connsiteX684" fmla="*/ 1386293 w 2048870"/>
                <a:gd name="connsiteY684" fmla="*/ 243724 h 1413227"/>
                <a:gd name="connsiteX685" fmla="*/ 1381107 w 2048870"/>
                <a:gd name="connsiteY685" fmla="*/ 212610 h 1413227"/>
                <a:gd name="connsiteX686" fmla="*/ 1370736 w 2048870"/>
                <a:gd name="connsiteY686" fmla="*/ 202239 h 1413227"/>
                <a:gd name="connsiteX687" fmla="*/ 1363822 w 2048870"/>
                <a:gd name="connsiteY687" fmla="*/ 200511 h 1413227"/>
                <a:gd name="connsiteX688" fmla="*/ 1358636 w 2048870"/>
                <a:gd name="connsiteY688" fmla="*/ 193596 h 1413227"/>
                <a:gd name="connsiteX689" fmla="*/ 1349994 w 2048870"/>
                <a:gd name="connsiteY689" fmla="*/ 178040 h 1413227"/>
                <a:gd name="connsiteX690" fmla="*/ 1337894 w 2048870"/>
                <a:gd name="connsiteY690" fmla="*/ 167668 h 1413227"/>
                <a:gd name="connsiteX691" fmla="*/ 1298137 w 2048870"/>
                <a:gd name="connsiteY691" fmla="*/ 169397 h 1413227"/>
                <a:gd name="connsiteX692" fmla="*/ 1284309 w 2048870"/>
                <a:gd name="connsiteY692" fmla="*/ 179768 h 1413227"/>
                <a:gd name="connsiteX693" fmla="*/ 1268752 w 2048870"/>
                <a:gd name="connsiteY693" fmla="*/ 181497 h 1413227"/>
                <a:gd name="connsiteX694" fmla="*/ 1251467 w 2048870"/>
                <a:gd name="connsiteY694" fmla="*/ 174583 h 1413227"/>
                <a:gd name="connsiteX695" fmla="*/ 1241095 w 2048870"/>
                <a:gd name="connsiteY695" fmla="*/ 164211 h 1413227"/>
                <a:gd name="connsiteX696" fmla="*/ 1230724 w 2048870"/>
                <a:gd name="connsiteY696" fmla="*/ 160754 h 1413227"/>
                <a:gd name="connsiteX697" fmla="*/ 1215167 w 2048870"/>
                <a:gd name="connsiteY697" fmla="*/ 146926 h 1413227"/>
                <a:gd name="connsiteX698" fmla="*/ 1213439 w 2048870"/>
                <a:gd name="connsiteY698" fmla="*/ 140012 h 1413227"/>
                <a:gd name="connsiteX699" fmla="*/ 1206524 w 2048870"/>
                <a:gd name="connsiteY699" fmla="*/ 131369 h 1413227"/>
                <a:gd name="connsiteX700" fmla="*/ 1204796 w 2048870"/>
                <a:gd name="connsiteY700" fmla="*/ 122726 h 1413227"/>
                <a:gd name="connsiteX701" fmla="*/ 1190968 w 2048870"/>
                <a:gd name="connsiteY701" fmla="*/ 117541 h 1413227"/>
                <a:gd name="connsiteX702" fmla="*/ 1201339 w 2048870"/>
                <a:gd name="connsiteY702" fmla="*/ 105441 h 1413227"/>
                <a:gd name="connsiteX703" fmla="*/ 1208253 w 2048870"/>
                <a:gd name="connsiteY703" fmla="*/ 101984 h 1413227"/>
                <a:gd name="connsiteX704" fmla="*/ 1213439 w 2048870"/>
                <a:gd name="connsiteY704" fmla="*/ 95069 h 1413227"/>
                <a:gd name="connsiteX705" fmla="*/ 1218624 w 2048870"/>
                <a:gd name="connsiteY705" fmla="*/ 89884 h 1413227"/>
                <a:gd name="connsiteX706" fmla="*/ 1216896 w 2048870"/>
                <a:gd name="connsiteY706" fmla="*/ 84698 h 1413227"/>
                <a:gd name="connsiteX707" fmla="*/ 1206524 w 2048870"/>
                <a:gd name="connsiteY707" fmla="*/ 81241 h 1413227"/>
                <a:gd name="connsiteX708" fmla="*/ 1190968 w 2048870"/>
                <a:gd name="connsiteY708" fmla="*/ 76055 h 1413227"/>
                <a:gd name="connsiteX709" fmla="*/ 1175411 w 2048870"/>
                <a:gd name="connsiteY709" fmla="*/ 60499 h 1413227"/>
                <a:gd name="connsiteX710" fmla="*/ 1168496 w 2048870"/>
                <a:gd name="connsiteY710" fmla="*/ 53584 h 1413227"/>
                <a:gd name="connsiteX711" fmla="*/ 1165039 w 2048870"/>
                <a:gd name="connsiteY711" fmla="*/ 46670 h 1413227"/>
                <a:gd name="connsiteX712" fmla="*/ 1159854 w 2048870"/>
                <a:gd name="connsiteY712" fmla="*/ 39756 h 1413227"/>
                <a:gd name="connsiteX713" fmla="*/ 1151211 w 2048870"/>
                <a:gd name="connsiteY713" fmla="*/ 27656 h 1413227"/>
                <a:gd name="connsiteX714" fmla="*/ 1146025 w 2048870"/>
                <a:gd name="connsiteY714" fmla="*/ 24199 h 1413227"/>
                <a:gd name="connsiteX715" fmla="*/ 1140840 w 2048870"/>
                <a:gd name="connsiteY715" fmla="*/ 17285 h 1413227"/>
                <a:gd name="connsiteX716" fmla="*/ 1123554 w 2048870"/>
                <a:gd name="connsiteY716" fmla="*/ 3457 h 1413227"/>
                <a:gd name="connsiteX717" fmla="*/ 1116640 w 2048870"/>
                <a:gd name="connsiteY717" fmla="*/ 0 h 1413227"/>
                <a:gd name="connsiteX718" fmla="*/ 1102812 w 2048870"/>
                <a:gd name="connsiteY718" fmla="*/ 1728 h 1413227"/>
                <a:gd name="connsiteX719" fmla="*/ 1097626 w 2048870"/>
                <a:gd name="connsiteY719" fmla="*/ 3457 h 1413227"/>
                <a:gd name="connsiteX720" fmla="*/ 1090712 w 2048870"/>
                <a:gd name="connsiteY720" fmla="*/ 5185 h 1413227"/>
                <a:gd name="connsiteX721" fmla="*/ 1071698 w 2048870"/>
                <a:gd name="connsiteY721" fmla="*/ 17285 h 1413227"/>
                <a:gd name="connsiteX722" fmla="*/ 1056141 w 2048870"/>
                <a:gd name="connsiteY722" fmla="*/ 15556 h 1413227"/>
                <a:gd name="connsiteX723" fmla="*/ 1050955 w 2048870"/>
                <a:gd name="connsiteY723" fmla="*/ 19014 h 1413227"/>
                <a:gd name="connsiteX724" fmla="*/ 1042313 w 2048870"/>
                <a:gd name="connsiteY724" fmla="*/ 27656 h 1413227"/>
                <a:gd name="connsiteX725" fmla="*/ 1028484 w 2048870"/>
                <a:gd name="connsiteY725" fmla="*/ 38027 h 1413227"/>
                <a:gd name="connsiteX726" fmla="*/ 1025027 w 2048870"/>
                <a:gd name="connsiteY726" fmla="*/ 41485 h 1413227"/>
                <a:gd name="connsiteX727" fmla="*/ 1016385 w 2048870"/>
                <a:gd name="connsiteY727" fmla="*/ 46670 h 1413227"/>
                <a:gd name="connsiteX728" fmla="*/ 1012927 w 2048870"/>
                <a:gd name="connsiteY728" fmla="*/ 50127 h 1413227"/>
                <a:gd name="connsiteX729" fmla="*/ 997371 w 2048870"/>
                <a:gd name="connsiteY729" fmla="*/ 57041 h 1413227"/>
                <a:gd name="connsiteX730" fmla="*/ 973171 w 2048870"/>
                <a:gd name="connsiteY730" fmla="*/ 58770 h 1413227"/>
                <a:gd name="connsiteX731" fmla="*/ 967985 w 2048870"/>
                <a:gd name="connsiteY731" fmla="*/ 62227 h 1413227"/>
                <a:gd name="connsiteX732" fmla="*/ 966257 w 2048870"/>
                <a:gd name="connsiteY732" fmla="*/ 79513 h 1413227"/>
                <a:gd name="connsiteX733" fmla="*/ 962800 w 2048870"/>
                <a:gd name="connsiteY733" fmla="*/ 103712 h 1413227"/>
                <a:gd name="connsiteX734" fmla="*/ 961071 w 2048870"/>
                <a:gd name="connsiteY734" fmla="*/ 112355 h 1413227"/>
                <a:gd name="connsiteX735" fmla="*/ 916129 w 2048870"/>
                <a:gd name="connsiteY735" fmla="*/ 115812 h 1413227"/>
                <a:gd name="connsiteX736" fmla="*/ 910943 w 2048870"/>
                <a:gd name="connsiteY736" fmla="*/ 119269 h 1413227"/>
                <a:gd name="connsiteX737" fmla="*/ 905758 w 2048870"/>
                <a:gd name="connsiteY737" fmla="*/ 120998 h 1413227"/>
                <a:gd name="connsiteX738" fmla="*/ 893658 w 2048870"/>
                <a:gd name="connsiteY738" fmla="*/ 124455 h 1413227"/>
                <a:gd name="connsiteX739" fmla="*/ 888472 w 2048870"/>
                <a:gd name="connsiteY739" fmla="*/ 126183 h 1413227"/>
                <a:gd name="connsiteX740" fmla="*/ 895386 w 2048870"/>
                <a:gd name="connsiteY740" fmla="*/ 124455 h 1413227"/>
                <a:gd name="connsiteX741" fmla="*/ 904029 w 2048870"/>
                <a:gd name="connsiteY741" fmla="*/ 115812 h 1413227"/>
                <a:gd name="connsiteX742" fmla="*/ 966257 w 2048870"/>
                <a:gd name="connsiteY742" fmla="*/ 63956 h 1413227"/>
                <a:gd name="connsiteX0" fmla="*/ 966257 w 2048870"/>
                <a:gd name="connsiteY0" fmla="*/ 63956 h 1413227"/>
                <a:gd name="connsiteX1" fmla="*/ 962800 w 2048870"/>
                <a:gd name="connsiteY1" fmla="*/ 72598 h 1413227"/>
                <a:gd name="connsiteX2" fmla="*/ 919586 w 2048870"/>
                <a:gd name="connsiteY2" fmla="*/ 114083 h 1413227"/>
                <a:gd name="connsiteX3" fmla="*/ 902301 w 2048870"/>
                <a:gd name="connsiteY3" fmla="*/ 120998 h 1413227"/>
                <a:gd name="connsiteX4" fmla="*/ 885015 w 2048870"/>
                <a:gd name="connsiteY4" fmla="*/ 122726 h 1413227"/>
                <a:gd name="connsiteX5" fmla="*/ 878101 w 2048870"/>
                <a:gd name="connsiteY5" fmla="*/ 129640 h 1413227"/>
                <a:gd name="connsiteX6" fmla="*/ 855630 w 2048870"/>
                <a:gd name="connsiteY6" fmla="*/ 140012 h 1413227"/>
                <a:gd name="connsiteX7" fmla="*/ 850444 w 2048870"/>
                <a:gd name="connsiteY7" fmla="*/ 145197 h 1413227"/>
                <a:gd name="connsiteX8" fmla="*/ 831430 w 2048870"/>
                <a:gd name="connsiteY8" fmla="*/ 146926 h 1413227"/>
                <a:gd name="connsiteX9" fmla="*/ 808923 w 2048870"/>
                <a:gd name="connsiteY9" fmla="*/ 195183 h 1413227"/>
                <a:gd name="connsiteX10" fmla="*/ 817602 w 2048870"/>
                <a:gd name="connsiteY10" fmla="*/ 247181 h 1413227"/>
                <a:gd name="connsiteX11" fmla="*/ 821059 w 2048870"/>
                <a:gd name="connsiteY11" fmla="*/ 255824 h 1413227"/>
                <a:gd name="connsiteX12" fmla="*/ 826245 w 2048870"/>
                <a:gd name="connsiteY12" fmla="*/ 259281 h 1413227"/>
                <a:gd name="connsiteX13" fmla="*/ 833159 w 2048870"/>
                <a:gd name="connsiteY13" fmla="*/ 267924 h 1413227"/>
                <a:gd name="connsiteX14" fmla="*/ 836616 w 2048870"/>
                <a:gd name="connsiteY14" fmla="*/ 280024 h 1413227"/>
                <a:gd name="connsiteX15" fmla="*/ 834887 w 2048870"/>
                <a:gd name="connsiteY15" fmla="*/ 295581 h 1413227"/>
                <a:gd name="connsiteX16" fmla="*/ 821059 w 2048870"/>
                <a:gd name="connsiteY16" fmla="*/ 299038 h 1413227"/>
                <a:gd name="connsiteX17" fmla="*/ 800316 w 2048870"/>
                <a:gd name="connsiteY17" fmla="*/ 295581 h 1413227"/>
                <a:gd name="connsiteX18" fmla="*/ 786488 w 2048870"/>
                <a:gd name="connsiteY18" fmla="*/ 286938 h 1413227"/>
                <a:gd name="connsiteX19" fmla="*/ 781302 w 2048870"/>
                <a:gd name="connsiteY19" fmla="*/ 285209 h 1413227"/>
                <a:gd name="connsiteX20" fmla="*/ 774388 w 2048870"/>
                <a:gd name="connsiteY20" fmla="*/ 278295 h 1413227"/>
                <a:gd name="connsiteX21" fmla="*/ 767474 w 2048870"/>
                <a:gd name="connsiteY21" fmla="*/ 285209 h 1413227"/>
                <a:gd name="connsiteX22" fmla="*/ 758831 w 2048870"/>
                <a:gd name="connsiteY22" fmla="*/ 286938 h 1413227"/>
                <a:gd name="connsiteX23" fmla="*/ 751917 w 2048870"/>
                <a:gd name="connsiteY23" fmla="*/ 288666 h 1413227"/>
                <a:gd name="connsiteX24" fmla="*/ 746732 w 2048870"/>
                <a:gd name="connsiteY24" fmla="*/ 290395 h 1413227"/>
                <a:gd name="connsiteX25" fmla="*/ 722532 w 2048870"/>
                <a:gd name="connsiteY25" fmla="*/ 292124 h 1413227"/>
                <a:gd name="connsiteX26" fmla="*/ 720803 w 2048870"/>
                <a:gd name="connsiteY26" fmla="*/ 297309 h 1413227"/>
                <a:gd name="connsiteX27" fmla="*/ 701789 w 2048870"/>
                <a:gd name="connsiteY27" fmla="*/ 312866 h 1413227"/>
                <a:gd name="connsiteX28" fmla="*/ 686233 w 2048870"/>
                <a:gd name="connsiteY28" fmla="*/ 305952 h 1413227"/>
                <a:gd name="connsiteX29" fmla="*/ 684504 w 2048870"/>
                <a:gd name="connsiteY29" fmla="*/ 300766 h 1413227"/>
                <a:gd name="connsiteX30" fmla="*/ 681047 w 2048870"/>
                <a:gd name="connsiteY30" fmla="*/ 285209 h 1413227"/>
                <a:gd name="connsiteX31" fmla="*/ 649933 w 2048870"/>
                <a:gd name="connsiteY31" fmla="*/ 288666 h 1413227"/>
                <a:gd name="connsiteX32" fmla="*/ 646476 w 2048870"/>
                <a:gd name="connsiteY32" fmla="*/ 299038 h 1413227"/>
                <a:gd name="connsiteX33" fmla="*/ 639562 w 2048870"/>
                <a:gd name="connsiteY33" fmla="*/ 314595 h 1413227"/>
                <a:gd name="connsiteX34" fmla="*/ 634376 w 2048870"/>
                <a:gd name="connsiteY34" fmla="*/ 326694 h 1413227"/>
                <a:gd name="connsiteX35" fmla="*/ 629191 w 2048870"/>
                <a:gd name="connsiteY35" fmla="*/ 328423 h 1413227"/>
                <a:gd name="connsiteX36" fmla="*/ 613634 w 2048870"/>
                <a:gd name="connsiteY36" fmla="*/ 323237 h 1413227"/>
                <a:gd name="connsiteX37" fmla="*/ 601534 w 2048870"/>
                <a:gd name="connsiteY37" fmla="*/ 311138 h 1413227"/>
                <a:gd name="connsiteX38" fmla="*/ 572149 w 2048870"/>
                <a:gd name="connsiteY38" fmla="*/ 309409 h 1413227"/>
                <a:gd name="connsiteX39" fmla="*/ 566963 w 2048870"/>
                <a:gd name="connsiteY39" fmla="*/ 295581 h 1413227"/>
                <a:gd name="connsiteX40" fmla="*/ 563506 w 2048870"/>
                <a:gd name="connsiteY40" fmla="*/ 300766 h 1413227"/>
                <a:gd name="connsiteX41" fmla="*/ 558320 w 2048870"/>
                <a:gd name="connsiteY41" fmla="*/ 307680 h 1413227"/>
                <a:gd name="connsiteX42" fmla="*/ 549678 w 2048870"/>
                <a:gd name="connsiteY42" fmla="*/ 321509 h 1413227"/>
                <a:gd name="connsiteX43" fmla="*/ 509921 w 2048870"/>
                <a:gd name="connsiteY43" fmla="*/ 324966 h 1413227"/>
                <a:gd name="connsiteX44" fmla="*/ 515107 w 2048870"/>
                <a:gd name="connsiteY44" fmla="*/ 328423 h 1413227"/>
                <a:gd name="connsiteX45" fmla="*/ 525478 w 2048870"/>
                <a:gd name="connsiteY45" fmla="*/ 331880 h 1413227"/>
                <a:gd name="connsiteX46" fmla="*/ 523749 w 2048870"/>
                <a:gd name="connsiteY46" fmla="*/ 337066 h 1413227"/>
                <a:gd name="connsiteX47" fmla="*/ 516835 w 2048870"/>
                <a:gd name="connsiteY47" fmla="*/ 343980 h 1413227"/>
                <a:gd name="connsiteX48" fmla="*/ 511650 w 2048870"/>
                <a:gd name="connsiteY48" fmla="*/ 323237 h 1413227"/>
                <a:gd name="connsiteX49" fmla="*/ 483993 w 2048870"/>
                <a:gd name="connsiteY49" fmla="*/ 333609 h 1413227"/>
                <a:gd name="connsiteX50" fmla="*/ 478807 w 2048870"/>
                <a:gd name="connsiteY50" fmla="*/ 338794 h 1413227"/>
                <a:gd name="connsiteX51" fmla="*/ 466707 w 2048870"/>
                <a:gd name="connsiteY51" fmla="*/ 337066 h 1413227"/>
                <a:gd name="connsiteX52" fmla="*/ 463250 w 2048870"/>
                <a:gd name="connsiteY52" fmla="*/ 324966 h 1413227"/>
                <a:gd name="connsiteX53" fmla="*/ 454608 w 2048870"/>
                <a:gd name="connsiteY53" fmla="*/ 312866 h 1413227"/>
                <a:gd name="connsiteX54" fmla="*/ 449422 w 2048870"/>
                <a:gd name="connsiteY54" fmla="*/ 311138 h 1413227"/>
                <a:gd name="connsiteX55" fmla="*/ 425222 w 2048870"/>
                <a:gd name="connsiteY55" fmla="*/ 314595 h 1413227"/>
                <a:gd name="connsiteX56" fmla="*/ 273110 w 2048870"/>
                <a:gd name="connsiteY56" fmla="*/ 316323 h 1413227"/>
                <a:gd name="connsiteX57" fmla="*/ 262739 w 2048870"/>
                <a:gd name="connsiteY57" fmla="*/ 323237 h 1413227"/>
                <a:gd name="connsiteX58" fmla="*/ 255825 w 2048870"/>
                <a:gd name="connsiteY58" fmla="*/ 324966 h 1413227"/>
                <a:gd name="connsiteX59" fmla="*/ 250639 w 2048870"/>
                <a:gd name="connsiteY59" fmla="*/ 326694 h 1413227"/>
                <a:gd name="connsiteX60" fmla="*/ 238540 w 2048870"/>
                <a:gd name="connsiteY60" fmla="*/ 330152 h 1413227"/>
                <a:gd name="connsiteX61" fmla="*/ 200512 w 2048870"/>
                <a:gd name="connsiteY61" fmla="*/ 333609 h 1413227"/>
                <a:gd name="connsiteX62" fmla="*/ 188412 w 2048870"/>
                <a:gd name="connsiteY62" fmla="*/ 338794 h 1413227"/>
                <a:gd name="connsiteX63" fmla="*/ 176312 w 2048870"/>
                <a:gd name="connsiteY63" fmla="*/ 342251 h 1413227"/>
                <a:gd name="connsiteX64" fmla="*/ 146927 w 2048870"/>
                <a:gd name="connsiteY64" fmla="*/ 356080 h 1413227"/>
                <a:gd name="connsiteX65" fmla="*/ 138284 w 2048870"/>
                <a:gd name="connsiteY65" fmla="*/ 357808 h 1413227"/>
                <a:gd name="connsiteX66" fmla="*/ 136555 w 2048870"/>
                <a:gd name="connsiteY66" fmla="*/ 364722 h 1413227"/>
                <a:gd name="connsiteX67" fmla="*/ 134827 w 2048870"/>
                <a:gd name="connsiteY67" fmla="*/ 380279 h 1413227"/>
                <a:gd name="connsiteX68" fmla="*/ 127913 w 2048870"/>
                <a:gd name="connsiteY68" fmla="*/ 387193 h 1413227"/>
                <a:gd name="connsiteX69" fmla="*/ 126184 w 2048870"/>
                <a:gd name="connsiteY69" fmla="*/ 394108 h 1413227"/>
                <a:gd name="connsiteX70" fmla="*/ 124456 w 2048870"/>
                <a:gd name="connsiteY70" fmla="*/ 402750 h 1413227"/>
                <a:gd name="connsiteX71" fmla="*/ 117541 w 2048870"/>
                <a:gd name="connsiteY71" fmla="*/ 407936 h 1413227"/>
                <a:gd name="connsiteX72" fmla="*/ 105442 w 2048870"/>
                <a:gd name="connsiteY72" fmla="*/ 411393 h 1413227"/>
                <a:gd name="connsiteX73" fmla="*/ 100256 w 2048870"/>
                <a:gd name="connsiteY73" fmla="*/ 413122 h 1413227"/>
                <a:gd name="connsiteX74" fmla="*/ 70871 w 2048870"/>
                <a:gd name="connsiteY74" fmla="*/ 421764 h 1413227"/>
                <a:gd name="connsiteX75" fmla="*/ 67414 w 2048870"/>
                <a:gd name="connsiteY75" fmla="*/ 428679 h 1413227"/>
                <a:gd name="connsiteX76" fmla="*/ 69142 w 2048870"/>
                <a:gd name="connsiteY76" fmla="*/ 440778 h 1413227"/>
                <a:gd name="connsiteX77" fmla="*/ 65685 w 2048870"/>
                <a:gd name="connsiteY77" fmla="*/ 445964 h 1413227"/>
                <a:gd name="connsiteX78" fmla="*/ 63957 w 2048870"/>
                <a:gd name="connsiteY78" fmla="*/ 452878 h 1413227"/>
                <a:gd name="connsiteX79" fmla="*/ 69142 w 2048870"/>
                <a:gd name="connsiteY79" fmla="*/ 456335 h 1413227"/>
                <a:gd name="connsiteX80" fmla="*/ 74328 w 2048870"/>
                <a:gd name="connsiteY80" fmla="*/ 458064 h 1413227"/>
                <a:gd name="connsiteX81" fmla="*/ 84699 w 2048870"/>
                <a:gd name="connsiteY81" fmla="*/ 466707 h 1413227"/>
                <a:gd name="connsiteX82" fmla="*/ 81242 w 2048870"/>
                <a:gd name="connsiteY82" fmla="*/ 473621 h 1413227"/>
                <a:gd name="connsiteX83" fmla="*/ 77785 w 2048870"/>
                <a:gd name="connsiteY83" fmla="*/ 478806 h 1413227"/>
                <a:gd name="connsiteX84" fmla="*/ 79513 w 2048870"/>
                <a:gd name="connsiteY84" fmla="*/ 485721 h 1413227"/>
                <a:gd name="connsiteX85" fmla="*/ 72599 w 2048870"/>
                <a:gd name="connsiteY85" fmla="*/ 489178 h 1413227"/>
                <a:gd name="connsiteX86" fmla="*/ 63957 w 2048870"/>
                <a:gd name="connsiteY86" fmla="*/ 487449 h 1413227"/>
                <a:gd name="connsiteX87" fmla="*/ 76056 w 2048870"/>
                <a:gd name="connsiteY87" fmla="*/ 485721 h 1413227"/>
                <a:gd name="connsiteX88" fmla="*/ 86428 w 2048870"/>
                <a:gd name="connsiteY88" fmla="*/ 483992 h 1413227"/>
                <a:gd name="connsiteX89" fmla="*/ 84699 w 2048870"/>
                <a:gd name="connsiteY89" fmla="*/ 494363 h 1413227"/>
                <a:gd name="connsiteX90" fmla="*/ 86428 w 2048870"/>
                <a:gd name="connsiteY90" fmla="*/ 501277 h 1413227"/>
                <a:gd name="connsiteX91" fmla="*/ 96799 w 2048870"/>
                <a:gd name="connsiteY91" fmla="*/ 515106 h 1413227"/>
                <a:gd name="connsiteX92" fmla="*/ 101985 w 2048870"/>
                <a:gd name="connsiteY92" fmla="*/ 516834 h 1413227"/>
                <a:gd name="connsiteX93" fmla="*/ 114084 w 2048870"/>
                <a:gd name="connsiteY93" fmla="*/ 520291 h 1413227"/>
                <a:gd name="connsiteX94" fmla="*/ 102601 w 2048870"/>
                <a:gd name="connsiteY94" fmla="*/ 523095 h 1413227"/>
                <a:gd name="connsiteX95" fmla="*/ 106904 w 2048870"/>
                <a:gd name="connsiteY95" fmla="*/ 535847 h 1413227"/>
                <a:gd name="connsiteX96" fmla="*/ 124649 w 2048870"/>
                <a:gd name="connsiteY96" fmla="*/ 554668 h 1413227"/>
                <a:gd name="connsiteX97" fmla="*/ 134827 w 2048870"/>
                <a:gd name="connsiteY97" fmla="*/ 572148 h 1413227"/>
                <a:gd name="connsiteX98" fmla="*/ 140012 w 2048870"/>
                <a:gd name="connsiteY98" fmla="*/ 573876 h 1413227"/>
                <a:gd name="connsiteX99" fmla="*/ 143470 w 2048870"/>
                <a:gd name="connsiteY99" fmla="*/ 577333 h 1413227"/>
                <a:gd name="connsiteX100" fmla="*/ 146927 w 2048870"/>
                <a:gd name="connsiteY100" fmla="*/ 589433 h 1413227"/>
                <a:gd name="connsiteX101" fmla="*/ 150384 w 2048870"/>
                <a:gd name="connsiteY101" fmla="*/ 598076 h 1413227"/>
                <a:gd name="connsiteX102" fmla="*/ 148655 w 2048870"/>
                <a:gd name="connsiteY102" fmla="*/ 617090 h 1413227"/>
                <a:gd name="connsiteX103" fmla="*/ 146927 w 2048870"/>
                <a:gd name="connsiteY103" fmla="*/ 622276 h 1413227"/>
                <a:gd name="connsiteX104" fmla="*/ 141741 w 2048870"/>
                <a:gd name="connsiteY104" fmla="*/ 627461 h 1413227"/>
                <a:gd name="connsiteX105" fmla="*/ 136555 w 2048870"/>
                <a:gd name="connsiteY105" fmla="*/ 634375 h 1413227"/>
                <a:gd name="connsiteX106" fmla="*/ 120999 w 2048870"/>
                <a:gd name="connsiteY106" fmla="*/ 639561 h 1413227"/>
                <a:gd name="connsiteX107" fmla="*/ 95070 w 2048870"/>
                <a:gd name="connsiteY107" fmla="*/ 665489 h 1413227"/>
                <a:gd name="connsiteX108" fmla="*/ 89885 w 2048870"/>
                <a:gd name="connsiteY108" fmla="*/ 670675 h 1413227"/>
                <a:gd name="connsiteX109" fmla="*/ 86428 w 2048870"/>
                <a:gd name="connsiteY109" fmla="*/ 675860 h 1413227"/>
                <a:gd name="connsiteX110" fmla="*/ 81242 w 2048870"/>
                <a:gd name="connsiteY110" fmla="*/ 677589 h 1413227"/>
                <a:gd name="connsiteX111" fmla="*/ 77785 w 2048870"/>
                <a:gd name="connsiteY111" fmla="*/ 682775 h 1413227"/>
                <a:gd name="connsiteX112" fmla="*/ 63957 w 2048870"/>
                <a:gd name="connsiteY112" fmla="*/ 689689 h 1413227"/>
                <a:gd name="connsiteX113" fmla="*/ 60499 w 2048870"/>
                <a:gd name="connsiteY113" fmla="*/ 706974 h 1413227"/>
                <a:gd name="connsiteX114" fmla="*/ 50128 w 2048870"/>
                <a:gd name="connsiteY114" fmla="*/ 720803 h 1413227"/>
                <a:gd name="connsiteX115" fmla="*/ 48400 w 2048870"/>
                <a:gd name="connsiteY115" fmla="*/ 725988 h 1413227"/>
                <a:gd name="connsiteX116" fmla="*/ 46671 w 2048870"/>
                <a:gd name="connsiteY116" fmla="*/ 732902 h 1413227"/>
                <a:gd name="connsiteX117" fmla="*/ 25929 w 2048870"/>
                <a:gd name="connsiteY117" fmla="*/ 751916 h 1413227"/>
                <a:gd name="connsiteX118" fmla="*/ 19014 w 2048870"/>
                <a:gd name="connsiteY118" fmla="*/ 776116 h 1413227"/>
                <a:gd name="connsiteX119" fmla="*/ 12100 w 2048870"/>
                <a:gd name="connsiteY119" fmla="*/ 789944 h 1413227"/>
                <a:gd name="connsiteX120" fmla="*/ 17286 w 2048870"/>
                <a:gd name="connsiteY120" fmla="*/ 822787 h 1413227"/>
                <a:gd name="connsiteX121" fmla="*/ 25929 w 2048870"/>
                <a:gd name="connsiteY121" fmla="*/ 829701 h 1413227"/>
                <a:gd name="connsiteX122" fmla="*/ 29386 w 2048870"/>
                <a:gd name="connsiteY122" fmla="*/ 838344 h 1413227"/>
                <a:gd name="connsiteX123" fmla="*/ 36300 w 2048870"/>
                <a:gd name="connsiteY123" fmla="*/ 843529 h 1413227"/>
                <a:gd name="connsiteX124" fmla="*/ 38028 w 2048870"/>
                <a:gd name="connsiteY124" fmla="*/ 852172 h 1413227"/>
                <a:gd name="connsiteX125" fmla="*/ 43214 w 2048870"/>
                <a:gd name="connsiteY125" fmla="*/ 864272 h 1413227"/>
                <a:gd name="connsiteX126" fmla="*/ 44943 w 2048870"/>
                <a:gd name="connsiteY126" fmla="*/ 874643 h 1413227"/>
                <a:gd name="connsiteX127" fmla="*/ 51857 w 2048870"/>
                <a:gd name="connsiteY127" fmla="*/ 876372 h 1413227"/>
                <a:gd name="connsiteX128" fmla="*/ 53585 w 2048870"/>
                <a:gd name="connsiteY128" fmla="*/ 883286 h 1413227"/>
                <a:gd name="connsiteX129" fmla="*/ 58771 w 2048870"/>
                <a:gd name="connsiteY129" fmla="*/ 886743 h 1413227"/>
                <a:gd name="connsiteX130" fmla="*/ 51857 w 2048870"/>
                <a:gd name="connsiteY130" fmla="*/ 898843 h 1413227"/>
                <a:gd name="connsiteX131" fmla="*/ 43214 w 2048870"/>
                <a:gd name="connsiteY131" fmla="*/ 904028 h 1413227"/>
                <a:gd name="connsiteX132" fmla="*/ 29386 w 2048870"/>
                <a:gd name="connsiteY132" fmla="*/ 909214 h 1413227"/>
                <a:gd name="connsiteX133" fmla="*/ 27657 w 2048870"/>
                <a:gd name="connsiteY133" fmla="*/ 919585 h 1413227"/>
                <a:gd name="connsiteX134" fmla="*/ 25929 w 2048870"/>
                <a:gd name="connsiteY134" fmla="*/ 926499 h 1413227"/>
                <a:gd name="connsiteX135" fmla="*/ 19014 w 2048870"/>
                <a:gd name="connsiteY135" fmla="*/ 955885 h 1413227"/>
                <a:gd name="connsiteX136" fmla="*/ 10372 w 2048870"/>
                <a:gd name="connsiteY136" fmla="*/ 969713 h 1413227"/>
                <a:gd name="connsiteX137" fmla="*/ 8643 w 2048870"/>
                <a:gd name="connsiteY137" fmla="*/ 990455 h 1413227"/>
                <a:gd name="connsiteX138" fmla="*/ 0 w 2048870"/>
                <a:gd name="connsiteY138" fmla="*/ 999098 h 1413227"/>
                <a:gd name="connsiteX139" fmla="*/ 6915 w 2048870"/>
                <a:gd name="connsiteY139" fmla="*/ 1023298 h 1413227"/>
                <a:gd name="connsiteX140" fmla="*/ 15557 w 2048870"/>
                <a:gd name="connsiteY140" fmla="*/ 1025026 h 1413227"/>
                <a:gd name="connsiteX141" fmla="*/ 22471 w 2048870"/>
                <a:gd name="connsiteY141" fmla="*/ 1030212 h 1413227"/>
                <a:gd name="connsiteX142" fmla="*/ 27657 w 2048870"/>
                <a:gd name="connsiteY142" fmla="*/ 1031941 h 1413227"/>
                <a:gd name="connsiteX143" fmla="*/ 34571 w 2048870"/>
                <a:gd name="connsiteY143" fmla="*/ 1035398 h 1413227"/>
                <a:gd name="connsiteX144" fmla="*/ 39757 w 2048870"/>
                <a:gd name="connsiteY144" fmla="*/ 1042312 h 1413227"/>
                <a:gd name="connsiteX145" fmla="*/ 43214 w 2048870"/>
                <a:gd name="connsiteY145" fmla="*/ 1047497 h 1413227"/>
                <a:gd name="connsiteX146" fmla="*/ 53585 w 2048870"/>
                <a:gd name="connsiteY146" fmla="*/ 1052683 h 1413227"/>
                <a:gd name="connsiteX147" fmla="*/ 95070 w 2048870"/>
                <a:gd name="connsiteY147" fmla="*/ 1061326 h 1413227"/>
                <a:gd name="connsiteX148" fmla="*/ 96799 w 2048870"/>
                <a:gd name="connsiteY148" fmla="*/ 1073426 h 1413227"/>
                <a:gd name="connsiteX149" fmla="*/ 101985 w 2048870"/>
                <a:gd name="connsiteY149" fmla="*/ 1075154 h 1413227"/>
                <a:gd name="connsiteX150" fmla="*/ 112356 w 2048870"/>
                <a:gd name="connsiteY150" fmla="*/ 1066511 h 1413227"/>
                <a:gd name="connsiteX151" fmla="*/ 119270 w 2048870"/>
                <a:gd name="connsiteY151" fmla="*/ 1059597 h 1413227"/>
                <a:gd name="connsiteX152" fmla="*/ 120999 w 2048870"/>
                <a:gd name="connsiteY152" fmla="*/ 1054412 h 1413227"/>
                <a:gd name="connsiteX153" fmla="*/ 134827 w 2048870"/>
                <a:gd name="connsiteY153" fmla="*/ 1061326 h 1413227"/>
                <a:gd name="connsiteX154" fmla="*/ 141741 w 2048870"/>
                <a:gd name="connsiteY154" fmla="*/ 1063054 h 1413227"/>
                <a:gd name="connsiteX155" fmla="*/ 146927 w 2048870"/>
                <a:gd name="connsiteY155" fmla="*/ 1064783 h 1413227"/>
                <a:gd name="connsiteX156" fmla="*/ 247182 w 2048870"/>
                <a:gd name="connsiteY156" fmla="*/ 1068240 h 1413227"/>
                <a:gd name="connsiteX157" fmla="*/ 266196 w 2048870"/>
                <a:gd name="connsiteY157" fmla="*/ 1064783 h 1413227"/>
                <a:gd name="connsiteX158" fmla="*/ 276568 w 2048870"/>
                <a:gd name="connsiteY158" fmla="*/ 1059597 h 1413227"/>
                <a:gd name="connsiteX159" fmla="*/ 285210 w 2048870"/>
                <a:gd name="connsiteY159" fmla="*/ 1049226 h 1413227"/>
                <a:gd name="connsiteX160" fmla="*/ 295581 w 2048870"/>
                <a:gd name="connsiteY160" fmla="*/ 1052683 h 1413227"/>
                <a:gd name="connsiteX161" fmla="*/ 299039 w 2048870"/>
                <a:gd name="connsiteY161" fmla="*/ 1059597 h 1413227"/>
                <a:gd name="connsiteX162" fmla="*/ 312867 w 2048870"/>
                <a:gd name="connsiteY162" fmla="*/ 1071697 h 1413227"/>
                <a:gd name="connsiteX163" fmla="*/ 338795 w 2048870"/>
                <a:gd name="connsiteY163" fmla="*/ 1078611 h 1413227"/>
                <a:gd name="connsiteX164" fmla="*/ 361266 w 2048870"/>
                <a:gd name="connsiteY164" fmla="*/ 1075154 h 1413227"/>
                <a:gd name="connsiteX165" fmla="*/ 362995 w 2048870"/>
                <a:gd name="connsiteY165" fmla="*/ 1068240 h 1413227"/>
                <a:gd name="connsiteX166" fmla="*/ 373366 w 2048870"/>
                <a:gd name="connsiteY166" fmla="*/ 1050955 h 1413227"/>
                <a:gd name="connsiteX167" fmla="*/ 378552 w 2048870"/>
                <a:gd name="connsiteY167" fmla="*/ 1045769 h 1413227"/>
                <a:gd name="connsiteX168" fmla="*/ 397566 w 2048870"/>
                <a:gd name="connsiteY168" fmla="*/ 1038855 h 1413227"/>
                <a:gd name="connsiteX169" fmla="*/ 432137 w 2048870"/>
                <a:gd name="connsiteY169" fmla="*/ 1035398 h 1413227"/>
                <a:gd name="connsiteX170" fmla="*/ 444236 w 2048870"/>
                <a:gd name="connsiteY170" fmla="*/ 1031941 h 1413227"/>
                <a:gd name="connsiteX171" fmla="*/ 447693 w 2048870"/>
                <a:gd name="connsiteY171" fmla="*/ 1025026 h 1413227"/>
                <a:gd name="connsiteX172" fmla="*/ 452879 w 2048870"/>
                <a:gd name="connsiteY172" fmla="*/ 1021569 h 1413227"/>
                <a:gd name="connsiteX173" fmla="*/ 468436 w 2048870"/>
                <a:gd name="connsiteY173" fmla="*/ 1011198 h 1413227"/>
                <a:gd name="connsiteX174" fmla="*/ 473622 w 2048870"/>
                <a:gd name="connsiteY174" fmla="*/ 999098 h 1413227"/>
                <a:gd name="connsiteX175" fmla="*/ 478807 w 2048870"/>
                <a:gd name="connsiteY175" fmla="*/ 986998 h 1413227"/>
                <a:gd name="connsiteX176" fmla="*/ 485721 w 2048870"/>
                <a:gd name="connsiteY176" fmla="*/ 980084 h 1413227"/>
                <a:gd name="connsiteX177" fmla="*/ 489178 w 2048870"/>
                <a:gd name="connsiteY177" fmla="*/ 974899 h 1413227"/>
                <a:gd name="connsiteX178" fmla="*/ 511650 w 2048870"/>
                <a:gd name="connsiteY178" fmla="*/ 955885 h 1413227"/>
                <a:gd name="connsiteX179" fmla="*/ 530664 w 2048870"/>
                <a:gd name="connsiteY179" fmla="*/ 947242 h 1413227"/>
                <a:gd name="connsiteX180" fmla="*/ 537578 w 2048870"/>
                <a:gd name="connsiteY180" fmla="*/ 933414 h 1413227"/>
                <a:gd name="connsiteX181" fmla="*/ 539306 w 2048870"/>
                <a:gd name="connsiteY181" fmla="*/ 928228 h 1413227"/>
                <a:gd name="connsiteX182" fmla="*/ 541035 w 2048870"/>
                <a:gd name="connsiteY182" fmla="*/ 921314 h 1413227"/>
                <a:gd name="connsiteX183" fmla="*/ 563506 w 2048870"/>
                <a:gd name="connsiteY183" fmla="*/ 917857 h 1413227"/>
                <a:gd name="connsiteX184" fmla="*/ 568692 w 2048870"/>
                <a:gd name="connsiteY184" fmla="*/ 916128 h 1413227"/>
                <a:gd name="connsiteX185" fmla="*/ 584248 w 2048870"/>
                <a:gd name="connsiteY185" fmla="*/ 914400 h 1413227"/>
                <a:gd name="connsiteX186" fmla="*/ 589434 w 2048870"/>
                <a:gd name="connsiteY186" fmla="*/ 910942 h 1413227"/>
                <a:gd name="connsiteX187" fmla="*/ 599805 w 2048870"/>
                <a:gd name="connsiteY187" fmla="*/ 905757 h 1413227"/>
                <a:gd name="connsiteX188" fmla="*/ 604991 w 2048870"/>
                <a:gd name="connsiteY188" fmla="*/ 900571 h 1413227"/>
                <a:gd name="connsiteX189" fmla="*/ 606719 w 2048870"/>
                <a:gd name="connsiteY189" fmla="*/ 895386 h 1413227"/>
                <a:gd name="connsiteX190" fmla="*/ 615362 w 2048870"/>
                <a:gd name="connsiteY190" fmla="*/ 891928 h 1413227"/>
                <a:gd name="connsiteX191" fmla="*/ 620548 w 2048870"/>
                <a:gd name="connsiteY191" fmla="*/ 886743 h 1413227"/>
                <a:gd name="connsiteX192" fmla="*/ 639562 w 2048870"/>
                <a:gd name="connsiteY192" fmla="*/ 879829 h 1413227"/>
                <a:gd name="connsiteX193" fmla="*/ 653390 w 2048870"/>
                <a:gd name="connsiteY193" fmla="*/ 883286 h 1413227"/>
                <a:gd name="connsiteX194" fmla="*/ 660304 w 2048870"/>
                <a:gd name="connsiteY194" fmla="*/ 885014 h 1413227"/>
                <a:gd name="connsiteX195" fmla="*/ 668947 w 2048870"/>
                <a:gd name="connsiteY195" fmla="*/ 886743 h 1413227"/>
                <a:gd name="connsiteX196" fmla="*/ 675861 w 2048870"/>
                <a:gd name="connsiteY196" fmla="*/ 890200 h 1413227"/>
                <a:gd name="connsiteX197" fmla="*/ 682775 w 2048870"/>
                <a:gd name="connsiteY197" fmla="*/ 891928 h 1413227"/>
                <a:gd name="connsiteX198" fmla="*/ 687961 w 2048870"/>
                <a:gd name="connsiteY198" fmla="*/ 895386 h 1413227"/>
                <a:gd name="connsiteX199" fmla="*/ 700061 w 2048870"/>
                <a:gd name="connsiteY199" fmla="*/ 898843 h 1413227"/>
                <a:gd name="connsiteX200" fmla="*/ 706975 w 2048870"/>
                <a:gd name="connsiteY200" fmla="*/ 904028 h 1413227"/>
                <a:gd name="connsiteX201" fmla="*/ 720803 w 2048870"/>
                <a:gd name="connsiteY201" fmla="*/ 907485 h 1413227"/>
                <a:gd name="connsiteX202" fmla="*/ 727718 w 2048870"/>
                <a:gd name="connsiteY202" fmla="*/ 905757 h 1413227"/>
                <a:gd name="connsiteX203" fmla="*/ 736360 w 2048870"/>
                <a:gd name="connsiteY203" fmla="*/ 904028 h 1413227"/>
                <a:gd name="connsiteX204" fmla="*/ 738089 w 2048870"/>
                <a:gd name="connsiteY204" fmla="*/ 910942 h 1413227"/>
                <a:gd name="connsiteX205" fmla="*/ 760560 w 2048870"/>
                <a:gd name="connsiteY205" fmla="*/ 904028 h 1413227"/>
                <a:gd name="connsiteX206" fmla="*/ 770931 w 2048870"/>
                <a:gd name="connsiteY206" fmla="*/ 895386 h 1413227"/>
                <a:gd name="connsiteX207" fmla="*/ 776117 w 2048870"/>
                <a:gd name="connsiteY207" fmla="*/ 909214 h 1413227"/>
                <a:gd name="connsiteX208" fmla="*/ 783031 w 2048870"/>
                <a:gd name="connsiteY208" fmla="*/ 914400 h 1413227"/>
                <a:gd name="connsiteX209" fmla="*/ 788217 w 2048870"/>
                <a:gd name="connsiteY209" fmla="*/ 919585 h 1413227"/>
                <a:gd name="connsiteX210" fmla="*/ 793402 w 2048870"/>
                <a:gd name="connsiteY210" fmla="*/ 923042 h 1413227"/>
                <a:gd name="connsiteX211" fmla="*/ 798588 w 2048870"/>
                <a:gd name="connsiteY211" fmla="*/ 928228 h 1413227"/>
                <a:gd name="connsiteX212" fmla="*/ 815873 w 2048870"/>
                <a:gd name="connsiteY212" fmla="*/ 935142 h 1413227"/>
                <a:gd name="connsiteX213" fmla="*/ 821059 w 2048870"/>
                <a:gd name="connsiteY213" fmla="*/ 926499 h 1413227"/>
                <a:gd name="connsiteX214" fmla="*/ 824516 w 2048870"/>
                <a:gd name="connsiteY214" fmla="*/ 910942 h 1413227"/>
                <a:gd name="connsiteX215" fmla="*/ 833159 w 2048870"/>
                <a:gd name="connsiteY215" fmla="*/ 912671 h 1413227"/>
                <a:gd name="connsiteX216" fmla="*/ 838344 w 2048870"/>
                <a:gd name="connsiteY216" fmla="*/ 926499 h 1413227"/>
                <a:gd name="connsiteX217" fmla="*/ 841802 w 2048870"/>
                <a:gd name="connsiteY217" fmla="*/ 929956 h 1413227"/>
                <a:gd name="connsiteX218" fmla="*/ 850444 w 2048870"/>
                <a:gd name="connsiteY218" fmla="*/ 948970 h 1413227"/>
                <a:gd name="connsiteX219" fmla="*/ 853901 w 2048870"/>
                <a:gd name="connsiteY219" fmla="*/ 954156 h 1413227"/>
                <a:gd name="connsiteX220" fmla="*/ 859087 w 2048870"/>
                <a:gd name="connsiteY220" fmla="*/ 988727 h 1413227"/>
                <a:gd name="connsiteX221" fmla="*/ 864273 w 2048870"/>
                <a:gd name="connsiteY221" fmla="*/ 1009469 h 1413227"/>
                <a:gd name="connsiteX222" fmla="*/ 878101 w 2048870"/>
                <a:gd name="connsiteY222" fmla="*/ 1012927 h 1413227"/>
                <a:gd name="connsiteX223" fmla="*/ 885015 w 2048870"/>
                <a:gd name="connsiteY223" fmla="*/ 1016384 h 1413227"/>
                <a:gd name="connsiteX224" fmla="*/ 888472 w 2048870"/>
                <a:gd name="connsiteY224" fmla="*/ 1021569 h 1413227"/>
                <a:gd name="connsiteX225" fmla="*/ 900572 w 2048870"/>
                <a:gd name="connsiteY225" fmla="*/ 1026755 h 1413227"/>
                <a:gd name="connsiteX226" fmla="*/ 905758 w 2048870"/>
                <a:gd name="connsiteY226" fmla="*/ 1033669 h 1413227"/>
                <a:gd name="connsiteX227" fmla="*/ 909215 w 2048870"/>
                <a:gd name="connsiteY227" fmla="*/ 1040583 h 1413227"/>
                <a:gd name="connsiteX228" fmla="*/ 912672 w 2048870"/>
                <a:gd name="connsiteY228" fmla="*/ 1045769 h 1413227"/>
                <a:gd name="connsiteX229" fmla="*/ 921315 w 2048870"/>
                <a:gd name="connsiteY229" fmla="*/ 1061326 h 1413227"/>
                <a:gd name="connsiteX230" fmla="*/ 928229 w 2048870"/>
                <a:gd name="connsiteY230" fmla="*/ 1082068 h 1413227"/>
                <a:gd name="connsiteX231" fmla="*/ 929957 w 2048870"/>
                <a:gd name="connsiteY231" fmla="*/ 1088983 h 1413227"/>
                <a:gd name="connsiteX232" fmla="*/ 940329 w 2048870"/>
                <a:gd name="connsiteY232" fmla="*/ 1095897 h 1413227"/>
                <a:gd name="connsiteX233" fmla="*/ 959343 w 2048870"/>
                <a:gd name="connsiteY233" fmla="*/ 1097625 h 1413227"/>
                <a:gd name="connsiteX234" fmla="*/ 967985 w 2048870"/>
                <a:gd name="connsiteY234" fmla="*/ 1101082 h 1413227"/>
                <a:gd name="connsiteX235" fmla="*/ 973171 w 2048870"/>
                <a:gd name="connsiteY235" fmla="*/ 1106268 h 1413227"/>
                <a:gd name="connsiteX236" fmla="*/ 978357 w 2048870"/>
                <a:gd name="connsiteY236" fmla="*/ 1109725 h 1413227"/>
                <a:gd name="connsiteX237" fmla="*/ 983542 w 2048870"/>
                <a:gd name="connsiteY237" fmla="*/ 1118368 h 1413227"/>
                <a:gd name="connsiteX238" fmla="*/ 985271 w 2048870"/>
                <a:gd name="connsiteY238" fmla="*/ 1132196 h 1413227"/>
                <a:gd name="connsiteX239" fmla="*/ 992185 w 2048870"/>
                <a:gd name="connsiteY239" fmla="*/ 1139110 h 1413227"/>
                <a:gd name="connsiteX240" fmla="*/ 1006013 w 2048870"/>
                <a:gd name="connsiteY240" fmla="*/ 1147753 h 1413227"/>
                <a:gd name="connsiteX241" fmla="*/ 1019842 w 2048870"/>
                <a:gd name="connsiteY241" fmla="*/ 1165038 h 1413227"/>
                <a:gd name="connsiteX242" fmla="*/ 1012927 w 2048870"/>
                <a:gd name="connsiteY242" fmla="*/ 1168496 h 1413227"/>
                <a:gd name="connsiteX243" fmla="*/ 1009470 w 2048870"/>
                <a:gd name="connsiteY243" fmla="*/ 1173681 h 1413227"/>
                <a:gd name="connsiteX244" fmla="*/ 997371 w 2048870"/>
                <a:gd name="connsiteY244" fmla="*/ 1177138 h 1413227"/>
                <a:gd name="connsiteX245" fmla="*/ 990456 w 2048870"/>
                <a:gd name="connsiteY245" fmla="*/ 1182324 h 1413227"/>
                <a:gd name="connsiteX246" fmla="*/ 973171 w 2048870"/>
                <a:gd name="connsiteY246" fmla="*/ 1182324 h 1413227"/>
                <a:gd name="connsiteX247" fmla="*/ 971442 w 2048870"/>
                <a:gd name="connsiteY247" fmla="*/ 1161581 h 1413227"/>
                <a:gd name="connsiteX248" fmla="*/ 962800 w 2048870"/>
                <a:gd name="connsiteY248" fmla="*/ 1171953 h 1413227"/>
                <a:gd name="connsiteX249" fmla="*/ 959343 w 2048870"/>
                <a:gd name="connsiteY249" fmla="*/ 1178867 h 1413227"/>
                <a:gd name="connsiteX250" fmla="*/ 955885 w 2048870"/>
                <a:gd name="connsiteY250" fmla="*/ 1184052 h 1413227"/>
                <a:gd name="connsiteX251" fmla="*/ 947243 w 2048870"/>
                <a:gd name="connsiteY251" fmla="*/ 1187510 h 1413227"/>
                <a:gd name="connsiteX252" fmla="*/ 940329 w 2048870"/>
                <a:gd name="connsiteY252" fmla="*/ 1190967 h 1413227"/>
                <a:gd name="connsiteX253" fmla="*/ 935143 w 2048870"/>
                <a:gd name="connsiteY253" fmla="*/ 1189238 h 1413227"/>
                <a:gd name="connsiteX254" fmla="*/ 929957 w 2048870"/>
                <a:gd name="connsiteY254" fmla="*/ 1171953 h 1413227"/>
                <a:gd name="connsiteX255" fmla="*/ 926500 w 2048870"/>
                <a:gd name="connsiteY255" fmla="*/ 1165038 h 1413227"/>
                <a:gd name="connsiteX256" fmla="*/ 921315 w 2048870"/>
                <a:gd name="connsiteY256" fmla="*/ 1178867 h 1413227"/>
                <a:gd name="connsiteX257" fmla="*/ 917857 w 2048870"/>
                <a:gd name="connsiteY257" fmla="*/ 1182324 h 1413227"/>
                <a:gd name="connsiteX258" fmla="*/ 914400 w 2048870"/>
                <a:gd name="connsiteY258" fmla="*/ 1194424 h 1413227"/>
                <a:gd name="connsiteX259" fmla="*/ 909215 w 2048870"/>
                <a:gd name="connsiteY259" fmla="*/ 1199609 h 1413227"/>
                <a:gd name="connsiteX260" fmla="*/ 886744 w 2048870"/>
                <a:gd name="connsiteY260" fmla="*/ 1180595 h 1413227"/>
                <a:gd name="connsiteX261" fmla="*/ 883287 w 2048870"/>
                <a:gd name="connsiteY261" fmla="*/ 1189238 h 1413227"/>
                <a:gd name="connsiteX262" fmla="*/ 879830 w 2048870"/>
                <a:gd name="connsiteY262" fmla="*/ 1194424 h 1413227"/>
                <a:gd name="connsiteX263" fmla="*/ 874644 w 2048870"/>
                <a:gd name="connsiteY263" fmla="*/ 1204795 h 1413227"/>
                <a:gd name="connsiteX264" fmla="*/ 879830 w 2048870"/>
                <a:gd name="connsiteY264" fmla="*/ 1211709 h 1413227"/>
                <a:gd name="connsiteX265" fmla="*/ 890201 w 2048870"/>
                <a:gd name="connsiteY265" fmla="*/ 1215166 h 1413227"/>
                <a:gd name="connsiteX266" fmla="*/ 893658 w 2048870"/>
                <a:gd name="connsiteY266" fmla="*/ 1235909 h 1413227"/>
                <a:gd name="connsiteX267" fmla="*/ 891929 w 2048870"/>
                <a:gd name="connsiteY267" fmla="*/ 1258380 h 1413227"/>
                <a:gd name="connsiteX268" fmla="*/ 890201 w 2048870"/>
                <a:gd name="connsiteY268" fmla="*/ 1263565 h 1413227"/>
                <a:gd name="connsiteX269" fmla="*/ 878101 w 2048870"/>
                <a:gd name="connsiteY269" fmla="*/ 1275665 h 1413227"/>
                <a:gd name="connsiteX270" fmla="*/ 871187 w 2048870"/>
                <a:gd name="connsiteY270" fmla="*/ 1282579 h 1413227"/>
                <a:gd name="connsiteX271" fmla="*/ 876372 w 2048870"/>
                <a:gd name="connsiteY271" fmla="*/ 1287765 h 1413227"/>
                <a:gd name="connsiteX272" fmla="*/ 874644 w 2048870"/>
                <a:gd name="connsiteY272" fmla="*/ 1306779 h 1413227"/>
                <a:gd name="connsiteX273" fmla="*/ 869458 w 2048870"/>
                <a:gd name="connsiteY273" fmla="*/ 1308508 h 1413227"/>
                <a:gd name="connsiteX274" fmla="*/ 864273 w 2048870"/>
                <a:gd name="connsiteY274" fmla="*/ 1320607 h 1413227"/>
                <a:gd name="connsiteX275" fmla="*/ 858371 w 2048870"/>
                <a:gd name="connsiteY275" fmla="*/ 1338987 h 1413227"/>
                <a:gd name="connsiteX276" fmla="*/ 862544 w 2048870"/>
                <a:gd name="connsiteY276" fmla="*/ 1360364 h 1413227"/>
                <a:gd name="connsiteX277" fmla="*/ 857358 w 2048870"/>
                <a:gd name="connsiteY277" fmla="*/ 1363821 h 1413227"/>
                <a:gd name="connsiteX278" fmla="*/ 852173 w 2048870"/>
                <a:gd name="connsiteY278" fmla="*/ 1365550 h 1413227"/>
                <a:gd name="connsiteX279" fmla="*/ 850444 w 2048870"/>
                <a:gd name="connsiteY279" fmla="*/ 1370735 h 1413227"/>
                <a:gd name="connsiteX280" fmla="*/ 838344 w 2048870"/>
                <a:gd name="connsiteY280" fmla="*/ 1379378 h 1413227"/>
                <a:gd name="connsiteX281" fmla="*/ 841802 w 2048870"/>
                <a:gd name="connsiteY281" fmla="*/ 1389749 h 1413227"/>
                <a:gd name="connsiteX282" fmla="*/ 840497 w 2048870"/>
                <a:gd name="connsiteY282" fmla="*/ 1405535 h 1413227"/>
                <a:gd name="connsiteX283" fmla="*/ 835505 w 2048870"/>
                <a:gd name="connsiteY283" fmla="*/ 1401197 h 1413227"/>
                <a:gd name="connsiteX284" fmla="*/ 854324 w 2048870"/>
                <a:gd name="connsiteY284" fmla="*/ 1410492 h 1413227"/>
                <a:gd name="connsiteX285" fmla="*/ 885015 w 2048870"/>
                <a:gd name="connsiteY285" fmla="*/ 1408763 h 1413227"/>
                <a:gd name="connsiteX286" fmla="*/ 890201 w 2048870"/>
                <a:gd name="connsiteY286" fmla="*/ 1413103 h 1413227"/>
                <a:gd name="connsiteX287" fmla="*/ 921633 w 2048870"/>
                <a:gd name="connsiteY287" fmla="*/ 1403013 h 1413227"/>
                <a:gd name="connsiteX288" fmla="*/ 932427 w 2048870"/>
                <a:gd name="connsiteY288" fmla="*/ 1394371 h 1413227"/>
                <a:gd name="connsiteX289" fmla="*/ 933873 w 2048870"/>
                <a:gd name="connsiteY289" fmla="*/ 1386010 h 1413227"/>
                <a:gd name="connsiteX290" fmla="*/ 943362 w 2048870"/>
                <a:gd name="connsiteY290" fmla="*/ 1367278 h 1413227"/>
                <a:gd name="connsiteX291" fmla="*/ 943786 w 2048870"/>
                <a:gd name="connsiteY291" fmla="*/ 1362093 h 1413227"/>
                <a:gd name="connsiteX292" fmla="*/ 954157 w 2048870"/>
                <a:gd name="connsiteY292" fmla="*/ 1360364 h 1413227"/>
                <a:gd name="connsiteX293" fmla="*/ 993913 w 2048870"/>
                <a:gd name="connsiteY293" fmla="*/ 1356907 h 1413227"/>
                <a:gd name="connsiteX294" fmla="*/ 997371 w 2048870"/>
                <a:gd name="connsiteY294" fmla="*/ 1349993 h 1413227"/>
                <a:gd name="connsiteX295" fmla="*/ 1009470 w 2048870"/>
                <a:gd name="connsiteY295" fmla="*/ 1344807 h 1413227"/>
                <a:gd name="connsiteX296" fmla="*/ 997371 w 2048870"/>
                <a:gd name="connsiteY296" fmla="*/ 1334436 h 1413227"/>
                <a:gd name="connsiteX297" fmla="*/ 993913 w 2048870"/>
                <a:gd name="connsiteY297" fmla="*/ 1327522 h 1413227"/>
                <a:gd name="connsiteX298" fmla="*/ 988728 w 2048870"/>
                <a:gd name="connsiteY298" fmla="*/ 1322336 h 1413227"/>
                <a:gd name="connsiteX299" fmla="*/ 985271 w 2048870"/>
                <a:gd name="connsiteY299" fmla="*/ 1310236 h 1413227"/>
                <a:gd name="connsiteX300" fmla="*/ 981814 w 2048870"/>
                <a:gd name="connsiteY300" fmla="*/ 1299865 h 1413227"/>
                <a:gd name="connsiteX301" fmla="*/ 990456 w 2048870"/>
                <a:gd name="connsiteY301" fmla="*/ 1287765 h 1413227"/>
                <a:gd name="connsiteX302" fmla="*/ 992185 w 2048870"/>
                <a:gd name="connsiteY302" fmla="*/ 1292951 h 1413227"/>
                <a:gd name="connsiteX303" fmla="*/ 1014656 w 2048870"/>
                <a:gd name="connsiteY303" fmla="*/ 1299865 h 1413227"/>
                <a:gd name="connsiteX304" fmla="*/ 1016385 w 2048870"/>
                <a:gd name="connsiteY304" fmla="*/ 1294679 h 1413227"/>
                <a:gd name="connsiteX305" fmla="*/ 1018113 w 2048870"/>
                <a:gd name="connsiteY305" fmla="*/ 1284308 h 1413227"/>
                <a:gd name="connsiteX306" fmla="*/ 1031941 w 2048870"/>
                <a:gd name="connsiteY306" fmla="*/ 1270480 h 1413227"/>
                <a:gd name="connsiteX307" fmla="*/ 1037127 w 2048870"/>
                <a:gd name="connsiteY307" fmla="*/ 1265294 h 1413227"/>
                <a:gd name="connsiteX308" fmla="*/ 1038856 w 2048870"/>
                <a:gd name="connsiteY308" fmla="*/ 1260108 h 1413227"/>
                <a:gd name="connsiteX309" fmla="*/ 1054412 w 2048870"/>
                <a:gd name="connsiteY309" fmla="*/ 1251466 h 1413227"/>
                <a:gd name="connsiteX310" fmla="*/ 1063055 w 2048870"/>
                <a:gd name="connsiteY310" fmla="*/ 1242823 h 1413227"/>
                <a:gd name="connsiteX311" fmla="*/ 1068241 w 2048870"/>
                <a:gd name="connsiteY311" fmla="*/ 1223809 h 1413227"/>
                <a:gd name="connsiteX312" fmla="*/ 1069969 w 2048870"/>
                <a:gd name="connsiteY312" fmla="*/ 1215166 h 1413227"/>
                <a:gd name="connsiteX313" fmla="*/ 1075155 w 2048870"/>
                <a:gd name="connsiteY313" fmla="*/ 1201338 h 1413227"/>
                <a:gd name="connsiteX314" fmla="*/ 1080341 w 2048870"/>
                <a:gd name="connsiteY314" fmla="*/ 1175410 h 1413227"/>
                <a:gd name="connsiteX315" fmla="*/ 1082069 w 2048870"/>
                <a:gd name="connsiteY315" fmla="*/ 1170224 h 1413227"/>
                <a:gd name="connsiteX316" fmla="*/ 1083798 w 2048870"/>
                <a:gd name="connsiteY316" fmla="*/ 1161581 h 1413227"/>
                <a:gd name="connsiteX317" fmla="*/ 1085526 w 2048870"/>
                <a:gd name="connsiteY317" fmla="*/ 1156396 h 1413227"/>
                <a:gd name="connsiteX318" fmla="*/ 1087255 w 2048870"/>
                <a:gd name="connsiteY318" fmla="*/ 1147753 h 1413227"/>
                <a:gd name="connsiteX319" fmla="*/ 1097626 w 2048870"/>
                <a:gd name="connsiteY319" fmla="*/ 1128739 h 1413227"/>
                <a:gd name="connsiteX320" fmla="*/ 1099355 w 2048870"/>
                <a:gd name="connsiteY320" fmla="*/ 1111454 h 1413227"/>
                <a:gd name="connsiteX321" fmla="*/ 1106269 w 2048870"/>
                <a:gd name="connsiteY321" fmla="*/ 1097625 h 1413227"/>
                <a:gd name="connsiteX322" fmla="*/ 1111454 w 2048870"/>
                <a:gd name="connsiteY322" fmla="*/ 1095897 h 1413227"/>
                <a:gd name="connsiteX323" fmla="*/ 1127011 w 2048870"/>
                <a:gd name="connsiteY323" fmla="*/ 1094168 h 1413227"/>
                <a:gd name="connsiteX324" fmla="*/ 1132197 w 2048870"/>
                <a:gd name="connsiteY324" fmla="*/ 1088983 h 1413227"/>
                <a:gd name="connsiteX325" fmla="*/ 1166768 w 2048870"/>
                <a:gd name="connsiteY325" fmla="*/ 1083797 h 1413227"/>
                <a:gd name="connsiteX326" fmla="*/ 1175411 w 2048870"/>
                <a:gd name="connsiteY326" fmla="*/ 1073426 h 1413227"/>
                <a:gd name="connsiteX327" fmla="*/ 1177139 w 2048870"/>
                <a:gd name="connsiteY327" fmla="*/ 1061326 h 1413227"/>
                <a:gd name="connsiteX328" fmla="*/ 1170225 w 2048870"/>
                <a:gd name="connsiteY328" fmla="*/ 1047497 h 1413227"/>
                <a:gd name="connsiteX329" fmla="*/ 1163311 w 2048870"/>
                <a:gd name="connsiteY329" fmla="*/ 1050955 h 1413227"/>
                <a:gd name="connsiteX330" fmla="*/ 1166768 w 2048870"/>
                <a:gd name="connsiteY330" fmla="*/ 1068240 h 1413227"/>
                <a:gd name="connsiteX331" fmla="*/ 1170225 w 2048870"/>
                <a:gd name="connsiteY331" fmla="*/ 1076883 h 1413227"/>
                <a:gd name="connsiteX332" fmla="*/ 1182325 w 2048870"/>
                <a:gd name="connsiteY332" fmla="*/ 1080340 h 1413227"/>
                <a:gd name="connsiteX333" fmla="*/ 1206524 w 2048870"/>
                <a:gd name="connsiteY333" fmla="*/ 1078611 h 1413227"/>
                <a:gd name="connsiteX334" fmla="*/ 1211710 w 2048870"/>
                <a:gd name="connsiteY334" fmla="*/ 1073426 h 1413227"/>
                <a:gd name="connsiteX335" fmla="*/ 1218624 w 2048870"/>
                <a:gd name="connsiteY335" fmla="*/ 1057869 h 1413227"/>
                <a:gd name="connsiteX336" fmla="*/ 1220353 w 2048870"/>
                <a:gd name="connsiteY336" fmla="*/ 1044040 h 1413227"/>
                <a:gd name="connsiteX337" fmla="*/ 1218624 w 2048870"/>
                <a:gd name="connsiteY337" fmla="*/ 1014655 h 1413227"/>
                <a:gd name="connsiteX338" fmla="*/ 1211710 w 2048870"/>
                <a:gd name="connsiteY338" fmla="*/ 997370 h 1413227"/>
                <a:gd name="connsiteX339" fmla="*/ 1206524 w 2048870"/>
                <a:gd name="connsiteY339" fmla="*/ 993913 h 1413227"/>
                <a:gd name="connsiteX340" fmla="*/ 1184053 w 2048870"/>
                <a:gd name="connsiteY340" fmla="*/ 973170 h 1413227"/>
                <a:gd name="connsiteX341" fmla="*/ 1173682 w 2048870"/>
                <a:gd name="connsiteY341" fmla="*/ 962799 h 1413227"/>
                <a:gd name="connsiteX342" fmla="*/ 1168496 w 2048870"/>
                <a:gd name="connsiteY342" fmla="*/ 957613 h 1413227"/>
                <a:gd name="connsiteX343" fmla="*/ 1171954 w 2048870"/>
                <a:gd name="connsiteY343" fmla="*/ 961070 h 1413227"/>
                <a:gd name="connsiteX344" fmla="*/ 1178868 w 2048870"/>
                <a:gd name="connsiteY344" fmla="*/ 971441 h 1413227"/>
                <a:gd name="connsiteX345" fmla="*/ 1185782 w 2048870"/>
                <a:gd name="connsiteY345" fmla="*/ 980084 h 1413227"/>
                <a:gd name="connsiteX346" fmla="*/ 1190968 w 2048870"/>
                <a:gd name="connsiteY346" fmla="*/ 985270 h 1413227"/>
                <a:gd name="connsiteX347" fmla="*/ 1194425 w 2048870"/>
                <a:gd name="connsiteY347" fmla="*/ 993913 h 1413227"/>
                <a:gd name="connsiteX348" fmla="*/ 1206524 w 2048870"/>
                <a:gd name="connsiteY348" fmla="*/ 1007741 h 1413227"/>
                <a:gd name="connsiteX349" fmla="*/ 1208253 w 2048870"/>
                <a:gd name="connsiteY349" fmla="*/ 1014655 h 1413227"/>
                <a:gd name="connsiteX350" fmla="*/ 1211710 w 2048870"/>
                <a:gd name="connsiteY350" fmla="*/ 1023298 h 1413227"/>
                <a:gd name="connsiteX351" fmla="*/ 1213439 w 2048870"/>
                <a:gd name="connsiteY351" fmla="*/ 1035398 h 1413227"/>
                <a:gd name="connsiteX352" fmla="*/ 1215167 w 2048870"/>
                <a:gd name="connsiteY352" fmla="*/ 1044040 h 1413227"/>
                <a:gd name="connsiteX353" fmla="*/ 1220353 w 2048870"/>
                <a:gd name="connsiteY353" fmla="*/ 1045769 h 1413227"/>
                <a:gd name="connsiteX354" fmla="*/ 1223810 w 2048870"/>
                <a:gd name="connsiteY354" fmla="*/ 1050955 h 1413227"/>
                <a:gd name="connsiteX355" fmla="*/ 1234181 w 2048870"/>
                <a:gd name="connsiteY355" fmla="*/ 1063054 h 1413227"/>
                <a:gd name="connsiteX356" fmla="*/ 1253195 w 2048870"/>
                <a:gd name="connsiteY356" fmla="*/ 1057869 h 1413227"/>
                <a:gd name="connsiteX357" fmla="*/ 1258381 w 2048870"/>
                <a:gd name="connsiteY357" fmla="*/ 1054412 h 1413227"/>
                <a:gd name="connsiteX358" fmla="*/ 1265295 w 2048870"/>
                <a:gd name="connsiteY358" fmla="*/ 1050955 h 1413227"/>
                <a:gd name="connsiteX359" fmla="*/ 1267023 w 2048870"/>
                <a:gd name="connsiteY359" fmla="*/ 1056140 h 1413227"/>
                <a:gd name="connsiteX360" fmla="*/ 1268752 w 2048870"/>
                <a:gd name="connsiteY360" fmla="*/ 1068240 h 1413227"/>
                <a:gd name="connsiteX361" fmla="*/ 1279123 w 2048870"/>
                <a:gd name="connsiteY361" fmla="*/ 1064783 h 1413227"/>
                <a:gd name="connsiteX362" fmla="*/ 1289495 w 2048870"/>
                <a:gd name="connsiteY362" fmla="*/ 1056140 h 1413227"/>
                <a:gd name="connsiteX363" fmla="*/ 1299866 w 2048870"/>
                <a:gd name="connsiteY363" fmla="*/ 1045769 h 1413227"/>
                <a:gd name="connsiteX364" fmla="*/ 1305051 w 2048870"/>
                <a:gd name="connsiteY364" fmla="*/ 1042312 h 1413227"/>
                <a:gd name="connsiteX365" fmla="*/ 1294680 w 2048870"/>
                <a:gd name="connsiteY365" fmla="*/ 1061326 h 1413227"/>
                <a:gd name="connsiteX366" fmla="*/ 1286037 w 2048870"/>
                <a:gd name="connsiteY366" fmla="*/ 1075154 h 1413227"/>
                <a:gd name="connsiteX367" fmla="*/ 1272209 w 2048870"/>
                <a:gd name="connsiteY367" fmla="*/ 1082068 h 1413227"/>
                <a:gd name="connsiteX368" fmla="*/ 1265295 w 2048870"/>
                <a:gd name="connsiteY368" fmla="*/ 1085525 h 1413227"/>
                <a:gd name="connsiteX369" fmla="*/ 1260109 w 2048870"/>
                <a:gd name="connsiteY369" fmla="*/ 1087254 h 1413227"/>
                <a:gd name="connsiteX370" fmla="*/ 1251467 w 2048870"/>
                <a:gd name="connsiteY370" fmla="*/ 1092440 h 1413227"/>
                <a:gd name="connsiteX371" fmla="*/ 1232453 w 2048870"/>
                <a:gd name="connsiteY371" fmla="*/ 1095897 h 1413227"/>
                <a:gd name="connsiteX372" fmla="*/ 1230724 w 2048870"/>
                <a:gd name="connsiteY372" fmla="*/ 1121825 h 1413227"/>
                <a:gd name="connsiteX373" fmla="*/ 1223810 w 2048870"/>
                <a:gd name="connsiteY373" fmla="*/ 1128739 h 1413227"/>
                <a:gd name="connsiteX374" fmla="*/ 1216896 w 2048870"/>
                <a:gd name="connsiteY374" fmla="*/ 1130468 h 1413227"/>
                <a:gd name="connsiteX375" fmla="*/ 1248009 w 2048870"/>
                <a:gd name="connsiteY375" fmla="*/ 1123553 h 1413227"/>
                <a:gd name="connsiteX376" fmla="*/ 1275666 w 2048870"/>
                <a:gd name="connsiteY376" fmla="*/ 1125282 h 1413227"/>
                <a:gd name="connsiteX377" fmla="*/ 1282580 w 2048870"/>
                <a:gd name="connsiteY377" fmla="*/ 1128739 h 1413227"/>
                <a:gd name="connsiteX378" fmla="*/ 1318880 w 2048870"/>
                <a:gd name="connsiteY378" fmla="*/ 1127010 h 1413227"/>
                <a:gd name="connsiteX379" fmla="*/ 1330980 w 2048870"/>
                <a:gd name="connsiteY379" fmla="*/ 1123553 h 1413227"/>
                <a:gd name="connsiteX380" fmla="*/ 1339622 w 2048870"/>
                <a:gd name="connsiteY380" fmla="*/ 1118368 h 1413227"/>
                <a:gd name="connsiteX381" fmla="*/ 1356908 w 2048870"/>
                <a:gd name="connsiteY381" fmla="*/ 1123553 h 1413227"/>
                <a:gd name="connsiteX382" fmla="*/ 1384564 w 2048870"/>
                <a:gd name="connsiteY382" fmla="*/ 1114911 h 1413227"/>
                <a:gd name="connsiteX383" fmla="*/ 1391479 w 2048870"/>
                <a:gd name="connsiteY383" fmla="*/ 1109725 h 1413227"/>
                <a:gd name="connsiteX384" fmla="*/ 1400121 w 2048870"/>
                <a:gd name="connsiteY384" fmla="*/ 1095897 h 1413227"/>
                <a:gd name="connsiteX385" fmla="*/ 1403578 w 2048870"/>
                <a:gd name="connsiteY385" fmla="*/ 1090711 h 1413227"/>
                <a:gd name="connsiteX386" fmla="*/ 1408764 w 2048870"/>
                <a:gd name="connsiteY386" fmla="*/ 1088983 h 1413227"/>
                <a:gd name="connsiteX387" fmla="*/ 1415678 w 2048870"/>
                <a:gd name="connsiteY387" fmla="*/ 1097625 h 1413227"/>
                <a:gd name="connsiteX388" fmla="*/ 1419135 w 2048870"/>
                <a:gd name="connsiteY388" fmla="*/ 1104539 h 1413227"/>
                <a:gd name="connsiteX389" fmla="*/ 1424321 w 2048870"/>
                <a:gd name="connsiteY389" fmla="*/ 1111454 h 1413227"/>
                <a:gd name="connsiteX390" fmla="*/ 1434692 w 2048870"/>
                <a:gd name="connsiteY390" fmla="*/ 1109725 h 1413227"/>
                <a:gd name="connsiteX391" fmla="*/ 1438149 w 2048870"/>
                <a:gd name="connsiteY391" fmla="*/ 1101082 h 1413227"/>
                <a:gd name="connsiteX392" fmla="*/ 1446792 w 2048870"/>
                <a:gd name="connsiteY392" fmla="*/ 1076883 h 1413227"/>
                <a:gd name="connsiteX393" fmla="*/ 1455435 w 2048870"/>
                <a:gd name="connsiteY393" fmla="*/ 1082068 h 1413227"/>
                <a:gd name="connsiteX394" fmla="*/ 1457163 w 2048870"/>
                <a:gd name="connsiteY394" fmla="*/ 1097625 h 1413227"/>
                <a:gd name="connsiteX395" fmla="*/ 1462349 w 2048870"/>
                <a:gd name="connsiteY395" fmla="*/ 1104539 h 1413227"/>
                <a:gd name="connsiteX396" fmla="*/ 1464078 w 2048870"/>
                <a:gd name="connsiteY396" fmla="*/ 1116639 h 1413227"/>
                <a:gd name="connsiteX397" fmla="*/ 1450249 w 2048870"/>
                <a:gd name="connsiteY397" fmla="*/ 1132196 h 1413227"/>
                <a:gd name="connsiteX398" fmla="*/ 1436421 w 2048870"/>
                <a:gd name="connsiteY398" fmla="*/ 1149482 h 1413227"/>
                <a:gd name="connsiteX399" fmla="*/ 1427778 w 2048870"/>
                <a:gd name="connsiteY399" fmla="*/ 1158124 h 1413227"/>
                <a:gd name="connsiteX400" fmla="*/ 1415678 w 2048870"/>
                <a:gd name="connsiteY400" fmla="*/ 1163310 h 1413227"/>
                <a:gd name="connsiteX401" fmla="*/ 1400121 w 2048870"/>
                <a:gd name="connsiteY401" fmla="*/ 1171953 h 1413227"/>
                <a:gd name="connsiteX402" fmla="*/ 1398393 w 2048870"/>
                <a:gd name="connsiteY402" fmla="*/ 1177138 h 1413227"/>
                <a:gd name="connsiteX403" fmla="*/ 1389750 w 2048870"/>
                <a:gd name="connsiteY403" fmla="*/ 1189238 h 1413227"/>
                <a:gd name="connsiteX404" fmla="*/ 1384564 w 2048870"/>
                <a:gd name="connsiteY404" fmla="*/ 1197881 h 1413227"/>
                <a:gd name="connsiteX405" fmla="*/ 1382836 w 2048870"/>
                <a:gd name="connsiteY405" fmla="*/ 1203066 h 1413227"/>
                <a:gd name="connsiteX406" fmla="*/ 1374193 w 2048870"/>
                <a:gd name="connsiteY406" fmla="*/ 1211709 h 1413227"/>
                <a:gd name="connsiteX407" fmla="*/ 1369008 w 2048870"/>
                <a:gd name="connsiteY407" fmla="*/ 1216895 h 1413227"/>
                <a:gd name="connsiteX408" fmla="*/ 1356908 w 2048870"/>
                <a:gd name="connsiteY408" fmla="*/ 1230723 h 1413227"/>
                <a:gd name="connsiteX409" fmla="*/ 1351722 w 2048870"/>
                <a:gd name="connsiteY409" fmla="*/ 1237637 h 1413227"/>
                <a:gd name="connsiteX410" fmla="*/ 1349994 w 2048870"/>
                <a:gd name="connsiteY410" fmla="*/ 1242823 h 1413227"/>
                <a:gd name="connsiteX411" fmla="*/ 1344808 w 2048870"/>
                <a:gd name="connsiteY411" fmla="*/ 1253194 h 1413227"/>
                <a:gd name="connsiteX412" fmla="*/ 1377650 w 2048870"/>
                <a:gd name="connsiteY412" fmla="*/ 1253194 h 1413227"/>
                <a:gd name="connsiteX413" fmla="*/ 1386293 w 2048870"/>
                <a:gd name="connsiteY413" fmla="*/ 1246280 h 1413227"/>
                <a:gd name="connsiteX414" fmla="*/ 1391479 w 2048870"/>
                <a:gd name="connsiteY414" fmla="*/ 1244552 h 1413227"/>
                <a:gd name="connsiteX415" fmla="*/ 1412221 w 2048870"/>
                <a:gd name="connsiteY415" fmla="*/ 1248009 h 1413227"/>
                <a:gd name="connsiteX416" fmla="*/ 1415678 w 2048870"/>
                <a:gd name="connsiteY416" fmla="*/ 1253194 h 1413227"/>
                <a:gd name="connsiteX417" fmla="*/ 1426050 w 2048870"/>
                <a:gd name="connsiteY417" fmla="*/ 1260108 h 1413227"/>
                <a:gd name="connsiteX418" fmla="*/ 1451978 w 2048870"/>
                <a:gd name="connsiteY418" fmla="*/ 1258380 h 1413227"/>
                <a:gd name="connsiteX419" fmla="*/ 1457163 w 2048870"/>
                <a:gd name="connsiteY419" fmla="*/ 1253194 h 1413227"/>
                <a:gd name="connsiteX420" fmla="*/ 1465806 w 2048870"/>
                <a:gd name="connsiteY420" fmla="*/ 1248009 h 1413227"/>
                <a:gd name="connsiteX421" fmla="*/ 1483092 w 2048870"/>
                <a:gd name="connsiteY421" fmla="*/ 1249737 h 1413227"/>
                <a:gd name="connsiteX422" fmla="*/ 1491734 w 2048870"/>
                <a:gd name="connsiteY422" fmla="*/ 1258380 h 1413227"/>
                <a:gd name="connsiteX423" fmla="*/ 1502106 w 2048870"/>
                <a:gd name="connsiteY423" fmla="*/ 1272208 h 1413227"/>
                <a:gd name="connsiteX424" fmla="*/ 1503834 w 2048870"/>
                <a:gd name="connsiteY424" fmla="*/ 1289494 h 1413227"/>
                <a:gd name="connsiteX425" fmla="*/ 1514205 w 2048870"/>
                <a:gd name="connsiteY425" fmla="*/ 1301593 h 1413227"/>
                <a:gd name="connsiteX426" fmla="*/ 1517662 w 2048870"/>
                <a:gd name="connsiteY426" fmla="*/ 1306779 h 1413227"/>
                <a:gd name="connsiteX427" fmla="*/ 1515934 w 2048870"/>
                <a:gd name="connsiteY427" fmla="*/ 1355178 h 1413227"/>
                <a:gd name="connsiteX428" fmla="*/ 1509020 w 2048870"/>
                <a:gd name="connsiteY428" fmla="*/ 1360364 h 1413227"/>
                <a:gd name="connsiteX429" fmla="*/ 1503834 w 2048870"/>
                <a:gd name="connsiteY429" fmla="*/ 1370735 h 1413227"/>
                <a:gd name="connsiteX430" fmla="*/ 1534948 w 2048870"/>
                <a:gd name="connsiteY430" fmla="*/ 1374192 h 1413227"/>
                <a:gd name="connsiteX431" fmla="*/ 1540133 w 2048870"/>
                <a:gd name="connsiteY431" fmla="*/ 1377649 h 1413227"/>
                <a:gd name="connsiteX432" fmla="*/ 1559147 w 2048870"/>
                <a:gd name="connsiteY432" fmla="*/ 1375921 h 1413227"/>
                <a:gd name="connsiteX433" fmla="*/ 1564333 w 2048870"/>
                <a:gd name="connsiteY433" fmla="*/ 1372464 h 1413227"/>
                <a:gd name="connsiteX434" fmla="*/ 1579890 w 2048870"/>
                <a:gd name="connsiteY434" fmla="*/ 1370735 h 1413227"/>
                <a:gd name="connsiteX435" fmla="*/ 1597175 w 2048870"/>
                <a:gd name="connsiteY435" fmla="*/ 1363821 h 1413227"/>
                <a:gd name="connsiteX436" fmla="*/ 1600633 w 2048870"/>
                <a:gd name="connsiteY436" fmla="*/ 1360364 h 1413227"/>
                <a:gd name="connsiteX437" fmla="*/ 1612732 w 2048870"/>
                <a:gd name="connsiteY437" fmla="*/ 1341350 h 1413227"/>
                <a:gd name="connsiteX438" fmla="*/ 1617918 w 2048870"/>
                <a:gd name="connsiteY438" fmla="*/ 1305051 h 1413227"/>
                <a:gd name="connsiteX439" fmla="*/ 1623104 w 2048870"/>
                <a:gd name="connsiteY439" fmla="*/ 1301593 h 1413227"/>
                <a:gd name="connsiteX440" fmla="*/ 1624832 w 2048870"/>
                <a:gd name="connsiteY440" fmla="*/ 1284308 h 1413227"/>
                <a:gd name="connsiteX441" fmla="*/ 1631746 w 2048870"/>
                <a:gd name="connsiteY441" fmla="*/ 1270480 h 1413227"/>
                <a:gd name="connsiteX442" fmla="*/ 1643846 w 2048870"/>
                <a:gd name="connsiteY442" fmla="*/ 1263565 h 1413227"/>
                <a:gd name="connsiteX443" fmla="*/ 1669774 w 2048870"/>
                <a:gd name="connsiteY443" fmla="*/ 1260108 h 1413227"/>
                <a:gd name="connsiteX444" fmla="*/ 1681874 w 2048870"/>
                <a:gd name="connsiteY444" fmla="*/ 1254923 h 1413227"/>
                <a:gd name="connsiteX445" fmla="*/ 1687060 w 2048870"/>
                <a:gd name="connsiteY445" fmla="*/ 1253194 h 1413227"/>
                <a:gd name="connsiteX446" fmla="*/ 1702617 w 2048870"/>
                <a:gd name="connsiteY446" fmla="*/ 1249737 h 1413227"/>
                <a:gd name="connsiteX447" fmla="*/ 1704345 w 2048870"/>
                <a:gd name="connsiteY447" fmla="*/ 1232452 h 1413227"/>
                <a:gd name="connsiteX448" fmla="*/ 1706074 w 2048870"/>
                <a:gd name="connsiteY448" fmla="*/ 1208252 h 1413227"/>
                <a:gd name="connsiteX449" fmla="*/ 1711259 w 2048870"/>
                <a:gd name="connsiteY449" fmla="*/ 1201338 h 1413227"/>
                <a:gd name="connsiteX450" fmla="*/ 1718174 w 2048870"/>
                <a:gd name="connsiteY450" fmla="*/ 1192695 h 1413227"/>
                <a:gd name="connsiteX451" fmla="*/ 1725088 w 2048870"/>
                <a:gd name="connsiteY451" fmla="*/ 1189238 h 1413227"/>
                <a:gd name="connsiteX452" fmla="*/ 1735459 w 2048870"/>
                <a:gd name="connsiteY452" fmla="*/ 1184052 h 1413227"/>
                <a:gd name="connsiteX453" fmla="*/ 1773487 w 2048870"/>
                <a:gd name="connsiteY453" fmla="*/ 1189238 h 1413227"/>
                <a:gd name="connsiteX454" fmla="*/ 1778673 w 2048870"/>
                <a:gd name="connsiteY454" fmla="*/ 1194424 h 1413227"/>
                <a:gd name="connsiteX455" fmla="*/ 1808058 w 2048870"/>
                <a:gd name="connsiteY455" fmla="*/ 1187510 h 1413227"/>
                <a:gd name="connsiteX456" fmla="*/ 1811515 w 2048870"/>
                <a:gd name="connsiteY456" fmla="*/ 1180595 h 1413227"/>
                <a:gd name="connsiteX457" fmla="*/ 1818429 w 2048870"/>
                <a:gd name="connsiteY457" fmla="*/ 1171953 h 1413227"/>
                <a:gd name="connsiteX458" fmla="*/ 1825343 w 2048870"/>
                <a:gd name="connsiteY458" fmla="*/ 1158124 h 1413227"/>
                <a:gd name="connsiteX459" fmla="*/ 1827072 w 2048870"/>
                <a:gd name="connsiteY459" fmla="*/ 1151210 h 1413227"/>
                <a:gd name="connsiteX460" fmla="*/ 1833986 w 2048870"/>
                <a:gd name="connsiteY460" fmla="*/ 1133925 h 1413227"/>
                <a:gd name="connsiteX461" fmla="*/ 1820158 w 2048870"/>
                <a:gd name="connsiteY461" fmla="*/ 1128739 h 1413227"/>
                <a:gd name="connsiteX462" fmla="*/ 1816701 w 2048870"/>
                <a:gd name="connsiteY462" fmla="*/ 1123553 h 1413227"/>
                <a:gd name="connsiteX463" fmla="*/ 1820158 w 2048870"/>
                <a:gd name="connsiteY463" fmla="*/ 1118368 h 1413227"/>
                <a:gd name="connsiteX464" fmla="*/ 1825343 w 2048870"/>
                <a:gd name="connsiteY464" fmla="*/ 1111454 h 1413227"/>
                <a:gd name="connsiteX465" fmla="*/ 1828800 w 2048870"/>
                <a:gd name="connsiteY465" fmla="*/ 1099354 h 1413227"/>
                <a:gd name="connsiteX466" fmla="*/ 1832257 w 2048870"/>
                <a:gd name="connsiteY466" fmla="*/ 1094168 h 1413227"/>
                <a:gd name="connsiteX467" fmla="*/ 1830529 w 2048870"/>
                <a:gd name="connsiteY467" fmla="*/ 1083797 h 1413227"/>
                <a:gd name="connsiteX468" fmla="*/ 1816701 w 2048870"/>
                <a:gd name="connsiteY468" fmla="*/ 1087254 h 1413227"/>
                <a:gd name="connsiteX469" fmla="*/ 1789044 w 2048870"/>
                <a:gd name="connsiteY469" fmla="*/ 1092440 h 1413227"/>
                <a:gd name="connsiteX470" fmla="*/ 1778673 w 2048870"/>
                <a:gd name="connsiteY470" fmla="*/ 1095897 h 1413227"/>
                <a:gd name="connsiteX471" fmla="*/ 1771758 w 2048870"/>
                <a:gd name="connsiteY471" fmla="*/ 1099354 h 1413227"/>
                <a:gd name="connsiteX472" fmla="*/ 1766573 w 2048870"/>
                <a:gd name="connsiteY472" fmla="*/ 1116639 h 1413227"/>
                <a:gd name="connsiteX473" fmla="*/ 1756202 w 2048870"/>
                <a:gd name="connsiteY473" fmla="*/ 1118368 h 1413227"/>
                <a:gd name="connsiteX474" fmla="*/ 1738916 w 2048870"/>
                <a:gd name="connsiteY474" fmla="*/ 1130468 h 1413227"/>
                <a:gd name="connsiteX475" fmla="*/ 1718174 w 2048870"/>
                <a:gd name="connsiteY475" fmla="*/ 1140839 h 1413227"/>
                <a:gd name="connsiteX476" fmla="*/ 1709531 w 2048870"/>
                <a:gd name="connsiteY476" fmla="*/ 1146024 h 1413227"/>
                <a:gd name="connsiteX477" fmla="*/ 1707802 w 2048870"/>
                <a:gd name="connsiteY477" fmla="*/ 1151210 h 1413227"/>
                <a:gd name="connsiteX478" fmla="*/ 1700888 w 2048870"/>
                <a:gd name="connsiteY478" fmla="*/ 1154667 h 1413227"/>
                <a:gd name="connsiteX479" fmla="*/ 1647303 w 2048870"/>
                <a:gd name="connsiteY479" fmla="*/ 1152939 h 1413227"/>
                <a:gd name="connsiteX480" fmla="*/ 1650760 w 2048870"/>
                <a:gd name="connsiteY480" fmla="*/ 1142567 h 1413227"/>
                <a:gd name="connsiteX481" fmla="*/ 1649032 w 2048870"/>
                <a:gd name="connsiteY481" fmla="*/ 1120096 h 1413227"/>
                <a:gd name="connsiteX482" fmla="*/ 1598904 w 2048870"/>
                <a:gd name="connsiteY482" fmla="*/ 1114911 h 1413227"/>
                <a:gd name="connsiteX483" fmla="*/ 1591990 w 2048870"/>
                <a:gd name="connsiteY483" fmla="*/ 1113182 h 1413227"/>
                <a:gd name="connsiteX484" fmla="*/ 1564333 w 2048870"/>
                <a:gd name="connsiteY484" fmla="*/ 1109725 h 1413227"/>
                <a:gd name="connsiteX485" fmla="*/ 1553962 w 2048870"/>
                <a:gd name="connsiteY485" fmla="*/ 1101082 h 1413227"/>
                <a:gd name="connsiteX486" fmla="*/ 1543591 w 2048870"/>
                <a:gd name="connsiteY486" fmla="*/ 1092440 h 1413227"/>
                <a:gd name="connsiteX487" fmla="*/ 1526305 w 2048870"/>
                <a:gd name="connsiteY487" fmla="*/ 1090711 h 1413227"/>
                <a:gd name="connsiteX488" fmla="*/ 1514205 w 2048870"/>
                <a:gd name="connsiteY488" fmla="*/ 1085525 h 1413227"/>
                <a:gd name="connsiteX489" fmla="*/ 1512477 w 2048870"/>
                <a:gd name="connsiteY489" fmla="*/ 1092440 h 1413227"/>
                <a:gd name="connsiteX490" fmla="*/ 1507291 w 2048870"/>
                <a:gd name="connsiteY490" fmla="*/ 1085525 h 1413227"/>
                <a:gd name="connsiteX491" fmla="*/ 1496920 w 2048870"/>
                <a:gd name="connsiteY491" fmla="*/ 1075154 h 1413227"/>
                <a:gd name="connsiteX492" fmla="*/ 1445064 w 2048870"/>
                <a:gd name="connsiteY492" fmla="*/ 1076883 h 1413227"/>
                <a:gd name="connsiteX493" fmla="*/ 1439878 w 2048870"/>
                <a:gd name="connsiteY493" fmla="*/ 1080340 h 1413227"/>
                <a:gd name="connsiteX494" fmla="*/ 1438149 w 2048870"/>
                <a:gd name="connsiteY494" fmla="*/ 1085525 h 1413227"/>
                <a:gd name="connsiteX495" fmla="*/ 1451978 w 2048870"/>
                <a:gd name="connsiteY495" fmla="*/ 1071697 h 1413227"/>
                <a:gd name="connsiteX496" fmla="*/ 1458892 w 2048870"/>
                <a:gd name="connsiteY496" fmla="*/ 1064783 h 1413227"/>
                <a:gd name="connsiteX497" fmla="*/ 1464078 w 2048870"/>
                <a:gd name="connsiteY497" fmla="*/ 1059597 h 1413227"/>
                <a:gd name="connsiteX498" fmla="*/ 1479634 w 2048870"/>
                <a:gd name="connsiteY498" fmla="*/ 1064783 h 1413227"/>
                <a:gd name="connsiteX499" fmla="*/ 1490006 w 2048870"/>
                <a:gd name="connsiteY499" fmla="*/ 1071697 h 1413227"/>
                <a:gd name="connsiteX500" fmla="*/ 1498648 w 2048870"/>
                <a:gd name="connsiteY500" fmla="*/ 1068240 h 1413227"/>
                <a:gd name="connsiteX501" fmla="*/ 1500377 w 2048870"/>
                <a:gd name="connsiteY501" fmla="*/ 1063054 h 1413227"/>
                <a:gd name="connsiteX502" fmla="*/ 1503834 w 2048870"/>
                <a:gd name="connsiteY502" fmla="*/ 1057869 h 1413227"/>
                <a:gd name="connsiteX503" fmla="*/ 1507291 w 2048870"/>
                <a:gd name="connsiteY503" fmla="*/ 1045769 h 1413227"/>
                <a:gd name="connsiteX504" fmla="*/ 1540133 w 2048870"/>
                <a:gd name="connsiteY504" fmla="*/ 1044040 h 1413227"/>
                <a:gd name="connsiteX505" fmla="*/ 1557419 w 2048870"/>
                <a:gd name="connsiteY505" fmla="*/ 1059597 h 1413227"/>
                <a:gd name="connsiteX506" fmla="*/ 1560876 w 2048870"/>
                <a:gd name="connsiteY506" fmla="*/ 1073426 h 1413227"/>
                <a:gd name="connsiteX507" fmla="*/ 1564333 w 2048870"/>
                <a:gd name="connsiteY507" fmla="*/ 1087254 h 1413227"/>
                <a:gd name="connsiteX508" fmla="*/ 1566062 w 2048870"/>
                <a:gd name="connsiteY508" fmla="*/ 1094168 h 1413227"/>
                <a:gd name="connsiteX509" fmla="*/ 1569519 w 2048870"/>
                <a:gd name="connsiteY509" fmla="*/ 1099354 h 1413227"/>
                <a:gd name="connsiteX510" fmla="*/ 1576433 w 2048870"/>
                <a:gd name="connsiteY510" fmla="*/ 1037126 h 1413227"/>
                <a:gd name="connsiteX511" fmla="*/ 1588533 w 2048870"/>
                <a:gd name="connsiteY511" fmla="*/ 1052683 h 1413227"/>
                <a:gd name="connsiteX512" fmla="*/ 1591990 w 2048870"/>
                <a:gd name="connsiteY512" fmla="*/ 1069969 h 1413227"/>
                <a:gd name="connsiteX513" fmla="*/ 1607547 w 2048870"/>
                <a:gd name="connsiteY513" fmla="*/ 1080340 h 1413227"/>
                <a:gd name="connsiteX514" fmla="*/ 1612732 w 2048870"/>
                <a:gd name="connsiteY514" fmla="*/ 1083797 h 1413227"/>
                <a:gd name="connsiteX515" fmla="*/ 1621375 w 2048870"/>
                <a:gd name="connsiteY515" fmla="*/ 1085525 h 1413227"/>
                <a:gd name="connsiteX516" fmla="*/ 1633475 w 2048870"/>
                <a:gd name="connsiteY516" fmla="*/ 1092440 h 1413227"/>
                <a:gd name="connsiteX517" fmla="*/ 1640389 w 2048870"/>
                <a:gd name="connsiteY517" fmla="*/ 1095897 h 1413227"/>
                <a:gd name="connsiteX518" fmla="*/ 1649032 w 2048870"/>
                <a:gd name="connsiteY518" fmla="*/ 1109725 h 1413227"/>
                <a:gd name="connsiteX519" fmla="*/ 1659403 w 2048870"/>
                <a:gd name="connsiteY519" fmla="*/ 1113182 h 1413227"/>
                <a:gd name="connsiteX520" fmla="*/ 1669774 w 2048870"/>
                <a:gd name="connsiteY520" fmla="*/ 1118368 h 1413227"/>
                <a:gd name="connsiteX521" fmla="*/ 1680146 w 2048870"/>
                <a:gd name="connsiteY521" fmla="*/ 1125282 h 1413227"/>
                <a:gd name="connsiteX522" fmla="*/ 1699160 w 2048870"/>
                <a:gd name="connsiteY522" fmla="*/ 1139110 h 1413227"/>
                <a:gd name="connsiteX523" fmla="*/ 1712988 w 2048870"/>
                <a:gd name="connsiteY523" fmla="*/ 1142567 h 1413227"/>
                <a:gd name="connsiteX524" fmla="*/ 1704345 w 2048870"/>
                <a:gd name="connsiteY524" fmla="*/ 1137382 h 1413227"/>
                <a:gd name="connsiteX525" fmla="*/ 1699160 w 2048870"/>
                <a:gd name="connsiteY525" fmla="*/ 1132196 h 1413227"/>
                <a:gd name="connsiteX526" fmla="*/ 1688788 w 2048870"/>
                <a:gd name="connsiteY526" fmla="*/ 1128739 h 1413227"/>
                <a:gd name="connsiteX527" fmla="*/ 1674960 w 2048870"/>
                <a:gd name="connsiteY527" fmla="*/ 1125282 h 1413227"/>
                <a:gd name="connsiteX528" fmla="*/ 1659403 w 2048870"/>
                <a:gd name="connsiteY528" fmla="*/ 1121825 h 1413227"/>
                <a:gd name="connsiteX529" fmla="*/ 1650760 w 2048870"/>
                <a:gd name="connsiteY529" fmla="*/ 1116639 h 1413227"/>
                <a:gd name="connsiteX530" fmla="*/ 1645575 w 2048870"/>
                <a:gd name="connsiteY530" fmla="*/ 1113182 h 1413227"/>
                <a:gd name="connsiteX531" fmla="*/ 1642118 w 2048870"/>
                <a:gd name="connsiteY531" fmla="*/ 1107996 h 1413227"/>
                <a:gd name="connsiteX532" fmla="*/ 1628289 w 2048870"/>
                <a:gd name="connsiteY532" fmla="*/ 1088983 h 1413227"/>
                <a:gd name="connsiteX533" fmla="*/ 1626561 w 2048870"/>
                <a:gd name="connsiteY533" fmla="*/ 1083797 h 1413227"/>
                <a:gd name="connsiteX534" fmla="*/ 1619647 w 2048870"/>
                <a:gd name="connsiteY534" fmla="*/ 1075154 h 1413227"/>
                <a:gd name="connsiteX535" fmla="*/ 1616189 w 2048870"/>
                <a:gd name="connsiteY535" fmla="*/ 1061326 h 1413227"/>
                <a:gd name="connsiteX536" fmla="*/ 1614461 w 2048870"/>
                <a:gd name="connsiteY536" fmla="*/ 1056140 h 1413227"/>
                <a:gd name="connsiteX537" fmla="*/ 1604090 w 2048870"/>
                <a:gd name="connsiteY537" fmla="*/ 1038855 h 1413227"/>
                <a:gd name="connsiteX538" fmla="*/ 1598904 w 2048870"/>
                <a:gd name="connsiteY538" fmla="*/ 1037126 h 1413227"/>
                <a:gd name="connsiteX539" fmla="*/ 1593718 w 2048870"/>
                <a:gd name="connsiteY539" fmla="*/ 1030212 h 1413227"/>
                <a:gd name="connsiteX540" fmla="*/ 1585076 w 2048870"/>
                <a:gd name="connsiteY540" fmla="*/ 1019841 h 1413227"/>
                <a:gd name="connsiteX541" fmla="*/ 1590261 w 2048870"/>
                <a:gd name="connsiteY541" fmla="*/ 1000827 h 1413227"/>
                <a:gd name="connsiteX542" fmla="*/ 1598904 w 2048870"/>
                <a:gd name="connsiteY542" fmla="*/ 999098 h 1413227"/>
                <a:gd name="connsiteX543" fmla="*/ 1611004 w 2048870"/>
                <a:gd name="connsiteY543" fmla="*/ 990455 h 1413227"/>
                <a:gd name="connsiteX544" fmla="*/ 1617918 w 2048870"/>
                <a:gd name="connsiteY544" fmla="*/ 985270 h 1413227"/>
                <a:gd name="connsiteX545" fmla="*/ 1616189 w 2048870"/>
                <a:gd name="connsiteY545" fmla="*/ 1021569 h 1413227"/>
                <a:gd name="connsiteX546" fmla="*/ 1612732 w 2048870"/>
                <a:gd name="connsiteY546" fmla="*/ 1028483 h 1413227"/>
                <a:gd name="connsiteX547" fmla="*/ 1607547 w 2048870"/>
                <a:gd name="connsiteY547" fmla="*/ 1035398 h 1413227"/>
                <a:gd name="connsiteX548" fmla="*/ 1612732 w 2048870"/>
                <a:gd name="connsiteY548" fmla="*/ 1031941 h 1413227"/>
                <a:gd name="connsiteX549" fmla="*/ 1621375 w 2048870"/>
                <a:gd name="connsiteY549" fmla="*/ 1016384 h 1413227"/>
                <a:gd name="connsiteX550" fmla="*/ 1626561 w 2048870"/>
                <a:gd name="connsiteY550" fmla="*/ 997370 h 1413227"/>
                <a:gd name="connsiteX551" fmla="*/ 1626561 w 2048870"/>
                <a:gd name="connsiteY551" fmla="*/ 976627 h 1413227"/>
                <a:gd name="connsiteX552" fmla="*/ 1619647 w 2048870"/>
                <a:gd name="connsiteY552" fmla="*/ 962799 h 1413227"/>
                <a:gd name="connsiteX553" fmla="*/ 1626561 w 2048870"/>
                <a:gd name="connsiteY553" fmla="*/ 966256 h 1413227"/>
                <a:gd name="connsiteX554" fmla="*/ 1638661 w 2048870"/>
                <a:gd name="connsiteY554" fmla="*/ 969713 h 1413227"/>
                <a:gd name="connsiteX555" fmla="*/ 1645575 w 2048870"/>
                <a:gd name="connsiteY555" fmla="*/ 967984 h 1413227"/>
                <a:gd name="connsiteX556" fmla="*/ 1650760 w 2048870"/>
                <a:gd name="connsiteY556" fmla="*/ 955885 h 1413227"/>
                <a:gd name="connsiteX557" fmla="*/ 1659403 w 2048870"/>
                <a:gd name="connsiteY557" fmla="*/ 933414 h 1413227"/>
                <a:gd name="connsiteX558" fmla="*/ 1662860 w 2048870"/>
                <a:gd name="connsiteY558" fmla="*/ 929956 h 1413227"/>
                <a:gd name="connsiteX559" fmla="*/ 1664589 w 2048870"/>
                <a:gd name="connsiteY559" fmla="*/ 923042 h 1413227"/>
                <a:gd name="connsiteX560" fmla="*/ 1673231 w 2048870"/>
                <a:gd name="connsiteY560" fmla="*/ 893657 h 1413227"/>
                <a:gd name="connsiteX561" fmla="*/ 1687060 w 2048870"/>
                <a:gd name="connsiteY561" fmla="*/ 891928 h 1413227"/>
                <a:gd name="connsiteX562" fmla="*/ 1693974 w 2048870"/>
                <a:gd name="connsiteY562" fmla="*/ 890200 h 1413227"/>
                <a:gd name="connsiteX563" fmla="*/ 1700888 w 2048870"/>
                <a:gd name="connsiteY563" fmla="*/ 886743 h 1413227"/>
                <a:gd name="connsiteX564" fmla="*/ 1719902 w 2048870"/>
                <a:gd name="connsiteY564" fmla="*/ 878100 h 1413227"/>
                <a:gd name="connsiteX565" fmla="*/ 1726816 w 2048870"/>
                <a:gd name="connsiteY565" fmla="*/ 876372 h 1413227"/>
                <a:gd name="connsiteX566" fmla="*/ 1745830 w 2048870"/>
                <a:gd name="connsiteY566" fmla="*/ 860815 h 1413227"/>
                <a:gd name="connsiteX567" fmla="*/ 1751016 w 2048870"/>
                <a:gd name="connsiteY567" fmla="*/ 857358 h 1413227"/>
                <a:gd name="connsiteX568" fmla="*/ 1757930 w 2048870"/>
                <a:gd name="connsiteY568" fmla="*/ 855629 h 1413227"/>
                <a:gd name="connsiteX569" fmla="*/ 1764844 w 2048870"/>
                <a:gd name="connsiteY569" fmla="*/ 841801 h 1413227"/>
                <a:gd name="connsiteX570" fmla="*/ 1771758 w 2048870"/>
                <a:gd name="connsiteY570" fmla="*/ 836615 h 1413227"/>
                <a:gd name="connsiteX571" fmla="*/ 1776944 w 2048870"/>
                <a:gd name="connsiteY571" fmla="*/ 833158 h 1413227"/>
                <a:gd name="connsiteX572" fmla="*/ 1787315 w 2048870"/>
                <a:gd name="connsiteY572" fmla="*/ 831429 h 1413227"/>
                <a:gd name="connsiteX573" fmla="*/ 1795958 w 2048870"/>
                <a:gd name="connsiteY573" fmla="*/ 829701 h 1413227"/>
                <a:gd name="connsiteX574" fmla="*/ 1797687 w 2048870"/>
                <a:gd name="connsiteY574" fmla="*/ 824515 h 1413227"/>
                <a:gd name="connsiteX575" fmla="*/ 1825343 w 2048870"/>
                <a:gd name="connsiteY575" fmla="*/ 796859 h 1413227"/>
                <a:gd name="connsiteX576" fmla="*/ 1830529 w 2048870"/>
                <a:gd name="connsiteY576" fmla="*/ 776116 h 1413227"/>
                <a:gd name="connsiteX577" fmla="*/ 1835715 w 2048870"/>
                <a:gd name="connsiteY577" fmla="*/ 770930 h 1413227"/>
                <a:gd name="connsiteX578" fmla="*/ 1863371 w 2048870"/>
                <a:gd name="connsiteY578" fmla="*/ 760559 h 1413227"/>
                <a:gd name="connsiteX579" fmla="*/ 1868557 w 2048870"/>
                <a:gd name="connsiteY579" fmla="*/ 755373 h 1413227"/>
                <a:gd name="connsiteX580" fmla="*/ 1880657 w 2048870"/>
                <a:gd name="connsiteY580" fmla="*/ 753645 h 1413227"/>
                <a:gd name="connsiteX581" fmla="*/ 1889299 w 2048870"/>
                <a:gd name="connsiteY581" fmla="*/ 750188 h 1413227"/>
                <a:gd name="connsiteX582" fmla="*/ 1894485 w 2048870"/>
                <a:gd name="connsiteY582" fmla="*/ 731174 h 1413227"/>
                <a:gd name="connsiteX583" fmla="*/ 1910042 w 2048870"/>
                <a:gd name="connsiteY583" fmla="*/ 719074 h 1413227"/>
                <a:gd name="connsiteX584" fmla="*/ 1916956 w 2048870"/>
                <a:gd name="connsiteY584" fmla="*/ 710431 h 1413227"/>
                <a:gd name="connsiteX585" fmla="*/ 1908313 w 2048870"/>
                <a:gd name="connsiteY585" fmla="*/ 689689 h 1413227"/>
                <a:gd name="connsiteX586" fmla="*/ 1901399 w 2048870"/>
                <a:gd name="connsiteY586" fmla="*/ 675860 h 1413227"/>
                <a:gd name="connsiteX587" fmla="*/ 1897942 w 2048870"/>
                <a:gd name="connsiteY587" fmla="*/ 665489 h 1413227"/>
                <a:gd name="connsiteX588" fmla="*/ 1901399 w 2048870"/>
                <a:gd name="connsiteY588" fmla="*/ 651661 h 1413227"/>
                <a:gd name="connsiteX589" fmla="*/ 1897942 w 2048870"/>
                <a:gd name="connsiteY589" fmla="*/ 629190 h 1413227"/>
                <a:gd name="connsiteX590" fmla="*/ 1904856 w 2048870"/>
                <a:gd name="connsiteY590" fmla="*/ 624004 h 1413227"/>
                <a:gd name="connsiteX591" fmla="*/ 1910042 w 2048870"/>
                <a:gd name="connsiteY591" fmla="*/ 613633 h 1413227"/>
                <a:gd name="connsiteX592" fmla="*/ 1918685 w 2048870"/>
                <a:gd name="connsiteY592" fmla="*/ 608447 h 1413227"/>
                <a:gd name="connsiteX593" fmla="*/ 1925599 w 2048870"/>
                <a:gd name="connsiteY593" fmla="*/ 601533 h 1413227"/>
                <a:gd name="connsiteX594" fmla="*/ 1929056 w 2048870"/>
                <a:gd name="connsiteY594" fmla="*/ 587705 h 1413227"/>
                <a:gd name="connsiteX595" fmla="*/ 1932513 w 2048870"/>
                <a:gd name="connsiteY595" fmla="*/ 582519 h 1413227"/>
                <a:gd name="connsiteX596" fmla="*/ 1939427 w 2048870"/>
                <a:gd name="connsiteY596" fmla="*/ 565234 h 1413227"/>
                <a:gd name="connsiteX597" fmla="*/ 1963627 w 2048870"/>
                <a:gd name="connsiteY597" fmla="*/ 556591 h 1413227"/>
                <a:gd name="connsiteX598" fmla="*/ 1968812 w 2048870"/>
                <a:gd name="connsiteY598" fmla="*/ 547948 h 1413227"/>
                <a:gd name="connsiteX599" fmla="*/ 1986098 w 2048870"/>
                <a:gd name="connsiteY599" fmla="*/ 544491 h 1413227"/>
                <a:gd name="connsiteX600" fmla="*/ 2008569 w 2048870"/>
                <a:gd name="connsiteY600" fmla="*/ 539305 h 1413227"/>
                <a:gd name="connsiteX601" fmla="*/ 2017212 w 2048870"/>
                <a:gd name="connsiteY601" fmla="*/ 530663 h 1413227"/>
                <a:gd name="connsiteX602" fmla="*/ 2048326 w 2048870"/>
                <a:gd name="connsiteY602" fmla="*/ 525477 h 1413227"/>
                <a:gd name="connsiteX603" fmla="*/ 2043140 w 2048870"/>
                <a:gd name="connsiteY603" fmla="*/ 499549 h 1413227"/>
                <a:gd name="connsiteX604" fmla="*/ 2032769 w 2048870"/>
                <a:gd name="connsiteY604" fmla="*/ 492635 h 1413227"/>
                <a:gd name="connsiteX605" fmla="*/ 2025854 w 2048870"/>
                <a:gd name="connsiteY605" fmla="*/ 447693 h 1413227"/>
                <a:gd name="connsiteX606" fmla="*/ 2018940 w 2048870"/>
                <a:gd name="connsiteY606" fmla="*/ 428679 h 1413227"/>
                <a:gd name="connsiteX607" fmla="*/ 2015483 w 2048870"/>
                <a:gd name="connsiteY607" fmla="*/ 418307 h 1413227"/>
                <a:gd name="connsiteX608" fmla="*/ 2010298 w 2048870"/>
                <a:gd name="connsiteY608" fmla="*/ 411393 h 1413227"/>
                <a:gd name="connsiteX609" fmla="*/ 2003383 w 2048870"/>
                <a:gd name="connsiteY609" fmla="*/ 407936 h 1413227"/>
                <a:gd name="connsiteX610" fmla="*/ 1984369 w 2048870"/>
                <a:gd name="connsiteY610" fmla="*/ 404479 h 1413227"/>
                <a:gd name="connsiteX611" fmla="*/ 1977455 w 2048870"/>
                <a:gd name="connsiteY611" fmla="*/ 394108 h 1413227"/>
                <a:gd name="connsiteX612" fmla="*/ 1972270 w 2048870"/>
                <a:gd name="connsiteY612" fmla="*/ 390651 h 1413227"/>
                <a:gd name="connsiteX613" fmla="*/ 1968812 w 2048870"/>
                <a:gd name="connsiteY613" fmla="*/ 382008 h 1413227"/>
                <a:gd name="connsiteX614" fmla="*/ 1973998 w 2048870"/>
                <a:gd name="connsiteY614" fmla="*/ 366451 h 1413227"/>
                <a:gd name="connsiteX615" fmla="*/ 1982641 w 2048870"/>
                <a:gd name="connsiteY615" fmla="*/ 354351 h 1413227"/>
                <a:gd name="connsiteX616" fmla="*/ 1984369 w 2048870"/>
                <a:gd name="connsiteY616" fmla="*/ 347437 h 1413227"/>
                <a:gd name="connsiteX617" fmla="*/ 1994741 w 2048870"/>
                <a:gd name="connsiteY617" fmla="*/ 343980 h 1413227"/>
                <a:gd name="connsiteX618" fmla="*/ 1960170 w 2048870"/>
                <a:gd name="connsiteY618" fmla="*/ 337066 h 1413227"/>
                <a:gd name="connsiteX619" fmla="*/ 1958441 w 2048870"/>
                <a:gd name="connsiteY619" fmla="*/ 331880 h 1413227"/>
                <a:gd name="connsiteX620" fmla="*/ 1954984 w 2048870"/>
                <a:gd name="connsiteY620" fmla="*/ 326694 h 1413227"/>
                <a:gd name="connsiteX621" fmla="*/ 1958441 w 2048870"/>
                <a:gd name="connsiteY621" fmla="*/ 318052 h 1413227"/>
                <a:gd name="connsiteX622" fmla="*/ 1963627 w 2048870"/>
                <a:gd name="connsiteY622" fmla="*/ 311138 h 1413227"/>
                <a:gd name="connsiteX623" fmla="*/ 1967084 w 2048870"/>
                <a:gd name="connsiteY623" fmla="*/ 305952 h 1413227"/>
                <a:gd name="connsiteX624" fmla="*/ 1968812 w 2048870"/>
                <a:gd name="connsiteY624" fmla="*/ 299038 h 1413227"/>
                <a:gd name="connsiteX625" fmla="*/ 1973998 w 2048870"/>
                <a:gd name="connsiteY625" fmla="*/ 293852 h 1413227"/>
                <a:gd name="connsiteX626" fmla="*/ 1975727 w 2048870"/>
                <a:gd name="connsiteY626" fmla="*/ 269652 h 1413227"/>
                <a:gd name="connsiteX627" fmla="*/ 1970541 w 2048870"/>
                <a:gd name="connsiteY627" fmla="*/ 255824 h 1413227"/>
                <a:gd name="connsiteX628" fmla="*/ 1968812 w 2048870"/>
                <a:gd name="connsiteY628" fmla="*/ 250638 h 1413227"/>
                <a:gd name="connsiteX629" fmla="*/ 1967084 w 2048870"/>
                <a:gd name="connsiteY629" fmla="*/ 243724 h 1413227"/>
                <a:gd name="connsiteX630" fmla="*/ 1963627 w 2048870"/>
                <a:gd name="connsiteY630" fmla="*/ 238539 h 1413227"/>
                <a:gd name="connsiteX631" fmla="*/ 1965355 w 2048870"/>
                <a:gd name="connsiteY631" fmla="*/ 216068 h 1413227"/>
                <a:gd name="connsiteX632" fmla="*/ 1961898 w 2048870"/>
                <a:gd name="connsiteY632" fmla="*/ 209153 h 1413227"/>
                <a:gd name="connsiteX633" fmla="*/ 1954984 w 2048870"/>
                <a:gd name="connsiteY633" fmla="*/ 216068 h 1413227"/>
                <a:gd name="connsiteX634" fmla="*/ 1948070 w 2048870"/>
                <a:gd name="connsiteY634" fmla="*/ 217796 h 1413227"/>
                <a:gd name="connsiteX635" fmla="*/ 1937699 w 2048870"/>
                <a:gd name="connsiteY635" fmla="*/ 226439 h 1413227"/>
                <a:gd name="connsiteX636" fmla="*/ 1932513 w 2048870"/>
                <a:gd name="connsiteY636" fmla="*/ 228167 h 1413227"/>
                <a:gd name="connsiteX637" fmla="*/ 1922142 w 2048870"/>
                <a:gd name="connsiteY637" fmla="*/ 235082 h 1413227"/>
                <a:gd name="connsiteX638" fmla="*/ 1906585 w 2048870"/>
                <a:gd name="connsiteY638" fmla="*/ 231624 h 1413227"/>
                <a:gd name="connsiteX639" fmla="*/ 1885842 w 2048870"/>
                <a:gd name="connsiteY639" fmla="*/ 222982 h 1413227"/>
                <a:gd name="connsiteX640" fmla="*/ 1878928 w 2048870"/>
                <a:gd name="connsiteY640" fmla="*/ 224710 h 1413227"/>
                <a:gd name="connsiteX641" fmla="*/ 1868557 w 2048870"/>
                <a:gd name="connsiteY641" fmla="*/ 233353 h 1413227"/>
                <a:gd name="connsiteX642" fmla="*/ 1847814 w 2048870"/>
                <a:gd name="connsiteY642" fmla="*/ 221253 h 1413227"/>
                <a:gd name="connsiteX643" fmla="*/ 1839172 w 2048870"/>
                <a:gd name="connsiteY643" fmla="*/ 217796 h 1413227"/>
                <a:gd name="connsiteX644" fmla="*/ 1832257 w 2048870"/>
                <a:gd name="connsiteY644" fmla="*/ 214339 h 1413227"/>
                <a:gd name="connsiteX645" fmla="*/ 1823615 w 2048870"/>
                <a:gd name="connsiteY645" fmla="*/ 224710 h 1413227"/>
                <a:gd name="connsiteX646" fmla="*/ 1816701 w 2048870"/>
                <a:gd name="connsiteY646" fmla="*/ 229896 h 1413227"/>
                <a:gd name="connsiteX647" fmla="*/ 1787315 w 2048870"/>
                <a:gd name="connsiteY647" fmla="*/ 221253 h 1413227"/>
                <a:gd name="connsiteX648" fmla="*/ 1759659 w 2048870"/>
                <a:gd name="connsiteY648" fmla="*/ 222982 h 1413227"/>
                <a:gd name="connsiteX649" fmla="*/ 1754473 w 2048870"/>
                <a:gd name="connsiteY649" fmla="*/ 224710 h 1413227"/>
                <a:gd name="connsiteX650" fmla="*/ 1735459 w 2048870"/>
                <a:gd name="connsiteY650" fmla="*/ 222982 h 1413227"/>
                <a:gd name="connsiteX651" fmla="*/ 1728545 w 2048870"/>
                <a:gd name="connsiteY651" fmla="*/ 217796 h 1413227"/>
                <a:gd name="connsiteX652" fmla="*/ 1721631 w 2048870"/>
                <a:gd name="connsiteY652" fmla="*/ 207425 h 1413227"/>
                <a:gd name="connsiteX653" fmla="*/ 1712988 w 2048870"/>
                <a:gd name="connsiteY653" fmla="*/ 235082 h 1413227"/>
                <a:gd name="connsiteX654" fmla="*/ 1706074 w 2048870"/>
                <a:gd name="connsiteY654" fmla="*/ 250638 h 1413227"/>
                <a:gd name="connsiteX655" fmla="*/ 1692245 w 2048870"/>
                <a:gd name="connsiteY655" fmla="*/ 236810 h 1413227"/>
                <a:gd name="connsiteX656" fmla="*/ 1645575 w 2048870"/>
                <a:gd name="connsiteY656" fmla="*/ 224710 h 1413227"/>
                <a:gd name="connsiteX657" fmla="*/ 1640389 w 2048870"/>
                <a:gd name="connsiteY657" fmla="*/ 217796 h 1413227"/>
                <a:gd name="connsiteX658" fmla="*/ 1638661 w 2048870"/>
                <a:gd name="connsiteY658" fmla="*/ 212610 h 1413227"/>
                <a:gd name="connsiteX659" fmla="*/ 1623104 w 2048870"/>
                <a:gd name="connsiteY659" fmla="*/ 195325 h 1413227"/>
                <a:gd name="connsiteX660" fmla="*/ 1609275 w 2048870"/>
                <a:gd name="connsiteY660" fmla="*/ 191868 h 1413227"/>
                <a:gd name="connsiteX661" fmla="*/ 1600633 w 2048870"/>
                <a:gd name="connsiteY661" fmla="*/ 200511 h 1413227"/>
                <a:gd name="connsiteX662" fmla="*/ 1595447 w 2048870"/>
                <a:gd name="connsiteY662" fmla="*/ 202239 h 1413227"/>
                <a:gd name="connsiteX663" fmla="*/ 1574704 w 2048870"/>
                <a:gd name="connsiteY663" fmla="*/ 209153 h 1413227"/>
                <a:gd name="connsiteX664" fmla="*/ 1569519 w 2048870"/>
                <a:gd name="connsiteY664" fmla="*/ 214339 h 1413227"/>
                <a:gd name="connsiteX665" fmla="*/ 1564333 w 2048870"/>
                <a:gd name="connsiteY665" fmla="*/ 217796 h 1413227"/>
                <a:gd name="connsiteX666" fmla="*/ 1560876 w 2048870"/>
                <a:gd name="connsiteY666" fmla="*/ 224710 h 1413227"/>
                <a:gd name="connsiteX667" fmla="*/ 1543591 w 2048870"/>
                <a:gd name="connsiteY667" fmla="*/ 238539 h 1413227"/>
                <a:gd name="connsiteX668" fmla="*/ 1536676 w 2048870"/>
                <a:gd name="connsiteY668" fmla="*/ 245453 h 1413227"/>
                <a:gd name="connsiteX669" fmla="*/ 1534948 w 2048870"/>
                <a:gd name="connsiteY669" fmla="*/ 250638 h 1413227"/>
                <a:gd name="connsiteX670" fmla="*/ 1536676 w 2048870"/>
                <a:gd name="connsiteY670" fmla="*/ 255824 h 1413227"/>
                <a:gd name="connsiteX671" fmla="*/ 1510748 w 2048870"/>
                <a:gd name="connsiteY671" fmla="*/ 259281 h 1413227"/>
                <a:gd name="connsiteX672" fmla="*/ 1500377 w 2048870"/>
                <a:gd name="connsiteY672" fmla="*/ 252367 h 1413227"/>
                <a:gd name="connsiteX673" fmla="*/ 1472720 w 2048870"/>
                <a:gd name="connsiteY673" fmla="*/ 252367 h 1413227"/>
                <a:gd name="connsiteX674" fmla="*/ 1455435 w 2048870"/>
                <a:gd name="connsiteY674" fmla="*/ 254096 h 1413227"/>
                <a:gd name="connsiteX675" fmla="*/ 1446792 w 2048870"/>
                <a:gd name="connsiteY675" fmla="*/ 261010 h 1413227"/>
                <a:gd name="connsiteX676" fmla="*/ 1441606 w 2048870"/>
                <a:gd name="connsiteY676" fmla="*/ 267924 h 1413227"/>
                <a:gd name="connsiteX677" fmla="*/ 1438149 w 2048870"/>
                <a:gd name="connsiteY677" fmla="*/ 273110 h 1413227"/>
                <a:gd name="connsiteX678" fmla="*/ 1432964 w 2048870"/>
                <a:gd name="connsiteY678" fmla="*/ 274838 h 1413227"/>
                <a:gd name="connsiteX679" fmla="*/ 1419135 w 2048870"/>
                <a:gd name="connsiteY679" fmla="*/ 281752 h 1413227"/>
                <a:gd name="connsiteX680" fmla="*/ 1412221 w 2048870"/>
                <a:gd name="connsiteY680" fmla="*/ 278295 h 1413227"/>
                <a:gd name="connsiteX681" fmla="*/ 1408764 w 2048870"/>
                <a:gd name="connsiteY681" fmla="*/ 273110 h 1413227"/>
                <a:gd name="connsiteX682" fmla="*/ 1400121 w 2048870"/>
                <a:gd name="connsiteY682" fmla="*/ 257553 h 1413227"/>
                <a:gd name="connsiteX683" fmla="*/ 1394936 w 2048870"/>
                <a:gd name="connsiteY683" fmla="*/ 254096 h 1413227"/>
                <a:gd name="connsiteX684" fmla="*/ 1386293 w 2048870"/>
                <a:gd name="connsiteY684" fmla="*/ 243724 h 1413227"/>
                <a:gd name="connsiteX685" fmla="*/ 1381107 w 2048870"/>
                <a:gd name="connsiteY685" fmla="*/ 212610 h 1413227"/>
                <a:gd name="connsiteX686" fmla="*/ 1370736 w 2048870"/>
                <a:gd name="connsiteY686" fmla="*/ 202239 h 1413227"/>
                <a:gd name="connsiteX687" fmla="*/ 1363822 w 2048870"/>
                <a:gd name="connsiteY687" fmla="*/ 200511 h 1413227"/>
                <a:gd name="connsiteX688" fmla="*/ 1358636 w 2048870"/>
                <a:gd name="connsiteY688" fmla="*/ 193596 h 1413227"/>
                <a:gd name="connsiteX689" fmla="*/ 1349994 w 2048870"/>
                <a:gd name="connsiteY689" fmla="*/ 178040 h 1413227"/>
                <a:gd name="connsiteX690" fmla="*/ 1337894 w 2048870"/>
                <a:gd name="connsiteY690" fmla="*/ 167668 h 1413227"/>
                <a:gd name="connsiteX691" fmla="*/ 1298137 w 2048870"/>
                <a:gd name="connsiteY691" fmla="*/ 169397 h 1413227"/>
                <a:gd name="connsiteX692" fmla="*/ 1284309 w 2048870"/>
                <a:gd name="connsiteY692" fmla="*/ 179768 h 1413227"/>
                <a:gd name="connsiteX693" fmla="*/ 1268752 w 2048870"/>
                <a:gd name="connsiteY693" fmla="*/ 181497 h 1413227"/>
                <a:gd name="connsiteX694" fmla="*/ 1251467 w 2048870"/>
                <a:gd name="connsiteY694" fmla="*/ 174583 h 1413227"/>
                <a:gd name="connsiteX695" fmla="*/ 1241095 w 2048870"/>
                <a:gd name="connsiteY695" fmla="*/ 164211 h 1413227"/>
                <a:gd name="connsiteX696" fmla="*/ 1230724 w 2048870"/>
                <a:gd name="connsiteY696" fmla="*/ 160754 h 1413227"/>
                <a:gd name="connsiteX697" fmla="*/ 1215167 w 2048870"/>
                <a:gd name="connsiteY697" fmla="*/ 146926 h 1413227"/>
                <a:gd name="connsiteX698" fmla="*/ 1213439 w 2048870"/>
                <a:gd name="connsiteY698" fmla="*/ 140012 h 1413227"/>
                <a:gd name="connsiteX699" fmla="*/ 1206524 w 2048870"/>
                <a:gd name="connsiteY699" fmla="*/ 131369 h 1413227"/>
                <a:gd name="connsiteX700" fmla="*/ 1204796 w 2048870"/>
                <a:gd name="connsiteY700" fmla="*/ 122726 h 1413227"/>
                <a:gd name="connsiteX701" fmla="*/ 1190968 w 2048870"/>
                <a:gd name="connsiteY701" fmla="*/ 117541 h 1413227"/>
                <a:gd name="connsiteX702" fmla="*/ 1201339 w 2048870"/>
                <a:gd name="connsiteY702" fmla="*/ 105441 h 1413227"/>
                <a:gd name="connsiteX703" fmla="*/ 1208253 w 2048870"/>
                <a:gd name="connsiteY703" fmla="*/ 101984 h 1413227"/>
                <a:gd name="connsiteX704" fmla="*/ 1213439 w 2048870"/>
                <a:gd name="connsiteY704" fmla="*/ 95069 h 1413227"/>
                <a:gd name="connsiteX705" fmla="*/ 1218624 w 2048870"/>
                <a:gd name="connsiteY705" fmla="*/ 89884 h 1413227"/>
                <a:gd name="connsiteX706" fmla="*/ 1216896 w 2048870"/>
                <a:gd name="connsiteY706" fmla="*/ 84698 h 1413227"/>
                <a:gd name="connsiteX707" fmla="*/ 1206524 w 2048870"/>
                <a:gd name="connsiteY707" fmla="*/ 81241 h 1413227"/>
                <a:gd name="connsiteX708" fmla="*/ 1190968 w 2048870"/>
                <a:gd name="connsiteY708" fmla="*/ 76055 h 1413227"/>
                <a:gd name="connsiteX709" fmla="*/ 1175411 w 2048870"/>
                <a:gd name="connsiteY709" fmla="*/ 60499 h 1413227"/>
                <a:gd name="connsiteX710" fmla="*/ 1168496 w 2048870"/>
                <a:gd name="connsiteY710" fmla="*/ 53584 h 1413227"/>
                <a:gd name="connsiteX711" fmla="*/ 1165039 w 2048870"/>
                <a:gd name="connsiteY711" fmla="*/ 46670 h 1413227"/>
                <a:gd name="connsiteX712" fmla="*/ 1159854 w 2048870"/>
                <a:gd name="connsiteY712" fmla="*/ 39756 h 1413227"/>
                <a:gd name="connsiteX713" fmla="*/ 1151211 w 2048870"/>
                <a:gd name="connsiteY713" fmla="*/ 27656 h 1413227"/>
                <a:gd name="connsiteX714" fmla="*/ 1146025 w 2048870"/>
                <a:gd name="connsiteY714" fmla="*/ 24199 h 1413227"/>
                <a:gd name="connsiteX715" fmla="*/ 1140840 w 2048870"/>
                <a:gd name="connsiteY715" fmla="*/ 17285 h 1413227"/>
                <a:gd name="connsiteX716" fmla="*/ 1123554 w 2048870"/>
                <a:gd name="connsiteY716" fmla="*/ 3457 h 1413227"/>
                <a:gd name="connsiteX717" fmla="*/ 1116640 w 2048870"/>
                <a:gd name="connsiteY717" fmla="*/ 0 h 1413227"/>
                <a:gd name="connsiteX718" fmla="*/ 1102812 w 2048870"/>
                <a:gd name="connsiteY718" fmla="*/ 1728 h 1413227"/>
                <a:gd name="connsiteX719" fmla="*/ 1097626 w 2048870"/>
                <a:gd name="connsiteY719" fmla="*/ 3457 h 1413227"/>
                <a:gd name="connsiteX720" fmla="*/ 1090712 w 2048870"/>
                <a:gd name="connsiteY720" fmla="*/ 5185 h 1413227"/>
                <a:gd name="connsiteX721" fmla="*/ 1071698 w 2048870"/>
                <a:gd name="connsiteY721" fmla="*/ 17285 h 1413227"/>
                <a:gd name="connsiteX722" fmla="*/ 1056141 w 2048870"/>
                <a:gd name="connsiteY722" fmla="*/ 15556 h 1413227"/>
                <a:gd name="connsiteX723" fmla="*/ 1050955 w 2048870"/>
                <a:gd name="connsiteY723" fmla="*/ 19014 h 1413227"/>
                <a:gd name="connsiteX724" fmla="*/ 1042313 w 2048870"/>
                <a:gd name="connsiteY724" fmla="*/ 27656 h 1413227"/>
                <a:gd name="connsiteX725" fmla="*/ 1028484 w 2048870"/>
                <a:gd name="connsiteY725" fmla="*/ 38027 h 1413227"/>
                <a:gd name="connsiteX726" fmla="*/ 1025027 w 2048870"/>
                <a:gd name="connsiteY726" fmla="*/ 41485 h 1413227"/>
                <a:gd name="connsiteX727" fmla="*/ 1016385 w 2048870"/>
                <a:gd name="connsiteY727" fmla="*/ 46670 h 1413227"/>
                <a:gd name="connsiteX728" fmla="*/ 1012927 w 2048870"/>
                <a:gd name="connsiteY728" fmla="*/ 50127 h 1413227"/>
                <a:gd name="connsiteX729" fmla="*/ 997371 w 2048870"/>
                <a:gd name="connsiteY729" fmla="*/ 57041 h 1413227"/>
                <a:gd name="connsiteX730" fmla="*/ 973171 w 2048870"/>
                <a:gd name="connsiteY730" fmla="*/ 58770 h 1413227"/>
                <a:gd name="connsiteX731" fmla="*/ 967985 w 2048870"/>
                <a:gd name="connsiteY731" fmla="*/ 62227 h 1413227"/>
                <a:gd name="connsiteX732" fmla="*/ 966257 w 2048870"/>
                <a:gd name="connsiteY732" fmla="*/ 79513 h 1413227"/>
                <a:gd name="connsiteX733" fmla="*/ 962800 w 2048870"/>
                <a:gd name="connsiteY733" fmla="*/ 103712 h 1413227"/>
                <a:gd name="connsiteX734" fmla="*/ 961071 w 2048870"/>
                <a:gd name="connsiteY734" fmla="*/ 112355 h 1413227"/>
                <a:gd name="connsiteX735" fmla="*/ 916129 w 2048870"/>
                <a:gd name="connsiteY735" fmla="*/ 115812 h 1413227"/>
                <a:gd name="connsiteX736" fmla="*/ 910943 w 2048870"/>
                <a:gd name="connsiteY736" fmla="*/ 119269 h 1413227"/>
                <a:gd name="connsiteX737" fmla="*/ 905758 w 2048870"/>
                <a:gd name="connsiteY737" fmla="*/ 120998 h 1413227"/>
                <a:gd name="connsiteX738" fmla="*/ 893658 w 2048870"/>
                <a:gd name="connsiteY738" fmla="*/ 124455 h 1413227"/>
                <a:gd name="connsiteX739" fmla="*/ 888472 w 2048870"/>
                <a:gd name="connsiteY739" fmla="*/ 126183 h 1413227"/>
                <a:gd name="connsiteX740" fmla="*/ 895386 w 2048870"/>
                <a:gd name="connsiteY740" fmla="*/ 124455 h 1413227"/>
                <a:gd name="connsiteX741" fmla="*/ 904029 w 2048870"/>
                <a:gd name="connsiteY741" fmla="*/ 115812 h 1413227"/>
                <a:gd name="connsiteX742" fmla="*/ 966257 w 2048870"/>
                <a:gd name="connsiteY742" fmla="*/ 63956 h 1413227"/>
                <a:gd name="connsiteX0" fmla="*/ 966257 w 2048870"/>
                <a:gd name="connsiteY0" fmla="*/ 63956 h 1413227"/>
                <a:gd name="connsiteX1" fmla="*/ 962800 w 2048870"/>
                <a:gd name="connsiteY1" fmla="*/ 72598 h 1413227"/>
                <a:gd name="connsiteX2" fmla="*/ 919586 w 2048870"/>
                <a:gd name="connsiteY2" fmla="*/ 114083 h 1413227"/>
                <a:gd name="connsiteX3" fmla="*/ 902301 w 2048870"/>
                <a:gd name="connsiteY3" fmla="*/ 120998 h 1413227"/>
                <a:gd name="connsiteX4" fmla="*/ 885015 w 2048870"/>
                <a:gd name="connsiteY4" fmla="*/ 122726 h 1413227"/>
                <a:gd name="connsiteX5" fmla="*/ 878101 w 2048870"/>
                <a:gd name="connsiteY5" fmla="*/ 129640 h 1413227"/>
                <a:gd name="connsiteX6" fmla="*/ 855630 w 2048870"/>
                <a:gd name="connsiteY6" fmla="*/ 140012 h 1413227"/>
                <a:gd name="connsiteX7" fmla="*/ 850444 w 2048870"/>
                <a:gd name="connsiteY7" fmla="*/ 145197 h 1413227"/>
                <a:gd name="connsiteX8" fmla="*/ 831430 w 2048870"/>
                <a:gd name="connsiteY8" fmla="*/ 146926 h 1413227"/>
                <a:gd name="connsiteX9" fmla="*/ 808923 w 2048870"/>
                <a:gd name="connsiteY9" fmla="*/ 195183 h 1413227"/>
                <a:gd name="connsiteX10" fmla="*/ 817602 w 2048870"/>
                <a:gd name="connsiteY10" fmla="*/ 247181 h 1413227"/>
                <a:gd name="connsiteX11" fmla="*/ 821059 w 2048870"/>
                <a:gd name="connsiteY11" fmla="*/ 255824 h 1413227"/>
                <a:gd name="connsiteX12" fmla="*/ 826245 w 2048870"/>
                <a:gd name="connsiteY12" fmla="*/ 259281 h 1413227"/>
                <a:gd name="connsiteX13" fmla="*/ 833159 w 2048870"/>
                <a:gd name="connsiteY13" fmla="*/ 267924 h 1413227"/>
                <a:gd name="connsiteX14" fmla="*/ 836616 w 2048870"/>
                <a:gd name="connsiteY14" fmla="*/ 280024 h 1413227"/>
                <a:gd name="connsiteX15" fmla="*/ 834887 w 2048870"/>
                <a:gd name="connsiteY15" fmla="*/ 295581 h 1413227"/>
                <a:gd name="connsiteX16" fmla="*/ 821059 w 2048870"/>
                <a:gd name="connsiteY16" fmla="*/ 299038 h 1413227"/>
                <a:gd name="connsiteX17" fmla="*/ 800316 w 2048870"/>
                <a:gd name="connsiteY17" fmla="*/ 295581 h 1413227"/>
                <a:gd name="connsiteX18" fmla="*/ 786488 w 2048870"/>
                <a:gd name="connsiteY18" fmla="*/ 286938 h 1413227"/>
                <a:gd name="connsiteX19" fmla="*/ 781302 w 2048870"/>
                <a:gd name="connsiteY19" fmla="*/ 285209 h 1413227"/>
                <a:gd name="connsiteX20" fmla="*/ 774388 w 2048870"/>
                <a:gd name="connsiteY20" fmla="*/ 278295 h 1413227"/>
                <a:gd name="connsiteX21" fmla="*/ 767474 w 2048870"/>
                <a:gd name="connsiteY21" fmla="*/ 285209 h 1413227"/>
                <a:gd name="connsiteX22" fmla="*/ 758831 w 2048870"/>
                <a:gd name="connsiteY22" fmla="*/ 286938 h 1413227"/>
                <a:gd name="connsiteX23" fmla="*/ 751917 w 2048870"/>
                <a:gd name="connsiteY23" fmla="*/ 288666 h 1413227"/>
                <a:gd name="connsiteX24" fmla="*/ 746732 w 2048870"/>
                <a:gd name="connsiteY24" fmla="*/ 290395 h 1413227"/>
                <a:gd name="connsiteX25" fmla="*/ 722532 w 2048870"/>
                <a:gd name="connsiteY25" fmla="*/ 292124 h 1413227"/>
                <a:gd name="connsiteX26" fmla="*/ 720803 w 2048870"/>
                <a:gd name="connsiteY26" fmla="*/ 297309 h 1413227"/>
                <a:gd name="connsiteX27" fmla="*/ 701789 w 2048870"/>
                <a:gd name="connsiteY27" fmla="*/ 312866 h 1413227"/>
                <a:gd name="connsiteX28" fmla="*/ 686233 w 2048870"/>
                <a:gd name="connsiteY28" fmla="*/ 305952 h 1413227"/>
                <a:gd name="connsiteX29" fmla="*/ 684504 w 2048870"/>
                <a:gd name="connsiteY29" fmla="*/ 300766 h 1413227"/>
                <a:gd name="connsiteX30" fmla="*/ 681047 w 2048870"/>
                <a:gd name="connsiteY30" fmla="*/ 285209 h 1413227"/>
                <a:gd name="connsiteX31" fmla="*/ 649933 w 2048870"/>
                <a:gd name="connsiteY31" fmla="*/ 288666 h 1413227"/>
                <a:gd name="connsiteX32" fmla="*/ 646476 w 2048870"/>
                <a:gd name="connsiteY32" fmla="*/ 299038 h 1413227"/>
                <a:gd name="connsiteX33" fmla="*/ 639562 w 2048870"/>
                <a:gd name="connsiteY33" fmla="*/ 314595 h 1413227"/>
                <a:gd name="connsiteX34" fmla="*/ 634376 w 2048870"/>
                <a:gd name="connsiteY34" fmla="*/ 326694 h 1413227"/>
                <a:gd name="connsiteX35" fmla="*/ 629191 w 2048870"/>
                <a:gd name="connsiteY35" fmla="*/ 328423 h 1413227"/>
                <a:gd name="connsiteX36" fmla="*/ 613634 w 2048870"/>
                <a:gd name="connsiteY36" fmla="*/ 323237 h 1413227"/>
                <a:gd name="connsiteX37" fmla="*/ 601534 w 2048870"/>
                <a:gd name="connsiteY37" fmla="*/ 311138 h 1413227"/>
                <a:gd name="connsiteX38" fmla="*/ 572149 w 2048870"/>
                <a:gd name="connsiteY38" fmla="*/ 309409 h 1413227"/>
                <a:gd name="connsiteX39" fmla="*/ 566963 w 2048870"/>
                <a:gd name="connsiteY39" fmla="*/ 295581 h 1413227"/>
                <a:gd name="connsiteX40" fmla="*/ 563506 w 2048870"/>
                <a:gd name="connsiteY40" fmla="*/ 300766 h 1413227"/>
                <a:gd name="connsiteX41" fmla="*/ 558320 w 2048870"/>
                <a:gd name="connsiteY41" fmla="*/ 307680 h 1413227"/>
                <a:gd name="connsiteX42" fmla="*/ 549678 w 2048870"/>
                <a:gd name="connsiteY42" fmla="*/ 321509 h 1413227"/>
                <a:gd name="connsiteX43" fmla="*/ 509921 w 2048870"/>
                <a:gd name="connsiteY43" fmla="*/ 324966 h 1413227"/>
                <a:gd name="connsiteX44" fmla="*/ 515107 w 2048870"/>
                <a:gd name="connsiteY44" fmla="*/ 328423 h 1413227"/>
                <a:gd name="connsiteX45" fmla="*/ 525478 w 2048870"/>
                <a:gd name="connsiteY45" fmla="*/ 331880 h 1413227"/>
                <a:gd name="connsiteX46" fmla="*/ 523749 w 2048870"/>
                <a:gd name="connsiteY46" fmla="*/ 337066 h 1413227"/>
                <a:gd name="connsiteX47" fmla="*/ 516835 w 2048870"/>
                <a:gd name="connsiteY47" fmla="*/ 343980 h 1413227"/>
                <a:gd name="connsiteX48" fmla="*/ 511650 w 2048870"/>
                <a:gd name="connsiteY48" fmla="*/ 323237 h 1413227"/>
                <a:gd name="connsiteX49" fmla="*/ 483993 w 2048870"/>
                <a:gd name="connsiteY49" fmla="*/ 333609 h 1413227"/>
                <a:gd name="connsiteX50" fmla="*/ 478807 w 2048870"/>
                <a:gd name="connsiteY50" fmla="*/ 338794 h 1413227"/>
                <a:gd name="connsiteX51" fmla="*/ 466707 w 2048870"/>
                <a:gd name="connsiteY51" fmla="*/ 337066 h 1413227"/>
                <a:gd name="connsiteX52" fmla="*/ 463250 w 2048870"/>
                <a:gd name="connsiteY52" fmla="*/ 324966 h 1413227"/>
                <a:gd name="connsiteX53" fmla="*/ 454608 w 2048870"/>
                <a:gd name="connsiteY53" fmla="*/ 312866 h 1413227"/>
                <a:gd name="connsiteX54" fmla="*/ 449422 w 2048870"/>
                <a:gd name="connsiteY54" fmla="*/ 311138 h 1413227"/>
                <a:gd name="connsiteX55" fmla="*/ 425222 w 2048870"/>
                <a:gd name="connsiteY55" fmla="*/ 314595 h 1413227"/>
                <a:gd name="connsiteX56" fmla="*/ 273110 w 2048870"/>
                <a:gd name="connsiteY56" fmla="*/ 316323 h 1413227"/>
                <a:gd name="connsiteX57" fmla="*/ 262739 w 2048870"/>
                <a:gd name="connsiteY57" fmla="*/ 323237 h 1413227"/>
                <a:gd name="connsiteX58" fmla="*/ 255825 w 2048870"/>
                <a:gd name="connsiteY58" fmla="*/ 324966 h 1413227"/>
                <a:gd name="connsiteX59" fmla="*/ 250639 w 2048870"/>
                <a:gd name="connsiteY59" fmla="*/ 326694 h 1413227"/>
                <a:gd name="connsiteX60" fmla="*/ 238540 w 2048870"/>
                <a:gd name="connsiteY60" fmla="*/ 330152 h 1413227"/>
                <a:gd name="connsiteX61" fmla="*/ 200512 w 2048870"/>
                <a:gd name="connsiteY61" fmla="*/ 333609 h 1413227"/>
                <a:gd name="connsiteX62" fmla="*/ 188412 w 2048870"/>
                <a:gd name="connsiteY62" fmla="*/ 338794 h 1413227"/>
                <a:gd name="connsiteX63" fmla="*/ 176312 w 2048870"/>
                <a:gd name="connsiteY63" fmla="*/ 342251 h 1413227"/>
                <a:gd name="connsiteX64" fmla="*/ 146927 w 2048870"/>
                <a:gd name="connsiteY64" fmla="*/ 356080 h 1413227"/>
                <a:gd name="connsiteX65" fmla="*/ 138284 w 2048870"/>
                <a:gd name="connsiteY65" fmla="*/ 357808 h 1413227"/>
                <a:gd name="connsiteX66" fmla="*/ 136555 w 2048870"/>
                <a:gd name="connsiteY66" fmla="*/ 364722 h 1413227"/>
                <a:gd name="connsiteX67" fmla="*/ 134827 w 2048870"/>
                <a:gd name="connsiteY67" fmla="*/ 380279 h 1413227"/>
                <a:gd name="connsiteX68" fmla="*/ 127913 w 2048870"/>
                <a:gd name="connsiteY68" fmla="*/ 387193 h 1413227"/>
                <a:gd name="connsiteX69" fmla="*/ 126184 w 2048870"/>
                <a:gd name="connsiteY69" fmla="*/ 394108 h 1413227"/>
                <a:gd name="connsiteX70" fmla="*/ 124456 w 2048870"/>
                <a:gd name="connsiteY70" fmla="*/ 402750 h 1413227"/>
                <a:gd name="connsiteX71" fmla="*/ 117541 w 2048870"/>
                <a:gd name="connsiteY71" fmla="*/ 407936 h 1413227"/>
                <a:gd name="connsiteX72" fmla="*/ 105442 w 2048870"/>
                <a:gd name="connsiteY72" fmla="*/ 411393 h 1413227"/>
                <a:gd name="connsiteX73" fmla="*/ 100256 w 2048870"/>
                <a:gd name="connsiteY73" fmla="*/ 413122 h 1413227"/>
                <a:gd name="connsiteX74" fmla="*/ 70871 w 2048870"/>
                <a:gd name="connsiteY74" fmla="*/ 421764 h 1413227"/>
                <a:gd name="connsiteX75" fmla="*/ 67414 w 2048870"/>
                <a:gd name="connsiteY75" fmla="*/ 428679 h 1413227"/>
                <a:gd name="connsiteX76" fmla="*/ 69142 w 2048870"/>
                <a:gd name="connsiteY76" fmla="*/ 440778 h 1413227"/>
                <a:gd name="connsiteX77" fmla="*/ 65685 w 2048870"/>
                <a:gd name="connsiteY77" fmla="*/ 445964 h 1413227"/>
                <a:gd name="connsiteX78" fmla="*/ 63957 w 2048870"/>
                <a:gd name="connsiteY78" fmla="*/ 452878 h 1413227"/>
                <a:gd name="connsiteX79" fmla="*/ 69142 w 2048870"/>
                <a:gd name="connsiteY79" fmla="*/ 456335 h 1413227"/>
                <a:gd name="connsiteX80" fmla="*/ 74328 w 2048870"/>
                <a:gd name="connsiteY80" fmla="*/ 458064 h 1413227"/>
                <a:gd name="connsiteX81" fmla="*/ 84699 w 2048870"/>
                <a:gd name="connsiteY81" fmla="*/ 466707 h 1413227"/>
                <a:gd name="connsiteX82" fmla="*/ 81242 w 2048870"/>
                <a:gd name="connsiteY82" fmla="*/ 473621 h 1413227"/>
                <a:gd name="connsiteX83" fmla="*/ 77785 w 2048870"/>
                <a:gd name="connsiteY83" fmla="*/ 478806 h 1413227"/>
                <a:gd name="connsiteX84" fmla="*/ 79513 w 2048870"/>
                <a:gd name="connsiteY84" fmla="*/ 485721 h 1413227"/>
                <a:gd name="connsiteX85" fmla="*/ 72599 w 2048870"/>
                <a:gd name="connsiteY85" fmla="*/ 489178 h 1413227"/>
                <a:gd name="connsiteX86" fmla="*/ 63957 w 2048870"/>
                <a:gd name="connsiteY86" fmla="*/ 487449 h 1413227"/>
                <a:gd name="connsiteX87" fmla="*/ 76056 w 2048870"/>
                <a:gd name="connsiteY87" fmla="*/ 485721 h 1413227"/>
                <a:gd name="connsiteX88" fmla="*/ 86428 w 2048870"/>
                <a:gd name="connsiteY88" fmla="*/ 483992 h 1413227"/>
                <a:gd name="connsiteX89" fmla="*/ 84699 w 2048870"/>
                <a:gd name="connsiteY89" fmla="*/ 494363 h 1413227"/>
                <a:gd name="connsiteX90" fmla="*/ 86428 w 2048870"/>
                <a:gd name="connsiteY90" fmla="*/ 501277 h 1413227"/>
                <a:gd name="connsiteX91" fmla="*/ 96799 w 2048870"/>
                <a:gd name="connsiteY91" fmla="*/ 515106 h 1413227"/>
                <a:gd name="connsiteX92" fmla="*/ 101985 w 2048870"/>
                <a:gd name="connsiteY92" fmla="*/ 516834 h 1413227"/>
                <a:gd name="connsiteX93" fmla="*/ 114084 w 2048870"/>
                <a:gd name="connsiteY93" fmla="*/ 520291 h 1413227"/>
                <a:gd name="connsiteX94" fmla="*/ 102601 w 2048870"/>
                <a:gd name="connsiteY94" fmla="*/ 523095 h 1413227"/>
                <a:gd name="connsiteX95" fmla="*/ 106904 w 2048870"/>
                <a:gd name="connsiteY95" fmla="*/ 535847 h 1413227"/>
                <a:gd name="connsiteX96" fmla="*/ 124649 w 2048870"/>
                <a:gd name="connsiteY96" fmla="*/ 554668 h 1413227"/>
                <a:gd name="connsiteX97" fmla="*/ 134827 w 2048870"/>
                <a:gd name="connsiteY97" fmla="*/ 572148 h 1413227"/>
                <a:gd name="connsiteX98" fmla="*/ 140012 w 2048870"/>
                <a:gd name="connsiteY98" fmla="*/ 573876 h 1413227"/>
                <a:gd name="connsiteX99" fmla="*/ 143470 w 2048870"/>
                <a:gd name="connsiteY99" fmla="*/ 577333 h 1413227"/>
                <a:gd name="connsiteX100" fmla="*/ 146927 w 2048870"/>
                <a:gd name="connsiteY100" fmla="*/ 589433 h 1413227"/>
                <a:gd name="connsiteX101" fmla="*/ 150384 w 2048870"/>
                <a:gd name="connsiteY101" fmla="*/ 598076 h 1413227"/>
                <a:gd name="connsiteX102" fmla="*/ 148655 w 2048870"/>
                <a:gd name="connsiteY102" fmla="*/ 617090 h 1413227"/>
                <a:gd name="connsiteX103" fmla="*/ 146927 w 2048870"/>
                <a:gd name="connsiteY103" fmla="*/ 622276 h 1413227"/>
                <a:gd name="connsiteX104" fmla="*/ 141741 w 2048870"/>
                <a:gd name="connsiteY104" fmla="*/ 627461 h 1413227"/>
                <a:gd name="connsiteX105" fmla="*/ 136555 w 2048870"/>
                <a:gd name="connsiteY105" fmla="*/ 634375 h 1413227"/>
                <a:gd name="connsiteX106" fmla="*/ 120999 w 2048870"/>
                <a:gd name="connsiteY106" fmla="*/ 639561 h 1413227"/>
                <a:gd name="connsiteX107" fmla="*/ 95070 w 2048870"/>
                <a:gd name="connsiteY107" fmla="*/ 665489 h 1413227"/>
                <a:gd name="connsiteX108" fmla="*/ 89885 w 2048870"/>
                <a:gd name="connsiteY108" fmla="*/ 670675 h 1413227"/>
                <a:gd name="connsiteX109" fmla="*/ 86428 w 2048870"/>
                <a:gd name="connsiteY109" fmla="*/ 675860 h 1413227"/>
                <a:gd name="connsiteX110" fmla="*/ 81242 w 2048870"/>
                <a:gd name="connsiteY110" fmla="*/ 677589 h 1413227"/>
                <a:gd name="connsiteX111" fmla="*/ 77785 w 2048870"/>
                <a:gd name="connsiteY111" fmla="*/ 682775 h 1413227"/>
                <a:gd name="connsiteX112" fmla="*/ 63957 w 2048870"/>
                <a:gd name="connsiteY112" fmla="*/ 689689 h 1413227"/>
                <a:gd name="connsiteX113" fmla="*/ 60499 w 2048870"/>
                <a:gd name="connsiteY113" fmla="*/ 706974 h 1413227"/>
                <a:gd name="connsiteX114" fmla="*/ 50128 w 2048870"/>
                <a:gd name="connsiteY114" fmla="*/ 720803 h 1413227"/>
                <a:gd name="connsiteX115" fmla="*/ 48400 w 2048870"/>
                <a:gd name="connsiteY115" fmla="*/ 725988 h 1413227"/>
                <a:gd name="connsiteX116" fmla="*/ 46671 w 2048870"/>
                <a:gd name="connsiteY116" fmla="*/ 732902 h 1413227"/>
                <a:gd name="connsiteX117" fmla="*/ 25929 w 2048870"/>
                <a:gd name="connsiteY117" fmla="*/ 751916 h 1413227"/>
                <a:gd name="connsiteX118" fmla="*/ 19014 w 2048870"/>
                <a:gd name="connsiteY118" fmla="*/ 776116 h 1413227"/>
                <a:gd name="connsiteX119" fmla="*/ 12100 w 2048870"/>
                <a:gd name="connsiteY119" fmla="*/ 789944 h 1413227"/>
                <a:gd name="connsiteX120" fmla="*/ 17286 w 2048870"/>
                <a:gd name="connsiteY120" fmla="*/ 822787 h 1413227"/>
                <a:gd name="connsiteX121" fmla="*/ 25929 w 2048870"/>
                <a:gd name="connsiteY121" fmla="*/ 829701 h 1413227"/>
                <a:gd name="connsiteX122" fmla="*/ 29386 w 2048870"/>
                <a:gd name="connsiteY122" fmla="*/ 838344 h 1413227"/>
                <a:gd name="connsiteX123" fmla="*/ 36300 w 2048870"/>
                <a:gd name="connsiteY123" fmla="*/ 843529 h 1413227"/>
                <a:gd name="connsiteX124" fmla="*/ 38028 w 2048870"/>
                <a:gd name="connsiteY124" fmla="*/ 852172 h 1413227"/>
                <a:gd name="connsiteX125" fmla="*/ 43214 w 2048870"/>
                <a:gd name="connsiteY125" fmla="*/ 864272 h 1413227"/>
                <a:gd name="connsiteX126" fmla="*/ 44943 w 2048870"/>
                <a:gd name="connsiteY126" fmla="*/ 874643 h 1413227"/>
                <a:gd name="connsiteX127" fmla="*/ 51857 w 2048870"/>
                <a:gd name="connsiteY127" fmla="*/ 876372 h 1413227"/>
                <a:gd name="connsiteX128" fmla="*/ 53585 w 2048870"/>
                <a:gd name="connsiteY128" fmla="*/ 883286 h 1413227"/>
                <a:gd name="connsiteX129" fmla="*/ 58771 w 2048870"/>
                <a:gd name="connsiteY129" fmla="*/ 886743 h 1413227"/>
                <a:gd name="connsiteX130" fmla="*/ 51857 w 2048870"/>
                <a:gd name="connsiteY130" fmla="*/ 898843 h 1413227"/>
                <a:gd name="connsiteX131" fmla="*/ 43214 w 2048870"/>
                <a:gd name="connsiteY131" fmla="*/ 904028 h 1413227"/>
                <a:gd name="connsiteX132" fmla="*/ 29386 w 2048870"/>
                <a:gd name="connsiteY132" fmla="*/ 909214 h 1413227"/>
                <a:gd name="connsiteX133" fmla="*/ 27657 w 2048870"/>
                <a:gd name="connsiteY133" fmla="*/ 919585 h 1413227"/>
                <a:gd name="connsiteX134" fmla="*/ 11641 w 2048870"/>
                <a:gd name="connsiteY134" fmla="*/ 916974 h 1413227"/>
                <a:gd name="connsiteX135" fmla="*/ 19014 w 2048870"/>
                <a:gd name="connsiteY135" fmla="*/ 955885 h 1413227"/>
                <a:gd name="connsiteX136" fmla="*/ 10372 w 2048870"/>
                <a:gd name="connsiteY136" fmla="*/ 969713 h 1413227"/>
                <a:gd name="connsiteX137" fmla="*/ 8643 w 2048870"/>
                <a:gd name="connsiteY137" fmla="*/ 990455 h 1413227"/>
                <a:gd name="connsiteX138" fmla="*/ 0 w 2048870"/>
                <a:gd name="connsiteY138" fmla="*/ 999098 h 1413227"/>
                <a:gd name="connsiteX139" fmla="*/ 6915 w 2048870"/>
                <a:gd name="connsiteY139" fmla="*/ 1023298 h 1413227"/>
                <a:gd name="connsiteX140" fmla="*/ 15557 w 2048870"/>
                <a:gd name="connsiteY140" fmla="*/ 1025026 h 1413227"/>
                <a:gd name="connsiteX141" fmla="*/ 22471 w 2048870"/>
                <a:gd name="connsiteY141" fmla="*/ 1030212 h 1413227"/>
                <a:gd name="connsiteX142" fmla="*/ 27657 w 2048870"/>
                <a:gd name="connsiteY142" fmla="*/ 1031941 h 1413227"/>
                <a:gd name="connsiteX143" fmla="*/ 34571 w 2048870"/>
                <a:gd name="connsiteY143" fmla="*/ 1035398 h 1413227"/>
                <a:gd name="connsiteX144" fmla="*/ 39757 w 2048870"/>
                <a:gd name="connsiteY144" fmla="*/ 1042312 h 1413227"/>
                <a:gd name="connsiteX145" fmla="*/ 43214 w 2048870"/>
                <a:gd name="connsiteY145" fmla="*/ 1047497 h 1413227"/>
                <a:gd name="connsiteX146" fmla="*/ 53585 w 2048870"/>
                <a:gd name="connsiteY146" fmla="*/ 1052683 h 1413227"/>
                <a:gd name="connsiteX147" fmla="*/ 95070 w 2048870"/>
                <a:gd name="connsiteY147" fmla="*/ 1061326 h 1413227"/>
                <a:gd name="connsiteX148" fmla="*/ 96799 w 2048870"/>
                <a:gd name="connsiteY148" fmla="*/ 1073426 h 1413227"/>
                <a:gd name="connsiteX149" fmla="*/ 101985 w 2048870"/>
                <a:gd name="connsiteY149" fmla="*/ 1075154 h 1413227"/>
                <a:gd name="connsiteX150" fmla="*/ 112356 w 2048870"/>
                <a:gd name="connsiteY150" fmla="*/ 1066511 h 1413227"/>
                <a:gd name="connsiteX151" fmla="*/ 119270 w 2048870"/>
                <a:gd name="connsiteY151" fmla="*/ 1059597 h 1413227"/>
                <a:gd name="connsiteX152" fmla="*/ 120999 w 2048870"/>
                <a:gd name="connsiteY152" fmla="*/ 1054412 h 1413227"/>
                <a:gd name="connsiteX153" fmla="*/ 134827 w 2048870"/>
                <a:gd name="connsiteY153" fmla="*/ 1061326 h 1413227"/>
                <a:gd name="connsiteX154" fmla="*/ 141741 w 2048870"/>
                <a:gd name="connsiteY154" fmla="*/ 1063054 h 1413227"/>
                <a:gd name="connsiteX155" fmla="*/ 146927 w 2048870"/>
                <a:gd name="connsiteY155" fmla="*/ 1064783 h 1413227"/>
                <a:gd name="connsiteX156" fmla="*/ 247182 w 2048870"/>
                <a:gd name="connsiteY156" fmla="*/ 1068240 h 1413227"/>
                <a:gd name="connsiteX157" fmla="*/ 266196 w 2048870"/>
                <a:gd name="connsiteY157" fmla="*/ 1064783 h 1413227"/>
                <a:gd name="connsiteX158" fmla="*/ 276568 w 2048870"/>
                <a:gd name="connsiteY158" fmla="*/ 1059597 h 1413227"/>
                <a:gd name="connsiteX159" fmla="*/ 285210 w 2048870"/>
                <a:gd name="connsiteY159" fmla="*/ 1049226 h 1413227"/>
                <a:gd name="connsiteX160" fmla="*/ 295581 w 2048870"/>
                <a:gd name="connsiteY160" fmla="*/ 1052683 h 1413227"/>
                <a:gd name="connsiteX161" fmla="*/ 299039 w 2048870"/>
                <a:gd name="connsiteY161" fmla="*/ 1059597 h 1413227"/>
                <a:gd name="connsiteX162" fmla="*/ 312867 w 2048870"/>
                <a:gd name="connsiteY162" fmla="*/ 1071697 h 1413227"/>
                <a:gd name="connsiteX163" fmla="*/ 338795 w 2048870"/>
                <a:gd name="connsiteY163" fmla="*/ 1078611 h 1413227"/>
                <a:gd name="connsiteX164" fmla="*/ 361266 w 2048870"/>
                <a:gd name="connsiteY164" fmla="*/ 1075154 h 1413227"/>
                <a:gd name="connsiteX165" fmla="*/ 362995 w 2048870"/>
                <a:gd name="connsiteY165" fmla="*/ 1068240 h 1413227"/>
                <a:gd name="connsiteX166" fmla="*/ 373366 w 2048870"/>
                <a:gd name="connsiteY166" fmla="*/ 1050955 h 1413227"/>
                <a:gd name="connsiteX167" fmla="*/ 378552 w 2048870"/>
                <a:gd name="connsiteY167" fmla="*/ 1045769 h 1413227"/>
                <a:gd name="connsiteX168" fmla="*/ 397566 w 2048870"/>
                <a:gd name="connsiteY168" fmla="*/ 1038855 h 1413227"/>
                <a:gd name="connsiteX169" fmla="*/ 432137 w 2048870"/>
                <a:gd name="connsiteY169" fmla="*/ 1035398 h 1413227"/>
                <a:gd name="connsiteX170" fmla="*/ 444236 w 2048870"/>
                <a:gd name="connsiteY170" fmla="*/ 1031941 h 1413227"/>
                <a:gd name="connsiteX171" fmla="*/ 447693 w 2048870"/>
                <a:gd name="connsiteY171" fmla="*/ 1025026 h 1413227"/>
                <a:gd name="connsiteX172" fmla="*/ 452879 w 2048870"/>
                <a:gd name="connsiteY172" fmla="*/ 1021569 h 1413227"/>
                <a:gd name="connsiteX173" fmla="*/ 468436 w 2048870"/>
                <a:gd name="connsiteY173" fmla="*/ 1011198 h 1413227"/>
                <a:gd name="connsiteX174" fmla="*/ 473622 w 2048870"/>
                <a:gd name="connsiteY174" fmla="*/ 999098 h 1413227"/>
                <a:gd name="connsiteX175" fmla="*/ 478807 w 2048870"/>
                <a:gd name="connsiteY175" fmla="*/ 986998 h 1413227"/>
                <a:gd name="connsiteX176" fmla="*/ 485721 w 2048870"/>
                <a:gd name="connsiteY176" fmla="*/ 980084 h 1413227"/>
                <a:gd name="connsiteX177" fmla="*/ 489178 w 2048870"/>
                <a:gd name="connsiteY177" fmla="*/ 974899 h 1413227"/>
                <a:gd name="connsiteX178" fmla="*/ 511650 w 2048870"/>
                <a:gd name="connsiteY178" fmla="*/ 955885 h 1413227"/>
                <a:gd name="connsiteX179" fmla="*/ 530664 w 2048870"/>
                <a:gd name="connsiteY179" fmla="*/ 947242 h 1413227"/>
                <a:gd name="connsiteX180" fmla="*/ 537578 w 2048870"/>
                <a:gd name="connsiteY180" fmla="*/ 933414 h 1413227"/>
                <a:gd name="connsiteX181" fmla="*/ 539306 w 2048870"/>
                <a:gd name="connsiteY181" fmla="*/ 928228 h 1413227"/>
                <a:gd name="connsiteX182" fmla="*/ 541035 w 2048870"/>
                <a:gd name="connsiteY182" fmla="*/ 921314 h 1413227"/>
                <a:gd name="connsiteX183" fmla="*/ 563506 w 2048870"/>
                <a:gd name="connsiteY183" fmla="*/ 917857 h 1413227"/>
                <a:gd name="connsiteX184" fmla="*/ 568692 w 2048870"/>
                <a:gd name="connsiteY184" fmla="*/ 916128 h 1413227"/>
                <a:gd name="connsiteX185" fmla="*/ 584248 w 2048870"/>
                <a:gd name="connsiteY185" fmla="*/ 914400 h 1413227"/>
                <a:gd name="connsiteX186" fmla="*/ 589434 w 2048870"/>
                <a:gd name="connsiteY186" fmla="*/ 910942 h 1413227"/>
                <a:gd name="connsiteX187" fmla="*/ 599805 w 2048870"/>
                <a:gd name="connsiteY187" fmla="*/ 905757 h 1413227"/>
                <a:gd name="connsiteX188" fmla="*/ 604991 w 2048870"/>
                <a:gd name="connsiteY188" fmla="*/ 900571 h 1413227"/>
                <a:gd name="connsiteX189" fmla="*/ 606719 w 2048870"/>
                <a:gd name="connsiteY189" fmla="*/ 895386 h 1413227"/>
                <a:gd name="connsiteX190" fmla="*/ 615362 w 2048870"/>
                <a:gd name="connsiteY190" fmla="*/ 891928 h 1413227"/>
                <a:gd name="connsiteX191" fmla="*/ 620548 w 2048870"/>
                <a:gd name="connsiteY191" fmla="*/ 886743 h 1413227"/>
                <a:gd name="connsiteX192" fmla="*/ 639562 w 2048870"/>
                <a:gd name="connsiteY192" fmla="*/ 879829 h 1413227"/>
                <a:gd name="connsiteX193" fmla="*/ 653390 w 2048870"/>
                <a:gd name="connsiteY193" fmla="*/ 883286 h 1413227"/>
                <a:gd name="connsiteX194" fmla="*/ 660304 w 2048870"/>
                <a:gd name="connsiteY194" fmla="*/ 885014 h 1413227"/>
                <a:gd name="connsiteX195" fmla="*/ 668947 w 2048870"/>
                <a:gd name="connsiteY195" fmla="*/ 886743 h 1413227"/>
                <a:gd name="connsiteX196" fmla="*/ 675861 w 2048870"/>
                <a:gd name="connsiteY196" fmla="*/ 890200 h 1413227"/>
                <a:gd name="connsiteX197" fmla="*/ 682775 w 2048870"/>
                <a:gd name="connsiteY197" fmla="*/ 891928 h 1413227"/>
                <a:gd name="connsiteX198" fmla="*/ 687961 w 2048870"/>
                <a:gd name="connsiteY198" fmla="*/ 895386 h 1413227"/>
                <a:gd name="connsiteX199" fmla="*/ 700061 w 2048870"/>
                <a:gd name="connsiteY199" fmla="*/ 898843 h 1413227"/>
                <a:gd name="connsiteX200" fmla="*/ 706975 w 2048870"/>
                <a:gd name="connsiteY200" fmla="*/ 904028 h 1413227"/>
                <a:gd name="connsiteX201" fmla="*/ 720803 w 2048870"/>
                <a:gd name="connsiteY201" fmla="*/ 907485 h 1413227"/>
                <a:gd name="connsiteX202" fmla="*/ 727718 w 2048870"/>
                <a:gd name="connsiteY202" fmla="*/ 905757 h 1413227"/>
                <a:gd name="connsiteX203" fmla="*/ 736360 w 2048870"/>
                <a:gd name="connsiteY203" fmla="*/ 904028 h 1413227"/>
                <a:gd name="connsiteX204" fmla="*/ 738089 w 2048870"/>
                <a:gd name="connsiteY204" fmla="*/ 910942 h 1413227"/>
                <a:gd name="connsiteX205" fmla="*/ 760560 w 2048870"/>
                <a:gd name="connsiteY205" fmla="*/ 904028 h 1413227"/>
                <a:gd name="connsiteX206" fmla="*/ 770931 w 2048870"/>
                <a:gd name="connsiteY206" fmla="*/ 895386 h 1413227"/>
                <a:gd name="connsiteX207" fmla="*/ 776117 w 2048870"/>
                <a:gd name="connsiteY207" fmla="*/ 909214 h 1413227"/>
                <a:gd name="connsiteX208" fmla="*/ 783031 w 2048870"/>
                <a:gd name="connsiteY208" fmla="*/ 914400 h 1413227"/>
                <a:gd name="connsiteX209" fmla="*/ 788217 w 2048870"/>
                <a:gd name="connsiteY209" fmla="*/ 919585 h 1413227"/>
                <a:gd name="connsiteX210" fmla="*/ 793402 w 2048870"/>
                <a:gd name="connsiteY210" fmla="*/ 923042 h 1413227"/>
                <a:gd name="connsiteX211" fmla="*/ 798588 w 2048870"/>
                <a:gd name="connsiteY211" fmla="*/ 928228 h 1413227"/>
                <a:gd name="connsiteX212" fmla="*/ 815873 w 2048870"/>
                <a:gd name="connsiteY212" fmla="*/ 935142 h 1413227"/>
                <a:gd name="connsiteX213" fmla="*/ 821059 w 2048870"/>
                <a:gd name="connsiteY213" fmla="*/ 926499 h 1413227"/>
                <a:gd name="connsiteX214" fmla="*/ 824516 w 2048870"/>
                <a:gd name="connsiteY214" fmla="*/ 910942 h 1413227"/>
                <a:gd name="connsiteX215" fmla="*/ 833159 w 2048870"/>
                <a:gd name="connsiteY215" fmla="*/ 912671 h 1413227"/>
                <a:gd name="connsiteX216" fmla="*/ 838344 w 2048870"/>
                <a:gd name="connsiteY216" fmla="*/ 926499 h 1413227"/>
                <a:gd name="connsiteX217" fmla="*/ 841802 w 2048870"/>
                <a:gd name="connsiteY217" fmla="*/ 929956 h 1413227"/>
                <a:gd name="connsiteX218" fmla="*/ 850444 w 2048870"/>
                <a:gd name="connsiteY218" fmla="*/ 948970 h 1413227"/>
                <a:gd name="connsiteX219" fmla="*/ 853901 w 2048870"/>
                <a:gd name="connsiteY219" fmla="*/ 954156 h 1413227"/>
                <a:gd name="connsiteX220" fmla="*/ 859087 w 2048870"/>
                <a:gd name="connsiteY220" fmla="*/ 988727 h 1413227"/>
                <a:gd name="connsiteX221" fmla="*/ 864273 w 2048870"/>
                <a:gd name="connsiteY221" fmla="*/ 1009469 h 1413227"/>
                <a:gd name="connsiteX222" fmla="*/ 878101 w 2048870"/>
                <a:gd name="connsiteY222" fmla="*/ 1012927 h 1413227"/>
                <a:gd name="connsiteX223" fmla="*/ 885015 w 2048870"/>
                <a:gd name="connsiteY223" fmla="*/ 1016384 h 1413227"/>
                <a:gd name="connsiteX224" fmla="*/ 888472 w 2048870"/>
                <a:gd name="connsiteY224" fmla="*/ 1021569 h 1413227"/>
                <a:gd name="connsiteX225" fmla="*/ 900572 w 2048870"/>
                <a:gd name="connsiteY225" fmla="*/ 1026755 h 1413227"/>
                <a:gd name="connsiteX226" fmla="*/ 905758 w 2048870"/>
                <a:gd name="connsiteY226" fmla="*/ 1033669 h 1413227"/>
                <a:gd name="connsiteX227" fmla="*/ 909215 w 2048870"/>
                <a:gd name="connsiteY227" fmla="*/ 1040583 h 1413227"/>
                <a:gd name="connsiteX228" fmla="*/ 912672 w 2048870"/>
                <a:gd name="connsiteY228" fmla="*/ 1045769 h 1413227"/>
                <a:gd name="connsiteX229" fmla="*/ 921315 w 2048870"/>
                <a:gd name="connsiteY229" fmla="*/ 1061326 h 1413227"/>
                <a:gd name="connsiteX230" fmla="*/ 928229 w 2048870"/>
                <a:gd name="connsiteY230" fmla="*/ 1082068 h 1413227"/>
                <a:gd name="connsiteX231" fmla="*/ 929957 w 2048870"/>
                <a:gd name="connsiteY231" fmla="*/ 1088983 h 1413227"/>
                <a:gd name="connsiteX232" fmla="*/ 940329 w 2048870"/>
                <a:gd name="connsiteY232" fmla="*/ 1095897 h 1413227"/>
                <a:gd name="connsiteX233" fmla="*/ 959343 w 2048870"/>
                <a:gd name="connsiteY233" fmla="*/ 1097625 h 1413227"/>
                <a:gd name="connsiteX234" fmla="*/ 967985 w 2048870"/>
                <a:gd name="connsiteY234" fmla="*/ 1101082 h 1413227"/>
                <a:gd name="connsiteX235" fmla="*/ 973171 w 2048870"/>
                <a:gd name="connsiteY235" fmla="*/ 1106268 h 1413227"/>
                <a:gd name="connsiteX236" fmla="*/ 978357 w 2048870"/>
                <a:gd name="connsiteY236" fmla="*/ 1109725 h 1413227"/>
                <a:gd name="connsiteX237" fmla="*/ 983542 w 2048870"/>
                <a:gd name="connsiteY237" fmla="*/ 1118368 h 1413227"/>
                <a:gd name="connsiteX238" fmla="*/ 985271 w 2048870"/>
                <a:gd name="connsiteY238" fmla="*/ 1132196 h 1413227"/>
                <a:gd name="connsiteX239" fmla="*/ 992185 w 2048870"/>
                <a:gd name="connsiteY239" fmla="*/ 1139110 h 1413227"/>
                <a:gd name="connsiteX240" fmla="*/ 1006013 w 2048870"/>
                <a:gd name="connsiteY240" fmla="*/ 1147753 h 1413227"/>
                <a:gd name="connsiteX241" fmla="*/ 1019842 w 2048870"/>
                <a:gd name="connsiteY241" fmla="*/ 1165038 h 1413227"/>
                <a:gd name="connsiteX242" fmla="*/ 1012927 w 2048870"/>
                <a:gd name="connsiteY242" fmla="*/ 1168496 h 1413227"/>
                <a:gd name="connsiteX243" fmla="*/ 1009470 w 2048870"/>
                <a:gd name="connsiteY243" fmla="*/ 1173681 h 1413227"/>
                <a:gd name="connsiteX244" fmla="*/ 997371 w 2048870"/>
                <a:gd name="connsiteY244" fmla="*/ 1177138 h 1413227"/>
                <a:gd name="connsiteX245" fmla="*/ 990456 w 2048870"/>
                <a:gd name="connsiteY245" fmla="*/ 1182324 h 1413227"/>
                <a:gd name="connsiteX246" fmla="*/ 973171 w 2048870"/>
                <a:gd name="connsiteY246" fmla="*/ 1182324 h 1413227"/>
                <a:gd name="connsiteX247" fmla="*/ 971442 w 2048870"/>
                <a:gd name="connsiteY247" fmla="*/ 1161581 h 1413227"/>
                <a:gd name="connsiteX248" fmla="*/ 962800 w 2048870"/>
                <a:gd name="connsiteY248" fmla="*/ 1171953 h 1413227"/>
                <a:gd name="connsiteX249" fmla="*/ 959343 w 2048870"/>
                <a:gd name="connsiteY249" fmla="*/ 1178867 h 1413227"/>
                <a:gd name="connsiteX250" fmla="*/ 955885 w 2048870"/>
                <a:gd name="connsiteY250" fmla="*/ 1184052 h 1413227"/>
                <a:gd name="connsiteX251" fmla="*/ 947243 w 2048870"/>
                <a:gd name="connsiteY251" fmla="*/ 1187510 h 1413227"/>
                <a:gd name="connsiteX252" fmla="*/ 940329 w 2048870"/>
                <a:gd name="connsiteY252" fmla="*/ 1190967 h 1413227"/>
                <a:gd name="connsiteX253" fmla="*/ 935143 w 2048870"/>
                <a:gd name="connsiteY253" fmla="*/ 1189238 h 1413227"/>
                <a:gd name="connsiteX254" fmla="*/ 929957 w 2048870"/>
                <a:gd name="connsiteY254" fmla="*/ 1171953 h 1413227"/>
                <a:gd name="connsiteX255" fmla="*/ 926500 w 2048870"/>
                <a:gd name="connsiteY255" fmla="*/ 1165038 h 1413227"/>
                <a:gd name="connsiteX256" fmla="*/ 921315 w 2048870"/>
                <a:gd name="connsiteY256" fmla="*/ 1178867 h 1413227"/>
                <a:gd name="connsiteX257" fmla="*/ 917857 w 2048870"/>
                <a:gd name="connsiteY257" fmla="*/ 1182324 h 1413227"/>
                <a:gd name="connsiteX258" fmla="*/ 914400 w 2048870"/>
                <a:gd name="connsiteY258" fmla="*/ 1194424 h 1413227"/>
                <a:gd name="connsiteX259" fmla="*/ 909215 w 2048870"/>
                <a:gd name="connsiteY259" fmla="*/ 1199609 h 1413227"/>
                <a:gd name="connsiteX260" fmla="*/ 886744 w 2048870"/>
                <a:gd name="connsiteY260" fmla="*/ 1180595 h 1413227"/>
                <a:gd name="connsiteX261" fmla="*/ 883287 w 2048870"/>
                <a:gd name="connsiteY261" fmla="*/ 1189238 h 1413227"/>
                <a:gd name="connsiteX262" fmla="*/ 879830 w 2048870"/>
                <a:gd name="connsiteY262" fmla="*/ 1194424 h 1413227"/>
                <a:gd name="connsiteX263" fmla="*/ 874644 w 2048870"/>
                <a:gd name="connsiteY263" fmla="*/ 1204795 h 1413227"/>
                <a:gd name="connsiteX264" fmla="*/ 879830 w 2048870"/>
                <a:gd name="connsiteY264" fmla="*/ 1211709 h 1413227"/>
                <a:gd name="connsiteX265" fmla="*/ 890201 w 2048870"/>
                <a:gd name="connsiteY265" fmla="*/ 1215166 h 1413227"/>
                <a:gd name="connsiteX266" fmla="*/ 893658 w 2048870"/>
                <a:gd name="connsiteY266" fmla="*/ 1235909 h 1413227"/>
                <a:gd name="connsiteX267" fmla="*/ 891929 w 2048870"/>
                <a:gd name="connsiteY267" fmla="*/ 1258380 h 1413227"/>
                <a:gd name="connsiteX268" fmla="*/ 890201 w 2048870"/>
                <a:gd name="connsiteY268" fmla="*/ 1263565 h 1413227"/>
                <a:gd name="connsiteX269" fmla="*/ 878101 w 2048870"/>
                <a:gd name="connsiteY269" fmla="*/ 1275665 h 1413227"/>
                <a:gd name="connsiteX270" fmla="*/ 871187 w 2048870"/>
                <a:gd name="connsiteY270" fmla="*/ 1282579 h 1413227"/>
                <a:gd name="connsiteX271" fmla="*/ 876372 w 2048870"/>
                <a:gd name="connsiteY271" fmla="*/ 1287765 h 1413227"/>
                <a:gd name="connsiteX272" fmla="*/ 874644 w 2048870"/>
                <a:gd name="connsiteY272" fmla="*/ 1306779 h 1413227"/>
                <a:gd name="connsiteX273" fmla="*/ 869458 w 2048870"/>
                <a:gd name="connsiteY273" fmla="*/ 1308508 h 1413227"/>
                <a:gd name="connsiteX274" fmla="*/ 864273 w 2048870"/>
                <a:gd name="connsiteY274" fmla="*/ 1320607 h 1413227"/>
                <a:gd name="connsiteX275" fmla="*/ 858371 w 2048870"/>
                <a:gd name="connsiteY275" fmla="*/ 1338987 h 1413227"/>
                <a:gd name="connsiteX276" fmla="*/ 862544 w 2048870"/>
                <a:gd name="connsiteY276" fmla="*/ 1360364 h 1413227"/>
                <a:gd name="connsiteX277" fmla="*/ 857358 w 2048870"/>
                <a:gd name="connsiteY277" fmla="*/ 1363821 h 1413227"/>
                <a:gd name="connsiteX278" fmla="*/ 852173 w 2048870"/>
                <a:gd name="connsiteY278" fmla="*/ 1365550 h 1413227"/>
                <a:gd name="connsiteX279" fmla="*/ 850444 w 2048870"/>
                <a:gd name="connsiteY279" fmla="*/ 1370735 h 1413227"/>
                <a:gd name="connsiteX280" fmla="*/ 838344 w 2048870"/>
                <a:gd name="connsiteY280" fmla="*/ 1379378 h 1413227"/>
                <a:gd name="connsiteX281" fmla="*/ 841802 w 2048870"/>
                <a:gd name="connsiteY281" fmla="*/ 1389749 h 1413227"/>
                <a:gd name="connsiteX282" fmla="*/ 840497 w 2048870"/>
                <a:gd name="connsiteY282" fmla="*/ 1405535 h 1413227"/>
                <a:gd name="connsiteX283" fmla="*/ 835505 w 2048870"/>
                <a:gd name="connsiteY283" fmla="*/ 1401197 h 1413227"/>
                <a:gd name="connsiteX284" fmla="*/ 854324 w 2048870"/>
                <a:gd name="connsiteY284" fmla="*/ 1410492 h 1413227"/>
                <a:gd name="connsiteX285" fmla="*/ 885015 w 2048870"/>
                <a:gd name="connsiteY285" fmla="*/ 1408763 h 1413227"/>
                <a:gd name="connsiteX286" fmla="*/ 890201 w 2048870"/>
                <a:gd name="connsiteY286" fmla="*/ 1413103 h 1413227"/>
                <a:gd name="connsiteX287" fmla="*/ 921633 w 2048870"/>
                <a:gd name="connsiteY287" fmla="*/ 1403013 h 1413227"/>
                <a:gd name="connsiteX288" fmla="*/ 932427 w 2048870"/>
                <a:gd name="connsiteY288" fmla="*/ 1394371 h 1413227"/>
                <a:gd name="connsiteX289" fmla="*/ 933873 w 2048870"/>
                <a:gd name="connsiteY289" fmla="*/ 1386010 h 1413227"/>
                <a:gd name="connsiteX290" fmla="*/ 943362 w 2048870"/>
                <a:gd name="connsiteY290" fmla="*/ 1367278 h 1413227"/>
                <a:gd name="connsiteX291" fmla="*/ 943786 w 2048870"/>
                <a:gd name="connsiteY291" fmla="*/ 1362093 h 1413227"/>
                <a:gd name="connsiteX292" fmla="*/ 954157 w 2048870"/>
                <a:gd name="connsiteY292" fmla="*/ 1360364 h 1413227"/>
                <a:gd name="connsiteX293" fmla="*/ 993913 w 2048870"/>
                <a:gd name="connsiteY293" fmla="*/ 1356907 h 1413227"/>
                <a:gd name="connsiteX294" fmla="*/ 997371 w 2048870"/>
                <a:gd name="connsiteY294" fmla="*/ 1349993 h 1413227"/>
                <a:gd name="connsiteX295" fmla="*/ 1009470 w 2048870"/>
                <a:gd name="connsiteY295" fmla="*/ 1344807 h 1413227"/>
                <a:gd name="connsiteX296" fmla="*/ 997371 w 2048870"/>
                <a:gd name="connsiteY296" fmla="*/ 1334436 h 1413227"/>
                <a:gd name="connsiteX297" fmla="*/ 993913 w 2048870"/>
                <a:gd name="connsiteY297" fmla="*/ 1327522 h 1413227"/>
                <a:gd name="connsiteX298" fmla="*/ 988728 w 2048870"/>
                <a:gd name="connsiteY298" fmla="*/ 1322336 h 1413227"/>
                <a:gd name="connsiteX299" fmla="*/ 985271 w 2048870"/>
                <a:gd name="connsiteY299" fmla="*/ 1310236 h 1413227"/>
                <a:gd name="connsiteX300" fmla="*/ 981814 w 2048870"/>
                <a:gd name="connsiteY300" fmla="*/ 1299865 h 1413227"/>
                <a:gd name="connsiteX301" fmla="*/ 990456 w 2048870"/>
                <a:gd name="connsiteY301" fmla="*/ 1287765 h 1413227"/>
                <a:gd name="connsiteX302" fmla="*/ 992185 w 2048870"/>
                <a:gd name="connsiteY302" fmla="*/ 1292951 h 1413227"/>
                <a:gd name="connsiteX303" fmla="*/ 1014656 w 2048870"/>
                <a:gd name="connsiteY303" fmla="*/ 1299865 h 1413227"/>
                <a:gd name="connsiteX304" fmla="*/ 1016385 w 2048870"/>
                <a:gd name="connsiteY304" fmla="*/ 1294679 h 1413227"/>
                <a:gd name="connsiteX305" fmla="*/ 1018113 w 2048870"/>
                <a:gd name="connsiteY305" fmla="*/ 1284308 h 1413227"/>
                <a:gd name="connsiteX306" fmla="*/ 1031941 w 2048870"/>
                <a:gd name="connsiteY306" fmla="*/ 1270480 h 1413227"/>
                <a:gd name="connsiteX307" fmla="*/ 1037127 w 2048870"/>
                <a:gd name="connsiteY307" fmla="*/ 1265294 h 1413227"/>
                <a:gd name="connsiteX308" fmla="*/ 1038856 w 2048870"/>
                <a:gd name="connsiteY308" fmla="*/ 1260108 h 1413227"/>
                <a:gd name="connsiteX309" fmla="*/ 1054412 w 2048870"/>
                <a:gd name="connsiteY309" fmla="*/ 1251466 h 1413227"/>
                <a:gd name="connsiteX310" fmla="*/ 1063055 w 2048870"/>
                <a:gd name="connsiteY310" fmla="*/ 1242823 h 1413227"/>
                <a:gd name="connsiteX311" fmla="*/ 1068241 w 2048870"/>
                <a:gd name="connsiteY311" fmla="*/ 1223809 h 1413227"/>
                <a:gd name="connsiteX312" fmla="*/ 1069969 w 2048870"/>
                <a:gd name="connsiteY312" fmla="*/ 1215166 h 1413227"/>
                <a:gd name="connsiteX313" fmla="*/ 1075155 w 2048870"/>
                <a:gd name="connsiteY313" fmla="*/ 1201338 h 1413227"/>
                <a:gd name="connsiteX314" fmla="*/ 1080341 w 2048870"/>
                <a:gd name="connsiteY314" fmla="*/ 1175410 h 1413227"/>
                <a:gd name="connsiteX315" fmla="*/ 1082069 w 2048870"/>
                <a:gd name="connsiteY315" fmla="*/ 1170224 h 1413227"/>
                <a:gd name="connsiteX316" fmla="*/ 1083798 w 2048870"/>
                <a:gd name="connsiteY316" fmla="*/ 1161581 h 1413227"/>
                <a:gd name="connsiteX317" fmla="*/ 1085526 w 2048870"/>
                <a:gd name="connsiteY317" fmla="*/ 1156396 h 1413227"/>
                <a:gd name="connsiteX318" fmla="*/ 1087255 w 2048870"/>
                <a:gd name="connsiteY318" fmla="*/ 1147753 h 1413227"/>
                <a:gd name="connsiteX319" fmla="*/ 1097626 w 2048870"/>
                <a:gd name="connsiteY319" fmla="*/ 1128739 h 1413227"/>
                <a:gd name="connsiteX320" fmla="*/ 1099355 w 2048870"/>
                <a:gd name="connsiteY320" fmla="*/ 1111454 h 1413227"/>
                <a:gd name="connsiteX321" fmla="*/ 1106269 w 2048870"/>
                <a:gd name="connsiteY321" fmla="*/ 1097625 h 1413227"/>
                <a:gd name="connsiteX322" fmla="*/ 1111454 w 2048870"/>
                <a:gd name="connsiteY322" fmla="*/ 1095897 h 1413227"/>
                <a:gd name="connsiteX323" fmla="*/ 1127011 w 2048870"/>
                <a:gd name="connsiteY323" fmla="*/ 1094168 h 1413227"/>
                <a:gd name="connsiteX324" fmla="*/ 1132197 w 2048870"/>
                <a:gd name="connsiteY324" fmla="*/ 1088983 h 1413227"/>
                <a:gd name="connsiteX325" fmla="*/ 1166768 w 2048870"/>
                <a:gd name="connsiteY325" fmla="*/ 1083797 h 1413227"/>
                <a:gd name="connsiteX326" fmla="*/ 1175411 w 2048870"/>
                <a:gd name="connsiteY326" fmla="*/ 1073426 h 1413227"/>
                <a:gd name="connsiteX327" fmla="*/ 1177139 w 2048870"/>
                <a:gd name="connsiteY327" fmla="*/ 1061326 h 1413227"/>
                <a:gd name="connsiteX328" fmla="*/ 1170225 w 2048870"/>
                <a:gd name="connsiteY328" fmla="*/ 1047497 h 1413227"/>
                <a:gd name="connsiteX329" fmla="*/ 1163311 w 2048870"/>
                <a:gd name="connsiteY329" fmla="*/ 1050955 h 1413227"/>
                <a:gd name="connsiteX330" fmla="*/ 1166768 w 2048870"/>
                <a:gd name="connsiteY330" fmla="*/ 1068240 h 1413227"/>
                <a:gd name="connsiteX331" fmla="*/ 1170225 w 2048870"/>
                <a:gd name="connsiteY331" fmla="*/ 1076883 h 1413227"/>
                <a:gd name="connsiteX332" fmla="*/ 1182325 w 2048870"/>
                <a:gd name="connsiteY332" fmla="*/ 1080340 h 1413227"/>
                <a:gd name="connsiteX333" fmla="*/ 1206524 w 2048870"/>
                <a:gd name="connsiteY333" fmla="*/ 1078611 h 1413227"/>
                <a:gd name="connsiteX334" fmla="*/ 1211710 w 2048870"/>
                <a:gd name="connsiteY334" fmla="*/ 1073426 h 1413227"/>
                <a:gd name="connsiteX335" fmla="*/ 1218624 w 2048870"/>
                <a:gd name="connsiteY335" fmla="*/ 1057869 h 1413227"/>
                <a:gd name="connsiteX336" fmla="*/ 1220353 w 2048870"/>
                <a:gd name="connsiteY336" fmla="*/ 1044040 h 1413227"/>
                <a:gd name="connsiteX337" fmla="*/ 1218624 w 2048870"/>
                <a:gd name="connsiteY337" fmla="*/ 1014655 h 1413227"/>
                <a:gd name="connsiteX338" fmla="*/ 1211710 w 2048870"/>
                <a:gd name="connsiteY338" fmla="*/ 997370 h 1413227"/>
                <a:gd name="connsiteX339" fmla="*/ 1206524 w 2048870"/>
                <a:gd name="connsiteY339" fmla="*/ 993913 h 1413227"/>
                <a:gd name="connsiteX340" fmla="*/ 1184053 w 2048870"/>
                <a:gd name="connsiteY340" fmla="*/ 973170 h 1413227"/>
                <a:gd name="connsiteX341" fmla="*/ 1173682 w 2048870"/>
                <a:gd name="connsiteY341" fmla="*/ 962799 h 1413227"/>
                <a:gd name="connsiteX342" fmla="*/ 1168496 w 2048870"/>
                <a:gd name="connsiteY342" fmla="*/ 957613 h 1413227"/>
                <a:gd name="connsiteX343" fmla="*/ 1171954 w 2048870"/>
                <a:gd name="connsiteY343" fmla="*/ 961070 h 1413227"/>
                <a:gd name="connsiteX344" fmla="*/ 1178868 w 2048870"/>
                <a:gd name="connsiteY344" fmla="*/ 971441 h 1413227"/>
                <a:gd name="connsiteX345" fmla="*/ 1185782 w 2048870"/>
                <a:gd name="connsiteY345" fmla="*/ 980084 h 1413227"/>
                <a:gd name="connsiteX346" fmla="*/ 1190968 w 2048870"/>
                <a:gd name="connsiteY346" fmla="*/ 985270 h 1413227"/>
                <a:gd name="connsiteX347" fmla="*/ 1194425 w 2048870"/>
                <a:gd name="connsiteY347" fmla="*/ 993913 h 1413227"/>
                <a:gd name="connsiteX348" fmla="*/ 1206524 w 2048870"/>
                <a:gd name="connsiteY348" fmla="*/ 1007741 h 1413227"/>
                <a:gd name="connsiteX349" fmla="*/ 1208253 w 2048870"/>
                <a:gd name="connsiteY349" fmla="*/ 1014655 h 1413227"/>
                <a:gd name="connsiteX350" fmla="*/ 1211710 w 2048870"/>
                <a:gd name="connsiteY350" fmla="*/ 1023298 h 1413227"/>
                <a:gd name="connsiteX351" fmla="*/ 1213439 w 2048870"/>
                <a:gd name="connsiteY351" fmla="*/ 1035398 h 1413227"/>
                <a:gd name="connsiteX352" fmla="*/ 1215167 w 2048870"/>
                <a:gd name="connsiteY352" fmla="*/ 1044040 h 1413227"/>
                <a:gd name="connsiteX353" fmla="*/ 1220353 w 2048870"/>
                <a:gd name="connsiteY353" fmla="*/ 1045769 h 1413227"/>
                <a:gd name="connsiteX354" fmla="*/ 1223810 w 2048870"/>
                <a:gd name="connsiteY354" fmla="*/ 1050955 h 1413227"/>
                <a:gd name="connsiteX355" fmla="*/ 1234181 w 2048870"/>
                <a:gd name="connsiteY355" fmla="*/ 1063054 h 1413227"/>
                <a:gd name="connsiteX356" fmla="*/ 1253195 w 2048870"/>
                <a:gd name="connsiteY356" fmla="*/ 1057869 h 1413227"/>
                <a:gd name="connsiteX357" fmla="*/ 1258381 w 2048870"/>
                <a:gd name="connsiteY357" fmla="*/ 1054412 h 1413227"/>
                <a:gd name="connsiteX358" fmla="*/ 1265295 w 2048870"/>
                <a:gd name="connsiteY358" fmla="*/ 1050955 h 1413227"/>
                <a:gd name="connsiteX359" fmla="*/ 1267023 w 2048870"/>
                <a:gd name="connsiteY359" fmla="*/ 1056140 h 1413227"/>
                <a:gd name="connsiteX360" fmla="*/ 1268752 w 2048870"/>
                <a:gd name="connsiteY360" fmla="*/ 1068240 h 1413227"/>
                <a:gd name="connsiteX361" fmla="*/ 1279123 w 2048870"/>
                <a:gd name="connsiteY361" fmla="*/ 1064783 h 1413227"/>
                <a:gd name="connsiteX362" fmla="*/ 1289495 w 2048870"/>
                <a:gd name="connsiteY362" fmla="*/ 1056140 h 1413227"/>
                <a:gd name="connsiteX363" fmla="*/ 1299866 w 2048870"/>
                <a:gd name="connsiteY363" fmla="*/ 1045769 h 1413227"/>
                <a:gd name="connsiteX364" fmla="*/ 1305051 w 2048870"/>
                <a:gd name="connsiteY364" fmla="*/ 1042312 h 1413227"/>
                <a:gd name="connsiteX365" fmla="*/ 1294680 w 2048870"/>
                <a:gd name="connsiteY365" fmla="*/ 1061326 h 1413227"/>
                <a:gd name="connsiteX366" fmla="*/ 1286037 w 2048870"/>
                <a:gd name="connsiteY366" fmla="*/ 1075154 h 1413227"/>
                <a:gd name="connsiteX367" fmla="*/ 1272209 w 2048870"/>
                <a:gd name="connsiteY367" fmla="*/ 1082068 h 1413227"/>
                <a:gd name="connsiteX368" fmla="*/ 1265295 w 2048870"/>
                <a:gd name="connsiteY368" fmla="*/ 1085525 h 1413227"/>
                <a:gd name="connsiteX369" fmla="*/ 1260109 w 2048870"/>
                <a:gd name="connsiteY369" fmla="*/ 1087254 h 1413227"/>
                <a:gd name="connsiteX370" fmla="*/ 1251467 w 2048870"/>
                <a:gd name="connsiteY370" fmla="*/ 1092440 h 1413227"/>
                <a:gd name="connsiteX371" fmla="*/ 1232453 w 2048870"/>
                <a:gd name="connsiteY371" fmla="*/ 1095897 h 1413227"/>
                <a:gd name="connsiteX372" fmla="*/ 1230724 w 2048870"/>
                <a:gd name="connsiteY372" fmla="*/ 1121825 h 1413227"/>
                <a:gd name="connsiteX373" fmla="*/ 1223810 w 2048870"/>
                <a:gd name="connsiteY373" fmla="*/ 1128739 h 1413227"/>
                <a:gd name="connsiteX374" fmla="*/ 1216896 w 2048870"/>
                <a:gd name="connsiteY374" fmla="*/ 1130468 h 1413227"/>
                <a:gd name="connsiteX375" fmla="*/ 1248009 w 2048870"/>
                <a:gd name="connsiteY375" fmla="*/ 1123553 h 1413227"/>
                <a:gd name="connsiteX376" fmla="*/ 1275666 w 2048870"/>
                <a:gd name="connsiteY376" fmla="*/ 1125282 h 1413227"/>
                <a:gd name="connsiteX377" fmla="*/ 1282580 w 2048870"/>
                <a:gd name="connsiteY377" fmla="*/ 1128739 h 1413227"/>
                <a:gd name="connsiteX378" fmla="*/ 1318880 w 2048870"/>
                <a:gd name="connsiteY378" fmla="*/ 1127010 h 1413227"/>
                <a:gd name="connsiteX379" fmla="*/ 1330980 w 2048870"/>
                <a:gd name="connsiteY379" fmla="*/ 1123553 h 1413227"/>
                <a:gd name="connsiteX380" fmla="*/ 1339622 w 2048870"/>
                <a:gd name="connsiteY380" fmla="*/ 1118368 h 1413227"/>
                <a:gd name="connsiteX381" fmla="*/ 1356908 w 2048870"/>
                <a:gd name="connsiteY381" fmla="*/ 1123553 h 1413227"/>
                <a:gd name="connsiteX382" fmla="*/ 1384564 w 2048870"/>
                <a:gd name="connsiteY382" fmla="*/ 1114911 h 1413227"/>
                <a:gd name="connsiteX383" fmla="*/ 1391479 w 2048870"/>
                <a:gd name="connsiteY383" fmla="*/ 1109725 h 1413227"/>
                <a:gd name="connsiteX384" fmla="*/ 1400121 w 2048870"/>
                <a:gd name="connsiteY384" fmla="*/ 1095897 h 1413227"/>
                <a:gd name="connsiteX385" fmla="*/ 1403578 w 2048870"/>
                <a:gd name="connsiteY385" fmla="*/ 1090711 h 1413227"/>
                <a:gd name="connsiteX386" fmla="*/ 1408764 w 2048870"/>
                <a:gd name="connsiteY386" fmla="*/ 1088983 h 1413227"/>
                <a:gd name="connsiteX387" fmla="*/ 1415678 w 2048870"/>
                <a:gd name="connsiteY387" fmla="*/ 1097625 h 1413227"/>
                <a:gd name="connsiteX388" fmla="*/ 1419135 w 2048870"/>
                <a:gd name="connsiteY388" fmla="*/ 1104539 h 1413227"/>
                <a:gd name="connsiteX389" fmla="*/ 1424321 w 2048870"/>
                <a:gd name="connsiteY389" fmla="*/ 1111454 h 1413227"/>
                <a:gd name="connsiteX390" fmla="*/ 1434692 w 2048870"/>
                <a:gd name="connsiteY390" fmla="*/ 1109725 h 1413227"/>
                <a:gd name="connsiteX391" fmla="*/ 1438149 w 2048870"/>
                <a:gd name="connsiteY391" fmla="*/ 1101082 h 1413227"/>
                <a:gd name="connsiteX392" fmla="*/ 1446792 w 2048870"/>
                <a:gd name="connsiteY392" fmla="*/ 1076883 h 1413227"/>
                <a:gd name="connsiteX393" fmla="*/ 1455435 w 2048870"/>
                <a:gd name="connsiteY393" fmla="*/ 1082068 h 1413227"/>
                <a:gd name="connsiteX394" fmla="*/ 1457163 w 2048870"/>
                <a:gd name="connsiteY394" fmla="*/ 1097625 h 1413227"/>
                <a:gd name="connsiteX395" fmla="*/ 1462349 w 2048870"/>
                <a:gd name="connsiteY395" fmla="*/ 1104539 h 1413227"/>
                <a:gd name="connsiteX396" fmla="*/ 1464078 w 2048870"/>
                <a:gd name="connsiteY396" fmla="*/ 1116639 h 1413227"/>
                <a:gd name="connsiteX397" fmla="*/ 1450249 w 2048870"/>
                <a:gd name="connsiteY397" fmla="*/ 1132196 h 1413227"/>
                <a:gd name="connsiteX398" fmla="*/ 1436421 w 2048870"/>
                <a:gd name="connsiteY398" fmla="*/ 1149482 h 1413227"/>
                <a:gd name="connsiteX399" fmla="*/ 1427778 w 2048870"/>
                <a:gd name="connsiteY399" fmla="*/ 1158124 h 1413227"/>
                <a:gd name="connsiteX400" fmla="*/ 1415678 w 2048870"/>
                <a:gd name="connsiteY400" fmla="*/ 1163310 h 1413227"/>
                <a:gd name="connsiteX401" fmla="*/ 1400121 w 2048870"/>
                <a:gd name="connsiteY401" fmla="*/ 1171953 h 1413227"/>
                <a:gd name="connsiteX402" fmla="*/ 1398393 w 2048870"/>
                <a:gd name="connsiteY402" fmla="*/ 1177138 h 1413227"/>
                <a:gd name="connsiteX403" fmla="*/ 1389750 w 2048870"/>
                <a:gd name="connsiteY403" fmla="*/ 1189238 h 1413227"/>
                <a:gd name="connsiteX404" fmla="*/ 1384564 w 2048870"/>
                <a:gd name="connsiteY404" fmla="*/ 1197881 h 1413227"/>
                <a:gd name="connsiteX405" fmla="*/ 1382836 w 2048870"/>
                <a:gd name="connsiteY405" fmla="*/ 1203066 h 1413227"/>
                <a:gd name="connsiteX406" fmla="*/ 1374193 w 2048870"/>
                <a:gd name="connsiteY406" fmla="*/ 1211709 h 1413227"/>
                <a:gd name="connsiteX407" fmla="*/ 1369008 w 2048870"/>
                <a:gd name="connsiteY407" fmla="*/ 1216895 h 1413227"/>
                <a:gd name="connsiteX408" fmla="*/ 1356908 w 2048870"/>
                <a:gd name="connsiteY408" fmla="*/ 1230723 h 1413227"/>
                <a:gd name="connsiteX409" fmla="*/ 1351722 w 2048870"/>
                <a:gd name="connsiteY409" fmla="*/ 1237637 h 1413227"/>
                <a:gd name="connsiteX410" fmla="*/ 1349994 w 2048870"/>
                <a:gd name="connsiteY410" fmla="*/ 1242823 h 1413227"/>
                <a:gd name="connsiteX411" fmla="*/ 1344808 w 2048870"/>
                <a:gd name="connsiteY411" fmla="*/ 1253194 h 1413227"/>
                <a:gd name="connsiteX412" fmla="*/ 1377650 w 2048870"/>
                <a:gd name="connsiteY412" fmla="*/ 1253194 h 1413227"/>
                <a:gd name="connsiteX413" fmla="*/ 1386293 w 2048870"/>
                <a:gd name="connsiteY413" fmla="*/ 1246280 h 1413227"/>
                <a:gd name="connsiteX414" fmla="*/ 1391479 w 2048870"/>
                <a:gd name="connsiteY414" fmla="*/ 1244552 h 1413227"/>
                <a:gd name="connsiteX415" fmla="*/ 1412221 w 2048870"/>
                <a:gd name="connsiteY415" fmla="*/ 1248009 h 1413227"/>
                <a:gd name="connsiteX416" fmla="*/ 1415678 w 2048870"/>
                <a:gd name="connsiteY416" fmla="*/ 1253194 h 1413227"/>
                <a:gd name="connsiteX417" fmla="*/ 1426050 w 2048870"/>
                <a:gd name="connsiteY417" fmla="*/ 1260108 h 1413227"/>
                <a:gd name="connsiteX418" fmla="*/ 1451978 w 2048870"/>
                <a:gd name="connsiteY418" fmla="*/ 1258380 h 1413227"/>
                <a:gd name="connsiteX419" fmla="*/ 1457163 w 2048870"/>
                <a:gd name="connsiteY419" fmla="*/ 1253194 h 1413227"/>
                <a:gd name="connsiteX420" fmla="*/ 1465806 w 2048870"/>
                <a:gd name="connsiteY420" fmla="*/ 1248009 h 1413227"/>
                <a:gd name="connsiteX421" fmla="*/ 1483092 w 2048870"/>
                <a:gd name="connsiteY421" fmla="*/ 1249737 h 1413227"/>
                <a:gd name="connsiteX422" fmla="*/ 1491734 w 2048870"/>
                <a:gd name="connsiteY422" fmla="*/ 1258380 h 1413227"/>
                <a:gd name="connsiteX423" fmla="*/ 1502106 w 2048870"/>
                <a:gd name="connsiteY423" fmla="*/ 1272208 h 1413227"/>
                <a:gd name="connsiteX424" fmla="*/ 1503834 w 2048870"/>
                <a:gd name="connsiteY424" fmla="*/ 1289494 h 1413227"/>
                <a:gd name="connsiteX425" fmla="*/ 1514205 w 2048870"/>
                <a:gd name="connsiteY425" fmla="*/ 1301593 h 1413227"/>
                <a:gd name="connsiteX426" fmla="*/ 1517662 w 2048870"/>
                <a:gd name="connsiteY426" fmla="*/ 1306779 h 1413227"/>
                <a:gd name="connsiteX427" fmla="*/ 1515934 w 2048870"/>
                <a:gd name="connsiteY427" fmla="*/ 1355178 h 1413227"/>
                <a:gd name="connsiteX428" fmla="*/ 1509020 w 2048870"/>
                <a:gd name="connsiteY428" fmla="*/ 1360364 h 1413227"/>
                <a:gd name="connsiteX429" fmla="*/ 1503834 w 2048870"/>
                <a:gd name="connsiteY429" fmla="*/ 1370735 h 1413227"/>
                <a:gd name="connsiteX430" fmla="*/ 1534948 w 2048870"/>
                <a:gd name="connsiteY430" fmla="*/ 1374192 h 1413227"/>
                <a:gd name="connsiteX431" fmla="*/ 1540133 w 2048870"/>
                <a:gd name="connsiteY431" fmla="*/ 1377649 h 1413227"/>
                <a:gd name="connsiteX432" fmla="*/ 1559147 w 2048870"/>
                <a:gd name="connsiteY432" fmla="*/ 1375921 h 1413227"/>
                <a:gd name="connsiteX433" fmla="*/ 1564333 w 2048870"/>
                <a:gd name="connsiteY433" fmla="*/ 1372464 h 1413227"/>
                <a:gd name="connsiteX434" fmla="*/ 1579890 w 2048870"/>
                <a:gd name="connsiteY434" fmla="*/ 1370735 h 1413227"/>
                <a:gd name="connsiteX435" fmla="*/ 1597175 w 2048870"/>
                <a:gd name="connsiteY435" fmla="*/ 1363821 h 1413227"/>
                <a:gd name="connsiteX436" fmla="*/ 1600633 w 2048870"/>
                <a:gd name="connsiteY436" fmla="*/ 1360364 h 1413227"/>
                <a:gd name="connsiteX437" fmla="*/ 1612732 w 2048870"/>
                <a:gd name="connsiteY437" fmla="*/ 1341350 h 1413227"/>
                <a:gd name="connsiteX438" fmla="*/ 1617918 w 2048870"/>
                <a:gd name="connsiteY438" fmla="*/ 1305051 h 1413227"/>
                <a:gd name="connsiteX439" fmla="*/ 1623104 w 2048870"/>
                <a:gd name="connsiteY439" fmla="*/ 1301593 h 1413227"/>
                <a:gd name="connsiteX440" fmla="*/ 1624832 w 2048870"/>
                <a:gd name="connsiteY440" fmla="*/ 1284308 h 1413227"/>
                <a:gd name="connsiteX441" fmla="*/ 1631746 w 2048870"/>
                <a:gd name="connsiteY441" fmla="*/ 1270480 h 1413227"/>
                <a:gd name="connsiteX442" fmla="*/ 1643846 w 2048870"/>
                <a:gd name="connsiteY442" fmla="*/ 1263565 h 1413227"/>
                <a:gd name="connsiteX443" fmla="*/ 1669774 w 2048870"/>
                <a:gd name="connsiteY443" fmla="*/ 1260108 h 1413227"/>
                <a:gd name="connsiteX444" fmla="*/ 1681874 w 2048870"/>
                <a:gd name="connsiteY444" fmla="*/ 1254923 h 1413227"/>
                <a:gd name="connsiteX445" fmla="*/ 1687060 w 2048870"/>
                <a:gd name="connsiteY445" fmla="*/ 1253194 h 1413227"/>
                <a:gd name="connsiteX446" fmla="*/ 1702617 w 2048870"/>
                <a:gd name="connsiteY446" fmla="*/ 1249737 h 1413227"/>
                <a:gd name="connsiteX447" fmla="*/ 1704345 w 2048870"/>
                <a:gd name="connsiteY447" fmla="*/ 1232452 h 1413227"/>
                <a:gd name="connsiteX448" fmla="*/ 1706074 w 2048870"/>
                <a:gd name="connsiteY448" fmla="*/ 1208252 h 1413227"/>
                <a:gd name="connsiteX449" fmla="*/ 1711259 w 2048870"/>
                <a:gd name="connsiteY449" fmla="*/ 1201338 h 1413227"/>
                <a:gd name="connsiteX450" fmla="*/ 1718174 w 2048870"/>
                <a:gd name="connsiteY450" fmla="*/ 1192695 h 1413227"/>
                <a:gd name="connsiteX451" fmla="*/ 1725088 w 2048870"/>
                <a:gd name="connsiteY451" fmla="*/ 1189238 h 1413227"/>
                <a:gd name="connsiteX452" fmla="*/ 1735459 w 2048870"/>
                <a:gd name="connsiteY452" fmla="*/ 1184052 h 1413227"/>
                <a:gd name="connsiteX453" fmla="*/ 1773487 w 2048870"/>
                <a:gd name="connsiteY453" fmla="*/ 1189238 h 1413227"/>
                <a:gd name="connsiteX454" fmla="*/ 1778673 w 2048870"/>
                <a:gd name="connsiteY454" fmla="*/ 1194424 h 1413227"/>
                <a:gd name="connsiteX455" fmla="*/ 1808058 w 2048870"/>
                <a:gd name="connsiteY455" fmla="*/ 1187510 h 1413227"/>
                <a:gd name="connsiteX456" fmla="*/ 1811515 w 2048870"/>
                <a:gd name="connsiteY456" fmla="*/ 1180595 h 1413227"/>
                <a:gd name="connsiteX457" fmla="*/ 1818429 w 2048870"/>
                <a:gd name="connsiteY457" fmla="*/ 1171953 h 1413227"/>
                <a:gd name="connsiteX458" fmla="*/ 1825343 w 2048870"/>
                <a:gd name="connsiteY458" fmla="*/ 1158124 h 1413227"/>
                <a:gd name="connsiteX459" fmla="*/ 1827072 w 2048870"/>
                <a:gd name="connsiteY459" fmla="*/ 1151210 h 1413227"/>
                <a:gd name="connsiteX460" fmla="*/ 1833986 w 2048870"/>
                <a:gd name="connsiteY460" fmla="*/ 1133925 h 1413227"/>
                <a:gd name="connsiteX461" fmla="*/ 1820158 w 2048870"/>
                <a:gd name="connsiteY461" fmla="*/ 1128739 h 1413227"/>
                <a:gd name="connsiteX462" fmla="*/ 1816701 w 2048870"/>
                <a:gd name="connsiteY462" fmla="*/ 1123553 h 1413227"/>
                <a:gd name="connsiteX463" fmla="*/ 1820158 w 2048870"/>
                <a:gd name="connsiteY463" fmla="*/ 1118368 h 1413227"/>
                <a:gd name="connsiteX464" fmla="*/ 1825343 w 2048870"/>
                <a:gd name="connsiteY464" fmla="*/ 1111454 h 1413227"/>
                <a:gd name="connsiteX465" fmla="*/ 1828800 w 2048870"/>
                <a:gd name="connsiteY465" fmla="*/ 1099354 h 1413227"/>
                <a:gd name="connsiteX466" fmla="*/ 1832257 w 2048870"/>
                <a:gd name="connsiteY466" fmla="*/ 1094168 h 1413227"/>
                <a:gd name="connsiteX467" fmla="*/ 1830529 w 2048870"/>
                <a:gd name="connsiteY467" fmla="*/ 1083797 h 1413227"/>
                <a:gd name="connsiteX468" fmla="*/ 1816701 w 2048870"/>
                <a:gd name="connsiteY468" fmla="*/ 1087254 h 1413227"/>
                <a:gd name="connsiteX469" fmla="*/ 1789044 w 2048870"/>
                <a:gd name="connsiteY469" fmla="*/ 1092440 h 1413227"/>
                <a:gd name="connsiteX470" fmla="*/ 1778673 w 2048870"/>
                <a:gd name="connsiteY470" fmla="*/ 1095897 h 1413227"/>
                <a:gd name="connsiteX471" fmla="*/ 1771758 w 2048870"/>
                <a:gd name="connsiteY471" fmla="*/ 1099354 h 1413227"/>
                <a:gd name="connsiteX472" fmla="*/ 1766573 w 2048870"/>
                <a:gd name="connsiteY472" fmla="*/ 1116639 h 1413227"/>
                <a:gd name="connsiteX473" fmla="*/ 1756202 w 2048870"/>
                <a:gd name="connsiteY473" fmla="*/ 1118368 h 1413227"/>
                <a:gd name="connsiteX474" fmla="*/ 1738916 w 2048870"/>
                <a:gd name="connsiteY474" fmla="*/ 1130468 h 1413227"/>
                <a:gd name="connsiteX475" fmla="*/ 1718174 w 2048870"/>
                <a:gd name="connsiteY475" fmla="*/ 1140839 h 1413227"/>
                <a:gd name="connsiteX476" fmla="*/ 1709531 w 2048870"/>
                <a:gd name="connsiteY476" fmla="*/ 1146024 h 1413227"/>
                <a:gd name="connsiteX477" fmla="*/ 1707802 w 2048870"/>
                <a:gd name="connsiteY477" fmla="*/ 1151210 h 1413227"/>
                <a:gd name="connsiteX478" fmla="*/ 1700888 w 2048870"/>
                <a:gd name="connsiteY478" fmla="*/ 1154667 h 1413227"/>
                <a:gd name="connsiteX479" fmla="*/ 1647303 w 2048870"/>
                <a:gd name="connsiteY479" fmla="*/ 1152939 h 1413227"/>
                <a:gd name="connsiteX480" fmla="*/ 1650760 w 2048870"/>
                <a:gd name="connsiteY480" fmla="*/ 1142567 h 1413227"/>
                <a:gd name="connsiteX481" fmla="*/ 1649032 w 2048870"/>
                <a:gd name="connsiteY481" fmla="*/ 1120096 h 1413227"/>
                <a:gd name="connsiteX482" fmla="*/ 1598904 w 2048870"/>
                <a:gd name="connsiteY482" fmla="*/ 1114911 h 1413227"/>
                <a:gd name="connsiteX483" fmla="*/ 1591990 w 2048870"/>
                <a:gd name="connsiteY483" fmla="*/ 1113182 h 1413227"/>
                <a:gd name="connsiteX484" fmla="*/ 1564333 w 2048870"/>
                <a:gd name="connsiteY484" fmla="*/ 1109725 h 1413227"/>
                <a:gd name="connsiteX485" fmla="*/ 1553962 w 2048870"/>
                <a:gd name="connsiteY485" fmla="*/ 1101082 h 1413227"/>
                <a:gd name="connsiteX486" fmla="*/ 1543591 w 2048870"/>
                <a:gd name="connsiteY486" fmla="*/ 1092440 h 1413227"/>
                <a:gd name="connsiteX487" fmla="*/ 1526305 w 2048870"/>
                <a:gd name="connsiteY487" fmla="*/ 1090711 h 1413227"/>
                <a:gd name="connsiteX488" fmla="*/ 1514205 w 2048870"/>
                <a:gd name="connsiteY488" fmla="*/ 1085525 h 1413227"/>
                <a:gd name="connsiteX489" fmla="*/ 1512477 w 2048870"/>
                <a:gd name="connsiteY489" fmla="*/ 1092440 h 1413227"/>
                <a:gd name="connsiteX490" fmla="*/ 1507291 w 2048870"/>
                <a:gd name="connsiteY490" fmla="*/ 1085525 h 1413227"/>
                <a:gd name="connsiteX491" fmla="*/ 1496920 w 2048870"/>
                <a:gd name="connsiteY491" fmla="*/ 1075154 h 1413227"/>
                <a:gd name="connsiteX492" fmla="*/ 1445064 w 2048870"/>
                <a:gd name="connsiteY492" fmla="*/ 1076883 h 1413227"/>
                <a:gd name="connsiteX493" fmla="*/ 1439878 w 2048870"/>
                <a:gd name="connsiteY493" fmla="*/ 1080340 h 1413227"/>
                <a:gd name="connsiteX494" fmla="*/ 1438149 w 2048870"/>
                <a:gd name="connsiteY494" fmla="*/ 1085525 h 1413227"/>
                <a:gd name="connsiteX495" fmla="*/ 1451978 w 2048870"/>
                <a:gd name="connsiteY495" fmla="*/ 1071697 h 1413227"/>
                <a:gd name="connsiteX496" fmla="*/ 1458892 w 2048870"/>
                <a:gd name="connsiteY496" fmla="*/ 1064783 h 1413227"/>
                <a:gd name="connsiteX497" fmla="*/ 1464078 w 2048870"/>
                <a:gd name="connsiteY497" fmla="*/ 1059597 h 1413227"/>
                <a:gd name="connsiteX498" fmla="*/ 1479634 w 2048870"/>
                <a:gd name="connsiteY498" fmla="*/ 1064783 h 1413227"/>
                <a:gd name="connsiteX499" fmla="*/ 1490006 w 2048870"/>
                <a:gd name="connsiteY499" fmla="*/ 1071697 h 1413227"/>
                <a:gd name="connsiteX500" fmla="*/ 1498648 w 2048870"/>
                <a:gd name="connsiteY500" fmla="*/ 1068240 h 1413227"/>
                <a:gd name="connsiteX501" fmla="*/ 1500377 w 2048870"/>
                <a:gd name="connsiteY501" fmla="*/ 1063054 h 1413227"/>
                <a:gd name="connsiteX502" fmla="*/ 1503834 w 2048870"/>
                <a:gd name="connsiteY502" fmla="*/ 1057869 h 1413227"/>
                <a:gd name="connsiteX503" fmla="*/ 1507291 w 2048870"/>
                <a:gd name="connsiteY503" fmla="*/ 1045769 h 1413227"/>
                <a:gd name="connsiteX504" fmla="*/ 1540133 w 2048870"/>
                <a:gd name="connsiteY504" fmla="*/ 1044040 h 1413227"/>
                <a:gd name="connsiteX505" fmla="*/ 1557419 w 2048870"/>
                <a:gd name="connsiteY505" fmla="*/ 1059597 h 1413227"/>
                <a:gd name="connsiteX506" fmla="*/ 1560876 w 2048870"/>
                <a:gd name="connsiteY506" fmla="*/ 1073426 h 1413227"/>
                <a:gd name="connsiteX507" fmla="*/ 1564333 w 2048870"/>
                <a:gd name="connsiteY507" fmla="*/ 1087254 h 1413227"/>
                <a:gd name="connsiteX508" fmla="*/ 1566062 w 2048870"/>
                <a:gd name="connsiteY508" fmla="*/ 1094168 h 1413227"/>
                <a:gd name="connsiteX509" fmla="*/ 1569519 w 2048870"/>
                <a:gd name="connsiteY509" fmla="*/ 1099354 h 1413227"/>
                <a:gd name="connsiteX510" fmla="*/ 1576433 w 2048870"/>
                <a:gd name="connsiteY510" fmla="*/ 1037126 h 1413227"/>
                <a:gd name="connsiteX511" fmla="*/ 1588533 w 2048870"/>
                <a:gd name="connsiteY511" fmla="*/ 1052683 h 1413227"/>
                <a:gd name="connsiteX512" fmla="*/ 1591990 w 2048870"/>
                <a:gd name="connsiteY512" fmla="*/ 1069969 h 1413227"/>
                <a:gd name="connsiteX513" fmla="*/ 1607547 w 2048870"/>
                <a:gd name="connsiteY513" fmla="*/ 1080340 h 1413227"/>
                <a:gd name="connsiteX514" fmla="*/ 1612732 w 2048870"/>
                <a:gd name="connsiteY514" fmla="*/ 1083797 h 1413227"/>
                <a:gd name="connsiteX515" fmla="*/ 1621375 w 2048870"/>
                <a:gd name="connsiteY515" fmla="*/ 1085525 h 1413227"/>
                <a:gd name="connsiteX516" fmla="*/ 1633475 w 2048870"/>
                <a:gd name="connsiteY516" fmla="*/ 1092440 h 1413227"/>
                <a:gd name="connsiteX517" fmla="*/ 1640389 w 2048870"/>
                <a:gd name="connsiteY517" fmla="*/ 1095897 h 1413227"/>
                <a:gd name="connsiteX518" fmla="*/ 1649032 w 2048870"/>
                <a:gd name="connsiteY518" fmla="*/ 1109725 h 1413227"/>
                <a:gd name="connsiteX519" fmla="*/ 1659403 w 2048870"/>
                <a:gd name="connsiteY519" fmla="*/ 1113182 h 1413227"/>
                <a:gd name="connsiteX520" fmla="*/ 1669774 w 2048870"/>
                <a:gd name="connsiteY520" fmla="*/ 1118368 h 1413227"/>
                <a:gd name="connsiteX521" fmla="*/ 1680146 w 2048870"/>
                <a:gd name="connsiteY521" fmla="*/ 1125282 h 1413227"/>
                <a:gd name="connsiteX522" fmla="*/ 1699160 w 2048870"/>
                <a:gd name="connsiteY522" fmla="*/ 1139110 h 1413227"/>
                <a:gd name="connsiteX523" fmla="*/ 1712988 w 2048870"/>
                <a:gd name="connsiteY523" fmla="*/ 1142567 h 1413227"/>
                <a:gd name="connsiteX524" fmla="*/ 1704345 w 2048870"/>
                <a:gd name="connsiteY524" fmla="*/ 1137382 h 1413227"/>
                <a:gd name="connsiteX525" fmla="*/ 1699160 w 2048870"/>
                <a:gd name="connsiteY525" fmla="*/ 1132196 h 1413227"/>
                <a:gd name="connsiteX526" fmla="*/ 1688788 w 2048870"/>
                <a:gd name="connsiteY526" fmla="*/ 1128739 h 1413227"/>
                <a:gd name="connsiteX527" fmla="*/ 1674960 w 2048870"/>
                <a:gd name="connsiteY527" fmla="*/ 1125282 h 1413227"/>
                <a:gd name="connsiteX528" fmla="*/ 1659403 w 2048870"/>
                <a:gd name="connsiteY528" fmla="*/ 1121825 h 1413227"/>
                <a:gd name="connsiteX529" fmla="*/ 1650760 w 2048870"/>
                <a:gd name="connsiteY529" fmla="*/ 1116639 h 1413227"/>
                <a:gd name="connsiteX530" fmla="*/ 1645575 w 2048870"/>
                <a:gd name="connsiteY530" fmla="*/ 1113182 h 1413227"/>
                <a:gd name="connsiteX531" fmla="*/ 1642118 w 2048870"/>
                <a:gd name="connsiteY531" fmla="*/ 1107996 h 1413227"/>
                <a:gd name="connsiteX532" fmla="*/ 1628289 w 2048870"/>
                <a:gd name="connsiteY532" fmla="*/ 1088983 h 1413227"/>
                <a:gd name="connsiteX533" fmla="*/ 1626561 w 2048870"/>
                <a:gd name="connsiteY533" fmla="*/ 1083797 h 1413227"/>
                <a:gd name="connsiteX534" fmla="*/ 1619647 w 2048870"/>
                <a:gd name="connsiteY534" fmla="*/ 1075154 h 1413227"/>
                <a:gd name="connsiteX535" fmla="*/ 1616189 w 2048870"/>
                <a:gd name="connsiteY535" fmla="*/ 1061326 h 1413227"/>
                <a:gd name="connsiteX536" fmla="*/ 1614461 w 2048870"/>
                <a:gd name="connsiteY536" fmla="*/ 1056140 h 1413227"/>
                <a:gd name="connsiteX537" fmla="*/ 1604090 w 2048870"/>
                <a:gd name="connsiteY537" fmla="*/ 1038855 h 1413227"/>
                <a:gd name="connsiteX538" fmla="*/ 1598904 w 2048870"/>
                <a:gd name="connsiteY538" fmla="*/ 1037126 h 1413227"/>
                <a:gd name="connsiteX539" fmla="*/ 1593718 w 2048870"/>
                <a:gd name="connsiteY539" fmla="*/ 1030212 h 1413227"/>
                <a:gd name="connsiteX540" fmla="*/ 1585076 w 2048870"/>
                <a:gd name="connsiteY540" fmla="*/ 1019841 h 1413227"/>
                <a:gd name="connsiteX541" fmla="*/ 1590261 w 2048870"/>
                <a:gd name="connsiteY541" fmla="*/ 1000827 h 1413227"/>
                <a:gd name="connsiteX542" fmla="*/ 1598904 w 2048870"/>
                <a:gd name="connsiteY542" fmla="*/ 999098 h 1413227"/>
                <a:gd name="connsiteX543" fmla="*/ 1611004 w 2048870"/>
                <a:gd name="connsiteY543" fmla="*/ 990455 h 1413227"/>
                <a:gd name="connsiteX544" fmla="*/ 1617918 w 2048870"/>
                <a:gd name="connsiteY544" fmla="*/ 985270 h 1413227"/>
                <a:gd name="connsiteX545" fmla="*/ 1616189 w 2048870"/>
                <a:gd name="connsiteY545" fmla="*/ 1021569 h 1413227"/>
                <a:gd name="connsiteX546" fmla="*/ 1612732 w 2048870"/>
                <a:gd name="connsiteY546" fmla="*/ 1028483 h 1413227"/>
                <a:gd name="connsiteX547" fmla="*/ 1607547 w 2048870"/>
                <a:gd name="connsiteY547" fmla="*/ 1035398 h 1413227"/>
                <a:gd name="connsiteX548" fmla="*/ 1612732 w 2048870"/>
                <a:gd name="connsiteY548" fmla="*/ 1031941 h 1413227"/>
                <a:gd name="connsiteX549" fmla="*/ 1621375 w 2048870"/>
                <a:gd name="connsiteY549" fmla="*/ 1016384 h 1413227"/>
                <a:gd name="connsiteX550" fmla="*/ 1626561 w 2048870"/>
                <a:gd name="connsiteY550" fmla="*/ 997370 h 1413227"/>
                <a:gd name="connsiteX551" fmla="*/ 1626561 w 2048870"/>
                <a:gd name="connsiteY551" fmla="*/ 976627 h 1413227"/>
                <a:gd name="connsiteX552" fmla="*/ 1619647 w 2048870"/>
                <a:gd name="connsiteY552" fmla="*/ 962799 h 1413227"/>
                <a:gd name="connsiteX553" fmla="*/ 1626561 w 2048870"/>
                <a:gd name="connsiteY553" fmla="*/ 966256 h 1413227"/>
                <a:gd name="connsiteX554" fmla="*/ 1638661 w 2048870"/>
                <a:gd name="connsiteY554" fmla="*/ 969713 h 1413227"/>
                <a:gd name="connsiteX555" fmla="*/ 1645575 w 2048870"/>
                <a:gd name="connsiteY555" fmla="*/ 967984 h 1413227"/>
                <a:gd name="connsiteX556" fmla="*/ 1650760 w 2048870"/>
                <a:gd name="connsiteY556" fmla="*/ 955885 h 1413227"/>
                <a:gd name="connsiteX557" fmla="*/ 1659403 w 2048870"/>
                <a:gd name="connsiteY557" fmla="*/ 933414 h 1413227"/>
                <a:gd name="connsiteX558" fmla="*/ 1662860 w 2048870"/>
                <a:gd name="connsiteY558" fmla="*/ 929956 h 1413227"/>
                <a:gd name="connsiteX559" fmla="*/ 1664589 w 2048870"/>
                <a:gd name="connsiteY559" fmla="*/ 923042 h 1413227"/>
                <a:gd name="connsiteX560" fmla="*/ 1673231 w 2048870"/>
                <a:gd name="connsiteY560" fmla="*/ 893657 h 1413227"/>
                <a:gd name="connsiteX561" fmla="*/ 1687060 w 2048870"/>
                <a:gd name="connsiteY561" fmla="*/ 891928 h 1413227"/>
                <a:gd name="connsiteX562" fmla="*/ 1693974 w 2048870"/>
                <a:gd name="connsiteY562" fmla="*/ 890200 h 1413227"/>
                <a:gd name="connsiteX563" fmla="*/ 1700888 w 2048870"/>
                <a:gd name="connsiteY563" fmla="*/ 886743 h 1413227"/>
                <a:gd name="connsiteX564" fmla="*/ 1719902 w 2048870"/>
                <a:gd name="connsiteY564" fmla="*/ 878100 h 1413227"/>
                <a:gd name="connsiteX565" fmla="*/ 1726816 w 2048870"/>
                <a:gd name="connsiteY565" fmla="*/ 876372 h 1413227"/>
                <a:gd name="connsiteX566" fmla="*/ 1745830 w 2048870"/>
                <a:gd name="connsiteY566" fmla="*/ 860815 h 1413227"/>
                <a:gd name="connsiteX567" fmla="*/ 1751016 w 2048870"/>
                <a:gd name="connsiteY567" fmla="*/ 857358 h 1413227"/>
                <a:gd name="connsiteX568" fmla="*/ 1757930 w 2048870"/>
                <a:gd name="connsiteY568" fmla="*/ 855629 h 1413227"/>
                <a:gd name="connsiteX569" fmla="*/ 1764844 w 2048870"/>
                <a:gd name="connsiteY569" fmla="*/ 841801 h 1413227"/>
                <a:gd name="connsiteX570" fmla="*/ 1771758 w 2048870"/>
                <a:gd name="connsiteY570" fmla="*/ 836615 h 1413227"/>
                <a:gd name="connsiteX571" fmla="*/ 1776944 w 2048870"/>
                <a:gd name="connsiteY571" fmla="*/ 833158 h 1413227"/>
                <a:gd name="connsiteX572" fmla="*/ 1787315 w 2048870"/>
                <a:gd name="connsiteY572" fmla="*/ 831429 h 1413227"/>
                <a:gd name="connsiteX573" fmla="*/ 1795958 w 2048870"/>
                <a:gd name="connsiteY573" fmla="*/ 829701 h 1413227"/>
                <a:gd name="connsiteX574" fmla="*/ 1797687 w 2048870"/>
                <a:gd name="connsiteY574" fmla="*/ 824515 h 1413227"/>
                <a:gd name="connsiteX575" fmla="*/ 1825343 w 2048870"/>
                <a:gd name="connsiteY575" fmla="*/ 796859 h 1413227"/>
                <a:gd name="connsiteX576" fmla="*/ 1830529 w 2048870"/>
                <a:gd name="connsiteY576" fmla="*/ 776116 h 1413227"/>
                <a:gd name="connsiteX577" fmla="*/ 1835715 w 2048870"/>
                <a:gd name="connsiteY577" fmla="*/ 770930 h 1413227"/>
                <a:gd name="connsiteX578" fmla="*/ 1863371 w 2048870"/>
                <a:gd name="connsiteY578" fmla="*/ 760559 h 1413227"/>
                <a:gd name="connsiteX579" fmla="*/ 1868557 w 2048870"/>
                <a:gd name="connsiteY579" fmla="*/ 755373 h 1413227"/>
                <a:gd name="connsiteX580" fmla="*/ 1880657 w 2048870"/>
                <a:gd name="connsiteY580" fmla="*/ 753645 h 1413227"/>
                <a:gd name="connsiteX581" fmla="*/ 1889299 w 2048870"/>
                <a:gd name="connsiteY581" fmla="*/ 750188 h 1413227"/>
                <a:gd name="connsiteX582" fmla="*/ 1894485 w 2048870"/>
                <a:gd name="connsiteY582" fmla="*/ 731174 h 1413227"/>
                <a:gd name="connsiteX583" fmla="*/ 1910042 w 2048870"/>
                <a:gd name="connsiteY583" fmla="*/ 719074 h 1413227"/>
                <a:gd name="connsiteX584" fmla="*/ 1916956 w 2048870"/>
                <a:gd name="connsiteY584" fmla="*/ 710431 h 1413227"/>
                <a:gd name="connsiteX585" fmla="*/ 1908313 w 2048870"/>
                <a:gd name="connsiteY585" fmla="*/ 689689 h 1413227"/>
                <a:gd name="connsiteX586" fmla="*/ 1901399 w 2048870"/>
                <a:gd name="connsiteY586" fmla="*/ 675860 h 1413227"/>
                <a:gd name="connsiteX587" fmla="*/ 1897942 w 2048870"/>
                <a:gd name="connsiteY587" fmla="*/ 665489 h 1413227"/>
                <a:gd name="connsiteX588" fmla="*/ 1901399 w 2048870"/>
                <a:gd name="connsiteY588" fmla="*/ 651661 h 1413227"/>
                <a:gd name="connsiteX589" fmla="*/ 1897942 w 2048870"/>
                <a:gd name="connsiteY589" fmla="*/ 629190 h 1413227"/>
                <a:gd name="connsiteX590" fmla="*/ 1904856 w 2048870"/>
                <a:gd name="connsiteY590" fmla="*/ 624004 h 1413227"/>
                <a:gd name="connsiteX591" fmla="*/ 1910042 w 2048870"/>
                <a:gd name="connsiteY591" fmla="*/ 613633 h 1413227"/>
                <a:gd name="connsiteX592" fmla="*/ 1918685 w 2048870"/>
                <a:gd name="connsiteY592" fmla="*/ 608447 h 1413227"/>
                <a:gd name="connsiteX593" fmla="*/ 1925599 w 2048870"/>
                <a:gd name="connsiteY593" fmla="*/ 601533 h 1413227"/>
                <a:gd name="connsiteX594" fmla="*/ 1929056 w 2048870"/>
                <a:gd name="connsiteY594" fmla="*/ 587705 h 1413227"/>
                <a:gd name="connsiteX595" fmla="*/ 1932513 w 2048870"/>
                <a:gd name="connsiteY595" fmla="*/ 582519 h 1413227"/>
                <a:gd name="connsiteX596" fmla="*/ 1939427 w 2048870"/>
                <a:gd name="connsiteY596" fmla="*/ 565234 h 1413227"/>
                <a:gd name="connsiteX597" fmla="*/ 1963627 w 2048870"/>
                <a:gd name="connsiteY597" fmla="*/ 556591 h 1413227"/>
                <a:gd name="connsiteX598" fmla="*/ 1968812 w 2048870"/>
                <a:gd name="connsiteY598" fmla="*/ 547948 h 1413227"/>
                <a:gd name="connsiteX599" fmla="*/ 1986098 w 2048870"/>
                <a:gd name="connsiteY599" fmla="*/ 544491 h 1413227"/>
                <a:gd name="connsiteX600" fmla="*/ 2008569 w 2048870"/>
                <a:gd name="connsiteY600" fmla="*/ 539305 h 1413227"/>
                <a:gd name="connsiteX601" fmla="*/ 2017212 w 2048870"/>
                <a:gd name="connsiteY601" fmla="*/ 530663 h 1413227"/>
                <a:gd name="connsiteX602" fmla="*/ 2048326 w 2048870"/>
                <a:gd name="connsiteY602" fmla="*/ 525477 h 1413227"/>
                <a:gd name="connsiteX603" fmla="*/ 2043140 w 2048870"/>
                <a:gd name="connsiteY603" fmla="*/ 499549 h 1413227"/>
                <a:gd name="connsiteX604" fmla="*/ 2032769 w 2048870"/>
                <a:gd name="connsiteY604" fmla="*/ 492635 h 1413227"/>
                <a:gd name="connsiteX605" fmla="*/ 2025854 w 2048870"/>
                <a:gd name="connsiteY605" fmla="*/ 447693 h 1413227"/>
                <a:gd name="connsiteX606" fmla="*/ 2018940 w 2048870"/>
                <a:gd name="connsiteY606" fmla="*/ 428679 h 1413227"/>
                <a:gd name="connsiteX607" fmla="*/ 2015483 w 2048870"/>
                <a:gd name="connsiteY607" fmla="*/ 418307 h 1413227"/>
                <a:gd name="connsiteX608" fmla="*/ 2010298 w 2048870"/>
                <a:gd name="connsiteY608" fmla="*/ 411393 h 1413227"/>
                <a:gd name="connsiteX609" fmla="*/ 2003383 w 2048870"/>
                <a:gd name="connsiteY609" fmla="*/ 407936 h 1413227"/>
                <a:gd name="connsiteX610" fmla="*/ 1984369 w 2048870"/>
                <a:gd name="connsiteY610" fmla="*/ 404479 h 1413227"/>
                <a:gd name="connsiteX611" fmla="*/ 1977455 w 2048870"/>
                <a:gd name="connsiteY611" fmla="*/ 394108 h 1413227"/>
                <a:gd name="connsiteX612" fmla="*/ 1972270 w 2048870"/>
                <a:gd name="connsiteY612" fmla="*/ 390651 h 1413227"/>
                <a:gd name="connsiteX613" fmla="*/ 1968812 w 2048870"/>
                <a:gd name="connsiteY613" fmla="*/ 382008 h 1413227"/>
                <a:gd name="connsiteX614" fmla="*/ 1973998 w 2048870"/>
                <a:gd name="connsiteY614" fmla="*/ 366451 h 1413227"/>
                <a:gd name="connsiteX615" fmla="*/ 1982641 w 2048870"/>
                <a:gd name="connsiteY615" fmla="*/ 354351 h 1413227"/>
                <a:gd name="connsiteX616" fmla="*/ 1984369 w 2048870"/>
                <a:gd name="connsiteY616" fmla="*/ 347437 h 1413227"/>
                <a:gd name="connsiteX617" fmla="*/ 1994741 w 2048870"/>
                <a:gd name="connsiteY617" fmla="*/ 343980 h 1413227"/>
                <a:gd name="connsiteX618" fmla="*/ 1960170 w 2048870"/>
                <a:gd name="connsiteY618" fmla="*/ 337066 h 1413227"/>
                <a:gd name="connsiteX619" fmla="*/ 1958441 w 2048870"/>
                <a:gd name="connsiteY619" fmla="*/ 331880 h 1413227"/>
                <a:gd name="connsiteX620" fmla="*/ 1954984 w 2048870"/>
                <a:gd name="connsiteY620" fmla="*/ 326694 h 1413227"/>
                <a:gd name="connsiteX621" fmla="*/ 1958441 w 2048870"/>
                <a:gd name="connsiteY621" fmla="*/ 318052 h 1413227"/>
                <a:gd name="connsiteX622" fmla="*/ 1963627 w 2048870"/>
                <a:gd name="connsiteY622" fmla="*/ 311138 h 1413227"/>
                <a:gd name="connsiteX623" fmla="*/ 1967084 w 2048870"/>
                <a:gd name="connsiteY623" fmla="*/ 305952 h 1413227"/>
                <a:gd name="connsiteX624" fmla="*/ 1968812 w 2048870"/>
                <a:gd name="connsiteY624" fmla="*/ 299038 h 1413227"/>
                <a:gd name="connsiteX625" fmla="*/ 1973998 w 2048870"/>
                <a:gd name="connsiteY625" fmla="*/ 293852 h 1413227"/>
                <a:gd name="connsiteX626" fmla="*/ 1975727 w 2048870"/>
                <a:gd name="connsiteY626" fmla="*/ 269652 h 1413227"/>
                <a:gd name="connsiteX627" fmla="*/ 1970541 w 2048870"/>
                <a:gd name="connsiteY627" fmla="*/ 255824 h 1413227"/>
                <a:gd name="connsiteX628" fmla="*/ 1968812 w 2048870"/>
                <a:gd name="connsiteY628" fmla="*/ 250638 h 1413227"/>
                <a:gd name="connsiteX629" fmla="*/ 1967084 w 2048870"/>
                <a:gd name="connsiteY629" fmla="*/ 243724 h 1413227"/>
                <a:gd name="connsiteX630" fmla="*/ 1963627 w 2048870"/>
                <a:gd name="connsiteY630" fmla="*/ 238539 h 1413227"/>
                <a:gd name="connsiteX631" fmla="*/ 1965355 w 2048870"/>
                <a:gd name="connsiteY631" fmla="*/ 216068 h 1413227"/>
                <a:gd name="connsiteX632" fmla="*/ 1961898 w 2048870"/>
                <a:gd name="connsiteY632" fmla="*/ 209153 h 1413227"/>
                <a:gd name="connsiteX633" fmla="*/ 1954984 w 2048870"/>
                <a:gd name="connsiteY633" fmla="*/ 216068 h 1413227"/>
                <a:gd name="connsiteX634" fmla="*/ 1948070 w 2048870"/>
                <a:gd name="connsiteY634" fmla="*/ 217796 h 1413227"/>
                <a:gd name="connsiteX635" fmla="*/ 1937699 w 2048870"/>
                <a:gd name="connsiteY635" fmla="*/ 226439 h 1413227"/>
                <a:gd name="connsiteX636" fmla="*/ 1932513 w 2048870"/>
                <a:gd name="connsiteY636" fmla="*/ 228167 h 1413227"/>
                <a:gd name="connsiteX637" fmla="*/ 1922142 w 2048870"/>
                <a:gd name="connsiteY637" fmla="*/ 235082 h 1413227"/>
                <a:gd name="connsiteX638" fmla="*/ 1906585 w 2048870"/>
                <a:gd name="connsiteY638" fmla="*/ 231624 h 1413227"/>
                <a:gd name="connsiteX639" fmla="*/ 1885842 w 2048870"/>
                <a:gd name="connsiteY639" fmla="*/ 222982 h 1413227"/>
                <a:gd name="connsiteX640" fmla="*/ 1878928 w 2048870"/>
                <a:gd name="connsiteY640" fmla="*/ 224710 h 1413227"/>
                <a:gd name="connsiteX641" fmla="*/ 1868557 w 2048870"/>
                <a:gd name="connsiteY641" fmla="*/ 233353 h 1413227"/>
                <a:gd name="connsiteX642" fmla="*/ 1847814 w 2048870"/>
                <a:gd name="connsiteY642" fmla="*/ 221253 h 1413227"/>
                <a:gd name="connsiteX643" fmla="*/ 1839172 w 2048870"/>
                <a:gd name="connsiteY643" fmla="*/ 217796 h 1413227"/>
                <a:gd name="connsiteX644" fmla="*/ 1832257 w 2048870"/>
                <a:gd name="connsiteY644" fmla="*/ 214339 h 1413227"/>
                <a:gd name="connsiteX645" fmla="*/ 1823615 w 2048870"/>
                <a:gd name="connsiteY645" fmla="*/ 224710 h 1413227"/>
                <a:gd name="connsiteX646" fmla="*/ 1816701 w 2048870"/>
                <a:gd name="connsiteY646" fmla="*/ 229896 h 1413227"/>
                <a:gd name="connsiteX647" fmla="*/ 1787315 w 2048870"/>
                <a:gd name="connsiteY647" fmla="*/ 221253 h 1413227"/>
                <a:gd name="connsiteX648" fmla="*/ 1759659 w 2048870"/>
                <a:gd name="connsiteY648" fmla="*/ 222982 h 1413227"/>
                <a:gd name="connsiteX649" fmla="*/ 1754473 w 2048870"/>
                <a:gd name="connsiteY649" fmla="*/ 224710 h 1413227"/>
                <a:gd name="connsiteX650" fmla="*/ 1735459 w 2048870"/>
                <a:gd name="connsiteY650" fmla="*/ 222982 h 1413227"/>
                <a:gd name="connsiteX651" fmla="*/ 1728545 w 2048870"/>
                <a:gd name="connsiteY651" fmla="*/ 217796 h 1413227"/>
                <a:gd name="connsiteX652" fmla="*/ 1721631 w 2048870"/>
                <a:gd name="connsiteY652" fmla="*/ 207425 h 1413227"/>
                <a:gd name="connsiteX653" fmla="*/ 1712988 w 2048870"/>
                <a:gd name="connsiteY653" fmla="*/ 235082 h 1413227"/>
                <a:gd name="connsiteX654" fmla="*/ 1706074 w 2048870"/>
                <a:gd name="connsiteY654" fmla="*/ 250638 h 1413227"/>
                <a:gd name="connsiteX655" fmla="*/ 1692245 w 2048870"/>
                <a:gd name="connsiteY655" fmla="*/ 236810 h 1413227"/>
                <a:gd name="connsiteX656" fmla="*/ 1645575 w 2048870"/>
                <a:gd name="connsiteY656" fmla="*/ 224710 h 1413227"/>
                <a:gd name="connsiteX657" fmla="*/ 1640389 w 2048870"/>
                <a:gd name="connsiteY657" fmla="*/ 217796 h 1413227"/>
                <a:gd name="connsiteX658" fmla="*/ 1638661 w 2048870"/>
                <a:gd name="connsiteY658" fmla="*/ 212610 h 1413227"/>
                <a:gd name="connsiteX659" fmla="*/ 1623104 w 2048870"/>
                <a:gd name="connsiteY659" fmla="*/ 195325 h 1413227"/>
                <a:gd name="connsiteX660" fmla="*/ 1609275 w 2048870"/>
                <a:gd name="connsiteY660" fmla="*/ 191868 h 1413227"/>
                <a:gd name="connsiteX661" fmla="*/ 1600633 w 2048870"/>
                <a:gd name="connsiteY661" fmla="*/ 200511 h 1413227"/>
                <a:gd name="connsiteX662" fmla="*/ 1595447 w 2048870"/>
                <a:gd name="connsiteY662" fmla="*/ 202239 h 1413227"/>
                <a:gd name="connsiteX663" fmla="*/ 1574704 w 2048870"/>
                <a:gd name="connsiteY663" fmla="*/ 209153 h 1413227"/>
                <a:gd name="connsiteX664" fmla="*/ 1569519 w 2048870"/>
                <a:gd name="connsiteY664" fmla="*/ 214339 h 1413227"/>
                <a:gd name="connsiteX665" fmla="*/ 1564333 w 2048870"/>
                <a:gd name="connsiteY665" fmla="*/ 217796 h 1413227"/>
                <a:gd name="connsiteX666" fmla="*/ 1560876 w 2048870"/>
                <a:gd name="connsiteY666" fmla="*/ 224710 h 1413227"/>
                <a:gd name="connsiteX667" fmla="*/ 1543591 w 2048870"/>
                <a:gd name="connsiteY667" fmla="*/ 238539 h 1413227"/>
                <a:gd name="connsiteX668" fmla="*/ 1536676 w 2048870"/>
                <a:gd name="connsiteY668" fmla="*/ 245453 h 1413227"/>
                <a:gd name="connsiteX669" fmla="*/ 1534948 w 2048870"/>
                <a:gd name="connsiteY669" fmla="*/ 250638 h 1413227"/>
                <a:gd name="connsiteX670" fmla="*/ 1536676 w 2048870"/>
                <a:gd name="connsiteY670" fmla="*/ 255824 h 1413227"/>
                <a:gd name="connsiteX671" fmla="*/ 1510748 w 2048870"/>
                <a:gd name="connsiteY671" fmla="*/ 259281 h 1413227"/>
                <a:gd name="connsiteX672" fmla="*/ 1500377 w 2048870"/>
                <a:gd name="connsiteY672" fmla="*/ 252367 h 1413227"/>
                <a:gd name="connsiteX673" fmla="*/ 1472720 w 2048870"/>
                <a:gd name="connsiteY673" fmla="*/ 252367 h 1413227"/>
                <a:gd name="connsiteX674" fmla="*/ 1455435 w 2048870"/>
                <a:gd name="connsiteY674" fmla="*/ 254096 h 1413227"/>
                <a:gd name="connsiteX675" fmla="*/ 1446792 w 2048870"/>
                <a:gd name="connsiteY675" fmla="*/ 261010 h 1413227"/>
                <a:gd name="connsiteX676" fmla="*/ 1441606 w 2048870"/>
                <a:gd name="connsiteY676" fmla="*/ 267924 h 1413227"/>
                <a:gd name="connsiteX677" fmla="*/ 1438149 w 2048870"/>
                <a:gd name="connsiteY677" fmla="*/ 273110 h 1413227"/>
                <a:gd name="connsiteX678" fmla="*/ 1432964 w 2048870"/>
                <a:gd name="connsiteY678" fmla="*/ 274838 h 1413227"/>
                <a:gd name="connsiteX679" fmla="*/ 1419135 w 2048870"/>
                <a:gd name="connsiteY679" fmla="*/ 281752 h 1413227"/>
                <a:gd name="connsiteX680" fmla="*/ 1412221 w 2048870"/>
                <a:gd name="connsiteY680" fmla="*/ 278295 h 1413227"/>
                <a:gd name="connsiteX681" fmla="*/ 1408764 w 2048870"/>
                <a:gd name="connsiteY681" fmla="*/ 273110 h 1413227"/>
                <a:gd name="connsiteX682" fmla="*/ 1400121 w 2048870"/>
                <a:gd name="connsiteY682" fmla="*/ 257553 h 1413227"/>
                <a:gd name="connsiteX683" fmla="*/ 1394936 w 2048870"/>
                <a:gd name="connsiteY683" fmla="*/ 254096 h 1413227"/>
                <a:gd name="connsiteX684" fmla="*/ 1386293 w 2048870"/>
                <a:gd name="connsiteY684" fmla="*/ 243724 h 1413227"/>
                <a:gd name="connsiteX685" fmla="*/ 1381107 w 2048870"/>
                <a:gd name="connsiteY685" fmla="*/ 212610 h 1413227"/>
                <a:gd name="connsiteX686" fmla="*/ 1370736 w 2048870"/>
                <a:gd name="connsiteY686" fmla="*/ 202239 h 1413227"/>
                <a:gd name="connsiteX687" fmla="*/ 1363822 w 2048870"/>
                <a:gd name="connsiteY687" fmla="*/ 200511 h 1413227"/>
                <a:gd name="connsiteX688" fmla="*/ 1358636 w 2048870"/>
                <a:gd name="connsiteY688" fmla="*/ 193596 h 1413227"/>
                <a:gd name="connsiteX689" fmla="*/ 1349994 w 2048870"/>
                <a:gd name="connsiteY689" fmla="*/ 178040 h 1413227"/>
                <a:gd name="connsiteX690" fmla="*/ 1337894 w 2048870"/>
                <a:gd name="connsiteY690" fmla="*/ 167668 h 1413227"/>
                <a:gd name="connsiteX691" fmla="*/ 1298137 w 2048870"/>
                <a:gd name="connsiteY691" fmla="*/ 169397 h 1413227"/>
                <a:gd name="connsiteX692" fmla="*/ 1284309 w 2048870"/>
                <a:gd name="connsiteY692" fmla="*/ 179768 h 1413227"/>
                <a:gd name="connsiteX693" fmla="*/ 1268752 w 2048870"/>
                <a:gd name="connsiteY693" fmla="*/ 181497 h 1413227"/>
                <a:gd name="connsiteX694" fmla="*/ 1251467 w 2048870"/>
                <a:gd name="connsiteY694" fmla="*/ 174583 h 1413227"/>
                <a:gd name="connsiteX695" fmla="*/ 1241095 w 2048870"/>
                <a:gd name="connsiteY695" fmla="*/ 164211 h 1413227"/>
                <a:gd name="connsiteX696" fmla="*/ 1230724 w 2048870"/>
                <a:gd name="connsiteY696" fmla="*/ 160754 h 1413227"/>
                <a:gd name="connsiteX697" fmla="*/ 1215167 w 2048870"/>
                <a:gd name="connsiteY697" fmla="*/ 146926 h 1413227"/>
                <a:gd name="connsiteX698" fmla="*/ 1213439 w 2048870"/>
                <a:gd name="connsiteY698" fmla="*/ 140012 h 1413227"/>
                <a:gd name="connsiteX699" fmla="*/ 1206524 w 2048870"/>
                <a:gd name="connsiteY699" fmla="*/ 131369 h 1413227"/>
                <a:gd name="connsiteX700" fmla="*/ 1204796 w 2048870"/>
                <a:gd name="connsiteY700" fmla="*/ 122726 h 1413227"/>
                <a:gd name="connsiteX701" fmla="*/ 1190968 w 2048870"/>
                <a:gd name="connsiteY701" fmla="*/ 117541 h 1413227"/>
                <a:gd name="connsiteX702" fmla="*/ 1201339 w 2048870"/>
                <a:gd name="connsiteY702" fmla="*/ 105441 h 1413227"/>
                <a:gd name="connsiteX703" fmla="*/ 1208253 w 2048870"/>
                <a:gd name="connsiteY703" fmla="*/ 101984 h 1413227"/>
                <a:gd name="connsiteX704" fmla="*/ 1213439 w 2048870"/>
                <a:gd name="connsiteY704" fmla="*/ 95069 h 1413227"/>
                <a:gd name="connsiteX705" fmla="*/ 1218624 w 2048870"/>
                <a:gd name="connsiteY705" fmla="*/ 89884 h 1413227"/>
                <a:gd name="connsiteX706" fmla="*/ 1216896 w 2048870"/>
                <a:gd name="connsiteY706" fmla="*/ 84698 h 1413227"/>
                <a:gd name="connsiteX707" fmla="*/ 1206524 w 2048870"/>
                <a:gd name="connsiteY707" fmla="*/ 81241 h 1413227"/>
                <a:gd name="connsiteX708" fmla="*/ 1190968 w 2048870"/>
                <a:gd name="connsiteY708" fmla="*/ 76055 h 1413227"/>
                <a:gd name="connsiteX709" fmla="*/ 1175411 w 2048870"/>
                <a:gd name="connsiteY709" fmla="*/ 60499 h 1413227"/>
                <a:gd name="connsiteX710" fmla="*/ 1168496 w 2048870"/>
                <a:gd name="connsiteY710" fmla="*/ 53584 h 1413227"/>
                <a:gd name="connsiteX711" fmla="*/ 1165039 w 2048870"/>
                <a:gd name="connsiteY711" fmla="*/ 46670 h 1413227"/>
                <a:gd name="connsiteX712" fmla="*/ 1159854 w 2048870"/>
                <a:gd name="connsiteY712" fmla="*/ 39756 h 1413227"/>
                <a:gd name="connsiteX713" fmla="*/ 1151211 w 2048870"/>
                <a:gd name="connsiteY713" fmla="*/ 27656 h 1413227"/>
                <a:gd name="connsiteX714" fmla="*/ 1146025 w 2048870"/>
                <a:gd name="connsiteY714" fmla="*/ 24199 h 1413227"/>
                <a:gd name="connsiteX715" fmla="*/ 1140840 w 2048870"/>
                <a:gd name="connsiteY715" fmla="*/ 17285 h 1413227"/>
                <a:gd name="connsiteX716" fmla="*/ 1123554 w 2048870"/>
                <a:gd name="connsiteY716" fmla="*/ 3457 h 1413227"/>
                <a:gd name="connsiteX717" fmla="*/ 1116640 w 2048870"/>
                <a:gd name="connsiteY717" fmla="*/ 0 h 1413227"/>
                <a:gd name="connsiteX718" fmla="*/ 1102812 w 2048870"/>
                <a:gd name="connsiteY718" fmla="*/ 1728 h 1413227"/>
                <a:gd name="connsiteX719" fmla="*/ 1097626 w 2048870"/>
                <a:gd name="connsiteY719" fmla="*/ 3457 h 1413227"/>
                <a:gd name="connsiteX720" fmla="*/ 1090712 w 2048870"/>
                <a:gd name="connsiteY720" fmla="*/ 5185 h 1413227"/>
                <a:gd name="connsiteX721" fmla="*/ 1071698 w 2048870"/>
                <a:gd name="connsiteY721" fmla="*/ 17285 h 1413227"/>
                <a:gd name="connsiteX722" fmla="*/ 1056141 w 2048870"/>
                <a:gd name="connsiteY722" fmla="*/ 15556 h 1413227"/>
                <a:gd name="connsiteX723" fmla="*/ 1050955 w 2048870"/>
                <a:gd name="connsiteY723" fmla="*/ 19014 h 1413227"/>
                <a:gd name="connsiteX724" fmla="*/ 1042313 w 2048870"/>
                <a:gd name="connsiteY724" fmla="*/ 27656 h 1413227"/>
                <a:gd name="connsiteX725" fmla="*/ 1028484 w 2048870"/>
                <a:gd name="connsiteY725" fmla="*/ 38027 h 1413227"/>
                <a:gd name="connsiteX726" fmla="*/ 1025027 w 2048870"/>
                <a:gd name="connsiteY726" fmla="*/ 41485 h 1413227"/>
                <a:gd name="connsiteX727" fmla="*/ 1016385 w 2048870"/>
                <a:gd name="connsiteY727" fmla="*/ 46670 h 1413227"/>
                <a:gd name="connsiteX728" fmla="*/ 1012927 w 2048870"/>
                <a:gd name="connsiteY728" fmla="*/ 50127 h 1413227"/>
                <a:gd name="connsiteX729" fmla="*/ 997371 w 2048870"/>
                <a:gd name="connsiteY729" fmla="*/ 57041 h 1413227"/>
                <a:gd name="connsiteX730" fmla="*/ 973171 w 2048870"/>
                <a:gd name="connsiteY730" fmla="*/ 58770 h 1413227"/>
                <a:gd name="connsiteX731" fmla="*/ 967985 w 2048870"/>
                <a:gd name="connsiteY731" fmla="*/ 62227 h 1413227"/>
                <a:gd name="connsiteX732" fmla="*/ 966257 w 2048870"/>
                <a:gd name="connsiteY732" fmla="*/ 79513 h 1413227"/>
                <a:gd name="connsiteX733" fmla="*/ 962800 w 2048870"/>
                <a:gd name="connsiteY733" fmla="*/ 103712 h 1413227"/>
                <a:gd name="connsiteX734" fmla="*/ 961071 w 2048870"/>
                <a:gd name="connsiteY734" fmla="*/ 112355 h 1413227"/>
                <a:gd name="connsiteX735" fmla="*/ 916129 w 2048870"/>
                <a:gd name="connsiteY735" fmla="*/ 115812 h 1413227"/>
                <a:gd name="connsiteX736" fmla="*/ 910943 w 2048870"/>
                <a:gd name="connsiteY736" fmla="*/ 119269 h 1413227"/>
                <a:gd name="connsiteX737" fmla="*/ 905758 w 2048870"/>
                <a:gd name="connsiteY737" fmla="*/ 120998 h 1413227"/>
                <a:gd name="connsiteX738" fmla="*/ 893658 w 2048870"/>
                <a:gd name="connsiteY738" fmla="*/ 124455 h 1413227"/>
                <a:gd name="connsiteX739" fmla="*/ 888472 w 2048870"/>
                <a:gd name="connsiteY739" fmla="*/ 126183 h 1413227"/>
                <a:gd name="connsiteX740" fmla="*/ 895386 w 2048870"/>
                <a:gd name="connsiteY740" fmla="*/ 124455 h 1413227"/>
                <a:gd name="connsiteX741" fmla="*/ 904029 w 2048870"/>
                <a:gd name="connsiteY741" fmla="*/ 115812 h 1413227"/>
                <a:gd name="connsiteX742" fmla="*/ 966257 w 2048870"/>
                <a:gd name="connsiteY742" fmla="*/ 63956 h 1413227"/>
                <a:gd name="connsiteX0" fmla="*/ 970191 w 2052804"/>
                <a:gd name="connsiteY0" fmla="*/ 63956 h 1413227"/>
                <a:gd name="connsiteX1" fmla="*/ 966734 w 2052804"/>
                <a:gd name="connsiteY1" fmla="*/ 72598 h 1413227"/>
                <a:gd name="connsiteX2" fmla="*/ 923520 w 2052804"/>
                <a:gd name="connsiteY2" fmla="*/ 114083 h 1413227"/>
                <a:gd name="connsiteX3" fmla="*/ 906235 w 2052804"/>
                <a:gd name="connsiteY3" fmla="*/ 120998 h 1413227"/>
                <a:gd name="connsiteX4" fmla="*/ 888949 w 2052804"/>
                <a:gd name="connsiteY4" fmla="*/ 122726 h 1413227"/>
                <a:gd name="connsiteX5" fmla="*/ 882035 w 2052804"/>
                <a:gd name="connsiteY5" fmla="*/ 129640 h 1413227"/>
                <a:gd name="connsiteX6" fmla="*/ 859564 w 2052804"/>
                <a:gd name="connsiteY6" fmla="*/ 140012 h 1413227"/>
                <a:gd name="connsiteX7" fmla="*/ 854378 w 2052804"/>
                <a:gd name="connsiteY7" fmla="*/ 145197 h 1413227"/>
                <a:gd name="connsiteX8" fmla="*/ 835364 w 2052804"/>
                <a:gd name="connsiteY8" fmla="*/ 146926 h 1413227"/>
                <a:gd name="connsiteX9" fmla="*/ 812857 w 2052804"/>
                <a:gd name="connsiteY9" fmla="*/ 195183 h 1413227"/>
                <a:gd name="connsiteX10" fmla="*/ 821536 w 2052804"/>
                <a:gd name="connsiteY10" fmla="*/ 247181 h 1413227"/>
                <a:gd name="connsiteX11" fmla="*/ 824993 w 2052804"/>
                <a:gd name="connsiteY11" fmla="*/ 255824 h 1413227"/>
                <a:gd name="connsiteX12" fmla="*/ 830179 w 2052804"/>
                <a:gd name="connsiteY12" fmla="*/ 259281 h 1413227"/>
                <a:gd name="connsiteX13" fmla="*/ 837093 w 2052804"/>
                <a:gd name="connsiteY13" fmla="*/ 267924 h 1413227"/>
                <a:gd name="connsiteX14" fmla="*/ 840550 w 2052804"/>
                <a:gd name="connsiteY14" fmla="*/ 280024 h 1413227"/>
                <a:gd name="connsiteX15" fmla="*/ 838821 w 2052804"/>
                <a:gd name="connsiteY15" fmla="*/ 295581 h 1413227"/>
                <a:gd name="connsiteX16" fmla="*/ 824993 w 2052804"/>
                <a:gd name="connsiteY16" fmla="*/ 299038 h 1413227"/>
                <a:gd name="connsiteX17" fmla="*/ 804250 w 2052804"/>
                <a:gd name="connsiteY17" fmla="*/ 295581 h 1413227"/>
                <a:gd name="connsiteX18" fmla="*/ 790422 w 2052804"/>
                <a:gd name="connsiteY18" fmla="*/ 286938 h 1413227"/>
                <a:gd name="connsiteX19" fmla="*/ 785236 w 2052804"/>
                <a:gd name="connsiteY19" fmla="*/ 285209 h 1413227"/>
                <a:gd name="connsiteX20" fmla="*/ 778322 w 2052804"/>
                <a:gd name="connsiteY20" fmla="*/ 278295 h 1413227"/>
                <a:gd name="connsiteX21" fmla="*/ 771408 w 2052804"/>
                <a:gd name="connsiteY21" fmla="*/ 285209 h 1413227"/>
                <a:gd name="connsiteX22" fmla="*/ 762765 w 2052804"/>
                <a:gd name="connsiteY22" fmla="*/ 286938 h 1413227"/>
                <a:gd name="connsiteX23" fmla="*/ 755851 w 2052804"/>
                <a:gd name="connsiteY23" fmla="*/ 288666 h 1413227"/>
                <a:gd name="connsiteX24" fmla="*/ 750666 w 2052804"/>
                <a:gd name="connsiteY24" fmla="*/ 290395 h 1413227"/>
                <a:gd name="connsiteX25" fmla="*/ 726466 w 2052804"/>
                <a:gd name="connsiteY25" fmla="*/ 292124 h 1413227"/>
                <a:gd name="connsiteX26" fmla="*/ 724737 w 2052804"/>
                <a:gd name="connsiteY26" fmla="*/ 297309 h 1413227"/>
                <a:gd name="connsiteX27" fmla="*/ 705723 w 2052804"/>
                <a:gd name="connsiteY27" fmla="*/ 312866 h 1413227"/>
                <a:gd name="connsiteX28" fmla="*/ 690167 w 2052804"/>
                <a:gd name="connsiteY28" fmla="*/ 305952 h 1413227"/>
                <a:gd name="connsiteX29" fmla="*/ 688438 w 2052804"/>
                <a:gd name="connsiteY29" fmla="*/ 300766 h 1413227"/>
                <a:gd name="connsiteX30" fmla="*/ 684981 w 2052804"/>
                <a:gd name="connsiteY30" fmla="*/ 285209 h 1413227"/>
                <a:gd name="connsiteX31" fmla="*/ 653867 w 2052804"/>
                <a:gd name="connsiteY31" fmla="*/ 288666 h 1413227"/>
                <a:gd name="connsiteX32" fmla="*/ 650410 w 2052804"/>
                <a:gd name="connsiteY32" fmla="*/ 299038 h 1413227"/>
                <a:gd name="connsiteX33" fmla="*/ 643496 w 2052804"/>
                <a:gd name="connsiteY33" fmla="*/ 314595 h 1413227"/>
                <a:gd name="connsiteX34" fmla="*/ 638310 w 2052804"/>
                <a:gd name="connsiteY34" fmla="*/ 326694 h 1413227"/>
                <a:gd name="connsiteX35" fmla="*/ 633125 w 2052804"/>
                <a:gd name="connsiteY35" fmla="*/ 328423 h 1413227"/>
                <a:gd name="connsiteX36" fmla="*/ 617568 w 2052804"/>
                <a:gd name="connsiteY36" fmla="*/ 323237 h 1413227"/>
                <a:gd name="connsiteX37" fmla="*/ 605468 w 2052804"/>
                <a:gd name="connsiteY37" fmla="*/ 311138 h 1413227"/>
                <a:gd name="connsiteX38" fmla="*/ 576083 w 2052804"/>
                <a:gd name="connsiteY38" fmla="*/ 309409 h 1413227"/>
                <a:gd name="connsiteX39" fmla="*/ 570897 w 2052804"/>
                <a:gd name="connsiteY39" fmla="*/ 295581 h 1413227"/>
                <a:gd name="connsiteX40" fmla="*/ 567440 w 2052804"/>
                <a:gd name="connsiteY40" fmla="*/ 300766 h 1413227"/>
                <a:gd name="connsiteX41" fmla="*/ 562254 w 2052804"/>
                <a:gd name="connsiteY41" fmla="*/ 307680 h 1413227"/>
                <a:gd name="connsiteX42" fmla="*/ 553612 w 2052804"/>
                <a:gd name="connsiteY42" fmla="*/ 321509 h 1413227"/>
                <a:gd name="connsiteX43" fmla="*/ 513855 w 2052804"/>
                <a:gd name="connsiteY43" fmla="*/ 324966 h 1413227"/>
                <a:gd name="connsiteX44" fmla="*/ 519041 w 2052804"/>
                <a:gd name="connsiteY44" fmla="*/ 328423 h 1413227"/>
                <a:gd name="connsiteX45" fmla="*/ 529412 w 2052804"/>
                <a:gd name="connsiteY45" fmla="*/ 331880 h 1413227"/>
                <a:gd name="connsiteX46" fmla="*/ 527683 w 2052804"/>
                <a:gd name="connsiteY46" fmla="*/ 337066 h 1413227"/>
                <a:gd name="connsiteX47" fmla="*/ 520769 w 2052804"/>
                <a:gd name="connsiteY47" fmla="*/ 343980 h 1413227"/>
                <a:gd name="connsiteX48" fmla="*/ 515584 w 2052804"/>
                <a:gd name="connsiteY48" fmla="*/ 323237 h 1413227"/>
                <a:gd name="connsiteX49" fmla="*/ 487927 w 2052804"/>
                <a:gd name="connsiteY49" fmla="*/ 333609 h 1413227"/>
                <a:gd name="connsiteX50" fmla="*/ 482741 w 2052804"/>
                <a:gd name="connsiteY50" fmla="*/ 338794 h 1413227"/>
                <a:gd name="connsiteX51" fmla="*/ 470641 w 2052804"/>
                <a:gd name="connsiteY51" fmla="*/ 337066 h 1413227"/>
                <a:gd name="connsiteX52" fmla="*/ 467184 w 2052804"/>
                <a:gd name="connsiteY52" fmla="*/ 324966 h 1413227"/>
                <a:gd name="connsiteX53" fmla="*/ 458542 w 2052804"/>
                <a:gd name="connsiteY53" fmla="*/ 312866 h 1413227"/>
                <a:gd name="connsiteX54" fmla="*/ 453356 w 2052804"/>
                <a:gd name="connsiteY54" fmla="*/ 311138 h 1413227"/>
                <a:gd name="connsiteX55" fmla="*/ 429156 w 2052804"/>
                <a:gd name="connsiteY55" fmla="*/ 314595 h 1413227"/>
                <a:gd name="connsiteX56" fmla="*/ 277044 w 2052804"/>
                <a:gd name="connsiteY56" fmla="*/ 316323 h 1413227"/>
                <a:gd name="connsiteX57" fmla="*/ 266673 w 2052804"/>
                <a:gd name="connsiteY57" fmla="*/ 323237 h 1413227"/>
                <a:gd name="connsiteX58" fmla="*/ 259759 w 2052804"/>
                <a:gd name="connsiteY58" fmla="*/ 324966 h 1413227"/>
                <a:gd name="connsiteX59" fmla="*/ 254573 w 2052804"/>
                <a:gd name="connsiteY59" fmla="*/ 326694 h 1413227"/>
                <a:gd name="connsiteX60" fmla="*/ 242474 w 2052804"/>
                <a:gd name="connsiteY60" fmla="*/ 330152 h 1413227"/>
                <a:gd name="connsiteX61" fmla="*/ 204446 w 2052804"/>
                <a:gd name="connsiteY61" fmla="*/ 333609 h 1413227"/>
                <a:gd name="connsiteX62" fmla="*/ 192346 w 2052804"/>
                <a:gd name="connsiteY62" fmla="*/ 338794 h 1413227"/>
                <a:gd name="connsiteX63" fmla="*/ 180246 w 2052804"/>
                <a:gd name="connsiteY63" fmla="*/ 342251 h 1413227"/>
                <a:gd name="connsiteX64" fmla="*/ 150861 w 2052804"/>
                <a:gd name="connsiteY64" fmla="*/ 356080 h 1413227"/>
                <a:gd name="connsiteX65" fmla="*/ 142218 w 2052804"/>
                <a:gd name="connsiteY65" fmla="*/ 357808 h 1413227"/>
                <a:gd name="connsiteX66" fmla="*/ 140489 w 2052804"/>
                <a:gd name="connsiteY66" fmla="*/ 364722 h 1413227"/>
                <a:gd name="connsiteX67" fmla="*/ 138761 w 2052804"/>
                <a:gd name="connsiteY67" fmla="*/ 380279 h 1413227"/>
                <a:gd name="connsiteX68" fmla="*/ 131847 w 2052804"/>
                <a:gd name="connsiteY68" fmla="*/ 387193 h 1413227"/>
                <a:gd name="connsiteX69" fmla="*/ 130118 w 2052804"/>
                <a:gd name="connsiteY69" fmla="*/ 394108 h 1413227"/>
                <a:gd name="connsiteX70" fmla="*/ 128390 w 2052804"/>
                <a:gd name="connsiteY70" fmla="*/ 402750 h 1413227"/>
                <a:gd name="connsiteX71" fmla="*/ 121475 w 2052804"/>
                <a:gd name="connsiteY71" fmla="*/ 407936 h 1413227"/>
                <a:gd name="connsiteX72" fmla="*/ 109376 w 2052804"/>
                <a:gd name="connsiteY72" fmla="*/ 411393 h 1413227"/>
                <a:gd name="connsiteX73" fmla="*/ 104190 w 2052804"/>
                <a:gd name="connsiteY73" fmla="*/ 413122 h 1413227"/>
                <a:gd name="connsiteX74" fmla="*/ 74805 w 2052804"/>
                <a:gd name="connsiteY74" fmla="*/ 421764 h 1413227"/>
                <a:gd name="connsiteX75" fmla="*/ 71348 w 2052804"/>
                <a:gd name="connsiteY75" fmla="*/ 428679 h 1413227"/>
                <a:gd name="connsiteX76" fmla="*/ 73076 w 2052804"/>
                <a:gd name="connsiteY76" fmla="*/ 440778 h 1413227"/>
                <a:gd name="connsiteX77" fmla="*/ 69619 w 2052804"/>
                <a:gd name="connsiteY77" fmla="*/ 445964 h 1413227"/>
                <a:gd name="connsiteX78" fmla="*/ 67891 w 2052804"/>
                <a:gd name="connsiteY78" fmla="*/ 452878 h 1413227"/>
                <a:gd name="connsiteX79" fmla="*/ 73076 w 2052804"/>
                <a:gd name="connsiteY79" fmla="*/ 456335 h 1413227"/>
                <a:gd name="connsiteX80" fmla="*/ 78262 w 2052804"/>
                <a:gd name="connsiteY80" fmla="*/ 458064 h 1413227"/>
                <a:gd name="connsiteX81" fmla="*/ 88633 w 2052804"/>
                <a:gd name="connsiteY81" fmla="*/ 466707 h 1413227"/>
                <a:gd name="connsiteX82" fmla="*/ 85176 w 2052804"/>
                <a:gd name="connsiteY82" fmla="*/ 473621 h 1413227"/>
                <a:gd name="connsiteX83" fmla="*/ 81719 w 2052804"/>
                <a:gd name="connsiteY83" fmla="*/ 478806 h 1413227"/>
                <a:gd name="connsiteX84" fmla="*/ 83447 w 2052804"/>
                <a:gd name="connsiteY84" fmla="*/ 485721 h 1413227"/>
                <a:gd name="connsiteX85" fmla="*/ 76533 w 2052804"/>
                <a:gd name="connsiteY85" fmla="*/ 489178 h 1413227"/>
                <a:gd name="connsiteX86" fmla="*/ 67891 w 2052804"/>
                <a:gd name="connsiteY86" fmla="*/ 487449 h 1413227"/>
                <a:gd name="connsiteX87" fmla="*/ 79990 w 2052804"/>
                <a:gd name="connsiteY87" fmla="*/ 485721 h 1413227"/>
                <a:gd name="connsiteX88" fmla="*/ 90362 w 2052804"/>
                <a:gd name="connsiteY88" fmla="*/ 483992 h 1413227"/>
                <a:gd name="connsiteX89" fmla="*/ 88633 w 2052804"/>
                <a:gd name="connsiteY89" fmla="*/ 494363 h 1413227"/>
                <a:gd name="connsiteX90" fmla="*/ 90362 w 2052804"/>
                <a:gd name="connsiteY90" fmla="*/ 501277 h 1413227"/>
                <a:gd name="connsiteX91" fmla="*/ 100733 w 2052804"/>
                <a:gd name="connsiteY91" fmla="*/ 515106 h 1413227"/>
                <a:gd name="connsiteX92" fmla="*/ 105919 w 2052804"/>
                <a:gd name="connsiteY92" fmla="*/ 516834 h 1413227"/>
                <a:gd name="connsiteX93" fmla="*/ 118018 w 2052804"/>
                <a:gd name="connsiteY93" fmla="*/ 520291 h 1413227"/>
                <a:gd name="connsiteX94" fmla="*/ 106535 w 2052804"/>
                <a:gd name="connsiteY94" fmla="*/ 523095 h 1413227"/>
                <a:gd name="connsiteX95" fmla="*/ 110838 w 2052804"/>
                <a:gd name="connsiteY95" fmla="*/ 535847 h 1413227"/>
                <a:gd name="connsiteX96" fmla="*/ 128583 w 2052804"/>
                <a:gd name="connsiteY96" fmla="*/ 554668 h 1413227"/>
                <a:gd name="connsiteX97" fmla="*/ 138761 w 2052804"/>
                <a:gd name="connsiteY97" fmla="*/ 572148 h 1413227"/>
                <a:gd name="connsiteX98" fmla="*/ 143946 w 2052804"/>
                <a:gd name="connsiteY98" fmla="*/ 573876 h 1413227"/>
                <a:gd name="connsiteX99" fmla="*/ 147404 w 2052804"/>
                <a:gd name="connsiteY99" fmla="*/ 577333 h 1413227"/>
                <a:gd name="connsiteX100" fmla="*/ 150861 w 2052804"/>
                <a:gd name="connsiteY100" fmla="*/ 589433 h 1413227"/>
                <a:gd name="connsiteX101" fmla="*/ 154318 w 2052804"/>
                <a:gd name="connsiteY101" fmla="*/ 598076 h 1413227"/>
                <a:gd name="connsiteX102" fmla="*/ 152589 w 2052804"/>
                <a:gd name="connsiteY102" fmla="*/ 617090 h 1413227"/>
                <a:gd name="connsiteX103" fmla="*/ 150861 w 2052804"/>
                <a:gd name="connsiteY103" fmla="*/ 622276 h 1413227"/>
                <a:gd name="connsiteX104" fmla="*/ 145675 w 2052804"/>
                <a:gd name="connsiteY104" fmla="*/ 627461 h 1413227"/>
                <a:gd name="connsiteX105" fmla="*/ 140489 w 2052804"/>
                <a:gd name="connsiteY105" fmla="*/ 634375 h 1413227"/>
                <a:gd name="connsiteX106" fmla="*/ 124933 w 2052804"/>
                <a:gd name="connsiteY106" fmla="*/ 639561 h 1413227"/>
                <a:gd name="connsiteX107" fmla="*/ 99004 w 2052804"/>
                <a:gd name="connsiteY107" fmla="*/ 665489 h 1413227"/>
                <a:gd name="connsiteX108" fmla="*/ 93819 w 2052804"/>
                <a:gd name="connsiteY108" fmla="*/ 670675 h 1413227"/>
                <a:gd name="connsiteX109" fmla="*/ 90362 w 2052804"/>
                <a:gd name="connsiteY109" fmla="*/ 675860 h 1413227"/>
                <a:gd name="connsiteX110" fmla="*/ 85176 w 2052804"/>
                <a:gd name="connsiteY110" fmla="*/ 677589 h 1413227"/>
                <a:gd name="connsiteX111" fmla="*/ 81719 w 2052804"/>
                <a:gd name="connsiteY111" fmla="*/ 682775 h 1413227"/>
                <a:gd name="connsiteX112" fmla="*/ 67891 w 2052804"/>
                <a:gd name="connsiteY112" fmla="*/ 689689 h 1413227"/>
                <a:gd name="connsiteX113" fmla="*/ 64433 w 2052804"/>
                <a:gd name="connsiteY113" fmla="*/ 706974 h 1413227"/>
                <a:gd name="connsiteX114" fmla="*/ 54062 w 2052804"/>
                <a:gd name="connsiteY114" fmla="*/ 720803 h 1413227"/>
                <a:gd name="connsiteX115" fmla="*/ 52334 w 2052804"/>
                <a:gd name="connsiteY115" fmla="*/ 725988 h 1413227"/>
                <a:gd name="connsiteX116" fmla="*/ 50605 w 2052804"/>
                <a:gd name="connsiteY116" fmla="*/ 732902 h 1413227"/>
                <a:gd name="connsiteX117" fmla="*/ 29863 w 2052804"/>
                <a:gd name="connsiteY117" fmla="*/ 751916 h 1413227"/>
                <a:gd name="connsiteX118" fmla="*/ 22948 w 2052804"/>
                <a:gd name="connsiteY118" fmla="*/ 776116 h 1413227"/>
                <a:gd name="connsiteX119" fmla="*/ 16034 w 2052804"/>
                <a:gd name="connsiteY119" fmla="*/ 789944 h 1413227"/>
                <a:gd name="connsiteX120" fmla="*/ 21220 w 2052804"/>
                <a:gd name="connsiteY120" fmla="*/ 822787 h 1413227"/>
                <a:gd name="connsiteX121" fmla="*/ 29863 w 2052804"/>
                <a:gd name="connsiteY121" fmla="*/ 829701 h 1413227"/>
                <a:gd name="connsiteX122" fmla="*/ 33320 w 2052804"/>
                <a:gd name="connsiteY122" fmla="*/ 838344 h 1413227"/>
                <a:gd name="connsiteX123" fmla="*/ 40234 w 2052804"/>
                <a:gd name="connsiteY123" fmla="*/ 843529 h 1413227"/>
                <a:gd name="connsiteX124" fmla="*/ 41962 w 2052804"/>
                <a:gd name="connsiteY124" fmla="*/ 852172 h 1413227"/>
                <a:gd name="connsiteX125" fmla="*/ 47148 w 2052804"/>
                <a:gd name="connsiteY125" fmla="*/ 864272 h 1413227"/>
                <a:gd name="connsiteX126" fmla="*/ 48877 w 2052804"/>
                <a:gd name="connsiteY126" fmla="*/ 874643 h 1413227"/>
                <a:gd name="connsiteX127" fmla="*/ 55791 w 2052804"/>
                <a:gd name="connsiteY127" fmla="*/ 876372 h 1413227"/>
                <a:gd name="connsiteX128" fmla="*/ 57519 w 2052804"/>
                <a:gd name="connsiteY128" fmla="*/ 883286 h 1413227"/>
                <a:gd name="connsiteX129" fmla="*/ 62705 w 2052804"/>
                <a:gd name="connsiteY129" fmla="*/ 886743 h 1413227"/>
                <a:gd name="connsiteX130" fmla="*/ 55791 w 2052804"/>
                <a:gd name="connsiteY130" fmla="*/ 898843 h 1413227"/>
                <a:gd name="connsiteX131" fmla="*/ 47148 w 2052804"/>
                <a:gd name="connsiteY131" fmla="*/ 904028 h 1413227"/>
                <a:gd name="connsiteX132" fmla="*/ 33320 w 2052804"/>
                <a:gd name="connsiteY132" fmla="*/ 909214 h 1413227"/>
                <a:gd name="connsiteX133" fmla="*/ 31591 w 2052804"/>
                <a:gd name="connsiteY133" fmla="*/ 919585 h 1413227"/>
                <a:gd name="connsiteX134" fmla="*/ 15575 w 2052804"/>
                <a:gd name="connsiteY134" fmla="*/ 916974 h 1413227"/>
                <a:gd name="connsiteX135" fmla="*/ 22948 w 2052804"/>
                <a:gd name="connsiteY135" fmla="*/ 955885 h 1413227"/>
                <a:gd name="connsiteX136" fmla="*/ 19 w 2052804"/>
                <a:gd name="connsiteY136" fmla="*/ 960188 h 1413227"/>
                <a:gd name="connsiteX137" fmla="*/ 12577 w 2052804"/>
                <a:gd name="connsiteY137" fmla="*/ 990455 h 1413227"/>
                <a:gd name="connsiteX138" fmla="*/ 3934 w 2052804"/>
                <a:gd name="connsiteY138" fmla="*/ 999098 h 1413227"/>
                <a:gd name="connsiteX139" fmla="*/ 10849 w 2052804"/>
                <a:gd name="connsiteY139" fmla="*/ 1023298 h 1413227"/>
                <a:gd name="connsiteX140" fmla="*/ 19491 w 2052804"/>
                <a:gd name="connsiteY140" fmla="*/ 1025026 h 1413227"/>
                <a:gd name="connsiteX141" fmla="*/ 26405 w 2052804"/>
                <a:gd name="connsiteY141" fmla="*/ 1030212 h 1413227"/>
                <a:gd name="connsiteX142" fmla="*/ 31591 w 2052804"/>
                <a:gd name="connsiteY142" fmla="*/ 1031941 h 1413227"/>
                <a:gd name="connsiteX143" fmla="*/ 38505 w 2052804"/>
                <a:gd name="connsiteY143" fmla="*/ 1035398 h 1413227"/>
                <a:gd name="connsiteX144" fmla="*/ 43691 w 2052804"/>
                <a:gd name="connsiteY144" fmla="*/ 1042312 h 1413227"/>
                <a:gd name="connsiteX145" fmla="*/ 47148 w 2052804"/>
                <a:gd name="connsiteY145" fmla="*/ 1047497 h 1413227"/>
                <a:gd name="connsiteX146" fmla="*/ 57519 w 2052804"/>
                <a:gd name="connsiteY146" fmla="*/ 1052683 h 1413227"/>
                <a:gd name="connsiteX147" fmla="*/ 99004 w 2052804"/>
                <a:gd name="connsiteY147" fmla="*/ 1061326 h 1413227"/>
                <a:gd name="connsiteX148" fmla="*/ 100733 w 2052804"/>
                <a:gd name="connsiteY148" fmla="*/ 1073426 h 1413227"/>
                <a:gd name="connsiteX149" fmla="*/ 105919 w 2052804"/>
                <a:gd name="connsiteY149" fmla="*/ 1075154 h 1413227"/>
                <a:gd name="connsiteX150" fmla="*/ 116290 w 2052804"/>
                <a:gd name="connsiteY150" fmla="*/ 1066511 h 1413227"/>
                <a:gd name="connsiteX151" fmla="*/ 123204 w 2052804"/>
                <a:gd name="connsiteY151" fmla="*/ 1059597 h 1413227"/>
                <a:gd name="connsiteX152" fmla="*/ 124933 w 2052804"/>
                <a:gd name="connsiteY152" fmla="*/ 1054412 h 1413227"/>
                <a:gd name="connsiteX153" fmla="*/ 138761 w 2052804"/>
                <a:gd name="connsiteY153" fmla="*/ 1061326 h 1413227"/>
                <a:gd name="connsiteX154" fmla="*/ 145675 w 2052804"/>
                <a:gd name="connsiteY154" fmla="*/ 1063054 h 1413227"/>
                <a:gd name="connsiteX155" fmla="*/ 150861 w 2052804"/>
                <a:gd name="connsiteY155" fmla="*/ 1064783 h 1413227"/>
                <a:gd name="connsiteX156" fmla="*/ 251116 w 2052804"/>
                <a:gd name="connsiteY156" fmla="*/ 1068240 h 1413227"/>
                <a:gd name="connsiteX157" fmla="*/ 270130 w 2052804"/>
                <a:gd name="connsiteY157" fmla="*/ 1064783 h 1413227"/>
                <a:gd name="connsiteX158" fmla="*/ 280502 w 2052804"/>
                <a:gd name="connsiteY158" fmla="*/ 1059597 h 1413227"/>
                <a:gd name="connsiteX159" fmla="*/ 289144 w 2052804"/>
                <a:gd name="connsiteY159" fmla="*/ 1049226 h 1413227"/>
                <a:gd name="connsiteX160" fmla="*/ 299515 w 2052804"/>
                <a:gd name="connsiteY160" fmla="*/ 1052683 h 1413227"/>
                <a:gd name="connsiteX161" fmla="*/ 302973 w 2052804"/>
                <a:gd name="connsiteY161" fmla="*/ 1059597 h 1413227"/>
                <a:gd name="connsiteX162" fmla="*/ 316801 w 2052804"/>
                <a:gd name="connsiteY162" fmla="*/ 1071697 h 1413227"/>
                <a:gd name="connsiteX163" fmla="*/ 342729 w 2052804"/>
                <a:gd name="connsiteY163" fmla="*/ 1078611 h 1413227"/>
                <a:gd name="connsiteX164" fmla="*/ 365200 w 2052804"/>
                <a:gd name="connsiteY164" fmla="*/ 1075154 h 1413227"/>
                <a:gd name="connsiteX165" fmla="*/ 366929 w 2052804"/>
                <a:gd name="connsiteY165" fmla="*/ 1068240 h 1413227"/>
                <a:gd name="connsiteX166" fmla="*/ 377300 w 2052804"/>
                <a:gd name="connsiteY166" fmla="*/ 1050955 h 1413227"/>
                <a:gd name="connsiteX167" fmla="*/ 382486 w 2052804"/>
                <a:gd name="connsiteY167" fmla="*/ 1045769 h 1413227"/>
                <a:gd name="connsiteX168" fmla="*/ 401500 w 2052804"/>
                <a:gd name="connsiteY168" fmla="*/ 1038855 h 1413227"/>
                <a:gd name="connsiteX169" fmla="*/ 436071 w 2052804"/>
                <a:gd name="connsiteY169" fmla="*/ 1035398 h 1413227"/>
                <a:gd name="connsiteX170" fmla="*/ 448170 w 2052804"/>
                <a:gd name="connsiteY170" fmla="*/ 1031941 h 1413227"/>
                <a:gd name="connsiteX171" fmla="*/ 451627 w 2052804"/>
                <a:gd name="connsiteY171" fmla="*/ 1025026 h 1413227"/>
                <a:gd name="connsiteX172" fmla="*/ 456813 w 2052804"/>
                <a:gd name="connsiteY172" fmla="*/ 1021569 h 1413227"/>
                <a:gd name="connsiteX173" fmla="*/ 472370 w 2052804"/>
                <a:gd name="connsiteY173" fmla="*/ 1011198 h 1413227"/>
                <a:gd name="connsiteX174" fmla="*/ 477556 w 2052804"/>
                <a:gd name="connsiteY174" fmla="*/ 999098 h 1413227"/>
                <a:gd name="connsiteX175" fmla="*/ 482741 w 2052804"/>
                <a:gd name="connsiteY175" fmla="*/ 986998 h 1413227"/>
                <a:gd name="connsiteX176" fmla="*/ 489655 w 2052804"/>
                <a:gd name="connsiteY176" fmla="*/ 980084 h 1413227"/>
                <a:gd name="connsiteX177" fmla="*/ 493112 w 2052804"/>
                <a:gd name="connsiteY177" fmla="*/ 974899 h 1413227"/>
                <a:gd name="connsiteX178" fmla="*/ 515584 w 2052804"/>
                <a:gd name="connsiteY178" fmla="*/ 955885 h 1413227"/>
                <a:gd name="connsiteX179" fmla="*/ 534598 w 2052804"/>
                <a:gd name="connsiteY179" fmla="*/ 947242 h 1413227"/>
                <a:gd name="connsiteX180" fmla="*/ 541512 w 2052804"/>
                <a:gd name="connsiteY180" fmla="*/ 933414 h 1413227"/>
                <a:gd name="connsiteX181" fmla="*/ 543240 w 2052804"/>
                <a:gd name="connsiteY181" fmla="*/ 928228 h 1413227"/>
                <a:gd name="connsiteX182" fmla="*/ 544969 w 2052804"/>
                <a:gd name="connsiteY182" fmla="*/ 921314 h 1413227"/>
                <a:gd name="connsiteX183" fmla="*/ 567440 w 2052804"/>
                <a:gd name="connsiteY183" fmla="*/ 917857 h 1413227"/>
                <a:gd name="connsiteX184" fmla="*/ 572626 w 2052804"/>
                <a:gd name="connsiteY184" fmla="*/ 916128 h 1413227"/>
                <a:gd name="connsiteX185" fmla="*/ 588182 w 2052804"/>
                <a:gd name="connsiteY185" fmla="*/ 914400 h 1413227"/>
                <a:gd name="connsiteX186" fmla="*/ 593368 w 2052804"/>
                <a:gd name="connsiteY186" fmla="*/ 910942 h 1413227"/>
                <a:gd name="connsiteX187" fmla="*/ 603739 w 2052804"/>
                <a:gd name="connsiteY187" fmla="*/ 905757 h 1413227"/>
                <a:gd name="connsiteX188" fmla="*/ 608925 w 2052804"/>
                <a:gd name="connsiteY188" fmla="*/ 900571 h 1413227"/>
                <a:gd name="connsiteX189" fmla="*/ 610653 w 2052804"/>
                <a:gd name="connsiteY189" fmla="*/ 895386 h 1413227"/>
                <a:gd name="connsiteX190" fmla="*/ 619296 w 2052804"/>
                <a:gd name="connsiteY190" fmla="*/ 891928 h 1413227"/>
                <a:gd name="connsiteX191" fmla="*/ 624482 w 2052804"/>
                <a:gd name="connsiteY191" fmla="*/ 886743 h 1413227"/>
                <a:gd name="connsiteX192" fmla="*/ 643496 w 2052804"/>
                <a:gd name="connsiteY192" fmla="*/ 879829 h 1413227"/>
                <a:gd name="connsiteX193" fmla="*/ 657324 w 2052804"/>
                <a:gd name="connsiteY193" fmla="*/ 883286 h 1413227"/>
                <a:gd name="connsiteX194" fmla="*/ 664238 w 2052804"/>
                <a:gd name="connsiteY194" fmla="*/ 885014 h 1413227"/>
                <a:gd name="connsiteX195" fmla="*/ 672881 w 2052804"/>
                <a:gd name="connsiteY195" fmla="*/ 886743 h 1413227"/>
                <a:gd name="connsiteX196" fmla="*/ 679795 w 2052804"/>
                <a:gd name="connsiteY196" fmla="*/ 890200 h 1413227"/>
                <a:gd name="connsiteX197" fmla="*/ 686709 w 2052804"/>
                <a:gd name="connsiteY197" fmla="*/ 891928 h 1413227"/>
                <a:gd name="connsiteX198" fmla="*/ 691895 w 2052804"/>
                <a:gd name="connsiteY198" fmla="*/ 895386 h 1413227"/>
                <a:gd name="connsiteX199" fmla="*/ 703995 w 2052804"/>
                <a:gd name="connsiteY199" fmla="*/ 898843 h 1413227"/>
                <a:gd name="connsiteX200" fmla="*/ 710909 w 2052804"/>
                <a:gd name="connsiteY200" fmla="*/ 904028 h 1413227"/>
                <a:gd name="connsiteX201" fmla="*/ 724737 w 2052804"/>
                <a:gd name="connsiteY201" fmla="*/ 907485 h 1413227"/>
                <a:gd name="connsiteX202" fmla="*/ 731652 w 2052804"/>
                <a:gd name="connsiteY202" fmla="*/ 905757 h 1413227"/>
                <a:gd name="connsiteX203" fmla="*/ 740294 w 2052804"/>
                <a:gd name="connsiteY203" fmla="*/ 904028 h 1413227"/>
                <a:gd name="connsiteX204" fmla="*/ 742023 w 2052804"/>
                <a:gd name="connsiteY204" fmla="*/ 910942 h 1413227"/>
                <a:gd name="connsiteX205" fmla="*/ 764494 w 2052804"/>
                <a:gd name="connsiteY205" fmla="*/ 904028 h 1413227"/>
                <a:gd name="connsiteX206" fmla="*/ 774865 w 2052804"/>
                <a:gd name="connsiteY206" fmla="*/ 895386 h 1413227"/>
                <a:gd name="connsiteX207" fmla="*/ 780051 w 2052804"/>
                <a:gd name="connsiteY207" fmla="*/ 909214 h 1413227"/>
                <a:gd name="connsiteX208" fmla="*/ 786965 w 2052804"/>
                <a:gd name="connsiteY208" fmla="*/ 914400 h 1413227"/>
                <a:gd name="connsiteX209" fmla="*/ 792151 w 2052804"/>
                <a:gd name="connsiteY209" fmla="*/ 919585 h 1413227"/>
                <a:gd name="connsiteX210" fmla="*/ 797336 w 2052804"/>
                <a:gd name="connsiteY210" fmla="*/ 923042 h 1413227"/>
                <a:gd name="connsiteX211" fmla="*/ 802522 w 2052804"/>
                <a:gd name="connsiteY211" fmla="*/ 928228 h 1413227"/>
                <a:gd name="connsiteX212" fmla="*/ 819807 w 2052804"/>
                <a:gd name="connsiteY212" fmla="*/ 935142 h 1413227"/>
                <a:gd name="connsiteX213" fmla="*/ 824993 w 2052804"/>
                <a:gd name="connsiteY213" fmla="*/ 926499 h 1413227"/>
                <a:gd name="connsiteX214" fmla="*/ 828450 w 2052804"/>
                <a:gd name="connsiteY214" fmla="*/ 910942 h 1413227"/>
                <a:gd name="connsiteX215" fmla="*/ 837093 w 2052804"/>
                <a:gd name="connsiteY215" fmla="*/ 912671 h 1413227"/>
                <a:gd name="connsiteX216" fmla="*/ 842278 w 2052804"/>
                <a:gd name="connsiteY216" fmla="*/ 926499 h 1413227"/>
                <a:gd name="connsiteX217" fmla="*/ 845736 w 2052804"/>
                <a:gd name="connsiteY217" fmla="*/ 929956 h 1413227"/>
                <a:gd name="connsiteX218" fmla="*/ 854378 w 2052804"/>
                <a:gd name="connsiteY218" fmla="*/ 948970 h 1413227"/>
                <a:gd name="connsiteX219" fmla="*/ 857835 w 2052804"/>
                <a:gd name="connsiteY219" fmla="*/ 954156 h 1413227"/>
                <a:gd name="connsiteX220" fmla="*/ 863021 w 2052804"/>
                <a:gd name="connsiteY220" fmla="*/ 988727 h 1413227"/>
                <a:gd name="connsiteX221" fmla="*/ 868207 w 2052804"/>
                <a:gd name="connsiteY221" fmla="*/ 1009469 h 1413227"/>
                <a:gd name="connsiteX222" fmla="*/ 882035 w 2052804"/>
                <a:gd name="connsiteY222" fmla="*/ 1012927 h 1413227"/>
                <a:gd name="connsiteX223" fmla="*/ 888949 w 2052804"/>
                <a:gd name="connsiteY223" fmla="*/ 1016384 h 1413227"/>
                <a:gd name="connsiteX224" fmla="*/ 892406 w 2052804"/>
                <a:gd name="connsiteY224" fmla="*/ 1021569 h 1413227"/>
                <a:gd name="connsiteX225" fmla="*/ 904506 w 2052804"/>
                <a:gd name="connsiteY225" fmla="*/ 1026755 h 1413227"/>
                <a:gd name="connsiteX226" fmla="*/ 909692 w 2052804"/>
                <a:gd name="connsiteY226" fmla="*/ 1033669 h 1413227"/>
                <a:gd name="connsiteX227" fmla="*/ 913149 w 2052804"/>
                <a:gd name="connsiteY227" fmla="*/ 1040583 h 1413227"/>
                <a:gd name="connsiteX228" fmla="*/ 916606 w 2052804"/>
                <a:gd name="connsiteY228" fmla="*/ 1045769 h 1413227"/>
                <a:gd name="connsiteX229" fmla="*/ 925249 w 2052804"/>
                <a:gd name="connsiteY229" fmla="*/ 1061326 h 1413227"/>
                <a:gd name="connsiteX230" fmla="*/ 932163 w 2052804"/>
                <a:gd name="connsiteY230" fmla="*/ 1082068 h 1413227"/>
                <a:gd name="connsiteX231" fmla="*/ 933891 w 2052804"/>
                <a:gd name="connsiteY231" fmla="*/ 1088983 h 1413227"/>
                <a:gd name="connsiteX232" fmla="*/ 944263 w 2052804"/>
                <a:gd name="connsiteY232" fmla="*/ 1095897 h 1413227"/>
                <a:gd name="connsiteX233" fmla="*/ 963277 w 2052804"/>
                <a:gd name="connsiteY233" fmla="*/ 1097625 h 1413227"/>
                <a:gd name="connsiteX234" fmla="*/ 971919 w 2052804"/>
                <a:gd name="connsiteY234" fmla="*/ 1101082 h 1413227"/>
                <a:gd name="connsiteX235" fmla="*/ 977105 w 2052804"/>
                <a:gd name="connsiteY235" fmla="*/ 1106268 h 1413227"/>
                <a:gd name="connsiteX236" fmla="*/ 982291 w 2052804"/>
                <a:gd name="connsiteY236" fmla="*/ 1109725 h 1413227"/>
                <a:gd name="connsiteX237" fmla="*/ 987476 w 2052804"/>
                <a:gd name="connsiteY237" fmla="*/ 1118368 h 1413227"/>
                <a:gd name="connsiteX238" fmla="*/ 989205 w 2052804"/>
                <a:gd name="connsiteY238" fmla="*/ 1132196 h 1413227"/>
                <a:gd name="connsiteX239" fmla="*/ 996119 w 2052804"/>
                <a:gd name="connsiteY239" fmla="*/ 1139110 h 1413227"/>
                <a:gd name="connsiteX240" fmla="*/ 1009947 w 2052804"/>
                <a:gd name="connsiteY240" fmla="*/ 1147753 h 1413227"/>
                <a:gd name="connsiteX241" fmla="*/ 1023776 w 2052804"/>
                <a:gd name="connsiteY241" fmla="*/ 1165038 h 1413227"/>
                <a:gd name="connsiteX242" fmla="*/ 1016861 w 2052804"/>
                <a:gd name="connsiteY242" fmla="*/ 1168496 h 1413227"/>
                <a:gd name="connsiteX243" fmla="*/ 1013404 w 2052804"/>
                <a:gd name="connsiteY243" fmla="*/ 1173681 h 1413227"/>
                <a:gd name="connsiteX244" fmla="*/ 1001305 w 2052804"/>
                <a:gd name="connsiteY244" fmla="*/ 1177138 h 1413227"/>
                <a:gd name="connsiteX245" fmla="*/ 994390 w 2052804"/>
                <a:gd name="connsiteY245" fmla="*/ 1182324 h 1413227"/>
                <a:gd name="connsiteX246" fmla="*/ 977105 w 2052804"/>
                <a:gd name="connsiteY246" fmla="*/ 1182324 h 1413227"/>
                <a:gd name="connsiteX247" fmla="*/ 975376 w 2052804"/>
                <a:gd name="connsiteY247" fmla="*/ 1161581 h 1413227"/>
                <a:gd name="connsiteX248" fmla="*/ 966734 w 2052804"/>
                <a:gd name="connsiteY248" fmla="*/ 1171953 h 1413227"/>
                <a:gd name="connsiteX249" fmla="*/ 963277 w 2052804"/>
                <a:gd name="connsiteY249" fmla="*/ 1178867 h 1413227"/>
                <a:gd name="connsiteX250" fmla="*/ 959819 w 2052804"/>
                <a:gd name="connsiteY250" fmla="*/ 1184052 h 1413227"/>
                <a:gd name="connsiteX251" fmla="*/ 951177 w 2052804"/>
                <a:gd name="connsiteY251" fmla="*/ 1187510 h 1413227"/>
                <a:gd name="connsiteX252" fmla="*/ 944263 w 2052804"/>
                <a:gd name="connsiteY252" fmla="*/ 1190967 h 1413227"/>
                <a:gd name="connsiteX253" fmla="*/ 939077 w 2052804"/>
                <a:gd name="connsiteY253" fmla="*/ 1189238 h 1413227"/>
                <a:gd name="connsiteX254" fmla="*/ 933891 w 2052804"/>
                <a:gd name="connsiteY254" fmla="*/ 1171953 h 1413227"/>
                <a:gd name="connsiteX255" fmla="*/ 930434 w 2052804"/>
                <a:gd name="connsiteY255" fmla="*/ 1165038 h 1413227"/>
                <a:gd name="connsiteX256" fmla="*/ 925249 w 2052804"/>
                <a:gd name="connsiteY256" fmla="*/ 1178867 h 1413227"/>
                <a:gd name="connsiteX257" fmla="*/ 921791 w 2052804"/>
                <a:gd name="connsiteY257" fmla="*/ 1182324 h 1413227"/>
                <a:gd name="connsiteX258" fmla="*/ 918334 w 2052804"/>
                <a:gd name="connsiteY258" fmla="*/ 1194424 h 1413227"/>
                <a:gd name="connsiteX259" fmla="*/ 913149 w 2052804"/>
                <a:gd name="connsiteY259" fmla="*/ 1199609 h 1413227"/>
                <a:gd name="connsiteX260" fmla="*/ 890678 w 2052804"/>
                <a:gd name="connsiteY260" fmla="*/ 1180595 h 1413227"/>
                <a:gd name="connsiteX261" fmla="*/ 887221 w 2052804"/>
                <a:gd name="connsiteY261" fmla="*/ 1189238 h 1413227"/>
                <a:gd name="connsiteX262" fmla="*/ 883764 w 2052804"/>
                <a:gd name="connsiteY262" fmla="*/ 1194424 h 1413227"/>
                <a:gd name="connsiteX263" fmla="*/ 878578 w 2052804"/>
                <a:gd name="connsiteY263" fmla="*/ 1204795 h 1413227"/>
                <a:gd name="connsiteX264" fmla="*/ 883764 w 2052804"/>
                <a:gd name="connsiteY264" fmla="*/ 1211709 h 1413227"/>
                <a:gd name="connsiteX265" fmla="*/ 894135 w 2052804"/>
                <a:gd name="connsiteY265" fmla="*/ 1215166 h 1413227"/>
                <a:gd name="connsiteX266" fmla="*/ 897592 w 2052804"/>
                <a:gd name="connsiteY266" fmla="*/ 1235909 h 1413227"/>
                <a:gd name="connsiteX267" fmla="*/ 895863 w 2052804"/>
                <a:gd name="connsiteY267" fmla="*/ 1258380 h 1413227"/>
                <a:gd name="connsiteX268" fmla="*/ 894135 w 2052804"/>
                <a:gd name="connsiteY268" fmla="*/ 1263565 h 1413227"/>
                <a:gd name="connsiteX269" fmla="*/ 882035 w 2052804"/>
                <a:gd name="connsiteY269" fmla="*/ 1275665 h 1413227"/>
                <a:gd name="connsiteX270" fmla="*/ 875121 w 2052804"/>
                <a:gd name="connsiteY270" fmla="*/ 1282579 h 1413227"/>
                <a:gd name="connsiteX271" fmla="*/ 880306 w 2052804"/>
                <a:gd name="connsiteY271" fmla="*/ 1287765 h 1413227"/>
                <a:gd name="connsiteX272" fmla="*/ 878578 w 2052804"/>
                <a:gd name="connsiteY272" fmla="*/ 1306779 h 1413227"/>
                <a:gd name="connsiteX273" fmla="*/ 873392 w 2052804"/>
                <a:gd name="connsiteY273" fmla="*/ 1308508 h 1413227"/>
                <a:gd name="connsiteX274" fmla="*/ 868207 w 2052804"/>
                <a:gd name="connsiteY274" fmla="*/ 1320607 h 1413227"/>
                <a:gd name="connsiteX275" fmla="*/ 862305 w 2052804"/>
                <a:gd name="connsiteY275" fmla="*/ 1338987 h 1413227"/>
                <a:gd name="connsiteX276" fmla="*/ 866478 w 2052804"/>
                <a:gd name="connsiteY276" fmla="*/ 1360364 h 1413227"/>
                <a:gd name="connsiteX277" fmla="*/ 861292 w 2052804"/>
                <a:gd name="connsiteY277" fmla="*/ 1363821 h 1413227"/>
                <a:gd name="connsiteX278" fmla="*/ 856107 w 2052804"/>
                <a:gd name="connsiteY278" fmla="*/ 1365550 h 1413227"/>
                <a:gd name="connsiteX279" fmla="*/ 854378 w 2052804"/>
                <a:gd name="connsiteY279" fmla="*/ 1370735 h 1413227"/>
                <a:gd name="connsiteX280" fmla="*/ 842278 w 2052804"/>
                <a:gd name="connsiteY280" fmla="*/ 1379378 h 1413227"/>
                <a:gd name="connsiteX281" fmla="*/ 845736 w 2052804"/>
                <a:gd name="connsiteY281" fmla="*/ 1389749 h 1413227"/>
                <a:gd name="connsiteX282" fmla="*/ 844431 w 2052804"/>
                <a:gd name="connsiteY282" fmla="*/ 1405535 h 1413227"/>
                <a:gd name="connsiteX283" fmla="*/ 839439 w 2052804"/>
                <a:gd name="connsiteY283" fmla="*/ 1401197 h 1413227"/>
                <a:gd name="connsiteX284" fmla="*/ 858258 w 2052804"/>
                <a:gd name="connsiteY284" fmla="*/ 1410492 h 1413227"/>
                <a:gd name="connsiteX285" fmla="*/ 888949 w 2052804"/>
                <a:gd name="connsiteY285" fmla="*/ 1408763 h 1413227"/>
                <a:gd name="connsiteX286" fmla="*/ 894135 w 2052804"/>
                <a:gd name="connsiteY286" fmla="*/ 1413103 h 1413227"/>
                <a:gd name="connsiteX287" fmla="*/ 925567 w 2052804"/>
                <a:gd name="connsiteY287" fmla="*/ 1403013 h 1413227"/>
                <a:gd name="connsiteX288" fmla="*/ 936361 w 2052804"/>
                <a:gd name="connsiteY288" fmla="*/ 1394371 h 1413227"/>
                <a:gd name="connsiteX289" fmla="*/ 937807 w 2052804"/>
                <a:gd name="connsiteY289" fmla="*/ 1386010 h 1413227"/>
                <a:gd name="connsiteX290" fmla="*/ 947296 w 2052804"/>
                <a:gd name="connsiteY290" fmla="*/ 1367278 h 1413227"/>
                <a:gd name="connsiteX291" fmla="*/ 947720 w 2052804"/>
                <a:gd name="connsiteY291" fmla="*/ 1362093 h 1413227"/>
                <a:gd name="connsiteX292" fmla="*/ 958091 w 2052804"/>
                <a:gd name="connsiteY292" fmla="*/ 1360364 h 1413227"/>
                <a:gd name="connsiteX293" fmla="*/ 997847 w 2052804"/>
                <a:gd name="connsiteY293" fmla="*/ 1356907 h 1413227"/>
                <a:gd name="connsiteX294" fmla="*/ 1001305 w 2052804"/>
                <a:gd name="connsiteY294" fmla="*/ 1349993 h 1413227"/>
                <a:gd name="connsiteX295" fmla="*/ 1013404 w 2052804"/>
                <a:gd name="connsiteY295" fmla="*/ 1344807 h 1413227"/>
                <a:gd name="connsiteX296" fmla="*/ 1001305 w 2052804"/>
                <a:gd name="connsiteY296" fmla="*/ 1334436 h 1413227"/>
                <a:gd name="connsiteX297" fmla="*/ 997847 w 2052804"/>
                <a:gd name="connsiteY297" fmla="*/ 1327522 h 1413227"/>
                <a:gd name="connsiteX298" fmla="*/ 992662 w 2052804"/>
                <a:gd name="connsiteY298" fmla="*/ 1322336 h 1413227"/>
                <a:gd name="connsiteX299" fmla="*/ 989205 w 2052804"/>
                <a:gd name="connsiteY299" fmla="*/ 1310236 h 1413227"/>
                <a:gd name="connsiteX300" fmla="*/ 985748 w 2052804"/>
                <a:gd name="connsiteY300" fmla="*/ 1299865 h 1413227"/>
                <a:gd name="connsiteX301" fmla="*/ 994390 w 2052804"/>
                <a:gd name="connsiteY301" fmla="*/ 1287765 h 1413227"/>
                <a:gd name="connsiteX302" fmla="*/ 996119 w 2052804"/>
                <a:gd name="connsiteY302" fmla="*/ 1292951 h 1413227"/>
                <a:gd name="connsiteX303" fmla="*/ 1018590 w 2052804"/>
                <a:gd name="connsiteY303" fmla="*/ 1299865 h 1413227"/>
                <a:gd name="connsiteX304" fmla="*/ 1020319 w 2052804"/>
                <a:gd name="connsiteY304" fmla="*/ 1294679 h 1413227"/>
                <a:gd name="connsiteX305" fmla="*/ 1022047 w 2052804"/>
                <a:gd name="connsiteY305" fmla="*/ 1284308 h 1413227"/>
                <a:gd name="connsiteX306" fmla="*/ 1035875 w 2052804"/>
                <a:gd name="connsiteY306" fmla="*/ 1270480 h 1413227"/>
                <a:gd name="connsiteX307" fmla="*/ 1041061 w 2052804"/>
                <a:gd name="connsiteY307" fmla="*/ 1265294 h 1413227"/>
                <a:gd name="connsiteX308" fmla="*/ 1042790 w 2052804"/>
                <a:gd name="connsiteY308" fmla="*/ 1260108 h 1413227"/>
                <a:gd name="connsiteX309" fmla="*/ 1058346 w 2052804"/>
                <a:gd name="connsiteY309" fmla="*/ 1251466 h 1413227"/>
                <a:gd name="connsiteX310" fmla="*/ 1066989 w 2052804"/>
                <a:gd name="connsiteY310" fmla="*/ 1242823 h 1413227"/>
                <a:gd name="connsiteX311" fmla="*/ 1072175 w 2052804"/>
                <a:gd name="connsiteY311" fmla="*/ 1223809 h 1413227"/>
                <a:gd name="connsiteX312" fmla="*/ 1073903 w 2052804"/>
                <a:gd name="connsiteY312" fmla="*/ 1215166 h 1413227"/>
                <a:gd name="connsiteX313" fmla="*/ 1079089 w 2052804"/>
                <a:gd name="connsiteY313" fmla="*/ 1201338 h 1413227"/>
                <a:gd name="connsiteX314" fmla="*/ 1084275 w 2052804"/>
                <a:gd name="connsiteY314" fmla="*/ 1175410 h 1413227"/>
                <a:gd name="connsiteX315" fmla="*/ 1086003 w 2052804"/>
                <a:gd name="connsiteY315" fmla="*/ 1170224 h 1413227"/>
                <a:gd name="connsiteX316" fmla="*/ 1087732 w 2052804"/>
                <a:gd name="connsiteY316" fmla="*/ 1161581 h 1413227"/>
                <a:gd name="connsiteX317" fmla="*/ 1089460 w 2052804"/>
                <a:gd name="connsiteY317" fmla="*/ 1156396 h 1413227"/>
                <a:gd name="connsiteX318" fmla="*/ 1091189 w 2052804"/>
                <a:gd name="connsiteY318" fmla="*/ 1147753 h 1413227"/>
                <a:gd name="connsiteX319" fmla="*/ 1101560 w 2052804"/>
                <a:gd name="connsiteY319" fmla="*/ 1128739 h 1413227"/>
                <a:gd name="connsiteX320" fmla="*/ 1103289 w 2052804"/>
                <a:gd name="connsiteY320" fmla="*/ 1111454 h 1413227"/>
                <a:gd name="connsiteX321" fmla="*/ 1110203 w 2052804"/>
                <a:gd name="connsiteY321" fmla="*/ 1097625 h 1413227"/>
                <a:gd name="connsiteX322" fmla="*/ 1115388 w 2052804"/>
                <a:gd name="connsiteY322" fmla="*/ 1095897 h 1413227"/>
                <a:gd name="connsiteX323" fmla="*/ 1130945 w 2052804"/>
                <a:gd name="connsiteY323" fmla="*/ 1094168 h 1413227"/>
                <a:gd name="connsiteX324" fmla="*/ 1136131 w 2052804"/>
                <a:gd name="connsiteY324" fmla="*/ 1088983 h 1413227"/>
                <a:gd name="connsiteX325" fmla="*/ 1170702 w 2052804"/>
                <a:gd name="connsiteY325" fmla="*/ 1083797 h 1413227"/>
                <a:gd name="connsiteX326" fmla="*/ 1179345 w 2052804"/>
                <a:gd name="connsiteY326" fmla="*/ 1073426 h 1413227"/>
                <a:gd name="connsiteX327" fmla="*/ 1181073 w 2052804"/>
                <a:gd name="connsiteY327" fmla="*/ 1061326 h 1413227"/>
                <a:gd name="connsiteX328" fmla="*/ 1174159 w 2052804"/>
                <a:gd name="connsiteY328" fmla="*/ 1047497 h 1413227"/>
                <a:gd name="connsiteX329" fmla="*/ 1167245 w 2052804"/>
                <a:gd name="connsiteY329" fmla="*/ 1050955 h 1413227"/>
                <a:gd name="connsiteX330" fmla="*/ 1170702 w 2052804"/>
                <a:gd name="connsiteY330" fmla="*/ 1068240 h 1413227"/>
                <a:gd name="connsiteX331" fmla="*/ 1174159 w 2052804"/>
                <a:gd name="connsiteY331" fmla="*/ 1076883 h 1413227"/>
                <a:gd name="connsiteX332" fmla="*/ 1186259 w 2052804"/>
                <a:gd name="connsiteY332" fmla="*/ 1080340 h 1413227"/>
                <a:gd name="connsiteX333" fmla="*/ 1210458 w 2052804"/>
                <a:gd name="connsiteY333" fmla="*/ 1078611 h 1413227"/>
                <a:gd name="connsiteX334" fmla="*/ 1215644 w 2052804"/>
                <a:gd name="connsiteY334" fmla="*/ 1073426 h 1413227"/>
                <a:gd name="connsiteX335" fmla="*/ 1222558 w 2052804"/>
                <a:gd name="connsiteY335" fmla="*/ 1057869 h 1413227"/>
                <a:gd name="connsiteX336" fmla="*/ 1224287 w 2052804"/>
                <a:gd name="connsiteY336" fmla="*/ 1044040 h 1413227"/>
                <a:gd name="connsiteX337" fmla="*/ 1222558 w 2052804"/>
                <a:gd name="connsiteY337" fmla="*/ 1014655 h 1413227"/>
                <a:gd name="connsiteX338" fmla="*/ 1215644 w 2052804"/>
                <a:gd name="connsiteY338" fmla="*/ 997370 h 1413227"/>
                <a:gd name="connsiteX339" fmla="*/ 1210458 w 2052804"/>
                <a:gd name="connsiteY339" fmla="*/ 993913 h 1413227"/>
                <a:gd name="connsiteX340" fmla="*/ 1187987 w 2052804"/>
                <a:gd name="connsiteY340" fmla="*/ 973170 h 1413227"/>
                <a:gd name="connsiteX341" fmla="*/ 1177616 w 2052804"/>
                <a:gd name="connsiteY341" fmla="*/ 962799 h 1413227"/>
                <a:gd name="connsiteX342" fmla="*/ 1172430 w 2052804"/>
                <a:gd name="connsiteY342" fmla="*/ 957613 h 1413227"/>
                <a:gd name="connsiteX343" fmla="*/ 1175888 w 2052804"/>
                <a:gd name="connsiteY343" fmla="*/ 961070 h 1413227"/>
                <a:gd name="connsiteX344" fmla="*/ 1182802 w 2052804"/>
                <a:gd name="connsiteY344" fmla="*/ 971441 h 1413227"/>
                <a:gd name="connsiteX345" fmla="*/ 1189716 w 2052804"/>
                <a:gd name="connsiteY345" fmla="*/ 980084 h 1413227"/>
                <a:gd name="connsiteX346" fmla="*/ 1194902 w 2052804"/>
                <a:gd name="connsiteY346" fmla="*/ 985270 h 1413227"/>
                <a:gd name="connsiteX347" fmla="*/ 1198359 w 2052804"/>
                <a:gd name="connsiteY347" fmla="*/ 993913 h 1413227"/>
                <a:gd name="connsiteX348" fmla="*/ 1210458 w 2052804"/>
                <a:gd name="connsiteY348" fmla="*/ 1007741 h 1413227"/>
                <a:gd name="connsiteX349" fmla="*/ 1212187 w 2052804"/>
                <a:gd name="connsiteY349" fmla="*/ 1014655 h 1413227"/>
                <a:gd name="connsiteX350" fmla="*/ 1215644 w 2052804"/>
                <a:gd name="connsiteY350" fmla="*/ 1023298 h 1413227"/>
                <a:gd name="connsiteX351" fmla="*/ 1217373 w 2052804"/>
                <a:gd name="connsiteY351" fmla="*/ 1035398 h 1413227"/>
                <a:gd name="connsiteX352" fmla="*/ 1219101 w 2052804"/>
                <a:gd name="connsiteY352" fmla="*/ 1044040 h 1413227"/>
                <a:gd name="connsiteX353" fmla="*/ 1224287 w 2052804"/>
                <a:gd name="connsiteY353" fmla="*/ 1045769 h 1413227"/>
                <a:gd name="connsiteX354" fmla="*/ 1227744 w 2052804"/>
                <a:gd name="connsiteY354" fmla="*/ 1050955 h 1413227"/>
                <a:gd name="connsiteX355" fmla="*/ 1238115 w 2052804"/>
                <a:gd name="connsiteY355" fmla="*/ 1063054 h 1413227"/>
                <a:gd name="connsiteX356" fmla="*/ 1257129 w 2052804"/>
                <a:gd name="connsiteY356" fmla="*/ 1057869 h 1413227"/>
                <a:gd name="connsiteX357" fmla="*/ 1262315 w 2052804"/>
                <a:gd name="connsiteY357" fmla="*/ 1054412 h 1413227"/>
                <a:gd name="connsiteX358" fmla="*/ 1269229 w 2052804"/>
                <a:gd name="connsiteY358" fmla="*/ 1050955 h 1413227"/>
                <a:gd name="connsiteX359" fmla="*/ 1270957 w 2052804"/>
                <a:gd name="connsiteY359" fmla="*/ 1056140 h 1413227"/>
                <a:gd name="connsiteX360" fmla="*/ 1272686 w 2052804"/>
                <a:gd name="connsiteY360" fmla="*/ 1068240 h 1413227"/>
                <a:gd name="connsiteX361" fmla="*/ 1283057 w 2052804"/>
                <a:gd name="connsiteY361" fmla="*/ 1064783 h 1413227"/>
                <a:gd name="connsiteX362" fmla="*/ 1293429 w 2052804"/>
                <a:gd name="connsiteY362" fmla="*/ 1056140 h 1413227"/>
                <a:gd name="connsiteX363" fmla="*/ 1303800 w 2052804"/>
                <a:gd name="connsiteY363" fmla="*/ 1045769 h 1413227"/>
                <a:gd name="connsiteX364" fmla="*/ 1308985 w 2052804"/>
                <a:gd name="connsiteY364" fmla="*/ 1042312 h 1413227"/>
                <a:gd name="connsiteX365" fmla="*/ 1298614 w 2052804"/>
                <a:gd name="connsiteY365" fmla="*/ 1061326 h 1413227"/>
                <a:gd name="connsiteX366" fmla="*/ 1289971 w 2052804"/>
                <a:gd name="connsiteY366" fmla="*/ 1075154 h 1413227"/>
                <a:gd name="connsiteX367" fmla="*/ 1276143 w 2052804"/>
                <a:gd name="connsiteY367" fmla="*/ 1082068 h 1413227"/>
                <a:gd name="connsiteX368" fmla="*/ 1269229 w 2052804"/>
                <a:gd name="connsiteY368" fmla="*/ 1085525 h 1413227"/>
                <a:gd name="connsiteX369" fmla="*/ 1264043 w 2052804"/>
                <a:gd name="connsiteY369" fmla="*/ 1087254 h 1413227"/>
                <a:gd name="connsiteX370" fmla="*/ 1255401 w 2052804"/>
                <a:gd name="connsiteY370" fmla="*/ 1092440 h 1413227"/>
                <a:gd name="connsiteX371" fmla="*/ 1236387 w 2052804"/>
                <a:gd name="connsiteY371" fmla="*/ 1095897 h 1413227"/>
                <a:gd name="connsiteX372" fmla="*/ 1234658 w 2052804"/>
                <a:gd name="connsiteY372" fmla="*/ 1121825 h 1413227"/>
                <a:gd name="connsiteX373" fmla="*/ 1227744 w 2052804"/>
                <a:gd name="connsiteY373" fmla="*/ 1128739 h 1413227"/>
                <a:gd name="connsiteX374" fmla="*/ 1220830 w 2052804"/>
                <a:gd name="connsiteY374" fmla="*/ 1130468 h 1413227"/>
                <a:gd name="connsiteX375" fmla="*/ 1251943 w 2052804"/>
                <a:gd name="connsiteY375" fmla="*/ 1123553 h 1413227"/>
                <a:gd name="connsiteX376" fmla="*/ 1279600 w 2052804"/>
                <a:gd name="connsiteY376" fmla="*/ 1125282 h 1413227"/>
                <a:gd name="connsiteX377" fmla="*/ 1286514 w 2052804"/>
                <a:gd name="connsiteY377" fmla="*/ 1128739 h 1413227"/>
                <a:gd name="connsiteX378" fmla="*/ 1322814 w 2052804"/>
                <a:gd name="connsiteY378" fmla="*/ 1127010 h 1413227"/>
                <a:gd name="connsiteX379" fmla="*/ 1334914 w 2052804"/>
                <a:gd name="connsiteY379" fmla="*/ 1123553 h 1413227"/>
                <a:gd name="connsiteX380" fmla="*/ 1343556 w 2052804"/>
                <a:gd name="connsiteY380" fmla="*/ 1118368 h 1413227"/>
                <a:gd name="connsiteX381" fmla="*/ 1360842 w 2052804"/>
                <a:gd name="connsiteY381" fmla="*/ 1123553 h 1413227"/>
                <a:gd name="connsiteX382" fmla="*/ 1388498 w 2052804"/>
                <a:gd name="connsiteY382" fmla="*/ 1114911 h 1413227"/>
                <a:gd name="connsiteX383" fmla="*/ 1395413 w 2052804"/>
                <a:gd name="connsiteY383" fmla="*/ 1109725 h 1413227"/>
                <a:gd name="connsiteX384" fmla="*/ 1404055 w 2052804"/>
                <a:gd name="connsiteY384" fmla="*/ 1095897 h 1413227"/>
                <a:gd name="connsiteX385" fmla="*/ 1407512 w 2052804"/>
                <a:gd name="connsiteY385" fmla="*/ 1090711 h 1413227"/>
                <a:gd name="connsiteX386" fmla="*/ 1412698 w 2052804"/>
                <a:gd name="connsiteY386" fmla="*/ 1088983 h 1413227"/>
                <a:gd name="connsiteX387" fmla="*/ 1419612 w 2052804"/>
                <a:gd name="connsiteY387" fmla="*/ 1097625 h 1413227"/>
                <a:gd name="connsiteX388" fmla="*/ 1423069 w 2052804"/>
                <a:gd name="connsiteY388" fmla="*/ 1104539 h 1413227"/>
                <a:gd name="connsiteX389" fmla="*/ 1428255 w 2052804"/>
                <a:gd name="connsiteY389" fmla="*/ 1111454 h 1413227"/>
                <a:gd name="connsiteX390" fmla="*/ 1438626 w 2052804"/>
                <a:gd name="connsiteY390" fmla="*/ 1109725 h 1413227"/>
                <a:gd name="connsiteX391" fmla="*/ 1442083 w 2052804"/>
                <a:gd name="connsiteY391" fmla="*/ 1101082 h 1413227"/>
                <a:gd name="connsiteX392" fmla="*/ 1450726 w 2052804"/>
                <a:gd name="connsiteY392" fmla="*/ 1076883 h 1413227"/>
                <a:gd name="connsiteX393" fmla="*/ 1459369 w 2052804"/>
                <a:gd name="connsiteY393" fmla="*/ 1082068 h 1413227"/>
                <a:gd name="connsiteX394" fmla="*/ 1461097 w 2052804"/>
                <a:gd name="connsiteY394" fmla="*/ 1097625 h 1413227"/>
                <a:gd name="connsiteX395" fmla="*/ 1466283 w 2052804"/>
                <a:gd name="connsiteY395" fmla="*/ 1104539 h 1413227"/>
                <a:gd name="connsiteX396" fmla="*/ 1468012 w 2052804"/>
                <a:gd name="connsiteY396" fmla="*/ 1116639 h 1413227"/>
                <a:gd name="connsiteX397" fmla="*/ 1454183 w 2052804"/>
                <a:gd name="connsiteY397" fmla="*/ 1132196 h 1413227"/>
                <a:gd name="connsiteX398" fmla="*/ 1440355 w 2052804"/>
                <a:gd name="connsiteY398" fmla="*/ 1149482 h 1413227"/>
                <a:gd name="connsiteX399" fmla="*/ 1431712 w 2052804"/>
                <a:gd name="connsiteY399" fmla="*/ 1158124 h 1413227"/>
                <a:gd name="connsiteX400" fmla="*/ 1419612 w 2052804"/>
                <a:gd name="connsiteY400" fmla="*/ 1163310 h 1413227"/>
                <a:gd name="connsiteX401" fmla="*/ 1404055 w 2052804"/>
                <a:gd name="connsiteY401" fmla="*/ 1171953 h 1413227"/>
                <a:gd name="connsiteX402" fmla="*/ 1402327 w 2052804"/>
                <a:gd name="connsiteY402" fmla="*/ 1177138 h 1413227"/>
                <a:gd name="connsiteX403" fmla="*/ 1393684 w 2052804"/>
                <a:gd name="connsiteY403" fmla="*/ 1189238 h 1413227"/>
                <a:gd name="connsiteX404" fmla="*/ 1388498 w 2052804"/>
                <a:gd name="connsiteY404" fmla="*/ 1197881 h 1413227"/>
                <a:gd name="connsiteX405" fmla="*/ 1386770 w 2052804"/>
                <a:gd name="connsiteY405" fmla="*/ 1203066 h 1413227"/>
                <a:gd name="connsiteX406" fmla="*/ 1378127 w 2052804"/>
                <a:gd name="connsiteY406" fmla="*/ 1211709 h 1413227"/>
                <a:gd name="connsiteX407" fmla="*/ 1372942 w 2052804"/>
                <a:gd name="connsiteY407" fmla="*/ 1216895 h 1413227"/>
                <a:gd name="connsiteX408" fmla="*/ 1360842 w 2052804"/>
                <a:gd name="connsiteY408" fmla="*/ 1230723 h 1413227"/>
                <a:gd name="connsiteX409" fmla="*/ 1355656 w 2052804"/>
                <a:gd name="connsiteY409" fmla="*/ 1237637 h 1413227"/>
                <a:gd name="connsiteX410" fmla="*/ 1353928 w 2052804"/>
                <a:gd name="connsiteY410" fmla="*/ 1242823 h 1413227"/>
                <a:gd name="connsiteX411" fmla="*/ 1348742 w 2052804"/>
                <a:gd name="connsiteY411" fmla="*/ 1253194 h 1413227"/>
                <a:gd name="connsiteX412" fmla="*/ 1381584 w 2052804"/>
                <a:gd name="connsiteY412" fmla="*/ 1253194 h 1413227"/>
                <a:gd name="connsiteX413" fmla="*/ 1390227 w 2052804"/>
                <a:gd name="connsiteY413" fmla="*/ 1246280 h 1413227"/>
                <a:gd name="connsiteX414" fmla="*/ 1395413 w 2052804"/>
                <a:gd name="connsiteY414" fmla="*/ 1244552 h 1413227"/>
                <a:gd name="connsiteX415" fmla="*/ 1416155 w 2052804"/>
                <a:gd name="connsiteY415" fmla="*/ 1248009 h 1413227"/>
                <a:gd name="connsiteX416" fmla="*/ 1419612 w 2052804"/>
                <a:gd name="connsiteY416" fmla="*/ 1253194 h 1413227"/>
                <a:gd name="connsiteX417" fmla="*/ 1429984 w 2052804"/>
                <a:gd name="connsiteY417" fmla="*/ 1260108 h 1413227"/>
                <a:gd name="connsiteX418" fmla="*/ 1455912 w 2052804"/>
                <a:gd name="connsiteY418" fmla="*/ 1258380 h 1413227"/>
                <a:gd name="connsiteX419" fmla="*/ 1461097 w 2052804"/>
                <a:gd name="connsiteY419" fmla="*/ 1253194 h 1413227"/>
                <a:gd name="connsiteX420" fmla="*/ 1469740 w 2052804"/>
                <a:gd name="connsiteY420" fmla="*/ 1248009 h 1413227"/>
                <a:gd name="connsiteX421" fmla="*/ 1487026 w 2052804"/>
                <a:gd name="connsiteY421" fmla="*/ 1249737 h 1413227"/>
                <a:gd name="connsiteX422" fmla="*/ 1495668 w 2052804"/>
                <a:gd name="connsiteY422" fmla="*/ 1258380 h 1413227"/>
                <a:gd name="connsiteX423" fmla="*/ 1506040 w 2052804"/>
                <a:gd name="connsiteY423" fmla="*/ 1272208 h 1413227"/>
                <a:gd name="connsiteX424" fmla="*/ 1507768 w 2052804"/>
                <a:gd name="connsiteY424" fmla="*/ 1289494 h 1413227"/>
                <a:gd name="connsiteX425" fmla="*/ 1518139 w 2052804"/>
                <a:gd name="connsiteY425" fmla="*/ 1301593 h 1413227"/>
                <a:gd name="connsiteX426" fmla="*/ 1521596 w 2052804"/>
                <a:gd name="connsiteY426" fmla="*/ 1306779 h 1413227"/>
                <a:gd name="connsiteX427" fmla="*/ 1519868 w 2052804"/>
                <a:gd name="connsiteY427" fmla="*/ 1355178 h 1413227"/>
                <a:gd name="connsiteX428" fmla="*/ 1512954 w 2052804"/>
                <a:gd name="connsiteY428" fmla="*/ 1360364 h 1413227"/>
                <a:gd name="connsiteX429" fmla="*/ 1507768 w 2052804"/>
                <a:gd name="connsiteY429" fmla="*/ 1370735 h 1413227"/>
                <a:gd name="connsiteX430" fmla="*/ 1538882 w 2052804"/>
                <a:gd name="connsiteY430" fmla="*/ 1374192 h 1413227"/>
                <a:gd name="connsiteX431" fmla="*/ 1544067 w 2052804"/>
                <a:gd name="connsiteY431" fmla="*/ 1377649 h 1413227"/>
                <a:gd name="connsiteX432" fmla="*/ 1563081 w 2052804"/>
                <a:gd name="connsiteY432" fmla="*/ 1375921 h 1413227"/>
                <a:gd name="connsiteX433" fmla="*/ 1568267 w 2052804"/>
                <a:gd name="connsiteY433" fmla="*/ 1372464 h 1413227"/>
                <a:gd name="connsiteX434" fmla="*/ 1583824 w 2052804"/>
                <a:gd name="connsiteY434" fmla="*/ 1370735 h 1413227"/>
                <a:gd name="connsiteX435" fmla="*/ 1601109 w 2052804"/>
                <a:gd name="connsiteY435" fmla="*/ 1363821 h 1413227"/>
                <a:gd name="connsiteX436" fmla="*/ 1604567 w 2052804"/>
                <a:gd name="connsiteY436" fmla="*/ 1360364 h 1413227"/>
                <a:gd name="connsiteX437" fmla="*/ 1616666 w 2052804"/>
                <a:gd name="connsiteY437" fmla="*/ 1341350 h 1413227"/>
                <a:gd name="connsiteX438" fmla="*/ 1621852 w 2052804"/>
                <a:gd name="connsiteY438" fmla="*/ 1305051 h 1413227"/>
                <a:gd name="connsiteX439" fmla="*/ 1627038 w 2052804"/>
                <a:gd name="connsiteY439" fmla="*/ 1301593 h 1413227"/>
                <a:gd name="connsiteX440" fmla="*/ 1628766 w 2052804"/>
                <a:gd name="connsiteY440" fmla="*/ 1284308 h 1413227"/>
                <a:gd name="connsiteX441" fmla="*/ 1635680 w 2052804"/>
                <a:gd name="connsiteY441" fmla="*/ 1270480 h 1413227"/>
                <a:gd name="connsiteX442" fmla="*/ 1647780 w 2052804"/>
                <a:gd name="connsiteY442" fmla="*/ 1263565 h 1413227"/>
                <a:gd name="connsiteX443" fmla="*/ 1673708 w 2052804"/>
                <a:gd name="connsiteY443" fmla="*/ 1260108 h 1413227"/>
                <a:gd name="connsiteX444" fmla="*/ 1685808 w 2052804"/>
                <a:gd name="connsiteY444" fmla="*/ 1254923 h 1413227"/>
                <a:gd name="connsiteX445" fmla="*/ 1690994 w 2052804"/>
                <a:gd name="connsiteY445" fmla="*/ 1253194 h 1413227"/>
                <a:gd name="connsiteX446" fmla="*/ 1706551 w 2052804"/>
                <a:gd name="connsiteY446" fmla="*/ 1249737 h 1413227"/>
                <a:gd name="connsiteX447" fmla="*/ 1708279 w 2052804"/>
                <a:gd name="connsiteY447" fmla="*/ 1232452 h 1413227"/>
                <a:gd name="connsiteX448" fmla="*/ 1710008 w 2052804"/>
                <a:gd name="connsiteY448" fmla="*/ 1208252 h 1413227"/>
                <a:gd name="connsiteX449" fmla="*/ 1715193 w 2052804"/>
                <a:gd name="connsiteY449" fmla="*/ 1201338 h 1413227"/>
                <a:gd name="connsiteX450" fmla="*/ 1722108 w 2052804"/>
                <a:gd name="connsiteY450" fmla="*/ 1192695 h 1413227"/>
                <a:gd name="connsiteX451" fmla="*/ 1729022 w 2052804"/>
                <a:gd name="connsiteY451" fmla="*/ 1189238 h 1413227"/>
                <a:gd name="connsiteX452" fmla="*/ 1739393 w 2052804"/>
                <a:gd name="connsiteY452" fmla="*/ 1184052 h 1413227"/>
                <a:gd name="connsiteX453" fmla="*/ 1777421 w 2052804"/>
                <a:gd name="connsiteY453" fmla="*/ 1189238 h 1413227"/>
                <a:gd name="connsiteX454" fmla="*/ 1782607 w 2052804"/>
                <a:gd name="connsiteY454" fmla="*/ 1194424 h 1413227"/>
                <a:gd name="connsiteX455" fmla="*/ 1811992 w 2052804"/>
                <a:gd name="connsiteY455" fmla="*/ 1187510 h 1413227"/>
                <a:gd name="connsiteX456" fmla="*/ 1815449 w 2052804"/>
                <a:gd name="connsiteY456" fmla="*/ 1180595 h 1413227"/>
                <a:gd name="connsiteX457" fmla="*/ 1822363 w 2052804"/>
                <a:gd name="connsiteY457" fmla="*/ 1171953 h 1413227"/>
                <a:gd name="connsiteX458" fmla="*/ 1829277 w 2052804"/>
                <a:gd name="connsiteY458" fmla="*/ 1158124 h 1413227"/>
                <a:gd name="connsiteX459" fmla="*/ 1831006 w 2052804"/>
                <a:gd name="connsiteY459" fmla="*/ 1151210 h 1413227"/>
                <a:gd name="connsiteX460" fmla="*/ 1837920 w 2052804"/>
                <a:gd name="connsiteY460" fmla="*/ 1133925 h 1413227"/>
                <a:gd name="connsiteX461" fmla="*/ 1824092 w 2052804"/>
                <a:gd name="connsiteY461" fmla="*/ 1128739 h 1413227"/>
                <a:gd name="connsiteX462" fmla="*/ 1820635 w 2052804"/>
                <a:gd name="connsiteY462" fmla="*/ 1123553 h 1413227"/>
                <a:gd name="connsiteX463" fmla="*/ 1824092 w 2052804"/>
                <a:gd name="connsiteY463" fmla="*/ 1118368 h 1413227"/>
                <a:gd name="connsiteX464" fmla="*/ 1829277 w 2052804"/>
                <a:gd name="connsiteY464" fmla="*/ 1111454 h 1413227"/>
                <a:gd name="connsiteX465" fmla="*/ 1832734 w 2052804"/>
                <a:gd name="connsiteY465" fmla="*/ 1099354 h 1413227"/>
                <a:gd name="connsiteX466" fmla="*/ 1836191 w 2052804"/>
                <a:gd name="connsiteY466" fmla="*/ 1094168 h 1413227"/>
                <a:gd name="connsiteX467" fmla="*/ 1834463 w 2052804"/>
                <a:gd name="connsiteY467" fmla="*/ 1083797 h 1413227"/>
                <a:gd name="connsiteX468" fmla="*/ 1820635 w 2052804"/>
                <a:gd name="connsiteY468" fmla="*/ 1087254 h 1413227"/>
                <a:gd name="connsiteX469" fmla="*/ 1792978 w 2052804"/>
                <a:gd name="connsiteY469" fmla="*/ 1092440 h 1413227"/>
                <a:gd name="connsiteX470" fmla="*/ 1782607 w 2052804"/>
                <a:gd name="connsiteY470" fmla="*/ 1095897 h 1413227"/>
                <a:gd name="connsiteX471" fmla="*/ 1775692 w 2052804"/>
                <a:gd name="connsiteY471" fmla="*/ 1099354 h 1413227"/>
                <a:gd name="connsiteX472" fmla="*/ 1770507 w 2052804"/>
                <a:gd name="connsiteY472" fmla="*/ 1116639 h 1413227"/>
                <a:gd name="connsiteX473" fmla="*/ 1760136 w 2052804"/>
                <a:gd name="connsiteY473" fmla="*/ 1118368 h 1413227"/>
                <a:gd name="connsiteX474" fmla="*/ 1742850 w 2052804"/>
                <a:gd name="connsiteY474" fmla="*/ 1130468 h 1413227"/>
                <a:gd name="connsiteX475" fmla="*/ 1722108 w 2052804"/>
                <a:gd name="connsiteY475" fmla="*/ 1140839 h 1413227"/>
                <a:gd name="connsiteX476" fmla="*/ 1713465 w 2052804"/>
                <a:gd name="connsiteY476" fmla="*/ 1146024 h 1413227"/>
                <a:gd name="connsiteX477" fmla="*/ 1711736 w 2052804"/>
                <a:gd name="connsiteY477" fmla="*/ 1151210 h 1413227"/>
                <a:gd name="connsiteX478" fmla="*/ 1704822 w 2052804"/>
                <a:gd name="connsiteY478" fmla="*/ 1154667 h 1413227"/>
                <a:gd name="connsiteX479" fmla="*/ 1651237 w 2052804"/>
                <a:gd name="connsiteY479" fmla="*/ 1152939 h 1413227"/>
                <a:gd name="connsiteX480" fmla="*/ 1654694 w 2052804"/>
                <a:gd name="connsiteY480" fmla="*/ 1142567 h 1413227"/>
                <a:gd name="connsiteX481" fmla="*/ 1652966 w 2052804"/>
                <a:gd name="connsiteY481" fmla="*/ 1120096 h 1413227"/>
                <a:gd name="connsiteX482" fmla="*/ 1602838 w 2052804"/>
                <a:gd name="connsiteY482" fmla="*/ 1114911 h 1413227"/>
                <a:gd name="connsiteX483" fmla="*/ 1595924 w 2052804"/>
                <a:gd name="connsiteY483" fmla="*/ 1113182 h 1413227"/>
                <a:gd name="connsiteX484" fmla="*/ 1568267 w 2052804"/>
                <a:gd name="connsiteY484" fmla="*/ 1109725 h 1413227"/>
                <a:gd name="connsiteX485" fmla="*/ 1557896 w 2052804"/>
                <a:gd name="connsiteY485" fmla="*/ 1101082 h 1413227"/>
                <a:gd name="connsiteX486" fmla="*/ 1547525 w 2052804"/>
                <a:gd name="connsiteY486" fmla="*/ 1092440 h 1413227"/>
                <a:gd name="connsiteX487" fmla="*/ 1530239 w 2052804"/>
                <a:gd name="connsiteY487" fmla="*/ 1090711 h 1413227"/>
                <a:gd name="connsiteX488" fmla="*/ 1518139 w 2052804"/>
                <a:gd name="connsiteY488" fmla="*/ 1085525 h 1413227"/>
                <a:gd name="connsiteX489" fmla="*/ 1516411 w 2052804"/>
                <a:gd name="connsiteY489" fmla="*/ 1092440 h 1413227"/>
                <a:gd name="connsiteX490" fmla="*/ 1511225 w 2052804"/>
                <a:gd name="connsiteY490" fmla="*/ 1085525 h 1413227"/>
                <a:gd name="connsiteX491" fmla="*/ 1500854 w 2052804"/>
                <a:gd name="connsiteY491" fmla="*/ 1075154 h 1413227"/>
                <a:gd name="connsiteX492" fmla="*/ 1448998 w 2052804"/>
                <a:gd name="connsiteY492" fmla="*/ 1076883 h 1413227"/>
                <a:gd name="connsiteX493" fmla="*/ 1443812 w 2052804"/>
                <a:gd name="connsiteY493" fmla="*/ 1080340 h 1413227"/>
                <a:gd name="connsiteX494" fmla="*/ 1442083 w 2052804"/>
                <a:gd name="connsiteY494" fmla="*/ 1085525 h 1413227"/>
                <a:gd name="connsiteX495" fmla="*/ 1455912 w 2052804"/>
                <a:gd name="connsiteY495" fmla="*/ 1071697 h 1413227"/>
                <a:gd name="connsiteX496" fmla="*/ 1462826 w 2052804"/>
                <a:gd name="connsiteY496" fmla="*/ 1064783 h 1413227"/>
                <a:gd name="connsiteX497" fmla="*/ 1468012 w 2052804"/>
                <a:gd name="connsiteY497" fmla="*/ 1059597 h 1413227"/>
                <a:gd name="connsiteX498" fmla="*/ 1483568 w 2052804"/>
                <a:gd name="connsiteY498" fmla="*/ 1064783 h 1413227"/>
                <a:gd name="connsiteX499" fmla="*/ 1493940 w 2052804"/>
                <a:gd name="connsiteY499" fmla="*/ 1071697 h 1413227"/>
                <a:gd name="connsiteX500" fmla="*/ 1502582 w 2052804"/>
                <a:gd name="connsiteY500" fmla="*/ 1068240 h 1413227"/>
                <a:gd name="connsiteX501" fmla="*/ 1504311 w 2052804"/>
                <a:gd name="connsiteY501" fmla="*/ 1063054 h 1413227"/>
                <a:gd name="connsiteX502" fmla="*/ 1507768 w 2052804"/>
                <a:gd name="connsiteY502" fmla="*/ 1057869 h 1413227"/>
                <a:gd name="connsiteX503" fmla="*/ 1511225 w 2052804"/>
                <a:gd name="connsiteY503" fmla="*/ 1045769 h 1413227"/>
                <a:gd name="connsiteX504" fmla="*/ 1544067 w 2052804"/>
                <a:gd name="connsiteY504" fmla="*/ 1044040 h 1413227"/>
                <a:gd name="connsiteX505" fmla="*/ 1561353 w 2052804"/>
                <a:gd name="connsiteY505" fmla="*/ 1059597 h 1413227"/>
                <a:gd name="connsiteX506" fmla="*/ 1564810 w 2052804"/>
                <a:gd name="connsiteY506" fmla="*/ 1073426 h 1413227"/>
                <a:gd name="connsiteX507" fmla="*/ 1568267 w 2052804"/>
                <a:gd name="connsiteY507" fmla="*/ 1087254 h 1413227"/>
                <a:gd name="connsiteX508" fmla="*/ 1569996 w 2052804"/>
                <a:gd name="connsiteY508" fmla="*/ 1094168 h 1413227"/>
                <a:gd name="connsiteX509" fmla="*/ 1573453 w 2052804"/>
                <a:gd name="connsiteY509" fmla="*/ 1099354 h 1413227"/>
                <a:gd name="connsiteX510" fmla="*/ 1580367 w 2052804"/>
                <a:gd name="connsiteY510" fmla="*/ 1037126 h 1413227"/>
                <a:gd name="connsiteX511" fmla="*/ 1592467 w 2052804"/>
                <a:gd name="connsiteY511" fmla="*/ 1052683 h 1413227"/>
                <a:gd name="connsiteX512" fmla="*/ 1595924 w 2052804"/>
                <a:gd name="connsiteY512" fmla="*/ 1069969 h 1413227"/>
                <a:gd name="connsiteX513" fmla="*/ 1611481 w 2052804"/>
                <a:gd name="connsiteY513" fmla="*/ 1080340 h 1413227"/>
                <a:gd name="connsiteX514" fmla="*/ 1616666 w 2052804"/>
                <a:gd name="connsiteY514" fmla="*/ 1083797 h 1413227"/>
                <a:gd name="connsiteX515" fmla="*/ 1625309 w 2052804"/>
                <a:gd name="connsiteY515" fmla="*/ 1085525 h 1413227"/>
                <a:gd name="connsiteX516" fmla="*/ 1637409 w 2052804"/>
                <a:gd name="connsiteY516" fmla="*/ 1092440 h 1413227"/>
                <a:gd name="connsiteX517" fmla="*/ 1644323 w 2052804"/>
                <a:gd name="connsiteY517" fmla="*/ 1095897 h 1413227"/>
                <a:gd name="connsiteX518" fmla="*/ 1652966 w 2052804"/>
                <a:gd name="connsiteY518" fmla="*/ 1109725 h 1413227"/>
                <a:gd name="connsiteX519" fmla="*/ 1663337 w 2052804"/>
                <a:gd name="connsiteY519" fmla="*/ 1113182 h 1413227"/>
                <a:gd name="connsiteX520" fmla="*/ 1673708 w 2052804"/>
                <a:gd name="connsiteY520" fmla="*/ 1118368 h 1413227"/>
                <a:gd name="connsiteX521" fmla="*/ 1684080 w 2052804"/>
                <a:gd name="connsiteY521" fmla="*/ 1125282 h 1413227"/>
                <a:gd name="connsiteX522" fmla="*/ 1703094 w 2052804"/>
                <a:gd name="connsiteY522" fmla="*/ 1139110 h 1413227"/>
                <a:gd name="connsiteX523" fmla="*/ 1716922 w 2052804"/>
                <a:gd name="connsiteY523" fmla="*/ 1142567 h 1413227"/>
                <a:gd name="connsiteX524" fmla="*/ 1708279 w 2052804"/>
                <a:gd name="connsiteY524" fmla="*/ 1137382 h 1413227"/>
                <a:gd name="connsiteX525" fmla="*/ 1703094 w 2052804"/>
                <a:gd name="connsiteY525" fmla="*/ 1132196 h 1413227"/>
                <a:gd name="connsiteX526" fmla="*/ 1692722 w 2052804"/>
                <a:gd name="connsiteY526" fmla="*/ 1128739 h 1413227"/>
                <a:gd name="connsiteX527" fmla="*/ 1678894 w 2052804"/>
                <a:gd name="connsiteY527" fmla="*/ 1125282 h 1413227"/>
                <a:gd name="connsiteX528" fmla="*/ 1663337 w 2052804"/>
                <a:gd name="connsiteY528" fmla="*/ 1121825 h 1413227"/>
                <a:gd name="connsiteX529" fmla="*/ 1654694 w 2052804"/>
                <a:gd name="connsiteY529" fmla="*/ 1116639 h 1413227"/>
                <a:gd name="connsiteX530" fmla="*/ 1649509 w 2052804"/>
                <a:gd name="connsiteY530" fmla="*/ 1113182 h 1413227"/>
                <a:gd name="connsiteX531" fmla="*/ 1646052 w 2052804"/>
                <a:gd name="connsiteY531" fmla="*/ 1107996 h 1413227"/>
                <a:gd name="connsiteX532" fmla="*/ 1632223 w 2052804"/>
                <a:gd name="connsiteY532" fmla="*/ 1088983 h 1413227"/>
                <a:gd name="connsiteX533" fmla="*/ 1630495 w 2052804"/>
                <a:gd name="connsiteY533" fmla="*/ 1083797 h 1413227"/>
                <a:gd name="connsiteX534" fmla="*/ 1623581 w 2052804"/>
                <a:gd name="connsiteY534" fmla="*/ 1075154 h 1413227"/>
                <a:gd name="connsiteX535" fmla="*/ 1620123 w 2052804"/>
                <a:gd name="connsiteY535" fmla="*/ 1061326 h 1413227"/>
                <a:gd name="connsiteX536" fmla="*/ 1618395 w 2052804"/>
                <a:gd name="connsiteY536" fmla="*/ 1056140 h 1413227"/>
                <a:gd name="connsiteX537" fmla="*/ 1608024 w 2052804"/>
                <a:gd name="connsiteY537" fmla="*/ 1038855 h 1413227"/>
                <a:gd name="connsiteX538" fmla="*/ 1602838 w 2052804"/>
                <a:gd name="connsiteY538" fmla="*/ 1037126 h 1413227"/>
                <a:gd name="connsiteX539" fmla="*/ 1597652 w 2052804"/>
                <a:gd name="connsiteY539" fmla="*/ 1030212 h 1413227"/>
                <a:gd name="connsiteX540" fmla="*/ 1589010 w 2052804"/>
                <a:gd name="connsiteY540" fmla="*/ 1019841 h 1413227"/>
                <a:gd name="connsiteX541" fmla="*/ 1594195 w 2052804"/>
                <a:gd name="connsiteY541" fmla="*/ 1000827 h 1413227"/>
                <a:gd name="connsiteX542" fmla="*/ 1602838 w 2052804"/>
                <a:gd name="connsiteY542" fmla="*/ 999098 h 1413227"/>
                <a:gd name="connsiteX543" fmla="*/ 1614938 w 2052804"/>
                <a:gd name="connsiteY543" fmla="*/ 990455 h 1413227"/>
                <a:gd name="connsiteX544" fmla="*/ 1621852 w 2052804"/>
                <a:gd name="connsiteY544" fmla="*/ 985270 h 1413227"/>
                <a:gd name="connsiteX545" fmla="*/ 1620123 w 2052804"/>
                <a:gd name="connsiteY545" fmla="*/ 1021569 h 1413227"/>
                <a:gd name="connsiteX546" fmla="*/ 1616666 w 2052804"/>
                <a:gd name="connsiteY546" fmla="*/ 1028483 h 1413227"/>
                <a:gd name="connsiteX547" fmla="*/ 1611481 w 2052804"/>
                <a:gd name="connsiteY547" fmla="*/ 1035398 h 1413227"/>
                <a:gd name="connsiteX548" fmla="*/ 1616666 w 2052804"/>
                <a:gd name="connsiteY548" fmla="*/ 1031941 h 1413227"/>
                <a:gd name="connsiteX549" fmla="*/ 1625309 w 2052804"/>
                <a:gd name="connsiteY549" fmla="*/ 1016384 h 1413227"/>
                <a:gd name="connsiteX550" fmla="*/ 1630495 w 2052804"/>
                <a:gd name="connsiteY550" fmla="*/ 997370 h 1413227"/>
                <a:gd name="connsiteX551" fmla="*/ 1630495 w 2052804"/>
                <a:gd name="connsiteY551" fmla="*/ 976627 h 1413227"/>
                <a:gd name="connsiteX552" fmla="*/ 1623581 w 2052804"/>
                <a:gd name="connsiteY552" fmla="*/ 962799 h 1413227"/>
                <a:gd name="connsiteX553" fmla="*/ 1630495 w 2052804"/>
                <a:gd name="connsiteY553" fmla="*/ 966256 h 1413227"/>
                <a:gd name="connsiteX554" fmla="*/ 1642595 w 2052804"/>
                <a:gd name="connsiteY554" fmla="*/ 969713 h 1413227"/>
                <a:gd name="connsiteX555" fmla="*/ 1649509 w 2052804"/>
                <a:gd name="connsiteY555" fmla="*/ 967984 h 1413227"/>
                <a:gd name="connsiteX556" fmla="*/ 1654694 w 2052804"/>
                <a:gd name="connsiteY556" fmla="*/ 955885 h 1413227"/>
                <a:gd name="connsiteX557" fmla="*/ 1663337 w 2052804"/>
                <a:gd name="connsiteY557" fmla="*/ 933414 h 1413227"/>
                <a:gd name="connsiteX558" fmla="*/ 1666794 w 2052804"/>
                <a:gd name="connsiteY558" fmla="*/ 929956 h 1413227"/>
                <a:gd name="connsiteX559" fmla="*/ 1668523 w 2052804"/>
                <a:gd name="connsiteY559" fmla="*/ 923042 h 1413227"/>
                <a:gd name="connsiteX560" fmla="*/ 1677165 w 2052804"/>
                <a:gd name="connsiteY560" fmla="*/ 893657 h 1413227"/>
                <a:gd name="connsiteX561" fmla="*/ 1690994 w 2052804"/>
                <a:gd name="connsiteY561" fmla="*/ 891928 h 1413227"/>
                <a:gd name="connsiteX562" fmla="*/ 1697908 w 2052804"/>
                <a:gd name="connsiteY562" fmla="*/ 890200 h 1413227"/>
                <a:gd name="connsiteX563" fmla="*/ 1704822 w 2052804"/>
                <a:gd name="connsiteY563" fmla="*/ 886743 h 1413227"/>
                <a:gd name="connsiteX564" fmla="*/ 1723836 w 2052804"/>
                <a:gd name="connsiteY564" fmla="*/ 878100 h 1413227"/>
                <a:gd name="connsiteX565" fmla="*/ 1730750 w 2052804"/>
                <a:gd name="connsiteY565" fmla="*/ 876372 h 1413227"/>
                <a:gd name="connsiteX566" fmla="*/ 1749764 w 2052804"/>
                <a:gd name="connsiteY566" fmla="*/ 860815 h 1413227"/>
                <a:gd name="connsiteX567" fmla="*/ 1754950 w 2052804"/>
                <a:gd name="connsiteY567" fmla="*/ 857358 h 1413227"/>
                <a:gd name="connsiteX568" fmla="*/ 1761864 w 2052804"/>
                <a:gd name="connsiteY568" fmla="*/ 855629 h 1413227"/>
                <a:gd name="connsiteX569" fmla="*/ 1768778 w 2052804"/>
                <a:gd name="connsiteY569" fmla="*/ 841801 h 1413227"/>
                <a:gd name="connsiteX570" fmla="*/ 1775692 w 2052804"/>
                <a:gd name="connsiteY570" fmla="*/ 836615 h 1413227"/>
                <a:gd name="connsiteX571" fmla="*/ 1780878 w 2052804"/>
                <a:gd name="connsiteY571" fmla="*/ 833158 h 1413227"/>
                <a:gd name="connsiteX572" fmla="*/ 1791249 w 2052804"/>
                <a:gd name="connsiteY572" fmla="*/ 831429 h 1413227"/>
                <a:gd name="connsiteX573" fmla="*/ 1799892 w 2052804"/>
                <a:gd name="connsiteY573" fmla="*/ 829701 h 1413227"/>
                <a:gd name="connsiteX574" fmla="*/ 1801621 w 2052804"/>
                <a:gd name="connsiteY574" fmla="*/ 824515 h 1413227"/>
                <a:gd name="connsiteX575" fmla="*/ 1829277 w 2052804"/>
                <a:gd name="connsiteY575" fmla="*/ 796859 h 1413227"/>
                <a:gd name="connsiteX576" fmla="*/ 1834463 w 2052804"/>
                <a:gd name="connsiteY576" fmla="*/ 776116 h 1413227"/>
                <a:gd name="connsiteX577" fmla="*/ 1839649 w 2052804"/>
                <a:gd name="connsiteY577" fmla="*/ 770930 h 1413227"/>
                <a:gd name="connsiteX578" fmla="*/ 1867305 w 2052804"/>
                <a:gd name="connsiteY578" fmla="*/ 760559 h 1413227"/>
                <a:gd name="connsiteX579" fmla="*/ 1872491 w 2052804"/>
                <a:gd name="connsiteY579" fmla="*/ 755373 h 1413227"/>
                <a:gd name="connsiteX580" fmla="*/ 1884591 w 2052804"/>
                <a:gd name="connsiteY580" fmla="*/ 753645 h 1413227"/>
                <a:gd name="connsiteX581" fmla="*/ 1893233 w 2052804"/>
                <a:gd name="connsiteY581" fmla="*/ 750188 h 1413227"/>
                <a:gd name="connsiteX582" fmla="*/ 1898419 w 2052804"/>
                <a:gd name="connsiteY582" fmla="*/ 731174 h 1413227"/>
                <a:gd name="connsiteX583" fmla="*/ 1913976 w 2052804"/>
                <a:gd name="connsiteY583" fmla="*/ 719074 h 1413227"/>
                <a:gd name="connsiteX584" fmla="*/ 1920890 w 2052804"/>
                <a:gd name="connsiteY584" fmla="*/ 710431 h 1413227"/>
                <a:gd name="connsiteX585" fmla="*/ 1912247 w 2052804"/>
                <a:gd name="connsiteY585" fmla="*/ 689689 h 1413227"/>
                <a:gd name="connsiteX586" fmla="*/ 1905333 w 2052804"/>
                <a:gd name="connsiteY586" fmla="*/ 675860 h 1413227"/>
                <a:gd name="connsiteX587" fmla="*/ 1901876 w 2052804"/>
                <a:gd name="connsiteY587" fmla="*/ 665489 h 1413227"/>
                <a:gd name="connsiteX588" fmla="*/ 1905333 w 2052804"/>
                <a:gd name="connsiteY588" fmla="*/ 651661 h 1413227"/>
                <a:gd name="connsiteX589" fmla="*/ 1901876 w 2052804"/>
                <a:gd name="connsiteY589" fmla="*/ 629190 h 1413227"/>
                <a:gd name="connsiteX590" fmla="*/ 1908790 w 2052804"/>
                <a:gd name="connsiteY590" fmla="*/ 624004 h 1413227"/>
                <a:gd name="connsiteX591" fmla="*/ 1913976 w 2052804"/>
                <a:gd name="connsiteY591" fmla="*/ 613633 h 1413227"/>
                <a:gd name="connsiteX592" fmla="*/ 1922619 w 2052804"/>
                <a:gd name="connsiteY592" fmla="*/ 608447 h 1413227"/>
                <a:gd name="connsiteX593" fmla="*/ 1929533 w 2052804"/>
                <a:gd name="connsiteY593" fmla="*/ 601533 h 1413227"/>
                <a:gd name="connsiteX594" fmla="*/ 1932990 w 2052804"/>
                <a:gd name="connsiteY594" fmla="*/ 587705 h 1413227"/>
                <a:gd name="connsiteX595" fmla="*/ 1936447 w 2052804"/>
                <a:gd name="connsiteY595" fmla="*/ 582519 h 1413227"/>
                <a:gd name="connsiteX596" fmla="*/ 1943361 w 2052804"/>
                <a:gd name="connsiteY596" fmla="*/ 565234 h 1413227"/>
                <a:gd name="connsiteX597" fmla="*/ 1967561 w 2052804"/>
                <a:gd name="connsiteY597" fmla="*/ 556591 h 1413227"/>
                <a:gd name="connsiteX598" fmla="*/ 1972746 w 2052804"/>
                <a:gd name="connsiteY598" fmla="*/ 547948 h 1413227"/>
                <a:gd name="connsiteX599" fmla="*/ 1990032 w 2052804"/>
                <a:gd name="connsiteY599" fmla="*/ 544491 h 1413227"/>
                <a:gd name="connsiteX600" fmla="*/ 2012503 w 2052804"/>
                <a:gd name="connsiteY600" fmla="*/ 539305 h 1413227"/>
                <a:gd name="connsiteX601" fmla="*/ 2021146 w 2052804"/>
                <a:gd name="connsiteY601" fmla="*/ 530663 h 1413227"/>
                <a:gd name="connsiteX602" fmla="*/ 2052260 w 2052804"/>
                <a:gd name="connsiteY602" fmla="*/ 525477 h 1413227"/>
                <a:gd name="connsiteX603" fmla="*/ 2047074 w 2052804"/>
                <a:gd name="connsiteY603" fmla="*/ 499549 h 1413227"/>
                <a:gd name="connsiteX604" fmla="*/ 2036703 w 2052804"/>
                <a:gd name="connsiteY604" fmla="*/ 492635 h 1413227"/>
                <a:gd name="connsiteX605" fmla="*/ 2029788 w 2052804"/>
                <a:gd name="connsiteY605" fmla="*/ 447693 h 1413227"/>
                <a:gd name="connsiteX606" fmla="*/ 2022874 w 2052804"/>
                <a:gd name="connsiteY606" fmla="*/ 428679 h 1413227"/>
                <a:gd name="connsiteX607" fmla="*/ 2019417 w 2052804"/>
                <a:gd name="connsiteY607" fmla="*/ 418307 h 1413227"/>
                <a:gd name="connsiteX608" fmla="*/ 2014232 w 2052804"/>
                <a:gd name="connsiteY608" fmla="*/ 411393 h 1413227"/>
                <a:gd name="connsiteX609" fmla="*/ 2007317 w 2052804"/>
                <a:gd name="connsiteY609" fmla="*/ 407936 h 1413227"/>
                <a:gd name="connsiteX610" fmla="*/ 1988303 w 2052804"/>
                <a:gd name="connsiteY610" fmla="*/ 404479 h 1413227"/>
                <a:gd name="connsiteX611" fmla="*/ 1981389 w 2052804"/>
                <a:gd name="connsiteY611" fmla="*/ 394108 h 1413227"/>
                <a:gd name="connsiteX612" fmla="*/ 1976204 w 2052804"/>
                <a:gd name="connsiteY612" fmla="*/ 390651 h 1413227"/>
                <a:gd name="connsiteX613" fmla="*/ 1972746 w 2052804"/>
                <a:gd name="connsiteY613" fmla="*/ 382008 h 1413227"/>
                <a:gd name="connsiteX614" fmla="*/ 1977932 w 2052804"/>
                <a:gd name="connsiteY614" fmla="*/ 366451 h 1413227"/>
                <a:gd name="connsiteX615" fmla="*/ 1986575 w 2052804"/>
                <a:gd name="connsiteY615" fmla="*/ 354351 h 1413227"/>
                <a:gd name="connsiteX616" fmla="*/ 1988303 w 2052804"/>
                <a:gd name="connsiteY616" fmla="*/ 347437 h 1413227"/>
                <a:gd name="connsiteX617" fmla="*/ 1998675 w 2052804"/>
                <a:gd name="connsiteY617" fmla="*/ 343980 h 1413227"/>
                <a:gd name="connsiteX618" fmla="*/ 1964104 w 2052804"/>
                <a:gd name="connsiteY618" fmla="*/ 337066 h 1413227"/>
                <a:gd name="connsiteX619" fmla="*/ 1962375 w 2052804"/>
                <a:gd name="connsiteY619" fmla="*/ 331880 h 1413227"/>
                <a:gd name="connsiteX620" fmla="*/ 1958918 w 2052804"/>
                <a:gd name="connsiteY620" fmla="*/ 326694 h 1413227"/>
                <a:gd name="connsiteX621" fmla="*/ 1962375 w 2052804"/>
                <a:gd name="connsiteY621" fmla="*/ 318052 h 1413227"/>
                <a:gd name="connsiteX622" fmla="*/ 1967561 w 2052804"/>
                <a:gd name="connsiteY622" fmla="*/ 311138 h 1413227"/>
                <a:gd name="connsiteX623" fmla="*/ 1971018 w 2052804"/>
                <a:gd name="connsiteY623" fmla="*/ 305952 h 1413227"/>
                <a:gd name="connsiteX624" fmla="*/ 1972746 w 2052804"/>
                <a:gd name="connsiteY624" fmla="*/ 299038 h 1413227"/>
                <a:gd name="connsiteX625" fmla="*/ 1977932 w 2052804"/>
                <a:gd name="connsiteY625" fmla="*/ 293852 h 1413227"/>
                <a:gd name="connsiteX626" fmla="*/ 1979661 w 2052804"/>
                <a:gd name="connsiteY626" fmla="*/ 269652 h 1413227"/>
                <a:gd name="connsiteX627" fmla="*/ 1974475 w 2052804"/>
                <a:gd name="connsiteY627" fmla="*/ 255824 h 1413227"/>
                <a:gd name="connsiteX628" fmla="*/ 1972746 w 2052804"/>
                <a:gd name="connsiteY628" fmla="*/ 250638 h 1413227"/>
                <a:gd name="connsiteX629" fmla="*/ 1971018 w 2052804"/>
                <a:gd name="connsiteY629" fmla="*/ 243724 h 1413227"/>
                <a:gd name="connsiteX630" fmla="*/ 1967561 w 2052804"/>
                <a:gd name="connsiteY630" fmla="*/ 238539 h 1413227"/>
                <a:gd name="connsiteX631" fmla="*/ 1969289 w 2052804"/>
                <a:gd name="connsiteY631" fmla="*/ 216068 h 1413227"/>
                <a:gd name="connsiteX632" fmla="*/ 1965832 w 2052804"/>
                <a:gd name="connsiteY632" fmla="*/ 209153 h 1413227"/>
                <a:gd name="connsiteX633" fmla="*/ 1958918 w 2052804"/>
                <a:gd name="connsiteY633" fmla="*/ 216068 h 1413227"/>
                <a:gd name="connsiteX634" fmla="*/ 1952004 w 2052804"/>
                <a:gd name="connsiteY634" fmla="*/ 217796 h 1413227"/>
                <a:gd name="connsiteX635" fmla="*/ 1941633 w 2052804"/>
                <a:gd name="connsiteY635" fmla="*/ 226439 h 1413227"/>
                <a:gd name="connsiteX636" fmla="*/ 1936447 w 2052804"/>
                <a:gd name="connsiteY636" fmla="*/ 228167 h 1413227"/>
                <a:gd name="connsiteX637" fmla="*/ 1926076 w 2052804"/>
                <a:gd name="connsiteY637" fmla="*/ 235082 h 1413227"/>
                <a:gd name="connsiteX638" fmla="*/ 1910519 w 2052804"/>
                <a:gd name="connsiteY638" fmla="*/ 231624 h 1413227"/>
                <a:gd name="connsiteX639" fmla="*/ 1889776 w 2052804"/>
                <a:gd name="connsiteY639" fmla="*/ 222982 h 1413227"/>
                <a:gd name="connsiteX640" fmla="*/ 1882862 w 2052804"/>
                <a:gd name="connsiteY640" fmla="*/ 224710 h 1413227"/>
                <a:gd name="connsiteX641" fmla="*/ 1872491 w 2052804"/>
                <a:gd name="connsiteY641" fmla="*/ 233353 h 1413227"/>
                <a:gd name="connsiteX642" fmla="*/ 1851748 w 2052804"/>
                <a:gd name="connsiteY642" fmla="*/ 221253 h 1413227"/>
                <a:gd name="connsiteX643" fmla="*/ 1843106 w 2052804"/>
                <a:gd name="connsiteY643" fmla="*/ 217796 h 1413227"/>
                <a:gd name="connsiteX644" fmla="*/ 1836191 w 2052804"/>
                <a:gd name="connsiteY644" fmla="*/ 214339 h 1413227"/>
                <a:gd name="connsiteX645" fmla="*/ 1827549 w 2052804"/>
                <a:gd name="connsiteY645" fmla="*/ 224710 h 1413227"/>
                <a:gd name="connsiteX646" fmla="*/ 1820635 w 2052804"/>
                <a:gd name="connsiteY646" fmla="*/ 229896 h 1413227"/>
                <a:gd name="connsiteX647" fmla="*/ 1791249 w 2052804"/>
                <a:gd name="connsiteY647" fmla="*/ 221253 h 1413227"/>
                <a:gd name="connsiteX648" fmla="*/ 1763593 w 2052804"/>
                <a:gd name="connsiteY648" fmla="*/ 222982 h 1413227"/>
                <a:gd name="connsiteX649" fmla="*/ 1758407 w 2052804"/>
                <a:gd name="connsiteY649" fmla="*/ 224710 h 1413227"/>
                <a:gd name="connsiteX650" fmla="*/ 1739393 w 2052804"/>
                <a:gd name="connsiteY650" fmla="*/ 222982 h 1413227"/>
                <a:gd name="connsiteX651" fmla="*/ 1732479 w 2052804"/>
                <a:gd name="connsiteY651" fmla="*/ 217796 h 1413227"/>
                <a:gd name="connsiteX652" fmla="*/ 1725565 w 2052804"/>
                <a:gd name="connsiteY652" fmla="*/ 207425 h 1413227"/>
                <a:gd name="connsiteX653" fmla="*/ 1716922 w 2052804"/>
                <a:gd name="connsiteY653" fmla="*/ 235082 h 1413227"/>
                <a:gd name="connsiteX654" fmla="*/ 1710008 w 2052804"/>
                <a:gd name="connsiteY654" fmla="*/ 250638 h 1413227"/>
                <a:gd name="connsiteX655" fmla="*/ 1696179 w 2052804"/>
                <a:gd name="connsiteY655" fmla="*/ 236810 h 1413227"/>
                <a:gd name="connsiteX656" fmla="*/ 1649509 w 2052804"/>
                <a:gd name="connsiteY656" fmla="*/ 224710 h 1413227"/>
                <a:gd name="connsiteX657" fmla="*/ 1644323 w 2052804"/>
                <a:gd name="connsiteY657" fmla="*/ 217796 h 1413227"/>
                <a:gd name="connsiteX658" fmla="*/ 1642595 w 2052804"/>
                <a:gd name="connsiteY658" fmla="*/ 212610 h 1413227"/>
                <a:gd name="connsiteX659" fmla="*/ 1627038 w 2052804"/>
                <a:gd name="connsiteY659" fmla="*/ 195325 h 1413227"/>
                <a:gd name="connsiteX660" fmla="*/ 1613209 w 2052804"/>
                <a:gd name="connsiteY660" fmla="*/ 191868 h 1413227"/>
                <a:gd name="connsiteX661" fmla="*/ 1604567 w 2052804"/>
                <a:gd name="connsiteY661" fmla="*/ 200511 h 1413227"/>
                <a:gd name="connsiteX662" fmla="*/ 1599381 w 2052804"/>
                <a:gd name="connsiteY662" fmla="*/ 202239 h 1413227"/>
                <a:gd name="connsiteX663" fmla="*/ 1578638 w 2052804"/>
                <a:gd name="connsiteY663" fmla="*/ 209153 h 1413227"/>
                <a:gd name="connsiteX664" fmla="*/ 1573453 w 2052804"/>
                <a:gd name="connsiteY664" fmla="*/ 214339 h 1413227"/>
                <a:gd name="connsiteX665" fmla="*/ 1568267 w 2052804"/>
                <a:gd name="connsiteY665" fmla="*/ 217796 h 1413227"/>
                <a:gd name="connsiteX666" fmla="*/ 1564810 w 2052804"/>
                <a:gd name="connsiteY666" fmla="*/ 224710 h 1413227"/>
                <a:gd name="connsiteX667" fmla="*/ 1547525 w 2052804"/>
                <a:gd name="connsiteY667" fmla="*/ 238539 h 1413227"/>
                <a:gd name="connsiteX668" fmla="*/ 1540610 w 2052804"/>
                <a:gd name="connsiteY668" fmla="*/ 245453 h 1413227"/>
                <a:gd name="connsiteX669" fmla="*/ 1538882 w 2052804"/>
                <a:gd name="connsiteY669" fmla="*/ 250638 h 1413227"/>
                <a:gd name="connsiteX670" fmla="*/ 1540610 w 2052804"/>
                <a:gd name="connsiteY670" fmla="*/ 255824 h 1413227"/>
                <a:gd name="connsiteX671" fmla="*/ 1514682 w 2052804"/>
                <a:gd name="connsiteY671" fmla="*/ 259281 h 1413227"/>
                <a:gd name="connsiteX672" fmla="*/ 1504311 w 2052804"/>
                <a:gd name="connsiteY672" fmla="*/ 252367 h 1413227"/>
                <a:gd name="connsiteX673" fmla="*/ 1476654 w 2052804"/>
                <a:gd name="connsiteY673" fmla="*/ 252367 h 1413227"/>
                <a:gd name="connsiteX674" fmla="*/ 1459369 w 2052804"/>
                <a:gd name="connsiteY674" fmla="*/ 254096 h 1413227"/>
                <a:gd name="connsiteX675" fmla="*/ 1450726 w 2052804"/>
                <a:gd name="connsiteY675" fmla="*/ 261010 h 1413227"/>
                <a:gd name="connsiteX676" fmla="*/ 1445540 w 2052804"/>
                <a:gd name="connsiteY676" fmla="*/ 267924 h 1413227"/>
                <a:gd name="connsiteX677" fmla="*/ 1442083 w 2052804"/>
                <a:gd name="connsiteY677" fmla="*/ 273110 h 1413227"/>
                <a:gd name="connsiteX678" fmla="*/ 1436898 w 2052804"/>
                <a:gd name="connsiteY678" fmla="*/ 274838 h 1413227"/>
                <a:gd name="connsiteX679" fmla="*/ 1423069 w 2052804"/>
                <a:gd name="connsiteY679" fmla="*/ 281752 h 1413227"/>
                <a:gd name="connsiteX680" fmla="*/ 1416155 w 2052804"/>
                <a:gd name="connsiteY680" fmla="*/ 278295 h 1413227"/>
                <a:gd name="connsiteX681" fmla="*/ 1412698 w 2052804"/>
                <a:gd name="connsiteY681" fmla="*/ 273110 h 1413227"/>
                <a:gd name="connsiteX682" fmla="*/ 1404055 w 2052804"/>
                <a:gd name="connsiteY682" fmla="*/ 257553 h 1413227"/>
                <a:gd name="connsiteX683" fmla="*/ 1398870 w 2052804"/>
                <a:gd name="connsiteY683" fmla="*/ 254096 h 1413227"/>
                <a:gd name="connsiteX684" fmla="*/ 1390227 w 2052804"/>
                <a:gd name="connsiteY684" fmla="*/ 243724 h 1413227"/>
                <a:gd name="connsiteX685" fmla="*/ 1385041 w 2052804"/>
                <a:gd name="connsiteY685" fmla="*/ 212610 h 1413227"/>
                <a:gd name="connsiteX686" fmla="*/ 1374670 w 2052804"/>
                <a:gd name="connsiteY686" fmla="*/ 202239 h 1413227"/>
                <a:gd name="connsiteX687" fmla="*/ 1367756 w 2052804"/>
                <a:gd name="connsiteY687" fmla="*/ 200511 h 1413227"/>
                <a:gd name="connsiteX688" fmla="*/ 1362570 w 2052804"/>
                <a:gd name="connsiteY688" fmla="*/ 193596 h 1413227"/>
                <a:gd name="connsiteX689" fmla="*/ 1353928 w 2052804"/>
                <a:gd name="connsiteY689" fmla="*/ 178040 h 1413227"/>
                <a:gd name="connsiteX690" fmla="*/ 1341828 w 2052804"/>
                <a:gd name="connsiteY690" fmla="*/ 167668 h 1413227"/>
                <a:gd name="connsiteX691" fmla="*/ 1302071 w 2052804"/>
                <a:gd name="connsiteY691" fmla="*/ 169397 h 1413227"/>
                <a:gd name="connsiteX692" fmla="*/ 1288243 w 2052804"/>
                <a:gd name="connsiteY692" fmla="*/ 179768 h 1413227"/>
                <a:gd name="connsiteX693" fmla="*/ 1272686 w 2052804"/>
                <a:gd name="connsiteY693" fmla="*/ 181497 h 1413227"/>
                <a:gd name="connsiteX694" fmla="*/ 1255401 w 2052804"/>
                <a:gd name="connsiteY694" fmla="*/ 174583 h 1413227"/>
                <a:gd name="connsiteX695" fmla="*/ 1245029 w 2052804"/>
                <a:gd name="connsiteY695" fmla="*/ 164211 h 1413227"/>
                <a:gd name="connsiteX696" fmla="*/ 1234658 w 2052804"/>
                <a:gd name="connsiteY696" fmla="*/ 160754 h 1413227"/>
                <a:gd name="connsiteX697" fmla="*/ 1219101 w 2052804"/>
                <a:gd name="connsiteY697" fmla="*/ 146926 h 1413227"/>
                <a:gd name="connsiteX698" fmla="*/ 1217373 w 2052804"/>
                <a:gd name="connsiteY698" fmla="*/ 140012 h 1413227"/>
                <a:gd name="connsiteX699" fmla="*/ 1210458 w 2052804"/>
                <a:gd name="connsiteY699" fmla="*/ 131369 h 1413227"/>
                <a:gd name="connsiteX700" fmla="*/ 1208730 w 2052804"/>
                <a:gd name="connsiteY700" fmla="*/ 122726 h 1413227"/>
                <a:gd name="connsiteX701" fmla="*/ 1194902 w 2052804"/>
                <a:gd name="connsiteY701" fmla="*/ 117541 h 1413227"/>
                <a:gd name="connsiteX702" fmla="*/ 1205273 w 2052804"/>
                <a:gd name="connsiteY702" fmla="*/ 105441 h 1413227"/>
                <a:gd name="connsiteX703" fmla="*/ 1212187 w 2052804"/>
                <a:gd name="connsiteY703" fmla="*/ 101984 h 1413227"/>
                <a:gd name="connsiteX704" fmla="*/ 1217373 w 2052804"/>
                <a:gd name="connsiteY704" fmla="*/ 95069 h 1413227"/>
                <a:gd name="connsiteX705" fmla="*/ 1222558 w 2052804"/>
                <a:gd name="connsiteY705" fmla="*/ 89884 h 1413227"/>
                <a:gd name="connsiteX706" fmla="*/ 1220830 w 2052804"/>
                <a:gd name="connsiteY706" fmla="*/ 84698 h 1413227"/>
                <a:gd name="connsiteX707" fmla="*/ 1210458 w 2052804"/>
                <a:gd name="connsiteY707" fmla="*/ 81241 h 1413227"/>
                <a:gd name="connsiteX708" fmla="*/ 1194902 w 2052804"/>
                <a:gd name="connsiteY708" fmla="*/ 76055 h 1413227"/>
                <a:gd name="connsiteX709" fmla="*/ 1179345 w 2052804"/>
                <a:gd name="connsiteY709" fmla="*/ 60499 h 1413227"/>
                <a:gd name="connsiteX710" fmla="*/ 1172430 w 2052804"/>
                <a:gd name="connsiteY710" fmla="*/ 53584 h 1413227"/>
                <a:gd name="connsiteX711" fmla="*/ 1168973 w 2052804"/>
                <a:gd name="connsiteY711" fmla="*/ 46670 h 1413227"/>
                <a:gd name="connsiteX712" fmla="*/ 1163788 w 2052804"/>
                <a:gd name="connsiteY712" fmla="*/ 39756 h 1413227"/>
                <a:gd name="connsiteX713" fmla="*/ 1155145 w 2052804"/>
                <a:gd name="connsiteY713" fmla="*/ 27656 h 1413227"/>
                <a:gd name="connsiteX714" fmla="*/ 1149959 w 2052804"/>
                <a:gd name="connsiteY714" fmla="*/ 24199 h 1413227"/>
                <a:gd name="connsiteX715" fmla="*/ 1144774 w 2052804"/>
                <a:gd name="connsiteY715" fmla="*/ 17285 h 1413227"/>
                <a:gd name="connsiteX716" fmla="*/ 1127488 w 2052804"/>
                <a:gd name="connsiteY716" fmla="*/ 3457 h 1413227"/>
                <a:gd name="connsiteX717" fmla="*/ 1120574 w 2052804"/>
                <a:gd name="connsiteY717" fmla="*/ 0 h 1413227"/>
                <a:gd name="connsiteX718" fmla="*/ 1106746 w 2052804"/>
                <a:gd name="connsiteY718" fmla="*/ 1728 h 1413227"/>
                <a:gd name="connsiteX719" fmla="*/ 1101560 w 2052804"/>
                <a:gd name="connsiteY719" fmla="*/ 3457 h 1413227"/>
                <a:gd name="connsiteX720" fmla="*/ 1094646 w 2052804"/>
                <a:gd name="connsiteY720" fmla="*/ 5185 h 1413227"/>
                <a:gd name="connsiteX721" fmla="*/ 1075632 w 2052804"/>
                <a:gd name="connsiteY721" fmla="*/ 17285 h 1413227"/>
                <a:gd name="connsiteX722" fmla="*/ 1060075 w 2052804"/>
                <a:gd name="connsiteY722" fmla="*/ 15556 h 1413227"/>
                <a:gd name="connsiteX723" fmla="*/ 1054889 w 2052804"/>
                <a:gd name="connsiteY723" fmla="*/ 19014 h 1413227"/>
                <a:gd name="connsiteX724" fmla="*/ 1046247 w 2052804"/>
                <a:gd name="connsiteY724" fmla="*/ 27656 h 1413227"/>
                <a:gd name="connsiteX725" fmla="*/ 1032418 w 2052804"/>
                <a:gd name="connsiteY725" fmla="*/ 38027 h 1413227"/>
                <a:gd name="connsiteX726" fmla="*/ 1028961 w 2052804"/>
                <a:gd name="connsiteY726" fmla="*/ 41485 h 1413227"/>
                <a:gd name="connsiteX727" fmla="*/ 1020319 w 2052804"/>
                <a:gd name="connsiteY727" fmla="*/ 46670 h 1413227"/>
                <a:gd name="connsiteX728" fmla="*/ 1016861 w 2052804"/>
                <a:gd name="connsiteY728" fmla="*/ 50127 h 1413227"/>
                <a:gd name="connsiteX729" fmla="*/ 1001305 w 2052804"/>
                <a:gd name="connsiteY729" fmla="*/ 57041 h 1413227"/>
                <a:gd name="connsiteX730" fmla="*/ 977105 w 2052804"/>
                <a:gd name="connsiteY730" fmla="*/ 58770 h 1413227"/>
                <a:gd name="connsiteX731" fmla="*/ 971919 w 2052804"/>
                <a:gd name="connsiteY731" fmla="*/ 62227 h 1413227"/>
                <a:gd name="connsiteX732" fmla="*/ 970191 w 2052804"/>
                <a:gd name="connsiteY732" fmla="*/ 79513 h 1413227"/>
                <a:gd name="connsiteX733" fmla="*/ 966734 w 2052804"/>
                <a:gd name="connsiteY733" fmla="*/ 103712 h 1413227"/>
                <a:gd name="connsiteX734" fmla="*/ 965005 w 2052804"/>
                <a:gd name="connsiteY734" fmla="*/ 112355 h 1413227"/>
                <a:gd name="connsiteX735" fmla="*/ 920063 w 2052804"/>
                <a:gd name="connsiteY735" fmla="*/ 115812 h 1413227"/>
                <a:gd name="connsiteX736" fmla="*/ 914877 w 2052804"/>
                <a:gd name="connsiteY736" fmla="*/ 119269 h 1413227"/>
                <a:gd name="connsiteX737" fmla="*/ 909692 w 2052804"/>
                <a:gd name="connsiteY737" fmla="*/ 120998 h 1413227"/>
                <a:gd name="connsiteX738" fmla="*/ 897592 w 2052804"/>
                <a:gd name="connsiteY738" fmla="*/ 124455 h 1413227"/>
                <a:gd name="connsiteX739" fmla="*/ 892406 w 2052804"/>
                <a:gd name="connsiteY739" fmla="*/ 126183 h 1413227"/>
                <a:gd name="connsiteX740" fmla="*/ 899320 w 2052804"/>
                <a:gd name="connsiteY740" fmla="*/ 124455 h 1413227"/>
                <a:gd name="connsiteX741" fmla="*/ 907963 w 2052804"/>
                <a:gd name="connsiteY741" fmla="*/ 115812 h 1413227"/>
                <a:gd name="connsiteX742" fmla="*/ 970191 w 2052804"/>
                <a:gd name="connsiteY742" fmla="*/ 63956 h 1413227"/>
                <a:gd name="connsiteX0" fmla="*/ 970191 w 2052804"/>
                <a:gd name="connsiteY0" fmla="*/ 63956 h 1413227"/>
                <a:gd name="connsiteX1" fmla="*/ 966734 w 2052804"/>
                <a:gd name="connsiteY1" fmla="*/ 72598 h 1413227"/>
                <a:gd name="connsiteX2" fmla="*/ 923520 w 2052804"/>
                <a:gd name="connsiteY2" fmla="*/ 114083 h 1413227"/>
                <a:gd name="connsiteX3" fmla="*/ 906235 w 2052804"/>
                <a:gd name="connsiteY3" fmla="*/ 120998 h 1413227"/>
                <a:gd name="connsiteX4" fmla="*/ 888949 w 2052804"/>
                <a:gd name="connsiteY4" fmla="*/ 122726 h 1413227"/>
                <a:gd name="connsiteX5" fmla="*/ 882035 w 2052804"/>
                <a:gd name="connsiteY5" fmla="*/ 129640 h 1413227"/>
                <a:gd name="connsiteX6" fmla="*/ 859564 w 2052804"/>
                <a:gd name="connsiteY6" fmla="*/ 140012 h 1413227"/>
                <a:gd name="connsiteX7" fmla="*/ 854378 w 2052804"/>
                <a:gd name="connsiteY7" fmla="*/ 145197 h 1413227"/>
                <a:gd name="connsiteX8" fmla="*/ 835364 w 2052804"/>
                <a:gd name="connsiteY8" fmla="*/ 146926 h 1413227"/>
                <a:gd name="connsiteX9" fmla="*/ 812857 w 2052804"/>
                <a:gd name="connsiteY9" fmla="*/ 195183 h 1413227"/>
                <a:gd name="connsiteX10" fmla="*/ 821536 w 2052804"/>
                <a:gd name="connsiteY10" fmla="*/ 247181 h 1413227"/>
                <a:gd name="connsiteX11" fmla="*/ 824993 w 2052804"/>
                <a:gd name="connsiteY11" fmla="*/ 255824 h 1413227"/>
                <a:gd name="connsiteX12" fmla="*/ 830179 w 2052804"/>
                <a:gd name="connsiteY12" fmla="*/ 259281 h 1413227"/>
                <a:gd name="connsiteX13" fmla="*/ 837093 w 2052804"/>
                <a:gd name="connsiteY13" fmla="*/ 267924 h 1413227"/>
                <a:gd name="connsiteX14" fmla="*/ 840550 w 2052804"/>
                <a:gd name="connsiteY14" fmla="*/ 280024 h 1413227"/>
                <a:gd name="connsiteX15" fmla="*/ 838821 w 2052804"/>
                <a:gd name="connsiteY15" fmla="*/ 295581 h 1413227"/>
                <a:gd name="connsiteX16" fmla="*/ 824993 w 2052804"/>
                <a:gd name="connsiteY16" fmla="*/ 299038 h 1413227"/>
                <a:gd name="connsiteX17" fmla="*/ 804250 w 2052804"/>
                <a:gd name="connsiteY17" fmla="*/ 295581 h 1413227"/>
                <a:gd name="connsiteX18" fmla="*/ 790422 w 2052804"/>
                <a:gd name="connsiteY18" fmla="*/ 286938 h 1413227"/>
                <a:gd name="connsiteX19" fmla="*/ 785236 w 2052804"/>
                <a:gd name="connsiteY19" fmla="*/ 285209 h 1413227"/>
                <a:gd name="connsiteX20" fmla="*/ 778322 w 2052804"/>
                <a:gd name="connsiteY20" fmla="*/ 278295 h 1413227"/>
                <a:gd name="connsiteX21" fmla="*/ 771408 w 2052804"/>
                <a:gd name="connsiteY21" fmla="*/ 285209 h 1413227"/>
                <a:gd name="connsiteX22" fmla="*/ 762765 w 2052804"/>
                <a:gd name="connsiteY22" fmla="*/ 286938 h 1413227"/>
                <a:gd name="connsiteX23" fmla="*/ 755851 w 2052804"/>
                <a:gd name="connsiteY23" fmla="*/ 288666 h 1413227"/>
                <a:gd name="connsiteX24" fmla="*/ 750666 w 2052804"/>
                <a:gd name="connsiteY24" fmla="*/ 290395 h 1413227"/>
                <a:gd name="connsiteX25" fmla="*/ 726466 w 2052804"/>
                <a:gd name="connsiteY25" fmla="*/ 292124 h 1413227"/>
                <a:gd name="connsiteX26" fmla="*/ 724737 w 2052804"/>
                <a:gd name="connsiteY26" fmla="*/ 297309 h 1413227"/>
                <a:gd name="connsiteX27" fmla="*/ 705723 w 2052804"/>
                <a:gd name="connsiteY27" fmla="*/ 312866 h 1413227"/>
                <a:gd name="connsiteX28" fmla="*/ 690167 w 2052804"/>
                <a:gd name="connsiteY28" fmla="*/ 305952 h 1413227"/>
                <a:gd name="connsiteX29" fmla="*/ 688438 w 2052804"/>
                <a:gd name="connsiteY29" fmla="*/ 300766 h 1413227"/>
                <a:gd name="connsiteX30" fmla="*/ 684981 w 2052804"/>
                <a:gd name="connsiteY30" fmla="*/ 285209 h 1413227"/>
                <a:gd name="connsiteX31" fmla="*/ 653867 w 2052804"/>
                <a:gd name="connsiteY31" fmla="*/ 288666 h 1413227"/>
                <a:gd name="connsiteX32" fmla="*/ 650410 w 2052804"/>
                <a:gd name="connsiteY32" fmla="*/ 299038 h 1413227"/>
                <a:gd name="connsiteX33" fmla="*/ 643496 w 2052804"/>
                <a:gd name="connsiteY33" fmla="*/ 314595 h 1413227"/>
                <a:gd name="connsiteX34" fmla="*/ 638310 w 2052804"/>
                <a:gd name="connsiteY34" fmla="*/ 326694 h 1413227"/>
                <a:gd name="connsiteX35" fmla="*/ 633125 w 2052804"/>
                <a:gd name="connsiteY35" fmla="*/ 328423 h 1413227"/>
                <a:gd name="connsiteX36" fmla="*/ 617568 w 2052804"/>
                <a:gd name="connsiteY36" fmla="*/ 323237 h 1413227"/>
                <a:gd name="connsiteX37" fmla="*/ 605468 w 2052804"/>
                <a:gd name="connsiteY37" fmla="*/ 311138 h 1413227"/>
                <a:gd name="connsiteX38" fmla="*/ 576083 w 2052804"/>
                <a:gd name="connsiteY38" fmla="*/ 309409 h 1413227"/>
                <a:gd name="connsiteX39" fmla="*/ 570897 w 2052804"/>
                <a:gd name="connsiteY39" fmla="*/ 295581 h 1413227"/>
                <a:gd name="connsiteX40" fmla="*/ 567440 w 2052804"/>
                <a:gd name="connsiteY40" fmla="*/ 300766 h 1413227"/>
                <a:gd name="connsiteX41" fmla="*/ 562254 w 2052804"/>
                <a:gd name="connsiteY41" fmla="*/ 307680 h 1413227"/>
                <a:gd name="connsiteX42" fmla="*/ 553612 w 2052804"/>
                <a:gd name="connsiteY42" fmla="*/ 321509 h 1413227"/>
                <a:gd name="connsiteX43" fmla="*/ 513855 w 2052804"/>
                <a:gd name="connsiteY43" fmla="*/ 324966 h 1413227"/>
                <a:gd name="connsiteX44" fmla="*/ 519041 w 2052804"/>
                <a:gd name="connsiteY44" fmla="*/ 328423 h 1413227"/>
                <a:gd name="connsiteX45" fmla="*/ 529412 w 2052804"/>
                <a:gd name="connsiteY45" fmla="*/ 331880 h 1413227"/>
                <a:gd name="connsiteX46" fmla="*/ 527683 w 2052804"/>
                <a:gd name="connsiteY46" fmla="*/ 337066 h 1413227"/>
                <a:gd name="connsiteX47" fmla="*/ 520769 w 2052804"/>
                <a:gd name="connsiteY47" fmla="*/ 343980 h 1413227"/>
                <a:gd name="connsiteX48" fmla="*/ 515584 w 2052804"/>
                <a:gd name="connsiteY48" fmla="*/ 323237 h 1413227"/>
                <a:gd name="connsiteX49" fmla="*/ 487927 w 2052804"/>
                <a:gd name="connsiteY49" fmla="*/ 333609 h 1413227"/>
                <a:gd name="connsiteX50" fmla="*/ 482741 w 2052804"/>
                <a:gd name="connsiteY50" fmla="*/ 338794 h 1413227"/>
                <a:gd name="connsiteX51" fmla="*/ 470641 w 2052804"/>
                <a:gd name="connsiteY51" fmla="*/ 337066 h 1413227"/>
                <a:gd name="connsiteX52" fmla="*/ 467184 w 2052804"/>
                <a:gd name="connsiteY52" fmla="*/ 324966 h 1413227"/>
                <a:gd name="connsiteX53" fmla="*/ 458542 w 2052804"/>
                <a:gd name="connsiteY53" fmla="*/ 312866 h 1413227"/>
                <a:gd name="connsiteX54" fmla="*/ 453356 w 2052804"/>
                <a:gd name="connsiteY54" fmla="*/ 311138 h 1413227"/>
                <a:gd name="connsiteX55" fmla="*/ 429156 w 2052804"/>
                <a:gd name="connsiteY55" fmla="*/ 314595 h 1413227"/>
                <a:gd name="connsiteX56" fmla="*/ 277044 w 2052804"/>
                <a:gd name="connsiteY56" fmla="*/ 316323 h 1413227"/>
                <a:gd name="connsiteX57" fmla="*/ 266673 w 2052804"/>
                <a:gd name="connsiteY57" fmla="*/ 323237 h 1413227"/>
                <a:gd name="connsiteX58" fmla="*/ 259759 w 2052804"/>
                <a:gd name="connsiteY58" fmla="*/ 324966 h 1413227"/>
                <a:gd name="connsiteX59" fmla="*/ 254573 w 2052804"/>
                <a:gd name="connsiteY59" fmla="*/ 326694 h 1413227"/>
                <a:gd name="connsiteX60" fmla="*/ 242474 w 2052804"/>
                <a:gd name="connsiteY60" fmla="*/ 330152 h 1413227"/>
                <a:gd name="connsiteX61" fmla="*/ 204446 w 2052804"/>
                <a:gd name="connsiteY61" fmla="*/ 333609 h 1413227"/>
                <a:gd name="connsiteX62" fmla="*/ 192346 w 2052804"/>
                <a:gd name="connsiteY62" fmla="*/ 338794 h 1413227"/>
                <a:gd name="connsiteX63" fmla="*/ 180246 w 2052804"/>
                <a:gd name="connsiteY63" fmla="*/ 342251 h 1413227"/>
                <a:gd name="connsiteX64" fmla="*/ 150861 w 2052804"/>
                <a:gd name="connsiteY64" fmla="*/ 356080 h 1413227"/>
                <a:gd name="connsiteX65" fmla="*/ 142218 w 2052804"/>
                <a:gd name="connsiteY65" fmla="*/ 357808 h 1413227"/>
                <a:gd name="connsiteX66" fmla="*/ 140489 w 2052804"/>
                <a:gd name="connsiteY66" fmla="*/ 364722 h 1413227"/>
                <a:gd name="connsiteX67" fmla="*/ 138761 w 2052804"/>
                <a:gd name="connsiteY67" fmla="*/ 380279 h 1413227"/>
                <a:gd name="connsiteX68" fmla="*/ 131847 w 2052804"/>
                <a:gd name="connsiteY68" fmla="*/ 387193 h 1413227"/>
                <a:gd name="connsiteX69" fmla="*/ 130118 w 2052804"/>
                <a:gd name="connsiteY69" fmla="*/ 394108 h 1413227"/>
                <a:gd name="connsiteX70" fmla="*/ 128390 w 2052804"/>
                <a:gd name="connsiteY70" fmla="*/ 402750 h 1413227"/>
                <a:gd name="connsiteX71" fmla="*/ 121475 w 2052804"/>
                <a:gd name="connsiteY71" fmla="*/ 407936 h 1413227"/>
                <a:gd name="connsiteX72" fmla="*/ 109376 w 2052804"/>
                <a:gd name="connsiteY72" fmla="*/ 411393 h 1413227"/>
                <a:gd name="connsiteX73" fmla="*/ 104190 w 2052804"/>
                <a:gd name="connsiteY73" fmla="*/ 413122 h 1413227"/>
                <a:gd name="connsiteX74" fmla="*/ 74805 w 2052804"/>
                <a:gd name="connsiteY74" fmla="*/ 421764 h 1413227"/>
                <a:gd name="connsiteX75" fmla="*/ 71348 w 2052804"/>
                <a:gd name="connsiteY75" fmla="*/ 428679 h 1413227"/>
                <a:gd name="connsiteX76" fmla="*/ 73076 w 2052804"/>
                <a:gd name="connsiteY76" fmla="*/ 440778 h 1413227"/>
                <a:gd name="connsiteX77" fmla="*/ 69619 w 2052804"/>
                <a:gd name="connsiteY77" fmla="*/ 445964 h 1413227"/>
                <a:gd name="connsiteX78" fmla="*/ 67891 w 2052804"/>
                <a:gd name="connsiteY78" fmla="*/ 452878 h 1413227"/>
                <a:gd name="connsiteX79" fmla="*/ 73076 w 2052804"/>
                <a:gd name="connsiteY79" fmla="*/ 456335 h 1413227"/>
                <a:gd name="connsiteX80" fmla="*/ 78262 w 2052804"/>
                <a:gd name="connsiteY80" fmla="*/ 458064 h 1413227"/>
                <a:gd name="connsiteX81" fmla="*/ 88633 w 2052804"/>
                <a:gd name="connsiteY81" fmla="*/ 466707 h 1413227"/>
                <a:gd name="connsiteX82" fmla="*/ 85176 w 2052804"/>
                <a:gd name="connsiteY82" fmla="*/ 473621 h 1413227"/>
                <a:gd name="connsiteX83" fmla="*/ 81719 w 2052804"/>
                <a:gd name="connsiteY83" fmla="*/ 478806 h 1413227"/>
                <a:gd name="connsiteX84" fmla="*/ 83447 w 2052804"/>
                <a:gd name="connsiteY84" fmla="*/ 485721 h 1413227"/>
                <a:gd name="connsiteX85" fmla="*/ 76533 w 2052804"/>
                <a:gd name="connsiteY85" fmla="*/ 489178 h 1413227"/>
                <a:gd name="connsiteX86" fmla="*/ 67891 w 2052804"/>
                <a:gd name="connsiteY86" fmla="*/ 487449 h 1413227"/>
                <a:gd name="connsiteX87" fmla="*/ 79990 w 2052804"/>
                <a:gd name="connsiteY87" fmla="*/ 485721 h 1413227"/>
                <a:gd name="connsiteX88" fmla="*/ 90362 w 2052804"/>
                <a:gd name="connsiteY88" fmla="*/ 483992 h 1413227"/>
                <a:gd name="connsiteX89" fmla="*/ 88633 w 2052804"/>
                <a:gd name="connsiteY89" fmla="*/ 494363 h 1413227"/>
                <a:gd name="connsiteX90" fmla="*/ 90362 w 2052804"/>
                <a:gd name="connsiteY90" fmla="*/ 501277 h 1413227"/>
                <a:gd name="connsiteX91" fmla="*/ 100733 w 2052804"/>
                <a:gd name="connsiteY91" fmla="*/ 515106 h 1413227"/>
                <a:gd name="connsiteX92" fmla="*/ 105919 w 2052804"/>
                <a:gd name="connsiteY92" fmla="*/ 516834 h 1413227"/>
                <a:gd name="connsiteX93" fmla="*/ 118018 w 2052804"/>
                <a:gd name="connsiteY93" fmla="*/ 520291 h 1413227"/>
                <a:gd name="connsiteX94" fmla="*/ 106535 w 2052804"/>
                <a:gd name="connsiteY94" fmla="*/ 523095 h 1413227"/>
                <a:gd name="connsiteX95" fmla="*/ 110838 w 2052804"/>
                <a:gd name="connsiteY95" fmla="*/ 535847 h 1413227"/>
                <a:gd name="connsiteX96" fmla="*/ 128583 w 2052804"/>
                <a:gd name="connsiteY96" fmla="*/ 554668 h 1413227"/>
                <a:gd name="connsiteX97" fmla="*/ 138761 w 2052804"/>
                <a:gd name="connsiteY97" fmla="*/ 572148 h 1413227"/>
                <a:gd name="connsiteX98" fmla="*/ 143946 w 2052804"/>
                <a:gd name="connsiteY98" fmla="*/ 573876 h 1413227"/>
                <a:gd name="connsiteX99" fmla="*/ 147404 w 2052804"/>
                <a:gd name="connsiteY99" fmla="*/ 577333 h 1413227"/>
                <a:gd name="connsiteX100" fmla="*/ 150861 w 2052804"/>
                <a:gd name="connsiteY100" fmla="*/ 589433 h 1413227"/>
                <a:gd name="connsiteX101" fmla="*/ 154318 w 2052804"/>
                <a:gd name="connsiteY101" fmla="*/ 598076 h 1413227"/>
                <a:gd name="connsiteX102" fmla="*/ 152589 w 2052804"/>
                <a:gd name="connsiteY102" fmla="*/ 617090 h 1413227"/>
                <a:gd name="connsiteX103" fmla="*/ 150861 w 2052804"/>
                <a:gd name="connsiteY103" fmla="*/ 622276 h 1413227"/>
                <a:gd name="connsiteX104" fmla="*/ 145675 w 2052804"/>
                <a:gd name="connsiteY104" fmla="*/ 627461 h 1413227"/>
                <a:gd name="connsiteX105" fmla="*/ 140489 w 2052804"/>
                <a:gd name="connsiteY105" fmla="*/ 634375 h 1413227"/>
                <a:gd name="connsiteX106" fmla="*/ 124933 w 2052804"/>
                <a:gd name="connsiteY106" fmla="*/ 639561 h 1413227"/>
                <a:gd name="connsiteX107" fmla="*/ 99004 w 2052804"/>
                <a:gd name="connsiteY107" fmla="*/ 665489 h 1413227"/>
                <a:gd name="connsiteX108" fmla="*/ 93819 w 2052804"/>
                <a:gd name="connsiteY108" fmla="*/ 670675 h 1413227"/>
                <a:gd name="connsiteX109" fmla="*/ 90362 w 2052804"/>
                <a:gd name="connsiteY109" fmla="*/ 675860 h 1413227"/>
                <a:gd name="connsiteX110" fmla="*/ 85176 w 2052804"/>
                <a:gd name="connsiteY110" fmla="*/ 677589 h 1413227"/>
                <a:gd name="connsiteX111" fmla="*/ 81719 w 2052804"/>
                <a:gd name="connsiteY111" fmla="*/ 682775 h 1413227"/>
                <a:gd name="connsiteX112" fmla="*/ 67891 w 2052804"/>
                <a:gd name="connsiteY112" fmla="*/ 689689 h 1413227"/>
                <a:gd name="connsiteX113" fmla="*/ 64433 w 2052804"/>
                <a:gd name="connsiteY113" fmla="*/ 706974 h 1413227"/>
                <a:gd name="connsiteX114" fmla="*/ 54062 w 2052804"/>
                <a:gd name="connsiteY114" fmla="*/ 720803 h 1413227"/>
                <a:gd name="connsiteX115" fmla="*/ 52334 w 2052804"/>
                <a:gd name="connsiteY115" fmla="*/ 725988 h 1413227"/>
                <a:gd name="connsiteX116" fmla="*/ 50605 w 2052804"/>
                <a:gd name="connsiteY116" fmla="*/ 732902 h 1413227"/>
                <a:gd name="connsiteX117" fmla="*/ 29863 w 2052804"/>
                <a:gd name="connsiteY117" fmla="*/ 751916 h 1413227"/>
                <a:gd name="connsiteX118" fmla="*/ 22948 w 2052804"/>
                <a:gd name="connsiteY118" fmla="*/ 776116 h 1413227"/>
                <a:gd name="connsiteX119" fmla="*/ 16034 w 2052804"/>
                <a:gd name="connsiteY119" fmla="*/ 789944 h 1413227"/>
                <a:gd name="connsiteX120" fmla="*/ 21220 w 2052804"/>
                <a:gd name="connsiteY120" fmla="*/ 822787 h 1413227"/>
                <a:gd name="connsiteX121" fmla="*/ 29863 w 2052804"/>
                <a:gd name="connsiteY121" fmla="*/ 829701 h 1413227"/>
                <a:gd name="connsiteX122" fmla="*/ 33320 w 2052804"/>
                <a:gd name="connsiteY122" fmla="*/ 838344 h 1413227"/>
                <a:gd name="connsiteX123" fmla="*/ 40234 w 2052804"/>
                <a:gd name="connsiteY123" fmla="*/ 843529 h 1413227"/>
                <a:gd name="connsiteX124" fmla="*/ 41962 w 2052804"/>
                <a:gd name="connsiteY124" fmla="*/ 852172 h 1413227"/>
                <a:gd name="connsiteX125" fmla="*/ 47148 w 2052804"/>
                <a:gd name="connsiteY125" fmla="*/ 864272 h 1413227"/>
                <a:gd name="connsiteX126" fmla="*/ 48877 w 2052804"/>
                <a:gd name="connsiteY126" fmla="*/ 874643 h 1413227"/>
                <a:gd name="connsiteX127" fmla="*/ 55791 w 2052804"/>
                <a:gd name="connsiteY127" fmla="*/ 876372 h 1413227"/>
                <a:gd name="connsiteX128" fmla="*/ 57519 w 2052804"/>
                <a:gd name="connsiteY128" fmla="*/ 883286 h 1413227"/>
                <a:gd name="connsiteX129" fmla="*/ 62705 w 2052804"/>
                <a:gd name="connsiteY129" fmla="*/ 886743 h 1413227"/>
                <a:gd name="connsiteX130" fmla="*/ 55791 w 2052804"/>
                <a:gd name="connsiteY130" fmla="*/ 898843 h 1413227"/>
                <a:gd name="connsiteX131" fmla="*/ 47148 w 2052804"/>
                <a:gd name="connsiteY131" fmla="*/ 904028 h 1413227"/>
                <a:gd name="connsiteX132" fmla="*/ 33320 w 2052804"/>
                <a:gd name="connsiteY132" fmla="*/ 909214 h 1413227"/>
                <a:gd name="connsiteX133" fmla="*/ 31591 w 2052804"/>
                <a:gd name="connsiteY133" fmla="*/ 919585 h 1413227"/>
                <a:gd name="connsiteX134" fmla="*/ 15575 w 2052804"/>
                <a:gd name="connsiteY134" fmla="*/ 916974 h 1413227"/>
                <a:gd name="connsiteX135" fmla="*/ 22948 w 2052804"/>
                <a:gd name="connsiteY135" fmla="*/ 955885 h 1413227"/>
                <a:gd name="connsiteX136" fmla="*/ 19 w 2052804"/>
                <a:gd name="connsiteY136" fmla="*/ 960188 h 1413227"/>
                <a:gd name="connsiteX137" fmla="*/ 12577 w 2052804"/>
                <a:gd name="connsiteY137" fmla="*/ 990455 h 1413227"/>
                <a:gd name="connsiteX138" fmla="*/ 3934 w 2052804"/>
                <a:gd name="connsiteY138" fmla="*/ 999098 h 1413227"/>
                <a:gd name="connsiteX139" fmla="*/ 10849 w 2052804"/>
                <a:gd name="connsiteY139" fmla="*/ 1023298 h 1413227"/>
                <a:gd name="connsiteX140" fmla="*/ 19491 w 2052804"/>
                <a:gd name="connsiteY140" fmla="*/ 1025026 h 1413227"/>
                <a:gd name="connsiteX141" fmla="*/ 26405 w 2052804"/>
                <a:gd name="connsiteY141" fmla="*/ 1030212 h 1413227"/>
                <a:gd name="connsiteX142" fmla="*/ 31591 w 2052804"/>
                <a:gd name="connsiteY142" fmla="*/ 1031941 h 1413227"/>
                <a:gd name="connsiteX143" fmla="*/ 38505 w 2052804"/>
                <a:gd name="connsiteY143" fmla="*/ 1035398 h 1413227"/>
                <a:gd name="connsiteX144" fmla="*/ 43691 w 2052804"/>
                <a:gd name="connsiteY144" fmla="*/ 1042312 h 1413227"/>
                <a:gd name="connsiteX145" fmla="*/ 47148 w 2052804"/>
                <a:gd name="connsiteY145" fmla="*/ 1047497 h 1413227"/>
                <a:gd name="connsiteX146" fmla="*/ 57519 w 2052804"/>
                <a:gd name="connsiteY146" fmla="*/ 1052683 h 1413227"/>
                <a:gd name="connsiteX147" fmla="*/ 99004 w 2052804"/>
                <a:gd name="connsiteY147" fmla="*/ 1061326 h 1413227"/>
                <a:gd name="connsiteX148" fmla="*/ 100733 w 2052804"/>
                <a:gd name="connsiteY148" fmla="*/ 1073426 h 1413227"/>
                <a:gd name="connsiteX149" fmla="*/ 105919 w 2052804"/>
                <a:gd name="connsiteY149" fmla="*/ 1075154 h 1413227"/>
                <a:gd name="connsiteX150" fmla="*/ 116290 w 2052804"/>
                <a:gd name="connsiteY150" fmla="*/ 1066511 h 1413227"/>
                <a:gd name="connsiteX151" fmla="*/ 123204 w 2052804"/>
                <a:gd name="connsiteY151" fmla="*/ 1059597 h 1413227"/>
                <a:gd name="connsiteX152" fmla="*/ 124933 w 2052804"/>
                <a:gd name="connsiteY152" fmla="*/ 1054412 h 1413227"/>
                <a:gd name="connsiteX153" fmla="*/ 138761 w 2052804"/>
                <a:gd name="connsiteY153" fmla="*/ 1061326 h 1413227"/>
                <a:gd name="connsiteX154" fmla="*/ 145675 w 2052804"/>
                <a:gd name="connsiteY154" fmla="*/ 1063054 h 1413227"/>
                <a:gd name="connsiteX155" fmla="*/ 150861 w 2052804"/>
                <a:gd name="connsiteY155" fmla="*/ 1064783 h 1413227"/>
                <a:gd name="connsiteX156" fmla="*/ 251116 w 2052804"/>
                <a:gd name="connsiteY156" fmla="*/ 1068240 h 1413227"/>
                <a:gd name="connsiteX157" fmla="*/ 270130 w 2052804"/>
                <a:gd name="connsiteY157" fmla="*/ 1064783 h 1413227"/>
                <a:gd name="connsiteX158" fmla="*/ 280502 w 2052804"/>
                <a:gd name="connsiteY158" fmla="*/ 1059597 h 1413227"/>
                <a:gd name="connsiteX159" fmla="*/ 289144 w 2052804"/>
                <a:gd name="connsiteY159" fmla="*/ 1049226 h 1413227"/>
                <a:gd name="connsiteX160" fmla="*/ 299515 w 2052804"/>
                <a:gd name="connsiteY160" fmla="*/ 1052683 h 1413227"/>
                <a:gd name="connsiteX161" fmla="*/ 302973 w 2052804"/>
                <a:gd name="connsiteY161" fmla="*/ 1059597 h 1413227"/>
                <a:gd name="connsiteX162" fmla="*/ 316801 w 2052804"/>
                <a:gd name="connsiteY162" fmla="*/ 1071697 h 1413227"/>
                <a:gd name="connsiteX163" fmla="*/ 342729 w 2052804"/>
                <a:gd name="connsiteY163" fmla="*/ 1078611 h 1413227"/>
                <a:gd name="connsiteX164" fmla="*/ 365200 w 2052804"/>
                <a:gd name="connsiteY164" fmla="*/ 1075154 h 1413227"/>
                <a:gd name="connsiteX165" fmla="*/ 366929 w 2052804"/>
                <a:gd name="connsiteY165" fmla="*/ 1068240 h 1413227"/>
                <a:gd name="connsiteX166" fmla="*/ 377300 w 2052804"/>
                <a:gd name="connsiteY166" fmla="*/ 1050955 h 1413227"/>
                <a:gd name="connsiteX167" fmla="*/ 382486 w 2052804"/>
                <a:gd name="connsiteY167" fmla="*/ 1045769 h 1413227"/>
                <a:gd name="connsiteX168" fmla="*/ 401500 w 2052804"/>
                <a:gd name="connsiteY168" fmla="*/ 1038855 h 1413227"/>
                <a:gd name="connsiteX169" fmla="*/ 436071 w 2052804"/>
                <a:gd name="connsiteY169" fmla="*/ 1035398 h 1413227"/>
                <a:gd name="connsiteX170" fmla="*/ 448170 w 2052804"/>
                <a:gd name="connsiteY170" fmla="*/ 1031941 h 1413227"/>
                <a:gd name="connsiteX171" fmla="*/ 451627 w 2052804"/>
                <a:gd name="connsiteY171" fmla="*/ 1025026 h 1413227"/>
                <a:gd name="connsiteX172" fmla="*/ 456813 w 2052804"/>
                <a:gd name="connsiteY172" fmla="*/ 1021569 h 1413227"/>
                <a:gd name="connsiteX173" fmla="*/ 472370 w 2052804"/>
                <a:gd name="connsiteY173" fmla="*/ 1011198 h 1413227"/>
                <a:gd name="connsiteX174" fmla="*/ 477556 w 2052804"/>
                <a:gd name="connsiteY174" fmla="*/ 999098 h 1413227"/>
                <a:gd name="connsiteX175" fmla="*/ 482741 w 2052804"/>
                <a:gd name="connsiteY175" fmla="*/ 986998 h 1413227"/>
                <a:gd name="connsiteX176" fmla="*/ 489655 w 2052804"/>
                <a:gd name="connsiteY176" fmla="*/ 980084 h 1413227"/>
                <a:gd name="connsiteX177" fmla="*/ 493112 w 2052804"/>
                <a:gd name="connsiteY177" fmla="*/ 974899 h 1413227"/>
                <a:gd name="connsiteX178" fmla="*/ 515584 w 2052804"/>
                <a:gd name="connsiteY178" fmla="*/ 955885 h 1413227"/>
                <a:gd name="connsiteX179" fmla="*/ 534598 w 2052804"/>
                <a:gd name="connsiteY179" fmla="*/ 947242 h 1413227"/>
                <a:gd name="connsiteX180" fmla="*/ 541512 w 2052804"/>
                <a:gd name="connsiteY180" fmla="*/ 933414 h 1413227"/>
                <a:gd name="connsiteX181" fmla="*/ 543240 w 2052804"/>
                <a:gd name="connsiteY181" fmla="*/ 928228 h 1413227"/>
                <a:gd name="connsiteX182" fmla="*/ 544969 w 2052804"/>
                <a:gd name="connsiteY182" fmla="*/ 921314 h 1413227"/>
                <a:gd name="connsiteX183" fmla="*/ 567440 w 2052804"/>
                <a:gd name="connsiteY183" fmla="*/ 917857 h 1413227"/>
                <a:gd name="connsiteX184" fmla="*/ 572626 w 2052804"/>
                <a:gd name="connsiteY184" fmla="*/ 916128 h 1413227"/>
                <a:gd name="connsiteX185" fmla="*/ 588182 w 2052804"/>
                <a:gd name="connsiteY185" fmla="*/ 914400 h 1413227"/>
                <a:gd name="connsiteX186" fmla="*/ 593368 w 2052804"/>
                <a:gd name="connsiteY186" fmla="*/ 910942 h 1413227"/>
                <a:gd name="connsiteX187" fmla="*/ 603739 w 2052804"/>
                <a:gd name="connsiteY187" fmla="*/ 905757 h 1413227"/>
                <a:gd name="connsiteX188" fmla="*/ 608925 w 2052804"/>
                <a:gd name="connsiteY188" fmla="*/ 900571 h 1413227"/>
                <a:gd name="connsiteX189" fmla="*/ 610653 w 2052804"/>
                <a:gd name="connsiteY189" fmla="*/ 895386 h 1413227"/>
                <a:gd name="connsiteX190" fmla="*/ 619296 w 2052804"/>
                <a:gd name="connsiteY190" fmla="*/ 891928 h 1413227"/>
                <a:gd name="connsiteX191" fmla="*/ 624482 w 2052804"/>
                <a:gd name="connsiteY191" fmla="*/ 886743 h 1413227"/>
                <a:gd name="connsiteX192" fmla="*/ 643496 w 2052804"/>
                <a:gd name="connsiteY192" fmla="*/ 879829 h 1413227"/>
                <a:gd name="connsiteX193" fmla="*/ 657324 w 2052804"/>
                <a:gd name="connsiteY193" fmla="*/ 883286 h 1413227"/>
                <a:gd name="connsiteX194" fmla="*/ 664238 w 2052804"/>
                <a:gd name="connsiteY194" fmla="*/ 885014 h 1413227"/>
                <a:gd name="connsiteX195" fmla="*/ 672881 w 2052804"/>
                <a:gd name="connsiteY195" fmla="*/ 886743 h 1413227"/>
                <a:gd name="connsiteX196" fmla="*/ 679795 w 2052804"/>
                <a:gd name="connsiteY196" fmla="*/ 890200 h 1413227"/>
                <a:gd name="connsiteX197" fmla="*/ 686709 w 2052804"/>
                <a:gd name="connsiteY197" fmla="*/ 891928 h 1413227"/>
                <a:gd name="connsiteX198" fmla="*/ 691895 w 2052804"/>
                <a:gd name="connsiteY198" fmla="*/ 895386 h 1413227"/>
                <a:gd name="connsiteX199" fmla="*/ 703995 w 2052804"/>
                <a:gd name="connsiteY199" fmla="*/ 898843 h 1413227"/>
                <a:gd name="connsiteX200" fmla="*/ 710909 w 2052804"/>
                <a:gd name="connsiteY200" fmla="*/ 904028 h 1413227"/>
                <a:gd name="connsiteX201" fmla="*/ 724737 w 2052804"/>
                <a:gd name="connsiteY201" fmla="*/ 907485 h 1413227"/>
                <a:gd name="connsiteX202" fmla="*/ 731652 w 2052804"/>
                <a:gd name="connsiteY202" fmla="*/ 905757 h 1413227"/>
                <a:gd name="connsiteX203" fmla="*/ 740294 w 2052804"/>
                <a:gd name="connsiteY203" fmla="*/ 904028 h 1413227"/>
                <a:gd name="connsiteX204" fmla="*/ 742023 w 2052804"/>
                <a:gd name="connsiteY204" fmla="*/ 910942 h 1413227"/>
                <a:gd name="connsiteX205" fmla="*/ 764494 w 2052804"/>
                <a:gd name="connsiteY205" fmla="*/ 904028 h 1413227"/>
                <a:gd name="connsiteX206" fmla="*/ 774865 w 2052804"/>
                <a:gd name="connsiteY206" fmla="*/ 895386 h 1413227"/>
                <a:gd name="connsiteX207" fmla="*/ 780051 w 2052804"/>
                <a:gd name="connsiteY207" fmla="*/ 909214 h 1413227"/>
                <a:gd name="connsiteX208" fmla="*/ 786965 w 2052804"/>
                <a:gd name="connsiteY208" fmla="*/ 914400 h 1413227"/>
                <a:gd name="connsiteX209" fmla="*/ 792151 w 2052804"/>
                <a:gd name="connsiteY209" fmla="*/ 919585 h 1413227"/>
                <a:gd name="connsiteX210" fmla="*/ 797336 w 2052804"/>
                <a:gd name="connsiteY210" fmla="*/ 923042 h 1413227"/>
                <a:gd name="connsiteX211" fmla="*/ 802522 w 2052804"/>
                <a:gd name="connsiteY211" fmla="*/ 928228 h 1413227"/>
                <a:gd name="connsiteX212" fmla="*/ 819807 w 2052804"/>
                <a:gd name="connsiteY212" fmla="*/ 935142 h 1413227"/>
                <a:gd name="connsiteX213" fmla="*/ 824993 w 2052804"/>
                <a:gd name="connsiteY213" fmla="*/ 926499 h 1413227"/>
                <a:gd name="connsiteX214" fmla="*/ 828450 w 2052804"/>
                <a:gd name="connsiteY214" fmla="*/ 910942 h 1413227"/>
                <a:gd name="connsiteX215" fmla="*/ 837093 w 2052804"/>
                <a:gd name="connsiteY215" fmla="*/ 912671 h 1413227"/>
                <a:gd name="connsiteX216" fmla="*/ 842278 w 2052804"/>
                <a:gd name="connsiteY216" fmla="*/ 926499 h 1413227"/>
                <a:gd name="connsiteX217" fmla="*/ 845736 w 2052804"/>
                <a:gd name="connsiteY217" fmla="*/ 929956 h 1413227"/>
                <a:gd name="connsiteX218" fmla="*/ 854378 w 2052804"/>
                <a:gd name="connsiteY218" fmla="*/ 948970 h 1413227"/>
                <a:gd name="connsiteX219" fmla="*/ 857835 w 2052804"/>
                <a:gd name="connsiteY219" fmla="*/ 954156 h 1413227"/>
                <a:gd name="connsiteX220" fmla="*/ 863021 w 2052804"/>
                <a:gd name="connsiteY220" fmla="*/ 988727 h 1413227"/>
                <a:gd name="connsiteX221" fmla="*/ 868207 w 2052804"/>
                <a:gd name="connsiteY221" fmla="*/ 1009469 h 1413227"/>
                <a:gd name="connsiteX222" fmla="*/ 882035 w 2052804"/>
                <a:gd name="connsiteY222" fmla="*/ 1012927 h 1413227"/>
                <a:gd name="connsiteX223" fmla="*/ 888949 w 2052804"/>
                <a:gd name="connsiteY223" fmla="*/ 1016384 h 1413227"/>
                <a:gd name="connsiteX224" fmla="*/ 892406 w 2052804"/>
                <a:gd name="connsiteY224" fmla="*/ 1021569 h 1413227"/>
                <a:gd name="connsiteX225" fmla="*/ 904506 w 2052804"/>
                <a:gd name="connsiteY225" fmla="*/ 1026755 h 1413227"/>
                <a:gd name="connsiteX226" fmla="*/ 909692 w 2052804"/>
                <a:gd name="connsiteY226" fmla="*/ 1033669 h 1413227"/>
                <a:gd name="connsiteX227" fmla="*/ 913149 w 2052804"/>
                <a:gd name="connsiteY227" fmla="*/ 1040583 h 1413227"/>
                <a:gd name="connsiteX228" fmla="*/ 916606 w 2052804"/>
                <a:gd name="connsiteY228" fmla="*/ 1045769 h 1413227"/>
                <a:gd name="connsiteX229" fmla="*/ 925249 w 2052804"/>
                <a:gd name="connsiteY229" fmla="*/ 1061326 h 1413227"/>
                <a:gd name="connsiteX230" fmla="*/ 932163 w 2052804"/>
                <a:gd name="connsiteY230" fmla="*/ 1082068 h 1413227"/>
                <a:gd name="connsiteX231" fmla="*/ 933891 w 2052804"/>
                <a:gd name="connsiteY231" fmla="*/ 1088983 h 1413227"/>
                <a:gd name="connsiteX232" fmla="*/ 944263 w 2052804"/>
                <a:gd name="connsiteY232" fmla="*/ 1095897 h 1413227"/>
                <a:gd name="connsiteX233" fmla="*/ 963277 w 2052804"/>
                <a:gd name="connsiteY233" fmla="*/ 1097625 h 1413227"/>
                <a:gd name="connsiteX234" fmla="*/ 971919 w 2052804"/>
                <a:gd name="connsiteY234" fmla="*/ 1101082 h 1413227"/>
                <a:gd name="connsiteX235" fmla="*/ 977105 w 2052804"/>
                <a:gd name="connsiteY235" fmla="*/ 1106268 h 1413227"/>
                <a:gd name="connsiteX236" fmla="*/ 982291 w 2052804"/>
                <a:gd name="connsiteY236" fmla="*/ 1109725 h 1413227"/>
                <a:gd name="connsiteX237" fmla="*/ 987476 w 2052804"/>
                <a:gd name="connsiteY237" fmla="*/ 1118368 h 1413227"/>
                <a:gd name="connsiteX238" fmla="*/ 989205 w 2052804"/>
                <a:gd name="connsiteY238" fmla="*/ 1132196 h 1413227"/>
                <a:gd name="connsiteX239" fmla="*/ 996119 w 2052804"/>
                <a:gd name="connsiteY239" fmla="*/ 1139110 h 1413227"/>
                <a:gd name="connsiteX240" fmla="*/ 1009947 w 2052804"/>
                <a:gd name="connsiteY240" fmla="*/ 1147753 h 1413227"/>
                <a:gd name="connsiteX241" fmla="*/ 1023776 w 2052804"/>
                <a:gd name="connsiteY241" fmla="*/ 1165038 h 1413227"/>
                <a:gd name="connsiteX242" fmla="*/ 1016861 w 2052804"/>
                <a:gd name="connsiteY242" fmla="*/ 1168496 h 1413227"/>
                <a:gd name="connsiteX243" fmla="*/ 1013404 w 2052804"/>
                <a:gd name="connsiteY243" fmla="*/ 1173681 h 1413227"/>
                <a:gd name="connsiteX244" fmla="*/ 1001305 w 2052804"/>
                <a:gd name="connsiteY244" fmla="*/ 1177138 h 1413227"/>
                <a:gd name="connsiteX245" fmla="*/ 994390 w 2052804"/>
                <a:gd name="connsiteY245" fmla="*/ 1182324 h 1413227"/>
                <a:gd name="connsiteX246" fmla="*/ 977105 w 2052804"/>
                <a:gd name="connsiteY246" fmla="*/ 1182324 h 1413227"/>
                <a:gd name="connsiteX247" fmla="*/ 975376 w 2052804"/>
                <a:gd name="connsiteY247" fmla="*/ 1161581 h 1413227"/>
                <a:gd name="connsiteX248" fmla="*/ 966734 w 2052804"/>
                <a:gd name="connsiteY248" fmla="*/ 1171953 h 1413227"/>
                <a:gd name="connsiteX249" fmla="*/ 963277 w 2052804"/>
                <a:gd name="connsiteY249" fmla="*/ 1178867 h 1413227"/>
                <a:gd name="connsiteX250" fmla="*/ 959819 w 2052804"/>
                <a:gd name="connsiteY250" fmla="*/ 1184052 h 1413227"/>
                <a:gd name="connsiteX251" fmla="*/ 951177 w 2052804"/>
                <a:gd name="connsiteY251" fmla="*/ 1187510 h 1413227"/>
                <a:gd name="connsiteX252" fmla="*/ 944263 w 2052804"/>
                <a:gd name="connsiteY252" fmla="*/ 1190967 h 1413227"/>
                <a:gd name="connsiteX253" fmla="*/ 939077 w 2052804"/>
                <a:gd name="connsiteY253" fmla="*/ 1189238 h 1413227"/>
                <a:gd name="connsiteX254" fmla="*/ 933891 w 2052804"/>
                <a:gd name="connsiteY254" fmla="*/ 1171953 h 1413227"/>
                <a:gd name="connsiteX255" fmla="*/ 930434 w 2052804"/>
                <a:gd name="connsiteY255" fmla="*/ 1165038 h 1413227"/>
                <a:gd name="connsiteX256" fmla="*/ 925249 w 2052804"/>
                <a:gd name="connsiteY256" fmla="*/ 1178867 h 1413227"/>
                <a:gd name="connsiteX257" fmla="*/ 921791 w 2052804"/>
                <a:gd name="connsiteY257" fmla="*/ 1182324 h 1413227"/>
                <a:gd name="connsiteX258" fmla="*/ 918334 w 2052804"/>
                <a:gd name="connsiteY258" fmla="*/ 1194424 h 1413227"/>
                <a:gd name="connsiteX259" fmla="*/ 913149 w 2052804"/>
                <a:gd name="connsiteY259" fmla="*/ 1199609 h 1413227"/>
                <a:gd name="connsiteX260" fmla="*/ 890678 w 2052804"/>
                <a:gd name="connsiteY260" fmla="*/ 1180595 h 1413227"/>
                <a:gd name="connsiteX261" fmla="*/ 887221 w 2052804"/>
                <a:gd name="connsiteY261" fmla="*/ 1189238 h 1413227"/>
                <a:gd name="connsiteX262" fmla="*/ 883764 w 2052804"/>
                <a:gd name="connsiteY262" fmla="*/ 1194424 h 1413227"/>
                <a:gd name="connsiteX263" fmla="*/ 878578 w 2052804"/>
                <a:gd name="connsiteY263" fmla="*/ 1204795 h 1413227"/>
                <a:gd name="connsiteX264" fmla="*/ 883764 w 2052804"/>
                <a:gd name="connsiteY264" fmla="*/ 1211709 h 1413227"/>
                <a:gd name="connsiteX265" fmla="*/ 894135 w 2052804"/>
                <a:gd name="connsiteY265" fmla="*/ 1215166 h 1413227"/>
                <a:gd name="connsiteX266" fmla="*/ 897592 w 2052804"/>
                <a:gd name="connsiteY266" fmla="*/ 1235909 h 1413227"/>
                <a:gd name="connsiteX267" fmla="*/ 895863 w 2052804"/>
                <a:gd name="connsiteY267" fmla="*/ 1258380 h 1413227"/>
                <a:gd name="connsiteX268" fmla="*/ 894135 w 2052804"/>
                <a:gd name="connsiteY268" fmla="*/ 1263565 h 1413227"/>
                <a:gd name="connsiteX269" fmla="*/ 882035 w 2052804"/>
                <a:gd name="connsiteY269" fmla="*/ 1275665 h 1413227"/>
                <a:gd name="connsiteX270" fmla="*/ 875121 w 2052804"/>
                <a:gd name="connsiteY270" fmla="*/ 1282579 h 1413227"/>
                <a:gd name="connsiteX271" fmla="*/ 880306 w 2052804"/>
                <a:gd name="connsiteY271" fmla="*/ 1287765 h 1413227"/>
                <a:gd name="connsiteX272" fmla="*/ 878578 w 2052804"/>
                <a:gd name="connsiteY272" fmla="*/ 1306779 h 1413227"/>
                <a:gd name="connsiteX273" fmla="*/ 873392 w 2052804"/>
                <a:gd name="connsiteY273" fmla="*/ 1308508 h 1413227"/>
                <a:gd name="connsiteX274" fmla="*/ 868207 w 2052804"/>
                <a:gd name="connsiteY274" fmla="*/ 1320607 h 1413227"/>
                <a:gd name="connsiteX275" fmla="*/ 862305 w 2052804"/>
                <a:gd name="connsiteY275" fmla="*/ 1338987 h 1413227"/>
                <a:gd name="connsiteX276" fmla="*/ 866478 w 2052804"/>
                <a:gd name="connsiteY276" fmla="*/ 1360364 h 1413227"/>
                <a:gd name="connsiteX277" fmla="*/ 861292 w 2052804"/>
                <a:gd name="connsiteY277" fmla="*/ 1363821 h 1413227"/>
                <a:gd name="connsiteX278" fmla="*/ 856107 w 2052804"/>
                <a:gd name="connsiteY278" fmla="*/ 1365550 h 1413227"/>
                <a:gd name="connsiteX279" fmla="*/ 854378 w 2052804"/>
                <a:gd name="connsiteY279" fmla="*/ 1370735 h 1413227"/>
                <a:gd name="connsiteX280" fmla="*/ 842278 w 2052804"/>
                <a:gd name="connsiteY280" fmla="*/ 1379378 h 1413227"/>
                <a:gd name="connsiteX281" fmla="*/ 845736 w 2052804"/>
                <a:gd name="connsiteY281" fmla="*/ 1389749 h 1413227"/>
                <a:gd name="connsiteX282" fmla="*/ 844431 w 2052804"/>
                <a:gd name="connsiteY282" fmla="*/ 1405535 h 1413227"/>
                <a:gd name="connsiteX283" fmla="*/ 839439 w 2052804"/>
                <a:gd name="connsiteY283" fmla="*/ 1401197 h 1413227"/>
                <a:gd name="connsiteX284" fmla="*/ 858258 w 2052804"/>
                <a:gd name="connsiteY284" fmla="*/ 1410492 h 1413227"/>
                <a:gd name="connsiteX285" fmla="*/ 888949 w 2052804"/>
                <a:gd name="connsiteY285" fmla="*/ 1408763 h 1413227"/>
                <a:gd name="connsiteX286" fmla="*/ 894135 w 2052804"/>
                <a:gd name="connsiteY286" fmla="*/ 1413103 h 1413227"/>
                <a:gd name="connsiteX287" fmla="*/ 925567 w 2052804"/>
                <a:gd name="connsiteY287" fmla="*/ 1403013 h 1413227"/>
                <a:gd name="connsiteX288" fmla="*/ 936361 w 2052804"/>
                <a:gd name="connsiteY288" fmla="*/ 1394371 h 1413227"/>
                <a:gd name="connsiteX289" fmla="*/ 937807 w 2052804"/>
                <a:gd name="connsiteY289" fmla="*/ 1386010 h 1413227"/>
                <a:gd name="connsiteX290" fmla="*/ 947296 w 2052804"/>
                <a:gd name="connsiteY290" fmla="*/ 1367278 h 1413227"/>
                <a:gd name="connsiteX291" fmla="*/ 947720 w 2052804"/>
                <a:gd name="connsiteY291" fmla="*/ 1362093 h 1413227"/>
                <a:gd name="connsiteX292" fmla="*/ 958091 w 2052804"/>
                <a:gd name="connsiteY292" fmla="*/ 1360364 h 1413227"/>
                <a:gd name="connsiteX293" fmla="*/ 997847 w 2052804"/>
                <a:gd name="connsiteY293" fmla="*/ 1356907 h 1413227"/>
                <a:gd name="connsiteX294" fmla="*/ 1001305 w 2052804"/>
                <a:gd name="connsiteY294" fmla="*/ 1349993 h 1413227"/>
                <a:gd name="connsiteX295" fmla="*/ 1013404 w 2052804"/>
                <a:gd name="connsiteY295" fmla="*/ 1344807 h 1413227"/>
                <a:gd name="connsiteX296" fmla="*/ 1001305 w 2052804"/>
                <a:gd name="connsiteY296" fmla="*/ 1334436 h 1413227"/>
                <a:gd name="connsiteX297" fmla="*/ 997847 w 2052804"/>
                <a:gd name="connsiteY297" fmla="*/ 1327522 h 1413227"/>
                <a:gd name="connsiteX298" fmla="*/ 992662 w 2052804"/>
                <a:gd name="connsiteY298" fmla="*/ 1322336 h 1413227"/>
                <a:gd name="connsiteX299" fmla="*/ 989205 w 2052804"/>
                <a:gd name="connsiteY299" fmla="*/ 1310236 h 1413227"/>
                <a:gd name="connsiteX300" fmla="*/ 985748 w 2052804"/>
                <a:gd name="connsiteY300" fmla="*/ 1299865 h 1413227"/>
                <a:gd name="connsiteX301" fmla="*/ 994390 w 2052804"/>
                <a:gd name="connsiteY301" fmla="*/ 1287765 h 1413227"/>
                <a:gd name="connsiteX302" fmla="*/ 996119 w 2052804"/>
                <a:gd name="connsiteY302" fmla="*/ 1292951 h 1413227"/>
                <a:gd name="connsiteX303" fmla="*/ 1018590 w 2052804"/>
                <a:gd name="connsiteY303" fmla="*/ 1299865 h 1413227"/>
                <a:gd name="connsiteX304" fmla="*/ 1020319 w 2052804"/>
                <a:gd name="connsiteY304" fmla="*/ 1294679 h 1413227"/>
                <a:gd name="connsiteX305" fmla="*/ 1022047 w 2052804"/>
                <a:gd name="connsiteY305" fmla="*/ 1284308 h 1413227"/>
                <a:gd name="connsiteX306" fmla="*/ 1035875 w 2052804"/>
                <a:gd name="connsiteY306" fmla="*/ 1270480 h 1413227"/>
                <a:gd name="connsiteX307" fmla="*/ 1041061 w 2052804"/>
                <a:gd name="connsiteY307" fmla="*/ 1265294 h 1413227"/>
                <a:gd name="connsiteX308" fmla="*/ 1042790 w 2052804"/>
                <a:gd name="connsiteY308" fmla="*/ 1260108 h 1413227"/>
                <a:gd name="connsiteX309" fmla="*/ 1058346 w 2052804"/>
                <a:gd name="connsiteY309" fmla="*/ 1251466 h 1413227"/>
                <a:gd name="connsiteX310" fmla="*/ 1066989 w 2052804"/>
                <a:gd name="connsiteY310" fmla="*/ 1242823 h 1413227"/>
                <a:gd name="connsiteX311" fmla="*/ 1072175 w 2052804"/>
                <a:gd name="connsiteY311" fmla="*/ 1223809 h 1413227"/>
                <a:gd name="connsiteX312" fmla="*/ 1073903 w 2052804"/>
                <a:gd name="connsiteY312" fmla="*/ 1215166 h 1413227"/>
                <a:gd name="connsiteX313" fmla="*/ 1079089 w 2052804"/>
                <a:gd name="connsiteY313" fmla="*/ 1201338 h 1413227"/>
                <a:gd name="connsiteX314" fmla="*/ 1084275 w 2052804"/>
                <a:gd name="connsiteY314" fmla="*/ 1175410 h 1413227"/>
                <a:gd name="connsiteX315" fmla="*/ 1086003 w 2052804"/>
                <a:gd name="connsiteY315" fmla="*/ 1170224 h 1413227"/>
                <a:gd name="connsiteX316" fmla="*/ 1087732 w 2052804"/>
                <a:gd name="connsiteY316" fmla="*/ 1161581 h 1413227"/>
                <a:gd name="connsiteX317" fmla="*/ 1089460 w 2052804"/>
                <a:gd name="connsiteY317" fmla="*/ 1156396 h 1413227"/>
                <a:gd name="connsiteX318" fmla="*/ 1091189 w 2052804"/>
                <a:gd name="connsiteY318" fmla="*/ 1147753 h 1413227"/>
                <a:gd name="connsiteX319" fmla="*/ 1101560 w 2052804"/>
                <a:gd name="connsiteY319" fmla="*/ 1128739 h 1413227"/>
                <a:gd name="connsiteX320" fmla="*/ 1103289 w 2052804"/>
                <a:gd name="connsiteY320" fmla="*/ 1111454 h 1413227"/>
                <a:gd name="connsiteX321" fmla="*/ 1110203 w 2052804"/>
                <a:gd name="connsiteY321" fmla="*/ 1097625 h 1413227"/>
                <a:gd name="connsiteX322" fmla="*/ 1115388 w 2052804"/>
                <a:gd name="connsiteY322" fmla="*/ 1095897 h 1413227"/>
                <a:gd name="connsiteX323" fmla="*/ 1130945 w 2052804"/>
                <a:gd name="connsiteY323" fmla="*/ 1094168 h 1413227"/>
                <a:gd name="connsiteX324" fmla="*/ 1136131 w 2052804"/>
                <a:gd name="connsiteY324" fmla="*/ 1088983 h 1413227"/>
                <a:gd name="connsiteX325" fmla="*/ 1170702 w 2052804"/>
                <a:gd name="connsiteY325" fmla="*/ 1083797 h 1413227"/>
                <a:gd name="connsiteX326" fmla="*/ 1179345 w 2052804"/>
                <a:gd name="connsiteY326" fmla="*/ 1073426 h 1413227"/>
                <a:gd name="connsiteX327" fmla="*/ 1181073 w 2052804"/>
                <a:gd name="connsiteY327" fmla="*/ 1061326 h 1413227"/>
                <a:gd name="connsiteX328" fmla="*/ 1174159 w 2052804"/>
                <a:gd name="connsiteY328" fmla="*/ 1047497 h 1413227"/>
                <a:gd name="connsiteX329" fmla="*/ 1167245 w 2052804"/>
                <a:gd name="connsiteY329" fmla="*/ 1050955 h 1413227"/>
                <a:gd name="connsiteX330" fmla="*/ 1170702 w 2052804"/>
                <a:gd name="connsiteY330" fmla="*/ 1068240 h 1413227"/>
                <a:gd name="connsiteX331" fmla="*/ 1174159 w 2052804"/>
                <a:gd name="connsiteY331" fmla="*/ 1076883 h 1413227"/>
                <a:gd name="connsiteX332" fmla="*/ 1186259 w 2052804"/>
                <a:gd name="connsiteY332" fmla="*/ 1080340 h 1413227"/>
                <a:gd name="connsiteX333" fmla="*/ 1210458 w 2052804"/>
                <a:gd name="connsiteY333" fmla="*/ 1078611 h 1413227"/>
                <a:gd name="connsiteX334" fmla="*/ 1215644 w 2052804"/>
                <a:gd name="connsiteY334" fmla="*/ 1073426 h 1413227"/>
                <a:gd name="connsiteX335" fmla="*/ 1222558 w 2052804"/>
                <a:gd name="connsiteY335" fmla="*/ 1057869 h 1413227"/>
                <a:gd name="connsiteX336" fmla="*/ 1224287 w 2052804"/>
                <a:gd name="connsiteY336" fmla="*/ 1044040 h 1413227"/>
                <a:gd name="connsiteX337" fmla="*/ 1222558 w 2052804"/>
                <a:gd name="connsiteY337" fmla="*/ 1014655 h 1413227"/>
                <a:gd name="connsiteX338" fmla="*/ 1215644 w 2052804"/>
                <a:gd name="connsiteY338" fmla="*/ 997370 h 1413227"/>
                <a:gd name="connsiteX339" fmla="*/ 1210458 w 2052804"/>
                <a:gd name="connsiteY339" fmla="*/ 993913 h 1413227"/>
                <a:gd name="connsiteX340" fmla="*/ 1187987 w 2052804"/>
                <a:gd name="connsiteY340" fmla="*/ 973170 h 1413227"/>
                <a:gd name="connsiteX341" fmla="*/ 1177616 w 2052804"/>
                <a:gd name="connsiteY341" fmla="*/ 962799 h 1413227"/>
                <a:gd name="connsiteX342" fmla="*/ 1172430 w 2052804"/>
                <a:gd name="connsiteY342" fmla="*/ 957613 h 1413227"/>
                <a:gd name="connsiteX343" fmla="*/ 1175888 w 2052804"/>
                <a:gd name="connsiteY343" fmla="*/ 961070 h 1413227"/>
                <a:gd name="connsiteX344" fmla="*/ 1182802 w 2052804"/>
                <a:gd name="connsiteY344" fmla="*/ 971441 h 1413227"/>
                <a:gd name="connsiteX345" fmla="*/ 1189716 w 2052804"/>
                <a:gd name="connsiteY345" fmla="*/ 980084 h 1413227"/>
                <a:gd name="connsiteX346" fmla="*/ 1194902 w 2052804"/>
                <a:gd name="connsiteY346" fmla="*/ 985270 h 1413227"/>
                <a:gd name="connsiteX347" fmla="*/ 1198359 w 2052804"/>
                <a:gd name="connsiteY347" fmla="*/ 993913 h 1413227"/>
                <a:gd name="connsiteX348" fmla="*/ 1210458 w 2052804"/>
                <a:gd name="connsiteY348" fmla="*/ 1007741 h 1413227"/>
                <a:gd name="connsiteX349" fmla="*/ 1212187 w 2052804"/>
                <a:gd name="connsiteY349" fmla="*/ 1014655 h 1413227"/>
                <a:gd name="connsiteX350" fmla="*/ 1215644 w 2052804"/>
                <a:gd name="connsiteY350" fmla="*/ 1023298 h 1413227"/>
                <a:gd name="connsiteX351" fmla="*/ 1217373 w 2052804"/>
                <a:gd name="connsiteY351" fmla="*/ 1035398 h 1413227"/>
                <a:gd name="connsiteX352" fmla="*/ 1219101 w 2052804"/>
                <a:gd name="connsiteY352" fmla="*/ 1044040 h 1413227"/>
                <a:gd name="connsiteX353" fmla="*/ 1224287 w 2052804"/>
                <a:gd name="connsiteY353" fmla="*/ 1045769 h 1413227"/>
                <a:gd name="connsiteX354" fmla="*/ 1227744 w 2052804"/>
                <a:gd name="connsiteY354" fmla="*/ 1050955 h 1413227"/>
                <a:gd name="connsiteX355" fmla="*/ 1238115 w 2052804"/>
                <a:gd name="connsiteY355" fmla="*/ 1063054 h 1413227"/>
                <a:gd name="connsiteX356" fmla="*/ 1257129 w 2052804"/>
                <a:gd name="connsiteY356" fmla="*/ 1057869 h 1413227"/>
                <a:gd name="connsiteX357" fmla="*/ 1262315 w 2052804"/>
                <a:gd name="connsiteY357" fmla="*/ 1054412 h 1413227"/>
                <a:gd name="connsiteX358" fmla="*/ 1269229 w 2052804"/>
                <a:gd name="connsiteY358" fmla="*/ 1050955 h 1413227"/>
                <a:gd name="connsiteX359" fmla="*/ 1270957 w 2052804"/>
                <a:gd name="connsiteY359" fmla="*/ 1056140 h 1413227"/>
                <a:gd name="connsiteX360" fmla="*/ 1272686 w 2052804"/>
                <a:gd name="connsiteY360" fmla="*/ 1068240 h 1413227"/>
                <a:gd name="connsiteX361" fmla="*/ 1283057 w 2052804"/>
                <a:gd name="connsiteY361" fmla="*/ 1064783 h 1413227"/>
                <a:gd name="connsiteX362" fmla="*/ 1293429 w 2052804"/>
                <a:gd name="connsiteY362" fmla="*/ 1056140 h 1413227"/>
                <a:gd name="connsiteX363" fmla="*/ 1303800 w 2052804"/>
                <a:gd name="connsiteY363" fmla="*/ 1045769 h 1413227"/>
                <a:gd name="connsiteX364" fmla="*/ 1308985 w 2052804"/>
                <a:gd name="connsiteY364" fmla="*/ 1042312 h 1413227"/>
                <a:gd name="connsiteX365" fmla="*/ 1298614 w 2052804"/>
                <a:gd name="connsiteY365" fmla="*/ 1061326 h 1413227"/>
                <a:gd name="connsiteX366" fmla="*/ 1289971 w 2052804"/>
                <a:gd name="connsiteY366" fmla="*/ 1075154 h 1413227"/>
                <a:gd name="connsiteX367" fmla="*/ 1276143 w 2052804"/>
                <a:gd name="connsiteY367" fmla="*/ 1082068 h 1413227"/>
                <a:gd name="connsiteX368" fmla="*/ 1269229 w 2052804"/>
                <a:gd name="connsiteY368" fmla="*/ 1085525 h 1413227"/>
                <a:gd name="connsiteX369" fmla="*/ 1264043 w 2052804"/>
                <a:gd name="connsiteY369" fmla="*/ 1087254 h 1413227"/>
                <a:gd name="connsiteX370" fmla="*/ 1255401 w 2052804"/>
                <a:gd name="connsiteY370" fmla="*/ 1092440 h 1413227"/>
                <a:gd name="connsiteX371" fmla="*/ 1236387 w 2052804"/>
                <a:gd name="connsiteY371" fmla="*/ 1095897 h 1413227"/>
                <a:gd name="connsiteX372" fmla="*/ 1234658 w 2052804"/>
                <a:gd name="connsiteY372" fmla="*/ 1121825 h 1413227"/>
                <a:gd name="connsiteX373" fmla="*/ 1227744 w 2052804"/>
                <a:gd name="connsiteY373" fmla="*/ 1128739 h 1413227"/>
                <a:gd name="connsiteX374" fmla="*/ 1220830 w 2052804"/>
                <a:gd name="connsiteY374" fmla="*/ 1130468 h 1413227"/>
                <a:gd name="connsiteX375" fmla="*/ 1251943 w 2052804"/>
                <a:gd name="connsiteY375" fmla="*/ 1123553 h 1413227"/>
                <a:gd name="connsiteX376" fmla="*/ 1279600 w 2052804"/>
                <a:gd name="connsiteY376" fmla="*/ 1125282 h 1413227"/>
                <a:gd name="connsiteX377" fmla="*/ 1286514 w 2052804"/>
                <a:gd name="connsiteY377" fmla="*/ 1128739 h 1413227"/>
                <a:gd name="connsiteX378" fmla="*/ 1322814 w 2052804"/>
                <a:gd name="connsiteY378" fmla="*/ 1127010 h 1413227"/>
                <a:gd name="connsiteX379" fmla="*/ 1334914 w 2052804"/>
                <a:gd name="connsiteY379" fmla="*/ 1123553 h 1413227"/>
                <a:gd name="connsiteX380" fmla="*/ 1343556 w 2052804"/>
                <a:gd name="connsiteY380" fmla="*/ 1118368 h 1413227"/>
                <a:gd name="connsiteX381" fmla="*/ 1360842 w 2052804"/>
                <a:gd name="connsiteY381" fmla="*/ 1123553 h 1413227"/>
                <a:gd name="connsiteX382" fmla="*/ 1388498 w 2052804"/>
                <a:gd name="connsiteY382" fmla="*/ 1114911 h 1413227"/>
                <a:gd name="connsiteX383" fmla="*/ 1395413 w 2052804"/>
                <a:gd name="connsiteY383" fmla="*/ 1109725 h 1413227"/>
                <a:gd name="connsiteX384" fmla="*/ 1404055 w 2052804"/>
                <a:gd name="connsiteY384" fmla="*/ 1095897 h 1413227"/>
                <a:gd name="connsiteX385" fmla="*/ 1407512 w 2052804"/>
                <a:gd name="connsiteY385" fmla="*/ 1090711 h 1413227"/>
                <a:gd name="connsiteX386" fmla="*/ 1412698 w 2052804"/>
                <a:gd name="connsiteY386" fmla="*/ 1088983 h 1413227"/>
                <a:gd name="connsiteX387" fmla="*/ 1419612 w 2052804"/>
                <a:gd name="connsiteY387" fmla="*/ 1097625 h 1413227"/>
                <a:gd name="connsiteX388" fmla="*/ 1423069 w 2052804"/>
                <a:gd name="connsiteY388" fmla="*/ 1104539 h 1413227"/>
                <a:gd name="connsiteX389" fmla="*/ 1428255 w 2052804"/>
                <a:gd name="connsiteY389" fmla="*/ 1111454 h 1413227"/>
                <a:gd name="connsiteX390" fmla="*/ 1438626 w 2052804"/>
                <a:gd name="connsiteY390" fmla="*/ 1109725 h 1413227"/>
                <a:gd name="connsiteX391" fmla="*/ 1442083 w 2052804"/>
                <a:gd name="connsiteY391" fmla="*/ 1101082 h 1413227"/>
                <a:gd name="connsiteX392" fmla="*/ 1450726 w 2052804"/>
                <a:gd name="connsiteY392" fmla="*/ 1076883 h 1413227"/>
                <a:gd name="connsiteX393" fmla="*/ 1459369 w 2052804"/>
                <a:gd name="connsiteY393" fmla="*/ 1082068 h 1413227"/>
                <a:gd name="connsiteX394" fmla="*/ 1461097 w 2052804"/>
                <a:gd name="connsiteY394" fmla="*/ 1097625 h 1413227"/>
                <a:gd name="connsiteX395" fmla="*/ 1466283 w 2052804"/>
                <a:gd name="connsiteY395" fmla="*/ 1104539 h 1413227"/>
                <a:gd name="connsiteX396" fmla="*/ 1468012 w 2052804"/>
                <a:gd name="connsiteY396" fmla="*/ 1116639 h 1413227"/>
                <a:gd name="connsiteX397" fmla="*/ 1454183 w 2052804"/>
                <a:gd name="connsiteY397" fmla="*/ 1132196 h 1413227"/>
                <a:gd name="connsiteX398" fmla="*/ 1440355 w 2052804"/>
                <a:gd name="connsiteY398" fmla="*/ 1149482 h 1413227"/>
                <a:gd name="connsiteX399" fmla="*/ 1431712 w 2052804"/>
                <a:gd name="connsiteY399" fmla="*/ 1158124 h 1413227"/>
                <a:gd name="connsiteX400" fmla="*/ 1419612 w 2052804"/>
                <a:gd name="connsiteY400" fmla="*/ 1163310 h 1413227"/>
                <a:gd name="connsiteX401" fmla="*/ 1404055 w 2052804"/>
                <a:gd name="connsiteY401" fmla="*/ 1171953 h 1413227"/>
                <a:gd name="connsiteX402" fmla="*/ 1402327 w 2052804"/>
                <a:gd name="connsiteY402" fmla="*/ 1177138 h 1413227"/>
                <a:gd name="connsiteX403" fmla="*/ 1393684 w 2052804"/>
                <a:gd name="connsiteY403" fmla="*/ 1189238 h 1413227"/>
                <a:gd name="connsiteX404" fmla="*/ 1388498 w 2052804"/>
                <a:gd name="connsiteY404" fmla="*/ 1197881 h 1413227"/>
                <a:gd name="connsiteX405" fmla="*/ 1386770 w 2052804"/>
                <a:gd name="connsiteY405" fmla="*/ 1203066 h 1413227"/>
                <a:gd name="connsiteX406" fmla="*/ 1378127 w 2052804"/>
                <a:gd name="connsiteY406" fmla="*/ 1211709 h 1413227"/>
                <a:gd name="connsiteX407" fmla="*/ 1372942 w 2052804"/>
                <a:gd name="connsiteY407" fmla="*/ 1216895 h 1413227"/>
                <a:gd name="connsiteX408" fmla="*/ 1360842 w 2052804"/>
                <a:gd name="connsiteY408" fmla="*/ 1230723 h 1413227"/>
                <a:gd name="connsiteX409" fmla="*/ 1355656 w 2052804"/>
                <a:gd name="connsiteY409" fmla="*/ 1237637 h 1413227"/>
                <a:gd name="connsiteX410" fmla="*/ 1353928 w 2052804"/>
                <a:gd name="connsiteY410" fmla="*/ 1242823 h 1413227"/>
                <a:gd name="connsiteX411" fmla="*/ 1348742 w 2052804"/>
                <a:gd name="connsiteY411" fmla="*/ 1253194 h 1413227"/>
                <a:gd name="connsiteX412" fmla="*/ 1381584 w 2052804"/>
                <a:gd name="connsiteY412" fmla="*/ 1253194 h 1413227"/>
                <a:gd name="connsiteX413" fmla="*/ 1390227 w 2052804"/>
                <a:gd name="connsiteY413" fmla="*/ 1246280 h 1413227"/>
                <a:gd name="connsiteX414" fmla="*/ 1395413 w 2052804"/>
                <a:gd name="connsiteY414" fmla="*/ 1244552 h 1413227"/>
                <a:gd name="connsiteX415" fmla="*/ 1416155 w 2052804"/>
                <a:gd name="connsiteY415" fmla="*/ 1248009 h 1413227"/>
                <a:gd name="connsiteX416" fmla="*/ 1419612 w 2052804"/>
                <a:gd name="connsiteY416" fmla="*/ 1253194 h 1413227"/>
                <a:gd name="connsiteX417" fmla="*/ 1429984 w 2052804"/>
                <a:gd name="connsiteY417" fmla="*/ 1260108 h 1413227"/>
                <a:gd name="connsiteX418" fmla="*/ 1455912 w 2052804"/>
                <a:gd name="connsiteY418" fmla="*/ 1258380 h 1413227"/>
                <a:gd name="connsiteX419" fmla="*/ 1461097 w 2052804"/>
                <a:gd name="connsiteY419" fmla="*/ 1253194 h 1413227"/>
                <a:gd name="connsiteX420" fmla="*/ 1469740 w 2052804"/>
                <a:gd name="connsiteY420" fmla="*/ 1248009 h 1413227"/>
                <a:gd name="connsiteX421" fmla="*/ 1487026 w 2052804"/>
                <a:gd name="connsiteY421" fmla="*/ 1249737 h 1413227"/>
                <a:gd name="connsiteX422" fmla="*/ 1495668 w 2052804"/>
                <a:gd name="connsiteY422" fmla="*/ 1258380 h 1413227"/>
                <a:gd name="connsiteX423" fmla="*/ 1506040 w 2052804"/>
                <a:gd name="connsiteY423" fmla="*/ 1272208 h 1413227"/>
                <a:gd name="connsiteX424" fmla="*/ 1507768 w 2052804"/>
                <a:gd name="connsiteY424" fmla="*/ 1289494 h 1413227"/>
                <a:gd name="connsiteX425" fmla="*/ 1518139 w 2052804"/>
                <a:gd name="connsiteY425" fmla="*/ 1301593 h 1413227"/>
                <a:gd name="connsiteX426" fmla="*/ 1521596 w 2052804"/>
                <a:gd name="connsiteY426" fmla="*/ 1306779 h 1413227"/>
                <a:gd name="connsiteX427" fmla="*/ 1519868 w 2052804"/>
                <a:gd name="connsiteY427" fmla="*/ 1355178 h 1413227"/>
                <a:gd name="connsiteX428" fmla="*/ 1512954 w 2052804"/>
                <a:gd name="connsiteY428" fmla="*/ 1360364 h 1413227"/>
                <a:gd name="connsiteX429" fmla="*/ 1507768 w 2052804"/>
                <a:gd name="connsiteY429" fmla="*/ 1370735 h 1413227"/>
                <a:gd name="connsiteX430" fmla="*/ 1538882 w 2052804"/>
                <a:gd name="connsiteY430" fmla="*/ 1374192 h 1413227"/>
                <a:gd name="connsiteX431" fmla="*/ 1544067 w 2052804"/>
                <a:gd name="connsiteY431" fmla="*/ 1377649 h 1413227"/>
                <a:gd name="connsiteX432" fmla="*/ 1563081 w 2052804"/>
                <a:gd name="connsiteY432" fmla="*/ 1375921 h 1413227"/>
                <a:gd name="connsiteX433" fmla="*/ 1568267 w 2052804"/>
                <a:gd name="connsiteY433" fmla="*/ 1372464 h 1413227"/>
                <a:gd name="connsiteX434" fmla="*/ 1583824 w 2052804"/>
                <a:gd name="connsiteY434" fmla="*/ 1370735 h 1413227"/>
                <a:gd name="connsiteX435" fmla="*/ 1601109 w 2052804"/>
                <a:gd name="connsiteY435" fmla="*/ 1363821 h 1413227"/>
                <a:gd name="connsiteX436" fmla="*/ 1604567 w 2052804"/>
                <a:gd name="connsiteY436" fmla="*/ 1360364 h 1413227"/>
                <a:gd name="connsiteX437" fmla="*/ 1616666 w 2052804"/>
                <a:gd name="connsiteY437" fmla="*/ 1341350 h 1413227"/>
                <a:gd name="connsiteX438" fmla="*/ 1621852 w 2052804"/>
                <a:gd name="connsiteY438" fmla="*/ 1305051 h 1413227"/>
                <a:gd name="connsiteX439" fmla="*/ 1627038 w 2052804"/>
                <a:gd name="connsiteY439" fmla="*/ 1301593 h 1413227"/>
                <a:gd name="connsiteX440" fmla="*/ 1628766 w 2052804"/>
                <a:gd name="connsiteY440" fmla="*/ 1284308 h 1413227"/>
                <a:gd name="connsiteX441" fmla="*/ 1635680 w 2052804"/>
                <a:gd name="connsiteY441" fmla="*/ 1270480 h 1413227"/>
                <a:gd name="connsiteX442" fmla="*/ 1647780 w 2052804"/>
                <a:gd name="connsiteY442" fmla="*/ 1263565 h 1413227"/>
                <a:gd name="connsiteX443" fmla="*/ 1673708 w 2052804"/>
                <a:gd name="connsiteY443" fmla="*/ 1260108 h 1413227"/>
                <a:gd name="connsiteX444" fmla="*/ 1685808 w 2052804"/>
                <a:gd name="connsiteY444" fmla="*/ 1254923 h 1413227"/>
                <a:gd name="connsiteX445" fmla="*/ 1690994 w 2052804"/>
                <a:gd name="connsiteY445" fmla="*/ 1253194 h 1413227"/>
                <a:gd name="connsiteX446" fmla="*/ 1706551 w 2052804"/>
                <a:gd name="connsiteY446" fmla="*/ 1249737 h 1413227"/>
                <a:gd name="connsiteX447" fmla="*/ 1708279 w 2052804"/>
                <a:gd name="connsiteY447" fmla="*/ 1232452 h 1413227"/>
                <a:gd name="connsiteX448" fmla="*/ 1710008 w 2052804"/>
                <a:gd name="connsiteY448" fmla="*/ 1208252 h 1413227"/>
                <a:gd name="connsiteX449" fmla="*/ 1715193 w 2052804"/>
                <a:gd name="connsiteY449" fmla="*/ 1201338 h 1413227"/>
                <a:gd name="connsiteX450" fmla="*/ 1722108 w 2052804"/>
                <a:gd name="connsiteY450" fmla="*/ 1192695 h 1413227"/>
                <a:gd name="connsiteX451" fmla="*/ 1729022 w 2052804"/>
                <a:gd name="connsiteY451" fmla="*/ 1189238 h 1413227"/>
                <a:gd name="connsiteX452" fmla="*/ 1739393 w 2052804"/>
                <a:gd name="connsiteY452" fmla="*/ 1184052 h 1413227"/>
                <a:gd name="connsiteX453" fmla="*/ 1777421 w 2052804"/>
                <a:gd name="connsiteY453" fmla="*/ 1189238 h 1413227"/>
                <a:gd name="connsiteX454" fmla="*/ 1782607 w 2052804"/>
                <a:gd name="connsiteY454" fmla="*/ 1194424 h 1413227"/>
                <a:gd name="connsiteX455" fmla="*/ 1811992 w 2052804"/>
                <a:gd name="connsiteY455" fmla="*/ 1187510 h 1413227"/>
                <a:gd name="connsiteX456" fmla="*/ 1815449 w 2052804"/>
                <a:gd name="connsiteY456" fmla="*/ 1180595 h 1413227"/>
                <a:gd name="connsiteX457" fmla="*/ 1822363 w 2052804"/>
                <a:gd name="connsiteY457" fmla="*/ 1171953 h 1413227"/>
                <a:gd name="connsiteX458" fmla="*/ 1829277 w 2052804"/>
                <a:gd name="connsiteY458" fmla="*/ 1158124 h 1413227"/>
                <a:gd name="connsiteX459" fmla="*/ 1831006 w 2052804"/>
                <a:gd name="connsiteY459" fmla="*/ 1151210 h 1413227"/>
                <a:gd name="connsiteX460" fmla="*/ 1837920 w 2052804"/>
                <a:gd name="connsiteY460" fmla="*/ 1133925 h 1413227"/>
                <a:gd name="connsiteX461" fmla="*/ 1824092 w 2052804"/>
                <a:gd name="connsiteY461" fmla="*/ 1128739 h 1413227"/>
                <a:gd name="connsiteX462" fmla="*/ 1820635 w 2052804"/>
                <a:gd name="connsiteY462" fmla="*/ 1123553 h 1413227"/>
                <a:gd name="connsiteX463" fmla="*/ 1824092 w 2052804"/>
                <a:gd name="connsiteY463" fmla="*/ 1118368 h 1413227"/>
                <a:gd name="connsiteX464" fmla="*/ 1829277 w 2052804"/>
                <a:gd name="connsiteY464" fmla="*/ 1111454 h 1413227"/>
                <a:gd name="connsiteX465" fmla="*/ 1832734 w 2052804"/>
                <a:gd name="connsiteY465" fmla="*/ 1099354 h 1413227"/>
                <a:gd name="connsiteX466" fmla="*/ 1836191 w 2052804"/>
                <a:gd name="connsiteY466" fmla="*/ 1094168 h 1413227"/>
                <a:gd name="connsiteX467" fmla="*/ 1834463 w 2052804"/>
                <a:gd name="connsiteY467" fmla="*/ 1083797 h 1413227"/>
                <a:gd name="connsiteX468" fmla="*/ 1820635 w 2052804"/>
                <a:gd name="connsiteY468" fmla="*/ 1087254 h 1413227"/>
                <a:gd name="connsiteX469" fmla="*/ 1792978 w 2052804"/>
                <a:gd name="connsiteY469" fmla="*/ 1092440 h 1413227"/>
                <a:gd name="connsiteX470" fmla="*/ 1782607 w 2052804"/>
                <a:gd name="connsiteY470" fmla="*/ 1095897 h 1413227"/>
                <a:gd name="connsiteX471" fmla="*/ 1775692 w 2052804"/>
                <a:gd name="connsiteY471" fmla="*/ 1099354 h 1413227"/>
                <a:gd name="connsiteX472" fmla="*/ 1770507 w 2052804"/>
                <a:gd name="connsiteY472" fmla="*/ 1116639 h 1413227"/>
                <a:gd name="connsiteX473" fmla="*/ 1760136 w 2052804"/>
                <a:gd name="connsiteY473" fmla="*/ 1118368 h 1413227"/>
                <a:gd name="connsiteX474" fmla="*/ 1742850 w 2052804"/>
                <a:gd name="connsiteY474" fmla="*/ 1130468 h 1413227"/>
                <a:gd name="connsiteX475" fmla="*/ 1722108 w 2052804"/>
                <a:gd name="connsiteY475" fmla="*/ 1140839 h 1413227"/>
                <a:gd name="connsiteX476" fmla="*/ 1713465 w 2052804"/>
                <a:gd name="connsiteY476" fmla="*/ 1146024 h 1413227"/>
                <a:gd name="connsiteX477" fmla="*/ 1711736 w 2052804"/>
                <a:gd name="connsiteY477" fmla="*/ 1151210 h 1413227"/>
                <a:gd name="connsiteX478" fmla="*/ 1704822 w 2052804"/>
                <a:gd name="connsiteY478" fmla="*/ 1154667 h 1413227"/>
                <a:gd name="connsiteX479" fmla="*/ 1651237 w 2052804"/>
                <a:gd name="connsiteY479" fmla="*/ 1152939 h 1413227"/>
                <a:gd name="connsiteX480" fmla="*/ 1654694 w 2052804"/>
                <a:gd name="connsiteY480" fmla="*/ 1142567 h 1413227"/>
                <a:gd name="connsiteX481" fmla="*/ 1652966 w 2052804"/>
                <a:gd name="connsiteY481" fmla="*/ 1120096 h 1413227"/>
                <a:gd name="connsiteX482" fmla="*/ 1602838 w 2052804"/>
                <a:gd name="connsiteY482" fmla="*/ 1114911 h 1413227"/>
                <a:gd name="connsiteX483" fmla="*/ 1595924 w 2052804"/>
                <a:gd name="connsiteY483" fmla="*/ 1113182 h 1413227"/>
                <a:gd name="connsiteX484" fmla="*/ 1568267 w 2052804"/>
                <a:gd name="connsiteY484" fmla="*/ 1109725 h 1413227"/>
                <a:gd name="connsiteX485" fmla="*/ 1557896 w 2052804"/>
                <a:gd name="connsiteY485" fmla="*/ 1101082 h 1413227"/>
                <a:gd name="connsiteX486" fmla="*/ 1547525 w 2052804"/>
                <a:gd name="connsiteY486" fmla="*/ 1092440 h 1413227"/>
                <a:gd name="connsiteX487" fmla="*/ 1530239 w 2052804"/>
                <a:gd name="connsiteY487" fmla="*/ 1090711 h 1413227"/>
                <a:gd name="connsiteX488" fmla="*/ 1518139 w 2052804"/>
                <a:gd name="connsiteY488" fmla="*/ 1085525 h 1413227"/>
                <a:gd name="connsiteX489" fmla="*/ 1516411 w 2052804"/>
                <a:gd name="connsiteY489" fmla="*/ 1092440 h 1413227"/>
                <a:gd name="connsiteX490" fmla="*/ 1511225 w 2052804"/>
                <a:gd name="connsiteY490" fmla="*/ 1085525 h 1413227"/>
                <a:gd name="connsiteX491" fmla="*/ 1500854 w 2052804"/>
                <a:gd name="connsiteY491" fmla="*/ 1075154 h 1413227"/>
                <a:gd name="connsiteX492" fmla="*/ 1448998 w 2052804"/>
                <a:gd name="connsiteY492" fmla="*/ 1076883 h 1413227"/>
                <a:gd name="connsiteX493" fmla="*/ 1443812 w 2052804"/>
                <a:gd name="connsiteY493" fmla="*/ 1080340 h 1413227"/>
                <a:gd name="connsiteX494" fmla="*/ 1442083 w 2052804"/>
                <a:gd name="connsiteY494" fmla="*/ 1085525 h 1413227"/>
                <a:gd name="connsiteX495" fmla="*/ 1455912 w 2052804"/>
                <a:gd name="connsiteY495" fmla="*/ 1071697 h 1413227"/>
                <a:gd name="connsiteX496" fmla="*/ 1462826 w 2052804"/>
                <a:gd name="connsiteY496" fmla="*/ 1064783 h 1413227"/>
                <a:gd name="connsiteX497" fmla="*/ 1468012 w 2052804"/>
                <a:gd name="connsiteY497" fmla="*/ 1059597 h 1413227"/>
                <a:gd name="connsiteX498" fmla="*/ 1483568 w 2052804"/>
                <a:gd name="connsiteY498" fmla="*/ 1064783 h 1413227"/>
                <a:gd name="connsiteX499" fmla="*/ 1493940 w 2052804"/>
                <a:gd name="connsiteY499" fmla="*/ 1071697 h 1413227"/>
                <a:gd name="connsiteX500" fmla="*/ 1502582 w 2052804"/>
                <a:gd name="connsiteY500" fmla="*/ 1068240 h 1413227"/>
                <a:gd name="connsiteX501" fmla="*/ 1504311 w 2052804"/>
                <a:gd name="connsiteY501" fmla="*/ 1063054 h 1413227"/>
                <a:gd name="connsiteX502" fmla="*/ 1507768 w 2052804"/>
                <a:gd name="connsiteY502" fmla="*/ 1057869 h 1413227"/>
                <a:gd name="connsiteX503" fmla="*/ 1511225 w 2052804"/>
                <a:gd name="connsiteY503" fmla="*/ 1045769 h 1413227"/>
                <a:gd name="connsiteX504" fmla="*/ 1544067 w 2052804"/>
                <a:gd name="connsiteY504" fmla="*/ 1044040 h 1413227"/>
                <a:gd name="connsiteX505" fmla="*/ 1561353 w 2052804"/>
                <a:gd name="connsiteY505" fmla="*/ 1059597 h 1413227"/>
                <a:gd name="connsiteX506" fmla="*/ 1564810 w 2052804"/>
                <a:gd name="connsiteY506" fmla="*/ 1073426 h 1413227"/>
                <a:gd name="connsiteX507" fmla="*/ 1568267 w 2052804"/>
                <a:gd name="connsiteY507" fmla="*/ 1087254 h 1413227"/>
                <a:gd name="connsiteX508" fmla="*/ 1569996 w 2052804"/>
                <a:gd name="connsiteY508" fmla="*/ 1094168 h 1413227"/>
                <a:gd name="connsiteX509" fmla="*/ 1573453 w 2052804"/>
                <a:gd name="connsiteY509" fmla="*/ 1099354 h 1413227"/>
                <a:gd name="connsiteX510" fmla="*/ 1580367 w 2052804"/>
                <a:gd name="connsiteY510" fmla="*/ 1037126 h 1413227"/>
                <a:gd name="connsiteX511" fmla="*/ 1592467 w 2052804"/>
                <a:gd name="connsiteY511" fmla="*/ 1052683 h 1413227"/>
                <a:gd name="connsiteX512" fmla="*/ 1595924 w 2052804"/>
                <a:gd name="connsiteY512" fmla="*/ 1069969 h 1413227"/>
                <a:gd name="connsiteX513" fmla="*/ 1611481 w 2052804"/>
                <a:gd name="connsiteY513" fmla="*/ 1080340 h 1413227"/>
                <a:gd name="connsiteX514" fmla="*/ 1616666 w 2052804"/>
                <a:gd name="connsiteY514" fmla="*/ 1083797 h 1413227"/>
                <a:gd name="connsiteX515" fmla="*/ 1625309 w 2052804"/>
                <a:gd name="connsiteY515" fmla="*/ 1085525 h 1413227"/>
                <a:gd name="connsiteX516" fmla="*/ 1637409 w 2052804"/>
                <a:gd name="connsiteY516" fmla="*/ 1092440 h 1413227"/>
                <a:gd name="connsiteX517" fmla="*/ 1644323 w 2052804"/>
                <a:gd name="connsiteY517" fmla="*/ 1095897 h 1413227"/>
                <a:gd name="connsiteX518" fmla="*/ 1652966 w 2052804"/>
                <a:gd name="connsiteY518" fmla="*/ 1109725 h 1413227"/>
                <a:gd name="connsiteX519" fmla="*/ 1663337 w 2052804"/>
                <a:gd name="connsiteY519" fmla="*/ 1113182 h 1413227"/>
                <a:gd name="connsiteX520" fmla="*/ 1673708 w 2052804"/>
                <a:gd name="connsiteY520" fmla="*/ 1118368 h 1413227"/>
                <a:gd name="connsiteX521" fmla="*/ 1684080 w 2052804"/>
                <a:gd name="connsiteY521" fmla="*/ 1125282 h 1413227"/>
                <a:gd name="connsiteX522" fmla="*/ 1703094 w 2052804"/>
                <a:gd name="connsiteY522" fmla="*/ 1139110 h 1413227"/>
                <a:gd name="connsiteX523" fmla="*/ 1716922 w 2052804"/>
                <a:gd name="connsiteY523" fmla="*/ 1142567 h 1413227"/>
                <a:gd name="connsiteX524" fmla="*/ 1708279 w 2052804"/>
                <a:gd name="connsiteY524" fmla="*/ 1137382 h 1413227"/>
                <a:gd name="connsiteX525" fmla="*/ 1703094 w 2052804"/>
                <a:gd name="connsiteY525" fmla="*/ 1132196 h 1413227"/>
                <a:gd name="connsiteX526" fmla="*/ 1692722 w 2052804"/>
                <a:gd name="connsiteY526" fmla="*/ 1128739 h 1413227"/>
                <a:gd name="connsiteX527" fmla="*/ 1678894 w 2052804"/>
                <a:gd name="connsiteY527" fmla="*/ 1125282 h 1413227"/>
                <a:gd name="connsiteX528" fmla="*/ 1663337 w 2052804"/>
                <a:gd name="connsiteY528" fmla="*/ 1121825 h 1413227"/>
                <a:gd name="connsiteX529" fmla="*/ 1654694 w 2052804"/>
                <a:gd name="connsiteY529" fmla="*/ 1116639 h 1413227"/>
                <a:gd name="connsiteX530" fmla="*/ 1649509 w 2052804"/>
                <a:gd name="connsiteY530" fmla="*/ 1113182 h 1413227"/>
                <a:gd name="connsiteX531" fmla="*/ 1646052 w 2052804"/>
                <a:gd name="connsiteY531" fmla="*/ 1107996 h 1413227"/>
                <a:gd name="connsiteX532" fmla="*/ 1632223 w 2052804"/>
                <a:gd name="connsiteY532" fmla="*/ 1088983 h 1413227"/>
                <a:gd name="connsiteX533" fmla="*/ 1630495 w 2052804"/>
                <a:gd name="connsiteY533" fmla="*/ 1083797 h 1413227"/>
                <a:gd name="connsiteX534" fmla="*/ 1623581 w 2052804"/>
                <a:gd name="connsiteY534" fmla="*/ 1075154 h 1413227"/>
                <a:gd name="connsiteX535" fmla="*/ 1620123 w 2052804"/>
                <a:gd name="connsiteY535" fmla="*/ 1061326 h 1413227"/>
                <a:gd name="connsiteX536" fmla="*/ 1618395 w 2052804"/>
                <a:gd name="connsiteY536" fmla="*/ 1056140 h 1413227"/>
                <a:gd name="connsiteX537" fmla="*/ 1608024 w 2052804"/>
                <a:gd name="connsiteY537" fmla="*/ 1038855 h 1413227"/>
                <a:gd name="connsiteX538" fmla="*/ 1602838 w 2052804"/>
                <a:gd name="connsiteY538" fmla="*/ 1037126 h 1413227"/>
                <a:gd name="connsiteX539" fmla="*/ 1597652 w 2052804"/>
                <a:gd name="connsiteY539" fmla="*/ 1030212 h 1413227"/>
                <a:gd name="connsiteX540" fmla="*/ 1589010 w 2052804"/>
                <a:gd name="connsiteY540" fmla="*/ 1019841 h 1413227"/>
                <a:gd name="connsiteX541" fmla="*/ 1594195 w 2052804"/>
                <a:gd name="connsiteY541" fmla="*/ 1000827 h 1413227"/>
                <a:gd name="connsiteX542" fmla="*/ 1602838 w 2052804"/>
                <a:gd name="connsiteY542" fmla="*/ 999098 h 1413227"/>
                <a:gd name="connsiteX543" fmla="*/ 1614938 w 2052804"/>
                <a:gd name="connsiteY543" fmla="*/ 990455 h 1413227"/>
                <a:gd name="connsiteX544" fmla="*/ 1621852 w 2052804"/>
                <a:gd name="connsiteY544" fmla="*/ 985270 h 1413227"/>
                <a:gd name="connsiteX545" fmla="*/ 1620123 w 2052804"/>
                <a:gd name="connsiteY545" fmla="*/ 1021569 h 1413227"/>
                <a:gd name="connsiteX546" fmla="*/ 1616666 w 2052804"/>
                <a:gd name="connsiteY546" fmla="*/ 1028483 h 1413227"/>
                <a:gd name="connsiteX547" fmla="*/ 1611481 w 2052804"/>
                <a:gd name="connsiteY547" fmla="*/ 1035398 h 1413227"/>
                <a:gd name="connsiteX548" fmla="*/ 1616666 w 2052804"/>
                <a:gd name="connsiteY548" fmla="*/ 1031941 h 1413227"/>
                <a:gd name="connsiteX549" fmla="*/ 1625309 w 2052804"/>
                <a:gd name="connsiteY549" fmla="*/ 1016384 h 1413227"/>
                <a:gd name="connsiteX550" fmla="*/ 1630495 w 2052804"/>
                <a:gd name="connsiteY550" fmla="*/ 997370 h 1413227"/>
                <a:gd name="connsiteX551" fmla="*/ 1630495 w 2052804"/>
                <a:gd name="connsiteY551" fmla="*/ 976627 h 1413227"/>
                <a:gd name="connsiteX552" fmla="*/ 1623581 w 2052804"/>
                <a:gd name="connsiteY552" fmla="*/ 962799 h 1413227"/>
                <a:gd name="connsiteX553" fmla="*/ 1630495 w 2052804"/>
                <a:gd name="connsiteY553" fmla="*/ 966256 h 1413227"/>
                <a:gd name="connsiteX554" fmla="*/ 1642595 w 2052804"/>
                <a:gd name="connsiteY554" fmla="*/ 969713 h 1413227"/>
                <a:gd name="connsiteX555" fmla="*/ 1649509 w 2052804"/>
                <a:gd name="connsiteY555" fmla="*/ 967984 h 1413227"/>
                <a:gd name="connsiteX556" fmla="*/ 1654694 w 2052804"/>
                <a:gd name="connsiteY556" fmla="*/ 955885 h 1413227"/>
                <a:gd name="connsiteX557" fmla="*/ 1663337 w 2052804"/>
                <a:gd name="connsiteY557" fmla="*/ 933414 h 1413227"/>
                <a:gd name="connsiteX558" fmla="*/ 1666794 w 2052804"/>
                <a:gd name="connsiteY558" fmla="*/ 929956 h 1413227"/>
                <a:gd name="connsiteX559" fmla="*/ 1668523 w 2052804"/>
                <a:gd name="connsiteY559" fmla="*/ 923042 h 1413227"/>
                <a:gd name="connsiteX560" fmla="*/ 1677165 w 2052804"/>
                <a:gd name="connsiteY560" fmla="*/ 893657 h 1413227"/>
                <a:gd name="connsiteX561" fmla="*/ 1690994 w 2052804"/>
                <a:gd name="connsiteY561" fmla="*/ 891928 h 1413227"/>
                <a:gd name="connsiteX562" fmla="*/ 1697908 w 2052804"/>
                <a:gd name="connsiteY562" fmla="*/ 890200 h 1413227"/>
                <a:gd name="connsiteX563" fmla="*/ 1704822 w 2052804"/>
                <a:gd name="connsiteY563" fmla="*/ 886743 h 1413227"/>
                <a:gd name="connsiteX564" fmla="*/ 1723836 w 2052804"/>
                <a:gd name="connsiteY564" fmla="*/ 878100 h 1413227"/>
                <a:gd name="connsiteX565" fmla="*/ 1730750 w 2052804"/>
                <a:gd name="connsiteY565" fmla="*/ 876372 h 1413227"/>
                <a:gd name="connsiteX566" fmla="*/ 1749764 w 2052804"/>
                <a:gd name="connsiteY566" fmla="*/ 860815 h 1413227"/>
                <a:gd name="connsiteX567" fmla="*/ 1754950 w 2052804"/>
                <a:gd name="connsiteY567" fmla="*/ 857358 h 1413227"/>
                <a:gd name="connsiteX568" fmla="*/ 1761864 w 2052804"/>
                <a:gd name="connsiteY568" fmla="*/ 855629 h 1413227"/>
                <a:gd name="connsiteX569" fmla="*/ 1768778 w 2052804"/>
                <a:gd name="connsiteY569" fmla="*/ 841801 h 1413227"/>
                <a:gd name="connsiteX570" fmla="*/ 1775692 w 2052804"/>
                <a:gd name="connsiteY570" fmla="*/ 836615 h 1413227"/>
                <a:gd name="connsiteX571" fmla="*/ 1780878 w 2052804"/>
                <a:gd name="connsiteY571" fmla="*/ 833158 h 1413227"/>
                <a:gd name="connsiteX572" fmla="*/ 1791249 w 2052804"/>
                <a:gd name="connsiteY572" fmla="*/ 831429 h 1413227"/>
                <a:gd name="connsiteX573" fmla="*/ 1799892 w 2052804"/>
                <a:gd name="connsiteY573" fmla="*/ 829701 h 1413227"/>
                <a:gd name="connsiteX574" fmla="*/ 1801621 w 2052804"/>
                <a:gd name="connsiteY574" fmla="*/ 824515 h 1413227"/>
                <a:gd name="connsiteX575" fmla="*/ 1829277 w 2052804"/>
                <a:gd name="connsiteY575" fmla="*/ 796859 h 1413227"/>
                <a:gd name="connsiteX576" fmla="*/ 1834463 w 2052804"/>
                <a:gd name="connsiteY576" fmla="*/ 776116 h 1413227"/>
                <a:gd name="connsiteX577" fmla="*/ 1839649 w 2052804"/>
                <a:gd name="connsiteY577" fmla="*/ 770930 h 1413227"/>
                <a:gd name="connsiteX578" fmla="*/ 1867305 w 2052804"/>
                <a:gd name="connsiteY578" fmla="*/ 760559 h 1413227"/>
                <a:gd name="connsiteX579" fmla="*/ 1872491 w 2052804"/>
                <a:gd name="connsiteY579" fmla="*/ 755373 h 1413227"/>
                <a:gd name="connsiteX580" fmla="*/ 1884591 w 2052804"/>
                <a:gd name="connsiteY580" fmla="*/ 753645 h 1413227"/>
                <a:gd name="connsiteX581" fmla="*/ 1893233 w 2052804"/>
                <a:gd name="connsiteY581" fmla="*/ 750188 h 1413227"/>
                <a:gd name="connsiteX582" fmla="*/ 1898419 w 2052804"/>
                <a:gd name="connsiteY582" fmla="*/ 731174 h 1413227"/>
                <a:gd name="connsiteX583" fmla="*/ 1913976 w 2052804"/>
                <a:gd name="connsiteY583" fmla="*/ 719074 h 1413227"/>
                <a:gd name="connsiteX584" fmla="*/ 1920890 w 2052804"/>
                <a:gd name="connsiteY584" fmla="*/ 710431 h 1413227"/>
                <a:gd name="connsiteX585" fmla="*/ 1912247 w 2052804"/>
                <a:gd name="connsiteY585" fmla="*/ 689689 h 1413227"/>
                <a:gd name="connsiteX586" fmla="*/ 1905333 w 2052804"/>
                <a:gd name="connsiteY586" fmla="*/ 675860 h 1413227"/>
                <a:gd name="connsiteX587" fmla="*/ 1901876 w 2052804"/>
                <a:gd name="connsiteY587" fmla="*/ 665489 h 1413227"/>
                <a:gd name="connsiteX588" fmla="*/ 1905333 w 2052804"/>
                <a:gd name="connsiteY588" fmla="*/ 651661 h 1413227"/>
                <a:gd name="connsiteX589" fmla="*/ 1901876 w 2052804"/>
                <a:gd name="connsiteY589" fmla="*/ 629190 h 1413227"/>
                <a:gd name="connsiteX590" fmla="*/ 1908790 w 2052804"/>
                <a:gd name="connsiteY590" fmla="*/ 624004 h 1413227"/>
                <a:gd name="connsiteX591" fmla="*/ 1913976 w 2052804"/>
                <a:gd name="connsiteY591" fmla="*/ 613633 h 1413227"/>
                <a:gd name="connsiteX592" fmla="*/ 1922619 w 2052804"/>
                <a:gd name="connsiteY592" fmla="*/ 608447 h 1413227"/>
                <a:gd name="connsiteX593" fmla="*/ 1929533 w 2052804"/>
                <a:gd name="connsiteY593" fmla="*/ 601533 h 1413227"/>
                <a:gd name="connsiteX594" fmla="*/ 1932990 w 2052804"/>
                <a:gd name="connsiteY594" fmla="*/ 587705 h 1413227"/>
                <a:gd name="connsiteX595" fmla="*/ 1936447 w 2052804"/>
                <a:gd name="connsiteY595" fmla="*/ 582519 h 1413227"/>
                <a:gd name="connsiteX596" fmla="*/ 1943361 w 2052804"/>
                <a:gd name="connsiteY596" fmla="*/ 565234 h 1413227"/>
                <a:gd name="connsiteX597" fmla="*/ 1967561 w 2052804"/>
                <a:gd name="connsiteY597" fmla="*/ 556591 h 1413227"/>
                <a:gd name="connsiteX598" fmla="*/ 1972746 w 2052804"/>
                <a:gd name="connsiteY598" fmla="*/ 547948 h 1413227"/>
                <a:gd name="connsiteX599" fmla="*/ 1990032 w 2052804"/>
                <a:gd name="connsiteY599" fmla="*/ 544491 h 1413227"/>
                <a:gd name="connsiteX600" fmla="*/ 2012503 w 2052804"/>
                <a:gd name="connsiteY600" fmla="*/ 539305 h 1413227"/>
                <a:gd name="connsiteX601" fmla="*/ 2021146 w 2052804"/>
                <a:gd name="connsiteY601" fmla="*/ 530663 h 1413227"/>
                <a:gd name="connsiteX602" fmla="*/ 2052260 w 2052804"/>
                <a:gd name="connsiteY602" fmla="*/ 525477 h 1413227"/>
                <a:gd name="connsiteX603" fmla="*/ 2047074 w 2052804"/>
                <a:gd name="connsiteY603" fmla="*/ 499549 h 1413227"/>
                <a:gd name="connsiteX604" fmla="*/ 2036703 w 2052804"/>
                <a:gd name="connsiteY604" fmla="*/ 492635 h 1413227"/>
                <a:gd name="connsiteX605" fmla="*/ 2029788 w 2052804"/>
                <a:gd name="connsiteY605" fmla="*/ 447693 h 1413227"/>
                <a:gd name="connsiteX606" fmla="*/ 2022874 w 2052804"/>
                <a:gd name="connsiteY606" fmla="*/ 428679 h 1413227"/>
                <a:gd name="connsiteX607" fmla="*/ 2019417 w 2052804"/>
                <a:gd name="connsiteY607" fmla="*/ 418307 h 1413227"/>
                <a:gd name="connsiteX608" fmla="*/ 2014232 w 2052804"/>
                <a:gd name="connsiteY608" fmla="*/ 411393 h 1413227"/>
                <a:gd name="connsiteX609" fmla="*/ 2007317 w 2052804"/>
                <a:gd name="connsiteY609" fmla="*/ 407936 h 1413227"/>
                <a:gd name="connsiteX610" fmla="*/ 1988303 w 2052804"/>
                <a:gd name="connsiteY610" fmla="*/ 404479 h 1413227"/>
                <a:gd name="connsiteX611" fmla="*/ 1981389 w 2052804"/>
                <a:gd name="connsiteY611" fmla="*/ 394108 h 1413227"/>
                <a:gd name="connsiteX612" fmla="*/ 1976204 w 2052804"/>
                <a:gd name="connsiteY612" fmla="*/ 390651 h 1413227"/>
                <a:gd name="connsiteX613" fmla="*/ 1972746 w 2052804"/>
                <a:gd name="connsiteY613" fmla="*/ 382008 h 1413227"/>
                <a:gd name="connsiteX614" fmla="*/ 1977932 w 2052804"/>
                <a:gd name="connsiteY614" fmla="*/ 366451 h 1413227"/>
                <a:gd name="connsiteX615" fmla="*/ 1986575 w 2052804"/>
                <a:gd name="connsiteY615" fmla="*/ 354351 h 1413227"/>
                <a:gd name="connsiteX616" fmla="*/ 1988303 w 2052804"/>
                <a:gd name="connsiteY616" fmla="*/ 347437 h 1413227"/>
                <a:gd name="connsiteX617" fmla="*/ 1998675 w 2052804"/>
                <a:gd name="connsiteY617" fmla="*/ 343980 h 1413227"/>
                <a:gd name="connsiteX618" fmla="*/ 1964104 w 2052804"/>
                <a:gd name="connsiteY618" fmla="*/ 337066 h 1413227"/>
                <a:gd name="connsiteX619" fmla="*/ 1962375 w 2052804"/>
                <a:gd name="connsiteY619" fmla="*/ 331880 h 1413227"/>
                <a:gd name="connsiteX620" fmla="*/ 1958918 w 2052804"/>
                <a:gd name="connsiteY620" fmla="*/ 326694 h 1413227"/>
                <a:gd name="connsiteX621" fmla="*/ 1962375 w 2052804"/>
                <a:gd name="connsiteY621" fmla="*/ 318052 h 1413227"/>
                <a:gd name="connsiteX622" fmla="*/ 1967561 w 2052804"/>
                <a:gd name="connsiteY622" fmla="*/ 311138 h 1413227"/>
                <a:gd name="connsiteX623" fmla="*/ 1971018 w 2052804"/>
                <a:gd name="connsiteY623" fmla="*/ 305952 h 1413227"/>
                <a:gd name="connsiteX624" fmla="*/ 1972746 w 2052804"/>
                <a:gd name="connsiteY624" fmla="*/ 299038 h 1413227"/>
                <a:gd name="connsiteX625" fmla="*/ 1977932 w 2052804"/>
                <a:gd name="connsiteY625" fmla="*/ 293852 h 1413227"/>
                <a:gd name="connsiteX626" fmla="*/ 1979661 w 2052804"/>
                <a:gd name="connsiteY626" fmla="*/ 269652 h 1413227"/>
                <a:gd name="connsiteX627" fmla="*/ 1974475 w 2052804"/>
                <a:gd name="connsiteY627" fmla="*/ 255824 h 1413227"/>
                <a:gd name="connsiteX628" fmla="*/ 1972746 w 2052804"/>
                <a:gd name="connsiteY628" fmla="*/ 250638 h 1413227"/>
                <a:gd name="connsiteX629" fmla="*/ 1971018 w 2052804"/>
                <a:gd name="connsiteY629" fmla="*/ 243724 h 1413227"/>
                <a:gd name="connsiteX630" fmla="*/ 1967561 w 2052804"/>
                <a:gd name="connsiteY630" fmla="*/ 238539 h 1413227"/>
                <a:gd name="connsiteX631" fmla="*/ 1969289 w 2052804"/>
                <a:gd name="connsiteY631" fmla="*/ 216068 h 1413227"/>
                <a:gd name="connsiteX632" fmla="*/ 1965832 w 2052804"/>
                <a:gd name="connsiteY632" fmla="*/ 209153 h 1413227"/>
                <a:gd name="connsiteX633" fmla="*/ 1958918 w 2052804"/>
                <a:gd name="connsiteY633" fmla="*/ 216068 h 1413227"/>
                <a:gd name="connsiteX634" fmla="*/ 1952004 w 2052804"/>
                <a:gd name="connsiteY634" fmla="*/ 217796 h 1413227"/>
                <a:gd name="connsiteX635" fmla="*/ 1941633 w 2052804"/>
                <a:gd name="connsiteY635" fmla="*/ 226439 h 1413227"/>
                <a:gd name="connsiteX636" fmla="*/ 1936447 w 2052804"/>
                <a:gd name="connsiteY636" fmla="*/ 228167 h 1413227"/>
                <a:gd name="connsiteX637" fmla="*/ 1926076 w 2052804"/>
                <a:gd name="connsiteY637" fmla="*/ 235082 h 1413227"/>
                <a:gd name="connsiteX638" fmla="*/ 1910519 w 2052804"/>
                <a:gd name="connsiteY638" fmla="*/ 231624 h 1413227"/>
                <a:gd name="connsiteX639" fmla="*/ 1889776 w 2052804"/>
                <a:gd name="connsiteY639" fmla="*/ 222982 h 1413227"/>
                <a:gd name="connsiteX640" fmla="*/ 1882862 w 2052804"/>
                <a:gd name="connsiteY640" fmla="*/ 224710 h 1413227"/>
                <a:gd name="connsiteX641" fmla="*/ 1872491 w 2052804"/>
                <a:gd name="connsiteY641" fmla="*/ 233353 h 1413227"/>
                <a:gd name="connsiteX642" fmla="*/ 1851748 w 2052804"/>
                <a:gd name="connsiteY642" fmla="*/ 221253 h 1413227"/>
                <a:gd name="connsiteX643" fmla="*/ 1843106 w 2052804"/>
                <a:gd name="connsiteY643" fmla="*/ 217796 h 1413227"/>
                <a:gd name="connsiteX644" fmla="*/ 1836191 w 2052804"/>
                <a:gd name="connsiteY644" fmla="*/ 214339 h 1413227"/>
                <a:gd name="connsiteX645" fmla="*/ 1827549 w 2052804"/>
                <a:gd name="connsiteY645" fmla="*/ 224710 h 1413227"/>
                <a:gd name="connsiteX646" fmla="*/ 1820635 w 2052804"/>
                <a:gd name="connsiteY646" fmla="*/ 229896 h 1413227"/>
                <a:gd name="connsiteX647" fmla="*/ 1791249 w 2052804"/>
                <a:gd name="connsiteY647" fmla="*/ 221253 h 1413227"/>
                <a:gd name="connsiteX648" fmla="*/ 1763593 w 2052804"/>
                <a:gd name="connsiteY648" fmla="*/ 222982 h 1413227"/>
                <a:gd name="connsiteX649" fmla="*/ 1758407 w 2052804"/>
                <a:gd name="connsiteY649" fmla="*/ 224710 h 1413227"/>
                <a:gd name="connsiteX650" fmla="*/ 1739393 w 2052804"/>
                <a:gd name="connsiteY650" fmla="*/ 222982 h 1413227"/>
                <a:gd name="connsiteX651" fmla="*/ 1732479 w 2052804"/>
                <a:gd name="connsiteY651" fmla="*/ 217796 h 1413227"/>
                <a:gd name="connsiteX652" fmla="*/ 1725565 w 2052804"/>
                <a:gd name="connsiteY652" fmla="*/ 207425 h 1413227"/>
                <a:gd name="connsiteX653" fmla="*/ 1716922 w 2052804"/>
                <a:gd name="connsiteY653" fmla="*/ 235082 h 1413227"/>
                <a:gd name="connsiteX654" fmla="*/ 1710008 w 2052804"/>
                <a:gd name="connsiteY654" fmla="*/ 250638 h 1413227"/>
                <a:gd name="connsiteX655" fmla="*/ 1696179 w 2052804"/>
                <a:gd name="connsiteY655" fmla="*/ 236810 h 1413227"/>
                <a:gd name="connsiteX656" fmla="*/ 1649509 w 2052804"/>
                <a:gd name="connsiteY656" fmla="*/ 224710 h 1413227"/>
                <a:gd name="connsiteX657" fmla="*/ 1644323 w 2052804"/>
                <a:gd name="connsiteY657" fmla="*/ 217796 h 1413227"/>
                <a:gd name="connsiteX658" fmla="*/ 1642595 w 2052804"/>
                <a:gd name="connsiteY658" fmla="*/ 212610 h 1413227"/>
                <a:gd name="connsiteX659" fmla="*/ 1627038 w 2052804"/>
                <a:gd name="connsiteY659" fmla="*/ 195325 h 1413227"/>
                <a:gd name="connsiteX660" fmla="*/ 1613209 w 2052804"/>
                <a:gd name="connsiteY660" fmla="*/ 191868 h 1413227"/>
                <a:gd name="connsiteX661" fmla="*/ 1604567 w 2052804"/>
                <a:gd name="connsiteY661" fmla="*/ 200511 h 1413227"/>
                <a:gd name="connsiteX662" fmla="*/ 1599381 w 2052804"/>
                <a:gd name="connsiteY662" fmla="*/ 202239 h 1413227"/>
                <a:gd name="connsiteX663" fmla="*/ 1578638 w 2052804"/>
                <a:gd name="connsiteY663" fmla="*/ 209153 h 1413227"/>
                <a:gd name="connsiteX664" fmla="*/ 1573453 w 2052804"/>
                <a:gd name="connsiteY664" fmla="*/ 214339 h 1413227"/>
                <a:gd name="connsiteX665" fmla="*/ 1568267 w 2052804"/>
                <a:gd name="connsiteY665" fmla="*/ 217796 h 1413227"/>
                <a:gd name="connsiteX666" fmla="*/ 1564810 w 2052804"/>
                <a:gd name="connsiteY666" fmla="*/ 224710 h 1413227"/>
                <a:gd name="connsiteX667" fmla="*/ 1547525 w 2052804"/>
                <a:gd name="connsiteY667" fmla="*/ 238539 h 1413227"/>
                <a:gd name="connsiteX668" fmla="*/ 1540610 w 2052804"/>
                <a:gd name="connsiteY668" fmla="*/ 245453 h 1413227"/>
                <a:gd name="connsiteX669" fmla="*/ 1538882 w 2052804"/>
                <a:gd name="connsiteY669" fmla="*/ 250638 h 1413227"/>
                <a:gd name="connsiteX670" fmla="*/ 1540610 w 2052804"/>
                <a:gd name="connsiteY670" fmla="*/ 255824 h 1413227"/>
                <a:gd name="connsiteX671" fmla="*/ 1514682 w 2052804"/>
                <a:gd name="connsiteY671" fmla="*/ 259281 h 1413227"/>
                <a:gd name="connsiteX672" fmla="*/ 1504311 w 2052804"/>
                <a:gd name="connsiteY672" fmla="*/ 252367 h 1413227"/>
                <a:gd name="connsiteX673" fmla="*/ 1476654 w 2052804"/>
                <a:gd name="connsiteY673" fmla="*/ 252367 h 1413227"/>
                <a:gd name="connsiteX674" fmla="*/ 1459369 w 2052804"/>
                <a:gd name="connsiteY674" fmla="*/ 254096 h 1413227"/>
                <a:gd name="connsiteX675" fmla="*/ 1450726 w 2052804"/>
                <a:gd name="connsiteY675" fmla="*/ 261010 h 1413227"/>
                <a:gd name="connsiteX676" fmla="*/ 1445540 w 2052804"/>
                <a:gd name="connsiteY676" fmla="*/ 267924 h 1413227"/>
                <a:gd name="connsiteX677" fmla="*/ 1442083 w 2052804"/>
                <a:gd name="connsiteY677" fmla="*/ 273110 h 1413227"/>
                <a:gd name="connsiteX678" fmla="*/ 1436898 w 2052804"/>
                <a:gd name="connsiteY678" fmla="*/ 274838 h 1413227"/>
                <a:gd name="connsiteX679" fmla="*/ 1423069 w 2052804"/>
                <a:gd name="connsiteY679" fmla="*/ 281752 h 1413227"/>
                <a:gd name="connsiteX680" fmla="*/ 1416155 w 2052804"/>
                <a:gd name="connsiteY680" fmla="*/ 278295 h 1413227"/>
                <a:gd name="connsiteX681" fmla="*/ 1412698 w 2052804"/>
                <a:gd name="connsiteY681" fmla="*/ 273110 h 1413227"/>
                <a:gd name="connsiteX682" fmla="*/ 1404055 w 2052804"/>
                <a:gd name="connsiteY682" fmla="*/ 257553 h 1413227"/>
                <a:gd name="connsiteX683" fmla="*/ 1398870 w 2052804"/>
                <a:gd name="connsiteY683" fmla="*/ 254096 h 1413227"/>
                <a:gd name="connsiteX684" fmla="*/ 1390227 w 2052804"/>
                <a:gd name="connsiteY684" fmla="*/ 243724 h 1413227"/>
                <a:gd name="connsiteX685" fmla="*/ 1385041 w 2052804"/>
                <a:gd name="connsiteY685" fmla="*/ 212610 h 1413227"/>
                <a:gd name="connsiteX686" fmla="*/ 1374670 w 2052804"/>
                <a:gd name="connsiteY686" fmla="*/ 202239 h 1413227"/>
                <a:gd name="connsiteX687" fmla="*/ 1367756 w 2052804"/>
                <a:gd name="connsiteY687" fmla="*/ 200511 h 1413227"/>
                <a:gd name="connsiteX688" fmla="*/ 1362570 w 2052804"/>
                <a:gd name="connsiteY688" fmla="*/ 193596 h 1413227"/>
                <a:gd name="connsiteX689" fmla="*/ 1353928 w 2052804"/>
                <a:gd name="connsiteY689" fmla="*/ 178040 h 1413227"/>
                <a:gd name="connsiteX690" fmla="*/ 1341828 w 2052804"/>
                <a:gd name="connsiteY690" fmla="*/ 167668 h 1413227"/>
                <a:gd name="connsiteX691" fmla="*/ 1302071 w 2052804"/>
                <a:gd name="connsiteY691" fmla="*/ 169397 h 1413227"/>
                <a:gd name="connsiteX692" fmla="*/ 1288243 w 2052804"/>
                <a:gd name="connsiteY692" fmla="*/ 179768 h 1413227"/>
                <a:gd name="connsiteX693" fmla="*/ 1272686 w 2052804"/>
                <a:gd name="connsiteY693" fmla="*/ 181497 h 1413227"/>
                <a:gd name="connsiteX694" fmla="*/ 1255401 w 2052804"/>
                <a:gd name="connsiteY694" fmla="*/ 174583 h 1413227"/>
                <a:gd name="connsiteX695" fmla="*/ 1245029 w 2052804"/>
                <a:gd name="connsiteY695" fmla="*/ 164211 h 1413227"/>
                <a:gd name="connsiteX696" fmla="*/ 1234658 w 2052804"/>
                <a:gd name="connsiteY696" fmla="*/ 160754 h 1413227"/>
                <a:gd name="connsiteX697" fmla="*/ 1219101 w 2052804"/>
                <a:gd name="connsiteY697" fmla="*/ 146926 h 1413227"/>
                <a:gd name="connsiteX698" fmla="*/ 1217373 w 2052804"/>
                <a:gd name="connsiteY698" fmla="*/ 140012 h 1413227"/>
                <a:gd name="connsiteX699" fmla="*/ 1210458 w 2052804"/>
                <a:gd name="connsiteY699" fmla="*/ 131369 h 1413227"/>
                <a:gd name="connsiteX700" fmla="*/ 1208730 w 2052804"/>
                <a:gd name="connsiteY700" fmla="*/ 122726 h 1413227"/>
                <a:gd name="connsiteX701" fmla="*/ 1194902 w 2052804"/>
                <a:gd name="connsiteY701" fmla="*/ 117541 h 1413227"/>
                <a:gd name="connsiteX702" fmla="*/ 1205273 w 2052804"/>
                <a:gd name="connsiteY702" fmla="*/ 105441 h 1413227"/>
                <a:gd name="connsiteX703" fmla="*/ 1212187 w 2052804"/>
                <a:gd name="connsiteY703" fmla="*/ 101984 h 1413227"/>
                <a:gd name="connsiteX704" fmla="*/ 1217373 w 2052804"/>
                <a:gd name="connsiteY704" fmla="*/ 95069 h 1413227"/>
                <a:gd name="connsiteX705" fmla="*/ 1222558 w 2052804"/>
                <a:gd name="connsiteY705" fmla="*/ 89884 h 1413227"/>
                <a:gd name="connsiteX706" fmla="*/ 1220830 w 2052804"/>
                <a:gd name="connsiteY706" fmla="*/ 84698 h 1413227"/>
                <a:gd name="connsiteX707" fmla="*/ 1210458 w 2052804"/>
                <a:gd name="connsiteY707" fmla="*/ 81241 h 1413227"/>
                <a:gd name="connsiteX708" fmla="*/ 1194902 w 2052804"/>
                <a:gd name="connsiteY708" fmla="*/ 76055 h 1413227"/>
                <a:gd name="connsiteX709" fmla="*/ 1179345 w 2052804"/>
                <a:gd name="connsiteY709" fmla="*/ 60499 h 1413227"/>
                <a:gd name="connsiteX710" fmla="*/ 1172430 w 2052804"/>
                <a:gd name="connsiteY710" fmla="*/ 53584 h 1413227"/>
                <a:gd name="connsiteX711" fmla="*/ 1168973 w 2052804"/>
                <a:gd name="connsiteY711" fmla="*/ 46670 h 1413227"/>
                <a:gd name="connsiteX712" fmla="*/ 1163788 w 2052804"/>
                <a:gd name="connsiteY712" fmla="*/ 39756 h 1413227"/>
                <a:gd name="connsiteX713" fmla="*/ 1155145 w 2052804"/>
                <a:gd name="connsiteY713" fmla="*/ 27656 h 1413227"/>
                <a:gd name="connsiteX714" fmla="*/ 1149959 w 2052804"/>
                <a:gd name="connsiteY714" fmla="*/ 24199 h 1413227"/>
                <a:gd name="connsiteX715" fmla="*/ 1144774 w 2052804"/>
                <a:gd name="connsiteY715" fmla="*/ 17285 h 1413227"/>
                <a:gd name="connsiteX716" fmla="*/ 1127488 w 2052804"/>
                <a:gd name="connsiteY716" fmla="*/ 3457 h 1413227"/>
                <a:gd name="connsiteX717" fmla="*/ 1120574 w 2052804"/>
                <a:gd name="connsiteY717" fmla="*/ 0 h 1413227"/>
                <a:gd name="connsiteX718" fmla="*/ 1106746 w 2052804"/>
                <a:gd name="connsiteY718" fmla="*/ 1728 h 1413227"/>
                <a:gd name="connsiteX719" fmla="*/ 1101560 w 2052804"/>
                <a:gd name="connsiteY719" fmla="*/ 3457 h 1413227"/>
                <a:gd name="connsiteX720" fmla="*/ 1094646 w 2052804"/>
                <a:gd name="connsiteY720" fmla="*/ 5185 h 1413227"/>
                <a:gd name="connsiteX721" fmla="*/ 1075632 w 2052804"/>
                <a:gd name="connsiteY721" fmla="*/ 17285 h 1413227"/>
                <a:gd name="connsiteX722" fmla="*/ 1060075 w 2052804"/>
                <a:gd name="connsiteY722" fmla="*/ 15556 h 1413227"/>
                <a:gd name="connsiteX723" fmla="*/ 1054889 w 2052804"/>
                <a:gd name="connsiteY723" fmla="*/ 19014 h 1413227"/>
                <a:gd name="connsiteX724" fmla="*/ 1046247 w 2052804"/>
                <a:gd name="connsiteY724" fmla="*/ 27656 h 1413227"/>
                <a:gd name="connsiteX725" fmla="*/ 1032418 w 2052804"/>
                <a:gd name="connsiteY725" fmla="*/ 38027 h 1413227"/>
                <a:gd name="connsiteX726" fmla="*/ 1028961 w 2052804"/>
                <a:gd name="connsiteY726" fmla="*/ 41485 h 1413227"/>
                <a:gd name="connsiteX727" fmla="*/ 1020319 w 2052804"/>
                <a:gd name="connsiteY727" fmla="*/ 46670 h 1413227"/>
                <a:gd name="connsiteX728" fmla="*/ 1016861 w 2052804"/>
                <a:gd name="connsiteY728" fmla="*/ 50127 h 1413227"/>
                <a:gd name="connsiteX729" fmla="*/ 1001305 w 2052804"/>
                <a:gd name="connsiteY729" fmla="*/ 57041 h 1413227"/>
                <a:gd name="connsiteX730" fmla="*/ 977105 w 2052804"/>
                <a:gd name="connsiteY730" fmla="*/ 58770 h 1413227"/>
                <a:gd name="connsiteX731" fmla="*/ 971919 w 2052804"/>
                <a:gd name="connsiteY731" fmla="*/ 62227 h 1413227"/>
                <a:gd name="connsiteX732" fmla="*/ 970191 w 2052804"/>
                <a:gd name="connsiteY732" fmla="*/ 79513 h 1413227"/>
                <a:gd name="connsiteX733" fmla="*/ 966734 w 2052804"/>
                <a:gd name="connsiteY733" fmla="*/ 103712 h 1413227"/>
                <a:gd name="connsiteX734" fmla="*/ 965005 w 2052804"/>
                <a:gd name="connsiteY734" fmla="*/ 112355 h 1413227"/>
                <a:gd name="connsiteX735" fmla="*/ 920063 w 2052804"/>
                <a:gd name="connsiteY735" fmla="*/ 115812 h 1413227"/>
                <a:gd name="connsiteX736" fmla="*/ 914877 w 2052804"/>
                <a:gd name="connsiteY736" fmla="*/ 119269 h 1413227"/>
                <a:gd name="connsiteX737" fmla="*/ 909692 w 2052804"/>
                <a:gd name="connsiteY737" fmla="*/ 120998 h 1413227"/>
                <a:gd name="connsiteX738" fmla="*/ 897592 w 2052804"/>
                <a:gd name="connsiteY738" fmla="*/ 124455 h 1413227"/>
                <a:gd name="connsiteX739" fmla="*/ 892406 w 2052804"/>
                <a:gd name="connsiteY739" fmla="*/ 126183 h 1413227"/>
                <a:gd name="connsiteX740" fmla="*/ 899320 w 2052804"/>
                <a:gd name="connsiteY740" fmla="*/ 124455 h 1413227"/>
                <a:gd name="connsiteX741" fmla="*/ 907963 w 2052804"/>
                <a:gd name="connsiteY741" fmla="*/ 115812 h 1413227"/>
                <a:gd name="connsiteX742" fmla="*/ 970191 w 2052804"/>
                <a:gd name="connsiteY742" fmla="*/ 63956 h 1413227"/>
                <a:gd name="connsiteX0" fmla="*/ 970191 w 2052804"/>
                <a:gd name="connsiteY0" fmla="*/ 63956 h 1413227"/>
                <a:gd name="connsiteX1" fmla="*/ 966734 w 2052804"/>
                <a:gd name="connsiteY1" fmla="*/ 72598 h 1413227"/>
                <a:gd name="connsiteX2" fmla="*/ 923520 w 2052804"/>
                <a:gd name="connsiteY2" fmla="*/ 114083 h 1413227"/>
                <a:gd name="connsiteX3" fmla="*/ 906235 w 2052804"/>
                <a:gd name="connsiteY3" fmla="*/ 120998 h 1413227"/>
                <a:gd name="connsiteX4" fmla="*/ 888949 w 2052804"/>
                <a:gd name="connsiteY4" fmla="*/ 122726 h 1413227"/>
                <a:gd name="connsiteX5" fmla="*/ 882035 w 2052804"/>
                <a:gd name="connsiteY5" fmla="*/ 129640 h 1413227"/>
                <a:gd name="connsiteX6" fmla="*/ 859564 w 2052804"/>
                <a:gd name="connsiteY6" fmla="*/ 140012 h 1413227"/>
                <a:gd name="connsiteX7" fmla="*/ 854378 w 2052804"/>
                <a:gd name="connsiteY7" fmla="*/ 145197 h 1413227"/>
                <a:gd name="connsiteX8" fmla="*/ 835364 w 2052804"/>
                <a:gd name="connsiteY8" fmla="*/ 146926 h 1413227"/>
                <a:gd name="connsiteX9" fmla="*/ 812857 w 2052804"/>
                <a:gd name="connsiteY9" fmla="*/ 195183 h 1413227"/>
                <a:gd name="connsiteX10" fmla="*/ 821536 w 2052804"/>
                <a:gd name="connsiteY10" fmla="*/ 247181 h 1413227"/>
                <a:gd name="connsiteX11" fmla="*/ 824993 w 2052804"/>
                <a:gd name="connsiteY11" fmla="*/ 255824 h 1413227"/>
                <a:gd name="connsiteX12" fmla="*/ 830179 w 2052804"/>
                <a:gd name="connsiteY12" fmla="*/ 259281 h 1413227"/>
                <a:gd name="connsiteX13" fmla="*/ 837093 w 2052804"/>
                <a:gd name="connsiteY13" fmla="*/ 267924 h 1413227"/>
                <a:gd name="connsiteX14" fmla="*/ 840550 w 2052804"/>
                <a:gd name="connsiteY14" fmla="*/ 280024 h 1413227"/>
                <a:gd name="connsiteX15" fmla="*/ 838821 w 2052804"/>
                <a:gd name="connsiteY15" fmla="*/ 295581 h 1413227"/>
                <a:gd name="connsiteX16" fmla="*/ 824993 w 2052804"/>
                <a:gd name="connsiteY16" fmla="*/ 299038 h 1413227"/>
                <a:gd name="connsiteX17" fmla="*/ 804250 w 2052804"/>
                <a:gd name="connsiteY17" fmla="*/ 295581 h 1413227"/>
                <a:gd name="connsiteX18" fmla="*/ 790422 w 2052804"/>
                <a:gd name="connsiteY18" fmla="*/ 286938 h 1413227"/>
                <a:gd name="connsiteX19" fmla="*/ 785236 w 2052804"/>
                <a:gd name="connsiteY19" fmla="*/ 285209 h 1413227"/>
                <a:gd name="connsiteX20" fmla="*/ 778322 w 2052804"/>
                <a:gd name="connsiteY20" fmla="*/ 278295 h 1413227"/>
                <a:gd name="connsiteX21" fmla="*/ 771408 w 2052804"/>
                <a:gd name="connsiteY21" fmla="*/ 285209 h 1413227"/>
                <a:gd name="connsiteX22" fmla="*/ 762765 w 2052804"/>
                <a:gd name="connsiteY22" fmla="*/ 286938 h 1413227"/>
                <a:gd name="connsiteX23" fmla="*/ 755851 w 2052804"/>
                <a:gd name="connsiteY23" fmla="*/ 288666 h 1413227"/>
                <a:gd name="connsiteX24" fmla="*/ 750666 w 2052804"/>
                <a:gd name="connsiteY24" fmla="*/ 290395 h 1413227"/>
                <a:gd name="connsiteX25" fmla="*/ 726466 w 2052804"/>
                <a:gd name="connsiteY25" fmla="*/ 292124 h 1413227"/>
                <a:gd name="connsiteX26" fmla="*/ 724737 w 2052804"/>
                <a:gd name="connsiteY26" fmla="*/ 297309 h 1413227"/>
                <a:gd name="connsiteX27" fmla="*/ 705723 w 2052804"/>
                <a:gd name="connsiteY27" fmla="*/ 312866 h 1413227"/>
                <a:gd name="connsiteX28" fmla="*/ 690167 w 2052804"/>
                <a:gd name="connsiteY28" fmla="*/ 305952 h 1413227"/>
                <a:gd name="connsiteX29" fmla="*/ 688438 w 2052804"/>
                <a:gd name="connsiteY29" fmla="*/ 300766 h 1413227"/>
                <a:gd name="connsiteX30" fmla="*/ 684981 w 2052804"/>
                <a:gd name="connsiteY30" fmla="*/ 285209 h 1413227"/>
                <a:gd name="connsiteX31" fmla="*/ 653867 w 2052804"/>
                <a:gd name="connsiteY31" fmla="*/ 288666 h 1413227"/>
                <a:gd name="connsiteX32" fmla="*/ 650410 w 2052804"/>
                <a:gd name="connsiteY32" fmla="*/ 299038 h 1413227"/>
                <a:gd name="connsiteX33" fmla="*/ 643496 w 2052804"/>
                <a:gd name="connsiteY33" fmla="*/ 314595 h 1413227"/>
                <a:gd name="connsiteX34" fmla="*/ 638310 w 2052804"/>
                <a:gd name="connsiteY34" fmla="*/ 326694 h 1413227"/>
                <a:gd name="connsiteX35" fmla="*/ 633125 w 2052804"/>
                <a:gd name="connsiteY35" fmla="*/ 328423 h 1413227"/>
                <a:gd name="connsiteX36" fmla="*/ 617568 w 2052804"/>
                <a:gd name="connsiteY36" fmla="*/ 323237 h 1413227"/>
                <a:gd name="connsiteX37" fmla="*/ 605468 w 2052804"/>
                <a:gd name="connsiteY37" fmla="*/ 311138 h 1413227"/>
                <a:gd name="connsiteX38" fmla="*/ 576083 w 2052804"/>
                <a:gd name="connsiteY38" fmla="*/ 309409 h 1413227"/>
                <a:gd name="connsiteX39" fmla="*/ 570897 w 2052804"/>
                <a:gd name="connsiteY39" fmla="*/ 295581 h 1413227"/>
                <a:gd name="connsiteX40" fmla="*/ 567440 w 2052804"/>
                <a:gd name="connsiteY40" fmla="*/ 300766 h 1413227"/>
                <a:gd name="connsiteX41" fmla="*/ 562254 w 2052804"/>
                <a:gd name="connsiteY41" fmla="*/ 307680 h 1413227"/>
                <a:gd name="connsiteX42" fmla="*/ 553612 w 2052804"/>
                <a:gd name="connsiteY42" fmla="*/ 321509 h 1413227"/>
                <a:gd name="connsiteX43" fmla="*/ 513855 w 2052804"/>
                <a:gd name="connsiteY43" fmla="*/ 324966 h 1413227"/>
                <a:gd name="connsiteX44" fmla="*/ 519041 w 2052804"/>
                <a:gd name="connsiteY44" fmla="*/ 328423 h 1413227"/>
                <a:gd name="connsiteX45" fmla="*/ 529412 w 2052804"/>
                <a:gd name="connsiteY45" fmla="*/ 331880 h 1413227"/>
                <a:gd name="connsiteX46" fmla="*/ 527683 w 2052804"/>
                <a:gd name="connsiteY46" fmla="*/ 337066 h 1413227"/>
                <a:gd name="connsiteX47" fmla="*/ 520769 w 2052804"/>
                <a:gd name="connsiteY47" fmla="*/ 343980 h 1413227"/>
                <a:gd name="connsiteX48" fmla="*/ 515584 w 2052804"/>
                <a:gd name="connsiteY48" fmla="*/ 323237 h 1413227"/>
                <a:gd name="connsiteX49" fmla="*/ 487927 w 2052804"/>
                <a:gd name="connsiteY49" fmla="*/ 333609 h 1413227"/>
                <a:gd name="connsiteX50" fmla="*/ 482741 w 2052804"/>
                <a:gd name="connsiteY50" fmla="*/ 338794 h 1413227"/>
                <a:gd name="connsiteX51" fmla="*/ 470641 w 2052804"/>
                <a:gd name="connsiteY51" fmla="*/ 337066 h 1413227"/>
                <a:gd name="connsiteX52" fmla="*/ 467184 w 2052804"/>
                <a:gd name="connsiteY52" fmla="*/ 324966 h 1413227"/>
                <a:gd name="connsiteX53" fmla="*/ 458542 w 2052804"/>
                <a:gd name="connsiteY53" fmla="*/ 312866 h 1413227"/>
                <a:gd name="connsiteX54" fmla="*/ 453356 w 2052804"/>
                <a:gd name="connsiteY54" fmla="*/ 311138 h 1413227"/>
                <a:gd name="connsiteX55" fmla="*/ 429156 w 2052804"/>
                <a:gd name="connsiteY55" fmla="*/ 314595 h 1413227"/>
                <a:gd name="connsiteX56" fmla="*/ 277044 w 2052804"/>
                <a:gd name="connsiteY56" fmla="*/ 316323 h 1413227"/>
                <a:gd name="connsiteX57" fmla="*/ 266673 w 2052804"/>
                <a:gd name="connsiteY57" fmla="*/ 323237 h 1413227"/>
                <a:gd name="connsiteX58" fmla="*/ 259759 w 2052804"/>
                <a:gd name="connsiteY58" fmla="*/ 324966 h 1413227"/>
                <a:gd name="connsiteX59" fmla="*/ 254573 w 2052804"/>
                <a:gd name="connsiteY59" fmla="*/ 326694 h 1413227"/>
                <a:gd name="connsiteX60" fmla="*/ 242474 w 2052804"/>
                <a:gd name="connsiteY60" fmla="*/ 330152 h 1413227"/>
                <a:gd name="connsiteX61" fmla="*/ 204446 w 2052804"/>
                <a:gd name="connsiteY61" fmla="*/ 333609 h 1413227"/>
                <a:gd name="connsiteX62" fmla="*/ 192346 w 2052804"/>
                <a:gd name="connsiteY62" fmla="*/ 338794 h 1413227"/>
                <a:gd name="connsiteX63" fmla="*/ 180246 w 2052804"/>
                <a:gd name="connsiteY63" fmla="*/ 342251 h 1413227"/>
                <a:gd name="connsiteX64" fmla="*/ 150861 w 2052804"/>
                <a:gd name="connsiteY64" fmla="*/ 356080 h 1413227"/>
                <a:gd name="connsiteX65" fmla="*/ 142218 w 2052804"/>
                <a:gd name="connsiteY65" fmla="*/ 357808 h 1413227"/>
                <a:gd name="connsiteX66" fmla="*/ 140489 w 2052804"/>
                <a:gd name="connsiteY66" fmla="*/ 364722 h 1413227"/>
                <a:gd name="connsiteX67" fmla="*/ 138761 w 2052804"/>
                <a:gd name="connsiteY67" fmla="*/ 380279 h 1413227"/>
                <a:gd name="connsiteX68" fmla="*/ 131847 w 2052804"/>
                <a:gd name="connsiteY68" fmla="*/ 387193 h 1413227"/>
                <a:gd name="connsiteX69" fmla="*/ 130118 w 2052804"/>
                <a:gd name="connsiteY69" fmla="*/ 394108 h 1413227"/>
                <a:gd name="connsiteX70" fmla="*/ 128390 w 2052804"/>
                <a:gd name="connsiteY70" fmla="*/ 402750 h 1413227"/>
                <a:gd name="connsiteX71" fmla="*/ 121475 w 2052804"/>
                <a:gd name="connsiteY71" fmla="*/ 407936 h 1413227"/>
                <a:gd name="connsiteX72" fmla="*/ 109376 w 2052804"/>
                <a:gd name="connsiteY72" fmla="*/ 411393 h 1413227"/>
                <a:gd name="connsiteX73" fmla="*/ 104190 w 2052804"/>
                <a:gd name="connsiteY73" fmla="*/ 413122 h 1413227"/>
                <a:gd name="connsiteX74" fmla="*/ 74805 w 2052804"/>
                <a:gd name="connsiteY74" fmla="*/ 421764 h 1413227"/>
                <a:gd name="connsiteX75" fmla="*/ 71348 w 2052804"/>
                <a:gd name="connsiteY75" fmla="*/ 428679 h 1413227"/>
                <a:gd name="connsiteX76" fmla="*/ 73076 w 2052804"/>
                <a:gd name="connsiteY76" fmla="*/ 440778 h 1413227"/>
                <a:gd name="connsiteX77" fmla="*/ 69619 w 2052804"/>
                <a:gd name="connsiteY77" fmla="*/ 445964 h 1413227"/>
                <a:gd name="connsiteX78" fmla="*/ 67891 w 2052804"/>
                <a:gd name="connsiteY78" fmla="*/ 452878 h 1413227"/>
                <a:gd name="connsiteX79" fmla="*/ 73076 w 2052804"/>
                <a:gd name="connsiteY79" fmla="*/ 456335 h 1413227"/>
                <a:gd name="connsiteX80" fmla="*/ 78262 w 2052804"/>
                <a:gd name="connsiteY80" fmla="*/ 458064 h 1413227"/>
                <a:gd name="connsiteX81" fmla="*/ 88633 w 2052804"/>
                <a:gd name="connsiteY81" fmla="*/ 466707 h 1413227"/>
                <a:gd name="connsiteX82" fmla="*/ 85176 w 2052804"/>
                <a:gd name="connsiteY82" fmla="*/ 473621 h 1413227"/>
                <a:gd name="connsiteX83" fmla="*/ 81719 w 2052804"/>
                <a:gd name="connsiteY83" fmla="*/ 478806 h 1413227"/>
                <a:gd name="connsiteX84" fmla="*/ 83447 w 2052804"/>
                <a:gd name="connsiteY84" fmla="*/ 485721 h 1413227"/>
                <a:gd name="connsiteX85" fmla="*/ 76533 w 2052804"/>
                <a:gd name="connsiteY85" fmla="*/ 489178 h 1413227"/>
                <a:gd name="connsiteX86" fmla="*/ 67891 w 2052804"/>
                <a:gd name="connsiteY86" fmla="*/ 487449 h 1413227"/>
                <a:gd name="connsiteX87" fmla="*/ 79990 w 2052804"/>
                <a:gd name="connsiteY87" fmla="*/ 485721 h 1413227"/>
                <a:gd name="connsiteX88" fmla="*/ 90362 w 2052804"/>
                <a:gd name="connsiteY88" fmla="*/ 483992 h 1413227"/>
                <a:gd name="connsiteX89" fmla="*/ 88633 w 2052804"/>
                <a:gd name="connsiteY89" fmla="*/ 494363 h 1413227"/>
                <a:gd name="connsiteX90" fmla="*/ 90362 w 2052804"/>
                <a:gd name="connsiteY90" fmla="*/ 501277 h 1413227"/>
                <a:gd name="connsiteX91" fmla="*/ 100733 w 2052804"/>
                <a:gd name="connsiteY91" fmla="*/ 515106 h 1413227"/>
                <a:gd name="connsiteX92" fmla="*/ 105919 w 2052804"/>
                <a:gd name="connsiteY92" fmla="*/ 516834 h 1413227"/>
                <a:gd name="connsiteX93" fmla="*/ 118018 w 2052804"/>
                <a:gd name="connsiteY93" fmla="*/ 520291 h 1413227"/>
                <a:gd name="connsiteX94" fmla="*/ 106535 w 2052804"/>
                <a:gd name="connsiteY94" fmla="*/ 523095 h 1413227"/>
                <a:gd name="connsiteX95" fmla="*/ 110838 w 2052804"/>
                <a:gd name="connsiteY95" fmla="*/ 535847 h 1413227"/>
                <a:gd name="connsiteX96" fmla="*/ 128583 w 2052804"/>
                <a:gd name="connsiteY96" fmla="*/ 554668 h 1413227"/>
                <a:gd name="connsiteX97" fmla="*/ 138761 w 2052804"/>
                <a:gd name="connsiteY97" fmla="*/ 572148 h 1413227"/>
                <a:gd name="connsiteX98" fmla="*/ 143946 w 2052804"/>
                <a:gd name="connsiteY98" fmla="*/ 573876 h 1413227"/>
                <a:gd name="connsiteX99" fmla="*/ 147404 w 2052804"/>
                <a:gd name="connsiteY99" fmla="*/ 577333 h 1413227"/>
                <a:gd name="connsiteX100" fmla="*/ 150861 w 2052804"/>
                <a:gd name="connsiteY100" fmla="*/ 589433 h 1413227"/>
                <a:gd name="connsiteX101" fmla="*/ 154318 w 2052804"/>
                <a:gd name="connsiteY101" fmla="*/ 598076 h 1413227"/>
                <a:gd name="connsiteX102" fmla="*/ 152589 w 2052804"/>
                <a:gd name="connsiteY102" fmla="*/ 617090 h 1413227"/>
                <a:gd name="connsiteX103" fmla="*/ 150861 w 2052804"/>
                <a:gd name="connsiteY103" fmla="*/ 622276 h 1413227"/>
                <a:gd name="connsiteX104" fmla="*/ 145675 w 2052804"/>
                <a:gd name="connsiteY104" fmla="*/ 627461 h 1413227"/>
                <a:gd name="connsiteX105" fmla="*/ 140489 w 2052804"/>
                <a:gd name="connsiteY105" fmla="*/ 634375 h 1413227"/>
                <a:gd name="connsiteX106" fmla="*/ 124933 w 2052804"/>
                <a:gd name="connsiteY106" fmla="*/ 639561 h 1413227"/>
                <a:gd name="connsiteX107" fmla="*/ 99004 w 2052804"/>
                <a:gd name="connsiteY107" fmla="*/ 665489 h 1413227"/>
                <a:gd name="connsiteX108" fmla="*/ 93819 w 2052804"/>
                <a:gd name="connsiteY108" fmla="*/ 670675 h 1413227"/>
                <a:gd name="connsiteX109" fmla="*/ 90362 w 2052804"/>
                <a:gd name="connsiteY109" fmla="*/ 675860 h 1413227"/>
                <a:gd name="connsiteX110" fmla="*/ 85176 w 2052804"/>
                <a:gd name="connsiteY110" fmla="*/ 677589 h 1413227"/>
                <a:gd name="connsiteX111" fmla="*/ 81719 w 2052804"/>
                <a:gd name="connsiteY111" fmla="*/ 682775 h 1413227"/>
                <a:gd name="connsiteX112" fmla="*/ 67891 w 2052804"/>
                <a:gd name="connsiteY112" fmla="*/ 689689 h 1413227"/>
                <a:gd name="connsiteX113" fmla="*/ 64433 w 2052804"/>
                <a:gd name="connsiteY113" fmla="*/ 706974 h 1413227"/>
                <a:gd name="connsiteX114" fmla="*/ 54062 w 2052804"/>
                <a:gd name="connsiteY114" fmla="*/ 720803 h 1413227"/>
                <a:gd name="connsiteX115" fmla="*/ 52334 w 2052804"/>
                <a:gd name="connsiteY115" fmla="*/ 725988 h 1413227"/>
                <a:gd name="connsiteX116" fmla="*/ 50605 w 2052804"/>
                <a:gd name="connsiteY116" fmla="*/ 732902 h 1413227"/>
                <a:gd name="connsiteX117" fmla="*/ 29863 w 2052804"/>
                <a:gd name="connsiteY117" fmla="*/ 751916 h 1413227"/>
                <a:gd name="connsiteX118" fmla="*/ 22948 w 2052804"/>
                <a:gd name="connsiteY118" fmla="*/ 776116 h 1413227"/>
                <a:gd name="connsiteX119" fmla="*/ 16034 w 2052804"/>
                <a:gd name="connsiteY119" fmla="*/ 789944 h 1413227"/>
                <a:gd name="connsiteX120" fmla="*/ 21220 w 2052804"/>
                <a:gd name="connsiteY120" fmla="*/ 822787 h 1413227"/>
                <a:gd name="connsiteX121" fmla="*/ 29863 w 2052804"/>
                <a:gd name="connsiteY121" fmla="*/ 829701 h 1413227"/>
                <a:gd name="connsiteX122" fmla="*/ 33320 w 2052804"/>
                <a:gd name="connsiteY122" fmla="*/ 838344 h 1413227"/>
                <a:gd name="connsiteX123" fmla="*/ 40234 w 2052804"/>
                <a:gd name="connsiteY123" fmla="*/ 843529 h 1413227"/>
                <a:gd name="connsiteX124" fmla="*/ 41962 w 2052804"/>
                <a:gd name="connsiteY124" fmla="*/ 852172 h 1413227"/>
                <a:gd name="connsiteX125" fmla="*/ 47148 w 2052804"/>
                <a:gd name="connsiteY125" fmla="*/ 864272 h 1413227"/>
                <a:gd name="connsiteX126" fmla="*/ 48877 w 2052804"/>
                <a:gd name="connsiteY126" fmla="*/ 874643 h 1413227"/>
                <a:gd name="connsiteX127" fmla="*/ 55791 w 2052804"/>
                <a:gd name="connsiteY127" fmla="*/ 876372 h 1413227"/>
                <a:gd name="connsiteX128" fmla="*/ 57519 w 2052804"/>
                <a:gd name="connsiteY128" fmla="*/ 883286 h 1413227"/>
                <a:gd name="connsiteX129" fmla="*/ 62705 w 2052804"/>
                <a:gd name="connsiteY129" fmla="*/ 886743 h 1413227"/>
                <a:gd name="connsiteX130" fmla="*/ 55791 w 2052804"/>
                <a:gd name="connsiteY130" fmla="*/ 898843 h 1413227"/>
                <a:gd name="connsiteX131" fmla="*/ 47148 w 2052804"/>
                <a:gd name="connsiteY131" fmla="*/ 904028 h 1413227"/>
                <a:gd name="connsiteX132" fmla="*/ 33320 w 2052804"/>
                <a:gd name="connsiteY132" fmla="*/ 909214 h 1413227"/>
                <a:gd name="connsiteX133" fmla="*/ 31591 w 2052804"/>
                <a:gd name="connsiteY133" fmla="*/ 919585 h 1413227"/>
                <a:gd name="connsiteX134" fmla="*/ 15575 w 2052804"/>
                <a:gd name="connsiteY134" fmla="*/ 916974 h 1413227"/>
                <a:gd name="connsiteX135" fmla="*/ 13423 w 2052804"/>
                <a:gd name="connsiteY135" fmla="*/ 951123 h 1413227"/>
                <a:gd name="connsiteX136" fmla="*/ 19 w 2052804"/>
                <a:gd name="connsiteY136" fmla="*/ 960188 h 1413227"/>
                <a:gd name="connsiteX137" fmla="*/ 12577 w 2052804"/>
                <a:gd name="connsiteY137" fmla="*/ 990455 h 1413227"/>
                <a:gd name="connsiteX138" fmla="*/ 3934 w 2052804"/>
                <a:gd name="connsiteY138" fmla="*/ 999098 h 1413227"/>
                <a:gd name="connsiteX139" fmla="*/ 10849 w 2052804"/>
                <a:gd name="connsiteY139" fmla="*/ 1023298 h 1413227"/>
                <a:gd name="connsiteX140" fmla="*/ 19491 w 2052804"/>
                <a:gd name="connsiteY140" fmla="*/ 1025026 h 1413227"/>
                <a:gd name="connsiteX141" fmla="*/ 26405 w 2052804"/>
                <a:gd name="connsiteY141" fmla="*/ 1030212 h 1413227"/>
                <a:gd name="connsiteX142" fmla="*/ 31591 w 2052804"/>
                <a:gd name="connsiteY142" fmla="*/ 1031941 h 1413227"/>
                <a:gd name="connsiteX143" fmla="*/ 38505 w 2052804"/>
                <a:gd name="connsiteY143" fmla="*/ 1035398 h 1413227"/>
                <a:gd name="connsiteX144" fmla="*/ 43691 w 2052804"/>
                <a:gd name="connsiteY144" fmla="*/ 1042312 h 1413227"/>
                <a:gd name="connsiteX145" fmla="*/ 47148 w 2052804"/>
                <a:gd name="connsiteY145" fmla="*/ 1047497 h 1413227"/>
                <a:gd name="connsiteX146" fmla="*/ 57519 w 2052804"/>
                <a:gd name="connsiteY146" fmla="*/ 1052683 h 1413227"/>
                <a:gd name="connsiteX147" fmla="*/ 99004 w 2052804"/>
                <a:gd name="connsiteY147" fmla="*/ 1061326 h 1413227"/>
                <a:gd name="connsiteX148" fmla="*/ 100733 w 2052804"/>
                <a:gd name="connsiteY148" fmla="*/ 1073426 h 1413227"/>
                <a:gd name="connsiteX149" fmla="*/ 105919 w 2052804"/>
                <a:gd name="connsiteY149" fmla="*/ 1075154 h 1413227"/>
                <a:gd name="connsiteX150" fmla="*/ 116290 w 2052804"/>
                <a:gd name="connsiteY150" fmla="*/ 1066511 h 1413227"/>
                <a:gd name="connsiteX151" fmla="*/ 123204 w 2052804"/>
                <a:gd name="connsiteY151" fmla="*/ 1059597 h 1413227"/>
                <a:gd name="connsiteX152" fmla="*/ 124933 w 2052804"/>
                <a:gd name="connsiteY152" fmla="*/ 1054412 h 1413227"/>
                <a:gd name="connsiteX153" fmla="*/ 138761 w 2052804"/>
                <a:gd name="connsiteY153" fmla="*/ 1061326 h 1413227"/>
                <a:gd name="connsiteX154" fmla="*/ 145675 w 2052804"/>
                <a:gd name="connsiteY154" fmla="*/ 1063054 h 1413227"/>
                <a:gd name="connsiteX155" fmla="*/ 150861 w 2052804"/>
                <a:gd name="connsiteY155" fmla="*/ 1064783 h 1413227"/>
                <a:gd name="connsiteX156" fmla="*/ 251116 w 2052804"/>
                <a:gd name="connsiteY156" fmla="*/ 1068240 h 1413227"/>
                <a:gd name="connsiteX157" fmla="*/ 270130 w 2052804"/>
                <a:gd name="connsiteY157" fmla="*/ 1064783 h 1413227"/>
                <a:gd name="connsiteX158" fmla="*/ 280502 w 2052804"/>
                <a:gd name="connsiteY158" fmla="*/ 1059597 h 1413227"/>
                <a:gd name="connsiteX159" fmla="*/ 289144 w 2052804"/>
                <a:gd name="connsiteY159" fmla="*/ 1049226 h 1413227"/>
                <a:gd name="connsiteX160" fmla="*/ 299515 w 2052804"/>
                <a:gd name="connsiteY160" fmla="*/ 1052683 h 1413227"/>
                <a:gd name="connsiteX161" fmla="*/ 302973 w 2052804"/>
                <a:gd name="connsiteY161" fmla="*/ 1059597 h 1413227"/>
                <a:gd name="connsiteX162" fmla="*/ 316801 w 2052804"/>
                <a:gd name="connsiteY162" fmla="*/ 1071697 h 1413227"/>
                <a:gd name="connsiteX163" fmla="*/ 342729 w 2052804"/>
                <a:gd name="connsiteY163" fmla="*/ 1078611 h 1413227"/>
                <a:gd name="connsiteX164" fmla="*/ 365200 w 2052804"/>
                <a:gd name="connsiteY164" fmla="*/ 1075154 h 1413227"/>
                <a:gd name="connsiteX165" fmla="*/ 366929 w 2052804"/>
                <a:gd name="connsiteY165" fmla="*/ 1068240 h 1413227"/>
                <a:gd name="connsiteX166" fmla="*/ 377300 w 2052804"/>
                <a:gd name="connsiteY166" fmla="*/ 1050955 h 1413227"/>
                <a:gd name="connsiteX167" fmla="*/ 382486 w 2052804"/>
                <a:gd name="connsiteY167" fmla="*/ 1045769 h 1413227"/>
                <a:gd name="connsiteX168" fmla="*/ 401500 w 2052804"/>
                <a:gd name="connsiteY168" fmla="*/ 1038855 h 1413227"/>
                <a:gd name="connsiteX169" fmla="*/ 436071 w 2052804"/>
                <a:gd name="connsiteY169" fmla="*/ 1035398 h 1413227"/>
                <a:gd name="connsiteX170" fmla="*/ 448170 w 2052804"/>
                <a:gd name="connsiteY170" fmla="*/ 1031941 h 1413227"/>
                <a:gd name="connsiteX171" fmla="*/ 451627 w 2052804"/>
                <a:gd name="connsiteY171" fmla="*/ 1025026 h 1413227"/>
                <a:gd name="connsiteX172" fmla="*/ 456813 w 2052804"/>
                <a:gd name="connsiteY172" fmla="*/ 1021569 h 1413227"/>
                <a:gd name="connsiteX173" fmla="*/ 472370 w 2052804"/>
                <a:gd name="connsiteY173" fmla="*/ 1011198 h 1413227"/>
                <a:gd name="connsiteX174" fmla="*/ 477556 w 2052804"/>
                <a:gd name="connsiteY174" fmla="*/ 999098 h 1413227"/>
                <a:gd name="connsiteX175" fmla="*/ 482741 w 2052804"/>
                <a:gd name="connsiteY175" fmla="*/ 986998 h 1413227"/>
                <a:gd name="connsiteX176" fmla="*/ 489655 w 2052804"/>
                <a:gd name="connsiteY176" fmla="*/ 980084 h 1413227"/>
                <a:gd name="connsiteX177" fmla="*/ 493112 w 2052804"/>
                <a:gd name="connsiteY177" fmla="*/ 974899 h 1413227"/>
                <a:gd name="connsiteX178" fmla="*/ 515584 w 2052804"/>
                <a:gd name="connsiteY178" fmla="*/ 955885 h 1413227"/>
                <a:gd name="connsiteX179" fmla="*/ 534598 w 2052804"/>
                <a:gd name="connsiteY179" fmla="*/ 947242 h 1413227"/>
                <a:gd name="connsiteX180" fmla="*/ 541512 w 2052804"/>
                <a:gd name="connsiteY180" fmla="*/ 933414 h 1413227"/>
                <a:gd name="connsiteX181" fmla="*/ 543240 w 2052804"/>
                <a:gd name="connsiteY181" fmla="*/ 928228 h 1413227"/>
                <a:gd name="connsiteX182" fmla="*/ 544969 w 2052804"/>
                <a:gd name="connsiteY182" fmla="*/ 921314 h 1413227"/>
                <a:gd name="connsiteX183" fmla="*/ 567440 w 2052804"/>
                <a:gd name="connsiteY183" fmla="*/ 917857 h 1413227"/>
                <a:gd name="connsiteX184" fmla="*/ 572626 w 2052804"/>
                <a:gd name="connsiteY184" fmla="*/ 916128 h 1413227"/>
                <a:gd name="connsiteX185" fmla="*/ 588182 w 2052804"/>
                <a:gd name="connsiteY185" fmla="*/ 914400 h 1413227"/>
                <a:gd name="connsiteX186" fmla="*/ 593368 w 2052804"/>
                <a:gd name="connsiteY186" fmla="*/ 910942 h 1413227"/>
                <a:gd name="connsiteX187" fmla="*/ 603739 w 2052804"/>
                <a:gd name="connsiteY187" fmla="*/ 905757 h 1413227"/>
                <a:gd name="connsiteX188" fmla="*/ 608925 w 2052804"/>
                <a:gd name="connsiteY188" fmla="*/ 900571 h 1413227"/>
                <a:gd name="connsiteX189" fmla="*/ 610653 w 2052804"/>
                <a:gd name="connsiteY189" fmla="*/ 895386 h 1413227"/>
                <a:gd name="connsiteX190" fmla="*/ 619296 w 2052804"/>
                <a:gd name="connsiteY190" fmla="*/ 891928 h 1413227"/>
                <a:gd name="connsiteX191" fmla="*/ 624482 w 2052804"/>
                <a:gd name="connsiteY191" fmla="*/ 886743 h 1413227"/>
                <a:gd name="connsiteX192" fmla="*/ 643496 w 2052804"/>
                <a:gd name="connsiteY192" fmla="*/ 879829 h 1413227"/>
                <a:gd name="connsiteX193" fmla="*/ 657324 w 2052804"/>
                <a:gd name="connsiteY193" fmla="*/ 883286 h 1413227"/>
                <a:gd name="connsiteX194" fmla="*/ 664238 w 2052804"/>
                <a:gd name="connsiteY194" fmla="*/ 885014 h 1413227"/>
                <a:gd name="connsiteX195" fmla="*/ 672881 w 2052804"/>
                <a:gd name="connsiteY195" fmla="*/ 886743 h 1413227"/>
                <a:gd name="connsiteX196" fmla="*/ 679795 w 2052804"/>
                <a:gd name="connsiteY196" fmla="*/ 890200 h 1413227"/>
                <a:gd name="connsiteX197" fmla="*/ 686709 w 2052804"/>
                <a:gd name="connsiteY197" fmla="*/ 891928 h 1413227"/>
                <a:gd name="connsiteX198" fmla="*/ 691895 w 2052804"/>
                <a:gd name="connsiteY198" fmla="*/ 895386 h 1413227"/>
                <a:gd name="connsiteX199" fmla="*/ 703995 w 2052804"/>
                <a:gd name="connsiteY199" fmla="*/ 898843 h 1413227"/>
                <a:gd name="connsiteX200" fmla="*/ 710909 w 2052804"/>
                <a:gd name="connsiteY200" fmla="*/ 904028 h 1413227"/>
                <a:gd name="connsiteX201" fmla="*/ 724737 w 2052804"/>
                <a:gd name="connsiteY201" fmla="*/ 907485 h 1413227"/>
                <a:gd name="connsiteX202" fmla="*/ 731652 w 2052804"/>
                <a:gd name="connsiteY202" fmla="*/ 905757 h 1413227"/>
                <a:gd name="connsiteX203" fmla="*/ 740294 w 2052804"/>
                <a:gd name="connsiteY203" fmla="*/ 904028 h 1413227"/>
                <a:gd name="connsiteX204" fmla="*/ 742023 w 2052804"/>
                <a:gd name="connsiteY204" fmla="*/ 910942 h 1413227"/>
                <a:gd name="connsiteX205" fmla="*/ 764494 w 2052804"/>
                <a:gd name="connsiteY205" fmla="*/ 904028 h 1413227"/>
                <a:gd name="connsiteX206" fmla="*/ 774865 w 2052804"/>
                <a:gd name="connsiteY206" fmla="*/ 895386 h 1413227"/>
                <a:gd name="connsiteX207" fmla="*/ 780051 w 2052804"/>
                <a:gd name="connsiteY207" fmla="*/ 909214 h 1413227"/>
                <a:gd name="connsiteX208" fmla="*/ 786965 w 2052804"/>
                <a:gd name="connsiteY208" fmla="*/ 914400 h 1413227"/>
                <a:gd name="connsiteX209" fmla="*/ 792151 w 2052804"/>
                <a:gd name="connsiteY209" fmla="*/ 919585 h 1413227"/>
                <a:gd name="connsiteX210" fmla="*/ 797336 w 2052804"/>
                <a:gd name="connsiteY210" fmla="*/ 923042 h 1413227"/>
                <a:gd name="connsiteX211" fmla="*/ 802522 w 2052804"/>
                <a:gd name="connsiteY211" fmla="*/ 928228 h 1413227"/>
                <a:gd name="connsiteX212" fmla="*/ 819807 w 2052804"/>
                <a:gd name="connsiteY212" fmla="*/ 935142 h 1413227"/>
                <a:gd name="connsiteX213" fmla="*/ 824993 w 2052804"/>
                <a:gd name="connsiteY213" fmla="*/ 926499 h 1413227"/>
                <a:gd name="connsiteX214" fmla="*/ 828450 w 2052804"/>
                <a:gd name="connsiteY214" fmla="*/ 910942 h 1413227"/>
                <a:gd name="connsiteX215" fmla="*/ 837093 w 2052804"/>
                <a:gd name="connsiteY215" fmla="*/ 912671 h 1413227"/>
                <a:gd name="connsiteX216" fmla="*/ 842278 w 2052804"/>
                <a:gd name="connsiteY216" fmla="*/ 926499 h 1413227"/>
                <a:gd name="connsiteX217" fmla="*/ 845736 w 2052804"/>
                <a:gd name="connsiteY217" fmla="*/ 929956 h 1413227"/>
                <a:gd name="connsiteX218" fmla="*/ 854378 w 2052804"/>
                <a:gd name="connsiteY218" fmla="*/ 948970 h 1413227"/>
                <a:gd name="connsiteX219" fmla="*/ 857835 w 2052804"/>
                <a:gd name="connsiteY219" fmla="*/ 954156 h 1413227"/>
                <a:gd name="connsiteX220" fmla="*/ 863021 w 2052804"/>
                <a:gd name="connsiteY220" fmla="*/ 988727 h 1413227"/>
                <a:gd name="connsiteX221" fmla="*/ 868207 w 2052804"/>
                <a:gd name="connsiteY221" fmla="*/ 1009469 h 1413227"/>
                <a:gd name="connsiteX222" fmla="*/ 882035 w 2052804"/>
                <a:gd name="connsiteY222" fmla="*/ 1012927 h 1413227"/>
                <a:gd name="connsiteX223" fmla="*/ 888949 w 2052804"/>
                <a:gd name="connsiteY223" fmla="*/ 1016384 h 1413227"/>
                <a:gd name="connsiteX224" fmla="*/ 892406 w 2052804"/>
                <a:gd name="connsiteY224" fmla="*/ 1021569 h 1413227"/>
                <a:gd name="connsiteX225" fmla="*/ 904506 w 2052804"/>
                <a:gd name="connsiteY225" fmla="*/ 1026755 h 1413227"/>
                <a:gd name="connsiteX226" fmla="*/ 909692 w 2052804"/>
                <a:gd name="connsiteY226" fmla="*/ 1033669 h 1413227"/>
                <a:gd name="connsiteX227" fmla="*/ 913149 w 2052804"/>
                <a:gd name="connsiteY227" fmla="*/ 1040583 h 1413227"/>
                <a:gd name="connsiteX228" fmla="*/ 916606 w 2052804"/>
                <a:gd name="connsiteY228" fmla="*/ 1045769 h 1413227"/>
                <a:gd name="connsiteX229" fmla="*/ 925249 w 2052804"/>
                <a:gd name="connsiteY229" fmla="*/ 1061326 h 1413227"/>
                <a:gd name="connsiteX230" fmla="*/ 932163 w 2052804"/>
                <a:gd name="connsiteY230" fmla="*/ 1082068 h 1413227"/>
                <a:gd name="connsiteX231" fmla="*/ 933891 w 2052804"/>
                <a:gd name="connsiteY231" fmla="*/ 1088983 h 1413227"/>
                <a:gd name="connsiteX232" fmla="*/ 944263 w 2052804"/>
                <a:gd name="connsiteY232" fmla="*/ 1095897 h 1413227"/>
                <a:gd name="connsiteX233" fmla="*/ 963277 w 2052804"/>
                <a:gd name="connsiteY233" fmla="*/ 1097625 h 1413227"/>
                <a:gd name="connsiteX234" fmla="*/ 971919 w 2052804"/>
                <a:gd name="connsiteY234" fmla="*/ 1101082 h 1413227"/>
                <a:gd name="connsiteX235" fmla="*/ 977105 w 2052804"/>
                <a:gd name="connsiteY235" fmla="*/ 1106268 h 1413227"/>
                <a:gd name="connsiteX236" fmla="*/ 982291 w 2052804"/>
                <a:gd name="connsiteY236" fmla="*/ 1109725 h 1413227"/>
                <a:gd name="connsiteX237" fmla="*/ 987476 w 2052804"/>
                <a:gd name="connsiteY237" fmla="*/ 1118368 h 1413227"/>
                <a:gd name="connsiteX238" fmla="*/ 989205 w 2052804"/>
                <a:gd name="connsiteY238" fmla="*/ 1132196 h 1413227"/>
                <a:gd name="connsiteX239" fmla="*/ 996119 w 2052804"/>
                <a:gd name="connsiteY239" fmla="*/ 1139110 h 1413227"/>
                <a:gd name="connsiteX240" fmla="*/ 1009947 w 2052804"/>
                <a:gd name="connsiteY240" fmla="*/ 1147753 h 1413227"/>
                <a:gd name="connsiteX241" fmla="*/ 1023776 w 2052804"/>
                <a:gd name="connsiteY241" fmla="*/ 1165038 h 1413227"/>
                <a:gd name="connsiteX242" fmla="*/ 1016861 w 2052804"/>
                <a:gd name="connsiteY242" fmla="*/ 1168496 h 1413227"/>
                <a:gd name="connsiteX243" fmla="*/ 1013404 w 2052804"/>
                <a:gd name="connsiteY243" fmla="*/ 1173681 h 1413227"/>
                <a:gd name="connsiteX244" fmla="*/ 1001305 w 2052804"/>
                <a:gd name="connsiteY244" fmla="*/ 1177138 h 1413227"/>
                <a:gd name="connsiteX245" fmla="*/ 994390 w 2052804"/>
                <a:gd name="connsiteY245" fmla="*/ 1182324 h 1413227"/>
                <a:gd name="connsiteX246" fmla="*/ 977105 w 2052804"/>
                <a:gd name="connsiteY246" fmla="*/ 1182324 h 1413227"/>
                <a:gd name="connsiteX247" fmla="*/ 975376 w 2052804"/>
                <a:gd name="connsiteY247" fmla="*/ 1161581 h 1413227"/>
                <a:gd name="connsiteX248" fmla="*/ 966734 w 2052804"/>
                <a:gd name="connsiteY248" fmla="*/ 1171953 h 1413227"/>
                <a:gd name="connsiteX249" fmla="*/ 963277 w 2052804"/>
                <a:gd name="connsiteY249" fmla="*/ 1178867 h 1413227"/>
                <a:gd name="connsiteX250" fmla="*/ 959819 w 2052804"/>
                <a:gd name="connsiteY250" fmla="*/ 1184052 h 1413227"/>
                <a:gd name="connsiteX251" fmla="*/ 951177 w 2052804"/>
                <a:gd name="connsiteY251" fmla="*/ 1187510 h 1413227"/>
                <a:gd name="connsiteX252" fmla="*/ 944263 w 2052804"/>
                <a:gd name="connsiteY252" fmla="*/ 1190967 h 1413227"/>
                <a:gd name="connsiteX253" fmla="*/ 939077 w 2052804"/>
                <a:gd name="connsiteY253" fmla="*/ 1189238 h 1413227"/>
                <a:gd name="connsiteX254" fmla="*/ 933891 w 2052804"/>
                <a:gd name="connsiteY254" fmla="*/ 1171953 h 1413227"/>
                <a:gd name="connsiteX255" fmla="*/ 930434 w 2052804"/>
                <a:gd name="connsiteY255" fmla="*/ 1165038 h 1413227"/>
                <a:gd name="connsiteX256" fmla="*/ 925249 w 2052804"/>
                <a:gd name="connsiteY256" fmla="*/ 1178867 h 1413227"/>
                <a:gd name="connsiteX257" fmla="*/ 921791 w 2052804"/>
                <a:gd name="connsiteY257" fmla="*/ 1182324 h 1413227"/>
                <a:gd name="connsiteX258" fmla="*/ 918334 w 2052804"/>
                <a:gd name="connsiteY258" fmla="*/ 1194424 h 1413227"/>
                <a:gd name="connsiteX259" fmla="*/ 913149 w 2052804"/>
                <a:gd name="connsiteY259" fmla="*/ 1199609 h 1413227"/>
                <a:gd name="connsiteX260" fmla="*/ 890678 w 2052804"/>
                <a:gd name="connsiteY260" fmla="*/ 1180595 h 1413227"/>
                <a:gd name="connsiteX261" fmla="*/ 887221 w 2052804"/>
                <a:gd name="connsiteY261" fmla="*/ 1189238 h 1413227"/>
                <a:gd name="connsiteX262" fmla="*/ 883764 w 2052804"/>
                <a:gd name="connsiteY262" fmla="*/ 1194424 h 1413227"/>
                <a:gd name="connsiteX263" fmla="*/ 878578 w 2052804"/>
                <a:gd name="connsiteY263" fmla="*/ 1204795 h 1413227"/>
                <a:gd name="connsiteX264" fmla="*/ 883764 w 2052804"/>
                <a:gd name="connsiteY264" fmla="*/ 1211709 h 1413227"/>
                <a:gd name="connsiteX265" fmla="*/ 894135 w 2052804"/>
                <a:gd name="connsiteY265" fmla="*/ 1215166 h 1413227"/>
                <a:gd name="connsiteX266" fmla="*/ 897592 w 2052804"/>
                <a:gd name="connsiteY266" fmla="*/ 1235909 h 1413227"/>
                <a:gd name="connsiteX267" fmla="*/ 895863 w 2052804"/>
                <a:gd name="connsiteY267" fmla="*/ 1258380 h 1413227"/>
                <a:gd name="connsiteX268" fmla="*/ 894135 w 2052804"/>
                <a:gd name="connsiteY268" fmla="*/ 1263565 h 1413227"/>
                <a:gd name="connsiteX269" fmla="*/ 882035 w 2052804"/>
                <a:gd name="connsiteY269" fmla="*/ 1275665 h 1413227"/>
                <a:gd name="connsiteX270" fmla="*/ 875121 w 2052804"/>
                <a:gd name="connsiteY270" fmla="*/ 1282579 h 1413227"/>
                <a:gd name="connsiteX271" fmla="*/ 880306 w 2052804"/>
                <a:gd name="connsiteY271" fmla="*/ 1287765 h 1413227"/>
                <a:gd name="connsiteX272" fmla="*/ 878578 w 2052804"/>
                <a:gd name="connsiteY272" fmla="*/ 1306779 h 1413227"/>
                <a:gd name="connsiteX273" fmla="*/ 873392 w 2052804"/>
                <a:gd name="connsiteY273" fmla="*/ 1308508 h 1413227"/>
                <a:gd name="connsiteX274" fmla="*/ 868207 w 2052804"/>
                <a:gd name="connsiteY274" fmla="*/ 1320607 h 1413227"/>
                <a:gd name="connsiteX275" fmla="*/ 862305 w 2052804"/>
                <a:gd name="connsiteY275" fmla="*/ 1338987 h 1413227"/>
                <a:gd name="connsiteX276" fmla="*/ 866478 w 2052804"/>
                <a:gd name="connsiteY276" fmla="*/ 1360364 h 1413227"/>
                <a:gd name="connsiteX277" fmla="*/ 861292 w 2052804"/>
                <a:gd name="connsiteY277" fmla="*/ 1363821 h 1413227"/>
                <a:gd name="connsiteX278" fmla="*/ 856107 w 2052804"/>
                <a:gd name="connsiteY278" fmla="*/ 1365550 h 1413227"/>
                <a:gd name="connsiteX279" fmla="*/ 854378 w 2052804"/>
                <a:gd name="connsiteY279" fmla="*/ 1370735 h 1413227"/>
                <a:gd name="connsiteX280" fmla="*/ 842278 w 2052804"/>
                <a:gd name="connsiteY280" fmla="*/ 1379378 h 1413227"/>
                <a:gd name="connsiteX281" fmla="*/ 845736 w 2052804"/>
                <a:gd name="connsiteY281" fmla="*/ 1389749 h 1413227"/>
                <a:gd name="connsiteX282" fmla="*/ 844431 w 2052804"/>
                <a:gd name="connsiteY282" fmla="*/ 1405535 h 1413227"/>
                <a:gd name="connsiteX283" fmla="*/ 839439 w 2052804"/>
                <a:gd name="connsiteY283" fmla="*/ 1401197 h 1413227"/>
                <a:gd name="connsiteX284" fmla="*/ 858258 w 2052804"/>
                <a:gd name="connsiteY284" fmla="*/ 1410492 h 1413227"/>
                <a:gd name="connsiteX285" fmla="*/ 888949 w 2052804"/>
                <a:gd name="connsiteY285" fmla="*/ 1408763 h 1413227"/>
                <a:gd name="connsiteX286" fmla="*/ 894135 w 2052804"/>
                <a:gd name="connsiteY286" fmla="*/ 1413103 h 1413227"/>
                <a:gd name="connsiteX287" fmla="*/ 925567 w 2052804"/>
                <a:gd name="connsiteY287" fmla="*/ 1403013 h 1413227"/>
                <a:gd name="connsiteX288" fmla="*/ 936361 w 2052804"/>
                <a:gd name="connsiteY288" fmla="*/ 1394371 h 1413227"/>
                <a:gd name="connsiteX289" fmla="*/ 937807 w 2052804"/>
                <a:gd name="connsiteY289" fmla="*/ 1386010 h 1413227"/>
                <a:gd name="connsiteX290" fmla="*/ 947296 w 2052804"/>
                <a:gd name="connsiteY290" fmla="*/ 1367278 h 1413227"/>
                <a:gd name="connsiteX291" fmla="*/ 947720 w 2052804"/>
                <a:gd name="connsiteY291" fmla="*/ 1362093 h 1413227"/>
                <a:gd name="connsiteX292" fmla="*/ 958091 w 2052804"/>
                <a:gd name="connsiteY292" fmla="*/ 1360364 h 1413227"/>
                <a:gd name="connsiteX293" fmla="*/ 997847 w 2052804"/>
                <a:gd name="connsiteY293" fmla="*/ 1356907 h 1413227"/>
                <a:gd name="connsiteX294" fmla="*/ 1001305 w 2052804"/>
                <a:gd name="connsiteY294" fmla="*/ 1349993 h 1413227"/>
                <a:gd name="connsiteX295" fmla="*/ 1013404 w 2052804"/>
                <a:gd name="connsiteY295" fmla="*/ 1344807 h 1413227"/>
                <a:gd name="connsiteX296" fmla="*/ 1001305 w 2052804"/>
                <a:gd name="connsiteY296" fmla="*/ 1334436 h 1413227"/>
                <a:gd name="connsiteX297" fmla="*/ 997847 w 2052804"/>
                <a:gd name="connsiteY297" fmla="*/ 1327522 h 1413227"/>
                <a:gd name="connsiteX298" fmla="*/ 992662 w 2052804"/>
                <a:gd name="connsiteY298" fmla="*/ 1322336 h 1413227"/>
                <a:gd name="connsiteX299" fmla="*/ 989205 w 2052804"/>
                <a:gd name="connsiteY299" fmla="*/ 1310236 h 1413227"/>
                <a:gd name="connsiteX300" fmla="*/ 985748 w 2052804"/>
                <a:gd name="connsiteY300" fmla="*/ 1299865 h 1413227"/>
                <a:gd name="connsiteX301" fmla="*/ 994390 w 2052804"/>
                <a:gd name="connsiteY301" fmla="*/ 1287765 h 1413227"/>
                <a:gd name="connsiteX302" fmla="*/ 996119 w 2052804"/>
                <a:gd name="connsiteY302" fmla="*/ 1292951 h 1413227"/>
                <a:gd name="connsiteX303" fmla="*/ 1018590 w 2052804"/>
                <a:gd name="connsiteY303" fmla="*/ 1299865 h 1413227"/>
                <a:gd name="connsiteX304" fmla="*/ 1020319 w 2052804"/>
                <a:gd name="connsiteY304" fmla="*/ 1294679 h 1413227"/>
                <a:gd name="connsiteX305" fmla="*/ 1022047 w 2052804"/>
                <a:gd name="connsiteY305" fmla="*/ 1284308 h 1413227"/>
                <a:gd name="connsiteX306" fmla="*/ 1035875 w 2052804"/>
                <a:gd name="connsiteY306" fmla="*/ 1270480 h 1413227"/>
                <a:gd name="connsiteX307" fmla="*/ 1041061 w 2052804"/>
                <a:gd name="connsiteY307" fmla="*/ 1265294 h 1413227"/>
                <a:gd name="connsiteX308" fmla="*/ 1042790 w 2052804"/>
                <a:gd name="connsiteY308" fmla="*/ 1260108 h 1413227"/>
                <a:gd name="connsiteX309" fmla="*/ 1058346 w 2052804"/>
                <a:gd name="connsiteY309" fmla="*/ 1251466 h 1413227"/>
                <a:gd name="connsiteX310" fmla="*/ 1066989 w 2052804"/>
                <a:gd name="connsiteY310" fmla="*/ 1242823 h 1413227"/>
                <a:gd name="connsiteX311" fmla="*/ 1072175 w 2052804"/>
                <a:gd name="connsiteY311" fmla="*/ 1223809 h 1413227"/>
                <a:gd name="connsiteX312" fmla="*/ 1073903 w 2052804"/>
                <a:gd name="connsiteY312" fmla="*/ 1215166 h 1413227"/>
                <a:gd name="connsiteX313" fmla="*/ 1079089 w 2052804"/>
                <a:gd name="connsiteY313" fmla="*/ 1201338 h 1413227"/>
                <a:gd name="connsiteX314" fmla="*/ 1084275 w 2052804"/>
                <a:gd name="connsiteY314" fmla="*/ 1175410 h 1413227"/>
                <a:gd name="connsiteX315" fmla="*/ 1086003 w 2052804"/>
                <a:gd name="connsiteY315" fmla="*/ 1170224 h 1413227"/>
                <a:gd name="connsiteX316" fmla="*/ 1087732 w 2052804"/>
                <a:gd name="connsiteY316" fmla="*/ 1161581 h 1413227"/>
                <a:gd name="connsiteX317" fmla="*/ 1089460 w 2052804"/>
                <a:gd name="connsiteY317" fmla="*/ 1156396 h 1413227"/>
                <a:gd name="connsiteX318" fmla="*/ 1091189 w 2052804"/>
                <a:gd name="connsiteY318" fmla="*/ 1147753 h 1413227"/>
                <a:gd name="connsiteX319" fmla="*/ 1101560 w 2052804"/>
                <a:gd name="connsiteY319" fmla="*/ 1128739 h 1413227"/>
                <a:gd name="connsiteX320" fmla="*/ 1103289 w 2052804"/>
                <a:gd name="connsiteY320" fmla="*/ 1111454 h 1413227"/>
                <a:gd name="connsiteX321" fmla="*/ 1110203 w 2052804"/>
                <a:gd name="connsiteY321" fmla="*/ 1097625 h 1413227"/>
                <a:gd name="connsiteX322" fmla="*/ 1115388 w 2052804"/>
                <a:gd name="connsiteY322" fmla="*/ 1095897 h 1413227"/>
                <a:gd name="connsiteX323" fmla="*/ 1130945 w 2052804"/>
                <a:gd name="connsiteY323" fmla="*/ 1094168 h 1413227"/>
                <a:gd name="connsiteX324" fmla="*/ 1136131 w 2052804"/>
                <a:gd name="connsiteY324" fmla="*/ 1088983 h 1413227"/>
                <a:gd name="connsiteX325" fmla="*/ 1170702 w 2052804"/>
                <a:gd name="connsiteY325" fmla="*/ 1083797 h 1413227"/>
                <a:gd name="connsiteX326" fmla="*/ 1179345 w 2052804"/>
                <a:gd name="connsiteY326" fmla="*/ 1073426 h 1413227"/>
                <a:gd name="connsiteX327" fmla="*/ 1181073 w 2052804"/>
                <a:gd name="connsiteY327" fmla="*/ 1061326 h 1413227"/>
                <a:gd name="connsiteX328" fmla="*/ 1174159 w 2052804"/>
                <a:gd name="connsiteY328" fmla="*/ 1047497 h 1413227"/>
                <a:gd name="connsiteX329" fmla="*/ 1167245 w 2052804"/>
                <a:gd name="connsiteY329" fmla="*/ 1050955 h 1413227"/>
                <a:gd name="connsiteX330" fmla="*/ 1170702 w 2052804"/>
                <a:gd name="connsiteY330" fmla="*/ 1068240 h 1413227"/>
                <a:gd name="connsiteX331" fmla="*/ 1174159 w 2052804"/>
                <a:gd name="connsiteY331" fmla="*/ 1076883 h 1413227"/>
                <a:gd name="connsiteX332" fmla="*/ 1186259 w 2052804"/>
                <a:gd name="connsiteY332" fmla="*/ 1080340 h 1413227"/>
                <a:gd name="connsiteX333" fmla="*/ 1210458 w 2052804"/>
                <a:gd name="connsiteY333" fmla="*/ 1078611 h 1413227"/>
                <a:gd name="connsiteX334" fmla="*/ 1215644 w 2052804"/>
                <a:gd name="connsiteY334" fmla="*/ 1073426 h 1413227"/>
                <a:gd name="connsiteX335" fmla="*/ 1222558 w 2052804"/>
                <a:gd name="connsiteY335" fmla="*/ 1057869 h 1413227"/>
                <a:gd name="connsiteX336" fmla="*/ 1224287 w 2052804"/>
                <a:gd name="connsiteY336" fmla="*/ 1044040 h 1413227"/>
                <a:gd name="connsiteX337" fmla="*/ 1222558 w 2052804"/>
                <a:gd name="connsiteY337" fmla="*/ 1014655 h 1413227"/>
                <a:gd name="connsiteX338" fmla="*/ 1215644 w 2052804"/>
                <a:gd name="connsiteY338" fmla="*/ 997370 h 1413227"/>
                <a:gd name="connsiteX339" fmla="*/ 1210458 w 2052804"/>
                <a:gd name="connsiteY339" fmla="*/ 993913 h 1413227"/>
                <a:gd name="connsiteX340" fmla="*/ 1187987 w 2052804"/>
                <a:gd name="connsiteY340" fmla="*/ 973170 h 1413227"/>
                <a:gd name="connsiteX341" fmla="*/ 1177616 w 2052804"/>
                <a:gd name="connsiteY341" fmla="*/ 962799 h 1413227"/>
                <a:gd name="connsiteX342" fmla="*/ 1172430 w 2052804"/>
                <a:gd name="connsiteY342" fmla="*/ 957613 h 1413227"/>
                <a:gd name="connsiteX343" fmla="*/ 1175888 w 2052804"/>
                <a:gd name="connsiteY343" fmla="*/ 961070 h 1413227"/>
                <a:gd name="connsiteX344" fmla="*/ 1182802 w 2052804"/>
                <a:gd name="connsiteY344" fmla="*/ 971441 h 1413227"/>
                <a:gd name="connsiteX345" fmla="*/ 1189716 w 2052804"/>
                <a:gd name="connsiteY345" fmla="*/ 980084 h 1413227"/>
                <a:gd name="connsiteX346" fmla="*/ 1194902 w 2052804"/>
                <a:gd name="connsiteY346" fmla="*/ 985270 h 1413227"/>
                <a:gd name="connsiteX347" fmla="*/ 1198359 w 2052804"/>
                <a:gd name="connsiteY347" fmla="*/ 993913 h 1413227"/>
                <a:gd name="connsiteX348" fmla="*/ 1210458 w 2052804"/>
                <a:gd name="connsiteY348" fmla="*/ 1007741 h 1413227"/>
                <a:gd name="connsiteX349" fmla="*/ 1212187 w 2052804"/>
                <a:gd name="connsiteY349" fmla="*/ 1014655 h 1413227"/>
                <a:gd name="connsiteX350" fmla="*/ 1215644 w 2052804"/>
                <a:gd name="connsiteY350" fmla="*/ 1023298 h 1413227"/>
                <a:gd name="connsiteX351" fmla="*/ 1217373 w 2052804"/>
                <a:gd name="connsiteY351" fmla="*/ 1035398 h 1413227"/>
                <a:gd name="connsiteX352" fmla="*/ 1219101 w 2052804"/>
                <a:gd name="connsiteY352" fmla="*/ 1044040 h 1413227"/>
                <a:gd name="connsiteX353" fmla="*/ 1224287 w 2052804"/>
                <a:gd name="connsiteY353" fmla="*/ 1045769 h 1413227"/>
                <a:gd name="connsiteX354" fmla="*/ 1227744 w 2052804"/>
                <a:gd name="connsiteY354" fmla="*/ 1050955 h 1413227"/>
                <a:gd name="connsiteX355" fmla="*/ 1238115 w 2052804"/>
                <a:gd name="connsiteY355" fmla="*/ 1063054 h 1413227"/>
                <a:gd name="connsiteX356" fmla="*/ 1257129 w 2052804"/>
                <a:gd name="connsiteY356" fmla="*/ 1057869 h 1413227"/>
                <a:gd name="connsiteX357" fmla="*/ 1262315 w 2052804"/>
                <a:gd name="connsiteY357" fmla="*/ 1054412 h 1413227"/>
                <a:gd name="connsiteX358" fmla="*/ 1269229 w 2052804"/>
                <a:gd name="connsiteY358" fmla="*/ 1050955 h 1413227"/>
                <a:gd name="connsiteX359" fmla="*/ 1270957 w 2052804"/>
                <a:gd name="connsiteY359" fmla="*/ 1056140 h 1413227"/>
                <a:gd name="connsiteX360" fmla="*/ 1272686 w 2052804"/>
                <a:gd name="connsiteY360" fmla="*/ 1068240 h 1413227"/>
                <a:gd name="connsiteX361" fmla="*/ 1283057 w 2052804"/>
                <a:gd name="connsiteY361" fmla="*/ 1064783 h 1413227"/>
                <a:gd name="connsiteX362" fmla="*/ 1293429 w 2052804"/>
                <a:gd name="connsiteY362" fmla="*/ 1056140 h 1413227"/>
                <a:gd name="connsiteX363" fmla="*/ 1303800 w 2052804"/>
                <a:gd name="connsiteY363" fmla="*/ 1045769 h 1413227"/>
                <a:gd name="connsiteX364" fmla="*/ 1308985 w 2052804"/>
                <a:gd name="connsiteY364" fmla="*/ 1042312 h 1413227"/>
                <a:gd name="connsiteX365" fmla="*/ 1298614 w 2052804"/>
                <a:gd name="connsiteY365" fmla="*/ 1061326 h 1413227"/>
                <a:gd name="connsiteX366" fmla="*/ 1289971 w 2052804"/>
                <a:gd name="connsiteY366" fmla="*/ 1075154 h 1413227"/>
                <a:gd name="connsiteX367" fmla="*/ 1276143 w 2052804"/>
                <a:gd name="connsiteY367" fmla="*/ 1082068 h 1413227"/>
                <a:gd name="connsiteX368" fmla="*/ 1269229 w 2052804"/>
                <a:gd name="connsiteY368" fmla="*/ 1085525 h 1413227"/>
                <a:gd name="connsiteX369" fmla="*/ 1264043 w 2052804"/>
                <a:gd name="connsiteY369" fmla="*/ 1087254 h 1413227"/>
                <a:gd name="connsiteX370" fmla="*/ 1255401 w 2052804"/>
                <a:gd name="connsiteY370" fmla="*/ 1092440 h 1413227"/>
                <a:gd name="connsiteX371" fmla="*/ 1236387 w 2052804"/>
                <a:gd name="connsiteY371" fmla="*/ 1095897 h 1413227"/>
                <a:gd name="connsiteX372" fmla="*/ 1234658 w 2052804"/>
                <a:gd name="connsiteY372" fmla="*/ 1121825 h 1413227"/>
                <a:gd name="connsiteX373" fmla="*/ 1227744 w 2052804"/>
                <a:gd name="connsiteY373" fmla="*/ 1128739 h 1413227"/>
                <a:gd name="connsiteX374" fmla="*/ 1220830 w 2052804"/>
                <a:gd name="connsiteY374" fmla="*/ 1130468 h 1413227"/>
                <a:gd name="connsiteX375" fmla="*/ 1251943 w 2052804"/>
                <a:gd name="connsiteY375" fmla="*/ 1123553 h 1413227"/>
                <a:gd name="connsiteX376" fmla="*/ 1279600 w 2052804"/>
                <a:gd name="connsiteY376" fmla="*/ 1125282 h 1413227"/>
                <a:gd name="connsiteX377" fmla="*/ 1286514 w 2052804"/>
                <a:gd name="connsiteY377" fmla="*/ 1128739 h 1413227"/>
                <a:gd name="connsiteX378" fmla="*/ 1322814 w 2052804"/>
                <a:gd name="connsiteY378" fmla="*/ 1127010 h 1413227"/>
                <a:gd name="connsiteX379" fmla="*/ 1334914 w 2052804"/>
                <a:gd name="connsiteY379" fmla="*/ 1123553 h 1413227"/>
                <a:gd name="connsiteX380" fmla="*/ 1343556 w 2052804"/>
                <a:gd name="connsiteY380" fmla="*/ 1118368 h 1413227"/>
                <a:gd name="connsiteX381" fmla="*/ 1360842 w 2052804"/>
                <a:gd name="connsiteY381" fmla="*/ 1123553 h 1413227"/>
                <a:gd name="connsiteX382" fmla="*/ 1388498 w 2052804"/>
                <a:gd name="connsiteY382" fmla="*/ 1114911 h 1413227"/>
                <a:gd name="connsiteX383" fmla="*/ 1395413 w 2052804"/>
                <a:gd name="connsiteY383" fmla="*/ 1109725 h 1413227"/>
                <a:gd name="connsiteX384" fmla="*/ 1404055 w 2052804"/>
                <a:gd name="connsiteY384" fmla="*/ 1095897 h 1413227"/>
                <a:gd name="connsiteX385" fmla="*/ 1407512 w 2052804"/>
                <a:gd name="connsiteY385" fmla="*/ 1090711 h 1413227"/>
                <a:gd name="connsiteX386" fmla="*/ 1412698 w 2052804"/>
                <a:gd name="connsiteY386" fmla="*/ 1088983 h 1413227"/>
                <a:gd name="connsiteX387" fmla="*/ 1419612 w 2052804"/>
                <a:gd name="connsiteY387" fmla="*/ 1097625 h 1413227"/>
                <a:gd name="connsiteX388" fmla="*/ 1423069 w 2052804"/>
                <a:gd name="connsiteY388" fmla="*/ 1104539 h 1413227"/>
                <a:gd name="connsiteX389" fmla="*/ 1428255 w 2052804"/>
                <a:gd name="connsiteY389" fmla="*/ 1111454 h 1413227"/>
                <a:gd name="connsiteX390" fmla="*/ 1438626 w 2052804"/>
                <a:gd name="connsiteY390" fmla="*/ 1109725 h 1413227"/>
                <a:gd name="connsiteX391" fmla="*/ 1442083 w 2052804"/>
                <a:gd name="connsiteY391" fmla="*/ 1101082 h 1413227"/>
                <a:gd name="connsiteX392" fmla="*/ 1450726 w 2052804"/>
                <a:gd name="connsiteY392" fmla="*/ 1076883 h 1413227"/>
                <a:gd name="connsiteX393" fmla="*/ 1459369 w 2052804"/>
                <a:gd name="connsiteY393" fmla="*/ 1082068 h 1413227"/>
                <a:gd name="connsiteX394" fmla="*/ 1461097 w 2052804"/>
                <a:gd name="connsiteY394" fmla="*/ 1097625 h 1413227"/>
                <a:gd name="connsiteX395" fmla="*/ 1466283 w 2052804"/>
                <a:gd name="connsiteY395" fmla="*/ 1104539 h 1413227"/>
                <a:gd name="connsiteX396" fmla="*/ 1468012 w 2052804"/>
                <a:gd name="connsiteY396" fmla="*/ 1116639 h 1413227"/>
                <a:gd name="connsiteX397" fmla="*/ 1454183 w 2052804"/>
                <a:gd name="connsiteY397" fmla="*/ 1132196 h 1413227"/>
                <a:gd name="connsiteX398" fmla="*/ 1440355 w 2052804"/>
                <a:gd name="connsiteY398" fmla="*/ 1149482 h 1413227"/>
                <a:gd name="connsiteX399" fmla="*/ 1431712 w 2052804"/>
                <a:gd name="connsiteY399" fmla="*/ 1158124 h 1413227"/>
                <a:gd name="connsiteX400" fmla="*/ 1419612 w 2052804"/>
                <a:gd name="connsiteY400" fmla="*/ 1163310 h 1413227"/>
                <a:gd name="connsiteX401" fmla="*/ 1404055 w 2052804"/>
                <a:gd name="connsiteY401" fmla="*/ 1171953 h 1413227"/>
                <a:gd name="connsiteX402" fmla="*/ 1402327 w 2052804"/>
                <a:gd name="connsiteY402" fmla="*/ 1177138 h 1413227"/>
                <a:gd name="connsiteX403" fmla="*/ 1393684 w 2052804"/>
                <a:gd name="connsiteY403" fmla="*/ 1189238 h 1413227"/>
                <a:gd name="connsiteX404" fmla="*/ 1388498 w 2052804"/>
                <a:gd name="connsiteY404" fmla="*/ 1197881 h 1413227"/>
                <a:gd name="connsiteX405" fmla="*/ 1386770 w 2052804"/>
                <a:gd name="connsiteY405" fmla="*/ 1203066 h 1413227"/>
                <a:gd name="connsiteX406" fmla="*/ 1378127 w 2052804"/>
                <a:gd name="connsiteY406" fmla="*/ 1211709 h 1413227"/>
                <a:gd name="connsiteX407" fmla="*/ 1372942 w 2052804"/>
                <a:gd name="connsiteY407" fmla="*/ 1216895 h 1413227"/>
                <a:gd name="connsiteX408" fmla="*/ 1360842 w 2052804"/>
                <a:gd name="connsiteY408" fmla="*/ 1230723 h 1413227"/>
                <a:gd name="connsiteX409" fmla="*/ 1355656 w 2052804"/>
                <a:gd name="connsiteY409" fmla="*/ 1237637 h 1413227"/>
                <a:gd name="connsiteX410" fmla="*/ 1353928 w 2052804"/>
                <a:gd name="connsiteY410" fmla="*/ 1242823 h 1413227"/>
                <a:gd name="connsiteX411" fmla="*/ 1348742 w 2052804"/>
                <a:gd name="connsiteY411" fmla="*/ 1253194 h 1413227"/>
                <a:gd name="connsiteX412" fmla="*/ 1381584 w 2052804"/>
                <a:gd name="connsiteY412" fmla="*/ 1253194 h 1413227"/>
                <a:gd name="connsiteX413" fmla="*/ 1390227 w 2052804"/>
                <a:gd name="connsiteY413" fmla="*/ 1246280 h 1413227"/>
                <a:gd name="connsiteX414" fmla="*/ 1395413 w 2052804"/>
                <a:gd name="connsiteY414" fmla="*/ 1244552 h 1413227"/>
                <a:gd name="connsiteX415" fmla="*/ 1416155 w 2052804"/>
                <a:gd name="connsiteY415" fmla="*/ 1248009 h 1413227"/>
                <a:gd name="connsiteX416" fmla="*/ 1419612 w 2052804"/>
                <a:gd name="connsiteY416" fmla="*/ 1253194 h 1413227"/>
                <a:gd name="connsiteX417" fmla="*/ 1429984 w 2052804"/>
                <a:gd name="connsiteY417" fmla="*/ 1260108 h 1413227"/>
                <a:gd name="connsiteX418" fmla="*/ 1455912 w 2052804"/>
                <a:gd name="connsiteY418" fmla="*/ 1258380 h 1413227"/>
                <a:gd name="connsiteX419" fmla="*/ 1461097 w 2052804"/>
                <a:gd name="connsiteY419" fmla="*/ 1253194 h 1413227"/>
                <a:gd name="connsiteX420" fmla="*/ 1469740 w 2052804"/>
                <a:gd name="connsiteY420" fmla="*/ 1248009 h 1413227"/>
                <a:gd name="connsiteX421" fmla="*/ 1487026 w 2052804"/>
                <a:gd name="connsiteY421" fmla="*/ 1249737 h 1413227"/>
                <a:gd name="connsiteX422" fmla="*/ 1495668 w 2052804"/>
                <a:gd name="connsiteY422" fmla="*/ 1258380 h 1413227"/>
                <a:gd name="connsiteX423" fmla="*/ 1506040 w 2052804"/>
                <a:gd name="connsiteY423" fmla="*/ 1272208 h 1413227"/>
                <a:gd name="connsiteX424" fmla="*/ 1507768 w 2052804"/>
                <a:gd name="connsiteY424" fmla="*/ 1289494 h 1413227"/>
                <a:gd name="connsiteX425" fmla="*/ 1518139 w 2052804"/>
                <a:gd name="connsiteY425" fmla="*/ 1301593 h 1413227"/>
                <a:gd name="connsiteX426" fmla="*/ 1521596 w 2052804"/>
                <a:gd name="connsiteY426" fmla="*/ 1306779 h 1413227"/>
                <a:gd name="connsiteX427" fmla="*/ 1519868 w 2052804"/>
                <a:gd name="connsiteY427" fmla="*/ 1355178 h 1413227"/>
                <a:gd name="connsiteX428" fmla="*/ 1512954 w 2052804"/>
                <a:gd name="connsiteY428" fmla="*/ 1360364 h 1413227"/>
                <a:gd name="connsiteX429" fmla="*/ 1507768 w 2052804"/>
                <a:gd name="connsiteY429" fmla="*/ 1370735 h 1413227"/>
                <a:gd name="connsiteX430" fmla="*/ 1538882 w 2052804"/>
                <a:gd name="connsiteY430" fmla="*/ 1374192 h 1413227"/>
                <a:gd name="connsiteX431" fmla="*/ 1544067 w 2052804"/>
                <a:gd name="connsiteY431" fmla="*/ 1377649 h 1413227"/>
                <a:gd name="connsiteX432" fmla="*/ 1563081 w 2052804"/>
                <a:gd name="connsiteY432" fmla="*/ 1375921 h 1413227"/>
                <a:gd name="connsiteX433" fmla="*/ 1568267 w 2052804"/>
                <a:gd name="connsiteY433" fmla="*/ 1372464 h 1413227"/>
                <a:gd name="connsiteX434" fmla="*/ 1583824 w 2052804"/>
                <a:gd name="connsiteY434" fmla="*/ 1370735 h 1413227"/>
                <a:gd name="connsiteX435" fmla="*/ 1601109 w 2052804"/>
                <a:gd name="connsiteY435" fmla="*/ 1363821 h 1413227"/>
                <a:gd name="connsiteX436" fmla="*/ 1604567 w 2052804"/>
                <a:gd name="connsiteY436" fmla="*/ 1360364 h 1413227"/>
                <a:gd name="connsiteX437" fmla="*/ 1616666 w 2052804"/>
                <a:gd name="connsiteY437" fmla="*/ 1341350 h 1413227"/>
                <a:gd name="connsiteX438" fmla="*/ 1621852 w 2052804"/>
                <a:gd name="connsiteY438" fmla="*/ 1305051 h 1413227"/>
                <a:gd name="connsiteX439" fmla="*/ 1627038 w 2052804"/>
                <a:gd name="connsiteY439" fmla="*/ 1301593 h 1413227"/>
                <a:gd name="connsiteX440" fmla="*/ 1628766 w 2052804"/>
                <a:gd name="connsiteY440" fmla="*/ 1284308 h 1413227"/>
                <a:gd name="connsiteX441" fmla="*/ 1635680 w 2052804"/>
                <a:gd name="connsiteY441" fmla="*/ 1270480 h 1413227"/>
                <a:gd name="connsiteX442" fmla="*/ 1647780 w 2052804"/>
                <a:gd name="connsiteY442" fmla="*/ 1263565 h 1413227"/>
                <a:gd name="connsiteX443" fmla="*/ 1673708 w 2052804"/>
                <a:gd name="connsiteY443" fmla="*/ 1260108 h 1413227"/>
                <a:gd name="connsiteX444" fmla="*/ 1685808 w 2052804"/>
                <a:gd name="connsiteY444" fmla="*/ 1254923 h 1413227"/>
                <a:gd name="connsiteX445" fmla="*/ 1690994 w 2052804"/>
                <a:gd name="connsiteY445" fmla="*/ 1253194 h 1413227"/>
                <a:gd name="connsiteX446" fmla="*/ 1706551 w 2052804"/>
                <a:gd name="connsiteY446" fmla="*/ 1249737 h 1413227"/>
                <a:gd name="connsiteX447" fmla="*/ 1708279 w 2052804"/>
                <a:gd name="connsiteY447" fmla="*/ 1232452 h 1413227"/>
                <a:gd name="connsiteX448" fmla="*/ 1710008 w 2052804"/>
                <a:gd name="connsiteY448" fmla="*/ 1208252 h 1413227"/>
                <a:gd name="connsiteX449" fmla="*/ 1715193 w 2052804"/>
                <a:gd name="connsiteY449" fmla="*/ 1201338 h 1413227"/>
                <a:gd name="connsiteX450" fmla="*/ 1722108 w 2052804"/>
                <a:gd name="connsiteY450" fmla="*/ 1192695 h 1413227"/>
                <a:gd name="connsiteX451" fmla="*/ 1729022 w 2052804"/>
                <a:gd name="connsiteY451" fmla="*/ 1189238 h 1413227"/>
                <a:gd name="connsiteX452" fmla="*/ 1739393 w 2052804"/>
                <a:gd name="connsiteY452" fmla="*/ 1184052 h 1413227"/>
                <a:gd name="connsiteX453" fmla="*/ 1777421 w 2052804"/>
                <a:gd name="connsiteY453" fmla="*/ 1189238 h 1413227"/>
                <a:gd name="connsiteX454" fmla="*/ 1782607 w 2052804"/>
                <a:gd name="connsiteY454" fmla="*/ 1194424 h 1413227"/>
                <a:gd name="connsiteX455" fmla="*/ 1811992 w 2052804"/>
                <a:gd name="connsiteY455" fmla="*/ 1187510 h 1413227"/>
                <a:gd name="connsiteX456" fmla="*/ 1815449 w 2052804"/>
                <a:gd name="connsiteY456" fmla="*/ 1180595 h 1413227"/>
                <a:gd name="connsiteX457" fmla="*/ 1822363 w 2052804"/>
                <a:gd name="connsiteY457" fmla="*/ 1171953 h 1413227"/>
                <a:gd name="connsiteX458" fmla="*/ 1829277 w 2052804"/>
                <a:gd name="connsiteY458" fmla="*/ 1158124 h 1413227"/>
                <a:gd name="connsiteX459" fmla="*/ 1831006 w 2052804"/>
                <a:gd name="connsiteY459" fmla="*/ 1151210 h 1413227"/>
                <a:gd name="connsiteX460" fmla="*/ 1837920 w 2052804"/>
                <a:gd name="connsiteY460" fmla="*/ 1133925 h 1413227"/>
                <a:gd name="connsiteX461" fmla="*/ 1824092 w 2052804"/>
                <a:gd name="connsiteY461" fmla="*/ 1128739 h 1413227"/>
                <a:gd name="connsiteX462" fmla="*/ 1820635 w 2052804"/>
                <a:gd name="connsiteY462" fmla="*/ 1123553 h 1413227"/>
                <a:gd name="connsiteX463" fmla="*/ 1824092 w 2052804"/>
                <a:gd name="connsiteY463" fmla="*/ 1118368 h 1413227"/>
                <a:gd name="connsiteX464" fmla="*/ 1829277 w 2052804"/>
                <a:gd name="connsiteY464" fmla="*/ 1111454 h 1413227"/>
                <a:gd name="connsiteX465" fmla="*/ 1832734 w 2052804"/>
                <a:gd name="connsiteY465" fmla="*/ 1099354 h 1413227"/>
                <a:gd name="connsiteX466" fmla="*/ 1836191 w 2052804"/>
                <a:gd name="connsiteY466" fmla="*/ 1094168 h 1413227"/>
                <a:gd name="connsiteX467" fmla="*/ 1834463 w 2052804"/>
                <a:gd name="connsiteY467" fmla="*/ 1083797 h 1413227"/>
                <a:gd name="connsiteX468" fmla="*/ 1820635 w 2052804"/>
                <a:gd name="connsiteY468" fmla="*/ 1087254 h 1413227"/>
                <a:gd name="connsiteX469" fmla="*/ 1792978 w 2052804"/>
                <a:gd name="connsiteY469" fmla="*/ 1092440 h 1413227"/>
                <a:gd name="connsiteX470" fmla="*/ 1782607 w 2052804"/>
                <a:gd name="connsiteY470" fmla="*/ 1095897 h 1413227"/>
                <a:gd name="connsiteX471" fmla="*/ 1775692 w 2052804"/>
                <a:gd name="connsiteY471" fmla="*/ 1099354 h 1413227"/>
                <a:gd name="connsiteX472" fmla="*/ 1770507 w 2052804"/>
                <a:gd name="connsiteY472" fmla="*/ 1116639 h 1413227"/>
                <a:gd name="connsiteX473" fmla="*/ 1760136 w 2052804"/>
                <a:gd name="connsiteY473" fmla="*/ 1118368 h 1413227"/>
                <a:gd name="connsiteX474" fmla="*/ 1742850 w 2052804"/>
                <a:gd name="connsiteY474" fmla="*/ 1130468 h 1413227"/>
                <a:gd name="connsiteX475" fmla="*/ 1722108 w 2052804"/>
                <a:gd name="connsiteY475" fmla="*/ 1140839 h 1413227"/>
                <a:gd name="connsiteX476" fmla="*/ 1713465 w 2052804"/>
                <a:gd name="connsiteY476" fmla="*/ 1146024 h 1413227"/>
                <a:gd name="connsiteX477" fmla="*/ 1711736 w 2052804"/>
                <a:gd name="connsiteY477" fmla="*/ 1151210 h 1413227"/>
                <a:gd name="connsiteX478" fmla="*/ 1704822 w 2052804"/>
                <a:gd name="connsiteY478" fmla="*/ 1154667 h 1413227"/>
                <a:gd name="connsiteX479" fmla="*/ 1651237 w 2052804"/>
                <a:gd name="connsiteY479" fmla="*/ 1152939 h 1413227"/>
                <a:gd name="connsiteX480" fmla="*/ 1654694 w 2052804"/>
                <a:gd name="connsiteY480" fmla="*/ 1142567 h 1413227"/>
                <a:gd name="connsiteX481" fmla="*/ 1652966 w 2052804"/>
                <a:gd name="connsiteY481" fmla="*/ 1120096 h 1413227"/>
                <a:gd name="connsiteX482" fmla="*/ 1602838 w 2052804"/>
                <a:gd name="connsiteY482" fmla="*/ 1114911 h 1413227"/>
                <a:gd name="connsiteX483" fmla="*/ 1595924 w 2052804"/>
                <a:gd name="connsiteY483" fmla="*/ 1113182 h 1413227"/>
                <a:gd name="connsiteX484" fmla="*/ 1568267 w 2052804"/>
                <a:gd name="connsiteY484" fmla="*/ 1109725 h 1413227"/>
                <a:gd name="connsiteX485" fmla="*/ 1557896 w 2052804"/>
                <a:gd name="connsiteY485" fmla="*/ 1101082 h 1413227"/>
                <a:gd name="connsiteX486" fmla="*/ 1547525 w 2052804"/>
                <a:gd name="connsiteY486" fmla="*/ 1092440 h 1413227"/>
                <a:gd name="connsiteX487" fmla="*/ 1530239 w 2052804"/>
                <a:gd name="connsiteY487" fmla="*/ 1090711 h 1413227"/>
                <a:gd name="connsiteX488" fmla="*/ 1518139 w 2052804"/>
                <a:gd name="connsiteY488" fmla="*/ 1085525 h 1413227"/>
                <a:gd name="connsiteX489" fmla="*/ 1516411 w 2052804"/>
                <a:gd name="connsiteY489" fmla="*/ 1092440 h 1413227"/>
                <a:gd name="connsiteX490" fmla="*/ 1511225 w 2052804"/>
                <a:gd name="connsiteY490" fmla="*/ 1085525 h 1413227"/>
                <a:gd name="connsiteX491" fmla="*/ 1500854 w 2052804"/>
                <a:gd name="connsiteY491" fmla="*/ 1075154 h 1413227"/>
                <a:gd name="connsiteX492" fmla="*/ 1448998 w 2052804"/>
                <a:gd name="connsiteY492" fmla="*/ 1076883 h 1413227"/>
                <a:gd name="connsiteX493" fmla="*/ 1443812 w 2052804"/>
                <a:gd name="connsiteY493" fmla="*/ 1080340 h 1413227"/>
                <a:gd name="connsiteX494" fmla="*/ 1442083 w 2052804"/>
                <a:gd name="connsiteY494" fmla="*/ 1085525 h 1413227"/>
                <a:gd name="connsiteX495" fmla="*/ 1455912 w 2052804"/>
                <a:gd name="connsiteY495" fmla="*/ 1071697 h 1413227"/>
                <a:gd name="connsiteX496" fmla="*/ 1462826 w 2052804"/>
                <a:gd name="connsiteY496" fmla="*/ 1064783 h 1413227"/>
                <a:gd name="connsiteX497" fmla="*/ 1468012 w 2052804"/>
                <a:gd name="connsiteY497" fmla="*/ 1059597 h 1413227"/>
                <a:gd name="connsiteX498" fmla="*/ 1483568 w 2052804"/>
                <a:gd name="connsiteY498" fmla="*/ 1064783 h 1413227"/>
                <a:gd name="connsiteX499" fmla="*/ 1493940 w 2052804"/>
                <a:gd name="connsiteY499" fmla="*/ 1071697 h 1413227"/>
                <a:gd name="connsiteX500" fmla="*/ 1502582 w 2052804"/>
                <a:gd name="connsiteY500" fmla="*/ 1068240 h 1413227"/>
                <a:gd name="connsiteX501" fmla="*/ 1504311 w 2052804"/>
                <a:gd name="connsiteY501" fmla="*/ 1063054 h 1413227"/>
                <a:gd name="connsiteX502" fmla="*/ 1507768 w 2052804"/>
                <a:gd name="connsiteY502" fmla="*/ 1057869 h 1413227"/>
                <a:gd name="connsiteX503" fmla="*/ 1511225 w 2052804"/>
                <a:gd name="connsiteY503" fmla="*/ 1045769 h 1413227"/>
                <a:gd name="connsiteX504" fmla="*/ 1544067 w 2052804"/>
                <a:gd name="connsiteY504" fmla="*/ 1044040 h 1413227"/>
                <a:gd name="connsiteX505" fmla="*/ 1561353 w 2052804"/>
                <a:gd name="connsiteY505" fmla="*/ 1059597 h 1413227"/>
                <a:gd name="connsiteX506" fmla="*/ 1564810 w 2052804"/>
                <a:gd name="connsiteY506" fmla="*/ 1073426 h 1413227"/>
                <a:gd name="connsiteX507" fmla="*/ 1568267 w 2052804"/>
                <a:gd name="connsiteY507" fmla="*/ 1087254 h 1413227"/>
                <a:gd name="connsiteX508" fmla="*/ 1569996 w 2052804"/>
                <a:gd name="connsiteY508" fmla="*/ 1094168 h 1413227"/>
                <a:gd name="connsiteX509" fmla="*/ 1573453 w 2052804"/>
                <a:gd name="connsiteY509" fmla="*/ 1099354 h 1413227"/>
                <a:gd name="connsiteX510" fmla="*/ 1580367 w 2052804"/>
                <a:gd name="connsiteY510" fmla="*/ 1037126 h 1413227"/>
                <a:gd name="connsiteX511" fmla="*/ 1592467 w 2052804"/>
                <a:gd name="connsiteY511" fmla="*/ 1052683 h 1413227"/>
                <a:gd name="connsiteX512" fmla="*/ 1595924 w 2052804"/>
                <a:gd name="connsiteY512" fmla="*/ 1069969 h 1413227"/>
                <a:gd name="connsiteX513" fmla="*/ 1611481 w 2052804"/>
                <a:gd name="connsiteY513" fmla="*/ 1080340 h 1413227"/>
                <a:gd name="connsiteX514" fmla="*/ 1616666 w 2052804"/>
                <a:gd name="connsiteY514" fmla="*/ 1083797 h 1413227"/>
                <a:gd name="connsiteX515" fmla="*/ 1625309 w 2052804"/>
                <a:gd name="connsiteY515" fmla="*/ 1085525 h 1413227"/>
                <a:gd name="connsiteX516" fmla="*/ 1637409 w 2052804"/>
                <a:gd name="connsiteY516" fmla="*/ 1092440 h 1413227"/>
                <a:gd name="connsiteX517" fmla="*/ 1644323 w 2052804"/>
                <a:gd name="connsiteY517" fmla="*/ 1095897 h 1413227"/>
                <a:gd name="connsiteX518" fmla="*/ 1652966 w 2052804"/>
                <a:gd name="connsiteY518" fmla="*/ 1109725 h 1413227"/>
                <a:gd name="connsiteX519" fmla="*/ 1663337 w 2052804"/>
                <a:gd name="connsiteY519" fmla="*/ 1113182 h 1413227"/>
                <a:gd name="connsiteX520" fmla="*/ 1673708 w 2052804"/>
                <a:gd name="connsiteY520" fmla="*/ 1118368 h 1413227"/>
                <a:gd name="connsiteX521" fmla="*/ 1684080 w 2052804"/>
                <a:gd name="connsiteY521" fmla="*/ 1125282 h 1413227"/>
                <a:gd name="connsiteX522" fmla="*/ 1703094 w 2052804"/>
                <a:gd name="connsiteY522" fmla="*/ 1139110 h 1413227"/>
                <a:gd name="connsiteX523" fmla="*/ 1716922 w 2052804"/>
                <a:gd name="connsiteY523" fmla="*/ 1142567 h 1413227"/>
                <a:gd name="connsiteX524" fmla="*/ 1708279 w 2052804"/>
                <a:gd name="connsiteY524" fmla="*/ 1137382 h 1413227"/>
                <a:gd name="connsiteX525" fmla="*/ 1703094 w 2052804"/>
                <a:gd name="connsiteY525" fmla="*/ 1132196 h 1413227"/>
                <a:gd name="connsiteX526" fmla="*/ 1692722 w 2052804"/>
                <a:gd name="connsiteY526" fmla="*/ 1128739 h 1413227"/>
                <a:gd name="connsiteX527" fmla="*/ 1678894 w 2052804"/>
                <a:gd name="connsiteY527" fmla="*/ 1125282 h 1413227"/>
                <a:gd name="connsiteX528" fmla="*/ 1663337 w 2052804"/>
                <a:gd name="connsiteY528" fmla="*/ 1121825 h 1413227"/>
                <a:gd name="connsiteX529" fmla="*/ 1654694 w 2052804"/>
                <a:gd name="connsiteY529" fmla="*/ 1116639 h 1413227"/>
                <a:gd name="connsiteX530" fmla="*/ 1649509 w 2052804"/>
                <a:gd name="connsiteY530" fmla="*/ 1113182 h 1413227"/>
                <a:gd name="connsiteX531" fmla="*/ 1646052 w 2052804"/>
                <a:gd name="connsiteY531" fmla="*/ 1107996 h 1413227"/>
                <a:gd name="connsiteX532" fmla="*/ 1632223 w 2052804"/>
                <a:gd name="connsiteY532" fmla="*/ 1088983 h 1413227"/>
                <a:gd name="connsiteX533" fmla="*/ 1630495 w 2052804"/>
                <a:gd name="connsiteY533" fmla="*/ 1083797 h 1413227"/>
                <a:gd name="connsiteX534" fmla="*/ 1623581 w 2052804"/>
                <a:gd name="connsiteY534" fmla="*/ 1075154 h 1413227"/>
                <a:gd name="connsiteX535" fmla="*/ 1620123 w 2052804"/>
                <a:gd name="connsiteY535" fmla="*/ 1061326 h 1413227"/>
                <a:gd name="connsiteX536" fmla="*/ 1618395 w 2052804"/>
                <a:gd name="connsiteY536" fmla="*/ 1056140 h 1413227"/>
                <a:gd name="connsiteX537" fmla="*/ 1608024 w 2052804"/>
                <a:gd name="connsiteY537" fmla="*/ 1038855 h 1413227"/>
                <a:gd name="connsiteX538" fmla="*/ 1602838 w 2052804"/>
                <a:gd name="connsiteY538" fmla="*/ 1037126 h 1413227"/>
                <a:gd name="connsiteX539" fmla="*/ 1597652 w 2052804"/>
                <a:gd name="connsiteY539" fmla="*/ 1030212 h 1413227"/>
                <a:gd name="connsiteX540" fmla="*/ 1589010 w 2052804"/>
                <a:gd name="connsiteY540" fmla="*/ 1019841 h 1413227"/>
                <a:gd name="connsiteX541" fmla="*/ 1594195 w 2052804"/>
                <a:gd name="connsiteY541" fmla="*/ 1000827 h 1413227"/>
                <a:gd name="connsiteX542" fmla="*/ 1602838 w 2052804"/>
                <a:gd name="connsiteY542" fmla="*/ 999098 h 1413227"/>
                <a:gd name="connsiteX543" fmla="*/ 1614938 w 2052804"/>
                <a:gd name="connsiteY543" fmla="*/ 990455 h 1413227"/>
                <a:gd name="connsiteX544" fmla="*/ 1621852 w 2052804"/>
                <a:gd name="connsiteY544" fmla="*/ 985270 h 1413227"/>
                <a:gd name="connsiteX545" fmla="*/ 1620123 w 2052804"/>
                <a:gd name="connsiteY545" fmla="*/ 1021569 h 1413227"/>
                <a:gd name="connsiteX546" fmla="*/ 1616666 w 2052804"/>
                <a:gd name="connsiteY546" fmla="*/ 1028483 h 1413227"/>
                <a:gd name="connsiteX547" fmla="*/ 1611481 w 2052804"/>
                <a:gd name="connsiteY547" fmla="*/ 1035398 h 1413227"/>
                <a:gd name="connsiteX548" fmla="*/ 1616666 w 2052804"/>
                <a:gd name="connsiteY548" fmla="*/ 1031941 h 1413227"/>
                <a:gd name="connsiteX549" fmla="*/ 1625309 w 2052804"/>
                <a:gd name="connsiteY549" fmla="*/ 1016384 h 1413227"/>
                <a:gd name="connsiteX550" fmla="*/ 1630495 w 2052804"/>
                <a:gd name="connsiteY550" fmla="*/ 997370 h 1413227"/>
                <a:gd name="connsiteX551" fmla="*/ 1630495 w 2052804"/>
                <a:gd name="connsiteY551" fmla="*/ 976627 h 1413227"/>
                <a:gd name="connsiteX552" fmla="*/ 1623581 w 2052804"/>
                <a:gd name="connsiteY552" fmla="*/ 962799 h 1413227"/>
                <a:gd name="connsiteX553" fmla="*/ 1630495 w 2052804"/>
                <a:gd name="connsiteY553" fmla="*/ 966256 h 1413227"/>
                <a:gd name="connsiteX554" fmla="*/ 1642595 w 2052804"/>
                <a:gd name="connsiteY554" fmla="*/ 969713 h 1413227"/>
                <a:gd name="connsiteX555" fmla="*/ 1649509 w 2052804"/>
                <a:gd name="connsiteY555" fmla="*/ 967984 h 1413227"/>
                <a:gd name="connsiteX556" fmla="*/ 1654694 w 2052804"/>
                <a:gd name="connsiteY556" fmla="*/ 955885 h 1413227"/>
                <a:gd name="connsiteX557" fmla="*/ 1663337 w 2052804"/>
                <a:gd name="connsiteY557" fmla="*/ 933414 h 1413227"/>
                <a:gd name="connsiteX558" fmla="*/ 1666794 w 2052804"/>
                <a:gd name="connsiteY558" fmla="*/ 929956 h 1413227"/>
                <a:gd name="connsiteX559" fmla="*/ 1668523 w 2052804"/>
                <a:gd name="connsiteY559" fmla="*/ 923042 h 1413227"/>
                <a:gd name="connsiteX560" fmla="*/ 1677165 w 2052804"/>
                <a:gd name="connsiteY560" fmla="*/ 893657 h 1413227"/>
                <a:gd name="connsiteX561" fmla="*/ 1690994 w 2052804"/>
                <a:gd name="connsiteY561" fmla="*/ 891928 h 1413227"/>
                <a:gd name="connsiteX562" fmla="*/ 1697908 w 2052804"/>
                <a:gd name="connsiteY562" fmla="*/ 890200 h 1413227"/>
                <a:gd name="connsiteX563" fmla="*/ 1704822 w 2052804"/>
                <a:gd name="connsiteY563" fmla="*/ 886743 h 1413227"/>
                <a:gd name="connsiteX564" fmla="*/ 1723836 w 2052804"/>
                <a:gd name="connsiteY564" fmla="*/ 878100 h 1413227"/>
                <a:gd name="connsiteX565" fmla="*/ 1730750 w 2052804"/>
                <a:gd name="connsiteY565" fmla="*/ 876372 h 1413227"/>
                <a:gd name="connsiteX566" fmla="*/ 1749764 w 2052804"/>
                <a:gd name="connsiteY566" fmla="*/ 860815 h 1413227"/>
                <a:gd name="connsiteX567" fmla="*/ 1754950 w 2052804"/>
                <a:gd name="connsiteY567" fmla="*/ 857358 h 1413227"/>
                <a:gd name="connsiteX568" fmla="*/ 1761864 w 2052804"/>
                <a:gd name="connsiteY568" fmla="*/ 855629 h 1413227"/>
                <a:gd name="connsiteX569" fmla="*/ 1768778 w 2052804"/>
                <a:gd name="connsiteY569" fmla="*/ 841801 h 1413227"/>
                <a:gd name="connsiteX570" fmla="*/ 1775692 w 2052804"/>
                <a:gd name="connsiteY570" fmla="*/ 836615 h 1413227"/>
                <a:gd name="connsiteX571" fmla="*/ 1780878 w 2052804"/>
                <a:gd name="connsiteY571" fmla="*/ 833158 h 1413227"/>
                <a:gd name="connsiteX572" fmla="*/ 1791249 w 2052804"/>
                <a:gd name="connsiteY572" fmla="*/ 831429 h 1413227"/>
                <a:gd name="connsiteX573" fmla="*/ 1799892 w 2052804"/>
                <a:gd name="connsiteY573" fmla="*/ 829701 h 1413227"/>
                <a:gd name="connsiteX574" fmla="*/ 1801621 w 2052804"/>
                <a:gd name="connsiteY574" fmla="*/ 824515 h 1413227"/>
                <a:gd name="connsiteX575" fmla="*/ 1829277 w 2052804"/>
                <a:gd name="connsiteY575" fmla="*/ 796859 h 1413227"/>
                <a:gd name="connsiteX576" fmla="*/ 1834463 w 2052804"/>
                <a:gd name="connsiteY576" fmla="*/ 776116 h 1413227"/>
                <a:gd name="connsiteX577" fmla="*/ 1839649 w 2052804"/>
                <a:gd name="connsiteY577" fmla="*/ 770930 h 1413227"/>
                <a:gd name="connsiteX578" fmla="*/ 1867305 w 2052804"/>
                <a:gd name="connsiteY578" fmla="*/ 760559 h 1413227"/>
                <a:gd name="connsiteX579" fmla="*/ 1872491 w 2052804"/>
                <a:gd name="connsiteY579" fmla="*/ 755373 h 1413227"/>
                <a:gd name="connsiteX580" fmla="*/ 1884591 w 2052804"/>
                <a:gd name="connsiteY580" fmla="*/ 753645 h 1413227"/>
                <a:gd name="connsiteX581" fmla="*/ 1893233 w 2052804"/>
                <a:gd name="connsiteY581" fmla="*/ 750188 h 1413227"/>
                <a:gd name="connsiteX582" fmla="*/ 1898419 w 2052804"/>
                <a:gd name="connsiteY582" fmla="*/ 731174 h 1413227"/>
                <a:gd name="connsiteX583" fmla="*/ 1913976 w 2052804"/>
                <a:gd name="connsiteY583" fmla="*/ 719074 h 1413227"/>
                <a:gd name="connsiteX584" fmla="*/ 1920890 w 2052804"/>
                <a:gd name="connsiteY584" fmla="*/ 710431 h 1413227"/>
                <a:gd name="connsiteX585" fmla="*/ 1912247 w 2052804"/>
                <a:gd name="connsiteY585" fmla="*/ 689689 h 1413227"/>
                <a:gd name="connsiteX586" fmla="*/ 1905333 w 2052804"/>
                <a:gd name="connsiteY586" fmla="*/ 675860 h 1413227"/>
                <a:gd name="connsiteX587" fmla="*/ 1901876 w 2052804"/>
                <a:gd name="connsiteY587" fmla="*/ 665489 h 1413227"/>
                <a:gd name="connsiteX588" fmla="*/ 1905333 w 2052804"/>
                <a:gd name="connsiteY588" fmla="*/ 651661 h 1413227"/>
                <a:gd name="connsiteX589" fmla="*/ 1901876 w 2052804"/>
                <a:gd name="connsiteY589" fmla="*/ 629190 h 1413227"/>
                <a:gd name="connsiteX590" fmla="*/ 1908790 w 2052804"/>
                <a:gd name="connsiteY590" fmla="*/ 624004 h 1413227"/>
                <a:gd name="connsiteX591" fmla="*/ 1913976 w 2052804"/>
                <a:gd name="connsiteY591" fmla="*/ 613633 h 1413227"/>
                <a:gd name="connsiteX592" fmla="*/ 1922619 w 2052804"/>
                <a:gd name="connsiteY592" fmla="*/ 608447 h 1413227"/>
                <a:gd name="connsiteX593" fmla="*/ 1929533 w 2052804"/>
                <a:gd name="connsiteY593" fmla="*/ 601533 h 1413227"/>
                <a:gd name="connsiteX594" fmla="*/ 1932990 w 2052804"/>
                <a:gd name="connsiteY594" fmla="*/ 587705 h 1413227"/>
                <a:gd name="connsiteX595" fmla="*/ 1936447 w 2052804"/>
                <a:gd name="connsiteY595" fmla="*/ 582519 h 1413227"/>
                <a:gd name="connsiteX596" fmla="*/ 1943361 w 2052804"/>
                <a:gd name="connsiteY596" fmla="*/ 565234 h 1413227"/>
                <a:gd name="connsiteX597" fmla="*/ 1967561 w 2052804"/>
                <a:gd name="connsiteY597" fmla="*/ 556591 h 1413227"/>
                <a:gd name="connsiteX598" fmla="*/ 1972746 w 2052804"/>
                <a:gd name="connsiteY598" fmla="*/ 547948 h 1413227"/>
                <a:gd name="connsiteX599" fmla="*/ 1990032 w 2052804"/>
                <a:gd name="connsiteY599" fmla="*/ 544491 h 1413227"/>
                <a:gd name="connsiteX600" fmla="*/ 2012503 w 2052804"/>
                <a:gd name="connsiteY600" fmla="*/ 539305 h 1413227"/>
                <a:gd name="connsiteX601" fmla="*/ 2021146 w 2052804"/>
                <a:gd name="connsiteY601" fmla="*/ 530663 h 1413227"/>
                <a:gd name="connsiteX602" fmla="*/ 2052260 w 2052804"/>
                <a:gd name="connsiteY602" fmla="*/ 525477 h 1413227"/>
                <a:gd name="connsiteX603" fmla="*/ 2047074 w 2052804"/>
                <a:gd name="connsiteY603" fmla="*/ 499549 h 1413227"/>
                <a:gd name="connsiteX604" fmla="*/ 2036703 w 2052804"/>
                <a:gd name="connsiteY604" fmla="*/ 492635 h 1413227"/>
                <a:gd name="connsiteX605" fmla="*/ 2029788 w 2052804"/>
                <a:gd name="connsiteY605" fmla="*/ 447693 h 1413227"/>
                <a:gd name="connsiteX606" fmla="*/ 2022874 w 2052804"/>
                <a:gd name="connsiteY606" fmla="*/ 428679 h 1413227"/>
                <a:gd name="connsiteX607" fmla="*/ 2019417 w 2052804"/>
                <a:gd name="connsiteY607" fmla="*/ 418307 h 1413227"/>
                <a:gd name="connsiteX608" fmla="*/ 2014232 w 2052804"/>
                <a:gd name="connsiteY608" fmla="*/ 411393 h 1413227"/>
                <a:gd name="connsiteX609" fmla="*/ 2007317 w 2052804"/>
                <a:gd name="connsiteY609" fmla="*/ 407936 h 1413227"/>
                <a:gd name="connsiteX610" fmla="*/ 1988303 w 2052804"/>
                <a:gd name="connsiteY610" fmla="*/ 404479 h 1413227"/>
                <a:gd name="connsiteX611" fmla="*/ 1981389 w 2052804"/>
                <a:gd name="connsiteY611" fmla="*/ 394108 h 1413227"/>
                <a:gd name="connsiteX612" fmla="*/ 1976204 w 2052804"/>
                <a:gd name="connsiteY612" fmla="*/ 390651 h 1413227"/>
                <a:gd name="connsiteX613" fmla="*/ 1972746 w 2052804"/>
                <a:gd name="connsiteY613" fmla="*/ 382008 h 1413227"/>
                <a:gd name="connsiteX614" fmla="*/ 1977932 w 2052804"/>
                <a:gd name="connsiteY614" fmla="*/ 366451 h 1413227"/>
                <a:gd name="connsiteX615" fmla="*/ 1986575 w 2052804"/>
                <a:gd name="connsiteY615" fmla="*/ 354351 h 1413227"/>
                <a:gd name="connsiteX616" fmla="*/ 1988303 w 2052804"/>
                <a:gd name="connsiteY616" fmla="*/ 347437 h 1413227"/>
                <a:gd name="connsiteX617" fmla="*/ 1998675 w 2052804"/>
                <a:gd name="connsiteY617" fmla="*/ 343980 h 1413227"/>
                <a:gd name="connsiteX618" fmla="*/ 1964104 w 2052804"/>
                <a:gd name="connsiteY618" fmla="*/ 337066 h 1413227"/>
                <a:gd name="connsiteX619" fmla="*/ 1962375 w 2052804"/>
                <a:gd name="connsiteY619" fmla="*/ 331880 h 1413227"/>
                <a:gd name="connsiteX620" fmla="*/ 1958918 w 2052804"/>
                <a:gd name="connsiteY620" fmla="*/ 326694 h 1413227"/>
                <a:gd name="connsiteX621" fmla="*/ 1962375 w 2052804"/>
                <a:gd name="connsiteY621" fmla="*/ 318052 h 1413227"/>
                <a:gd name="connsiteX622" fmla="*/ 1967561 w 2052804"/>
                <a:gd name="connsiteY622" fmla="*/ 311138 h 1413227"/>
                <a:gd name="connsiteX623" fmla="*/ 1971018 w 2052804"/>
                <a:gd name="connsiteY623" fmla="*/ 305952 h 1413227"/>
                <a:gd name="connsiteX624" fmla="*/ 1972746 w 2052804"/>
                <a:gd name="connsiteY624" fmla="*/ 299038 h 1413227"/>
                <a:gd name="connsiteX625" fmla="*/ 1977932 w 2052804"/>
                <a:gd name="connsiteY625" fmla="*/ 293852 h 1413227"/>
                <a:gd name="connsiteX626" fmla="*/ 1979661 w 2052804"/>
                <a:gd name="connsiteY626" fmla="*/ 269652 h 1413227"/>
                <a:gd name="connsiteX627" fmla="*/ 1974475 w 2052804"/>
                <a:gd name="connsiteY627" fmla="*/ 255824 h 1413227"/>
                <a:gd name="connsiteX628" fmla="*/ 1972746 w 2052804"/>
                <a:gd name="connsiteY628" fmla="*/ 250638 h 1413227"/>
                <a:gd name="connsiteX629" fmla="*/ 1971018 w 2052804"/>
                <a:gd name="connsiteY629" fmla="*/ 243724 h 1413227"/>
                <a:gd name="connsiteX630" fmla="*/ 1967561 w 2052804"/>
                <a:gd name="connsiteY630" fmla="*/ 238539 h 1413227"/>
                <a:gd name="connsiteX631" fmla="*/ 1969289 w 2052804"/>
                <a:gd name="connsiteY631" fmla="*/ 216068 h 1413227"/>
                <a:gd name="connsiteX632" fmla="*/ 1965832 w 2052804"/>
                <a:gd name="connsiteY632" fmla="*/ 209153 h 1413227"/>
                <a:gd name="connsiteX633" fmla="*/ 1958918 w 2052804"/>
                <a:gd name="connsiteY633" fmla="*/ 216068 h 1413227"/>
                <a:gd name="connsiteX634" fmla="*/ 1952004 w 2052804"/>
                <a:gd name="connsiteY634" fmla="*/ 217796 h 1413227"/>
                <a:gd name="connsiteX635" fmla="*/ 1941633 w 2052804"/>
                <a:gd name="connsiteY635" fmla="*/ 226439 h 1413227"/>
                <a:gd name="connsiteX636" fmla="*/ 1936447 w 2052804"/>
                <a:gd name="connsiteY636" fmla="*/ 228167 h 1413227"/>
                <a:gd name="connsiteX637" fmla="*/ 1926076 w 2052804"/>
                <a:gd name="connsiteY637" fmla="*/ 235082 h 1413227"/>
                <a:gd name="connsiteX638" fmla="*/ 1910519 w 2052804"/>
                <a:gd name="connsiteY638" fmla="*/ 231624 h 1413227"/>
                <a:gd name="connsiteX639" fmla="*/ 1889776 w 2052804"/>
                <a:gd name="connsiteY639" fmla="*/ 222982 h 1413227"/>
                <a:gd name="connsiteX640" fmla="*/ 1882862 w 2052804"/>
                <a:gd name="connsiteY640" fmla="*/ 224710 h 1413227"/>
                <a:gd name="connsiteX641" fmla="*/ 1872491 w 2052804"/>
                <a:gd name="connsiteY641" fmla="*/ 233353 h 1413227"/>
                <a:gd name="connsiteX642" fmla="*/ 1851748 w 2052804"/>
                <a:gd name="connsiteY642" fmla="*/ 221253 h 1413227"/>
                <a:gd name="connsiteX643" fmla="*/ 1843106 w 2052804"/>
                <a:gd name="connsiteY643" fmla="*/ 217796 h 1413227"/>
                <a:gd name="connsiteX644" fmla="*/ 1836191 w 2052804"/>
                <a:gd name="connsiteY644" fmla="*/ 214339 h 1413227"/>
                <a:gd name="connsiteX645" fmla="*/ 1827549 w 2052804"/>
                <a:gd name="connsiteY645" fmla="*/ 224710 h 1413227"/>
                <a:gd name="connsiteX646" fmla="*/ 1820635 w 2052804"/>
                <a:gd name="connsiteY646" fmla="*/ 229896 h 1413227"/>
                <a:gd name="connsiteX647" fmla="*/ 1791249 w 2052804"/>
                <a:gd name="connsiteY647" fmla="*/ 221253 h 1413227"/>
                <a:gd name="connsiteX648" fmla="*/ 1763593 w 2052804"/>
                <a:gd name="connsiteY648" fmla="*/ 222982 h 1413227"/>
                <a:gd name="connsiteX649" fmla="*/ 1758407 w 2052804"/>
                <a:gd name="connsiteY649" fmla="*/ 224710 h 1413227"/>
                <a:gd name="connsiteX650" fmla="*/ 1739393 w 2052804"/>
                <a:gd name="connsiteY650" fmla="*/ 222982 h 1413227"/>
                <a:gd name="connsiteX651" fmla="*/ 1732479 w 2052804"/>
                <a:gd name="connsiteY651" fmla="*/ 217796 h 1413227"/>
                <a:gd name="connsiteX652" fmla="*/ 1725565 w 2052804"/>
                <a:gd name="connsiteY652" fmla="*/ 207425 h 1413227"/>
                <a:gd name="connsiteX653" fmla="*/ 1716922 w 2052804"/>
                <a:gd name="connsiteY653" fmla="*/ 235082 h 1413227"/>
                <a:gd name="connsiteX654" fmla="*/ 1710008 w 2052804"/>
                <a:gd name="connsiteY654" fmla="*/ 250638 h 1413227"/>
                <a:gd name="connsiteX655" fmla="*/ 1696179 w 2052804"/>
                <a:gd name="connsiteY655" fmla="*/ 236810 h 1413227"/>
                <a:gd name="connsiteX656" fmla="*/ 1649509 w 2052804"/>
                <a:gd name="connsiteY656" fmla="*/ 224710 h 1413227"/>
                <a:gd name="connsiteX657" fmla="*/ 1644323 w 2052804"/>
                <a:gd name="connsiteY657" fmla="*/ 217796 h 1413227"/>
                <a:gd name="connsiteX658" fmla="*/ 1642595 w 2052804"/>
                <a:gd name="connsiteY658" fmla="*/ 212610 h 1413227"/>
                <a:gd name="connsiteX659" fmla="*/ 1627038 w 2052804"/>
                <a:gd name="connsiteY659" fmla="*/ 195325 h 1413227"/>
                <a:gd name="connsiteX660" fmla="*/ 1613209 w 2052804"/>
                <a:gd name="connsiteY660" fmla="*/ 191868 h 1413227"/>
                <a:gd name="connsiteX661" fmla="*/ 1604567 w 2052804"/>
                <a:gd name="connsiteY661" fmla="*/ 200511 h 1413227"/>
                <a:gd name="connsiteX662" fmla="*/ 1599381 w 2052804"/>
                <a:gd name="connsiteY662" fmla="*/ 202239 h 1413227"/>
                <a:gd name="connsiteX663" fmla="*/ 1578638 w 2052804"/>
                <a:gd name="connsiteY663" fmla="*/ 209153 h 1413227"/>
                <a:gd name="connsiteX664" fmla="*/ 1573453 w 2052804"/>
                <a:gd name="connsiteY664" fmla="*/ 214339 h 1413227"/>
                <a:gd name="connsiteX665" fmla="*/ 1568267 w 2052804"/>
                <a:gd name="connsiteY665" fmla="*/ 217796 h 1413227"/>
                <a:gd name="connsiteX666" fmla="*/ 1564810 w 2052804"/>
                <a:gd name="connsiteY666" fmla="*/ 224710 h 1413227"/>
                <a:gd name="connsiteX667" fmla="*/ 1547525 w 2052804"/>
                <a:gd name="connsiteY667" fmla="*/ 238539 h 1413227"/>
                <a:gd name="connsiteX668" fmla="*/ 1540610 w 2052804"/>
                <a:gd name="connsiteY668" fmla="*/ 245453 h 1413227"/>
                <a:gd name="connsiteX669" fmla="*/ 1538882 w 2052804"/>
                <a:gd name="connsiteY669" fmla="*/ 250638 h 1413227"/>
                <a:gd name="connsiteX670" fmla="*/ 1540610 w 2052804"/>
                <a:gd name="connsiteY670" fmla="*/ 255824 h 1413227"/>
                <a:gd name="connsiteX671" fmla="*/ 1514682 w 2052804"/>
                <a:gd name="connsiteY671" fmla="*/ 259281 h 1413227"/>
                <a:gd name="connsiteX672" fmla="*/ 1504311 w 2052804"/>
                <a:gd name="connsiteY672" fmla="*/ 252367 h 1413227"/>
                <a:gd name="connsiteX673" fmla="*/ 1476654 w 2052804"/>
                <a:gd name="connsiteY673" fmla="*/ 252367 h 1413227"/>
                <a:gd name="connsiteX674" fmla="*/ 1459369 w 2052804"/>
                <a:gd name="connsiteY674" fmla="*/ 254096 h 1413227"/>
                <a:gd name="connsiteX675" fmla="*/ 1450726 w 2052804"/>
                <a:gd name="connsiteY675" fmla="*/ 261010 h 1413227"/>
                <a:gd name="connsiteX676" fmla="*/ 1445540 w 2052804"/>
                <a:gd name="connsiteY676" fmla="*/ 267924 h 1413227"/>
                <a:gd name="connsiteX677" fmla="*/ 1442083 w 2052804"/>
                <a:gd name="connsiteY677" fmla="*/ 273110 h 1413227"/>
                <a:gd name="connsiteX678" fmla="*/ 1436898 w 2052804"/>
                <a:gd name="connsiteY678" fmla="*/ 274838 h 1413227"/>
                <a:gd name="connsiteX679" fmla="*/ 1423069 w 2052804"/>
                <a:gd name="connsiteY679" fmla="*/ 281752 h 1413227"/>
                <a:gd name="connsiteX680" fmla="*/ 1416155 w 2052804"/>
                <a:gd name="connsiteY680" fmla="*/ 278295 h 1413227"/>
                <a:gd name="connsiteX681" fmla="*/ 1412698 w 2052804"/>
                <a:gd name="connsiteY681" fmla="*/ 273110 h 1413227"/>
                <a:gd name="connsiteX682" fmla="*/ 1404055 w 2052804"/>
                <a:gd name="connsiteY682" fmla="*/ 257553 h 1413227"/>
                <a:gd name="connsiteX683" fmla="*/ 1398870 w 2052804"/>
                <a:gd name="connsiteY683" fmla="*/ 254096 h 1413227"/>
                <a:gd name="connsiteX684" fmla="*/ 1390227 w 2052804"/>
                <a:gd name="connsiteY684" fmla="*/ 243724 h 1413227"/>
                <a:gd name="connsiteX685" fmla="*/ 1385041 w 2052804"/>
                <a:gd name="connsiteY685" fmla="*/ 212610 h 1413227"/>
                <a:gd name="connsiteX686" fmla="*/ 1374670 w 2052804"/>
                <a:gd name="connsiteY686" fmla="*/ 202239 h 1413227"/>
                <a:gd name="connsiteX687" fmla="*/ 1367756 w 2052804"/>
                <a:gd name="connsiteY687" fmla="*/ 200511 h 1413227"/>
                <a:gd name="connsiteX688" fmla="*/ 1362570 w 2052804"/>
                <a:gd name="connsiteY688" fmla="*/ 193596 h 1413227"/>
                <a:gd name="connsiteX689" fmla="*/ 1353928 w 2052804"/>
                <a:gd name="connsiteY689" fmla="*/ 178040 h 1413227"/>
                <a:gd name="connsiteX690" fmla="*/ 1341828 w 2052804"/>
                <a:gd name="connsiteY690" fmla="*/ 167668 h 1413227"/>
                <a:gd name="connsiteX691" fmla="*/ 1302071 w 2052804"/>
                <a:gd name="connsiteY691" fmla="*/ 169397 h 1413227"/>
                <a:gd name="connsiteX692" fmla="*/ 1288243 w 2052804"/>
                <a:gd name="connsiteY692" fmla="*/ 179768 h 1413227"/>
                <a:gd name="connsiteX693" fmla="*/ 1272686 w 2052804"/>
                <a:gd name="connsiteY693" fmla="*/ 181497 h 1413227"/>
                <a:gd name="connsiteX694" fmla="*/ 1255401 w 2052804"/>
                <a:gd name="connsiteY694" fmla="*/ 174583 h 1413227"/>
                <a:gd name="connsiteX695" fmla="*/ 1245029 w 2052804"/>
                <a:gd name="connsiteY695" fmla="*/ 164211 h 1413227"/>
                <a:gd name="connsiteX696" fmla="*/ 1234658 w 2052804"/>
                <a:gd name="connsiteY696" fmla="*/ 160754 h 1413227"/>
                <a:gd name="connsiteX697" fmla="*/ 1219101 w 2052804"/>
                <a:gd name="connsiteY697" fmla="*/ 146926 h 1413227"/>
                <a:gd name="connsiteX698" fmla="*/ 1217373 w 2052804"/>
                <a:gd name="connsiteY698" fmla="*/ 140012 h 1413227"/>
                <a:gd name="connsiteX699" fmla="*/ 1210458 w 2052804"/>
                <a:gd name="connsiteY699" fmla="*/ 131369 h 1413227"/>
                <a:gd name="connsiteX700" fmla="*/ 1208730 w 2052804"/>
                <a:gd name="connsiteY700" fmla="*/ 122726 h 1413227"/>
                <a:gd name="connsiteX701" fmla="*/ 1194902 w 2052804"/>
                <a:gd name="connsiteY701" fmla="*/ 117541 h 1413227"/>
                <a:gd name="connsiteX702" fmla="*/ 1205273 w 2052804"/>
                <a:gd name="connsiteY702" fmla="*/ 105441 h 1413227"/>
                <a:gd name="connsiteX703" fmla="*/ 1212187 w 2052804"/>
                <a:gd name="connsiteY703" fmla="*/ 101984 h 1413227"/>
                <a:gd name="connsiteX704" fmla="*/ 1217373 w 2052804"/>
                <a:gd name="connsiteY704" fmla="*/ 95069 h 1413227"/>
                <a:gd name="connsiteX705" fmla="*/ 1222558 w 2052804"/>
                <a:gd name="connsiteY705" fmla="*/ 89884 h 1413227"/>
                <a:gd name="connsiteX706" fmla="*/ 1220830 w 2052804"/>
                <a:gd name="connsiteY706" fmla="*/ 84698 h 1413227"/>
                <a:gd name="connsiteX707" fmla="*/ 1210458 w 2052804"/>
                <a:gd name="connsiteY707" fmla="*/ 81241 h 1413227"/>
                <a:gd name="connsiteX708" fmla="*/ 1194902 w 2052804"/>
                <a:gd name="connsiteY708" fmla="*/ 76055 h 1413227"/>
                <a:gd name="connsiteX709" fmla="*/ 1179345 w 2052804"/>
                <a:gd name="connsiteY709" fmla="*/ 60499 h 1413227"/>
                <a:gd name="connsiteX710" fmla="*/ 1172430 w 2052804"/>
                <a:gd name="connsiteY710" fmla="*/ 53584 h 1413227"/>
                <a:gd name="connsiteX711" fmla="*/ 1168973 w 2052804"/>
                <a:gd name="connsiteY711" fmla="*/ 46670 h 1413227"/>
                <a:gd name="connsiteX712" fmla="*/ 1163788 w 2052804"/>
                <a:gd name="connsiteY712" fmla="*/ 39756 h 1413227"/>
                <a:gd name="connsiteX713" fmla="*/ 1155145 w 2052804"/>
                <a:gd name="connsiteY713" fmla="*/ 27656 h 1413227"/>
                <a:gd name="connsiteX714" fmla="*/ 1149959 w 2052804"/>
                <a:gd name="connsiteY714" fmla="*/ 24199 h 1413227"/>
                <a:gd name="connsiteX715" fmla="*/ 1144774 w 2052804"/>
                <a:gd name="connsiteY715" fmla="*/ 17285 h 1413227"/>
                <a:gd name="connsiteX716" fmla="*/ 1127488 w 2052804"/>
                <a:gd name="connsiteY716" fmla="*/ 3457 h 1413227"/>
                <a:gd name="connsiteX717" fmla="*/ 1120574 w 2052804"/>
                <a:gd name="connsiteY717" fmla="*/ 0 h 1413227"/>
                <a:gd name="connsiteX718" fmla="*/ 1106746 w 2052804"/>
                <a:gd name="connsiteY718" fmla="*/ 1728 h 1413227"/>
                <a:gd name="connsiteX719" fmla="*/ 1101560 w 2052804"/>
                <a:gd name="connsiteY719" fmla="*/ 3457 h 1413227"/>
                <a:gd name="connsiteX720" fmla="*/ 1094646 w 2052804"/>
                <a:gd name="connsiteY720" fmla="*/ 5185 h 1413227"/>
                <a:gd name="connsiteX721" fmla="*/ 1075632 w 2052804"/>
                <a:gd name="connsiteY721" fmla="*/ 17285 h 1413227"/>
                <a:gd name="connsiteX722" fmla="*/ 1060075 w 2052804"/>
                <a:gd name="connsiteY722" fmla="*/ 15556 h 1413227"/>
                <a:gd name="connsiteX723" fmla="*/ 1054889 w 2052804"/>
                <a:gd name="connsiteY723" fmla="*/ 19014 h 1413227"/>
                <a:gd name="connsiteX724" fmla="*/ 1046247 w 2052804"/>
                <a:gd name="connsiteY724" fmla="*/ 27656 h 1413227"/>
                <a:gd name="connsiteX725" fmla="*/ 1032418 w 2052804"/>
                <a:gd name="connsiteY725" fmla="*/ 38027 h 1413227"/>
                <a:gd name="connsiteX726" fmla="*/ 1028961 w 2052804"/>
                <a:gd name="connsiteY726" fmla="*/ 41485 h 1413227"/>
                <a:gd name="connsiteX727" fmla="*/ 1020319 w 2052804"/>
                <a:gd name="connsiteY727" fmla="*/ 46670 h 1413227"/>
                <a:gd name="connsiteX728" fmla="*/ 1016861 w 2052804"/>
                <a:gd name="connsiteY728" fmla="*/ 50127 h 1413227"/>
                <a:gd name="connsiteX729" fmla="*/ 1001305 w 2052804"/>
                <a:gd name="connsiteY729" fmla="*/ 57041 h 1413227"/>
                <a:gd name="connsiteX730" fmla="*/ 977105 w 2052804"/>
                <a:gd name="connsiteY730" fmla="*/ 58770 h 1413227"/>
                <a:gd name="connsiteX731" fmla="*/ 971919 w 2052804"/>
                <a:gd name="connsiteY731" fmla="*/ 62227 h 1413227"/>
                <a:gd name="connsiteX732" fmla="*/ 970191 w 2052804"/>
                <a:gd name="connsiteY732" fmla="*/ 79513 h 1413227"/>
                <a:gd name="connsiteX733" fmla="*/ 966734 w 2052804"/>
                <a:gd name="connsiteY733" fmla="*/ 103712 h 1413227"/>
                <a:gd name="connsiteX734" fmla="*/ 965005 w 2052804"/>
                <a:gd name="connsiteY734" fmla="*/ 112355 h 1413227"/>
                <a:gd name="connsiteX735" fmla="*/ 920063 w 2052804"/>
                <a:gd name="connsiteY735" fmla="*/ 115812 h 1413227"/>
                <a:gd name="connsiteX736" fmla="*/ 914877 w 2052804"/>
                <a:gd name="connsiteY736" fmla="*/ 119269 h 1413227"/>
                <a:gd name="connsiteX737" fmla="*/ 909692 w 2052804"/>
                <a:gd name="connsiteY737" fmla="*/ 120998 h 1413227"/>
                <a:gd name="connsiteX738" fmla="*/ 897592 w 2052804"/>
                <a:gd name="connsiteY738" fmla="*/ 124455 h 1413227"/>
                <a:gd name="connsiteX739" fmla="*/ 892406 w 2052804"/>
                <a:gd name="connsiteY739" fmla="*/ 126183 h 1413227"/>
                <a:gd name="connsiteX740" fmla="*/ 899320 w 2052804"/>
                <a:gd name="connsiteY740" fmla="*/ 124455 h 1413227"/>
                <a:gd name="connsiteX741" fmla="*/ 907963 w 2052804"/>
                <a:gd name="connsiteY741" fmla="*/ 115812 h 1413227"/>
                <a:gd name="connsiteX742" fmla="*/ 970191 w 2052804"/>
                <a:gd name="connsiteY742" fmla="*/ 63956 h 1413227"/>
                <a:gd name="connsiteX0" fmla="*/ 966257 w 2048870"/>
                <a:gd name="connsiteY0" fmla="*/ 63956 h 1413227"/>
                <a:gd name="connsiteX1" fmla="*/ 962800 w 2048870"/>
                <a:gd name="connsiteY1" fmla="*/ 72598 h 1413227"/>
                <a:gd name="connsiteX2" fmla="*/ 919586 w 2048870"/>
                <a:gd name="connsiteY2" fmla="*/ 114083 h 1413227"/>
                <a:gd name="connsiteX3" fmla="*/ 902301 w 2048870"/>
                <a:gd name="connsiteY3" fmla="*/ 120998 h 1413227"/>
                <a:gd name="connsiteX4" fmla="*/ 885015 w 2048870"/>
                <a:gd name="connsiteY4" fmla="*/ 122726 h 1413227"/>
                <a:gd name="connsiteX5" fmla="*/ 878101 w 2048870"/>
                <a:gd name="connsiteY5" fmla="*/ 129640 h 1413227"/>
                <a:gd name="connsiteX6" fmla="*/ 855630 w 2048870"/>
                <a:gd name="connsiteY6" fmla="*/ 140012 h 1413227"/>
                <a:gd name="connsiteX7" fmla="*/ 850444 w 2048870"/>
                <a:gd name="connsiteY7" fmla="*/ 145197 h 1413227"/>
                <a:gd name="connsiteX8" fmla="*/ 831430 w 2048870"/>
                <a:gd name="connsiteY8" fmla="*/ 146926 h 1413227"/>
                <a:gd name="connsiteX9" fmla="*/ 808923 w 2048870"/>
                <a:gd name="connsiteY9" fmla="*/ 195183 h 1413227"/>
                <a:gd name="connsiteX10" fmla="*/ 817602 w 2048870"/>
                <a:gd name="connsiteY10" fmla="*/ 247181 h 1413227"/>
                <a:gd name="connsiteX11" fmla="*/ 821059 w 2048870"/>
                <a:gd name="connsiteY11" fmla="*/ 255824 h 1413227"/>
                <a:gd name="connsiteX12" fmla="*/ 826245 w 2048870"/>
                <a:gd name="connsiteY12" fmla="*/ 259281 h 1413227"/>
                <a:gd name="connsiteX13" fmla="*/ 833159 w 2048870"/>
                <a:gd name="connsiteY13" fmla="*/ 267924 h 1413227"/>
                <a:gd name="connsiteX14" fmla="*/ 836616 w 2048870"/>
                <a:gd name="connsiteY14" fmla="*/ 280024 h 1413227"/>
                <a:gd name="connsiteX15" fmla="*/ 834887 w 2048870"/>
                <a:gd name="connsiteY15" fmla="*/ 295581 h 1413227"/>
                <a:gd name="connsiteX16" fmla="*/ 821059 w 2048870"/>
                <a:gd name="connsiteY16" fmla="*/ 299038 h 1413227"/>
                <a:gd name="connsiteX17" fmla="*/ 800316 w 2048870"/>
                <a:gd name="connsiteY17" fmla="*/ 295581 h 1413227"/>
                <a:gd name="connsiteX18" fmla="*/ 786488 w 2048870"/>
                <a:gd name="connsiteY18" fmla="*/ 286938 h 1413227"/>
                <a:gd name="connsiteX19" fmla="*/ 781302 w 2048870"/>
                <a:gd name="connsiteY19" fmla="*/ 285209 h 1413227"/>
                <a:gd name="connsiteX20" fmla="*/ 774388 w 2048870"/>
                <a:gd name="connsiteY20" fmla="*/ 278295 h 1413227"/>
                <a:gd name="connsiteX21" fmla="*/ 767474 w 2048870"/>
                <a:gd name="connsiteY21" fmla="*/ 285209 h 1413227"/>
                <a:gd name="connsiteX22" fmla="*/ 758831 w 2048870"/>
                <a:gd name="connsiteY22" fmla="*/ 286938 h 1413227"/>
                <a:gd name="connsiteX23" fmla="*/ 751917 w 2048870"/>
                <a:gd name="connsiteY23" fmla="*/ 288666 h 1413227"/>
                <a:gd name="connsiteX24" fmla="*/ 746732 w 2048870"/>
                <a:gd name="connsiteY24" fmla="*/ 290395 h 1413227"/>
                <a:gd name="connsiteX25" fmla="*/ 722532 w 2048870"/>
                <a:gd name="connsiteY25" fmla="*/ 292124 h 1413227"/>
                <a:gd name="connsiteX26" fmla="*/ 720803 w 2048870"/>
                <a:gd name="connsiteY26" fmla="*/ 297309 h 1413227"/>
                <a:gd name="connsiteX27" fmla="*/ 701789 w 2048870"/>
                <a:gd name="connsiteY27" fmla="*/ 312866 h 1413227"/>
                <a:gd name="connsiteX28" fmla="*/ 686233 w 2048870"/>
                <a:gd name="connsiteY28" fmla="*/ 305952 h 1413227"/>
                <a:gd name="connsiteX29" fmla="*/ 684504 w 2048870"/>
                <a:gd name="connsiteY29" fmla="*/ 300766 h 1413227"/>
                <a:gd name="connsiteX30" fmla="*/ 681047 w 2048870"/>
                <a:gd name="connsiteY30" fmla="*/ 285209 h 1413227"/>
                <a:gd name="connsiteX31" fmla="*/ 649933 w 2048870"/>
                <a:gd name="connsiteY31" fmla="*/ 288666 h 1413227"/>
                <a:gd name="connsiteX32" fmla="*/ 646476 w 2048870"/>
                <a:gd name="connsiteY32" fmla="*/ 299038 h 1413227"/>
                <a:gd name="connsiteX33" fmla="*/ 639562 w 2048870"/>
                <a:gd name="connsiteY33" fmla="*/ 314595 h 1413227"/>
                <a:gd name="connsiteX34" fmla="*/ 634376 w 2048870"/>
                <a:gd name="connsiteY34" fmla="*/ 326694 h 1413227"/>
                <a:gd name="connsiteX35" fmla="*/ 629191 w 2048870"/>
                <a:gd name="connsiteY35" fmla="*/ 328423 h 1413227"/>
                <a:gd name="connsiteX36" fmla="*/ 613634 w 2048870"/>
                <a:gd name="connsiteY36" fmla="*/ 323237 h 1413227"/>
                <a:gd name="connsiteX37" fmla="*/ 601534 w 2048870"/>
                <a:gd name="connsiteY37" fmla="*/ 311138 h 1413227"/>
                <a:gd name="connsiteX38" fmla="*/ 572149 w 2048870"/>
                <a:gd name="connsiteY38" fmla="*/ 309409 h 1413227"/>
                <a:gd name="connsiteX39" fmla="*/ 566963 w 2048870"/>
                <a:gd name="connsiteY39" fmla="*/ 295581 h 1413227"/>
                <a:gd name="connsiteX40" fmla="*/ 563506 w 2048870"/>
                <a:gd name="connsiteY40" fmla="*/ 300766 h 1413227"/>
                <a:gd name="connsiteX41" fmla="*/ 558320 w 2048870"/>
                <a:gd name="connsiteY41" fmla="*/ 307680 h 1413227"/>
                <a:gd name="connsiteX42" fmla="*/ 549678 w 2048870"/>
                <a:gd name="connsiteY42" fmla="*/ 321509 h 1413227"/>
                <a:gd name="connsiteX43" fmla="*/ 509921 w 2048870"/>
                <a:gd name="connsiteY43" fmla="*/ 324966 h 1413227"/>
                <a:gd name="connsiteX44" fmla="*/ 515107 w 2048870"/>
                <a:gd name="connsiteY44" fmla="*/ 328423 h 1413227"/>
                <a:gd name="connsiteX45" fmla="*/ 525478 w 2048870"/>
                <a:gd name="connsiteY45" fmla="*/ 331880 h 1413227"/>
                <a:gd name="connsiteX46" fmla="*/ 523749 w 2048870"/>
                <a:gd name="connsiteY46" fmla="*/ 337066 h 1413227"/>
                <a:gd name="connsiteX47" fmla="*/ 516835 w 2048870"/>
                <a:gd name="connsiteY47" fmla="*/ 343980 h 1413227"/>
                <a:gd name="connsiteX48" fmla="*/ 511650 w 2048870"/>
                <a:gd name="connsiteY48" fmla="*/ 323237 h 1413227"/>
                <a:gd name="connsiteX49" fmla="*/ 483993 w 2048870"/>
                <a:gd name="connsiteY49" fmla="*/ 333609 h 1413227"/>
                <a:gd name="connsiteX50" fmla="*/ 478807 w 2048870"/>
                <a:gd name="connsiteY50" fmla="*/ 338794 h 1413227"/>
                <a:gd name="connsiteX51" fmla="*/ 466707 w 2048870"/>
                <a:gd name="connsiteY51" fmla="*/ 337066 h 1413227"/>
                <a:gd name="connsiteX52" fmla="*/ 463250 w 2048870"/>
                <a:gd name="connsiteY52" fmla="*/ 324966 h 1413227"/>
                <a:gd name="connsiteX53" fmla="*/ 454608 w 2048870"/>
                <a:gd name="connsiteY53" fmla="*/ 312866 h 1413227"/>
                <a:gd name="connsiteX54" fmla="*/ 449422 w 2048870"/>
                <a:gd name="connsiteY54" fmla="*/ 311138 h 1413227"/>
                <a:gd name="connsiteX55" fmla="*/ 425222 w 2048870"/>
                <a:gd name="connsiteY55" fmla="*/ 314595 h 1413227"/>
                <a:gd name="connsiteX56" fmla="*/ 273110 w 2048870"/>
                <a:gd name="connsiteY56" fmla="*/ 316323 h 1413227"/>
                <a:gd name="connsiteX57" fmla="*/ 262739 w 2048870"/>
                <a:gd name="connsiteY57" fmla="*/ 323237 h 1413227"/>
                <a:gd name="connsiteX58" fmla="*/ 255825 w 2048870"/>
                <a:gd name="connsiteY58" fmla="*/ 324966 h 1413227"/>
                <a:gd name="connsiteX59" fmla="*/ 250639 w 2048870"/>
                <a:gd name="connsiteY59" fmla="*/ 326694 h 1413227"/>
                <a:gd name="connsiteX60" fmla="*/ 238540 w 2048870"/>
                <a:gd name="connsiteY60" fmla="*/ 330152 h 1413227"/>
                <a:gd name="connsiteX61" fmla="*/ 200512 w 2048870"/>
                <a:gd name="connsiteY61" fmla="*/ 333609 h 1413227"/>
                <a:gd name="connsiteX62" fmla="*/ 188412 w 2048870"/>
                <a:gd name="connsiteY62" fmla="*/ 338794 h 1413227"/>
                <a:gd name="connsiteX63" fmla="*/ 176312 w 2048870"/>
                <a:gd name="connsiteY63" fmla="*/ 342251 h 1413227"/>
                <a:gd name="connsiteX64" fmla="*/ 146927 w 2048870"/>
                <a:gd name="connsiteY64" fmla="*/ 356080 h 1413227"/>
                <a:gd name="connsiteX65" fmla="*/ 138284 w 2048870"/>
                <a:gd name="connsiteY65" fmla="*/ 357808 h 1413227"/>
                <a:gd name="connsiteX66" fmla="*/ 136555 w 2048870"/>
                <a:gd name="connsiteY66" fmla="*/ 364722 h 1413227"/>
                <a:gd name="connsiteX67" fmla="*/ 134827 w 2048870"/>
                <a:gd name="connsiteY67" fmla="*/ 380279 h 1413227"/>
                <a:gd name="connsiteX68" fmla="*/ 127913 w 2048870"/>
                <a:gd name="connsiteY68" fmla="*/ 387193 h 1413227"/>
                <a:gd name="connsiteX69" fmla="*/ 126184 w 2048870"/>
                <a:gd name="connsiteY69" fmla="*/ 394108 h 1413227"/>
                <a:gd name="connsiteX70" fmla="*/ 124456 w 2048870"/>
                <a:gd name="connsiteY70" fmla="*/ 402750 h 1413227"/>
                <a:gd name="connsiteX71" fmla="*/ 117541 w 2048870"/>
                <a:gd name="connsiteY71" fmla="*/ 407936 h 1413227"/>
                <a:gd name="connsiteX72" fmla="*/ 105442 w 2048870"/>
                <a:gd name="connsiteY72" fmla="*/ 411393 h 1413227"/>
                <a:gd name="connsiteX73" fmla="*/ 100256 w 2048870"/>
                <a:gd name="connsiteY73" fmla="*/ 413122 h 1413227"/>
                <a:gd name="connsiteX74" fmla="*/ 70871 w 2048870"/>
                <a:gd name="connsiteY74" fmla="*/ 421764 h 1413227"/>
                <a:gd name="connsiteX75" fmla="*/ 67414 w 2048870"/>
                <a:gd name="connsiteY75" fmla="*/ 428679 h 1413227"/>
                <a:gd name="connsiteX76" fmla="*/ 69142 w 2048870"/>
                <a:gd name="connsiteY76" fmla="*/ 440778 h 1413227"/>
                <a:gd name="connsiteX77" fmla="*/ 65685 w 2048870"/>
                <a:gd name="connsiteY77" fmla="*/ 445964 h 1413227"/>
                <a:gd name="connsiteX78" fmla="*/ 63957 w 2048870"/>
                <a:gd name="connsiteY78" fmla="*/ 452878 h 1413227"/>
                <a:gd name="connsiteX79" fmla="*/ 69142 w 2048870"/>
                <a:gd name="connsiteY79" fmla="*/ 456335 h 1413227"/>
                <a:gd name="connsiteX80" fmla="*/ 74328 w 2048870"/>
                <a:gd name="connsiteY80" fmla="*/ 458064 h 1413227"/>
                <a:gd name="connsiteX81" fmla="*/ 84699 w 2048870"/>
                <a:gd name="connsiteY81" fmla="*/ 466707 h 1413227"/>
                <a:gd name="connsiteX82" fmla="*/ 81242 w 2048870"/>
                <a:gd name="connsiteY82" fmla="*/ 473621 h 1413227"/>
                <a:gd name="connsiteX83" fmla="*/ 77785 w 2048870"/>
                <a:gd name="connsiteY83" fmla="*/ 478806 h 1413227"/>
                <a:gd name="connsiteX84" fmla="*/ 79513 w 2048870"/>
                <a:gd name="connsiteY84" fmla="*/ 485721 h 1413227"/>
                <a:gd name="connsiteX85" fmla="*/ 72599 w 2048870"/>
                <a:gd name="connsiteY85" fmla="*/ 489178 h 1413227"/>
                <a:gd name="connsiteX86" fmla="*/ 63957 w 2048870"/>
                <a:gd name="connsiteY86" fmla="*/ 487449 h 1413227"/>
                <a:gd name="connsiteX87" fmla="*/ 76056 w 2048870"/>
                <a:gd name="connsiteY87" fmla="*/ 485721 h 1413227"/>
                <a:gd name="connsiteX88" fmla="*/ 86428 w 2048870"/>
                <a:gd name="connsiteY88" fmla="*/ 483992 h 1413227"/>
                <a:gd name="connsiteX89" fmla="*/ 84699 w 2048870"/>
                <a:gd name="connsiteY89" fmla="*/ 494363 h 1413227"/>
                <a:gd name="connsiteX90" fmla="*/ 86428 w 2048870"/>
                <a:gd name="connsiteY90" fmla="*/ 501277 h 1413227"/>
                <a:gd name="connsiteX91" fmla="*/ 96799 w 2048870"/>
                <a:gd name="connsiteY91" fmla="*/ 515106 h 1413227"/>
                <a:gd name="connsiteX92" fmla="*/ 101985 w 2048870"/>
                <a:gd name="connsiteY92" fmla="*/ 516834 h 1413227"/>
                <a:gd name="connsiteX93" fmla="*/ 114084 w 2048870"/>
                <a:gd name="connsiteY93" fmla="*/ 520291 h 1413227"/>
                <a:gd name="connsiteX94" fmla="*/ 102601 w 2048870"/>
                <a:gd name="connsiteY94" fmla="*/ 523095 h 1413227"/>
                <a:gd name="connsiteX95" fmla="*/ 106904 w 2048870"/>
                <a:gd name="connsiteY95" fmla="*/ 535847 h 1413227"/>
                <a:gd name="connsiteX96" fmla="*/ 124649 w 2048870"/>
                <a:gd name="connsiteY96" fmla="*/ 554668 h 1413227"/>
                <a:gd name="connsiteX97" fmla="*/ 134827 w 2048870"/>
                <a:gd name="connsiteY97" fmla="*/ 572148 h 1413227"/>
                <a:gd name="connsiteX98" fmla="*/ 140012 w 2048870"/>
                <a:gd name="connsiteY98" fmla="*/ 573876 h 1413227"/>
                <a:gd name="connsiteX99" fmla="*/ 143470 w 2048870"/>
                <a:gd name="connsiteY99" fmla="*/ 577333 h 1413227"/>
                <a:gd name="connsiteX100" fmla="*/ 146927 w 2048870"/>
                <a:gd name="connsiteY100" fmla="*/ 589433 h 1413227"/>
                <a:gd name="connsiteX101" fmla="*/ 150384 w 2048870"/>
                <a:gd name="connsiteY101" fmla="*/ 598076 h 1413227"/>
                <a:gd name="connsiteX102" fmla="*/ 148655 w 2048870"/>
                <a:gd name="connsiteY102" fmla="*/ 617090 h 1413227"/>
                <a:gd name="connsiteX103" fmla="*/ 146927 w 2048870"/>
                <a:gd name="connsiteY103" fmla="*/ 622276 h 1413227"/>
                <a:gd name="connsiteX104" fmla="*/ 141741 w 2048870"/>
                <a:gd name="connsiteY104" fmla="*/ 627461 h 1413227"/>
                <a:gd name="connsiteX105" fmla="*/ 136555 w 2048870"/>
                <a:gd name="connsiteY105" fmla="*/ 634375 h 1413227"/>
                <a:gd name="connsiteX106" fmla="*/ 120999 w 2048870"/>
                <a:gd name="connsiteY106" fmla="*/ 639561 h 1413227"/>
                <a:gd name="connsiteX107" fmla="*/ 95070 w 2048870"/>
                <a:gd name="connsiteY107" fmla="*/ 665489 h 1413227"/>
                <a:gd name="connsiteX108" fmla="*/ 89885 w 2048870"/>
                <a:gd name="connsiteY108" fmla="*/ 670675 h 1413227"/>
                <a:gd name="connsiteX109" fmla="*/ 86428 w 2048870"/>
                <a:gd name="connsiteY109" fmla="*/ 675860 h 1413227"/>
                <a:gd name="connsiteX110" fmla="*/ 81242 w 2048870"/>
                <a:gd name="connsiteY110" fmla="*/ 677589 h 1413227"/>
                <a:gd name="connsiteX111" fmla="*/ 77785 w 2048870"/>
                <a:gd name="connsiteY111" fmla="*/ 682775 h 1413227"/>
                <a:gd name="connsiteX112" fmla="*/ 63957 w 2048870"/>
                <a:gd name="connsiteY112" fmla="*/ 689689 h 1413227"/>
                <a:gd name="connsiteX113" fmla="*/ 60499 w 2048870"/>
                <a:gd name="connsiteY113" fmla="*/ 706974 h 1413227"/>
                <a:gd name="connsiteX114" fmla="*/ 50128 w 2048870"/>
                <a:gd name="connsiteY114" fmla="*/ 720803 h 1413227"/>
                <a:gd name="connsiteX115" fmla="*/ 48400 w 2048870"/>
                <a:gd name="connsiteY115" fmla="*/ 725988 h 1413227"/>
                <a:gd name="connsiteX116" fmla="*/ 46671 w 2048870"/>
                <a:gd name="connsiteY116" fmla="*/ 732902 h 1413227"/>
                <a:gd name="connsiteX117" fmla="*/ 25929 w 2048870"/>
                <a:gd name="connsiteY117" fmla="*/ 751916 h 1413227"/>
                <a:gd name="connsiteX118" fmla="*/ 19014 w 2048870"/>
                <a:gd name="connsiteY118" fmla="*/ 776116 h 1413227"/>
                <a:gd name="connsiteX119" fmla="*/ 12100 w 2048870"/>
                <a:gd name="connsiteY119" fmla="*/ 789944 h 1413227"/>
                <a:gd name="connsiteX120" fmla="*/ 17286 w 2048870"/>
                <a:gd name="connsiteY120" fmla="*/ 822787 h 1413227"/>
                <a:gd name="connsiteX121" fmla="*/ 25929 w 2048870"/>
                <a:gd name="connsiteY121" fmla="*/ 829701 h 1413227"/>
                <a:gd name="connsiteX122" fmla="*/ 29386 w 2048870"/>
                <a:gd name="connsiteY122" fmla="*/ 838344 h 1413227"/>
                <a:gd name="connsiteX123" fmla="*/ 36300 w 2048870"/>
                <a:gd name="connsiteY123" fmla="*/ 843529 h 1413227"/>
                <a:gd name="connsiteX124" fmla="*/ 38028 w 2048870"/>
                <a:gd name="connsiteY124" fmla="*/ 852172 h 1413227"/>
                <a:gd name="connsiteX125" fmla="*/ 43214 w 2048870"/>
                <a:gd name="connsiteY125" fmla="*/ 864272 h 1413227"/>
                <a:gd name="connsiteX126" fmla="*/ 44943 w 2048870"/>
                <a:gd name="connsiteY126" fmla="*/ 874643 h 1413227"/>
                <a:gd name="connsiteX127" fmla="*/ 51857 w 2048870"/>
                <a:gd name="connsiteY127" fmla="*/ 876372 h 1413227"/>
                <a:gd name="connsiteX128" fmla="*/ 53585 w 2048870"/>
                <a:gd name="connsiteY128" fmla="*/ 883286 h 1413227"/>
                <a:gd name="connsiteX129" fmla="*/ 58771 w 2048870"/>
                <a:gd name="connsiteY129" fmla="*/ 886743 h 1413227"/>
                <a:gd name="connsiteX130" fmla="*/ 51857 w 2048870"/>
                <a:gd name="connsiteY130" fmla="*/ 898843 h 1413227"/>
                <a:gd name="connsiteX131" fmla="*/ 43214 w 2048870"/>
                <a:gd name="connsiteY131" fmla="*/ 904028 h 1413227"/>
                <a:gd name="connsiteX132" fmla="*/ 29386 w 2048870"/>
                <a:gd name="connsiteY132" fmla="*/ 909214 h 1413227"/>
                <a:gd name="connsiteX133" fmla="*/ 27657 w 2048870"/>
                <a:gd name="connsiteY133" fmla="*/ 919585 h 1413227"/>
                <a:gd name="connsiteX134" fmla="*/ 11641 w 2048870"/>
                <a:gd name="connsiteY134" fmla="*/ 916974 h 1413227"/>
                <a:gd name="connsiteX135" fmla="*/ 9489 w 2048870"/>
                <a:gd name="connsiteY135" fmla="*/ 951123 h 1413227"/>
                <a:gd name="connsiteX136" fmla="*/ 847 w 2048870"/>
                <a:gd name="connsiteY136" fmla="*/ 964951 h 1413227"/>
                <a:gd name="connsiteX137" fmla="*/ 8643 w 2048870"/>
                <a:gd name="connsiteY137" fmla="*/ 990455 h 1413227"/>
                <a:gd name="connsiteX138" fmla="*/ 0 w 2048870"/>
                <a:gd name="connsiteY138" fmla="*/ 999098 h 1413227"/>
                <a:gd name="connsiteX139" fmla="*/ 6915 w 2048870"/>
                <a:gd name="connsiteY139" fmla="*/ 1023298 h 1413227"/>
                <a:gd name="connsiteX140" fmla="*/ 15557 w 2048870"/>
                <a:gd name="connsiteY140" fmla="*/ 1025026 h 1413227"/>
                <a:gd name="connsiteX141" fmla="*/ 22471 w 2048870"/>
                <a:gd name="connsiteY141" fmla="*/ 1030212 h 1413227"/>
                <a:gd name="connsiteX142" fmla="*/ 27657 w 2048870"/>
                <a:gd name="connsiteY142" fmla="*/ 1031941 h 1413227"/>
                <a:gd name="connsiteX143" fmla="*/ 34571 w 2048870"/>
                <a:gd name="connsiteY143" fmla="*/ 1035398 h 1413227"/>
                <a:gd name="connsiteX144" fmla="*/ 39757 w 2048870"/>
                <a:gd name="connsiteY144" fmla="*/ 1042312 h 1413227"/>
                <a:gd name="connsiteX145" fmla="*/ 43214 w 2048870"/>
                <a:gd name="connsiteY145" fmla="*/ 1047497 h 1413227"/>
                <a:gd name="connsiteX146" fmla="*/ 53585 w 2048870"/>
                <a:gd name="connsiteY146" fmla="*/ 1052683 h 1413227"/>
                <a:gd name="connsiteX147" fmla="*/ 95070 w 2048870"/>
                <a:gd name="connsiteY147" fmla="*/ 1061326 h 1413227"/>
                <a:gd name="connsiteX148" fmla="*/ 96799 w 2048870"/>
                <a:gd name="connsiteY148" fmla="*/ 1073426 h 1413227"/>
                <a:gd name="connsiteX149" fmla="*/ 101985 w 2048870"/>
                <a:gd name="connsiteY149" fmla="*/ 1075154 h 1413227"/>
                <a:gd name="connsiteX150" fmla="*/ 112356 w 2048870"/>
                <a:gd name="connsiteY150" fmla="*/ 1066511 h 1413227"/>
                <a:gd name="connsiteX151" fmla="*/ 119270 w 2048870"/>
                <a:gd name="connsiteY151" fmla="*/ 1059597 h 1413227"/>
                <a:gd name="connsiteX152" fmla="*/ 120999 w 2048870"/>
                <a:gd name="connsiteY152" fmla="*/ 1054412 h 1413227"/>
                <a:gd name="connsiteX153" fmla="*/ 134827 w 2048870"/>
                <a:gd name="connsiteY153" fmla="*/ 1061326 h 1413227"/>
                <a:gd name="connsiteX154" fmla="*/ 141741 w 2048870"/>
                <a:gd name="connsiteY154" fmla="*/ 1063054 h 1413227"/>
                <a:gd name="connsiteX155" fmla="*/ 146927 w 2048870"/>
                <a:gd name="connsiteY155" fmla="*/ 1064783 h 1413227"/>
                <a:gd name="connsiteX156" fmla="*/ 247182 w 2048870"/>
                <a:gd name="connsiteY156" fmla="*/ 1068240 h 1413227"/>
                <a:gd name="connsiteX157" fmla="*/ 266196 w 2048870"/>
                <a:gd name="connsiteY157" fmla="*/ 1064783 h 1413227"/>
                <a:gd name="connsiteX158" fmla="*/ 276568 w 2048870"/>
                <a:gd name="connsiteY158" fmla="*/ 1059597 h 1413227"/>
                <a:gd name="connsiteX159" fmla="*/ 285210 w 2048870"/>
                <a:gd name="connsiteY159" fmla="*/ 1049226 h 1413227"/>
                <a:gd name="connsiteX160" fmla="*/ 295581 w 2048870"/>
                <a:gd name="connsiteY160" fmla="*/ 1052683 h 1413227"/>
                <a:gd name="connsiteX161" fmla="*/ 299039 w 2048870"/>
                <a:gd name="connsiteY161" fmla="*/ 1059597 h 1413227"/>
                <a:gd name="connsiteX162" fmla="*/ 312867 w 2048870"/>
                <a:gd name="connsiteY162" fmla="*/ 1071697 h 1413227"/>
                <a:gd name="connsiteX163" fmla="*/ 338795 w 2048870"/>
                <a:gd name="connsiteY163" fmla="*/ 1078611 h 1413227"/>
                <a:gd name="connsiteX164" fmla="*/ 361266 w 2048870"/>
                <a:gd name="connsiteY164" fmla="*/ 1075154 h 1413227"/>
                <a:gd name="connsiteX165" fmla="*/ 362995 w 2048870"/>
                <a:gd name="connsiteY165" fmla="*/ 1068240 h 1413227"/>
                <a:gd name="connsiteX166" fmla="*/ 373366 w 2048870"/>
                <a:gd name="connsiteY166" fmla="*/ 1050955 h 1413227"/>
                <a:gd name="connsiteX167" fmla="*/ 378552 w 2048870"/>
                <a:gd name="connsiteY167" fmla="*/ 1045769 h 1413227"/>
                <a:gd name="connsiteX168" fmla="*/ 397566 w 2048870"/>
                <a:gd name="connsiteY168" fmla="*/ 1038855 h 1413227"/>
                <a:gd name="connsiteX169" fmla="*/ 432137 w 2048870"/>
                <a:gd name="connsiteY169" fmla="*/ 1035398 h 1413227"/>
                <a:gd name="connsiteX170" fmla="*/ 444236 w 2048870"/>
                <a:gd name="connsiteY170" fmla="*/ 1031941 h 1413227"/>
                <a:gd name="connsiteX171" fmla="*/ 447693 w 2048870"/>
                <a:gd name="connsiteY171" fmla="*/ 1025026 h 1413227"/>
                <a:gd name="connsiteX172" fmla="*/ 452879 w 2048870"/>
                <a:gd name="connsiteY172" fmla="*/ 1021569 h 1413227"/>
                <a:gd name="connsiteX173" fmla="*/ 468436 w 2048870"/>
                <a:gd name="connsiteY173" fmla="*/ 1011198 h 1413227"/>
                <a:gd name="connsiteX174" fmla="*/ 473622 w 2048870"/>
                <a:gd name="connsiteY174" fmla="*/ 999098 h 1413227"/>
                <a:gd name="connsiteX175" fmla="*/ 478807 w 2048870"/>
                <a:gd name="connsiteY175" fmla="*/ 986998 h 1413227"/>
                <a:gd name="connsiteX176" fmla="*/ 485721 w 2048870"/>
                <a:gd name="connsiteY176" fmla="*/ 980084 h 1413227"/>
                <a:gd name="connsiteX177" fmla="*/ 489178 w 2048870"/>
                <a:gd name="connsiteY177" fmla="*/ 974899 h 1413227"/>
                <a:gd name="connsiteX178" fmla="*/ 511650 w 2048870"/>
                <a:gd name="connsiteY178" fmla="*/ 955885 h 1413227"/>
                <a:gd name="connsiteX179" fmla="*/ 530664 w 2048870"/>
                <a:gd name="connsiteY179" fmla="*/ 947242 h 1413227"/>
                <a:gd name="connsiteX180" fmla="*/ 537578 w 2048870"/>
                <a:gd name="connsiteY180" fmla="*/ 933414 h 1413227"/>
                <a:gd name="connsiteX181" fmla="*/ 539306 w 2048870"/>
                <a:gd name="connsiteY181" fmla="*/ 928228 h 1413227"/>
                <a:gd name="connsiteX182" fmla="*/ 541035 w 2048870"/>
                <a:gd name="connsiteY182" fmla="*/ 921314 h 1413227"/>
                <a:gd name="connsiteX183" fmla="*/ 563506 w 2048870"/>
                <a:gd name="connsiteY183" fmla="*/ 917857 h 1413227"/>
                <a:gd name="connsiteX184" fmla="*/ 568692 w 2048870"/>
                <a:gd name="connsiteY184" fmla="*/ 916128 h 1413227"/>
                <a:gd name="connsiteX185" fmla="*/ 584248 w 2048870"/>
                <a:gd name="connsiteY185" fmla="*/ 914400 h 1413227"/>
                <a:gd name="connsiteX186" fmla="*/ 589434 w 2048870"/>
                <a:gd name="connsiteY186" fmla="*/ 910942 h 1413227"/>
                <a:gd name="connsiteX187" fmla="*/ 599805 w 2048870"/>
                <a:gd name="connsiteY187" fmla="*/ 905757 h 1413227"/>
                <a:gd name="connsiteX188" fmla="*/ 604991 w 2048870"/>
                <a:gd name="connsiteY188" fmla="*/ 900571 h 1413227"/>
                <a:gd name="connsiteX189" fmla="*/ 606719 w 2048870"/>
                <a:gd name="connsiteY189" fmla="*/ 895386 h 1413227"/>
                <a:gd name="connsiteX190" fmla="*/ 615362 w 2048870"/>
                <a:gd name="connsiteY190" fmla="*/ 891928 h 1413227"/>
                <a:gd name="connsiteX191" fmla="*/ 620548 w 2048870"/>
                <a:gd name="connsiteY191" fmla="*/ 886743 h 1413227"/>
                <a:gd name="connsiteX192" fmla="*/ 639562 w 2048870"/>
                <a:gd name="connsiteY192" fmla="*/ 879829 h 1413227"/>
                <a:gd name="connsiteX193" fmla="*/ 653390 w 2048870"/>
                <a:gd name="connsiteY193" fmla="*/ 883286 h 1413227"/>
                <a:gd name="connsiteX194" fmla="*/ 660304 w 2048870"/>
                <a:gd name="connsiteY194" fmla="*/ 885014 h 1413227"/>
                <a:gd name="connsiteX195" fmla="*/ 668947 w 2048870"/>
                <a:gd name="connsiteY195" fmla="*/ 886743 h 1413227"/>
                <a:gd name="connsiteX196" fmla="*/ 675861 w 2048870"/>
                <a:gd name="connsiteY196" fmla="*/ 890200 h 1413227"/>
                <a:gd name="connsiteX197" fmla="*/ 682775 w 2048870"/>
                <a:gd name="connsiteY197" fmla="*/ 891928 h 1413227"/>
                <a:gd name="connsiteX198" fmla="*/ 687961 w 2048870"/>
                <a:gd name="connsiteY198" fmla="*/ 895386 h 1413227"/>
                <a:gd name="connsiteX199" fmla="*/ 700061 w 2048870"/>
                <a:gd name="connsiteY199" fmla="*/ 898843 h 1413227"/>
                <a:gd name="connsiteX200" fmla="*/ 706975 w 2048870"/>
                <a:gd name="connsiteY200" fmla="*/ 904028 h 1413227"/>
                <a:gd name="connsiteX201" fmla="*/ 720803 w 2048870"/>
                <a:gd name="connsiteY201" fmla="*/ 907485 h 1413227"/>
                <a:gd name="connsiteX202" fmla="*/ 727718 w 2048870"/>
                <a:gd name="connsiteY202" fmla="*/ 905757 h 1413227"/>
                <a:gd name="connsiteX203" fmla="*/ 736360 w 2048870"/>
                <a:gd name="connsiteY203" fmla="*/ 904028 h 1413227"/>
                <a:gd name="connsiteX204" fmla="*/ 738089 w 2048870"/>
                <a:gd name="connsiteY204" fmla="*/ 910942 h 1413227"/>
                <a:gd name="connsiteX205" fmla="*/ 760560 w 2048870"/>
                <a:gd name="connsiteY205" fmla="*/ 904028 h 1413227"/>
                <a:gd name="connsiteX206" fmla="*/ 770931 w 2048870"/>
                <a:gd name="connsiteY206" fmla="*/ 895386 h 1413227"/>
                <a:gd name="connsiteX207" fmla="*/ 776117 w 2048870"/>
                <a:gd name="connsiteY207" fmla="*/ 909214 h 1413227"/>
                <a:gd name="connsiteX208" fmla="*/ 783031 w 2048870"/>
                <a:gd name="connsiteY208" fmla="*/ 914400 h 1413227"/>
                <a:gd name="connsiteX209" fmla="*/ 788217 w 2048870"/>
                <a:gd name="connsiteY209" fmla="*/ 919585 h 1413227"/>
                <a:gd name="connsiteX210" fmla="*/ 793402 w 2048870"/>
                <a:gd name="connsiteY210" fmla="*/ 923042 h 1413227"/>
                <a:gd name="connsiteX211" fmla="*/ 798588 w 2048870"/>
                <a:gd name="connsiteY211" fmla="*/ 928228 h 1413227"/>
                <a:gd name="connsiteX212" fmla="*/ 815873 w 2048870"/>
                <a:gd name="connsiteY212" fmla="*/ 935142 h 1413227"/>
                <a:gd name="connsiteX213" fmla="*/ 821059 w 2048870"/>
                <a:gd name="connsiteY213" fmla="*/ 926499 h 1413227"/>
                <a:gd name="connsiteX214" fmla="*/ 824516 w 2048870"/>
                <a:gd name="connsiteY214" fmla="*/ 910942 h 1413227"/>
                <a:gd name="connsiteX215" fmla="*/ 833159 w 2048870"/>
                <a:gd name="connsiteY215" fmla="*/ 912671 h 1413227"/>
                <a:gd name="connsiteX216" fmla="*/ 838344 w 2048870"/>
                <a:gd name="connsiteY216" fmla="*/ 926499 h 1413227"/>
                <a:gd name="connsiteX217" fmla="*/ 841802 w 2048870"/>
                <a:gd name="connsiteY217" fmla="*/ 929956 h 1413227"/>
                <a:gd name="connsiteX218" fmla="*/ 850444 w 2048870"/>
                <a:gd name="connsiteY218" fmla="*/ 948970 h 1413227"/>
                <a:gd name="connsiteX219" fmla="*/ 853901 w 2048870"/>
                <a:gd name="connsiteY219" fmla="*/ 954156 h 1413227"/>
                <a:gd name="connsiteX220" fmla="*/ 859087 w 2048870"/>
                <a:gd name="connsiteY220" fmla="*/ 988727 h 1413227"/>
                <a:gd name="connsiteX221" fmla="*/ 864273 w 2048870"/>
                <a:gd name="connsiteY221" fmla="*/ 1009469 h 1413227"/>
                <a:gd name="connsiteX222" fmla="*/ 878101 w 2048870"/>
                <a:gd name="connsiteY222" fmla="*/ 1012927 h 1413227"/>
                <a:gd name="connsiteX223" fmla="*/ 885015 w 2048870"/>
                <a:gd name="connsiteY223" fmla="*/ 1016384 h 1413227"/>
                <a:gd name="connsiteX224" fmla="*/ 888472 w 2048870"/>
                <a:gd name="connsiteY224" fmla="*/ 1021569 h 1413227"/>
                <a:gd name="connsiteX225" fmla="*/ 900572 w 2048870"/>
                <a:gd name="connsiteY225" fmla="*/ 1026755 h 1413227"/>
                <a:gd name="connsiteX226" fmla="*/ 905758 w 2048870"/>
                <a:gd name="connsiteY226" fmla="*/ 1033669 h 1413227"/>
                <a:gd name="connsiteX227" fmla="*/ 909215 w 2048870"/>
                <a:gd name="connsiteY227" fmla="*/ 1040583 h 1413227"/>
                <a:gd name="connsiteX228" fmla="*/ 912672 w 2048870"/>
                <a:gd name="connsiteY228" fmla="*/ 1045769 h 1413227"/>
                <a:gd name="connsiteX229" fmla="*/ 921315 w 2048870"/>
                <a:gd name="connsiteY229" fmla="*/ 1061326 h 1413227"/>
                <a:gd name="connsiteX230" fmla="*/ 928229 w 2048870"/>
                <a:gd name="connsiteY230" fmla="*/ 1082068 h 1413227"/>
                <a:gd name="connsiteX231" fmla="*/ 929957 w 2048870"/>
                <a:gd name="connsiteY231" fmla="*/ 1088983 h 1413227"/>
                <a:gd name="connsiteX232" fmla="*/ 940329 w 2048870"/>
                <a:gd name="connsiteY232" fmla="*/ 1095897 h 1413227"/>
                <a:gd name="connsiteX233" fmla="*/ 959343 w 2048870"/>
                <a:gd name="connsiteY233" fmla="*/ 1097625 h 1413227"/>
                <a:gd name="connsiteX234" fmla="*/ 967985 w 2048870"/>
                <a:gd name="connsiteY234" fmla="*/ 1101082 h 1413227"/>
                <a:gd name="connsiteX235" fmla="*/ 973171 w 2048870"/>
                <a:gd name="connsiteY235" fmla="*/ 1106268 h 1413227"/>
                <a:gd name="connsiteX236" fmla="*/ 978357 w 2048870"/>
                <a:gd name="connsiteY236" fmla="*/ 1109725 h 1413227"/>
                <a:gd name="connsiteX237" fmla="*/ 983542 w 2048870"/>
                <a:gd name="connsiteY237" fmla="*/ 1118368 h 1413227"/>
                <a:gd name="connsiteX238" fmla="*/ 985271 w 2048870"/>
                <a:gd name="connsiteY238" fmla="*/ 1132196 h 1413227"/>
                <a:gd name="connsiteX239" fmla="*/ 992185 w 2048870"/>
                <a:gd name="connsiteY239" fmla="*/ 1139110 h 1413227"/>
                <a:gd name="connsiteX240" fmla="*/ 1006013 w 2048870"/>
                <a:gd name="connsiteY240" fmla="*/ 1147753 h 1413227"/>
                <a:gd name="connsiteX241" fmla="*/ 1019842 w 2048870"/>
                <a:gd name="connsiteY241" fmla="*/ 1165038 h 1413227"/>
                <a:gd name="connsiteX242" fmla="*/ 1012927 w 2048870"/>
                <a:gd name="connsiteY242" fmla="*/ 1168496 h 1413227"/>
                <a:gd name="connsiteX243" fmla="*/ 1009470 w 2048870"/>
                <a:gd name="connsiteY243" fmla="*/ 1173681 h 1413227"/>
                <a:gd name="connsiteX244" fmla="*/ 997371 w 2048870"/>
                <a:gd name="connsiteY244" fmla="*/ 1177138 h 1413227"/>
                <a:gd name="connsiteX245" fmla="*/ 990456 w 2048870"/>
                <a:gd name="connsiteY245" fmla="*/ 1182324 h 1413227"/>
                <a:gd name="connsiteX246" fmla="*/ 973171 w 2048870"/>
                <a:gd name="connsiteY246" fmla="*/ 1182324 h 1413227"/>
                <a:gd name="connsiteX247" fmla="*/ 971442 w 2048870"/>
                <a:gd name="connsiteY247" fmla="*/ 1161581 h 1413227"/>
                <a:gd name="connsiteX248" fmla="*/ 962800 w 2048870"/>
                <a:gd name="connsiteY248" fmla="*/ 1171953 h 1413227"/>
                <a:gd name="connsiteX249" fmla="*/ 959343 w 2048870"/>
                <a:gd name="connsiteY249" fmla="*/ 1178867 h 1413227"/>
                <a:gd name="connsiteX250" fmla="*/ 955885 w 2048870"/>
                <a:gd name="connsiteY250" fmla="*/ 1184052 h 1413227"/>
                <a:gd name="connsiteX251" fmla="*/ 947243 w 2048870"/>
                <a:gd name="connsiteY251" fmla="*/ 1187510 h 1413227"/>
                <a:gd name="connsiteX252" fmla="*/ 940329 w 2048870"/>
                <a:gd name="connsiteY252" fmla="*/ 1190967 h 1413227"/>
                <a:gd name="connsiteX253" fmla="*/ 935143 w 2048870"/>
                <a:gd name="connsiteY253" fmla="*/ 1189238 h 1413227"/>
                <a:gd name="connsiteX254" fmla="*/ 929957 w 2048870"/>
                <a:gd name="connsiteY254" fmla="*/ 1171953 h 1413227"/>
                <a:gd name="connsiteX255" fmla="*/ 926500 w 2048870"/>
                <a:gd name="connsiteY255" fmla="*/ 1165038 h 1413227"/>
                <a:gd name="connsiteX256" fmla="*/ 921315 w 2048870"/>
                <a:gd name="connsiteY256" fmla="*/ 1178867 h 1413227"/>
                <a:gd name="connsiteX257" fmla="*/ 917857 w 2048870"/>
                <a:gd name="connsiteY257" fmla="*/ 1182324 h 1413227"/>
                <a:gd name="connsiteX258" fmla="*/ 914400 w 2048870"/>
                <a:gd name="connsiteY258" fmla="*/ 1194424 h 1413227"/>
                <a:gd name="connsiteX259" fmla="*/ 909215 w 2048870"/>
                <a:gd name="connsiteY259" fmla="*/ 1199609 h 1413227"/>
                <a:gd name="connsiteX260" fmla="*/ 886744 w 2048870"/>
                <a:gd name="connsiteY260" fmla="*/ 1180595 h 1413227"/>
                <a:gd name="connsiteX261" fmla="*/ 883287 w 2048870"/>
                <a:gd name="connsiteY261" fmla="*/ 1189238 h 1413227"/>
                <a:gd name="connsiteX262" fmla="*/ 879830 w 2048870"/>
                <a:gd name="connsiteY262" fmla="*/ 1194424 h 1413227"/>
                <a:gd name="connsiteX263" fmla="*/ 874644 w 2048870"/>
                <a:gd name="connsiteY263" fmla="*/ 1204795 h 1413227"/>
                <a:gd name="connsiteX264" fmla="*/ 879830 w 2048870"/>
                <a:gd name="connsiteY264" fmla="*/ 1211709 h 1413227"/>
                <a:gd name="connsiteX265" fmla="*/ 890201 w 2048870"/>
                <a:gd name="connsiteY265" fmla="*/ 1215166 h 1413227"/>
                <a:gd name="connsiteX266" fmla="*/ 893658 w 2048870"/>
                <a:gd name="connsiteY266" fmla="*/ 1235909 h 1413227"/>
                <a:gd name="connsiteX267" fmla="*/ 891929 w 2048870"/>
                <a:gd name="connsiteY267" fmla="*/ 1258380 h 1413227"/>
                <a:gd name="connsiteX268" fmla="*/ 890201 w 2048870"/>
                <a:gd name="connsiteY268" fmla="*/ 1263565 h 1413227"/>
                <a:gd name="connsiteX269" fmla="*/ 878101 w 2048870"/>
                <a:gd name="connsiteY269" fmla="*/ 1275665 h 1413227"/>
                <a:gd name="connsiteX270" fmla="*/ 871187 w 2048870"/>
                <a:gd name="connsiteY270" fmla="*/ 1282579 h 1413227"/>
                <a:gd name="connsiteX271" fmla="*/ 876372 w 2048870"/>
                <a:gd name="connsiteY271" fmla="*/ 1287765 h 1413227"/>
                <a:gd name="connsiteX272" fmla="*/ 874644 w 2048870"/>
                <a:gd name="connsiteY272" fmla="*/ 1306779 h 1413227"/>
                <a:gd name="connsiteX273" fmla="*/ 869458 w 2048870"/>
                <a:gd name="connsiteY273" fmla="*/ 1308508 h 1413227"/>
                <a:gd name="connsiteX274" fmla="*/ 864273 w 2048870"/>
                <a:gd name="connsiteY274" fmla="*/ 1320607 h 1413227"/>
                <a:gd name="connsiteX275" fmla="*/ 858371 w 2048870"/>
                <a:gd name="connsiteY275" fmla="*/ 1338987 h 1413227"/>
                <a:gd name="connsiteX276" fmla="*/ 862544 w 2048870"/>
                <a:gd name="connsiteY276" fmla="*/ 1360364 h 1413227"/>
                <a:gd name="connsiteX277" fmla="*/ 857358 w 2048870"/>
                <a:gd name="connsiteY277" fmla="*/ 1363821 h 1413227"/>
                <a:gd name="connsiteX278" fmla="*/ 852173 w 2048870"/>
                <a:gd name="connsiteY278" fmla="*/ 1365550 h 1413227"/>
                <a:gd name="connsiteX279" fmla="*/ 850444 w 2048870"/>
                <a:gd name="connsiteY279" fmla="*/ 1370735 h 1413227"/>
                <a:gd name="connsiteX280" fmla="*/ 838344 w 2048870"/>
                <a:gd name="connsiteY280" fmla="*/ 1379378 h 1413227"/>
                <a:gd name="connsiteX281" fmla="*/ 841802 w 2048870"/>
                <a:gd name="connsiteY281" fmla="*/ 1389749 h 1413227"/>
                <a:gd name="connsiteX282" fmla="*/ 840497 w 2048870"/>
                <a:gd name="connsiteY282" fmla="*/ 1405535 h 1413227"/>
                <a:gd name="connsiteX283" fmla="*/ 835505 w 2048870"/>
                <a:gd name="connsiteY283" fmla="*/ 1401197 h 1413227"/>
                <a:gd name="connsiteX284" fmla="*/ 854324 w 2048870"/>
                <a:gd name="connsiteY284" fmla="*/ 1410492 h 1413227"/>
                <a:gd name="connsiteX285" fmla="*/ 885015 w 2048870"/>
                <a:gd name="connsiteY285" fmla="*/ 1408763 h 1413227"/>
                <a:gd name="connsiteX286" fmla="*/ 890201 w 2048870"/>
                <a:gd name="connsiteY286" fmla="*/ 1413103 h 1413227"/>
                <a:gd name="connsiteX287" fmla="*/ 921633 w 2048870"/>
                <a:gd name="connsiteY287" fmla="*/ 1403013 h 1413227"/>
                <a:gd name="connsiteX288" fmla="*/ 932427 w 2048870"/>
                <a:gd name="connsiteY288" fmla="*/ 1394371 h 1413227"/>
                <a:gd name="connsiteX289" fmla="*/ 933873 w 2048870"/>
                <a:gd name="connsiteY289" fmla="*/ 1386010 h 1413227"/>
                <a:gd name="connsiteX290" fmla="*/ 943362 w 2048870"/>
                <a:gd name="connsiteY290" fmla="*/ 1367278 h 1413227"/>
                <a:gd name="connsiteX291" fmla="*/ 943786 w 2048870"/>
                <a:gd name="connsiteY291" fmla="*/ 1362093 h 1413227"/>
                <a:gd name="connsiteX292" fmla="*/ 954157 w 2048870"/>
                <a:gd name="connsiteY292" fmla="*/ 1360364 h 1413227"/>
                <a:gd name="connsiteX293" fmla="*/ 993913 w 2048870"/>
                <a:gd name="connsiteY293" fmla="*/ 1356907 h 1413227"/>
                <a:gd name="connsiteX294" fmla="*/ 997371 w 2048870"/>
                <a:gd name="connsiteY294" fmla="*/ 1349993 h 1413227"/>
                <a:gd name="connsiteX295" fmla="*/ 1009470 w 2048870"/>
                <a:gd name="connsiteY295" fmla="*/ 1344807 h 1413227"/>
                <a:gd name="connsiteX296" fmla="*/ 997371 w 2048870"/>
                <a:gd name="connsiteY296" fmla="*/ 1334436 h 1413227"/>
                <a:gd name="connsiteX297" fmla="*/ 993913 w 2048870"/>
                <a:gd name="connsiteY297" fmla="*/ 1327522 h 1413227"/>
                <a:gd name="connsiteX298" fmla="*/ 988728 w 2048870"/>
                <a:gd name="connsiteY298" fmla="*/ 1322336 h 1413227"/>
                <a:gd name="connsiteX299" fmla="*/ 985271 w 2048870"/>
                <a:gd name="connsiteY299" fmla="*/ 1310236 h 1413227"/>
                <a:gd name="connsiteX300" fmla="*/ 981814 w 2048870"/>
                <a:gd name="connsiteY300" fmla="*/ 1299865 h 1413227"/>
                <a:gd name="connsiteX301" fmla="*/ 990456 w 2048870"/>
                <a:gd name="connsiteY301" fmla="*/ 1287765 h 1413227"/>
                <a:gd name="connsiteX302" fmla="*/ 992185 w 2048870"/>
                <a:gd name="connsiteY302" fmla="*/ 1292951 h 1413227"/>
                <a:gd name="connsiteX303" fmla="*/ 1014656 w 2048870"/>
                <a:gd name="connsiteY303" fmla="*/ 1299865 h 1413227"/>
                <a:gd name="connsiteX304" fmla="*/ 1016385 w 2048870"/>
                <a:gd name="connsiteY304" fmla="*/ 1294679 h 1413227"/>
                <a:gd name="connsiteX305" fmla="*/ 1018113 w 2048870"/>
                <a:gd name="connsiteY305" fmla="*/ 1284308 h 1413227"/>
                <a:gd name="connsiteX306" fmla="*/ 1031941 w 2048870"/>
                <a:gd name="connsiteY306" fmla="*/ 1270480 h 1413227"/>
                <a:gd name="connsiteX307" fmla="*/ 1037127 w 2048870"/>
                <a:gd name="connsiteY307" fmla="*/ 1265294 h 1413227"/>
                <a:gd name="connsiteX308" fmla="*/ 1038856 w 2048870"/>
                <a:gd name="connsiteY308" fmla="*/ 1260108 h 1413227"/>
                <a:gd name="connsiteX309" fmla="*/ 1054412 w 2048870"/>
                <a:gd name="connsiteY309" fmla="*/ 1251466 h 1413227"/>
                <a:gd name="connsiteX310" fmla="*/ 1063055 w 2048870"/>
                <a:gd name="connsiteY310" fmla="*/ 1242823 h 1413227"/>
                <a:gd name="connsiteX311" fmla="*/ 1068241 w 2048870"/>
                <a:gd name="connsiteY311" fmla="*/ 1223809 h 1413227"/>
                <a:gd name="connsiteX312" fmla="*/ 1069969 w 2048870"/>
                <a:gd name="connsiteY312" fmla="*/ 1215166 h 1413227"/>
                <a:gd name="connsiteX313" fmla="*/ 1075155 w 2048870"/>
                <a:gd name="connsiteY313" fmla="*/ 1201338 h 1413227"/>
                <a:gd name="connsiteX314" fmla="*/ 1080341 w 2048870"/>
                <a:gd name="connsiteY314" fmla="*/ 1175410 h 1413227"/>
                <a:gd name="connsiteX315" fmla="*/ 1082069 w 2048870"/>
                <a:gd name="connsiteY315" fmla="*/ 1170224 h 1413227"/>
                <a:gd name="connsiteX316" fmla="*/ 1083798 w 2048870"/>
                <a:gd name="connsiteY316" fmla="*/ 1161581 h 1413227"/>
                <a:gd name="connsiteX317" fmla="*/ 1085526 w 2048870"/>
                <a:gd name="connsiteY317" fmla="*/ 1156396 h 1413227"/>
                <a:gd name="connsiteX318" fmla="*/ 1087255 w 2048870"/>
                <a:gd name="connsiteY318" fmla="*/ 1147753 h 1413227"/>
                <a:gd name="connsiteX319" fmla="*/ 1097626 w 2048870"/>
                <a:gd name="connsiteY319" fmla="*/ 1128739 h 1413227"/>
                <a:gd name="connsiteX320" fmla="*/ 1099355 w 2048870"/>
                <a:gd name="connsiteY320" fmla="*/ 1111454 h 1413227"/>
                <a:gd name="connsiteX321" fmla="*/ 1106269 w 2048870"/>
                <a:gd name="connsiteY321" fmla="*/ 1097625 h 1413227"/>
                <a:gd name="connsiteX322" fmla="*/ 1111454 w 2048870"/>
                <a:gd name="connsiteY322" fmla="*/ 1095897 h 1413227"/>
                <a:gd name="connsiteX323" fmla="*/ 1127011 w 2048870"/>
                <a:gd name="connsiteY323" fmla="*/ 1094168 h 1413227"/>
                <a:gd name="connsiteX324" fmla="*/ 1132197 w 2048870"/>
                <a:gd name="connsiteY324" fmla="*/ 1088983 h 1413227"/>
                <a:gd name="connsiteX325" fmla="*/ 1166768 w 2048870"/>
                <a:gd name="connsiteY325" fmla="*/ 1083797 h 1413227"/>
                <a:gd name="connsiteX326" fmla="*/ 1175411 w 2048870"/>
                <a:gd name="connsiteY326" fmla="*/ 1073426 h 1413227"/>
                <a:gd name="connsiteX327" fmla="*/ 1177139 w 2048870"/>
                <a:gd name="connsiteY327" fmla="*/ 1061326 h 1413227"/>
                <a:gd name="connsiteX328" fmla="*/ 1170225 w 2048870"/>
                <a:gd name="connsiteY328" fmla="*/ 1047497 h 1413227"/>
                <a:gd name="connsiteX329" fmla="*/ 1163311 w 2048870"/>
                <a:gd name="connsiteY329" fmla="*/ 1050955 h 1413227"/>
                <a:gd name="connsiteX330" fmla="*/ 1166768 w 2048870"/>
                <a:gd name="connsiteY330" fmla="*/ 1068240 h 1413227"/>
                <a:gd name="connsiteX331" fmla="*/ 1170225 w 2048870"/>
                <a:gd name="connsiteY331" fmla="*/ 1076883 h 1413227"/>
                <a:gd name="connsiteX332" fmla="*/ 1182325 w 2048870"/>
                <a:gd name="connsiteY332" fmla="*/ 1080340 h 1413227"/>
                <a:gd name="connsiteX333" fmla="*/ 1206524 w 2048870"/>
                <a:gd name="connsiteY333" fmla="*/ 1078611 h 1413227"/>
                <a:gd name="connsiteX334" fmla="*/ 1211710 w 2048870"/>
                <a:gd name="connsiteY334" fmla="*/ 1073426 h 1413227"/>
                <a:gd name="connsiteX335" fmla="*/ 1218624 w 2048870"/>
                <a:gd name="connsiteY335" fmla="*/ 1057869 h 1413227"/>
                <a:gd name="connsiteX336" fmla="*/ 1220353 w 2048870"/>
                <a:gd name="connsiteY336" fmla="*/ 1044040 h 1413227"/>
                <a:gd name="connsiteX337" fmla="*/ 1218624 w 2048870"/>
                <a:gd name="connsiteY337" fmla="*/ 1014655 h 1413227"/>
                <a:gd name="connsiteX338" fmla="*/ 1211710 w 2048870"/>
                <a:gd name="connsiteY338" fmla="*/ 997370 h 1413227"/>
                <a:gd name="connsiteX339" fmla="*/ 1206524 w 2048870"/>
                <a:gd name="connsiteY339" fmla="*/ 993913 h 1413227"/>
                <a:gd name="connsiteX340" fmla="*/ 1184053 w 2048870"/>
                <a:gd name="connsiteY340" fmla="*/ 973170 h 1413227"/>
                <a:gd name="connsiteX341" fmla="*/ 1173682 w 2048870"/>
                <a:gd name="connsiteY341" fmla="*/ 962799 h 1413227"/>
                <a:gd name="connsiteX342" fmla="*/ 1168496 w 2048870"/>
                <a:gd name="connsiteY342" fmla="*/ 957613 h 1413227"/>
                <a:gd name="connsiteX343" fmla="*/ 1171954 w 2048870"/>
                <a:gd name="connsiteY343" fmla="*/ 961070 h 1413227"/>
                <a:gd name="connsiteX344" fmla="*/ 1178868 w 2048870"/>
                <a:gd name="connsiteY344" fmla="*/ 971441 h 1413227"/>
                <a:gd name="connsiteX345" fmla="*/ 1185782 w 2048870"/>
                <a:gd name="connsiteY345" fmla="*/ 980084 h 1413227"/>
                <a:gd name="connsiteX346" fmla="*/ 1190968 w 2048870"/>
                <a:gd name="connsiteY346" fmla="*/ 985270 h 1413227"/>
                <a:gd name="connsiteX347" fmla="*/ 1194425 w 2048870"/>
                <a:gd name="connsiteY347" fmla="*/ 993913 h 1413227"/>
                <a:gd name="connsiteX348" fmla="*/ 1206524 w 2048870"/>
                <a:gd name="connsiteY348" fmla="*/ 1007741 h 1413227"/>
                <a:gd name="connsiteX349" fmla="*/ 1208253 w 2048870"/>
                <a:gd name="connsiteY349" fmla="*/ 1014655 h 1413227"/>
                <a:gd name="connsiteX350" fmla="*/ 1211710 w 2048870"/>
                <a:gd name="connsiteY350" fmla="*/ 1023298 h 1413227"/>
                <a:gd name="connsiteX351" fmla="*/ 1213439 w 2048870"/>
                <a:gd name="connsiteY351" fmla="*/ 1035398 h 1413227"/>
                <a:gd name="connsiteX352" fmla="*/ 1215167 w 2048870"/>
                <a:gd name="connsiteY352" fmla="*/ 1044040 h 1413227"/>
                <a:gd name="connsiteX353" fmla="*/ 1220353 w 2048870"/>
                <a:gd name="connsiteY353" fmla="*/ 1045769 h 1413227"/>
                <a:gd name="connsiteX354" fmla="*/ 1223810 w 2048870"/>
                <a:gd name="connsiteY354" fmla="*/ 1050955 h 1413227"/>
                <a:gd name="connsiteX355" fmla="*/ 1234181 w 2048870"/>
                <a:gd name="connsiteY355" fmla="*/ 1063054 h 1413227"/>
                <a:gd name="connsiteX356" fmla="*/ 1253195 w 2048870"/>
                <a:gd name="connsiteY356" fmla="*/ 1057869 h 1413227"/>
                <a:gd name="connsiteX357" fmla="*/ 1258381 w 2048870"/>
                <a:gd name="connsiteY357" fmla="*/ 1054412 h 1413227"/>
                <a:gd name="connsiteX358" fmla="*/ 1265295 w 2048870"/>
                <a:gd name="connsiteY358" fmla="*/ 1050955 h 1413227"/>
                <a:gd name="connsiteX359" fmla="*/ 1267023 w 2048870"/>
                <a:gd name="connsiteY359" fmla="*/ 1056140 h 1413227"/>
                <a:gd name="connsiteX360" fmla="*/ 1268752 w 2048870"/>
                <a:gd name="connsiteY360" fmla="*/ 1068240 h 1413227"/>
                <a:gd name="connsiteX361" fmla="*/ 1279123 w 2048870"/>
                <a:gd name="connsiteY361" fmla="*/ 1064783 h 1413227"/>
                <a:gd name="connsiteX362" fmla="*/ 1289495 w 2048870"/>
                <a:gd name="connsiteY362" fmla="*/ 1056140 h 1413227"/>
                <a:gd name="connsiteX363" fmla="*/ 1299866 w 2048870"/>
                <a:gd name="connsiteY363" fmla="*/ 1045769 h 1413227"/>
                <a:gd name="connsiteX364" fmla="*/ 1305051 w 2048870"/>
                <a:gd name="connsiteY364" fmla="*/ 1042312 h 1413227"/>
                <a:gd name="connsiteX365" fmla="*/ 1294680 w 2048870"/>
                <a:gd name="connsiteY365" fmla="*/ 1061326 h 1413227"/>
                <a:gd name="connsiteX366" fmla="*/ 1286037 w 2048870"/>
                <a:gd name="connsiteY366" fmla="*/ 1075154 h 1413227"/>
                <a:gd name="connsiteX367" fmla="*/ 1272209 w 2048870"/>
                <a:gd name="connsiteY367" fmla="*/ 1082068 h 1413227"/>
                <a:gd name="connsiteX368" fmla="*/ 1265295 w 2048870"/>
                <a:gd name="connsiteY368" fmla="*/ 1085525 h 1413227"/>
                <a:gd name="connsiteX369" fmla="*/ 1260109 w 2048870"/>
                <a:gd name="connsiteY369" fmla="*/ 1087254 h 1413227"/>
                <a:gd name="connsiteX370" fmla="*/ 1251467 w 2048870"/>
                <a:gd name="connsiteY370" fmla="*/ 1092440 h 1413227"/>
                <a:gd name="connsiteX371" fmla="*/ 1232453 w 2048870"/>
                <a:gd name="connsiteY371" fmla="*/ 1095897 h 1413227"/>
                <a:gd name="connsiteX372" fmla="*/ 1230724 w 2048870"/>
                <a:gd name="connsiteY372" fmla="*/ 1121825 h 1413227"/>
                <a:gd name="connsiteX373" fmla="*/ 1223810 w 2048870"/>
                <a:gd name="connsiteY373" fmla="*/ 1128739 h 1413227"/>
                <a:gd name="connsiteX374" fmla="*/ 1216896 w 2048870"/>
                <a:gd name="connsiteY374" fmla="*/ 1130468 h 1413227"/>
                <a:gd name="connsiteX375" fmla="*/ 1248009 w 2048870"/>
                <a:gd name="connsiteY375" fmla="*/ 1123553 h 1413227"/>
                <a:gd name="connsiteX376" fmla="*/ 1275666 w 2048870"/>
                <a:gd name="connsiteY376" fmla="*/ 1125282 h 1413227"/>
                <a:gd name="connsiteX377" fmla="*/ 1282580 w 2048870"/>
                <a:gd name="connsiteY377" fmla="*/ 1128739 h 1413227"/>
                <a:gd name="connsiteX378" fmla="*/ 1318880 w 2048870"/>
                <a:gd name="connsiteY378" fmla="*/ 1127010 h 1413227"/>
                <a:gd name="connsiteX379" fmla="*/ 1330980 w 2048870"/>
                <a:gd name="connsiteY379" fmla="*/ 1123553 h 1413227"/>
                <a:gd name="connsiteX380" fmla="*/ 1339622 w 2048870"/>
                <a:gd name="connsiteY380" fmla="*/ 1118368 h 1413227"/>
                <a:gd name="connsiteX381" fmla="*/ 1356908 w 2048870"/>
                <a:gd name="connsiteY381" fmla="*/ 1123553 h 1413227"/>
                <a:gd name="connsiteX382" fmla="*/ 1384564 w 2048870"/>
                <a:gd name="connsiteY382" fmla="*/ 1114911 h 1413227"/>
                <a:gd name="connsiteX383" fmla="*/ 1391479 w 2048870"/>
                <a:gd name="connsiteY383" fmla="*/ 1109725 h 1413227"/>
                <a:gd name="connsiteX384" fmla="*/ 1400121 w 2048870"/>
                <a:gd name="connsiteY384" fmla="*/ 1095897 h 1413227"/>
                <a:gd name="connsiteX385" fmla="*/ 1403578 w 2048870"/>
                <a:gd name="connsiteY385" fmla="*/ 1090711 h 1413227"/>
                <a:gd name="connsiteX386" fmla="*/ 1408764 w 2048870"/>
                <a:gd name="connsiteY386" fmla="*/ 1088983 h 1413227"/>
                <a:gd name="connsiteX387" fmla="*/ 1415678 w 2048870"/>
                <a:gd name="connsiteY387" fmla="*/ 1097625 h 1413227"/>
                <a:gd name="connsiteX388" fmla="*/ 1419135 w 2048870"/>
                <a:gd name="connsiteY388" fmla="*/ 1104539 h 1413227"/>
                <a:gd name="connsiteX389" fmla="*/ 1424321 w 2048870"/>
                <a:gd name="connsiteY389" fmla="*/ 1111454 h 1413227"/>
                <a:gd name="connsiteX390" fmla="*/ 1434692 w 2048870"/>
                <a:gd name="connsiteY390" fmla="*/ 1109725 h 1413227"/>
                <a:gd name="connsiteX391" fmla="*/ 1438149 w 2048870"/>
                <a:gd name="connsiteY391" fmla="*/ 1101082 h 1413227"/>
                <a:gd name="connsiteX392" fmla="*/ 1446792 w 2048870"/>
                <a:gd name="connsiteY392" fmla="*/ 1076883 h 1413227"/>
                <a:gd name="connsiteX393" fmla="*/ 1455435 w 2048870"/>
                <a:gd name="connsiteY393" fmla="*/ 1082068 h 1413227"/>
                <a:gd name="connsiteX394" fmla="*/ 1457163 w 2048870"/>
                <a:gd name="connsiteY394" fmla="*/ 1097625 h 1413227"/>
                <a:gd name="connsiteX395" fmla="*/ 1462349 w 2048870"/>
                <a:gd name="connsiteY395" fmla="*/ 1104539 h 1413227"/>
                <a:gd name="connsiteX396" fmla="*/ 1464078 w 2048870"/>
                <a:gd name="connsiteY396" fmla="*/ 1116639 h 1413227"/>
                <a:gd name="connsiteX397" fmla="*/ 1450249 w 2048870"/>
                <a:gd name="connsiteY397" fmla="*/ 1132196 h 1413227"/>
                <a:gd name="connsiteX398" fmla="*/ 1436421 w 2048870"/>
                <a:gd name="connsiteY398" fmla="*/ 1149482 h 1413227"/>
                <a:gd name="connsiteX399" fmla="*/ 1427778 w 2048870"/>
                <a:gd name="connsiteY399" fmla="*/ 1158124 h 1413227"/>
                <a:gd name="connsiteX400" fmla="*/ 1415678 w 2048870"/>
                <a:gd name="connsiteY400" fmla="*/ 1163310 h 1413227"/>
                <a:gd name="connsiteX401" fmla="*/ 1400121 w 2048870"/>
                <a:gd name="connsiteY401" fmla="*/ 1171953 h 1413227"/>
                <a:gd name="connsiteX402" fmla="*/ 1398393 w 2048870"/>
                <a:gd name="connsiteY402" fmla="*/ 1177138 h 1413227"/>
                <a:gd name="connsiteX403" fmla="*/ 1389750 w 2048870"/>
                <a:gd name="connsiteY403" fmla="*/ 1189238 h 1413227"/>
                <a:gd name="connsiteX404" fmla="*/ 1384564 w 2048870"/>
                <a:gd name="connsiteY404" fmla="*/ 1197881 h 1413227"/>
                <a:gd name="connsiteX405" fmla="*/ 1382836 w 2048870"/>
                <a:gd name="connsiteY405" fmla="*/ 1203066 h 1413227"/>
                <a:gd name="connsiteX406" fmla="*/ 1374193 w 2048870"/>
                <a:gd name="connsiteY406" fmla="*/ 1211709 h 1413227"/>
                <a:gd name="connsiteX407" fmla="*/ 1369008 w 2048870"/>
                <a:gd name="connsiteY407" fmla="*/ 1216895 h 1413227"/>
                <a:gd name="connsiteX408" fmla="*/ 1356908 w 2048870"/>
                <a:gd name="connsiteY408" fmla="*/ 1230723 h 1413227"/>
                <a:gd name="connsiteX409" fmla="*/ 1351722 w 2048870"/>
                <a:gd name="connsiteY409" fmla="*/ 1237637 h 1413227"/>
                <a:gd name="connsiteX410" fmla="*/ 1349994 w 2048870"/>
                <a:gd name="connsiteY410" fmla="*/ 1242823 h 1413227"/>
                <a:gd name="connsiteX411" fmla="*/ 1344808 w 2048870"/>
                <a:gd name="connsiteY411" fmla="*/ 1253194 h 1413227"/>
                <a:gd name="connsiteX412" fmla="*/ 1377650 w 2048870"/>
                <a:gd name="connsiteY412" fmla="*/ 1253194 h 1413227"/>
                <a:gd name="connsiteX413" fmla="*/ 1386293 w 2048870"/>
                <a:gd name="connsiteY413" fmla="*/ 1246280 h 1413227"/>
                <a:gd name="connsiteX414" fmla="*/ 1391479 w 2048870"/>
                <a:gd name="connsiteY414" fmla="*/ 1244552 h 1413227"/>
                <a:gd name="connsiteX415" fmla="*/ 1412221 w 2048870"/>
                <a:gd name="connsiteY415" fmla="*/ 1248009 h 1413227"/>
                <a:gd name="connsiteX416" fmla="*/ 1415678 w 2048870"/>
                <a:gd name="connsiteY416" fmla="*/ 1253194 h 1413227"/>
                <a:gd name="connsiteX417" fmla="*/ 1426050 w 2048870"/>
                <a:gd name="connsiteY417" fmla="*/ 1260108 h 1413227"/>
                <a:gd name="connsiteX418" fmla="*/ 1451978 w 2048870"/>
                <a:gd name="connsiteY418" fmla="*/ 1258380 h 1413227"/>
                <a:gd name="connsiteX419" fmla="*/ 1457163 w 2048870"/>
                <a:gd name="connsiteY419" fmla="*/ 1253194 h 1413227"/>
                <a:gd name="connsiteX420" fmla="*/ 1465806 w 2048870"/>
                <a:gd name="connsiteY420" fmla="*/ 1248009 h 1413227"/>
                <a:gd name="connsiteX421" fmla="*/ 1483092 w 2048870"/>
                <a:gd name="connsiteY421" fmla="*/ 1249737 h 1413227"/>
                <a:gd name="connsiteX422" fmla="*/ 1491734 w 2048870"/>
                <a:gd name="connsiteY422" fmla="*/ 1258380 h 1413227"/>
                <a:gd name="connsiteX423" fmla="*/ 1502106 w 2048870"/>
                <a:gd name="connsiteY423" fmla="*/ 1272208 h 1413227"/>
                <a:gd name="connsiteX424" fmla="*/ 1503834 w 2048870"/>
                <a:gd name="connsiteY424" fmla="*/ 1289494 h 1413227"/>
                <a:gd name="connsiteX425" fmla="*/ 1514205 w 2048870"/>
                <a:gd name="connsiteY425" fmla="*/ 1301593 h 1413227"/>
                <a:gd name="connsiteX426" fmla="*/ 1517662 w 2048870"/>
                <a:gd name="connsiteY426" fmla="*/ 1306779 h 1413227"/>
                <a:gd name="connsiteX427" fmla="*/ 1515934 w 2048870"/>
                <a:gd name="connsiteY427" fmla="*/ 1355178 h 1413227"/>
                <a:gd name="connsiteX428" fmla="*/ 1509020 w 2048870"/>
                <a:gd name="connsiteY428" fmla="*/ 1360364 h 1413227"/>
                <a:gd name="connsiteX429" fmla="*/ 1503834 w 2048870"/>
                <a:gd name="connsiteY429" fmla="*/ 1370735 h 1413227"/>
                <a:gd name="connsiteX430" fmla="*/ 1534948 w 2048870"/>
                <a:gd name="connsiteY430" fmla="*/ 1374192 h 1413227"/>
                <a:gd name="connsiteX431" fmla="*/ 1540133 w 2048870"/>
                <a:gd name="connsiteY431" fmla="*/ 1377649 h 1413227"/>
                <a:gd name="connsiteX432" fmla="*/ 1559147 w 2048870"/>
                <a:gd name="connsiteY432" fmla="*/ 1375921 h 1413227"/>
                <a:gd name="connsiteX433" fmla="*/ 1564333 w 2048870"/>
                <a:gd name="connsiteY433" fmla="*/ 1372464 h 1413227"/>
                <a:gd name="connsiteX434" fmla="*/ 1579890 w 2048870"/>
                <a:gd name="connsiteY434" fmla="*/ 1370735 h 1413227"/>
                <a:gd name="connsiteX435" fmla="*/ 1597175 w 2048870"/>
                <a:gd name="connsiteY435" fmla="*/ 1363821 h 1413227"/>
                <a:gd name="connsiteX436" fmla="*/ 1600633 w 2048870"/>
                <a:gd name="connsiteY436" fmla="*/ 1360364 h 1413227"/>
                <a:gd name="connsiteX437" fmla="*/ 1612732 w 2048870"/>
                <a:gd name="connsiteY437" fmla="*/ 1341350 h 1413227"/>
                <a:gd name="connsiteX438" fmla="*/ 1617918 w 2048870"/>
                <a:gd name="connsiteY438" fmla="*/ 1305051 h 1413227"/>
                <a:gd name="connsiteX439" fmla="*/ 1623104 w 2048870"/>
                <a:gd name="connsiteY439" fmla="*/ 1301593 h 1413227"/>
                <a:gd name="connsiteX440" fmla="*/ 1624832 w 2048870"/>
                <a:gd name="connsiteY440" fmla="*/ 1284308 h 1413227"/>
                <a:gd name="connsiteX441" fmla="*/ 1631746 w 2048870"/>
                <a:gd name="connsiteY441" fmla="*/ 1270480 h 1413227"/>
                <a:gd name="connsiteX442" fmla="*/ 1643846 w 2048870"/>
                <a:gd name="connsiteY442" fmla="*/ 1263565 h 1413227"/>
                <a:gd name="connsiteX443" fmla="*/ 1669774 w 2048870"/>
                <a:gd name="connsiteY443" fmla="*/ 1260108 h 1413227"/>
                <a:gd name="connsiteX444" fmla="*/ 1681874 w 2048870"/>
                <a:gd name="connsiteY444" fmla="*/ 1254923 h 1413227"/>
                <a:gd name="connsiteX445" fmla="*/ 1687060 w 2048870"/>
                <a:gd name="connsiteY445" fmla="*/ 1253194 h 1413227"/>
                <a:gd name="connsiteX446" fmla="*/ 1702617 w 2048870"/>
                <a:gd name="connsiteY446" fmla="*/ 1249737 h 1413227"/>
                <a:gd name="connsiteX447" fmla="*/ 1704345 w 2048870"/>
                <a:gd name="connsiteY447" fmla="*/ 1232452 h 1413227"/>
                <a:gd name="connsiteX448" fmla="*/ 1706074 w 2048870"/>
                <a:gd name="connsiteY448" fmla="*/ 1208252 h 1413227"/>
                <a:gd name="connsiteX449" fmla="*/ 1711259 w 2048870"/>
                <a:gd name="connsiteY449" fmla="*/ 1201338 h 1413227"/>
                <a:gd name="connsiteX450" fmla="*/ 1718174 w 2048870"/>
                <a:gd name="connsiteY450" fmla="*/ 1192695 h 1413227"/>
                <a:gd name="connsiteX451" fmla="*/ 1725088 w 2048870"/>
                <a:gd name="connsiteY451" fmla="*/ 1189238 h 1413227"/>
                <a:gd name="connsiteX452" fmla="*/ 1735459 w 2048870"/>
                <a:gd name="connsiteY452" fmla="*/ 1184052 h 1413227"/>
                <a:gd name="connsiteX453" fmla="*/ 1773487 w 2048870"/>
                <a:gd name="connsiteY453" fmla="*/ 1189238 h 1413227"/>
                <a:gd name="connsiteX454" fmla="*/ 1778673 w 2048870"/>
                <a:gd name="connsiteY454" fmla="*/ 1194424 h 1413227"/>
                <a:gd name="connsiteX455" fmla="*/ 1808058 w 2048870"/>
                <a:gd name="connsiteY455" fmla="*/ 1187510 h 1413227"/>
                <a:gd name="connsiteX456" fmla="*/ 1811515 w 2048870"/>
                <a:gd name="connsiteY456" fmla="*/ 1180595 h 1413227"/>
                <a:gd name="connsiteX457" fmla="*/ 1818429 w 2048870"/>
                <a:gd name="connsiteY457" fmla="*/ 1171953 h 1413227"/>
                <a:gd name="connsiteX458" fmla="*/ 1825343 w 2048870"/>
                <a:gd name="connsiteY458" fmla="*/ 1158124 h 1413227"/>
                <a:gd name="connsiteX459" fmla="*/ 1827072 w 2048870"/>
                <a:gd name="connsiteY459" fmla="*/ 1151210 h 1413227"/>
                <a:gd name="connsiteX460" fmla="*/ 1833986 w 2048870"/>
                <a:gd name="connsiteY460" fmla="*/ 1133925 h 1413227"/>
                <a:gd name="connsiteX461" fmla="*/ 1820158 w 2048870"/>
                <a:gd name="connsiteY461" fmla="*/ 1128739 h 1413227"/>
                <a:gd name="connsiteX462" fmla="*/ 1816701 w 2048870"/>
                <a:gd name="connsiteY462" fmla="*/ 1123553 h 1413227"/>
                <a:gd name="connsiteX463" fmla="*/ 1820158 w 2048870"/>
                <a:gd name="connsiteY463" fmla="*/ 1118368 h 1413227"/>
                <a:gd name="connsiteX464" fmla="*/ 1825343 w 2048870"/>
                <a:gd name="connsiteY464" fmla="*/ 1111454 h 1413227"/>
                <a:gd name="connsiteX465" fmla="*/ 1828800 w 2048870"/>
                <a:gd name="connsiteY465" fmla="*/ 1099354 h 1413227"/>
                <a:gd name="connsiteX466" fmla="*/ 1832257 w 2048870"/>
                <a:gd name="connsiteY466" fmla="*/ 1094168 h 1413227"/>
                <a:gd name="connsiteX467" fmla="*/ 1830529 w 2048870"/>
                <a:gd name="connsiteY467" fmla="*/ 1083797 h 1413227"/>
                <a:gd name="connsiteX468" fmla="*/ 1816701 w 2048870"/>
                <a:gd name="connsiteY468" fmla="*/ 1087254 h 1413227"/>
                <a:gd name="connsiteX469" fmla="*/ 1789044 w 2048870"/>
                <a:gd name="connsiteY469" fmla="*/ 1092440 h 1413227"/>
                <a:gd name="connsiteX470" fmla="*/ 1778673 w 2048870"/>
                <a:gd name="connsiteY470" fmla="*/ 1095897 h 1413227"/>
                <a:gd name="connsiteX471" fmla="*/ 1771758 w 2048870"/>
                <a:gd name="connsiteY471" fmla="*/ 1099354 h 1413227"/>
                <a:gd name="connsiteX472" fmla="*/ 1766573 w 2048870"/>
                <a:gd name="connsiteY472" fmla="*/ 1116639 h 1413227"/>
                <a:gd name="connsiteX473" fmla="*/ 1756202 w 2048870"/>
                <a:gd name="connsiteY473" fmla="*/ 1118368 h 1413227"/>
                <a:gd name="connsiteX474" fmla="*/ 1738916 w 2048870"/>
                <a:gd name="connsiteY474" fmla="*/ 1130468 h 1413227"/>
                <a:gd name="connsiteX475" fmla="*/ 1718174 w 2048870"/>
                <a:gd name="connsiteY475" fmla="*/ 1140839 h 1413227"/>
                <a:gd name="connsiteX476" fmla="*/ 1709531 w 2048870"/>
                <a:gd name="connsiteY476" fmla="*/ 1146024 h 1413227"/>
                <a:gd name="connsiteX477" fmla="*/ 1707802 w 2048870"/>
                <a:gd name="connsiteY477" fmla="*/ 1151210 h 1413227"/>
                <a:gd name="connsiteX478" fmla="*/ 1700888 w 2048870"/>
                <a:gd name="connsiteY478" fmla="*/ 1154667 h 1413227"/>
                <a:gd name="connsiteX479" fmla="*/ 1647303 w 2048870"/>
                <a:gd name="connsiteY479" fmla="*/ 1152939 h 1413227"/>
                <a:gd name="connsiteX480" fmla="*/ 1650760 w 2048870"/>
                <a:gd name="connsiteY480" fmla="*/ 1142567 h 1413227"/>
                <a:gd name="connsiteX481" fmla="*/ 1649032 w 2048870"/>
                <a:gd name="connsiteY481" fmla="*/ 1120096 h 1413227"/>
                <a:gd name="connsiteX482" fmla="*/ 1598904 w 2048870"/>
                <a:gd name="connsiteY482" fmla="*/ 1114911 h 1413227"/>
                <a:gd name="connsiteX483" fmla="*/ 1591990 w 2048870"/>
                <a:gd name="connsiteY483" fmla="*/ 1113182 h 1413227"/>
                <a:gd name="connsiteX484" fmla="*/ 1564333 w 2048870"/>
                <a:gd name="connsiteY484" fmla="*/ 1109725 h 1413227"/>
                <a:gd name="connsiteX485" fmla="*/ 1553962 w 2048870"/>
                <a:gd name="connsiteY485" fmla="*/ 1101082 h 1413227"/>
                <a:gd name="connsiteX486" fmla="*/ 1543591 w 2048870"/>
                <a:gd name="connsiteY486" fmla="*/ 1092440 h 1413227"/>
                <a:gd name="connsiteX487" fmla="*/ 1526305 w 2048870"/>
                <a:gd name="connsiteY487" fmla="*/ 1090711 h 1413227"/>
                <a:gd name="connsiteX488" fmla="*/ 1514205 w 2048870"/>
                <a:gd name="connsiteY488" fmla="*/ 1085525 h 1413227"/>
                <a:gd name="connsiteX489" fmla="*/ 1512477 w 2048870"/>
                <a:gd name="connsiteY489" fmla="*/ 1092440 h 1413227"/>
                <a:gd name="connsiteX490" fmla="*/ 1507291 w 2048870"/>
                <a:gd name="connsiteY490" fmla="*/ 1085525 h 1413227"/>
                <a:gd name="connsiteX491" fmla="*/ 1496920 w 2048870"/>
                <a:gd name="connsiteY491" fmla="*/ 1075154 h 1413227"/>
                <a:gd name="connsiteX492" fmla="*/ 1445064 w 2048870"/>
                <a:gd name="connsiteY492" fmla="*/ 1076883 h 1413227"/>
                <a:gd name="connsiteX493" fmla="*/ 1439878 w 2048870"/>
                <a:gd name="connsiteY493" fmla="*/ 1080340 h 1413227"/>
                <a:gd name="connsiteX494" fmla="*/ 1438149 w 2048870"/>
                <a:gd name="connsiteY494" fmla="*/ 1085525 h 1413227"/>
                <a:gd name="connsiteX495" fmla="*/ 1451978 w 2048870"/>
                <a:gd name="connsiteY495" fmla="*/ 1071697 h 1413227"/>
                <a:gd name="connsiteX496" fmla="*/ 1458892 w 2048870"/>
                <a:gd name="connsiteY496" fmla="*/ 1064783 h 1413227"/>
                <a:gd name="connsiteX497" fmla="*/ 1464078 w 2048870"/>
                <a:gd name="connsiteY497" fmla="*/ 1059597 h 1413227"/>
                <a:gd name="connsiteX498" fmla="*/ 1479634 w 2048870"/>
                <a:gd name="connsiteY498" fmla="*/ 1064783 h 1413227"/>
                <a:gd name="connsiteX499" fmla="*/ 1490006 w 2048870"/>
                <a:gd name="connsiteY499" fmla="*/ 1071697 h 1413227"/>
                <a:gd name="connsiteX500" fmla="*/ 1498648 w 2048870"/>
                <a:gd name="connsiteY500" fmla="*/ 1068240 h 1413227"/>
                <a:gd name="connsiteX501" fmla="*/ 1500377 w 2048870"/>
                <a:gd name="connsiteY501" fmla="*/ 1063054 h 1413227"/>
                <a:gd name="connsiteX502" fmla="*/ 1503834 w 2048870"/>
                <a:gd name="connsiteY502" fmla="*/ 1057869 h 1413227"/>
                <a:gd name="connsiteX503" fmla="*/ 1507291 w 2048870"/>
                <a:gd name="connsiteY503" fmla="*/ 1045769 h 1413227"/>
                <a:gd name="connsiteX504" fmla="*/ 1540133 w 2048870"/>
                <a:gd name="connsiteY504" fmla="*/ 1044040 h 1413227"/>
                <a:gd name="connsiteX505" fmla="*/ 1557419 w 2048870"/>
                <a:gd name="connsiteY505" fmla="*/ 1059597 h 1413227"/>
                <a:gd name="connsiteX506" fmla="*/ 1560876 w 2048870"/>
                <a:gd name="connsiteY506" fmla="*/ 1073426 h 1413227"/>
                <a:gd name="connsiteX507" fmla="*/ 1564333 w 2048870"/>
                <a:gd name="connsiteY507" fmla="*/ 1087254 h 1413227"/>
                <a:gd name="connsiteX508" fmla="*/ 1566062 w 2048870"/>
                <a:gd name="connsiteY508" fmla="*/ 1094168 h 1413227"/>
                <a:gd name="connsiteX509" fmla="*/ 1569519 w 2048870"/>
                <a:gd name="connsiteY509" fmla="*/ 1099354 h 1413227"/>
                <a:gd name="connsiteX510" fmla="*/ 1576433 w 2048870"/>
                <a:gd name="connsiteY510" fmla="*/ 1037126 h 1413227"/>
                <a:gd name="connsiteX511" fmla="*/ 1588533 w 2048870"/>
                <a:gd name="connsiteY511" fmla="*/ 1052683 h 1413227"/>
                <a:gd name="connsiteX512" fmla="*/ 1591990 w 2048870"/>
                <a:gd name="connsiteY512" fmla="*/ 1069969 h 1413227"/>
                <a:gd name="connsiteX513" fmla="*/ 1607547 w 2048870"/>
                <a:gd name="connsiteY513" fmla="*/ 1080340 h 1413227"/>
                <a:gd name="connsiteX514" fmla="*/ 1612732 w 2048870"/>
                <a:gd name="connsiteY514" fmla="*/ 1083797 h 1413227"/>
                <a:gd name="connsiteX515" fmla="*/ 1621375 w 2048870"/>
                <a:gd name="connsiteY515" fmla="*/ 1085525 h 1413227"/>
                <a:gd name="connsiteX516" fmla="*/ 1633475 w 2048870"/>
                <a:gd name="connsiteY516" fmla="*/ 1092440 h 1413227"/>
                <a:gd name="connsiteX517" fmla="*/ 1640389 w 2048870"/>
                <a:gd name="connsiteY517" fmla="*/ 1095897 h 1413227"/>
                <a:gd name="connsiteX518" fmla="*/ 1649032 w 2048870"/>
                <a:gd name="connsiteY518" fmla="*/ 1109725 h 1413227"/>
                <a:gd name="connsiteX519" fmla="*/ 1659403 w 2048870"/>
                <a:gd name="connsiteY519" fmla="*/ 1113182 h 1413227"/>
                <a:gd name="connsiteX520" fmla="*/ 1669774 w 2048870"/>
                <a:gd name="connsiteY520" fmla="*/ 1118368 h 1413227"/>
                <a:gd name="connsiteX521" fmla="*/ 1680146 w 2048870"/>
                <a:gd name="connsiteY521" fmla="*/ 1125282 h 1413227"/>
                <a:gd name="connsiteX522" fmla="*/ 1699160 w 2048870"/>
                <a:gd name="connsiteY522" fmla="*/ 1139110 h 1413227"/>
                <a:gd name="connsiteX523" fmla="*/ 1712988 w 2048870"/>
                <a:gd name="connsiteY523" fmla="*/ 1142567 h 1413227"/>
                <a:gd name="connsiteX524" fmla="*/ 1704345 w 2048870"/>
                <a:gd name="connsiteY524" fmla="*/ 1137382 h 1413227"/>
                <a:gd name="connsiteX525" fmla="*/ 1699160 w 2048870"/>
                <a:gd name="connsiteY525" fmla="*/ 1132196 h 1413227"/>
                <a:gd name="connsiteX526" fmla="*/ 1688788 w 2048870"/>
                <a:gd name="connsiteY526" fmla="*/ 1128739 h 1413227"/>
                <a:gd name="connsiteX527" fmla="*/ 1674960 w 2048870"/>
                <a:gd name="connsiteY527" fmla="*/ 1125282 h 1413227"/>
                <a:gd name="connsiteX528" fmla="*/ 1659403 w 2048870"/>
                <a:gd name="connsiteY528" fmla="*/ 1121825 h 1413227"/>
                <a:gd name="connsiteX529" fmla="*/ 1650760 w 2048870"/>
                <a:gd name="connsiteY529" fmla="*/ 1116639 h 1413227"/>
                <a:gd name="connsiteX530" fmla="*/ 1645575 w 2048870"/>
                <a:gd name="connsiteY530" fmla="*/ 1113182 h 1413227"/>
                <a:gd name="connsiteX531" fmla="*/ 1642118 w 2048870"/>
                <a:gd name="connsiteY531" fmla="*/ 1107996 h 1413227"/>
                <a:gd name="connsiteX532" fmla="*/ 1628289 w 2048870"/>
                <a:gd name="connsiteY532" fmla="*/ 1088983 h 1413227"/>
                <a:gd name="connsiteX533" fmla="*/ 1626561 w 2048870"/>
                <a:gd name="connsiteY533" fmla="*/ 1083797 h 1413227"/>
                <a:gd name="connsiteX534" fmla="*/ 1619647 w 2048870"/>
                <a:gd name="connsiteY534" fmla="*/ 1075154 h 1413227"/>
                <a:gd name="connsiteX535" fmla="*/ 1616189 w 2048870"/>
                <a:gd name="connsiteY535" fmla="*/ 1061326 h 1413227"/>
                <a:gd name="connsiteX536" fmla="*/ 1614461 w 2048870"/>
                <a:gd name="connsiteY536" fmla="*/ 1056140 h 1413227"/>
                <a:gd name="connsiteX537" fmla="*/ 1604090 w 2048870"/>
                <a:gd name="connsiteY537" fmla="*/ 1038855 h 1413227"/>
                <a:gd name="connsiteX538" fmla="*/ 1598904 w 2048870"/>
                <a:gd name="connsiteY538" fmla="*/ 1037126 h 1413227"/>
                <a:gd name="connsiteX539" fmla="*/ 1593718 w 2048870"/>
                <a:gd name="connsiteY539" fmla="*/ 1030212 h 1413227"/>
                <a:gd name="connsiteX540" fmla="*/ 1585076 w 2048870"/>
                <a:gd name="connsiteY540" fmla="*/ 1019841 h 1413227"/>
                <a:gd name="connsiteX541" fmla="*/ 1590261 w 2048870"/>
                <a:gd name="connsiteY541" fmla="*/ 1000827 h 1413227"/>
                <a:gd name="connsiteX542" fmla="*/ 1598904 w 2048870"/>
                <a:gd name="connsiteY542" fmla="*/ 999098 h 1413227"/>
                <a:gd name="connsiteX543" fmla="*/ 1611004 w 2048870"/>
                <a:gd name="connsiteY543" fmla="*/ 990455 h 1413227"/>
                <a:gd name="connsiteX544" fmla="*/ 1617918 w 2048870"/>
                <a:gd name="connsiteY544" fmla="*/ 985270 h 1413227"/>
                <a:gd name="connsiteX545" fmla="*/ 1616189 w 2048870"/>
                <a:gd name="connsiteY545" fmla="*/ 1021569 h 1413227"/>
                <a:gd name="connsiteX546" fmla="*/ 1612732 w 2048870"/>
                <a:gd name="connsiteY546" fmla="*/ 1028483 h 1413227"/>
                <a:gd name="connsiteX547" fmla="*/ 1607547 w 2048870"/>
                <a:gd name="connsiteY547" fmla="*/ 1035398 h 1413227"/>
                <a:gd name="connsiteX548" fmla="*/ 1612732 w 2048870"/>
                <a:gd name="connsiteY548" fmla="*/ 1031941 h 1413227"/>
                <a:gd name="connsiteX549" fmla="*/ 1621375 w 2048870"/>
                <a:gd name="connsiteY549" fmla="*/ 1016384 h 1413227"/>
                <a:gd name="connsiteX550" fmla="*/ 1626561 w 2048870"/>
                <a:gd name="connsiteY550" fmla="*/ 997370 h 1413227"/>
                <a:gd name="connsiteX551" fmla="*/ 1626561 w 2048870"/>
                <a:gd name="connsiteY551" fmla="*/ 976627 h 1413227"/>
                <a:gd name="connsiteX552" fmla="*/ 1619647 w 2048870"/>
                <a:gd name="connsiteY552" fmla="*/ 962799 h 1413227"/>
                <a:gd name="connsiteX553" fmla="*/ 1626561 w 2048870"/>
                <a:gd name="connsiteY553" fmla="*/ 966256 h 1413227"/>
                <a:gd name="connsiteX554" fmla="*/ 1638661 w 2048870"/>
                <a:gd name="connsiteY554" fmla="*/ 969713 h 1413227"/>
                <a:gd name="connsiteX555" fmla="*/ 1645575 w 2048870"/>
                <a:gd name="connsiteY555" fmla="*/ 967984 h 1413227"/>
                <a:gd name="connsiteX556" fmla="*/ 1650760 w 2048870"/>
                <a:gd name="connsiteY556" fmla="*/ 955885 h 1413227"/>
                <a:gd name="connsiteX557" fmla="*/ 1659403 w 2048870"/>
                <a:gd name="connsiteY557" fmla="*/ 933414 h 1413227"/>
                <a:gd name="connsiteX558" fmla="*/ 1662860 w 2048870"/>
                <a:gd name="connsiteY558" fmla="*/ 929956 h 1413227"/>
                <a:gd name="connsiteX559" fmla="*/ 1664589 w 2048870"/>
                <a:gd name="connsiteY559" fmla="*/ 923042 h 1413227"/>
                <a:gd name="connsiteX560" fmla="*/ 1673231 w 2048870"/>
                <a:gd name="connsiteY560" fmla="*/ 893657 h 1413227"/>
                <a:gd name="connsiteX561" fmla="*/ 1687060 w 2048870"/>
                <a:gd name="connsiteY561" fmla="*/ 891928 h 1413227"/>
                <a:gd name="connsiteX562" fmla="*/ 1693974 w 2048870"/>
                <a:gd name="connsiteY562" fmla="*/ 890200 h 1413227"/>
                <a:gd name="connsiteX563" fmla="*/ 1700888 w 2048870"/>
                <a:gd name="connsiteY563" fmla="*/ 886743 h 1413227"/>
                <a:gd name="connsiteX564" fmla="*/ 1719902 w 2048870"/>
                <a:gd name="connsiteY564" fmla="*/ 878100 h 1413227"/>
                <a:gd name="connsiteX565" fmla="*/ 1726816 w 2048870"/>
                <a:gd name="connsiteY565" fmla="*/ 876372 h 1413227"/>
                <a:gd name="connsiteX566" fmla="*/ 1745830 w 2048870"/>
                <a:gd name="connsiteY566" fmla="*/ 860815 h 1413227"/>
                <a:gd name="connsiteX567" fmla="*/ 1751016 w 2048870"/>
                <a:gd name="connsiteY567" fmla="*/ 857358 h 1413227"/>
                <a:gd name="connsiteX568" fmla="*/ 1757930 w 2048870"/>
                <a:gd name="connsiteY568" fmla="*/ 855629 h 1413227"/>
                <a:gd name="connsiteX569" fmla="*/ 1764844 w 2048870"/>
                <a:gd name="connsiteY569" fmla="*/ 841801 h 1413227"/>
                <a:gd name="connsiteX570" fmla="*/ 1771758 w 2048870"/>
                <a:gd name="connsiteY570" fmla="*/ 836615 h 1413227"/>
                <a:gd name="connsiteX571" fmla="*/ 1776944 w 2048870"/>
                <a:gd name="connsiteY571" fmla="*/ 833158 h 1413227"/>
                <a:gd name="connsiteX572" fmla="*/ 1787315 w 2048870"/>
                <a:gd name="connsiteY572" fmla="*/ 831429 h 1413227"/>
                <a:gd name="connsiteX573" fmla="*/ 1795958 w 2048870"/>
                <a:gd name="connsiteY573" fmla="*/ 829701 h 1413227"/>
                <a:gd name="connsiteX574" fmla="*/ 1797687 w 2048870"/>
                <a:gd name="connsiteY574" fmla="*/ 824515 h 1413227"/>
                <a:gd name="connsiteX575" fmla="*/ 1825343 w 2048870"/>
                <a:gd name="connsiteY575" fmla="*/ 796859 h 1413227"/>
                <a:gd name="connsiteX576" fmla="*/ 1830529 w 2048870"/>
                <a:gd name="connsiteY576" fmla="*/ 776116 h 1413227"/>
                <a:gd name="connsiteX577" fmla="*/ 1835715 w 2048870"/>
                <a:gd name="connsiteY577" fmla="*/ 770930 h 1413227"/>
                <a:gd name="connsiteX578" fmla="*/ 1863371 w 2048870"/>
                <a:gd name="connsiteY578" fmla="*/ 760559 h 1413227"/>
                <a:gd name="connsiteX579" fmla="*/ 1868557 w 2048870"/>
                <a:gd name="connsiteY579" fmla="*/ 755373 h 1413227"/>
                <a:gd name="connsiteX580" fmla="*/ 1880657 w 2048870"/>
                <a:gd name="connsiteY580" fmla="*/ 753645 h 1413227"/>
                <a:gd name="connsiteX581" fmla="*/ 1889299 w 2048870"/>
                <a:gd name="connsiteY581" fmla="*/ 750188 h 1413227"/>
                <a:gd name="connsiteX582" fmla="*/ 1894485 w 2048870"/>
                <a:gd name="connsiteY582" fmla="*/ 731174 h 1413227"/>
                <a:gd name="connsiteX583" fmla="*/ 1910042 w 2048870"/>
                <a:gd name="connsiteY583" fmla="*/ 719074 h 1413227"/>
                <a:gd name="connsiteX584" fmla="*/ 1916956 w 2048870"/>
                <a:gd name="connsiteY584" fmla="*/ 710431 h 1413227"/>
                <a:gd name="connsiteX585" fmla="*/ 1908313 w 2048870"/>
                <a:gd name="connsiteY585" fmla="*/ 689689 h 1413227"/>
                <a:gd name="connsiteX586" fmla="*/ 1901399 w 2048870"/>
                <a:gd name="connsiteY586" fmla="*/ 675860 h 1413227"/>
                <a:gd name="connsiteX587" fmla="*/ 1897942 w 2048870"/>
                <a:gd name="connsiteY587" fmla="*/ 665489 h 1413227"/>
                <a:gd name="connsiteX588" fmla="*/ 1901399 w 2048870"/>
                <a:gd name="connsiteY588" fmla="*/ 651661 h 1413227"/>
                <a:gd name="connsiteX589" fmla="*/ 1897942 w 2048870"/>
                <a:gd name="connsiteY589" fmla="*/ 629190 h 1413227"/>
                <a:gd name="connsiteX590" fmla="*/ 1904856 w 2048870"/>
                <a:gd name="connsiteY590" fmla="*/ 624004 h 1413227"/>
                <a:gd name="connsiteX591" fmla="*/ 1910042 w 2048870"/>
                <a:gd name="connsiteY591" fmla="*/ 613633 h 1413227"/>
                <a:gd name="connsiteX592" fmla="*/ 1918685 w 2048870"/>
                <a:gd name="connsiteY592" fmla="*/ 608447 h 1413227"/>
                <a:gd name="connsiteX593" fmla="*/ 1925599 w 2048870"/>
                <a:gd name="connsiteY593" fmla="*/ 601533 h 1413227"/>
                <a:gd name="connsiteX594" fmla="*/ 1929056 w 2048870"/>
                <a:gd name="connsiteY594" fmla="*/ 587705 h 1413227"/>
                <a:gd name="connsiteX595" fmla="*/ 1932513 w 2048870"/>
                <a:gd name="connsiteY595" fmla="*/ 582519 h 1413227"/>
                <a:gd name="connsiteX596" fmla="*/ 1939427 w 2048870"/>
                <a:gd name="connsiteY596" fmla="*/ 565234 h 1413227"/>
                <a:gd name="connsiteX597" fmla="*/ 1963627 w 2048870"/>
                <a:gd name="connsiteY597" fmla="*/ 556591 h 1413227"/>
                <a:gd name="connsiteX598" fmla="*/ 1968812 w 2048870"/>
                <a:gd name="connsiteY598" fmla="*/ 547948 h 1413227"/>
                <a:gd name="connsiteX599" fmla="*/ 1986098 w 2048870"/>
                <a:gd name="connsiteY599" fmla="*/ 544491 h 1413227"/>
                <a:gd name="connsiteX600" fmla="*/ 2008569 w 2048870"/>
                <a:gd name="connsiteY600" fmla="*/ 539305 h 1413227"/>
                <a:gd name="connsiteX601" fmla="*/ 2017212 w 2048870"/>
                <a:gd name="connsiteY601" fmla="*/ 530663 h 1413227"/>
                <a:gd name="connsiteX602" fmla="*/ 2048326 w 2048870"/>
                <a:gd name="connsiteY602" fmla="*/ 525477 h 1413227"/>
                <a:gd name="connsiteX603" fmla="*/ 2043140 w 2048870"/>
                <a:gd name="connsiteY603" fmla="*/ 499549 h 1413227"/>
                <a:gd name="connsiteX604" fmla="*/ 2032769 w 2048870"/>
                <a:gd name="connsiteY604" fmla="*/ 492635 h 1413227"/>
                <a:gd name="connsiteX605" fmla="*/ 2025854 w 2048870"/>
                <a:gd name="connsiteY605" fmla="*/ 447693 h 1413227"/>
                <a:gd name="connsiteX606" fmla="*/ 2018940 w 2048870"/>
                <a:gd name="connsiteY606" fmla="*/ 428679 h 1413227"/>
                <a:gd name="connsiteX607" fmla="*/ 2015483 w 2048870"/>
                <a:gd name="connsiteY607" fmla="*/ 418307 h 1413227"/>
                <a:gd name="connsiteX608" fmla="*/ 2010298 w 2048870"/>
                <a:gd name="connsiteY608" fmla="*/ 411393 h 1413227"/>
                <a:gd name="connsiteX609" fmla="*/ 2003383 w 2048870"/>
                <a:gd name="connsiteY609" fmla="*/ 407936 h 1413227"/>
                <a:gd name="connsiteX610" fmla="*/ 1984369 w 2048870"/>
                <a:gd name="connsiteY610" fmla="*/ 404479 h 1413227"/>
                <a:gd name="connsiteX611" fmla="*/ 1977455 w 2048870"/>
                <a:gd name="connsiteY611" fmla="*/ 394108 h 1413227"/>
                <a:gd name="connsiteX612" fmla="*/ 1972270 w 2048870"/>
                <a:gd name="connsiteY612" fmla="*/ 390651 h 1413227"/>
                <a:gd name="connsiteX613" fmla="*/ 1968812 w 2048870"/>
                <a:gd name="connsiteY613" fmla="*/ 382008 h 1413227"/>
                <a:gd name="connsiteX614" fmla="*/ 1973998 w 2048870"/>
                <a:gd name="connsiteY614" fmla="*/ 366451 h 1413227"/>
                <a:gd name="connsiteX615" fmla="*/ 1982641 w 2048870"/>
                <a:gd name="connsiteY615" fmla="*/ 354351 h 1413227"/>
                <a:gd name="connsiteX616" fmla="*/ 1984369 w 2048870"/>
                <a:gd name="connsiteY616" fmla="*/ 347437 h 1413227"/>
                <a:gd name="connsiteX617" fmla="*/ 1994741 w 2048870"/>
                <a:gd name="connsiteY617" fmla="*/ 343980 h 1413227"/>
                <a:gd name="connsiteX618" fmla="*/ 1960170 w 2048870"/>
                <a:gd name="connsiteY618" fmla="*/ 337066 h 1413227"/>
                <a:gd name="connsiteX619" fmla="*/ 1958441 w 2048870"/>
                <a:gd name="connsiteY619" fmla="*/ 331880 h 1413227"/>
                <a:gd name="connsiteX620" fmla="*/ 1954984 w 2048870"/>
                <a:gd name="connsiteY620" fmla="*/ 326694 h 1413227"/>
                <a:gd name="connsiteX621" fmla="*/ 1958441 w 2048870"/>
                <a:gd name="connsiteY621" fmla="*/ 318052 h 1413227"/>
                <a:gd name="connsiteX622" fmla="*/ 1963627 w 2048870"/>
                <a:gd name="connsiteY622" fmla="*/ 311138 h 1413227"/>
                <a:gd name="connsiteX623" fmla="*/ 1967084 w 2048870"/>
                <a:gd name="connsiteY623" fmla="*/ 305952 h 1413227"/>
                <a:gd name="connsiteX624" fmla="*/ 1968812 w 2048870"/>
                <a:gd name="connsiteY624" fmla="*/ 299038 h 1413227"/>
                <a:gd name="connsiteX625" fmla="*/ 1973998 w 2048870"/>
                <a:gd name="connsiteY625" fmla="*/ 293852 h 1413227"/>
                <a:gd name="connsiteX626" fmla="*/ 1975727 w 2048870"/>
                <a:gd name="connsiteY626" fmla="*/ 269652 h 1413227"/>
                <a:gd name="connsiteX627" fmla="*/ 1970541 w 2048870"/>
                <a:gd name="connsiteY627" fmla="*/ 255824 h 1413227"/>
                <a:gd name="connsiteX628" fmla="*/ 1968812 w 2048870"/>
                <a:gd name="connsiteY628" fmla="*/ 250638 h 1413227"/>
                <a:gd name="connsiteX629" fmla="*/ 1967084 w 2048870"/>
                <a:gd name="connsiteY629" fmla="*/ 243724 h 1413227"/>
                <a:gd name="connsiteX630" fmla="*/ 1963627 w 2048870"/>
                <a:gd name="connsiteY630" fmla="*/ 238539 h 1413227"/>
                <a:gd name="connsiteX631" fmla="*/ 1965355 w 2048870"/>
                <a:gd name="connsiteY631" fmla="*/ 216068 h 1413227"/>
                <a:gd name="connsiteX632" fmla="*/ 1961898 w 2048870"/>
                <a:gd name="connsiteY632" fmla="*/ 209153 h 1413227"/>
                <a:gd name="connsiteX633" fmla="*/ 1954984 w 2048870"/>
                <a:gd name="connsiteY633" fmla="*/ 216068 h 1413227"/>
                <a:gd name="connsiteX634" fmla="*/ 1948070 w 2048870"/>
                <a:gd name="connsiteY634" fmla="*/ 217796 h 1413227"/>
                <a:gd name="connsiteX635" fmla="*/ 1937699 w 2048870"/>
                <a:gd name="connsiteY635" fmla="*/ 226439 h 1413227"/>
                <a:gd name="connsiteX636" fmla="*/ 1932513 w 2048870"/>
                <a:gd name="connsiteY636" fmla="*/ 228167 h 1413227"/>
                <a:gd name="connsiteX637" fmla="*/ 1922142 w 2048870"/>
                <a:gd name="connsiteY637" fmla="*/ 235082 h 1413227"/>
                <a:gd name="connsiteX638" fmla="*/ 1906585 w 2048870"/>
                <a:gd name="connsiteY638" fmla="*/ 231624 h 1413227"/>
                <a:gd name="connsiteX639" fmla="*/ 1885842 w 2048870"/>
                <a:gd name="connsiteY639" fmla="*/ 222982 h 1413227"/>
                <a:gd name="connsiteX640" fmla="*/ 1878928 w 2048870"/>
                <a:gd name="connsiteY640" fmla="*/ 224710 h 1413227"/>
                <a:gd name="connsiteX641" fmla="*/ 1868557 w 2048870"/>
                <a:gd name="connsiteY641" fmla="*/ 233353 h 1413227"/>
                <a:gd name="connsiteX642" fmla="*/ 1847814 w 2048870"/>
                <a:gd name="connsiteY642" fmla="*/ 221253 h 1413227"/>
                <a:gd name="connsiteX643" fmla="*/ 1839172 w 2048870"/>
                <a:gd name="connsiteY643" fmla="*/ 217796 h 1413227"/>
                <a:gd name="connsiteX644" fmla="*/ 1832257 w 2048870"/>
                <a:gd name="connsiteY644" fmla="*/ 214339 h 1413227"/>
                <a:gd name="connsiteX645" fmla="*/ 1823615 w 2048870"/>
                <a:gd name="connsiteY645" fmla="*/ 224710 h 1413227"/>
                <a:gd name="connsiteX646" fmla="*/ 1816701 w 2048870"/>
                <a:gd name="connsiteY646" fmla="*/ 229896 h 1413227"/>
                <a:gd name="connsiteX647" fmla="*/ 1787315 w 2048870"/>
                <a:gd name="connsiteY647" fmla="*/ 221253 h 1413227"/>
                <a:gd name="connsiteX648" fmla="*/ 1759659 w 2048870"/>
                <a:gd name="connsiteY648" fmla="*/ 222982 h 1413227"/>
                <a:gd name="connsiteX649" fmla="*/ 1754473 w 2048870"/>
                <a:gd name="connsiteY649" fmla="*/ 224710 h 1413227"/>
                <a:gd name="connsiteX650" fmla="*/ 1735459 w 2048870"/>
                <a:gd name="connsiteY650" fmla="*/ 222982 h 1413227"/>
                <a:gd name="connsiteX651" fmla="*/ 1728545 w 2048870"/>
                <a:gd name="connsiteY651" fmla="*/ 217796 h 1413227"/>
                <a:gd name="connsiteX652" fmla="*/ 1721631 w 2048870"/>
                <a:gd name="connsiteY652" fmla="*/ 207425 h 1413227"/>
                <a:gd name="connsiteX653" fmla="*/ 1712988 w 2048870"/>
                <a:gd name="connsiteY653" fmla="*/ 235082 h 1413227"/>
                <a:gd name="connsiteX654" fmla="*/ 1706074 w 2048870"/>
                <a:gd name="connsiteY654" fmla="*/ 250638 h 1413227"/>
                <a:gd name="connsiteX655" fmla="*/ 1692245 w 2048870"/>
                <a:gd name="connsiteY655" fmla="*/ 236810 h 1413227"/>
                <a:gd name="connsiteX656" fmla="*/ 1645575 w 2048870"/>
                <a:gd name="connsiteY656" fmla="*/ 224710 h 1413227"/>
                <a:gd name="connsiteX657" fmla="*/ 1640389 w 2048870"/>
                <a:gd name="connsiteY657" fmla="*/ 217796 h 1413227"/>
                <a:gd name="connsiteX658" fmla="*/ 1638661 w 2048870"/>
                <a:gd name="connsiteY658" fmla="*/ 212610 h 1413227"/>
                <a:gd name="connsiteX659" fmla="*/ 1623104 w 2048870"/>
                <a:gd name="connsiteY659" fmla="*/ 195325 h 1413227"/>
                <a:gd name="connsiteX660" fmla="*/ 1609275 w 2048870"/>
                <a:gd name="connsiteY660" fmla="*/ 191868 h 1413227"/>
                <a:gd name="connsiteX661" fmla="*/ 1600633 w 2048870"/>
                <a:gd name="connsiteY661" fmla="*/ 200511 h 1413227"/>
                <a:gd name="connsiteX662" fmla="*/ 1595447 w 2048870"/>
                <a:gd name="connsiteY662" fmla="*/ 202239 h 1413227"/>
                <a:gd name="connsiteX663" fmla="*/ 1574704 w 2048870"/>
                <a:gd name="connsiteY663" fmla="*/ 209153 h 1413227"/>
                <a:gd name="connsiteX664" fmla="*/ 1569519 w 2048870"/>
                <a:gd name="connsiteY664" fmla="*/ 214339 h 1413227"/>
                <a:gd name="connsiteX665" fmla="*/ 1564333 w 2048870"/>
                <a:gd name="connsiteY665" fmla="*/ 217796 h 1413227"/>
                <a:gd name="connsiteX666" fmla="*/ 1560876 w 2048870"/>
                <a:gd name="connsiteY666" fmla="*/ 224710 h 1413227"/>
                <a:gd name="connsiteX667" fmla="*/ 1543591 w 2048870"/>
                <a:gd name="connsiteY667" fmla="*/ 238539 h 1413227"/>
                <a:gd name="connsiteX668" fmla="*/ 1536676 w 2048870"/>
                <a:gd name="connsiteY668" fmla="*/ 245453 h 1413227"/>
                <a:gd name="connsiteX669" fmla="*/ 1534948 w 2048870"/>
                <a:gd name="connsiteY669" fmla="*/ 250638 h 1413227"/>
                <a:gd name="connsiteX670" fmla="*/ 1536676 w 2048870"/>
                <a:gd name="connsiteY670" fmla="*/ 255824 h 1413227"/>
                <a:gd name="connsiteX671" fmla="*/ 1510748 w 2048870"/>
                <a:gd name="connsiteY671" fmla="*/ 259281 h 1413227"/>
                <a:gd name="connsiteX672" fmla="*/ 1500377 w 2048870"/>
                <a:gd name="connsiteY672" fmla="*/ 252367 h 1413227"/>
                <a:gd name="connsiteX673" fmla="*/ 1472720 w 2048870"/>
                <a:gd name="connsiteY673" fmla="*/ 252367 h 1413227"/>
                <a:gd name="connsiteX674" fmla="*/ 1455435 w 2048870"/>
                <a:gd name="connsiteY674" fmla="*/ 254096 h 1413227"/>
                <a:gd name="connsiteX675" fmla="*/ 1446792 w 2048870"/>
                <a:gd name="connsiteY675" fmla="*/ 261010 h 1413227"/>
                <a:gd name="connsiteX676" fmla="*/ 1441606 w 2048870"/>
                <a:gd name="connsiteY676" fmla="*/ 267924 h 1413227"/>
                <a:gd name="connsiteX677" fmla="*/ 1438149 w 2048870"/>
                <a:gd name="connsiteY677" fmla="*/ 273110 h 1413227"/>
                <a:gd name="connsiteX678" fmla="*/ 1432964 w 2048870"/>
                <a:gd name="connsiteY678" fmla="*/ 274838 h 1413227"/>
                <a:gd name="connsiteX679" fmla="*/ 1419135 w 2048870"/>
                <a:gd name="connsiteY679" fmla="*/ 281752 h 1413227"/>
                <a:gd name="connsiteX680" fmla="*/ 1412221 w 2048870"/>
                <a:gd name="connsiteY680" fmla="*/ 278295 h 1413227"/>
                <a:gd name="connsiteX681" fmla="*/ 1408764 w 2048870"/>
                <a:gd name="connsiteY681" fmla="*/ 273110 h 1413227"/>
                <a:gd name="connsiteX682" fmla="*/ 1400121 w 2048870"/>
                <a:gd name="connsiteY682" fmla="*/ 257553 h 1413227"/>
                <a:gd name="connsiteX683" fmla="*/ 1394936 w 2048870"/>
                <a:gd name="connsiteY683" fmla="*/ 254096 h 1413227"/>
                <a:gd name="connsiteX684" fmla="*/ 1386293 w 2048870"/>
                <a:gd name="connsiteY684" fmla="*/ 243724 h 1413227"/>
                <a:gd name="connsiteX685" fmla="*/ 1381107 w 2048870"/>
                <a:gd name="connsiteY685" fmla="*/ 212610 h 1413227"/>
                <a:gd name="connsiteX686" fmla="*/ 1370736 w 2048870"/>
                <a:gd name="connsiteY686" fmla="*/ 202239 h 1413227"/>
                <a:gd name="connsiteX687" fmla="*/ 1363822 w 2048870"/>
                <a:gd name="connsiteY687" fmla="*/ 200511 h 1413227"/>
                <a:gd name="connsiteX688" fmla="*/ 1358636 w 2048870"/>
                <a:gd name="connsiteY688" fmla="*/ 193596 h 1413227"/>
                <a:gd name="connsiteX689" fmla="*/ 1349994 w 2048870"/>
                <a:gd name="connsiteY689" fmla="*/ 178040 h 1413227"/>
                <a:gd name="connsiteX690" fmla="*/ 1337894 w 2048870"/>
                <a:gd name="connsiteY690" fmla="*/ 167668 h 1413227"/>
                <a:gd name="connsiteX691" fmla="*/ 1298137 w 2048870"/>
                <a:gd name="connsiteY691" fmla="*/ 169397 h 1413227"/>
                <a:gd name="connsiteX692" fmla="*/ 1284309 w 2048870"/>
                <a:gd name="connsiteY692" fmla="*/ 179768 h 1413227"/>
                <a:gd name="connsiteX693" fmla="*/ 1268752 w 2048870"/>
                <a:gd name="connsiteY693" fmla="*/ 181497 h 1413227"/>
                <a:gd name="connsiteX694" fmla="*/ 1251467 w 2048870"/>
                <a:gd name="connsiteY694" fmla="*/ 174583 h 1413227"/>
                <a:gd name="connsiteX695" fmla="*/ 1241095 w 2048870"/>
                <a:gd name="connsiteY695" fmla="*/ 164211 h 1413227"/>
                <a:gd name="connsiteX696" fmla="*/ 1230724 w 2048870"/>
                <a:gd name="connsiteY696" fmla="*/ 160754 h 1413227"/>
                <a:gd name="connsiteX697" fmla="*/ 1215167 w 2048870"/>
                <a:gd name="connsiteY697" fmla="*/ 146926 h 1413227"/>
                <a:gd name="connsiteX698" fmla="*/ 1213439 w 2048870"/>
                <a:gd name="connsiteY698" fmla="*/ 140012 h 1413227"/>
                <a:gd name="connsiteX699" fmla="*/ 1206524 w 2048870"/>
                <a:gd name="connsiteY699" fmla="*/ 131369 h 1413227"/>
                <a:gd name="connsiteX700" fmla="*/ 1204796 w 2048870"/>
                <a:gd name="connsiteY700" fmla="*/ 122726 h 1413227"/>
                <a:gd name="connsiteX701" fmla="*/ 1190968 w 2048870"/>
                <a:gd name="connsiteY701" fmla="*/ 117541 h 1413227"/>
                <a:gd name="connsiteX702" fmla="*/ 1201339 w 2048870"/>
                <a:gd name="connsiteY702" fmla="*/ 105441 h 1413227"/>
                <a:gd name="connsiteX703" fmla="*/ 1208253 w 2048870"/>
                <a:gd name="connsiteY703" fmla="*/ 101984 h 1413227"/>
                <a:gd name="connsiteX704" fmla="*/ 1213439 w 2048870"/>
                <a:gd name="connsiteY704" fmla="*/ 95069 h 1413227"/>
                <a:gd name="connsiteX705" fmla="*/ 1218624 w 2048870"/>
                <a:gd name="connsiteY705" fmla="*/ 89884 h 1413227"/>
                <a:gd name="connsiteX706" fmla="*/ 1216896 w 2048870"/>
                <a:gd name="connsiteY706" fmla="*/ 84698 h 1413227"/>
                <a:gd name="connsiteX707" fmla="*/ 1206524 w 2048870"/>
                <a:gd name="connsiteY707" fmla="*/ 81241 h 1413227"/>
                <a:gd name="connsiteX708" fmla="*/ 1190968 w 2048870"/>
                <a:gd name="connsiteY708" fmla="*/ 76055 h 1413227"/>
                <a:gd name="connsiteX709" fmla="*/ 1175411 w 2048870"/>
                <a:gd name="connsiteY709" fmla="*/ 60499 h 1413227"/>
                <a:gd name="connsiteX710" fmla="*/ 1168496 w 2048870"/>
                <a:gd name="connsiteY710" fmla="*/ 53584 h 1413227"/>
                <a:gd name="connsiteX711" fmla="*/ 1165039 w 2048870"/>
                <a:gd name="connsiteY711" fmla="*/ 46670 h 1413227"/>
                <a:gd name="connsiteX712" fmla="*/ 1159854 w 2048870"/>
                <a:gd name="connsiteY712" fmla="*/ 39756 h 1413227"/>
                <a:gd name="connsiteX713" fmla="*/ 1151211 w 2048870"/>
                <a:gd name="connsiteY713" fmla="*/ 27656 h 1413227"/>
                <a:gd name="connsiteX714" fmla="*/ 1146025 w 2048870"/>
                <a:gd name="connsiteY714" fmla="*/ 24199 h 1413227"/>
                <a:gd name="connsiteX715" fmla="*/ 1140840 w 2048870"/>
                <a:gd name="connsiteY715" fmla="*/ 17285 h 1413227"/>
                <a:gd name="connsiteX716" fmla="*/ 1123554 w 2048870"/>
                <a:gd name="connsiteY716" fmla="*/ 3457 h 1413227"/>
                <a:gd name="connsiteX717" fmla="*/ 1116640 w 2048870"/>
                <a:gd name="connsiteY717" fmla="*/ 0 h 1413227"/>
                <a:gd name="connsiteX718" fmla="*/ 1102812 w 2048870"/>
                <a:gd name="connsiteY718" fmla="*/ 1728 h 1413227"/>
                <a:gd name="connsiteX719" fmla="*/ 1097626 w 2048870"/>
                <a:gd name="connsiteY719" fmla="*/ 3457 h 1413227"/>
                <a:gd name="connsiteX720" fmla="*/ 1090712 w 2048870"/>
                <a:gd name="connsiteY720" fmla="*/ 5185 h 1413227"/>
                <a:gd name="connsiteX721" fmla="*/ 1071698 w 2048870"/>
                <a:gd name="connsiteY721" fmla="*/ 17285 h 1413227"/>
                <a:gd name="connsiteX722" fmla="*/ 1056141 w 2048870"/>
                <a:gd name="connsiteY722" fmla="*/ 15556 h 1413227"/>
                <a:gd name="connsiteX723" fmla="*/ 1050955 w 2048870"/>
                <a:gd name="connsiteY723" fmla="*/ 19014 h 1413227"/>
                <a:gd name="connsiteX724" fmla="*/ 1042313 w 2048870"/>
                <a:gd name="connsiteY724" fmla="*/ 27656 h 1413227"/>
                <a:gd name="connsiteX725" fmla="*/ 1028484 w 2048870"/>
                <a:gd name="connsiteY725" fmla="*/ 38027 h 1413227"/>
                <a:gd name="connsiteX726" fmla="*/ 1025027 w 2048870"/>
                <a:gd name="connsiteY726" fmla="*/ 41485 h 1413227"/>
                <a:gd name="connsiteX727" fmla="*/ 1016385 w 2048870"/>
                <a:gd name="connsiteY727" fmla="*/ 46670 h 1413227"/>
                <a:gd name="connsiteX728" fmla="*/ 1012927 w 2048870"/>
                <a:gd name="connsiteY728" fmla="*/ 50127 h 1413227"/>
                <a:gd name="connsiteX729" fmla="*/ 997371 w 2048870"/>
                <a:gd name="connsiteY729" fmla="*/ 57041 h 1413227"/>
                <a:gd name="connsiteX730" fmla="*/ 973171 w 2048870"/>
                <a:gd name="connsiteY730" fmla="*/ 58770 h 1413227"/>
                <a:gd name="connsiteX731" fmla="*/ 967985 w 2048870"/>
                <a:gd name="connsiteY731" fmla="*/ 62227 h 1413227"/>
                <a:gd name="connsiteX732" fmla="*/ 966257 w 2048870"/>
                <a:gd name="connsiteY732" fmla="*/ 79513 h 1413227"/>
                <a:gd name="connsiteX733" fmla="*/ 962800 w 2048870"/>
                <a:gd name="connsiteY733" fmla="*/ 103712 h 1413227"/>
                <a:gd name="connsiteX734" fmla="*/ 961071 w 2048870"/>
                <a:gd name="connsiteY734" fmla="*/ 112355 h 1413227"/>
                <a:gd name="connsiteX735" fmla="*/ 916129 w 2048870"/>
                <a:gd name="connsiteY735" fmla="*/ 115812 h 1413227"/>
                <a:gd name="connsiteX736" fmla="*/ 910943 w 2048870"/>
                <a:gd name="connsiteY736" fmla="*/ 119269 h 1413227"/>
                <a:gd name="connsiteX737" fmla="*/ 905758 w 2048870"/>
                <a:gd name="connsiteY737" fmla="*/ 120998 h 1413227"/>
                <a:gd name="connsiteX738" fmla="*/ 893658 w 2048870"/>
                <a:gd name="connsiteY738" fmla="*/ 124455 h 1413227"/>
                <a:gd name="connsiteX739" fmla="*/ 888472 w 2048870"/>
                <a:gd name="connsiteY739" fmla="*/ 126183 h 1413227"/>
                <a:gd name="connsiteX740" fmla="*/ 895386 w 2048870"/>
                <a:gd name="connsiteY740" fmla="*/ 124455 h 1413227"/>
                <a:gd name="connsiteX741" fmla="*/ 904029 w 2048870"/>
                <a:gd name="connsiteY741" fmla="*/ 115812 h 1413227"/>
                <a:gd name="connsiteX742" fmla="*/ 966257 w 2048870"/>
                <a:gd name="connsiteY742" fmla="*/ 63956 h 14132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Lst>
              <a:rect l="l" t="t" r="r" b="b"/>
              <a:pathLst>
                <a:path w="2048870" h="1413227">
                  <a:moveTo>
                    <a:pt x="966257" y="63956"/>
                  </a:moveTo>
                  <a:cubicBezTo>
                    <a:pt x="976052" y="56754"/>
                    <a:pt x="963131" y="69513"/>
                    <a:pt x="962800" y="72598"/>
                  </a:cubicBezTo>
                  <a:cubicBezTo>
                    <a:pt x="957043" y="126325"/>
                    <a:pt x="977900" y="111654"/>
                    <a:pt x="919586" y="114083"/>
                  </a:cubicBezTo>
                  <a:cubicBezTo>
                    <a:pt x="913641" y="117057"/>
                    <a:pt x="909138" y="119716"/>
                    <a:pt x="902301" y="120998"/>
                  </a:cubicBezTo>
                  <a:cubicBezTo>
                    <a:pt x="896609" y="122065"/>
                    <a:pt x="890777" y="122150"/>
                    <a:pt x="885015" y="122726"/>
                  </a:cubicBezTo>
                  <a:cubicBezTo>
                    <a:pt x="882710" y="125031"/>
                    <a:pt x="880674" y="127639"/>
                    <a:pt x="878101" y="129640"/>
                  </a:cubicBezTo>
                  <a:cubicBezTo>
                    <a:pt x="871460" y="134806"/>
                    <a:pt x="863474" y="137397"/>
                    <a:pt x="855630" y="140012"/>
                  </a:cubicBezTo>
                  <a:cubicBezTo>
                    <a:pt x="853901" y="141740"/>
                    <a:pt x="852794" y="144525"/>
                    <a:pt x="850444" y="145197"/>
                  </a:cubicBezTo>
                  <a:cubicBezTo>
                    <a:pt x="844325" y="146945"/>
                    <a:pt x="838350" y="138595"/>
                    <a:pt x="831430" y="146926"/>
                  </a:cubicBezTo>
                  <a:cubicBezTo>
                    <a:pt x="824510" y="155257"/>
                    <a:pt x="811228" y="178474"/>
                    <a:pt x="808923" y="195183"/>
                  </a:cubicBezTo>
                  <a:cubicBezTo>
                    <a:pt x="806618" y="211892"/>
                    <a:pt x="818754" y="236810"/>
                    <a:pt x="817602" y="247181"/>
                  </a:cubicBezTo>
                  <a:cubicBezTo>
                    <a:pt x="817933" y="250266"/>
                    <a:pt x="819255" y="253299"/>
                    <a:pt x="821059" y="255824"/>
                  </a:cubicBezTo>
                  <a:cubicBezTo>
                    <a:pt x="822267" y="257515"/>
                    <a:pt x="824776" y="257812"/>
                    <a:pt x="826245" y="259281"/>
                  </a:cubicBezTo>
                  <a:cubicBezTo>
                    <a:pt x="828854" y="261890"/>
                    <a:pt x="830854" y="265043"/>
                    <a:pt x="833159" y="267924"/>
                  </a:cubicBezTo>
                  <a:cubicBezTo>
                    <a:pt x="833973" y="270366"/>
                    <a:pt x="836616" y="277858"/>
                    <a:pt x="836616" y="280024"/>
                  </a:cubicBezTo>
                  <a:cubicBezTo>
                    <a:pt x="836616" y="285242"/>
                    <a:pt x="838191" y="291543"/>
                    <a:pt x="834887" y="295581"/>
                  </a:cubicBezTo>
                  <a:cubicBezTo>
                    <a:pt x="831878" y="299258"/>
                    <a:pt x="821059" y="299038"/>
                    <a:pt x="821059" y="299038"/>
                  </a:cubicBezTo>
                  <a:cubicBezTo>
                    <a:pt x="814145" y="297886"/>
                    <a:pt x="807041" y="297559"/>
                    <a:pt x="800316" y="295581"/>
                  </a:cubicBezTo>
                  <a:cubicBezTo>
                    <a:pt x="794939" y="293999"/>
                    <a:pt x="791349" y="289368"/>
                    <a:pt x="786488" y="286938"/>
                  </a:cubicBezTo>
                  <a:cubicBezTo>
                    <a:pt x="784858" y="286123"/>
                    <a:pt x="783031" y="285785"/>
                    <a:pt x="781302" y="285209"/>
                  </a:cubicBezTo>
                  <a:cubicBezTo>
                    <a:pt x="778997" y="282904"/>
                    <a:pt x="777647" y="278295"/>
                    <a:pt x="774388" y="278295"/>
                  </a:cubicBezTo>
                  <a:cubicBezTo>
                    <a:pt x="771129" y="278295"/>
                    <a:pt x="770323" y="283626"/>
                    <a:pt x="767474" y="285209"/>
                  </a:cubicBezTo>
                  <a:cubicBezTo>
                    <a:pt x="764906" y="286636"/>
                    <a:pt x="761699" y="286301"/>
                    <a:pt x="758831" y="286938"/>
                  </a:cubicBezTo>
                  <a:cubicBezTo>
                    <a:pt x="756512" y="287453"/>
                    <a:pt x="754201" y="288013"/>
                    <a:pt x="751917" y="288666"/>
                  </a:cubicBezTo>
                  <a:cubicBezTo>
                    <a:pt x="750165" y="289167"/>
                    <a:pt x="748541" y="290182"/>
                    <a:pt x="746732" y="290395"/>
                  </a:cubicBezTo>
                  <a:cubicBezTo>
                    <a:pt x="738700" y="291340"/>
                    <a:pt x="730599" y="291548"/>
                    <a:pt x="722532" y="292124"/>
                  </a:cubicBezTo>
                  <a:cubicBezTo>
                    <a:pt x="721956" y="293852"/>
                    <a:pt x="721941" y="295886"/>
                    <a:pt x="720803" y="297309"/>
                  </a:cubicBezTo>
                  <a:cubicBezTo>
                    <a:pt x="711520" y="308912"/>
                    <a:pt x="711710" y="307906"/>
                    <a:pt x="701789" y="312866"/>
                  </a:cubicBezTo>
                  <a:cubicBezTo>
                    <a:pt x="696604" y="310561"/>
                    <a:pt x="690882" y="309206"/>
                    <a:pt x="686233" y="305952"/>
                  </a:cubicBezTo>
                  <a:cubicBezTo>
                    <a:pt x="684740" y="304907"/>
                    <a:pt x="684946" y="302534"/>
                    <a:pt x="684504" y="300766"/>
                  </a:cubicBezTo>
                  <a:cubicBezTo>
                    <a:pt x="683216" y="295612"/>
                    <a:pt x="682199" y="290395"/>
                    <a:pt x="681047" y="285209"/>
                  </a:cubicBezTo>
                  <a:cubicBezTo>
                    <a:pt x="670676" y="286361"/>
                    <a:pt x="659622" y="284790"/>
                    <a:pt x="649933" y="288666"/>
                  </a:cubicBezTo>
                  <a:cubicBezTo>
                    <a:pt x="646549" y="290020"/>
                    <a:pt x="648498" y="296006"/>
                    <a:pt x="646476" y="299038"/>
                  </a:cubicBezTo>
                  <a:cubicBezTo>
                    <a:pt x="640997" y="307256"/>
                    <a:pt x="643677" y="302250"/>
                    <a:pt x="639562" y="314595"/>
                  </a:cubicBezTo>
                  <a:cubicBezTo>
                    <a:pt x="638529" y="317693"/>
                    <a:pt x="636510" y="324560"/>
                    <a:pt x="634376" y="326694"/>
                  </a:cubicBezTo>
                  <a:cubicBezTo>
                    <a:pt x="633088" y="327982"/>
                    <a:pt x="630919" y="327847"/>
                    <a:pt x="629191" y="328423"/>
                  </a:cubicBezTo>
                  <a:cubicBezTo>
                    <a:pt x="622237" y="327264"/>
                    <a:pt x="618495" y="328098"/>
                    <a:pt x="613634" y="323237"/>
                  </a:cubicBezTo>
                  <a:cubicBezTo>
                    <a:pt x="610245" y="319848"/>
                    <a:pt x="607228" y="312222"/>
                    <a:pt x="601534" y="311138"/>
                  </a:cubicBezTo>
                  <a:cubicBezTo>
                    <a:pt x="591895" y="309302"/>
                    <a:pt x="581944" y="309985"/>
                    <a:pt x="572149" y="309409"/>
                  </a:cubicBezTo>
                  <a:cubicBezTo>
                    <a:pt x="571740" y="307773"/>
                    <a:pt x="569373" y="296184"/>
                    <a:pt x="566963" y="295581"/>
                  </a:cubicBezTo>
                  <a:cubicBezTo>
                    <a:pt x="564948" y="295077"/>
                    <a:pt x="564713" y="299076"/>
                    <a:pt x="563506" y="300766"/>
                  </a:cubicBezTo>
                  <a:cubicBezTo>
                    <a:pt x="561831" y="303110"/>
                    <a:pt x="559719" y="305162"/>
                    <a:pt x="558320" y="307680"/>
                  </a:cubicBezTo>
                  <a:cubicBezTo>
                    <a:pt x="556761" y="310486"/>
                    <a:pt x="554846" y="320515"/>
                    <a:pt x="549678" y="321509"/>
                  </a:cubicBezTo>
                  <a:cubicBezTo>
                    <a:pt x="536615" y="324021"/>
                    <a:pt x="523173" y="323814"/>
                    <a:pt x="509921" y="324966"/>
                  </a:cubicBezTo>
                  <a:cubicBezTo>
                    <a:pt x="511650" y="326118"/>
                    <a:pt x="513209" y="327579"/>
                    <a:pt x="515107" y="328423"/>
                  </a:cubicBezTo>
                  <a:cubicBezTo>
                    <a:pt x="518437" y="329903"/>
                    <a:pt x="522901" y="329303"/>
                    <a:pt x="525478" y="331880"/>
                  </a:cubicBezTo>
                  <a:cubicBezTo>
                    <a:pt x="526766" y="333169"/>
                    <a:pt x="524808" y="335583"/>
                    <a:pt x="523749" y="337066"/>
                  </a:cubicBezTo>
                  <a:cubicBezTo>
                    <a:pt x="521855" y="339718"/>
                    <a:pt x="519140" y="341675"/>
                    <a:pt x="516835" y="343980"/>
                  </a:cubicBezTo>
                  <a:cubicBezTo>
                    <a:pt x="510093" y="364205"/>
                    <a:pt x="513580" y="357989"/>
                    <a:pt x="511650" y="323237"/>
                  </a:cubicBezTo>
                  <a:cubicBezTo>
                    <a:pt x="467105" y="326207"/>
                    <a:pt x="492739" y="316117"/>
                    <a:pt x="483993" y="333609"/>
                  </a:cubicBezTo>
                  <a:cubicBezTo>
                    <a:pt x="482900" y="335795"/>
                    <a:pt x="480536" y="337066"/>
                    <a:pt x="478807" y="338794"/>
                  </a:cubicBezTo>
                  <a:cubicBezTo>
                    <a:pt x="474774" y="338218"/>
                    <a:pt x="469752" y="339773"/>
                    <a:pt x="466707" y="337066"/>
                  </a:cubicBezTo>
                  <a:cubicBezTo>
                    <a:pt x="463572" y="334279"/>
                    <a:pt x="464683" y="328908"/>
                    <a:pt x="463250" y="324966"/>
                  </a:cubicBezTo>
                  <a:cubicBezTo>
                    <a:pt x="461520" y="320209"/>
                    <a:pt x="458939" y="315753"/>
                    <a:pt x="454608" y="312866"/>
                  </a:cubicBezTo>
                  <a:cubicBezTo>
                    <a:pt x="453092" y="311855"/>
                    <a:pt x="451151" y="311714"/>
                    <a:pt x="449422" y="311138"/>
                  </a:cubicBezTo>
                  <a:cubicBezTo>
                    <a:pt x="441355" y="312290"/>
                    <a:pt x="433367" y="314355"/>
                    <a:pt x="425222" y="314595"/>
                  </a:cubicBezTo>
                  <a:cubicBezTo>
                    <a:pt x="374537" y="316086"/>
                    <a:pt x="323746" y="313630"/>
                    <a:pt x="273110" y="316323"/>
                  </a:cubicBezTo>
                  <a:cubicBezTo>
                    <a:pt x="268961" y="316544"/>
                    <a:pt x="266455" y="321379"/>
                    <a:pt x="262739" y="323237"/>
                  </a:cubicBezTo>
                  <a:cubicBezTo>
                    <a:pt x="260614" y="324299"/>
                    <a:pt x="258109" y="324313"/>
                    <a:pt x="255825" y="324966"/>
                  </a:cubicBezTo>
                  <a:cubicBezTo>
                    <a:pt x="254073" y="325467"/>
                    <a:pt x="252384" y="326170"/>
                    <a:pt x="250639" y="326694"/>
                  </a:cubicBezTo>
                  <a:cubicBezTo>
                    <a:pt x="246621" y="327899"/>
                    <a:pt x="242671" y="329423"/>
                    <a:pt x="238540" y="330152"/>
                  </a:cubicBezTo>
                  <a:cubicBezTo>
                    <a:pt x="234226" y="330913"/>
                    <a:pt x="203211" y="333384"/>
                    <a:pt x="200512" y="333609"/>
                  </a:cubicBezTo>
                  <a:cubicBezTo>
                    <a:pt x="196479" y="335337"/>
                    <a:pt x="192486" y="337164"/>
                    <a:pt x="188412" y="338794"/>
                  </a:cubicBezTo>
                  <a:cubicBezTo>
                    <a:pt x="184273" y="340449"/>
                    <a:pt x="180690" y="341157"/>
                    <a:pt x="176312" y="342251"/>
                  </a:cubicBezTo>
                  <a:cubicBezTo>
                    <a:pt x="153075" y="357038"/>
                    <a:pt x="165299" y="352740"/>
                    <a:pt x="146927" y="356080"/>
                  </a:cubicBezTo>
                  <a:cubicBezTo>
                    <a:pt x="144036" y="356606"/>
                    <a:pt x="141165" y="357232"/>
                    <a:pt x="138284" y="357808"/>
                  </a:cubicBezTo>
                  <a:cubicBezTo>
                    <a:pt x="137708" y="360113"/>
                    <a:pt x="136916" y="362374"/>
                    <a:pt x="136555" y="364722"/>
                  </a:cubicBezTo>
                  <a:cubicBezTo>
                    <a:pt x="135762" y="369879"/>
                    <a:pt x="136700" y="375409"/>
                    <a:pt x="134827" y="380279"/>
                  </a:cubicBezTo>
                  <a:cubicBezTo>
                    <a:pt x="133657" y="383321"/>
                    <a:pt x="130218" y="384888"/>
                    <a:pt x="127913" y="387193"/>
                  </a:cubicBezTo>
                  <a:cubicBezTo>
                    <a:pt x="127337" y="389498"/>
                    <a:pt x="126699" y="391789"/>
                    <a:pt x="126184" y="394108"/>
                  </a:cubicBezTo>
                  <a:cubicBezTo>
                    <a:pt x="125547" y="396976"/>
                    <a:pt x="126013" y="400259"/>
                    <a:pt x="124456" y="402750"/>
                  </a:cubicBezTo>
                  <a:cubicBezTo>
                    <a:pt x="122929" y="405193"/>
                    <a:pt x="120164" y="406744"/>
                    <a:pt x="117541" y="407936"/>
                  </a:cubicBezTo>
                  <a:cubicBezTo>
                    <a:pt x="113723" y="409672"/>
                    <a:pt x="109459" y="410188"/>
                    <a:pt x="105442" y="411393"/>
                  </a:cubicBezTo>
                  <a:cubicBezTo>
                    <a:pt x="103697" y="411917"/>
                    <a:pt x="101985" y="412546"/>
                    <a:pt x="100256" y="413122"/>
                  </a:cubicBezTo>
                  <a:cubicBezTo>
                    <a:pt x="51796" y="407738"/>
                    <a:pt x="72857" y="399912"/>
                    <a:pt x="70871" y="421764"/>
                  </a:cubicBezTo>
                  <a:cubicBezTo>
                    <a:pt x="70638" y="424330"/>
                    <a:pt x="68566" y="426374"/>
                    <a:pt x="67414" y="428679"/>
                  </a:cubicBezTo>
                  <a:cubicBezTo>
                    <a:pt x="67990" y="432712"/>
                    <a:pt x="69547" y="436724"/>
                    <a:pt x="69142" y="440778"/>
                  </a:cubicBezTo>
                  <a:cubicBezTo>
                    <a:pt x="68935" y="442845"/>
                    <a:pt x="66503" y="444054"/>
                    <a:pt x="65685" y="445964"/>
                  </a:cubicBezTo>
                  <a:cubicBezTo>
                    <a:pt x="64749" y="448148"/>
                    <a:pt x="64533" y="450573"/>
                    <a:pt x="63957" y="452878"/>
                  </a:cubicBezTo>
                  <a:cubicBezTo>
                    <a:pt x="65685" y="454030"/>
                    <a:pt x="67284" y="455406"/>
                    <a:pt x="69142" y="456335"/>
                  </a:cubicBezTo>
                  <a:cubicBezTo>
                    <a:pt x="70772" y="457150"/>
                    <a:pt x="72746" y="457160"/>
                    <a:pt x="74328" y="458064"/>
                  </a:cubicBezTo>
                  <a:cubicBezTo>
                    <a:pt x="79125" y="460805"/>
                    <a:pt x="81141" y="463148"/>
                    <a:pt x="84699" y="466707"/>
                  </a:cubicBezTo>
                  <a:cubicBezTo>
                    <a:pt x="83547" y="469012"/>
                    <a:pt x="82520" y="471384"/>
                    <a:pt x="81242" y="473621"/>
                  </a:cubicBezTo>
                  <a:cubicBezTo>
                    <a:pt x="80211" y="475425"/>
                    <a:pt x="78079" y="476750"/>
                    <a:pt x="77785" y="478806"/>
                  </a:cubicBezTo>
                  <a:cubicBezTo>
                    <a:pt x="77449" y="481158"/>
                    <a:pt x="78937" y="483416"/>
                    <a:pt x="79513" y="485721"/>
                  </a:cubicBezTo>
                  <a:cubicBezTo>
                    <a:pt x="77208" y="486873"/>
                    <a:pt x="75160" y="488894"/>
                    <a:pt x="72599" y="489178"/>
                  </a:cubicBezTo>
                  <a:cubicBezTo>
                    <a:pt x="69679" y="489502"/>
                    <a:pt x="61880" y="489526"/>
                    <a:pt x="63957" y="487449"/>
                  </a:cubicBezTo>
                  <a:cubicBezTo>
                    <a:pt x="66838" y="484568"/>
                    <a:pt x="72029" y="486340"/>
                    <a:pt x="76056" y="485721"/>
                  </a:cubicBezTo>
                  <a:cubicBezTo>
                    <a:pt x="79520" y="485188"/>
                    <a:pt x="82971" y="484568"/>
                    <a:pt x="86428" y="483992"/>
                  </a:cubicBezTo>
                  <a:cubicBezTo>
                    <a:pt x="85852" y="487449"/>
                    <a:pt x="84699" y="490858"/>
                    <a:pt x="84699" y="494363"/>
                  </a:cubicBezTo>
                  <a:cubicBezTo>
                    <a:pt x="84699" y="496739"/>
                    <a:pt x="85775" y="498993"/>
                    <a:pt x="86428" y="501277"/>
                  </a:cubicBezTo>
                  <a:cubicBezTo>
                    <a:pt x="88493" y="508505"/>
                    <a:pt x="88994" y="509253"/>
                    <a:pt x="96799" y="515106"/>
                  </a:cubicBezTo>
                  <a:cubicBezTo>
                    <a:pt x="98257" y="516199"/>
                    <a:pt x="100240" y="516310"/>
                    <a:pt x="101985" y="516834"/>
                  </a:cubicBezTo>
                  <a:cubicBezTo>
                    <a:pt x="106003" y="518039"/>
                    <a:pt x="110051" y="519139"/>
                    <a:pt x="114084" y="520291"/>
                  </a:cubicBezTo>
                  <a:cubicBezTo>
                    <a:pt x="99144" y="524401"/>
                    <a:pt x="103798" y="520502"/>
                    <a:pt x="102601" y="523095"/>
                  </a:cubicBezTo>
                  <a:cubicBezTo>
                    <a:pt x="101404" y="525688"/>
                    <a:pt x="100731" y="531732"/>
                    <a:pt x="106904" y="535847"/>
                  </a:cubicBezTo>
                  <a:cubicBezTo>
                    <a:pt x="108056" y="538152"/>
                    <a:pt x="119995" y="548618"/>
                    <a:pt x="124649" y="554668"/>
                  </a:cubicBezTo>
                  <a:cubicBezTo>
                    <a:pt x="129303" y="560718"/>
                    <a:pt x="132267" y="568947"/>
                    <a:pt x="134827" y="572148"/>
                  </a:cubicBezTo>
                  <a:cubicBezTo>
                    <a:pt x="137388" y="575349"/>
                    <a:pt x="138284" y="573300"/>
                    <a:pt x="140012" y="573876"/>
                  </a:cubicBezTo>
                  <a:cubicBezTo>
                    <a:pt x="141165" y="575028"/>
                    <a:pt x="142631" y="575935"/>
                    <a:pt x="143470" y="577333"/>
                  </a:cubicBezTo>
                  <a:cubicBezTo>
                    <a:pt x="144715" y="579408"/>
                    <a:pt x="146364" y="587745"/>
                    <a:pt x="146927" y="589433"/>
                  </a:cubicBezTo>
                  <a:cubicBezTo>
                    <a:pt x="147908" y="592377"/>
                    <a:pt x="149232" y="595195"/>
                    <a:pt x="150384" y="598076"/>
                  </a:cubicBezTo>
                  <a:cubicBezTo>
                    <a:pt x="149808" y="604414"/>
                    <a:pt x="149555" y="610790"/>
                    <a:pt x="148655" y="617090"/>
                  </a:cubicBezTo>
                  <a:cubicBezTo>
                    <a:pt x="148397" y="618894"/>
                    <a:pt x="147938" y="620760"/>
                    <a:pt x="146927" y="622276"/>
                  </a:cubicBezTo>
                  <a:cubicBezTo>
                    <a:pt x="145571" y="624310"/>
                    <a:pt x="143332" y="625605"/>
                    <a:pt x="141741" y="627461"/>
                  </a:cubicBezTo>
                  <a:cubicBezTo>
                    <a:pt x="139866" y="629648"/>
                    <a:pt x="139043" y="632923"/>
                    <a:pt x="136555" y="634375"/>
                  </a:cubicBezTo>
                  <a:cubicBezTo>
                    <a:pt x="131834" y="637129"/>
                    <a:pt x="120999" y="639561"/>
                    <a:pt x="120999" y="639561"/>
                  </a:cubicBezTo>
                  <a:lnTo>
                    <a:pt x="95070" y="665489"/>
                  </a:lnTo>
                  <a:cubicBezTo>
                    <a:pt x="93342" y="667218"/>
                    <a:pt x="91241" y="668641"/>
                    <a:pt x="89885" y="670675"/>
                  </a:cubicBezTo>
                  <a:cubicBezTo>
                    <a:pt x="88733" y="672403"/>
                    <a:pt x="88050" y="674562"/>
                    <a:pt x="86428" y="675860"/>
                  </a:cubicBezTo>
                  <a:cubicBezTo>
                    <a:pt x="85005" y="676998"/>
                    <a:pt x="82971" y="677013"/>
                    <a:pt x="81242" y="677589"/>
                  </a:cubicBezTo>
                  <a:cubicBezTo>
                    <a:pt x="80090" y="679318"/>
                    <a:pt x="79362" y="681423"/>
                    <a:pt x="77785" y="682775"/>
                  </a:cubicBezTo>
                  <a:cubicBezTo>
                    <a:pt x="72592" y="687226"/>
                    <a:pt x="69611" y="687804"/>
                    <a:pt x="63957" y="689689"/>
                  </a:cubicBezTo>
                  <a:cubicBezTo>
                    <a:pt x="62804" y="695451"/>
                    <a:pt x="64653" y="702819"/>
                    <a:pt x="60499" y="706974"/>
                  </a:cubicBezTo>
                  <a:cubicBezTo>
                    <a:pt x="54502" y="712972"/>
                    <a:pt x="54423" y="712213"/>
                    <a:pt x="50128" y="720803"/>
                  </a:cubicBezTo>
                  <a:cubicBezTo>
                    <a:pt x="49313" y="722432"/>
                    <a:pt x="48901" y="724236"/>
                    <a:pt x="48400" y="725988"/>
                  </a:cubicBezTo>
                  <a:cubicBezTo>
                    <a:pt x="47747" y="728272"/>
                    <a:pt x="47956" y="730904"/>
                    <a:pt x="46671" y="732902"/>
                  </a:cubicBezTo>
                  <a:cubicBezTo>
                    <a:pt x="34942" y="751148"/>
                    <a:pt x="38848" y="748687"/>
                    <a:pt x="25929" y="751916"/>
                  </a:cubicBezTo>
                  <a:cubicBezTo>
                    <a:pt x="15493" y="762349"/>
                    <a:pt x="31428" y="745078"/>
                    <a:pt x="19014" y="776116"/>
                  </a:cubicBezTo>
                  <a:cubicBezTo>
                    <a:pt x="14786" y="786688"/>
                    <a:pt x="17278" y="782177"/>
                    <a:pt x="12100" y="789944"/>
                  </a:cubicBezTo>
                  <a:cubicBezTo>
                    <a:pt x="12476" y="795575"/>
                    <a:pt x="10409" y="814928"/>
                    <a:pt x="17286" y="822787"/>
                  </a:cubicBezTo>
                  <a:cubicBezTo>
                    <a:pt x="19715" y="825564"/>
                    <a:pt x="23048" y="827396"/>
                    <a:pt x="25929" y="829701"/>
                  </a:cubicBezTo>
                  <a:cubicBezTo>
                    <a:pt x="27081" y="832582"/>
                    <a:pt x="27524" y="835862"/>
                    <a:pt x="29386" y="838344"/>
                  </a:cubicBezTo>
                  <a:cubicBezTo>
                    <a:pt x="31114" y="840649"/>
                    <a:pt x="34773" y="841086"/>
                    <a:pt x="36300" y="843529"/>
                  </a:cubicBezTo>
                  <a:cubicBezTo>
                    <a:pt x="37857" y="846020"/>
                    <a:pt x="37099" y="849385"/>
                    <a:pt x="38028" y="852172"/>
                  </a:cubicBezTo>
                  <a:cubicBezTo>
                    <a:pt x="39416" y="856335"/>
                    <a:pt x="41485" y="860239"/>
                    <a:pt x="43214" y="864272"/>
                  </a:cubicBezTo>
                  <a:cubicBezTo>
                    <a:pt x="43790" y="867729"/>
                    <a:pt x="42906" y="871791"/>
                    <a:pt x="44943" y="874643"/>
                  </a:cubicBezTo>
                  <a:cubicBezTo>
                    <a:pt x="46324" y="876576"/>
                    <a:pt x="50177" y="874692"/>
                    <a:pt x="51857" y="876372"/>
                  </a:cubicBezTo>
                  <a:cubicBezTo>
                    <a:pt x="53537" y="878052"/>
                    <a:pt x="52267" y="881309"/>
                    <a:pt x="53585" y="883286"/>
                  </a:cubicBezTo>
                  <a:cubicBezTo>
                    <a:pt x="54737" y="885015"/>
                    <a:pt x="57042" y="885591"/>
                    <a:pt x="58771" y="886743"/>
                  </a:cubicBezTo>
                  <a:cubicBezTo>
                    <a:pt x="56466" y="890776"/>
                    <a:pt x="54965" y="895390"/>
                    <a:pt x="51857" y="898843"/>
                  </a:cubicBezTo>
                  <a:cubicBezTo>
                    <a:pt x="49609" y="901340"/>
                    <a:pt x="46151" y="902397"/>
                    <a:pt x="43214" y="904028"/>
                  </a:cubicBezTo>
                  <a:cubicBezTo>
                    <a:pt x="35818" y="908137"/>
                    <a:pt x="37285" y="907239"/>
                    <a:pt x="29386" y="909214"/>
                  </a:cubicBezTo>
                  <a:cubicBezTo>
                    <a:pt x="28810" y="912671"/>
                    <a:pt x="30615" y="918292"/>
                    <a:pt x="27657" y="919585"/>
                  </a:cubicBezTo>
                  <a:cubicBezTo>
                    <a:pt x="24699" y="920878"/>
                    <a:pt x="14669" y="911718"/>
                    <a:pt x="11641" y="916974"/>
                  </a:cubicBezTo>
                  <a:cubicBezTo>
                    <a:pt x="8613" y="922230"/>
                    <a:pt x="602" y="930428"/>
                    <a:pt x="9489" y="951123"/>
                  </a:cubicBezTo>
                  <a:cubicBezTo>
                    <a:pt x="5375" y="963465"/>
                    <a:pt x="9064" y="959473"/>
                    <a:pt x="847" y="964951"/>
                  </a:cubicBezTo>
                  <a:cubicBezTo>
                    <a:pt x="271" y="971865"/>
                    <a:pt x="8784" y="984764"/>
                    <a:pt x="8643" y="990455"/>
                  </a:cubicBezTo>
                  <a:cubicBezTo>
                    <a:pt x="8502" y="996146"/>
                    <a:pt x="0" y="999098"/>
                    <a:pt x="0" y="999098"/>
                  </a:cubicBezTo>
                  <a:cubicBezTo>
                    <a:pt x="742" y="1005772"/>
                    <a:pt x="-81" y="1018051"/>
                    <a:pt x="6915" y="1023298"/>
                  </a:cubicBezTo>
                  <a:cubicBezTo>
                    <a:pt x="9265" y="1025061"/>
                    <a:pt x="12676" y="1024450"/>
                    <a:pt x="15557" y="1025026"/>
                  </a:cubicBezTo>
                  <a:cubicBezTo>
                    <a:pt x="17862" y="1026755"/>
                    <a:pt x="19970" y="1028783"/>
                    <a:pt x="22471" y="1030212"/>
                  </a:cubicBezTo>
                  <a:cubicBezTo>
                    <a:pt x="24053" y="1031116"/>
                    <a:pt x="25982" y="1031223"/>
                    <a:pt x="27657" y="1031941"/>
                  </a:cubicBezTo>
                  <a:cubicBezTo>
                    <a:pt x="30025" y="1032956"/>
                    <a:pt x="32266" y="1034246"/>
                    <a:pt x="34571" y="1035398"/>
                  </a:cubicBezTo>
                  <a:cubicBezTo>
                    <a:pt x="36300" y="1037703"/>
                    <a:pt x="38082" y="1039968"/>
                    <a:pt x="39757" y="1042312"/>
                  </a:cubicBezTo>
                  <a:cubicBezTo>
                    <a:pt x="40964" y="1044002"/>
                    <a:pt x="41745" y="1046028"/>
                    <a:pt x="43214" y="1047497"/>
                  </a:cubicBezTo>
                  <a:cubicBezTo>
                    <a:pt x="46566" y="1050849"/>
                    <a:pt x="49366" y="1051277"/>
                    <a:pt x="53585" y="1052683"/>
                  </a:cubicBezTo>
                  <a:cubicBezTo>
                    <a:pt x="74370" y="1073468"/>
                    <a:pt x="37021" y="1039211"/>
                    <a:pt x="95070" y="1061326"/>
                  </a:cubicBezTo>
                  <a:cubicBezTo>
                    <a:pt x="98877" y="1062776"/>
                    <a:pt x="94977" y="1069782"/>
                    <a:pt x="96799" y="1073426"/>
                  </a:cubicBezTo>
                  <a:cubicBezTo>
                    <a:pt x="97614" y="1075056"/>
                    <a:pt x="100256" y="1074578"/>
                    <a:pt x="101985" y="1075154"/>
                  </a:cubicBezTo>
                  <a:cubicBezTo>
                    <a:pt x="109229" y="1064290"/>
                    <a:pt x="100660" y="1075284"/>
                    <a:pt x="112356" y="1066511"/>
                  </a:cubicBezTo>
                  <a:cubicBezTo>
                    <a:pt x="114963" y="1064555"/>
                    <a:pt x="116965" y="1061902"/>
                    <a:pt x="119270" y="1059597"/>
                  </a:cubicBezTo>
                  <a:cubicBezTo>
                    <a:pt x="119846" y="1057869"/>
                    <a:pt x="119711" y="1055700"/>
                    <a:pt x="120999" y="1054412"/>
                  </a:cubicBezTo>
                  <a:cubicBezTo>
                    <a:pt x="127318" y="1048093"/>
                    <a:pt x="131003" y="1058777"/>
                    <a:pt x="134827" y="1061326"/>
                  </a:cubicBezTo>
                  <a:cubicBezTo>
                    <a:pt x="136804" y="1062644"/>
                    <a:pt x="139457" y="1062401"/>
                    <a:pt x="141741" y="1063054"/>
                  </a:cubicBezTo>
                  <a:cubicBezTo>
                    <a:pt x="143493" y="1063555"/>
                    <a:pt x="145107" y="1064693"/>
                    <a:pt x="146927" y="1064783"/>
                  </a:cubicBezTo>
                  <a:cubicBezTo>
                    <a:pt x="180325" y="1066426"/>
                    <a:pt x="213764" y="1067088"/>
                    <a:pt x="247182" y="1068240"/>
                  </a:cubicBezTo>
                  <a:cubicBezTo>
                    <a:pt x="250756" y="1067729"/>
                    <a:pt x="261672" y="1066593"/>
                    <a:pt x="266196" y="1064783"/>
                  </a:cubicBezTo>
                  <a:cubicBezTo>
                    <a:pt x="269785" y="1063347"/>
                    <a:pt x="273111" y="1061326"/>
                    <a:pt x="276568" y="1059597"/>
                  </a:cubicBezTo>
                  <a:cubicBezTo>
                    <a:pt x="277923" y="1056886"/>
                    <a:pt x="280324" y="1049226"/>
                    <a:pt x="285210" y="1049226"/>
                  </a:cubicBezTo>
                  <a:cubicBezTo>
                    <a:pt x="288854" y="1049226"/>
                    <a:pt x="292124" y="1051531"/>
                    <a:pt x="295581" y="1052683"/>
                  </a:cubicBezTo>
                  <a:cubicBezTo>
                    <a:pt x="296734" y="1054988"/>
                    <a:pt x="297457" y="1057563"/>
                    <a:pt x="299039" y="1059597"/>
                  </a:cubicBezTo>
                  <a:cubicBezTo>
                    <a:pt x="301908" y="1063286"/>
                    <a:pt x="307984" y="1069256"/>
                    <a:pt x="312867" y="1071697"/>
                  </a:cubicBezTo>
                  <a:cubicBezTo>
                    <a:pt x="321494" y="1076010"/>
                    <a:pt x="329411" y="1077047"/>
                    <a:pt x="338795" y="1078611"/>
                  </a:cubicBezTo>
                  <a:cubicBezTo>
                    <a:pt x="346285" y="1077459"/>
                    <a:pt x="354300" y="1078139"/>
                    <a:pt x="361266" y="1075154"/>
                  </a:cubicBezTo>
                  <a:cubicBezTo>
                    <a:pt x="363450" y="1074218"/>
                    <a:pt x="362296" y="1070511"/>
                    <a:pt x="362995" y="1068240"/>
                  </a:cubicBezTo>
                  <a:cubicBezTo>
                    <a:pt x="368263" y="1051119"/>
                    <a:pt x="363159" y="1054356"/>
                    <a:pt x="373366" y="1050955"/>
                  </a:cubicBezTo>
                  <a:cubicBezTo>
                    <a:pt x="375095" y="1049226"/>
                    <a:pt x="376518" y="1047125"/>
                    <a:pt x="378552" y="1045769"/>
                  </a:cubicBezTo>
                  <a:cubicBezTo>
                    <a:pt x="386472" y="1040489"/>
                    <a:pt x="388994" y="1040414"/>
                    <a:pt x="397566" y="1038855"/>
                  </a:cubicBezTo>
                  <a:cubicBezTo>
                    <a:pt x="413405" y="1035975"/>
                    <a:pt x="410231" y="1036962"/>
                    <a:pt x="432137" y="1035398"/>
                  </a:cubicBezTo>
                  <a:cubicBezTo>
                    <a:pt x="436170" y="1034246"/>
                    <a:pt x="440746" y="1034268"/>
                    <a:pt x="444236" y="1031941"/>
                  </a:cubicBezTo>
                  <a:cubicBezTo>
                    <a:pt x="446380" y="1030511"/>
                    <a:pt x="446043" y="1027006"/>
                    <a:pt x="447693" y="1025026"/>
                  </a:cubicBezTo>
                  <a:cubicBezTo>
                    <a:pt x="449023" y="1023430"/>
                    <a:pt x="451410" y="1023038"/>
                    <a:pt x="452879" y="1021569"/>
                  </a:cubicBezTo>
                  <a:cubicBezTo>
                    <a:pt x="463938" y="1010511"/>
                    <a:pt x="450669" y="1017120"/>
                    <a:pt x="468436" y="1011198"/>
                  </a:cubicBezTo>
                  <a:cubicBezTo>
                    <a:pt x="472033" y="996806"/>
                    <a:pt x="467652" y="1011038"/>
                    <a:pt x="473622" y="999098"/>
                  </a:cubicBezTo>
                  <a:cubicBezTo>
                    <a:pt x="475584" y="995173"/>
                    <a:pt x="476451" y="990700"/>
                    <a:pt x="478807" y="986998"/>
                  </a:cubicBezTo>
                  <a:cubicBezTo>
                    <a:pt x="480557" y="984248"/>
                    <a:pt x="483600" y="982559"/>
                    <a:pt x="485721" y="980084"/>
                  </a:cubicBezTo>
                  <a:cubicBezTo>
                    <a:pt x="487073" y="978507"/>
                    <a:pt x="487788" y="976443"/>
                    <a:pt x="489178" y="974899"/>
                  </a:cubicBezTo>
                  <a:cubicBezTo>
                    <a:pt x="495824" y="967514"/>
                    <a:pt x="502645" y="960388"/>
                    <a:pt x="511650" y="955885"/>
                  </a:cubicBezTo>
                  <a:cubicBezTo>
                    <a:pt x="539254" y="942083"/>
                    <a:pt x="516389" y="956758"/>
                    <a:pt x="530664" y="947242"/>
                  </a:cubicBezTo>
                  <a:cubicBezTo>
                    <a:pt x="532969" y="942633"/>
                    <a:pt x="535949" y="938303"/>
                    <a:pt x="537578" y="933414"/>
                  </a:cubicBezTo>
                  <a:cubicBezTo>
                    <a:pt x="538154" y="931685"/>
                    <a:pt x="538805" y="929980"/>
                    <a:pt x="539306" y="928228"/>
                  </a:cubicBezTo>
                  <a:cubicBezTo>
                    <a:pt x="539959" y="925944"/>
                    <a:pt x="538851" y="922250"/>
                    <a:pt x="541035" y="921314"/>
                  </a:cubicBezTo>
                  <a:cubicBezTo>
                    <a:pt x="548001" y="918329"/>
                    <a:pt x="556016" y="919009"/>
                    <a:pt x="563506" y="917857"/>
                  </a:cubicBezTo>
                  <a:cubicBezTo>
                    <a:pt x="565235" y="917281"/>
                    <a:pt x="566895" y="916428"/>
                    <a:pt x="568692" y="916128"/>
                  </a:cubicBezTo>
                  <a:cubicBezTo>
                    <a:pt x="573838" y="915270"/>
                    <a:pt x="579187" y="915665"/>
                    <a:pt x="584248" y="914400"/>
                  </a:cubicBezTo>
                  <a:cubicBezTo>
                    <a:pt x="586264" y="913896"/>
                    <a:pt x="587618" y="911951"/>
                    <a:pt x="589434" y="910942"/>
                  </a:cubicBezTo>
                  <a:cubicBezTo>
                    <a:pt x="592813" y="909065"/>
                    <a:pt x="596348" y="907485"/>
                    <a:pt x="599805" y="905757"/>
                  </a:cubicBezTo>
                  <a:cubicBezTo>
                    <a:pt x="601534" y="904028"/>
                    <a:pt x="603635" y="902605"/>
                    <a:pt x="604991" y="900571"/>
                  </a:cubicBezTo>
                  <a:cubicBezTo>
                    <a:pt x="606002" y="899055"/>
                    <a:pt x="605319" y="896552"/>
                    <a:pt x="606719" y="895386"/>
                  </a:cubicBezTo>
                  <a:cubicBezTo>
                    <a:pt x="609103" y="893399"/>
                    <a:pt x="612481" y="893081"/>
                    <a:pt x="615362" y="891928"/>
                  </a:cubicBezTo>
                  <a:cubicBezTo>
                    <a:pt x="617091" y="890200"/>
                    <a:pt x="618559" y="888164"/>
                    <a:pt x="620548" y="886743"/>
                  </a:cubicBezTo>
                  <a:cubicBezTo>
                    <a:pt x="625882" y="882933"/>
                    <a:pt x="633664" y="881514"/>
                    <a:pt x="639562" y="879829"/>
                  </a:cubicBezTo>
                  <a:lnTo>
                    <a:pt x="653390" y="883286"/>
                  </a:lnTo>
                  <a:cubicBezTo>
                    <a:pt x="655695" y="883862"/>
                    <a:pt x="657975" y="884548"/>
                    <a:pt x="660304" y="885014"/>
                  </a:cubicBezTo>
                  <a:lnTo>
                    <a:pt x="668947" y="886743"/>
                  </a:lnTo>
                  <a:cubicBezTo>
                    <a:pt x="671252" y="887895"/>
                    <a:pt x="673448" y="889295"/>
                    <a:pt x="675861" y="890200"/>
                  </a:cubicBezTo>
                  <a:cubicBezTo>
                    <a:pt x="678085" y="891034"/>
                    <a:pt x="680592" y="890992"/>
                    <a:pt x="682775" y="891928"/>
                  </a:cubicBezTo>
                  <a:cubicBezTo>
                    <a:pt x="684685" y="892746"/>
                    <a:pt x="686103" y="894457"/>
                    <a:pt x="687961" y="895386"/>
                  </a:cubicBezTo>
                  <a:cubicBezTo>
                    <a:pt x="690436" y="896623"/>
                    <a:pt x="697853" y="898291"/>
                    <a:pt x="700061" y="898843"/>
                  </a:cubicBezTo>
                  <a:cubicBezTo>
                    <a:pt x="702366" y="900571"/>
                    <a:pt x="704474" y="902599"/>
                    <a:pt x="706975" y="904028"/>
                  </a:cubicBezTo>
                  <a:cubicBezTo>
                    <a:pt x="709839" y="905665"/>
                    <a:pt x="718610" y="907047"/>
                    <a:pt x="720803" y="907485"/>
                  </a:cubicBezTo>
                  <a:cubicBezTo>
                    <a:pt x="723108" y="906909"/>
                    <a:pt x="725785" y="907138"/>
                    <a:pt x="727718" y="905757"/>
                  </a:cubicBezTo>
                  <a:cubicBezTo>
                    <a:pt x="735948" y="899879"/>
                    <a:pt x="730008" y="894501"/>
                    <a:pt x="736360" y="904028"/>
                  </a:cubicBezTo>
                  <a:cubicBezTo>
                    <a:pt x="736936" y="906333"/>
                    <a:pt x="735814" y="910259"/>
                    <a:pt x="738089" y="910942"/>
                  </a:cubicBezTo>
                  <a:cubicBezTo>
                    <a:pt x="749298" y="914305"/>
                    <a:pt x="753454" y="909358"/>
                    <a:pt x="760560" y="904028"/>
                  </a:cubicBezTo>
                  <a:cubicBezTo>
                    <a:pt x="761742" y="899300"/>
                    <a:pt x="761515" y="891351"/>
                    <a:pt x="770931" y="895386"/>
                  </a:cubicBezTo>
                  <a:cubicBezTo>
                    <a:pt x="774971" y="897117"/>
                    <a:pt x="774205" y="906538"/>
                    <a:pt x="776117" y="909214"/>
                  </a:cubicBezTo>
                  <a:cubicBezTo>
                    <a:pt x="777792" y="911558"/>
                    <a:pt x="780844" y="912525"/>
                    <a:pt x="783031" y="914400"/>
                  </a:cubicBezTo>
                  <a:cubicBezTo>
                    <a:pt x="784887" y="915991"/>
                    <a:pt x="786339" y="918020"/>
                    <a:pt x="788217" y="919585"/>
                  </a:cubicBezTo>
                  <a:cubicBezTo>
                    <a:pt x="789813" y="920915"/>
                    <a:pt x="791806" y="921712"/>
                    <a:pt x="793402" y="923042"/>
                  </a:cubicBezTo>
                  <a:cubicBezTo>
                    <a:pt x="795280" y="924607"/>
                    <a:pt x="796436" y="927069"/>
                    <a:pt x="798588" y="928228"/>
                  </a:cubicBezTo>
                  <a:cubicBezTo>
                    <a:pt x="804052" y="931170"/>
                    <a:pt x="815873" y="935142"/>
                    <a:pt x="815873" y="935142"/>
                  </a:cubicBezTo>
                  <a:cubicBezTo>
                    <a:pt x="817602" y="932261"/>
                    <a:pt x="819556" y="929504"/>
                    <a:pt x="821059" y="926499"/>
                  </a:cubicBezTo>
                  <a:cubicBezTo>
                    <a:pt x="823188" y="922241"/>
                    <a:pt x="823851" y="914931"/>
                    <a:pt x="824516" y="910942"/>
                  </a:cubicBezTo>
                  <a:cubicBezTo>
                    <a:pt x="827397" y="911518"/>
                    <a:pt x="830608" y="911213"/>
                    <a:pt x="833159" y="912671"/>
                  </a:cubicBezTo>
                  <a:cubicBezTo>
                    <a:pt x="837851" y="915353"/>
                    <a:pt x="836766" y="922818"/>
                    <a:pt x="838344" y="926499"/>
                  </a:cubicBezTo>
                  <a:cubicBezTo>
                    <a:pt x="838986" y="927997"/>
                    <a:pt x="840649" y="928804"/>
                    <a:pt x="841802" y="929956"/>
                  </a:cubicBezTo>
                  <a:cubicBezTo>
                    <a:pt x="845186" y="938418"/>
                    <a:pt x="845750" y="940519"/>
                    <a:pt x="850444" y="948970"/>
                  </a:cubicBezTo>
                  <a:cubicBezTo>
                    <a:pt x="851453" y="950786"/>
                    <a:pt x="852749" y="952427"/>
                    <a:pt x="853901" y="954156"/>
                  </a:cubicBezTo>
                  <a:cubicBezTo>
                    <a:pt x="855393" y="965349"/>
                    <a:pt x="856441" y="977481"/>
                    <a:pt x="859087" y="988727"/>
                  </a:cubicBezTo>
                  <a:cubicBezTo>
                    <a:pt x="860720" y="995664"/>
                    <a:pt x="859870" y="1003865"/>
                    <a:pt x="864273" y="1009469"/>
                  </a:cubicBezTo>
                  <a:cubicBezTo>
                    <a:pt x="867208" y="1013205"/>
                    <a:pt x="873594" y="1011424"/>
                    <a:pt x="878101" y="1012927"/>
                  </a:cubicBezTo>
                  <a:cubicBezTo>
                    <a:pt x="880545" y="1013742"/>
                    <a:pt x="882710" y="1015232"/>
                    <a:pt x="885015" y="1016384"/>
                  </a:cubicBezTo>
                  <a:cubicBezTo>
                    <a:pt x="886167" y="1018112"/>
                    <a:pt x="887003" y="1020100"/>
                    <a:pt x="888472" y="1021569"/>
                  </a:cubicBezTo>
                  <a:cubicBezTo>
                    <a:pt x="892451" y="1025548"/>
                    <a:pt x="895283" y="1025432"/>
                    <a:pt x="900572" y="1026755"/>
                  </a:cubicBezTo>
                  <a:cubicBezTo>
                    <a:pt x="902301" y="1029060"/>
                    <a:pt x="904231" y="1031226"/>
                    <a:pt x="905758" y="1033669"/>
                  </a:cubicBezTo>
                  <a:cubicBezTo>
                    <a:pt x="907124" y="1035854"/>
                    <a:pt x="907937" y="1038346"/>
                    <a:pt x="909215" y="1040583"/>
                  </a:cubicBezTo>
                  <a:cubicBezTo>
                    <a:pt x="910246" y="1042387"/>
                    <a:pt x="911520" y="1044040"/>
                    <a:pt x="912672" y="1045769"/>
                  </a:cubicBezTo>
                  <a:cubicBezTo>
                    <a:pt x="917739" y="1071114"/>
                    <a:pt x="909327" y="1037351"/>
                    <a:pt x="921315" y="1061326"/>
                  </a:cubicBezTo>
                  <a:cubicBezTo>
                    <a:pt x="924574" y="1067844"/>
                    <a:pt x="926462" y="1074997"/>
                    <a:pt x="928229" y="1082068"/>
                  </a:cubicBezTo>
                  <a:cubicBezTo>
                    <a:pt x="928805" y="1084373"/>
                    <a:pt x="928393" y="1087195"/>
                    <a:pt x="929957" y="1088983"/>
                  </a:cubicBezTo>
                  <a:cubicBezTo>
                    <a:pt x="932693" y="1092110"/>
                    <a:pt x="936191" y="1095521"/>
                    <a:pt x="940329" y="1095897"/>
                  </a:cubicBezTo>
                  <a:lnTo>
                    <a:pt x="959343" y="1097625"/>
                  </a:lnTo>
                  <a:cubicBezTo>
                    <a:pt x="962224" y="1098777"/>
                    <a:pt x="965354" y="1099438"/>
                    <a:pt x="967985" y="1101082"/>
                  </a:cubicBezTo>
                  <a:cubicBezTo>
                    <a:pt x="970058" y="1102378"/>
                    <a:pt x="971293" y="1104703"/>
                    <a:pt x="973171" y="1106268"/>
                  </a:cubicBezTo>
                  <a:cubicBezTo>
                    <a:pt x="974767" y="1107598"/>
                    <a:pt x="976628" y="1108573"/>
                    <a:pt x="978357" y="1109725"/>
                  </a:cubicBezTo>
                  <a:cubicBezTo>
                    <a:pt x="980085" y="1112606"/>
                    <a:pt x="982554" y="1115157"/>
                    <a:pt x="983542" y="1118368"/>
                  </a:cubicBezTo>
                  <a:cubicBezTo>
                    <a:pt x="984908" y="1122808"/>
                    <a:pt x="983484" y="1127908"/>
                    <a:pt x="985271" y="1132196"/>
                  </a:cubicBezTo>
                  <a:cubicBezTo>
                    <a:pt x="986525" y="1135205"/>
                    <a:pt x="990064" y="1136635"/>
                    <a:pt x="992185" y="1139110"/>
                  </a:cubicBezTo>
                  <a:cubicBezTo>
                    <a:pt x="999855" y="1148059"/>
                    <a:pt x="989827" y="1142358"/>
                    <a:pt x="1006013" y="1147753"/>
                  </a:cubicBezTo>
                  <a:cubicBezTo>
                    <a:pt x="1019401" y="1161141"/>
                    <a:pt x="1016309" y="1154442"/>
                    <a:pt x="1019842" y="1165038"/>
                  </a:cubicBezTo>
                  <a:cubicBezTo>
                    <a:pt x="1017537" y="1166191"/>
                    <a:pt x="1014907" y="1166846"/>
                    <a:pt x="1012927" y="1168496"/>
                  </a:cubicBezTo>
                  <a:cubicBezTo>
                    <a:pt x="1011331" y="1169826"/>
                    <a:pt x="1011092" y="1172383"/>
                    <a:pt x="1009470" y="1173681"/>
                  </a:cubicBezTo>
                  <a:cubicBezTo>
                    <a:pt x="1008340" y="1174585"/>
                    <a:pt x="997826" y="1177024"/>
                    <a:pt x="997371" y="1177138"/>
                  </a:cubicBezTo>
                  <a:cubicBezTo>
                    <a:pt x="995066" y="1178867"/>
                    <a:pt x="993131" y="1181254"/>
                    <a:pt x="990456" y="1182324"/>
                  </a:cubicBezTo>
                  <a:cubicBezTo>
                    <a:pt x="982307" y="1185583"/>
                    <a:pt x="980391" y="1184128"/>
                    <a:pt x="973171" y="1182324"/>
                  </a:cubicBezTo>
                  <a:cubicBezTo>
                    <a:pt x="972595" y="1175410"/>
                    <a:pt x="976348" y="1166487"/>
                    <a:pt x="971442" y="1161581"/>
                  </a:cubicBezTo>
                  <a:cubicBezTo>
                    <a:pt x="968260" y="1158399"/>
                    <a:pt x="965380" y="1168266"/>
                    <a:pt x="962800" y="1171953"/>
                  </a:cubicBezTo>
                  <a:cubicBezTo>
                    <a:pt x="961322" y="1174064"/>
                    <a:pt x="960622" y="1176630"/>
                    <a:pt x="959343" y="1178867"/>
                  </a:cubicBezTo>
                  <a:cubicBezTo>
                    <a:pt x="958312" y="1180671"/>
                    <a:pt x="957038" y="1182324"/>
                    <a:pt x="955885" y="1184052"/>
                  </a:cubicBezTo>
                  <a:cubicBezTo>
                    <a:pt x="946356" y="1171345"/>
                    <a:pt x="954341" y="1178045"/>
                    <a:pt x="947243" y="1187510"/>
                  </a:cubicBezTo>
                  <a:cubicBezTo>
                    <a:pt x="945697" y="1189571"/>
                    <a:pt x="942634" y="1189815"/>
                    <a:pt x="940329" y="1190967"/>
                  </a:cubicBezTo>
                  <a:cubicBezTo>
                    <a:pt x="938600" y="1190391"/>
                    <a:pt x="936016" y="1190838"/>
                    <a:pt x="935143" y="1189238"/>
                  </a:cubicBezTo>
                  <a:cubicBezTo>
                    <a:pt x="932262" y="1183957"/>
                    <a:pt x="931980" y="1177618"/>
                    <a:pt x="929957" y="1171953"/>
                  </a:cubicBezTo>
                  <a:cubicBezTo>
                    <a:pt x="929090" y="1169526"/>
                    <a:pt x="927652" y="1167343"/>
                    <a:pt x="926500" y="1165038"/>
                  </a:cubicBezTo>
                  <a:cubicBezTo>
                    <a:pt x="924772" y="1169648"/>
                    <a:pt x="923517" y="1174464"/>
                    <a:pt x="921315" y="1178867"/>
                  </a:cubicBezTo>
                  <a:cubicBezTo>
                    <a:pt x="920586" y="1180325"/>
                    <a:pt x="918696" y="1180926"/>
                    <a:pt x="917857" y="1182324"/>
                  </a:cubicBezTo>
                  <a:cubicBezTo>
                    <a:pt x="910139" y="1195186"/>
                    <a:pt x="923401" y="1178672"/>
                    <a:pt x="914400" y="1194424"/>
                  </a:cubicBezTo>
                  <a:cubicBezTo>
                    <a:pt x="913187" y="1196546"/>
                    <a:pt x="910943" y="1197881"/>
                    <a:pt x="909215" y="1199609"/>
                  </a:cubicBezTo>
                  <a:cubicBezTo>
                    <a:pt x="891836" y="1182230"/>
                    <a:pt x="900217" y="1187332"/>
                    <a:pt x="886744" y="1180595"/>
                  </a:cubicBezTo>
                  <a:cubicBezTo>
                    <a:pt x="885592" y="1183476"/>
                    <a:pt x="884675" y="1186463"/>
                    <a:pt x="883287" y="1189238"/>
                  </a:cubicBezTo>
                  <a:cubicBezTo>
                    <a:pt x="882358" y="1191096"/>
                    <a:pt x="880839" y="1192608"/>
                    <a:pt x="879830" y="1194424"/>
                  </a:cubicBezTo>
                  <a:cubicBezTo>
                    <a:pt x="877953" y="1197803"/>
                    <a:pt x="876373" y="1201338"/>
                    <a:pt x="874644" y="1204795"/>
                  </a:cubicBezTo>
                  <a:cubicBezTo>
                    <a:pt x="876373" y="1207100"/>
                    <a:pt x="877433" y="1210111"/>
                    <a:pt x="879830" y="1211709"/>
                  </a:cubicBezTo>
                  <a:cubicBezTo>
                    <a:pt x="882862" y="1213730"/>
                    <a:pt x="890201" y="1215166"/>
                    <a:pt x="890201" y="1215166"/>
                  </a:cubicBezTo>
                  <a:cubicBezTo>
                    <a:pt x="892021" y="1222446"/>
                    <a:pt x="893658" y="1227820"/>
                    <a:pt x="893658" y="1235909"/>
                  </a:cubicBezTo>
                  <a:cubicBezTo>
                    <a:pt x="893658" y="1243421"/>
                    <a:pt x="892861" y="1250926"/>
                    <a:pt x="891929" y="1258380"/>
                  </a:cubicBezTo>
                  <a:cubicBezTo>
                    <a:pt x="891703" y="1260188"/>
                    <a:pt x="891167" y="1262020"/>
                    <a:pt x="890201" y="1263565"/>
                  </a:cubicBezTo>
                  <a:cubicBezTo>
                    <a:pt x="882099" y="1276530"/>
                    <a:pt x="886295" y="1268642"/>
                    <a:pt x="878101" y="1275665"/>
                  </a:cubicBezTo>
                  <a:cubicBezTo>
                    <a:pt x="875626" y="1277786"/>
                    <a:pt x="873492" y="1280274"/>
                    <a:pt x="871187" y="1282579"/>
                  </a:cubicBezTo>
                  <a:cubicBezTo>
                    <a:pt x="872915" y="1284308"/>
                    <a:pt x="875016" y="1285731"/>
                    <a:pt x="876372" y="1287765"/>
                  </a:cubicBezTo>
                  <a:cubicBezTo>
                    <a:pt x="880075" y="1293320"/>
                    <a:pt x="877314" y="1301973"/>
                    <a:pt x="874644" y="1306779"/>
                  </a:cubicBezTo>
                  <a:cubicBezTo>
                    <a:pt x="873759" y="1308372"/>
                    <a:pt x="871187" y="1307932"/>
                    <a:pt x="869458" y="1308508"/>
                  </a:cubicBezTo>
                  <a:cubicBezTo>
                    <a:pt x="867730" y="1312541"/>
                    <a:pt x="866121" y="1315527"/>
                    <a:pt x="864273" y="1320607"/>
                  </a:cubicBezTo>
                  <a:cubicBezTo>
                    <a:pt x="862425" y="1325687"/>
                    <a:pt x="858659" y="1332361"/>
                    <a:pt x="858371" y="1338987"/>
                  </a:cubicBezTo>
                  <a:cubicBezTo>
                    <a:pt x="858083" y="1345613"/>
                    <a:pt x="862713" y="1356225"/>
                    <a:pt x="862544" y="1360364"/>
                  </a:cubicBezTo>
                  <a:cubicBezTo>
                    <a:pt x="862375" y="1364503"/>
                    <a:pt x="859216" y="1362892"/>
                    <a:pt x="857358" y="1363821"/>
                  </a:cubicBezTo>
                  <a:cubicBezTo>
                    <a:pt x="855728" y="1364636"/>
                    <a:pt x="853901" y="1364974"/>
                    <a:pt x="852173" y="1365550"/>
                  </a:cubicBezTo>
                  <a:cubicBezTo>
                    <a:pt x="851597" y="1367278"/>
                    <a:pt x="851455" y="1369219"/>
                    <a:pt x="850444" y="1370735"/>
                  </a:cubicBezTo>
                  <a:cubicBezTo>
                    <a:pt x="846939" y="1375993"/>
                    <a:pt x="843754" y="1376674"/>
                    <a:pt x="838344" y="1379378"/>
                  </a:cubicBezTo>
                  <a:cubicBezTo>
                    <a:pt x="835214" y="1388772"/>
                    <a:pt x="845976" y="1388443"/>
                    <a:pt x="841802" y="1389749"/>
                  </a:cubicBezTo>
                  <a:cubicBezTo>
                    <a:pt x="827874" y="1394108"/>
                    <a:pt x="841547" y="1403627"/>
                    <a:pt x="840497" y="1405535"/>
                  </a:cubicBezTo>
                  <a:cubicBezTo>
                    <a:pt x="839447" y="1407443"/>
                    <a:pt x="833201" y="1400371"/>
                    <a:pt x="835505" y="1401197"/>
                  </a:cubicBezTo>
                  <a:cubicBezTo>
                    <a:pt x="837809" y="1402023"/>
                    <a:pt x="852019" y="1408187"/>
                    <a:pt x="854324" y="1410492"/>
                  </a:cubicBezTo>
                  <a:cubicBezTo>
                    <a:pt x="862967" y="1409916"/>
                    <a:pt x="879036" y="1408328"/>
                    <a:pt x="885015" y="1408763"/>
                  </a:cubicBezTo>
                  <a:cubicBezTo>
                    <a:pt x="890994" y="1409198"/>
                    <a:pt x="884098" y="1414061"/>
                    <a:pt x="890201" y="1413103"/>
                  </a:cubicBezTo>
                  <a:cubicBezTo>
                    <a:pt x="896304" y="1412145"/>
                    <a:pt x="914596" y="1406135"/>
                    <a:pt x="921633" y="1403013"/>
                  </a:cubicBezTo>
                  <a:cubicBezTo>
                    <a:pt x="928670" y="1399891"/>
                    <a:pt x="920324" y="1398404"/>
                    <a:pt x="932427" y="1394371"/>
                  </a:cubicBezTo>
                  <a:cubicBezTo>
                    <a:pt x="931851" y="1392642"/>
                    <a:pt x="932051" y="1390526"/>
                    <a:pt x="933873" y="1386010"/>
                  </a:cubicBezTo>
                  <a:cubicBezTo>
                    <a:pt x="935696" y="1381495"/>
                    <a:pt x="926417" y="1369161"/>
                    <a:pt x="943362" y="1367278"/>
                  </a:cubicBezTo>
                  <a:cubicBezTo>
                    <a:pt x="945091" y="1365550"/>
                    <a:pt x="941987" y="1363245"/>
                    <a:pt x="943786" y="1362093"/>
                  </a:cubicBezTo>
                  <a:cubicBezTo>
                    <a:pt x="945585" y="1360941"/>
                    <a:pt x="950671" y="1360725"/>
                    <a:pt x="954157" y="1360364"/>
                  </a:cubicBezTo>
                  <a:cubicBezTo>
                    <a:pt x="967388" y="1358995"/>
                    <a:pt x="980661" y="1358059"/>
                    <a:pt x="993913" y="1356907"/>
                  </a:cubicBezTo>
                  <a:cubicBezTo>
                    <a:pt x="995066" y="1354602"/>
                    <a:pt x="995721" y="1351973"/>
                    <a:pt x="997371" y="1349993"/>
                  </a:cubicBezTo>
                  <a:cubicBezTo>
                    <a:pt x="1000512" y="1346223"/>
                    <a:pt x="1005138" y="1345890"/>
                    <a:pt x="1009470" y="1344807"/>
                  </a:cubicBezTo>
                  <a:cubicBezTo>
                    <a:pt x="998996" y="1329094"/>
                    <a:pt x="1016128" y="1353192"/>
                    <a:pt x="997371" y="1334436"/>
                  </a:cubicBezTo>
                  <a:cubicBezTo>
                    <a:pt x="995549" y="1332614"/>
                    <a:pt x="995411" y="1329619"/>
                    <a:pt x="993913" y="1327522"/>
                  </a:cubicBezTo>
                  <a:cubicBezTo>
                    <a:pt x="992492" y="1325533"/>
                    <a:pt x="990456" y="1324065"/>
                    <a:pt x="988728" y="1322336"/>
                  </a:cubicBezTo>
                  <a:cubicBezTo>
                    <a:pt x="987576" y="1318303"/>
                    <a:pt x="986505" y="1314245"/>
                    <a:pt x="985271" y="1310236"/>
                  </a:cubicBezTo>
                  <a:cubicBezTo>
                    <a:pt x="984199" y="1306753"/>
                    <a:pt x="981814" y="1303509"/>
                    <a:pt x="981814" y="1299865"/>
                  </a:cubicBezTo>
                  <a:cubicBezTo>
                    <a:pt x="981814" y="1295316"/>
                    <a:pt x="987766" y="1290456"/>
                    <a:pt x="990456" y="1287765"/>
                  </a:cubicBezTo>
                  <a:cubicBezTo>
                    <a:pt x="991032" y="1289494"/>
                    <a:pt x="991370" y="1291321"/>
                    <a:pt x="992185" y="1292951"/>
                  </a:cubicBezTo>
                  <a:cubicBezTo>
                    <a:pt x="999054" y="1306688"/>
                    <a:pt x="996262" y="1301704"/>
                    <a:pt x="1014656" y="1299865"/>
                  </a:cubicBezTo>
                  <a:cubicBezTo>
                    <a:pt x="1015232" y="1298136"/>
                    <a:pt x="1015990" y="1296458"/>
                    <a:pt x="1016385" y="1294679"/>
                  </a:cubicBezTo>
                  <a:cubicBezTo>
                    <a:pt x="1017145" y="1291258"/>
                    <a:pt x="1016218" y="1287256"/>
                    <a:pt x="1018113" y="1284308"/>
                  </a:cubicBezTo>
                  <a:cubicBezTo>
                    <a:pt x="1021638" y="1278825"/>
                    <a:pt x="1027332" y="1275089"/>
                    <a:pt x="1031941" y="1270480"/>
                  </a:cubicBezTo>
                  <a:lnTo>
                    <a:pt x="1037127" y="1265294"/>
                  </a:lnTo>
                  <a:cubicBezTo>
                    <a:pt x="1037703" y="1263565"/>
                    <a:pt x="1037568" y="1261396"/>
                    <a:pt x="1038856" y="1260108"/>
                  </a:cubicBezTo>
                  <a:cubicBezTo>
                    <a:pt x="1044800" y="1254164"/>
                    <a:pt x="1047891" y="1253639"/>
                    <a:pt x="1054412" y="1251466"/>
                  </a:cubicBezTo>
                  <a:cubicBezTo>
                    <a:pt x="1057998" y="1249075"/>
                    <a:pt x="1061774" y="1247519"/>
                    <a:pt x="1063055" y="1242823"/>
                  </a:cubicBezTo>
                  <a:cubicBezTo>
                    <a:pt x="1069014" y="1220974"/>
                    <a:pt x="1060431" y="1235525"/>
                    <a:pt x="1068241" y="1223809"/>
                  </a:cubicBezTo>
                  <a:cubicBezTo>
                    <a:pt x="1068817" y="1220928"/>
                    <a:pt x="1069256" y="1218016"/>
                    <a:pt x="1069969" y="1215166"/>
                  </a:cubicBezTo>
                  <a:cubicBezTo>
                    <a:pt x="1070870" y="1211561"/>
                    <a:pt x="1074103" y="1203968"/>
                    <a:pt x="1075155" y="1201338"/>
                  </a:cubicBezTo>
                  <a:cubicBezTo>
                    <a:pt x="1077062" y="1189901"/>
                    <a:pt x="1077178" y="1188062"/>
                    <a:pt x="1080341" y="1175410"/>
                  </a:cubicBezTo>
                  <a:cubicBezTo>
                    <a:pt x="1080783" y="1173642"/>
                    <a:pt x="1081627" y="1171992"/>
                    <a:pt x="1082069" y="1170224"/>
                  </a:cubicBezTo>
                  <a:cubicBezTo>
                    <a:pt x="1082782" y="1167374"/>
                    <a:pt x="1083085" y="1164431"/>
                    <a:pt x="1083798" y="1161581"/>
                  </a:cubicBezTo>
                  <a:cubicBezTo>
                    <a:pt x="1084240" y="1159814"/>
                    <a:pt x="1085084" y="1158163"/>
                    <a:pt x="1085526" y="1156396"/>
                  </a:cubicBezTo>
                  <a:cubicBezTo>
                    <a:pt x="1086239" y="1153546"/>
                    <a:pt x="1086200" y="1150495"/>
                    <a:pt x="1087255" y="1147753"/>
                  </a:cubicBezTo>
                  <a:cubicBezTo>
                    <a:pt x="1090820" y="1138485"/>
                    <a:pt x="1093035" y="1135626"/>
                    <a:pt x="1097626" y="1128739"/>
                  </a:cubicBezTo>
                  <a:cubicBezTo>
                    <a:pt x="1098202" y="1122977"/>
                    <a:pt x="1098536" y="1117186"/>
                    <a:pt x="1099355" y="1111454"/>
                  </a:cubicBezTo>
                  <a:cubicBezTo>
                    <a:pt x="1100160" y="1105821"/>
                    <a:pt x="1101624" y="1101496"/>
                    <a:pt x="1106269" y="1097625"/>
                  </a:cubicBezTo>
                  <a:cubicBezTo>
                    <a:pt x="1107669" y="1096459"/>
                    <a:pt x="1109657" y="1096197"/>
                    <a:pt x="1111454" y="1095897"/>
                  </a:cubicBezTo>
                  <a:cubicBezTo>
                    <a:pt x="1116601" y="1095039"/>
                    <a:pt x="1121825" y="1094744"/>
                    <a:pt x="1127011" y="1094168"/>
                  </a:cubicBezTo>
                  <a:cubicBezTo>
                    <a:pt x="1128740" y="1092440"/>
                    <a:pt x="1130208" y="1090404"/>
                    <a:pt x="1132197" y="1088983"/>
                  </a:cubicBezTo>
                  <a:cubicBezTo>
                    <a:pt x="1142387" y="1081705"/>
                    <a:pt x="1154411" y="1084569"/>
                    <a:pt x="1166768" y="1083797"/>
                  </a:cubicBezTo>
                  <a:cubicBezTo>
                    <a:pt x="1168972" y="1081593"/>
                    <a:pt x="1174380" y="1076863"/>
                    <a:pt x="1175411" y="1073426"/>
                  </a:cubicBezTo>
                  <a:cubicBezTo>
                    <a:pt x="1176582" y="1069524"/>
                    <a:pt x="1176563" y="1065359"/>
                    <a:pt x="1177139" y="1061326"/>
                  </a:cubicBezTo>
                  <a:cubicBezTo>
                    <a:pt x="1174834" y="1056716"/>
                    <a:pt x="1174348" y="1050589"/>
                    <a:pt x="1170225" y="1047497"/>
                  </a:cubicBezTo>
                  <a:cubicBezTo>
                    <a:pt x="1168164" y="1045951"/>
                    <a:pt x="1164216" y="1048542"/>
                    <a:pt x="1163311" y="1050955"/>
                  </a:cubicBezTo>
                  <a:cubicBezTo>
                    <a:pt x="1162860" y="1052159"/>
                    <a:pt x="1165931" y="1065728"/>
                    <a:pt x="1166768" y="1068240"/>
                  </a:cubicBezTo>
                  <a:cubicBezTo>
                    <a:pt x="1167749" y="1071184"/>
                    <a:pt x="1167776" y="1074978"/>
                    <a:pt x="1170225" y="1076883"/>
                  </a:cubicBezTo>
                  <a:cubicBezTo>
                    <a:pt x="1173536" y="1079458"/>
                    <a:pt x="1178292" y="1079188"/>
                    <a:pt x="1182325" y="1080340"/>
                  </a:cubicBezTo>
                  <a:cubicBezTo>
                    <a:pt x="1190391" y="1079764"/>
                    <a:pt x="1198652" y="1080463"/>
                    <a:pt x="1206524" y="1078611"/>
                  </a:cubicBezTo>
                  <a:cubicBezTo>
                    <a:pt x="1208903" y="1078051"/>
                    <a:pt x="1210354" y="1075460"/>
                    <a:pt x="1211710" y="1073426"/>
                  </a:cubicBezTo>
                  <a:cubicBezTo>
                    <a:pt x="1215711" y="1067425"/>
                    <a:pt x="1216616" y="1063893"/>
                    <a:pt x="1218624" y="1057869"/>
                  </a:cubicBezTo>
                  <a:cubicBezTo>
                    <a:pt x="1219200" y="1053259"/>
                    <a:pt x="1220597" y="1048679"/>
                    <a:pt x="1220353" y="1044040"/>
                  </a:cubicBezTo>
                  <a:cubicBezTo>
                    <a:pt x="1218475" y="1008340"/>
                    <a:pt x="1214637" y="1038582"/>
                    <a:pt x="1218624" y="1014655"/>
                  </a:cubicBezTo>
                  <a:cubicBezTo>
                    <a:pt x="1217549" y="1011431"/>
                    <a:pt x="1214536" y="1000761"/>
                    <a:pt x="1211710" y="997370"/>
                  </a:cubicBezTo>
                  <a:cubicBezTo>
                    <a:pt x="1210380" y="995774"/>
                    <a:pt x="1208253" y="995065"/>
                    <a:pt x="1206524" y="993913"/>
                  </a:cubicBezTo>
                  <a:cubicBezTo>
                    <a:pt x="1192052" y="975305"/>
                    <a:pt x="1200301" y="981294"/>
                    <a:pt x="1184053" y="973170"/>
                  </a:cubicBezTo>
                  <a:lnTo>
                    <a:pt x="1173682" y="962799"/>
                  </a:lnTo>
                  <a:lnTo>
                    <a:pt x="1168496" y="957613"/>
                  </a:lnTo>
                  <a:cubicBezTo>
                    <a:pt x="1167344" y="956460"/>
                    <a:pt x="1171050" y="959714"/>
                    <a:pt x="1171954" y="961070"/>
                  </a:cubicBezTo>
                  <a:cubicBezTo>
                    <a:pt x="1174259" y="964527"/>
                    <a:pt x="1175931" y="968503"/>
                    <a:pt x="1178868" y="971441"/>
                  </a:cubicBezTo>
                  <a:cubicBezTo>
                    <a:pt x="1188934" y="981510"/>
                    <a:pt x="1174869" y="966989"/>
                    <a:pt x="1185782" y="980084"/>
                  </a:cubicBezTo>
                  <a:cubicBezTo>
                    <a:pt x="1187347" y="981962"/>
                    <a:pt x="1189239" y="983541"/>
                    <a:pt x="1190968" y="985270"/>
                  </a:cubicBezTo>
                  <a:cubicBezTo>
                    <a:pt x="1192120" y="988151"/>
                    <a:pt x="1192918" y="991201"/>
                    <a:pt x="1194425" y="993913"/>
                  </a:cubicBezTo>
                  <a:cubicBezTo>
                    <a:pt x="1197401" y="999270"/>
                    <a:pt x="1202285" y="1003502"/>
                    <a:pt x="1206524" y="1007741"/>
                  </a:cubicBezTo>
                  <a:cubicBezTo>
                    <a:pt x="1207100" y="1010046"/>
                    <a:pt x="1207502" y="1012401"/>
                    <a:pt x="1208253" y="1014655"/>
                  </a:cubicBezTo>
                  <a:cubicBezTo>
                    <a:pt x="1209234" y="1017599"/>
                    <a:pt x="1210957" y="1020288"/>
                    <a:pt x="1211710" y="1023298"/>
                  </a:cubicBezTo>
                  <a:cubicBezTo>
                    <a:pt x="1212698" y="1027251"/>
                    <a:pt x="1212769" y="1031379"/>
                    <a:pt x="1213439" y="1035398"/>
                  </a:cubicBezTo>
                  <a:cubicBezTo>
                    <a:pt x="1213922" y="1038296"/>
                    <a:pt x="1213537" y="1041596"/>
                    <a:pt x="1215167" y="1044040"/>
                  </a:cubicBezTo>
                  <a:cubicBezTo>
                    <a:pt x="1216178" y="1045556"/>
                    <a:pt x="1218624" y="1045193"/>
                    <a:pt x="1220353" y="1045769"/>
                  </a:cubicBezTo>
                  <a:cubicBezTo>
                    <a:pt x="1221505" y="1047498"/>
                    <a:pt x="1222458" y="1049378"/>
                    <a:pt x="1223810" y="1050955"/>
                  </a:cubicBezTo>
                  <a:cubicBezTo>
                    <a:pt x="1236388" y="1065630"/>
                    <a:pt x="1226242" y="1051147"/>
                    <a:pt x="1234181" y="1063054"/>
                  </a:cubicBezTo>
                  <a:cubicBezTo>
                    <a:pt x="1240519" y="1061326"/>
                    <a:pt x="1247008" y="1060078"/>
                    <a:pt x="1253195" y="1057869"/>
                  </a:cubicBezTo>
                  <a:cubicBezTo>
                    <a:pt x="1255152" y="1057170"/>
                    <a:pt x="1256577" y="1055443"/>
                    <a:pt x="1258381" y="1054412"/>
                  </a:cubicBezTo>
                  <a:cubicBezTo>
                    <a:pt x="1260618" y="1053134"/>
                    <a:pt x="1262990" y="1052107"/>
                    <a:pt x="1265295" y="1050955"/>
                  </a:cubicBezTo>
                  <a:cubicBezTo>
                    <a:pt x="1265871" y="1052683"/>
                    <a:pt x="1266666" y="1054354"/>
                    <a:pt x="1267023" y="1056140"/>
                  </a:cubicBezTo>
                  <a:cubicBezTo>
                    <a:pt x="1267822" y="1060135"/>
                    <a:pt x="1265437" y="1065872"/>
                    <a:pt x="1268752" y="1068240"/>
                  </a:cubicBezTo>
                  <a:cubicBezTo>
                    <a:pt x="1271717" y="1070358"/>
                    <a:pt x="1275666" y="1065935"/>
                    <a:pt x="1279123" y="1064783"/>
                  </a:cubicBezTo>
                  <a:cubicBezTo>
                    <a:pt x="1287040" y="1052906"/>
                    <a:pt x="1276962" y="1066165"/>
                    <a:pt x="1289495" y="1056140"/>
                  </a:cubicBezTo>
                  <a:cubicBezTo>
                    <a:pt x="1293313" y="1053086"/>
                    <a:pt x="1296409" y="1049226"/>
                    <a:pt x="1299866" y="1045769"/>
                  </a:cubicBezTo>
                  <a:cubicBezTo>
                    <a:pt x="1301335" y="1044300"/>
                    <a:pt x="1303323" y="1043464"/>
                    <a:pt x="1305051" y="1042312"/>
                  </a:cubicBezTo>
                  <a:cubicBezTo>
                    <a:pt x="1297590" y="1064694"/>
                    <a:pt x="1306743" y="1041220"/>
                    <a:pt x="1294680" y="1061326"/>
                  </a:cubicBezTo>
                  <a:cubicBezTo>
                    <a:pt x="1290090" y="1068977"/>
                    <a:pt x="1293595" y="1070345"/>
                    <a:pt x="1286037" y="1075154"/>
                  </a:cubicBezTo>
                  <a:cubicBezTo>
                    <a:pt x="1281689" y="1077921"/>
                    <a:pt x="1276818" y="1079763"/>
                    <a:pt x="1272209" y="1082068"/>
                  </a:cubicBezTo>
                  <a:cubicBezTo>
                    <a:pt x="1269904" y="1083220"/>
                    <a:pt x="1267739" y="1084710"/>
                    <a:pt x="1265295" y="1085525"/>
                  </a:cubicBezTo>
                  <a:cubicBezTo>
                    <a:pt x="1263566" y="1086101"/>
                    <a:pt x="1261739" y="1086439"/>
                    <a:pt x="1260109" y="1087254"/>
                  </a:cubicBezTo>
                  <a:cubicBezTo>
                    <a:pt x="1257104" y="1088757"/>
                    <a:pt x="1254674" y="1091438"/>
                    <a:pt x="1251467" y="1092440"/>
                  </a:cubicBezTo>
                  <a:cubicBezTo>
                    <a:pt x="1245318" y="1094362"/>
                    <a:pt x="1238791" y="1094745"/>
                    <a:pt x="1232453" y="1095897"/>
                  </a:cubicBezTo>
                  <a:cubicBezTo>
                    <a:pt x="1231877" y="1104540"/>
                    <a:pt x="1232928" y="1113448"/>
                    <a:pt x="1230724" y="1121825"/>
                  </a:cubicBezTo>
                  <a:cubicBezTo>
                    <a:pt x="1229894" y="1124977"/>
                    <a:pt x="1226574" y="1127012"/>
                    <a:pt x="1223810" y="1128739"/>
                  </a:cubicBezTo>
                  <a:cubicBezTo>
                    <a:pt x="1221795" y="1129998"/>
                    <a:pt x="1214690" y="1131350"/>
                    <a:pt x="1216896" y="1130468"/>
                  </a:cubicBezTo>
                  <a:cubicBezTo>
                    <a:pt x="1232672" y="1124158"/>
                    <a:pt x="1231535" y="1125384"/>
                    <a:pt x="1248009" y="1123553"/>
                  </a:cubicBezTo>
                  <a:cubicBezTo>
                    <a:pt x="1257228" y="1124129"/>
                    <a:pt x="1266531" y="1123912"/>
                    <a:pt x="1275666" y="1125282"/>
                  </a:cubicBezTo>
                  <a:cubicBezTo>
                    <a:pt x="1278214" y="1125664"/>
                    <a:pt x="1280005" y="1128636"/>
                    <a:pt x="1282580" y="1128739"/>
                  </a:cubicBezTo>
                  <a:lnTo>
                    <a:pt x="1318880" y="1127010"/>
                  </a:lnTo>
                  <a:cubicBezTo>
                    <a:pt x="1322913" y="1125858"/>
                    <a:pt x="1327108" y="1125166"/>
                    <a:pt x="1330980" y="1123553"/>
                  </a:cubicBezTo>
                  <a:cubicBezTo>
                    <a:pt x="1334081" y="1122261"/>
                    <a:pt x="1336263" y="1118368"/>
                    <a:pt x="1339622" y="1118368"/>
                  </a:cubicBezTo>
                  <a:cubicBezTo>
                    <a:pt x="1345638" y="1118368"/>
                    <a:pt x="1351146" y="1121825"/>
                    <a:pt x="1356908" y="1123553"/>
                  </a:cubicBezTo>
                  <a:cubicBezTo>
                    <a:pt x="1369313" y="1120796"/>
                    <a:pt x="1373724" y="1120824"/>
                    <a:pt x="1384564" y="1114911"/>
                  </a:cubicBezTo>
                  <a:cubicBezTo>
                    <a:pt x="1387093" y="1113531"/>
                    <a:pt x="1389174" y="1111454"/>
                    <a:pt x="1391479" y="1109725"/>
                  </a:cubicBezTo>
                  <a:cubicBezTo>
                    <a:pt x="1397285" y="1095208"/>
                    <a:pt x="1391606" y="1106115"/>
                    <a:pt x="1400121" y="1095897"/>
                  </a:cubicBezTo>
                  <a:cubicBezTo>
                    <a:pt x="1401451" y="1094301"/>
                    <a:pt x="1401956" y="1092009"/>
                    <a:pt x="1403578" y="1090711"/>
                  </a:cubicBezTo>
                  <a:cubicBezTo>
                    <a:pt x="1405001" y="1089573"/>
                    <a:pt x="1407035" y="1089559"/>
                    <a:pt x="1408764" y="1088983"/>
                  </a:cubicBezTo>
                  <a:cubicBezTo>
                    <a:pt x="1411069" y="1091864"/>
                    <a:pt x="1413632" y="1094555"/>
                    <a:pt x="1415678" y="1097625"/>
                  </a:cubicBezTo>
                  <a:cubicBezTo>
                    <a:pt x="1417107" y="1099769"/>
                    <a:pt x="1417769" y="1102354"/>
                    <a:pt x="1419135" y="1104539"/>
                  </a:cubicBezTo>
                  <a:cubicBezTo>
                    <a:pt x="1420662" y="1106982"/>
                    <a:pt x="1422592" y="1109149"/>
                    <a:pt x="1424321" y="1111454"/>
                  </a:cubicBezTo>
                  <a:cubicBezTo>
                    <a:pt x="1427778" y="1110878"/>
                    <a:pt x="1431888" y="1111828"/>
                    <a:pt x="1434692" y="1109725"/>
                  </a:cubicBezTo>
                  <a:cubicBezTo>
                    <a:pt x="1437174" y="1107863"/>
                    <a:pt x="1437236" y="1104048"/>
                    <a:pt x="1438149" y="1101082"/>
                  </a:cubicBezTo>
                  <a:cubicBezTo>
                    <a:pt x="1445179" y="1078233"/>
                    <a:pt x="1437337" y="1095792"/>
                    <a:pt x="1446792" y="1076883"/>
                  </a:cubicBezTo>
                  <a:cubicBezTo>
                    <a:pt x="1449673" y="1078611"/>
                    <a:pt x="1453933" y="1079063"/>
                    <a:pt x="1455435" y="1082068"/>
                  </a:cubicBezTo>
                  <a:cubicBezTo>
                    <a:pt x="1457768" y="1086735"/>
                    <a:pt x="1455629" y="1092638"/>
                    <a:pt x="1457163" y="1097625"/>
                  </a:cubicBezTo>
                  <a:cubicBezTo>
                    <a:pt x="1458010" y="1100379"/>
                    <a:pt x="1460620" y="1102234"/>
                    <a:pt x="1462349" y="1104539"/>
                  </a:cubicBezTo>
                  <a:cubicBezTo>
                    <a:pt x="1462925" y="1108572"/>
                    <a:pt x="1465128" y="1112702"/>
                    <a:pt x="1464078" y="1116639"/>
                  </a:cubicBezTo>
                  <a:cubicBezTo>
                    <a:pt x="1460516" y="1129998"/>
                    <a:pt x="1458565" y="1129425"/>
                    <a:pt x="1450249" y="1132196"/>
                  </a:cubicBezTo>
                  <a:cubicBezTo>
                    <a:pt x="1433834" y="1143141"/>
                    <a:pt x="1463718" y="1122189"/>
                    <a:pt x="1436421" y="1149482"/>
                  </a:cubicBezTo>
                  <a:cubicBezTo>
                    <a:pt x="1433540" y="1152363"/>
                    <a:pt x="1430844" y="1155441"/>
                    <a:pt x="1427778" y="1158124"/>
                  </a:cubicBezTo>
                  <a:cubicBezTo>
                    <a:pt x="1421291" y="1163800"/>
                    <a:pt x="1423835" y="1160047"/>
                    <a:pt x="1415678" y="1163310"/>
                  </a:cubicBezTo>
                  <a:cubicBezTo>
                    <a:pt x="1408036" y="1166367"/>
                    <a:pt x="1406057" y="1167996"/>
                    <a:pt x="1400121" y="1171953"/>
                  </a:cubicBezTo>
                  <a:cubicBezTo>
                    <a:pt x="1399545" y="1173681"/>
                    <a:pt x="1399208" y="1175509"/>
                    <a:pt x="1398393" y="1177138"/>
                  </a:cubicBezTo>
                  <a:cubicBezTo>
                    <a:pt x="1396845" y="1180234"/>
                    <a:pt x="1391320" y="1186884"/>
                    <a:pt x="1389750" y="1189238"/>
                  </a:cubicBezTo>
                  <a:cubicBezTo>
                    <a:pt x="1387886" y="1192033"/>
                    <a:pt x="1386067" y="1194876"/>
                    <a:pt x="1384564" y="1197881"/>
                  </a:cubicBezTo>
                  <a:cubicBezTo>
                    <a:pt x="1383749" y="1199510"/>
                    <a:pt x="1383929" y="1201609"/>
                    <a:pt x="1382836" y="1203066"/>
                  </a:cubicBezTo>
                  <a:cubicBezTo>
                    <a:pt x="1380391" y="1206325"/>
                    <a:pt x="1377074" y="1208828"/>
                    <a:pt x="1374193" y="1211709"/>
                  </a:cubicBezTo>
                  <a:cubicBezTo>
                    <a:pt x="1372465" y="1213438"/>
                    <a:pt x="1370475" y="1214939"/>
                    <a:pt x="1369008" y="1216895"/>
                  </a:cubicBezTo>
                  <a:cubicBezTo>
                    <a:pt x="1355932" y="1234328"/>
                    <a:pt x="1372573" y="1212821"/>
                    <a:pt x="1356908" y="1230723"/>
                  </a:cubicBezTo>
                  <a:cubicBezTo>
                    <a:pt x="1355011" y="1232891"/>
                    <a:pt x="1353451" y="1235332"/>
                    <a:pt x="1351722" y="1237637"/>
                  </a:cubicBezTo>
                  <a:cubicBezTo>
                    <a:pt x="1351146" y="1239366"/>
                    <a:pt x="1350809" y="1241193"/>
                    <a:pt x="1349994" y="1242823"/>
                  </a:cubicBezTo>
                  <a:cubicBezTo>
                    <a:pt x="1343288" y="1256237"/>
                    <a:pt x="1349157" y="1240152"/>
                    <a:pt x="1344808" y="1253194"/>
                  </a:cubicBezTo>
                  <a:cubicBezTo>
                    <a:pt x="1354558" y="1254169"/>
                    <a:pt x="1367806" y="1256710"/>
                    <a:pt x="1377650" y="1253194"/>
                  </a:cubicBezTo>
                  <a:cubicBezTo>
                    <a:pt x="1381124" y="1251953"/>
                    <a:pt x="1383164" y="1248235"/>
                    <a:pt x="1386293" y="1246280"/>
                  </a:cubicBezTo>
                  <a:cubicBezTo>
                    <a:pt x="1387838" y="1245314"/>
                    <a:pt x="1389750" y="1245128"/>
                    <a:pt x="1391479" y="1244552"/>
                  </a:cubicBezTo>
                  <a:cubicBezTo>
                    <a:pt x="1398393" y="1245704"/>
                    <a:pt x="1405620" y="1245652"/>
                    <a:pt x="1412221" y="1248009"/>
                  </a:cubicBezTo>
                  <a:cubicBezTo>
                    <a:pt x="1414177" y="1248708"/>
                    <a:pt x="1414115" y="1251826"/>
                    <a:pt x="1415678" y="1253194"/>
                  </a:cubicBezTo>
                  <a:cubicBezTo>
                    <a:pt x="1418805" y="1255930"/>
                    <a:pt x="1426050" y="1260108"/>
                    <a:pt x="1426050" y="1260108"/>
                  </a:cubicBezTo>
                  <a:cubicBezTo>
                    <a:pt x="1434693" y="1259532"/>
                    <a:pt x="1443522" y="1260259"/>
                    <a:pt x="1451978" y="1258380"/>
                  </a:cubicBezTo>
                  <a:cubicBezTo>
                    <a:pt x="1454364" y="1257850"/>
                    <a:pt x="1455207" y="1254661"/>
                    <a:pt x="1457163" y="1253194"/>
                  </a:cubicBezTo>
                  <a:cubicBezTo>
                    <a:pt x="1459851" y="1251178"/>
                    <a:pt x="1462925" y="1249737"/>
                    <a:pt x="1465806" y="1248009"/>
                  </a:cubicBezTo>
                  <a:cubicBezTo>
                    <a:pt x="1471568" y="1248585"/>
                    <a:pt x="1477450" y="1248435"/>
                    <a:pt x="1483092" y="1249737"/>
                  </a:cubicBezTo>
                  <a:cubicBezTo>
                    <a:pt x="1487468" y="1250747"/>
                    <a:pt x="1489663" y="1255066"/>
                    <a:pt x="1491734" y="1258380"/>
                  </a:cubicBezTo>
                  <a:cubicBezTo>
                    <a:pt x="1498892" y="1269834"/>
                    <a:pt x="1494024" y="1264128"/>
                    <a:pt x="1502106" y="1272208"/>
                  </a:cubicBezTo>
                  <a:cubicBezTo>
                    <a:pt x="1502682" y="1277970"/>
                    <a:pt x="1502532" y="1283852"/>
                    <a:pt x="1503834" y="1289494"/>
                  </a:cubicBezTo>
                  <a:cubicBezTo>
                    <a:pt x="1504669" y="1293113"/>
                    <a:pt x="1512773" y="1299922"/>
                    <a:pt x="1514205" y="1301593"/>
                  </a:cubicBezTo>
                  <a:cubicBezTo>
                    <a:pt x="1515557" y="1303170"/>
                    <a:pt x="1516510" y="1305050"/>
                    <a:pt x="1517662" y="1306779"/>
                  </a:cubicBezTo>
                  <a:cubicBezTo>
                    <a:pt x="1517086" y="1322912"/>
                    <a:pt x="1518504" y="1339241"/>
                    <a:pt x="1515934" y="1355178"/>
                  </a:cubicBezTo>
                  <a:cubicBezTo>
                    <a:pt x="1515475" y="1358022"/>
                    <a:pt x="1511057" y="1358327"/>
                    <a:pt x="1509020" y="1360364"/>
                  </a:cubicBezTo>
                  <a:cubicBezTo>
                    <a:pt x="1505670" y="1363714"/>
                    <a:pt x="1505240" y="1366518"/>
                    <a:pt x="1503834" y="1370735"/>
                  </a:cubicBezTo>
                  <a:cubicBezTo>
                    <a:pt x="1520738" y="1376371"/>
                    <a:pt x="1490561" y="1366795"/>
                    <a:pt x="1534948" y="1374192"/>
                  </a:cubicBezTo>
                  <a:cubicBezTo>
                    <a:pt x="1536997" y="1374533"/>
                    <a:pt x="1538405" y="1376497"/>
                    <a:pt x="1540133" y="1377649"/>
                  </a:cubicBezTo>
                  <a:cubicBezTo>
                    <a:pt x="1546471" y="1377073"/>
                    <a:pt x="1552924" y="1377254"/>
                    <a:pt x="1559147" y="1375921"/>
                  </a:cubicBezTo>
                  <a:cubicBezTo>
                    <a:pt x="1561178" y="1375486"/>
                    <a:pt x="1562317" y="1372968"/>
                    <a:pt x="1564333" y="1372464"/>
                  </a:cubicBezTo>
                  <a:cubicBezTo>
                    <a:pt x="1569395" y="1371198"/>
                    <a:pt x="1574704" y="1371311"/>
                    <a:pt x="1579890" y="1370735"/>
                  </a:cubicBezTo>
                  <a:cubicBezTo>
                    <a:pt x="1585513" y="1368861"/>
                    <a:pt x="1592087" y="1367212"/>
                    <a:pt x="1597175" y="1363821"/>
                  </a:cubicBezTo>
                  <a:cubicBezTo>
                    <a:pt x="1598531" y="1362917"/>
                    <a:pt x="1599480" y="1361516"/>
                    <a:pt x="1600633" y="1360364"/>
                  </a:cubicBezTo>
                  <a:cubicBezTo>
                    <a:pt x="1608640" y="1344350"/>
                    <a:pt x="1603903" y="1350180"/>
                    <a:pt x="1612732" y="1341350"/>
                  </a:cubicBezTo>
                  <a:cubicBezTo>
                    <a:pt x="1612855" y="1339993"/>
                    <a:pt x="1615187" y="1306872"/>
                    <a:pt x="1617918" y="1305051"/>
                  </a:cubicBezTo>
                  <a:lnTo>
                    <a:pt x="1623104" y="1301593"/>
                  </a:lnTo>
                  <a:cubicBezTo>
                    <a:pt x="1623680" y="1295831"/>
                    <a:pt x="1624013" y="1290040"/>
                    <a:pt x="1624832" y="1284308"/>
                  </a:cubicBezTo>
                  <a:cubicBezTo>
                    <a:pt x="1625616" y="1278823"/>
                    <a:pt x="1627130" y="1274173"/>
                    <a:pt x="1631746" y="1270480"/>
                  </a:cubicBezTo>
                  <a:cubicBezTo>
                    <a:pt x="1635373" y="1267578"/>
                    <a:pt x="1639364" y="1264787"/>
                    <a:pt x="1643846" y="1263565"/>
                  </a:cubicBezTo>
                  <a:cubicBezTo>
                    <a:pt x="1652258" y="1261271"/>
                    <a:pt x="1661131" y="1261260"/>
                    <a:pt x="1669774" y="1260108"/>
                  </a:cubicBezTo>
                  <a:cubicBezTo>
                    <a:pt x="1681927" y="1256059"/>
                    <a:pt x="1666935" y="1261326"/>
                    <a:pt x="1681874" y="1254923"/>
                  </a:cubicBezTo>
                  <a:cubicBezTo>
                    <a:pt x="1683549" y="1254205"/>
                    <a:pt x="1685308" y="1253695"/>
                    <a:pt x="1687060" y="1253194"/>
                  </a:cubicBezTo>
                  <a:cubicBezTo>
                    <a:pt x="1692746" y="1251569"/>
                    <a:pt x="1696688" y="1250923"/>
                    <a:pt x="1702617" y="1249737"/>
                  </a:cubicBezTo>
                  <a:cubicBezTo>
                    <a:pt x="1703193" y="1243975"/>
                    <a:pt x="1703864" y="1238222"/>
                    <a:pt x="1704345" y="1232452"/>
                  </a:cubicBezTo>
                  <a:cubicBezTo>
                    <a:pt x="1705017" y="1224393"/>
                    <a:pt x="1704320" y="1216147"/>
                    <a:pt x="1706074" y="1208252"/>
                  </a:cubicBezTo>
                  <a:cubicBezTo>
                    <a:pt x="1706699" y="1205440"/>
                    <a:pt x="1709585" y="1203682"/>
                    <a:pt x="1711259" y="1201338"/>
                  </a:cubicBezTo>
                  <a:cubicBezTo>
                    <a:pt x="1713363" y="1198393"/>
                    <a:pt x="1715018" y="1194799"/>
                    <a:pt x="1718174" y="1192695"/>
                  </a:cubicBezTo>
                  <a:cubicBezTo>
                    <a:pt x="1720318" y="1191266"/>
                    <a:pt x="1722851" y="1190516"/>
                    <a:pt x="1725088" y="1189238"/>
                  </a:cubicBezTo>
                  <a:cubicBezTo>
                    <a:pt x="1734471" y="1183876"/>
                    <a:pt x="1725950" y="1187222"/>
                    <a:pt x="1735459" y="1184052"/>
                  </a:cubicBezTo>
                  <a:cubicBezTo>
                    <a:pt x="1744107" y="1184917"/>
                    <a:pt x="1765932" y="1186720"/>
                    <a:pt x="1773487" y="1189238"/>
                  </a:cubicBezTo>
                  <a:cubicBezTo>
                    <a:pt x="1775806" y="1190011"/>
                    <a:pt x="1776944" y="1192695"/>
                    <a:pt x="1778673" y="1194424"/>
                  </a:cubicBezTo>
                  <a:cubicBezTo>
                    <a:pt x="1779814" y="1194234"/>
                    <a:pt x="1802939" y="1191898"/>
                    <a:pt x="1808058" y="1187510"/>
                  </a:cubicBezTo>
                  <a:cubicBezTo>
                    <a:pt x="1810015" y="1185833"/>
                    <a:pt x="1810086" y="1182739"/>
                    <a:pt x="1811515" y="1180595"/>
                  </a:cubicBezTo>
                  <a:cubicBezTo>
                    <a:pt x="1813561" y="1177525"/>
                    <a:pt x="1816124" y="1174834"/>
                    <a:pt x="1818429" y="1171953"/>
                  </a:cubicBezTo>
                  <a:cubicBezTo>
                    <a:pt x="1822652" y="1150841"/>
                    <a:pt x="1816404" y="1173767"/>
                    <a:pt x="1825343" y="1158124"/>
                  </a:cubicBezTo>
                  <a:cubicBezTo>
                    <a:pt x="1826522" y="1156061"/>
                    <a:pt x="1826447" y="1153502"/>
                    <a:pt x="1827072" y="1151210"/>
                  </a:cubicBezTo>
                  <a:cubicBezTo>
                    <a:pt x="1830791" y="1137576"/>
                    <a:pt x="1828355" y="1142371"/>
                    <a:pt x="1833986" y="1133925"/>
                  </a:cubicBezTo>
                  <a:cubicBezTo>
                    <a:pt x="1830454" y="1119799"/>
                    <a:pt x="1836006" y="1132261"/>
                    <a:pt x="1820158" y="1128739"/>
                  </a:cubicBezTo>
                  <a:cubicBezTo>
                    <a:pt x="1818130" y="1128288"/>
                    <a:pt x="1817853" y="1125282"/>
                    <a:pt x="1816701" y="1123553"/>
                  </a:cubicBezTo>
                  <a:cubicBezTo>
                    <a:pt x="1817853" y="1121825"/>
                    <a:pt x="1818951" y="1120058"/>
                    <a:pt x="1820158" y="1118368"/>
                  </a:cubicBezTo>
                  <a:cubicBezTo>
                    <a:pt x="1821832" y="1116024"/>
                    <a:pt x="1823914" y="1113955"/>
                    <a:pt x="1825343" y="1111454"/>
                  </a:cubicBezTo>
                  <a:cubicBezTo>
                    <a:pt x="1827269" y="1108083"/>
                    <a:pt x="1827353" y="1102732"/>
                    <a:pt x="1828800" y="1099354"/>
                  </a:cubicBezTo>
                  <a:cubicBezTo>
                    <a:pt x="1829618" y="1097444"/>
                    <a:pt x="1831105" y="1095897"/>
                    <a:pt x="1832257" y="1094168"/>
                  </a:cubicBezTo>
                  <a:cubicBezTo>
                    <a:pt x="1831681" y="1090711"/>
                    <a:pt x="1833732" y="1085220"/>
                    <a:pt x="1830529" y="1083797"/>
                  </a:cubicBezTo>
                  <a:cubicBezTo>
                    <a:pt x="1826187" y="1081867"/>
                    <a:pt x="1821404" y="1086582"/>
                    <a:pt x="1816701" y="1087254"/>
                  </a:cubicBezTo>
                  <a:cubicBezTo>
                    <a:pt x="1807430" y="1088579"/>
                    <a:pt x="1798052" y="1089737"/>
                    <a:pt x="1789044" y="1092440"/>
                  </a:cubicBezTo>
                  <a:cubicBezTo>
                    <a:pt x="1785554" y="1093487"/>
                    <a:pt x="1781932" y="1094268"/>
                    <a:pt x="1778673" y="1095897"/>
                  </a:cubicBezTo>
                  <a:lnTo>
                    <a:pt x="1771758" y="1099354"/>
                  </a:lnTo>
                  <a:cubicBezTo>
                    <a:pt x="1771354" y="1101778"/>
                    <a:pt x="1770312" y="1114302"/>
                    <a:pt x="1766573" y="1116639"/>
                  </a:cubicBezTo>
                  <a:cubicBezTo>
                    <a:pt x="1763601" y="1118497"/>
                    <a:pt x="1759659" y="1117792"/>
                    <a:pt x="1756202" y="1118368"/>
                  </a:cubicBezTo>
                  <a:cubicBezTo>
                    <a:pt x="1740472" y="1134096"/>
                    <a:pt x="1755068" y="1121771"/>
                    <a:pt x="1738916" y="1130468"/>
                  </a:cubicBezTo>
                  <a:cubicBezTo>
                    <a:pt x="1718322" y="1141557"/>
                    <a:pt x="1732438" y="1137272"/>
                    <a:pt x="1718174" y="1140839"/>
                  </a:cubicBezTo>
                  <a:cubicBezTo>
                    <a:pt x="1715293" y="1142567"/>
                    <a:pt x="1711907" y="1143648"/>
                    <a:pt x="1709531" y="1146024"/>
                  </a:cubicBezTo>
                  <a:cubicBezTo>
                    <a:pt x="1708242" y="1147312"/>
                    <a:pt x="1709090" y="1149922"/>
                    <a:pt x="1707802" y="1151210"/>
                  </a:cubicBezTo>
                  <a:cubicBezTo>
                    <a:pt x="1705980" y="1153032"/>
                    <a:pt x="1703193" y="1153515"/>
                    <a:pt x="1700888" y="1154667"/>
                  </a:cubicBezTo>
                  <a:cubicBezTo>
                    <a:pt x="1683026" y="1154091"/>
                    <a:pt x="1664675" y="1157132"/>
                    <a:pt x="1647303" y="1152939"/>
                  </a:cubicBezTo>
                  <a:cubicBezTo>
                    <a:pt x="1643760" y="1152084"/>
                    <a:pt x="1650760" y="1142567"/>
                    <a:pt x="1650760" y="1142567"/>
                  </a:cubicBezTo>
                  <a:cubicBezTo>
                    <a:pt x="1650184" y="1135077"/>
                    <a:pt x="1655661" y="1123631"/>
                    <a:pt x="1649032" y="1120096"/>
                  </a:cubicBezTo>
                  <a:cubicBezTo>
                    <a:pt x="1634210" y="1112191"/>
                    <a:pt x="1615580" y="1116932"/>
                    <a:pt x="1598904" y="1114911"/>
                  </a:cubicBezTo>
                  <a:cubicBezTo>
                    <a:pt x="1596546" y="1114625"/>
                    <a:pt x="1594327" y="1113607"/>
                    <a:pt x="1591990" y="1113182"/>
                  </a:cubicBezTo>
                  <a:cubicBezTo>
                    <a:pt x="1584253" y="1111775"/>
                    <a:pt x="1571737" y="1110548"/>
                    <a:pt x="1564333" y="1109725"/>
                  </a:cubicBezTo>
                  <a:cubicBezTo>
                    <a:pt x="1549190" y="1094582"/>
                    <a:pt x="1568393" y="1113107"/>
                    <a:pt x="1553962" y="1101082"/>
                  </a:cubicBezTo>
                  <a:cubicBezTo>
                    <a:pt x="1551614" y="1099126"/>
                    <a:pt x="1547150" y="1093261"/>
                    <a:pt x="1543591" y="1092440"/>
                  </a:cubicBezTo>
                  <a:cubicBezTo>
                    <a:pt x="1537949" y="1091138"/>
                    <a:pt x="1532067" y="1091287"/>
                    <a:pt x="1526305" y="1090711"/>
                  </a:cubicBezTo>
                  <a:cubicBezTo>
                    <a:pt x="1518035" y="1078306"/>
                    <a:pt x="1522329" y="1077402"/>
                    <a:pt x="1514205" y="1085525"/>
                  </a:cubicBezTo>
                  <a:cubicBezTo>
                    <a:pt x="1513629" y="1087830"/>
                    <a:pt x="1514853" y="1092440"/>
                    <a:pt x="1512477" y="1092440"/>
                  </a:cubicBezTo>
                  <a:cubicBezTo>
                    <a:pt x="1509596" y="1092440"/>
                    <a:pt x="1508889" y="1087922"/>
                    <a:pt x="1507291" y="1085525"/>
                  </a:cubicBezTo>
                  <a:cubicBezTo>
                    <a:pt x="1500294" y="1075029"/>
                    <a:pt x="1505767" y="1078104"/>
                    <a:pt x="1496920" y="1075154"/>
                  </a:cubicBezTo>
                  <a:cubicBezTo>
                    <a:pt x="1479635" y="1075730"/>
                    <a:pt x="1462288" y="1075317"/>
                    <a:pt x="1445064" y="1076883"/>
                  </a:cubicBezTo>
                  <a:cubicBezTo>
                    <a:pt x="1442995" y="1077071"/>
                    <a:pt x="1441176" y="1078718"/>
                    <a:pt x="1439878" y="1080340"/>
                  </a:cubicBezTo>
                  <a:cubicBezTo>
                    <a:pt x="1438740" y="1081763"/>
                    <a:pt x="1436666" y="1086584"/>
                    <a:pt x="1438149" y="1085525"/>
                  </a:cubicBezTo>
                  <a:cubicBezTo>
                    <a:pt x="1443454" y="1081736"/>
                    <a:pt x="1447368" y="1076306"/>
                    <a:pt x="1451978" y="1071697"/>
                  </a:cubicBezTo>
                  <a:lnTo>
                    <a:pt x="1458892" y="1064783"/>
                  </a:lnTo>
                  <a:lnTo>
                    <a:pt x="1464078" y="1059597"/>
                  </a:lnTo>
                  <a:cubicBezTo>
                    <a:pt x="1469263" y="1061326"/>
                    <a:pt x="1474681" y="1062472"/>
                    <a:pt x="1479634" y="1064783"/>
                  </a:cubicBezTo>
                  <a:cubicBezTo>
                    <a:pt x="1483399" y="1066540"/>
                    <a:pt x="1485918" y="1070954"/>
                    <a:pt x="1490006" y="1071697"/>
                  </a:cubicBezTo>
                  <a:cubicBezTo>
                    <a:pt x="1493059" y="1072252"/>
                    <a:pt x="1495767" y="1069392"/>
                    <a:pt x="1498648" y="1068240"/>
                  </a:cubicBezTo>
                  <a:cubicBezTo>
                    <a:pt x="1499224" y="1066511"/>
                    <a:pt x="1499562" y="1064684"/>
                    <a:pt x="1500377" y="1063054"/>
                  </a:cubicBezTo>
                  <a:cubicBezTo>
                    <a:pt x="1501306" y="1061196"/>
                    <a:pt x="1503834" y="1059946"/>
                    <a:pt x="1503834" y="1057869"/>
                  </a:cubicBezTo>
                  <a:cubicBezTo>
                    <a:pt x="1503834" y="1039688"/>
                    <a:pt x="1493778" y="1032256"/>
                    <a:pt x="1507291" y="1045769"/>
                  </a:cubicBezTo>
                  <a:cubicBezTo>
                    <a:pt x="1518238" y="1045193"/>
                    <a:pt x="1529238" y="1042829"/>
                    <a:pt x="1540133" y="1044040"/>
                  </a:cubicBezTo>
                  <a:cubicBezTo>
                    <a:pt x="1552547" y="1045419"/>
                    <a:pt x="1554570" y="1050338"/>
                    <a:pt x="1557419" y="1059597"/>
                  </a:cubicBezTo>
                  <a:cubicBezTo>
                    <a:pt x="1558816" y="1064138"/>
                    <a:pt x="1559724" y="1068816"/>
                    <a:pt x="1560876" y="1073426"/>
                  </a:cubicBezTo>
                  <a:lnTo>
                    <a:pt x="1564333" y="1087254"/>
                  </a:lnTo>
                  <a:cubicBezTo>
                    <a:pt x="1564909" y="1089559"/>
                    <a:pt x="1564744" y="1092191"/>
                    <a:pt x="1566062" y="1094168"/>
                  </a:cubicBezTo>
                  <a:lnTo>
                    <a:pt x="1569519" y="1099354"/>
                  </a:lnTo>
                  <a:cubicBezTo>
                    <a:pt x="1578060" y="1065184"/>
                    <a:pt x="1574407" y="1085732"/>
                    <a:pt x="1576433" y="1037126"/>
                  </a:cubicBezTo>
                  <a:cubicBezTo>
                    <a:pt x="1585483" y="1040143"/>
                    <a:pt x="1583703" y="1038192"/>
                    <a:pt x="1588533" y="1052683"/>
                  </a:cubicBezTo>
                  <a:cubicBezTo>
                    <a:pt x="1590391" y="1058258"/>
                    <a:pt x="1587476" y="1066207"/>
                    <a:pt x="1591990" y="1069969"/>
                  </a:cubicBezTo>
                  <a:cubicBezTo>
                    <a:pt x="1615437" y="1089507"/>
                    <a:pt x="1593364" y="1073248"/>
                    <a:pt x="1607547" y="1080340"/>
                  </a:cubicBezTo>
                  <a:cubicBezTo>
                    <a:pt x="1609405" y="1081269"/>
                    <a:pt x="1610787" y="1083068"/>
                    <a:pt x="1612732" y="1083797"/>
                  </a:cubicBezTo>
                  <a:cubicBezTo>
                    <a:pt x="1615483" y="1084829"/>
                    <a:pt x="1618494" y="1084949"/>
                    <a:pt x="1621375" y="1085525"/>
                  </a:cubicBezTo>
                  <a:cubicBezTo>
                    <a:pt x="1642293" y="1095987"/>
                    <a:pt x="1616352" y="1082656"/>
                    <a:pt x="1633475" y="1092440"/>
                  </a:cubicBezTo>
                  <a:cubicBezTo>
                    <a:pt x="1635712" y="1093718"/>
                    <a:pt x="1638084" y="1094745"/>
                    <a:pt x="1640389" y="1095897"/>
                  </a:cubicBezTo>
                  <a:cubicBezTo>
                    <a:pt x="1642124" y="1099368"/>
                    <a:pt x="1645665" y="1107481"/>
                    <a:pt x="1649032" y="1109725"/>
                  </a:cubicBezTo>
                  <a:cubicBezTo>
                    <a:pt x="1652064" y="1111746"/>
                    <a:pt x="1656144" y="1111552"/>
                    <a:pt x="1659403" y="1113182"/>
                  </a:cubicBezTo>
                  <a:cubicBezTo>
                    <a:pt x="1662860" y="1114911"/>
                    <a:pt x="1666435" y="1116420"/>
                    <a:pt x="1669774" y="1118368"/>
                  </a:cubicBezTo>
                  <a:cubicBezTo>
                    <a:pt x="1673363" y="1120462"/>
                    <a:pt x="1676902" y="1122686"/>
                    <a:pt x="1680146" y="1125282"/>
                  </a:cubicBezTo>
                  <a:cubicBezTo>
                    <a:pt x="1686612" y="1130455"/>
                    <a:pt x="1691823" y="1135034"/>
                    <a:pt x="1699160" y="1139110"/>
                  </a:cubicBezTo>
                  <a:cubicBezTo>
                    <a:pt x="1702153" y="1140773"/>
                    <a:pt x="1710587" y="1142087"/>
                    <a:pt x="1712988" y="1142567"/>
                  </a:cubicBezTo>
                  <a:cubicBezTo>
                    <a:pt x="1710107" y="1140839"/>
                    <a:pt x="1707033" y="1139398"/>
                    <a:pt x="1704345" y="1137382"/>
                  </a:cubicBezTo>
                  <a:cubicBezTo>
                    <a:pt x="1702389" y="1135915"/>
                    <a:pt x="1701297" y="1133383"/>
                    <a:pt x="1699160" y="1132196"/>
                  </a:cubicBezTo>
                  <a:cubicBezTo>
                    <a:pt x="1695974" y="1130426"/>
                    <a:pt x="1692292" y="1129740"/>
                    <a:pt x="1688788" y="1128739"/>
                  </a:cubicBezTo>
                  <a:cubicBezTo>
                    <a:pt x="1684220" y="1127434"/>
                    <a:pt x="1679569" y="1126434"/>
                    <a:pt x="1674960" y="1125282"/>
                  </a:cubicBezTo>
                  <a:cubicBezTo>
                    <a:pt x="1665186" y="1122838"/>
                    <a:pt x="1670387" y="1124021"/>
                    <a:pt x="1659403" y="1121825"/>
                  </a:cubicBezTo>
                  <a:cubicBezTo>
                    <a:pt x="1656522" y="1120096"/>
                    <a:pt x="1653609" y="1118420"/>
                    <a:pt x="1650760" y="1116639"/>
                  </a:cubicBezTo>
                  <a:cubicBezTo>
                    <a:pt x="1648999" y="1115538"/>
                    <a:pt x="1647044" y="1114651"/>
                    <a:pt x="1645575" y="1113182"/>
                  </a:cubicBezTo>
                  <a:cubicBezTo>
                    <a:pt x="1644106" y="1111713"/>
                    <a:pt x="1643340" y="1109676"/>
                    <a:pt x="1642118" y="1107996"/>
                  </a:cubicBezTo>
                  <a:cubicBezTo>
                    <a:pt x="1626618" y="1086685"/>
                    <a:pt x="1636342" y="1101061"/>
                    <a:pt x="1628289" y="1088983"/>
                  </a:cubicBezTo>
                  <a:cubicBezTo>
                    <a:pt x="1627713" y="1087254"/>
                    <a:pt x="1627527" y="1085342"/>
                    <a:pt x="1626561" y="1083797"/>
                  </a:cubicBezTo>
                  <a:cubicBezTo>
                    <a:pt x="1624606" y="1080668"/>
                    <a:pt x="1621193" y="1078504"/>
                    <a:pt x="1619647" y="1075154"/>
                  </a:cubicBezTo>
                  <a:cubicBezTo>
                    <a:pt x="1617656" y="1070840"/>
                    <a:pt x="1617439" y="1065910"/>
                    <a:pt x="1616189" y="1061326"/>
                  </a:cubicBezTo>
                  <a:cubicBezTo>
                    <a:pt x="1615710" y="1059568"/>
                    <a:pt x="1615101" y="1057846"/>
                    <a:pt x="1614461" y="1056140"/>
                  </a:cubicBezTo>
                  <a:cubicBezTo>
                    <a:pt x="1611695" y="1048763"/>
                    <a:pt x="1610492" y="1044342"/>
                    <a:pt x="1604090" y="1038855"/>
                  </a:cubicBezTo>
                  <a:cubicBezTo>
                    <a:pt x="1602706" y="1037669"/>
                    <a:pt x="1600633" y="1037702"/>
                    <a:pt x="1598904" y="1037126"/>
                  </a:cubicBezTo>
                  <a:cubicBezTo>
                    <a:pt x="1597175" y="1034821"/>
                    <a:pt x="1595593" y="1032399"/>
                    <a:pt x="1593718" y="1030212"/>
                  </a:cubicBezTo>
                  <a:cubicBezTo>
                    <a:pt x="1583738" y="1018569"/>
                    <a:pt x="1592715" y="1031299"/>
                    <a:pt x="1585076" y="1019841"/>
                  </a:cubicBezTo>
                  <a:cubicBezTo>
                    <a:pt x="1585376" y="1017443"/>
                    <a:pt x="1584981" y="1003844"/>
                    <a:pt x="1590261" y="1000827"/>
                  </a:cubicBezTo>
                  <a:cubicBezTo>
                    <a:pt x="1592812" y="999369"/>
                    <a:pt x="1596023" y="999674"/>
                    <a:pt x="1598904" y="999098"/>
                  </a:cubicBezTo>
                  <a:cubicBezTo>
                    <a:pt x="1621497" y="982155"/>
                    <a:pt x="1593312" y="1003092"/>
                    <a:pt x="1611004" y="990455"/>
                  </a:cubicBezTo>
                  <a:cubicBezTo>
                    <a:pt x="1613348" y="988781"/>
                    <a:pt x="1615613" y="986998"/>
                    <a:pt x="1617918" y="985270"/>
                  </a:cubicBezTo>
                  <a:cubicBezTo>
                    <a:pt x="1620119" y="1002869"/>
                    <a:pt x="1621118" y="1000623"/>
                    <a:pt x="1616189" y="1021569"/>
                  </a:cubicBezTo>
                  <a:cubicBezTo>
                    <a:pt x="1615599" y="1024077"/>
                    <a:pt x="1614098" y="1026298"/>
                    <a:pt x="1612732" y="1028483"/>
                  </a:cubicBezTo>
                  <a:cubicBezTo>
                    <a:pt x="1611205" y="1030926"/>
                    <a:pt x="1607547" y="1032517"/>
                    <a:pt x="1607547" y="1035398"/>
                  </a:cubicBezTo>
                  <a:cubicBezTo>
                    <a:pt x="1607547" y="1037475"/>
                    <a:pt x="1611004" y="1033093"/>
                    <a:pt x="1612732" y="1031941"/>
                  </a:cubicBezTo>
                  <a:cubicBezTo>
                    <a:pt x="1613701" y="1030326"/>
                    <a:pt x="1620666" y="1019219"/>
                    <a:pt x="1621375" y="1016384"/>
                  </a:cubicBezTo>
                  <a:cubicBezTo>
                    <a:pt x="1626539" y="995728"/>
                    <a:pt x="1619106" y="1008551"/>
                    <a:pt x="1626561" y="997370"/>
                  </a:cubicBezTo>
                  <a:cubicBezTo>
                    <a:pt x="1628408" y="988134"/>
                    <a:pt x="1629648" y="986917"/>
                    <a:pt x="1626561" y="976627"/>
                  </a:cubicBezTo>
                  <a:cubicBezTo>
                    <a:pt x="1625690" y="973724"/>
                    <a:pt x="1617443" y="966104"/>
                    <a:pt x="1619647" y="962799"/>
                  </a:cubicBezTo>
                  <a:cubicBezTo>
                    <a:pt x="1621076" y="960655"/>
                    <a:pt x="1624193" y="965241"/>
                    <a:pt x="1626561" y="966256"/>
                  </a:cubicBezTo>
                  <a:cubicBezTo>
                    <a:pt x="1630030" y="967742"/>
                    <a:pt x="1635157" y="968837"/>
                    <a:pt x="1638661" y="969713"/>
                  </a:cubicBezTo>
                  <a:cubicBezTo>
                    <a:pt x="1640966" y="969137"/>
                    <a:pt x="1643750" y="969505"/>
                    <a:pt x="1645575" y="967984"/>
                  </a:cubicBezTo>
                  <a:cubicBezTo>
                    <a:pt x="1647413" y="966452"/>
                    <a:pt x="1649938" y="958557"/>
                    <a:pt x="1650760" y="955885"/>
                  </a:cubicBezTo>
                  <a:cubicBezTo>
                    <a:pt x="1654326" y="944295"/>
                    <a:pt x="1653374" y="940950"/>
                    <a:pt x="1659403" y="933414"/>
                  </a:cubicBezTo>
                  <a:cubicBezTo>
                    <a:pt x="1660421" y="932141"/>
                    <a:pt x="1661708" y="931109"/>
                    <a:pt x="1662860" y="929956"/>
                  </a:cubicBezTo>
                  <a:cubicBezTo>
                    <a:pt x="1663436" y="927651"/>
                    <a:pt x="1664218" y="925389"/>
                    <a:pt x="1664589" y="923042"/>
                  </a:cubicBezTo>
                  <a:cubicBezTo>
                    <a:pt x="1665645" y="916356"/>
                    <a:pt x="1661429" y="896876"/>
                    <a:pt x="1673231" y="893657"/>
                  </a:cubicBezTo>
                  <a:cubicBezTo>
                    <a:pt x="1677713" y="892435"/>
                    <a:pt x="1682478" y="892692"/>
                    <a:pt x="1687060" y="891928"/>
                  </a:cubicBezTo>
                  <a:cubicBezTo>
                    <a:pt x="1689403" y="891537"/>
                    <a:pt x="1691669" y="890776"/>
                    <a:pt x="1693974" y="890200"/>
                  </a:cubicBezTo>
                  <a:cubicBezTo>
                    <a:pt x="1696279" y="889048"/>
                    <a:pt x="1698351" y="887191"/>
                    <a:pt x="1700888" y="886743"/>
                  </a:cubicBezTo>
                  <a:cubicBezTo>
                    <a:pt x="1724783" y="882526"/>
                    <a:pt x="1727111" y="892519"/>
                    <a:pt x="1719902" y="878100"/>
                  </a:cubicBezTo>
                  <a:cubicBezTo>
                    <a:pt x="1722207" y="877524"/>
                    <a:pt x="1724839" y="877690"/>
                    <a:pt x="1726816" y="876372"/>
                  </a:cubicBezTo>
                  <a:cubicBezTo>
                    <a:pt x="1733630" y="871830"/>
                    <a:pt x="1739016" y="865357"/>
                    <a:pt x="1745830" y="860815"/>
                  </a:cubicBezTo>
                  <a:cubicBezTo>
                    <a:pt x="1747559" y="859663"/>
                    <a:pt x="1749106" y="858176"/>
                    <a:pt x="1751016" y="857358"/>
                  </a:cubicBezTo>
                  <a:cubicBezTo>
                    <a:pt x="1753200" y="856422"/>
                    <a:pt x="1755625" y="856205"/>
                    <a:pt x="1757930" y="855629"/>
                  </a:cubicBezTo>
                  <a:cubicBezTo>
                    <a:pt x="1775604" y="837955"/>
                    <a:pt x="1750126" y="865350"/>
                    <a:pt x="1764844" y="841801"/>
                  </a:cubicBezTo>
                  <a:cubicBezTo>
                    <a:pt x="1766371" y="839358"/>
                    <a:pt x="1769414" y="838290"/>
                    <a:pt x="1771758" y="836615"/>
                  </a:cubicBezTo>
                  <a:cubicBezTo>
                    <a:pt x="1773449" y="835407"/>
                    <a:pt x="1774973" y="833815"/>
                    <a:pt x="1776944" y="833158"/>
                  </a:cubicBezTo>
                  <a:cubicBezTo>
                    <a:pt x="1780269" y="832050"/>
                    <a:pt x="1783867" y="832056"/>
                    <a:pt x="1787315" y="831429"/>
                  </a:cubicBezTo>
                  <a:cubicBezTo>
                    <a:pt x="1790206" y="830903"/>
                    <a:pt x="1793077" y="830277"/>
                    <a:pt x="1795958" y="829701"/>
                  </a:cubicBezTo>
                  <a:cubicBezTo>
                    <a:pt x="1796534" y="827972"/>
                    <a:pt x="1797292" y="826294"/>
                    <a:pt x="1797687" y="824515"/>
                  </a:cubicBezTo>
                  <a:cubicBezTo>
                    <a:pt x="1805098" y="791162"/>
                    <a:pt x="1793442" y="799312"/>
                    <a:pt x="1825343" y="796859"/>
                  </a:cubicBezTo>
                  <a:cubicBezTo>
                    <a:pt x="1834491" y="787709"/>
                    <a:pt x="1822964" y="800698"/>
                    <a:pt x="1830529" y="776116"/>
                  </a:cubicBezTo>
                  <a:cubicBezTo>
                    <a:pt x="1831248" y="773779"/>
                    <a:pt x="1833681" y="772286"/>
                    <a:pt x="1835715" y="770930"/>
                  </a:cubicBezTo>
                  <a:cubicBezTo>
                    <a:pt x="1843985" y="765417"/>
                    <a:pt x="1853882" y="762932"/>
                    <a:pt x="1863371" y="760559"/>
                  </a:cubicBezTo>
                  <a:cubicBezTo>
                    <a:pt x="1865100" y="758830"/>
                    <a:pt x="1866287" y="756281"/>
                    <a:pt x="1868557" y="755373"/>
                  </a:cubicBezTo>
                  <a:cubicBezTo>
                    <a:pt x="1872340" y="753860"/>
                    <a:pt x="1876704" y="754633"/>
                    <a:pt x="1880657" y="753645"/>
                  </a:cubicBezTo>
                  <a:cubicBezTo>
                    <a:pt x="1883667" y="752893"/>
                    <a:pt x="1886418" y="751340"/>
                    <a:pt x="1889299" y="750188"/>
                  </a:cubicBezTo>
                  <a:cubicBezTo>
                    <a:pt x="1891028" y="743850"/>
                    <a:pt x="1891411" y="736980"/>
                    <a:pt x="1894485" y="731174"/>
                  </a:cubicBezTo>
                  <a:cubicBezTo>
                    <a:pt x="1899482" y="721736"/>
                    <a:pt x="1902701" y="721521"/>
                    <a:pt x="1910042" y="719074"/>
                  </a:cubicBezTo>
                  <a:cubicBezTo>
                    <a:pt x="1912347" y="716193"/>
                    <a:pt x="1916126" y="714026"/>
                    <a:pt x="1916956" y="710431"/>
                  </a:cubicBezTo>
                  <a:cubicBezTo>
                    <a:pt x="1919756" y="698300"/>
                    <a:pt x="1915052" y="696427"/>
                    <a:pt x="1908313" y="689689"/>
                  </a:cubicBezTo>
                  <a:cubicBezTo>
                    <a:pt x="1903312" y="674681"/>
                    <a:pt x="1911599" y="698298"/>
                    <a:pt x="1901399" y="675860"/>
                  </a:cubicBezTo>
                  <a:cubicBezTo>
                    <a:pt x="1899891" y="672543"/>
                    <a:pt x="1899094" y="668946"/>
                    <a:pt x="1897942" y="665489"/>
                  </a:cubicBezTo>
                  <a:cubicBezTo>
                    <a:pt x="1899094" y="660880"/>
                    <a:pt x="1902330" y="656320"/>
                    <a:pt x="1901399" y="651661"/>
                  </a:cubicBezTo>
                  <a:cubicBezTo>
                    <a:pt x="1898760" y="638463"/>
                    <a:pt x="1900036" y="645933"/>
                    <a:pt x="1897942" y="629190"/>
                  </a:cubicBezTo>
                  <a:cubicBezTo>
                    <a:pt x="1900247" y="627461"/>
                    <a:pt x="1903012" y="626217"/>
                    <a:pt x="1904856" y="624004"/>
                  </a:cubicBezTo>
                  <a:cubicBezTo>
                    <a:pt x="1912416" y="614932"/>
                    <a:pt x="1899676" y="622517"/>
                    <a:pt x="1910042" y="613633"/>
                  </a:cubicBezTo>
                  <a:cubicBezTo>
                    <a:pt x="1912593" y="611447"/>
                    <a:pt x="1916033" y="610510"/>
                    <a:pt x="1918685" y="608447"/>
                  </a:cubicBezTo>
                  <a:cubicBezTo>
                    <a:pt x="1921258" y="606446"/>
                    <a:pt x="1923294" y="603838"/>
                    <a:pt x="1925599" y="601533"/>
                  </a:cubicBezTo>
                  <a:cubicBezTo>
                    <a:pt x="1926751" y="596924"/>
                    <a:pt x="1926421" y="591658"/>
                    <a:pt x="1929056" y="587705"/>
                  </a:cubicBezTo>
                  <a:cubicBezTo>
                    <a:pt x="1930208" y="585976"/>
                    <a:pt x="1931642" y="584405"/>
                    <a:pt x="1932513" y="582519"/>
                  </a:cubicBezTo>
                  <a:cubicBezTo>
                    <a:pt x="1935113" y="576885"/>
                    <a:pt x="1933666" y="567539"/>
                    <a:pt x="1939427" y="565234"/>
                  </a:cubicBezTo>
                  <a:cubicBezTo>
                    <a:pt x="1953145" y="559746"/>
                    <a:pt x="1945126" y="562757"/>
                    <a:pt x="1963627" y="556591"/>
                  </a:cubicBezTo>
                  <a:cubicBezTo>
                    <a:pt x="1965355" y="553710"/>
                    <a:pt x="1965854" y="549541"/>
                    <a:pt x="1968812" y="547948"/>
                  </a:cubicBezTo>
                  <a:cubicBezTo>
                    <a:pt x="1973986" y="545162"/>
                    <a:pt x="1980420" y="546005"/>
                    <a:pt x="1986098" y="544491"/>
                  </a:cubicBezTo>
                  <a:cubicBezTo>
                    <a:pt x="2011252" y="537784"/>
                    <a:pt x="1973402" y="543702"/>
                    <a:pt x="2008569" y="539305"/>
                  </a:cubicBezTo>
                  <a:cubicBezTo>
                    <a:pt x="2011450" y="536424"/>
                    <a:pt x="2013364" y="532001"/>
                    <a:pt x="2017212" y="530663"/>
                  </a:cubicBezTo>
                  <a:cubicBezTo>
                    <a:pt x="2027143" y="527209"/>
                    <a:pt x="2039974" y="531864"/>
                    <a:pt x="2048326" y="525477"/>
                  </a:cubicBezTo>
                  <a:cubicBezTo>
                    <a:pt x="2050279" y="523984"/>
                    <a:pt x="2046609" y="503452"/>
                    <a:pt x="2043140" y="499549"/>
                  </a:cubicBezTo>
                  <a:cubicBezTo>
                    <a:pt x="2040380" y="496444"/>
                    <a:pt x="2032769" y="492635"/>
                    <a:pt x="2032769" y="492635"/>
                  </a:cubicBezTo>
                  <a:cubicBezTo>
                    <a:pt x="2023247" y="473591"/>
                    <a:pt x="2031387" y="491970"/>
                    <a:pt x="2025854" y="447693"/>
                  </a:cubicBezTo>
                  <a:cubicBezTo>
                    <a:pt x="2023823" y="431438"/>
                    <a:pt x="2027411" y="437149"/>
                    <a:pt x="2018940" y="428679"/>
                  </a:cubicBezTo>
                  <a:cubicBezTo>
                    <a:pt x="2017788" y="425222"/>
                    <a:pt x="2017113" y="421567"/>
                    <a:pt x="2015483" y="418307"/>
                  </a:cubicBezTo>
                  <a:cubicBezTo>
                    <a:pt x="2014195" y="415730"/>
                    <a:pt x="2012485" y="413268"/>
                    <a:pt x="2010298" y="411393"/>
                  </a:cubicBezTo>
                  <a:cubicBezTo>
                    <a:pt x="2008341" y="409716"/>
                    <a:pt x="2005752" y="408951"/>
                    <a:pt x="2003383" y="407936"/>
                  </a:cubicBezTo>
                  <a:cubicBezTo>
                    <a:pt x="1996796" y="405113"/>
                    <a:pt x="1992343" y="405475"/>
                    <a:pt x="1984369" y="404479"/>
                  </a:cubicBezTo>
                  <a:cubicBezTo>
                    <a:pt x="1982064" y="401022"/>
                    <a:pt x="1980191" y="397235"/>
                    <a:pt x="1977455" y="394108"/>
                  </a:cubicBezTo>
                  <a:cubicBezTo>
                    <a:pt x="1976087" y="392545"/>
                    <a:pt x="1973477" y="392341"/>
                    <a:pt x="1972270" y="390651"/>
                  </a:cubicBezTo>
                  <a:cubicBezTo>
                    <a:pt x="1970466" y="388126"/>
                    <a:pt x="1969965" y="384889"/>
                    <a:pt x="1968812" y="382008"/>
                  </a:cubicBezTo>
                  <a:cubicBezTo>
                    <a:pt x="1970541" y="376822"/>
                    <a:pt x="1971896" y="371497"/>
                    <a:pt x="1973998" y="366451"/>
                  </a:cubicBezTo>
                  <a:cubicBezTo>
                    <a:pt x="1974789" y="364552"/>
                    <a:pt x="1982121" y="355044"/>
                    <a:pt x="1982641" y="354351"/>
                  </a:cubicBezTo>
                  <a:cubicBezTo>
                    <a:pt x="1983217" y="352046"/>
                    <a:pt x="1982565" y="348983"/>
                    <a:pt x="1984369" y="347437"/>
                  </a:cubicBezTo>
                  <a:cubicBezTo>
                    <a:pt x="1987136" y="345065"/>
                    <a:pt x="1994741" y="343980"/>
                    <a:pt x="1994741" y="343980"/>
                  </a:cubicBezTo>
                  <a:cubicBezTo>
                    <a:pt x="1983217" y="341675"/>
                    <a:pt x="1963887" y="348215"/>
                    <a:pt x="1960170" y="337066"/>
                  </a:cubicBezTo>
                  <a:cubicBezTo>
                    <a:pt x="1959594" y="335337"/>
                    <a:pt x="1959256" y="333510"/>
                    <a:pt x="1958441" y="331880"/>
                  </a:cubicBezTo>
                  <a:cubicBezTo>
                    <a:pt x="1957512" y="330022"/>
                    <a:pt x="1956136" y="328423"/>
                    <a:pt x="1954984" y="326694"/>
                  </a:cubicBezTo>
                  <a:cubicBezTo>
                    <a:pt x="1956136" y="323813"/>
                    <a:pt x="1956934" y="320764"/>
                    <a:pt x="1958441" y="318052"/>
                  </a:cubicBezTo>
                  <a:cubicBezTo>
                    <a:pt x="1959840" y="315534"/>
                    <a:pt x="1961952" y="313482"/>
                    <a:pt x="1963627" y="311138"/>
                  </a:cubicBezTo>
                  <a:cubicBezTo>
                    <a:pt x="1964835" y="309447"/>
                    <a:pt x="1965932" y="307681"/>
                    <a:pt x="1967084" y="305952"/>
                  </a:cubicBezTo>
                  <a:cubicBezTo>
                    <a:pt x="1967660" y="303647"/>
                    <a:pt x="1967633" y="301101"/>
                    <a:pt x="1968812" y="299038"/>
                  </a:cubicBezTo>
                  <a:cubicBezTo>
                    <a:pt x="1970025" y="296915"/>
                    <a:pt x="1973438" y="296232"/>
                    <a:pt x="1973998" y="293852"/>
                  </a:cubicBezTo>
                  <a:cubicBezTo>
                    <a:pt x="1975850" y="285980"/>
                    <a:pt x="1975151" y="277719"/>
                    <a:pt x="1975727" y="269652"/>
                  </a:cubicBezTo>
                  <a:cubicBezTo>
                    <a:pt x="1971800" y="257877"/>
                    <a:pt x="1976746" y="272369"/>
                    <a:pt x="1970541" y="255824"/>
                  </a:cubicBezTo>
                  <a:cubicBezTo>
                    <a:pt x="1969901" y="254118"/>
                    <a:pt x="1969313" y="252390"/>
                    <a:pt x="1968812" y="250638"/>
                  </a:cubicBezTo>
                  <a:cubicBezTo>
                    <a:pt x="1968159" y="248354"/>
                    <a:pt x="1968020" y="245907"/>
                    <a:pt x="1967084" y="243724"/>
                  </a:cubicBezTo>
                  <a:cubicBezTo>
                    <a:pt x="1966266" y="241815"/>
                    <a:pt x="1964779" y="240267"/>
                    <a:pt x="1963627" y="238539"/>
                  </a:cubicBezTo>
                  <a:cubicBezTo>
                    <a:pt x="1964203" y="231049"/>
                    <a:pt x="1965796" y="223567"/>
                    <a:pt x="1965355" y="216068"/>
                  </a:cubicBezTo>
                  <a:cubicBezTo>
                    <a:pt x="1965204" y="213495"/>
                    <a:pt x="1964475" y="209153"/>
                    <a:pt x="1961898" y="209153"/>
                  </a:cubicBezTo>
                  <a:cubicBezTo>
                    <a:pt x="1958638" y="209153"/>
                    <a:pt x="1957748" y="214340"/>
                    <a:pt x="1954984" y="216068"/>
                  </a:cubicBezTo>
                  <a:cubicBezTo>
                    <a:pt x="1952970" y="217327"/>
                    <a:pt x="1950375" y="217220"/>
                    <a:pt x="1948070" y="217796"/>
                  </a:cubicBezTo>
                  <a:cubicBezTo>
                    <a:pt x="1944613" y="220677"/>
                    <a:pt x="1941443" y="223943"/>
                    <a:pt x="1937699" y="226439"/>
                  </a:cubicBezTo>
                  <a:cubicBezTo>
                    <a:pt x="1936183" y="227450"/>
                    <a:pt x="1934029" y="227156"/>
                    <a:pt x="1932513" y="228167"/>
                  </a:cubicBezTo>
                  <a:cubicBezTo>
                    <a:pt x="1919559" y="236802"/>
                    <a:pt x="1934475" y="230969"/>
                    <a:pt x="1922142" y="235082"/>
                  </a:cubicBezTo>
                  <a:cubicBezTo>
                    <a:pt x="1916956" y="233929"/>
                    <a:pt x="1911594" y="233392"/>
                    <a:pt x="1906585" y="231624"/>
                  </a:cubicBezTo>
                  <a:cubicBezTo>
                    <a:pt x="1867876" y="217961"/>
                    <a:pt x="1908248" y="228581"/>
                    <a:pt x="1885842" y="222982"/>
                  </a:cubicBezTo>
                  <a:cubicBezTo>
                    <a:pt x="1883537" y="223558"/>
                    <a:pt x="1880861" y="223329"/>
                    <a:pt x="1878928" y="224710"/>
                  </a:cubicBezTo>
                  <a:cubicBezTo>
                    <a:pt x="1862443" y="236485"/>
                    <a:pt x="1882932" y="228560"/>
                    <a:pt x="1868557" y="233353"/>
                  </a:cubicBezTo>
                  <a:cubicBezTo>
                    <a:pt x="1846986" y="226163"/>
                    <a:pt x="1869545" y="235082"/>
                    <a:pt x="1847814" y="221253"/>
                  </a:cubicBezTo>
                  <a:cubicBezTo>
                    <a:pt x="1845196" y="219587"/>
                    <a:pt x="1842007" y="219056"/>
                    <a:pt x="1839172" y="217796"/>
                  </a:cubicBezTo>
                  <a:cubicBezTo>
                    <a:pt x="1836817" y="216749"/>
                    <a:pt x="1834562" y="215491"/>
                    <a:pt x="1832257" y="214339"/>
                  </a:cubicBezTo>
                  <a:cubicBezTo>
                    <a:pt x="1818024" y="217898"/>
                    <a:pt x="1831336" y="212356"/>
                    <a:pt x="1823615" y="224710"/>
                  </a:cubicBezTo>
                  <a:cubicBezTo>
                    <a:pt x="1822088" y="227153"/>
                    <a:pt x="1819006" y="228167"/>
                    <a:pt x="1816701" y="229896"/>
                  </a:cubicBezTo>
                  <a:cubicBezTo>
                    <a:pt x="1798205" y="220649"/>
                    <a:pt x="1807994" y="223551"/>
                    <a:pt x="1787315" y="221253"/>
                  </a:cubicBezTo>
                  <a:cubicBezTo>
                    <a:pt x="1778096" y="221829"/>
                    <a:pt x="1768845" y="222015"/>
                    <a:pt x="1759659" y="222982"/>
                  </a:cubicBezTo>
                  <a:cubicBezTo>
                    <a:pt x="1757847" y="223173"/>
                    <a:pt x="1756295" y="224710"/>
                    <a:pt x="1754473" y="224710"/>
                  </a:cubicBezTo>
                  <a:cubicBezTo>
                    <a:pt x="1748109" y="224710"/>
                    <a:pt x="1741797" y="223558"/>
                    <a:pt x="1735459" y="222982"/>
                  </a:cubicBezTo>
                  <a:cubicBezTo>
                    <a:pt x="1733154" y="221253"/>
                    <a:pt x="1730220" y="220140"/>
                    <a:pt x="1728545" y="217796"/>
                  </a:cubicBezTo>
                  <a:cubicBezTo>
                    <a:pt x="1718398" y="203590"/>
                    <a:pt x="1735713" y="216814"/>
                    <a:pt x="1721631" y="207425"/>
                  </a:cubicBezTo>
                  <a:cubicBezTo>
                    <a:pt x="1711270" y="221239"/>
                    <a:pt x="1719277" y="208353"/>
                    <a:pt x="1712988" y="235082"/>
                  </a:cubicBezTo>
                  <a:cubicBezTo>
                    <a:pt x="1712007" y="239250"/>
                    <a:pt x="1708067" y="246652"/>
                    <a:pt x="1706074" y="250638"/>
                  </a:cubicBezTo>
                  <a:cubicBezTo>
                    <a:pt x="1701464" y="246029"/>
                    <a:pt x="1698076" y="239725"/>
                    <a:pt x="1692245" y="236810"/>
                  </a:cubicBezTo>
                  <a:cubicBezTo>
                    <a:pt x="1666139" y="223756"/>
                    <a:pt x="1681358" y="228920"/>
                    <a:pt x="1645575" y="224710"/>
                  </a:cubicBezTo>
                  <a:cubicBezTo>
                    <a:pt x="1643846" y="222405"/>
                    <a:pt x="1641818" y="220297"/>
                    <a:pt x="1640389" y="217796"/>
                  </a:cubicBezTo>
                  <a:cubicBezTo>
                    <a:pt x="1639485" y="216214"/>
                    <a:pt x="1639546" y="214203"/>
                    <a:pt x="1638661" y="212610"/>
                  </a:cubicBezTo>
                  <a:cubicBezTo>
                    <a:pt x="1635095" y="206192"/>
                    <a:pt x="1630200" y="198600"/>
                    <a:pt x="1623104" y="195325"/>
                  </a:cubicBezTo>
                  <a:cubicBezTo>
                    <a:pt x="1618790" y="193334"/>
                    <a:pt x="1613885" y="193020"/>
                    <a:pt x="1609275" y="191868"/>
                  </a:cubicBezTo>
                  <a:cubicBezTo>
                    <a:pt x="1606394" y="194749"/>
                    <a:pt x="1603892" y="198067"/>
                    <a:pt x="1600633" y="200511"/>
                  </a:cubicBezTo>
                  <a:cubicBezTo>
                    <a:pt x="1599175" y="201604"/>
                    <a:pt x="1597159" y="201616"/>
                    <a:pt x="1595447" y="202239"/>
                  </a:cubicBezTo>
                  <a:cubicBezTo>
                    <a:pt x="1577784" y="208662"/>
                    <a:pt x="1587172" y="206037"/>
                    <a:pt x="1574704" y="209153"/>
                  </a:cubicBezTo>
                  <a:cubicBezTo>
                    <a:pt x="1572976" y="210882"/>
                    <a:pt x="1571397" y="212774"/>
                    <a:pt x="1569519" y="214339"/>
                  </a:cubicBezTo>
                  <a:cubicBezTo>
                    <a:pt x="1567923" y="215669"/>
                    <a:pt x="1565663" y="216200"/>
                    <a:pt x="1564333" y="217796"/>
                  </a:cubicBezTo>
                  <a:cubicBezTo>
                    <a:pt x="1562683" y="219775"/>
                    <a:pt x="1562698" y="222888"/>
                    <a:pt x="1560876" y="224710"/>
                  </a:cubicBezTo>
                  <a:cubicBezTo>
                    <a:pt x="1555659" y="229928"/>
                    <a:pt x="1548809" y="233322"/>
                    <a:pt x="1543591" y="238539"/>
                  </a:cubicBezTo>
                  <a:lnTo>
                    <a:pt x="1536676" y="245453"/>
                  </a:lnTo>
                  <a:cubicBezTo>
                    <a:pt x="1536100" y="247181"/>
                    <a:pt x="1534948" y="248816"/>
                    <a:pt x="1534948" y="250638"/>
                  </a:cubicBezTo>
                  <a:cubicBezTo>
                    <a:pt x="1534948" y="252460"/>
                    <a:pt x="1535958" y="254149"/>
                    <a:pt x="1536676" y="255824"/>
                  </a:cubicBezTo>
                  <a:cubicBezTo>
                    <a:pt x="1543359" y="271420"/>
                    <a:pt x="1547226" y="263572"/>
                    <a:pt x="1510748" y="259281"/>
                  </a:cubicBezTo>
                  <a:cubicBezTo>
                    <a:pt x="1507291" y="256976"/>
                    <a:pt x="1504093" y="254225"/>
                    <a:pt x="1500377" y="252367"/>
                  </a:cubicBezTo>
                  <a:cubicBezTo>
                    <a:pt x="1492605" y="248481"/>
                    <a:pt x="1478678" y="251825"/>
                    <a:pt x="1472720" y="252367"/>
                  </a:cubicBezTo>
                  <a:lnTo>
                    <a:pt x="1455435" y="254096"/>
                  </a:lnTo>
                  <a:cubicBezTo>
                    <a:pt x="1452554" y="256401"/>
                    <a:pt x="1449401" y="258401"/>
                    <a:pt x="1446792" y="261010"/>
                  </a:cubicBezTo>
                  <a:cubicBezTo>
                    <a:pt x="1444755" y="263047"/>
                    <a:pt x="1443281" y="265580"/>
                    <a:pt x="1441606" y="267924"/>
                  </a:cubicBezTo>
                  <a:cubicBezTo>
                    <a:pt x="1440398" y="269615"/>
                    <a:pt x="1439771" y="271812"/>
                    <a:pt x="1438149" y="273110"/>
                  </a:cubicBezTo>
                  <a:cubicBezTo>
                    <a:pt x="1436726" y="274248"/>
                    <a:pt x="1434623" y="274084"/>
                    <a:pt x="1432964" y="274838"/>
                  </a:cubicBezTo>
                  <a:cubicBezTo>
                    <a:pt x="1428272" y="276970"/>
                    <a:pt x="1423745" y="279447"/>
                    <a:pt x="1419135" y="281752"/>
                  </a:cubicBezTo>
                  <a:cubicBezTo>
                    <a:pt x="1416830" y="280600"/>
                    <a:pt x="1414201" y="279945"/>
                    <a:pt x="1412221" y="278295"/>
                  </a:cubicBezTo>
                  <a:cubicBezTo>
                    <a:pt x="1410625" y="276965"/>
                    <a:pt x="1409795" y="274914"/>
                    <a:pt x="1408764" y="273110"/>
                  </a:cubicBezTo>
                  <a:cubicBezTo>
                    <a:pt x="1405957" y="268197"/>
                    <a:pt x="1403827" y="261877"/>
                    <a:pt x="1400121" y="257553"/>
                  </a:cubicBezTo>
                  <a:cubicBezTo>
                    <a:pt x="1398769" y="255976"/>
                    <a:pt x="1396532" y="255426"/>
                    <a:pt x="1394936" y="254096"/>
                  </a:cubicBezTo>
                  <a:cubicBezTo>
                    <a:pt x="1389944" y="249936"/>
                    <a:pt x="1389693" y="248824"/>
                    <a:pt x="1386293" y="243724"/>
                  </a:cubicBezTo>
                  <a:cubicBezTo>
                    <a:pt x="1385799" y="237796"/>
                    <a:pt x="1385950" y="219875"/>
                    <a:pt x="1381107" y="212610"/>
                  </a:cubicBezTo>
                  <a:cubicBezTo>
                    <a:pt x="1378395" y="208542"/>
                    <a:pt x="1374741" y="205043"/>
                    <a:pt x="1370736" y="202239"/>
                  </a:cubicBezTo>
                  <a:cubicBezTo>
                    <a:pt x="1368790" y="200877"/>
                    <a:pt x="1366127" y="201087"/>
                    <a:pt x="1363822" y="200511"/>
                  </a:cubicBezTo>
                  <a:cubicBezTo>
                    <a:pt x="1362093" y="198206"/>
                    <a:pt x="1360163" y="196039"/>
                    <a:pt x="1358636" y="193596"/>
                  </a:cubicBezTo>
                  <a:cubicBezTo>
                    <a:pt x="1352482" y="183749"/>
                    <a:pt x="1358063" y="188798"/>
                    <a:pt x="1349994" y="178040"/>
                  </a:cubicBezTo>
                  <a:cubicBezTo>
                    <a:pt x="1346899" y="173913"/>
                    <a:pt x="1341899" y="170672"/>
                    <a:pt x="1337894" y="167668"/>
                  </a:cubicBezTo>
                  <a:cubicBezTo>
                    <a:pt x="1324642" y="168244"/>
                    <a:pt x="1311195" y="167065"/>
                    <a:pt x="1298137" y="169397"/>
                  </a:cubicBezTo>
                  <a:cubicBezTo>
                    <a:pt x="1291678" y="170551"/>
                    <a:pt x="1290422" y="178240"/>
                    <a:pt x="1284309" y="179768"/>
                  </a:cubicBezTo>
                  <a:cubicBezTo>
                    <a:pt x="1279247" y="181034"/>
                    <a:pt x="1273938" y="180921"/>
                    <a:pt x="1268752" y="181497"/>
                  </a:cubicBezTo>
                  <a:cubicBezTo>
                    <a:pt x="1262990" y="179192"/>
                    <a:pt x="1256729" y="177872"/>
                    <a:pt x="1251467" y="174583"/>
                  </a:cubicBezTo>
                  <a:cubicBezTo>
                    <a:pt x="1247321" y="171992"/>
                    <a:pt x="1245733" y="165757"/>
                    <a:pt x="1241095" y="164211"/>
                  </a:cubicBezTo>
                  <a:lnTo>
                    <a:pt x="1230724" y="160754"/>
                  </a:lnTo>
                  <a:cubicBezTo>
                    <a:pt x="1227620" y="158271"/>
                    <a:pt x="1217548" y="150736"/>
                    <a:pt x="1215167" y="146926"/>
                  </a:cubicBezTo>
                  <a:cubicBezTo>
                    <a:pt x="1213908" y="144912"/>
                    <a:pt x="1214593" y="142089"/>
                    <a:pt x="1213439" y="140012"/>
                  </a:cubicBezTo>
                  <a:cubicBezTo>
                    <a:pt x="1211647" y="136787"/>
                    <a:pt x="1208829" y="134250"/>
                    <a:pt x="1206524" y="131369"/>
                  </a:cubicBezTo>
                  <a:cubicBezTo>
                    <a:pt x="1205948" y="128488"/>
                    <a:pt x="1206254" y="125277"/>
                    <a:pt x="1204796" y="122726"/>
                  </a:cubicBezTo>
                  <a:cubicBezTo>
                    <a:pt x="1202499" y="118706"/>
                    <a:pt x="1194106" y="118168"/>
                    <a:pt x="1190968" y="117541"/>
                  </a:cubicBezTo>
                  <a:cubicBezTo>
                    <a:pt x="1193694" y="113905"/>
                    <a:pt x="1197446" y="108221"/>
                    <a:pt x="1201339" y="105441"/>
                  </a:cubicBezTo>
                  <a:cubicBezTo>
                    <a:pt x="1203436" y="103943"/>
                    <a:pt x="1205948" y="103136"/>
                    <a:pt x="1208253" y="101984"/>
                  </a:cubicBezTo>
                  <a:cubicBezTo>
                    <a:pt x="1209982" y="99679"/>
                    <a:pt x="1211564" y="97257"/>
                    <a:pt x="1213439" y="95069"/>
                  </a:cubicBezTo>
                  <a:cubicBezTo>
                    <a:pt x="1215030" y="93213"/>
                    <a:pt x="1217851" y="92203"/>
                    <a:pt x="1218624" y="89884"/>
                  </a:cubicBezTo>
                  <a:cubicBezTo>
                    <a:pt x="1219200" y="88155"/>
                    <a:pt x="1218379" y="85757"/>
                    <a:pt x="1216896" y="84698"/>
                  </a:cubicBezTo>
                  <a:cubicBezTo>
                    <a:pt x="1213931" y="82580"/>
                    <a:pt x="1209949" y="82486"/>
                    <a:pt x="1206524" y="81241"/>
                  </a:cubicBezTo>
                  <a:cubicBezTo>
                    <a:pt x="1192199" y="76032"/>
                    <a:pt x="1203554" y="79202"/>
                    <a:pt x="1190968" y="76055"/>
                  </a:cubicBezTo>
                  <a:cubicBezTo>
                    <a:pt x="1170803" y="59254"/>
                    <a:pt x="1188148" y="75056"/>
                    <a:pt x="1175411" y="60499"/>
                  </a:cubicBezTo>
                  <a:cubicBezTo>
                    <a:pt x="1173264" y="58046"/>
                    <a:pt x="1170452" y="56192"/>
                    <a:pt x="1168496" y="53584"/>
                  </a:cubicBezTo>
                  <a:cubicBezTo>
                    <a:pt x="1166950" y="51523"/>
                    <a:pt x="1166405" y="48855"/>
                    <a:pt x="1165039" y="46670"/>
                  </a:cubicBezTo>
                  <a:cubicBezTo>
                    <a:pt x="1163512" y="44227"/>
                    <a:pt x="1161528" y="42100"/>
                    <a:pt x="1159854" y="39756"/>
                  </a:cubicBezTo>
                  <a:cubicBezTo>
                    <a:pt x="1157399" y="36319"/>
                    <a:pt x="1154038" y="30483"/>
                    <a:pt x="1151211" y="27656"/>
                  </a:cubicBezTo>
                  <a:cubicBezTo>
                    <a:pt x="1149742" y="26187"/>
                    <a:pt x="1147754" y="25351"/>
                    <a:pt x="1146025" y="24199"/>
                  </a:cubicBezTo>
                  <a:cubicBezTo>
                    <a:pt x="1144297" y="21894"/>
                    <a:pt x="1142877" y="19322"/>
                    <a:pt x="1140840" y="17285"/>
                  </a:cubicBezTo>
                  <a:cubicBezTo>
                    <a:pt x="1139322" y="15767"/>
                    <a:pt x="1126984" y="5601"/>
                    <a:pt x="1123554" y="3457"/>
                  </a:cubicBezTo>
                  <a:cubicBezTo>
                    <a:pt x="1121369" y="2091"/>
                    <a:pt x="1118945" y="1152"/>
                    <a:pt x="1116640" y="0"/>
                  </a:cubicBezTo>
                  <a:cubicBezTo>
                    <a:pt x="1112031" y="576"/>
                    <a:pt x="1107382" y="897"/>
                    <a:pt x="1102812" y="1728"/>
                  </a:cubicBezTo>
                  <a:cubicBezTo>
                    <a:pt x="1101019" y="2054"/>
                    <a:pt x="1099378" y="2956"/>
                    <a:pt x="1097626" y="3457"/>
                  </a:cubicBezTo>
                  <a:cubicBezTo>
                    <a:pt x="1095342" y="4110"/>
                    <a:pt x="1093017" y="4609"/>
                    <a:pt x="1090712" y="5185"/>
                  </a:cubicBezTo>
                  <a:cubicBezTo>
                    <a:pt x="1084867" y="11030"/>
                    <a:pt x="1081421" y="15569"/>
                    <a:pt x="1071698" y="17285"/>
                  </a:cubicBezTo>
                  <a:cubicBezTo>
                    <a:pt x="1066560" y="18192"/>
                    <a:pt x="1061327" y="16132"/>
                    <a:pt x="1056141" y="15556"/>
                  </a:cubicBezTo>
                  <a:cubicBezTo>
                    <a:pt x="1054412" y="16709"/>
                    <a:pt x="1052424" y="17545"/>
                    <a:pt x="1050955" y="19014"/>
                  </a:cubicBezTo>
                  <a:cubicBezTo>
                    <a:pt x="1039432" y="30537"/>
                    <a:pt x="1056140" y="18437"/>
                    <a:pt x="1042313" y="27656"/>
                  </a:cubicBezTo>
                  <a:cubicBezTo>
                    <a:pt x="1035772" y="37468"/>
                    <a:pt x="1042462" y="29291"/>
                    <a:pt x="1028484" y="38027"/>
                  </a:cubicBezTo>
                  <a:cubicBezTo>
                    <a:pt x="1027102" y="38891"/>
                    <a:pt x="1026353" y="40538"/>
                    <a:pt x="1025027" y="41485"/>
                  </a:cubicBezTo>
                  <a:cubicBezTo>
                    <a:pt x="1022293" y="43438"/>
                    <a:pt x="1019119" y="44718"/>
                    <a:pt x="1016385" y="46670"/>
                  </a:cubicBezTo>
                  <a:cubicBezTo>
                    <a:pt x="1015059" y="47617"/>
                    <a:pt x="1014309" y="49263"/>
                    <a:pt x="1012927" y="50127"/>
                  </a:cubicBezTo>
                  <a:cubicBezTo>
                    <a:pt x="1011864" y="50792"/>
                    <a:pt x="1001068" y="56606"/>
                    <a:pt x="997371" y="57041"/>
                  </a:cubicBezTo>
                  <a:cubicBezTo>
                    <a:pt x="989339" y="57986"/>
                    <a:pt x="981238" y="58194"/>
                    <a:pt x="973171" y="58770"/>
                  </a:cubicBezTo>
                  <a:cubicBezTo>
                    <a:pt x="971442" y="59922"/>
                    <a:pt x="969193" y="60536"/>
                    <a:pt x="967985" y="62227"/>
                  </a:cubicBezTo>
                  <a:cubicBezTo>
                    <a:pt x="962655" y="69689"/>
                    <a:pt x="964660" y="71529"/>
                    <a:pt x="966257" y="79513"/>
                  </a:cubicBezTo>
                  <a:cubicBezTo>
                    <a:pt x="965105" y="87579"/>
                    <a:pt x="964071" y="95663"/>
                    <a:pt x="962800" y="103712"/>
                  </a:cubicBezTo>
                  <a:cubicBezTo>
                    <a:pt x="962342" y="106614"/>
                    <a:pt x="963915" y="111618"/>
                    <a:pt x="961071" y="112355"/>
                  </a:cubicBezTo>
                  <a:cubicBezTo>
                    <a:pt x="946527" y="116126"/>
                    <a:pt x="931110" y="114660"/>
                    <a:pt x="916129" y="115812"/>
                  </a:cubicBezTo>
                  <a:cubicBezTo>
                    <a:pt x="914400" y="116964"/>
                    <a:pt x="912801" y="118340"/>
                    <a:pt x="910943" y="119269"/>
                  </a:cubicBezTo>
                  <a:cubicBezTo>
                    <a:pt x="909313" y="120084"/>
                    <a:pt x="907503" y="120474"/>
                    <a:pt x="905758" y="120998"/>
                  </a:cubicBezTo>
                  <a:cubicBezTo>
                    <a:pt x="901740" y="122203"/>
                    <a:pt x="897676" y="123250"/>
                    <a:pt x="893658" y="124455"/>
                  </a:cubicBezTo>
                  <a:cubicBezTo>
                    <a:pt x="891913" y="124979"/>
                    <a:pt x="886650" y="126183"/>
                    <a:pt x="888472" y="126183"/>
                  </a:cubicBezTo>
                  <a:cubicBezTo>
                    <a:pt x="890848" y="126183"/>
                    <a:pt x="893081" y="125031"/>
                    <a:pt x="895386" y="124455"/>
                  </a:cubicBezTo>
                  <a:cubicBezTo>
                    <a:pt x="898267" y="121574"/>
                    <a:pt x="900000" y="116416"/>
                    <a:pt x="904029" y="115812"/>
                  </a:cubicBezTo>
                  <a:cubicBezTo>
                    <a:pt x="966832" y="106391"/>
                    <a:pt x="956462" y="71158"/>
                    <a:pt x="966257" y="63956"/>
                  </a:cubicBezTo>
                  <a:close/>
                </a:path>
              </a:pathLst>
            </a:custGeom>
            <a:solidFill>
              <a:schemeClr val="bg1">
                <a:lumMod val="85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dirty="0"/>
            </a:p>
          </p:txBody>
        </p:sp>
        <p:sp>
          <p:nvSpPr>
            <p:cNvPr id="302" name="Forma libre: forma 10">
              <a:extLst>
                <a:ext uri="{FF2B5EF4-FFF2-40B4-BE49-F238E27FC236}">
                  <a16:creationId xmlns:a16="http://schemas.microsoft.com/office/drawing/2014/main" id="{5AE41AFA-14E4-4120-BE6C-033FE56178D0}"/>
                </a:ext>
              </a:extLst>
            </p:cNvPr>
            <p:cNvSpPr/>
            <p:nvPr/>
          </p:nvSpPr>
          <p:spPr>
            <a:xfrm>
              <a:off x="8435441" y="2809692"/>
              <a:ext cx="976589" cy="927266"/>
            </a:xfrm>
            <a:custGeom>
              <a:avLst/>
              <a:gdLst>
                <a:gd name="connsiteX0" fmla="*/ 707763 w 976589"/>
                <a:gd name="connsiteY0" fmla="*/ 118756 h 927266"/>
                <a:gd name="connsiteX1" fmla="*/ 701876 w 976589"/>
                <a:gd name="connsiteY1" fmla="*/ 106982 h 927266"/>
                <a:gd name="connsiteX2" fmla="*/ 694027 w 976589"/>
                <a:gd name="connsiteY2" fmla="*/ 99133 h 927266"/>
                <a:gd name="connsiteX3" fmla="*/ 686179 w 976589"/>
                <a:gd name="connsiteY3" fmla="*/ 89322 h 927266"/>
                <a:gd name="connsiteX4" fmla="*/ 682254 w 976589"/>
                <a:gd name="connsiteY4" fmla="*/ 81473 h 927266"/>
                <a:gd name="connsiteX5" fmla="*/ 678330 w 976589"/>
                <a:gd name="connsiteY5" fmla="*/ 75586 h 927266"/>
                <a:gd name="connsiteX6" fmla="*/ 670481 w 976589"/>
                <a:gd name="connsiteY6" fmla="*/ 63813 h 927266"/>
                <a:gd name="connsiteX7" fmla="*/ 674405 w 976589"/>
                <a:gd name="connsiteY7" fmla="*/ 34380 h 927266"/>
                <a:gd name="connsiteX8" fmla="*/ 672443 w 976589"/>
                <a:gd name="connsiteY8" fmla="*/ 20644 h 927266"/>
                <a:gd name="connsiteX9" fmla="*/ 666556 w 976589"/>
                <a:gd name="connsiteY9" fmla="*/ 26531 h 927266"/>
                <a:gd name="connsiteX10" fmla="*/ 660670 w 976589"/>
                <a:gd name="connsiteY10" fmla="*/ 30455 h 927266"/>
                <a:gd name="connsiteX11" fmla="*/ 650858 w 976589"/>
                <a:gd name="connsiteY11" fmla="*/ 28493 h 927266"/>
                <a:gd name="connsiteX12" fmla="*/ 639085 w 976589"/>
                <a:gd name="connsiteY12" fmla="*/ 18682 h 927266"/>
                <a:gd name="connsiteX13" fmla="*/ 627312 w 976589"/>
                <a:gd name="connsiteY13" fmla="*/ 12795 h 927266"/>
                <a:gd name="connsiteX14" fmla="*/ 611614 w 976589"/>
                <a:gd name="connsiteY14" fmla="*/ 4946 h 927266"/>
                <a:gd name="connsiteX15" fmla="*/ 562558 w 976589"/>
                <a:gd name="connsiteY15" fmla="*/ 1022 h 927266"/>
                <a:gd name="connsiteX16" fmla="*/ 539011 w 976589"/>
                <a:gd name="connsiteY16" fmla="*/ 2984 h 927266"/>
                <a:gd name="connsiteX17" fmla="*/ 533124 w 976589"/>
                <a:gd name="connsiteY17" fmla="*/ 32417 h 927266"/>
                <a:gd name="connsiteX18" fmla="*/ 527238 w 976589"/>
                <a:gd name="connsiteY18" fmla="*/ 38304 h 927266"/>
                <a:gd name="connsiteX19" fmla="*/ 515464 w 976589"/>
                <a:gd name="connsiteY19" fmla="*/ 28493 h 927266"/>
                <a:gd name="connsiteX20" fmla="*/ 509578 w 976589"/>
                <a:gd name="connsiteY20" fmla="*/ 16719 h 927266"/>
                <a:gd name="connsiteX21" fmla="*/ 505653 w 976589"/>
                <a:gd name="connsiteY21" fmla="*/ 4946 h 927266"/>
                <a:gd name="connsiteX22" fmla="*/ 444824 w 976589"/>
                <a:gd name="connsiteY22" fmla="*/ 12795 h 927266"/>
                <a:gd name="connsiteX23" fmla="*/ 433051 w 976589"/>
                <a:gd name="connsiteY23" fmla="*/ 18682 h 927266"/>
                <a:gd name="connsiteX24" fmla="*/ 425202 w 976589"/>
                <a:gd name="connsiteY24" fmla="*/ 6908 h 927266"/>
                <a:gd name="connsiteX25" fmla="*/ 417353 w 976589"/>
                <a:gd name="connsiteY25" fmla="*/ 4946 h 927266"/>
                <a:gd name="connsiteX26" fmla="*/ 405579 w 976589"/>
                <a:gd name="connsiteY26" fmla="*/ 6908 h 927266"/>
                <a:gd name="connsiteX27" fmla="*/ 401655 w 976589"/>
                <a:gd name="connsiteY27" fmla="*/ 14757 h 927266"/>
                <a:gd name="connsiteX28" fmla="*/ 387919 w 976589"/>
                <a:gd name="connsiteY28" fmla="*/ 12795 h 927266"/>
                <a:gd name="connsiteX29" fmla="*/ 374184 w 976589"/>
                <a:gd name="connsiteY29" fmla="*/ 6908 h 927266"/>
                <a:gd name="connsiteX30" fmla="*/ 368297 w 976589"/>
                <a:gd name="connsiteY30" fmla="*/ 10833 h 927266"/>
                <a:gd name="connsiteX31" fmla="*/ 362410 w 976589"/>
                <a:gd name="connsiteY31" fmla="*/ 22606 h 927266"/>
                <a:gd name="connsiteX32" fmla="*/ 358486 w 976589"/>
                <a:gd name="connsiteY32" fmla="*/ 30455 h 927266"/>
                <a:gd name="connsiteX33" fmla="*/ 352599 w 976589"/>
                <a:gd name="connsiteY33" fmla="*/ 34380 h 927266"/>
                <a:gd name="connsiteX34" fmla="*/ 344750 w 976589"/>
                <a:gd name="connsiteY34" fmla="*/ 40266 h 927266"/>
                <a:gd name="connsiteX35" fmla="*/ 334939 w 976589"/>
                <a:gd name="connsiteY35" fmla="*/ 50077 h 927266"/>
                <a:gd name="connsiteX36" fmla="*/ 332977 w 976589"/>
                <a:gd name="connsiteY36" fmla="*/ 55964 h 927266"/>
                <a:gd name="connsiteX37" fmla="*/ 329052 w 976589"/>
                <a:gd name="connsiteY37" fmla="*/ 77549 h 927266"/>
                <a:gd name="connsiteX38" fmla="*/ 321203 w 976589"/>
                <a:gd name="connsiteY38" fmla="*/ 81473 h 927266"/>
                <a:gd name="connsiteX39" fmla="*/ 332977 w 976589"/>
                <a:gd name="connsiteY39" fmla="*/ 83435 h 927266"/>
                <a:gd name="connsiteX40" fmla="*/ 321203 w 976589"/>
                <a:gd name="connsiteY40" fmla="*/ 87360 h 927266"/>
                <a:gd name="connsiteX41" fmla="*/ 291770 w 976589"/>
                <a:gd name="connsiteY41" fmla="*/ 99133 h 927266"/>
                <a:gd name="connsiteX42" fmla="*/ 289808 w 976589"/>
                <a:gd name="connsiteY42" fmla="*/ 91284 h 927266"/>
                <a:gd name="connsiteX43" fmla="*/ 297657 w 976589"/>
                <a:gd name="connsiteY43" fmla="*/ 85398 h 927266"/>
                <a:gd name="connsiteX44" fmla="*/ 278034 w 976589"/>
                <a:gd name="connsiteY44" fmla="*/ 87360 h 927266"/>
                <a:gd name="connsiteX45" fmla="*/ 274110 w 976589"/>
                <a:gd name="connsiteY45" fmla="*/ 95209 h 927266"/>
                <a:gd name="connsiteX46" fmla="*/ 268223 w 976589"/>
                <a:gd name="connsiteY46" fmla="*/ 108944 h 927266"/>
                <a:gd name="connsiteX47" fmla="*/ 250563 w 976589"/>
                <a:gd name="connsiteY47" fmla="*/ 124642 h 927266"/>
                <a:gd name="connsiteX48" fmla="*/ 248601 w 976589"/>
                <a:gd name="connsiteY48" fmla="*/ 140340 h 927266"/>
                <a:gd name="connsiteX49" fmla="*/ 242714 w 976589"/>
                <a:gd name="connsiteY49" fmla="*/ 150151 h 927266"/>
                <a:gd name="connsiteX50" fmla="*/ 240752 w 976589"/>
                <a:gd name="connsiteY50" fmla="*/ 156038 h 927266"/>
                <a:gd name="connsiteX51" fmla="*/ 238790 w 976589"/>
                <a:gd name="connsiteY51" fmla="*/ 185471 h 927266"/>
                <a:gd name="connsiteX52" fmla="*/ 246639 w 976589"/>
                <a:gd name="connsiteY52" fmla="*/ 187434 h 927266"/>
                <a:gd name="connsiteX53" fmla="*/ 260374 w 976589"/>
                <a:gd name="connsiteY53" fmla="*/ 191358 h 927266"/>
                <a:gd name="connsiteX54" fmla="*/ 258412 w 976589"/>
                <a:gd name="connsiteY54" fmla="*/ 197245 h 927266"/>
                <a:gd name="connsiteX55" fmla="*/ 254488 w 976589"/>
                <a:gd name="connsiteY55" fmla="*/ 203131 h 927266"/>
                <a:gd name="connsiteX56" fmla="*/ 252525 w 976589"/>
                <a:gd name="connsiteY56" fmla="*/ 216867 h 927266"/>
                <a:gd name="connsiteX57" fmla="*/ 236827 w 976589"/>
                <a:gd name="connsiteY57" fmla="*/ 226678 h 927266"/>
                <a:gd name="connsiteX58" fmla="*/ 234865 w 976589"/>
                <a:gd name="connsiteY58" fmla="*/ 242376 h 927266"/>
                <a:gd name="connsiteX59" fmla="*/ 221130 w 976589"/>
                <a:gd name="connsiteY59" fmla="*/ 258074 h 927266"/>
                <a:gd name="connsiteX60" fmla="*/ 215243 w 976589"/>
                <a:gd name="connsiteY60" fmla="*/ 265923 h 927266"/>
                <a:gd name="connsiteX61" fmla="*/ 193658 w 976589"/>
                <a:gd name="connsiteY61" fmla="*/ 265923 h 927266"/>
                <a:gd name="connsiteX62" fmla="*/ 189734 w 976589"/>
                <a:gd name="connsiteY62" fmla="*/ 254150 h 927266"/>
                <a:gd name="connsiteX63" fmla="*/ 191696 w 976589"/>
                <a:gd name="connsiteY63" fmla="*/ 261998 h 927266"/>
                <a:gd name="connsiteX64" fmla="*/ 193658 w 976589"/>
                <a:gd name="connsiteY64" fmla="*/ 271810 h 927266"/>
                <a:gd name="connsiteX65" fmla="*/ 197583 w 976589"/>
                <a:gd name="connsiteY65" fmla="*/ 283583 h 927266"/>
                <a:gd name="connsiteX66" fmla="*/ 201507 w 976589"/>
                <a:gd name="connsiteY66" fmla="*/ 297319 h 927266"/>
                <a:gd name="connsiteX67" fmla="*/ 203470 w 976589"/>
                <a:gd name="connsiteY67" fmla="*/ 318903 h 927266"/>
                <a:gd name="connsiteX68" fmla="*/ 205432 w 976589"/>
                <a:gd name="connsiteY68" fmla="*/ 324790 h 927266"/>
                <a:gd name="connsiteX69" fmla="*/ 213281 w 976589"/>
                <a:gd name="connsiteY69" fmla="*/ 326752 h 927266"/>
                <a:gd name="connsiteX70" fmla="*/ 215243 w 976589"/>
                <a:gd name="connsiteY70" fmla="*/ 332639 h 927266"/>
                <a:gd name="connsiteX71" fmla="*/ 201507 w 976589"/>
                <a:gd name="connsiteY71" fmla="*/ 354223 h 927266"/>
                <a:gd name="connsiteX72" fmla="*/ 197583 w 976589"/>
                <a:gd name="connsiteY72" fmla="*/ 360110 h 927266"/>
                <a:gd name="connsiteX73" fmla="*/ 193658 w 976589"/>
                <a:gd name="connsiteY73" fmla="*/ 364034 h 927266"/>
                <a:gd name="connsiteX74" fmla="*/ 197583 w 976589"/>
                <a:gd name="connsiteY74" fmla="*/ 385619 h 927266"/>
                <a:gd name="connsiteX75" fmla="*/ 219167 w 976589"/>
                <a:gd name="connsiteY75" fmla="*/ 387581 h 927266"/>
                <a:gd name="connsiteX76" fmla="*/ 225054 w 976589"/>
                <a:gd name="connsiteY76" fmla="*/ 393468 h 927266"/>
                <a:gd name="connsiteX77" fmla="*/ 221130 w 976589"/>
                <a:gd name="connsiteY77" fmla="*/ 401317 h 927266"/>
                <a:gd name="connsiteX78" fmla="*/ 219167 w 976589"/>
                <a:gd name="connsiteY78" fmla="*/ 411128 h 927266"/>
                <a:gd name="connsiteX79" fmla="*/ 213281 w 976589"/>
                <a:gd name="connsiteY79" fmla="*/ 413090 h 927266"/>
                <a:gd name="connsiteX80" fmla="*/ 193658 w 976589"/>
                <a:gd name="connsiteY80" fmla="*/ 409166 h 927266"/>
                <a:gd name="connsiteX81" fmla="*/ 185809 w 976589"/>
                <a:gd name="connsiteY81" fmla="*/ 403279 h 927266"/>
                <a:gd name="connsiteX82" fmla="*/ 177961 w 976589"/>
                <a:gd name="connsiteY82" fmla="*/ 407204 h 927266"/>
                <a:gd name="connsiteX83" fmla="*/ 174036 w 976589"/>
                <a:gd name="connsiteY83" fmla="*/ 415053 h 927266"/>
                <a:gd name="connsiteX84" fmla="*/ 162263 w 976589"/>
                <a:gd name="connsiteY84" fmla="*/ 418977 h 927266"/>
                <a:gd name="connsiteX85" fmla="*/ 136754 w 976589"/>
                <a:gd name="connsiteY85" fmla="*/ 434675 h 927266"/>
                <a:gd name="connsiteX86" fmla="*/ 128905 w 976589"/>
                <a:gd name="connsiteY86" fmla="*/ 436637 h 927266"/>
                <a:gd name="connsiteX87" fmla="*/ 126942 w 976589"/>
                <a:gd name="connsiteY87" fmla="*/ 442524 h 927266"/>
                <a:gd name="connsiteX88" fmla="*/ 124980 w 976589"/>
                <a:gd name="connsiteY88" fmla="*/ 466071 h 927266"/>
                <a:gd name="connsiteX89" fmla="*/ 119094 w 976589"/>
                <a:gd name="connsiteY89" fmla="*/ 468033 h 927266"/>
                <a:gd name="connsiteX90" fmla="*/ 115169 w 976589"/>
                <a:gd name="connsiteY90" fmla="*/ 475882 h 927266"/>
                <a:gd name="connsiteX91" fmla="*/ 111245 w 976589"/>
                <a:gd name="connsiteY91" fmla="*/ 485693 h 927266"/>
                <a:gd name="connsiteX92" fmla="*/ 91622 w 976589"/>
                <a:gd name="connsiteY92" fmla="*/ 491580 h 927266"/>
                <a:gd name="connsiteX93" fmla="*/ 20982 w 976589"/>
                <a:gd name="connsiteY93" fmla="*/ 497466 h 927266"/>
                <a:gd name="connsiteX94" fmla="*/ 17058 w 976589"/>
                <a:gd name="connsiteY94" fmla="*/ 501391 h 927266"/>
                <a:gd name="connsiteX95" fmla="*/ 7246 w 976589"/>
                <a:gd name="connsiteY95" fmla="*/ 491580 h 927266"/>
                <a:gd name="connsiteX96" fmla="*/ 3322 w 976589"/>
                <a:gd name="connsiteY96" fmla="*/ 511202 h 927266"/>
                <a:gd name="connsiteX97" fmla="*/ 5284 w 976589"/>
                <a:gd name="connsiteY97" fmla="*/ 521013 h 927266"/>
                <a:gd name="connsiteX98" fmla="*/ 9209 w 976589"/>
                <a:gd name="connsiteY98" fmla="*/ 524938 h 927266"/>
                <a:gd name="connsiteX99" fmla="*/ 13133 w 976589"/>
                <a:gd name="connsiteY99" fmla="*/ 530824 h 927266"/>
                <a:gd name="connsiteX100" fmla="*/ 15095 w 976589"/>
                <a:gd name="connsiteY100" fmla="*/ 536711 h 927266"/>
                <a:gd name="connsiteX101" fmla="*/ 24906 w 976589"/>
                <a:gd name="connsiteY101" fmla="*/ 556333 h 927266"/>
                <a:gd name="connsiteX102" fmla="*/ 26869 w 976589"/>
                <a:gd name="connsiteY102" fmla="*/ 562220 h 927266"/>
                <a:gd name="connsiteX103" fmla="*/ 30793 w 976589"/>
                <a:gd name="connsiteY103" fmla="*/ 568107 h 927266"/>
                <a:gd name="connsiteX104" fmla="*/ 34718 w 976589"/>
                <a:gd name="connsiteY104" fmla="*/ 581842 h 927266"/>
                <a:gd name="connsiteX105" fmla="*/ 38642 w 976589"/>
                <a:gd name="connsiteY105" fmla="*/ 589691 h 927266"/>
                <a:gd name="connsiteX106" fmla="*/ 42567 w 976589"/>
                <a:gd name="connsiteY106" fmla="*/ 599502 h 927266"/>
                <a:gd name="connsiteX107" fmla="*/ 46491 w 976589"/>
                <a:gd name="connsiteY107" fmla="*/ 603427 h 927266"/>
                <a:gd name="connsiteX108" fmla="*/ 52378 w 976589"/>
                <a:gd name="connsiteY108" fmla="*/ 615200 h 927266"/>
                <a:gd name="connsiteX109" fmla="*/ 54340 w 976589"/>
                <a:gd name="connsiteY109" fmla="*/ 625011 h 927266"/>
                <a:gd name="connsiteX110" fmla="*/ 66113 w 976589"/>
                <a:gd name="connsiteY110" fmla="*/ 632860 h 927266"/>
                <a:gd name="connsiteX111" fmla="*/ 72000 w 976589"/>
                <a:gd name="connsiteY111" fmla="*/ 642671 h 927266"/>
                <a:gd name="connsiteX112" fmla="*/ 75924 w 976589"/>
                <a:gd name="connsiteY112" fmla="*/ 646596 h 927266"/>
                <a:gd name="connsiteX113" fmla="*/ 77887 w 976589"/>
                <a:gd name="connsiteY113" fmla="*/ 658369 h 927266"/>
                <a:gd name="connsiteX114" fmla="*/ 81811 w 976589"/>
                <a:gd name="connsiteY114" fmla="*/ 666218 h 927266"/>
                <a:gd name="connsiteX115" fmla="*/ 77887 w 976589"/>
                <a:gd name="connsiteY115" fmla="*/ 705463 h 927266"/>
                <a:gd name="connsiteX116" fmla="*/ 60227 w 976589"/>
                <a:gd name="connsiteY116" fmla="*/ 721161 h 927266"/>
                <a:gd name="connsiteX117" fmla="*/ 54340 w 976589"/>
                <a:gd name="connsiteY117" fmla="*/ 729010 h 927266"/>
                <a:gd name="connsiteX118" fmla="*/ 50415 w 976589"/>
                <a:gd name="connsiteY118" fmla="*/ 732934 h 927266"/>
                <a:gd name="connsiteX119" fmla="*/ 46491 w 976589"/>
                <a:gd name="connsiteY119" fmla="*/ 738821 h 927266"/>
                <a:gd name="connsiteX120" fmla="*/ 38642 w 976589"/>
                <a:gd name="connsiteY120" fmla="*/ 744707 h 927266"/>
                <a:gd name="connsiteX121" fmla="*/ 28831 w 976589"/>
                <a:gd name="connsiteY121" fmla="*/ 758443 h 927266"/>
                <a:gd name="connsiteX122" fmla="*/ 22944 w 976589"/>
                <a:gd name="connsiteY122" fmla="*/ 762368 h 927266"/>
                <a:gd name="connsiteX123" fmla="*/ 19020 w 976589"/>
                <a:gd name="connsiteY123" fmla="*/ 770216 h 927266"/>
                <a:gd name="connsiteX124" fmla="*/ 15095 w 976589"/>
                <a:gd name="connsiteY124" fmla="*/ 776103 h 927266"/>
                <a:gd name="connsiteX125" fmla="*/ 13133 w 976589"/>
                <a:gd name="connsiteY125" fmla="*/ 783952 h 927266"/>
                <a:gd name="connsiteX126" fmla="*/ 15095 w 976589"/>
                <a:gd name="connsiteY126" fmla="*/ 805537 h 927266"/>
                <a:gd name="connsiteX127" fmla="*/ 26869 w 976589"/>
                <a:gd name="connsiteY127" fmla="*/ 811423 h 927266"/>
                <a:gd name="connsiteX128" fmla="*/ 52378 w 976589"/>
                <a:gd name="connsiteY128" fmla="*/ 813386 h 927266"/>
                <a:gd name="connsiteX129" fmla="*/ 58264 w 976589"/>
                <a:gd name="connsiteY129" fmla="*/ 819272 h 927266"/>
                <a:gd name="connsiteX130" fmla="*/ 66113 w 976589"/>
                <a:gd name="connsiteY130" fmla="*/ 821234 h 927266"/>
                <a:gd name="connsiteX131" fmla="*/ 73962 w 976589"/>
                <a:gd name="connsiteY131" fmla="*/ 833008 h 927266"/>
                <a:gd name="connsiteX132" fmla="*/ 72000 w 976589"/>
                <a:gd name="connsiteY132" fmla="*/ 844781 h 927266"/>
                <a:gd name="connsiteX133" fmla="*/ 70038 w 976589"/>
                <a:gd name="connsiteY133" fmla="*/ 850668 h 927266"/>
                <a:gd name="connsiteX134" fmla="*/ 73962 w 976589"/>
                <a:gd name="connsiteY134" fmla="*/ 895799 h 927266"/>
                <a:gd name="connsiteX135" fmla="*/ 75924 w 976589"/>
                <a:gd name="connsiteY135" fmla="*/ 909535 h 927266"/>
                <a:gd name="connsiteX136" fmla="*/ 85736 w 976589"/>
                <a:gd name="connsiteY136" fmla="*/ 921308 h 927266"/>
                <a:gd name="connsiteX137" fmla="*/ 91622 w 976589"/>
                <a:gd name="connsiteY137" fmla="*/ 909535 h 927266"/>
                <a:gd name="connsiteX138" fmla="*/ 101433 w 976589"/>
                <a:gd name="connsiteY138" fmla="*/ 907573 h 927266"/>
                <a:gd name="connsiteX139" fmla="*/ 119094 w 976589"/>
                <a:gd name="connsiteY139" fmla="*/ 909535 h 927266"/>
                <a:gd name="connsiteX140" fmla="*/ 124980 w 976589"/>
                <a:gd name="connsiteY140" fmla="*/ 911497 h 927266"/>
                <a:gd name="connsiteX141" fmla="*/ 128905 w 976589"/>
                <a:gd name="connsiteY141" fmla="*/ 905610 h 927266"/>
                <a:gd name="connsiteX142" fmla="*/ 134791 w 976589"/>
                <a:gd name="connsiteY142" fmla="*/ 897762 h 927266"/>
                <a:gd name="connsiteX143" fmla="*/ 142640 w 976589"/>
                <a:gd name="connsiteY143" fmla="*/ 884026 h 927266"/>
                <a:gd name="connsiteX144" fmla="*/ 152451 w 976589"/>
                <a:gd name="connsiteY144" fmla="*/ 868328 h 927266"/>
                <a:gd name="connsiteX145" fmla="*/ 154414 w 976589"/>
                <a:gd name="connsiteY145" fmla="*/ 862441 h 927266"/>
                <a:gd name="connsiteX146" fmla="*/ 164225 w 976589"/>
                <a:gd name="connsiteY146" fmla="*/ 846744 h 927266"/>
                <a:gd name="connsiteX147" fmla="*/ 162263 w 976589"/>
                <a:gd name="connsiteY147" fmla="*/ 833008 h 927266"/>
                <a:gd name="connsiteX148" fmla="*/ 174036 w 976589"/>
                <a:gd name="connsiteY148" fmla="*/ 834970 h 927266"/>
                <a:gd name="connsiteX149" fmla="*/ 238790 w 976589"/>
                <a:gd name="connsiteY149" fmla="*/ 831046 h 927266"/>
                <a:gd name="connsiteX150" fmla="*/ 256450 w 976589"/>
                <a:gd name="connsiteY150" fmla="*/ 827121 h 927266"/>
                <a:gd name="connsiteX151" fmla="*/ 268223 w 976589"/>
                <a:gd name="connsiteY151" fmla="*/ 825159 h 927266"/>
                <a:gd name="connsiteX152" fmla="*/ 272148 w 976589"/>
                <a:gd name="connsiteY152" fmla="*/ 819272 h 927266"/>
                <a:gd name="connsiteX153" fmla="*/ 309430 w 976589"/>
                <a:gd name="connsiteY153" fmla="*/ 811423 h 927266"/>
                <a:gd name="connsiteX154" fmla="*/ 311392 w 976589"/>
                <a:gd name="connsiteY154" fmla="*/ 803574 h 927266"/>
                <a:gd name="connsiteX155" fmla="*/ 317279 w 976589"/>
                <a:gd name="connsiteY155" fmla="*/ 795725 h 927266"/>
                <a:gd name="connsiteX156" fmla="*/ 334939 w 976589"/>
                <a:gd name="connsiteY156" fmla="*/ 799650 h 927266"/>
                <a:gd name="connsiteX157" fmla="*/ 340826 w 976589"/>
                <a:gd name="connsiteY157" fmla="*/ 805537 h 927266"/>
                <a:gd name="connsiteX158" fmla="*/ 346712 w 976589"/>
                <a:gd name="connsiteY158" fmla="*/ 809461 h 927266"/>
                <a:gd name="connsiteX159" fmla="*/ 380070 w 976589"/>
                <a:gd name="connsiteY159" fmla="*/ 807499 h 927266"/>
                <a:gd name="connsiteX160" fmla="*/ 382033 w 976589"/>
                <a:gd name="connsiteY160" fmla="*/ 789839 h 927266"/>
                <a:gd name="connsiteX161" fmla="*/ 385957 w 976589"/>
                <a:gd name="connsiteY161" fmla="*/ 795725 h 927266"/>
                <a:gd name="connsiteX162" fmla="*/ 391844 w 976589"/>
                <a:gd name="connsiteY162" fmla="*/ 805537 h 927266"/>
                <a:gd name="connsiteX163" fmla="*/ 393806 w 976589"/>
                <a:gd name="connsiteY163" fmla="*/ 811423 h 927266"/>
                <a:gd name="connsiteX164" fmla="*/ 401655 w 976589"/>
                <a:gd name="connsiteY164" fmla="*/ 815348 h 927266"/>
                <a:gd name="connsiteX165" fmla="*/ 417353 w 976589"/>
                <a:gd name="connsiteY165" fmla="*/ 813386 h 927266"/>
                <a:gd name="connsiteX166" fmla="*/ 438937 w 976589"/>
                <a:gd name="connsiteY166" fmla="*/ 805537 h 927266"/>
                <a:gd name="connsiteX167" fmla="*/ 442862 w 976589"/>
                <a:gd name="connsiteY167" fmla="*/ 799650 h 927266"/>
                <a:gd name="connsiteX168" fmla="*/ 466409 w 976589"/>
                <a:gd name="connsiteY168" fmla="*/ 805537 h 927266"/>
                <a:gd name="connsiteX169" fmla="*/ 476220 w 976589"/>
                <a:gd name="connsiteY169" fmla="*/ 817310 h 927266"/>
                <a:gd name="connsiteX170" fmla="*/ 482106 w 976589"/>
                <a:gd name="connsiteY170" fmla="*/ 827121 h 927266"/>
                <a:gd name="connsiteX171" fmla="*/ 489955 w 976589"/>
                <a:gd name="connsiteY171" fmla="*/ 825159 h 927266"/>
                <a:gd name="connsiteX172" fmla="*/ 529200 w 976589"/>
                <a:gd name="connsiteY172" fmla="*/ 819272 h 927266"/>
                <a:gd name="connsiteX173" fmla="*/ 533124 w 976589"/>
                <a:gd name="connsiteY173" fmla="*/ 827121 h 927266"/>
                <a:gd name="connsiteX174" fmla="*/ 539011 w 976589"/>
                <a:gd name="connsiteY174" fmla="*/ 833008 h 927266"/>
                <a:gd name="connsiteX175" fmla="*/ 542936 w 976589"/>
                <a:gd name="connsiteY175" fmla="*/ 838895 h 927266"/>
                <a:gd name="connsiteX176" fmla="*/ 552747 w 976589"/>
                <a:gd name="connsiteY176" fmla="*/ 833008 h 927266"/>
                <a:gd name="connsiteX177" fmla="*/ 556671 w 976589"/>
                <a:gd name="connsiteY177" fmla="*/ 819272 h 927266"/>
                <a:gd name="connsiteX178" fmla="*/ 554709 w 976589"/>
                <a:gd name="connsiteY178" fmla="*/ 809461 h 927266"/>
                <a:gd name="connsiteX179" fmla="*/ 560596 w 976589"/>
                <a:gd name="connsiteY179" fmla="*/ 805537 h 927266"/>
                <a:gd name="connsiteX180" fmla="*/ 582180 w 976589"/>
                <a:gd name="connsiteY180" fmla="*/ 803574 h 927266"/>
                <a:gd name="connsiteX181" fmla="*/ 578256 w 976589"/>
                <a:gd name="connsiteY181" fmla="*/ 797688 h 927266"/>
                <a:gd name="connsiteX182" fmla="*/ 582180 w 976589"/>
                <a:gd name="connsiteY182" fmla="*/ 783952 h 927266"/>
                <a:gd name="connsiteX183" fmla="*/ 584142 w 976589"/>
                <a:gd name="connsiteY183" fmla="*/ 799650 h 927266"/>
                <a:gd name="connsiteX184" fmla="*/ 590029 w 976589"/>
                <a:gd name="connsiteY184" fmla="*/ 801612 h 927266"/>
                <a:gd name="connsiteX185" fmla="*/ 652821 w 976589"/>
                <a:gd name="connsiteY185" fmla="*/ 803574 h 927266"/>
                <a:gd name="connsiteX186" fmla="*/ 654783 w 976589"/>
                <a:gd name="connsiteY186" fmla="*/ 811423 h 927266"/>
                <a:gd name="connsiteX187" fmla="*/ 650858 w 976589"/>
                <a:gd name="connsiteY187" fmla="*/ 819272 h 927266"/>
                <a:gd name="connsiteX188" fmla="*/ 678330 w 976589"/>
                <a:gd name="connsiteY188" fmla="*/ 789839 h 927266"/>
                <a:gd name="connsiteX189" fmla="*/ 676367 w 976589"/>
                <a:gd name="connsiteY189" fmla="*/ 783952 h 927266"/>
                <a:gd name="connsiteX190" fmla="*/ 668518 w 976589"/>
                <a:gd name="connsiteY190" fmla="*/ 781990 h 927266"/>
                <a:gd name="connsiteX191" fmla="*/ 666556 w 976589"/>
                <a:gd name="connsiteY191" fmla="*/ 772179 h 927266"/>
                <a:gd name="connsiteX192" fmla="*/ 680292 w 976589"/>
                <a:gd name="connsiteY192" fmla="*/ 768254 h 927266"/>
                <a:gd name="connsiteX193" fmla="*/ 688141 w 976589"/>
                <a:gd name="connsiteY193" fmla="*/ 778065 h 927266"/>
                <a:gd name="connsiteX194" fmla="*/ 695990 w 976589"/>
                <a:gd name="connsiteY194" fmla="*/ 787877 h 927266"/>
                <a:gd name="connsiteX195" fmla="*/ 701876 w 976589"/>
                <a:gd name="connsiteY195" fmla="*/ 797688 h 927266"/>
                <a:gd name="connsiteX196" fmla="*/ 709725 w 976589"/>
                <a:gd name="connsiteY196" fmla="*/ 799650 h 927266"/>
                <a:gd name="connsiteX197" fmla="*/ 715612 w 976589"/>
                <a:gd name="connsiteY197" fmla="*/ 801612 h 927266"/>
                <a:gd name="connsiteX198" fmla="*/ 725423 w 976589"/>
                <a:gd name="connsiteY198" fmla="*/ 797688 h 927266"/>
                <a:gd name="connsiteX199" fmla="*/ 739159 w 976589"/>
                <a:gd name="connsiteY199" fmla="*/ 785914 h 927266"/>
                <a:gd name="connsiteX200" fmla="*/ 756819 w 976589"/>
                <a:gd name="connsiteY200" fmla="*/ 787877 h 927266"/>
                <a:gd name="connsiteX201" fmla="*/ 766630 w 976589"/>
                <a:gd name="connsiteY201" fmla="*/ 776103 h 927266"/>
                <a:gd name="connsiteX202" fmla="*/ 774479 w 976589"/>
                <a:gd name="connsiteY202" fmla="*/ 772179 h 927266"/>
                <a:gd name="connsiteX203" fmla="*/ 784290 w 976589"/>
                <a:gd name="connsiteY203" fmla="*/ 770216 h 927266"/>
                <a:gd name="connsiteX204" fmla="*/ 803912 w 976589"/>
                <a:gd name="connsiteY204" fmla="*/ 766292 h 927266"/>
                <a:gd name="connsiteX205" fmla="*/ 809799 w 976589"/>
                <a:gd name="connsiteY205" fmla="*/ 760405 h 927266"/>
                <a:gd name="connsiteX206" fmla="*/ 825497 w 976589"/>
                <a:gd name="connsiteY206" fmla="*/ 770216 h 927266"/>
                <a:gd name="connsiteX207" fmla="*/ 845119 w 976589"/>
                <a:gd name="connsiteY207" fmla="*/ 780028 h 927266"/>
                <a:gd name="connsiteX208" fmla="*/ 860817 w 976589"/>
                <a:gd name="connsiteY208" fmla="*/ 778065 h 927266"/>
                <a:gd name="connsiteX209" fmla="*/ 858855 w 976589"/>
                <a:gd name="connsiteY209" fmla="*/ 764330 h 927266"/>
                <a:gd name="connsiteX210" fmla="*/ 847082 w 976589"/>
                <a:gd name="connsiteY210" fmla="*/ 754519 h 927266"/>
                <a:gd name="connsiteX211" fmla="*/ 843157 w 976589"/>
                <a:gd name="connsiteY211" fmla="*/ 750594 h 927266"/>
                <a:gd name="connsiteX212" fmla="*/ 843157 w 976589"/>
                <a:gd name="connsiteY212" fmla="*/ 732934 h 927266"/>
                <a:gd name="connsiteX213" fmla="*/ 839233 w 976589"/>
                <a:gd name="connsiteY213" fmla="*/ 713312 h 927266"/>
                <a:gd name="connsiteX214" fmla="*/ 837270 w 976589"/>
                <a:gd name="connsiteY214" fmla="*/ 658369 h 927266"/>
                <a:gd name="connsiteX215" fmla="*/ 843157 w 976589"/>
                <a:gd name="connsiteY215" fmla="*/ 642671 h 927266"/>
                <a:gd name="connsiteX216" fmla="*/ 852968 w 976589"/>
                <a:gd name="connsiteY216" fmla="*/ 634822 h 927266"/>
                <a:gd name="connsiteX217" fmla="*/ 874553 w 976589"/>
                <a:gd name="connsiteY217" fmla="*/ 628936 h 927266"/>
                <a:gd name="connsiteX218" fmla="*/ 880439 w 976589"/>
                <a:gd name="connsiteY218" fmla="*/ 625011 h 927266"/>
                <a:gd name="connsiteX219" fmla="*/ 888288 w 976589"/>
                <a:gd name="connsiteY219" fmla="*/ 621087 h 927266"/>
                <a:gd name="connsiteX220" fmla="*/ 896137 w 976589"/>
                <a:gd name="connsiteY220" fmla="*/ 615200 h 927266"/>
                <a:gd name="connsiteX221" fmla="*/ 907911 w 976589"/>
                <a:gd name="connsiteY221" fmla="*/ 611276 h 927266"/>
                <a:gd name="connsiteX222" fmla="*/ 917722 w 976589"/>
                <a:gd name="connsiteY222" fmla="*/ 607351 h 927266"/>
                <a:gd name="connsiteX223" fmla="*/ 923609 w 976589"/>
                <a:gd name="connsiteY223" fmla="*/ 603427 h 927266"/>
                <a:gd name="connsiteX224" fmla="*/ 931458 w 976589"/>
                <a:gd name="connsiteY224" fmla="*/ 599502 h 927266"/>
                <a:gd name="connsiteX225" fmla="*/ 935382 w 976589"/>
                <a:gd name="connsiteY225" fmla="*/ 587729 h 927266"/>
                <a:gd name="connsiteX226" fmla="*/ 927533 w 976589"/>
                <a:gd name="connsiteY226" fmla="*/ 575956 h 927266"/>
                <a:gd name="connsiteX227" fmla="*/ 919684 w 976589"/>
                <a:gd name="connsiteY227" fmla="*/ 558295 h 927266"/>
                <a:gd name="connsiteX228" fmla="*/ 917722 w 976589"/>
                <a:gd name="connsiteY228" fmla="*/ 552409 h 927266"/>
                <a:gd name="connsiteX229" fmla="*/ 919684 w 976589"/>
                <a:gd name="connsiteY229" fmla="*/ 546522 h 927266"/>
                <a:gd name="connsiteX230" fmla="*/ 913797 w 976589"/>
                <a:gd name="connsiteY230" fmla="*/ 528862 h 927266"/>
                <a:gd name="connsiteX231" fmla="*/ 882402 w 976589"/>
                <a:gd name="connsiteY231" fmla="*/ 491580 h 927266"/>
                <a:gd name="connsiteX232" fmla="*/ 874553 w 976589"/>
                <a:gd name="connsiteY232" fmla="*/ 483731 h 927266"/>
                <a:gd name="connsiteX233" fmla="*/ 868666 w 976589"/>
                <a:gd name="connsiteY233" fmla="*/ 477844 h 927266"/>
                <a:gd name="connsiteX234" fmla="*/ 860817 w 976589"/>
                <a:gd name="connsiteY234" fmla="*/ 464108 h 927266"/>
                <a:gd name="connsiteX235" fmla="*/ 851006 w 976589"/>
                <a:gd name="connsiteY235" fmla="*/ 458222 h 927266"/>
                <a:gd name="connsiteX236" fmla="*/ 845119 w 976589"/>
                <a:gd name="connsiteY236" fmla="*/ 454297 h 927266"/>
                <a:gd name="connsiteX237" fmla="*/ 849044 w 976589"/>
                <a:gd name="connsiteY237" fmla="*/ 436637 h 927266"/>
                <a:gd name="connsiteX238" fmla="*/ 866704 w 976589"/>
                <a:gd name="connsiteY238" fmla="*/ 417015 h 927266"/>
                <a:gd name="connsiteX239" fmla="*/ 872591 w 976589"/>
                <a:gd name="connsiteY239" fmla="*/ 415053 h 927266"/>
                <a:gd name="connsiteX240" fmla="*/ 884364 w 976589"/>
                <a:gd name="connsiteY240" fmla="*/ 417015 h 927266"/>
                <a:gd name="connsiteX241" fmla="*/ 890251 w 976589"/>
                <a:gd name="connsiteY241" fmla="*/ 418977 h 927266"/>
                <a:gd name="connsiteX242" fmla="*/ 880439 w 976589"/>
                <a:gd name="connsiteY242" fmla="*/ 420939 h 927266"/>
                <a:gd name="connsiteX243" fmla="*/ 909873 w 976589"/>
                <a:gd name="connsiteY243" fmla="*/ 426826 h 927266"/>
                <a:gd name="connsiteX244" fmla="*/ 917722 w 976589"/>
                <a:gd name="connsiteY244" fmla="*/ 422901 h 927266"/>
                <a:gd name="connsiteX245" fmla="*/ 923609 w 976589"/>
                <a:gd name="connsiteY245" fmla="*/ 415053 h 927266"/>
                <a:gd name="connsiteX246" fmla="*/ 935382 w 976589"/>
                <a:gd name="connsiteY246" fmla="*/ 411128 h 927266"/>
                <a:gd name="connsiteX247" fmla="*/ 955004 w 976589"/>
                <a:gd name="connsiteY247" fmla="*/ 405241 h 927266"/>
                <a:gd name="connsiteX248" fmla="*/ 966778 w 976589"/>
                <a:gd name="connsiteY248" fmla="*/ 397392 h 927266"/>
                <a:gd name="connsiteX249" fmla="*/ 960891 w 976589"/>
                <a:gd name="connsiteY249" fmla="*/ 375808 h 927266"/>
                <a:gd name="connsiteX250" fmla="*/ 956967 w 976589"/>
                <a:gd name="connsiteY250" fmla="*/ 371883 h 927266"/>
                <a:gd name="connsiteX251" fmla="*/ 964815 w 976589"/>
                <a:gd name="connsiteY251" fmla="*/ 350299 h 927266"/>
                <a:gd name="connsiteX252" fmla="*/ 968740 w 976589"/>
                <a:gd name="connsiteY252" fmla="*/ 344412 h 927266"/>
                <a:gd name="connsiteX253" fmla="*/ 976589 w 976589"/>
                <a:gd name="connsiteY253" fmla="*/ 334601 h 927266"/>
                <a:gd name="connsiteX254" fmla="*/ 939306 w 976589"/>
                <a:gd name="connsiteY254" fmla="*/ 326752 h 927266"/>
                <a:gd name="connsiteX255" fmla="*/ 931458 w 976589"/>
                <a:gd name="connsiteY255" fmla="*/ 324790 h 927266"/>
                <a:gd name="connsiteX256" fmla="*/ 923609 w 976589"/>
                <a:gd name="connsiteY256" fmla="*/ 305168 h 927266"/>
                <a:gd name="connsiteX257" fmla="*/ 911835 w 976589"/>
                <a:gd name="connsiteY257" fmla="*/ 291432 h 927266"/>
                <a:gd name="connsiteX258" fmla="*/ 872591 w 976589"/>
                <a:gd name="connsiteY258" fmla="*/ 293394 h 927266"/>
                <a:gd name="connsiteX259" fmla="*/ 868666 w 976589"/>
                <a:gd name="connsiteY259" fmla="*/ 299281 h 927266"/>
                <a:gd name="connsiteX260" fmla="*/ 860817 w 976589"/>
                <a:gd name="connsiteY260" fmla="*/ 303205 h 927266"/>
                <a:gd name="connsiteX261" fmla="*/ 845119 w 976589"/>
                <a:gd name="connsiteY261" fmla="*/ 301243 h 927266"/>
                <a:gd name="connsiteX262" fmla="*/ 843157 w 976589"/>
                <a:gd name="connsiteY262" fmla="*/ 269847 h 927266"/>
                <a:gd name="connsiteX263" fmla="*/ 835308 w 976589"/>
                <a:gd name="connsiteY263" fmla="*/ 258074 h 927266"/>
                <a:gd name="connsiteX264" fmla="*/ 794101 w 976589"/>
                <a:gd name="connsiteY264" fmla="*/ 252187 h 927266"/>
                <a:gd name="connsiteX265" fmla="*/ 778403 w 976589"/>
                <a:gd name="connsiteY265" fmla="*/ 232565 h 927266"/>
                <a:gd name="connsiteX266" fmla="*/ 774479 w 976589"/>
                <a:gd name="connsiteY266" fmla="*/ 226678 h 927266"/>
                <a:gd name="connsiteX267" fmla="*/ 768592 w 976589"/>
                <a:gd name="connsiteY267" fmla="*/ 222754 h 927266"/>
                <a:gd name="connsiteX268" fmla="*/ 756819 w 976589"/>
                <a:gd name="connsiteY268" fmla="*/ 210980 h 927266"/>
                <a:gd name="connsiteX269" fmla="*/ 752894 w 976589"/>
                <a:gd name="connsiteY269" fmla="*/ 207056 h 927266"/>
                <a:gd name="connsiteX270" fmla="*/ 745045 w 976589"/>
                <a:gd name="connsiteY270" fmla="*/ 205094 h 927266"/>
                <a:gd name="connsiteX271" fmla="*/ 741121 w 976589"/>
                <a:gd name="connsiteY271" fmla="*/ 199207 h 927266"/>
                <a:gd name="connsiteX272" fmla="*/ 739159 w 976589"/>
                <a:gd name="connsiteY272" fmla="*/ 191358 h 927266"/>
                <a:gd name="connsiteX273" fmla="*/ 729348 w 976589"/>
                <a:gd name="connsiteY273" fmla="*/ 183509 h 927266"/>
                <a:gd name="connsiteX274" fmla="*/ 725423 w 976589"/>
                <a:gd name="connsiteY274" fmla="*/ 177622 h 927266"/>
                <a:gd name="connsiteX275" fmla="*/ 692065 w 976589"/>
                <a:gd name="connsiteY275" fmla="*/ 171736 h 927266"/>
                <a:gd name="connsiteX276" fmla="*/ 688141 w 976589"/>
                <a:gd name="connsiteY276" fmla="*/ 163887 h 927266"/>
                <a:gd name="connsiteX277" fmla="*/ 690103 w 976589"/>
                <a:gd name="connsiteY277" fmla="*/ 156038 h 927266"/>
                <a:gd name="connsiteX278" fmla="*/ 692065 w 976589"/>
                <a:gd name="connsiteY278" fmla="*/ 150151 h 927266"/>
                <a:gd name="connsiteX279" fmla="*/ 695990 w 976589"/>
                <a:gd name="connsiteY279" fmla="*/ 136416 h 927266"/>
                <a:gd name="connsiteX280" fmla="*/ 699914 w 976589"/>
                <a:gd name="connsiteY280" fmla="*/ 130529 h 927266"/>
                <a:gd name="connsiteX281" fmla="*/ 707763 w 976589"/>
                <a:gd name="connsiteY281" fmla="*/ 118756 h 927266"/>
                <a:gd name="connsiteX0" fmla="*/ 707763 w 976589"/>
                <a:gd name="connsiteY0" fmla="*/ 118756 h 927266"/>
                <a:gd name="connsiteX1" fmla="*/ 701876 w 976589"/>
                <a:gd name="connsiteY1" fmla="*/ 106982 h 927266"/>
                <a:gd name="connsiteX2" fmla="*/ 694027 w 976589"/>
                <a:gd name="connsiteY2" fmla="*/ 99133 h 927266"/>
                <a:gd name="connsiteX3" fmla="*/ 686179 w 976589"/>
                <a:gd name="connsiteY3" fmla="*/ 89322 h 927266"/>
                <a:gd name="connsiteX4" fmla="*/ 682254 w 976589"/>
                <a:gd name="connsiteY4" fmla="*/ 81473 h 927266"/>
                <a:gd name="connsiteX5" fmla="*/ 678330 w 976589"/>
                <a:gd name="connsiteY5" fmla="*/ 75586 h 927266"/>
                <a:gd name="connsiteX6" fmla="*/ 670481 w 976589"/>
                <a:gd name="connsiteY6" fmla="*/ 63813 h 927266"/>
                <a:gd name="connsiteX7" fmla="*/ 674405 w 976589"/>
                <a:gd name="connsiteY7" fmla="*/ 34380 h 927266"/>
                <a:gd name="connsiteX8" fmla="*/ 672443 w 976589"/>
                <a:gd name="connsiteY8" fmla="*/ 20644 h 927266"/>
                <a:gd name="connsiteX9" fmla="*/ 666556 w 976589"/>
                <a:gd name="connsiteY9" fmla="*/ 26531 h 927266"/>
                <a:gd name="connsiteX10" fmla="*/ 660670 w 976589"/>
                <a:gd name="connsiteY10" fmla="*/ 30455 h 927266"/>
                <a:gd name="connsiteX11" fmla="*/ 650858 w 976589"/>
                <a:gd name="connsiteY11" fmla="*/ 28493 h 927266"/>
                <a:gd name="connsiteX12" fmla="*/ 639085 w 976589"/>
                <a:gd name="connsiteY12" fmla="*/ 18682 h 927266"/>
                <a:gd name="connsiteX13" fmla="*/ 627312 w 976589"/>
                <a:gd name="connsiteY13" fmla="*/ 12795 h 927266"/>
                <a:gd name="connsiteX14" fmla="*/ 611614 w 976589"/>
                <a:gd name="connsiteY14" fmla="*/ 4946 h 927266"/>
                <a:gd name="connsiteX15" fmla="*/ 562558 w 976589"/>
                <a:gd name="connsiteY15" fmla="*/ 1022 h 927266"/>
                <a:gd name="connsiteX16" fmla="*/ 539011 w 976589"/>
                <a:gd name="connsiteY16" fmla="*/ 2984 h 927266"/>
                <a:gd name="connsiteX17" fmla="*/ 533124 w 976589"/>
                <a:gd name="connsiteY17" fmla="*/ 32417 h 927266"/>
                <a:gd name="connsiteX18" fmla="*/ 527238 w 976589"/>
                <a:gd name="connsiteY18" fmla="*/ 38304 h 927266"/>
                <a:gd name="connsiteX19" fmla="*/ 515464 w 976589"/>
                <a:gd name="connsiteY19" fmla="*/ 28493 h 927266"/>
                <a:gd name="connsiteX20" fmla="*/ 509578 w 976589"/>
                <a:gd name="connsiteY20" fmla="*/ 16719 h 927266"/>
                <a:gd name="connsiteX21" fmla="*/ 505653 w 976589"/>
                <a:gd name="connsiteY21" fmla="*/ 4946 h 927266"/>
                <a:gd name="connsiteX22" fmla="*/ 444824 w 976589"/>
                <a:gd name="connsiteY22" fmla="*/ 12795 h 927266"/>
                <a:gd name="connsiteX23" fmla="*/ 433051 w 976589"/>
                <a:gd name="connsiteY23" fmla="*/ 18682 h 927266"/>
                <a:gd name="connsiteX24" fmla="*/ 425202 w 976589"/>
                <a:gd name="connsiteY24" fmla="*/ 6908 h 927266"/>
                <a:gd name="connsiteX25" fmla="*/ 417353 w 976589"/>
                <a:gd name="connsiteY25" fmla="*/ 4946 h 927266"/>
                <a:gd name="connsiteX26" fmla="*/ 405579 w 976589"/>
                <a:gd name="connsiteY26" fmla="*/ 6908 h 927266"/>
                <a:gd name="connsiteX27" fmla="*/ 401655 w 976589"/>
                <a:gd name="connsiteY27" fmla="*/ 14757 h 927266"/>
                <a:gd name="connsiteX28" fmla="*/ 387919 w 976589"/>
                <a:gd name="connsiteY28" fmla="*/ 12795 h 927266"/>
                <a:gd name="connsiteX29" fmla="*/ 374184 w 976589"/>
                <a:gd name="connsiteY29" fmla="*/ 6908 h 927266"/>
                <a:gd name="connsiteX30" fmla="*/ 368297 w 976589"/>
                <a:gd name="connsiteY30" fmla="*/ 10833 h 927266"/>
                <a:gd name="connsiteX31" fmla="*/ 362410 w 976589"/>
                <a:gd name="connsiteY31" fmla="*/ 22606 h 927266"/>
                <a:gd name="connsiteX32" fmla="*/ 358486 w 976589"/>
                <a:gd name="connsiteY32" fmla="*/ 30455 h 927266"/>
                <a:gd name="connsiteX33" fmla="*/ 352599 w 976589"/>
                <a:gd name="connsiteY33" fmla="*/ 34380 h 927266"/>
                <a:gd name="connsiteX34" fmla="*/ 344750 w 976589"/>
                <a:gd name="connsiteY34" fmla="*/ 40266 h 927266"/>
                <a:gd name="connsiteX35" fmla="*/ 334939 w 976589"/>
                <a:gd name="connsiteY35" fmla="*/ 50077 h 927266"/>
                <a:gd name="connsiteX36" fmla="*/ 332977 w 976589"/>
                <a:gd name="connsiteY36" fmla="*/ 55964 h 927266"/>
                <a:gd name="connsiteX37" fmla="*/ 329052 w 976589"/>
                <a:gd name="connsiteY37" fmla="*/ 77549 h 927266"/>
                <a:gd name="connsiteX38" fmla="*/ 321203 w 976589"/>
                <a:gd name="connsiteY38" fmla="*/ 81473 h 927266"/>
                <a:gd name="connsiteX39" fmla="*/ 332977 w 976589"/>
                <a:gd name="connsiteY39" fmla="*/ 83435 h 927266"/>
                <a:gd name="connsiteX40" fmla="*/ 321203 w 976589"/>
                <a:gd name="connsiteY40" fmla="*/ 87360 h 927266"/>
                <a:gd name="connsiteX41" fmla="*/ 291770 w 976589"/>
                <a:gd name="connsiteY41" fmla="*/ 99133 h 927266"/>
                <a:gd name="connsiteX42" fmla="*/ 289808 w 976589"/>
                <a:gd name="connsiteY42" fmla="*/ 91284 h 927266"/>
                <a:gd name="connsiteX43" fmla="*/ 297657 w 976589"/>
                <a:gd name="connsiteY43" fmla="*/ 85398 h 927266"/>
                <a:gd name="connsiteX44" fmla="*/ 278034 w 976589"/>
                <a:gd name="connsiteY44" fmla="*/ 87360 h 927266"/>
                <a:gd name="connsiteX45" fmla="*/ 274110 w 976589"/>
                <a:gd name="connsiteY45" fmla="*/ 95209 h 927266"/>
                <a:gd name="connsiteX46" fmla="*/ 268223 w 976589"/>
                <a:gd name="connsiteY46" fmla="*/ 108944 h 927266"/>
                <a:gd name="connsiteX47" fmla="*/ 250563 w 976589"/>
                <a:gd name="connsiteY47" fmla="*/ 124642 h 927266"/>
                <a:gd name="connsiteX48" fmla="*/ 248601 w 976589"/>
                <a:gd name="connsiteY48" fmla="*/ 140340 h 927266"/>
                <a:gd name="connsiteX49" fmla="*/ 242714 w 976589"/>
                <a:gd name="connsiteY49" fmla="*/ 150151 h 927266"/>
                <a:gd name="connsiteX50" fmla="*/ 240752 w 976589"/>
                <a:gd name="connsiteY50" fmla="*/ 156038 h 927266"/>
                <a:gd name="connsiteX51" fmla="*/ 238790 w 976589"/>
                <a:gd name="connsiteY51" fmla="*/ 185471 h 927266"/>
                <a:gd name="connsiteX52" fmla="*/ 246639 w 976589"/>
                <a:gd name="connsiteY52" fmla="*/ 187434 h 927266"/>
                <a:gd name="connsiteX53" fmla="*/ 260374 w 976589"/>
                <a:gd name="connsiteY53" fmla="*/ 191358 h 927266"/>
                <a:gd name="connsiteX54" fmla="*/ 258412 w 976589"/>
                <a:gd name="connsiteY54" fmla="*/ 197245 h 927266"/>
                <a:gd name="connsiteX55" fmla="*/ 254488 w 976589"/>
                <a:gd name="connsiteY55" fmla="*/ 203131 h 927266"/>
                <a:gd name="connsiteX56" fmla="*/ 252525 w 976589"/>
                <a:gd name="connsiteY56" fmla="*/ 216867 h 927266"/>
                <a:gd name="connsiteX57" fmla="*/ 236827 w 976589"/>
                <a:gd name="connsiteY57" fmla="*/ 226678 h 927266"/>
                <a:gd name="connsiteX58" fmla="*/ 234865 w 976589"/>
                <a:gd name="connsiteY58" fmla="*/ 242376 h 927266"/>
                <a:gd name="connsiteX59" fmla="*/ 221130 w 976589"/>
                <a:gd name="connsiteY59" fmla="*/ 258074 h 927266"/>
                <a:gd name="connsiteX60" fmla="*/ 215243 w 976589"/>
                <a:gd name="connsiteY60" fmla="*/ 265923 h 927266"/>
                <a:gd name="connsiteX61" fmla="*/ 193658 w 976589"/>
                <a:gd name="connsiteY61" fmla="*/ 265923 h 927266"/>
                <a:gd name="connsiteX62" fmla="*/ 189734 w 976589"/>
                <a:gd name="connsiteY62" fmla="*/ 254150 h 927266"/>
                <a:gd name="connsiteX63" fmla="*/ 191696 w 976589"/>
                <a:gd name="connsiteY63" fmla="*/ 261998 h 927266"/>
                <a:gd name="connsiteX64" fmla="*/ 193658 w 976589"/>
                <a:gd name="connsiteY64" fmla="*/ 271810 h 927266"/>
                <a:gd name="connsiteX65" fmla="*/ 197583 w 976589"/>
                <a:gd name="connsiteY65" fmla="*/ 283583 h 927266"/>
                <a:gd name="connsiteX66" fmla="*/ 201507 w 976589"/>
                <a:gd name="connsiteY66" fmla="*/ 297319 h 927266"/>
                <a:gd name="connsiteX67" fmla="*/ 203470 w 976589"/>
                <a:gd name="connsiteY67" fmla="*/ 318903 h 927266"/>
                <a:gd name="connsiteX68" fmla="*/ 205432 w 976589"/>
                <a:gd name="connsiteY68" fmla="*/ 324790 h 927266"/>
                <a:gd name="connsiteX69" fmla="*/ 213281 w 976589"/>
                <a:gd name="connsiteY69" fmla="*/ 326752 h 927266"/>
                <a:gd name="connsiteX70" fmla="*/ 215243 w 976589"/>
                <a:gd name="connsiteY70" fmla="*/ 332639 h 927266"/>
                <a:gd name="connsiteX71" fmla="*/ 201507 w 976589"/>
                <a:gd name="connsiteY71" fmla="*/ 354223 h 927266"/>
                <a:gd name="connsiteX72" fmla="*/ 197583 w 976589"/>
                <a:gd name="connsiteY72" fmla="*/ 360110 h 927266"/>
                <a:gd name="connsiteX73" fmla="*/ 193658 w 976589"/>
                <a:gd name="connsiteY73" fmla="*/ 364034 h 927266"/>
                <a:gd name="connsiteX74" fmla="*/ 197583 w 976589"/>
                <a:gd name="connsiteY74" fmla="*/ 385619 h 927266"/>
                <a:gd name="connsiteX75" fmla="*/ 219167 w 976589"/>
                <a:gd name="connsiteY75" fmla="*/ 387581 h 927266"/>
                <a:gd name="connsiteX76" fmla="*/ 225054 w 976589"/>
                <a:gd name="connsiteY76" fmla="*/ 393468 h 927266"/>
                <a:gd name="connsiteX77" fmla="*/ 221130 w 976589"/>
                <a:gd name="connsiteY77" fmla="*/ 401317 h 927266"/>
                <a:gd name="connsiteX78" fmla="*/ 219167 w 976589"/>
                <a:gd name="connsiteY78" fmla="*/ 411128 h 927266"/>
                <a:gd name="connsiteX79" fmla="*/ 213281 w 976589"/>
                <a:gd name="connsiteY79" fmla="*/ 413090 h 927266"/>
                <a:gd name="connsiteX80" fmla="*/ 193658 w 976589"/>
                <a:gd name="connsiteY80" fmla="*/ 409166 h 927266"/>
                <a:gd name="connsiteX81" fmla="*/ 185809 w 976589"/>
                <a:gd name="connsiteY81" fmla="*/ 403279 h 927266"/>
                <a:gd name="connsiteX82" fmla="*/ 177961 w 976589"/>
                <a:gd name="connsiteY82" fmla="*/ 407204 h 927266"/>
                <a:gd name="connsiteX83" fmla="*/ 174036 w 976589"/>
                <a:gd name="connsiteY83" fmla="*/ 415053 h 927266"/>
                <a:gd name="connsiteX84" fmla="*/ 162263 w 976589"/>
                <a:gd name="connsiteY84" fmla="*/ 418977 h 927266"/>
                <a:gd name="connsiteX85" fmla="*/ 136754 w 976589"/>
                <a:gd name="connsiteY85" fmla="*/ 434675 h 927266"/>
                <a:gd name="connsiteX86" fmla="*/ 128905 w 976589"/>
                <a:gd name="connsiteY86" fmla="*/ 436637 h 927266"/>
                <a:gd name="connsiteX87" fmla="*/ 126942 w 976589"/>
                <a:gd name="connsiteY87" fmla="*/ 442524 h 927266"/>
                <a:gd name="connsiteX88" fmla="*/ 124980 w 976589"/>
                <a:gd name="connsiteY88" fmla="*/ 466071 h 927266"/>
                <a:gd name="connsiteX89" fmla="*/ 119094 w 976589"/>
                <a:gd name="connsiteY89" fmla="*/ 468033 h 927266"/>
                <a:gd name="connsiteX90" fmla="*/ 115169 w 976589"/>
                <a:gd name="connsiteY90" fmla="*/ 475882 h 927266"/>
                <a:gd name="connsiteX91" fmla="*/ 111245 w 976589"/>
                <a:gd name="connsiteY91" fmla="*/ 485693 h 927266"/>
                <a:gd name="connsiteX92" fmla="*/ 91622 w 976589"/>
                <a:gd name="connsiteY92" fmla="*/ 491580 h 927266"/>
                <a:gd name="connsiteX93" fmla="*/ 48813 w 976589"/>
                <a:gd name="connsiteY93" fmla="*/ 487700 h 927266"/>
                <a:gd name="connsiteX94" fmla="*/ 20982 w 976589"/>
                <a:gd name="connsiteY94" fmla="*/ 497466 h 927266"/>
                <a:gd name="connsiteX95" fmla="*/ 17058 w 976589"/>
                <a:gd name="connsiteY95" fmla="*/ 501391 h 927266"/>
                <a:gd name="connsiteX96" fmla="*/ 7246 w 976589"/>
                <a:gd name="connsiteY96" fmla="*/ 491580 h 927266"/>
                <a:gd name="connsiteX97" fmla="*/ 3322 w 976589"/>
                <a:gd name="connsiteY97" fmla="*/ 511202 h 927266"/>
                <a:gd name="connsiteX98" fmla="*/ 5284 w 976589"/>
                <a:gd name="connsiteY98" fmla="*/ 521013 h 927266"/>
                <a:gd name="connsiteX99" fmla="*/ 9209 w 976589"/>
                <a:gd name="connsiteY99" fmla="*/ 524938 h 927266"/>
                <a:gd name="connsiteX100" fmla="*/ 13133 w 976589"/>
                <a:gd name="connsiteY100" fmla="*/ 530824 h 927266"/>
                <a:gd name="connsiteX101" fmla="*/ 15095 w 976589"/>
                <a:gd name="connsiteY101" fmla="*/ 536711 h 927266"/>
                <a:gd name="connsiteX102" fmla="*/ 24906 w 976589"/>
                <a:gd name="connsiteY102" fmla="*/ 556333 h 927266"/>
                <a:gd name="connsiteX103" fmla="*/ 26869 w 976589"/>
                <a:gd name="connsiteY103" fmla="*/ 562220 h 927266"/>
                <a:gd name="connsiteX104" fmla="*/ 30793 w 976589"/>
                <a:gd name="connsiteY104" fmla="*/ 568107 h 927266"/>
                <a:gd name="connsiteX105" fmla="*/ 34718 w 976589"/>
                <a:gd name="connsiteY105" fmla="*/ 581842 h 927266"/>
                <a:gd name="connsiteX106" fmla="*/ 38642 w 976589"/>
                <a:gd name="connsiteY106" fmla="*/ 589691 h 927266"/>
                <a:gd name="connsiteX107" fmla="*/ 42567 w 976589"/>
                <a:gd name="connsiteY107" fmla="*/ 599502 h 927266"/>
                <a:gd name="connsiteX108" fmla="*/ 46491 w 976589"/>
                <a:gd name="connsiteY108" fmla="*/ 603427 h 927266"/>
                <a:gd name="connsiteX109" fmla="*/ 52378 w 976589"/>
                <a:gd name="connsiteY109" fmla="*/ 615200 h 927266"/>
                <a:gd name="connsiteX110" fmla="*/ 54340 w 976589"/>
                <a:gd name="connsiteY110" fmla="*/ 625011 h 927266"/>
                <a:gd name="connsiteX111" fmla="*/ 66113 w 976589"/>
                <a:gd name="connsiteY111" fmla="*/ 632860 h 927266"/>
                <a:gd name="connsiteX112" fmla="*/ 72000 w 976589"/>
                <a:gd name="connsiteY112" fmla="*/ 642671 h 927266"/>
                <a:gd name="connsiteX113" fmla="*/ 75924 w 976589"/>
                <a:gd name="connsiteY113" fmla="*/ 646596 h 927266"/>
                <a:gd name="connsiteX114" fmla="*/ 77887 w 976589"/>
                <a:gd name="connsiteY114" fmla="*/ 658369 h 927266"/>
                <a:gd name="connsiteX115" fmla="*/ 81811 w 976589"/>
                <a:gd name="connsiteY115" fmla="*/ 666218 h 927266"/>
                <a:gd name="connsiteX116" fmla="*/ 77887 w 976589"/>
                <a:gd name="connsiteY116" fmla="*/ 705463 h 927266"/>
                <a:gd name="connsiteX117" fmla="*/ 60227 w 976589"/>
                <a:gd name="connsiteY117" fmla="*/ 721161 h 927266"/>
                <a:gd name="connsiteX118" fmla="*/ 54340 w 976589"/>
                <a:gd name="connsiteY118" fmla="*/ 729010 h 927266"/>
                <a:gd name="connsiteX119" fmla="*/ 50415 w 976589"/>
                <a:gd name="connsiteY119" fmla="*/ 732934 h 927266"/>
                <a:gd name="connsiteX120" fmla="*/ 46491 w 976589"/>
                <a:gd name="connsiteY120" fmla="*/ 738821 h 927266"/>
                <a:gd name="connsiteX121" fmla="*/ 38642 w 976589"/>
                <a:gd name="connsiteY121" fmla="*/ 744707 h 927266"/>
                <a:gd name="connsiteX122" fmla="*/ 28831 w 976589"/>
                <a:gd name="connsiteY122" fmla="*/ 758443 h 927266"/>
                <a:gd name="connsiteX123" fmla="*/ 22944 w 976589"/>
                <a:gd name="connsiteY123" fmla="*/ 762368 h 927266"/>
                <a:gd name="connsiteX124" fmla="*/ 19020 w 976589"/>
                <a:gd name="connsiteY124" fmla="*/ 770216 h 927266"/>
                <a:gd name="connsiteX125" fmla="*/ 15095 w 976589"/>
                <a:gd name="connsiteY125" fmla="*/ 776103 h 927266"/>
                <a:gd name="connsiteX126" fmla="*/ 13133 w 976589"/>
                <a:gd name="connsiteY126" fmla="*/ 783952 h 927266"/>
                <a:gd name="connsiteX127" fmla="*/ 15095 w 976589"/>
                <a:gd name="connsiteY127" fmla="*/ 805537 h 927266"/>
                <a:gd name="connsiteX128" fmla="*/ 26869 w 976589"/>
                <a:gd name="connsiteY128" fmla="*/ 811423 h 927266"/>
                <a:gd name="connsiteX129" fmla="*/ 52378 w 976589"/>
                <a:gd name="connsiteY129" fmla="*/ 813386 h 927266"/>
                <a:gd name="connsiteX130" fmla="*/ 58264 w 976589"/>
                <a:gd name="connsiteY130" fmla="*/ 819272 h 927266"/>
                <a:gd name="connsiteX131" fmla="*/ 66113 w 976589"/>
                <a:gd name="connsiteY131" fmla="*/ 821234 h 927266"/>
                <a:gd name="connsiteX132" fmla="*/ 73962 w 976589"/>
                <a:gd name="connsiteY132" fmla="*/ 833008 h 927266"/>
                <a:gd name="connsiteX133" fmla="*/ 72000 w 976589"/>
                <a:gd name="connsiteY133" fmla="*/ 844781 h 927266"/>
                <a:gd name="connsiteX134" fmla="*/ 70038 w 976589"/>
                <a:gd name="connsiteY134" fmla="*/ 850668 h 927266"/>
                <a:gd name="connsiteX135" fmla="*/ 73962 w 976589"/>
                <a:gd name="connsiteY135" fmla="*/ 895799 h 927266"/>
                <a:gd name="connsiteX136" fmla="*/ 75924 w 976589"/>
                <a:gd name="connsiteY136" fmla="*/ 909535 h 927266"/>
                <a:gd name="connsiteX137" fmla="*/ 85736 w 976589"/>
                <a:gd name="connsiteY137" fmla="*/ 921308 h 927266"/>
                <a:gd name="connsiteX138" fmla="*/ 91622 w 976589"/>
                <a:gd name="connsiteY138" fmla="*/ 909535 h 927266"/>
                <a:gd name="connsiteX139" fmla="*/ 101433 w 976589"/>
                <a:gd name="connsiteY139" fmla="*/ 907573 h 927266"/>
                <a:gd name="connsiteX140" fmla="*/ 119094 w 976589"/>
                <a:gd name="connsiteY140" fmla="*/ 909535 h 927266"/>
                <a:gd name="connsiteX141" fmla="*/ 124980 w 976589"/>
                <a:gd name="connsiteY141" fmla="*/ 911497 h 927266"/>
                <a:gd name="connsiteX142" fmla="*/ 128905 w 976589"/>
                <a:gd name="connsiteY142" fmla="*/ 905610 h 927266"/>
                <a:gd name="connsiteX143" fmla="*/ 134791 w 976589"/>
                <a:gd name="connsiteY143" fmla="*/ 897762 h 927266"/>
                <a:gd name="connsiteX144" fmla="*/ 142640 w 976589"/>
                <a:gd name="connsiteY144" fmla="*/ 884026 h 927266"/>
                <a:gd name="connsiteX145" fmla="*/ 152451 w 976589"/>
                <a:gd name="connsiteY145" fmla="*/ 868328 h 927266"/>
                <a:gd name="connsiteX146" fmla="*/ 154414 w 976589"/>
                <a:gd name="connsiteY146" fmla="*/ 862441 h 927266"/>
                <a:gd name="connsiteX147" fmla="*/ 164225 w 976589"/>
                <a:gd name="connsiteY147" fmla="*/ 846744 h 927266"/>
                <a:gd name="connsiteX148" fmla="*/ 162263 w 976589"/>
                <a:gd name="connsiteY148" fmla="*/ 833008 h 927266"/>
                <a:gd name="connsiteX149" fmla="*/ 174036 w 976589"/>
                <a:gd name="connsiteY149" fmla="*/ 834970 h 927266"/>
                <a:gd name="connsiteX150" fmla="*/ 238790 w 976589"/>
                <a:gd name="connsiteY150" fmla="*/ 831046 h 927266"/>
                <a:gd name="connsiteX151" fmla="*/ 256450 w 976589"/>
                <a:gd name="connsiteY151" fmla="*/ 827121 h 927266"/>
                <a:gd name="connsiteX152" fmla="*/ 268223 w 976589"/>
                <a:gd name="connsiteY152" fmla="*/ 825159 h 927266"/>
                <a:gd name="connsiteX153" fmla="*/ 272148 w 976589"/>
                <a:gd name="connsiteY153" fmla="*/ 819272 h 927266"/>
                <a:gd name="connsiteX154" fmla="*/ 309430 w 976589"/>
                <a:gd name="connsiteY154" fmla="*/ 811423 h 927266"/>
                <a:gd name="connsiteX155" fmla="*/ 311392 w 976589"/>
                <a:gd name="connsiteY155" fmla="*/ 803574 h 927266"/>
                <a:gd name="connsiteX156" fmla="*/ 317279 w 976589"/>
                <a:gd name="connsiteY156" fmla="*/ 795725 h 927266"/>
                <a:gd name="connsiteX157" fmla="*/ 334939 w 976589"/>
                <a:gd name="connsiteY157" fmla="*/ 799650 h 927266"/>
                <a:gd name="connsiteX158" fmla="*/ 340826 w 976589"/>
                <a:gd name="connsiteY158" fmla="*/ 805537 h 927266"/>
                <a:gd name="connsiteX159" fmla="*/ 346712 w 976589"/>
                <a:gd name="connsiteY159" fmla="*/ 809461 h 927266"/>
                <a:gd name="connsiteX160" fmla="*/ 380070 w 976589"/>
                <a:gd name="connsiteY160" fmla="*/ 807499 h 927266"/>
                <a:gd name="connsiteX161" fmla="*/ 382033 w 976589"/>
                <a:gd name="connsiteY161" fmla="*/ 789839 h 927266"/>
                <a:gd name="connsiteX162" fmla="*/ 385957 w 976589"/>
                <a:gd name="connsiteY162" fmla="*/ 795725 h 927266"/>
                <a:gd name="connsiteX163" fmla="*/ 391844 w 976589"/>
                <a:gd name="connsiteY163" fmla="*/ 805537 h 927266"/>
                <a:gd name="connsiteX164" fmla="*/ 393806 w 976589"/>
                <a:gd name="connsiteY164" fmla="*/ 811423 h 927266"/>
                <a:gd name="connsiteX165" fmla="*/ 401655 w 976589"/>
                <a:gd name="connsiteY165" fmla="*/ 815348 h 927266"/>
                <a:gd name="connsiteX166" fmla="*/ 417353 w 976589"/>
                <a:gd name="connsiteY166" fmla="*/ 813386 h 927266"/>
                <a:gd name="connsiteX167" fmla="*/ 438937 w 976589"/>
                <a:gd name="connsiteY167" fmla="*/ 805537 h 927266"/>
                <a:gd name="connsiteX168" fmla="*/ 442862 w 976589"/>
                <a:gd name="connsiteY168" fmla="*/ 799650 h 927266"/>
                <a:gd name="connsiteX169" fmla="*/ 466409 w 976589"/>
                <a:gd name="connsiteY169" fmla="*/ 805537 h 927266"/>
                <a:gd name="connsiteX170" fmla="*/ 476220 w 976589"/>
                <a:gd name="connsiteY170" fmla="*/ 817310 h 927266"/>
                <a:gd name="connsiteX171" fmla="*/ 482106 w 976589"/>
                <a:gd name="connsiteY171" fmla="*/ 827121 h 927266"/>
                <a:gd name="connsiteX172" fmla="*/ 489955 w 976589"/>
                <a:gd name="connsiteY172" fmla="*/ 825159 h 927266"/>
                <a:gd name="connsiteX173" fmla="*/ 529200 w 976589"/>
                <a:gd name="connsiteY173" fmla="*/ 819272 h 927266"/>
                <a:gd name="connsiteX174" fmla="*/ 533124 w 976589"/>
                <a:gd name="connsiteY174" fmla="*/ 827121 h 927266"/>
                <a:gd name="connsiteX175" fmla="*/ 539011 w 976589"/>
                <a:gd name="connsiteY175" fmla="*/ 833008 h 927266"/>
                <a:gd name="connsiteX176" fmla="*/ 542936 w 976589"/>
                <a:gd name="connsiteY176" fmla="*/ 838895 h 927266"/>
                <a:gd name="connsiteX177" fmla="*/ 552747 w 976589"/>
                <a:gd name="connsiteY177" fmla="*/ 833008 h 927266"/>
                <a:gd name="connsiteX178" fmla="*/ 556671 w 976589"/>
                <a:gd name="connsiteY178" fmla="*/ 819272 h 927266"/>
                <a:gd name="connsiteX179" fmla="*/ 554709 w 976589"/>
                <a:gd name="connsiteY179" fmla="*/ 809461 h 927266"/>
                <a:gd name="connsiteX180" fmla="*/ 560596 w 976589"/>
                <a:gd name="connsiteY180" fmla="*/ 805537 h 927266"/>
                <a:gd name="connsiteX181" fmla="*/ 582180 w 976589"/>
                <a:gd name="connsiteY181" fmla="*/ 803574 h 927266"/>
                <a:gd name="connsiteX182" fmla="*/ 578256 w 976589"/>
                <a:gd name="connsiteY182" fmla="*/ 797688 h 927266"/>
                <a:gd name="connsiteX183" fmla="*/ 582180 w 976589"/>
                <a:gd name="connsiteY183" fmla="*/ 783952 h 927266"/>
                <a:gd name="connsiteX184" fmla="*/ 584142 w 976589"/>
                <a:gd name="connsiteY184" fmla="*/ 799650 h 927266"/>
                <a:gd name="connsiteX185" fmla="*/ 590029 w 976589"/>
                <a:gd name="connsiteY185" fmla="*/ 801612 h 927266"/>
                <a:gd name="connsiteX186" fmla="*/ 652821 w 976589"/>
                <a:gd name="connsiteY186" fmla="*/ 803574 h 927266"/>
                <a:gd name="connsiteX187" fmla="*/ 654783 w 976589"/>
                <a:gd name="connsiteY187" fmla="*/ 811423 h 927266"/>
                <a:gd name="connsiteX188" fmla="*/ 650858 w 976589"/>
                <a:gd name="connsiteY188" fmla="*/ 819272 h 927266"/>
                <a:gd name="connsiteX189" fmla="*/ 678330 w 976589"/>
                <a:gd name="connsiteY189" fmla="*/ 789839 h 927266"/>
                <a:gd name="connsiteX190" fmla="*/ 676367 w 976589"/>
                <a:gd name="connsiteY190" fmla="*/ 783952 h 927266"/>
                <a:gd name="connsiteX191" fmla="*/ 668518 w 976589"/>
                <a:gd name="connsiteY191" fmla="*/ 781990 h 927266"/>
                <a:gd name="connsiteX192" fmla="*/ 666556 w 976589"/>
                <a:gd name="connsiteY192" fmla="*/ 772179 h 927266"/>
                <a:gd name="connsiteX193" fmla="*/ 680292 w 976589"/>
                <a:gd name="connsiteY193" fmla="*/ 768254 h 927266"/>
                <a:gd name="connsiteX194" fmla="*/ 688141 w 976589"/>
                <a:gd name="connsiteY194" fmla="*/ 778065 h 927266"/>
                <a:gd name="connsiteX195" fmla="*/ 695990 w 976589"/>
                <a:gd name="connsiteY195" fmla="*/ 787877 h 927266"/>
                <a:gd name="connsiteX196" fmla="*/ 701876 w 976589"/>
                <a:gd name="connsiteY196" fmla="*/ 797688 h 927266"/>
                <a:gd name="connsiteX197" fmla="*/ 709725 w 976589"/>
                <a:gd name="connsiteY197" fmla="*/ 799650 h 927266"/>
                <a:gd name="connsiteX198" fmla="*/ 715612 w 976589"/>
                <a:gd name="connsiteY198" fmla="*/ 801612 h 927266"/>
                <a:gd name="connsiteX199" fmla="*/ 725423 w 976589"/>
                <a:gd name="connsiteY199" fmla="*/ 797688 h 927266"/>
                <a:gd name="connsiteX200" fmla="*/ 739159 w 976589"/>
                <a:gd name="connsiteY200" fmla="*/ 785914 h 927266"/>
                <a:gd name="connsiteX201" fmla="*/ 756819 w 976589"/>
                <a:gd name="connsiteY201" fmla="*/ 787877 h 927266"/>
                <a:gd name="connsiteX202" fmla="*/ 766630 w 976589"/>
                <a:gd name="connsiteY202" fmla="*/ 776103 h 927266"/>
                <a:gd name="connsiteX203" fmla="*/ 774479 w 976589"/>
                <a:gd name="connsiteY203" fmla="*/ 772179 h 927266"/>
                <a:gd name="connsiteX204" fmla="*/ 784290 w 976589"/>
                <a:gd name="connsiteY204" fmla="*/ 770216 h 927266"/>
                <a:gd name="connsiteX205" fmla="*/ 803912 w 976589"/>
                <a:gd name="connsiteY205" fmla="*/ 766292 h 927266"/>
                <a:gd name="connsiteX206" fmla="*/ 809799 w 976589"/>
                <a:gd name="connsiteY206" fmla="*/ 760405 h 927266"/>
                <a:gd name="connsiteX207" fmla="*/ 825497 w 976589"/>
                <a:gd name="connsiteY207" fmla="*/ 770216 h 927266"/>
                <a:gd name="connsiteX208" fmla="*/ 845119 w 976589"/>
                <a:gd name="connsiteY208" fmla="*/ 780028 h 927266"/>
                <a:gd name="connsiteX209" fmla="*/ 860817 w 976589"/>
                <a:gd name="connsiteY209" fmla="*/ 778065 h 927266"/>
                <a:gd name="connsiteX210" fmla="*/ 858855 w 976589"/>
                <a:gd name="connsiteY210" fmla="*/ 764330 h 927266"/>
                <a:gd name="connsiteX211" fmla="*/ 847082 w 976589"/>
                <a:gd name="connsiteY211" fmla="*/ 754519 h 927266"/>
                <a:gd name="connsiteX212" fmla="*/ 843157 w 976589"/>
                <a:gd name="connsiteY212" fmla="*/ 750594 h 927266"/>
                <a:gd name="connsiteX213" fmla="*/ 843157 w 976589"/>
                <a:gd name="connsiteY213" fmla="*/ 732934 h 927266"/>
                <a:gd name="connsiteX214" fmla="*/ 839233 w 976589"/>
                <a:gd name="connsiteY214" fmla="*/ 713312 h 927266"/>
                <a:gd name="connsiteX215" fmla="*/ 837270 w 976589"/>
                <a:gd name="connsiteY215" fmla="*/ 658369 h 927266"/>
                <a:gd name="connsiteX216" fmla="*/ 843157 w 976589"/>
                <a:gd name="connsiteY216" fmla="*/ 642671 h 927266"/>
                <a:gd name="connsiteX217" fmla="*/ 852968 w 976589"/>
                <a:gd name="connsiteY217" fmla="*/ 634822 h 927266"/>
                <a:gd name="connsiteX218" fmla="*/ 874553 w 976589"/>
                <a:gd name="connsiteY218" fmla="*/ 628936 h 927266"/>
                <a:gd name="connsiteX219" fmla="*/ 880439 w 976589"/>
                <a:gd name="connsiteY219" fmla="*/ 625011 h 927266"/>
                <a:gd name="connsiteX220" fmla="*/ 888288 w 976589"/>
                <a:gd name="connsiteY220" fmla="*/ 621087 h 927266"/>
                <a:gd name="connsiteX221" fmla="*/ 896137 w 976589"/>
                <a:gd name="connsiteY221" fmla="*/ 615200 h 927266"/>
                <a:gd name="connsiteX222" fmla="*/ 907911 w 976589"/>
                <a:gd name="connsiteY222" fmla="*/ 611276 h 927266"/>
                <a:gd name="connsiteX223" fmla="*/ 917722 w 976589"/>
                <a:gd name="connsiteY223" fmla="*/ 607351 h 927266"/>
                <a:gd name="connsiteX224" fmla="*/ 923609 w 976589"/>
                <a:gd name="connsiteY224" fmla="*/ 603427 h 927266"/>
                <a:gd name="connsiteX225" fmla="*/ 931458 w 976589"/>
                <a:gd name="connsiteY225" fmla="*/ 599502 h 927266"/>
                <a:gd name="connsiteX226" fmla="*/ 935382 w 976589"/>
                <a:gd name="connsiteY226" fmla="*/ 587729 h 927266"/>
                <a:gd name="connsiteX227" fmla="*/ 927533 w 976589"/>
                <a:gd name="connsiteY227" fmla="*/ 575956 h 927266"/>
                <a:gd name="connsiteX228" fmla="*/ 919684 w 976589"/>
                <a:gd name="connsiteY228" fmla="*/ 558295 h 927266"/>
                <a:gd name="connsiteX229" fmla="*/ 917722 w 976589"/>
                <a:gd name="connsiteY229" fmla="*/ 552409 h 927266"/>
                <a:gd name="connsiteX230" fmla="*/ 919684 w 976589"/>
                <a:gd name="connsiteY230" fmla="*/ 546522 h 927266"/>
                <a:gd name="connsiteX231" fmla="*/ 913797 w 976589"/>
                <a:gd name="connsiteY231" fmla="*/ 528862 h 927266"/>
                <a:gd name="connsiteX232" fmla="*/ 882402 w 976589"/>
                <a:gd name="connsiteY232" fmla="*/ 491580 h 927266"/>
                <a:gd name="connsiteX233" fmla="*/ 874553 w 976589"/>
                <a:gd name="connsiteY233" fmla="*/ 483731 h 927266"/>
                <a:gd name="connsiteX234" fmla="*/ 868666 w 976589"/>
                <a:gd name="connsiteY234" fmla="*/ 477844 h 927266"/>
                <a:gd name="connsiteX235" fmla="*/ 860817 w 976589"/>
                <a:gd name="connsiteY235" fmla="*/ 464108 h 927266"/>
                <a:gd name="connsiteX236" fmla="*/ 851006 w 976589"/>
                <a:gd name="connsiteY236" fmla="*/ 458222 h 927266"/>
                <a:gd name="connsiteX237" fmla="*/ 845119 w 976589"/>
                <a:gd name="connsiteY237" fmla="*/ 454297 h 927266"/>
                <a:gd name="connsiteX238" fmla="*/ 849044 w 976589"/>
                <a:gd name="connsiteY238" fmla="*/ 436637 h 927266"/>
                <a:gd name="connsiteX239" fmla="*/ 866704 w 976589"/>
                <a:gd name="connsiteY239" fmla="*/ 417015 h 927266"/>
                <a:gd name="connsiteX240" fmla="*/ 872591 w 976589"/>
                <a:gd name="connsiteY240" fmla="*/ 415053 h 927266"/>
                <a:gd name="connsiteX241" fmla="*/ 884364 w 976589"/>
                <a:gd name="connsiteY241" fmla="*/ 417015 h 927266"/>
                <a:gd name="connsiteX242" fmla="*/ 890251 w 976589"/>
                <a:gd name="connsiteY242" fmla="*/ 418977 h 927266"/>
                <a:gd name="connsiteX243" fmla="*/ 880439 w 976589"/>
                <a:gd name="connsiteY243" fmla="*/ 420939 h 927266"/>
                <a:gd name="connsiteX244" fmla="*/ 909873 w 976589"/>
                <a:gd name="connsiteY244" fmla="*/ 426826 h 927266"/>
                <a:gd name="connsiteX245" fmla="*/ 917722 w 976589"/>
                <a:gd name="connsiteY245" fmla="*/ 422901 h 927266"/>
                <a:gd name="connsiteX246" fmla="*/ 923609 w 976589"/>
                <a:gd name="connsiteY246" fmla="*/ 415053 h 927266"/>
                <a:gd name="connsiteX247" fmla="*/ 935382 w 976589"/>
                <a:gd name="connsiteY247" fmla="*/ 411128 h 927266"/>
                <a:gd name="connsiteX248" fmla="*/ 955004 w 976589"/>
                <a:gd name="connsiteY248" fmla="*/ 405241 h 927266"/>
                <a:gd name="connsiteX249" fmla="*/ 966778 w 976589"/>
                <a:gd name="connsiteY249" fmla="*/ 397392 h 927266"/>
                <a:gd name="connsiteX250" fmla="*/ 960891 w 976589"/>
                <a:gd name="connsiteY250" fmla="*/ 375808 h 927266"/>
                <a:gd name="connsiteX251" fmla="*/ 956967 w 976589"/>
                <a:gd name="connsiteY251" fmla="*/ 371883 h 927266"/>
                <a:gd name="connsiteX252" fmla="*/ 964815 w 976589"/>
                <a:gd name="connsiteY252" fmla="*/ 350299 h 927266"/>
                <a:gd name="connsiteX253" fmla="*/ 968740 w 976589"/>
                <a:gd name="connsiteY253" fmla="*/ 344412 h 927266"/>
                <a:gd name="connsiteX254" fmla="*/ 976589 w 976589"/>
                <a:gd name="connsiteY254" fmla="*/ 334601 h 927266"/>
                <a:gd name="connsiteX255" fmla="*/ 939306 w 976589"/>
                <a:gd name="connsiteY255" fmla="*/ 326752 h 927266"/>
                <a:gd name="connsiteX256" fmla="*/ 931458 w 976589"/>
                <a:gd name="connsiteY256" fmla="*/ 324790 h 927266"/>
                <a:gd name="connsiteX257" fmla="*/ 923609 w 976589"/>
                <a:gd name="connsiteY257" fmla="*/ 305168 h 927266"/>
                <a:gd name="connsiteX258" fmla="*/ 911835 w 976589"/>
                <a:gd name="connsiteY258" fmla="*/ 291432 h 927266"/>
                <a:gd name="connsiteX259" fmla="*/ 872591 w 976589"/>
                <a:gd name="connsiteY259" fmla="*/ 293394 h 927266"/>
                <a:gd name="connsiteX260" fmla="*/ 868666 w 976589"/>
                <a:gd name="connsiteY260" fmla="*/ 299281 h 927266"/>
                <a:gd name="connsiteX261" fmla="*/ 860817 w 976589"/>
                <a:gd name="connsiteY261" fmla="*/ 303205 h 927266"/>
                <a:gd name="connsiteX262" fmla="*/ 845119 w 976589"/>
                <a:gd name="connsiteY262" fmla="*/ 301243 h 927266"/>
                <a:gd name="connsiteX263" fmla="*/ 843157 w 976589"/>
                <a:gd name="connsiteY263" fmla="*/ 269847 h 927266"/>
                <a:gd name="connsiteX264" fmla="*/ 835308 w 976589"/>
                <a:gd name="connsiteY264" fmla="*/ 258074 h 927266"/>
                <a:gd name="connsiteX265" fmla="*/ 794101 w 976589"/>
                <a:gd name="connsiteY265" fmla="*/ 252187 h 927266"/>
                <a:gd name="connsiteX266" fmla="*/ 778403 w 976589"/>
                <a:gd name="connsiteY266" fmla="*/ 232565 h 927266"/>
                <a:gd name="connsiteX267" fmla="*/ 774479 w 976589"/>
                <a:gd name="connsiteY267" fmla="*/ 226678 h 927266"/>
                <a:gd name="connsiteX268" fmla="*/ 768592 w 976589"/>
                <a:gd name="connsiteY268" fmla="*/ 222754 h 927266"/>
                <a:gd name="connsiteX269" fmla="*/ 756819 w 976589"/>
                <a:gd name="connsiteY269" fmla="*/ 210980 h 927266"/>
                <a:gd name="connsiteX270" fmla="*/ 752894 w 976589"/>
                <a:gd name="connsiteY270" fmla="*/ 207056 h 927266"/>
                <a:gd name="connsiteX271" fmla="*/ 745045 w 976589"/>
                <a:gd name="connsiteY271" fmla="*/ 205094 h 927266"/>
                <a:gd name="connsiteX272" fmla="*/ 741121 w 976589"/>
                <a:gd name="connsiteY272" fmla="*/ 199207 h 927266"/>
                <a:gd name="connsiteX273" fmla="*/ 739159 w 976589"/>
                <a:gd name="connsiteY273" fmla="*/ 191358 h 927266"/>
                <a:gd name="connsiteX274" fmla="*/ 729348 w 976589"/>
                <a:gd name="connsiteY274" fmla="*/ 183509 h 927266"/>
                <a:gd name="connsiteX275" fmla="*/ 725423 w 976589"/>
                <a:gd name="connsiteY275" fmla="*/ 177622 h 927266"/>
                <a:gd name="connsiteX276" fmla="*/ 692065 w 976589"/>
                <a:gd name="connsiteY276" fmla="*/ 171736 h 927266"/>
                <a:gd name="connsiteX277" fmla="*/ 688141 w 976589"/>
                <a:gd name="connsiteY277" fmla="*/ 163887 h 927266"/>
                <a:gd name="connsiteX278" fmla="*/ 690103 w 976589"/>
                <a:gd name="connsiteY278" fmla="*/ 156038 h 927266"/>
                <a:gd name="connsiteX279" fmla="*/ 692065 w 976589"/>
                <a:gd name="connsiteY279" fmla="*/ 150151 h 927266"/>
                <a:gd name="connsiteX280" fmla="*/ 695990 w 976589"/>
                <a:gd name="connsiteY280" fmla="*/ 136416 h 927266"/>
                <a:gd name="connsiteX281" fmla="*/ 699914 w 976589"/>
                <a:gd name="connsiteY281" fmla="*/ 130529 h 927266"/>
                <a:gd name="connsiteX282" fmla="*/ 707763 w 976589"/>
                <a:gd name="connsiteY282" fmla="*/ 118756 h 927266"/>
                <a:gd name="connsiteX0" fmla="*/ 707763 w 976589"/>
                <a:gd name="connsiteY0" fmla="*/ 118756 h 927266"/>
                <a:gd name="connsiteX1" fmla="*/ 701876 w 976589"/>
                <a:gd name="connsiteY1" fmla="*/ 106982 h 927266"/>
                <a:gd name="connsiteX2" fmla="*/ 694027 w 976589"/>
                <a:gd name="connsiteY2" fmla="*/ 99133 h 927266"/>
                <a:gd name="connsiteX3" fmla="*/ 686179 w 976589"/>
                <a:gd name="connsiteY3" fmla="*/ 89322 h 927266"/>
                <a:gd name="connsiteX4" fmla="*/ 682254 w 976589"/>
                <a:gd name="connsiteY4" fmla="*/ 81473 h 927266"/>
                <a:gd name="connsiteX5" fmla="*/ 678330 w 976589"/>
                <a:gd name="connsiteY5" fmla="*/ 75586 h 927266"/>
                <a:gd name="connsiteX6" fmla="*/ 670481 w 976589"/>
                <a:gd name="connsiteY6" fmla="*/ 63813 h 927266"/>
                <a:gd name="connsiteX7" fmla="*/ 674405 w 976589"/>
                <a:gd name="connsiteY7" fmla="*/ 34380 h 927266"/>
                <a:gd name="connsiteX8" fmla="*/ 672443 w 976589"/>
                <a:gd name="connsiteY8" fmla="*/ 20644 h 927266"/>
                <a:gd name="connsiteX9" fmla="*/ 666556 w 976589"/>
                <a:gd name="connsiteY9" fmla="*/ 26531 h 927266"/>
                <a:gd name="connsiteX10" fmla="*/ 660670 w 976589"/>
                <a:gd name="connsiteY10" fmla="*/ 30455 h 927266"/>
                <a:gd name="connsiteX11" fmla="*/ 650858 w 976589"/>
                <a:gd name="connsiteY11" fmla="*/ 28493 h 927266"/>
                <a:gd name="connsiteX12" fmla="*/ 639085 w 976589"/>
                <a:gd name="connsiteY12" fmla="*/ 18682 h 927266"/>
                <a:gd name="connsiteX13" fmla="*/ 627312 w 976589"/>
                <a:gd name="connsiteY13" fmla="*/ 12795 h 927266"/>
                <a:gd name="connsiteX14" fmla="*/ 611614 w 976589"/>
                <a:gd name="connsiteY14" fmla="*/ 4946 h 927266"/>
                <a:gd name="connsiteX15" fmla="*/ 562558 w 976589"/>
                <a:gd name="connsiteY15" fmla="*/ 1022 h 927266"/>
                <a:gd name="connsiteX16" fmla="*/ 539011 w 976589"/>
                <a:gd name="connsiteY16" fmla="*/ 2984 h 927266"/>
                <a:gd name="connsiteX17" fmla="*/ 533124 w 976589"/>
                <a:gd name="connsiteY17" fmla="*/ 32417 h 927266"/>
                <a:gd name="connsiteX18" fmla="*/ 527238 w 976589"/>
                <a:gd name="connsiteY18" fmla="*/ 38304 h 927266"/>
                <a:gd name="connsiteX19" fmla="*/ 515464 w 976589"/>
                <a:gd name="connsiteY19" fmla="*/ 28493 h 927266"/>
                <a:gd name="connsiteX20" fmla="*/ 509578 w 976589"/>
                <a:gd name="connsiteY20" fmla="*/ 16719 h 927266"/>
                <a:gd name="connsiteX21" fmla="*/ 505653 w 976589"/>
                <a:gd name="connsiteY21" fmla="*/ 4946 h 927266"/>
                <a:gd name="connsiteX22" fmla="*/ 444824 w 976589"/>
                <a:gd name="connsiteY22" fmla="*/ 12795 h 927266"/>
                <a:gd name="connsiteX23" fmla="*/ 433051 w 976589"/>
                <a:gd name="connsiteY23" fmla="*/ 18682 h 927266"/>
                <a:gd name="connsiteX24" fmla="*/ 425202 w 976589"/>
                <a:gd name="connsiteY24" fmla="*/ 6908 h 927266"/>
                <a:gd name="connsiteX25" fmla="*/ 417353 w 976589"/>
                <a:gd name="connsiteY25" fmla="*/ 4946 h 927266"/>
                <a:gd name="connsiteX26" fmla="*/ 405579 w 976589"/>
                <a:gd name="connsiteY26" fmla="*/ 6908 h 927266"/>
                <a:gd name="connsiteX27" fmla="*/ 401655 w 976589"/>
                <a:gd name="connsiteY27" fmla="*/ 14757 h 927266"/>
                <a:gd name="connsiteX28" fmla="*/ 387919 w 976589"/>
                <a:gd name="connsiteY28" fmla="*/ 12795 h 927266"/>
                <a:gd name="connsiteX29" fmla="*/ 374184 w 976589"/>
                <a:gd name="connsiteY29" fmla="*/ 6908 h 927266"/>
                <a:gd name="connsiteX30" fmla="*/ 368297 w 976589"/>
                <a:gd name="connsiteY30" fmla="*/ 10833 h 927266"/>
                <a:gd name="connsiteX31" fmla="*/ 362410 w 976589"/>
                <a:gd name="connsiteY31" fmla="*/ 22606 h 927266"/>
                <a:gd name="connsiteX32" fmla="*/ 358486 w 976589"/>
                <a:gd name="connsiteY32" fmla="*/ 30455 h 927266"/>
                <a:gd name="connsiteX33" fmla="*/ 352599 w 976589"/>
                <a:gd name="connsiteY33" fmla="*/ 34380 h 927266"/>
                <a:gd name="connsiteX34" fmla="*/ 344750 w 976589"/>
                <a:gd name="connsiteY34" fmla="*/ 40266 h 927266"/>
                <a:gd name="connsiteX35" fmla="*/ 334939 w 976589"/>
                <a:gd name="connsiteY35" fmla="*/ 50077 h 927266"/>
                <a:gd name="connsiteX36" fmla="*/ 332977 w 976589"/>
                <a:gd name="connsiteY36" fmla="*/ 55964 h 927266"/>
                <a:gd name="connsiteX37" fmla="*/ 329052 w 976589"/>
                <a:gd name="connsiteY37" fmla="*/ 77549 h 927266"/>
                <a:gd name="connsiteX38" fmla="*/ 321203 w 976589"/>
                <a:gd name="connsiteY38" fmla="*/ 81473 h 927266"/>
                <a:gd name="connsiteX39" fmla="*/ 332977 w 976589"/>
                <a:gd name="connsiteY39" fmla="*/ 83435 h 927266"/>
                <a:gd name="connsiteX40" fmla="*/ 321203 w 976589"/>
                <a:gd name="connsiteY40" fmla="*/ 87360 h 927266"/>
                <a:gd name="connsiteX41" fmla="*/ 291770 w 976589"/>
                <a:gd name="connsiteY41" fmla="*/ 99133 h 927266"/>
                <a:gd name="connsiteX42" fmla="*/ 289808 w 976589"/>
                <a:gd name="connsiteY42" fmla="*/ 91284 h 927266"/>
                <a:gd name="connsiteX43" fmla="*/ 297657 w 976589"/>
                <a:gd name="connsiteY43" fmla="*/ 85398 h 927266"/>
                <a:gd name="connsiteX44" fmla="*/ 278034 w 976589"/>
                <a:gd name="connsiteY44" fmla="*/ 87360 h 927266"/>
                <a:gd name="connsiteX45" fmla="*/ 274110 w 976589"/>
                <a:gd name="connsiteY45" fmla="*/ 95209 h 927266"/>
                <a:gd name="connsiteX46" fmla="*/ 268223 w 976589"/>
                <a:gd name="connsiteY46" fmla="*/ 108944 h 927266"/>
                <a:gd name="connsiteX47" fmla="*/ 250563 w 976589"/>
                <a:gd name="connsiteY47" fmla="*/ 124642 h 927266"/>
                <a:gd name="connsiteX48" fmla="*/ 248601 w 976589"/>
                <a:gd name="connsiteY48" fmla="*/ 140340 h 927266"/>
                <a:gd name="connsiteX49" fmla="*/ 242714 w 976589"/>
                <a:gd name="connsiteY49" fmla="*/ 150151 h 927266"/>
                <a:gd name="connsiteX50" fmla="*/ 240752 w 976589"/>
                <a:gd name="connsiteY50" fmla="*/ 156038 h 927266"/>
                <a:gd name="connsiteX51" fmla="*/ 238790 w 976589"/>
                <a:gd name="connsiteY51" fmla="*/ 185471 h 927266"/>
                <a:gd name="connsiteX52" fmla="*/ 246639 w 976589"/>
                <a:gd name="connsiteY52" fmla="*/ 187434 h 927266"/>
                <a:gd name="connsiteX53" fmla="*/ 260374 w 976589"/>
                <a:gd name="connsiteY53" fmla="*/ 191358 h 927266"/>
                <a:gd name="connsiteX54" fmla="*/ 258412 w 976589"/>
                <a:gd name="connsiteY54" fmla="*/ 197245 h 927266"/>
                <a:gd name="connsiteX55" fmla="*/ 254488 w 976589"/>
                <a:gd name="connsiteY55" fmla="*/ 203131 h 927266"/>
                <a:gd name="connsiteX56" fmla="*/ 252525 w 976589"/>
                <a:gd name="connsiteY56" fmla="*/ 216867 h 927266"/>
                <a:gd name="connsiteX57" fmla="*/ 236827 w 976589"/>
                <a:gd name="connsiteY57" fmla="*/ 226678 h 927266"/>
                <a:gd name="connsiteX58" fmla="*/ 234865 w 976589"/>
                <a:gd name="connsiteY58" fmla="*/ 242376 h 927266"/>
                <a:gd name="connsiteX59" fmla="*/ 221130 w 976589"/>
                <a:gd name="connsiteY59" fmla="*/ 258074 h 927266"/>
                <a:gd name="connsiteX60" fmla="*/ 215243 w 976589"/>
                <a:gd name="connsiteY60" fmla="*/ 265923 h 927266"/>
                <a:gd name="connsiteX61" fmla="*/ 193658 w 976589"/>
                <a:gd name="connsiteY61" fmla="*/ 265923 h 927266"/>
                <a:gd name="connsiteX62" fmla="*/ 189734 w 976589"/>
                <a:gd name="connsiteY62" fmla="*/ 254150 h 927266"/>
                <a:gd name="connsiteX63" fmla="*/ 191696 w 976589"/>
                <a:gd name="connsiteY63" fmla="*/ 261998 h 927266"/>
                <a:gd name="connsiteX64" fmla="*/ 193658 w 976589"/>
                <a:gd name="connsiteY64" fmla="*/ 271810 h 927266"/>
                <a:gd name="connsiteX65" fmla="*/ 197583 w 976589"/>
                <a:gd name="connsiteY65" fmla="*/ 283583 h 927266"/>
                <a:gd name="connsiteX66" fmla="*/ 201507 w 976589"/>
                <a:gd name="connsiteY66" fmla="*/ 297319 h 927266"/>
                <a:gd name="connsiteX67" fmla="*/ 203470 w 976589"/>
                <a:gd name="connsiteY67" fmla="*/ 318903 h 927266"/>
                <a:gd name="connsiteX68" fmla="*/ 205432 w 976589"/>
                <a:gd name="connsiteY68" fmla="*/ 324790 h 927266"/>
                <a:gd name="connsiteX69" fmla="*/ 213281 w 976589"/>
                <a:gd name="connsiteY69" fmla="*/ 326752 h 927266"/>
                <a:gd name="connsiteX70" fmla="*/ 215243 w 976589"/>
                <a:gd name="connsiteY70" fmla="*/ 332639 h 927266"/>
                <a:gd name="connsiteX71" fmla="*/ 201507 w 976589"/>
                <a:gd name="connsiteY71" fmla="*/ 354223 h 927266"/>
                <a:gd name="connsiteX72" fmla="*/ 197583 w 976589"/>
                <a:gd name="connsiteY72" fmla="*/ 360110 h 927266"/>
                <a:gd name="connsiteX73" fmla="*/ 193658 w 976589"/>
                <a:gd name="connsiteY73" fmla="*/ 364034 h 927266"/>
                <a:gd name="connsiteX74" fmla="*/ 197583 w 976589"/>
                <a:gd name="connsiteY74" fmla="*/ 385619 h 927266"/>
                <a:gd name="connsiteX75" fmla="*/ 219167 w 976589"/>
                <a:gd name="connsiteY75" fmla="*/ 387581 h 927266"/>
                <a:gd name="connsiteX76" fmla="*/ 225054 w 976589"/>
                <a:gd name="connsiteY76" fmla="*/ 393468 h 927266"/>
                <a:gd name="connsiteX77" fmla="*/ 221130 w 976589"/>
                <a:gd name="connsiteY77" fmla="*/ 401317 h 927266"/>
                <a:gd name="connsiteX78" fmla="*/ 219167 w 976589"/>
                <a:gd name="connsiteY78" fmla="*/ 411128 h 927266"/>
                <a:gd name="connsiteX79" fmla="*/ 213281 w 976589"/>
                <a:gd name="connsiteY79" fmla="*/ 413090 h 927266"/>
                <a:gd name="connsiteX80" fmla="*/ 193658 w 976589"/>
                <a:gd name="connsiteY80" fmla="*/ 409166 h 927266"/>
                <a:gd name="connsiteX81" fmla="*/ 185809 w 976589"/>
                <a:gd name="connsiteY81" fmla="*/ 403279 h 927266"/>
                <a:gd name="connsiteX82" fmla="*/ 177961 w 976589"/>
                <a:gd name="connsiteY82" fmla="*/ 407204 h 927266"/>
                <a:gd name="connsiteX83" fmla="*/ 174036 w 976589"/>
                <a:gd name="connsiteY83" fmla="*/ 415053 h 927266"/>
                <a:gd name="connsiteX84" fmla="*/ 162263 w 976589"/>
                <a:gd name="connsiteY84" fmla="*/ 418977 h 927266"/>
                <a:gd name="connsiteX85" fmla="*/ 136754 w 976589"/>
                <a:gd name="connsiteY85" fmla="*/ 434675 h 927266"/>
                <a:gd name="connsiteX86" fmla="*/ 128905 w 976589"/>
                <a:gd name="connsiteY86" fmla="*/ 436637 h 927266"/>
                <a:gd name="connsiteX87" fmla="*/ 126942 w 976589"/>
                <a:gd name="connsiteY87" fmla="*/ 442524 h 927266"/>
                <a:gd name="connsiteX88" fmla="*/ 124980 w 976589"/>
                <a:gd name="connsiteY88" fmla="*/ 466071 h 927266"/>
                <a:gd name="connsiteX89" fmla="*/ 119094 w 976589"/>
                <a:gd name="connsiteY89" fmla="*/ 468033 h 927266"/>
                <a:gd name="connsiteX90" fmla="*/ 115169 w 976589"/>
                <a:gd name="connsiteY90" fmla="*/ 475882 h 927266"/>
                <a:gd name="connsiteX91" fmla="*/ 111245 w 976589"/>
                <a:gd name="connsiteY91" fmla="*/ 485693 h 927266"/>
                <a:gd name="connsiteX92" fmla="*/ 91622 w 976589"/>
                <a:gd name="connsiteY92" fmla="*/ 491580 h 927266"/>
                <a:gd name="connsiteX93" fmla="*/ 48813 w 976589"/>
                <a:gd name="connsiteY93" fmla="*/ 487700 h 927266"/>
                <a:gd name="connsiteX94" fmla="*/ 20982 w 976589"/>
                <a:gd name="connsiteY94" fmla="*/ 497466 h 927266"/>
                <a:gd name="connsiteX95" fmla="*/ 17058 w 976589"/>
                <a:gd name="connsiteY95" fmla="*/ 501391 h 927266"/>
                <a:gd name="connsiteX96" fmla="*/ 7246 w 976589"/>
                <a:gd name="connsiteY96" fmla="*/ 491580 h 927266"/>
                <a:gd name="connsiteX97" fmla="*/ 3322 w 976589"/>
                <a:gd name="connsiteY97" fmla="*/ 511202 h 927266"/>
                <a:gd name="connsiteX98" fmla="*/ 5284 w 976589"/>
                <a:gd name="connsiteY98" fmla="*/ 521013 h 927266"/>
                <a:gd name="connsiteX99" fmla="*/ 9209 w 976589"/>
                <a:gd name="connsiteY99" fmla="*/ 524938 h 927266"/>
                <a:gd name="connsiteX100" fmla="*/ 13133 w 976589"/>
                <a:gd name="connsiteY100" fmla="*/ 530824 h 927266"/>
                <a:gd name="connsiteX101" fmla="*/ 15095 w 976589"/>
                <a:gd name="connsiteY101" fmla="*/ 536711 h 927266"/>
                <a:gd name="connsiteX102" fmla="*/ 24906 w 976589"/>
                <a:gd name="connsiteY102" fmla="*/ 556333 h 927266"/>
                <a:gd name="connsiteX103" fmla="*/ 26869 w 976589"/>
                <a:gd name="connsiteY103" fmla="*/ 562220 h 927266"/>
                <a:gd name="connsiteX104" fmla="*/ 30793 w 976589"/>
                <a:gd name="connsiteY104" fmla="*/ 568107 h 927266"/>
                <a:gd name="connsiteX105" fmla="*/ 34718 w 976589"/>
                <a:gd name="connsiteY105" fmla="*/ 581842 h 927266"/>
                <a:gd name="connsiteX106" fmla="*/ 38642 w 976589"/>
                <a:gd name="connsiteY106" fmla="*/ 589691 h 927266"/>
                <a:gd name="connsiteX107" fmla="*/ 42567 w 976589"/>
                <a:gd name="connsiteY107" fmla="*/ 599502 h 927266"/>
                <a:gd name="connsiteX108" fmla="*/ 46491 w 976589"/>
                <a:gd name="connsiteY108" fmla="*/ 603427 h 927266"/>
                <a:gd name="connsiteX109" fmla="*/ 52378 w 976589"/>
                <a:gd name="connsiteY109" fmla="*/ 615200 h 927266"/>
                <a:gd name="connsiteX110" fmla="*/ 54340 w 976589"/>
                <a:gd name="connsiteY110" fmla="*/ 625011 h 927266"/>
                <a:gd name="connsiteX111" fmla="*/ 66113 w 976589"/>
                <a:gd name="connsiteY111" fmla="*/ 632860 h 927266"/>
                <a:gd name="connsiteX112" fmla="*/ 72000 w 976589"/>
                <a:gd name="connsiteY112" fmla="*/ 642671 h 927266"/>
                <a:gd name="connsiteX113" fmla="*/ 75924 w 976589"/>
                <a:gd name="connsiteY113" fmla="*/ 646596 h 927266"/>
                <a:gd name="connsiteX114" fmla="*/ 77887 w 976589"/>
                <a:gd name="connsiteY114" fmla="*/ 658369 h 927266"/>
                <a:gd name="connsiteX115" fmla="*/ 81811 w 976589"/>
                <a:gd name="connsiteY115" fmla="*/ 666218 h 927266"/>
                <a:gd name="connsiteX116" fmla="*/ 77887 w 976589"/>
                <a:gd name="connsiteY116" fmla="*/ 705463 h 927266"/>
                <a:gd name="connsiteX117" fmla="*/ 60227 w 976589"/>
                <a:gd name="connsiteY117" fmla="*/ 721161 h 927266"/>
                <a:gd name="connsiteX118" fmla="*/ 54340 w 976589"/>
                <a:gd name="connsiteY118" fmla="*/ 729010 h 927266"/>
                <a:gd name="connsiteX119" fmla="*/ 50415 w 976589"/>
                <a:gd name="connsiteY119" fmla="*/ 732934 h 927266"/>
                <a:gd name="connsiteX120" fmla="*/ 46491 w 976589"/>
                <a:gd name="connsiteY120" fmla="*/ 738821 h 927266"/>
                <a:gd name="connsiteX121" fmla="*/ 38642 w 976589"/>
                <a:gd name="connsiteY121" fmla="*/ 744707 h 927266"/>
                <a:gd name="connsiteX122" fmla="*/ 28831 w 976589"/>
                <a:gd name="connsiteY122" fmla="*/ 758443 h 927266"/>
                <a:gd name="connsiteX123" fmla="*/ 22944 w 976589"/>
                <a:gd name="connsiteY123" fmla="*/ 762368 h 927266"/>
                <a:gd name="connsiteX124" fmla="*/ 19020 w 976589"/>
                <a:gd name="connsiteY124" fmla="*/ 770216 h 927266"/>
                <a:gd name="connsiteX125" fmla="*/ 15095 w 976589"/>
                <a:gd name="connsiteY125" fmla="*/ 776103 h 927266"/>
                <a:gd name="connsiteX126" fmla="*/ 13133 w 976589"/>
                <a:gd name="connsiteY126" fmla="*/ 783952 h 927266"/>
                <a:gd name="connsiteX127" fmla="*/ 15095 w 976589"/>
                <a:gd name="connsiteY127" fmla="*/ 805537 h 927266"/>
                <a:gd name="connsiteX128" fmla="*/ 26869 w 976589"/>
                <a:gd name="connsiteY128" fmla="*/ 811423 h 927266"/>
                <a:gd name="connsiteX129" fmla="*/ 52378 w 976589"/>
                <a:gd name="connsiteY129" fmla="*/ 813386 h 927266"/>
                <a:gd name="connsiteX130" fmla="*/ 58264 w 976589"/>
                <a:gd name="connsiteY130" fmla="*/ 819272 h 927266"/>
                <a:gd name="connsiteX131" fmla="*/ 66113 w 976589"/>
                <a:gd name="connsiteY131" fmla="*/ 821234 h 927266"/>
                <a:gd name="connsiteX132" fmla="*/ 73962 w 976589"/>
                <a:gd name="connsiteY132" fmla="*/ 833008 h 927266"/>
                <a:gd name="connsiteX133" fmla="*/ 72000 w 976589"/>
                <a:gd name="connsiteY133" fmla="*/ 844781 h 927266"/>
                <a:gd name="connsiteX134" fmla="*/ 70038 w 976589"/>
                <a:gd name="connsiteY134" fmla="*/ 850668 h 927266"/>
                <a:gd name="connsiteX135" fmla="*/ 73962 w 976589"/>
                <a:gd name="connsiteY135" fmla="*/ 895799 h 927266"/>
                <a:gd name="connsiteX136" fmla="*/ 75924 w 976589"/>
                <a:gd name="connsiteY136" fmla="*/ 909535 h 927266"/>
                <a:gd name="connsiteX137" fmla="*/ 85736 w 976589"/>
                <a:gd name="connsiteY137" fmla="*/ 921308 h 927266"/>
                <a:gd name="connsiteX138" fmla="*/ 91622 w 976589"/>
                <a:gd name="connsiteY138" fmla="*/ 909535 h 927266"/>
                <a:gd name="connsiteX139" fmla="*/ 101433 w 976589"/>
                <a:gd name="connsiteY139" fmla="*/ 907573 h 927266"/>
                <a:gd name="connsiteX140" fmla="*/ 119094 w 976589"/>
                <a:gd name="connsiteY140" fmla="*/ 909535 h 927266"/>
                <a:gd name="connsiteX141" fmla="*/ 124980 w 976589"/>
                <a:gd name="connsiteY141" fmla="*/ 911497 h 927266"/>
                <a:gd name="connsiteX142" fmla="*/ 128905 w 976589"/>
                <a:gd name="connsiteY142" fmla="*/ 905610 h 927266"/>
                <a:gd name="connsiteX143" fmla="*/ 134791 w 976589"/>
                <a:gd name="connsiteY143" fmla="*/ 897762 h 927266"/>
                <a:gd name="connsiteX144" fmla="*/ 142640 w 976589"/>
                <a:gd name="connsiteY144" fmla="*/ 884026 h 927266"/>
                <a:gd name="connsiteX145" fmla="*/ 152451 w 976589"/>
                <a:gd name="connsiteY145" fmla="*/ 868328 h 927266"/>
                <a:gd name="connsiteX146" fmla="*/ 154414 w 976589"/>
                <a:gd name="connsiteY146" fmla="*/ 862441 h 927266"/>
                <a:gd name="connsiteX147" fmla="*/ 164225 w 976589"/>
                <a:gd name="connsiteY147" fmla="*/ 846744 h 927266"/>
                <a:gd name="connsiteX148" fmla="*/ 162263 w 976589"/>
                <a:gd name="connsiteY148" fmla="*/ 833008 h 927266"/>
                <a:gd name="connsiteX149" fmla="*/ 174036 w 976589"/>
                <a:gd name="connsiteY149" fmla="*/ 834970 h 927266"/>
                <a:gd name="connsiteX150" fmla="*/ 238790 w 976589"/>
                <a:gd name="connsiteY150" fmla="*/ 831046 h 927266"/>
                <a:gd name="connsiteX151" fmla="*/ 256450 w 976589"/>
                <a:gd name="connsiteY151" fmla="*/ 827121 h 927266"/>
                <a:gd name="connsiteX152" fmla="*/ 268223 w 976589"/>
                <a:gd name="connsiteY152" fmla="*/ 825159 h 927266"/>
                <a:gd name="connsiteX153" fmla="*/ 272148 w 976589"/>
                <a:gd name="connsiteY153" fmla="*/ 819272 h 927266"/>
                <a:gd name="connsiteX154" fmla="*/ 309430 w 976589"/>
                <a:gd name="connsiteY154" fmla="*/ 811423 h 927266"/>
                <a:gd name="connsiteX155" fmla="*/ 311392 w 976589"/>
                <a:gd name="connsiteY155" fmla="*/ 803574 h 927266"/>
                <a:gd name="connsiteX156" fmla="*/ 317279 w 976589"/>
                <a:gd name="connsiteY156" fmla="*/ 795725 h 927266"/>
                <a:gd name="connsiteX157" fmla="*/ 334939 w 976589"/>
                <a:gd name="connsiteY157" fmla="*/ 799650 h 927266"/>
                <a:gd name="connsiteX158" fmla="*/ 340826 w 976589"/>
                <a:gd name="connsiteY158" fmla="*/ 805537 h 927266"/>
                <a:gd name="connsiteX159" fmla="*/ 346712 w 976589"/>
                <a:gd name="connsiteY159" fmla="*/ 809461 h 927266"/>
                <a:gd name="connsiteX160" fmla="*/ 380070 w 976589"/>
                <a:gd name="connsiteY160" fmla="*/ 807499 h 927266"/>
                <a:gd name="connsiteX161" fmla="*/ 382033 w 976589"/>
                <a:gd name="connsiteY161" fmla="*/ 789839 h 927266"/>
                <a:gd name="connsiteX162" fmla="*/ 385957 w 976589"/>
                <a:gd name="connsiteY162" fmla="*/ 795725 h 927266"/>
                <a:gd name="connsiteX163" fmla="*/ 391844 w 976589"/>
                <a:gd name="connsiteY163" fmla="*/ 805537 h 927266"/>
                <a:gd name="connsiteX164" fmla="*/ 393806 w 976589"/>
                <a:gd name="connsiteY164" fmla="*/ 811423 h 927266"/>
                <a:gd name="connsiteX165" fmla="*/ 401655 w 976589"/>
                <a:gd name="connsiteY165" fmla="*/ 815348 h 927266"/>
                <a:gd name="connsiteX166" fmla="*/ 417353 w 976589"/>
                <a:gd name="connsiteY166" fmla="*/ 813386 h 927266"/>
                <a:gd name="connsiteX167" fmla="*/ 438937 w 976589"/>
                <a:gd name="connsiteY167" fmla="*/ 805537 h 927266"/>
                <a:gd name="connsiteX168" fmla="*/ 442862 w 976589"/>
                <a:gd name="connsiteY168" fmla="*/ 799650 h 927266"/>
                <a:gd name="connsiteX169" fmla="*/ 466409 w 976589"/>
                <a:gd name="connsiteY169" fmla="*/ 805537 h 927266"/>
                <a:gd name="connsiteX170" fmla="*/ 476220 w 976589"/>
                <a:gd name="connsiteY170" fmla="*/ 817310 h 927266"/>
                <a:gd name="connsiteX171" fmla="*/ 482106 w 976589"/>
                <a:gd name="connsiteY171" fmla="*/ 827121 h 927266"/>
                <a:gd name="connsiteX172" fmla="*/ 489955 w 976589"/>
                <a:gd name="connsiteY172" fmla="*/ 825159 h 927266"/>
                <a:gd name="connsiteX173" fmla="*/ 529200 w 976589"/>
                <a:gd name="connsiteY173" fmla="*/ 819272 h 927266"/>
                <a:gd name="connsiteX174" fmla="*/ 533124 w 976589"/>
                <a:gd name="connsiteY174" fmla="*/ 827121 h 927266"/>
                <a:gd name="connsiteX175" fmla="*/ 539011 w 976589"/>
                <a:gd name="connsiteY175" fmla="*/ 833008 h 927266"/>
                <a:gd name="connsiteX176" fmla="*/ 542936 w 976589"/>
                <a:gd name="connsiteY176" fmla="*/ 838895 h 927266"/>
                <a:gd name="connsiteX177" fmla="*/ 552747 w 976589"/>
                <a:gd name="connsiteY177" fmla="*/ 833008 h 927266"/>
                <a:gd name="connsiteX178" fmla="*/ 556671 w 976589"/>
                <a:gd name="connsiteY178" fmla="*/ 819272 h 927266"/>
                <a:gd name="connsiteX179" fmla="*/ 554709 w 976589"/>
                <a:gd name="connsiteY179" fmla="*/ 809461 h 927266"/>
                <a:gd name="connsiteX180" fmla="*/ 560596 w 976589"/>
                <a:gd name="connsiteY180" fmla="*/ 805537 h 927266"/>
                <a:gd name="connsiteX181" fmla="*/ 582180 w 976589"/>
                <a:gd name="connsiteY181" fmla="*/ 803574 h 927266"/>
                <a:gd name="connsiteX182" fmla="*/ 578256 w 976589"/>
                <a:gd name="connsiteY182" fmla="*/ 797688 h 927266"/>
                <a:gd name="connsiteX183" fmla="*/ 584142 w 976589"/>
                <a:gd name="connsiteY183" fmla="*/ 799650 h 927266"/>
                <a:gd name="connsiteX184" fmla="*/ 590029 w 976589"/>
                <a:gd name="connsiteY184" fmla="*/ 801612 h 927266"/>
                <a:gd name="connsiteX185" fmla="*/ 652821 w 976589"/>
                <a:gd name="connsiteY185" fmla="*/ 803574 h 927266"/>
                <a:gd name="connsiteX186" fmla="*/ 654783 w 976589"/>
                <a:gd name="connsiteY186" fmla="*/ 811423 h 927266"/>
                <a:gd name="connsiteX187" fmla="*/ 650858 w 976589"/>
                <a:gd name="connsiteY187" fmla="*/ 819272 h 927266"/>
                <a:gd name="connsiteX188" fmla="*/ 678330 w 976589"/>
                <a:gd name="connsiteY188" fmla="*/ 789839 h 927266"/>
                <a:gd name="connsiteX189" fmla="*/ 676367 w 976589"/>
                <a:gd name="connsiteY189" fmla="*/ 783952 h 927266"/>
                <a:gd name="connsiteX190" fmla="*/ 668518 w 976589"/>
                <a:gd name="connsiteY190" fmla="*/ 781990 h 927266"/>
                <a:gd name="connsiteX191" fmla="*/ 666556 w 976589"/>
                <a:gd name="connsiteY191" fmla="*/ 772179 h 927266"/>
                <a:gd name="connsiteX192" fmla="*/ 680292 w 976589"/>
                <a:gd name="connsiteY192" fmla="*/ 768254 h 927266"/>
                <a:gd name="connsiteX193" fmla="*/ 688141 w 976589"/>
                <a:gd name="connsiteY193" fmla="*/ 778065 h 927266"/>
                <a:gd name="connsiteX194" fmla="*/ 695990 w 976589"/>
                <a:gd name="connsiteY194" fmla="*/ 787877 h 927266"/>
                <a:gd name="connsiteX195" fmla="*/ 701876 w 976589"/>
                <a:gd name="connsiteY195" fmla="*/ 797688 h 927266"/>
                <a:gd name="connsiteX196" fmla="*/ 709725 w 976589"/>
                <a:gd name="connsiteY196" fmla="*/ 799650 h 927266"/>
                <a:gd name="connsiteX197" fmla="*/ 715612 w 976589"/>
                <a:gd name="connsiteY197" fmla="*/ 801612 h 927266"/>
                <a:gd name="connsiteX198" fmla="*/ 725423 w 976589"/>
                <a:gd name="connsiteY198" fmla="*/ 797688 h 927266"/>
                <a:gd name="connsiteX199" fmla="*/ 739159 w 976589"/>
                <a:gd name="connsiteY199" fmla="*/ 785914 h 927266"/>
                <a:gd name="connsiteX200" fmla="*/ 756819 w 976589"/>
                <a:gd name="connsiteY200" fmla="*/ 787877 h 927266"/>
                <a:gd name="connsiteX201" fmla="*/ 766630 w 976589"/>
                <a:gd name="connsiteY201" fmla="*/ 776103 h 927266"/>
                <a:gd name="connsiteX202" fmla="*/ 774479 w 976589"/>
                <a:gd name="connsiteY202" fmla="*/ 772179 h 927266"/>
                <a:gd name="connsiteX203" fmla="*/ 784290 w 976589"/>
                <a:gd name="connsiteY203" fmla="*/ 770216 h 927266"/>
                <a:gd name="connsiteX204" fmla="*/ 803912 w 976589"/>
                <a:gd name="connsiteY204" fmla="*/ 766292 h 927266"/>
                <a:gd name="connsiteX205" fmla="*/ 809799 w 976589"/>
                <a:gd name="connsiteY205" fmla="*/ 760405 h 927266"/>
                <a:gd name="connsiteX206" fmla="*/ 825497 w 976589"/>
                <a:gd name="connsiteY206" fmla="*/ 770216 h 927266"/>
                <a:gd name="connsiteX207" fmla="*/ 845119 w 976589"/>
                <a:gd name="connsiteY207" fmla="*/ 780028 h 927266"/>
                <a:gd name="connsiteX208" fmla="*/ 860817 w 976589"/>
                <a:gd name="connsiteY208" fmla="*/ 778065 h 927266"/>
                <a:gd name="connsiteX209" fmla="*/ 858855 w 976589"/>
                <a:gd name="connsiteY209" fmla="*/ 764330 h 927266"/>
                <a:gd name="connsiteX210" fmla="*/ 847082 w 976589"/>
                <a:gd name="connsiteY210" fmla="*/ 754519 h 927266"/>
                <a:gd name="connsiteX211" fmla="*/ 843157 w 976589"/>
                <a:gd name="connsiteY211" fmla="*/ 750594 h 927266"/>
                <a:gd name="connsiteX212" fmla="*/ 843157 w 976589"/>
                <a:gd name="connsiteY212" fmla="*/ 732934 h 927266"/>
                <a:gd name="connsiteX213" fmla="*/ 839233 w 976589"/>
                <a:gd name="connsiteY213" fmla="*/ 713312 h 927266"/>
                <a:gd name="connsiteX214" fmla="*/ 837270 w 976589"/>
                <a:gd name="connsiteY214" fmla="*/ 658369 h 927266"/>
                <a:gd name="connsiteX215" fmla="*/ 843157 w 976589"/>
                <a:gd name="connsiteY215" fmla="*/ 642671 h 927266"/>
                <a:gd name="connsiteX216" fmla="*/ 852968 w 976589"/>
                <a:gd name="connsiteY216" fmla="*/ 634822 h 927266"/>
                <a:gd name="connsiteX217" fmla="*/ 874553 w 976589"/>
                <a:gd name="connsiteY217" fmla="*/ 628936 h 927266"/>
                <a:gd name="connsiteX218" fmla="*/ 880439 w 976589"/>
                <a:gd name="connsiteY218" fmla="*/ 625011 h 927266"/>
                <a:gd name="connsiteX219" fmla="*/ 888288 w 976589"/>
                <a:gd name="connsiteY219" fmla="*/ 621087 h 927266"/>
                <a:gd name="connsiteX220" fmla="*/ 896137 w 976589"/>
                <a:gd name="connsiteY220" fmla="*/ 615200 h 927266"/>
                <a:gd name="connsiteX221" fmla="*/ 907911 w 976589"/>
                <a:gd name="connsiteY221" fmla="*/ 611276 h 927266"/>
                <a:gd name="connsiteX222" fmla="*/ 917722 w 976589"/>
                <a:gd name="connsiteY222" fmla="*/ 607351 h 927266"/>
                <a:gd name="connsiteX223" fmla="*/ 923609 w 976589"/>
                <a:gd name="connsiteY223" fmla="*/ 603427 h 927266"/>
                <a:gd name="connsiteX224" fmla="*/ 931458 w 976589"/>
                <a:gd name="connsiteY224" fmla="*/ 599502 h 927266"/>
                <a:gd name="connsiteX225" fmla="*/ 935382 w 976589"/>
                <a:gd name="connsiteY225" fmla="*/ 587729 h 927266"/>
                <a:gd name="connsiteX226" fmla="*/ 927533 w 976589"/>
                <a:gd name="connsiteY226" fmla="*/ 575956 h 927266"/>
                <a:gd name="connsiteX227" fmla="*/ 919684 w 976589"/>
                <a:gd name="connsiteY227" fmla="*/ 558295 h 927266"/>
                <a:gd name="connsiteX228" fmla="*/ 917722 w 976589"/>
                <a:gd name="connsiteY228" fmla="*/ 552409 h 927266"/>
                <a:gd name="connsiteX229" fmla="*/ 919684 w 976589"/>
                <a:gd name="connsiteY229" fmla="*/ 546522 h 927266"/>
                <a:gd name="connsiteX230" fmla="*/ 913797 w 976589"/>
                <a:gd name="connsiteY230" fmla="*/ 528862 h 927266"/>
                <a:gd name="connsiteX231" fmla="*/ 882402 w 976589"/>
                <a:gd name="connsiteY231" fmla="*/ 491580 h 927266"/>
                <a:gd name="connsiteX232" fmla="*/ 874553 w 976589"/>
                <a:gd name="connsiteY232" fmla="*/ 483731 h 927266"/>
                <a:gd name="connsiteX233" fmla="*/ 868666 w 976589"/>
                <a:gd name="connsiteY233" fmla="*/ 477844 h 927266"/>
                <a:gd name="connsiteX234" fmla="*/ 860817 w 976589"/>
                <a:gd name="connsiteY234" fmla="*/ 464108 h 927266"/>
                <a:gd name="connsiteX235" fmla="*/ 851006 w 976589"/>
                <a:gd name="connsiteY235" fmla="*/ 458222 h 927266"/>
                <a:gd name="connsiteX236" fmla="*/ 845119 w 976589"/>
                <a:gd name="connsiteY236" fmla="*/ 454297 h 927266"/>
                <a:gd name="connsiteX237" fmla="*/ 849044 w 976589"/>
                <a:gd name="connsiteY237" fmla="*/ 436637 h 927266"/>
                <a:gd name="connsiteX238" fmla="*/ 866704 w 976589"/>
                <a:gd name="connsiteY238" fmla="*/ 417015 h 927266"/>
                <a:gd name="connsiteX239" fmla="*/ 872591 w 976589"/>
                <a:gd name="connsiteY239" fmla="*/ 415053 h 927266"/>
                <a:gd name="connsiteX240" fmla="*/ 884364 w 976589"/>
                <a:gd name="connsiteY240" fmla="*/ 417015 h 927266"/>
                <a:gd name="connsiteX241" fmla="*/ 890251 w 976589"/>
                <a:gd name="connsiteY241" fmla="*/ 418977 h 927266"/>
                <a:gd name="connsiteX242" fmla="*/ 880439 w 976589"/>
                <a:gd name="connsiteY242" fmla="*/ 420939 h 927266"/>
                <a:gd name="connsiteX243" fmla="*/ 909873 w 976589"/>
                <a:gd name="connsiteY243" fmla="*/ 426826 h 927266"/>
                <a:gd name="connsiteX244" fmla="*/ 917722 w 976589"/>
                <a:gd name="connsiteY244" fmla="*/ 422901 h 927266"/>
                <a:gd name="connsiteX245" fmla="*/ 923609 w 976589"/>
                <a:gd name="connsiteY245" fmla="*/ 415053 h 927266"/>
                <a:gd name="connsiteX246" fmla="*/ 935382 w 976589"/>
                <a:gd name="connsiteY246" fmla="*/ 411128 h 927266"/>
                <a:gd name="connsiteX247" fmla="*/ 955004 w 976589"/>
                <a:gd name="connsiteY247" fmla="*/ 405241 h 927266"/>
                <a:gd name="connsiteX248" fmla="*/ 966778 w 976589"/>
                <a:gd name="connsiteY248" fmla="*/ 397392 h 927266"/>
                <a:gd name="connsiteX249" fmla="*/ 960891 w 976589"/>
                <a:gd name="connsiteY249" fmla="*/ 375808 h 927266"/>
                <a:gd name="connsiteX250" fmla="*/ 956967 w 976589"/>
                <a:gd name="connsiteY250" fmla="*/ 371883 h 927266"/>
                <a:gd name="connsiteX251" fmla="*/ 964815 w 976589"/>
                <a:gd name="connsiteY251" fmla="*/ 350299 h 927266"/>
                <a:gd name="connsiteX252" fmla="*/ 968740 w 976589"/>
                <a:gd name="connsiteY252" fmla="*/ 344412 h 927266"/>
                <a:gd name="connsiteX253" fmla="*/ 976589 w 976589"/>
                <a:gd name="connsiteY253" fmla="*/ 334601 h 927266"/>
                <a:gd name="connsiteX254" fmla="*/ 939306 w 976589"/>
                <a:gd name="connsiteY254" fmla="*/ 326752 h 927266"/>
                <a:gd name="connsiteX255" fmla="*/ 931458 w 976589"/>
                <a:gd name="connsiteY255" fmla="*/ 324790 h 927266"/>
                <a:gd name="connsiteX256" fmla="*/ 923609 w 976589"/>
                <a:gd name="connsiteY256" fmla="*/ 305168 h 927266"/>
                <a:gd name="connsiteX257" fmla="*/ 911835 w 976589"/>
                <a:gd name="connsiteY257" fmla="*/ 291432 h 927266"/>
                <a:gd name="connsiteX258" fmla="*/ 872591 w 976589"/>
                <a:gd name="connsiteY258" fmla="*/ 293394 h 927266"/>
                <a:gd name="connsiteX259" fmla="*/ 868666 w 976589"/>
                <a:gd name="connsiteY259" fmla="*/ 299281 h 927266"/>
                <a:gd name="connsiteX260" fmla="*/ 860817 w 976589"/>
                <a:gd name="connsiteY260" fmla="*/ 303205 h 927266"/>
                <a:gd name="connsiteX261" fmla="*/ 845119 w 976589"/>
                <a:gd name="connsiteY261" fmla="*/ 301243 h 927266"/>
                <a:gd name="connsiteX262" fmla="*/ 843157 w 976589"/>
                <a:gd name="connsiteY262" fmla="*/ 269847 h 927266"/>
                <a:gd name="connsiteX263" fmla="*/ 835308 w 976589"/>
                <a:gd name="connsiteY263" fmla="*/ 258074 h 927266"/>
                <a:gd name="connsiteX264" fmla="*/ 794101 w 976589"/>
                <a:gd name="connsiteY264" fmla="*/ 252187 h 927266"/>
                <a:gd name="connsiteX265" fmla="*/ 778403 w 976589"/>
                <a:gd name="connsiteY265" fmla="*/ 232565 h 927266"/>
                <a:gd name="connsiteX266" fmla="*/ 774479 w 976589"/>
                <a:gd name="connsiteY266" fmla="*/ 226678 h 927266"/>
                <a:gd name="connsiteX267" fmla="*/ 768592 w 976589"/>
                <a:gd name="connsiteY267" fmla="*/ 222754 h 927266"/>
                <a:gd name="connsiteX268" fmla="*/ 756819 w 976589"/>
                <a:gd name="connsiteY268" fmla="*/ 210980 h 927266"/>
                <a:gd name="connsiteX269" fmla="*/ 752894 w 976589"/>
                <a:gd name="connsiteY269" fmla="*/ 207056 h 927266"/>
                <a:gd name="connsiteX270" fmla="*/ 745045 w 976589"/>
                <a:gd name="connsiteY270" fmla="*/ 205094 h 927266"/>
                <a:gd name="connsiteX271" fmla="*/ 741121 w 976589"/>
                <a:gd name="connsiteY271" fmla="*/ 199207 h 927266"/>
                <a:gd name="connsiteX272" fmla="*/ 739159 w 976589"/>
                <a:gd name="connsiteY272" fmla="*/ 191358 h 927266"/>
                <a:gd name="connsiteX273" fmla="*/ 729348 w 976589"/>
                <a:gd name="connsiteY273" fmla="*/ 183509 h 927266"/>
                <a:gd name="connsiteX274" fmla="*/ 725423 w 976589"/>
                <a:gd name="connsiteY274" fmla="*/ 177622 h 927266"/>
                <a:gd name="connsiteX275" fmla="*/ 692065 w 976589"/>
                <a:gd name="connsiteY275" fmla="*/ 171736 h 927266"/>
                <a:gd name="connsiteX276" fmla="*/ 688141 w 976589"/>
                <a:gd name="connsiteY276" fmla="*/ 163887 h 927266"/>
                <a:gd name="connsiteX277" fmla="*/ 690103 w 976589"/>
                <a:gd name="connsiteY277" fmla="*/ 156038 h 927266"/>
                <a:gd name="connsiteX278" fmla="*/ 692065 w 976589"/>
                <a:gd name="connsiteY278" fmla="*/ 150151 h 927266"/>
                <a:gd name="connsiteX279" fmla="*/ 695990 w 976589"/>
                <a:gd name="connsiteY279" fmla="*/ 136416 h 927266"/>
                <a:gd name="connsiteX280" fmla="*/ 699914 w 976589"/>
                <a:gd name="connsiteY280" fmla="*/ 130529 h 927266"/>
                <a:gd name="connsiteX281" fmla="*/ 707763 w 976589"/>
                <a:gd name="connsiteY281" fmla="*/ 118756 h 927266"/>
                <a:gd name="connsiteX0" fmla="*/ 707763 w 976589"/>
                <a:gd name="connsiteY0" fmla="*/ 118756 h 927266"/>
                <a:gd name="connsiteX1" fmla="*/ 701876 w 976589"/>
                <a:gd name="connsiteY1" fmla="*/ 106982 h 927266"/>
                <a:gd name="connsiteX2" fmla="*/ 694027 w 976589"/>
                <a:gd name="connsiteY2" fmla="*/ 99133 h 927266"/>
                <a:gd name="connsiteX3" fmla="*/ 686179 w 976589"/>
                <a:gd name="connsiteY3" fmla="*/ 89322 h 927266"/>
                <a:gd name="connsiteX4" fmla="*/ 682254 w 976589"/>
                <a:gd name="connsiteY4" fmla="*/ 81473 h 927266"/>
                <a:gd name="connsiteX5" fmla="*/ 678330 w 976589"/>
                <a:gd name="connsiteY5" fmla="*/ 75586 h 927266"/>
                <a:gd name="connsiteX6" fmla="*/ 670481 w 976589"/>
                <a:gd name="connsiteY6" fmla="*/ 63813 h 927266"/>
                <a:gd name="connsiteX7" fmla="*/ 674405 w 976589"/>
                <a:gd name="connsiteY7" fmla="*/ 34380 h 927266"/>
                <a:gd name="connsiteX8" fmla="*/ 672443 w 976589"/>
                <a:gd name="connsiteY8" fmla="*/ 20644 h 927266"/>
                <a:gd name="connsiteX9" fmla="*/ 666556 w 976589"/>
                <a:gd name="connsiteY9" fmla="*/ 26531 h 927266"/>
                <a:gd name="connsiteX10" fmla="*/ 660670 w 976589"/>
                <a:gd name="connsiteY10" fmla="*/ 30455 h 927266"/>
                <a:gd name="connsiteX11" fmla="*/ 650858 w 976589"/>
                <a:gd name="connsiteY11" fmla="*/ 28493 h 927266"/>
                <a:gd name="connsiteX12" fmla="*/ 639085 w 976589"/>
                <a:gd name="connsiteY12" fmla="*/ 18682 h 927266"/>
                <a:gd name="connsiteX13" fmla="*/ 627312 w 976589"/>
                <a:gd name="connsiteY13" fmla="*/ 12795 h 927266"/>
                <a:gd name="connsiteX14" fmla="*/ 611614 w 976589"/>
                <a:gd name="connsiteY14" fmla="*/ 4946 h 927266"/>
                <a:gd name="connsiteX15" fmla="*/ 562558 w 976589"/>
                <a:gd name="connsiteY15" fmla="*/ 1022 h 927266"/>
                <a:gd name="connsiteX16" fmla="*/ 539011 w 976589"/>
                <a:gd name="connsiteY16" fmla="*/ 2984 h 927266"/>
                <a:gd name="connsiteX17" fmla="*/ 533124 w 976589"/>
                <a:gd name="connsiteY17" fmla="*/ 32417 h 927266"/>
                <a:gd name="connsiteX18" fmla="*/ 527238 w 976589"/>
                <a:gd name="connsiteY18" fmla="*/ 38304 h 927266"/>
                <a:gd name="connsiteX19" fmla="*/ 515464 w 976589"/>
                <a:gd name="connsiteY19" fmla="*/ 28493 h 927266"/>
                <a:gd name="connsiteX20" fmla="*/ 509578 w 976589"/>
                <a:gd name="connsiteY20" fmla="*/ 16719 h 927266"/>
                <a:gd name="connsiteX21" fmla="*/ 505653 w 976589"/>
                <a:gd name="connsiteY21" fmla="*/ 4946 h 927266"/>
                <a:gd name="connsiteX22" fmla="*/ 444824 w 976589"/>
                <a:gd name="connsiteY22" fmla="*/ 12795 h 927266"/>
                <a:gd name="connsiteX23" fmla="*/ 433051 w 976589"/>
                <a:gd name="connsiteY23" fmla="*/ 18682 h 927266"/>
                <a:gd name="connsiteX24" fmla="*/ 425202 w 976589"/>
                <a:gd name="connsiteY24" fmla="*/ 6908 h 927266"/>
                <a:gd name="connsiteX25" fmla="*/ 417353 w 976589"/>
                <a:gd name="connsiteY25" fmla="*/ 4946 h 927266"/>
                <a:gd name="connsiteX26" fmla="*/ 405579 w 976589"/>
                <a:gd name="connsiteY26" fmla="*/ 6908 h 927266"/>
                <a:gd name="connsiteX27" fmla="*/ 401655 w 976589"/>
                <a:gd name="connsiteY27" fmla="*/ 14757 h 927266"/>
                <a:gd name="connsiteX28" fmla="*/ 387919 w 976589"/>
                <a:gd name="connsiteY28" fmla="*/ 12795 h 927266"/>
                <a:gd name="connsiteX29" fmla="*/ 374184 w 976589"/>
                <a:gd name="connsiteY29" fmla="*/ 6908 h 927266"/>
                <a:gd name="connsiteX30" fmla="*/ 360359 w 976589"/>
                <a:gd name="connsiteY30" fmla="*/ 4483 h 927266"/>
                <a:gd name="connsiteX31" fmla="*/ 362410 w 976589"/>
                <a:gd name="connsiteY31" fmla="*/ 22606 h 927266"/>
                <a:gd name="connsiteX32" fmla="*/ 358486 w 976589"/>
                <a:gd name="connsiteY32" fmla="*/ 30455 h 927266"/>
                <a:gd name="connsiteX33" fmla="*/ 352599 w 976589"/>
                <a:gd name="connsiteY33" fmla="*/ 34380 h 927266"/>
                <a:gd name="connsiteX34" fmla="*/ 344750 w 976589"/>
                <a:gd name="connsiteY34" fmla="*/ 40266 h 927266"/>
                <a:gd name="connsiteX35" fmla="*/ 334939 w 976589"/>
                <a:gd name="connsiteY35" fmla="*/ 50077 h 927266"/>
                <a:gd name="connsiteX36" fmla="*/ 332977 w 976589"/>
                <a:gd name="connsiteY36" fmla="*/ 55964 h 927266"/>
                <a:gd name="connsiteX37" fmla="*/ 329052 w 976589"/>
                <a:gd name="connsiteY37" fmla="*/ 77549 h 927266"/>
                <a:gd name="connsiteX38" fmla="*/ 321203 w 976589"/>
                <a:gd name="connsiteY38" fmla="*/ 81473 h 927266"/>
                <a:gd name="connsiteX39" fmla="*/ 332977 w 976589"/>
                <a:gd name="connsiteY39" fmla="*/ 83435 h 927266"/>
                <a:gd name="connsiteX40" fmla="*/ 321203 w 976589"/>
                <a:gd name="connsiteY40" fmla="*/ 87360 h 927266"/>
                <a:gd name="connsiteX41" fmla="*/ 291770 w 976589"/>
                <a:gd name="connsiteY41" fmla="*/ 99133 h 927266"/>
                <a:gd name="connsiteX42" fmla="*/ 289808 w 976589"/>
                <a:gd name="connsiteY42" fmla="*/ 91284 h 927266"/>
                <a:gd name="connsiteX43" fmla="*/ 297657 w 976589"/>
                <a:gd name="connsiteY43" fmla="*/ 85398 h 927266"/>
                <a:gd name="connsiteX44" fmla="*/ 278034 w 976589"/>
                <a:gd name="connsiteY44" fmla="*/ 87360 h 927266"/>
                <a:gd name="connsiteX45" fmla="*/ 274110 w 976589"/>
                <a:gd name="connsiteY45" fmla="*/ 95209 h 927266"/>
                <a:gd name="connsiteX46" fmla="*/ 268223 w 976589"/>
                <a:gd name="connsiteY46" fmla="*/ 108944 h 927266"/>
                <a:gd name="connsiteX47" fmla="*/ 250563 w 976589"/>
                <a:gd name="connsiteY47" fmla="*/ 124642 h 927266"/>
                <a:gd name="connsiteX48" fmla="*/ 248601 w 976589"/>
                <a:gd name="connsiteY48" fmla="*/ 140340 h 927266"/>
                <a:gd name="connsiteX49" fmla="*/ 242714 w 976589"/>
                <a:gd name="connsiteY49" fmla="*/ 150151 h 927266"/>
                <a:gd name="connsiteX50" fmla="*/ 240752 w 976589"/>
                <a:gd name="connsiteY50" fmla="*/ 156038 h 927266"/>
                <a:gd name="connsiteX51" fmla="*/ 238790 w 976589"/>
                <a:gd name="connsiteY51" fmla="*/ 185471 h 927266"/>
                <a:gd name="connsiteX52" fmla="*/ 246639 w 976589"/>
                <a:gd name="connsiteY52" fmla="*/ 187434 h 927266"/>
                <a:gd name="connsiteX53" fmla="*/ 260374 w 976589"/>
                <a:gd name="connsiteY53" fmla="*/ 191358 h 927266"/>
                <a:gd name="connsiteX54" fmla="*/ 258412 w 976589"/>
                <a:gd name="connsiteY54" fmla="*/ 197245 h 927266"/>
                <a:gd name="connsiteX55" fmla="*/ 254488 w 976589"/>
                <a:gd name="connsiteY55" fmla="*/ 203131 h 927266"/>
                <a:gd name="connsiteX56" fmla="*/ 252525 w 976589"/>
                <a:gd name="connsiteY56" fmla="*/ 216867 h 927266"/>
                <a:gd name="connsiteX57" fmla="*/ 236827 w 976589"/>
                <a:gd name="connsiteY57" fmla="*/ 226678 h 927266"/>
                <a:gd name="connsiteX58" fmla="*/ 234865 w 976589"/>
                <a:gd name="connsiteY58" fmla="*/ 242376 h 927266"/>
                <a:gd name="connsiteX59" fmla="*/ 221130 w 976589"/>
                <a:gd name="connsiteY59" fmla="*/ 258074 h 927266"/>
                <a:gd name="connsiteX60" fmla="*/ 215243 w 976589"/>
                <a:gd name="connsiteY60" fmla="*/ 265923 h 927266"/>
                <a:gd name="connsiteX61" fmla="*/ 193658 w 976589"/>
                <a:gd name="connsiteY61" fmla="*/ 265923 h 927266"/>
                <a:gd name="connsiteX62" fmla="*/ 189734 w 976589"/>
                <a:gd name="connsiteY62" fmla="*/ 254150 h 927266"/>
                <a:gd name="connsiteX63" fmla="*/ 191696 w 976589"/>
                <a:gd name="connsiteY63" fmla="*/ 261998 h 927266"/>
                <a:gd name="connsiteX64" fmla="*/ 193658 w 976589"/>
                <a:gd name="connsiteY64" fmla="*/ 271810 h 927266"/>
                <a:gd name="connsiteX65" fmla="*/ 197583 w 976589"/>
                <a:gd name="connsiteY65" fmla="*/ 283583 h 927266"/>
                <a:gd name="connsiteX66" fmla="*/ 201507 w 976589"/>
                <a:gd name="connsiteY66" fmla="*/ 297319 h 927266"/>
                <a:gd name="connsiteX67" fmla="*/ 203470 w 976589"/>
                <a:gd name="connsiteY67" fmla="*/ 318903 h 927266"/>
                <a:gd name="connsiteX68" fmla="*/ 205432 w 976589"/>
                <a:gd name="connsiteY68" fmla="*/ 324790 h 927266"/>
                <a:gd name="connsiteX69" fmla="*/ 213281 w 976589"/>
                <a:gd name="connsiteY69" fmla="*/ 326752 h 927266"/>
                <a:gd name="connsiteX70" fmla="*/ 215243 w 976589"/>
                <a:gd name="connsiteY70" fmla="*/ 332639 h 927266"/>
                <a:gd name="connsiteX71" fmla="*/ 201507 w 976589"/>
                <a:gd name="connsiteY71" fmla="*/ 354223 h 927266"/>
                <a:gd name="connsiteX72" fmla="*/ 197583 w 976589"/>
                <a:gd name="connsiteY72" fmla="*/ 360110 h 927266"/>
                <a:gd name="connsiteX73" fmla="*/ 193658 w 976589"/>
                <a:gd name="connsiteY73" fmla="*/ 364034 h 927266"/>
                <a:gd name="connsiteX74" fmla="*/ 197583 w 976589"/>
                <a:gd name="connsiteY74" fmla="*/ 385619 h 927266"/>
                <a:gd name="connsiteX75" fmla="*/ 219167 w 976589"/>
                <a:gd name="connsiteY75" fmla="*/ 387581 h 927266"/>
                <a:gd name="connsiteX76" fmla="*/ 225054 w 976589"/>
                <a:gd name="connsiteY76" fmla="*/ 393468 h 927266"/>
                <a:gd name="connsiteX77" fmla="*/ 221130 w 976589"/>
                <a:gd name="connsiteY77" fmla="*/ 401317 h 927266"/>
                <a:gd name="connsiteX78" fmla="*/ 219167 w 976589"/>
                <a:gd name="connsiteY78" fmla="*/ 411128 h 927266"/>
                <a:gd name="connsiteX79" fmla="*/ 213281 w 976589"/>
                <a:gd name="connsiteY79" fmla="*/ 413090 h 927266"/>
                <a:gd name="connsiteX80" fmla="*/ 193658 w 976589"/>
                <a:gd name="connsiteY80" fmla="*/ 409166 h 927266"/>
                <a:gd name="connsiteX81" fmla="*/ 185809 w 976589"/>
                <a:gd name="connsiteY81" fmla="*/ 403279 h 927266"/>
                <a:gd name="connsiteX82" fmla="*/ 177961 w 976589"/>
                <a:gd name="connsiteY82" fmla="*/ 407204 h 927266"/>
                <a:gd name="connsiteX83" fmla="*/ 174036 w 976589"/>
                <a:gd name="connsiteY83" fmla="*/ 415053 h 927266"/>
                <a:gd name="connsiteX84" fmla="*/ 162263 w 976589"/>
                <a:gd name="connsiteY84" fmla="*/ 418977 h 927266"/>
                <a:gd name="connsiteX85" fmla="*/ 136754 w 976589"/>
                <a:gd name="connsiteY85" fmla="*/ 434675 h 927266"/>
                <a:gd name="connsiteX86" fmla="*/ 128905 w 976589"/>
                <a:gd name="connsiteY86" fmla="*/ 436637 h 927266"/>
                <a:gd name="connsiteX87" fmla="*/ 126942 w 976589"/>
                <a:gd name="connsiteY87" fmla="*/ 442524 h 927266"/>
                <a:gd name="connsiteX88" fmla="*/ 124980 w 976589"/>
                <a:gd name="connsiteY88" fmla="*/ 466071 h 927266"/>
                <a:gd name="connsiteX89" fmla="*/ 119094 w 976589"/>
                <a:gd name="connsiteY89" fmla="*/ 468033 h 927266"/>
                <a:gd name="connsiteX90" fmla="*/ 115169 w 976589"/>
                <a:gd name="connsiteY90" fmla="*/ 475882 h 927266"/>
                <a:gd name="connsiteX91" fmla="*/ 111245 w 976589"/>
                <a:gd name="connsiteY91" fmla="*/ 485693 h 927266"/>
                <a:gd name="connsiteX92" fmla="*/ 91622 w 976589"/>
                <a:gd name="connsiteY92" fmla="*/ 491580 h 927266"/>
                <a:gd name="connsiteX93" fmla="*/ 48813 w 976589"/>
                <a:gd name="connsiteY93" fmla="*/ 487700 h 927266"/>
                <a:gd name="connsiteX94" fmla="*/ 20982 w 976589"/>
                <a:gd name="connsiteY94" fmla="*/ 497466 h 927266"/>
                <a:gd name="connsiteX95" fmla="*/ 17058 w 976589"/>
                <a:gd name="connsiteY95" fmla="*/ 501391 h 927266"/>
                <a:gd name="connsiteX96" fmla="*/ 7246 w 976589"/>
                <a:gd name="connsiteY96" fmla="*/ 491580 h 927266"/>
                <a:gd name="connsiteX97" fmla="*/ 3322 w 976589"/>
                <a:gd name="connsiteY97" fmla="*/ 511202 h 927266"/>
                <a:gd name="connsiteX98" fmla="*/ 5284 w 976589"/>
                <a:gd name="connsiteY98" fmla="*/ 521013 h 927266"/>
                <a:gd name="connsiteX99" fmla="*/ 9209 w 976589"/>
                <a:gd name="connsiteY99" fmla="*/ 524938 h 927266"/>
                <a:gd name="connsiteX100" fmla="*/ 13133 w 976589"/>
                <a:gd name="connsiteY100" fmla="*/ 530824 h 927266"/>
                <a:gd name="connsiteX101" fmla="*/ 15095 w 976589"/>
                <a:gd name="connsiteY101" fmla="*/ 536711 h 927266"/>
                <a:gd name="connsiteX102" fmla="*/ 24906 w 976589"/>
                <a:gd name="connsiteY102" fmla="*/ 556333 h 927266"/>
                <a:gd name="connsiteX103" fmla="*/ 26869 w 976589"/>
                <a:gd name="connsiteY103" fmla="*/ 562220 h 927266"/>
                <a:gd name="connsiteX104" fmla="*/ 30793 w 976589"/>
                <a:gd name="connsiteY104" fmla="*/ 568107 h 927266"/>
                <a:gd name="connsiteX105" fmla="*/ 34718 w 976589"/>
                <a:gd name="connsiteY105" fmla="*/ 581842 h 927266"/>
                <a:gd name="connsiteX106" fmla="*/ 38642 w 976589"/>
                <a:gd name="connsiteY106" fmla="*/ 589691 h 927266"/>
                <a:gd name="connsiteX107" fmla="*/ 42567 w 976589"/>
                <a:gd name="connsiteY107" fmla="*/ 599502 h 927266"/>
                <a:gd name="connsiteX108" fmla="*/ 46491 w 976589"/>
                <a:gd name="connsiteY108" fmla="*/ 603427 h 927266"/>
                <a:gd name="connsiteX109" fmla="*/ 52378 w 976589"/>
                <a:gd name="connsiteY109" fmla="*/ 615200 h 927266"/>
                <a:gd name="connsiteX110" fmla="*/ 54340 w 976589"/>
                <a:gd name="connsiteY110" fmla="*/ 625011 h 927266"/>
                <a:gd name="connsiteX111" fmla="*/ 66113 w 976589"/>
                <a:gd name="connsiteY111" fmla="*/ 632860 h 927266"/>
                <a:gd name="connsiteX112" fmla="*/ 72000 w 976589"/>
                <a:gd name="connsiteY112" fmla="*/ 642671 h 927266"/>
                <a:gd name="connsiteX113" fmla="*/ 75924 w 976589"/>
                <a:gd name="connsiteY113" fmla="*/ 646596 h 927266"/>
                <a:gd name="connsiteX114" fmla="*/ 77887 w 976589"/>
                <a:gd name="connsiteY114" fmla="*/ 658369 h 927266"/>
                <a:gd name="connsiteX115" fmla="*/ 81811 w 976589"/>
                <a:gd name="connsiteY115" fmla="*/ 666218 h 927266"/>
                <a:gd name="connsiteX116" fmla="*/ 77887 w 976589"/>
                <a:gd name="connsiteY116" fmla="*/ 705463 h 927266"/>
                <a:gd name="connsiteX117" fmla="*/ 60227 w 976589"/>
                <a:gd name="connsiteY117" fmla="*/ 721161 h 927266"/>
                <a:gd name="connsiteX118" fmla="*/ 54340 w 976589"/>
                <a:gd name="connsiteY118" fmla="*/ 729010 h 927266"/>
                <a:gd name="connsiteX119" fmla="*/ 50415 w 976589"/>
                <a:gd name="connsiteY119" fmla="*/ 732934 h 927266"/>
                <a:gd name="connsiteX120" fmla="*/ 46491 w 976589"/>
                <a:gd name="connsiteY120" fmla="*/ 738821 h 927266"/>
                <a:gd name="connsiteX121" fmla="*/ 38642 w 976589"/>
                <a:gd name="connsiteY121" fmla="*/ 744707 h 927266"/>
                <a:gd name="connsiteX122" fmla="*/ 28831 w 976589"/>
                <a:gd name="connsiteY122" fmla="*/ 758443 h 927266"/>
                <a:gd name="connsiteX123" fmla="*/ 22944 w 976589"/>
                <a:gd name="connsiteY123" fmla="*/ 762368 h 927266"/>
                <a:gd name="connsiteX124" fmla="*/ 19020 w 976589"/>
                <a:gd name="connsiteY124" fmla="*/ 770216 h 927266"/>
                <a:gd name="connsiteX125" fmla="*/ 15095 w 976589"/>
                <a:gd name="connsiteY125" fmla="*/ 776103 h 927266"/>
                <a:gd name="connsiteX126" fmla="*/ 13133 w 976589"/>
                <a:gd name="connsiteY126" fmla="*/ 783952 h 927266"/>
                <a:gd name="connsiteX127" fmla="*/ 15095 w 976589"/>
                <a:gd name="connsiteY127" fmla="*/ 805537 h 927266"/>
                <a:gd name="connsiteX128" fmla="*/ 26869 w 976589"/>
                <a:gd name="connsiteY128" fmla="*/ 811423 h 927266"/>
                <a:gd name="connsiteX129" fmla="*/ 52378 w 976589"/>
                <a:gd name="connsiteY129" fmla="*/ 813386 h 927266"/>
                <a:gd name="connsiteX130" fmla="*/ 58264 w 976589"/>
                <a:gd name="connsiteY130" fmla="*/ 819272 h 927266"/>
                <a:gd name="connsiteX131" fmla="*/ 66113 w 976589"/>
                <a:gd name="connsiteY131" fmla="*/ 821234 h 927266"/>
                <a:gd name="connsiteX132" fmla="*/ 73962 w 976589"/>
                <a:gd name="connsiteY132" fmla="*/ 833008 h 927266"/>
                <a:gd name="connsiteX133" fmla="*/ 72000 w 976589"/>
                <a:gd name="connsiteY133" fmla="*/ 844781 h 927266"/>
                <a:gd name="connsiteX134" fmla="*/ 70038 w 976589"/>
                <a:gd name="connsiteY134" fmla="*/ 850668 h 927266"/>
                <a:gd name="connsiteX135" fmla="*/ 73962 w 976589"/>
                <a:gd name="connsiteY135" fmla="*/ 895799 h 927266"/>
                <a:gd name="connsiteX136" fmla="*/ 75924 w 976589"/>
                <a:gd name="connsiteY136" fmla="*/ 909535 h 927266"/>
                <a:gd name="connsiteX137" fmla="*/ 85736 w 976589"/>
                <a:gd name="connsiteY137" fmla="*/ 921308 h 927266"/>
                <a:gd name="connsiteX138" fmla="*/ 91622 w 976589"/>
                <a:gd name="connsiteY138" fmla="*/ 909535 h 927266"/>
                <a:gd name="connsiteX139" fmla="*/ 101433 w 976589"/>
                <a:gd name="connsiteY139" fmla="*/ 907573 h 927266"/>
                <a:gd name="connsiteX140" fmla="*/ 119094 w 976589"/>
                <a:gd name="connsiteY140" fmla="*/ 909535 h 927266"/>
                <a:gd name="connsiteX141" fmla="*/ 124980 w 976589"/>
                <a:gd name="connsiteY141" fmla="*/ 911497 h 927266"/>
                <a:gd name="connsiteX142" fmla="*/ 128905 w 976589"/>
                <a:gd name="connsiteY142" fmla="*/ 905610 h 927266"/>
                <a:gd name="connsiteX143" fmla="*/ 134791 w 976589"/>
                <a:gd name="connsiteY143" fmla="*/ 897762 h 927266"/>
                <a:gd name="connsiteX144" fmla="*/ 142640 w 976589"/>
                <a:gd name="connsiteY144" fmla="*/ 884026 h 927266"/>
                <a:gd name="connsiteX145" fmla="*/ 152451 w 976589"/>
                <a:gd name="connsiteY145" fmla="*/ 868328 h 927266"/>
                <a:gd name="connsiteX146" fmla="*/ 154414 w 976589"/>
                <a:gd name="connsiteY146" fmla="*/ 862441 h 927266"/>
                <a:gd name="connsiteX147" fmla="*/ 164225 w 976589"/>
                <a:gd name="connsiteY147" fmla="*/ 846744 h 927266"/>
                <a:gd name="connsiteX148" fmla="*/ 162263 w 976589"/>
                <a:gd name="connsiteY148" fmla="*/ 833008 h 927266"/>
                <a:gd name="connsiteX149" fmla="*/ 174036 w 976589"/>
                <a:gd name="connsiteY149" fmla="*/ 834970 h 927266"/>
                <a:gd name="connsiteX150" fmla="*/ 238790 w 976589"/>
                <a:gd name="connsiteY150" fmla="*/ 831046 h 927266"/>
                <a:gd name="connsiteX151" fmla="*/ 256450 w 976589"/>
                <a:gd name="connsiteY151" fmla="*/ 827121 h 927266"/>
                <a:gd name="connsiteX152" fmla="*/ 268223 w 976589"/>
                <a:gd name="connsiteY152" fmla="*/ 825159 h 927266"/>
                <a:gd name="connsiteX153" fmla="*/ 272148 w 976589"/>
                <a:gd name="connsiteY153" fmla="*/ 819272 h 927266"/>
                <a:gd name="connsiteX154" fmla="*/ 309430 w 976589"/>
                <a:gd name="connsiteY154" fmla="*/ 811423 h 927266"/>
                <a:gd name="connsiteX155" fmla="*/ 311392 w 976589"/>
                <a:gd name="connsiteY155" fmla="*/ 803574 h 927266"/>
                <a:gd name="connsiteX156" fmla="*/ 317279 w 976589"/>
                <a:gd name="connsiteY156" fmla="*/ 795725 h 927266"/>
                <a:gd name="connsiteX157" fmla="*/ 334939 w 976589"/>
                <a:gd name="connsiteY157" fmla="*/ 799650 h 927266"/>
                <a:gd name="connsiteX158" fmla="*/ 340826 w 976589"/>
                <a:gd name="connsiteY158" fmla="*/ 805537 h 927266"/>
                <a:gd name="connsiteX159" fmla="*/ 346712 w 976589"/>
                <a:gd name="connsiteY159" fmla="*/ 809461 h 927266"/>
                <a:gd name="connsiteX160" fmla="*/ 380070 w 976589"/>
                <a:gd name="connsiteY160" fmla="*/ 807499 h 927266"/>
                <a:gd name="connsiteX161" fmla="*/ 382033 w 976589"/>
                <a:gd name="connsiteY161" fmla="*/ 789839 h 927266"/>
                <a:gd name="connsiteX162" fmla="*/ 385957 w 976589"/>
                <a:gd name="connsiteY162" fmla="*/ 795725 h 927266"/>
                <a:gd name="connsiteX163" fmla="*/ 391844 w 976589"/>
                <a:gd name="connsiteY163" fmla="*/ 805537 h 927266"/>
                <a:gd name="connsiteX164" fmla="*/ 393806 w 976589"/>
                <a:gd name="connsiteY164" fmla="*/ 811423 h 927266"/>
                <a:gd name="connsiteX165" fmla="*/ 401655 w 976589"/>
                <a:gd name="connsiteY165" fmla="*/ 815348 h 927266"/>
                <a:gd name="connsiteX166" fmla="*/ 417353 w 976589"/>
                <a:gd name="connsiteY166" fmla="*/ 813386 h 927266"/>
                <a:gd name="connsiteX167" fmla="*/ 438937 w 976589"/>
                <a:gd name="connsiteY167" fmla="*/ 805537 h 927266"/>
                <a:gd name="connsiteX168" fmla="*/ 442862 w 976589"/>
                <a:gd name="connsiteY168" fmla="*/ 799650 h 927266"/>
                <a:gd name="connsiteX169" fmla="*/ 466409 w 976589"/>
                <a:gd name="connsiteY169" fmla="*/ 805537 h 927266"/>
                <a:gd name="connsiteX170" fmla="*/ 476220 w 976589"/>
                <a:gd name="connsiteY170" fmla="*/ 817310 h 927266"/>
                <a:gd name="connsiteX171" fmla="*/ 482106 w 976589"/>
                <a:gd name="connsiteY171" fmla="*/ 827121 h 927266"/>
                <a:gd name="connsiteX172" fmla="*/ 489955 w 976589"/>
                <a:gd name="connsiteY172" fmla="*/ 825159 h 927266"/>
                <a:gd name="connsiteX173" fmla="*/ 529200 w 976589"/>
                <a:gd name="connsiteY173" fmla="*/ 819272 h 927266"/>
                <a:gd name="connsiteX174" fmla="*/ 533124 w 976589"/>
                <a:gd name="connsiteY174" fmla="*/ 827121 h 927266"/>
                <a:gd name="connsiteX175" fmla="*/ 539011 w 976589"/>
                <a:gd name="connsiteY175" fmla="*/ 833008 h 927266"/>
                <a:gd name="connsiteX176" fmla="*/ 542936 w 976589"/>
                <a:gd name="connsiteY176" fmla="*/ 838895 h 927266"/>
                <a:gd name="connsiteX177" fmla="*/ 552747 w 976589"/>
                <a:gd name="connsiteY177" fmla="*/ 833008 h 927266"/>
                <a:gd name="connsiteX178" fmla="*/ 556671 w 976589"/>
                <a:gd name="connsiteY178" fmla="*/ 819272 h 927266"/>
                <a:gd name="connsiteX179" fmla="*/ 554709 w 976589"/>
                <a:gd name="connsiteY179" fmla="*/ 809461 h 927266"/>
                <a:gd name="connsiteX180" fmla="*/ 560596 w 976589"/>
                <a:gd name="connsiteY180" fmla="*/ 805537 h 927266"/>
                <a:gd name="connsiteX181" fmla="*/ 582180 w 976589"/>
                <a:gd name="connsiteY181" fmla="*/ 803574 h 927266"/>
                <a:gd name="connsiteX182" fmla="*/ 578256 w 976589"/>
                <a:gd name="connsiteY182" fmla="*/ 797688 h 927266"/>
                <a:gd name="connsiteX183" fmla="*/ 584142 w 976589"/>
                <a:gd name="connsiteY183" fmla="*/ 799650 h 927266"/>
                <a:gd name="connsiteX184" fmla="*/ 590029 w 976589"/>
                <a:gd name="connsiteY184" fmla="*/ 801612 h 927266"/>
                <a:gd name="connsiteX185" fmla="*/ 652821 w 976589"/>
                <a:gd name="connsiteY185" fmla="*/ 803574 h 927266"/>
                <a:gd name="connsiteX186" fmla="*/ 654783 w 976589"/>
                <a:gd name="connsiteY186" fmla="*/ 811423 h 927266"/>
                <a:gd name="connsiteX187" fmla="*/ 650858 w 976589"/>
                <a:gd name="connsiteY187" fmla="*/ 819272 h 927266"/>
                <a:gd name="connsiteX188" fmla="*/ 678330 w 976589"/>
                <a:gd name="connsiteY188" fmla="*/ 789839 h 927266"/>
                <a:gd name="connsiteX189" fmla="*/ 676367 w 976589"/>
                <a:gd name="connsiteY189" fmla="*/ 783952 h 927266"/>
                <a:gd name="connsiteX190" fmla="*/ 668518 w 976589"/>
                <a:gd name="connsiteY190" fmla="*/ 781990 h 927266"/>
                <a:gd name="connsiteX191" fmla="*/ 666556 w 976589"/>
                <a:gd name="connsiteY191" fmla="*/ 772179 h 927266"/>
                <a:gd name="connsiteX192" fmla="*/ 680292 w 976589"/>
                <a:gd name="connsiteY192" fmla="*/ 768254 h 927266"/>
                <a:gd name="connsiteX193" fmla="*/ 688141 w 976589"/>
                <a:gd name="connsiteY193" fmla="*/ 778065 h 927266"/>
                <a:gd name="connsiteX194" fmla="*/ 695990 w 976589"/>
                <a:gd name="connsiteY194" fmla="*/ 787877 h 927266"/>
                <a:gd name="connsiteX195" fmla="*/ 701876 w 976589"/>
                <a:gd name="connsiteY195" fmla="*/ 797688 h 927266"/>
                <a:gd name="connsiteX196" fmla="*/ 709725 w 976589"/>
                <a:gd name="connsiteY196" fmla="*/ 799650 h 927266"/>
                <a:gd name="connsiteX197" fmla="*/ 715612 w 976589"/>
                <a:gd name="connsiteY197" fmla="*/ 801612 h 927266"/>
                <a:gd name="connsiteX198" fmla="*/ 725423 w 976589"/>
                <a:gd name="connsiteY198" fmla="*/ 797688 h 927266"/>
                <a:gd name="connsiteX199" fmla="*/ 739159 w 976589"/>
                <a:gd name="connsiteY199" fmla="*/ 785914 h 927266"/>
                <a:gd name="connsiteX200" fmla="*/ 756819 w 976589"/>
                <a:gd name="connsiteY200" fmla="*/ 787877 h 927266"/>
                <a:gd name="connsiteX201" fmla="*/ 766630 w 976589"/>
                <a:gd name="connsiteY201" fmla="*/ 776103 h 927266"/>
                <a:gd name="connsiteX202" fmla="*/ 774479 w 976589"/>
                <a:gd name="connsiteY202" fmla="*/ 772179 h 927266"/>
                <a:gd name="connsiteX203" fmla="*/ 784290 w 976589"/>
                <a:gd name="connsiteY203" fmla="*/ 770216 h 927266"/>
                <a:gd name="connsiteX204" fmla="*/ 803912 w 976589"/>
                <a:gd name="connsiteY204" fmla="*/ 766292 h 927266"/>
                <a:gd name="connsiteX205" fmla="*/ 809799 w 976589"/>
                <a:gd name="connsiteY205" fmla="*/ 760405 h 927266"/>
                <a:gd name="connsiteX206" fmla="*/ 825497 w 976589"/>
                <a:gd name="connsiteY206" fmla="*/ 770216 h 927266"/>
                <a:gd name="connsiteX207" fmla="*/ 845119 w 976589"/>
                <a:gd name="connsiteY207" fmla="*/ 780028 h 927266"/>
                <a:gd name="connsiteX208" fmla="*/ 860817 w 976589"/>
                <a:gd name="connsiteY208" fmla="*/ 778065 h 927266"/>
                <a:gd name="connsiteX209" fmla="*/ 858855 w 976589"/>
                <a:gd name="connsiteY209" fmla="*/ 764330 h 927266"/>
                <a:gd name="connsiteX210" fmla="*/ 847082 w 976589"/>
                <a:gd name="connsiteY210" fmla="*/ 754519 h 927266"/>
                <a:gd name="connsiteX211" fmla="*/ 843157 w 976589"/>
                <a:gd name="connsiteY211" fmla="*/ 750594 h 927266"/>
                <a:gd name="connsiteX212" fmla="*/ 843157 w 976589"/>
                <a:gd name="connsiteY212" fmla="*/ 732934 h 927266"/>
                <a:gd name="connsiteX213" fmla="*/ 839233 w 976589"/>
                <a:gd name="connsiteY213" fmla="*/ 713312 h 927266"/>
                <a:gd name="connsiteX214" fmla="*/ 837270 w 976589"/>
                <a:gd name="connsiteY214" fmla="*/ 658369 h 927266"/>
                <a:gd name="connsiteX215" fmla="*/ 843157 w 976589"/>
                <a:gd name="connsiteY215" fmla="*/ 642671 h 927266"/>
                <a:gd name="connsiteX216" fmla="*/ 852968 w 976589"/>
                <a:gd name="connsiteY216" fmla="*/ 634822 h 927266"/>
                <a:gd name="connsiteX217" fmla="*/ 874553 w 976589"/>
                <a:gd name="connsiteY217" fmla="*/ 628936 h 927266"/>
                <a:gd name="connsiteX218" fmla="*/ 880439 w 976589"/>
                <a:gd name="connsiteY218" fmla="*/ 625011 h 927266"/>
                <a:gd name="connsiteX219" fmla="*/ 888288 w 976589"/>
                <a:gd name="connsiteY219" fmla="*/ 621087 h 927266"/>
                <a:gd name="connsiteX220" fmla="*/ 896137 w 976589"/>
                <a:gd name="connsiteY220" fmla="*/ 615200 h 927266"/>
                <a:gd name="connsiteX221" fmla="*/ 907911 w 976589"/>
                <a:gd name="connsiteY221" fmla="*/ 611276 h 927266"/>
                <a:gd name="connsiteX222" fmla="*/ 917722 w 976589"/>
                <a:gd name="connsiteY222" fmla="*/ 607351 h 927266"/>
                <a:gd name="connsiteX223" fmla="*/ 923609 w 976589"/>
                <a:gd name="connsiteY223" fmla="*/ 603427 h 927266"/>
                <a:gd name="connsiteX224" fmla="*/ 931458 w 976589"/>
                <a:gd name="connsiteY224" fmla="*/ 599502 h 927266"/>
                <a:gd name="connsiteX225" fmla="*/ 935382 w 976589"/>
                <a:gd name="connsiteY225" fmla="*/ 587729 h 927266"/>
                <a:gd name="connsiteX226" fmla="*/ 927533 w 976589"/>
                <a:gd name="connsiteY226" fmla="*/ 575956 h 927266"/>
                <a:gd name="connsiteX227" fmla="*/ 919684 w 976589"/>
                <a:gd name="connsiteY227" fmla="*/ 558295 h 927266"/>
                <a:gd name="connsiteX228" fmla="*/ 917722 w 976589"/>
                <a:gd name="connsiteY228" fmla="*/ 552409 h 927266"/>
                <a:gd name="connsiteX229" fmla="*/ 919684 w 976589"/>
                <a:gd name="connsiteY229" fmla="*/ 546522 h 927266"/>
                <a:gd name="connsiteX230" fmla="*/ 913797 w 976589"/>
                <a:gd name="connsiteY230" fmla="*/ 528862 h 927266"/>
                <a:gd name="connsiteX231" fmla="*/ 882402 w 976589"/>
                <a:gd name="connsiteY231" fmla="*/ 491580 h 927266"/>
                <a:gd name="connsiteX232" fmla="*/ 874553 w 976589"/>
                <a:gd name="connsiteY232" fmla="*/ 483731 h 927266"/>
                <a:gd name="connsiteX233" fmla="*/ 868666 w 976589"/>
                <a:gd name="connsiteY233" fmla="*/ 477844 h 927266"/>
                <a:gd name="connsiteX234" fmla="*/ 860817 w 976589"/>
                <a:gd name="connsiteY234" fmla="*/ 464108 h 927266"/>
                <a:gd name="connsiteX235" fmla="*/ 851006 w 976589"/>
                <a:gd name="connsiteY235" fmla="*/ 458222 h 927266"/>
                <a:gd name="connsiteX236" fmla="*/ 845119 w 976589"/>
                <a:gd name="connsiteY236" fmla="*/ 454297 h 927266"/>
                <a:gd name="connsiteX237" fmla="*/ 849044 w 976589"/>
                <a:gd name="connsiteY237" fmla="*/ 436637 h 927266"/>
                <a:gd name="connsiteX238" fmla="*/ 866704 w 976589"/>
                <a:gd name="connsiteY238" fmla="*/ 417015 h 927266"/>
                <a:gd name="connsiteX239" fmla="*/ 872591 w 976589"/>
                <a:gd name="connsiteY239" fmla="*/ 415053 h 927266"/>
                <a:gd name="connsiteX240" fmla="*/ 884364 w 976589"/>
                <a:gd name="connsiteY240" fmla="*/ 417015 h 927266"/>
                <a:gd name="connsiteX241" fmla="*/ 890251 w 976589"/>
                <a:gd name="connsiteY241" fmla="*/ 418977 h 927266"/>
                <a:gd name="connsiteX242" fmla="*/ 880439 w 976589"/>
                <a:gd name="connsiteY242" fmla="*/ 420939 h 927266"/>
                <a:gd name="connsiteX243" fmla="*/ 909873 w 976589"/>
                <a:gd name="connsiteY243" fmla="*/ 426826 h 927266"/>
                <a:gd name="connsiteX244" fmla="*/ 917722 w 976589"/>
                <a:gd name="connsiteY244" fmla="*/ 422901 h 927266"/>
                <a:gd name="connsiteX245" fmla="*/ 923609 w 976589"/>
                <a:gd name="connsiteY245" fmla="*/ 415053 h 927266"/>
                <a:gd name="connsiteX246" fmla="*/ 935382 w 976589"/>
                <a:gd name="connsiteY246" fmla="*/ 411128 h 927266"/>
                <a:gd name="connsiteX247" fmla="*/ 955004 w 976589"/>
                <a:gd name="connsiteY247" fmla="*/ 405241 h 927266"/>
                <a:gd name="connsiteX248" fmla="*/ 966778 w 976589"/>
                <a:gd name="connsiteY248" fmla="*/ 397392 h 927266"/>
                <a:gd name="connsiteX249" fmla="*/ 960891 w 976589"/>
                <a:gd name="connsiteY249" fmla="*/ 375808 h 927266"/>
                <a:gd name="connsiteX250" fmla="*/ 956967 w 976589"/>
                <a:gd name="connsiteY250" fmla="*/ 371883 h 927266"/>
                <a:gd name="connsiteX251" fmla="*/ 964815 w 976589"/>
                <a:gd name="connsiteY251" fmla="*/ 350299 h 927266"/>
                <a:gd name="connsiteX252" fmla="*/ 968740 w 976589"/>
                <a:gd name="connsiteY252" fmla="*/ 344412 h 927266"/>
                <a:gd name="connsiteX253" fmla="*/ 976589 w 976589"/>
                <a:gd name="connsiteY253" fmla="*/ 334601 h 927266"/>
                <a:gd name="connsiteX254" fmla="*/ 939306 w 976589"/>
                <a:gd name="connsiteY254" fmla="*/ 326752 h 927266"/>
                <a:gd name="connsiteX255" fmla="*/ 931458 w 976589"/>
                <a:gd name="connsiteY255" fmla="*/ 324790 h 927266"/>
                <a:gd name="connsiteX256" fmla="*/ 923609 w 976589"/>
                <a:gd name="connsiteY256" fmla="*/ 305168 h 927266"/>
                <a:gd name="connsiteX257" fmla="*/ 911835 w 976589"/>
                <a:gd name="connsiteY257" fmla="*/ 291432 h 927266"/>
                <a:gd name="connsiteX258" fmla="*/ 872591 w 976589"/>
                <a:gd name="connsiteY258" fmla="*/ 293394 h 927266"/>
                <a:gd name="connsiteX259" fmla="*/ 868666 w 976589"/>
                <a:gd name="connsiteY259" fmla="*/ 299281 h 927266"/>
                <a:gd name="connsiteX260" fmla="*/ 860817 w 976589"/>
                <a:gd name="connsiteY260" fmla="*/ 303205 h 927266"/>
                <a:gd name="connsiteX261" fmla="*/ 845119 w 976589"/>
                <a:gd name="connsiteY261" fmla="*/ 301243 h 927266"/>
                <a:gd name="connsiteX262" fmla="*/ 843157 w 976589"/>
                <a:gd name="connsiteY262" fmla="*/ 269847 h 927266"/>
                <a:gd name="connsiteX263" fmla="*/ 835308 w 976589"/>
                <a:gd name="connsiteY263" fmla="*/ 258074 h 927266"/>
                <a:gd name="connsiteX264" fmla="*/ 794101 w 976589"/>
                <a:gd name="connsiteY264" fmla="*/ 252187 h 927266"/>
                <a:gd name="connsiteX265" fmla="*/ 778403 w 976589"/>
                <a:gd name="connsiteY265" fmla="*/ 232565 h 927266"/>
                <a:gd name="connsiteX266" fmla="*/ 774479 w 976589"/>
                <a:gd name="connsiteY266" fmla="*/ 226678 h 927266"/>
                <a:gd name="connsiteX267" fmla="*/ 768592 w 976589"/>
                <a:gd name="connsiteY267" fmla="*/ 222754 h 927266"/>
                <a:gd name="connsiteX268" fmla="*/ 756819 w 976589"/>
                <a:gd name="connsiteY268" fmla="*/ 210980 h 927266"/>
                <a:gd name="connsiteX269" fmla="*/ 752894 w 976589"/>
                <a:gd name="connsiteY269" fmla="*/ 207056 h 927266"/>
                <a:gd name="connsiteX270" fmla="*/ 745045 w 976589"/>
                <a:gd name="connsiteY270" fmla="*/ 205094 h 927266"/>
                <a:gd name="connsiteX271" fmla="*/ 741121 w 976589"/>
                <a:gd name="connsiteY271" fmla="*/ 199207 h 927266"/>
                <a:gd name="connsiteX272" fmla="*/ 739159 w 976589"/>
                <a:gd name="connsiteY272" fmla="*/ 191358 h 927266"/>
                <a:gd name="connsiteX273" fmla="*/ 729348 w 976589"/>
                <a:gd name="connsiteY273" fmla="*/ 183509 h 927266"/>
                <a:gd name="connsiteX274" fmla="*/ 725423 w 976589"/>
                <a:gd name="connsiteY274" fmla="*/ 177622 h 927266"/>
                <a:gd name="connsiteX275" fmla="*/ 692065 w 976589"/>
                <a:gd name="connsiteY275" fmla="*/ 171736 h 927266"/>
                <a:gd name="connsiteX276" fmla="*/ 688141 w 976589"/>
                <a:gd name="connsiteY276" fmla="*/ 163887 h 927266"/>
                <a:gd name="connsiteX277" fmla="*/ 690103 w 976589"/>
                <a:gd name="connsiteY277" fmla="*/ 156038 h 927266"/>
                <a:gd name="connsiteX278" fmla="*/ 692065 w 976589"/>
                <a:gd name="connsiteY278" fmla="*/ 150151 h 927266"/>
                <a:gd name="connsiteX279" fmla="*/ 695990 w 976589"/>
                <a:gd name="connsiteY279" fmla="*/ 136416 h 927266"/>
                <a:gd name="connsiteX280" fmla="*/ 699914 w 976589"/>
                <a:gd name="connsiteY280" fmla="*/ 130529 h 927266"/>
                <a:gd name="connsiteX281" fmla="*/ 707763 w 976589"/>
                <a:gd name="connsiteY281" fmla="*/ 118756 h 927266"/>
                <a:gd name="connsiteX0" fmla="*/ 707763 w 976589"/>
                <a:gd name="connsiteY0" fmla="*/ 118756 h 927266"/>
                <a:gd name="connsiteX1" fmla="*/ 701876 w 976589"/>
                <a:gd name="connsiteY1" fmla="*/ 106982 h 927266"/>
                <a:gd name="connsiteX2" fmla="*/ 694027 w 976589"/>
                <a:gd name="connsiteY2" fmla="*/ 99133 h 927266"/>
                <a:gd name="connsiteX3" fmla="*/ 686179 w 976589"/>
                <a:gd name="connsiteY3" fmla="*/ 89322 h 927266"/>
                <a:gd name="connsiteX4" fmla="*/ 682254 w 976589"/>
                <a:gd name="connsiteY4" fmla="*/ 81473 h 927266"/>
                <a:gd name="connsiteX5" fmla="*/ 678330 w 976589"/>
                <a:gd name="connsiteY5" fmla="*/ 75586 h 927266"/>
                <a:gd name="connsiteX6" fmla="*/ 670481 w 976589"/>
                <a:gd name="connsiteY6" fmla="*/ 63813 h 927266"/>
                <a:gd name="connsiteX7" fmla="*/ 674405 w 976589"/>
                <a:gd name="connsiteY7" fmla="*/ 34380 h 927266"/>
                <a:gd name="connsiteX8" fmla="*/ 672443 w 976589"/>
                <a:gd name="connsiteY8" fmla="*/ 20644 h 927266"/>
                <a:gd name="connsiteX9" fmla="*/ 666556 w 976589"/>
                <a:gd name="connsiteY9" fmla="*/ 26531 h 927266"/>
                <a:gd name="connsiteX10" fmla="*/ 660670 w 976589"/>
                <a:gd name="connsiteY10" fmla="*/ 30455 h 927266"/>
                <a:gd name="connsiteX11" fmla="*/ 650858 w 976589"/>
                <a:gd name="connsiteY11" fmla="*/ 28493 h 927266"/>
                <a:gd name="connsiteX12" fmla="*/ 639085 w 976589"/>
                <a:gd name="connsiteY12" fmla="*/ 18682 h 927266"/>
                <a:gd name="connsiteX13" fmla="*/ 627312 w 976589"/>
                <a:gd name="connsiteY13" fmla="*/ 12795 h 927266"/>
                <a:gd name="connsiteX14" fmla="*/ 611614 w 976589"/>
                <a:gd name="connsiteY14" fmla="*/ 4946 h 927266"/>
                <a:gd name="connsiteX15" fmla="*/ 562558 w 976589"/>
                <a:gd name="connsiteY15" fmla="*/ 1022 h 927266"/>
                <a:gd name="connsiteX16" fmla="*/ 539011 w 976589"/>
                <a:gd name="connsiteY16" fmla="*/ 2984 h 927266"/>
                <a:gd name="connsiteX17" fmla="*/ 533124 w 976589"/>
                <a:gd name="connsiteY17" fmla="*/ 32417 h 927266"/>
                <a:gd name="connsiteX18" fmla="*/ 527238 w 976589"/>
                <a:gd name="connsiteY18" fmla="*/ 38304 h 927266"/>
                <a:gd name="connsiteX19" fmla="*/ 515464 w 976589"/>
                <a:gd name="connsiteY19" fmla="*/ 28493 h 927266"/>
                <a:gd name="connsiteX20" fmla="*/ 509578 w 976589"/>
                <a:gd name="connsiteY20" fmla="*/ 16719 h 927266"/>
                <a:gd name="connsiteX21" fmla="*/ 505653 w 976589"/>
                <a:gd name="connsiteY21" fmla="*/ 4946 h 927266"/>
                <a:gd name="connsiteX22" fmla="*/ 444824 w 976589"/>
                <a:gd name="connsiteY22" fmla="*/ 12795 h 927266"/>
                <a:gd name="connsiteX23" fmla="*/ 433051 w 976589"/>
                <a:gd name="connsiteY23" fmla="*/ 18682 h 927266"/>
                <a:gd name="connsiteX24" fmla="*/ 425202 w 976589"/>
                <a:gd name="connsiteY24" fmla="*/ 6908 h 927266"/>
                <a:gd name="connsiteX25" fmla="*/ 417353 w 976589"/>
                <a:gd name="connsiteY25" fmla="*/ 4946 h 927266"/>
                <a:gd name="connsiteX26" fmla="*/ 405579 w 976589"/>
                <a:gd name="connsiteY26" fmla="*/ 6908 h 927266"/>
                <a:gd name="connsiteX27" fmla="*/ 401655 w 976589"/>
                <a:gd name="connsiteY27" fmla="*/ 14757 h 927266"/>
                <a:gd name="connsiteX28" fmla="*/ 387919 w 976589"/>
                <a:gd name="connsiteY28" fmla="*/ 12795 h 927266"/>
                <a:gd name="connsiteX29" fmla="*/ 374184 w 976589"/>
                <a:gd name="connsiteY29" fmla="*/ 6908 h 927266"/>
                <a:gd name="connsiteX30" fmla="*/ 360359 w 976589"/>
                <a:gd name="connsiteY30" fmla="*/ 4483 h 927266"/>
                <a:gd name="connsiteX31" fmla="*/ 362410 w 976589"/>
                <a:gd name="connsiteY31" fmla="*/ 22606 h 927266"/>
                <a:gd name="connsiteX32" fmla="*/ 358486 w 976589"/>
                <a:gd name="connsiteY32" fmla="*/ 30455 h 927266"/>
                <a:gd name="connsiteX33" fmla="*/ 343074 w 976589"/>
                <a:gd name="connsiteY33" fmla="*/ 31205 h 927266"/>
                <a:gd name="connsiteX34" fmla="*/ 344750 w 976589"/>
                <a:gd name="connsiteY34" fmla="*/ 40266 h 927266"/>
                <a:gd name="connsiteX35" fmla="*/ 334939 w 976589"/>
                <a:gd name="connsiteY35" fmla="*/ 50077 h 927266"/>
                <a:gd name="connsiteX36" fmla="*/ 332977 w 976589"/>
                <a:gd name="connsiteY36" fmla="*/ 55964 h 927266"/>
                <a:gd name="connsiteX37" fmla="*/ 329052 w 976589"/>
                <a:gd name="connsiteY37" fmla="*/ 77549 h 927266"/>
                <a:gd name="connsiteX38" fmla="*/ 321203 w 976589"/>
                <a:gd name="connsiteY38" fmla="*/ 81473 h 927266"/>
                <a:gd name="connsiteX39" fmla="*/ 332977 w 976589"/>
                <a:gd name="connsiteY39" fmla="*/ 83435 h 927266"/>
                <a:gd name="connsiteX40" fmla="*/ 321203 w 976589"/>
                <a:gd name="connsiteY40" fmla="*/ 87360 h 927266"/>
                <a:gd name="connsiteX41" fmla="*/ 291770 w 976589"/>
                <a:gd name="connsiteY41" fmla="*/ 99133 h 927266"/>
                <a:gd name="connsiteX42" fmla="*/ 289808 w 976589"/>
                <a:gd name="connsiteY42" fmla="*/ 91284 h 927266"/>
                <a:gd name="connsiteX43" fmla="*/ 297657 w 976589"/>
                <a:gd name="connsiteY43" fmla="*/ 85398 h 927266"/>
                <a:gd name="connsiteX44" fmla="*/ 278034 w 976589"/>
                <a:gd name="connsiteY44" fmla="*/ 87360 h 927266"/>
                <a:gd name="connsiteX45" fmla="*/ 274110 w 976589"/>
                <a:gd name="connsiteY45" fmla="*/ 95209 h 927266"/>
                <a:gd name="connsiteX46" fmla="*/ 268223 w 976589"/>
                <a:gd name="connsiteY46" fmla="*/ 108944 h 927266"/>
                <a:gd name="connsiteX47" fmla="*/ 250563 w 976589"/>
                <a:gd name="connsiteY47" fmla="*/ 124642 h 927266"/>
                <a:gd name="connsiteX48" fmla="*/ 248601 w 976589"/>
                <a:gd name="connsiteY48" fmla="*/ 140340 h 927266"/>
                <a:gd name="connsiteX49" fmla="*/ 242714 w 976589"/>
                <a:gd name="connsiteY49" fmla="*/ 150151 h 927266"/>
                <a:gd name="connsiteX50" fmla="*/ 240752 w 976589"/>
                <a:gd name="connsiteY50" fmla="*/ 156038 h 927266"/>
                <a:gd name="connsiteX51" fmla="*/ 238790 w 976589"/>
                <a:gd name="connsiteY51" fmla="*/ 185471 h 927266"/>
                <a:gd name="connsiteX52" fmla="*/ 246639 w 976589"/>
                <a:gd name="connsiteY52" fmla="*/ 187434 h 927266"/>
                <a:gd name="connsiteX53" fmla="*/ 260374 w 976589"/>
                <a:gd name="connsiteY53" fmla="*/ 191358 h 927266"/>
                <a:gd name="connsiteX54" fmla="*/ 258412 w 976589"/>
                <a:gd name="connsiteY54" fmla="*/ 197245 h 927266"/>
                <a:gd name="connsiteX55" fmla="*/ 254488 w 976589"/>
                <a:gd name="connsiteY55" fmla="*/ 203131 h 927266"/>
                <a:gd name="connsiteX56" fmla="*/ 252525 w 976589"/>
                <a:gd name="connsiteY56" fmla="*/ 216867 h 927266"/>
                <a:gd name="connsiteX57" fmla="*/ 236827 w 976589"/>
                <a:gd name="connsiteY57" fmla="*/ 226678 h 927266"/>
                <a:gd name="connsiteX58" fmla="*/ 234865 w 976589"/>
                <a:gd name="connsiteY58" fmla="*/ 242376 h 927266"/>
                <a:gd name="connsiteX59" fmla="*/ 221130 w 976589"/>
                <a:gd name="connsiteY59" fmla="*/ 258074 h 927266"/>
                <a:gd name="connsiteX60" fmla="*/ 215243 w 976589"/>
                <a:gd name="connsiteY60" fmla="*/ 265923 h 927266"/>
                <a:gd name="connsiteX61" fmla="*/ 193658 w 976589"/>
                <a:gd name="connsiteY61" fmla="*/ 265923 h 927266"/>
                <a:gd name="connsiteX62" fmla="*/ 189734 w 976589"/>
                <a:gd name="connsiteY62" fmla="*/ 254150 h 927266"/>
                <a:gd name="connsiteX63" fmla="*/ 191696 w 976589"/>
                <a:gd name="connsiteY63" fmla="*/ 261998 h 927266"/>
                <a:gd name="connsiteX64" fmla="*/ 193658 w 976589"/>
                <a:gd name="connsiteY64" fmla="*/ 271810 h 927266"/>
                <a:gd name="connsiteX65" fmla="*/ 197583 w 976589"/>
                <a:gd name="connsiteY65" fmla="*/ 283583 h 927266"/>
                <a:gd name="connsiteX66" fmla="*/ 201507 w 976589"/>
                <a:gd name="connsiteY66" fmla="*/ 297319 h 927266"/>
                <a:gd name="connsiteX67" fmla="*/ 203470 w 976589"/>
                <a:gd name="connsiteY67" fmla="*/ 318903 h 927266"/>
                <a:gd name="connsiteX68" fmla="*/ 205432 w 976589"/>
                <a:gd name="connsiteY68" fmla="*/ 324790 h 927266"/>
                <a:gd name="connsiteX69" fmla="*/ 213281 w 976589"/>
                <a:gd name="connsiteY69" fmla="*/ 326752 h 927266"/>
                <a:gd name="connsiteX70" fmla="*/ 215243 w 976589"/>
                <a:gd name="connsiteY70" fmla="*/ 332639 h 927266"/>
                <a:gd name="connsiteX71" fmla="*/ 201507 w 976589"/>
                <a:gd name="connsiteY71" fmla="*/ 354223 h 927266"/>
                <a:gd name="connsiteX72" fmla="*/ 197583 w 976589"/>
                <a:gd name="connsiteY72" fmla="*/ 360110 h 927266"/>
                <a:gd name="connsiteX73" fmla="*/ 193658 w 976589"/>
                <a:gd name="connsiteY73" fmla="*/ 364034 h 927266"/>
                <a:gd name="connsiteX74" fmla="*/ 197583 w 976589"/>
                <a:gd name="connsiteY74" fmla="*/ 385619 h 927266"/>
                <a:gd name="connsiteX75" fmla="*/ 219167 w 976589"/>
                <a:gd name="connsiteY75" fmla="*/ 387581 h 927266"/>
                <a:gd name="connsiteX76" fmla="*/ 225054 w 976589"/>
                <a:gd name="connsiteY76" fmla="*/ 393468 h 927266"/>
                <a:gd name="connsiteX77" fmla="*/ 221130 w 976589"/>
                <a:gd name="connsiteY77" fmla="*/ 401317 h 927266"/>
                <a:gd name="connsiteX78" fmla="*/ 219167 w 976589"/>
                <a:gd name="connsiteY78" fmla="*/ 411128 h 927266"/>
                <a:gd name="connsiteX79" fmla="*/ 213281 w 976589"/>
                <a:gd name="connsiteY79" fmla="*/ 413090 h 927266"/>
                <a:gd name="connsiteX80" fmla="*/ 193658 w 976589"/>
                <a:gd name="connsiteY80" fmla="*/ 409166 h 927266"/>
                <a:gd name="connsiteX81" fmla="*/ 185809 w 976589"/>
                <a:gd name="connsiteY81" fmla="*/ 403279 h 927266"/>
                <a:gd name="connsiteX82" fmla="*/ 177961 w 976589"/>
                <a:gd name="connsiteY82" fmla="*/ 407204 h 927266"/>
                <a:gd name="connsiteX83" fmla="*/ 174036 w 976589"/>
                <a:gd name="connsiteY83" fmla="*/ 415053 h 927266"/>
                <a:gd name="connsiteX84" fmla="*/ 162263 w 976589"/>
                <a:gd name="connsiteY84" fmla="*/ 418977 h 927266"/>
                <a:gd name="connsiteX85" fmla="*/ 136754 w 976589"/>
                <a:gd name="connsiteY85" fmla="*/ 434675 h 927266"/>
                <a:gd name="connsiteX86" fmla="*/ 128905 w 976589"/>
                <a:gd name="connsiteY86" fmla="*/ 436637 h 927266"/>
                <a:gd name="connsiteX87" fmla="*/ 126942 w 976589"/>
                <a:gd name="connsiteY87" fmla="*/ 442524 h 927266"/>
                <a:gd name="connsiteX88" fmla="*/ 124980 w 976589"/>
                <a:gd name="connsiteY88" fmla="*/ 466071 h 927266"/>
                <a:gd name="connsiteX89" fmla="*/ 119094 w 976589"/>
                <a:gd name="connsiteY89" fmla="*/ 468033 h 927266"/>
                <a:gd name="connsiteX90" fmla="*/ 115169 w 976589"/>
                <a:gd name="connsiteY90" fmla="*/ 475882 h 927266"/>
                <a:gd name="connsiteX91" fmla="*/ 111245 w 976589"/>
                <a:gd name="connsiteY91" fmla="*/ 485693 h 927266"/>
                <a:gd name="connsiteX92" fmla="*/ 91622 w 976589"/>
                <a:gd name="connsiteY92" fmla="*/ 491580 h 927266"/>
                <a:gd name="connsiteX93" fmla="*/ 48813 w 976589"/>
                <a:gd name="connsiteY93" fmla="*/ 487700 h 927266"/>
                <a:gd name="connsiteX94" fmla="*/ 20982 w 976589"/>
                <a:gd name="connsiteY94" fmla="*/ 497466 h 927266"/>
                <a:gd name="connsiteX95" fmla="*/ 17058 w 976589"/>
                <a:gd name="connsiteY95" fmla="*/ 501391 h 927266"/>
                <a:gd name="connsiteX96" fmla="*/ 7246 w 976589"/>
                <a:gd name="connsiteY96" fmla="*/ 491580 h 927266"/>
                <a:gd name="connsiteX97" fmla="*/ 3322 w 976589"/>
                <a:gd name="connsiteY97" fmla="*/ 511202 h 927266"/>
                <a:gd name="connsiteX98" fmla="*/ 5284 w 976589"/>
                <a:gd name="connsiteY98" fmla="*/ 521013 h 927266"/>
                <a:gd name="connsiteX99" fmla="*/ 9209 w 976589"/>
                <a:gd name="connsiteY99" fmla="*/ 524938 h 927266"/>
                <a:gd name="connsiteX100" fmla="*/ 13133 w 976589"/>
                <a:gd name="connsiteY100" fmla="*/ 530824 h 927266"/>
                <a:gd name="connsiteX101" fmla="*/ 15095 w 976589"/>
                <a:gd name="connsiteY101" fmla="*/ 536711 h 927266"/>
                <a:gd name="connsiteX102" fmla="*/ 24906 w 976589"/>
                <a:gd name="connsiteY102" fmla="*/ 556333 h 927266"/>
                <a:gd name="connsiteX103" fmla="*/ 26869 w 976589"/>
                <a:gd name="connsiteY103" fmla="*/ 562220 h 927266"/>
                <a:gd name="connsiteX104" fmla="*/ 30793 w 976589"/>
                <a:gd name="connsiteY104" fmla="*/ 568107 h 927266"/>
                <a:gd name="connsiteX105" fmla="*/ 34718 w 976589"/>
                <a:gd name="connsiteY105" fmla="*/ 581842 h 927266"/>
                <a:gd name="connsiteX106" fmla="*/ 38642 w 976589"/>
                <a:gd name="connsiteY106" fmla="*/ 589691 h 927266"/>
                <a:gd name="connsiteX107" fmla="*/ 42567 w 976589"/>
                <a:gd name="connsiteY107" fmla="*/ 599502 h 927266"/>
                <a:gd name="connsiteX108" fmla="*/ 46491 w 976589"/>
                <a:gd name="connsiteY108" fmla="*/ 603427 h 927266"/>
                <a:gd name="connsiteX109" fmla="*/ 52378 w 976589"/>
                <a:gd name="connsiteY109" fmla="*/ 615200 h 927266"/>
                <a:gd name="connsiteX110" fmla="*/ 54340 w 976589"/>
                <a:gd name="connsiteY110" fmla="*/ 625011 h 927266"/>
                <a:gd name="connsiteX111" fmla="*/ 66113 w 976589"/>
                <a:gd name="connsiteY111" fmla="*/ 632860 h 927266"/>
                <a:gd name="connsiteX112" fmla="*/ 72000 w 976589"/>
                <a:gd name="connsiteY112" fmla="*/ 642671 h 927266"/>
                <a:gd name="connsiteX113" fmla="*/ 75924 w 976589"/>
                <a:gd name="connsiteY113" fmla="*/ 646596 h 927266"/>
                <a:gd name="connsiteX114" fmla="*/ 77887 w 976589"/>
                <a:gd name="connsiteY114" fmla="*/ 658369 h 927266"/>
                <a:gd name="connsiteX115" fmla="*/ 81811 w 976589"/>
                <a:gd name="connsiteY115" fmla="*/ 666218 h 927266"/>
                <a:gd name="connsiteX116" fmla="*/ 77887 w 976589"/>
                <a:gd name="connsiteY116" fmla="*/ 705463 h 927266"/>
                <a:gd name="connsiteX117" fmla="*/ 60227 w 976589"/>
                <a:gd name="connsiteY117" fmla="*/ 721161 h 927266"/>
                <a:gd name="connsiteX118" fmla="*/ 54340 w 976589"/>
                <a:gd name="connsiteY118" fmla="*/ 729010 h 927266"/>
                <a:gd name="connsiteX119" fmla="*/ 50415 w 976589"/>
                <a:gd name="connsiteY119" fmla="*/ 732934 h 927266"/>
                <a:gd name="connsiteX120" fmla="*/ 46491 w 976589"/>
                <a:gd name="connsiteY120" fmla="*/ 738821 h 927266"/>
                <a:gd name="connsiteX121" fmla="*/ 38642 w 976589"/>
                <a:gd name="connsiteY121" fmla="*/ 744707 h 927266"/>
                <a:gd name="connsiteX122" fmla="*/ 28831 w 976589"/>
                <a:gd name="connsiteY122" fmla="*/ 758443 h 927266"/>
                <a:gd name="connsiteX123" fmla="*/ 22944 w 976589"/>
                <a:gd name="connsiteY123" fmla="*/ 762368 h 927266"/>
                <a:gd name="connsiteX124" fmla="*/ 19020 w 976589"/>
                <a:gd name="connsiteY124" fmla="*/ 770216 h 927266"/>
                <a:gd name="connsiteX125" fmla="*/ 15095 w 976589"/>
                <a:gd name="connsiteY125" fmla="*/ 776103 h 927266"/>
                <a:gd name="connsiteX126" fmla="*/ 13133 w 976589"/>
                <a:gd name="connsiteY126" fmla="*/ 783952 h 927266"/>
                <a:gd name="connsiteX127" fmla="*/ 15095 w 976589"/>
                <a:gd name="connsiteY127" fmla="*/ 805537 h 927266"/>
                <a:gd name="connsiteX128" fmla="*/ 26869 w 976589"/>
                <a:gd name="connsiteY128" fmla="*/ 811423 h 927266"/>
                <a:gd name="connsiteX129" fmla="*/ 52378 w 976589"/>
                <a:gd name="connsiteY129" fmla="*/ 813386 h 927266"/>
                <a:gd name="connsiteX130" fmla="*/ 58264 w 976589"/>
                <a:gd name="connsiteY130" fmla="*/ 819272 h 927266"/>
                <a:gd name="connsiteX131" fmla="*/ 66113 w 976589"/>
                <a:gd name="connsiteY131" fmla="*/ 821234 h 927266"/>
                <a:gd name="connsiteX132" fmla="*/ 73962 w 976589"/>
                <a:gd name="connsiteY132" fmla="*/ 833008 h 927266"/>
                <a:gd name="connsiteX133" fmla="*/ 72000 w 976589"/>
                <a:gd name="connsiteY133" fmla="*/ 844781 h 927266"/>
                <a:gd name="connsiteX134" fmla="*/ 70038 w 976589"/>
                <a:gd name="connsiteY134" fmla="*/ 850668 h 927266"/>
                <a:gd name="connsiteX135" fmla="*/ 73962 w 976589"/>
                <a:gd name="connsiteY135" fmla="*/ 895799 h 927266"/>
                <a:gd name="connsiteX136" fmla="*/ 75924 w 976589"/>
                <a:gd name="connsiteY136" fmla="*/ 909535 h 927266"/>
                <a:gd name="connsiteX137" fmla="*/ 85736 w 976589"/>
                <a:gd name="connsiteY137" fmla="*/ 921308 h 927266"/>
                <a:gd name="connsiteX138" fmla="*/ 91622 w 976589"/>
                <a:gd name="connsiteY138" fmla="*/ 909535 h 927266"/>
                <a:gd name="connsiteX139" fmla="*/ 101433 w 976589"/>
                <a:gd name="connsiteY139" fmla="*/ 907573 h 927266"/>
                <a:gd name="connsiteX140" fmla="*/ 119094 w 976589"/>
                <a:gd name="connsiteY140" fmla="*/ 909535 h 927266"/>
                <a:gd name="connsiteX141" fmla="*/ 124980 w 976589"/>
                <a:gd name="connsiteY141" fmla="*/ 911497 h 927266"/>
                <a:gd name="connsiteX142" fmla="*/ 128905 w 976589"/>
                <a:gd name="connsiteY142" fmla="*/ 905610 h 927266"/>
                <a:gd name="connsiteX143" fmla="*/ 134791 w 976589"/>
                <a:gd name="connsiteY143" fmla="*/ 897762 h 927266"/>
                <a:gd name="connsiteX144" fmla="*/ 142640 w 976589"/>
                <a:gd name="connsiteY144" fmla="*/ 884026 h 927266"/>
                <a:gd name="connsiteX145" fmla="*/ 152451 w 976589"/>
                <a:gd name="connsiteY145" fmla="*/ 868328 h 927266"/>
                <a:gd name="connsiteX146" fmla="*/ 154414 w 976589"/>
                <a:gd name="connsiteY146" fmla="*/ 862441 h 927266"/>
                <a:gd name="connsiteX147" fmla="*/ 164225 w 976589"/>
                <a:gd name="connsiteY147" fmla="*/ 846744 h 927266"/>
                <a:gd name="connsiteX148" fmla="*/ 162263 w 976589"/>
                <a:gd name="connsiteY148" fmla="*/ 833008 h 927266"/>
                <a:gd name="connsiteX149" fmla="*/ 174036 w 976589"/>
                <a:gd name="connsiteY149" fmla="*/ 834970 h 927266"/>
                <a:gd name="connsiteX150" fmla="*/ 238790 w 976589"/>
                <a:gd name="connsiteY150" fmla="*/ 831046 h 927266"/>
                <a:gd name="connsiteX151" fmla="*/ 256450 w 976589"/>
                <a:gd name="connsiteY151" fmla="*/ 827121 h 927266"/>
                <a:gd name="connsiteX152" fmla="*/ 268223 w 976589"/>
                <a:gd name="connsiteY152" fmla="*/ 825159 h 927266"/>
                <a:gd name="connsiteX153" fmla="*/ 272148 w 976589"/>
                <a:gd name="connsiteY153" fmla="*/ 819272 h 927266"/>
                <a:gd name="connsiteX154" fmla="*/ 309430 w 976589"/>
                <a:gd name="connsiteY154" fmla="*/ 811423 h 927266"/>
                <a:gd name="connsiteX155" fmla="*/ 311392 w 976589"/>
                <a:gd name="connsiteY155" fmla="*/ 803574 h 927266"/>
                <a:gd name="connsiteX156" fmla="*/ 317279 w 976589"/>
                <a:gd name="connsiteY156" fmla="*/ 795725 h 927266"/>
                <a:gd name="connsiteX157" fmla="*/ 334939 w 976589"/>
                <a:gd name="connsiteY157" fmla="*/ 799650 h 927266"/>
                <a:gd name="connsiteX158" fmla="*/ 340826 w 976589"/>
                <a:gd name="connsiteY158" fmla="*/ 805537 h 927266"/>
                <a:gd name="connsiteX159" fmla="*/ 346712 w 976589"/>
                <a:gd name="connsiteY159" fmla="*/ 809461 h 927266"/>
                <a:gd name="connsiteX160" fmla="*/ 380070 w 976589"/>
                <a:gd name="connsiteY160" fmla="*/ 807499 h 927266"/>
                <a:gd name="connsiteX161" fmla="*/ 382033 w 976589"/>
                <a:gd name="connsiteY161" fmla="*/ 789839 h 927266"/>
                <a:gd name="connsiteX162" fmla="*/ 385957 w 976589"/>
                <a:gd name="connsiteY162" fmla="*/ 795725 h 927266"/>
                <a:gd name="connsiteX163" fmla="*/ 391844 w 976589"/>
                <a:gd name="connsiteY163" fmla="*/ 805537 h 927266"/>
                <a:gd name="connsiteX164" fmla="*/ 393806 w 976589"/>
                <a:gd name="connsiteY164" fmla="*/ 811423 h 927266"/>
                <a:gd name="connsiteX165" fmla="*/ 401655 w 976589"/>
                <a:gd name="connsiteY165" fmla="*/ 815348 h 927266"/>
                <a:gd name="connsiteX166" fmla="*/ 417353 w 976589"/>
                <a:gd name="connsiteY166" fmla="*/ 813386 h 927266"/>
                <a:gd name="connsiteX167" fmla="*/ 438937 w 976589"/>
                <a:gd name="connsiteY167" fmla="*/ 805537 h 927266"/>
                <a:gd name="connsiteX168" fmla="*/ 442862 w 976589"/>
                <a:gd name="connsiteY168" fmla="*/ 799650 h 927266"/>
                <a:gd name="connsiteX169" fmla="*/ 466409 w 976589"/>
                <a:gd name="connsiteY169" fmla="*/ 805537 h 927266"/>
                <a:gd name="connsiteX170" fmla="*/ 476220 w 976589"/>
                <a:gd name="connsiteY170" fmla="*/ 817310 h 927266"/>
                <a:gd name="connsiteX171" fmla="*/ 482106 w 976589"/>
                <a:gd name="connsiteY171" fmla="*/ 827121 h 927266"/>
                <a:gd name="connsiteX172" fmla="*/ 489955 w 976589"/>
                <a:gd name="connsiteY172" fmla="*/ 825159 h 927266"/>
                <a:gd name="connsiteX173" fmla="*/ 529200 w 976589"/>
                <a:gd name="connsiteY173" fmla="*/ 819272 h 927266"/>
                <a:gd name="connsiteX174" fmla="*/ 533124 w 976589"/>
                <a:gd name="connsiteY174" fmla="*/ 827121 h 927266"/>
                <a:gd name="connsiteX175" fmla="*/ 539011 w 976589"/>
                <a:gd name="connsiteY175" fmla="*/ 833008 h 927266"/>
                <a:gd name="connsiteX176" fmla="*/ 542936 w 976589"/>
                <a:gd name="connsiteY176" fmla="*/ 838895 h 927266"/>
                <a:gd name="connsiteX177" fmla="*/ 552747 w 976589"/>
                <a:gd name="connsiteY177" fmla="*/ 833008 h 927266"/>
                <a:gd name="connsiteX178" fmla="*/ 556671 w 976589"/>
                <a:gd name="connsiteY178" fmla="*/ 819272 h 927266"/>
                <a:gd name="connsiteX179" fmla="*/ 554709 w 976589"/>
                <a:gd name="connsiteY179" fmla="*/ 809461 h 927266"/>
                <a:gd name="connsiteX180" fmla="*/ 560596 w 976589"/>
                <a:gd name="connsiteY180" fmla="*/ 805537 h 927266"/>
                <a:gd name="connsiteX181" fmla="*/ 582180 w 976589"/>
                <a:gd name="connsiteY181" fmla="*/ 803574 h 927266"/>
                <a:gd name="connsiteX182" fmla="*/ 578256 w 976589"/>
                <a:gd name="connsiteY182" fmla="*/ 797688 h 927266"/>
                <a:gd name="connsiteX183" fmla="*/ 584142 w 976589"/>
                <a:gd name="connsiteY183" fmla="*/ 799650 h 927266"/>
                <a:gd name="connsiteX184" fmla="*/ 590029 w 976589"/>
                <a:gd name="connsiteY184" fmla="*/ 801612 h 927266"/>
                <a:gd name="connsiteX185" fmla="*/ 652821 w 976589"/>
                <a:gd name="connsiteY185" fmla="*/ 803574 h 927266"/>
                <a:gd name="connsiteX186" fmla="*/ 654783 w 976589"/>
                <a:gd name="connsiteY186" fmla="*/ 811423 h 927266"/>
                <a:gd name="connsiteX187" fmla="*/ 650858 w 976589"/>
                <a:gd name="connsiteY187" fmla="*/ 819272 h 927266"/>
                <a:gd name="connsiteX188" fmla="*/ 678330 w 976589"/>
                <a:gd name="connsiteY188" fmla="*/ 789839 h 927266"/>
                <a:gd name="connsiteX189" fmla="*/ 676367 w 976589"/>
                <a:gd name="connsiteY189" fmla="*/ 783952 h 927266"/>
                <a:gd name="connsiteX190" fmla="*/ 668518 w 976589"/>
                <a:gd name="connsiteY190" fmla="*/ 781990 h 927266"/>
                <a:gd name="connsiteX191" fmla="*/ 666556 w 976589"/>
                <a:gd name="connsiteY191" fmla="*/ 772179 h 927266"/>
                <a:gd name="connsiteX192" fmla="*/ 680292 w 976589"/>
                <a:gd name="connsiteY192" fmla="*/ 768254 h 927266"/>
                <a:gd name="connsiteX193" fmla="*/ 688141 w 976589"/>
                <a:gd name="connsiteY193" fmla="*/ 778065 h 927266"/>
                <a:gd name="connsiteX194" fmla="*/ 695990 w 976589"/>
                <a:gd name="connsiteY194" fmla="*/ 787877 h 927266"/>
                <a:gd name="connsiteX195" fmla="*/ 701876 w 976589"/>
                <a:gd name="connsiteY195" fmla="*/ 797688 h 927266"/>
                <a:gd name="connsiteX196" fmla="*/ 709725 w 976589"/>
                <a:gd name="connsiteY196" fmla="*/ 799650 h 927266"/>
                <a:gd name="connsiteX197" fmla="*/ 715612 w 976589"/>
                <a:gd name="connsiteY197" fmla="*/ 801612 h 927266"/>
                <a:gd name="connsiteX198" fmla="*/ 725423 w 976589"/>
                <a:gd name="connsiteY198" fmla="*/ 797688 h 927266"/>
                <a:gd name="connsiteX199" fmla="*/ 739159 w 976589"/>
                <a:gd name="connsiteY199" fmla="*/ 785914 h 927266"/>
                <a:gd name="connsiteX200" fmla="*/ 756819 w 976589"/>
                <a:gd name="connsiteY200" fmla="*/ 787877 h 927266"/>
                <a:gd name="connsiteX201" fmla="*/ 766630 w 976589"/>
                <a:gd name="connsiteY201" fmla="*/ 776103 h 927266"/>
                <a:gd name="connsiteX202" fmla="*/ 774479 w 976589"/>
                <a:gd name="connsiteY202" fmla="*/ 772179 h 927266"/>
                <a:gd name="connsiteX203" fmla="*/ 784290 w 976589"/>
                <a:gd name="connsiteY203" fmla="*/ 770216 h 927266"/>
                <a:gd name="connsiteX204" fmla="*/ 803912 w 976589"/>
                <a:gd name="connsiteY204" fmla="*/ 766292 h 927266"/>
                <a:gd name="connsiteX205" fmla="*/ 809799 w 976589"/>
                <a:gd name="connsiteY205" fmla="*/ 760405 h 927266"/>
                <a:gd name="connsiteX206" fmla="*/ 825497 w 976589"/>
                <a:gd name="connsiteY206" fmla="*/ 770216 h 927266"/>
                <a:gd name="connsiteX207" fmla="*/ 845119 w 976589"/>
                <a:gd name="connsiteY207" fmla="*/ 780028 h 927266"/>
                <a:gd name="connsiteX208" fmla="*/ 860817 w 976589"/>
                <a:gd name="connsiteY208" fmla="*/ 778065 h 927266"/>
                <a:gd name="connsiteX209" fmla="*/ 858855 w 976589"/>
                <a:gd name="connsiteY209" fmla="*/ 764330 h 927266"/>
                <a:gd name="connsiteX210" fmla="*/ 847082 w 976589"/>
                <a:gd name="connsiteY210" fmla="*/ 754519 h 927266"/>
                <a:gd name="connsiteX211" fmla="*/ 843157 w 976589"/>
                <a:gd name="connsiteY211" fmla="*/ 750594 h 927266"/>
                <a:gd name="connsiteX212" fmla="*/ 843157 w 976589"/>
                <a:gd name="connsiteY212" fmla="*/ 732934 h 927266"/>
                <a:gd name="connsiteX213" fmla="*/ 839233 w 976589"/>
                <a:gd name="connsiteY213" fmla="*/ 713312 h 927266"/>
                <a:gd name="connsiteX214" fmla="*/ 837270 w 976589"/>
                <a:gd name="connsiteY214" fmla="*/ 658369 h 927266"/>
                <a:gd name="connsiteX215" fmla="*/ 843157 w 976589"/>
                <a:gd name="connsiteY215" fmla="*/ 642671 h 927266"/>
                <a:gd name="connsiteX216" fmla="*/ 852968 w 976589"/>
                <a:gd name="connsiteY216" fmla="*/ 634822 h 927266"/>
                <a:gd name="connsiteX217" fmla="*/ 874553 w 976589"/>
                <a:gd name="connsiteY217" fmla="*/ 628936 h 927266"/>
                <a:gd name="connsiteX218" fmla="*/ 880439 w 976589"/>
                <a:gd name="connsiteY218" fmla="*/ 625011 h 927266"/>
                <a:gd name="connsiteX219" fmla="*/ 888288 w 976589"/>
                <a:gd name="connsiteY219" fmla="*/ 621087 h 927266"/>
                <a:gd name="connsiteX220" fmla="*/ 896137 w 976589"/>
                <a:gd name="connsiteY220" fmla="*/ 615200 h 927266"/>
                <a:gd name="connsiteX221" fmla="*/ 907911 w 976589"/>
                <a:gd name="connsiteY221" fmla="*/ 611276 h 927266"/>
                <a:gd name="connsiteX222" fmla="*/ 917722 w 976589"/>
                <a:gd name="connsiteY222" fmla="*/ 607351 h 927266"/>
                <a:gd name="connsiteX223" fmla="*/ 923609 w 976589"/>
                <a:gd name="connsiteY223" fmla="*/ 603427 h 927266"/>
                <a:gd name="connsiteX224" fmla="*/ 931458 w 976589"/>
                <a:gd name="connsiteY224" fmla="*/ 599502 h 927266"/>
                <a:gd name="connsiteX225" fmla="*/ 935382 w 976589"/>
                <a:gd name="connsiteY225" fmla="*/ 587729 h 927266"/>
                <a:gd name="connsiteX226" fmla="*/ 927533 w 976589"/>
                <a:gd name="connsiteY226" fmla="*/ 575956 h 927266"/>
                <a:gd name="connsiteX227" fmla="*/ 919684 w 976589"/>
                <a:gd name="connsiteY227" fmla="*/ 558295 h 927266"/>
                <a:gd name="connsiteX228" fmla="*/ 917722 w 976589"/>
                <a:gd name="connsiteY228" fmla="*/ 552409 h 927266"/>
                <a:gd name="connsiteX229" fmla="*/ 919684 w 976589"/>
                <a:gd name="connsiteY229" fmla="*/ 546522 h 927266"/>
                <a:gd name="connsiteX230" fmla="*/ 913797 w 976589"/>
                <a:gd name="connsiteY230" fmla="*/ 528862 h 927266"/>
                <a:gd name="connsiteX231" fmla="*/ 882402 w 976589"/>
                <a:gd name="connsiteY231" fmla="*/ 491580 h 927266"/>
                <a:gd name="connsiteX232" fmla="*/ 874553 w 976589"/>
                <a:gd name="connsiteY232" fmla="*/ 483731 h 927266"/>
                <a:gd name="connsiteX233" fmla="*/ 868666 w 976589"/>
                <a:gd name="connsiteY233" fmla="*/ 477844 h 927266"/>
                <a:gd name="connsiteX234" fmla="*/ 860817 w 976589"/>
                <a:gd name="connsiteY234" fmla="*/ 464108 h 927266"/>
                <a:gd name="connsiteX235" fmla="*/ 851006 w 976589"/>
                <a:gd name="connsiteY235" fmla="*/ 458222 h 927266"/>
                <a:gd name="connsiteX236" fmla="*/ 845119 w 976589"/>
                <a:gd name="connsiteY236" fmla="*/ 454297 h 927266"/>
                <a:gd name="connsiteX237" fmla="*/ 849044 w 976589"/>
                <a:gd name="connsiteY237" fmla="*/ 436637 h 927266"/>
                <a:gd name="connsiteX238" fmla="*/ 866704 w 976589"/>
                <a:gd name="connsiteY238" fmla="*/ 417015 h 927266"/>
                <a:gd name="connsiteX239" fmla="*/ 872591 w 976589"/>
                <a:gd name="connsiteY239" fmla="*/ 415053 h 927266"/>
                <a:gd name="connsiteX240" fmla="*/ 884364 w 976589"/>
                <a:gd name="connsiteY240" fmla="*/ 417015 h 927266"/>
                <a:gd name="connsiteX241" fmla="*/ 890251 w 976589"/>
                <a:gd name="connsiteY241" fmla="*/ 418977 h 927266"/>
                <a:gd name="connsiteX242" fmla="*/ 880439 w 976589"/>
                <a:gd name="connsiteY242" fmla="*/ 420939 h 927266"/>
                <a:gd name="connsiteX243" fmla="*/ 909873 w 976589"/>
                <a:gd name="connsiteY243" fmla="*/ 426826 h 927266"/>
                <a:gd name="connsiteX244" fmla="*/ 917722 w 976589"/>
                <a:gd name="connsiteY244" fmla="*/ 422901 h 927266"/>
                <a:gd name="connsiteX245" fmla="*/ 923609 w 976589"/>
                <a:gd name="connsiteY245" fmla="*/ 415053 h 927266"/>
                <a:gd name="connsiteX246" fmla="*/ 935382 w 976589"/>
                <a:gd name="connsiteY246" fmla="*/ 411128 h 927266"/>
                <a:gd name="connsiteX247" fmla="*/ 955004 w 976589"/>
                <a:gd name="connsiteY247" fmla="*/ 405241 h 927266"/>
                <a:gd name="connsiteX248" fmla="*/ 966778 w 976589"/>
                <a:gd name="connsiteY248" fmla="*/ 397392 h 927266"/>
                <a:gd name="connsiteX249" fmla="*/ 960891 w 976589"/>
                <a:gd name="connsiteY249" fmla="*/ 375808 h 927266"/>
                <a:gd name="connsiteX250" fmla="*/ 956967 w 976589"/>
                <a:gd name="connsiteY250" fmla="*/ 371883 h 927266"/>
                <a:gd name="connsiteX251" fmla="*/ 964815 w 976589"/>
                <a:gd name="connsiteY251" fmla="*/ 350299 h 927266"/>
                <a:gd name="connsiteX252" fmla="*/ 968740 w 976589"/>
                <a:gd name="connsiteY252" fmla="*/ 344412 h 927266"/>
                <a:gd name="connsiteX253" fmla="*/ 976589 w 976589"/>
                <a:gd name="connsiteY253" fmla="*/ 334601 h 927266"/>
                <a:gd name="connsiteX254" fmla="*/ 939306 w 976589"/>
                <a:gd name="connsiteY254" fmla="*/ 326752 h 927266"/>
                <a:gd name="connsiteX255" fmla="*/ 931458 w 976589"/>
                <a:gd name="connsiteY255" fmla="*/ 324790 h 927266"/>
                <a:gd name="connsiteX256" fmla="*/ 923609 w 976589"/>
                <a:gd name="connsiteY256" fmla="*/ 305168 h 927266"/>
                <a:gd name="connsiteX257" fmla="*/ 911835 w 976589"/>
                <a:gd name="connsiteY257" fmla="*/ 291432 h 927266"/>
                <a:gd name="connsiteX258" fmla="*/ 872591 w 976589"/>
                <a:gd name="connsiteY258" fmla="*/ 293394 h 927266"/>
                <a:gd name="connsiteX259" fmla="*/ 868666 w 976589"/>
                <a:gd name="connsiteY259" fmla="*/ 299281 h 927266"/>
                <a:gd name="connsiteX260" fmla="*/ 860817 w 976589"/>
                <a:gd name="connsiteY260" fmla="*/ 303205 h 927266"/>
                <a:gd name="connsiteX261" fmla="*/ 845119 w 976589"/>
                <a:gd name="connsiteY261" fmla="*/ 301243 h 927266"/>
                <a:gd name="connsiteX262" fmla="*/ 843157 w 976589"/>
                <a:gd name="connsiteY262" fmla="*/ 269847 h 927266"/>
                <a:gd name="connsiteX263" fmla="*/ 835308 w 976589"/>
                <a:gd name="connsiteY263" fmla="*/ 258074 h 927266"/>
                <a:gd name="connsiteX264" fmla="*/ 794101 w 976589"/>
                <a:gd name="connsiteY264" fmla="*/ 252187 h 927266"/>
                <a:gd name="connsiteX265" fmla="*/ 778403 w 976589"/>
                <a:gd name="connsiteY265" fmla="*/ 232565 h 927266"/>
                <a:gd name="connsiteX266" fmla="*/ 774479 w 976589"/>
                <a:gd name="connsiteY266" fmla="*/ 226678 h 927266"/>
                <a:gd name="connsiteX267" fmla="*/ 768592 w 976589"/>
                <a:gd name="connsiteY267" fmla="*/ 222754 h 927266"/>
                <a:gd name="connsiteX268" fmla="*/ 756819 w 976589"/>
                <a:gd name="connsiteY268" fmla="*/ 210980 h 927266"/>
                <a:gd name="connsiteX269" fmla="*/ 752894 w 976589"/>
                <a:gd name="connsiteY269" fmla="*/ 207056 h 927266"/>
                <a:gd name="connsiteX270" fmla="*/ 745045 w 976589"/>
                <a:gd name="connsiteY270" fmla="*/ 205094 h 927266"/>
                <a:gd name="connsiteX271" fmla="*/ 741121 w 976589"/>
                <a:gd name="connsiteY271" fmla="*/ 199207 h 927266"/>
                <a:gd name="connsiteX272" fmla="*/ 739159 w 976589"/>
                <a:gd name="connsiteY272" fmla="*/ 191358 h 927266"/>
                <a:gd name="connsiteX273" fmla="*/ 729348 w 976589"/>
                <a:gd name="connsiteY273" fmla="*/ 183509 h 927266"/>
                <a:gd name="connsiteX274" fmla="*/ 725423 w 976589"/>
                <a:gd name="connsiteY274" fmla="*/ 177622 h 927266"/>
                <a:gd name="connsiteX275" fmla="*/ 692065 w 976589"/>
                <a:gd name="connsiteY275" fmla="*/ 171736 h 927266"/>
                <a:gd name="connsiteX276" fmla="*/ 688141 w 976589"/>
                <a:gd name="connsiteY276" fmla="*/ 163887 h 927266"/>
                <a:gd name="connsiteX277" fmla="*/ 690103 w 976589"/>
                <a:gd name="connsiteY277" fmla="*/ 156038 h 927266"/>
                <a:gd name="connsiteX278" fmla="*/ 692065 w 976589"/>
                <a:gd name="connsiteY278" fmla="*/ 150151 h 927266"/>
                <a:gd name="connsiteX279" fmla="*/ 695990 w 976589"/>
                <a:gd name="connsiteY279" fmla="*/ 136416 h 927266"/>
                <a:gd name="connsiteX280" fmla="*/ 699914 w 976589"/>
                <a:gd name="connsiteY280" fmla="*/ 130529 h 927266"/>
                <a:gd name="connsiteX281" fmla="*/ 707763 w 976589"/>
                <a:gd name="connsiteY281" fmla="*/ 118756 h 927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Lst>
              <a:rect l="l" t="t" r="r" b="b"/>
              <a:pathLst>
                <a:path w="976589" h="927266">
                  <a:moveTo>
                    <a:pt x="707763" y="118756"/>
                  </a:moveTo>
                  <a:cubicBezTo>
                    <a:pt x="708090" y="114832"/>
                    <a:pt x="704392" y="110577"/>
                    <a:pt x="701876" y="106982"/>
                  </a:cubicBezTo>
                  <a:cubicBezTo>
                    <a:pt x="699754" y="103951"/>
                    <a:pt x="696485" y="101899"/>
                    <a:pt x="694027" y="99133"/>
                  </a:cubicBezTo>
                  <a:cubicBezTo>
                    <a:pt x="691245" y="96003"/>
                    <a:pt x="688502" y="92807"/>
                    <a:pt x="686179" y="89322"/>
                  </a:cubicBezTo>
                  <a:cubicBezTo>
                    <a:pt x="684556" y="86888"/>
                    <a:pt x="683705" y="84013"/>
                    <a:pt x="682254" y="81473"/>
                  </a:cubicBezTo>
                  <a:cubicBezTo>
                    <a:pt x="681084" y="79425"/>
                    <a:pt x="679500" y="77634"/>
                    <a:pt x="678330" y="75586"/>
                  </a:cubicBezTo>
                  <a:cubicBezTo>
                    <a:pt x="671995" y="64501"/>
                    <a:pt x="677474" y="70808"/>
                    <a:pt x="670481" y="63813"/>
                  </a:cubicBezTo>
                  <a:cubicBezTo>
                    <a:pt x="671789" y="54002"/>
                    <a:pt x="673956" y="44268"/>
                    <a:pt x="674405" y="34380"/>
                  </a:cubicBezTo>
                  <a:cubicBezTo>
                    <a:pt x="674615" y="29760"/>
                    <a:pt x="675713" y="23914"/>
                    <a:pt x="672443" y="20644"/>
                  </a:cubicBezTo>
                  <a:cubicBezTo>
                    <a:pt x="670481" y="18682"/>
                    <a:pt x="668688" y="24754"/>
                    <a:pt x="666556" y="26531"/>
                  </a:cubicBezTo>
                  <a:cubicBezTo>
                    <a:pt x="664745" y="28041"/>
                    <a:pt x="662632" y="29147"/>
                    <a:pt x="660670" y="30455"/>
                  </a:cubicBezTo>
                  <a:cubicBezTo>
                    <a:pt x="657399" y="29801"/>
                    <a:pt x="653981" y="29664"/>
                    <a:pt x="650858" y="28493"/>
                  </a:cubicBezTo>
                  <a:cubicBezTo>
                    <a:pt x="643528" y="25744"/>
                    <a:pt x="645622" y="23040"/>
                    <a:pt x="639085" y="18682"/>
                  </a:cubicBezTo>
                  <a:cubicBezTo>
                    <a:pt x="635434" y="16248"/>
                    <a:pt x="631147" y="14926"/>
                    <a:pt x="627312" y="12795"/>
                  </a:cubicBezTo>
                  <a:cubicBezTo>
                    <a:pt x="618650" y="7983"/>
                    <a:pt x="623381" y="8155"/>
                    <a:pt x="611614" y="4946"/>
                  </a:cubicBezTo>
                  <a:cubicBezTo>
                    <a:pt x="599157" y="1549"/>
                    <a:pt x="567556" y="1285"/>
                    <a:pt x="562558" y="1022"/>
                  </a:cubicBezTo>
                  <a:cubicBezTo>
                    <a:pt x="554709" y="1676"/>
                    <a:pt x="544398" y="-2762"/>
                    <a:pt x="539011" y="2984"/>
                  </a:cubicBezTo>
                  <a:cubicBezTo>
                    <a:pt x="532168" y="10283"/>
                    <a:pt x="536288" y="22925"/>
                    <a:pt x="533124" y="32417"/>
                  </a:cubicBezTo>
                  <a:cubicBezTo>
                    <a:pt x="532247" y="35050"/>
                    <a:pt x="529200" y="36342"/>
                    <a:pt x="527238" y="38304"/>
                  </a:cubicBezTo>
                  <a:cubicBezTo>
                    <a:pt x="526733" y="37925"/>
                    <a:pt x="516710" y="30985"/>
                    <a:pt x="515464" y="28493"/>
                  </a:cubicBezTo>
                  <a:cubicBezTo>
                    <a:pt x="508228" y="14023"/>
                    <a:pt x="518719" y="25862"/>
                    <a:pt x="509578" y="16719"/>
                  </a:cubicBezTo>
                  <a:cubicBezTo>
                    <a:pt x="508270" y="12795"/>
                    <a:pt x="509748" y="5531"/>
                    <a:pt x="505653" y="4946"/>
                  </a:cubicBezTo>
                  <a:cubicBezTo>
                    <a:pt x="489085" y="2579"/>
                    <a:pt x="462632" y="3892"/>
                    <a:pt x="444824" y="12795"/>
                  </a:cubicBezTo>
                  <a:cubicBezTo>
                    <a:pt x="429600" y="20406"/>
                    <a:pt x="447854" y="13745"/>
                    <a:pt x="433051" y="18682"/>
                  </a:cubicBezTo>
                  <a:cubicBezTo>
                    <a:pt x="431459" y="15498"/>
                    <a:pt x="429196" y="8905"/>
                    <a:pt x="425202" y="6908"/>
                  </a:cubicBezTo>
                  <a:cubicBezTo>
                    <a:pt x="422790" y="5702"/>
                    <a:pt x="419969" y="5600"/>
                    <a:pt x="417353" y="4946"/>
                  </a:cubicBezTo>
                  <a:cubicBezTo>
                    <a:pt x="413428" y="5600"/>
                    <a:pt x="408953" y="4799"/>
                    <a:pt x="405579" y="6908"/>
                  </a:cubicBezTo>
                  <a:cubicBezTo>
                    <a:pt x="403099" y="8458"/>
                    <a:pt x="404430" y="13832"/>
                    <a:pt x="401655" y="14757"/>
                  </a:cubicBezTo>
                  <a:cubicBezTo>
                    <a:pt x="397267" y="16220"/>
                    <a:pt x="392498" y="13449"/>
                    <a:pt x="387919" y="12795"/>
                  </a:cubicBezTo>
                  <a:cubicBezTo>
                    <a:pt x="384091" y="10243"/>
                    <a:pt x="378777" y="8293"/>
                    <a:pt x="374184" y="6908"/>
                  </a:cubicBezTo>
                  <a:cubicBezTo>
                    <a:pt x="369591" y="5523"/>
                    <a:pt x="362321" y="3175"/>
                    <a:pt x="360359" y="4483"/>
                  </a:cubicBezTo>
                  <a:cubicBezTo>
                    <a:pt x="356248" y="20930"/>
                    <a:pt x="362722" y="18277"/>
                    <a:pt x="362410" y="22606"/>
                  </a:cubicBezTo>
                  <a:cubicBezTo>
                    <a:pt x="362098" y="26935"/>
                    <a:pt x="361709" y="29022"/>
                    <a:pt x="358486" y="30455"/>
                  </a:cubicBezTo>
                  <a:cubicBezTo>
                    <a:pt x="355263" y="31888"/>
                    <a:pt x="344993" y="29834"/>
                    <a:pt x="343074" y="31205"/>
                  </a:cubicBezTo>
                  <a:cubicBezTo>
                    <a:pt x="340413" y="33106"/>
                    <a:pt x="346106" y="37121"/>
                    <a:pt x="344750" y="40266"/>
                  </a:cubicBezTo>
                  <a:cubicBezTo>
                    <a:pt x="343394" y="43411"/>
                    <a:pt x="334939" y="50077"/>
                    <a:pt x="334939" y="50077"/>
                  </a:cubicBezTo>
                  <a:cubicBezTo>
                    <a:pt x="334285" y="52039"/>
                    <a:pt x="333410" y="53941"/>
                    <a:pt x="332977" y="55964"/>
                  </a:cubicBezTo>
                  <a:cubicBezTo>
                    <a:pt x="331445" y="63115"/>
                    <a:pt x="332117" y="70909"/>
                    <a:pt x="329052" y="77549"/>
                  </a:cubicBezTo>
                  <a:cubicBezTo>
                    <a:pt x="327826" y="80205"/>
                    <a:pt x="323819" y="80165"/>
                    <a:pt x="321203" y="81473"/>
                  </a:cubicBezTo>
                  <a:lnTo>
                    <a:pt x="332977" y="83435"/>
                  </a:lnTo>
                  <a:cubicBezTo>
                    <a:pt x="332977" y="87572"/>
                    <a:pt x="325069" y="85887"/>
                    <a:pt x="321203" y="87360"/>
                  </a:cubicBezTo>
                  <a:cubicBezTo>
                    <a:pt x="311329" y="91122"/>
                    <a:pt x="291770" y="99133"/>
                    <a:pt x="291770" y="99133"/>
                  </a:cubicBezTo>
                  <a:cubicBezTo>
                    <a:pt x="291116" y="96517"/>
                    <a:pt x="288746" y="93763"/>
                    <a:pt x="289808" y="91284"/>
                  </a:cubicBezTo>
                  <a:cubicBezTo>
                    <a:pt x="291096" y="88278"/>
                    <a:pt x="300760" y="86432"/>
                    <a:pt x="297657" y="85398"/>
                  </a:cubicBezTo>
                  <a:cubicBezTo>
                    <a:pt x="291421" y="83320"/>
                    <a:pt x="284575" y="86706"/>
                    <a:pt x="278034" y="87360"/>
                  </a:cubicBezTo>
                  <a:cubicBezTo>
                    <a:pt x="276726" y="89976"/>
                    <a:pt x="275262" y="92520"/>
                    <a:pt x="274110" y="95209"/>
                  </a:cubicBezTo>
                  <a:cubicBezTo>
                    <a:pt x="272351" y="99314"/>
                    <a:pt x="271478" y="105689"/>
                    <a:pt x="268223" y="108944"/>
                  </a:cubicBezTo>
                  <a:cubicBezTo>
                    <a:pt x="239233" y="137934"/>
                    <a:pt x="269331" y="99619"/>
                    <a:pt x="250563" y="124642"/>
                  </a:cubicBezTo>
                  <a:cubicBezTo>
                    <a:pt x="249909" y="129875"/>
                    <a:pt x="250152" y="135300"/>
                    <a:pt x="248601" y="140340"/>
                  </a:cubicBezTo>
                  <a:cubicBezTo>
                    <a:pt x="247479" y="143985"/>
                    <a:pt x="244420" y="146740"/>
                    <a:pt x="242714" y="150151"/>
                  </a:cubicBezTo>
                  <a:cubicBezTo>
                    <a:pt x="241789" y="152001"/>
                    <a:pt x="241406" y="154076"/>
                    <a:pt x="240752" y="156038"/>
                  </a:cubicBezTo>
                  <a:cubicBezTo>
                    <a:pt x="240098" y="165849"/>
                    <a:pt x="236978" y="175807"/>
                    <a:pt x="238790" y="185471"/>
                  </a:cubicBezTo>
                  <a:cubicBezTo>
                    <a:pt x="239287" y="188122"/>
                    <a:pt x="244037" y="186724"/>
                    <a:pt x="246639" y="187434"/>
                  </a:cubicBezTo>
                  <a:cubicBezTo>
                    <a:pt x="251233" y="188687"/>
                    <a:pt x="255796" y="190050"/>
                    <a:pt x="260374" y="191358"/>
                  </a:cubicBezTo>
                  <a:cubicBezTo>
                    <a:pt x="259720" y="193320"/>
                    <a:pt x="259337" y="195395"/>
                    <a:pt x="258412" y="197245"/>
                  </a:cubicBezTo>
                  <a:cubicBezTo>
                    <a:pt x="257358" y="199354"/>
                    <a:pt x="255166" y="200872"/>
                    <a:pt x="254488" y="203131"/>
                  </a:cubicBezTo>
                  <a:cubicBezTo>
                    <a:pt x="253159" y="207561"/>
                    <a:pt x="253988" y="212479"/>
                    <a:pt x="252525" y="216867"/>
                  </a:cubicBezTo>
                  <a:cubicBezTo>
                    <a:pt x="251119" y="221085"/>
                    <a:pt x="236926" y="226628"/>
                    <a:pt x="236827" y="226678"/>
                  </a:cubicBezTo>
                  <a:cubicBezTo>
                    <a:pt x="236173" y="231911"/>
                    <a:pt x="237223" y="237659"/>
                    <a:pt x="234865" y="242376"/>
                  </a:cubicBezTo>
                  <a:cubicBezTo>
                    <a:pt x="231756" y="248595"/>
                    <a:pt x="225581" y="252733"/>
                    <a:pt x="221130" y="258074"/>
                  </a:cubicBezTo>
                  <a:cubicBezTo>
                    <a:pt x="219036" y="260586"/>
                    <a:pt x="217205" y="263307"/>
                    <a:pt x="215243" y="265923"/>
                  </a:cubicBezTo>
                  <a:cubicBezTo>
                    <a:pt x="211907" y="275933"/>
                    <a:pt x="212670" y="280182"/>
                    <a:pt x="193658" y="265923"/>
                  </a:cubicBezTo>
                  <a:cubicBezTo>
                    <a:pt x="190349" y="263441"/>
                    <a:pt x="191584" y="257850"/>
                    <a:pt x="189734" y="254150"/>
                  </a:cubicBezTo>
                  <a:cubicBezTo>
                    <a:pt x="188528" y="251738"/>
                    <a:pt x="191111" y="259366"/>
                    <a:pt x="191696" y="261998"/>
                  </a:cubicBezTo>
                  <a:cubicBezTo>
                    <a:pt x="192419" y="265254"/>
                    <a:pt x="192780" y="268592"/>
                    <a:pt x="193658" y="271810"/>
                  </a:cubicBezTo>
                  <a:cubicBezTo>
                    <a:pt x="194746" y="275801"/>
                    <a:pt x="196366" y="279629"/>
                    <a:pt x="197583" y="283583"/>
                  </a:cubicBezTo>
                  <a:cubicBezTo>
                    <a:pt x="198983" y="288134"/>
                    <a:pt x="200199" y="292740"/>
                    <a:pt x="201507" y="297319"/>
                  </a:cubicBezTo>
                  <a:cubicBezTo>
                    <a:pt x="202161" y="304514"/>
                    <a:pt x="202448" y="311751"/>
                    <a:pt x="203470" y="318903"/>
                  </a:cubicBezTo>
                  <a:cubicBezTo>
                    <a:pt x="203763" y="320951"/>
                    <a:pt x="203817" y="323498"/>
                    <a:pt x="205432" y="324790"/>
                  </a:cubicBezTo>
                  <a:cubicBezTo>
                    <a:pt x="207538" y="326475"/>
                    <a:pt x="210665" y="326098"/>
                    <a:pt x="213281" y="326752"/>
                  </a:cubicBezTo>
                  <a:cubicBezTo>
                    <a:pt x="213935" y="328714"/>
                    <a:pt x="215243" y="330571"/>
                    <a:pt x="215243" y="332639"/>
                  </a:cubicBezTo>
                  <a:cubicBezTo>
                    <a:pt x="215243" y="348575"/>
                    <a:pt x="212740" y="342990"/>
                    <a:pt x="201507" y="354223"/>
                  </a:cubicBezTo>
                  <a:cubicBezTo>
                    <a:pt x="199839" y="355891"/>
                    <a:pt x="199056" y="358268"/>
                    <a:pt x="197583" y="360110"/>
                  </a:cubicBezTo>
                  <a:cubicBezTo>
                    <a:pt x="196427" y="361555"/>
                    <a:pt x="194966" y="362726"/>
                    <a:pt x="193658" y="364034"/>
                  </a:cubicBezTo>
                  <a:cubicBezTo>
                    <a:pt x="194966" y="371229"/>
                    <a:pt x="192209" y="380659"/>
                    <a:pt x="197583" y="385619"/>
                  </a:cubicBezTo>
                  <a:cubicBezTo>
                    <a:pt x="202891" y="390519"/>
                    <a:pt x="212221" y="385596"/>
                    <a:pt x="219167" y="387581"/>
                  </a:cubicBezTo>
                  <a:cubicBezTo>
                    <a:pt x="221835" y="388343"/>
                    <a:pt x="223092" y="391506"/>
                    <a:pt x="225054" y="393468"/>
                  </a:cubicBezTo>
                  <a:cubicBezTo>
                    <a:pt x="223746" y="396084"/>
                    <a:pt x="222055" y="398542"/>
                    <a:pt x="221130" y="401317"/>
                  </a:cubicBezTo>
                  <a:cubicBezTo>
                    <a:pt x="220075" y="404481"/>
                    <a:pt x="221017" y="408353"/>
                    <a:pt x="219167" y="411128"/>
                  </a:cubicBezTo>
                  <a:cubicBezTo>
                    <a:pt x="218020" y="412849"/>
                    <a:pt x="215243" y="412436"/>
                    <a:pt x="213281" y="413090"/>
                  </a:cubicBezTo>
                  <a:cubicBezTo>
                    <a:pt x="210263" y="412659"/>
                    <a:pt x="198224" y="411775"/>
                    <a:pt x="193658" y="409166"/>
                  </a:cubicBezTo>
                  <a:cubicBezTo>
                    <a:pt x="190818" y="407543"/>
                    <a:pt x="188425" y="405241"/>
                    <a:pt x="185809" y="403279"/>
                  </a:cubicBezTo>
                  <a:cubicBezTo>
                    <a:pt x="183193" y="404587"/>
                    <a:pt x="180029" y="405136"/>
                    <a:pt x="177961" y="407204"/>
                  </a:cubicBezTo>
                  <a:cubicBezTo>
                    <a:pt x="175893" y="409273"/>
                    <a:pt x="176376" y="413298"/>
                    <a:pt x="174036" y="415053"/>
                  </a:cubicBezTo>
                  <a:cubicBezTo>
                    <a:pt x="170727" y="417535"/>
                    <a:pt x="165705" y="416682"/>
                    <a:pt x="162263" y="418977"/>
                  </a:cubicBezTo>
                  <a:cubicBezTo>
                    <a:pt x="156871" y="422572"/>
                    <a:pt x="144852" y="431638"/>
                    <a:pt x="136754" y="434675"/>
                  </a:cubicBezTo>
                  <a:cubicBezTo>
                    <a:pt x="134229" y="435622"/>
                    <a:pt x="131521" y="435983"/>
                    <a:pt x="128905" y="436637"/>
                  </a:cubicBezTo>
                  <a:cubicBezTo>
                    <a:pt x="128251" y="438599"/>
                    <a:pt x="126942" y="440455"/>
                    <a:pt x="126942" y="442524"/>
                  </a:cubicBezTo>
                  <a:cubicBezTo>
                    <a:pt x="126942" y="451634"/>
                    <a:pt x="133076" y="459594"/>
                    <a:pt x="124980" y="466071"/>
                  </a:cubicBezTo>
                  <a:cubicBezTo>
                    <a:pt x="123365" y="467363"/>
                    <a:pt x="121056" y="467379"/>
                    <a:pt x="119094" y="468033"/>
                  </a:cubicBezTo>
                  <a:cubicBezTo>
                    <a:pt x="117786" y="470649"/>
                    <a:pt x="116357" y="473209"/>
                    <a:pt x="115169" y="475882"/>
                  </a:cubicBezTo>
                  <a:cubicBezTo>
                    <a:pt x="113738" y="479101"/>
                    <a:pt x="113292" y="482827"/>
                    <a:pt x="111245" y="485693"/>
                  </a:cubicBezTo>
                  <a:cubicBezTo>
                    <a:pt x="107141" y="491438"/>
                    <a:pt x="102027" y="491246"/>
                    <a:pt x="91622" y="491580"/>
                  </a:cubicBezTo>
                  <a:cubicBezTo>
                    <a:pt x="81217" y="491915"/>
                    <a:pt x="60586" y="486719"/>
                    <a:pt x="48813" y="487700"/>
                  </a:cubicBezTo>
                  <a:cubicBezTo>
                    <a:pt x="37040" y="488681"/>
                    <a:pt x="27427" y="496913"/>
                    <a:pt x="20982" y="497466"/>
                  </a:cubicBezTo>
                  <a:cubicBezTo>
                    <a:pt x="19674" y="498774"/>
                    <a:pt x="18242" y="499970"/>
                    <a:pt x="17058" y="501391"/>
                  </a:cubicBezTo>
                  <a:cubicBezTo>
                    <a:pt x="7331" y="513065"/>
                    <a:pt x="12290" y="514275"/>
                    <a:pt x="7246" y="491580"/>
                  </a:cubicBezTo>
                  <a:cubicBezTo>
                    <a:pt x="-4050" y="495345"/>
                    <a:pt x="534" y="491686"/>
                    <a:pt x="3322" y="511202"/>
                  </a:cubicBezTo>
                  <a:cubicBezTo>
                    <a:pt x="3794" y="514504"/>
                    <a:pt x="3970" y="517948"/>
                    <a:pt x="5284" y="521013"/>
                  </a:cubicBezTo>
                  <a:cubicBezTo>
                    <a:pt x="6013" y="522714"/>
                    <a:pt x="8053" y="523493"/>
                    <a:pt x="9209" y="524938"/>
                  </a:cubicBezTo>
                  <a:cubicBezTo>
                    <a:pt x="10682" y="526779"/>
                    <a:pt x="11825" y="528862"/>
                    <a:pt x="13133" y="530824"/>
                  </a:cubicBezTo>
                  <a:cubicBezTo>
                    <a:pt x="13787" y="532786"/>
                    <a:pt x="14228" y="534833"/>
                    <a:pt x="15095" y="536711"/>
                  </a:cubicBezTo>
                  <a:cubicBezTo>
                    <a:pt x="18159" y="543351"/>
                    <a:pt x="22593" y="549396"/>
                    <a:pt x="24906" y="556333"/>
                  </a:cubicBezTo>
                  <a:cubicBezTo>
                    <a:pt x="25560" y="558295"/>
                    <a:pt x="25944" y="560370"/>
                    <a:pt x="26869" y="562220"/>
                  </a:cubicBezTo>
                  <a:cubicBezTo>
                    <a:pt x="27924" y="564329"/>
                    <a:pt x="29738" y="565998"/>
                    <a:pt x="30793" y="568107"/>
                  </a:cubicBezTo>
                  <a:cubicBezTo>
                    <a:pt x="33162" y="572846"/>
                    <a:pt x="32834" y="576819"/>
                    <a:pt x="34718" y="581842"/>
                  </a:cubicBezTo>
                  <a:cubicBezTo>
                    <a:pt x="35745" y="584581"/>
                    <a:pt x="37454" y="587018"/>
                    <a:pt x="38642" y="589691"/>
                  </a:cubicBezTo>
                  <a:cubicBezTo>
                    <a:pt x="40073" y="592910"/>
                    <a:pt x="40819" y="596444"/>
                    <a:pt x="42567" y="599502"/>
                  </a:cubicBezTo>
                  <a:cubicBezTo>
                    <a:pt x="43485" y="601108"/>
                    <a:pt x="45511" y="601858"/>
                    <a:pt x="46491" y="603427"/>
                  </a:cubicBezTo>
                  <a:cubicBezTo>
                    <a:pt x="48816" y="607148"/>
                    <a:pt x="50416" y="611276"/>
                    <a:pt x="52378" y="615200"/>
                  </a:cubicBezTo>
                  <a:cubicBezTo>
                    <a:pt x="53032" y="618470"/>
                    <a:pt x="53026" y="621946"/>
                    <a:pt x="54340" y="625011"/>
                  </a:cubicBezTo>
                  <a:cubicBezTo>
                    <a:pt x="55975" y="628826"/>
                    <a:pt x="63498" y="631553"/>
                    <a:pt x="66113" y="632860"/>
                  </a:cubicBezTo>
                  <a:cubicBezTo>
                    <a:pt x="68075" y="636130"/>
                    <a:pt x="69783" y="639567"/>
                    <a:pt x="72000" y="642671"/>
                  </a:cubicBezTo>
                  <a:cubicBezTo>
                    <a:pt x="73075" y="644176"/>
                    <a:pt x="75274" y="644864"/>
                    <a:pt x="75924" y="646596"/>
                  </a:cubicBezTo>
                  <a:cubicBezTo>
                    <a:pt x="77321" y="650321"/>
                    <a:pt x="76744" y="654558"/>
                    <a:pt x="77887" y="658369"/>
                  </a:cubicBezTo>
                  <a:cubicBezTo>
                    <a:pt x="78728" y="661171"/>
                    <a:pt x="80503" y="663602"/>
                    <a:pt x="81811" y="666218"/>
                  </a:cubicBezTo>
                  <a:cubicBezTo>
                    <a:pt x="80503" y="679300"/>
                    <a:pt x="80568" y="692592"/>
                    <a:pt x="77887" y="705463"/>
                  </a:cubicBezTo>
                  <a:cubicBezTo>
                    <a:pt x="76326" y="712958"/>
                    <a:pt x="64402" y="717450"/>
                    <a:pt x="60227" y="721161"/>
                  </a:cubicBezTo>
                  <a:cubicBezTo>
                    <a:pt x="57783" y="723334"/>
                    <a:pt x="56434" y="726498"/>
                    <a:pt x="54340" y="729010"/>
                  </a:cubicBezTo>
                  <a:cubicBezTo>
                    <a:pt x="53156" y="730431"/>
                    <a:pt x="51571" y="731489"/>
                    <a:pt x="50415" y="732934"/>
                  </a:cubicBezTo>
                  <a:cubicBezTo>
                    <a:pt x="48942" y="734776"/>
                    <a:pt x="48159" y="737153"/>
                    <a:pt x="46491" y="738821"/>
                  </a:cubicBezTo>
                  <a:cubicBezTo>
                    <a:pt x="44179" y="741133"/>
                    <a:pt x="41258" y="742745"/>
                    <a:pt x="38642" y="744707"/>
                  </a:cubicBezTo>
                  <a:cubicBezTo>
                    <a:pt x="36412" y="748053"/>
                    <a:pt x="31268" y="756006"/>
                    <a:pt x="28831" y="758443"/>
                  </a:cubicBezTo>
                  <a:cubicBezTo>
                    <a:pt x="27163" y="760111"/>
                    <a:pt x="24906" y="761060"/>
                    <a:pt x="22944" y="762368"/>
                  </a:cubicBezTo>
                  <a:cubicBezTo>
                    <a:pt x="21636" y="764984"/>
                    <a:pt x="20471" y="767677"/>
                    <a:pt x="19020" y="770216"/>
                  </a:cubicBezTo>
                  <a:cubicBezTo>
                    <a:pt x="17850" y="772264"/>
                    <a:pt x="16024" y="773935"/>
                    <a:pt x="15095" y="776103"/>
                  </a:cubicBezTo>
                  <a:cubicBezTo>
                    <a:pt x="14033" y="778582"/>
                    <a:pt x="13787" y="781336"/>
                    <a:pt x="13133" y="783952"/>
                  </a:cubicBezTo>
                  <a:cubicBezTo>
                    <a:pt x="13787" y="791147"/>
                    <a:pt x="12970" y="798632"/>
                    <a:pt x="15095" y="805537"/>
                  </a:cubicBezTo>
                  <a:cubicBezTo>
                    <a:pt x="15796" y="807816"/>
                    <a:pt x="24803" y="811165"/>
                    <a:pt x="26869" y="811423"/>
                  </a:cubicBezTo>
                  <a:cubicBezTo>
                    <a:pt x="35331" y="812481"/>
                    <a:pt x="43875" y="812732"/>
                    <a:pt x="52378" y="813386"/>
                  </a:cubicBezTo>
                  <a:cubicBezTo>
                    <a:pt x="54340" y="815348"/>
                    <a:pt x="55855" y="817895"/>
                    <a:pt x="58264" y="819272"/>
                  </a:cubicBezTo>
                  <a:cubicBezTo>
                    <a:pt x="60606" y="820610"/>
                    <a:pt x="64083" y="819458"/>
                    <a:pt x="66113" y="821234"/>
                  </a:cubicBezTo>
                  <a:cubicBezTo>
                    <a:pt x="69663" y="824340"/>
                    <a:pt x="73962" y="833008"/>
                    <a:pt x="73962" y="833008"/>
                  </a:cubicBezTo>
                  <a:cubicBezTo>
                    <a:pt x="73308" y="836932"/>
                    <a:pt x="72863" y="840897"/>
                    <a:pt x="72000" y="844781"/>
                  </a:cubicBezTo>
                  <a:cubicBezTo>
                    <a:pt x="71551" y="846800"/>
                    <a:pt x="70038" y="848600"/>
                    <a:pt x="70038" y="850668"/>
                  </a:cubicBezTo>
                  <a:cubicBezTo>
                    <a:pt x="70038" y="885783"/>
                    <a:pt x="68184" y="878465"/>
                    <a:pt x="73962" y="895799"/>
                  </a:cubicBezTo>
                  <a:cubicBezTo>
                    <a:pt x="74616" y="900378"/>
                    <a:pt x="74595" y="905105"/>
                    <a:pt x="75924" y="909535"/>
                  </a:cubicBezTo>
                  <a:cubicBezTo>
                    <a:pt x="77095" y="913438"/>
                    <a:pt x="83233" y="918805"/>
                    <a:pt x="85736" y="921308"/>
                  </a:cubicBezTo>
                  <a:cubicBezTo>
                    <a:pt x="90645" y="936037"/>
                    <a:pt x="84217" y="920114"/>
                    <a:pt x="91622" y="909535"/>
                  </a:cubicBezTo>
                  <a:cubicBezTo>
                    <a:pt x="93535" y="906803"/>
                    <a:pt x="98163" y="908227"/>
                    <a:pt x="101433" y="907573"/>
                  </a:cubicBezTo>
                  <a:cubicBezTo>
                    <a:pt x="107320" y="908227"/>
                    <a:pt x="113251" y="908561"/>
                    <a:pt x="119094" y="909535"/>
                  </a:cubicBezTo>
                  <a:cubicBezTo>
                    <a:pt x="121134" y="909875"/>
                    <a:pt x="123060" y="912265"/>
                    <a:pt x="124980" y="911497"/>
                  </a:cubicBezTo>
                  <a:cubicBezTo>
                    <a:pt x="127170" y="910621"/>
                    <a:pt x="127534" y="907529"/>
                    <a:pt x="128905" y="905610"/>
                  </a:cubicBezTo>
                  <a:cubicBezTo>
                    <a:pt x="130806" y="902949"/>
                    <a:pt x="132829" y="900378"/>
                    <a:pt x="134791" y="897762"/>
                  </a:cubicBezTo>
                  <a:cubicBezTo>
                    <a:pt x="139322" y="879647"/>
                    <a:pt x="132898" y="899613"/>
                    <a:pt x="142640" y="884026"/>
                  </a:cubicBezTo>
                  <a:cubicBezTo>
                    <a:pt x="155027" y="864206"/>
                    <a:pt x="138220" y="882562"/>
                    <a:pt x="152451" y="868328"/>
                  </a:cubicBezTo>
                  <a:cubicBezTo>
                    <a:pt x="153105" y="866366"/>
                    <a:pt x="153489" y="864291"/>
                    <a:pt x="154414" y="862441"/>
                  </a:cubicBezTo>
                  <a:cubicBezTo>
                    <a:pt x="156786" y="857696"/>
                    <a:pt x="161107" y="851420"/>
                    <a:pt x="164225" y="846744"/>
                  </a:cubicBezTo>
                  <a:cubicBezTo>
                    <a:pt x="163571" y="842165"/>
                    <a:pt x="159302" y="836561"/>
                    <a:pt x="162263" y="833008"/>
                  </a:cubicBezTo>
                  <a:cubicBezTo>
                    <a:pt x="164810" y="829952"/>
                    <a:pt x="170059" y="835072"/>
                    <a:pt x="174036" y="834970"/>
                  </a:cubicBezTo>
                  <a:cubicBezTo>
                    <a:pt x="195653" y="834416"/>
                    <a:pt x="217205" y="832354"/>
                    <a:pt x="238790" y="831046"/>
                  </a:cubicBezTo>
                  <a:cubicBezTo>
                    <a:pt x="244677" y="829738"/>
                    <a:pt x="250537" y="828304"/>
                    <a:pt x="256450" y="827121"/>
                  </a:cubicBezTo>
                  <a:cubicBezTo>
                    <a:pt x="260351" y="826341"/>
                    <a:pt x="264665" y="826938"/>
                    <a:pt x="268223" y="825159"/>
                  </a:cubicBezTo>
                  <a:cubicBezTo>
                    <a:pt x="270333" y="824104"/>
                    <a:pt x="270840" y="821234"/>
                    <a:pt x="272148" y="819272"/>
                  </a:cubicBezTo>
                  <a:cubicBezTo>
                    <a:pt x="278336" y="800707"/>
                    <a:pt x="269209" y="822008"/>
                    <a:pt x="309430" y="811423"/>
                  </a:cubicBezTo>
                  <a:cubicBezTo>
                    <a:pt x="312038" y="810737"/>
                    <a:pt x="310186" y="805986"/>
                    <a:pt x="311392" y="803574"/>
                  </a:cubicBezTo>
                  <a:cubicBezTo>
                    <a:pt x="312855" y="800649"/>
                    <a:pt x="315317" y="798341"/>
                    <a:pt x="317279" y="795725"/>
                  </a:cubicBezTo>
                  <a:cubicBezTo>
                    <a:pt x="323166" y="797033"/>
                    <a:pt x="329373" y="797331"/>
                    <a:pt x="334939" y="799650"/>
                  </a:cubicBezTo>
                  <a:cubicBezTo>
                    <a:pt x="337501" y="800717"/>
                    <a:pt x="338694" y="803760"/>
                    <a:pt x="340826" y="805537"/>
                  </a:cubicBezTo>
                  <a:cubicBezTo>
                    <a:pt x="342637" y="807047"/>
                    <a:pt x="344750" y="808153"/>
                    <a:pt x="346712" y="809461"/>
                  </a:cubicBezTo>
                  <a:cubicBezTo>
                    <a:pt x="357831" y="808807"/>
                    <a:pt x="370333" y="812908"/>
                    <a:pt x="380070" y="807499"/>
                  </a:cubicBezTo>
                  <a:cubicBezTo>
                    <a:pt x="385248" y="804623"/>
                    <a:pt x="379384" y="795137"/>
                    <a:pt x="382033" y="789839"/>
                  </a:cubicBezTo>
                  <a:cubicBezTo>
                    <a:pt x="383088" y="787730"/>
                    <a:pt x="384707" y="793725"/>
                    <a:pt x="385957" y="795725"/>
                  </a:cubicBezTo>
                  <a:cubicBezTo>
                    <a:pt x="387978" y="798959"/>
                    <a:pt x="390138" y="802125"/>
                    <a:pt x="391844" y="805537"/>
                  </a:cubicBezTo>
                  <a:cubicBezTo>
                    <a:pt x="392769" y="807387"/>
                    <a:pt x="392344" y="809961"/>
                    <a:pt x="393806" y="811423"/>
                  </a:cubicBezTo>
                  <a:cubicBezTo>
                    <a:pt x="395874" y="813491"/>
                    <a:pt x="399039" y="814040"/>
                    <a:pt x="401655" y="815348"/>
                  </a:cubicBezTo>
                  <a:cubicBezTo>
                    <a:pt x="406888" y="814694"/>
                    <a:pt x="412197" y="814491"/>
                    <a:pt x="417353" y="813386"/>
                  </a:cubicBezTo>
                  <a:cubicBezTo>
                    <a:pt x="422772" y="812225"/>
                    <a:pt x="433540" y="807696"/>
                    <a:pt x="438937" y="805537"/>
                  </a:cubicBezTo>
                  <a:cubicBezTo>
                    <a:pt x="440245" y="803575"/>
                    <a:pt x="440900" y="800958"/>
                    <a:pt x="442862" y="799650"/>
                  </a:cubicBezTo>
                  <a:cubicBezTo>
                    <a:pt x="451214" y="794083"/>
                    <a:pt x="459754" y="801544"/>
                    <a:pt x="466409" y="805537"/>
                  </a:cubicBezTo>
                  <a:cubicBezTo>
                    <a:pt x="469679" y="809461"/>
                    <a:pt x="473215" y="813179"/>
                    <a:pt x="476220" y="817310"/>
                  </a:cubicBezTo>
                  <a:cubicBezTo>
                    <a:pt x="478463" y="820394"/>
                    <a:pt x="478795" y="825229"/>
                    <a:pt x="482106" y="827121"/>
                  </a:cubicBezTo>
                  <a:cubicBezTo>
                    <a:pt x="484447" y="828459"/>
                    <a:pt x="487339" y="825813"/>
                    <a:pt x="489955" y="825159"/>
                  </a:cubicBezTo>
                  <a:cubicBezTo>
                    <a:pt x="505297" y="814931"/>
                    <a:pt x="504946" y="811693"/>
                    <a:pt x="529200" y="819272"/>
                  </a:cubicBezTo>
                  <a:cubicBezTo>
                    <a:pt x="531992" y="820144"/>
                    <a:pt x="531424" y="824741"/>
                    <a:pt x="533124" y="827121"/>
                  </a:cubicBezTo>
                  <a:cubicBezTo>
                    <a:pt x="534737" y="829379"/>
                    <a:pt x="537234" y="830876"/>
                    <a:pt x="539011" y="833008"/>
                  </a:cubicBezTo>
                  <a:cubicBezTo>
                    <a:pt x="540521" y="834820"/>
                    <a:pt x="541628" y="836933"/>
                    <a:pt x="542936" y="838895"/>
                  </a:cubicBezTo>
                  <a:cubicBezTo>
                    <a:pt x="546206" y="836933"/>
                    <a:pt x="550050" y="835705"/>
                    <a:pt x="552747" y="833008"/>
                  </a:cubicBezTo>
                  <a:cubicBezTo>
                    <a:pt x="553685" y="832070"/>
                    <a:pt x="556654" y="819340"/>
                    <a:pt x="556671" y="819272"/>
                  </a:cubicBezTo>
                  <a:cubicBezTo>
                    <a:pt x="556017" y="816002"/>
                    <a:pt x="553793" y="812668"/>
                    <a:pt x="554709" y="809461"/>
                  </a:cubicBezTo>
                  <a:cubicBezTo>
                    <a:pt x="555357" y="807193"/>
                    <a:pt x="558290" y="806031"/>
                    <a:pt x="560596" y="805537"/>
                  </a:cubicBezTo>
                  <a:cubicBezTo>
                    <a:pt x="567660" y="804023"/>
                    <a:pt x="574985" y="804228"/>
                    <a:pt x="582180" y="803574"/>
                  </a:cubicBezTo>
                  <a:cubicBezTo>
                    <a:pt x="595539" y="794670"/>
                    <a:pt x="577929" y="798342"/>
                    <a:pt x="578256" y="797688"/>
                  </a:cubicBezTo>
                  <a:cubicBezTo>
                    <a:pt x="578583" y="797034"/>
                    <a:pt x="582180" y="798996"/>
                    <a:pt x="584142" y="799650"/>
                  </a:cubicBezTo>
                  <a:cubicBezTo>
                    <a:pt x="586104" y="800304"/>
                    <a:pt x="587964" y="801494"/>
                    <a:pt x="590029" y="801612"/>
                  </a:cubicBezTo>
                  <a:cubicBezTo>
                    <a:pt x="610936" y="802807"/>
                    <a:pt x="631890" y="802920"/>
                    <a:pt x="652821" y="803574"/>
                  </a:cubicBezTo>
                  <a:cubicBezTo>
                    <a:pt x="653475" y="806190"/>
                    <a:pt x="655118" y="808747"/>
                    <a:pt x="654783" y="811423"/>
                  </a:cubicBezTo>
                  <a:cubicBezTo>
                    <a:pt x="654420" y="814326"/>
                    <a:pt x="648574" y="821099"/>
                    <a:pt x="650858" y="819272"/>
                  </a:cubicBezTo>
                  <a:cubicBezTo>
                    <a:pt x="668865" y="804866"/>
                    <a:pt x="669778" y="802664"/>
                    <a:pt x="678330" y="789839"/>
                  </a:cubicBezTo>
                  <a:cubicBezTo>
                    <a:pt x="677676" y="787877"/>
                    <a:pt x="677982" y="785244"/>
                    <a:pt x="676367" y="783952"/>
                  </a:cubicBezTo>
                  <a:cubicBezTo>
                    <a:pt x="674261" y="782267"/>
                    <a:pt x="670244" y="784062"/>
                    <a:pt x="668518" y="781990"/>
                  </a:cubicBezTo>
                  <a:cubicBezTo>
                    <a:pt x="666383" y="779428"/>
                    <a:pt x="667210" y="775449"/>
                    <a:pt x="666556" y="772179"/>
                  </a:cubicBezTo>
                  <a:cubicBezTo>
                    <a:pt x="668199" y="771631"/>
                    <a:pt x="679305" y="767760"/>
                    <a:pt x="680292" y="768254"/>
                  </a:cubicBezTo>
                  <a:cubicBezTo>
                    <a:pt x="684038" y="770127"/>
                    <a:pt x="685416" y="774885"/>
                    <a:pt x="688141" y="778065"/>
                  </a:cubicBezTo>
                  <a:cubicBezTo>
                    <a:pt x="694983" y="786048"/>
                    <a:pt x="689445" y="777404"/>
                    <a:pt x="695990" y="787877"/>
                  </a:cubicBezTo>
                  <a:cubicBezTo>
                    <a:pt x="698011" y="791111"/>
                    <a:pt x="698980" y="795206"/>
                    <a:pt x="701876" y="797688"/>
                  </a:cubicBezTo>
                  <a:cubicBezTo>
                    <a:pt x="703924" y="799443"/>
                    <a:pt x="707132" y="798909"/>
                    <a:pt x="709725" y="799650"/>
                  </a:cubicBezTo>
                  <a:cubicBezTo>
                    <a:pt x="711714" y="800218"/>
                    <a:pt x="713650" y="800958"/>
                    <a:pt x="715612" y="801612"/>
                  </a:cubicBezTo>
                  <a:cubicBezTo>
                    <a:pt x="718882" y="800304"/>
                    <a:pt x="722605" y="799801"/>
                    <a:pt x="725423" y="797688"/>
                  </a:cubicBezTo>
                  <a:cubicBezTo>
                    <a:pt x="750903" y="778579"/>
                    <a:pt x="712430" y="799280"/>
                    <a:pt x="739159" y="785914"/>
                  </a:cubicBezTo>
                  <a:cubicBezTo>
                    <a:pt x="745046" y="786568"/>
                    <a:pt x="750917" y="788369"/>
                    <a:pt x="756819" y="787877"/>
                  </a:cubicBezTo>
                  <a:cubicBezTo>
                    <a:pt x="764224" y="787260"/>
                    <a:pt x="762787" y="779946"/>
                    <a:pt x="766630" y="776103"/>
                  </a:cubicBezTo>
                  <a:cubicBezTo>
                    <a:pt x="768698" y="774035"/>
                    <a:pt x="771704" y="773104"/>
                    <a:pt x="774479" y="772179"/>
                  </a:cubicBezTo>
                  <a:cubicBezTo>
                    <a:pt x="777643" y="771124"/>
                    <a:pt x="781054" y="771025"/>
                    <a:pt x="784290" y="770216"/>
                  </a:cubicBezTo>
                  <a:cubicBezTo>
                    <a:pt x="802544" y="765652"/>
                    <a:pt x="770288" y="771095"/>
                    <a:pt x="803912" y="766292"/>
                  </a:cubicBezTo>
                  <a:cubicBezTo>
                    <a:pt x="805874" y="764330"/>
                    <a:pt x="807052" y="760797"/>
                    <a:pt x="809799" y="760405"/>
                  </a:cubicBezTo>
                  <a:cubicBezTo>
                    <a:pt x="813153" y="759926"/>
                    <a:pt x="823603" y="769134"/>
                    <a:pt x="825497" y="770216"/>
                  </a:cubicBezTo>
                  <a:cubicBezTo>
                    <a:pt x="831846" y="773844"/>
                    <a:pt x="845119" y="780028"/>
                    <a:pt x="845119" y="780028"/>
                  </a:cubicBezTo>
                  <a:cubicBezTo>
                    <a:pt x="850352" y="779374"/>
                    <a:pt x="857344" y="782034"/>
                    <a:pt x="860817" y="778065"/>
                  </a:cubicBezTo>
                  <a:cubicBezTo>
                    <a:pt x="863862" y="774585"/>
                    <a:pt x="860184" y="768760"/>
                    <a:pt x="858855" y="764330"/>
                  </a:cubicBezTo>
                  <a:cubicBezTo>
                    <a:pt x="856620" y="756879"/>
                    <a:pt x="852932" y="758419"/>
                    <a:pt x="847082" y="754519"/>
                  </a:cubicBezTo>
                  <a:cubicBezTo>
                    <a:pt x="845543" y="753493"/>
                    <a:pt x="844465" y="751902"/>
                    <a:pt x="843157" y="750594"/>
                  </a:cubicBezTo>
                  <a:cubicBezTo>
                    <a:pt x="838372" y="731452"/>
                    <a:pt x="843157" y="755354"/>
                    <a:pt x="843157" y="732934"/>
                  </a:cubicBezTo>
                  <a:cubicBezTo>
                    <a:pt x="843157" y="728123"/>
                    <a:pt x="840529" y="718498"/>
                    <a:pt x="839233" y="713312"/>
                  </a:cubicBezTo>
                  <a:cubicBezTo>
                    <a:pt x="835904" y="680025"/>
                    <a:pt x="833228" y="682618"/>
                    <a:pt x="837270" y="658369"/>
                  </a:cubicBezTo>
                  <a:cubicBezTo>
                    <a:pt x="838228" y="652620"/>
                    <a:pt x="839887" y="647577"/>
                    <a:pt x="843157" y="642671"/>
                  </a:cubicBezTo>
                  <a:cubicBezTo>
                    <a:pt x="844872" y="640099"/>
                    <a:pt x="850486" y="635925"/>
                    <a:pt x="852968" y="634822"/>
                  </a:cubicBezTo>
                  <a:cubicBezTo>
                    <a:pt x="861113" y="631202"/>
                    <a:pt x="866162" y="630614"/>
                    <a:pt x="874553" y="628936"/>
                  </a:cubicBezTo>
                  <a:cubicBezTo>
                    <a:pt x="876515" y="627628"/>
                    <a:pt x="878392" y="626181"/>
                    <a:pt x="880439" y="625011"/>
                  </a:cubicBezTo>
                  <a:cubicBezTo>
                    <a:pt x="882979" y="623560"/>
                    <a:pt x="885808" y="622637"/>
                    <a:pt x="888288" y="621087"/>
                  </a:cubicBezTo>
                  <a:cubicBezTo>
                    <a:pt x="891061" y="619354"/>
                    <a:pt x="893212" y="616663"/>
                    <a:pt x="896137" y="615200"/>
                  </a:cubicBezTo>
                  <a:cubicBezTo>
                    <a:pt x="899837" y="613350"/>
                    <a:pt x="904023" y="612690"/>
                    <a:pt x="907911" y="611276"/>
                  </a:cubicBezTo>
                  <a:cubicBezTo>
                    <a:pt x="911221" y="610072"/>
                    <a:pt x="914572" y="608926"/>
                    <a:pt x="917722" y="607351"/>
                  </a:cubicBezTo>
                  <a:cubicBezTo>
                    <a:pt x="919831" y="606296"/>
                    <a:pt x="921561" y="604597"/>
                    <a:pt x="923609" y="603427"/>
                  </a:cubicBezTo>
                  <a:cubicBezTo>
                    <a:pt x="926149" y="601976"/>
                    <a:pt x="928842" y="600810"/>
                    <a:pt x="931458" y="599502"/>
                  </a:cubicBezTo>
                  <a:cubicBezTo>
                    <a:pt x="932766" y="595578"/>
                    <a:pt x="935382" y="591866"/>
                    <a:pt x="935382" y="587729"/>
                  </a:cubicBezTo>
                  <a:cubicBezTo>
                    <a:pt x="935382" y="582975"/>
                    <a:pt x="930522" y="578944"/>
                    <a:pt x="927533" y="575956"/>
                  </a:cubicBezTo>
                  <a:cubicBezTo>
                    <a:pt x="924917" y="570069"/>
                    <a:pt x="922162" y="564242"/>
                    <a:pt x="919684" y="558295"/>
                  </a:cubicBezTo>
                  <a:cubicBezTo>
                    <a:pt x="918889" y="556386"/>
                    <a:pt x="917722" y="554477"/>
                    <a:pt x="917722" y="552409"/>
                  </a:cubicBezTo>
                  <a:cubicBezTo>
                    <a:pt x="917722" y="550341"/>
                    <a:pt x="919030" y="548484"/>
                    <a:pt x="919684" y="546522"/>
                  </a:cubicBezTo>
                  <a:cubicBezTo>
                    <a:pt x="917722" y="540635"/>
                    <a:pt x="917355" y="533945"/>
                    <a:pt x="913797" y="528862"/>
                  </a:cubicBezTo>
                  <a:cubicBezTo>
                    <a:pt x="895288" y="502420"/>
                    <a:pt x="905707" y="514885"/>
                    <a:pt x="882402" y="491580"/>
                  </a:cubicBezTo>
                  <a:lnTo>
                    <a:pt x="874553" y="483731"/>
                  </a:lnTo>
                  <a:lnTo>
                    <a:pt x="868666" y="477844"/>
                  </a:lnTo>
                  <a:cubicBezTo>
                    <a:pt x="866642" y="471771"/>
                    <a:pt x="866408" y="469000"/>
                    <a:pt x="860817" y="464108"/>
                  </a:cubicBezTo>
                  <a:cubicBezTo>
                    <a:pt x="857947" y="461597"/>
                    <a:pt x="854240" y="460243"/>
                    <a:pt x="851006" y="458222"/>
                  </a:cubicBezTo>
                  <a:cubicBezTo>
                    <a:pt x="849006" y="456972"/>
                    <a:pt x="847081" y="455605"/>
                    <a:pt x="845119" y="454297"/>
                  </a:cubicBezTo>
                  <a:cubicBezTo>
                    <a:pt x="845450" y="452313"/>
                    <a:pt x="846850" y="440148"/>
                    <a:pt x="849044" y="436637"/>
                  </a:cubicBezTo>
                  <a:cubicBezTo>
                    <a:pt x="850727" y="433944"/>
                    <a:pt x="863931" y="417939"/>
                    <a:pt x="866704" y="417015"/>
                  </a:cubicBezTo>
                  <a:lnTo>
                    <a:pt x="872591" y="415053"/>
                  </a:lnTo>
                  <a:cubicBezTo>
                    <a:pt x="876515" y="415707"/>
                    <a:pt x="880480" y="416152"/>
                    <a:pt x="884364" y="417015"/>
                  </a:cubicBezTo>
                  <a:cubicBezTo>
                    <a:pt x="886383" y="417464"/>
                    <a:pt x="891714" y="417515"/>
                    <a:pt x="890251" y="418977"/>
                  </a:cubicBezTo>
                  <a:cubicBezTo>
                    <a:pt x="887892" y="421335"/>
                    <a:pt x="883710" y="420285"/>
                    <a:pt x="880439" y="420939"/>
                  </a:cubicBezTo>
                  <a:cubicBezTo>
                    <a:pt x="891328" y="428199"/>
                    <a:pt x="889155" y="428121"/>
                    <a:pt x="909873" y="426826"/>
                  </a:cubicBezTo>
                  <a:cubicBezTo>
                    <a:pt x="912793" y="426643"/>
                    <a:pt x="915106" y="424209"/>
                    <a:pt x="917722" y="422901"/>
                  </a:cubicBezTo>
                  <a:cubicBezTo>
                    <a:pt x="919684" y="420285"/>
                    <a:pt x="920888" y="416867"/>
                    <a:pt x="923609" y="415053"/>
                  </a:cubicBezTo>
                  <a:cubicBezTo>
                    <a:pt x="927051" y="412758"/>
                    <a:pt x="931602" y="412808"/>
                    <a:pt x="935382" y="411128"/>
                  </a:cubicBezTo>
                  <a:cubicBezTo>
                    <a:pt x="952288" y="403614"/>
                    <a:pt x="924872" y="409547"/>
                    <a:pt x="955004" y="405241"/>
                  </a:cubicBezTo>
                  <a:cubicBezTo>
                    <a:pt x="958753" y="403992"/>
                    <a:pt x="965830" y="402608"/>
                    <a:pt x="966778" y="397392"/>
                  </a:cubicBezTo>
                  <a:cubicBezTo>
                    <a:pt x="968465" y="388113"/>
                    <a:pt x="965976" y="382166"/>
                    <a:pt x="960891" y="375808"/>
                  </a:cubicBezTo>
                  <a:cubicBezTo>
                    <a:pt x="959735" y="374363"/>
                    <a:pt x="958275" y="373191"/>
                    <a:pt x="956967" y="371883"/>
                  </a:cubicBezTo>
                  <a:cubicBezTo>
                    <a:pt x="968554" y="360296"/>
                    <a:pt x="958760" y="372499"/>
                    <a:pt x="964815" y="350299"/>
                  </a:cubicBezTo>
                  <a:cubicBezTo>
                    <a:pt x="965436" y="348024"/>
                    <a:pt x="967325" y="346299"/>
                    <a:pt x="968740" y="344412"/>
                  </a:cubicBezTo>
                  <a:cubicBezTo>
                    <a:pt x="971253" y="341062"/>
                    <a:pt x="973973" y="337871"/>
                    <a:pt x="976589" y="334601"/>
                  </a:cubicBezTo>
                  <a:cubicBezTo>
                    <a:pt x="952693" y="326635"/>
                    <a:pt x="965103" y="329331"/>
                    <a:pt x="939306" y="326752"/>
                  </a:cubicBezTo>
                  <a:cubicBezTo>
                    <a:pt x="936690" y="326098"/>
                    <a:pt x="933505" y="326545"/>
                    <a:pt x="931458" y="324790"/>
                  </a:cubicBezTo>
                  <a:cubicBezTo>
                    <a:pt x="922884" y="317441"/>
                    <a:pt x="927168" y="314065"/>
                    <a:pt x="923609" y="305168"/>
                  </a:cubicBezTo>
                  <a:cubicBezTo>
                    <a:pt x="919736" y="295485"/>
                    <a:pt x="918900" y="296141"/>
                    <a:pt x="911835" y="291432"/>
                  </a:cubicBezTo>
                  <a:cubicBezTo>
                    <a:pt x="898754" y="292086"/>
                    <a:pt x="885477" y="291051"/>
                    <a:pt x="872591" y="293394"/>
                  </a:cubicBezTo>
                  <a:cubicBezTo>
                    <a:pt x="870271" y="293816"/>
                    <a:pt x="870478" y="297771"/>
                    <a:pt x="868666" y="299281"/>
                  </a:cubicBezTo>
                  <a:cubicBezTo>
                    <a:pt x="866419" y="301154"/>
                    <a:pt x="863433" y="301897"/>
                    <a:pt x="860817" y="303205"/>
                  </a:cubicBezTo>
                  <a:cubicBezTo>
                    <a:pt x="855584" y="302551"/>
                    <a:pt x="847586" y="305904"/>
                    <a:pt x="845119" y="301243"/>
                  </a:cubicBezTo>
                  <a:cubicBezTo>
                    <a:pt x="840213" y="291976"/>
                    <a:pt x="844712" y="280217"/>
                    <a:pt x="843157" y="269847"/>
                  </a:cubicBezTo>
                  <a:cubicBezTo>
                    <a:pt x="842993" y="268755"/>
                    <a:pt x="838400" y="258746"/>
                    <a:pt x="835308" y="258074"/>
                  </a:cubicBezTo>
                  <a:cubicBezTo>
                    <a:pt x="821750" y="255127"/>
                    <a:pt x="807837" y="254149"/>
                    <a:pt x="794101" y="252187"/>
                  </a:cubicBezTo>
                  <a:cubicBezTo>
                    <a:pt x="777065" y="226635"/>
                    <a:pt x="795184" y="252144"/>
                    <a:pt x="778403" y="232565"/>
                  </a:cubicBezTo>
                  <a:cubicBezTo>
                    <a:pt x="776868" y="230774"/>
                    <a:pt x="776147" y="228346"/>
                    <a:pt x="774479" y="226678"/>
                  </a:cubicBezTo>
                  <a:cubicBezTo>
                    <a:pt x="772811" y="225010"/>
                    <a:pt x="770355" y="224321"/>
                    <a:pt x="768592" y="222754"/>
                  </a:cubicBezTo>
                  <a:cubicBezTo>
                    <a:pt x="764444" y="219067"/>
                    <a:pt x="760744" y="214905"/>
                    <a:pt x="756819" y="210980"/>
                  </a:cubicBezTo>
                  <a:cubicBezTo>
                    <a:pt x="755511" y="209672"/>
                    <a:pt x="754689" y="207505"/>
                    <a:pt x="752894" y="207056"/>
                  </a:cubicBezTo>
                  <a:lnTo>
                    <a:pt x="745045" y="205094"/>
                  </a:lnTo>
                  <a:cubicBezTo>
                    <a:pt x="743737" y="203132"/>
                    <a:pt x="742050" y="201375"/>
                    <a:pt x="741121" y="199207"/>
                  </a:cubicBezTo>
                  <a:cubicBezTo>
                    <a:pt x="740059" y="196728"/>
                    <a:pt x="740365" y="193770"/>
                    <a:pt x="739159" y="191358"/>
                  </a:cubicBezTo>
                  <a:cubicBezTo>
                    <a:pt x="737762" y="188565"/>
                    <a:pt x="731425" y="184894"/>
                    <a:pt x="729348" y="183509"/>
                  </a:cubicBezTo>
                  <a:cubicBezTo>
                    <a:pt x="728040" y="181547"/>
                    <a:pt x="727235" y="179132"/>
                    <a:pt x="725423" y="177622"/>
                  </a:cubicBezTo>
                  <a:cubicBezTo>
                    <a:pt x="716767" y="170409"/>
                    <a:pt x="700604" y="172393"/>
                    <a:pt x="692065" y="171736"/>
                  </a:cubicBezTo>
                  <a:cubicBezTo>
                    <a:pt x="690757" y="169120"/>
                    <a:pt x="688504" y="166789"/>
                    <a:pt x="688141" y="163887"/>
                  </a:cubicBezTo>
                  <a:cubicBezTo>
                    <a:pt x="687807" y="161211"/>
                    <a:pt x="689362" y="158631"/>
                    <a:pt x="690103" y="156038"/>
                  </a:cubicBezTo>
                  <a:cubicBezTo>
                    <a:pt x="690671" y="154049"/>
                    <a:pt x="691497" y="152140"/>
                    <a:pt x="692065" y="150151"/>
                  </a:cubicBezTo>
                  <a:cubicBezTo>
                    <a:pt x="692906" y="147208"/>
                    <a:pt x="694418" y="139559"/>
                    <a:pt x="695990" y="136416"/>
                  </a:cubicBezTo>
                  <a:cubicBezTo>
                    <a:pt x="697045" y="134307"/>
                    <a:pt x="697866" y="131699"/>
                    <a:pt x="699914" y="130529"/>
                  </a:cubicBezTo>
                  <a:cubicBezTo>
                    <a:pt x="702810" y="128874"/>
                    <a:pt x="707436" y="122680"/>
                    <a:pt x="707763" y="118756"/>
                  </a:cubicBezTo>
                  <a:close/>
                </a:path>
              </a:pathLst>
            </a:custGeom>
            <a:solidFill>
              <a:schemeClr val="bg1">
                <a:lumMod val="85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03" name="Forma libre: forma 12">
              <a:extLst>
                <a:ext uri="{FF2B5EF4-FFF2-40B4-BE49-F238E27FC236}">
                  <a16:creationId xmlns:a16="http://schemas.microsoft.com/office/drawing/2014/main" id="{F30AB254-DFA0-473D-9F98-9821744FF80C}"/>
                </a:ext>
              </a:extLst>
            </p:cNvPr>
            <p:cNvSpPr/>
            <p:nvPr/>
          </p:nvSpPr>
          <p:spPr>
            <a:xfrm>
              <a:off x="8090494" y="2544193"/>
              <a:ext cx="728693" cy="427456"/>
            </a:xfrm>
            <a:custGeom>
              <a:avLst/>
              <a:gdLst>
                <a:gd name="connsiteX0" fmla="*/ 282575 w 728693"/>
                <a:gd name="connsiteY0" fmla="*/ 36885 h 427456"/>
                <a:gd name="connsiteX1" fmla="*/ 285750 w 728693"/>
                <a:gd name="connsiteY1" fmla="*/ 52760 h 427456"/>
                <a:gd name="connsiteX2" fmla="*/ 288925 w 728693"/>
                <a:gd name="connsiteY2" fmla="*/ 60698 h 427456"/>
                <a:gd name="connsiteX3" fmla="*/ 290513 w 728693"/>
                <a:gd name="connsiteY3" fmla="*/ 98798 h 427456"/>
                <a:gd name="connsiteX4" fmla="*/ 300038 w 728693"/>
                <a:gd name="connsiteY4" fmla="*/ 105148 h 427456"/>
                <a:gd name="connsiteX5" fmla="*/ 306388 w 728693"/>
                <a:gd name="connsiteY5" fmla="*/ 114673 h 427456"/>
                <a:gd name="connsiteX6" fmla="*/ 309563 w 728693"/>
                <a:gd name="connsiteY6" fmla="*/ 119435 h 427456"/>
                <a:gd name="connsiteX7" fmla="*/ 311150 w 728693"/>
                <a:gd name="connsiteY7" fmla="*/ 144835 h 427456"/>
                <a:gd name="connsiteX8" fmla="*/ 307975 w 728693"/>
                <a:gd name="connsiteY8" fmla="*/ 149598 h 427456"/>
                <a:gd name="connsiteX9" fmla="*/ 315913 w 728693"/>
                <a:gd name="connsiteY9" fmla="*/ 152773 h 427456"/>
                <a:gd name="connsiteX10" fmla="*/ 319088 w 728693"/>
                <a:gd name="connsiteY10" fmla="*/ 163885 h 427456"/>
                <a:gd name="connsiteX11" fmla="*/ 314325 w 728693"/>
                <a:gd name="connsiteY11" fmla="*/ 165473 h 427456"/>
                <a:gd name="connsiteX12" fmla="*/ 306388 w 728693"/>
                <a:gd name="connsiteY12" fmla="*/ 168648 h 427456"/>
                <a:gd name="connsiteX13" fmla="*/ 303213 w 728693"/>
                <a:gd name="connsiteY13" fmla="*/ 174998 h 427456"/>
                <a:gd name="connsiteX14" fmla="*/ 292100 w 728693"/>
                <a:gd name="connsiteY14" fmla="*/ 189285 h 427456"/>
                <a:gd name="connsiteX15" fmla="*/ 290513 w 728693"/>
                <a:gd name="connsiteY15" fmla="*/ 198810 h 427456"/>
                <a:gd name="connsiteX16" fmla="*/ 282575 w 728693"/>
                <a:gd name="connsiteY16" fmla="*/ 205160 h 427456"/>
                <a:gd name="connsiteX17" fmla="*/ 277813 w 728693"/>
                <a:gd name="connsiteY17" fmla="*/ 211510 h 427456"/>
                <a:gd name="connsiteX18" fmla="*/ 273050 w 728693"/>
                <a:gd name="connsiteY18" fmla="*/ 213098 h 427456"/>
                <a:gd name="connsiteX19" fmla="*/ 261938 w 728693"/>
                <a:gd name="connsiteY19" fmla="*/ 216273 h 427456"/>
                <a:gd name="connsiteX20" fmla="*/ 222250 w 728693"/>
                <a:gd name="connsiteY20" fmla="*/ 217860 h 427456"/>
                <a:gd name="connsiteX21" fmla="*/ 220663 w 728693"/>
                <a:gd name="connsiteY21" fmla="*/ 211510 h 427456"/>
                <a:gd name="connsiteX22" fmla="*/ 215900 w 728693"/>
                <a:gd name="connsiteY22" fmla="*/ 209923 h 427456"/>
                <a:gd name="connsiteX23" fmla="*/ 206375 w 728693"/>
                <a:gd name="connsiteY23" fmla="*/ 203573 h 427456"/>
                <a:gd name="connsiteX24" fmla="*/ 204788 w 728693"/>
                <a:gd name="connsiteY24" fmla="*/ 198810 h 427456"/>
                <a:gd name="connsiteX25" fmla="*/ 198438 w 728693"/>
                <a:gd name="connsiteY25" fmla="*/ 192460 h 427456"/>
                <a:gd name="connsiteX26" fmla="*/ 192088 w 728693"/>
                <a:gd name="connsiteY26" fmla="*/ 173410 h 427456"/>
                <a:gd name="connsiteX27" fmla="*/ 187325 w 728693"/>
                <a:gd name="connsiteY27" fmla="*/ 167060 h 427456"/>
                <a:gd name="connsiteX28" fmla="*/ 177800 w 728693"/>
                <a:gd name="connsiteY28" fmla="*/ 162298 h 427456"/>
                <a:gd name="connsiteX29" fmla="*/ 168275 w 728693"/>
                <a:gd name="connsiteY29" fmla="*/ 155948 h 427456"/>
                <a:gd name="connsiteX30" fmla="*/ 158750 w 728693"/>
                <a:gd name="connsiteY30" fmla="*/ 152773 h 427456"/>
                <a:gd name="connsiteX31" fmla="*/ 142875 w 728693"/>
                <a:gd name="connsiteY31" fmla="*/ 138485 h 427456"/>
                <a:gd name="connsiteX32" fmla="*/ 134938 w 728693"/>
                <a:gd name="connsiteY32" fmla="*/ 133723 h 427456"/>
                <a:gd name="connsiteX33" fmla="*/ 131763 w 728693"/>
                <a:gd name="connsiteY33" fmla="*/ 119435 h 427456"/>
                <a:gd name="connsiteX34" fmla="*/ 130175 w 728693"/>
                <a:gd name="connsiteY34" fmla="*/ 114673 h 427456"/>
                <a:gd name="connsiteX35" fmla="*/ 128588 w 728693"/>
                <a:gd name="connsiteY35" fmla="*/ 108323 h 427456"/>
                <a:gd name="connsiteX36" fmla="*/ 123825 w 728693"/>
                <a:gd name="connsiteY36" fmla="*/ 100385 h 427456"/>
                <a:gd name="connsiteX37" fmla="*/ 115888 w 728693"/>
                <a:gd name="connsiteY37" fmla="*/ 106735 h 427456"/>
                <a:gd name="connsiteX38" fmla="*/ 103188 w 728693"/>
                <a:gd name="connsiteY38" fmla="*/ 114673 h 427456"/>
                <a:gd name="connsiteX39" fmla="*/ 85725 w 728693"/>
                <a:gd name="connsiteY39" fmla="*/ 128960 h 427456"/>
                <a:gd name="connsiteX40" fmla="*/ 80963 w 728693"/>
                <a:gd name="connsiteY40" fmla="*/ 130548 h 427456"/>
                <a:gd name="connsiteX41" fmla="*/ 69850 w 728693"/>
                <a:gd name="connsiteY41" fmla="*/ 143248 h 427456"/>
                <a:gd name="connsiteX42" fmla="*/ 61913 w 728693"/>
                <a:gd name="connsiteY42" fmla="*/ 144835 h 427456"/>
                <a:gd name="connsiteX43" fmla="*/ 47625 w 728693"/>
                <a:gd name="connsiteY43" fmla="*/ 148010 h 427456"/>
                <a:gd name="connsiteX44" fmla="*/ 42863 w 728693"/>
                <a:gd name="connsiteY44" fmla="*/ 160710 h 427456"/>
                <a:gd name="connsiteX45" fmla="*/ 38100 w 728693"/>
                <a:gd name="connsiteY45" fmla="*/ 165473 h 427456"/>
                <a:gd name="connsiteX46" fmla="*/ 30163 w 728693"/>
                <a:gd name="connsiteY46" fmla="*/ 179760 h 427456"/>
                <a:gd name="connsiteX47" fmla="*/ 28575 w 728693"/>
                <a:gd name="connsiteY47" fmla="*/ 194048 h 427456"/>
                <a:gd name="connsiteX48" fmla="*/ 26988 w 728693"/>
                <a:gd name="connsiteY48" fmla="*/ 198810 h 427456"/>
                <a:gd name="connsiteX49" fmla="*/ 22225 w 728693"/>
                <a:gd name="connsiteY49" fmla="*/ 200398 h 427456"/>
                <a:gd name="connsiteX50" fmla="*/ 11113 w 728693"/>
                <a:gd name="connsiteY50" fmla="*/ 208335 h 427456"/>
                <a:gd name="connsiteX51" fmla="*/ 1588 w 728693"/>
                <a:gd name="connsiteY51" fmla="*/ 214685 h 427456"/>
                <a:gd name="connsiteX52" fmla="*/ 17463 w 728693"/>
                <a:gd name="connsiteY52" fmla="*/ 224210 h 427456"/>
                <a:gd name="connsiteX53" fmla="*/ 26988 w 728693"/>
                <a:gd name="connsiteY53" fmla="*/ 227385 h 427456"/>
                <a:gd name="connsiteX54" fmla="*/ 31750 w 728693"/>
                <a:gd name="connsiteY54" fmla="*/ 232148 h 427456"/>
                <a:gd name="connsiteX55" fmla="*/ 25400 w 728693"/>
                <a:gd name="connsiteY55" fmla="*/ 249610 h 427456"/>
                <a:gd name="connsiteX56" fmla="*/ 22225 w 728693"/>
                <a:gd name="connsiteY56" fmla="*/ 265485 h 427456"/>
                <a:gd name="connsiteX57" fmla="*/ 17463 w 728693"/>
                <a:gd name="connsiteY57" fmla="*/ 270248 h 427456"/>
                <a:gd name="connsiteX58" fmla="*/ 14288 w 728693"/>
                <a:gd name="connsiteY58" fmla="*/ 276598 h 427456"/>
                <a:gd name="connsiteX59" fmla="*/ 7938 w 728693"/>
                <a:gd name="connsiteY59" fmla="*/ 286123 h 427456"/>
                <a:gd name="connsiteX60" fmla="*/ 0 w 728693"/>
                <a:gd name="connsiteY60" fmla="*/ 303585 h 427456"/>
                <a:gd name="connsiteX61" fmla="*/ 3175 w 728693"/>
                <a:gd name="connsiteY61" fmla="*/ 314698 h 427456"/>
                <a:gd name="connsiteX62" fmla="*/ 6350 w 728693"/>
                <a:gd name="connsiteY62" fmla="*/ 319460 h 427456"/>
                <a:gd name="connsiteX63" fmla="*/ 4763 w 728693"/>
                <a:gd name="connsiteY63" fmla="*/ 330573 h 427456"/>
                <a:gd name="connsiteX64" fmla="*/ 6350 w 728693"/>
                <a:gd name="connsiteY64" fmla="*/ 343273 h 427456"/>
                <a:gd name="connsiteX65" fmla="*/ 7938 w 728693"/>
                <a:gd name="connsiteY65" fmla="*/ 349623 h 427456"/>
                <a:gd name="connsiteX66" fmla="*/ 15875 w 728693"/>
                <a:gd name="connsiteY66" fmla="*/ 352798 h 427456"/>
                <a:gd name="connsiteX67" fmla="*/ 14288 w 728693"/>
                <a:gd name="connsiteY67" fmla="*/ 359148 h 427456"/>
                <a:gd name="connsiteX68" fmla="*/ 11113 w 728693"/>
                <a:gd name="connsiteY68" fmla="*/ 368673 h 427456"/>
                <a:gd name="connsiteX69" fmla="*/ 9525 w 728693"/>
                <a:gd name="connsiteY69" fmla="*/ 382960 h 427456"/>
                <a:gd name="connsiteX70" fmla="*/ 7938 w 728693"/>
                <a:gd name="connsiteY70" fmla="*/ 390898 h 427456"/>
                <a:gd name="connsiteX71" fmla="*/ 17463 w 728693"/>
                <a:gd name="connsiteY71" fmla="*/ 403598 h 427456"/>
                <a:gd name="connsiteX72" fmla="*/ 20638 w 728693"/>
                <a:gd name="connsiteY72" fmla="*/ 409948 h 427456"/>
                <a:gd name="connsiteX73" fmla="*/ 26988 w 728693"/>
                <a:gd name="connsiteY73" fmla="*/ 416298 h 427456"/>
                <a:gd name="connsiteX74" fmla="*/ 28575 w 728693"/>
                <a:gd name="connsiteY74" fmla="*/ 421060 h 427456"/>
                <a:gd name="connsiteX75" fmla="*/ 30163 w 728693"/>
                <a:gd name="connsiteY75" fmla="*/ 427410 h 427456"/>
                <a:gd name="connsiteX76" fmla="*/ 39688 w 728693"/>
                <a:gd name="connsiteY76" fmla="*/ 422648 h 427456"/>
                <a:gd name="connsiteX77" fmla="*/ 41275 w 728693"/>
                <a:gd name="connsiteY77" fmla="*/ 398835 h 427456"/>
                <a:gd name="connsiteX78" fmla="*/ 47625 w 728693"/>
                <a:gd name="connsiteY78" fmla="*/ 394073 h 427456"/>
                <a:gd name="connsiteX79" fmla="*/ 53975 w 728693"/>
                <a:gd name="connsiteY79" fmla="*/ 386135 h 427456"/>
                <a:gd name="connsiteX80" fmla="*/ 60325 w 728693"/>
                <a:gd name="connsiteY80" fmla="*/ 382960 h 427456"/>
                <a:gd name="connsiteX81" fmla="*/ 73025 w 728693"/>
                <a:gd name="connsiteY81" fmla="*/ 375023 h 427456"/>
                <a:gd name="connsiteX82" fmla="*/ 84138 w 728693"/>
                <a:gd name="connsiteY82" fmla="*/ 367085 h 427456"/>
                <a:gd name="connsiteX83" fmla="*/ 103188 w 728693"/>
                <a:gd name="connsiteY83" fmla="*/ 357560 h 427456"/>
                <a:gd name="connsiteX84" fmla="*/ 115888 w 728693"/>
                <a:gd name="connsiteY84" fmla="*/ 351210 h 427456"/>
                <a:gd name="connsiteX85" fmla="*/ 128588 w 728693"/>
                <a:gd name="connsiteY85" fmla="*/ 340098 h 427456"/>
                <a:gd name="connsiteX86" fmla="*/ 136525 w 728693"/>
                <a:gd name="connsiteY86" fmla="*/ 338510 h 427456"/>
                <a:gd name="connsiteX87" fmla="*/ 142875 w 728693"/>
                <a:gd name="connsiteY87" fmla="*/ 336923 h 427456"/>
                <a:gd name="connsiteX88" fmla="*/ 166688 w 728693"/>
                <a:gd name="connsiteY88" fmla="*/ 338510 h 427456"/>
                <a:gd name="connsiteX89" fmla="*/ 176213 w 728693"/>
                <a:gd name="connsiteY89" fmla="*/ 343273 h 427456"/>
                <a:gd name="connsiteX90" fmla="*/ 166688 w 728693"/>
                <a:gd name="connsiteY90" fmla="*/ 346448 h 427456"/>
                <a:gd name="connsiteX91" fmla="*/ 177800 w 728693"/>
                <a:gd name="connsiteY91" fmla="*/ 348035 h 427456"/>
                <a:gd name="connsiteX92" fmla="*/ 179388 w 728693"/>
                <a:gd name="connsiteY92" fmla="*/ 343273 h 427456"/>
                <a:gd name="connsiteX93" fmla="*/ 201613 w 728693"/>
                <a:gd name="connsiteY93" fmla="*/ 332160 h 427456"/>
                <a:gd name="connsiteX94" fmla="*/ 211138 w 728693"/>
                <a:gd name="connsiteY94" fmla="*/ 336923 h 427456"/>
                <a:gd name="connsiteX95" fmla="*/ 219075 w 728693"/>
                <a:gd name="connsiteY95" fmla="*/ 344860 h 427456"/>
                <a:gd name="connsiteX96" fmla="*/ 258763 w 728693"/>
                <a:gd name="connsiteY96" fmla="*/ 338510 h 427456"/>
                <a:gd name="connsiteX97" fmla="*/ 260350 w 728693"/>
                <a:gd name="connsiteY97" fmla="*/ 333748 h 427456"/>
                <a:gd name="connsiteX98" fmla="*/ 268288 w 728693"/>
                <a:gd name="connsiteY98" fmla="*/ 328985 h 427456"/>
                <a:gd name="connsiteX99" fmla="*/ 298450 w 728693"/>
                <a:gd name="connsiteY99" fmla="*/ 330573 h 427456"/>
                <a:gd name="connsiteX100" fmla="*/ 300038 w 728693"/>
                <a:gd name="connsiteY100" fmla="*/ 335335 h 427456"/>
                <a:gd name="connsiteX101" fmla="*/ 309563 w 728693"/>
                <a:gd name="connsiteY101" fmla="*/ 336923 h 427456"/>
                <a:gd name="connsiteX102" fmla="*/ 331788 w 728693"/>
                <a:gd name="connsiteY102" fmla="*/ 335335 h 427456"/>
                <a:gd name="connsiteX103" fmla="*/ 338138 w 728693"/>
                <a:gd name="connsiteY103" fmla="*/ 333748 h 427456"/>
                <a:gd name="connsiteX104" fmla="*/ 342900 w 728693"/>
                <a:gd name="connsiteY104" fmla="*/ 328985 h 427456"/>
                <a:gd name="connsiteX105" fmla="*/ 347663 w 728693"/>
                <a:gd name="connsiteY105" fmla="*/ 327398 h 427456"/>
                <a:gd name="connsiteX106" fmla="*/ 363538 w 728693"/>
                <a:gd name="connsiteY106" fmla="*/ 324223 h 427456"/>
                <a:gd name="connsiteX107" fmla="*/ 365125 w 728693"/>
                <a:gd name="connsiteY107" fmla="*/ 319460 h 427456"/>
                <a:gd name="connsiteX108" fmla="*/ 366713 w 728693"/>
                <a:gd name="connsiteY108" fmla="*/ 308348 h 427456"/>
                <a:gd name="connsiteX109" fmla="*/ 379413 w 728693"/>
                <a:gd name="connsiteY109" fmla="*/ 292473 h 427456"/>
                <a:gd name="connsiteX110" fmla="*/ 387350 w 728693"/>
                <a:gd name="connsiteY110" fmla="*/ 284535 h 427456"/>
                <a:gd name="connsiteX111" fmla="*/ 388938 w 728693"/>
                <a:gd name="connsiteY111" fmla="*/ 289298 h 427456"/>
                <a:gd name="connsiteX112" fmla="*/ 392113 w 728693"/>
                <a:gd name="connsiteY112" fmla="*/ 297235 h 427456"/>
                <a:gd name="connsiteX113" fmla="*/ 393700 w 728693"/>
                <a:gd name="connsiteY113" fmla="*/ 305173 h 427456"/>
                <a:gd name="connsiteX114" fmla="*/ 400050 w 728693"/>
                <a:gd name="connsiteY114" fmla="*/ 317873 h 427456"/>
                <a:gd name="connsiteX115" fmla="*/ 407988 w 728693"/>
                <a:gd name="connsiteY115" fmla="*/ 322635 h 427456"/>
                <a:gd name="connsiteX116" fmla="*/ 415925 w 728693"/>
                <a:gd name="connsiteY116" fmla="*/ 325810 h 427456"/>
                <a:gd name="connsiteX117" fmla="*/ 465138 w 728693"/>
                <a:gd name="connsiteY117" fmla="*/ 327398 h 427456"/>
                <a:gd name="connsiteX118" fmla="*/ 466725 w 728693"/>
                <a:gd name="connsiteY118" fmla="*/ 333748 h 427456"/>
                <a:gd name="connsiteX119" fmla="*/ 477838 w 728693"/>
                <a:gd name="connsiteY119" fmla="*/ 344860 h 427456"/>
                <a:gd name="connsiteX120" fmla="*/ 482600 w 728693"/>
                <a:gd name="connsiteY120" fmla="*/ 348035 h 427456"/>
                <a:gd name="connsiteX121" fmla="*/ 511175 w 728693"/>
                <a:gd name="connsiteY121" fmla="*/ 352798 h 427456"/>
                <a:gd name="connsiteX122" fmla="*/ 515938 w 728693"/>
                <a:gd name="connsiteY122" fmla="*/ 355973 h 427456"/>
                <a:gd name="connsiteX123" fmla="*/ 538163 w 728693"/>
                <a:gd name="connsiteY123" fmla="*/ 362323 h 427456"/>
                <a:gd name="connsiteX124" fmla="*/ 541338 w 728693"/>
                <a:gd name="connsiteY124" fmla="*/ 367085 h 427456"/>
                <a:gd name="connsiteX125" fmla="*/ 544513 w 728693"/>
                <a:gd name="connsiteY125" fmla="*/ 373435 h 427456"/>
                <a:gd name="connsiteX126" fmla="*/ 549275 w 728693"/>
                <a:gd name="connsiteY126" fmla="*/ 376610 h 427456"/>
                <a:gd name="connsiteX127" fmla="*/ 552450 w 728693"/>
                <a:gd name="connsiteY127" fmla="*/ 381373 h 427456"/>
                <a:gd name="connsiteX128" fmla="*/ 565150 w 728693"/>
                <a:gd name="connsiteY128" fmla="*/ 386135 h 427456"/>
                <a:gd name="connsiteX129" fmla="*/ 573088 w 728693"/>
                <a:gd name="connsiteY129" fmla="*/ 384548 h 427456"/>
                <a:gd name="connsiteX130" fmla="*/ 579438 w 728693"/>
                <a:gd name="connsiteY130" fmla="*/ 381373 h 427456"/>
                <a:gd name="connsiteX131" fmla="*/ 608013 w 728693"/>
                <a:gd name="connsiteY131" fmla="*/ 378198 h 427456"/>
                <a:gd name="connsiteX132" fmla="*/ 609600 w 728693"/>
                <a:gd name="connsiteY132" fmla="*/ 373435 h 427456"/>
                <a:gd name="connsiteX133" fmla="*/ 615950 w 728693"/>
                <a:gd name="connsiteY133" fmla="*/ 349623 h 427456"/>
                <a:gd name="connsiteX134" fmla="*/ 620713 w 728693"/>
                <a:gd name="connsiteY134" fmla="*/ 346448 h 427456"/>
                <a:gd name="connsiteX135" fmla="*/ 636588 w 728693"/>
                <a:gd name="connsiteY135" fmla="*/ 348035 h 427456"/>
                <a:gd name="connsiteX136" fmla="*/ 652463 w 728693"/>
                <a:gd name="connsiteY136" fmla="*/ 352798 h 427456"/>
                <a:gd name="connsiteX137" fmla="*/ 666750 w 728693"/>
                <a:gd name="connsiteY137" fmla="*/ 351210 h 427456"/>
                <a:gd name="connsiteX138" fmla="*/ 671513 w 728693"/>
                <a:gd name="connsiteY138" fmla="*/ 349623 h 427456"/>
                <a:gd name="connsiteX139" fmla="*/ 676275 w 728693"/>
                <a:gd name="connsiteY139" fmla="*/ 344860 h 427456"/>
                <a:gd name="connsiteX140" fmla="*/ 679450 w 728693"/>
                <a:gd name="connsiteY140" fmla="*/ 316285 h 427456"/>
                <a:gd name="connsiteX141" fmla="*/ 682625 w 728693"/>
                <a:gd name="connsiteY141" fmla="*/ 301998 h 427456"/>
                <a:gd name="connsiteX142" fmla="*/ 684213 w 728693"/>
                <a:gd name="connsiteY142" fmla="*/ 297235 h 427456"/>
                <a:gd name="connsiteX143" fmla="*/ 688975 w 728693"/>
                <a:gd name="connsiteY143" fmla="*/ 282948 h 427456"/>
                <a:gd name="connsiteX144" fmla="*/ 693738 w 728693"/>
                <a:gd name="connsiteY144" fmla="*/ 278185 h 427456"/>
                <a:gd name="connsiteX145" fmla="*/ 706438 w 728693"/>
                <a:gd name="connsiteY145" fmla="*/ 267073 h 427456"/>
                <a:gd name="connsiteX146" fmla="*/ 719138 w 728693"/>
                <a:gd name="connsiteY146" fmla="*/ 263898 h 427456"/>
                <a:gd name="connsiteX147" fmla="*/ 728663 w 728693"/>
                <a:gd name="connsiteY147" fmla="*/ 252785 h 427456"/>
                <a:gd name="connsiteX148" fmla="*/ 723900 w 728693"/>
                <a:gd name="connsiteY148" fmla="*/ 244848 h 427456"/>
                <a:gd name="connsiteX149" fmla="*/ 720725 w 728693"/>
                <a:gd name="connsiteY149" fmla="*/ 236910 h 427456"/>
                <a:gd name="connsiteX150" fmla="*/ 719138 w 728693"/>
                <a:gd name="connsiteY150" fmla="*/ 230560 h 427456"/>
                <a:gd name="connsiteX151" fmla="*/ 712788 w 728693"/>
                <a:gd name="connsiteY151" fmla="*/ 216273 h 427456"/>
                <a:gd name="connsiteX152" fmla="*/ 696913 w 728693"/>
                <a:gd name="connsiteY152" fmla="*/ 197223 h 427456"/>
                <a:gd name="connsiteX153" fmla="*/ 693738 w 728693"/>
                <a:gd name="connsiteY153" fmla="*/ 192460 h 427456"/>
                <a:gd name="connsiteX154" fmla="*/ 685800 w 728693"/>
                <a:gd name="connsiteY154" fmla="*/ 186110 h 427456"/>
                <a:gd name="connsiteX155" fmla="*/ 676275 w 728693"/>
                <a:gd name="connsiteY155" fmla="*/ 179760 h 427456"/>
                <a:gd name="connsiteX156" fmla="*/ 666750 w 728693"/>
                <a:gd name="connsiteY156" fmla="*/ 168648 h 427456"/>
                <a:gd name="connsiteX157" fmla="*/ 663575 w 728693"/>
                <a:gd name="connsiteY157" fmla="*/ 163885 h 427456"/>
                <a:gd name="connsiteX158" fmla="*/ 658813 w 728693"/>
                <a:gd name="connsiteY158" fmla="*/ 152773 h 427456"/>
                <a:gd name="connsiteX159" fmla="*/ 654050 w 728693"/>
                <a:gd name="connsiteY159" fmla="*/ 154360 h 427456"/>
                <a:gd name="connsiteX160" fmla="*/ 652463 w 728693"/>
                <a:gd name="connsiteY160" fmla="*/ 148010 h 427456"/>
                <a:gd name="connsiteX161" fmla="*/ 644525 w 728693"/>
                <a:gd name="connsiteY161" fmla="*/ 136898 h 427456"/>
                <a:gd name="connsiteX162" fmla="*/ 639763 w 728693"/>
                <a:gd name="connsiteY162" fmla="*/ 108323 h 427456"/>
                <a:gd name="connsiteX163" fmla="*/ 636588 w 728693"/>
                <a:gd name="connsiteY163" fmla="*/ 78160 h 427456"/>
                <a:gd name="connsiteX164" fmla="*/ 635000 w 728693"/>
                <a:gd name="connsiteY164" fmla="*/ 71810 h 427456"/>
                <a:gd name="connsiteX165" fmla="*/ 619125 w 728693"/>
                <a:gd name="connsiteY165" fmla="*/ 70223 h 427456"/>
                <a:gd name="connsiteX166" fmla="*/ 614363 w 728693"/>
                <a:gd name="connsiteY166" fmla="*/ 71810 h 427456"/>
                <a:gd name="connsiteX167" fmla="*/ 604838 w 728693"/>
                <a:gd name="connsiteY167" fmla="*/ 55935 h 427456"/>
                <a:gd name="connsiteX168" fmla="*/ 598488 w 728693"/>
                <a:gd name="connsiteY168" fmla="*/ 47998 h 427456"/>
                <a:gd name="connsiteX169" fmla="*/ 593725 w 728693"/>
                <a:gd name="connsiteY169" fmla="*/ 44823 h 427456"/>
                <a:gd name="connsiteX170" fmla="*/ 544513 w 728693"/>
                <a:gd name="connsiteY170" fmla="*/ 43235 h 427456"/>
                <a:gd name="connsiteX171" fmla="*/ 534988 w 728693"/>
                <a:gd name="connsiteY171" fmla="*/ 38473 h 427456"/>
                <a:gd name="connsiteX172" fmla="*/ 520700 w 728693"/>
                <a:gd name="connsiteY172" fmla="*/ 41648 h 427456"/>
                <a:gd name="connsiteX173" fmla="*/ 517525 w 728693"/>
                <a:gd name="connsiteY173" fmla="*/ 47998 h 427456"/>
                <a:gd name="connsiteX174" fmla="*/ 511175 w 728693"/>
                <a:gd name="connsiteY174" fmla="*/ 54348 h 427456"/>
                <a:gd name="connsiteX175" fmla="*/ 500063 w 728693"/>
                <a:gd name="connsiteY175" fmla="*/ 65460 h 427456"/>
                <a:gd name="connsiteX176" fmla="*/ 493713 w 728693"/>
                <a:gd name="connsiteY176" fmla="*/ 63873 h 427456"/>
                <a:gd name="connsiteX177" fmla="*/ 484188 w 728693"/>
                <a:gd name="connsiteY177" fmla="*/ 60698 h 427456"/>
                <a:gd name="connsiteX178" fmla="*/ 481013 w 728693"/>
                <a:gd name="connsiteY178" fmla="*/ 55935 h 427456"/>
                <a:gd name="connsiteX179" fmla="*/ 471488 w 728693"/>
                <a:gd name="connsiteY179" fmla="*/ 49585 h 427456"/>
                <a:gd name="connsiteX180" fmla="*/ 455613 w 728693"/>
                <a:gd name="connsiteY180" fmla="*/ 35298 h 427456"/>
                <a:gd name="connsiteX181" fmla="*/ 441325 w 728693"/>
                <a:gd name="connsiteY181" fmla="*/ 22598 h 427456"/>
                <a:gd name="connsiteX182" fmla="*/ 396875 w 728693"/>
                <a:gd name="connsiteY182" fmla="*/ 19423 h 427456"/>
                <a:gd name="connsiteX183" fmla="*/ 390525 w 728693"/>
                <a:gd name="connsiteY183" fmla="*/ 6723 h 427456"/>
                <a:gd name="connsiteX184" fmla="*/ 385763 w 728693"/>
                <a:gd name="connsiteY184" fmla="*/ 1960 h 427456"/>
                <a:gd name="connsiteX185" fmla="*/ 369888 w 728693"/>
                <a:gd name="connsiteY185" fmla="*/ 3548 h 427456"/>
                <a:gd name="connsiteX186" fmla="*/ 368300 w 728693"/>
                <a:gd name="connsiteY186" fmla="*/ 9898 h 427456"/>
                <a:gd name="connsiteX187" fmla="*/ 354013 w 728693"/>
                <a:gd name="connsiteY187" fmla="*/ 22598 h 427456"/>
                <a:gd name="connsiteX188" fmla="*/ 352425 w 728693"/>
                <a:gd name="connsiteY188" fmla="*/ 6723 h 427456"/>
                <a:gd name="connsiteX189" fmla="*/ 350838 w 728693"/>
                <a:gd name="connsiteY189" fmla="*/ 373 h 427456"/>
                <a:gd name="connsiteX190" fmla="*/ 341313 w 728693"/>
                <a:gd name="connsiteY190" fmla="*/ 1960 h 427456"/>
                <a:gd name="connsiteX191" fmla="*/ 338138 w 728693"/>
                <a:gd name="connsiteY191" fmla="*/ 8310 h 427456"/>
                <a:gd name="connsiteX192" fmla="*/ 327025 w 728693"/>
                <a:gd name="connsiteY192" fmla="*/ 19423 h 427456"/>
                <a:gd name="connsiteX193" fmla="*/ 319088 w 728693"/>
                <a:gd name="connsiteY193" fmla="*/ 27360 h 427456"/>
                <a:gd name="connsiteX194" fmla="*/ 312738 w 728693"/>
                <a:gd name="connsiteY194" fmla="*/ 32123 h 427456"/>
                <a:gd name="connsiteX195" fmla="*/ 307975 w 728693"/>
                <a:gd name="connsiteY195" fmla="*/ 36885 h 427456"/>
                <a:gd name="connsiteX196" fmla="*/ 300038 w 728693"/>
                <a:gd name="connsiteY196" fmla="*/ 38473 h 427456"/>
                <a:gd name="connsiteX197" fmla="*/ 282575 w 728693"/>
                <a:gd name="connsiteY197" fmla="*/ 36885 h 427456"/>
                <a:gd name="connsiteX0" fmla="*/ 282575 w 728693"/>
                <a:gd name="connsiteY0" fmla="*/ 36885 h 427456"/>
                <a:gd name="connsiteX1" fmla="*/ 285750 w 728693"/>
                <a:gd name="connsiteY1" fmla="*/ 52760 h 427456"/>
                <a:gd name="connsiteX2" fmla="*/ 288925 w 728693"/>
                <a:gd name="connsiteY2" fmla="*/ 60698 h 427456"/>
                <a:gd name="connsiteX3" fmla="*/ 290513 w 728693"/>
                <a:gd name="connsiteY3" fmla="*/ 98798 h 427456"/>
                <a:gd name="connsiteX4" fmla="*/ 300038 w 728693"/>
                <a:gd name="connsiteY4" fmla="*/ 105148 h 427456"/>
                <a:gd name="connsiteX5" fmla="*/ 306388 w 728693"/>
                <a:gd name="connsiteY5" fmla="*/ 114673 h 427456"/>
                <a:gd name="connsiteX6" fmla="*/ 309563 w 728693"/>
                <a:gd name="connsiteY6" fmla="*/ 119435 h 427456"/>
                <a:gd name="connsiteX7" fmla="*/ 311150 w 728693"/>
                <a:gd name="connsiteY7" fmla="*/ 144835 h 427456"/>
                <a:gd name="connsiteX8" fmla="*/ 307975 w 728693"/>
                <a:gd name="connsiteY8" fmla="*/ 149598 h 427456"/>
                <a:gd name="connsiteX9" fmla="*/ 315913 w 728693"/>
                <a:gd name="connsiteY9" fmla="*/ 152773 h 427456"/>
                <a:gd name="connsiteX10" fmla="*/ 319088 w 728693"/>
                <a:gd name="connsiteY10" fmla="*/ 163885 h 427456"/>
                <a:gd name="connsiteX11" fmla="*/ 314325 w 728693"/>
                <a:gd name="connsiteY11" fmla="*/ 165473 h 427456"/>
                <a:gd name="connsiteX12" fmla="*/ 306388 w 728693"/>
                <a:gd name="connsiteY12" fmla="*/ 168648 h 427456"/>
                <a:gd name="connsiteX13" fmla="*/ 303213 w 728693"/>
                <a:gd name="connsiteY13" fmla="*/ 174998 h 427456"/>
                <a:gd name="connsiteX14" fmla="*/ 292100 w 728693"/>
                <a:gd name="connsiteY14" fmla="*/ 189285 h 427456"/>
                <a:gd name="connsiteX15" fmla="*/ 290513 w 728693"/>
                <a:gd name="connsiteY15" fmla="*/ 198810 h 427456"/>
                <a:gd name="connsiteX16" fmla="*/ 282575 w 728693"/>
                <a:gd name="connsiteY16" fmla="*/ 205160 h 427456"/>
                <a:gd name="connsiteX17" fmla="*/ 277813 w 728693"/>
                <a:gd name="connsiteY17" fmla="*/ 211510 h 427456"/>
                <a:gd name="connsiteX18" fmla="*/ 273050 w 728693"/>
                <a:gd name="connsiteY18" fmla="*/ 213098 h 427456"/>
                <a:gd name="connsiteX19" fmla="*/ 261938 w 728693"/>
                <a:gd name="connsiteY19" fmla="*/ 216273 h 427456"/>
                <a:gd name="connsiteX20" fmla="*/ 222250 w 728693"/>
                <a:gd name="connsiteY20" fmla="*/ 217860 h 427456"/>
                <a:gd name="connsiteX21" fmla="*/ 220663 w 728693"/>
                <a:gd name="connsiteY21" fmla="*/ 211510 h 427456"/>
                <a:gd name="connsiteX22" fmla="*/ 215900 w 728693"/>
                <a:gd name="connsiteY22" fmla="*/ 209923 h 427456"/>
                <a:gd name="connsiteX23" fmla="*/ 206375 w 728693"/>
                <a:gd name="connsiteY23" fmla="*/ 203573 h 427456"/>
                <a:gd name="connsiteX24" fmla="*/ 204788 w 728693"/>
                <a:gd name="connsiteY24" fmla="*/ 198810 h 427456"/>
                <a:gd name="connsiteX25" fmla="*/ 198438 w 728693"/>
                <a:gd name="connsiteY25" fmla="*/ 192460 h 427456"/>
                <a:gd name="connsiteX26" fmla="*/ 192088 w 728693"/>
                <a:gd name="connsiteY26" fmla="*/ 173410 h 427456"/>
                <a:gd name="connsiteX27" fmla="*/ 187325 w 728693"/>
                <a:gd name="connsiteY27" fmla="*/ 167060 h 427456"/>
                <a:gd name="connsiteX28" fmla="*/ 177800 w 728693"/>
                <a:gd name="connsiteY28" fmla="*/ 162298 h 427456"/>
                <a:gd name="connsiteX29" fmla="*/ 168275 w 728693"/>
                <a:gd name="connsiteY29" fmla="*/ 155948 h 427456"/>
                <a:gd name="connsiteX30" fmla="*/ 158750 w 728693"/>
                <a:gd name="connsiteY30" fmla="*/ 152773 h 427456"/>
                <a:gd name="connsiteX31" fmla="*/ 142875 w 728693"/>
                <a:gd name="connsiteY31" fmla="*/ 138485 h 427456"/>
                <a:gd name="connsiteX32" fmla="*/ 134938 w 728693"/>
                <a:gd name="connsiteY32" fmla="*/ 133723 h 427456"/>
                <a:gd name="connsiteX33" fmla="*/ 131763 w 728693"/>
                <a:gd name="connsiteY33" fmla="*/ 119435 h 427456"/>
                <a:gd name="connsiteX34" fmla="*/ 130175 w 728693"/>
                <a:gd name="connsiteY34" fmla="*/ 114673 h 427456"/>
                <a:gd name="connsiteX35" fmla="*/ 128588 w 728693"/>
                <a:gd name="connsiteY35" fmla="*/ 108323 h 427456"/>
                <a:gd name="connsiteX36" fmla="*/ 123825 w 728693"/>
                <a:gd name="connsiteY36" fmla="*/ 100385 h 427456"/>
                <a:gd name="connsiteX37" fmla="*/ 115888 w 728693"/>
                <a:gd name="connsiteY37" fmla="*/ 106735 h 427456"/>
                <a:gd name="connsiteX38" fmla="*/ 103188 w 728693"/>
                <a:gd name="connsiteY38" fmla="*/ 114673 h 427456"/>
                <a:gd name="connsiteX39" fmla="*/ 85725 w 728693"/>
                <a:gd name="connsiteY39" fmla="*/ 128960 h 427456"/>
                <a:gd name="connsiteX40" fmla="*/ 80963 w 728693"/>
                <a:gd name="connsiteY40" fmla="*/ 130548 h 427456"/>
                <a:gd name="connsiteX41" fmla="*/ 69850 w 728693"/>
                <a:gd name="connsiteY41" fmla="*/ 143248 h 427456"/>
                <a:gd name="connsiteX42" fmla="*/ 61913 w 728693"/>
                <a:gd name="connsiteY42" fmla="*/ 144835 h 427456"/>
                <a:gd name="connsiteX43" fmla="*/ 47625 w 728693"/>
                <a:gd name="connsiteY43" fmla="*/ 148010 h 427456"/>
                <a:gd name="connsiteX44" fmla="*/ 42863 w 728693"/>
                <a:gd name="connsiteY44" fmla="*/ 160710 h 427456"/>
                <a:gd name="connsiteX45" fmla="*/ 38100 w 728693"/>
                <a:gd name="connsiteY45" fmla="*/ 165473 h 427456"/>
                <a:gd name="connsiteX46" fmla="*/ 30163 w 728693"/>
                <a:gd name="connsiteY46" fmla="*/ 179760 h 427456"/>
                <a:gd name="connsiteX47" fmla="*/ 28575 w 728693"/>
                <a:gd name="connsiteY47" fmla="*/ 194048 h 427456"/>
                <a:gd name="connsiteX48" fmla="*/ 26988 w 728693"/>
                <a:gd name="connsiteY48" fmla="*/ 198810 h 427456"/>
                <a:gd name="connsiteX49" fmla="*/ 22225 w 728693"/>
                <a:gd name="connsiteY49" fmla="*/ 200398 h 427456"/>
                <a:gd name="connsiteX50" fmla="*/ 11113 w 728693"/>
                <a:gd name="connsiteY50" fmla="*/ 208335 h 427456"/>
                <a:gd name="connsiteX51" fmla="*/ 17463 w 728693"/>
                <a:gd name="connsiteY51" fmla="*/ 224210 h 427456"/>
                <a:gd name="connsiteX52" fmla="*/ 26988 w 728693"/>
                <a:gd name="connsiteY52" fmla="*/ 227385 h 427456"/>
                <a:gd name="connsiteX53" fmla="*/ 31750 w 728693"/>
                <a:gd name="connsiteY53" fmla="*/ 232148 h 427456"/>
                <a:gd name="connsiteX54" fmla="*/ 25400 w 728693"/>
                <a:gd name="connsiteY54" fmla="*/ 249610 h 427456"/>
                <a:gd name="connsiteX55" fmla="*/ 22225 w 728693"/>
                <a:gd name="connsiteY55" fmla="*/ 265485 h 427456"/>
                <a:gd name="connsiteX56" fmla="*/ 17463 w 728693"/>
                <a:gd name="connsiteY56" fmla="*/ 270248 h 427456"/>
                <a:gd name="connsiteX57" fmla="*/ 14288 w 728693"/>
                <a:gd name="connsiteY57" fmla="*/ 276598 h 427456"/>
                <a:gd name="connsiteX58" fmla="*/ 7938 w 728693"/>
                <a:gd name="connsiteY58" fmla="*/ 286123 h 427456"/>
                <a:gd name="connsiteX59" fmla="*/ 0 w 728693"/>
                <a:gd name="connsiteY59" fmla="*/ 303585 h 427456"/>
                <a:gd name="connsiteX60" fmla="*/ 3175 w 728693"/>
                <a:gd name="connsiteY60" fmla="*/ 314698 h 427456"/>
                <a:gd name="connsiteX61" fmla="*/ 6350 w 728693"/>
                <a:gd name="connsiteY61" fmla="*/ 319460 h 427456"/>
                <a:gd name="connsiteX62" fmla="*/ 4763 w 728693"/>
                <a:gd name="connsiteY62" fmla="*/ 330573 h 427456"/>
                <a:gd name="connsiteX63" fmla="*/ 6350 w 728693"/>
                <a:gd name="connsiteY63" fmla="*/ 343273 h 427456"/>
                <a:gd name="connsiteX64" fmla="*/ 7938 w 728693"/>
                <a:gd name="connsiteY64" fmla="*/ 349623 h 427456"/>
                <a:gd name="connsiteX65" fmla="*/ 15875 w 728693"/>
                <a:gd name="connsiteY65" fmla="*/ 352798 h 427456"/>
                <a:gd name="connsiteX66" fmla="*/ 14288 w 728693"/>
                <a:gd name="connsiteY66" fmla="*/ 359148 h 427456"/>
                <a:gd name="connsiteX67" fmla="*/ 11113 w 728693"/>
                <a:gd name="connsiteY67" fmla="*/ 368673 h 427456"/>
                <a:gd name="connsiteX68" fmla="*/ 9525 w 728693"/>
                <a:gd name="connsiteY68" fmla="*/ 382960 h 427456"/>
                <a:gd name="connsiteX69" fmla="*/ 7938 w 728693"/>
                <a:gd name="connsiteY69" fmla="*/ 390898 h 427456"/>
                <a:gd name="connsiteX70" fmla="*/ 17463 w 728693"/>
                <a:gd name="connsiteY70" fmla="*/ 403598 h 427456"/>
                <a:gd name="connsiteX71" fmla="*/ 20638 w 728693"/>
                <a:gd name="connsiteY71" fmla="*/ 409948 h 427456"/>
                <a:gd name="connsiteX72" fmla="*/ 26988 w 728693"/>
                <a:gd name="connsiteY72" fmla="*/ 416298 h 427456"/>
                <a:gd name="connsiteX73" fmla="*/ 28575 w 728693"/>
                <a:gd name="connsiteY73" fmla="*/ 421060 h 427456"/>
                <a:gd name="connsiteX74" fmla="*/ 30163 w 728693"/>
                <a:gd name="connsiteY74" fmla="*/ 427410 h 427456"/>
                <a:gd name="connsiteX75" fmla="*/ 39688 w 728693"/>
                <a:gd name="connsiteY75" fmla="*/ 422648 h 427456"/>
                <a:gd name="connsiteX76" fmla="*/ 41275 w 728693"/>
                <a:gd name="connsiteY76" fmla="*/ 398835 h 427456"/>
                <a:gd name="connsiteX77" fmla="*/ 47625 w 728693"/>
                <a:gd name="connsiteY77" fmla="*/ 394073 h 427456"/>
                <a:gd name="connsiteX78" fmla="*/ 53975 w 728693"/>
                <a:gd name="connsiteY78" fmla="*/ 386135 h 427456"/>
                <a:gd name="connsiteX79" fmla="*/ 60325 w 728693"/>
                <a:gd name="connsiteY79" fmla="*/ 382960 h 427456"/>
                <a:gd name="connsiteX80" fmla="*/ 73025 w 728693"/>
                <a:gd name="connsiteY80" fmla="*/ 375023 h 427456"/>
                <a:gd name="connsiteX81" fmla="*/ 84138 w 728693"/>
                <a:gd name="connsiteY81" fmla="*/ 367085 h 427456"/>
                <a:gd name="connsiteX82" fmla="*/ 103188 w 728693"/>
                <a:gd name="connsiteY82" fmla="*/ 357560 h 427456"/>
                <a:gd name="connsiteX83" fmla="*/ 115888 w 728693"/>
                <a:gd name="connsiteY83" fmla="*/ 351210 h 427456"/>
                <a:gd name="connsiteX84" fmla="*/ 128588 w 728693"/>
                <a:gd name="connsiteY84" fmla="*/ 340098 h 427456"/>
                <a:gd name="connsiteX85" fmla="*/ 136525 w 728693"/>
                <a:gd name="connsiteY85" fmla="*/ 338510 h 427456"/>
                <a:gd name="connsiteX86" fmla="*/ 142875 w 728693"/>
                <a:gd name="connsiteY86" fmla="*/ 336923 h 427456"/>
                <a:gd name="connsiteX87" fmla="*/ 166688 w 728693"/>
                <a:gd name="connsiteY87" fmla="*/ 338510 h 427456"/>
                <a:gd name="connsiteX88" fmla="*/ 176213 w 728693"/>
                <a:gd name="connsiteY88" fmla="*/ 343273 h 427456"/>
                <a:gd name="connsiteX89" fmla="*/ 166688 w 728693"/>
                <a:gd name="connsiteY89" fmla="*/ 346448 h 427456"/>
                <a:gd name="connsiteX90" fmla="*/ 177800 w 728693"/>
                <a:gd name="connsiteY90" fmla="*/ 348035 h 427456"/>
                <a:gd name="connsiteX91" fmla="*/ 179388 w 728693"/>
                <a:gd name="connsiteY91" fmla="*/ 343273 h 427456"/>
                <a:gd name="connsiteX92" fmla="*/ 201613 w 728693"/>
                <a:gd name="connsiteY92" fmla="*/ 332160 h 427456"/>
                <a:gd name="connsiteX93" fmla="*/ 211138 w 728693"/>
                <a:gd name="connsiteY93" fmla="*/ 336923 h 427456"/>
                <a:gd name="connsiteX94" fmla="*/ 219075 w 728693"/>
                <a:gd name="connsiteY94" fmla="*/ 344860 h 427456"/>
                <a:gd name="connsiteX95" fmla="*/ 258763 w 728693"/>
                <a:gd name="connsiteY95" fmla="*/ 338510 h 427456"/>
                <a:gd name="connsiteX96" fmla="*/ 260350 w 728693"/>
                <a:gd name="connsiteY96" fmla="*/ 333748 h 427456"/>
                <a:gd name="connsiteX97" fmla="*/ 268288 w 728693"/>
                <a:gd name="connsiteY97" fmla="*/ 328985 h 427456"/>
                <a:gd name="connsiteX98" fmla="*/ 298450 w 728693"/>
                <a:gd name="connsiteY98" fmla="*/ 330573 h 427456"/>
                <a:gd name="connsiteX99" fmla="*/ 300038 w 728693"/>
                <a:gd name="connsiteY99" fmla="*/ 335335 h 427456"/>
                <a:gd name="connsiteX100" fmla="*/ 309563 w 728693"/>
                <a:gd name="connsiteY100" fmla="*/ 336923 h 427456"/>
                <a:gd name="connsiteX101" fmla="*/ 331788 w 728693"/>
                <a:gd name="connsiteY101" fmla="*/ 335335 h 427456"/>
                <a:gd name="connsiteX102" fmla="*/ 338138 w 728693"/>
                <a:gd name="connsiteY102" fmla="*/ 333748 h 427456"/>
                <a:gd name="connsiteX103" fmla="*/ 342900 w 728693"/>
                <a:gd name="connsiteY103" fmla="*/ 328985 h 427456"/>
                <a:gd name="connsiteX104" fmla="*/ 347663 w 728693"/>
                <a:gd name="connsiteY104" fmla="*/ 327398 h 427456"/>
                <a:gd name="connsiteX105" fmla="*/ 363538 w 728693"/>
                <a:gd name="connsiteY105" fmla="*/ 324223 h 427456"/>
                <a:gd name="connsiteX106" fmla="*/ 365125 w 728693"/>
                <a:gd name="connsiteY106" fmla="*/ 319460 h 427456"/>
                <a:gd name="connsiteX107" fmla="*/ 366713 w 728693"/>
                <a:gd name="connsiteY107" fmla="*/ 308348 h 427456"/>
                <a:gd name="connsiteX108" fmla="*/ 379413 w 728693"/>
                <a:gd name="connsiteY108" fmla="*/ 292473 h 427456"/>
                <a:gd name="connsiteX109" fmla="*/ 387350 w 728693"/>
                <a:gd name="connsiteY109" fmla="*/ 284535 h 427456"/>
                <a:gd name="connsiteX110" fmla="*/ 388938 w 728693"/>
                <a:gd name="connsiteY110" fmla="*/ 289298 h 427456"/>
                <a:gd name="connsiteX111" fmla="*/ 392113 w 728693"/>
                <a:gd name="connsiteY111" fmla="*/ 297235 h 427456"/>
                <a:gd name="connsiteX112" fmla="*/ 393700 w 728693"/>
                <a:gd name="connsiteY112" fmla="*/ 305173 h 427456"/>
                <a:gd name="connsiteX113" fmla="*/ 400050 w 728693"/>
                <a:gd name="connsiteY113" fmla="*/ 317873 h 427456"/>
                <a:gd name="connsiteX114" fmla="*/ 407988 w 728693"/>
                <a:gd name="connsiteY114" fmla="*/ 322635 h 427456"/>
                <a:gd name="connsiteX115" fmla="*/ 415925 w 728693"/>
                <a:gd name="connsiteY115" fmla="*/ 325810 h 427456"/>
                <a:gd name="connsiteX116" fmla="*/ 465138 w 728693"/>
                <a:gd name="connsiteY116" fmla="*/ 327398 h 427456"/>
                <a:gd name="connsiteX117" fmla="*/ 466725 w 728693"/>
                <a:gd name="connsiteY117" fmla="*/ 333748 h 427456"/>
                <a:gd name="connsiteX118" fmla="*/ 477838 w 728693"/>
                <a:gd name="connsiteY118" fmla="*/ 344860 h 427456"/>
                <a:gd name="connsiteX119" fmla="*/ 482600 w 728693"/>
                <a:gd name="connsiteY119" fmla="*/ 348035 h 427456"/>
                <a:gd name="connsiteX120" fmla="*/ 511175 w 728693"/>
                <a:gd name="connsiteY120" fmla="*/ 352798 h 427456"/>
                <a:gd name="connsiteX121" fmla="*/ 515938 w 728693"/>
                <a:gd name="connsiteY121" fmla="*/ 355973 h 427456"/>
                <a:gd name="connsiteX122" fmla="*/ 538163 w 728693"/>
                <a:gd name="connsiteY122" fmla="*/ 362323 h 427456"/>
                <a:gd name="connsiteX123" fmla="*/ 541338 w 728693"/>
                <a:gd name="connsiteY123" fmla="*/ 367085 h 427456"/>
                <a:gd name="connsiteX124" fmla="*/ 544513 w 728693"/>
                <a:gd name="connsiteY124" fmla="*/ 373435 h 427456"/>
                <a:gd name="connsiteX125" fmla="*/ 549275 w 728693"/>
                <a:gd name="connsiteY125" fmla="*/ 376610 h 427456"/>
                <a:gd name="connsiteX126" fmla="*/ 552450 w 728693"/>
                <a:gd name="connsiteY126" fmla="*/ 381373 h 427456"/>
                <a:gd name="connsiteX127" fmla="*/ 565150 w 728693"/>
                <a:gd name="connsiteY127" fmla="*/ 386135 h 427456"/>
                <a:gd name="connsiteX128" fmla="*/ 573088 w 728693"/>
                <a:gd name="connsiteY128" fmla="*/ 384548 h 427456"/>
                <a:gd name="connsiteX129" fmla="*/ 579438 w 728693"/>
                <a:gd name="connsiteY129" fmla="*/ 381373 h 427456"/>
                <a:gd name="connsiteX130" fmla="*/ 608013 w 728693"/>
                <a:gd name="connsiteY130" fmla="*/ 378198 h 427456"/>
                <a:gd name="connsiteX131" fmla="*/ 609600 w 728693"/>
                <a:gd name="connsiteY131" fmla="*/ 373435 h 427456"/>
                <a:gd name="connsiteX132" fmla="*/ 615950 w 728693"/>
                <a:gd name="connsiteY132" fmla="*/ 349623 h 427456"/>
                <a:gd name="connsiteX133" fmla="*/ 620713 w 728693"/>
                <a:gd name="connsiteY133" fmla="*/ 346448 h 427456"/>
                <a:gd name="connsiteX134" fmla="*/ 636588 w 728693"/>
                <a:gd name="connsiteY134" fmla="*/ 348035 h 427456"/>
                <a:gd name="connsiteX135" fmla="*/ 652463 w 728693"/>
                <a:gd name="connsiteY135" fmla="*/ 352798 h 427456"/>
                <a:gd name="connsiteX136" fmla="*/ 666750 w 728693"/>
                <a:gd name="connsiteY136" fmla="*/ 351210 h 427456"/>
                <a:gd name="connsiteX137" fmla="*/ 671513 w 728693"/>
                <a:gd name="connsiteY137" fmla="*/ 349623 h 427456"/>
                <a:gd name="connsiteX138" fmla="*/ 676275 w 728693"/>
                <a:gd name="connsiteY138" fmla="*/ 344860 h 427456"/>
                <a:gd name="connsiteX139" fmla="*/ 679450 w 728693"/>
                <a:gd name="connsiteY139" fmla="*/ 316285 h 427456"/>
                <a:gd name="connsiteX140" fmla="*/ 682625 w 728693"/>
                <a:gd name="connsiteY140" fmla="*/ 301998 h 427456"/>
                <a:gd name="connsiteX141" fmla="*/ 684213 w 728693"/>
                <a:gd name="connsiteY141" fmla="*/ 297235 h 427456"/>
                <a:gd name="connsiteX142" fmla="*/ 688975 w 728693"/>
                <a:gd name="connsiteY142" fmla="*/ 282948 h 427456"/>
                <a:gd name="connsiteX143" fmla="*/ 693738 w 728693"/>
                <a:gd name="connsiteY143" fmla="*/ 278185 h 427456"/>
                <a:gd name="connsiteX144" fmla="*/ 706438 w 728693"/>
                <a:gd name="connsiteY144" fmla="*/ 267073 h 427456"/>
                <a:gd name="connsiteX145" fmla="*/ 719138 w 728693"/>
                <a:gd name="connsiteY145" fmla="*/ 263898 h 427456"/>
                <a:gd name="connsiteX146" fmla="*/ 728663 w 728693"/>
                <a:gd name="connsiteY146" fmla="*/ 252785 h 427456"/>
                <a:gd name="connsiteX147" fmla="*/ 723900 w 728693"/>
                <a:gd name="connsiteY147" fmla="*/ 244848 h 427456"/>
                <a:gd name="connsiteX148" fmla="*/ 720725 w 728693"/>
                <a:gd name="connsiteY148" fmla="*/ 236910 h 427456"/>
                <a:gd name="connsiteX149" fmla="*/ 719138 w 728693"/>
                <a:gd name="connsiteY149" fmla="*/ 230560 h 427456"/>
                <a:gd name="connsiteX150" fmla="*/ 712788 w 728693"/>
                <a:gd name="connsiteY150" fmla="*/ 216273 h 427456"/>
                <a:gd name="connsiteX151" fmla="*/ 696913 w 728693"/>
                <a:gd name="connsiteY151" fmla="*/ 197223 h 427456"/>
                <a:gd name="connsiteX152" fmla="*/ 693738 w 728693"/>
                <a:gd name="connsiteY152" fmla="*/ 192460 h 427456"/>
                <a:gd name="connsiteX153" fmla="*/ 685800 w 728693"/>
                <a:gd name="connsiteY153" fmla="*/ 186110 h 427456"/>
                <a:gd name="connsiteX154" fmla="*/ 676275 w 728693"/>
                <a:gd name="connsiteY154" fmla="*/ 179760 h 427456"/>
                <a:gd name="connsiteX155" fmla="*/ 666750 w 728693"/>
                <a:gd name="connsiteY155" fmla="*/ 168648 h 427456"/>
                <a:gd name="connsiteX156" fmla="*/ 663575 w 728693"/>
                <a:gd name="connsiteY156" fmla="*/ 163885 h 427456"/>
                <a:gd name="connsiteX157" fmla="*/ 658813 w 728693"/>
                <a:gd name="connsiteY157" fmla="*/ 152773 h 427456"/>
                <a:gd name="connsiteX158" fmla="*/ 654050 w 728693"/>
                <a:gd name="connsiteY158" fmla="*/ 154360 h 427456"/>
                <a:gd name="connsiteX159" fmla="*/ 652463 w 728693"/>
                <a:gd name="connsiteY159" fmla="*/ 148010 h 427456"/>
                <a:gd name="connsiteX160" fmla="*/ 644525 w 728693"/>
                <a:gd name="connsiteY160" fmla="*/ 136898 h 427456"/>
                <a:gd name="connsiteX161" fmla="*/ 639763 w 728693"/>
                <a:gd name="connsiteY161" fmla="*/ 108323 h 427456"/>
                <a:gd name="connsiteX162" fmla="*/ 636588 w 728693"/>
                <a:gd name="connsiteY162" fmla="*/ 78160 h 427456"/>
                <a:gd name="connsiteX163" fmla="*/ 635000 w 728693"/>
                <a:gd name="connsiteY163" fmla="*/ 71810 h 427456"/>
                <a:gd name="connsiteX164" fmla="*/ 619125 w 728693"/>
                <a:gd name="connsiteY164" fmla="*/ 70223 h 427456"/>
                <a:gd name="connsiteX165" fmla="*/ 614363 w 728693"/>
                <a:gd name="connsiteY165" fmla="*/ 71810 h 427456"/>
                <a:gd name="connsiteX166" fmla="*/ 604838 w 728693"/>
                <a:gd name="connsiteY166" fmla="*/ 55935 h 427456"/>
                <a:gd name="connsiteX167" fmla="*/ 598488 w 728693"/>
                <a:gd name="connsiteY167" fmla="*/ 47998 h 427456"/>
                <a:gd name="connsiteX168" fmla="*/ 593725 w 728693"/>
                <a:gd name="connsiteY168" fmla="*/ 44823 h 427456"/>
                <a:gd name="connsiteX169" fmla="*/ 544513 w 728693"/>
                <a:gd name="connsiteY169" fmla="*/ 43235 h 427456"/>
                <a:gd name="connsiteX170" fmla="*/ 534988 w 728693"/>
                <a:gd name="connsiteY170" fmla="*/ 38473 h 427456"/>
                <a:gd name="connsiteX171" fmla="*/ 520700 w 728693"/>
                <a:gd name="connsiteY171" fmla="*/ 41648 h 427456"/>
                <a:gd name="connsiteX172" fmla="*/ 517525 w 728693"/>
                <a:gd name="connsiteY172" fmla="*/ 47998 h 427456"/>
                <a:gd name="connsiteX173" fmla="*/ 511175 w 728693"/>
                <a:gd name="connsiteY173" fmla="*/ 54348 h 427456"/>
                <a:gd name="connsiteX174" fmla="*/ 500063 w 728693"/>
                <a:gd name="connsiteY174" fmla="*/ 65460 h 427456"/>
                <a:gd name="connsiteX175" fmla="*/ 493713 w 728693"/>
                <a:gd name="connsiteY175" fmla="*/ 63873 h 427456"/>
                <a:gd name="connsiteX176" fmla="*/ 484188 w 728693"/>
                <a:gd name="connsiteY176" fmla="*/ 60698 h 427456"/>
                <a:gd name="connsiteX177" fmla="*/ 481013 w 728693"/>
                <a:gd name="connsiteY177" fmla="*/ 55935 h 427456"/>
                <a:gd name="connsiteX178" fmla="*/ 471488 w 728693"/>
                <a:gd name="connsiteY178" fmla="*/ 49585 h 427456"/>
                <a:gd name="connsiteX179" fmla="*/ 455613 w 728693"/>
                <a:gd name="connsiteY179" fmla="*/ 35298 h 427456"/>
                <a:gd name="connsiteX180" fmla="*/ 441325 w 728693"/>
                <a:gd name="connsiteY180" fmla="*/ 22598 h 427456"/>
                <a:gd name="connsiteX181" fmla="*/ 396875 w 728693"/>
                <a:gd name="connsiteY181" fmla="*/ 19423 h 427456"/>
                <a:gd name="connsiteX182" fmla="*/ 390525 w 728693"/>
                <a:gd name="connsiteY182" fmla="*/ 6723 h 427456"/>
                <a:gd name="connsiteX183" fmla="*/ 385763 w 728693"/>
                <a:gd name="connsiteY183" fmla="*/ 1960 h 427456"/>
                <a:gd name="connsiteX184" fmla="*/ 369888 w 728693"/>
                <a:gd name="connsiteY184" fmla="*/ 3548 h 427456"/>
                <a:gd name="connsiteX185" fmla="*/ 368300 w 728693"/>
                <a:gd name="connsiteY185" fmla="*/ 9898 h 427456"/>
                <a:gd name="connsiteX186" fmla="*/ 354013 w 728693"/>
                <a:gd name="connsiteY186" fmla="*/ 22598 h 427456"/>
                <a:gd name="connsiteX187" fmla="*/ 352425 w 728693"/>
                <a:gd name="connsiteY187" fmla="*/ 6723 h 427456"/>
                <a:gd name="connsiteX188" fmla="*/ 350838 w 728693"/>
                <a:gd name="connsiteY188" fmla="*/ 373 h 427456"/>
                <a:gd name="connsiteX189" fmla="*/ 341313 w 728693"/>
                <a:gd name="connsiteY189" fmla="*/ 1960 h 427456"/>
                <a:gd name="connsiteX190" fmla="*/ 338138 w 728693"/>
                <a:gd name="connsiteY190" fmla="*/ 8310 h 427456"/>
                <a:gd name="connsiteX191" fmla="*/ 327025 w 728693"/>
                <a:gd name="connsiteY191" fmla="*/ 19423 h 427456"/>
                <a:gd name="connsiteX192" fmla="*/ 319088 w 728693"/>
                <a:gd name="connsiteY192" fmla="*/ 27360 h 427456"/>
                <a:gd name="connsiteX193" fmla="*/ 312738 w 728693"/>
                <a:gd name="connsiteY193" fmla="*/ 32123 h 427456"/>
                <a:gd name="connsiteX194" fmla="*/ 307975 w 728693"/>
                <a:gd name="connsiteY194" fmla="*/ 36885 h 427456"/>
                <a:gd name="connsiteX195" fmla="*/ 300038 w 728693"/>
                <a:gd name="connsiteY195" fmla="*/ 38473 h 427456"/>
                <a:gd name="connsiteX196" fmla="*/ 282575 w 728693"/>
                <a:gd name="connsiteY196" fmla="*/ 36885 h 427456"/>
                <a:gd name="connsiteX0" fmla="*/ 282575 w 728693"/>
                <a:gd name="connsiteY0" fmla="*/ 36885 h 427456"/>
                <a:gd name="connsiteX1" fmla="*/ 285750 w 728693"/>
                <a:gd name="connsiteY1" fmla="*/ 52760 h 427456"/>
                <a:gd name="connsiteX2" fmla="*/ 288925 w 728693"/>
                <a:gd name="connsiteY2" fmla="*/ 60698 h 427456"/>
                <a:gd name="connsiteX3" fmla="*/ 290513 w 728693"/>
                <a:gd name="connsiteY3" fmla="*/ 98798 h 427456"/>
                <a:gd name="connsiteX4" fmla="*/ 300038 w 728693"/>
                <a:gd name="connsiteY4" fmla="*/ 105148 h 427456"/>
                <a:gd name="connsiteX5" fmla="*/ 306388 w 728693"/>
                <a:gd name="connsiteY5" fmla="*/ 114673 h 427456"/>
                <a:gd name="connsiteX6" fmla="*/ 309563 w 728693"/>
                <a:gd name="connsiteY6" fmla="*/ 119435 h 427456"/>
                <a:gd name="connsiteX7" fmla="*/ 311150 w 728693"/>
                <a:gd name="connsiteY7" fmla="*/ 144835 h 427456"/>
                <a:gd name="connsiteX8" fmla="*/ 307975 w 728693"/>
                <a:gd name="connsiteY8" fmla="*/ 149598 h 427456"/>
                <a:gd name="connsiteX9" fmla="*/ 315913 w 728693"/>
                <a:gd name="connsiteY9" fmla="*/ 152773 h 427456"/>
                <a:gd name="connsiteX10" fmla="*/ 319088 w 728693"/>
                <a:gd name="connsiteY10" fmla="*/ 163885 h 427456"/>
                <a:gd name="connsiteX11" fmla="*/ 314325 w 728693"/>
                <a:gd name="connsiteY11" fmla="*/ 165473 h 427456"/>
                <a:gd name="connsiteX12" fmla="*/ 306388 w 728693"/>
                <a:gd name="connsiteY12" fmla="*/ 168648 h 427456"/>
                <a:gd name="connsiteX13" fmla="*/ 303213 w 728693"/>
                <a:gd name="connsiteY13" fmla="*/ 174998 h 427456"/>
                <a:gd name="connsiteX14" fmla="*/ 292100 w 728693"/>
                <a:gd name="connsiteY14" fmla="*/ 189285 h 427456"/>
                <a:gd name="connsiteX15" fmla="*/ 290513 w 728693"/>
                <a:gd name="connsiteY15" fmla="*/ 198810 h 427456"/>
                <a:gd name="connsiteX16" fmla="*/ 282575 w 728693"/>
                <a:gd name="connsiteY16" fmla="*/ 205160 h 427456"/>
                <a:gd name="connsiteX17" fmla="*/ 277813 w 728693"/>
                <a:gd name="connsiteY17" fmla="*/ 211510 h 427456"/>
                <a:gd name="connsiteX18" fmla="*/ 273050 w 728693"/>
                <a:gd name="connsiteY18" fmla="*/ 213098 h 427456"/>
                <a:gd name="connsiteX19" fmla="*/ 261938 w 728693"/>
                <a:gd name="connsiteY19" fmla="*/ 216273 h 427456"/>
                <a:gd name="connsiteX20" fmla="*/ 222250 w 728693"/>
                <a:gd name="connsiteY20" fmla="*/ 217860 h 427456"/>
                <a:gd name="connsiteX21" fmla="*/ 220663 w 728693"/>
                <a:gd name="connsiteY21" fmla="*/ 211510 h 427456"/>
                <a:gd name="connsiteX22" fmla="*/ 215900 w 728693"/>
                <a:gd name="connsiteY22" fmla="*/ 209923 h 427456"/>
                <a:gd name="connsiteX23" fmla="*/ 206375 w 728693"/>
                <a:gd name="connsiteY23" fmla="*/ 203573 h 427456"/>
                <a:gd name="connsiteX24" fmla="*/ 204788 w 728693"/>
                <a:gd name="connsiteY24" fmla="*/ 198810 h 427456"/>
                <a:gd name="connsiteX25" fmla="*/ 198438 w 728693"/>
                <a:gd name="connsiteY25" fmla="*/ 192460 h 427456"/>
                <a:gd name="connsiteX26" fmla="*/ 192088 w 728693"/>
                <a:gd name="connsiteY26" fmla="*/ 173410 h 427456"/>
                <a:gd name="connsiteX27" fmla="*/ 187325 w 728693"/>
                <a:gd name="connsiteY27" fmla="*/ 167060 h 427456"/>
                <a:gd name="connsiteX28" fmla="*/ 177800 w 728693"/>
                <a:gd name="connsiteY28" fmla="*/ 162298 h 427456"/>
                <a:gd name="connsiteX29" fmla="*/ 168275 w 728693"/>
                <a:gd name="connsiteY29" fmla="*/ 155948 h 427456"/>
                <a:gd name="connsiteX30" fmla="*/ 158750 w 728693"/>
                <a:gd name="connsiteY30" fmla="*/ 152773 h 427456"/>
                <a:gd name="connsiteX31" fmla="*/ 142875 w 728693"/>
                <a:gd name="connsiteY31" fmla="*/ 138485 h 427456"/>
                <a:gd name="connsiteX32" fmla="*/ 134938 w 728693"/>
                <a:gd name="connsiteY32" fmla="*/ 133723 h 427456"/>
                <a:gd name="connsiteX33" fmla="*/ 131763 w 728693"/>
                <a:gd name="connsiteY33" fmla="*/ 119435 h 427456"/>
                <a:gd name="connsiteX34" fmla="*/ 130175 w 728693"/>
                <a:gd name="connsiteY34" fmla="*/ 114673 h 427456"/>
                <a:gd name="connsiteX35" fmla="*/ 128588 w 728693"/>
                <a:gd name="connsiteY35" fmla="*/ 108323 h 427456"/>
                <a:gd name="connsiteX36" fmla="*/ 123825 w 728693"/>
                <a:gd name="connsiteY36" fmla="*/ 100385 h 427456"/>
                <a:gd name="connsiteX37" fmla="*/ 115888 w 728693"/>
                <a:gd name="connsiteY37" fmla="*/ 106735 h 427456"/>
                <a:gd name="connsiteX38" fmla="*/ 103188 w 728693"/>
                <a:gd name="connsiteY38" fmla="*/ 114673 h 427456"/>
                <a:gd name="connsiteX39" fmla="*/ 85725 w 728693"/>
                <a:gd name="connsiteY39" fmla="*/ 128960 h 427456"/>
                <a:gd name="connsiteX40" fmla="*/ 80963 w 728693"/>
                <a:gd name="connsiteY40" fmla="*/ 130548 h 427456"/>
                <a:gd name="connsiteX41" fmla="*/ 69850 w 728693"/>
                <a:gd name="connsiteY41" fmla="*/ 143248 h 427456"/>
                <a:gd name="connsiteX42" fmla="*/ 61913 w 728693"/>
                <a:gd name="connsiteY42" fmla="*/ 144835 h 427456"/>
                <a:gd name="connsiteX43" fmla="*/ 47625 w 728693"/>
                <a:gd name="connsiteY43" fmla="*/ 148010 h 427456"/>
                <a:gd name="connsiteX44" fmla="*/ 42863 w 728693"/>
                <a:gd name="connsiteY44" fmla="*/ 160710 h 427456"/>
                <a:gd name="connsiteX45" fmla="*/ 38100 w 728693"/>
                <a:gd name="connsiteY45" fmla="*/ 165473 h 427456"/>
                <a:gd name="connsiteX46" fmla="*/ 30163 w 728693"/>
                <a:gd name="connsiteY46" fmla="*/ 179760 h 427456"/>
                <a:gd name="connsiteX47" fmla="*/ 28575 w 728693"/>
                <a:gd name="connsiteY47" fmla="*/ 194048 h 427456"/>
                <a:gd name="connsiteX48" fmla="*/ 26988 w 728693"/>
                <a:gd name="connsiteY48" fmla="*/ 198810 h 427456"/>
                <a:gd name="connsiteX49" fmla="*/ 22225 w 728693"/>
                <a:gd name="connsiteY49" fmla="*/ 200398 h 427456"/>
                <a:gd name="connsiteX50" fmla="*/ 17463 w 728693"/>
                <a:gd name="connsiteY50" fmla="*/ 224210 h 427456"/>
                <a:gd name="connsiteX51" fmla="*/ 26988 w 728693"/>
                <a:gd name="connsiteY51" fmla="*/ 227385 h 427456"/>
                <a:gd name="connsiteX52" fmla="*/ 31750 w 728693"/>
                <a:gd name="connsiteY52" fmla="*/ 232148 h 427456"/>
                <a:gd name="connsiteX53" fmla="*/ 25400 w 728693"/>
                <a:gd name="connsiteY53" fmla="*/ 249610 h 427456"/>
                <a:gd name="connsiteX54" fmla="*/ 22225 w 728693"/>
                <a:gd name="connsiteY54" fmla="*/ 265485 h 427456"/>
                <a:gd name="connsiteX55" fmla="*/ 17463 w 728693"/>
                <a:gd name="connsiteY55" fmla="*/ 270248 h 427456"/>
                <a:gd name="connsiteX56" fmla="*/ 14288 w 728693"/>
                <a:gd name="connsiteY56" fmla="*/ 276598 h 427456"/>
                <a:gd name="connsiteX57" fmla="*/ 7938 w 728693"/>
                <a:gd name="connsiteY57" fmla="*/ 286123 h 427456"/>
                <a:gd name="connsiteX58" fmla="*/ 0 w 728693"/>
                <a:gd name="connsiteY58" fmla="*/ 303585 h 427456"/>
                <a:gd name="connsiteX59" fmla="*/ 3175 w 728693"/>
                <a:gd name="connsiteY59" fmla="*/ 314698 h 427456"/>
                <a:gd name="connsiteX60" fmla="*/ 6350 w 728693"/>
                <a:gd name="connsiteY60" fmla="*/ 319460 h 427456"/>
                <a:gd name="connsiteX61" fmla="*/ 4763 w 728693"/>
                <a:gd name="connsiteY61" fmla="*/ 330573 h 427456"/>
                <a:gd name="connsiteX62" fmla="*/ 6350 w 728693"/>
                <a:gd name="connsiteY62" fmla="*/ 343273 h 427456"/>
                <a:gd name="connsiteX63" fmla="*/ 7938 w 728693"/>
                <a:gd name="connsiteY63" fmla="*/ 349623 h 427456"/>
                <a:gd name="connsiteX64" fmla="*/ 15875 w 728693"/>
                <a:gd name="connsiteY64" fmla="*/ 352798 h 427456"/>
                <a:gd name="connsiteX65" fmla="*/ 14288 w 728693"/>
                <a:gd name="connsiteY65" fmla="*/ 359148 h 427456"/>
                <a:gd name="connsiteX66" fmla="*/ 11113 w 728693"/>
                <a:gd name="connsiteY66" fmla="*/ 368673 h 427456"/>
                <a:gd name="connsiteX67" fmla="*/ 9525 w 728693"/>
                <a:gd name="connsiteY67" fmla="*/ 382960 h 427456"/>
                <a:gd name="connsiteX68" fmla="*/ 7938 w 728693"/>
                <a:gd name="connsiteY68" fmla="*/ 390898 h 427456"/>
                <a:gd name="connsiteX69" fmla="*/ 17463 w 728693"/>
                <a:gd name="connsiteY69" fmla="*/ 403598 h 427456"/>
                <a:gd name="connsiteX70" fmla="*/ 20638 w 728693"/>
                <a:gd name="connsiteY70" fmla="*/ 409948 h 427456"/>
                <a:gd name="connsiteX71" fmla="*/ 26988 w 728693"/>
                <a:gd name="connsiteY71" fmla="*/ 416298 h 427456"/>
                <a:gd name="connsiteX72" fmla="*/ 28575 w 728693"/>
                <a:gd name="connsiteY72" fmla="*/ 421060 h 427456"/>
                <a:gd name="connsiteX73" fmla="*/ 30163 w 728693"/>
                <a:gd name="connsiteY73" fmla="*/ 427410 h 427456"/>
                <a:gd name="connsiteX74" fmla="*/ 39688 w 728693"/>
                <a:gd name="connsiteY74" fmla="*/ 422648 h 427456"/>
                <a:gd name="connsiteX75" fmla="*/ 41275 w 728693"/>
                <a:gd name="connsiteY75" fmla="*/ 398835 h 427456"/>
                <a:gd name="connsiteX76" fmla="*/ 47625 w 728693"/>
                <a:gd name="connsiteY76" fmla="*/ 394073 h 427456"/>
                <a:gd name="connsiteX77" fmla="*/ 53975 w 728693"/>
                <a:gd name="connsiteY77" fmla="*/ 386135 h 427456"/>
                <a:gd name="connsiteX78" fmla="*/ 60325 w 728693"/>
                <a:gd name="connsiteY78" fmla="*/ 382960 h 427456"/>
                <a:gd name="connsiteX79" fmla="*/ 73025 w 728693"/>
                <a:gd name="connsiteY79" fmla="*/ 375023 h 427456"/>
                <a:gd name="connsiteX80" fmla="*/ 84138 w 728693"/>
                <a:gd name="connsiteY80" fmla="*/ 367085 h 427456"/>
                <a:gd name="connsiteX81" fmla="*/ 103188 w 728693"/>
                <a:gd name="connsiteY81" fmla="*/ 357560 h 427456"/>
                <a:gd name="connsiteX82" fmla="*/ 115888 w 728693"/>
                <a:gd name="connsiteY82" fmla="*/ 351210 h 427456"/>
                <a:gd name="connsiteX83" fmla="*/ 128588 w 728693"/>
                <a:gd name="connsiteY83" fmla="*/ 340098 h 427456"/>
                <a:gd name="connsiteX84" fmla="*/ 136525 w 728693"/>
                <a:gd name="connsiteY84" fmla="*/ 338510 h 427456"/>
                <a:gd name="connsiteX85" fmla="*/ 142875 w 728693"/>
                <a:gd name="connsiteY85" fmla="*/ 336923 h 427456"/>
                <a:gd name="connsiteX86" fmla="*/ 166688 w 728693"/>
                <a:gd name="connsiteY86" fmla="*/ 338510 h 427456"/>
                <a:gd name="connsiteX87" fmla="*/ 176213 w 728693"/>
                <a:gd name="connsiteY87" fmla="*/ 343273 h 427456"/>
                <a:gd name="connsiteX88" fmla="*/ 166688 w 728693"/>
                <a:gd name="connsiteY88" fmla="*/ 346448 h 427456"/>
                <a:gd name="connsiteX89" fmla="*/ 177800 w 728693"/>
                <a:gd name="connsiteY89" fmla="*/ 348035 h 427456"/>
                <a:gd name="connsiteX90" fmla="*/ 179388 w 728693"/>
                <a:gd name="connsiteY90" fmla="*/ 343273 h 427456"/>
                <a:gd name="connsiteX91" fmla="*/ 201613 w 728693"/>
                <a:gd name="connsiteY91" fmla="*/ 332160 h 427456"/>
                <a:gd name="connsiteX92" fmla="*/ 211138 w 728693"/>
                <a:gd name="connsiteY92" fmla="*/ 336923 h 427456"/>
                <a:gd name="connsiteX93" fmla="*/ 219075 w 728693"/>
                <a:gd name="connsiteY93" fmla="*/ 344860 h 427456"/>
                <a:gd name="connsiteX94" fmla="*/ 258763 w 728693"/>
                <a:gd name="connsiteY94" fmla="*/ 338510 h 427456"/>
                <a:gd name="connsiteX95" fmla="*/ 260350 w 728693"/>
                <a:gd name="connsiteY95" fmla="*/ 333748 h 427456"/>
                <a:gd name="connsiteX96" fmla="*/ 268288 w 728693"/>
                <a:gd name="connsiteY96" fmla="*/ 328985 h 427456"/>
                <a:gd name="connsiteX97" fmla="*/ 298450 w 728693"/>
                <a:gd name="connsiteY97" fmla="*/ 330573 h 427456"/>
                <a:gd name="connsiteX98" fmla="*/ 300038 w 728693"/>
                <a:gd name="connsiteY98" fmla="*/ 335335 h 427456"/>
                <a:gd name="connsiteX99" fmla="*/ 309563 w 728693"/>
                <a:gd name="connsiteY99" fmla="*/ 336923 h 427456"/>
                <a:gd name="connsiteX100" fmla="*/ 331788 w 728693"/>
                <a:gd name="connsiteY100" fmla="*/ 335335 h 427456"/>
                <a:gd name="connsiteX101" fmla="*/ 338138 w 728693"/>
                <a:gd name="connsiteY101" fmla="*/ 333748 h 427456"/>
                <a:gd name="connsiteX102" fmla="*/ 342900 w 728693"/>
                <a:gd name="connsiteY102" fmla="*/ 328985 h 427456"/>
                <a:gd name="connsiteX103" fmla="*/ 347663 w 728693"/>
                <a:gd name="connsiteY103" fmla="*/ 327398 h 427456"/>
                <a:gd name="connsiteX104" fmla="*/ 363538 w 728693"/>
                <a:gd name="connsiteY104" fmla="*/ 324223 h 427456"/>
                <a:gd name="connsiteX105" fmla="*/ 365125 w 728693"/>
                <a:gd name="connsiteY105" fmla="*/ 319460 h 427456"/>
                <a:gd name="connsiteX106" fmla="*/ 366713 w 728693"/>
                <a:gd name="connsiteY106" fmla="*/ 308348 h 427456"/>
                <a:gd name="connsiteX107" fmla="*/ 379413 w 728693"/>
                <a:gd name="connsiteY107" fmla="*/ 292473 h 427456"/>
                <a:gd name="connsiteX108" fmla="*/ 387350 w 728693"/>
                <a:gd name="connsiteY108" fmla="*/ 284535 h 427456"/>
                <a:gd name="connsiteX109" fmla="*/ 388938 w 728693"/>
                <a:gd name="connsiteY109" fmla="*/ 289298 h 427456"/>
                <a:gd name="connsiteX110" fmla="*/ 392113 w 728693"/>
                <a:gd name="connsiteY110" fmla="*/ 297235 h 427456"/>
                <a:gd name="connsiteX111" fmla="*/ 393700 w 728693"/>
                <a:gd name="connsiteY111" fmla="*/ 305173 h 427456"/>
                <a:gd name="connsiteX112" fmla="*/ 400050 w 728693"/>
                <a:gd name="connsiteY112" fmla="*/ 317873 h 427456"/>
                <a:gd name="connsiteX113" fmla="*/ 407988 w 728693"/>
                <a:gd name="connsiteY113" fmla="*/ 322635 h 427456"/>
                <a:gd name="connsiteX114" fmla="*/ 415925 w 728693"/>
                <a:gd name="connsiteY114" fmla="*/ 325810 h 427456"/>
                <a:gd name="connsiteX115" fmla="*/ 465138 w 728693"/>
                <a:gd name="connsiteY115" fmla="*/ 327398 h 427456"/>
                <a:gd name="connsiteX116" fmla="*/ 466725 w 728693"/>
                <a:gd name="connsiteY116" fmla="*/ 333748 h 427456"/>
                <a:gd name="connsiteX117" fmla="*/ 477838 w 728693"/>
                <a:gd name="connsiteY117" fmla="*/ 344860 h 427456"/>
                <a:gd name="connsiteX118" fmla="*/ 482600 w 728693"/>
                <a:gd name="connsiteY118" fmla="*/ 348035 h 427456"/>
                <a:gd name="connsiteX119" fmla="*/ 511175 w 728693"/>
                <a:gd name="connsiteY119" fmla="*/ 352798 h 427456"/>
                <a:gd name="connsiteX120" fmla="*/ 515938 w 728693"/>
                <a:gd name="connsiteY120" fmla="*/ 355973 h 427456"/>
                <a:gd name="connsiteX121" fmla="*/ 538163 w 728693"/>
                <a:gd name="connsiteY121" fmla="*/ 362323 h 427456"/>
                <a:gd name="connsiteX122" fmla="*/ 541338 w 728693"/>
                <a:gd name="connsiteY122" fmla="*/ 367085 h 427456"/>
                <a:gd name="connsiteX123" fmla="*/ 544513 w 728693"/>
                <a:gd name="connsiteY123" fmla="*/ 373435 h 427456"/>
                <a:gd name="connsiteX124" fmla="*/ 549275 w 728693"/>
                <a:gd name="connsiteY124" fmla="*/ 376610 h 427456"/>
                <a:gd name="connsiteX125" fmla="*/ 552450 w 728693"/>
                <a:gd name="connsiteY125" fmla="*/ 381373 h 427456"/>
                <a:gd name="connsiteX126" fmla="*/ 565150 w 728693"/>
                <a:gd name="connsiteY126" fmla="*/ 386135 h 427456"/>
                <a:gd name="connsiteX127" fmla="*/ 573088 w 728693"/>
                <a:gd name="connsiteY127" fmla="*/ 384548 h 427456"/>
                <a:gd name="connsiteX128" fmla="*/ 579438 w 728693"/>
                <a:gd name="connsiteY128" fmla="*/ 381373 h 427456"/>
                <a:gd name="connsiteX129" fmla="*/ 608013 w 728693"/>
                <a:gd name="connsiteY129" fmla="*/ 378198 h 427456"/>
                <a:gd name="connsiteX130" fmla="*/ 609600 w 728693"/>
                <a:gd name="connsiteY130" fmla="*/ 373435 h 427456"/>
                <a:gd name="connsiteX131" fmla="*/ 615950 w 728693"/>
                <a:gd name="connsiteY131" fmla="*/ 349623 h 427456"/>
                <a:gd name="connsiteX132" fmla="*/ 620713 w 728693"/>
                <a:gd name="connsiteY132" fmla="*/ 346448 h 427456"/>
                <a:gd name="connsiteX133" fmla="*/ 636588 w 728693"/>
                <a:gd name="connsiteY133" fmla="*/ 348035 h 427456"/>
                <a:gd name="connsiteX134" fmla="*/ 652463 w 728693"/>
                <a:gd name="connsiteY134" fmla="*/ 352798 h 427456"/>
                <a:gd name="connsiteX135" fmla="*/ 666750 w 728693"/>
                <a:gd name="connsiteY135" fmla="*/ 351210 h 427456"/>
                <a:gd name="connsiteX136" fmla="*/ 671513 w 728693"/>
                <a:gd name="connsiteY136" fmla="*/ 349623 h 427456"/>
                <a:gd name="connsiteX137" fmla="*/ 676275 w 728693"/>
                <a:gd name="connsiteY137" fmla="*/ 344860 h 427456"/>
                <a:gd name="connsiteX138" fmla="*/ 679450 w 728693"/>
                <a:gd name="connsiteY138" fmla="*/ 316285 h 427456"/>
                <a:gd name="connsiteX139" fmla="*/ 682625 w 728693"/>
                <a:gd name="connsiteY139" fmla="*/ 301998 h 427456"/>
                <a:gd name="connsiteX140" fmla="*/ 684213 w 728693"/>
                <a:gd name="connsiteY140" fmla="*/ 297235 h 427456"/>
                <a:gd name="connsiteX141" fmla="*/ 688975 w 728693"/>
                <a:gd name="connsiteY141" fmla="*/ 282948 h 427456"/>
                <a:gd name="connsiteX142" fmla="*/ 693738 w 728693"/>
                <a:gd name="connsiteY142" fmla="*/ 278185 h 427456"/>
                <a:gd name="connsiteX143" fmla="*/ 706438 w 728693"/>
                <a:gd name="connsiteY143" fmla="*/ 267073 h 427456"/>
                <a:gd name="connsiteX144" fmla="*/ 719138 w 728693"/>
                <a:gd name="connsiteY144" fmla="*/ 263898 h 427456"/>
                <a:gd name="connsiteX145" fmla="*/ 728663 w 728693"/>
                <a:gd name="connsiteY145" fmla="*/ 252785 h 427456"/>
                <a:gd name="connsiteX146" fmla="*/ 723900 w 728693"/>
                <a:gd name="connsiteY146" fmla="*/ 244848 h 427456"/>
                <a:gd name="connsiteX147" fmla="*/ 720725 w 728693"/>
                <a:gd name="connsiteY147" fmla="*/ 236910 h 427456"/>
                <a:gd name="connsiteX148" fmla="*/ 719138 w 728693"/>
                <a:gd name="connsiteY148" fmla="*/ 230560 h 427456"/>
                <a:gd name="connsiteX149" fmla="*/ 712788 w 728693"/>
                <a:gd name="connsiteY149" fmla="*/ 216273 h 427456"/>
                <a:gd name="connsiteX150" fmla="*/ 696913 w 728693"/>
                <a:gd name="connsiteY150" fmla="*/ 197223 h 427456"/>
                <a:gd name="connsiteX151" fmla="*/ 693738 w 728693"/>
                <a:gd name="connsiteY151" fmla="*/ 192460 h 427456"/>
                <a:gd name="connsiteX152" fmla="*/ 685800 w 728693"/>
                <a:gd name="connsiteY152" fmla="*/ 186110 h 427456"/>
                <a:gd name="connsiteX153" fmla="*/ 676275 w 728693"/>
                <a:gd name="connsiteY153" fmla="*/ 179760 h 427456"/>
                <a:gd name="connsiteX154" fmla="*/ 666750 w 728693"/>
                <a:gd name="connsiteY154" fmla="*/ 168648 h 427456"/>
                <a:gd name="connsiteX155" fmla="*/ 663575 w 728693"/>
                <a:gd name="connsiteY155" fmla="*/ 163885 h 427456"/>
                <a:gd name="connsiteX156" fmla="*/ 658813 w 728693"/>
                <a:gd name="connsiteY156" fmla="*/ 152773 h 427456"/>
                <a:gd name="connsiteX157" fmla="*/ 654050 w 728693"/>
                <a:gd name="connsiteY157" fmla="*/ 154360 h 427456"/>
                <a:gd name="connsiteX158" fmla="*/ 652463 w 728693"/>
                <a:gd name="connsiteY158" fmla="*/ 148010 h 427456"/>
                <a:gd name="connsiteX159" fmla="*/ 644525 w 728693"/>
                <a:gd name="connsiteY159" fmla="*/ 136898 h 427456"/>
                <a:gd name="connsiteX160" fmla="*/ 639763 w 728693"/>
                <a:gd name="connsiteY160" fmla="*/ 108323 h 427456"/>
                <a:gd name="connsiteX161" fmla="*/ 636588 w 728693"/>
                <a:gd name="connsiteY161" fmla="*/ 78160 h 427456"/>
                <a:gd name="connsiteX162" fmla="*/ 635000 w 728693"/>
                <a:gd name="connsiteY162" fmla="*/ 71810 h 427456"/>
                <a:gd name="connsiteX163" fmla="*/ 619125 w 728693"/>
                <a:gd name="connsiteY163" fmla="*/ 70223 h 427456"/>
                <a:gd name="connsiteX164" fmla="*/ 614363 w 728693"/>
                <a:gd name="connsiteY164" fmla="*/ 71810 h 427456"/>
                <a:gd name="connsiteX165" fmla="*/ 604838 w 728693"/>
                <a:gd name="connsiteY165" fmla="*/ 55935 h 427456"/>
                <a:gd name="connsiteX166" fmla="*/ 598488 w 728693"/>
                <a:gd name="connsiteY166" fmla="*/ 47998 h 427456"/>
                <a:gd name="connsiteX167" fmla="*/ 593725 w 728693"/>
                <a:gd name="connsiteY167" fmla="*/ 44823 h 427456"/>
                <a:gd name="connsiteX168" fmla="*/ 544513 w 728693"/>
                <a:gd name="connsiteY168" fmla="*/ 43235 h 427456"/>
                <a:gd name="connsiteX169" fmla="*/ 534988 w 728693"/>
                <a:gd name="connsiteY169" fmla="*/ 38473 h 427456"/>
                <a:gd name="connsiteX170" fmla="*/ 520700 w 728693"/>
                <a:gd name="connsiteY170" fmla="*/ 41648 h 427456"/>
                <a:gd name="connsiteX171" fmla="*/ 517525 w 728693"/>
                <a:gd name="connsiteY171" fmla="*/ 47998 h 427456"/>
                <a:gd name="connsiteX172" fmla="*/ 511175 w 728693"/>
                <a:gd name="connsiteY172" fmla="*/ 54348 h 427456"/>
                <a:gd name="connsiteX173" fmla="*/ 500063 w 728693"/>
                <a:gd name="connsiteY173" fmla="*/ 65460 h 427456"/>
                <a:gd name="connsiteX174" fmla="*/ 493713 w 728693"/>
                <a:gd name="connsiteY174" fmla="*/ 63873 h 427456"/>
                <a:gd name="connsiteX175" fmla="*/ 484188 w 728693"/>
                <a:gd name="connsiteY175" fmla="*/ 60698 h 427456"/>
                <a:gd name="connsiteX176" fmla="*/ 481013 w 728693"/>
                <a:gd name="connsiteY176" fmla="*/ 55935 h 427456"/>
                <a:gd name="connsiteX177" fmla="*/ 471488 w 728693"/>
                <a:gd name="connsiteY177" fmla="*/ 49585 h 427456"/>
                <a:gd name="connsiteX178" fmla="*/ 455613 w 728693"/>
                <a:gd name="connsiteY178" fmla="*/ 35298 h 427456"/>
                <a:gd name="connsiteX179" fmla="*/ 441325 w 728693"/>
                <a:gd name="connsiteY179" fmla="*/ 22598 h 427456"/>
                <a:gd name="connsiteX180" fmla="*/ 396875 w 728693"/>
                <a:gd name="connsiteY180" fmla="*/ 19423 h 427456"/>
                <a:gd name="connsiteX181" fmla="*/ 390525 w 728693"/>
                <a:gd name="connsiteY181" fmla="*/ 6723 h 427456"/>
                <a:gd name="connsiteX182" fmla="*/ 385763 w 728693"/>
                <a:gd name="connsiteY182" fmla="*/ 1960 h 427456"/>
                <a:gd name="connsiteX183" fmla="*/ 369888 w 728693"/>
                <a:gd name="connsiteY183" fmla="*/ 3548 h 427456"/>
                <a:gd name="connsiteX184" fmla="*/ 368300 w 728693"/>
                <a:gd name="connsiteY184" fmla="*/ 9898 h 427456"/>
                <a:gd name="connsiteX185" fmla="*/ 354013 w 728693"/>
                <a:gd name="connsiteY185" fmla="*/ 22598 h 427456"/>
                <a:gd name="connsiteX186" fmla="*/ 352425 w 728693"/>
                <a:gd name="connsiteY186" fmla="*/ 6723 h 427456"/>
                <a:gd name="connsiteX187" fmla="*/ 350838 w 728693"/>
                <a:gd name="connsiteY187" fmla="*/ 373 h 427456"/>
                <a:gd name="connsiteX188" fmla="*/ 341313 w 728693"/>
                <a:gd name="connsiteY188" fmla="*/ 1960 h 427456"/>
                <a:gd name="connsiteX189" fmla="*/ 338138 w 728693"/>
                <a:gd name="connsiteY189" fmla="*/ 8310 h 427456"/>
                <a:gd name="connsiteX190" fmla="*/ 327025 w 728693"/>
                <a:gd name="connsiteY190" fmla="*/ 19423 h 427456"/>
                <a:gd name="connsiteX191" fmla="*/ 319088 w 728693"/>
                <a:gd name="connsiteY191" fmla="*/ 27360 h 427456"/>
                <a:gd name="connsiteX192" fmla="*/ 312738 w 728693"/>
                <a:gd name="connsiteY192" fmla="*/ 32123 h 427456"/>
                <a:gd name="connsiteX193" fmla="*/ 307975 w 728693"/>
                <a:gd name="connsiteY193" fmla="*/ 36885 h 427456"/>
                <a:gd name="connsiteX194" fmla="*/ 300038 w 728693"/>
                <a:gd name="connsiteY194" fmla="*/ 38473 h 427456"/>
                <a:gd name="connsiteX195" fmla="*/ 282575 w 728693"/>
                <a:gd name="connsiteY195" fmla="*/ 36885 h 427456"/>
                <a:gd name="connsiteX0" fmla="*/ 282575 w 728693"/>
                <a:gd name="connsiteY0" fmla="*/ 36885 h 427456"/>
                <a:gd name="connsiteX1" fmla="*/ 285750 w 728693"/>
                <a:gd name="connsiteY1" fmla="*/ 52760 h 427456"/>
                <a:gd name="connsiteX2" fmla="*/ 288925 w 728693"/>
                <a:gd name="connsiteY2" fmla="*/ 60698 h 427456"/>
                <a:gd name="connsiteX3" fmla="*/ 290513 w 728693"/>
                <a:gd name="connsiteY3" fmla="*/ 98798 h 427456"/>
                <a:gd name="connsiteX4" fmla="*/ 300038 w 728693"/>
                <a:gd name="connsiteY4" fmla="*/ 105148 h 427456"/>
                <a:gd name="connsiteX5" fmla="*/ 306388 w 728693"/>
                <a:gd name="connsiteY5" fmla="*/ 114673 h 427456"/>
                <a:gd name="connsiteX6" fmla="*/ 309563 w 728693"/>
                <a:gd name="connsiteY6" fmla="*/ 119435 h 427456"/>
                <a:gd name="connsiteX7" fmla="*/ 311150 w 728693"/>
                <a:gd name="connsiteY7" fmla="*/ 144835 h 427456"/>
                <a:gd name="connsiteX8" fmla="*/ 307975 w 728693"/>
                <a:gd name="connsiteY8" fmla="*/ 149598 h 427456"/>
                <a:gd name="connsiteX9" fmla="*/ 315913 w 728693"/>
                <a:gd name="connsiteY9" fmla="*/ 152773 h 427456"/>
                <a:gd name="connsiteX10" fmla="*/ 319088 w 728693"/>
                <a:gd name="connsiteY10" fmla="*/ 163885 h 427456"/>
                <a:gd name="connsiteX11" fmla="*/ 314325 w 728693"/>
                <a:gd name="connsiteY11" fmla="*/ 165473 h 427456"/>
                <a:gd name="connsiteX12" fmla="*/ 306388 w 728693"/>
                <a:gd name="connsiteY12" fmla="*/ 168648 h 427456"/>
                <a:gd name="connsiteX13" fmla="*/ 303213 w 728693"/>
                <a:gd name="connsiteY13" fmla="*/ 174998 h 427456"/>
                <a:gd name="connsiteX14" fmla="*/ 292100 w 728693"/>
                <a:gd name="connsiteY14" fmla="*/ 189285 h 427456"/>
                <a:gd name="connsiteX15" fmla="*/ 290513 w 728693"/>
                <a:gd name="connsiteY15" fmla="*/ 198810 h 427456"/>
                <a:gd name="connsiteX16" fmla="*/ 282575 w 728693"/>
                <a:gd name="connsiteY16" fmla="*/ 205160 h 427456"/>
                <a:gd name="connsiteX17" fmla="*/ 277813 w 728693"/>
                <a:gd name="connsiteY17" fmla="*/ 211510 h 427456"/>
                <a:gd name="connsiteX18" fmla="*/ 273050 w 728693"/>
                <a:gd name="connsiteY18" fmla="*/ 213098 h 427456"/>
                <a:gd name="connsiteX19" fmla="*/ 261938 w 728693"/>
                <a:gd name="connsiteY19" fmla="*/ 216273 h 427456"/>
                <a:gd name="connsiteX20" fmla="*/ 222250 w 728693"/>
                <a:gd name="connsiteY20" fmla="*/ 217860 h 427456"/>
                <a:gd name="connsiteX21" fmla="*/ 220663 w 728693"/>
                <a:gd name="connsiteY21" fmla="*/ 211510 h 427456"/>
                <a:gd name="connsiteX22" fmla="*/ 215900 w 728693"/>
                <a:gd name="connsiteY22" fmla="*/ 209923 h 427456"/>
                <a:gd name="connsiteX23" fmla="*/ 206375 w 728693"/>
                <a:gd name="connsiteY23" fmla="*/ 203573 h 427456"/>
                <a:gd name="connsiteX24" fmla="*/ 204788 w 728693"/>
                <a:gd name="connsiteY24" fmla="*/ 198810 h 427456"/>
                <a:gd name="connsiteX25" fmla="*/ 198438 w 728693"/>
                <a:gd name="connsiteY25" fmla="*/ 192460 h 427456"/>
                <a:gd name="connsiteX26" fmla="*/ 192088 w 728693"/>
                <a:gd name="connsiteY26" fmla="*/ 173410 h 427456"/>
                <a:gd name="connsiteX27" fmla="*/ 187325 w 728693"/>
                <a:gd name="connsiteY27" fmla="*/ 167060 h 427456"/>
                <a:gd name="connsiteX28" fmla="*/ 177800 w 728693"/>
                <a:gd name="connsiteY28" fmla="*/ 162298 h 427456"/>
                <a:gd name="connsiteX29" fmla="*/ 168275 w 728693"/>
                <a:gd name="connsiteY29" fmla="*/ 155948 h 427456"/>
                <a:gd name="connsiteX30" fmla="*/ 158750 w 728693"/>
                <a:gd name="connsiteY30" fmla="*/ 152773 h 427456"/>
                <a:gd name="connsiteX31" fmla="*/ 142875 w 728693"/>
                <a:gd name="connsiteY31" fmla="*/ 138485 h 427456"/>
                <a:gd name="connsiteX32" fmla="*/ 134938 w 728693"/>
                <a:gd name="connsiteY32" fmla="*/ 133723 h 427456"/>
                <a:gd name="connsiteX33" fmla="*/ 131763 w 728693"/>
                <a:gd name="connsiteY33" fmla="*/ 119435 h 427456"/>
                <a:gd name="connsiteX34" fmla="*/ 130175 w 728693"/>
                <a:gd name="connsiteY34" fmla="*/ 114673 h 427456"/>
                <a:gd name="connsiteX35" fmla="*/ 128588 w 728693"/>
                <a:gd name="connsiteY35" fmla="*/ 108323 h 427456"/>
                <a:gd name="connsiteX36" fmla="*/ 123825 w 728693"/>
                <a:gd name="connsiteY36" fmla="*/ 100385 h 427456"/>
                <a:gd name="connsiteX37" fmla="*/ 115888 w 728693"/>
                <a:gd name="connsiteY37" fmla="*/ 106735 h 427456"/>
                <a:gd name="connsiteX38" fmla="*/ 103188 w 728693"/>
                <a:gd name="connsiteY38" fmla="*/ 114673 h 427456"/>
                <a:gd name="connsiteX39" fmla="*/ 85725 w 728693"/>
                <a:gd name="connsiteY39" fmla="*/ 128960 h 427456"/>
                <a:gd name="connsiteX40" fmla="*/ 80963 w 728693"/>
                <a:gd name="connsiteY40" fmla="*/ 130548 h 427456"/>
                <a:gd name="connsiteX41" fmla="*/ 69850 w 728693"/>
                <a:gd name="connsiteY41" fmla="*/ 143248 h 427456"/>
                <a:gd name="connsiteX42" fmla="*/ 61913 w 728693"/>
                <a:gd name="connsiteY42" fmla="*/ 144835 h 427456"/>
                <a:gd name="connsiteX43" fmla="*/ 47625 w 728693"/>
                <a:gd name="connsiteY43" fmla="*/ 148010 h 427456"/>
                <a:gd name="connsiteX44" fmla="*/ 42863 w 728693"/>
                <a:gd name="connsiteY44" fmla="*/ 160710 h 427456"/>
                <a:gd name="connsiteX45" fmla="*/ 38100 w 728693"/>
                <a:gd name="connsiteY45" fmla="*/ 165473 h 427456"/>
                <a:gd name="connsiteX46" fmla="*/ 30163 w 728693"/>
                <a:gd name="connsiteY46" fmla="*/ 179760 h 427456"/>
                <a:gd name="connsiteX47" fmla="*/ 28575 w 728693"/>
                <a:gd name="connsiteY47" fmla="*/ 194048 h 427456"/>
                <a:gd name="connsiteX48" fmla="*/ 26988 w 728693"/>
                <a:gd name="connsiteY48" fmla="*/ 198810 h 427456"/>
                <a:gd name="connsiteX49" fmla="*/ 22225 w 728693"/>
                <a:gd name="connsiteY49" fmla="*/ 200398 h 427456"/>
                <a:gd name="connsiteX50" fmla="*/ 17463 w 728693"/>
                <a:gd name="connsiteY50" fmla="*/ 224210 h 427456"/>
                <a:gd name="connsiteX51" fmla="*/ 26988 w 728693"/>
                <a:gd name="connsiteY51" fmla="*/ 227385 h 427456"/>
                <a:gd name="connsiteX52" fmla="*/ 31750 w 728693"/>
                <a:gd name="connsiteY52" fmla="*/ 232148 h 427456"/>
                <a:gd name="connsiteX53" fmla="*/ 25400 w 728693"/>
                <a:gd name="connsiteY53" fmla="*/ 249610 h 427456"/>
                <a:gd name="connsiteX54" fmla="*/ 22225 w 728693"/>
                <a:gd name="connsiteY54" fmla="*/ 265485 h 427456"/>
                <a:gd name="connsiteX55" fmla="*/ 17463 w 728693"/>
                <a:gd name="connsiteY55" fmla="*/ 270248 h 427456"/>
                <a:gd name="connsiteX56" fmla="*/ 14288 w 728693"/>
                <a:gd name="connsiteY56" fmla="*/ 276598 h 427456"/>
                <a:gd name="connsiteX57" fmla="*/ 7938 w 728693"/>
                <a:gd name="connsiteY57" fmla="*/ 286123 h 427456"/>
                <a:gd name="connsiteX58" fmla="*/ 0 w 728693"/>
                <a:gd name="connsiteY58" fmla="*/ 303585 h 427456"/>
                <a:gd name="connsiteX59" fmla="*/ 3175 w 728693"/>
                <a:gd name="connsiteY59" fmla="*/ 314698 h 427456"/>
                <a:gd name="connsiteX60" fmla="*/ 6350 w 728693"/>
                <a:gd name="connsiteY60" fmla="*/ 319460 h 427456"/>
                <a:gd name="connsiteX61" fmla="*/ 4763 w 728693"/>
                <a:gd name="connsiteY61" fmla="*/ 330573 h 427456"/>
                <a:gd name="connsiteX62" fmla="*/ 6350 w 728693"/>
                <a:gd name="connsiteY62" fmla="*/ 343273 h 427456"/>
                <a:gd name="connsiteX63" fmla="*/ 7938 w 728693"/>
                <a:gd name="connsiteY63" fmla="*/ 349623 h 427456"/>
                <a:gd name="connsiteX64" fmla="*/ 15875 w 728693"/>
                <a:gd name="connsiteY64" fmla="*/ 352798 h 427456"/>
                <a:gd name="connsiteX65" fmla="*/ 14288 w 728693"/>
                <a:gd name="connsiteY65" fmla="*/ 359148 h 427456"/>
                <a:gd name="connsiteX66" fmla="*/ 11113 w 728693"/>
                <a:gd name="connsiteY66" fmla="*/ 368673 h 427456"/>
                <a:gd name="connsiteX67" fmla="*/ 9525 w 728693"/>
                <a:gd name="connsiteY67" fmla="*/ 382960 h 427456"/>
                <a:gd name="connsiteX68" fmla="*/ 7938 w 728693"/>
                <a:gd name="connsiteY68" fmla="*/ 390898 h 427456"/>
                <a:gd name="connsiteX69" fmla="*/ 17463 w 728693"/>
                <a:gd name="connsiteY69" fmla="*/ 403598 h 427456"/>
                <a:gd name="connsiteX70" fmla="*/ 20638 w 728693"/>
                <a:gd name="connsiteY70" fmla="*/ 409948 h 427456"/>
                <a:gd name="connsiteX71" fmla="*/ 26988 w 728693"/>
                <a:gd name="connsiteY71" fmla="*/ 416298 h 427456"/>
                <a:gd name="connsiteX72" fmla="*/ 28575 w 728693"/>
                <a:gd name="connsiteY72" fmla="*/ 421060 h 427456"/>
                <a:gd name="connsiteX73" fmla="*/ 30163 w 728693"/>
                <a:gd name="connsiteY73" fmla="*/ 427410 h 427456"/>
                <a:gd name="connsiteX74" fmla="*/ 39688 w 728693"/>
                <a:gd name="connsiteY74" fmla="*/ 422648 h 427456"/>
                <a:gd name="connsiteX75" fmla="*/ 41275 w 728693"/>
                <a:gd name="connsiteY75" fmla="*/ 398835 h 427456"/>
                <a:gd name="connsiteX76" fmla="*/ 47625 w 728693"/>
                <a:gd name="connsiteY76" fmla="*/ 394073 h 427456"/>
                <a:gd name="connsiteX77" fmla="*/ 53975 w 728693"/>
                <a:gd name="connsiteY77" fmla="*/ 386135 h 427456"/>
                <a:gd name="connsiteX78" fmla="*/ 60325 w 728693"/>
                <a:gd name="connsiteY78" fmla="*/ 382960 h 427456"/>
                <a:gd name="connsiteX79" fmla="*/ 73025 w 728693"/>
                <a:gd name="connsiteY79" fmla="*/ 375023 h 427456"/>
                <a:gd name="connsiteX80" fmla="*/ 84138 w 728693"/>
                <a:gd name="connsiteY80" fmla="*/ 367085 h 427456"/>
                <a:gd name="connsiteX81" fmla="*/ 103188 w 728693"/>
                <a:gd name="connsiteY81" fmla="*/ 357560 h 427456"/>
                <a:gd name="connsiteX82" fmla="*/ 115888 w 728693"/>
                <a:gd name="connsiteY82" fmla="*/ 351210 h 427456"/>
                <a:gd name="connsiteX83" fmla="*/ 128588 w 728693"/>
                <a:gd name="connsiteY83" fmla="*/ 340098 h 427456"/>
                <a:gd name="connsiteX84" fmla="*/ 136525 w 728693"/>
                <a:gd name="connsiteY84" fmla="*/ 338510 h 427456"/>
                <a:gd name="connsiteX85" fmla="*/ 142875 w 728693"/>
                <a:gd name="connsiteY85" fmla="*/ 336923 h 427456"/>
                <a:gd name="connsiteX86" fmla="*/ 166688 w 728693"/>
                <a:gd name="connsiteY86" fmla="*/ 338510 h 427456"/>
                <a:gd name="connsiteX87" fmla="*/ 176213 w 728693"/>
                <a:gd name="connsiteY87" fmla="*/ 343273 h 427456"/>
                <a:gd name="connsiteX88" fmla="*/ 166688 w 728693"/>
                <a:gd name="connsiteY88" fmla="*/ 346448 h 427456"/>
                <a:gd name="connsiteX89" fmla="*/ 177800 w 728693"/>
                <a:gd name="connsiteY89" fmla="*/ 348035 h 427456"/>
                <a:gd name="connsiteX90" fmla="*/ 179388 w 728693"/>
                <a:gd name="connsiteY90" fmla="*/ 343273 h 427456"/>
                <a:gd name="connsiteX91" fmla="*/ 201613 w 728693"/>
                <a:gd name="connsiteY91" fmla="*/ 332160 h 427456"/>
                <a:gd name="connsiteX92" fmla="*/ 211138 w 728693"/>
                <a:gd name="connsiteY92" fmla="*/ 336923 h 427456"/>
                <a:gd name="connsiteX93" fmla="*/ 219075 w 728693"/>
                <a:gd name="connsiteY93" fmla="*/ 344860 h 427456"/>
                <a:gd name="connsiteX94" fmla="*/ 258763 w 728693"/>
                <a:gd name="connsiteY94" fmla="*/ 338510 h 427456"/>
                <a:gd name="connsiteX95" fmla="*/ 260350 w 728693"/>
                <a:gd name="connsiteY95" fmla="*/ 333748 h 427456"/>
                <a:gd name="connsiteX96" fmla="*/ 268288 w 728693"/>
                <a:gd name="connsiteY96" fmla="*/ 328985 h 427456"/>
                <a:gd name="connsiteX97" fmla="*/ 298450 w 728693"/>
                <a:gd name="connsiteY97" fmla="*/ 330573 h 427456"/>
                <a:gd name="connsiteX98" fmla="*/ 300038 w 728693"/>
                <a:gd name="connsiteY98" fmla="*/ 335335 h 427456"/>
                <a:gd name="connsiteX99" fmla="*/ 309563 w 728693"/>
                <a:gd name="connsiteY99" fmla="*/ 336923 h 427456"/>
                <a:gd name="connsiteX100" fmla="*/ 331788 w 728693"/>
                <a:gd name="connsiteY100" fmla="*/ 335335 h 427456"/>
                <a:gd name="connsiteX101" fmla="*/ 338138 w 728693"/>
                <a:gd name="connsiteY101" fmla="*/ 333748 h 427456"/>
                <a:gd name="connsiteX102" fmla="*/ 342900 w 728693"/>
                <a:gd name="connsiteY102" fmla="*/ 328985 h 427456"/>
                <a:gd name="connsiteX103" fmla="*/ 347663 w 728693"/>
                <a:gd name="connsiteY103" fmla="*/ 327398 h 427456"/>
                <a:gd name="connsiteX104" fmla="*/ 363538 w 728693"/>
                <a:gd name="connsiteY104" fmla="*/ 324223 h 427456"/>
                <a:gd name="connsiteX105" fmla="*/ 365125 w 728693"/>
                <a:gd name="connsiteY105" fmla="*/ 319460 h 427456"/>
                <a:gd name="connsiteX106" fmla="*/ 366713 w 728693"/>
                <a:gd name="connsiteY106" fmla="*/ 308348 h 427456"/>
                <a:gd name="connsiteX107" fmla="*/ 379413 w 728693"/>
                <a:gd name="connsiteY107" fmla="*/ 292473 h 427456"/>
                <a:gd name="connsiteX108" fmla="*/ 387350 w 728693"/>
                <a:gd name="connsiteY108" fmla="*/ 284535 h 427456"/>
                <a:gd name="connsiteX109" fmla="*/ 388938 w 728693"/>
                <a:gd name="connsiteY109" fmla="*/ 289298 h 427456"/>
                <a:gd name="connsiteX110" fmla="*/ 392113 w 728693"/>
                <a:gd name="connsiteY110" fmla="*/ 297235 h 427456"/>
                <a:gd name="connsiteX111" fmla="*/ 393700 w 728693"/>
                <a:gd name="connsiteY111" fmla="*/ 305173 h 427456"/>
                <a:gd name="connsiteX112" fmla="*/ 400050 w 728693"/>
                <a:gd name="connsiteY112" fmla="*/ 317873 h 427456"/>
                <a:gd name="connsiteX113" fmla="*/ 407988 w 728693"/>
                <a:gd name="connsiteY113" fmla="*/ 322635 h 427456"/>
                <a:gd name="connsiteX114" fmla="*/ 415925 w 728693"/>
                <a:gd name="connsiteY114" fmla="*/ 325810 h 427456"/>
                <a:gd name="connsiteX115" fmla="*/ 465138 w 728693"/>
                <a:gd name="connsiteY115" fmla="*/ 327398 h 427456"/>
                <a:gd name="connsiteX116" fmla="*/ 466725 w 728693"/>
                <a:gd name="connsiteY116" fmla="*/ 333748 h 427456"/>
                <a:gd name="connsiteX117" fmla="*/ 477838 w 728693"/>
                <a:gd name="connsiteY117" fmla="*/ 344860 h 427456"/>
                <a:gd name="connsiteX118" fmla="*/ 482600 w 728693"/>
                <a:gd name="connsiteY118" fmla="*/ 348035 h 427456"/>
                <a:gd name="connsiteX119" fmla="*/ 511175 w 728693"/>
                <a:gd name="connsiteY119" fmla="*/ 352798 h 427456"/>
                <a:gd name="connsiteX120" fmla="*/ 515938 w 728693"/>
                <a:gd name="connsiteY120" fmla="*/ 355973 h 427456"/>
                <a:gd name="connsiteX121" fmla="*/ 538163 w 728693"/>
                <a:gd name="connsiteY121" fmla="*/ 362323 h 427456"/>
                <a:gd name="connsiteX122" fmla="*/ 541338 w 728693"/>
                <a:gd name="connsiteY122" fmla="*/ 367085 h 427456"/>
                <a:gd name="connsiteX123" fmla="*/ 544513 w 728693"/>
                <a:gd name="connsiteY123" fmla="*/ 373435 h 427456"/>
                <a:gd name="connsiteX124" fmla="*/ 549275 w 728693"/>
                <a:gd name="connsiteY124" fmla="*/ 376610 h 427456"/>
                <a:gd name="connsiteX125" fmla="*/ 552450 w 728693"/>
                <a:gd name="connsiteY125" fmla="*/ 381373 h 427456"/>
                <a:gd name="connsiteX126" fmla="*/ 565150 w 728693"/>
                <a:gd name="connsiteY126" fmla="*/ 386135 h 427456"/>
                <a:gd name="connsiteX127" fmla="*/ 573088 w 728693"/>
                <a:gd name="connsiteY127" fmla="*/ 384548 h 427456"/>
                <a:gd name="connsiteX128" fmla="*/ 579438 w 728693"/>
                <a:gd name="connsiteY128" fmla="*/ 381373 h 427456"/>
                <a:gd name="connsiteX129" fmla="*/ 608013 w 728693"/>
                <a:gd name="connsiteY129" fmla="*/ 378198 h 427456"/>
                <a:gd name="connsiteX130" fmla="*/ 609600 w 728693"/>
                <a:gd name="connsiteY130" fmla="*/ 373435 h 427456"/>
                <a:gd name="connsiteX131" fmla="*/ 615950 w 728693"/>
                <a:gd name="connsiteY131" fmla="*/ 349623 h 427456"/>
                <a:gd name="connsiteX132" fmla="*/ 620713 w 728693"/>
                <a:gd name="connsiteY132" fmla="*/ 346448 h 427456"/>
                <a:gd name="connsiteX133" fmla="*/ 636588 w 728693"/>
                <a:gd name="connsiteY133" fmla="*/ 348035 h 427456"/>
                <a:gd name="connsiteX134" fmla="*/ 652463 w 728693"/>
                <a:gd name="connsiteY134" fmla="*/ 352798 h 427456"/>
                <a:gd name="connsiteX135" fmla="*/ 666750 w 728693"/>
                <a:gd name="connsiteY135" fmla="*/ 351210 h 427456"/>
                <a:gd name="connsiteX136" fmla="*/ 671513 w 728693"/>
                <a:gd name="connsiteY136" fmla="*/ 349623 h 427456"/>
                <a:gd name="connsiteX137" fmla="*/ 676275 w 728693"/>
                <a:gd name="connsiteY137" fmla="*/ 344860 h 427456"/>
                <a:gd name="connsiteX138" fmla="*/ 679450 w 728693"/>
                <a:gd name="connsiteY138" fmla="*/ 316285 h 427456"/>
                <a:gd name="connsiteX139" fmla="*/ 682625 w 728693"/>
                <a:gd name="connsiteY139" fmla="*/ 301998 h 427456"/>
                <a:gd name="connsiteX140" fmla="*/ 684213 w 728693"/>
                <a:gd name="connsiteY140" fmla="*/ 297235 h 427456"/>
                <a:gd name="connsiteX141" fmla="*/ 688975 w 728693"/>
                <a:gd name="connsiteY141" fmla="*/ 282948 h 427456"/>
                <a:gd name="connsiteX142" fmla="*/ 708025 w 728693"/>
                <a:gd name="connsiteY142" fmla="*/ 284535 h 427456"/>
                <a:gd name="connsiteX143" fmla="*/ 706438 w 728693"/>
                <a:gd name="connsiteY143" fmla="*/ 267073 h 427456"/>
                <a:gd name="connsiteX144" fmla="*/ 719138 w 728693"/>
                <a:gd name="connsiteY144" fmla="*/ 263898 h 427456"/>
                <a:gd name="connsiteX145" fmla="*/ 728663 w 728693"/>
                <a:gd name="connsiteY145" fmla="*/ 252785 h 427456"/>
                <a:gd name="connsiteX146" fmla="*/ 723900 w 728693"/>
                <a:gd name="connsiteY146" fmla="*/ 244848 h 427456"/>
                <a:gd name="connsiteX147" fmla="*/ 720725 w 728693"/>
                <a:gd name="connsiteY147" fmla="*/ 236910 h 427456"/>
                <a:gd name="connsiteX148" fmla="*/ 719138 w 728693"/>
                <a:gd name="connsiteY148" fmla="*/ 230560 h 427456"/>
                <a:gd name="connsiteX149" fmla="*/ 712788 w 728693"/>
                <a:gd name="connsiteY149" fmla="*/ 216273 h 427456"/>
                <a:gd name="connsiteX150" fmla="*/ 696913 w 728693"/>
                <a:gd name="connsiteY150" fmla="*/ 197223 h 427456"/>
                <a:gd name="connsiteX151" fmla="*/ 693738 w 728693"/>
                <a:gd name="connsiteY151" fmla="*/ 192460 h 427456"/>
                <a:gd name="connsiteX152" fmla="*/ 685800 w 728693"/>
                <a:gd name="connsiteY152" fmla="*/ 186110 h 427456"/>
                <a:gd name="connsiteX153" fmla="*/ 676275 w 728693"/>
                <a:gd name="connsiteY153" fmla="*/ 179760 h 427456"/>
                <a:gd name="connsiteX154" fmla="*/ 666750 w 728693"/>
                <a:gd name="connsiteY154" fmla="*/ 168648 h 427456"/>
                <a:gd name="connsiteX155" fmla="*/ 663575 w 728693"/>
                <a:gd name="connsiteY155" fmla="*/ 163885 h 427456"/>
                <a:gd name="connsiteX156" fmla="*/ 658813 w 728693"/>
                <a:gd name="connsiteY156" fmla="*/ 152773 h 427456"/>
                <a:gd name="connsiteX157" fmla="*/ 654050 w 728693"/>
                <a:gd name="connsiteY157" fmla="*/ 154360 h 427456"/>
                <a:gd name="connsiteX158" fmla="*/ 652463 w 728693"/>
                <a:gd name="connsiteY158" fmla="*/ 148010 h 427456"/>
                <a:gd name="connsiteX159" fmla="*/ 644525 w 728693"/>
                <a:gd name="connsiteY159" fmla="*/ 136898 h 427456"/>
                <a:gd name="connsiteX160" fmla="*/ 639763 w 728693"/>
                <a:gd name="connsiteY160" fmla="*/ 108323 h 427456"/>
                <a:gd name="connsiteX161" fmla="*/ 636588 w 728693"/>
                <a:gd name="connsiteY161" fmla="*/ 78160 h 427456"/>
                <a:gd name="connsiteX162" fmla="*/ 635000 w 728693"/>
                <a:gd name="connsiteY162" fmla="*/ 71810 h 427456"/>
                <a:gd name="connsiteX163" fmla="*/ 619125 w 728693"/>
                <a:gd name="connsiteY163" fmla="*/ 70223 h 427456"/>
                <a:gd name="connsiteX164" fmla="*/ 614363 w 728693"/>
                <a:gd name="connsiteY164" fmla="*/ 71810 h 427456"/>
                <a:gd name="connsiteX165" fmla="*/ 604838 w 728693"/>
                <a:gd name="connsiteY165" fmla="*/ 55935 h 427456"/>
                <a:gd name="connsiteX166" fmla="*/ 598488 w 728693"/>
                <a:gd name="connsiteY166" fmla="*/ 47998 h 427456"/>
                <a:gd name="connsiteX167" fmla="*/ 593725 w 728693"/>
                <a:gd name="connsiteY167" fmla="*/ 44823 h 427456"/>
                <a:gd name="connsiteX168" fmla="*/ 544513 w 728693"/>
                <a:gd name="connsiteY168" fmla="*/ 43235 h 427456"/>
                <a:gd name="connsiteX169" fmla="*/ 534988 w 728693"/>
                <a:gd name="connsiteY169" fmla="*/ 38473 h 427456"/>
                <a:gd name="connsiteX170" fmla="*/ 520700 w 728693"/>
                <a:gd name="connsiteY170" fmla="*/ 41648 h 427456"/>
                <a:gd name="connsiteX171" fmla="*/ 517525 w 728693"/>
                <a:gd name="connsiteY171" fmla="*/ 47998 h 427456"/>
                <a:gd name="connsiteX172" fmla="*/ 511175 w 728693"/>
                <a:gd name="connsiteY172" fmla="*/ 54348 h 427456"/>
                <a:gd name="connsiteX173" fmla="*/ 500063 w 728693"/>
                <a:gd name="connsiteY173" fmla="*/ 65460 h 427456"/>
                <a:gd name="connsiteX174" fmla="*/ 493713 w 728693"/>
                <a:gd name="connsiteY174" fmla="*/ 63873 h 427456"/>
                <a:gd name="connsiteX175" fmla="*/ 484188 w 728693"/>
                <a:gd name="connsiteY175" fmla="*/ 60698 h 427456"/>
                <a:gd name="connsiteX176" fmla="*/ 481013 w 728693"/>
                <a:gd name="connsiteY176" fmla="*/ 55935 h 427456"/>
                <a:gd name="connsiteX177" fmla="*/ 471488 w 728693"/>
                <a:gd name="connsiteY177" fmla="*/ 49585 h 427456"/>
                <a:gd name="connsiteX178" fmla="*/ 455613 w 728693"/>
                <a:gd name="connsiteY178" fmla="*/ 35298 h 427456"/>
                <a:gd name="connsiteX179" fmla="*/ 441325 w 728693"/>
                <a:gd name="connsiteY179" fmla="*/ 22598 h 427456"/>
                <a:gd name="connsiteX180" fmla="*/ 396875 w 728693"/>
                <a:gd name="connsiteY180" fmla="*/ 19423 h 427456"/>
                <a:gd name="connsiteX181" fmla="*/ 390525 w 728693"/>
                <a:gd name="connsiteY181" fmla="*/ 6723 h 427456"/>
                <a:gd name="connsiteX182" fmla="*/ 385763 w 728693"/>
                <a:gd name="connsiteY182" fmla="*/ 1960 h 427456"/>
                <a:gd name="connsiteX183" fmla="*/ 369888 w 728693"/>
                <a:gd name="connsiteY183" fmla="*/ 3548 h 427456"/>
                <a:gd name="connsiteX184" fmla="*/ 368300 w 728693"/>
                <a:gd name="connsiteY184" fmla="*/ 9898 h 427456"/>
                <a:gd name="connsiteX185" fmla="*/ 354013 w 728693"/>
                <a:gd name="connsiteY185" fmla="*/ 22598 h 427456"/>
                <a:gd name="connsiteX186" fmla="*/ 352425 w 728693"/>
                <a:gd name="connsiteY186" fmla="*/ 6723 h 427456"/>
                <a:gd name="connsiteX187" fmla="*/ 350838 w 728693"/>
                <a:gd name="connsiteY187" fmla="*/ 373 h 427456"/>
                <a:gd name="connsiteX188" fmla="*/ 341313 w 728693"/>
                <a:gd name="connsiteY188" fmla="*/ 1960 h 427456"/>
                <a:gd name="connsiteX189" fmla="*/ 338138 w 728693"/>
                <a:gd name="connsiteY189" fmla="*/ 8310 h 427456"/>
                <a:gd name="connsiteX190" fmla="*/ 327025 w 728693"/>
                <a:gd name="connsiteY190" fmla="*/ 19423 h 427456"/>
                <a:gd name="connsiteX191" fmla="*/ 319088 w 728693"/>
                <a:gd name="connsiteY191" fmla="*/ 27360 h 427456"/>
                <a:gd name="connsiteX192" fmla="*/ 312738 w 728693"/>
                <a:gd name="connsiteY192" fmla="*/ 32123 h 427456"/>
                <a:gd name="connsiteX193" fmla="*/ 307975 w 728693"/>
                <a:gd name="connsiteY193" fmla="*/ 36885 h 427456"/>
                <a:gd name="connsiteX194" fmla="*/ 300038 w 728693"/>
                <a:gd name="connsiteY194" fmla="*/ 38473 h 427456"/>
                <a:gd name="connsiteX195" fmla="*/ 282575 w 728693"/>
                <a:gd name="connsiteY195" fmla="*/ 36885 h 427456"/>
                <a:gd name="connsiteX0" fmla="*/ 282575 w 728693"/>
                <a:gd name="connsiteY0" fmla="*/ 36885 h 427456"/>
                <a:gd name="connsiteX1" fmla="*/ 285750 w 728693"/>
                <a:gd name="connsiteY1" fmla="*/ 52760 h 427456"/>
                <a:gd name="connsiteX2" fmla="*/ 288925 w 728693"/>
                <a:gd name="connsiteY2" fmla="*/ 60698 h 427456"/>
                <a:gd name="connsiteX3" fmla="*/ 290513 w 728693"/>
                <a:gd name="connsiteY3" fmla="*/ 98798 h 427456"/>
                <a:gd name="connsiteX4" fmla="*/ 300038 w 728693"/>
                <a:gd name="connsiteY4" fmla="*/ 105148 h 427456"/>
                <a:gd name="connsiteX5" fmla="*/ 306388 w 728693"/>
                <a:gd name="connsiteY5" fmla="*/ 114673 h 427456"/>
                <a:gd name="connsiteX6" fmla="*/ 309563 w 728693"/>
                <a:gd name="connsiteY6" fmla="*/ 119435 h 427456"/>
                <a:gd name="connsiteX7" fmla="*/ 311150 w 728693"/>
                <a:gd name="connsiteY7" fmla="*/ 144835 h 427456"/>
                <a:gd name="connsiteX8" fmla="*/ 307975 w 728693"/>
                <a:gd name="connsiteY8" fmla="*/ 149598 h 427456"/>
                <a:gd name="connsiteX9" fmla="*/ 315913 w 728693"/>
                <a:gd name="connsiteY9" fmla="*/ 152773 h 427456"/>
                <a:gd name="connsiteX10" fmla="*/ 319088 w 728693"/>
                <a:gd name="connsiteY10" fmla="*/ 163885 h 427456"/>
                <a:gd name="connsiteX11" fmla="*/ 314325 w 728693"/>
                <a:gd name="connsiteY11" fmla="*/ 165473 h 427456"/>
                <a:gd name="connsiteX12" fmla="*/ 306388 w 728693"/>
                <a:gd name="connsiteY12" fmla="*/ 168648 h 427456"/>
                <a:gd name="connsiteX13" fmla="*/ 303213 w 728693"/>
                <a:gd name="connsiteY13" fmla="*/ 174998 h 427456"/>
                <a:gd name="connsiteX14" fmla="*/ 292100 w 728693"/>
                <a:gd name="connsiteY14" fmla="*/ 189285 h 427456"/>
                <a:gd name="connsiteX15" fmla="*/ 290513 w 728693"/>
                <a:gd name="connsiteY15" fmla="*/ 198810 h 427456"/>
                <a:gd name="connsiteX16" fmla="*/ 282575 w 728693"/>
                <a:gd name="connsiteY16" fmla="*/ 205160 h 427456"/>
                <a:gd name="connsiteX17" fmla="*/ 277813 w 728693"/>
                <a:gd name="connsiteY17" fmla="*/ 211510 h 427456"/>
                <a:gd name="connsiteX18" fmla="*/ 273050 w 728693"/>
                <a:gd name="connsiteY18" fmla="*/ 213098 h 427456"/>
                <a:gd name="connsiteX19" fmla="*/ 261938 w 728693"/>
                <a:gd name="connsiteY19" fmla="*/ 216273 h 427456"/>
                <a:gd name="connsiteX20" fmla="*/ 222250 w 728693"/>
                <a:gd name="connsiteY20" fmla="*/ 217860 h 427456"/>
                <a:gd name="connsiteX21" fmla="*/ 220663 w 728693"/>
                <a:gd name="connsiteY21" fmla="*/ 211510 h 427456"/>
                <a:gd name="connsiteX22" fmla="*/ 215900 w 728693"/>
                <a:gd name="connsiteY22" fmla="*/ 209923 h 427456"/>
                <a:gd name="connsiteX23" fmla="*/ 206375 w 728693"/>
                <a:gd name="connsiteY23" fmla="*/ 203573 h 427456"/>
                <a:gd name="connsiteX24" fmla="*/ 204788 w 728693"/>
                <a:gd name="connsiteY24" fmla="*/ 198810 h 427456"/>
                <a:gd name="connsiteX25" fmla="*/ 198438 w 728693"/>
                <a:gd name="connsiteY25" fmla="*/ 192460 h 427456"/>
                <a:gd name="connsiteX26" fmla="*/ 192088 w 728693"/>
                <a:gd name="connsiteY26" fmla="*/ 173410 h 427456"/>
                <a:gd name="connsiteX27" fmla="*/ 187325 w 728693"/>
                <a:gd name="connsiteY27" fmla="*/ 167060 h 427456"/>
                <a:gd name="connsiteX28" fmla="*/ 177800 w 728693"/>
                <a:gd name="connsiteY28" fmla="*/ 162298 h 427456"/>
                <a:gd name="connsiteX29" fmla="*/ 168275 w 728693"/>
                <a:gd name="connsiteY29" fmla="*/ 155948 h 427456"/>
                <a:gd name="connsiteX30" fmla="*/ 158750 w 728693"/>
                <a:gd name="connsiteY30" fmla="*/ 152773 h 427456"/>
                <a:gd name="connsiteX31" fmla="*/ 142875 w 728693"/>
                <a:gd name="connsiteY31" fmla="*/ 138485 h 427456"/>
                <a:gd name="connsiteX32" fmla="*/ 134938 w 728693"/>
                <a:gd name="connsiteY32" fmla="*/ 133723 h 427456"/>
                <a:gd name="connsiteX33" fmla="*/ 131763 w 728693"/>
                <a:gd name="connsiteY33" fmla="*/ 119435 h 427456"/>
                <a:gd name="connsiteX34" fmla="*/ 130175 w 728693"/>
                <a:gd name="connsiteY34" fmla="*/ 114673 h 427456"/>
                <a:gd name="connsiteX35" fmla="*/ 128588 w 728693"/>
                <a:gd name="connsiteY35" fmla="*/ 108323 h 427456"/>
                <a:gd name="connsiteX36" fmla="*/ 123825 w 728693"/>
                <a:gd name="connsiteY36" fmla="*/ 100385 h 427456"/>
                <a:gd name="connsiteX37" fmla="*/ 115888 w 728693"/>
                <a:gd name="connsiteY37" fmla="*/ 106735 h 427456"/>
                <a:gd name="connsiteX38" fmla="*/ 103188 w 728693"/>
                <a:gd name="connsiteY38" fmla="*/ 114673 h 427456"/>
                <a:gd name="connsiteX39" fmla="*/ 85725 w 728693"/>
                <a:gd name="connsiteY39" fmla="*/ 128960 h 427456"/>
                <a:gd name="connsiteX40" fmla="*/ 80963 w 728693"/>
                <a:gd name="connsiteY40" fmla="*/ 130548 h 427456"/>
                <a:gd name="connsiteX41" fmla="*/ 69850 w 728693"/>
                <a:gd name="connsiteY41" fmla="*/ 143248 h 427456"/>
                <a:gd name="connsiteX42" fmla="*/ 61913 w 728693"/>
                <a:gd name="connsiteY42" fmla="*/ 144835 h 427456"/>
                <a:gd name="connsiteX43" fmla="*/ 47625 w 728693"/>
                <a:gd name="connsiteY43" fmla="*/ 148010 h 427456"/>
                <a:gd name="connsiteX44" fmla="*/ 42863 w 728693"/>
                <a:gd name="connsiteY44" fmla="*/ 160710 h 427456"/>
                <a:gd name="connsiteX45" fmla="*/ 38100 w 728693"/>
                <a:gd name="connsiteY45" fmla="*/ 165473 h 427456"/>
                <a:gd name="connsiteX46" fmla="*/ 30163 w 728693"/>
                <a:gd name="connsiteY46" fmla="*/ 179760 h 427456"/>
                <a:gd name="connsiteX47" fmla="*/ 28575 w 728693"/>
                <a:gd name="connsiteY47" fmla="*/ 194048 h 427456"/>
                <a:gd name="connsiteX48" fmla="*/ 26988 w 728693"/>
                <a:gd name="connsiteY48" fmla="*/ 198810 h 427456"/>
                <a:gd name="connsiteX49" fmla="*/ 22225 w 728693"/>
                <a:gd name="connsiteY49" fmla="*/ 200398 h 427456"/>
                <a:gd name="connsiteX50" fmla="*/ 17463 w 728693"/>
                <a:gd name="connsiteY50" fmla="*/ 224210 h 427456"/>
                <a:gd name="connsiteX51" fmla="*/ 26988 w 728693"/>
                <a:gd name="connsiteY51" fmla="*/ 227385 h 427456"/>
                <a:gd name="connsiteX52" fmla="*/ 31750 w 728693"/>
                <a:gd name="connsiteY52" fmla="*/ 232148 h 427456"/>
                <a:gd name="connsiteX53" fmla="*/ 25400 w 728693"/>
                <a:gd name="connsiteY53" fmla="*/ 249610 h 427456"/>
                <a:gd name="connsiteX54" fmla="*/ 22225 w 728693"/>
                <a:gd name="connsiteY54" fmla="*/ 265485 h 427456"/>
                <a:gd name="connsiteX55" fmla="*/ 17463 w 728693"/>
                <a:gd name="connsiteY55" fmla="*/ 270248 h 427456"/>
                <a:gd name="connsiteX56" fmla="*/ 14288 w 728693"/>
                <a:gd name="connsiteY56" fmla="*/ 276598 h 427456"/>
                <a:gd name="connsiteX57" fmla="*/ 7938 w 728693"/>
                <a:gd name="connsiteY57" fmla="*/ 286123 h 427456"/>
                <a:gd name="connsiteX58" fmla="*/ 0 w 728693"/>
                <a:gd name="connsiteY58" fmla="*/ 303585 h 427456"/>
                <a:gd name="connsiteX59" fmla="*/ 3175 w 728693"/>
                <a:gd name="connsiteY59" fmla="*/ 314698 h 427456"/>
                <a:gd name="connsiteX60" fmla="*/ 6350 w 728693"/>
                <a:gd name="connsiteY60" fmla="*/ 319460 h 427456"/>
                <a:gd name="connsiteX61" fmla="*/ 4763 w 728693"/>
                <a:gd name="connsiteY61" fmla="*/ 330573 h 427456"/>
                <a:gd name="connsiteX62" fmla="*/ 6350 w 728693"/>
                <a:gd name="connsiteY62" fmla="*/ 343273 h 427456"/>
                <a:gd name="connsiteX63" fmla="*/ 7938 w 728693"/>
                <a:gd name="connsiteY63" fmla="*/ 349623 h 427456"/>
                <a:gd name="connsiteX64" fmla="*/ 15875 w 728693"/>
                <a:gd name="connsiteY64" fmla="*/ 352798 h 427456"/>
                <a:gd name="connsiteX65" fmla="*/ 14288 w 728693"/>
                <a:gd name="connsiteY65" fmla="*/ 359148 h 427456"/>
                <a:gd name="connsiteX66" fmla="*/ 11113 w 728693"/>
                <a:gd name="connsiteY66" fmla="*/ 368673 h 427456"/>
                <a:gd name="connsiteX67" fmla="*/ 9525 w 728693"/>
                <a:gd name="connsiteY67" fmla="*/ 382960 h 427456"/>
                <a:gd name="connsiteX68" fmla="*/ 7938 w 728693"/>
                <a:gd name="connsiteY68" fmla="*/ 390898 h 427456"/>
                <a:gd name="connsiteX69" fmla="*/ 17463 w 728693"/>
                <a:gd name="connsiteY69" fmla="*/ 403598 h 427456"/>
                <a:gd name="connsiteX70" fmla="*/ 20638 w 728693"/>
                <a:gd name="connsiteY70" fmla="*/ 409948 h 427456"/>
                <a:gd name="connsiteX71" fmla="*/ 26988 w 728693"/>
                <a:gd name="connsiteY71" fmla="*/ 416298 h 427456"/>
                <a:gd name="connsiteX72" fmla="*/ 28575 w 728693"/>
                <a:gd name="connsiteY72" fmla="*/ 421060 h 427456"/>
                <a:gd name="connsiteX73" fmla="*/ 30163 w 728693"/>
                <a:gd name="connsiteY73" fmla="*/ 427410 h 427456"/>
                <a:gd name="connsiteX74" fmla="*/ 39688 w 728693"/>
                <a:gd name="connsiteY74" fmla="*/ 422648 h 427456"/>
                <a:gd name="connsiteX75" fmla="*/ 41275 w 728693"/>
                <a:gd name="connsiteY75" fmla="*/ 398835 h 427456"/>
                <a:gd name="connsiteX76" fmla="*/ 47625 w 728693"/>
                <a:gd name="connsiteY76" fmla="*/ 394073 h 427456"/>
                <a:gd name="connsiteX77" fmla="*/ 53975 w 728693"/>
                <a:gd name="connsiteY77" fmla="*/ 386135 h 427456"/>
                <a:gd name="connsiteX78" fmla="*/ 60325 w 728693"/>
                <a:gd name="connsiteY78" fmla="*/ 382960 h 427456"/>
                <a:gd name="connsiteX79" fmla="*/ 73025 w 728693"/>
                <a:gd name="connsiteY79" fmla="*/ 375023 h 427456"/>
                <a:gd name="connsiteX80" fmla="*/ 84138 w 728693"/>
                <a:gd name="connsiteY80" fmla="*/ 367085 h 427456"/>
                <a:gd name="connsiteX81" fmla="*/ 103188 w 728693"/>
                <a:gd name="connsiteY81" fmla="*/ 357560 h 427456"/>
                <a:gd name="connsiteX82" fmla="*/ 115888 w 728693"/>
                <a:gd name="connsiteY82" fmla="*/ 351210 h 427456"/>
                <a:gd name="connsiteX83" fmla="*/ 128588 w 728693"/>
                <a:gd name="connsiteY83" fmla="*/ 340098 h 427456"/>
                <a:gd name="connsiteX84" fmla="*/ 136525 w 728693"/>
                <a:gd name="connsiteY84" fmla="*/ 338510 h 427456"/>
                <a:gd name="connsiteX85" fmla="*/ 142875 w 728693"/>
                <a:gd name="connsiteY85" fmla="*/ 336923 h 427456"/>
                <a:gd name="connsiteX86" fmla="*/ 166688 w 728693"/>
                <a:gd name="connsiteY86" fmla="*/ 338510 h 427456"/>
                <a:gd name="connsiteX87" fmla="*/ 176213 w 728693"/>
                <a:gd name="connsiteY87" fmla="*/ 343273 h 427456"/>
                <a:gd name="connsiteX88" fmla="*/ 166688 w 728693"/>
                <a:gd name="connsiteY88" fmla="*/ 346448 h 427456"/>
                <a:gd name="connsiteX89" fmla="*/ 177800 w 728693"/>
                <a:gd name="connsiteY89" fmla="*/ 348035 h 427456"/>
                <a:gd name="connsiteX90" fmla="*/ 179388 w 728693"/>
                <a:gd name="connsiteY90" fmla="*/ 343273 h 427456"/>
                <a:gd name="connsiteX91" fmla="*/ 201613 w 728693"/>
                <a:gd name="connsiteY91" fmla="*/ 332160 h 427456"/>
                <a:gd name="connsiteX92" fmla="*/ 211138 w 728693"/>
                <a:gd name="connsiteY92" fmla="*/ 336923 h 427456"/>
                <a:gd name="connsiteX93" fmla="*/ 219075 w 728693"/>
                <a:gd name="connsiteY93" fmla="*/ 344860 h 427456"/>
                <a:gd name="connsiteX94" fmla="*/ 258763 w 728693"/>
                <a:gd name="connsiteY94" fmla="*/ 338510 h 427456"/>
                <a:gd name="connsiteX95" fmla="*/ 260350 w 728693"/>
                <a:gd name="connsiteY95" fmla="*/ 333748 h 427456"/>
                <a:gd name="connsiteX96" fmla="*/ 268288 w 728693"/>
                <a:gd name="connsiteY96" fmla="*/ 328985 h 427456"/>
                <a:gd name="connsiteX97" fmla="*/ 298450 w 728693"/>
                <a:gd name="connsiteY97" fmla="*/ 330573 h 427456"/>
                <a:gd name="connsiteX98" fmla="*/ 300038 w 728693"/>
                <a:gd name="connsiteY98" fmla="*/ 335335 h 427456"/>
                <a:gd name="connsiteX99" fmla="*/ 309563 w 728693"/>
                <a:gd name="connsiteY99" fmla="*/ 336923 h 427456"/>
                <a:gd name="connsiteX100" fmla="*/ 331788 w 728693"/>
                <a:gd name="connsiteY100" fmla="*/ 335335 h 427456"/>
                <a:gd name="connsiteX101" fmla="*/ 338138 w 728693"/>
                <a:gd name="connsiteY101" fmla="*/ 333748 h 427456"/>
                <a:gd name="connsiteX102" fmla="*/ 342900 w 728693"/>
                <a:gd name="connsiteY102" fmla="*/ 328985 h 427456"/>
                <a:gd name="connsiteX103" fmla="*/ 347663 w 728693"/>
                <a:gd name="connsiteY103" fmla="*/ 327398 h 427456"/>
                <a:gd name="connsiteX104" fmla="*/ 363538 w 728693"/>
                <a:gd name="connsiteY104" fmla="*/ 324223 h 427456"/>
                <a:gd name="connsiteX105" fmla="*/ 365125 w 728693"/>
                <a:gd name="connsiteY105" fmla="*/ 319460 h 427456"/>
                <a:gd name="connsiteX106" fmla="*/ 366713 w 728693"/>
                <a:gd name="connsiteY106" fmla="*/ 308348 h 427456"/>
                <a:gd name="connsiteX107" fmla="*/ 379413 w 728693"/>
                <a:gd name="connsiteY107" fmla="*/ 292473 h 427456"/>
                <a:gd name="connsiteX108" fmla="*/ 387350 w 728693"/>
                <a:gd name="connsiteY108" fmla="*/ 284535 h 427456"/>
                <a:gd name="connsiteX109" fmla="*/ 388938 w 728693"/>
                <a:gd name="connsiteY109" fmla="*/ 289298 h 427456"/>
                <a:gd name="connsiteX110" fmla="*/ 392113 w 728693"/>
                <a:gd name="connsiteY110" fmla="*/ 297235 h 427456"/>
                <a:gd name="connsiteX111" fmla="*/ 393700 w 728693"/>
                <a:gd name="connsiteY111" fmla="*/ 305173 h 427456"/>
                <a:gd name="connsiteX112" fmla="*/ 400050 w 728693"/>
                <a:gd name="connsiteY112" fmla="*/ 317873 h 427456"/>
                <a:gd name="connsiteX113" fmla="*/ 407988 w 728693"/>
                <a:gd name="connsiteY113" fmla="*/ 322635 h 427456"/>
                <a:gd name="connsiteX114" fmla="*/ 415925 w 728693"/>
                <a:gd name="connsiteY114" fmla="*/ 325810 h 427456"/>
                <a:gd name="connsiteX115" fmla="*/ 465138 w 728693"/>
                <a:gd name="connsiteY115" fmla="*/ 327398 h 427456"/>
                <a:gd name="connsiteX116" fmla="*/ 466725 w 728693"/>
                <a:gd name="connsiteY116" fmla="*/ 333748 h 427456"/>
                <a:gd name="connsiteX117" fmla="*/ 477838 w 728693"/>
                <a:gd name="connsiteY117" fmla="*/ 344860 h 427456"/>
                <a:gd name="connsiteX118" fmla="*/ 482600 w 728693"/>
                <a:gd name="connsiteY118" fmla="*/ 348035 h 427456"/>
                <a:gd name="connsiteX119" fmla="*/ 511175 w 728693"/>
                <a:gd name="connsiteY119" fmla="*/ 352798 h 427456"/>
                <a:gd name="connsiteX120" fmla="*/ 515938 w 728693"/>
                <a:gd name="connsiteY120" fmla="*/ 355973 h 427456"/>
                <a:gd name="connsiteX121" fmla="*/ 538163 w 728693"/>
                <a:gd name="connsiteY121" fmla="*/ 362323 h 427456"/>
                <a:gd name="connsiteX122" fmla="*/ 541338 w 728693"/>
                <a:gd name="connsiteY122" fmla="*/ 367085 h 427456"/>
                <a:gd name="connsiteX123" fmla="*/ 544513 w 728693"/>
                <a:gd name="connsiteY123" fmla="*/ 373435 h 427456"/>
                <a:gd name="connsiteX124" fmla="*/ 549275 w 728693"/>
                <a:gd name="connsiteY124" fmla="*/ 376610 h 427456"/>
                <a:gd name="connsiteX125" fmla="*/ 552450 w 728693"/>
                <a:gd name="connsiteY125" fmla="*/ 381373 h 427456"/>
                <a:gd name="connsiteX126" fmla="*/ 565150 w 728693"/>
                <a:gd name="connsiteY126" fmla="*/ 386135 h 427456"/>
                <a:gd name="connsiteX127" fmla="*/ 573088 w 728693"/>
                <a:gd name="connsiteY127" fmla="*/ 384548 h 427456"/>
                <a:gd name="connsiteX128" fmla="*/ 579438 w 728693"/>
                <a:gd name="connsiteY128" fmla="*/ 381373 h 427456"/>
                <a:gd name="connsiteX129" fmla="*/ 608013 w 728693"/>
                <a:gd name="connsiteY129" fmla="*/ 378198 h 427456"/>
                <a:gd name="connsiteX130" fmla="*/ 609600 w 728693"/>
                <a:gd name="connsiteY130" fmla="*/ 373435 h 427456"/>
                <a:gd name="connsiteX131" fmla="*/ 615950 w 728693"/>
                <a:gd name="connsiteY131" fmla="*/ 349623 h 427456"/>
                <a:gd name="connsiteX132" fmla="*/ 620713 w 728693"/>
                <a:gd name="connsiteY132" fmla="*/ 346448 h 427456"/>
                <a:gd name="connsiteX133" fmla="*/ 636588 w 728693"/>
                <a:gd name="connsiteY133" fmla="*/ 348035 h 427456"/>
                <a:gd name="connsiteX134" fmla="*/ 652463 w 728693"/>
                <a:gd name="connsiteY134" fmla="*/ 352798 h 427456"/>
                <a:gd name="connsiteX135" fmla="*/ 666750 w 728693"/>
                <a:gd name="connsiteY135" fmla="*/ 351210 h 427456"/>
                <a:gd name="connsiteX136" fmla="*/ 671513 w 728693"/>
                <a:gd name="connsiteY136" fmla="*/ 349623 h 427456"/>
                <a:gd name="connsiteX137" fmla="*/ 676275 w 728693"/>
                <a:gd name="connsiteY137" fmla="*/ 344860 h 427456"/>
                <a:gd name="connsiteX138" fmla="*/ 679450 w 728693"/>
                <a:gd name="connsiteY138" fmla="*/ 316285 h 427456"/>
                <a:gd name="connsiteX139" fmla="*/ 682625 w 728693"/>
                <a:gd name="connsiteY139" fmla="*/ 301998 h 427456"/>
                <a:gd name="connsiteX140" fmla="*/ 684213 w 728693"/>
                <a:gd name="connsiteY140" fmla="*/ 297235 h 427456"/>
                <a:gd name="connsiteX141" fmla="*/ 698500 w 728693"/>
                <a:gd name="connsiteY141" fmla="*/ 290886 h 427456"/>
                <a:gd name="connsiteX142" fmla="*/ 708025 w 728693"/>
                <a:gd name="connsiteY142" fmla="*/ 284535 h 427456"/>
                <a:gd name="connsiteX143" fmla="*/ 706438 w 728693"/>
                <a:gd name="connsiteY143" fmla="*/ 267073 h 427456"/>
                <a:gd name="connsiteX144" fmla="*/ 719138 w 728693"/>
                <a:gd name="connsiteY144" fmla="*/ 263898 h 427456"/>
                <a:gd name="connsiteX145" fmla="*/ 728663 w 728693"/>
                <a:gd name="connsiteY145" fmla="*/ 252785 h 427456"/>
                <a:gd name="connsiteX146" fmla="*/ 723900 w 728693"/>
                <a:gd name="connsiteY146" fmla="*/ 244848 h 427456"/>
                <a:gd name="connsiteX147" fmla="*/ 720725 w 728693"/>
                <a:gd name="connsiteY147" fmla="*/ 236910 h 427456"/>
                <a:gd name="connsiteX148" fmla="*/ 719138 w 728693"/>
                <a:gd name="connsiteY148" fmla="*/ 230560 h 427456"/>
                <a:gd name="connsiteX149" fmla="*/ 712788 w 728693"/>
                <a:gd name="connsiteY149" fmla="*/ 216273 h 427456"/>
                <a:gd name="connsiteX150" fmla="*/ 696913 w 728693"/>
                <a:gd name="connsiteY150" fmla="*/ 197223 h 427456"/>
                <a:gd name="connsiteX151" fmla="*/ 693738 w 728693"/>
                <a:gd name="connsiteY151" fmla="*/ 192460 h 427456"/>
                <a:gd name="connsiteX152" fmla="*/ 685800 w 728693"/>
                <a:gd name="connsiteY152" fmla="*/ 186110 h 427456"/>
                <a:gd name="connsiteX153" fmla="*/ 676275 w 728693"/>
                <a:gd name="connsiteY153" fmla="*/ 179760 h 427456"/>
                <a:gd name="connsiteX154" fmla="*/ 666750 w 728693"/>
                <a:gd name="connsiteY154" fmla="*/ 168648 h 427456"/>
                <a:gd name="connsiteX155" fmla="*/ 663575 w 728693"/>
                <a:gd name="connsiteY155" fmla="*/ 163885 h 427456"/>
                <a:gd name="connsiteX156" fmla="*/ 658813 w 728693"/>
                <a:gd name="connsiteY156" fmla="*/ 152773 h 427456"/>
                <a:gd name="connsiteX157" fmla="*/ 654050 w 728693"/>
                <a:gd name="connsiteY157" fmla="*/ 154360 h 427456"/>
                <a:gd name="connsiteX158" fmla="*/ 652463 w 728693"/>
                <a:gd name="connsiteY158" fmla="*/ 148010 h 427456"/>
                <a:gd name="connsiteX159" fmla="*/ 644525 w 728693"/>
                <a:gd name="connsiteY159" fmla="*/ 136898 h 427456"/>
                <a:gd name="connsiteX160" fmla="*/ 639763 w 728693"/>
                <a:gd name="connsiteY160" fmla="*/ 108323 h 427456"/>
                <a:gd name="connsiteX161" fmla="*/ 636588 w 728693"/>
                <a:gd name="connsiteY161" fmla="*/ 78160 h 427456"/>
                <a:gd name="connsiteX162" fmla="*/ 635000 w 728693"/>
                <a:gd name="connsiteY162" fmla="*/ 71810 h 427456"/>
                <a:gd name="connsiteX163" fmla="*/ 619125 w 728693"/>
                <a:gd name="connsiteY163" fmla="*/ 70223 h 427456"/>
                <a:gd name="connsiteX164" fmla="*/ 614363 w 728693"/>
                <a:gd name="connsiteY164" fmla="*/ 71810 h 427456"/>
                <a:gd name="connsiteX165" fmla="*/ 604838 w 728693"/>
                <a:gd name="connsiteY165" fmla="*/ 55935 h 427456"/>
                <a:gd name="connsiteX166" fmla="*/ 598488 w 728693"/>
                <a:gd name="connsiteY166" fmla="*/ 47998 h 427456"/>
                <a:gd name="connsiteX167" fmla="*/ 593725 w 728693"/>
                <a:gd name="connsiteY167" fmla="*/ 44823 h 427456"/>
                <a:gd name="connsiteX168" fmla="*/ 544513 w 728693"/>
                <a:gd name="connsiteY168" fmla="*/ 43235 h 427456"/>
                <a:gd name="connsiteX169" fmla="*/ 534988 w 728693"/>
                <a:gd name="connsiteY169" fmla="*/ 38473 h 427456"/>
                <a:gd name="connsiteX170" fmla="*/ 520700 w 728693"/>
                <a:gd name="connsiteY170" fmla="*/ 41648 h 427456"/>
                <a:gd name="connsiteX171" fmla="*/ 517525 w 728693"/>
                <a:gd name="connsiteY171" fmla="*/ 47998 h 427456"/>
                <a:gd name="connsiteX172" fmla="*/ 511175 w 728693"/>
                <a:gd name="connsiteY172" fmla="*/ 54348 h 427456"/>
                <a:gd name="connsiteX173" fmla="*/ 500063 w 728693"/>
                <a:gd name="connsiteY173" fmla="*/ 65460 h 427456"/>
                <a:gd name="connsiteX174" fmla="*/ 493713 w 728693"/>
                <a:gd name="connsiteY174" fmla="*/ 63873 h 427456"/>
                <a:gd name="connsiteX175" fmla="*/ 484188 w 728693"/>
                <a:gd name="connsiteY175" fmla="*/ 60698 h 427456"/>
                <a:gd name="connsiteX176" fmla="*/ 481013 w 728693"/>
                <a:gd name="connsiteY176" fmla="*/ 55935 h 427456"/>
                <a:gd name="connsiteX177" fmla="*/ 471488 w 728693"/>
                <a:gd name="connsiteY177" fmla="*/ 49585 h 427456"/>
                <a:gd name="connsiteX178" fmla="*/ 455613 w 728693"/>
                <a:gd name="connsiteY178" fmla="*/ 35298 h 427456"/>
                <a:gd name="connsiteX179" fmla="*/ 441325 w 728693"/>
                <a:gd name="connsiteY179" fmla="*/ 22598 h 427456"/>
                <a:gd name="connsiteX180" fmla="*/ 396875 w 728693"/>
                <a:gd name="connsiteY180" fmla="*/ 19423 h 427456"/>
                <a:gd name="connsiteX181" fmla="*/ 390525 w 728693"/>
                <a:gd name="connsiteY181" fmla="*/ 6723 h 427456"/>
                <a:gd name="connsiteX182" fmla="*/ 385763 w 728693"/>
                <a:gd name="connsiteY182" fmla="*/ 1960 h 427456"/>
                <a:gd name="connsiteX183" fmla="*/ 369888 w 728693"/>
                <a:gd name="connsiteY183" fmla="*/ 3548 h 427456"/>
                <a:gd name="connsiteX184" fmla="*/ 368300 w 728693"/>
                <a:gd name="connsiteY184" fmla="*/ 9898 h 427456"/>
                <a:gd name="connsiteX185" fmla="*/ 354013 w 728693"/>
                <a:gd name="connsiteY185" fmla="*/ 22598 h 427456"/>
                <a:gd name="connsiteX186" fmla="*/ 352425 w 728693"/>
                <a:gd name="connsiteY186" fmla="*/ 6723 h 427456"/>
                <a:gd name="connsiteX187" fmla="*/ 350838 w 728693"/>
                <a:gd name="connsiteY187" fmla="*/ 373 h 427456"/>
                <a:gd name="connsiteX188" fmla="*/ 341313 w 728693"/>
                <a:gd name="connsiteY188" fmla="*/ 1960 h 427456"/>
                <a:gd name="connsiteX189" fmla="*/ 338138 w 728693"/>
                <a:gd name="connsiteY189" fmla="*/ 8310 h 427456"/>
                <a:gd name="connsiteX190" fmla="*/ 327025 w 728693"/>
                <a:gd name="connsiteY190" fmla="*/ 19423 h 427456"/>
                <a:gd name="connsiteX191" fmla="*/ 319088 w 728693"/>
                <a:gd name="connsiteY191" fmla="*/ 27360 h 427456"/>
                <a:gd name="connsiteX192" fmla="*/ 312738 w 728693"/>
                <a:gd name="connsiteY192" fmla="*/ 32123 h 427456"/>
                <a:gd name="connsiteX193" fmla="*/ 307975 w 728693"/>
                <a:gd name="connsiteY193" fmla="*/ 36885 h 427456"/>
                <a:gd name="connsiteX194" fmla="*/ 300038 w 728693"/>
                <a:gd name="connsiteY194" fmla="*/ 38473 h 427456"/>
                <a:gd name="connsiteX195" fmla="*/ 282575 w 728693"/>
                <a:gd name="connsiteY195" fmla="*/ 36885 h 427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Lst>
              <a:rect l="l" t="t" r="r" b="b"/>
              <a:pathLst>
                <a:path w="728693" h="427456">
                  <a:moveTo>
                    <a:pt x="282575" y="36885"/>
                  </a:moveTo>
                  <a:cubicBezTo>
                    <a:pt x="280194" y="39266"/>
                    <a:pt x="284173" y="48028"/>
                    <a:pt x="285750" y="52760"/>
                  </a:cubicBezTo>
                  <a:cubicBezTo>
                    <a:pt x="286651" y="55464"/>
                    <a:pt x="287867" y="58052"/>
                    <a:pt x="288925" y="60698"/>
                  </a:cubicBezTo>
                  <a:cubicBezTo>
                    <a:pt x="288519" y="67202"/>
                    <a:pt x="284533" y="89828"/>
                    <a:pt x="290513" y="98798"/>
                  </a:cubicBezTo>
                  <a:cubicBezTo>
                    <a:pt x="292630" y="101973"/>
                    <a:pt x="296863" y="103031"/>
                    <a:pt x="300038" y="105148"/>
                  </a:cubicBezTo>
                  <a:lnTo>
                    <a:pt x="306388" y="114673"/>
                  </a:lnTo>
                  <a:lnTo>
                    <a:pt x="309563" y="119435"/>
                  </a:lnTo>
                  <a:cubicBezTo>
                    <a:pt x="312542" y="131352"/>
                    <a:pt x="314482" y="132617"/>
                    <a:pt x="311150" y="144835"/>
                  </a:cubicBezTo>
                  <a:cubicBezTo>
                    <a:pt x="310648" y="146676"/>
                    <a:pt x="309033" y="148010"/>
                    <a:pt x="307975" y="149598"/>
                  </a:cubicBezTo>
                  <a:cubicBezTo>
                    <a:pt x="310621" y="150656"/>
                    <a:pt x="313496" y="151263"/>
                    <a:pt x="315913" y="152773"/>
                  </a:cubicBezTo>
                  <a:cubicBezTo>
                    <a:pt x="320261" y="155490"/>
                    <a:pt x="323121" y="158844"/>
                    <a:pt x="319088" y="163885"/>
                  </a:cubicBezTo>
                  <a:cubicBezTo>
                    <a:pt x="318043" y="165192"/>
                    <a:pt x="315892" y="164885"/>
                    <a:pt x="314325" y="165473"/>
                  </a:cubicBezTo>
                  <a:cubicBezTo>
                    <a:pt x="311657" y="166474"/>
                    <a:pt x="309034" y="167590"/>
                    <a:pt x="306388" y="168648"/>
                  </a:cubicBezTo>
                  <a:cubicBezTo>
                    <a:pt x="305330" y="170765"/>
                    <a:pt x="304560" y="173052"/>
                    <a:pt x="303213" y="174998"/>
                  </a:cubicBezTo>
                  <a:cubicBezTo>
                    <a:pt x="299779" y="179959"/>
                    <a:pt x="292100" y="189285"/>
                    <a:pt x="292100" y="189285"/>
                  </a:cubicBezTo>
                  <a:cubicBezTo>
                    <a:pt x="291571" y="192460"/>
                    <a:pt x="292169" y="196050"/>
                    <a:pt x="290513" y="198810"/>
                  </a:cubicBezTo>
                  <a:cubicBezTo>
                    <a:pt x="288770" y="201716"/>
                    <a:pt x="284971" y="202764"/>
                    <a:pt x="282575" y="205160"/>
                  </a:cubicBezTo>
                  <a:cubicBezTo>
                    <a:pt x="280704" y="207031"/>
                    <a:pt x="279845" y="209816"/>
                    <a:pt x="277813" y="211510"/>
                  </a:cubicBezTo>
                  <a:cubicBezTo>
                    <a:pt x="276527" y="212581"/>
                    <a:pt x="274659" y="212638"/>
                    <a:pt x="273050" y="213098"/>
                  </a:cubicBezTo>
                  <a:cubicBezTo>
                    <a:pt x="259105" y="217082"/>
                    <a:pt x="273350" y="212467"/>
                    <a:pt x="261938" y="216273"/>
                  </a:cubicBezTo>
                  <a:cubicBezTo>
                    <a:pt x="247441" y="227870"/>
                    <a:pt x="251673" y="227668"/>
                    <a:pt x="222250" y="217860"/>
                  </a:cubicBezTo>
                  <a:cubicBezTo>
                    <a:pt x="220180" y="217170"/>
                    <a:pt x="222026" y="213214"/>
                    <a:pt x="220663" y="211510"/>
                  </a:cubicBezTo>
                  <a:cubicBezTo>
                    <a:pt x="219618" y="210203"/>
                    <a:pt x="217488" y="210452"/>
                    <a:pt x="215900" y="209923"/>
                  </a:cubicBezTo>
                  <a:cubicBezTo>
                    <a:pt x="212725" y="207806"/>
                    <a:pt x="209073" y="206271"/>
                    <a:pt x="206375" y="203573"/>
                  </a:cubicBezTo>
                  <a:cubicBezTo>
                    <a:pt x="205192" y="202390"/>
                    <a:pt x="205761" y="200172"/>
                    <a:pt x="204788" y="198810"/>
                  </a:cubicBezTo>
                  <a:cubicBezTo>
                    <a:pt x="203048" y="196374"/>
                    <a:pt x="200555" y="194577"/>
                    <a:pt x="198438" y="192460"/>
                  </a:cubicBezTo>
                  <a:cubicBezTo>
                    <a:pt x="195335" y="178497"/>
                    <a:pt x="197779" y="181377"/>
                    <a:pt x="192088" y="173410"/>
                  </a:cubicBezTo>
                  <a:cubicBezTo>
                    <a:pt x="190550" y="171257"/>
                    <a:pt x="189414" y="168684"/>
                    <a:pt x="187325" y="167060"/>
                  </a:cubicBezTo>
                  <a:cubicBezTo>
                    <a:pt x="184523" y="164881"/>
                    <a:pt x="180866" y="164087"/>
                    <a:pt x="177800" y="162298"/>
                  </a:cubicBezTo>
                  <a:cubicBezTo>
                    <a:pt x="174504" y="160375"/>
                    <a:pt x="171895" y="157155"/>
                    <a:pt x="168275" y="155948"/>
                  </a:cubicBezTo>
                  <a:lnTo>
                    <a:pt x="158750" y="152773"/>
                  </a:lnTo>
                  <a:cubicBezTo>
                    <a:pt x="150558" y="142532"/>
                    <a:pt x="154610" y="145952"/>
                    <a:pt x="142875" y="138485"/>
                  </a:cubicBezTo>
                  <a:cubicBezTo>
                    <a:pt x="140272" y="136829"/>
                    <a:pt x="134938" y="133723"/>
                    <a:pt x="134938" y="133723"/>
                  </a:cubicBezTo>
                  <a:cubicBezTo>
                    <a:pt x="133849" y="128281"/>
                    <a:pt x="133255" y="124655"/>
                    <a:pt x="131763" y="119435"/>
                  </a:cubicBezTo>
                  <a:cubicBezTo>
                    <a:pt x="131303" y="117826"/>
                    <a:pt x="130635" y="116282"/>
                    <a:pt x="130175" y="114673"/>
                  </a:cubicBezTo>
                  <a:cubicBezTo>
                    <a:pt x="129576" y="112575"/>
                    <a:pt x="129474" y="110317"/>
                    <a:pt x="128588" y="108323"/>
                  </a:cubicBezTo>
                  <a:cubicBezTo>
                    <a:pt x="127335" y="105503"/>
                    <a:pt x="125413" y="103031"/>
                    <a:pt x="123825" y="100385"/>
                  </a:cubicBezTo>
                  <a:cubicBezTo>
                    <a:pt x="121179" y="102502"/>
                    <a:pt x="118707" y="104856"/>
                    <a:pt x="115888" y="106735"/>
                  </a:cubicBezTo>
                  <a:cubicBezTo>
                    <a:pt x="103685" y="114871"/>
                    <a:pt x="115329" y="104266"/>
                    <a:pt x="103188" y="114673"/>
                  </a:cubicBezTo>
                  <a:cubicBezTo>
                    <a:pt x="97257" y="119756"/>
                    <a:pt x="94153" y="126150"/>
                    <a:pt x="85725" y="128960"/>
                  </a:cubicBezTo>
                  <a:lnTo>
                    <a:pt x="80963" y="130548"/>
                  </a:lnTo>
                  <a:cubicBezTo>
                    <a:pt x="77817" y="135267"/>
                    <a:pt x="75009" y="140153"/>
                    <a:pt x="69850" y="143248"/>
                  </a:cubicBezTo>
                  <a:cubicBezTo>
                    <a:pt x="67536" y="144636"/>
                    <a:pt x="64551" y="144270"/>
                    <a:pt x="61913" y="144835"/>
                  </a:cubicBezTo>
                  <a:lnTo>
                    <a:pt x="47625" y="148010"/>
                  </a:lnTo>
                  <a:cubicBezTo>
                    <a:pt x="46347" y="153124"/>
                    <a:pt x="46056" y="156239"/>
                    <a:pt x="42863" y="160710"/>
                  </a:cubicBezTo>
                  <a:cubicBezTo>
                    <a:pt x="41558" y="162537"/>
                    <a:pt x="39447" y="163677"/>
                    <a:pt x="38100" y="165473"/>
                  </a:cubicBezTo>
                  <a:cubicBezTo>
                    <a:pt x="35111" y="169459"/>
                    <a:pt x="32424" y="175238"/>
                    <a:pt x="30163" y="179760"/>
                  </a:cubicBezTo>
                  <a:cubicBezTo>
                    <a:pt x="29634" y="184523"/>
                    <a:pt x="29363" y="189321"/>
                    <a:pt x="28575" y="194048"/>
                  </a:cubicBezTo>
                  <a:cubicBezTo>
                    <a:pt x="28300" y="195698"/>
                    <a:pt x="28171" y="197627"/>
                    <a:pt x="26988" y="198810"/>
                  </a:cubicBezTo>
                  <a:cubicBezTo>
                    <a:pt x="25805" y="199993"/>
                    <a:pt x="23812" y="196165"/>
                    <a:pt x="22225" y="200398"/>
                  </a:cubicBezTo>
                  <a:cubicBezTo>
                    <a:pt x="20638" y="204631"/>
                    <a:pt x="16669" y="219712"/>
                    <a:pt x="17463" y="224210"/>
                  </a:cubicBezTo>
                  <a:cubicBezTo>
                    <a:pt x="18257" y="228708"/>
                    <a:pt x="26988" y="227385"/>
                    <a:pt x="26988" y="227385"/>
                  </a:cubicBezTo>
                  <a:cubicBezTo>
                    <a:pt x="28575" y="228973"/>
                    <a:pt x="31502" y="229917"/>
                    <a:pt x="31750" y="232148"/>
                  </a:cubicBezTo>
                  <a:cubicBezTo>
                    <a:pt x="31927" y="233744"/>
                    <a:pt x="26197" y="247619"/>
                    <a:pt x="25400" y="249610"/>
                  </a:cubicBezTo>
                  <a:cubicBezTo>
                    <a:pt x="25303" y="250194"/>
                    <a:pt x="23341" y="263532"/>
                    <a:pt x="22225" y="265485"/>
                  </a:cubicBezTo>
                  <a:cubicBezTo>
                    <a:pt x="21111" y="267434"/>
                    <a:pt x="18768" y="268421"/>
                    <a:pt x="17463" y="270248"/>
                  </a:cubicBezTo>
                  <a:cubicBezTo>
                    <a:pt x="16088" y="272174"/>
                    <a:pt x="15506" y="274569"/>
                    <a:pt x="14288" y="276598"/>
                  </a:cubicBezTo>
                  <a:cubicBezTo>
                    <a:pt x="12325" y="279870"/>
                    <a:pt x="9831" y="282810"/>
                    <a:pt x="7938" y="286123"/>
                  </a:cubicBezTo>
                  <a:cubicBezTo>
                    <a:pt x="2261" y="296058"/>
                    <a:pt x="2583" y="295840"/>
                    <a:pt x="0" y="303585"/>
                  </a:cubicBezTo>
                  <a:cubicBezTo>
                    <a:pt x="1058" y="307289"/>
                    <a:pt x="1744" y="311121"/>
                    <a:pt x="3175" y="314698"/>
                  </a:cubicBezTo>
                  <a:cubicBezTo>
                    <a:pt x="3884" y="316469"/>
                    <a:pt x="6160" y="317562"/>
                    <a:pt x="6350" y="319460"/>
                  </a:cubicBezTo>
                  <a:cubicBezTo>
                    <a:pt x="6722" y="323183"/>
                    <a:pt x="5292" y="326869"/>
                    <a:pt x="4763" y="330573"/>
                  </a:cubicBezTo>
                  <a:cubicBezTo>
                    <a:pt x="5292" y="334806"/>
                    <a:pt x="5649" y="339065"/>
                    <a:pt x="6350" y="343273"/>
                  </a:cubicBezTo>
                  <a:cubicBezTo>
                    <a:pt x="6709" y="345425"/>
                    <a:pt x="6395" y="348080"/>
                    <a:pt x="7938" y="349623"/>
                  </a:cubicBezTo>
                  <a:cubicBezTo>
                    <a:pt x="9953" y="351638"/>
                    <a:pt x="13229" y="351740"/>
                    <a:pt x="15875" y="352798"/>
                  </a:cubicBezTo>
                  <a:cubicBezTo>
                    <a:pt x="15346" y="354915"/>
                    <a:pt x="14915" y="357058"/>
                    <a:pt x="14288" y="359148"/>
                  </a:cubicBezTo>
                  <a:cubicBezTo>
                    <a:pt x="13326" y="362354"/>
                    <a:pt x="11769" y="365391"/>
                    <a:pt x="11113" y="368673"/>
                  </a:cubicBezTo>
                  <a:cubicBezTo>
                    <a:pt x="10173" y="373372"/>
                    <a:pt x="10203" y="378216"/>
                    <a:pt x="9525" y="382960"/>
                  </a:cubicBezTo>
                  <a:cubicBezTo>
                    <a:pt x="9143" y="385631"/>
                    <a:pt x="8467" y="388252"/>
                    <a:pt x="7938" y="390898"/>
                  </a:cubicBezTo>
                  <a:cubicBezTo>
                    <a:pt x="11113" y="395131"/>
                    <a:pt x="15096" y="398865"/>
                    <a:pt x="17463" y="403598"/>
                  </a:cubicBezTo>
                  <a:cubicBezTo>
                    <a:pt x="18521" y="405715"/>
                    <a:pt x="19218" y="408055"/>
                    <a:pt x="20638" y="409948"/>
                  </a:cubicBezTo>
                  <a:cubicBezTo>
                    <a:pt x="22434" y="412343"/>
                    <a:pt x="24871" y="414181"/>
                    <a:pt x="26988" y="416298"/>
                  </a:cubicBezTo>
                  <a:cubicBezTo>
                    <a:pt x="27517" y="417885"/>
                    <a:pt x="28115" y="419451"/>
                    <a:pt x="28575" y="421060"/>
                  </a:cubicBezTo>
                  <a:cubicBezTo>
                    <a:pt x="29174" y="423158"/>
                    <a:pt x="28003" y="427101"/>
                    <a:pt x="30163" y="427410"/>
                  </a:cubicBezTo>
                  <a:cubicBezTo>
                    <a:pt x="33677" y="427912"/>
                    <a:pt x="36513" y="424235"/>
                    <a:pt x="39688" y="422648"/>
                  </a:cubicBezTo>
                  <a:cubicBezTo>
                    <a:pt x="40217" y="414710"/>
                    <a:pt x="39146" y="406500"/>
                    <a:pt x="41275" y="398835"/>
                  </a:cubicBezTo>
                  <a:cubicBezTo>
                    <a:pt x="41983" y="396286"/>
                    <a:pt x="45754" y="395944"/>
                    <a:pt x="47625" y="394073"/>
                  </a:cubicBezTo>
                  <a:cubicBezTo>
                    <a:pt x="50021" y="391677"/>
                    <a:pt x="51425" y="388366"/>
                    <a:pt x="53975" y="386135"/>
                  </a:cubicBezTo>
                  <a:cubicBezTo>
                    <a:pt x="55756" y="384577"/>
                    <a:pt x="58432" y="384380"/>
                    <a:pt x="60325" y="382960"/>
                  </a:cubicBezTo>
                  <a:cubicBezTo>
                    <a:pt x="72163" y="374081"/>
                    <a:pt x="60895" y="378055"/>
                    <a:pt x="73025" y="375023"/>
                  </a:cubicBezTo>
                  <a:cubicBezTo>
                    <a:pt x="74963" y="373569"/>
                    <a:pt x="81456" y="368516"/>
                    <a:pt x="84138" y="367085"/>
                  </a:cubicBezTo>
                  <a:cubicBezTo>
                    <a:pt x="90402" y="363744"/>
                    <a:pt x="96838" y="360735"/>
                    <a:pt x="103188" y="357560"/>
                  </a:cubicBezTo>
                  <a:cubicBezTo>
                    <a:pt x="107421" y="355443"/>
                    <a:pt x="112541" y="354557"/>
                    <a:pt x="115888" y="351210"/>
                  </a:cubicBezTo>
                  <a:cubicBezTo>
                    <a:pt x="119195" y="347903"/>
                    <a:pt x="124710" y="342037"/>
                    <a:pt x="128588" y="340098"/>
                  </a:cubicBezTo>
                  <a:cubicBezTo>
                    <a:pt x="131001" y="338891"/>
                    <a:pt x="133891" y="339095"/>
                    <a:pt x="136525" y="338510"/>
                  </a:cubicBezTo>
                  <a:cubicBezTo>
                    <a:pt x="138655" y="338037"/>
                    <a:pt x="140758" y="337452"/>
                    <a:pt x="142875" y="336923"/>
                  </a:cubicBezTo>
                  <a:cubicBezTo>
                    <a:pt x="150813" y="337452"/>
                    <a:pt x="158873" y="337021"/>
                    <a:pt x="166688" y="338510"/>
                  </a:cubicBezTo>
                  <a:cubicBezTo>
                    <a:pt x="170175" y="339174"/>
                    <a:pt x="176213" y="339723"/>
                    <a:pt x="176213" y="343273"/>
                  </a:cubicBezTo>
                  <a:cubicBezTo>
                    <a:pt x="176213" y="346620"/>
                    <a:pt x="169863" y="345390"/>
                    <a:pt x="166688" y="346448"/>
                  </a:cubicBezTo>
                  <a:cubicBezTo>
                    <a:pt x="170131" y="348170"/>
                    <a:pt x="173907" y="351928"/>
                    <a:pt x="177800" y="348035"/>
                  </a:cubicBezTo>
                  <a:cubicBezTo>
                    <a:pt x="178983" y="346852"/>
                    <a:pt x="178144" y="344392"/>
                    <a:pt x="179388" y="343273"/>
                  </a:cubicBezTo>
                  <a:cubicBezTo>
                    <a:pt x="190410" y="333353"/>
                    <a:pt x="190660" y="334351"/>
                    <a:pt x="201613" y="332160"/>
                  </a:cubicBezTo>
                  <a:cubicBezTo>
                    <a:pt x="204788" y="333748"/>
                    <a:pt x="208467" y="334585"/>
                    <a:pt x="211138" y="336923"/>
                  </a:cubicBezTo>
                  <a:cubicBezTo>
                    <a:pt x="223208" y="347484"/>
                    <a:pt x="206308" y="340605"/>
                    <a:pt x="219075" y="344860"/>
                  </a:cubicBezTo>
                  <a:cubicBezTo>
                    <a:pt x="236347" y="331908"/>
                    <a:pt x="214284" y="346597"/>
                    <a:pt x="258763" y="338510"/>
                  </a:cubicBezTo>
                  <a:cubicBezTo>
                    <a:pt x="260409" y="338211"/>
                    <a:pt x="259167" y="334931"/>
                    <a:pt x="260350" y="333748"/>
                  </a:cubicBezTo>
                  <a:cubicBezTo>
                    <a:pt x="262532" y="331566"/>
                    <a:pt x="265642" y="330573"/>
                    <a:pt x="268288" y="328985"/>
                  </a:cubicBezTo>
                  <a:cubicBezTo>
                    <a:pt x="278342" y="329514"/>
                    <a:pt x="288578" y="328599"/>
                    <a:pt x="298450" y="330573"/>
                  </a:cubicBezTo>
                  <a:cubicBezTo>
                    <a:pt x="300091" y="330901"/>
                    <a:pt x="298585" y="334505"/>
                    <a:pt x="300038" y="335335"/>
                  </a:cubicBezTo>
                  <a:cubicBezTo>
                    <a:pt x="302833" y="336932"/>
                    <a:pt x="306388" y="336394"/>
                    <a:pt x="309563" y="336923"/>
                  </a:cubicBezTo>
                  <a:cubicBezTo>
                    <a:pt x="316971" y="336394"/>
                    <a:pt x="324406" y="336155"/>
                    <a:pt x="331788" y="335335"/>
                  </a:cubicBezTo>
                  <a:cubicBezTo>
                    <a:pt x="333956" y="335094"/>
                    <a:pt x="336244" y="334830"/>
                    <a:pt x="338138" y="333748"/>
                  </a:cubicBezTo>
                  <a:cubicBezTo>
                    <a:pt x="340087" y="332634"/>
                    <a:pt x="341032" y="330230"/>
                    <a:pt x="342900" y="328985"/>
                  </a:cubicBezTo>
                  <a:cubicBezTo>
                    <a:pt x="344292" y="328057"/>
                    <a:pt x="346032" y="327774"/>
                    <a:pt x="347663" y="327398"/>
                  </a:cubicBezTo>
                  <a:cubicBezTo>
                    <a:pt x="352921" y="326185"/>
                    <a:pt x="358246" y="325281"/>
                    <a:pt x="363538" y="324223"/>
                  </a:cubicBezTo>
                  <a:cubicBezTo>
                    <a:pt x="364067" y="322635"/>
                    <a:pt x="364797" y="321101"/>
                    <a:pt x="365125" y="319460"/>
                  </a:cubicBezTo>
                  <a:cubicBezTo>
                    <a:pt x="365859" y="315791"/>
                    <a:pt x="365728" y="311958"/>
                    <a:pt x="366713" y="308348"/>
                  </a:cubicBezTo>
                  <a:cubicBezTo>
                    <a:pt x="369272" y="298967"/>
                    <a:pt x="373194" y="301803"/>
                    <a:pt x="379413" y="292473"/>
                  </a:cubicBezTo>
                  <a:cubicBezTo>
                    <a:pt x="383646" y="286123"/>
                    <a:pt x="381000" y="288768"/>
                    <a:pt x="387350" y="284535"/>
                  </a:cubicBezTo>
                  <a:cubicBezTo>
                    <a:pt x="387879" y="286123"/>
                    <a:pt x="388350" y="287731"/>
                    <a:pt x="388938" y="289298"/>
                  </a:cubicBezTo>
                  <a:cubicBezTo>
                    <a:pt x="389939" y="291966"/>
                    <a:pt x="391294" y="294506"/>
                    <a:pt x="392113" y="297235"/>
                  </a:cubicBezTo>
                  <a:cubicBezTo>
                    <a:pt x="392888" y="299820"/>
                    <a:pt x="393046" y="302555"/>
                    <a:pt x="393700" y="305173"/>
                  </a:cubicBezTo>
                  <a:cubicBezTo>
                    <a:pt x="394730" y="309295"/>
                    <a:pt x="397255" y="315078"/>
                    <a:pt x="400050" y="317873"/>
                  </a:cubicBezTo>
                  <a:cubicBezTo>
                    <a:pt x="402232" y="320055"/>
                    <a:pt x="405228" y="321255"/>
                    <a:pt x="407988" y="322635"/>
                  </a:cubicBezTo>
                  <a:cubicBezTo>
                    <a:pt x="410537" y="323909"/>
                    <a:pt x="413085" y="325573"/>
                    <a:pt x="415925" y="325810"/>
                  </a:cubicBezTo>
                  <a:cubicBezTo>
                    <a:pt x="432281" y="327173"/>
                    <a:pt x="448734" y="326869"/>
                    <a:pt x="465138" y="327398"/>
                  </a:cubicBezTo>
                  <a:cubicBezTo>
                    <a:pt x="465667" y="329515"/>
                    <a:pt x="465749" y="331797"/>
                    <a:pt x="466725" y="333748"/>
                  </a:cubicBezTo>
                  <a:cubicBezTo>
                    <a:pt x="469547" y="339392"/>
                    <a:pt x="472899" y="341332"/>
                    <a:pt x="477838" y="344860"/>
                  </a:cubicBezTo>
                  <a:cubicBezTo>
                    <a:pt x="479390" y="345969"/>
                    <a:pt x="480744" y="347593"/>
                    <a:pt x="482600" y="348035"/>
                  </a:cubicBezTo>
                  <a:cubicBezTo>
                    <a:pt x="491994" y="350272"/>
                    <a:pt x="501650" y="351210"/>
                    <a:pt x="511175" y="352798"/>
                  </a:cubicBezTo>
                  <a:cubicBezTo>
                    <a:pt x="512763" y="353856"/>
                    <a:pt x="514231" y="355120"/>
                    <a:pt x="515938" y="355973"/>
                  </a:cubicBezTo>
                  <a:cubicBezTo>
                    <a:pt x="523918" y="359963"/>
                    <a:pt x="528776" y="360237"/>
                    <a:pt x="538163" y="362323"/>
                  </a:cubicBezTo>
                  <a:cubicBezTo>
                    <a:pt x="539221" y="363910"/>
                    <a:pt x="540391" y="365429"/>
                    <a:pt x="541338" y="367085"/>
                  </a:cubicBezTo>
                  <a:cubicBezTo>
                    <a:pt x="542512" y="369140"/>
                    <a:pt x="542998" y="371617"/>
                    <a:pt x="544513" y="373435"/>
                  </a:cubicBezTo>
                  <a:cubicBezTo>
                    <a:pt x="545734" y="374901"/>
                    <a:pt x="547688" y="375552"/>
                    <a:pt x="549275" y="376610"/>
                  </a:cubicBezTo>
                  <a:cubicBezTo>
                    <a:pt x="550333" y="378198"/>
                    <a:pt x="550897" y="380264"/>
                    <a:pt x="552450" y="381373"/>
                  </a:cubicBezTo>
                  <a:cubicBezTo>
                    <a:pt x="554112" y="382560"/>
                    <a:pt x="562281" y="385179"/>
                    <a:pt x="565150" y="386135"/>
                  </a:cubicBezTo>
                  <a:cubicBezTo>
                    <a:pt x="567796" y="385606"/>
                    <a:pt x="570528" y="385401"/>
                    <a:pt x="573088" y="384548"/>
                  </a:cubicBezTo>
                  <a:cubicBezTo>
                    <a:pt x="575333" y="383800"/>
                    <a:pt x="577110" y="381796"/>
                    <a:pt x="579438" y="381373"/>
                  </a:cubicBezTo>
                  <a:cubicBezTo>
                    <a:pt x="588867" y="379659"/>
                    <a:pt x="598488" y="379256"/>
                    <a:pt x="608013" y="378198"/>
                  </a:cubicBezTo>
                  <a:cubicBezTo>
                    <a:pt x="608542" y="376610"/>
                    <a:pt x="609325" y="375086"/>
                    <a:pt x="609600" y="373435"/>
                  </a:cubicBezTo>
                  <a:cubicBezTo>
                    <a:pt x="610891" y="365691"/>
                    <a:pt x="609709" y="355863"/>
                    <a:pt x="615950" y="349623"/>
                  </a:cubicBezTo>
                  <a:cubicBezTo>
                    <a:pt x="617299" y="348274"/>
                    <a:pt x="619125" y="347506"/>
                    <a:pt x="620713" y="346448"/>
                  </a:cubicBezTo>
                  <a:cubicBezTo>
                    <a:pt x="626005" y="346977"/>
                    <a:pt x="631323" y="347283"/>
                    <a:pt x="636588" y="348035"/>
                  </a:cubicBezTo>
                  <a:cubicBezTo>
                    <a:pt x="640783" y="348634"/>
                    <a:pt x="649154" y="351695"/>
                    <a:pt x="652463" y="352798"/>
                  </a:cubicBezTo>
                  <a:cubicBezTo>
                    <a:pt x="657225" y="352269"/>
                    <a:pt x="662024" y="351998"/>
                    <a:pt x="666750" y="351210"/>
                  </a:cubicBezTo>
                  <a:cubicBezTo>
                    <a:pt x="668401" y="350935"/>
                    <a:pt x="670121" y="350551"/>
                    <a:pt x="671513" y="349623"/>
                  </a:cubicBezTo>
                  <a:cubicBezTo>
                    <a:pt x="673381" y="348378"/>
                    <a:pt x="674688" y="346448"/>
                    <a:pt x="676275" y="344860"/>
                  </a:cubicBezTo>
                  <a:cubicBezTo>
                    <a:pt x="677333" y="335335"/>
                    <a:pt x="678210" y="325788"/>
                    <a:pt x="679450" y="316285"/>
                  </a:cubicBezTo>
                  <a:cubicBezTo>
                    <a:pt x="679842" y="313283"/>
                    <a:pt x="681697" y="305245"/>
                    <a:pt x="682625" y="301998"/>
                  </a:cubicBezTo>
                  <a:cubicBezTo>
                    <a:pt x="683085" y="300389"/>
                    <a:pt x="681567" y="299087"/>
                    <a:pt x="684213" y="297235"/>
                  </a:cubicBezTo>
                  <a:cubicBezTo>
                    <a:pt x="686859" y="295383"/>
                    <a:pt x="694531" y="293003"/>
                    <a:pt x="698500" y="290886"/>
                  </a:cubicBezTo>
                  <a:cubicBezTo>
                    <a:pt x="702469" y="288769"/>
                    <a:pt x="706702" y="288504"/>
                    <a:pt x="708025" y="284535"/>
                  </a:cubicBezTo>
                  <a:cubicBezTo>
                    <a:pt x="709348" y="280566"/>
                    <a:pt x="696858" y="269468"/>
                    <a:pt x="706438" y="267073"/>
                  </a:cubicBezTo>
                  <a:lnTo>
                    <a:pt x="719138" y="263898"/>
                  </a:lnTo>
                  <a:cubicBezTo>
                    <a:pt x="721883" y="261839"/>
                    <a:pt x="729222" y="257813"/>
                    <a:pt x="728663" y="252785"/>
                  </a:cubicBezTo>
                  <a:cubicBezTo>
                    <a:pt x="728322" y="249718"/>
                    <a:pt x="725280" y="247608"/>
                    <a:pt x="723900" y="244848"/>
                  </a:cubicBezTo>
                  <a:cubicBezTo>
                    <a:pt x="722625" y="242299"/>
                    <a:pt x="721626" y="239614"/>
                    <a:pt x="720725" y="236910"/>
                  </a:cubicBezTo>
                  <a:cubicBezTo>
                    <a:pt x="720035" y="234840"/>
                    <a:pt x="719737" y="232658"/>
                    <a:pt x="719138" y="230560"/>
                  </a:cubicBezTo>
                  <a:cubicBezTo>
                    <a:pt x="717756" y="225723"/>
                    <a:pt x="715479" y="220310"/>
                    <a:pt x="712788" y="216273"/>
                  </a:cubicBezTo>
                  <a:cubicBezTo>
                    <a:pt x="693036" y="186644"/>
                    <a:pt x="708643" y="211300"/>
                    <a:pt x="696913" y="197223"/>
                  </a:cubicBezTo>
                  <a:cubicBezTo>
                    <a:pt x="695692" y="195757"/>
                    <a:pt x="695087" y="193809"/>
                    <a:pt x="693738" y="192460"/>
                  </a:cubicBezTo>
                  <a:cubicBezTo>
                    <a:pt x="691342" y="190064"/>
                    <a:pt x="688350" y="188341"/>
                    <a:pt x="685800" y="186110"/>
                  </a:cubicBezTo>
                  <a:cubicBezTo>
                    <a:pt x="678482" y="179707"/>
                    <a:pt x="684191" y="182399"/>
                    <a:pt x="676275" y="179760"/>
                  </a:cubicBezTo>
                  <a:cubicBezTo>
                    <a:pt x="670508" y="173993"/>
                    <a:pt x="671840" y="175774"/>
                    <a:pt x="666750" y="168648"/>
                  </a:cubicBezTo>
                  <a:cubicBezTo>
                    <a:pt x="665641" y="167095"/>
                    <a:pt x="664428" y="165592"/>
                    <a:pt x="663575" y="163885"/>
                  </a:cubicBezTo>
                  <a:cubicBezTo>
                    <a:pt x="661773" y="160281"/>
                    <a:pt x="660400" y="156477"/>
                    <a:pt x="658813" y="152773"/>
                  </a:cubicBezTo>
                  <a:cubicBezTo>
                    <a:pt x="657225" y="153302"/>
                    <a:pt x="655389" y="155364"/>
                    <a:pt x="654050" y="154360"/>
                  </a:cubicBezTo>
                  <a:cubicBezTo>
                    <a:pt x="652305" y="153051"/>
                    <a:pt x="653153" y="150080"/>
                    <a:pt x="652463" y="148010"/>
                  </a:cubicBezTo>
                  <a:cubicBezTo>
                    <a:pt x="649412" y="138857"/>
                    <a:pt x="651101" y="141282"/>
                    <a:pt x="644525" y="136898"/>
                  </a:cubicBezTo>
                  <a:cubicBezTo>
                    <a:pt x="636784" y="125286"/>
                    <a:pt x="642116" y="134998"/>
                    <a:pt x="639763" y="108323"/>
                  </a:cubicBezTo>
                  <a:cubicBezTo>
                    <a:pt x="638874" y="98252"/>
                    <a:pt x="637896" y="88185"/>
                    <a:pt x="636588" y="78160"/>
                  </a:cubicBezTo>
                  <a:cubicBezTo>
                    <a:pt x="636306" y="75996"/>
                    <a:pt x="636986" y="72713"/>
                    <a:pt x="635000" y="71810"/>
                  </a:cubicBezTo>
                  <a:cubicBezTo>
                    <a:pt x="630159" y="69610"/>
                    <a:pt x="624417" y="70752"/>
                    <a:pt x="619125" y="70223"/>
                  </a:cubicBezTo>
                  <a:cubicBezTo>
                    <a:pt x="617538" y="70752"/>
                    <a:pt x="615950" y="72339"/>
                    <a:pt x="614363" y="71810"/>
                  </a:cubicBezTo>
                  <a:cubicBezTo>
                    <a:pt x="609013" y="70027"/>
                    <a:pt x="606421" y="58649"/>
                    <a:pt x="604838" y="55935"/>
                  </a:cubicBezTo>
                  <a:cubicBezTo>
                    <a:pt x="603131" y="53008"/>
                    <a:pt x="600884" y="50394"/>
                    <a:pt x="598488" y="47998"/>
                  </a:cubicBezTo>
                  <a:cubicBezTo>
                    <a:pt x="597139" y="46649"/>
                    <a:pt x="595626" y="44991"/>
                    <a:pt x="593725" y="44823"/>
                  </a:cubicBezTo>
                  <a:cubicBezTo>
                    <a:pt x="577376" y="43380"/>
                    <a:pt x="560917" y="43764"/>
                    <a:pt x="544513" y="43235"/>
                  </a:cubicBezTo>
                  <a:cubicBezTo>
                    <a:pt x="541338" y="41648"/>
                    <a:pt x="538530" y="38709"/>
                    <a:pt x="534988" y="38473"/>
                  </a:cubicBezTo>
                  <a:cubicBezTo>
                    <a:pt x="530120" y="38149"/>
                    <a:pt x="524983" y="39312"/>
                    <a:pt x="520700" y="41648"/>
                  </a:cubicBezTo>
                  <a:cubicBezTo>
                    <a:pt x="518622" y="42781"/>
                    <a:pt x="518945" y="46105"/>
                    <a:pt x="517525" y="47998"/>
                  </a:cubicBezTo>
                  <a:cubicBezTo>
                    <a:pt x="515729" y="50393"/>
                    <a:pt x="513045" y="52011"/>
                    <a:pt x="511175" y="54348"/>
                  </a:cubicBezTo>
                  <a:cubicBezTo>
                    <a:pt x="501912" y="65927"/>
                    <a:pt x="509315" y="62377"/>
                    <a:pt x="500063" y="65460"/>
                  </a:cubicBezTo>
                  <a:cubicBezTo>
                    <a:pt x="497946" y="64931"/>
                    <a:pt x="495803" y="64500"/>
                    <a:pt x="493713" y="63873"/>
                  </a:cubicBezTo>
                  <a:cubicBezTo>
                    <a:pt x="490507" y="62911"/>
                    <a:pt x="484188" y="60698"/>
                    <a:pt x="484188" y="60698"/>
                  </a:cubicBezTo>
                  <a:cubicBezTo>
                    <a:pt x="483130" y="59110"/>
                    <a:pt x="482449" y="57192"/>
                    <a:pt x="481013" y="55935"/>
                  </a:cubicBezTo>
                  <a:cubicBezTo>
                    <a:pt x="478141" y="53422"/>
                    <a:pt x="473931" y="52516"/>
                    <a:pt x="471488" y="49585"/>
                  </a:cubicBezTo>
                  <a:cubicBezTo>
                    <a:pt x="453882" y="28460"/>
                    <a:pt x="472836" y="49077"/>
                    <a:pt x="455613" y="35298"/>
                  </a:cubicBezTo>
                  <a:cubicBezTo>
                    <a:pt x="454944" y="34763"/>
                    <a:pt x="444206" y="23048"/>
                    <a:pt x="441325" y="22598"/>
                  </a:cubicBezTo>
                  <a:cubicBezTo>
                    <a:pt x="426649" y="20305"/>
                    <a:pt x="411692" y="20481"/>
                    <a:pt x="396875" y="19423"/>
                  </a:cubicBezTo>
                  <a:cubicBezTo>
                    <a:pt x="385144" y="7689"/>
                    <a:pt x="398636" y="22946"/>
                    <a:pt x="390525" y="6723"/>
                  </a:cubicBezTo>
                  <a:cubicBezTo>
                    <a:pt x="389521" y="4715"/>
                    <a:pt x="387350" y="3548"/>
                    <a:pt x="385763" y="1960"/>
                  </a:cubicBezTo>
                  <a:cubicBezTo>
                    <a:pt x="380471" y="2489"/>
                    <a:pt x="374729" y="1347"/>
                    <a:pt x="369888" y="3548"/>
                  </a:cubicBezTo>
                  <a:cubicBezTo>
                    <a:pt x="367902" y="4451"/>
                    <a:pt x="369510" y="8083"/>
                    <a:pt x="368300" y="9898"/>
                  </a:cubicBezTo>
                  <a:cubicBezTo>
                    <a:pt x="365031" y="14801"/>
                    <a:pt x="358732" y="19059"/>
                    <a:pt x="354013" y="22598"/>
                  </a:cubicBezTo>
                  <a:cubicBezTo>
                    <a:pt x="353484" y="17306"/>
                    <a:pt x="353177" y="11988"/>
                    <a:pt x="352425" y="6723"/>
                  </a:cubicBezTo>
                  <a:cubicBezTo>
                    <a:pt x="352116" y="4563"/>
                    <a:pt x="352843" y="1233"/>
                    <a:pt x="350838" y="373"/>
                  </a:cubicBezTo>
                  <a:cubicBezTo>
                    <a:pt x="347880" y="-895"/>
                    <a:pt x="344488" y="1431"/>
                    <a:pt x="341313" y="1960"/>
                  </a:cubicBezTo>
                  <a:cubicBezTo>
                    <a:pt x="340255" y="4077"/>
                    <a:pt x="339637" y="6478"/>
                    <a:pt x="338138" y="8310"/>
                  </a:cubicBezTo>
                  <a:cubicBezTo>
                    <a:pt x="334821" y="12365"/>
                    <a:pt x="330729" y="15719"/>
                    <a:pt x="327025" y="19423"/>
                  </a:cubicBezTo>
                  <a:cubicBezTo>
                    <a:pt x="324379" y="22069"/>
                    <a:pt x="322081" y="25115"/>
                    <a:pt x="319088" y="27360"/>
                  </a:cubicBezTo>
                  <a:cubicBezTo>
                    <a:pt x="316971" y="28948"/>
                    <a:pt x="314747" y="30401"/>
                    <a:pt x="312738" y="32123"/>
                  </a:cubicBezTo>
                  <a:cubicBezTo>
                    <a:pt x="311033" y="33584"/>
                    <a:pt x="309983" y="35881"/>
                    <a:pt x="307975" y="36885"/>
                  </a:cubicBezTo>
                  <a:cubicBezTo>
                    <a:pt x="305562" y="38092"/>
                    <a:pt x="302684" y="37944"/>
                    <a:pt x="300038" y="38473"/>
                  </a:cubicBezTo>
                  <a:cubicBezTo>
                    <a:pt x="292191" y="42396"/>
                    <a:pt x="284956" y="34504"/>
                    <a:pt x="282575" y="36885"/>
                  </a:cubicBezTo>
                  <a:close/>
                </a:path>
              </a:pathLst>
            </a:custGeom>
            <a:solidFill>
              <a:srgbClr val="003399"/>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grpSp>
          <p:nvGrpSpPr>
            <p:cNvPr id="304" name="Grupo 13">
              <a:extLst>
                <a:ext uri="{FF2B5EF4-FFF2-40B4-BE49-F238E27FC236}">
                  <a16:creationId xmlns:a16="http://schemas.microsoft.com/office/drawing/2014/main" id="{00C9B9E7-D725-4535-AB8E-4DF6376E273E}"/>
                </a:ext>
              </a:extLst>
            </p:cNvPr>
            <p:cNvGrpSpPr/>
            <p:nvPr/>
          </p:nvGrpSpPr>
          <p:grpSpPr>
            <a:xfrm>
              <a:off x="8115894" y="2241353"/>
              <a:ext cx="585788" cy="376238"/>
              <a:chOff x="5391150" y="2644775"/>
              <a:chExt cx="585788" cy="376238"/>
            </a:xfrm>
            <a:solidFill>
              <a:srgbClr val="003399"/>
            </a:solidFill>
          </p:grpSpPr>
          <p:sp>
            <p:nvSpPr>
              <p:cNvPr id="866" name="Forma libre: forma 14">
                <a:extLst>
                  <a:ext uri="{FF2B5EF4-FFF2-40B4-BE49-F238E27FC236}">
                    <a16:creationId xmlns:a16="http://schemas.microsoft.com/office/drawing/2014/main" id="{A7D3282E-83E7-4F51-A52D-82E8A595593D}"/>
                  </a:ext>
                </a:extLst>
              </p:cNvPr>
              <p:cNvSpPr/>
              <p:nvPr/>
            </p:nvSpPr>
            <p:spPr>
              <a:xfrm>
                <a:off x="5485486" y="2814225"/>
                <a:ext cx="29489" cy="8808"/>
              </a:xfrm>
              <a:custGeom>
                <a:avLst/>
                <a:gdLst>
                  <a:gd name="connsiteX0" fmla="*/ 16789 w 29489"/>
                  <a:gd name="connsiteY0" fmla="*/ 413 h 8808"/>
                  <a:gd name="connsiteX1" fmla="*/ 914 w 29489"/>
                  <a:gd name="connsiteY1" fmla="*/ 2000 h 8808"/>
                  <a:gd name="connsiteX2" fmla="*/ 2502 w 29489"/>
                  <a:gd name="connsiteY2" fmla="*/ 8350 h 8808"/>
                  <a:gd name="connsiteX3" fmla="*/ 29489 w 29489"/>
                  <a:gd name="connsiteY3" fmla="*/ 6763 h 8808"/>
                  <a:gd name="connsiteX4" fmla="*/ 21552 w 29489"/>
                  <a:gd name="connsiteY4" fmla="*/ 5175 h 8808"/>
                  <a:gd name="connsiteX5" fmla="*/ 16789 w 29489"/>
                  <a:gd name="connsiteY5" fmla="*/ 413 h 88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489" h="8808">
                    <a:moveTo>
                      <a:pt x="16789" y="413"/>
                    </a:moveTo>
                    <a:cubicBezTo>
                      <a:pt x="13349" y="-116"/>
                      <a:pt x="5563" y="-583"/>
                      <a:pt x="914" y="2000"/>
                    </a:cubicBezTo>
                    <a:cubicBezTo>
                      <a:pt x="-993" y="3060"/>
                      <a:pt x="350" y="7991"/>
                      <a:pt x="2502" y="8350"/>
                    </a:cubicBezTo>
                    <a:cubicBezTo>
                      <a:pt x="11391" y="9832"/>
                      <a:pt x="20493" y="7292"/>
                      <a:pt x="29489" y="6763"/>
                    </a:cubicBezTo>
                    <a:cubicBezTo>
                      <a:pt x="26843" y="6234"/>
                      <a:pt x="24078" y="6122"/>
                      <a:pt x="21552" y="5175"/>
                    </a:cubicBezTo>
                    <a:cubicBezTo>
                      <a:pt x="18679" y="4097"/>
                      <a:pt x="20229" y="942"/>
                      <a:pt x="16789" y="41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grpSp>
            <p:nvGrpSpPr>
              <p:cNvPr id="867" name="Grupo 15">
                <a:extLst>
                  <a:ext uri="{FF2B5EF4-FFF2-40B4-BE49-F238E27FC236}">
                    <a16:creationId xmlns:a16="http://schemas.microsoft.com/office/drawing/2014/main" id="{9B3CF389-EF2A-4766-A20D-E21BF25F923A}"/>
                  </a:ext>
                </a:extLst>
              </p:cNvPr>
              <p:cNvGrpSpPr/>
              <p:nvPr/>
            </p:nvGrpSpPr>
            <p:grpSpPr>
              <a:xfrm>
                <a:off x="5391150" y="2644775"/>
                <a:ext cx="585788" cy="376238"/>
                <a:chOff x="5391150" y="2644775"/>
                <a:chExt cx="585788" cy="376238"/>
              </a:xfrm>
              <a:grpFill/>
            </p:grpSpPr>
            <p:sp>
              <p:nvSpPr>
                <p:cNvPr id="868" name="Forma libre: forma 16">
                  <a:extLst>
                    <a:ext uri="{FF2B5EF4-FFF2-40B4-BE49-F238E27FC236}">
                      <a16:creationId xmlns:a16="http://schemas.microsoft.com/office/drawing/2014/main" id="{9AB461C9-BBE6-4DFA-B7A5-2CA2217F914C}"/>
                    </a:ext>
                  </a:extLst>
                </p:cNvPr>
                <p:cNvSpPr/>
                <p:nvPr/>
              </p:nvSpPr>
              <p:spPr>
                <a:xfrm>
                  <a:off x="5521104" y="2644775"/>
                  <a:ext cx="455834" cy="376238"/>
                </a:xfrm>
                <a:custGeom>
                  <a:avLst/>
                  <a:gdLst>
                    <a:gd name="connsiteX0" fmla="*/ 381221 w 455834"/>
                    <a:gd name="connsiteY0" fmla="*/ 20638 h 376238"/>
                    <a:gd name="connsiteX1" fmla="*/ 390746 w 455834"/>
                    <a:gd name="connsiteY1" fmla="*/ 12700 h 376238"/>
                    <a:gd name="connsiteX2" fmla="*/ 400271 w 455834"/>
                    <a:gd name="connsiteY2" fmla="*/ 0 h 376238"/>
                    <a:gd name="connsiteX3" fmla="*/ 411384 w 455834"/>
                    <a:gd name="connsiteY3" fmla="*/ 1588 h 376238"/>
                    <a:gd name="connsiteX4" fmla="*/ 412971 w 455834"/>
                    <a:gd name="connsiteY4" fmla="*/ 22225 h 376238"/>
                    <a:gd name="connsiteX5" fmla="*/ 406621 w 455834"/>
                    <a:gd name="connsiteY5" fmla="*/ 34925 h 376238"/>
                    <a:gd name="connsiteX6" fmla="*/ 401859 w 455834"/>
                    <a:gd name="connsiteY6" fmla="*/ 49213 h 376238"/>
                    <a:gd name="connsiteX7" fmla="*/ 398684 w 455834"/>
                    <a:gd name="connsiteY7" fmla="*/ 60325 h 376238"/>
                    <a:gd name="connsiteX8" fmla="*/ 397096 w 455834"/>
                    <a:gd name="connsiteY8" fmla="*/ 80963 h 376238"/>
                    <a:gd name="connsiteX9" fmla="*/ 395509 w 455834"/>
                    <a:gd name="connsiteY9" fmla="*/ 88900 h 376238"/>
                    <a:gd name="connsiteX10" fmla="*/ 390746 w 455834"/>
                    <a:gd name="connsiteY10" fmla="*/ 93663 h 376238"/>
                    <a:gd name="connsiteX11" fmla="*/ 376459 w 455834"/>
                    <a:gd name="connsiteY11" fmla="*/ 103188 h 376238"/>
                    <a:gd name="connsiteX12" fmla="*/ 373284 w 455834"/>
                    <a:gd name="connsiteY12" fmla="*/ 112713 h 376238"/>
                    <a:gd name="connsiteX13" fmla="*/ 368521 w 455834"/>
                    <a:gd name="connsiteY13" fmla="*/ 119063 h 376238"/>
                    <a:gd name="connsiteX14" fmla="*/ 370109 w 455834"/>
                    <a:gd name="connsiteY14" fmla="*/ 127000 h 376238"/>
                    <a:gd name="connsiteX15" fmla="*/ 374871 w 455834"/>
                    <a:gd name="connsiteY15" fmla="*/ 141288 h 376238"/>
                    <a:gd name="connsiteX16" fmla="*/ 381221 w 455834"/>
                    <a:gd name="connsiteY16" fmla="*/ 152400 h 376238"/>
                    <a:gd name="connsiteX17" fmla="*/ 387571 w 455834"/>
                    <a:gd name="connsiteY17" fmla="*/ 165100 h 376238"/>
                    <a:gd name="connsiteX18" fmla="*/ 390746 w 455834"/>
                    <a:gd name="connsiteY18" fmla="*/ 169863 h 376238"/>
                    <a:gd name="connsiteX19" fmla="*/ 397096 w 455834"/>
                    <a:gd name="connsiteY19" fmla="*/ 171450 h 376238"/>
                    <a:gd name="connsiteX20" fmla="*/ 400271 w 455834"/>
                    <a:gd name="connsiteY20" fmla="*/ 176213 h 376238"/>
                    <a:gd name="connsiteX21" fmla="*/ 405034 w 455834"/>
                    <a:gd name="connsiteY21" fmla="*/ 222250 h 376238"/>
                    <a:gd name="connsiteX22" fmla="*/ 403446 w 455834"/>
                    <a:gd name="connsiteY22" fmla="*/ 230188 h 376238"/>
                    <a:gd name="connsiteX23" fmla="*/ 408209 w 455834"/>
                    <a:gd name="connsiteY23" fmla="*/ 236538 h 376238"/>
                    <a:gd name="connsiteX24" fmla="*/ 419321 w 455834"/>
                    <a:gd name="connsiteY24" fmla="*/ 241300 h 376238"/>
                    <a:gd name="connsiteX25" fmla="*/ 425671 w 455834"/>
                    <a:gd name="connsiteY25" fmla="*/ 250825 h 376238"/>
                    <a:gd name="connsiteX26" fmla="*/ 428846 w 455834"/>
                    <a:gd name="connsiteY26" fmla="*/ 258763 h 376238"/>
                    <a:gd name="connsiteX27" fmla="*/ 433609 w 455834"/>
                    <a:gd name="connsiteY27" fmla="*/ 261938 h 376238"/>
                    <a:gd name="connsiteX28" fmla="*/ 435196 w 455834"/>
                    <a:gd name="connsiteY28" fmla="*/ 268288 h 376238"/>
                    <a:gd name="connsiteX29" fmla="*/ 441546 w 455834"/>
                    <a:gd name="connsiteY29" fmla="*/ 269875 h 376238"/>
                    <a:gd name="connsiteX30" fmla="*/ 455834 w 455834"/>
                    <a:gd name="connsiteY30" fmla="*/ 273050 h 376238"/>
                    <a:gd name="connsiteX31" fmla="*/ 449484 w 455834"/>
                    <a:gd name="connsiteY31" fmla="*/ 280988 h 376238"/>
                    <a:gd name="connsiteX32" fmla="*/ 443134 w 455834"/>
                    <a:gd name="connsiteY32" fmla="*/ 287338 h 376238"/>
                    <a:gd name="connsiteX33" fmla="*/ 438371 w 455834"/>
                    <a:gd name="connsiteY33" fmla="*/ 292100 h 376238"/>
                    <a:gd name="connsiteX34" fmla="*/ 433609 w 455834"/>
                    <a:gd name="connsiteY34" fmla="*/ 306388 h 376238"/>
                    <a:gd name="connsiteX35" fmla="*/ 428846 w 455834"/>
                    <a:gd name="connsiteY35" fmla="*/ 307975 h 376238"/>
                    <a:gd name="connsiteX36" fmla="*/ 424084 w 455834"/>
                    <a:gd name="connsiteY36" fmla="*/ 311150 h 376238"/>
                    <a:gd name="connsiteX37" fmla="*/ 427259 w 455834"/>
                    <a:gd name="connsiteY37" fmla="*/ 338138 h 376238"/>
                    <a:gd name="connsiteX38" fmla="*/ 425671 w 455834"/>
                    <a:gd name="connsiteY38" fmla="*/ 349250 h 376238"/>
                    <a:gd name="connsiteX39" fmla="*/ 393921 w 455834"/>
                    <a:gd name="connsiteY39" fmla="*/ 342900 h 376238"/>
                    <a:gd name="connsiteX40" fmla="*/ 390746 w 455834"/>
                    <a:gd name="connsiteY40" fmla="*/ 338138 h 376238"/>
                    <a:gd name="connsiteX41" fmla="*/ 379634 w 455834"/>
                    <a:gd name="connsiteY41" fmla="*/ 346075 h 376238"/>
                    <a:gd name="connsiteX42" fmla="*/ 370109 w 455834"/>
                    <a:gd name="connsiteY42" fmla="*/ 352425 h 376238"/>
                    <a:gd name="connsiteX43" fmla="*/ 363759 w 455834"/>
                    <a:gd name="connsiteY43" fmla="*/ 371475 h 376238"/>
                    <a:gd name="connsiteX44" fmla="*/ 355821 w 455834"/>
                    <a:gd name="connsiteY44" fmla="*/ 376238 h 376238"/>
                    <a:gd name="connsiteX45" fmla="*/ 341534 w 455834"/>
                    <a:gd name="connsiteY45" fmla="*/ 374650 h 376238"/>
                    <a:gd name="connsiteX46" fmla="*/ 339946 w 455834"/>
                    <a:gd name="connsiteY46" fmla="*/ 369888 h 376238"/>
                    <a:gd name="connsiteX47" fmla="*/ 333596 w 455834"/>
                    <a:gd name="connsiteY47" fmla="*/ 361950 h 376238"/>
                    <a:gd name="connsiteX48" fmla="*/ 325659 w 455834"/>
                    <a:gd name="connsiteY48" fmla="*/ 357188 h 376238"/>
                    <a:gd name="connsiteX49" fmla="*/ 320896 w 455834"/>
                    <a:gd name="connsiteY49" fmla="*/ 352425 h 376238"/>
                    <a:gd name="connsiteX50" fmla="*/ 309784 w 455834"/>
                    <a:gd name="connsiteY50" fmla="*/ 346075 h 376238"/>
                    <a:gd name="connsiteX51" fmla="*/ 303434 w 455834"/>
                    <a:gd name="connsiteY51" fmla="*/ 341313 h 376238"/>
                    <a:gd name="connsiteX52" fmla="*/ 300259 w 455834"/>
                    <a:gd name="connsiteY52" fmla="*/ 336550 h 376238"/>
                    <a:gd name="connsiteX53" fmla="*/ 293909 w 455834"/>
                    <a:gd name="connsiteY53" fmla="*/ 328613 h 376238"/>
                    <a:gd name="connsiteX54" fmla="*/ 254221 w 455834"/>
                    <a:gd name="connsiteY54" fmla="*/ 323850 h 376238"/>
                    <a:gd name="connsiteX55" fmla="*/ 251046 w 455834"/>
                    <a:gd name="connsiteY55" fmla="*/ 317500 h 376238"/>
                    <a:gd name="connsiteX56" fmla="*/ 239934 w 455834"/>
                    <a:gd name="connsiteY56" fmla="*/ 311150 h 376238"/>
                    <a:gd name="connsiteX57" fmla="*/ 227234 w 455834"/>
                    <a:gd name="connsiteY57" fmla="*/ 301625 h 376238"/>
                    <a:gd name="connsiteX58" fmla="*/ 216121 w 455834"/>
                    <a:gd name="connsiteY58" fmla="*/ 303213 h 376238"/>
                    <a:gd name="connsiteX59" fmla="*/ 220884 w 455834"/>
                    <a:gd name="connsiteY59" fmla="*/ 307975 h 376238"/>
                    <a:gd name="connsiteX60" fmla="*/ 216121 w 455834"/>
                    <a:gd name="connsiteY60" fmla="*/ 312738 h 376238"/>
                    <a:gd name="connsiteX61" fmla="*/ 212946 w 455834"/>
                    <a:gd name="connsiteY61" fmla="*/ 317500 h 376238"/>
                    <a:gd name="connsiteX62" fmla="*/ 193896 w 455834"/>
                    <a:gd name="connsiteY62" fmla="*/ 309563 h 376238"/>
                    <a:gd name="connsiteX63" fmla="*/ 174846 w 455834"/>
                    <a:gd name="connsiteY63" fmla="*/ 311150 h 376238"/>
                    <a:gd name="connsiteX64" fmla="*/ 170084 w 455834"/>
                    <a:gd name="connsiteY64" fmla="*/ 325438 h 376238"/>
                    <a:gd name="connsiteX65" fmla="*/ 165321 w 455834"/>
                    <a:gd name="connsiteY65" fmla="*/ 327025 h 376238"/>
                    <a:gd name="connsiteX66" fmla="*/ 158971 w 455834"/>
                    <a:gd name="connsiteY66" fmla="*/ 328613 h 376238"/>
                    <a:gd name="connsiteX67" fmla="*/ 154209 w 455834"/>
                    <a:gd name="connsiteY67" fmla="*/ 333375 h 376238"/>
                    <a:gd name="connsiteX68" fmla="*/ 143096 w 455834"/>
                    <a:gd name="connsiteY68" fmla="*/ 339725 h 376238"/>
                    <a:gd name="connsiteX69" fmla="*/ 136746 w 455834"/>
                    <a:gd name="connsiteY69" fmla="*/ 346075 h 376238"/>
                    <a:gd name="connsiteX70" fmla="*/ 135159 w 455834"/>
                    <a:gd name="connsiteY70" fmla="*/ 328613 h 376238"/>
                    <a:gd name="connsiteX71" fmla="*/ 128809 w 455834"/>
                    <a:gd name="connsiteY71" fmla="*/ 295275 h 376238"/>
                    <a:gd name="connsiteX72" fmla="*/ 127221 w 455834"/>
                    <a:gd name="connsiteY72" fmla="*/ 290513 h 376238"/>
                    <a:gd name="connsiteX73" fmla="*/ 125634 w 455834"/>
                    <a:gd name="connsiteY73" fmla="*/ 277813 h 376238"/>
                    <a:gd name="connsiteX74" fmla="*/ 122459 w 455834"/>
                    <a:gd name="connsiteY74" fmla="*/ 273050 h 376238"/>
                    <a:gd name="connsiteX75" fmla="*/ 119284 w 455834"/>
                    <a:gd name="connsiteY75" fmla="*/ 263525 h 376238"/>
                    <a:gd name="connsiteX76" fmla="*/ 109759 w 455834"/>
                    <a:gd name="connsiteY76" fmla="*/ 261938 h 376238"/>
                    <a:gd name="connsiteX77" fmla="*/ 104996 w 455834"/>
                    <a:gd name="connsiteY77" fmla="*/ 265113 h 376238"/>
                    <a:gd name="connsiteX78" fmla="*/ 100234 w 455834"/>
                    <a:gd name="connsiteY78" fmla="*/ 276225 h 376238"/>
                    <a:gd name="connsiteX79" fmla="*/ 93884 w 455834"/>
                    <a:gd name="connsiteY79" fmla="*/ 287338 h 376238"/>
                    <a:gd name="connsiteX80" fmla="*/ 89121 w 455834"/>
                    <a:gd name="connsiteY80" fmla="*/ 285750 h 376238"/>
                    <a:gd name="connsiteX81" fmla="*/ 81184 w 455834"/>
                    <a:gd name="connsiteY81" fmla="*/ 277813 h 376238"/>
                    <a:gd name="connsiteX82" fmla="*/ 73246 w 455834"/>
                    <a:gd name="connsiteY82" fmla="*/ 276225 h 376238"/>
                    <a:gd name="connsiteX83" fmla="*/ 46259 w 455834"/>
                    <a:gd name="connsiteY83" fmla="*/ 274638 h 376238"/>
                    <a:gd name="connsiteX84" fmla="*/ 44671 w 455834"/>
                    <a:gd name="connsiteY84" fmla="*/ 269875 h 376238"/>
                    <a:gd name="connsiteX85" fmla="*/ 43084 w 455834"/>
                    <a:gd name="connsiteY85" fmla="*/ 263525 h 376238"/>
                    <a:gd name="connsiteX86" fmla="*/ 36734 w 455834"/>
                    <a:gd name="connsiteY86" fmla="*/ 257175 h 376238"/>
                    <a:gd name="connsiteX87" fmla="*/ 25621 w 455834"/>
                    <a:gd name="connsiteY87" fmla="*/ 247650 h 376238"/>
                    <a:gd name="connsiteX88" fmla="*/ 24034 w 455834"/>
                    <a:gd name="connsiteY88" fmla="*/ 230188 h 376238"/>
                    <a:gd name="connsiteX89" fmla="*/ 20859 w 455834"/>
                    <a:gd name="connsiteY89" fmla="*/ 212725 h 376238"/>
                    <a:gd name="connsiteX90" fmla="*/ 62134 w 455834"/>
                    <a:gd name="connsiteY90" fmla="*/ 207963 h 376238"/>
                    <a:gd name="connsiteX91" fmla="*/ 68484 w 455834"/>
                    <a:gd name="connsiteY91" fmla="*/ 204788 h 376238"/>
                    <a:gd name="connsiteX92" fmla="*/ 19271 w 455834"/>
                    <a:gd name="connsiteY92" fmla="*/ 198438 h 376238"/>
                    <a:gd name="connsiteX93" fmla="*/ 12921 w 455834"/>
                    <a:gd name="connsiteY93" fmla="*/ 190500 h 376238"/>
                    <a:gd name="connsiteX94" fmla="*/ 12921 w 455834"/>
                    <a:gd name="connsiteY94" fmla="*/ 177800 h 376238"/>
                    <a:gd name="connsiteX95" fmla="*/ 16096 w 455834"/>
                    <a:gd name="connsiteY95" fmla="*/ 168275 h 376238"/>
                    <a:gd name="connsiteX96" fmla="*/ 24034 w 455834"/>
                    <a:gd name="connsiteY96" fmla="*/ 160338 h 376238"/>
                    <a:gd name="connsiteX97" fmla="*/ 25621 w 455834"/>
                    <a:gd name="connsiteY97" fmla="*/ 155575 h 376238"/>
                    <a:gd name="connsiteX98" fmla="*/ 1809 w 455834"/>
                    <a:gd name="connsiteY98" fmla="*/ 147638 h 376238"/>
                    <a:gd name="connsiteX99" fmla="*/ 6571 w 455834"/>
                    <a:gd name="connsiteY99" fmla="*/ 142875 h 376238"/>
                    <a:gd name="connsiteX100" fmla="*/ 8159 w 455834"/>
                    <a:gd name="connsiteY100" fmla="*/ 127000 h 376238"/>
                    <a:gd name="connsiteX101" fmla="*/ 17684 w 455834"/>
                    <a:gd name="connsiteY101" fmla="*/ 120650 h 376238"/>
                    <a:gd name="connsiteX102" fmla="*/ 30384 w 455834"/>
                    <a:gd name="connsiteY102" fmla="*/ 115888 h 376238"/>
                    <a:gd name="connsiteX103" fmla="*/ 41496 w 455834"/>
                    <a:gd name="connsiteY103" fmla="*/ 112713 h 376238"/>
                    <a:gd name="connsiteX104" fmla="*/ 43084 w 455834"/>
                    <a:gd name="connsiteY104" fmla="*/ 107950 h 376238"/>
                    <a:gd name="connsiteX105" fmla="*/ 47846 w 455834"/>
                    <a:gd name="connsiteY105" fmla="*/ 103188 h 376238"/>
                    <a:gd name="connsiteX106" fmla="*/ 49434 w 455834"/>
                    <a:gd name="connsiteY106" fmla="*/ 93663 h 376238"/>
                    <a:gd name="connsiteX107" fmla="*/ 55784 w 455834"/>
                    <a:gd name="connsiteY107" fmla="*/ 82550 h 376238"/>
                    <a:gd name="connsiteX108" fmla="*/ 71659 w 455834"/>
                    <a:gd name="connsiteY108" fmla="*/ 76200 h 376238"/>
                    <a:gd name="connsiteX109" fmla="*/ 78009 w 455834"/>
                    <a:gd name="connsiteY109" fmla="*/ 73025 h 376238"/>
                    <a:gd name="connsiteX110" fmla="*/ 82771 w 455834"/>
                    <a:gd name="connsiteY110" fmla="*/ 69850 h 376238"/>
                    <a:gd name="connsiteX111" fmla="*/ 89121 w 455834"/>
                    <a:gd name="connsiteY111" fmla="*/ 68263 h 376238"/>
                    <a:gd name="connsiteX112" fmla="*/ 97059 w 455834"/>
                    <a:gd name="connsiteY112" fmla="*/ 65088 h 376238"/>
                    <a:gd name="connsiteX113" fmla="*/ 108171 w 455834"/>
                    <a:gd name="connsiteY113" fmla="*/ 60325 h 376238"/>
                    <a:gd name="connsiteX114" fmla="*/ 109759 w 455834"/>
                    <a:gd name="connsiteY114" fmla="*/ 55563 h 376238"/>
                    <a:gd name="connsiteX115" fmla="*/ 111346 w 455834"/>
                    <a:gd name="connsiteY115" fmla="*/ 46038 h 376238"/>
                    <a:gd name="connsiteX116" fmla="*/ 112934 w 455834"/>
                    <a:gd name="connsiteY116" fmla="*/ 50800 h 376238"/>
                    <a:gd name="connsiteX117" fmla="*/ 120871 w 455834"/>
                    <a:gd name="connsiteY117" fmla="*/ 52388 h 376238"/>
                    <a:gd name="connsiteX118" fmla="*/ 127221 w 455834"/>
                    <a:gd name="connsiteY118" fmla="*/ 46038 h 376238"/>
                    <a:gd name="connsiteX119" fmla="*/ 162146 w 455834"/>
                    <a:gd name="connsiteY119" fmla="*/ 42863 h 376238"/>
                    <a:gd name="connsiteX120" fmla="*/ 160559 w 455834"/>
                    <a:gd name="connsiteY120" fmla="*/ 69850 h 376238"/>
                    <a:gd name="connsiteX121" fmla="*/ 163734 w 455834"/>
                    <a:gd name="connsiteY121" fmla="*/ 63500 h 376238"/>
                    <a:gd name="connsiteX122" fmla="*/ 165321 w 455834"/>
                    <a:gd name="connsiteY122" fmla="*/ 57150 h 376238"/>
                    <a:gd name="connsiteX123" fmla="*/ 168496 w 455834"/>
                    <a:gd name="connsiteY123" fmla="*/ 49213 h 376238"/>
                    <a:gd name="connsiteX124" fmla="*/ 170084 w 455834"/>
                    <a:gd name="connsiteY124" fmla="*/ 36513 h 376238"/>
                    <a:gd name="connsiteX125" fmla="*/ 176434 w 455834"/>
                    <a:gd name="connsiteY125" fmla="*/ 31750 h 376238"/>
                    <a:gd name="connsiteX126" fmla="*/ 182784 w 455834"/>
                    <a:gd name="connsiteY126" fmla="*/ 25400 h 376238"/>
                    <a:gd name="connsiteX127" fmla="*/ 174846 w 455834"/>
                    <a:gd name="connsiteY127" fmla="*/ 23813 h 376238"/>
                    <a:gd name="connsiteX128" fmla="*/ 181196 w 455834"/>
                    <a:gd name="connsiteY128" fmla="*/ 25400 h 376238"/>
                    <a:gd name="connsiteX129" fmla="*/ 206596 w 455834"/>
                    <a:gd name="connsiteY129" fmla="*/ 23813 h 376238"/>
                    <a:gd name="connsiteX130" fmla="*/ 227234 w 455834"/>
                    <a:gd name="connsiteY130" fmla="*/ 20638 h 376238"/>
                    <a:gd name="connsiteX131" fmla="*/ 233584 w 455834"/>
                    <a:gd name="connsiteY131" fmla="*/ 15875 h 376238"/>
                    <a:gd name="connsiteX132" fmla="*/ 254221 w 455834"/>
                    <a:gd name="connsiteY132" fmla="*/ 11113 h 376238"/>
                    <a:gd name="connsiteX133" fmla="*/ 260571 w 455834"/>
                    <a:gd name="connsiteY133" fmla="*/ 9525 h 376238"/>
                    <a:gd name="connsiteX134" fmla="*/ 282796 w 455834"/>
                    <a:gd name="connsiteY134" fmla="*/ 14288 h 376238"/>
                    <a:gd name="connsiteX135" fmla="*/ 285971 w 455834"/>
                    <a:gd name="connsiteY135" fmla="*/ 22225 h 376238"/>
                    <a:gd name="connsiteX136" fmla="*/ 290734 w 455834"/>
                    <a:gd name="connsiteY136" fmla="*/ 25400 h 376238"/>
                    <a:gd name="connsiteX137" fmla="*/ 293909 w 455834"/>
                    <a:gd name="connsiteY137" fmla="*/ 30163 h 376238"/>
                    <a:gd name="connsiteX138" fmla="*/ 316134 w 455834"/>
                    <a:gd name="connsiteY138" fmla="*/ 28575 h 376238"/>
                    <a:gd name="connsiteX139" fmla="*/ 317721 w 455834"/>
                    <a:gd name="connsiteY139" fmla="*/ 23813 h 376238"/>
                    <a:gd name="connsiteX140" fmla="*/ 327246 w 455834"/>
                    <a:gd name="connsiteY140" fmla="*/ 15875 h 376238"/>
                    <a:gd name="connsiteX141" fmla="*/ 332009 w 455834"/>
                    <a:gd name="connsiteY141" fmla="*/ 14288 h 376238"/>
                    <a:gd name="connsiteX142" fmla="*/ 371696 w 455834"/>
                    <a:gd name="connsiteY142" fmla="*/ 12700 h 376238"/>
                    <a:gd name="connsiteX143" fmla="*/ 390746 w 455834"/>
                    <a:gd name="connsiteY143" fmla="*/ 6350 h 376238"/>
                    <a:gd name="connsiteX144" fmla="*/ 395509 w 455834"/>
                    <a:gd name="connsiteY144" fmla="*/ 3175 h 376238"/>
                    <a:gd name="connsiteX145" fmla="*/ 381221 w 455834"/>
                    <a:gd name="connsiteY145" fmla="*/ 20638 h 376238"/>
                    <a:gd name="connsiteX0" fmla="*/ 381221 w 455834"/>
                    <a:gd name="connsiteY0" fmla="*/ 20638 h 376238"/>
                    <a:gd name="connsiteX1" fmla="*/ 390746 w 455834"/>
                    <a:gd name="connsiteY1" fmla="*/ 12700 h 376238"/>
                    <a:gd name="connsiteX2" fmla="*/ 400271 w 455834"/>
                    <a:gd name="connsiteY2" fmla="*/ 0 h 376238"/>
                    <a:gd name="connsiteX3" fmla="*/ 411384 w 455834"/>
                    <a:gd name="connsiteY3" fmla="*/ 1588 h 376238"/>
                    <a:gd name="connsiteX4" fmla="*/ 412971 w 455834"/>
                    <a:gd name="connsiteY4" fmla="*/ 22225 h 376238"/>
                    <a:gd name="connsiteX5" fmla="*/ 406621 w 455834"/>
                    <a:gd name="connsiteY5" fmla="*/ 34925 h 376238"/>
                    <a:gd name="connsiteX6" fmla="*/ 401859 w 455834"/>
                    <a:gd name="connsiteY6" fmla="*/ 49213 h 376238"/>
                    <a:gd name="connsiteX7" fmla="*/ 398684 w 455834"/>
                    <a:gd name="connsiteY7" fmla="*/ 60325 h 376238"/>
                    <a:gd name="connsiteX8" fmla="*/ 397096 w 455834"/>
                    <a:gd name="connsiteY8" fmla="*/ 80963 h 376238"/>
                    <a:gd name="connsiteX9" fmla="*/ 395509 w 455834"/>
                    <a:gd name="connsiteY9" fmla="*/ 88900 h 376238"/>
                    <a:gd name="connsiteX10" fmla="*/ 390746 w 455834"/>
                    <a:gd name="connsiteY10" fmla="*/ 93663 h 376238"/>
                    <a:gd name="connsiteX11" fmla="*/ 376459 w 455834"/>
                    <a:gd name="connsiteY11" fmla="*/ 103188 h 376238"/>
                    <a:gd name="connsiteX12" fmla="*/ 373284 w 455834"/>
                    <a:gd name="connsiteY12" fmla="*/ 112713 h 376238"/>
                    <a:gd name="connsiteX13" fmla="*/ 368521 w 455834"/>
                    <a:gd name="connsiteY13" fmla="*/ 119063 h 376238"/>
                    <a:gd name="connsiteX14" fmla="*/ 370109 w 455834"/>
                    <a:gd name="connsiteY14" fmla="*/ 127000 h 376238"/>
                    <a:gd name="connsiteX15" fmla="*/ 374871 w 455834"/>
                    <a:gd name="connsiteY15" fmla="*/ 141288 h 376238"/>
                    <a:gd name="connsiteX16" fmla="*/ 381221 w 455834"/>
                    <a:gd name="connsiteY16" fmla="*/ 152400 h 376238"/>
                    <a:gd name="connsiteX17" fmla="*/ 387571 w 455834"/>
                    <a:gd name="connsiteY17" fmla="*/ 165100 h 376238"/>
                    <a:gd name="connsiteX18" fmla="*/ 390746 w 455834"/>
                    <a:gd name="connsiteY18" fmla="*/ 169863 h 376238"/>
                    <a:gd name="connsiteX19" fmla="*/ 397096 w 455834"/>
                    <a:gd name="connsiteY19" fmla="*/ 171450 h 376238"/>
                    <a:gd name="connsiteX20" fmla="*/ 400271 w 455834"/>
                    <a:gd name="connsiteY20" fmla="*/ 176213 h 376238"/>
                    <a:gd name="connsiteX21" fmla="*/ 405034 w 455834"/>
                    <a:gd name="connsiteY21" fmla="*/ 222250 h 376238"/>
                    <a:gd name="connsiteX22" fmla="*/ 403446 w 455834"/>
                    <a:gd name="connsiteY22" fmla="*/ 230188 h 376238"/>
                    <a:gd name="connsiteX23" fmla="*/ 408209 w 455834"/>
                    <a:gd name="connsiteY23" fmla="*/ 236538 h 376238"/>
                    <a:gd name="connsiteX24" fmla="*/ 419321 w 455834"/>
                    <a:gd name="connsiteY24" fmla="*/ 241300 h 376238"/>
                    <a:gd name="connsiteX25" fmla="*/ 425671 w 455834"/>
                    <a:gd name="connsiteY25" fmla="*/ 250825 h 376238"/>
                    <a:gd name="connsiteX26" fmla="*/ 428846 w 455834"/>
                    <a:gd name="connsiteY26" fmla="*/ 258763 h 376238"/>
                    <a:gd name="connsiteX27" fmla="*/ 433609 w 455834"/>
                    <a:gd name="connsiteY27" fmla="*/ 261938 h 376238"/>
                    <a:gd name="connsiteX28" fmla="*/ 435196 w 455834"/>
                    <a:gd name="connsiteY28" fmla="*/ 268288 h 376238"/>
                    <a:gd name="connsiteX29" fmla="*/ 441546 w 455834"/>
                    <a:gd name="connsiteY29" fmla="*/ 269875 h 376238"/>
                    <a:gd name="connsiteX30" fmla="*/ 455834 w 455834"/>
                    <a:gd name="connsiteY30" fmla="*/ 273050 h 376238"/>
                    <a:gd name="connsiteX31" fmla="*/ 449484 w 455834"/>
                    <a:gd name="connsiteY31" fmla="*/ 280988 h 376238"/>
                    <a:gd name="connsiteX32" fmla="*/ 443134 w 455834"/>
                    <a:gd name="connsiteY32" fmla="*/ 287338 h 376238"/>
                    <a:gd name="connsiteX33" fmla="*/ 438371 w 455834"/>
                    <a:gd name="connsiteY33" fmla="*/ 292100 h 376238"/>
                    <a:gd name="connsiteX34" fmla="*/ 433609 w 455834"/>
                    <a:gd name="connsiteY34" fmla="*/ 306388 h 376238"/>
                    <a:gd name="connsiteX35" fmla="*/ 428846 w 455834"/>
                    <a:gd name="connsiteY35" fmla="*/ 307975 h 376238"/>
                    <a:gd name="connsiteX36" fmla="*/ 424084 w 455834"/>
                    <a:gd name="connsiteY36" fmla="*/ 311150 h 376238"/>
                    <a:gd name="connsiteX37" fmla="*/ 427259 w 455834"/>
                    <a:gd name="connsiteY37" fmla="*/ 338138 h 376238"/>
                    <a:gd name="connsiteX38" fmla="*/ 425671 w 455834"/>
                    <a:gd name="connsiteY38" fmla="*/ 349250 h 376238"/>
                    <a:gd name="connsiteX39" fmla="*/ 393921 w 455834"/>
                    <a:gd name="connsiteY39" fmla="*/ 342900 h 376238"/>
                    <a:gd name="connsiteX40" fmla="*/ 390746 w 455834"/>
                    <a:gd name="connsiteY40" fmla="*/ 338138 h 376238"/>
                    <a:gd name="connsiteX41" fmla="*/ 379634 w 455834"/>
                    <a:gd name="connsiteY41" fmla="*/ 346075 h 376238"/>
                    <a:gd name="connsiteX42" fmla="*/ 370109 w 455834"/>
                    <a:gd name="connsiteY42" fmla="*/ 352425 h 376238"/>
                    <a:gd name="connsiteX43" fmla="*/ 363759 w 455834"/>
                    <a:gd name="connsiteY43" fmla="*/ 371475 h 376238"/>
                    <a:gd name="connsiteX44" fmla="*/ 355821 w 455834"/>
                    <a:gd name="connsiteY44" fmla="*/ 376238 h 376238"/>
                    <a:gd name="connsiteX45" fmla="*/ 341534 w 455834"/>
                    <a:gd name="connsiteY45" fmla="*/ 374650 h 376238"/>
                    <a:gd name="connsiteX46" fmla="*/ 339946 w 455834"/>
                    <a:gd name="connsiteY46" fmla="*/ 369888 h 376238"/>
                    <a:gd name="connsiteX47" fmla="*/ 333596 w 455834"/>
                    <a:gd name="connsiteY47" fmla="*/ 361950 h 376238"/>
                    <a:gd name="connsiteX48" fmla="*/ 325659 w 455834"/>
                    <a:gd name="connsiteY48" fmla="*/ 357188 h 376238"/>
                    <a:gd name="connsiteX49" fmla="*/ 320896 w 455834"/>
                    <a:gd name="connsiteY49" fmla="*/ 352425 h 376238"/>
                    <a:gd name="connsiteX50" fmla="*/ 309784 w 455834"/>
                    <a:gd name="connsiteY50" fmla="*/ 346075 h 376238"/>
                    <a:gd name="connsiteX51" fmla="*/ 303434 w 455834"/>
                    <a:gd name="connsiteY51" fmla="*/ 341313 h 376238"/>
                    <a:gd name="connsiteX52" fmla="*/ 300259 w 455834"/>
                    <a:gd name="connsiteY52" fmla="*/ 336550 h 376238"/>
                    <a:gd name="connsiteX53" fmla="*/ 293909 w 455834"/>
                    <a:gd name="connsiteY53" fmla="*/ 328613 h 376238"/>
                    <a:gd name="connsiteX54" fmla="*/ 254221 w 455834"/>
                    <a:gd name="connsiteY54" fmla="*/ 323850 h 376238"/>
                    <a:gd name="connsiteX55" fmla="*/ 251046 w 455834"/>
                    <a:gd name="connsiteY55" fmla="*/ 317500 h 376238"/>
                    <a:gd name="connsiteX56" fmla="*/ 239934 w 455834"/>
                    <a:gd name="connsiteY56" fmla="*/ 311150 h 376238"/>
                    <a:gd name="connsiteX57" fmla="*/ 227234 w 455834"/>
                    <a:gd name="connsiteY57" fmla="*/ 301625 h 376238"/>
                    <a:gd name="connsiteX58" fmla="*/ 216121 w 455834"/>
                    <a:gd name="connsiteY58" fmla="*/ 303213 h 376238"/>
                    <a:gd name="connsiteX59" fmla="*/ 220884 w 455834"/>
                    <a:gd name="connsiteY59" fmla="*/ 307975 h 376238"/>
                    <a:gd name="connsiteX60" fmla="*/ 216121 w 455834"/>
                    <a:gd name="connsiteY60" fmla="*/ 312738 h 376238"/>
                    <a:gd name="connsiteX61" fmla="*/ 212946 w 455834"/>
                    <a:gd name="connsiteY61" fmla="*/ 317500 h 376238"/>
                    <a:gd name="connsiteX62" fmla="*/ 193896 w 455834"/>
                    <a:gd name="connsiteY62" fmla="*/ 309563 h 376238"/>
                    <a:gd name="connsiteX63" fmla="*/ 174846 w 455834"/>
                    <a:gd name="connsiteY63" fmla="*/ 311150 h 376238"/>
                    <a:gd name="connsiteX64" fmla="*/ 170084 w 455834"/>
                    <a:gd name="connsiteY64" fmla="*/ 325438 h 376238"/>
                    <a:gd name="connsiteX65" fmla="*/ 165321 w 455834"/>
                    <a:gd name="connsiteY65" fmla="*/ 327025 h 376238"/>
                    <a:gd name="connsiteX66" fmla="*/ 158971 w 455834"/>
                    <a:gd name="connsiteY66" fmla="*/ 328613 h 376238"/>
                    <a:gd name="connsiteX67" fmla="*/ 154209 w 455834"/>
                    <a:gd name="connsiteY67" fmla="*/ 333375 h 376238"/>
                    <a:gd name="connsiteX68" fmla="*/ 143096 w 455834"/>
                    <a:gd name="connsiteY68" fmla="*/ 339725 h 376238"/>
                    <a:gd name="connsiteX69" fmla="*/ 136746 w 455834"/>
                    <a:gd name="connsiteY69" fmla="*/ 346075 h 376238"/>
                    <a:gd name="connsiteX70" fmla="*/ 135159 w 455834"/>
                    <a:gd name="connsiteY70" fmla="*/ 328613 h 376238"/>
                    <a:gd name="connsiteX71" fmla="*/ 128809 w 455834"/>
                    <a:gd name="connsiteY71" fmla="*/ 295275 h 376238"/>
                    <a:gd name="connsiteX72" fmla="*/ 127221 w 455834"/>
                    <a:gd name="connsiteY72" fmla="*/ 290513 h 376238"/>
                    <a:gd name="connsiteX73" fmla="*/ 125634 w 455834"/>
                    <a:gd name="connsiteY73" fmla="*/ 277813 h 376238"/>
                    <a:gd name="connsiteX74" fmla="*/ 122459 w 455834"/>
                    <a:gd name="connsiteY74" fmla="*/ 273050 h 376238"/>
                    <a:gd name="connsiteX75" fmla="*/ 119284 w 455834"/>
                    <a:gd name="connsiteY75" fmla="*/ 263525 h 376238"/>
                    <a:gd name="connsiteX76" fmla="*/ 109759 w 455834"/>
                    <a:gd name="connsiteY76" fmla="*/ 261938 h 376238"/>
                    <a:gd name="connsiteX77" fmla="*/ 104996 w 455834"/>
                    <a:gd name="connsiteY77" fmla="*/ 265113 h 376238"/>
                    <a:gd name="connsiteX78" fmla="*/ 100234 w 455834"/>
                    <a:gd name="connsiteY78" fmla="*/ 276225 h 376238"/>
                    <a:gd name="connsiteX79" fmla="*/ 93884 w 455834"/>
                    <a:gd name="connsiteY79" fmla="*/ 287338 h 376238"/>
                    <a:gd name="connsiteX80" fmla="*/ 89121 w 455834"/>
                    <a:gd name="connsiteY80" fmla="*/ 285750 h 376238"/>
                    <a:gd name="connsiteX81" fmla="*/ 81184 w 455834"/>
                    <a:gd name="connsiteY81" fmla="*/ 277813 h 376238"/>
                    <a:gd name="connsiteX82" fmla="*/ 73246 w 455834"/>
                    <a:gd name="connsiteY82" fmla="*/ 276225 h 376238"/>
                    <a:gd name="connsiteX83" fmla="*/ 46259 w 455834"/>
                    <a:gd name="connsiteY83" fmla="*/ 274638 h 376238"/>
                    <a:gd name="connsiteX84" fmla="*/ 44671 w 455834"/>
                    <a:gd name="connsiteY84" fmla="*/ 269875 h 376238"/>
                    <a:gd name="connsiteX85" fmla="*/ 43084 w 455834"/>
                    <a:gd name="connsiteY85" fmla="*/ 263525 h 376238"/>
                    <a:gd name="connsiteX86" fmla="*/ 36734 w 455834"/>
                    <a:gd name="connsiteY86" fmla="*/ 257175 h 376238"/>
                    <a:gd name="connsiteX87" fmla="*/ 25621 w 455834"/>
                    <a:gd name="connsiteY87" fmla="*/ 247650 h 376238"/>
                    <a:gd name="connsiteX88" fmla="*/ 24034 w 455834"/>
                    <a:gd name="connsiteY88" fmla="*/ 230188 h 376238"/>
                    <a:gd name="connsiteX89" fmla="*/ 20859 w 455834"/>
                    <a:gd name="connsiteY89" fmla="*/ 212725 h 376238"/>
                    <a:gd name="connsiteX90" fmla="*/ 62134 w 455834"/>
                    <a:gd name="connsiteY90" fmla="*/ 207963 h 376238"/>
                    <a:gd name="connsiteX91" fmla="*/ 19271 w 455834"/>
                    <a:gd name="connsiteY91" fmla="*/ 198438 h 376238"/>
                    <a:gd name="connsiteX92" fmla="*/ 12921 w 455834"/>
                    <a:gd name="connsiteY92" fmla="*/ 190500 h 376238"/>
                    <a:gd name="connsiteX93" fmla="*/ 12921 w 455834"/>
                    <a:gd name="connsiteY93" fmla="*/ 177800 h 376238"/>
                    <a:gd name="connsiteX94" fmla="*/ 16096 w 455834"/>
                    <a:gd name="connsiteY94" fmla="*/ 168275 h 376238"/>
                    <a:gd name="connsiteX95" fmla="*/ 24034 w 455834"/>
                    <a:gd name="connsiteY95" fmla="*/ 160338 h 376238"/>
                    <a:gd name="connsiteX96" fmla="*/ 25621 w 455834"/>
                    <a:gd name="connsiteY96" fmla="*/ 155575 h 376238"/>
                    <a:gd name="connsiteX97" fmla="*/ 1809 w 455834"/>
                    <a:gd name="connsiteY97" fmla="*/ 147638 h 376238"/>
                    <a:gd name="connsiteX98" fmla="*/ 6571 w 455834"/>
                    <a:gd name="connsiteY98" fmla="*/ 142875 h 376238"/>
                    <a:gd name="connsiteX99" fmla="*/ 8159 w 455834"/>
                    <a:gd name="connsiteY99" fmla="*/ 127000 h 376238"/>
                    <a:gd name="connsiteX100" fmla="*/ 17684 w 455834"/>
                    <a:gd name="connsiteY100" fmla="*/ 120650 h 376238"/>
                    <a:gd name="connsiteX101" fmla="*/ 30384 w 455834"/>
                    <a:gd name="connsiteY101" fmla="*/ 115888 h 376238"/>
                    <a:gd name="connsiteX102" fmla="*/ 41496 w 455834"/>
                    <a:gd name="connsiteY102" fmla="*/ 112713 h 376238"/>
                    <a:gd name="connsiteX103" fmla="*/ 43084 w 455834"/>
                    <a:gd name="connsiteY103" fmla="*/ 107950 h 376238"/>
                    <a:gd name="connsiteX104" fmla="*/ 47846 w 455834"/>
                    <a:gd name="connsiteY104" fmla="*/ 103188 h 376238"/>
                    <a:gd name="connsiteX105" fmla="*/ 49434 w 455834"/>
                    <a:gd name="connsiteY105" fmla="*/ 93663 h 376238"/>
                    <a:gd name="connsiteX106" fmla="*/ 55784 w 455834"/>
                    <a:gd name="connsiteY106" fmla="*/ 82550 h 376238"/>
                    <a:gd name="connsiteX107" fmla="*/ 71659 w 455834"/>
                    <a:gd name="connsiteY107" fmla="*/ 76200 h 376238"/>
                    <a:gd name="connsiteX108" fmla="*/ 78009 w 455834"/>
                    <a:gd name="connsiteY108" fmla="*/ 73025 h 376238"/>
                    <a:gd name="connsiteX109" fmla="*/ 82771 w 455834"/>
                    <a:gd name="connsiteY109" fmla="*/ 69850 h 376238"/>
                    <a:gd name="connsiteX110" fmla="*/ 89121 w 455834"/>
                    <a:gd name="connsiteY110" fmla="*/ 68263 h 376238"/>
                    <a:gd name="connsiteX111" fmla="*/ 97059 w 455834"/>
                    <a:gd name="connsiteY111" fmla="*/ 65088 h 376238"/>
                    <a:gd name="connsiteX112" fmla="*/ 108171 w 455834"/>
                    <a:gd name="connsiteY112" fmla="*/ 60325 h 376238"/>
                    <a:gd name="connsiteX113" fmla="*/ 109759 w 455834"/>
                    <a:gd name="connsiteY113" fmla="*/ 55563 h 376238"/>
                    <a:gd name="connsiteX114" fmla="*/ 111346 w 455834"/>
                    <a:gd name="connsiteY114" fmla="*/ 46038 h 376238"/>
                    <a:gd name="connsiteX115" fmla="*/ 112934 w 455834"/>
                    <a:gd name="connsiteY115" fmla="*/ 50800 h 376238"/>
                    <a:gd name="connsiteX116" fmla="*/ 120871 w 455834"/>
                    <a:gd name="connsiteY116" fmla="*/ 52388 h 376238"/>
                    <a:gd name="connsiteX117" fmla="*/ 127221 w 455834"/>
                    <a:gd name="connsiteY117" fmla="*/ 46038 h 376238"/>
                    <a:gd name="connsiteX118" fmla="*/ 162146 w 455834"/>
                    <a:gd name="connsiteY118" fmla="*/ 42863 h 376238"/>
                    <a:gd name="connsiteX119" fmla="*/ 160559 w 455834"/>
                    <a:gd name="connsiteY119" fmla="*/ 69850 h 376238"/>
                    <a:gd name="connsiteX120" fmla="*/ 163734 w 455834"/>
                    <a:gd name="connsiteY120" fmla="*/ 63500 h 376238"/>
                    <a:gd name="connsiteX121" fmla="*/ 165321 w 455834"/>
                    <a:gd name="connsiteY121" fmla="*/ 57150 h 376238"/>
                    <a:gd name="connsiteX122" fmla="*/ 168496 w 455834"/>
                    <a:gd name="connsiteY122" fmla="*/ 49213 h 376238"/>
                    <a:gd name="connsiteX123" fmla="*/ 170084 w 455834"/>
                    <a:gd name="connsiteY123" fmla="*/ 36513 h 376238"/>
                    <a:gd name="connsiteX124" fmla="*/ 176434 w 455834"/>
                    <a:gd name="connsiteY124" fmla="*/ 31750 h 376238"/>
                    <a:gd name="connsiteX125" fmla="*/ 182784 w 455834"/>
                    <a:gd name="connsiteY125" fmla="*/ 25400 h 376238"/>
                    <a:gd name="connsiteX126" fmla="*/ 174846 w 455834"/>
                    <a:gd name="connsiteY126" fmla="*/ 23813 h 376238"/>
                    <a:gd name="connsiteX127" fmla="*/ 181196 w 455834"/>
                    <a:gd name="connsiteY127" fmla="*/ 25400 h 376238"/>
                    <a:gd name="connsiteX128" fmla="*/ 206596 w 455834"/>
                    <a:gd name="connsiteY128" fmla="*/ 23813 h 376238"/>
                    <a:gd name="connsiteX129" fmla="*/ 227234 w 455834"/>
                    <a:gd name="connsiteY129" fmla="*/ 20638 h 376238"/>
                    <a:gd name="connsiteX130" fmla="*/ 233584 w 455834"/>
                    <a:gd name="connsiteY130" fmla="*/ 15875 h 376238"/>
                    <a:gd name="connsiteX131" fmla="*/ 254221 w 455834"/>
                    <a:gd name="connsiteY131" fmla="*/ 11113 h 376238"/>
                    <a:gd name="connsiteX132" fmla="*/ 260571 w 455834"/>
                    <a:gd name="connsiteY132" fmla="*/ 9525 h 376238"/>
                    <a:gd name="connsiteX133" fmla="*/ 282796 w 455834"/>
                    <a:gd name="connsiteY133" fmla="*/ 14288 h 376238"/>
                    <a:gd name="connsiteX134" fmla="*/ 285971 w 455834"/>
                    <a:gd name="connsiteY134" fmla="*/ 22225 h 376238"/>
                    <a:gd name="connsiteX135" fmla="*/ 290734 w 455834"/>
                    <a:gd name="connsiteY135" fmla="*/ 25400 h 376238"/>
                    <a:gd name="connsiteX136" fmla="*/ 293909 w 455834"/>
                    <a:gd name="connsiteY136" fmla="*/ 30163 h 376238"/>
                    <a:gd name="connsiteX137" fmla="*/ 316134 w 455834"/>
                    <a:gd name="connsiteY137" fmla="*/ 28575 h 376238"/>
                    <a:gd name="connsiteX138" fmla="*/ 317721 w 455834"/>
                    <a:gd name="connsiteY138" fmla="*/ 23813 h 376238"/>
                    <a:gd name="connsiteX139" fmla="*/ 327246 w 455834"/>
                    <a:gd name="connsiteY139" fmla="*/ 15875 h 376238"/>
                    <a:gd name="connsiteX140" fmla="*/ 332009 w 455834"/>
                    <a:gd name="connsiteY140" fmla="*/ 14288 h 376238"/>
                    <a:gd name="connsiteX141" fmla="*/ 371696 w 455834"/>
                    <a:gd name="connsiteY141" fmla="*/ 12700 h 376238"/>
                    <a:gd name="connsiteX142" fmla="*/ 390746 w 455834"/>
                    <a:gd name="connsiteY142" fmla="*/ 6350 h 376238"/>
                    <a:gd name="connsiteX143" fmla="*/ 395509 w 455834"/>
                    <a:gd name="connsiteY143" fmla="*/ 3175 h 376238"/>
                    <a:gd name="connsiteX144" fmla="*/ 381221 w 455834"/>
                    <a:gd name="connsiteY144" fmla="*/ 20638 h 376238"/>
                    <a:gd name="connsiteX0" fmla="*/ 381221 w 455834"/>
                    <a:gd name="connsiteY0" fmla="*/ 20638 h 376238"/>
                    <a:gd name="connsiteX1" fmla="*/ 390746 w 455834"/>
                    <a:gd name="connsiteY1" fmla="*/ 12700 h 376238"/>
                    <a:gd name="connsiteX2" fmla="*/ 400271 w 455834"/>
                    <a:gd name="connsiteY2" fmla="*/ 0 h 376238"/>
                    <a:gd name="connsiteX3" fmla="*/ 411384 w 455834"/>
                    <a:gd name="connsiteY3" fmla="*/ 1588 h 376238"/>
                    <a:gd name="connsiteX4" fmla="*/ 412971 w 455834"/>
                    <a:gd name="connsiteY4" fmla="*/ 22225 h 376238"/>
                    <a:gd name="connsiteX5" fmla="*/ 406621 w 455834"/>
                    <a:gd name="connsiteY5" fmla="*/ 34925 h 376238"/>
                    <a:gd name="connsiteX6" fmla="*/ 401859 w 455834"/>
                    <a:gd name="connsiteY6" fmla="*/ 49213 h 376238"/>
                    <a:gd name="connsiteX7" fmla="*/ 398684 w 455834"/>
                    <a:gd name="connsiteY7" fmla="*/ 60325 h 376238"/>
                    <a:gd name="connsiteX8" fmla="*/ 397096 w 455834"/>
                    <a:gd name="connsiteY8" fmla="*/ 80963 h 376238"/>
                    <a:gd name="connsiteX9" fmla="*/ 395509 w 455834"/>
                    <a:gd name="connsiteY9" fmla="*/ 88900 h 376238"/>
                    <a:gd name="connsiteX10" fmla="*/ 390746 w 455834"/>
                    <a:gd name="connsiteY10" fmla="*/ 93663 h 376238"/>
                    <a:gd name="connsiteX11" fmla="*/ 376459 w 455834"/>
                    <a:gd name="connsiteY11" fmla="*/ 103188 h 376238"/>
                    <a:gd name="connsiteX12" fmla="*/ 373284 w 455834"/>
                    <a:gd name="connsiteY12" fmla="*/ 112713 h 376238"/>
                    <a:gd name="connsiteX13" fmla="*/ 368521 w 455834"/>
                    <a:gd name="connsiteY13" fmla="*/ 119063 h 376238"/>
                    <a:gd name="connsiteX14" fmla="*/ 370109 w 455834"/>
                    <a:gd name="connsiteY14" fmla="*/ 127000 h 376238"/>
                    <a:gd name="connsiteX15" fmla="*/ 374871 w 455834"/>
                    <a:gd name="connsiteY15" fmla="*/ 141288 h 376238"/>
                    <a:gd name="connsiteX16" fmla="*/ 381221 w 455834"/>
                    <a:gd name="connsiteY16" fmla="*/ 152400 h 376238"/>
                    <a:gd name="connsiteX17" fmla="*/ 387571 w 455834"/>
                    <a:gd name="connsiteY17" fmla="*/ 165100 h 376238"/>
                    <a:gd name="connsiteX18" fmla="*/ 390746 w 455834"/>
                    <a:gd name="connsiteY18" fmla="*/ 169863 h 376238"/>
                    <a:gd name="connsiteX19" fmla="*/ 397096 w 455834"/>
                    <a:gd name="connsiteY19" fmla="*/ 171450 h 376238"/>
                    <a:gd name="connsiteX20" fmla="*/ 400271 w 455834"/>
                    <a:gd name="connsiteY20" fmla="*/ 176213 h 376238"/>
                    <a:gd name="connsiteX21" fmla="*/ 405034 w 455834"/>
                    <a:gd name="connsiteY21" fmla="*/ 222250 h 376238"/>
                    <a:gd name="connsiteX22" fmla="*/ 403446 w 455834"/>
                    <a:gd name="connsiteY22" fmla="*/ 230188 h 376238"/>
                    <a:gd name="connsiteX23" fmla="*/ 408209 w 455834"/>
                    <a:gd name="connsiteY23" fmla="*/ 236538 h 376238"/>
                    <a:gd name="connsiteX24" fmla="*/ 419321 w 455834"/>
                    <a:gd name="connsiteY24" fmla="*/ 241300 h 376238"/>
                    <a:gd name="connsiteX25" fmla="*/ 425671 w 455834"/>
                    <a:gd name="connsiteY25" fmla="*/ 250825 h 376238"/>
                    <a:gd name="connsiteX26" fmla="*/ 428846 w 455834"/>
                    <a:gd name="connsiteY26" fmla="*/ 258763 h 376238"/>
                    <a:gd name="connsiteX27" fmla="*/ 433609 w 455834"/>
                    <a:gd name="connsiteY27" fmla="*/ 261938 h 376238"/>
                    <a:gd name="connsiteX28" fmla="*/ 435196 w 455834"/>
                    <a:gd name="connsiteY28" fmla="*/ 268288 h 376238"/>
                    <a:gd name="connsiteX29" fmla="*/ 441546 w 455834"/>
                    <a:gd name="connsiteY29" fmla="*/ 269875 h 376238"/>
                    <a:gd name="connsiteX30" fmla="*/ 455834 w 455834"/>
                    <a:gd name="connsiteY30" fmla="*/ 273050 h 376238"/>
                    <a:gd name="connsiteX31" fmla="*/ 449484 w 455834"/>
                    <a:gd name="connsiteY31" fmla="*/ 280988 h 376238"/>
                    <a:gd name="connsiteX32" fmla="*/ 443134 w 455834"/>
                    <a:gd name="connsiteY32" fmla="*/ 287338 h 376238"/>
                    <a:gd name="connsiteX33" fmla="*/ 438371 w 455834"/>
                    <a:gd name="connsiteY33" fmla="*/ 292100 h 376238"/>
                    <a:gd name="connsiteX34" fmla="*/ 433609 w 455834"/>
                    <a:gd name="connsiteY34" fmla="*/ 306388 h 376238"/>
                    <a:gd name="connsiteX35" fmla="*/ 428846 w 455834"/>
                    <a:gd name="connsiteY35" fmla="*/ 307975 h 376238"/>
                    <a:gd name="connsiteX36" fmla="*/ 424084 w 455834"/>
                    <a:gd name="connsiteY36" fmla="*/ 311150 h 376238"/>
                    <a:gd name="connsiteX37" fmla="*/ 427259 w 455834"/>
                    <a:gd name="connsiteY37" fmla="*/ 338138 h 376238"/>
                    <a:gd name="connsiteX38" fmla="*/ 425671 w 455834"/>
                    <a:gd name="connsiteY38" fmla="*/ 349250 h 376238"/>
                    <a:gd name="connsiteX39" fmla="*/ 393921 w 455834"/>
                    <a:gd name="connsiteY39" fmla="*/ 342900 h 376238"/>
                    <a:gd name="connsiteX40" fmla="*/ 390746 w 455834"/>
                    <a:gd name="connsiteY40" fmla="*/ 338138 h 376238"/>
                    <a:gd name="connsiteX41" fmla="*/ 379634 w 455834"/>
                    <a:gd name="connsiteY41" fmla="*/ 346075 h 376238"/>
                    <a:gd name="connsiteX42" fmla="*/ 370109 w 455834"/>
                    <a:gd name="connsiteY42" fmla="*/ 352425 h 376238"/>
                    <a:gd name="connsiteX43" fmla="*/ 363759 w 455834"/>
                    <a:gd name="connsiteY43" fmla="*/ 371475 h 376238"/>
                    <a:gd name="connsiteX44" fmla="*/ 355821 w 455834"/>
                    <a:gd name="connsiteY44" fmla="*/ 376238 h 376238"/>
                    <a:gd name="connsiteX45" fmla="*/ 341534 w 455834"/>
                    <a:gd name="connsiteY45" fmla="*/ 374650 h 376238"/>
                    <a:gd name="connsiteX46" fmla="*/ 339946 w 455834"/>
                    <a:gd name="connsiteY46" fmla="*/ 369888 h 376238"/>
                    <a:gd name="connsiteX47" fmla="*/ 333596 w 455834"/>
                    <a:gd name="connsiteY47" fmla="*/ 361950 h 376238"/>
                    <a:gd name="connsiteX48" fmla="*/ 325659 w 455834"/>
                    <a:gd name="connsiteY48" fmla="*/ 357188 h 376238"/>
                    <a:gd name="connsiteX49" fmla="*/ 320896 w 455834"/>
                    <a:gd name="connsiteY49" fmla="*/ 352425 h 376238"/>
                    <a:gd name="connsiteX50" fmla="*/ 309784 w 455834"/>
                    <a:gd name="connsiteY50" fmla="*/ 346075 h 376238"/>
                    <a:gd name="connsiteX51" fmla="*/ 303434 w 455834"/>
                    <a:gd name="connsiteY51" fmla="*/ 341313 h 376238"/>
                    <a:gd name="connsiteX52" fmla="*/ 300259 w 455834"/>
                    <a:gd name="connsiteY52" fmla="*/ 336550 h 376238"/>
                    <a:gd name="connsiteX53" fmla="*/ 293909 w 455834"/>
                    <a:gd name="connsiteY53" fmla="*/ 328613 h 376238"/>
                    <a:gd name="connsiteX54" fmla="*/ 254221 w 455834"/>
                    <a:gd name="connsiteY54" fmla="*/ 323850 h 376238"/>
                    <a:gd name="connsiteX55" fmla="*/ 251046 w 455834"/>
                    <a:gd name="connsiteY55" fmla="*/ 317500 h 376238"/>
                    <a:gd name="connsiteX56" fmla="*/ 239934 w 455834"/>
                    <a:gd name="connsiteY56" fmla="*/ 311150 h 376238"/>
                    <a:gd name="connsiteX57" fmla="*/ 227234 w 455834"/>
                    <a:gd name="connsiteY57" fmla="*/ 301625 h 376238"/>
                    <a:gd name="connsiteX58" fmla="*/ 216121 w 455834"/>
                    <a:gd name="connsiteY58" fmla="*/ 303213 h 376238"/>
                    <a:gd name="connsiteX59" fmla="*/ 220884 w 455834"/>
                    <a:gd name="connsiteY59" fmla="*/ 307975 h 376238"/>
                    <a:gd name="connsiteX60" fmla="*/ 216121 w 455834"/>
                    <a:gd name="connsiteY60" fmla="*/ 312738 h 376238"/>
                    <a:gd name="connsiteX61" fmla="*/ 212946 w 455834"/>
                    <a:gd name="connsiteY61" fmla="*/ 317500 h 376238"/>
                    <a:gd name="connsiteX62" fmla="*/ 193896 w 455834"/>
                    <a:gd name="connsiteY62" fmla="*/ 309563 h 376238"/>
                    <a:gd name="connsiteX63" fmla="*/ 174846 w 455834"/>
                    <a:gd name="connsiteY63" fmla="*/ 311150 h 376238"/>
                    <a:gd name="connsiteX64" fmla="*/ 170084 w 455834"/>
                    <a:gd name="connsiteY64" fmla="*/ 325438 h 376238"/>
                    <a:gd name="connsiteX65" fmla="*/ 165321 w 455834"/>
                    <a:gd name="connsiteY65" fmla="*/ 327025 h 376238"/>
                    <a:gd name="connsiteX66" fmla="*/ 158971 w 455834"/>
                    <a:gd name="connsiteY66" fmla="*/ 328613 h 376238"/>
                    <a:gd name="connsiteX67" fmla="*/ 154209 w 455834"/>
                    <a:gd name="connsiteY67" fmla="*/ 333375 h 376238"/>
                    <a:gd name="connsiteX68" fmla="*/ 143096 w 455834"/>
                    <a:gd name="connsiteY68" fmla="*/ 339725 h 376238"/>
                    <a:gd name="connsiteX69" fmla="*/ 136746 w 455834"/>
                    <a:gd name="connsiteY69" fmla="*/ 346075 h 376238"/>
                    <a:gd name="connsiteX70" fmla="*/ 135159 w 455834"/>
                    <a:gd name="connsiteY70" fmla="*/ 328613 h 376238"/>
                    <a:gd name="connsiteX71" fmla="*/ 128809 w 455834"/>
                    <a:gd name="connsiteY71" fmla="*/ 295275 h 376238"/>
                    <a:gd name="connsiteX72" fmla="*/ 127221 w 455834"/>
                    <a:gd name="connsiteY72" fmla="*/ 290513 h 376238"/>
                    <a:gd name="connsiteX73" fmla="*/ 125634 w 455834"/>
                    <a:gd name="connsiteY73" fmla="*/ 277813 h 376238"/>
                    <a:gd name="connsiteX74" fmla="*/ 122459 w 455834"/>
                    <a:gd name="connsiteY74" fmla="*/ 273050 h 376238"/>
                    <a:gd name="connsiteX75" fmla="*/ 119284 w 455834"/>
                    <a:gd name="connsiteY75" fmla="*/ 263525 h 376238"/>
                    <a:gd name="connsiteX76" fmla="*/ 109759 w 455834"/>
                    <a:gd name="connsiteY76" fmla="*/ 261938 h 376238"/>
                    <a:gd name="connsiteX77" fmla="*/ 104996 w 455834"/>
                    <a:gd name="connsiteY77" fmla="*/ 265113 h 376238"/>
                    <a:gd name="connsiteX78" fmla="*/ 100234 w 455834"/>
                    <a:gd name="connsiteY78" fmla="*/ 276225 h 376238"/>
                    <a:gd name="connsiteX79" fmla="*/ 93884 w 455834"/>
                    <a:gd name="connsiteY79" fmla="*/ 287338 h 376238"/>
                    <a:gd name="connsiteX80" fmla="*/ 89121 w 455834"/>
                    <a:gd name="connsiteY80" fmla="*/ 285750 h 376238"/>
                    <a:gd name="connsiteX81" fmla="*/ 81184 w 455834"/>
                    <a:gd name="connsiteY81" fmla="*/ 277813 h 376238"/>
                    <a:gd name="connsiteX82" fmla="*/ 73246 w 455834"/>
                    <a:gd name="connsiteY82" fmla="*/ 276225 h 376238"/>
                    <a:gd name="connsiteX83" fmla="*/ 46259 w 455834"/>
                    <a:gd name="connsiteY83" fmla="*/ 274638 h 376238"/>
                    <a:gd name="connsiteX84" fmla="*/ 44671 w 455834"/>
                    <a:gd name="connsiteY84" fmla="*/ 269875 h 376238"/>
                    <a:gd name="connsiteX85" fmla="*/ 43084 w 455834"/>
                    <a:gd name="connsiteY85" fmla="*/ 263525 h 376238"/>
                    <a:gd name="connsiteX86" fmla="*/ 36734 w 455834"/>
                    <a:gd name="connsiteY86" fmla="*/ 257175 h 376238"/>
                    <a:gd name="connsiteX87" fmla="*/ 25621 w 455834"/>
                    <a:gd name="connsiteY87" fmla="*/ 247650 h 376238"/>
                    <a:gd name="connsiteX88" fmla="*/ 24034 w 455834"/>
                    <a:gd name="connsiteY88" fmla="*/ 230188 h 376238"/>
                    <a:gd name="connsiteX89" fmla="*/ 20859 w 455834"/>
                    <a:gd name="connsiteY89" fmla="*/ 212725 h 376238"/>
                    <a:gd name="connsiteX90" fmla="*/ 49434 w 455834"/>
                    <a:gd name="connsiteY90" fmla="*/ 203200 h 376238"/>
                    <a:gd name="connsiteX91" fmla="*/ 19271 w 455834"/>
                    <a:gd name="connsiteY91" fmla="*/ 198438 h 376238"/>
                    <a:gd name="connsiteX92" fmla="*/ 12921 w 455834"/>
                    <a:gd name="connsiteY92" fmla="*/ 190500 h 376238"/>
                    <a:gd name="connsiteX93" fmla="*/ 12921 w 455834"/>
                    <a:gd name="connsiteY93" fmla="*/ 177800 h 376238"/>
                    <a:gd name="connsiteX94" fmla="*/ 16096 w 455834"/>
                    <a:gd name="connsiteY94" fmla="*/ 168275 h 376238"/>
                    <a:gd name="connsiteX95" fmla="*/ 24034 w 455834"/>
                    <a:gd name="connsiteY95" fmla="*/ 160338 h 376238"/>
                    <a:gd name="connsiteX96" fmla="*/ 25621 w 455834"/>
                    <a:gd name="connsiteY96" fmla="*/ 155575 h 376238"/>
                    <a:gd name="connsiteX97" fmla="*/ 1809 w 455834"/>
                    <a:gd name="connsiteY97" fmla="*/ 147638 h 376238"/>
                    <a:gd name="connsiteX98" fmla="*/ 6571 w 455834"/>
                    <a:gd name="connsiteY98" fmla="*/ 142875 h 376238"/>
                    <a:gd name="connsiteX99" fmla="*/ 8159 w 455834"/>
                    <a:gd name="connsiteY99" fmla="*/ 127000 h 376238"/>
                    <a:gd name="connsiteX100" fmla="*/ 17684 w 455834"/>
                    <a:gd name="connsiteY100" fmla="*/ 120650 h 376238"/>
                    <a:gd name="connsiteX101" fmla="*/ 30384 w 455834"/>
                    <a:gd name="connsiteY101" fmla="*/ 115888 h 376238"/>
                    <a:gd name="connsiteX102" fmla="*/ 41496 w 455834"/>
                    <a:gd name="connsiteY102" fmla="*/ 112713 h 376238"/>
                    <a:gd name="connsiteX103" fmla="*/ 43084 w 455834"/>
                    <a:gd name="connsiteY103" fmla="*/ 107950 h 376238"/>
                    <a:gd name="connsiteX104" fmla="*/ 47846 w 455834"/>
                    <a:gd name="connsiteY104" fmla="*/ 103188 h 376238"/>
                    <a:gd name="connsiteX105" fmla="*/ 49434 w 455834"/>
                    <a:gd name="connsiteY105" fmla="*/ 93663 h 376238"/>
                    <a:gd name="connsiteX106" fmla="*/ 55784 w 455834"/>
                    <a:gd name="connsiteY106" fmla="*/ 82550 h 376238"/>
                    <a:gd name="connsiteX107" fmla="*/ 71659 w 455834"/>
                    <a:gd name="connsiteY107" fmla="*/ 76200 h 376238"/>
                    <a:gd name="connsiteX108" fmla="*/ 78009 w 455834"/>
                    <a:gd name="connsiteY108" fmla="*/ 73025 h 376238"/>
                    <a:gd name="connsiteX109" fmla="*/ 82771 w 455834"/>
                    <a:gd name="connsiteY109" fmla="*/ 69850 h 376238"/>
                    <a:gd name="connsiteX110" fmla="*/ 89121 w 455834"/>
                    <a:gd name="connsiteY110" fmla="*/ 68263 h 376238"/>
                    <a:gd name="connsiteX111" fmla="*/ 97059 w 455834"/>
                    <a:gd name="connsiteY111" fmla="*/ 65088 h 376238"/>
                    <a:gd name="connsiteX112" fmla="*/ 108171 w 455834"/>
                    <a:gd name="connsiteY112" fmla="*/ 60325 h 376238"/>
                    <a:gd name="connsiteX113" fmla="*/ 109759 w 455834"/>
                    <a:gd name="connsiteY113" fmla="*/ 55563 h 376238"/>
                    <a:gd name="connsiteX114" fmla="*/ 111346 w 455834"/>
                    <a:gd name="connsiteY114" fmla="*/ 46038 h 376238"/>
                    <a:gd name="connsiteX115" fmla="*/ 112934 w 455834"/>
                    <a:gd name="connsiteY115" fmla="*/ 50800 h 376238"/>
                    <a:gd name="connsiteX116" fmla="*/ 120871 w 455834"/>
                    <a:gd name="connsiteY116" fmla="*/ 52388 h 376238"/>
                    <a:gd name="connsiteX117" fmla="*/ 127221 w 455834"/>
                    <a:gd name="connsiteY117" fmla="*/ 46038 h 376238"/>
                    <a:gd name="connsiteX118" fmla="*/ 162146 w 455834"/>
                    <a:gd name="connsiteY118" fmla="*/ 42863 h 376238"/>
                    <a:gd name="connsiteX119" fmla="*/ 160559 w 455834"/>
                    <a:gd name="connsiteY119" fmla="*/ 69850 h 376238"/>
                    <a:gd name="connsiteX120" fmla="*/ 163734 w 455834"/>
                    <a:gd name="connsiteY120" fmla="*/ 63500 h 376238"/>
                    <a:gd name="connsiteX121" fmla="*/ 165321 w 455834"/>
                    <a:gd name="connsiteY121" fmla="*/ 57150 h 376238"/>
                    <a:gd name="connsiteX122" fmla="*/ 168496 w 455834"/>
                    <a:gd name="connsiteY122" fmla="*/ 49213 h 376238"/>
                    <a:gd name="connsiteX123" fmla="*/ 170084 w 455834"/>
                    <a:gd name="connsiteY123" fmla="*/ 36513 h 376238"/>
                    <a:gd name="connsiteX124" fmla="*/ 176434 w 455834"/>
                    <a:gd name="connsiteY124" fmla="*/ 31750 h 376238"/>
                    <a:gd name="connsiteX125" fmla="*/ 182784 w 455834"/>
                    <a:gd name="connsiteY125" fmla="*/ 25400 h 376238"/>
                    <a:gd name="connsiteX126" fmla="*/ 174846 w 455834"/>
                    <a:gd name="connsiteY126" fmla="*/ 23813 h 376238"/>
                    <a:gd name="connsiteX127" fmla="*/ 181196 w 455834"/>
                    <a:gd name="connsiteY127" fmla="*/ 25400 h 376238"/>
                    <a:gd name="connsiteX128" fmla="*/ 206596 w 455834"/>
                    <a:gd name="connsiteY128" fmla="*/ 23813 h 376238"/>
                    <a:gd name="connsiteX129" fmla="*/ 227234 w 455834"/>
                    <a:gd name="connsiteY129" fmla="*/ 20638 h 376238"/>
                    <a:gd name="connsiteX130" fmla="*/ 233584 w 455834"/>
                    <a:gd name="connsiteY130" fmla="*/ 15875 h 376238"/>
                    <a:gd name="connsiteX131" fmla="*/ 254221 w 455834"/>
                    <a:gd name="connsiteY131" fmla="*/ 11113 h 376238"/>
                    <a:gd name="connsiteX132" fmla="*/ 260571 w 455834"/>
                    <a:gd name="connsiteY132" fmla="*/ 9525 h 376238"/>
                    <a:gd name="connsiteX133" fmla="*/ 282796 w 455834"/>
                    <a:gd name="connsiteY133" fmla="*/ 14288 h 376238"/>
                    <a:gd name="connsiteX134" fmla="*/ 285971 w 455834"/>
                    <a:gd name="connsiteY134" fmla="*/ 22225 h 376238"/>
                    <a:gd name="connsiteX135" fmla="*/ 290734 w 455834"/>
                    <a:gd name="connsiteY135" fmla="*/ 25400 h 376238"/>
                    <a:gd name="connsiteX136" fmla="*/ 293909 w 455834"/>
                    <a:gd name="connsiteY136" fmla="*/ 30163 h 376238"/>
                    <a:gd name="connsiteX137" fmla="*/ 316134 w 455834"/>
                    <a:gd name="connsiteY137" fmla="*/ 28575 h 376238"/>
                    <a:gd name="connsiteX138" fmla="*/ 317721 w 455834"/>
                    <a:gd name="connsiteY138" fmla="*/ 23813 h 376238"/>
                    <a:gd name="connsiteX139" fmla="*/ 327246 w 455834"/>
                    <a:gd name="connsiteY139" fmla="*/ 15875 h 376238"/>
                    <a:gd name="connsiteX140" fmla="*/ 332009 w 455834"/>
                    <a:gd name="connsiteY140" fmla="*/ 14288 h 376238"/>
                    <a:gd name="connsiteX141" fmla="*/ 371696 w 455834"/>
                    <a:gd name="connsiteY141" fmla="*/ 12700 h 376238"/>
                    <a:gd name="connsiteX142" fmla="*/ 390746 w 455834"/>
                    <a:gd name="connsiteY142" fmla="*/ 6350 h 376238"/>
                    <a:gd name="connsiteX143" fmla="*/ 395509 w 455834"/>
                    <a:gd name="connsiteY143" fmla="*/ 3175 h 376238"/>
                    <a:gd name="connsiteX144" fmla="*/ 381221 w 455834"/>
                    <a:gd name="connsiteY144" fmla="*/ 20638 h 3762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455834" h="376238">
                      <a:moveTo>
                        <a:pt x="381221" y="20638"/>
                      </a:moveTo>
                      <a:cubicBezTo>
                        <a:pt x="380427" y="22225"/>
                        <a:pt x="388164" y="15927"/>
                        <a:pt x="390746" y="12700"/>
                      </a:cubicBezTo>
                      <a:cubicBezTo>
                        <a:pt x="405298" y="-5490"/>
                        <a:pt x="381989" y="13713"/>
                        <a:pt x="400271" y="0"/>
                      </a:cubicBezTo>
                      <a:cubicBezTo>
                        <a:pt x="403975" y="529"/>
                        <a:pt x="408175" y="-337"/>
                        <a:pt x="411384" y="1588"/>
                      </a:cubicBezTo>
                      <a:cubicBezTo>
                        <a:pt x="419792" y="6633"/>
                        <a:pt x="414913" y="15914"/>
                        <a:pt x="412971" y="22225"/>
                      </a:cubicBezTo>
                      <a:cubicBezTo>
                        <a:pt x="408575" y="36513"/>
                        <a:pt x="411720" y="24727"/>
                        <a:pt x="406621" y="34925"/>
                      </a:cubicBezTo>
                      <a:cubicBezTo>
                        <a:pt x="403235" y="41697"/>
                        <a:pt x="403678" y="42541"/>
                        <a:pt x="401859" y="49213"/>
                      </a:cubicBezTo>
                      <a:cubicBezTo>
                        <a:pt x="400845" y="52930"/>
                        <a:pt x="399742" y="56621"/>
                        <a:pt x="398684" y="60325"/>
                      </a:cubicBezTo>
                      <a:cubicBezTo>
                        <a:pt x="398155" y="67204"/>
                        <a:pt x="397858" y="74106"/>
                        <a:pt x="397096" y="80963"/>
                      </a:cubicBezTo>
                      <a:cubicBezTo>
                        <a:pt x="396798" y="83645"/>
                        <a:pt x="396716" y="86487"/>
                        <a:pt x="395509" y="88900"/>
                      </a:cubicBezTo>
                      <a:cubicBezTo>
                        <a:pt x="394505" y="90908"/>
                        <a:pt x="392451" y="92202"/>
                        <a:pt x="390746" y="93663"/>
                      </a:cubicBezTo>
                      <a:cubicBezTo>
                        <a:pt x="385605" y="98069"/>
                        <a:pt x="382376" y="99637"/>
                        <a:pt x="376459" y="103188"/>
                      </a:cubicBezTo>
                      <a:cubicBezTo>
                        <a:pt x="375401" y="106363"/>
                        <a:pt x="374781" y="109720"/>
                        <a:pt x="373284" y="112713"/>
                      </a:cubicBezTo>
                      <a:cubicBezTo>
                        <a:pt x="372101" y="115080"/>
                        <a:pt x="369095" y="116480"/>
                        <a:pt x="368521" y="119063"/>
                      </a:cubicBezTo>
                      <a:cubicBezTo>
                        <a:pt x="367936" y="121697"/>
                        <a:pt x="369368" y="124406"/>
                        <a:pt x="370109" y="127000"/>
                      </a:cubicBezTo>
                      <a:cubicBezTo>
                        <a:pt x="371488" y="131827"/>
                        <a:pt x="372086" y="137111"/>
                        <a:pt x="374871" y="141288"/>
                      </a:cubicBezTo>
                      <a:cubicBezTo>
                        <a:pt x="379359" y="148019"/>
                        <a:pt x="377193" y="144344"/>
                        <a:pt x="381221" y="152400"/>
                      </a:cubicBezTo>
                      <a:cubicBezTo>
                        <a:pt x="383672" y="164650"/>
                        <a:pt x="380550" y="156674"/>
                        <a:pt x="387571" y="165100"/>
                      </a:cubicBezTo>
                      <a:cubicBezTo>
                        <a:pt x="388792" y="166566"/>
                        <a:pt x="389158" y="168805"/>
                        <a:pt x="390746" y="169863"/>
                      </a:cubicBezTo>
                      <a:cubicBezTo>
                        <a:pt x="392561" y="171073"/>
                        <a:pt x="394979" y="170921"/>
                        <a:pt x="397096" y="171450"/>
                      </a:cubicBezTo>
                      <a:cubicBezTo>
                        <a:pt x="398154" y="173038"/>
                        <a:pt x="400075" y="174315"/>
                        <a:pt x="400271" y="176213"/>
                      </a:cubicBezTo>
                      <a:cubicBezTo>
                        <a:pt x="405254" y="224376"/>
                        <a:pt x="393761" y="205342"/>
                        <a:pt x="405034" y="222250"/>
                      </a:cubicBezTo>
                      <a:cubicBezTo>
                        <a:pt x="404505" y="224896"/>
                        <a:pt x="402861" y="227554"/>
                        <a:pt x="403446" y="230188"/>
                      </a:cubicBezTo>
                      <a:cubicBezTo>
                        <a:pt x="404020" y="232771"/>
                        <a:pt x="406200" y="234816"/>
                        <a:pt x="408209" y="236538"/>
                      </a:cubicBezTo>
                      <a:cubicBezTo>
                        <a:pt x="410707" y="238679"/>
                        <a:pt x="416096" y="240225"/>
                        <a:pt x="419321" y="241300"/>
                      </a:cubicBezTo>
                      <a:cubicBezTo>
                        <a:pt x="421438" y="244475"/>
                        <a:pt x="424254" y="247282"/>
                        <a:pt x="425671" y="250825"/>
                      </a:cubicBezTo>
                      <a:cubicBezTo>
                        <a:pt x="426729" y="253471"/>
                        <a:pt x="427190" y="256444"/>
                        <a:pt x="428846" y="258763"/>
                      </a:cubicBezTo>
                      <a:cubicBezTo>
                        <a:pt x="429955" y="260316"/>
                        <a:pt x="432021" y="260880"/>
                        <a:pt x="433609" y="261938"/>
                      </a:cubicBezTo>
                      <a:cubicBezTo>
                        <a:pt x="434138" y="264055"/>
                        <a:pt x="433653" y="266745"/>
                        <a:pt x="435196" y="268288"/>
                      </a:cubicBezTo>
                      <a:cubicBezTo>
                        <a:pt x="436739" y="269831"/>
                        <a:pt x="439407" y="269447"/>
                        <a:pt x="441546" y="269875"/>
                      </a:cubicBezTo>
                      <a:cubicBezTo>
                        <a:pt x="455514" y="272669"/>
                        <a:pt x="446565" y="269962"/>
                        <a:pt x="455834" y="273050"/>
                      </a:cubicBezTo>
                      <a:cubicBezTo>
                        <a:pt x="451860" y="288941"/>
                        <a:pt x="457834" y="272638"/>
                        <a:pt x="449484" y="280988"/>
                      </a:cubicBezTo>
                      <a:cubicBezTo>
                        <a:pt x="441017" y="289455"/>
                        <a:pt x="455833" y="283103"/>
                        <a:pt x="443134" y="287338"/>
                      </a:cubicBezTo>
                      <a:cubicBezTo>
                        <a:pt x="441546" y="288925"/>
                        <a:pt x="439375" y="290092"/>
                        <a:pt x="438371" y="292100"/>
                      </a:cubicBezTo>
                      <a:cubicBezTo>
                        <a:pt x="435160" y="298521"/>
                        <a:pt x="439008" y="300990"/>
                        <a:pt x="433609" y="306388"/>
                      </a:cubicBezTo>
                      <a:cubicBezTo>
                        <a:pt x="432426" y="307571"/>
                        <a:pt x="430434" y="307446"/>
                        <a:pt x="428846" y="307975"/>
                      </a:cubicBezTo>
                      <a:cubicBezTo>
                        <a:pt x="427259" y="309033"/>
                        <a:pt x="424354" y="309261"/>
                        <a:pt x="424084" y="311150"/>
                      </a:cubicBezTo>
                      <a:cubicBezTo>
                        <a:pt x="423027" y="318551"/>
                        <a:pt x="425636" y="330024"/>
                        <a:pt x="427259" y="338138"/>
                      </a:cubicBezTo>
                      <a:cubicBezTo>
                        <a:pt x="426730" y="341842"/>
                        <a:pt x="429221" y="348067"/>
                        <a:pt x="425671" y="349250"/>
                      </a:cubicBezTo>
                      <a:cubicBezTo>
                        <a:pt x="409745" y="354559"/>
                        <a:pt x="401741" y="352284"/>
                        <a:pt x="393921" y="342900"/>
                      </a:cubicBezTo>
                      <a:cubicBezTo>
                        <a:pt x="392700" y="341434"/>
                        <a:pt x="391804" y="339725"/>
                        <a:pt x="390746" y="338138"/>
                      </a:cubicBezTo>
                      <a:cubicBezTo>
                        <a:pt x="387042" y="340784"/>
                        <a:pt x="383630" y="343895"/>
                        <a:pt x="379634" y="346075"/>
                      </a:cubicBezTo>
                      <a:cubicBezTo>
                        <a:pt x="368895" y="351933"/>
                        <a:pt x="376714" y="342519"/>
                        <a:pt x="370109" y="352425"/>
                      </a:cubicBezTo>
                      <a:cubicBezTo>
                        <a:pt x="369511" y="354817"/>
                        <a:pt x="367177" y="368057"/>
                        <a:pt x="363759" y="371475"/>
                      </a:cubicBezTo>
                      <a:cubicBezTo>
                        <a:pt x="361577" y="373657"/>
                        <a:pt x="358467" y="374650"/>
                        <a:pt x="355821" y="376238"/>
                      </a:cubicBezTo>
                      <a:cubicBezTo>
                        <a:pt x="351059" y="375709"/>
                        <a:pt x="345983" y="376430"/>
                        <a:pt x="341534" y="374650"/>
                      </a:cubicBezTo>
                      <a:cubicBezTo>
                        <a:pt x="339980" y="374029"/>
                        <a:pt x="340833" y="371307"/>
                        <a:pt x="339946" y="369888"/>
                      </a:cubicBezTo>
                      <a:cubicBezTo>
                        <a:pt x="338150" y="367015"/>
                        <a:pt x="336129" y="364201"/>
                        <a:pt x="333596" y="361950"/>
                      </a:cubicBezTo>
                      <a:cubicBezTo>
                        <a:pt x="331290" y="359900"/>
                        <a:pt x="328127" y="359039"/>
                        <a:pt x="325659" y="357188"/>
                      </a:cubicBezTo>
                      <a:cubicBezTo>
                        <a:pt x="323863" y="355841"/>
                        <a:pt x="322621" y="353862"/>
                        <a:pt x="320896" y="352425"/>
                      </a:cubicBezTo>
                      <a:cubicBezTo>
                        <a:pt x="315653" y="348056"/>
                        <a:pt x="315995" y="349956"/>
                        <a:pt x="309784" y="346075"/>
                      </a:cubicBezTo>
                      <a:cubicBezTo>
                        <a:pt x="307540" y="344673"/>
                        <a:pt x="305551" y="342900"/>
                        <a:pt x="303434" y="341313"/>
                      </a:cubicBezTo>
                      <a:cubicBezTo>
                        <a:pt x="302376" y="339725"/>
                        <a:pt x="301404" y="338076"/>
                        <a:pt x="300259" y="336550"/>
                      </a:cubicBezTo>
                      <a:cubicBezTo>
                        <a:pt x="298226" y="333839"/>
                        <a:pt x="296305" y="331009"/>
                        <a:pt x="293909" y="328613"/>
                      </a:cubicBezTo>
                      <a:cubicBezTo>
                        <a:pt x="284499" y="319204"/>
                        <a:pt x="260211" y="324122"/>
                        <a:pt x="254221" y="323850"/>
                      </a:cubicBezTo>
                      <a:cubicBezTo>
                        <a:pt x="253163" y="321733"/>
                        <a:pt x="252586" y="319297"/>
                        <a:pt x="251046" y="317500"/>
                      </a:cubicBezTo>
                      <a:cubicBezTo>
                        <a:pt x="247203" y="313016"/>
                        <a:pt x="244774" y="312764"/>
                        <a:pt x="239934" y="311150"/>
                      </a:cubicBezTo>
                      <a:cubicBezTo>
                        <a:pt x="237049" y="308265"/>
                        <a:pt x="232199" y="302076"/>
                        <a:pt x="227234" y="301625"/>
                      </a:cubicBezTo>
                      <a:cubicBezTo>
                        <a:pt x="223507" y="301286"/>
                        <a:pt x="219825" y="302684"/>
                        <a:pt x="216121" y="303213"/>
                      </a:cubicBezTo>
                      <a:cubicBezTo>
                        <a:pt x="217709" y="304800"/>
                        <a:pt x="220884" y="305730"/>
                        <a:pt x="220884" y="307975"/>
                      </a:cubicBezTo>
                      <a:cubicBezTo>
                        <a:pt x="220884" y="310220"/>
                        <a:pt x="217558" y="311013"/>
                        <a:pt x="216121" y="312738"/>
                      </a:cubicBezTo>
                      <a:cubicBezTo>
                        <a:pt x="214900" y="314204"/>
                        <a:pt x="214004" y="315913"/>
                        <a:pt x="212946" y="317500"/>
                      </a:cubicBezTo>
                      <a:cubicBezTo>
                        <a:pt x="200743" y="309365"/>
                        <a:pt x="207185" y="311777"/>
                        <a:pt x="193896" y="309563"/>
                      </a:cubicBezTo>
                      <a:cubicBezTo>
                        <a:pt x="187546" y="310092"/>
                        <a:pt x="180148" y="307615"/>
                        <a:pt x="174846" y="311150"/>
                      </a:cubicBezTo>
                      <a:cubicBezTo>
                        <a:pt x="170669" y="313935"/>
                        <a:pt x="172667" y="321133"/>
                        <a:pt x="170084" y="325438"/>
                      </a:cubicBezTo>
                      <a:cubicBezTo>
                        <a:pt x="169223" y="326873"/>
                        <a:pt x="166930" y="326565"/>
                        <a:pt x="165321" y="327025"/>
                      </a:cubicBezTo>
                      <a:cubicBezTo>
                        <a:pt x="163223" y="327624"/>
                        <a:pt x="161088" y="328084"/>
                        <a:pt x="158971" y="328613"/>
                      </a:cubicBezTo>
                      <a:cubicBezTo>
                        <a:pt x="157384" y="330200"/>
                        <a:pt x="156036" y="332070"/>
                        <a:pt x="154209" y="333375"/>
                      </a:cubicBezTo>
                      <a:cubicBezTo>
                        <a:pt x="145203" y="339808"/>
                        <a:pt x="150594" y="333298"/>
                        <a:pt x="143096" y="339725"/>
                      </a:cubicBezTo>
                      <a:cubicBezTo>
                        <a:pt x="140823" y="341673"/>
                        <a:pt x="138863" y="343958"/>
                        <a:pt x="136746" y="346075"/>
                      </a:cubicBezTo>
                      <a:cubicBezTo>
                        <a:pt x="130682" y="333946"/>
                        <a:pt x="135159" y="345913"/>
                        <a:pt x="135159" y="328613"/>
                      </a:cubicBezTo>
                      <a:cubicBezTo>
                        <a:pt x="135159" y="301309"/>
                        <a:pt x="138466" y="308152"/>
                        <a:pt x="128809" y="295275"/>
                      </a:cubicBezTo>
                      <a:cubicBezTo>
                        <a:pt x="128280" y="293688"/>
                        <a:pt x="127520" y="292159"/>
                        <a:pt x="127221" y="290513"/>
                      </a:cubicBezTo>
                      <a:cubicBezTo>
                        <a:pt x="126458" y="286316"/>
                        <a:pt x="126756" y="281929"/>
                        <a:pt x="125634" y="277813"/>
                      </a:cubicBezTo>
                      <a:cubicBezTo>
                        <a:pt x="125132" y="275972"/>
                        <a:pt x="123234" y="274794"/>
                        <a:pt x="122459" y="273050"/>
                      </a:cubicBezTo>
                      <a:cubicBezTo>
                        <a:pt x="121100" y="269992"/>
                        <a:pt x="122585" y="264075"/>
                        <a:pt x="119284" y="263525"/>
                      </a:cubicBezTo>
                      <a:lnTo>
                        <a:pt x="109759" y="261938"/>
                      </a:lnTo>
                      <a:cubicBezTo>
                        <a:pt x="108171" y="262996"/>
                        <a:pt x="106218" y="263647"/>
                        <a:pt x="104996" y="265113"/>
                      </a:cubicBezTo>
                      <a:cubicBezTo>
                        <a:pt x="103525" y="266879"/>
                        <a:pt x="100836" y="273517"/>
                        <a:pt x="100234" y="276225"/>
                      </a:cubicBezTo>
                      <a:cubicBezTo>
                        <a:pt x="97701" y="287624"/>
                        <a:pt x="102048" y="284616"/>
                        <a:pt x="93884" y="287338"/>
                      </a:cubicBezTo>
                      <a:cubicBezTo>
                        <a:pt x="92296" y="286809"/>
                        <a:pt x="90428" y="286795"/>
                        <a:pt x="89121" y="285750"/>
                      </a:cubicBezTo>
                      <a:cubicBezTo>
                        <a:pt x="82273" y="280272"/>
                        <a:pt x="90148" y="281175"/>
                        <a:pt x="81184" y="277813"/>
                      </a:cubicBezTo>
                      <a:cubicBezTo>
                        <a:pt x="78657" y="276865"/>
                        <a:pt x="75933" y="276469"/>
                        <a:pt x="73246" y="276225"/>
                      </a:cubicBezTo>
                      <a:cubicBezTo>
                        <a:pt x="64272" y="275409"/>
                        <a:pt x="55255" y="275167"/>
                        <a:pt x="46259" y="274638"/>
                      </a:cubicBezTo>
                      <a:cubicBezTo>
                        <a:pt x="45730" y="273050"/>
                        <a:pt x="45131" y="271484"/>
                        <a:pt x="44671" y="269875"/>
                      </a:cubicBezTo>
                      <a:cubicBezTo>
                        <a:pt x="44072" y="267777"/>
                        <a:pt x="44240" y="265375"/>
                        <a:pt x="43084" y="263525"/>
                      </a:cubicBezTo>
                      <a:cubicBezTo>
                        <a:pt x="41498" y="260987"/>
                        <a:pt x="38682" y="259448"/>
                        <a:pt x="36734" y="257175"/>
                      </a:cubicBezTo>
                      <a:cubicBezTo>
                        <a:pt x="28973" y="248121"/>
                        <a:pt x="39844" y="256184"/>
                        <a:pt x="25621" y="247650"/>
                      </a:cubicBezTo>
                      <a:cubicBezTo>
                        <a:pt x="16661" y="235702"/>
                        <a:pt x="22880" y="247508"/>
                        <a:pt x="24034" y="230188"/>
                      </a:cubicBezTo>
                      <a:cubicBezTo>
                        <a:pt x="24532" y="222712"/>
                        <a:pt x="22895" y="218835"/>
                        <a:pt x="20859" y="212725"/>
                      </a:cubicBezTo>
                      <a:cubicBezTo>
                        <a:pt x="36489" y="202304"/>
                        <a:pt x="49699" y="205581"/>
                        <a:pt x="49434" y="203200"/>
                      </a:cubicBezTo>
                      <a:cubicBezTo>
                        <a:pt x="49169" y="200819"/>
                        <a:pt x="25357" y="200555"/>
                        <a:pt x="19271" y="198438"/>
                      </a:cubicBezTo>
                      <a:cubicBezTo>
                        <a:pt x="13185" y="196321"/>
                        <a:pt x="15038" y="193146"/>
                        <a:pt x="12921" y="190500"/>
                      </a:cubicBezTo>
                      <a:cubicBezTo>
                        <a:pt x="10719" y="183891"/>
                        <a:pt x="10623" y="186228"/>
                        <a:pt x="12921" y="177800"/>
                      </a:cubicBezTo>
                      <a:cubicBezTo>
                        <a:pt x="13801" y="174571"/>
                        <a:pt x="13729" y="170641"/>
                        <a:pt x="16096" y="168275"/>
                      </a:cubicBezTo>
                      <a:lnTo>
                        <a:pt x="24034" y="160338"/>
                      </a:lnTo>
                      <a:cubicBezTo>
                        <a:pt x="24563" y="158750"/>
                        <a:pt x="27238" y="156006"/>
                        <a:pt x="25621" y="155575"/>
                      </a:cubicBezTo>
                      <a:cubicBezTo>
                        <a:pt x="16642" y="153181"/>
                        <a:pt x="-6621" y="162390"/>
                        <a:pt x="1809" y="147638"/>
                      </a:cubicBezTo>
                      <a:cubicBezTo>
                        <a:pt x="2923" y="145689"/>
                        <a:pt x="4984" y="144463"/>
                        <a:pt x="6571" y="142875"/>
                      </a:cubicBezTo>
                      <a:cubicBezTo>
                        <a:pt x="7100" y="137583"/>
                        <a:pt x="5781" y="131757"/>
                        <a:pt x="8159" y="127000"/>
                      </a:cubicBezTo>
                      <a:cubicBezTo>
                        <a:pt x="9866" y="123587"/>
                        <a:pt x="14064" y="121856"/>
                        <a:pt x="17684" y="120650"/>
                      </a:cubicBezTo>
                      <a:cubicBezTo>
                        <a:pt x="28476" y="117053"/>
                        <a:pt x="15227" y="121572"/>
                        <a:pt x="30384" y="115888"/>
                      </a:cubicBezTo>
                      <a:cubicBezTo>
                        <a:pt x="34946" y="114177"/>
                        <a:pt x="36482" y="113966"/>
                        <a:pt x="41496" y="112713"/>
                      </a:cubicBezTo>
                      <a:cubicBezTo>
                        <a:pt x="42025" y="111125"/>
                        <a:pt x="42156" y="109343"/>
                        <a:pt x="43084" y="107950"/>
                      </a:cubicBezTo>
                      <a:cubicBezTo>
                        <a:pt x="44329" y="106082"/>
                        <a:pt x="46934" y="105239"/>
                        <a:pt x="47846" y="103188"/>
                      </a:cubicBezTo>
                      <a:cubicBezTo>
                        <a:pt x="49153" y="100247"/>
                        <a:pt x="48509" y="96746"/>
                        <a:pt x="49434" y="93663"/>
                      </a:cubicBezTo>
                      <a:cubicBezTo>
                        <a:pt x="49767" y="92553"/>
                        <a:pt x="54276" y="83681"/>
                        <a:pt x="55784" y="82550"/>
                      </a:cubicBezTo>
                      <a:cubicBezTo>
                        <a:pt x="64917" y="75700"/>
                        <a:pt x="63306" y="79333"/>
                        <a:pt x="71659" y="76200"/>
                      </a:cubicBezTo>
                      <a:cubicBezTo>
                        <a:pt x="73875" y="75369"/>
                        <a:pt x="75954" y="74199"/>
                        <a:pt x="78009" y="73025"/>
                      </a:cubicBezTo>
                      <a:cubicBezTo>
                        <a:pt x="79665" y="72078"/>
                        <a:pt x="81017" y="70601"/>
                        <a:pt x="82771" y="69850"/>
                      </a:cubicBezTo>
                      <a:cubicBezTo>
                        <a:pt x="84776" y="68991"/>
                        <a:pt x="87051" y="68953"/>
                        <a:pt x="89121" y="68263"/>
                      </a:cubicBezTo>
                      <a:cubicBezTo>
                        <a:pt x="91825" y="67362"/>
                        <a:pt x="94391" y="66089"/>
                        <a:pt x="97059" y="65088"/>
                      </a:cubicBezTo>
                      <a:cubicBezTo>
                        <a:pt x="106397" y="61586"/>
                        <a:pt x="97028" y="65897"/>
                        <a:pt x="108171" y="60325"/>
                      </a:cubicBezTo>
                      <a:cubicBezTo>
                        <a:pt x="108700" y="58738"/>
                        <a:pt x="109396" y="57196"/>
                        <a:pt x="109759" y="55563"/>
                      </a:cubicBezTo>
                      <a:cubicBezTo>
                        <a:pt x="110457" y="52421"/>
                        <a:pt x="109561" y="48716"/>
                        <a:pt x="111346" y="46038"/>
                      </a:cubicBezTo>
                      <a:cubicBezTo>
                        <a:pt x="112274" y="44646"/>
                        <a:pt x="111542" y="49872"/>
                        <a:pt x="112934" y="50800"/>
                      </a:cubicBezTo>
                      <a:cubicBezTo>
                        <a:pt x="115179" y="52297"/>
                        <a:pt x="118225" y="51859"/>
                        <a:pt x="120871" y="52388"/>
                      </a:cubicBezTo>
                      <a:cubicBezTo>
                        <a:pt x="122988" y="50271"/>
                        <a:pt x="124968" y="48009"/>
                        <a:pt x="127221" y="46038"/>
                      </a:cubicBezTo>
                      <a:cubicBezTo>
                        <a:pt x="139325" y="35446"/>
                        <a:pt x="137698" y="41504"/>
                        <a:pt x="162146" y="42863"/>
                      </a:cubicBezTo>
                      <a:cubicBezTo>
                        <a:pt x="161617" y="51859"/>
                        <a:pt x="159868" y="60865"/>
                        <a:pt x="160559" y="69850"/>
                      </a:cubicBezTo>
                      <a:cubicBezTo>
                        <a:pt x="160741" y="72210"/>
                        <a:pt x="162903" y="65716"/>
                        <a:pt x="163734" y="63500"/>
                      </a:cubicBezTo>
                      <a:cubicBezTo>
                        <a:pt x="164500" y="61457"/>
                        <a:pt x="164631" y="59220"/>
                        <a:pt x="165321" y="57150"/>
                      </a:cubicBezTo>
                      <a:cubicBezTo>
                        <a:pt x="166222" y="54447"/>
                        <a:pt x="167438" y="51859"/>
                        <a:pt x="168496" y="49213"/>
                      </a:cubicBezTo>
                      <a:cubicBezTo>
                        <a:pt x="169025" y="44980"/>
                        <a:pt x="168319" y="40397"/>
                        <a:pt x="170084" y="36513"/>
                      </a:cubicBezTo>
                      <a:cubicBezTo>
                        <a:pt x="171179" y="34104"/>
                        <a:pt x="174443" y="33492"/>
                        <a:pt x="176434" y="31750"/>
                      </a:cubicBezTo>
                      <a:cubicBezTo>
                        <a:pt x="178687" y="29779"/>
                        <a:pt x="180667" y="27517"/>
                        <a:pt x="182784" y="25400"/>
                      </a:cubicBezTo>
                      <a:cubicBezTo>
                        <a:pt x="180138" y="24871"/>
                        <a:pt x="177544" y="23813"/>
                        <a:pt x="174846" y="23813"/>
                      </a:cubicBezTo>
                      <a:cubicBezTo>
                        <a:pt x="172664" y="23813"/>
                        <a:pt x="179014" y="25400"/>
                        <a:pt x="181196" y="25400"/>
                      </a:cubicBezTo>
                      <a:cubicBezTo>
                        <a:pt x="189679" y="25400"/>
                        <a:pt x="198129" y="24342"/>
                        <a:pt x="206596" y="23813"/>
                      </a:cubicBezTo>
                      <a:cubicBezTo>
                        <a:pt x="213475" y="22755"/>
                        <a:pt x="220557" y="22602"/>
                        <a:pt x="227234" y="20638"/>
                      </a:cubicBezTo>
                      <a:cubicBezTo>
                        <a:pt x="229772" y="19891"/>
                        <a:pt x="231271" y="17160"/>
                        <a:pt x="233584" y="15875"/>
                      </a:cubicBezTo>
                      <a:cubicBezTo>
                        <a:pt x="241184" y="11653"/>
                        <a:pt x="245129" y="12249"/>
                        <a:pt x="254221" y="11113"/>
                      </a:cubicBezTo>
                      <a:cubicBezTo>
                        <a:pt x="256338" y="10584"/>
                        <a:pt x="258394" y="9380"/>
                        <a:pt x="260571" y="9525"/>
                      </a:cubicBezTo>
                      <a:cubicBezTo>
                        <a:pt x="271432" y="10249"/>
                        <a:pt x="274754" y="11606"/>
                        <a:pt x="282796" y="14288"/>
                      </a:cubicBezTo>
                      <a:cubicBezTo>
                        <a:pt x="283854" y="16934"/>
                        <a:pt x="284315" y="19906"/>
                        <a:pt x="285971" y="22225"/>
                      </a:cubicBezTo>
                      <a:cubicBezTo>
                        <a:pt x="287080" y="23778"/>
                        <a:pt x="289385" y="24051"/>
                        <a:pt x="290734" y="25400"/>
                      </a:cubicBezTo>
                      <a:cubicBezTo>
                        <a:pt x="292083" y="26749"/>
                        <a:pt x="292851" y="28575"/>
                        <a:pt x="293909" y="30163"/>
                      </a:cubicBezTo>
                      <a:cubicBezTo>
                        <a:pt x="301317" y="29634"/>
                        <a:pt x="308958" y="30489"/>
                        <a:pt x="316134" y="28575"/>
                      </a:cubicBezTo>
                      <a:cubicBezTo>
                        <a:pt x="317751" y="28144"/>
                        <a:pt x="316793" y="25205"/>
                        <a:pt x="317721" y="23813"/>
                      </a:cubicBezTo>
                      <a:cubicBezTo>
                        <a:pt x="319476" y="21181"/>
                        <a:pt x="324318" y="17339"/>
                        <a:pt x="327246" y="15875"/>
                      </a:cubicBezTo>
                      <a:cubicBezTo>
                        <a:pt x="328743" y="15127"/>
                        <a:pt x="330340" y="14407"/>
                        <a:pt x="332009" y="14288"/>
                      </a:cubicBezTo>
                      <a:cubicBezTo>
                        <a:pt x="345215" y="13345"/>
                        <a:pt x="358467" y="13229"/>
                        <a:pt x="371696" y="12700"/>
                      </a:cubicBezTo>
                      <a:cubicBezTo>
                        <a:pt x="382492" y="10001"/>
                        <a:pt x="382771" y="10907"/>
                        <a:pt x="390746" y="6350"/>
                      </a:cubicBezTo>
                      <a:cubicBezTo>
                        <a:pt x="392403" y="5403"/>
                        <a:pt x="394160" y="4524"/>
                        <a:pt x="395509" y="3175"/>
                      </a:cubicBezTo>
                      <a:cubicBezTo>
                        <a:pt x="397380" y="1304"/>
                        <a:pt x="382015" y="19051"/>
                        <a:pt x="381221" y="20638"/>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dirty="0"/>
                </a:p>
              </p:txBody>
            </p:sp>
            <p:sp>
              <p:nvSpPr>
                <p:cNvPr id="869" name="Forma libre: forma 17">
                  <a:extLst>
                    <a:ext uri="{FF2B5EF4-FFF2-40B4-BE49-F238E27FC236}">
                      <a16:creationId xmlns:a16="http://schemas.microsoft.com/office/drawing/2014/main" id="{E5A9EFC5-E9A3-4E28-BD23-689A939FDBC2}"/>
                    </a:ext>
                  </a:extLst>
                </p:cNvPr>
                <p:cNvSpPr/>
                <p:nvPr/>
              </p:nvSpPr>
              <p:spPr>
                <a:xfrm>
                  <a:off x="5419221" y="2817813"/>
                  <a:ext cx="81426" cy="57150"/>
                </a:xfrm>
                <a:custGeom>
                  <a:avLst/>
                  <a:gdLst>
                    <a:gd name="connsiteX0" fmla="*/ 0 w 112672"/>
                    <a:gd name="connsiteY0" fmla="*/ 33337 h 57150"/>
                    <a:gd name="connsiteX1" fmla="*/ 31750 w 112672"/>
                    <a:gd name="connsiteY1" fmla="*/ 28575 h 57150"/>
                    <a:gd name="connsiteX2" fmla="*/ 34925 w 112672"/>
                    <a:gd name="connsiteY2" fmla="*/ 23812 h 57150"/>
                    <a:gd name="connsiteX3" fmla="*/ 44450 w 112672"/>
                    <a:gd name="connsiteY3" fmla="*/ 14287 h 57150"/>
                    <a:gd name="connsiteX4" fmla="*/ 46038 w 112672"/>
                    <a:gd name="connsiteY4" fmla="*/ 6350 h 57150"/>
                    <a:gd name="connsiteX5" fmla="*/ 50800 w 112672"/>
                    <a:gd name="connsiteY5" fmla="*/ 4762 h 57150"/>
                    <a:gd name="connsiteX6" fmla="*/ 55563 w 112672"/>
                    <a:gd name="connsiteY6" fmla="*/ 0 h 57150"/>
                    <a:gd name="connsiteX7" fmla="*/ 63500 w 112672"/>
                    <a:gd name="connsiteY7" fmla="*/ 1587 h 57150"/>
                    <a:gd name="connsiteX8" fmla="*/ 74613 w 112672"/>
                    <a:gd name="connsiteY8" fmla="*/ 11112 h 57150"/>
                    <a:gd name="connsiteX9" fmla="*/ 80963 w 112672"/>
                    <a:gd name="connsiteY9" fmla="*/ 15875 h 57150"/>
                    <a:gd name="connsiteX10" fmla="*/ 85725 w 112672"/>
                    <a:gd name="connsiteY10" fmla="*/ 17462 h 57150"/>
                    <a:gd name="connsiteX11" fmla="*/ 103188 w 112672"/>
                    <a:gd name="connsiteY11" fmla="*/ 20637 h 57150"/>
                    <a:gd name="connsiteX12" fmla="*/ 111125 w 112672"/>
                    <a:gd name="connsiteY12" fmla="*/ 33337 h 57150"/>
                    <a:gd name="connsiteX13" fmla="*/ 101600 w 112672"/>
                    <a:gd name="connsiteY13" fmla="*/ 36512 h 57150"/>
                    <a:gd name="connsiteX14" fmla="*/ 96838 w 112672"/>
                    <a:gd name="connsiteY14" fmla="*/ 42862 h 57150"/>
                    <a:gd name="connsiteX15" fmla="*/ 90488 w 112672"/>
                    <a:gd name="connsiteY15" fmla="*/ 44450 h 57150"/>
                    <a:gd name="connsiteX16" fmla="*/ 88900 w 112672"/>
                    <a:gd name="connsiteY16" fmla="*/ 50800 h 57150"/>
                    <a:gd name="connsiteX17" fmla="*/ 77788 w 112672"/>
                    <a:gd name="connsiteY17" fmla="*/ 57150 h 57150"/>
                    <a:gd name="connsiteX18" fmla="*/ 57150 w 112672"/>
                    <a:gd name="connsiteY18" fmla="*/ 53975 h 57150"/>
                    <a:gd name="connsiteX19" fmla="*/ 49213 w 112672"/>
                    <a:gd name="connsiteY19" fmla="*/ 49212 h 57150"/>
                    <a:gd name="connsiteX20" fmla="*/ 46038 w 112672"/>
                    <a:gd name="connsiteY20" fmla="*/ 42862 h 57150"/>
                    <a:gd name="connsiteX21" fmla="*/ 14288 w 112672"/>
                    <a:gd name="connsiteY21" fmla="*/ 38100 h 57150"/>
                    <a:gd name="connsiteX22" fmla="*/ 0 w 112672"/>
                    <a:gd name="connsiteY22" fmla="*/ 33337 h 57150"/>
                    <a:gd name="connsiteX0" fmla="*/ 0 w 98384"/>
                    <a:gd name="connsiteY0" fmla="*/ 38100 h 57150"/>
                    <a:gd name="connsiteX1" fmla="*/ 17462 w 98384"/>
                    <a:gd name="connsiteY1" fmla="*/ 28575 h 57150"/>
                    <a:gd name="connsiteX2" fmla="*/ 20637 w 98384"/>
                    <a:gd name="connsiteY2" fmla="*/ 23812 h 57150"/>
                    <a:gd name="connsiteX3" fmla="*/ 30162 w 98384"/>
                    <a:gd name="connsiteY3" fmla="*/ 14287 h 57150"/>
                    <a:gd name="connsiteX4" fmla="*/ 31750 w 98384"/>
                    <a:gd name="connsiteY4" fmla="*/ 6350 h 57150"/>
                    <a:gd name="connsiteX5" fmla="*/ 36512 w 98384"/>
                    <a:gd name="connsiteY5" fmla="*/ 4762 h 57150"/>
                    <a:gd name="connsiteX6" fmla="*/ 41275 w 98384"/>
                    <a:gd name="connsiteY6" fmla="*/ 0 h 57150"/>
                    <a:gd name="connsiteX7" fmla="*/ 49212 w 98384"/>
                    <a:gd name="connsiteY7" fmla="*/ 1587 h 57150"/>
                    <a:gd name="connsiteX8" fmla="*/ 60325 w 98384"/>
                    <a:gd name="connsiteY8" fmla="*/ 11112 h 57150"/>
                    <a:gd name="connsiteX9" fmla="*/ 66675 w 98384"/>
                    <a:gd name="connsiteY9" fmla="*/ 15875 h 57150"/>
                    <a:gd name="connsiteX10" fmla="*/ 71437 w 98384"/>
                    <a:gd name="connsiteY10" fmla="*/ 17462 h 57150"/>
                    <a:gd name="connsiteX11" fmla="*/ 88900 w 98384"/>
                    <a:gd name="connsiteY11" fmla="*/ 20637 h 57150"/>
                    <a:gd name="connsiteX12" fmla="*/ 96837 w 98384"/>
                    <a:gd name="connsiteY12" fmla="*/ 33337 h 57150"/>
                    <a:gd name="connsiteX13" fmla="*/ 87312 w 98384"/>
                    <a:gd name="connsiteY13" fmla="*/ 36512 h 57150"/>
                    <a:gd name="connsiteX14" fmla="*/ 82550 w 98384"/>
                    <a:gd name="connsiteY14" fmla="*/ 42862 h 57150"/>
                    <a:gd name="connsiteX15" fmla="*/ 76200 w 98384"/>
                    <a:gd name="connsiteY15" fmla="*/ 44450 h 57150"/>
                    <a:gd name="connsiteX16" fmla="*/ 74612 w 98384"/>
                    <a:gd name="connsiteY16" fmla="*/ 50800 h 57150"/>
                    <a:gd name="connsiteX17" fmla="*/ 63500 w 98384"/>
                    <a:gd name="connsiteY17" fmla="*/ 57150 h 57150"/>
                    <a:gd name="connsiteX18" fmla="*/ 42862 w 98384"/>
                    <a:gd name="connsiteY18" fmla="*/ 53975 h 57150"/>
                    <a:gd name="connsiteX19" fmla="*/ 34925 w 98384"/>
                    <a:gd name="connsiteY19" fmla="*/ 49212 h 57150"/>
                    <a:gd name="connsiteX20" fmla="*/ 31750 w 98384"/>
                    <a:gd name="connsiteY20" fmla="*/ 42862 h 57150"/>
                    <a:gd name="connsiteX21" fmla="*/ 0 w 98384"/>
                    <a:gd name="connsiteY21" fmla="*/ 38100 h 57150"/>
                    <a:gd name="connsiteX0" fmla="*/ 14792 w 81426"/>
                    <a:gd name="connsiteY0" fmla="*/ 42862 h 57150"/>
                    <a:gd name="connsiteX1" fmla="*/ 504 w 81426"/>
                    <a:gd name="connsiteY1" fmla="*/ 28575 h 57150"/>
                    <a:gd name="connsiteX2" fmla="*/ 3679 w 81426"/>
                    <a:gd name="connsiteY2" fmla="*/ 23812 h 57150"/>
                    <a:gd name="connsiteX3" fmla="*/ 13204 w 81426"/>
                    <a:gd name="connsiteY3" fmla="*/ 14287 h 57150"/>
                    <a:gd name="connsiteX4" fmla="*/ 14792 w 81426"/>
                    <a:gd name="connsiteY4" fmla="*/ 6350 h 57150"/>
                    <a:gd name="connsiteX5" fmla="*/ 19554 w 81426"/>
                    <a:gd name="connsiteY5" fmla="*/ 4762 h 57150"/>
                    <a:gd name="connsiteX6" fmla="*/ 24317 w 81426"/>
                    <a:gd name="connsiteY6" fmla="*/ 0 h 57150"/>
                    <a:gd name="connsiteX7" fmla="*/ 32254 w 81426"/>
                    <a:gd name="connsiteY7" fmla="*/ 1587 h 57150"/>
                    <a:gd name="connsiteX8" fmla="*/ 43367 w 81426"/>
                    <a:gd name="connsiteY8" fmla="*/ 11112 h 57150"/>
                    <a:gd name="connsiteX9" fmla="*/ 49717 w 81426"/>
                    <a:gd name="connsiteY9" fmla="*/ 15875 h 57150"/>
                    <a:gd name="connsiteX10" fmla="*/ 54479 w 81426"/>
                    <a:gd name="connsiteY10" fmla="*/ 17462 h 57150"/>
                    <a:gd name="connsiteX11" fmla="*/ 71942 w 81426"/>
                    <a:gd name="connsiteY11" fmla="*/ 20637 h 57150"/>
                    <a:gd name="connsiteX12" fmla="*/ 79879 w 81426"/>
                    <a:gd name="connsiteY12" fmla="*/ 33337 h 57150"/>
                    <a:gd name="connsiteX13" fmla="*/ 70354 w 81426"/>
                    <a:gd name="connsiteY13" fmla="*/ 36512 h 57150"/>
                    <a:gd name="connsiteX14" fmla="*/ 65592 w 81426"/>
                    <a:gd name="connsiteY14" fmla="*/ 42862 h 57150"/>
                    <a:gd name="connsiteX15" fmla="*/ 59242 w 81426"/>
                    <a:gd name="connsiteY15" fmla="*/ 44450 h 57150"/>
                    <a:gd name="connsiteX16" fmla="*/ 57654 w 81426"/>
                    <a:gd name="connsiteY16" fmla="*/ 50800 h 57150"/>
                    <a:gd name="connsiteX17" fmla="*/ 46542 w 81426"/>
                    <a:gd name="connsiteY17" fmla="*/ 57150 h 57150"/>
                    <a:gd name="connsiteX18" fmla="*/ 25904 w 81426"/>
                    <a:gd name="connsiteY18" fmla="*/ 53975 h 57150"/>
                    <a:gd name="connsiteX19" fmla="*/ 17967 w 81426"/>
                    <a:gd name="connsiteY19" fmla="*/ 49212 h 57150"/>
                    <a:gd name="connsiteX20" fmla="*/ 14792 w 81426"/>
                    <a:gd name="connsiteY20" fmla="*/ 42862 h 57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81426" h="57150">
                      <a:moveTo>
                        <a:pt x="14792" y="42862"/>
                      </a:moveTo>
                      <a:cubicBezTo>
                        <a:pt x="11882" y="39423"/>
                        <a:pt x="2356" y="31750"/>
                        <a:pt x="504" y="28575"/>
                      </a:cubicBezTo>
                      <a:cubicBezTo>
                        <a:pt x="-1348" y="25400"/>
                        <a:pt x="2411" y="25238"/>
                        <a:pt x="3679" y="23812"/>
                      </a:cubicBezTo>
                      <a:cubicBezTo>
                        <a:pt x="6662" y="20456"/>
                        <a:pt x="13204" y="14287"/>
                        <a:pt x="13204" y="14287"/>
                      </a:cubicBezTo>
                      <a:cubicBezTo>
                        <a:pt x="13733" y="11641"/>
                        <a:pt x="13295" y="8595"/>
                        <a:pt x="14792" y="6350"/>
                      </a:cubicBezTo>
                      <a:cubicBezTo>
                        <a:pt x="15720" y="4958"/>
                        <a:pt x="18162" y="5690"/>
                        <a:pt x="19554" y="4762"/>
                      </a:cubicBezTo>
                      <a:cubicBezTo>
                        <a:pt x="21422" y="3517"/>
                        <a:pt x="22729" y="1587"/>
                        <a:pt x="24317" y="0"/>
                      </a:cubicBezTo>
                      <a:cubicBezTo>
                        <a:pt x="26963" y="529"/>
                        <a:pt x="29728" y="640"/>
                        <a:pt x="32254" y="1587"/>
                      </a:cubicBezTo>
                      <a:cubicBezTo>
                        <a:pt x="36504" y="3181"/>
                        <a:pt x="40380" y="8499"/>
                        <a:pt x="43367" y="11112"/>
                      </a:cubicBezTo>
                      <a:cubicBezTo>
                        <a:pt x="45358" y="12854"/>
                        <a:pt x="47420" y="14562"/>
                        <a:pt x="49717" y="15875"/>
                      </a:cubicBezTo>
                      <a:cubicBezTo>
                        <a:pt x="51170" y="16705"/>
                        <a:pt x="52843" y="17111"/>
                        <a:pt x="54479" y="17462"/>
                      </a:cubicBezTo>
                      <a:cubicBezTo>
                        <a:pt x="60264" y="18702"/>
                        <a:pt x="66121" y="19579"/>
                        <a:pt x="71942" y="20637"/>
                      </a:cubicBezTo>
                      <a:cubicBezTo>
                        <a:pt x="75912" y="22622"/>
                        <a:pt x="85056" y="25054"/>
                        <a:pt x="79879" y="33337"/>
                      </a:cubicBezTo>
                      <a:cubicBezTo>
                        <a:pt x="78105" y="36175"/>
                        <a:pt x="73529" y="35454"/>
                        <a:pt x="70354" y="36512"/>
                      </a:cubicBezTo>
                      <a:cubicBezTo>
                        <a:pt x="68767" y="38629"/>
                        <a:pt x="67745" y="41324"/>
                        <a:pt x="65592" y="42862"/>
                      </a:cubicBezTo>
                      <a:cubicBezTo>
                        <a:pt x="63817" y="44130"/>
                        <a:pt x="60785" y="42907"/>
                        <a:pt x="59242" y="44450"/>
                      </a:cubicBezTo>
                      <a:cubicBezTo>
                        <a:pt x="57699" y="45993"/>
                        <a:pt x="58737" y="48906"/>
                        <a:pt x="57654" y="50800"/>
                      </a:cubicBezTo>
                      <a:cubicBezTo>
                        <a:pt x="54502" y="56316"/>
                        <a:pt x="52006" y="55784"/>
                        <a:pt x="46542" y="57150"/>
                      </a:cubicBezTo>
                      <a:cubicBezTo>
                        <a:pt x="42001" y="56696"/>
                        <a:pt x="31622" y="56834"/>
                        <a:pt x="25904" y="53975"/>
                      </a:cubicBezTo>
                      <a:cubicBezTo>
                        <a:pt x="23144" y="52595"/>
                        <a:pt x="20613" y="50800"/>
                        <a:pt x="17967" y="49212"/>
                      </a:cubicBezTo>
                      <a:cubicBezTo>
                        <a:pt x="16909" y="47095"/>
                        <a:pt x="16307" y="44680"/>
                        <a:pt x="14792" y="42862"/>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870" name="Forma libre: forma 18">
                  <a:extLst>
                    <a:ext uri="{FF2B5EF4-FFF2-40B4-BE49-F238E27FC236}">
                      <a16:creationId xmlns:a16="http://schemas.microsoft.com/office/drawing/2014/main" id="{7B8CBB3C-5B6D-45B9-932A-E93DA0C2846E}"/>
                    </a:ext>
                  </a:extLst>
                </p:cNvPr>
                <p:cNvSpPr/>
                <p:nvPr/>
              </p:nvSpPr>
              <p:spPr>
                <a:xfrm>
                  <a:off x="5391150" y="2881068"/>
                  <a:ext cx="142875" cy="119307"/>
                </a:xfrm>
                <a:custGeom>
                  <a:avLst/>
                  <a:gdLst>
                    <a:gd name="connsiteX0" fmla="*/ 1588 w 142875"/>
                    <a:gd name="connsiteY0" fmla="*/ 57395 h 119307"/>
                    <a:gd name="connsiteX1" fmla="*/ 14288 w 142875"/>
                    <a:gd name="connsiteY1" fmla="*/ 60570 h 119307"/>
                    <a:gd name="connsiteX2" fmla="*/ 19050 w 142875"/>
                    <a:gd name="connsiteY2" fmla="*/ 65332 h 119307"/>
                    <a:gd name="connsiteX3" fmla="*/ 17463 w 142875"/>
                    <a:gd name="connsiteY3" fmla="*/ 71682 h 119307"/>
                    <a:gd name="connsiteX4" fmla="*/ 1588 w 142875"/>
                    <a:gd name="connsiteY4" fmla="*/ 76445 h 119307"/>
                    <a:gd name="connsiteX5" fmla="*/ 0 w 142875"/>
                    <a:gd name="connsiteY5" fmla="*/ 84382 h 119307"/>
                    <a:gd name="connsiteX6" fmla="*/ 19050 w 142875"/>
                    <a:gd name="connsiteY6" fmla="*/ 90732 h 119307"/>
                    <a:gd name="connsiteX7" fmla="*/ 23813 w 142875"/>
                    <a:gd name="connsiteY7" fmla="*/ 103432 h 119307"/>
                    <a:gd name="connsiteX8" fmla="*/ 31750 w 142875"/>
                    <a:gd name="connsiteY8" fmla="*/ 109782 h 119307"/>
                    <a:gd name="connsiteX9" fmla="*/ 34925 w 142875"/>
                    <a:gd name="connsiteY9" fmla="*/ 114545 h 119307"/>
                    <a:gd name="connsiteX10" fmla="*/ 39688 w 142875"/>
                    <a:gd name="connsiteY10" fmla="*/ 119307 h 119307"/>
                    <a:gd name="connsiteX11" fmla="*/ 49213 w 142875"/>
                    <a:gd name="connsiteY11" fmla="*/ 103432 h 119307"/>
                    <a:gd name="connsiteX12" fmla="*/ 53975 w 142875"/>
                    <a:gd name="connsiteY12" fmla="*/ 97082 h 119307"/>
                    <a:gd name="connsiteX13" fmla="*/ 60325 w 142875"/>
                    <a:gd name="connsiteY13" fmla="*/ 85970 h 119307"/>
                    <a:gd name="connsiteX14" fmla="*/ 66675 w 142875"/>
                    <a:gd name="connsiteY14" fmla="*/ 84382 h 119307"/>
                    <a:gd name="connsiteX15" fmla="*/ 80963 w 142875"/>
                    <a:gd name="connsiteY15" fmla="*/ 81207 h 119307"/>
                    <a:gd name="connsiteX16" fmla="*/ 87313 w 142875"/>
                    <a:gd name="connsiteY16" fmla="*/ 78032 h 119307"/>
                    <a:gd name="connsiteX17" fmla="*/ 95250 w 142875"/>
                    <a:gd name="connsiteY17" fmla="*/ 73270 h 119307"/>
                    <a:gd name="connsiteX18" fmla="*/ 103188 w 142875"/>
                    <a:gd name="connsiteY18" fmla="*/ 70095 h 119307"/>
                    <a:gd name="connsiteX19" fmla="*/ 111125 w 142875"/>
                    <a:gd name="connsiteY19" fmla="*/ 60570 h 119307"/>
                    <a:gd name="connsiteX20" fmla="*/ 123825 w 142875"/>
                    <a:gd name="connsiteY20" fmla="*/ 44695 h 119307"/>
                    <a:gd name="connsiteX21" fmla="*/ 131763 w 142875"/>
                    <a:gd name="connsiteY21" fmla="*/ 38345 h 119307"/>
                    <a:gd name="connsiteX22" fmla="*/ 142875 w 142875"/>
                    <a:gd name="connsiteY22" fmla="*/ 27232 h 119307"/>
                    <a:gd name="connsiteX23" fmla="*/ 138113 w 142875"/>
                    <a:gd name="connsiteY23" fmla="*/ 24057 h 119307"/>
                    <a:gd name="connsiteX24" fmla="*/ 127000 w 142875"/>
                    <a:gd name="connsiteY24" fmla="*/ 27232 h 119307"/>
                    <a:gd name="connsiteX25" fmla="*/ 130175 w 142875"/>
                    <a:gd name="connsiteY25" fmla="*/ 9770 h 119307"/>
                    <a:gd name="connsiteX26" fmla="*/ 136525 w 142875"/>
                    <a:gd name="connsiteY26" fmla="*/ 245 h 119307"/>
                    <a:gd name="connsiteX27" fmla="*/ 130175 w 142875"/>
                    <a:gd name="connsiteY27" fmla="*/ 3420 h 119307"/>
                    <a:gd name="connsiteX28" fmla="*/ 120650 w 142875"/>
                    <a:gd name="connsiteY28" fmla="*/ 6595 h 119307"/>
                    <a:gd name="connsiteX29" fmla="*/ 114300 w 142875"/>
                    <a:gd name="connsiteY29" fmla="*/ 11357 h 119307"/>
                    <a:gd name="connsiteX30" fmla="*/ 84138 w 142875"/>
                    <a:gd name="connsiteY30" fmla="*/ 17707 h 119307"/>
                    <a:gd name="connsiteX31" fmla="*/ 77788 w 142875"/>
                    <a:gd name="connsiteY31" fmla="*/ 20882 h 119307"/>
                    <a:gd name="connsiteX32" fmla="*/ 71438 w 142875"/>
                    <a:gd name="connsiteY32" fmla="*/ 25645 h 119307"/>
                    <a:gd name="connsiteX33" fmla="*/ 60325 w 142875"/>
                    <a:gd name="connsiteY33" fmla="*/ 30407 h 119307"/>
                    <a:gd name="connsiteX34" fmla="*/ 55563 w 142875"/>
                    <a:gd name="connsiteY34" fmla="*/ 35170 h 119307"/>
                    <a:gd name="connsiteX35" fmla="*/ 38100 w 142875"/>
                    <a:gd name="connsiteY35" fmla="*/ 39932 h 119307"/>
                    <a:gd name="connsiteX36" fmla="*/ 33338 w 142875"/>
                    <a:gd name="connsiteY36" fmla="*/ 41520 h 119307"/>
                    <a:gd name="connsiteX37" fmla="*/ 26988 w 142875"/>
                    <a:gd name="connsiteY37" fmla="*/ 44695 h 119307"/>
                    <a:gd name="connsiteX38" fmla="*/ 15875 w 142875"/>
                    <a:gd name="connsiteY38" fmla="*/ 46282 h 119307"/>
                    <a:gd name="connsiteX39" fmla="*/ 1588 w 142875"/>
                    <a:gd name="connsiteY39" fmla="*/ 57395 h 119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42875" h="119307">
                      <a:moveTo>
                        <a:pt x="1588" y="57395"/>
                      </a:moveTo>
                      <a:cubicBezTo>
                        <a:pt x="1324" y="59776"/>
                        <a:pt x="12194" y="59174"/>
                        <a:pt x="14288" y="60570"/>
                      </a:cubicBezTo>
                      <a:cubicBezTo>
                        <a:pt x="16156" y="61815"/>
                        <a:pt x="17463" y="63745"/>
                        <a:pt x="19050" y="65332"/>
                      </a:cubicBezTo>
                      <a:cubicBezTo>
                        <a:pt x="18521" y="67449"/>
                        <a:pt x="19006" y="70139"/>
                        <a:pt x="17463" y="71682"/>
                      </a:cubicBezTo>
                      <a:cubicBezTo>
                        <a:pt x="14853" y="74292"/>
                        <a:pt x="4903" y="75782"/>
                        <a:pt x="1588" y="76445"/>
                      </a:cubicBezTo>
                      <a:cubicBezTo>
                        <a:pt x="1059" y="79091"/>
                        <a:pt x="0" y="81684"/>
                        <a:pt x="0" y="84382"/>
                      </a:cubicBezTo>
                      <a:cubicBezTo>
                        <a:pt x="0" y="94377"/>
                        <a:pt x="11923" y="90084"/>
                        <a:pt x="19050" y="90732"/>
                      </a:cubicBezTo>
                      <a:cubicBezTo>
                        <a:pt x="14974" y="102961"/>
                        <a:pt x="12768" y="99014"/>
                        <a:pt x="23813" y="103432"/>
                      </a:cubicBezTo>
                      <a:cubicBezTo>
                        <a:pt x="26459" y="105549"/>
                        <a:pt x="29354" y="107386"/>
                        <a:pt x="31750" y="109782"/>
                      </a:cubicBezTo>
                      <a:cubicBezTo>
                        <a:pt x="33099" y="111131"/>
                        <a:pt x="33703" y="113079"/>
                        <a:pt x="34925" y="114545"/>
                      </a:cubicBezTo>
                      <a:cubicBezTo>
                        <a:pt x="36362" y="116270"/>
                        <a:pt x="38100" y="117720"/>
                        <a:pt x="39688" y="119307"/>
                      </a:cubicBezTo>
                      <a:cubicBezTo>
                        <a:pt x="54523" y="100764"/>
                        <a:pt x="39140" y="121565"/>
                        <a:pt x="49213" y="103432"/>
                      </a:cubicBezTo>
                      <a:cubicBezTo>
                        <a:pt x="50498" y="101119"/>
                        <a:pt x="52555" y="99314"/>
                        <a:pt x="53975" y="97082"/>
                      </a:cubicBezTo>
                      <a:cubicBezTo>
                        <a:pt x="56265" y="93483"/>
                        <a:pt x="57308" y="88987"/>
                        <a:pt x="60325" y="85970"/>
                      </a:cubicBezTo>
                      <a:cubicBezTo>
                        <a:pt x="61868" y="84427"/>
                        <a:pt x="64549" y="84873"/>
                        <a:pt x="66675" y="84382"/>
                      </a:cubicBezTo>
                      <a:lnTo>
                        <a:pt x="80963" y="81207"/>
                      </a:lnTo>
                      <a:cubicBezTo>
                        <a:pt x="83080" y="80149"/>
                        <a:pt x="85244" y="79181"/>
                        <a:pt x="87313" y="78032"/>
                      </a:cubicBezTo>
                      <a:cubicBezTo>
                        <a:pt x="90010" y="76534"/>
                        <a:pt x="92490" y="74650"/>
                        <a:pt x="95250" y="73270"/>
                      </a:cubicBezTo>
                      <a:cubicBezTo>
                        <a:pt x="97799" y="71996"/>
                        <a:pt x="100542" y="71153"/>
                        <a:pt x="103188" y="70095"/>
                      </a:cubicBezTo>
                      <a:cubicBezTo>
                        <a:pt x="110575" y="59013"/>
                        <a:pt x="101523" y="71918"/>
                        <a:pt x="111125" y="60570"/>
                      </a:cubicBezTo>
                      <a:cubicBezTo>
                        <a:pt x="115502" y="55397"/>
                        <a:pt x="118533" y="48928"/>
                        <a:pt x="123825" y="44695"/>
                      </a:cubicBezTo>
                      <a:cubicBezTo>
                        <a:pt x="126471" y="42578"/>
                        <a:pt x="129265" y="40635"/>
                        <a:pt x="131763" y="38345"/>
                      </a:cubicBezTo>
                      <a:cubicBezTo>
                        <a:pt x="135625" y="34805"/>
                        <a:pt x="142875" y="27232"/>
                        <a:pt x="142875" y="27232"/>
                      </a:cubicBezTo>
                      <a:cubicBezTo>
                        <a:pt x="141288" y="26174"/>
                        <a:pt x="140021" y="24057"/>
                        <a:pt x="138113" y="24057"/>
                      </a:cubicBezTo>
                      <a:cubicBezTo>
                        <a:pt x="134260" y="24057"/>
                        <a:pt x="128871" y="30600"/>
                        <a:pt x="127000" y="27232"/>
                      </a:cubicBezTo>
                      <a:cubicBezTo>
                        <a:pt x="124127" y="22061"/>
                        <a:pt x="128206" y="15349"/>
                        <a:pt x="130175" y="9770"/>
                      </a:cubicBezTo>
                      <a:cubicBezTo>
                        <a:pt x="131445" y="6172"/>
                        <a:pt x="139938" y="-1462"/>
                        <a:pt x="136525" y="245"/>
                      </a:cubicBezTo>
                      <a:cubicBezTo>
                        <a:pt x="134408" y="1303"/>
                        <a:pt x="132372" y="2541"/>
                        <a:pt x="130175" y="3420"/>
                      </a:cubicBezTo>
                      <a:cubicBezTo>
                        <a:pt x="127068" y="4663"/>
                        <a:pt x="120650" y="6595"/>
                        <a:pt x="120650" y="6595"/>
                      </a:cubicBezTo>
                      <a:cubicBezTo>
                        <a:pt x="118533" y="8182"/>
                        <a:pt x="116742" y="10339"/>
                        <a:pt x="114300" y="11357"/>
                      </a:cubicBezTo>
                      <a:cubicBezTo>
                        <a:pt x="108946" y="13588"/>
                        <a:pt x="88152" y="16977"/>
                        <a:pt x="84138" y="17707"/>
                      </a:cubicBezTo>
                      <a:cubicBezTo>
                        <a:pt x="82021" y="18765"/>
                        <a:pt x="79795" y="19628"/>
                        <a:pt x="77788" y="20882"/>
                      </a:cubicBezTo>
                      <a:cubicBezTo>
                        <a:pt x="75544" y="22284"/>
                        <a:pt x="73761" y="24378"/>
                        <a:pt x="71438" y="25645"/>
                      </a:cubicBezTo>
                      <a:cubicBezTo>
                        <a:pt x="67900" y="27575"/>
                        <a:pt x="64029" y="28820"/>
                        <a:pt x="60325" y="30407"/>
                      </a:cubicBezTo>
                      <a:cubicBezTo>
                        <a:pt x="58738" y="31995"/>
                        <a:pt x="57525" y="34080"/>
                        <a:pt x="55563" y="35170"/>
                      </a:cubicBezTo>
                      <a:cubicBezTo>
                        <a:pt x="49988" y="38268"/>
                        <a:pt x="44071" y="38439"/>
                        <a:pt x="38100" y="39932"/>
                      </a:cubicBezTo>
                      <a:cubicBezTo>
                        <a:pt x="36477" y="40338"/>
                        <a:pt x="34876" y="40861"/>
                        <a:pt x="33338" y="41520"/>
                      </a:cubicBezTo>
                      <a:cubicBezTo>
                        <a:pt x="31163" y="42452"/>
                        <a:pt x="29271" y="44072"/>
                        <a:pt x="26988" y="44695"/>
                      </a:cubicBezTo>
                      <a:cubicBezTo>
                        <a:pt x="23378" y="45679"/>
                        <a:pt x="19579" y="45753"/>
                        <a:pt x="15875" y="46282"/>
                      </a:cubicBezTo>
                      <a:cubicBezTo>
                        <a:pt x="13882" y="54255"/>
                        <a:pt x="1852" y="55014"/>
                        <a:pt x="1588" y="57395"/>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grpSp>
        </p:grpSp>
        <p:grpSp>
          <p:nvGrpSpPr>
            <p:cNvPr id="305" name="Grupo 22">
              <a:extLst>
                <a:ext uri="{FF2B5EF4-FFF2-40B4-BE49-F238E27FC236}">
                  <a16:creationId xmlns:a16="http://schemas.microsoft.com/office/drawing/2014/main" id="{3177FE97-A8C8-4DB6-A14F-E78DE7FF92FA}"/>
                </a:ext>
              </a:extLst>
            </p:cNvPr>
            <p:cNvGrpSpPr/>
            <p:nvPr/>
          </p:nvGrpSpPr>
          <p:grpSpPr>
            <a:xfrm>
              <a:off x="7113122" y="674200"/>
              <a:ext cx="936181" cy="2501755"/>
              <a:chOff x="4388378" y="1077622"/>
              <a:chExt cx="936181" cy="2501755"/>
            </a:xfrm>
            <a:solidFill>
              <a:srgbClr val="003399"/>
            </a:solidFill>
          </p:grpSpPr>
          <p:sp>
            <p:nvSpPr>
              <p:cNvPr id="864" name="Forma libre: forma 23">
                <a:extLst>
                  <a:ext uri="{FF2B5EF4-FFF2-40B4-BE49-F238E27FC236}">
                    <a16:creationId xmlns:a16="http://schemas.microsoft.com/office/drawing/2014/main" id="{21ACB836-A79B-4CE0-A8EE-2E2372482864}"/>
                  </a:ext>
                </a:extLst>
              </p:cNvPr>
              <p:cNvSpPr/>
              <p:nvPr/>
            </p:nvSpPr>
            <p:spPr>
              <a:xfrm>
                <a:off x="4388378" y="1077622"/>
                <a:ext cx="936181" cy="2501755"/>
              </a:xfrm>
              <a:custGeom>
                <a:avLst/>
                <a:gdLst>
                  <a:gd name="connsiteX0" fmla="*/ 599013 w 936181"/>
                  <a:gd name="connsiteY0" fmla="*/ 1743 h 2496787"/>
                  <a:gd name="connsiteX1" fmla="*/ 612500 w 936181"/>
                  <a:gd name="connsiteY1" fmla="*/ 4440 h 2496787"/>
                  <a:gd name="connsiteX2" fmla="*/ 615197 w 936181"/>
                  <a:gd name="connsiteY2" fmla="*/ 12532 h 2496787"/>
                  <a:gd name="connsiteX3" fmla="*/ 623289 w 936181"/>
                  <a:gd name="connsiteY3" fmla="*/ 26019 h 2496787"/>
                  <a:gd name="connsiteX4" fmla="*/ 625987 w 936181"/>
                  <a:gd name="connsiteY4" fmla="*/ 39506 h 2496787"/>
                  <a:gd name="connsiteX5" fmla="*/ 636776 w 936181"/>
                  <a:gd name="connsiteY5" fmla="*/ 44900 h 2496787"/>
                  <a:gd name="connsiteX6" fmla="*/ 644868 w 936181"/>
                  <a:gd name="connsiteY6" fmla="*/ 50295 h 2496787"/>
                  <a:gd name="connsiteX7" fmla="*/ 650263 w 936181"/>
                  <a:gd name="connsiteY7" fmla="*/ 58387 h 2496787"/>
                  <a:gd name="connsiteX8" fmla="*/ 661052 w 936181"/>
                  <a:gd name="connsiteY8" fmla="*/ 63782 h 2496787"/>
                  <a:gd name="connsiteX9" fmla="*/ 688026 w 936181"/>
                  <a:gd name="connsiteY9" fmla="*/ 74571 h 2496787"/>
                  <a:gd name="connsiteX10" fmla="*/ 717696 w 936181"/>
                  <a:gd name="connsiteY10" fmla="*/ 88058 h 2496787"/>
                  <a:gd name="connsiteX11" fmla="*/ 736578 w 936181"/>
                  <a:gd name="connsiteY11" fmla="*/ 82663 h 2496787"/>
                  <a:gd name="connsiteX12" fmla="*/ 752762 w 936181"/>
                  <a:gd name="connsiteY12" fmla="*/ 93452 h 2496787"/>
                  <a:gd name="connsiteX13" fmla="*/ 766249 w 936181"/>
                  <a:gd name="connsiteY13" fmla="*/ 112334 h 2496787"/>
                  <a:gd name="connsiteX14" fmla="*/ 771643 w 936181"/>
                  <a:gd name="connsiteY14" fmla="*/ 128518 h 2496787"/>
                  <a:gd name="connsiteX15" fmla="*/ 787827 w 936181"/>
                  <a:gd name="connsiteY15" fmla="*/ 133913 h 2496787"/>
                  <a:gd name="connsiteX16" fmla="*/ 795919 w 936181"/>
                  <a:gd name="connsiteY16" fmla="*/ 139307 h 2496787"/>
                  <a:gd name="connsiteX17" fmla="*/ 804011 w 936181"/>
                  <a:gd name="connsiteY17" fmla="*/ 150097 h 2496787"/>
                  <a:gd name="connsiteX18" fmla="*/ 820195 w 936181"/>
                  <a:gd name="connsiteY18" fmla="*/ 166281 h 2496787"/>
                  <a:gd name="connsiteX19" fmla="*/ 817498 w 936181"/>
                  <a:gd name="connsiteY19" fmla="*/ 198649 h 2496787"/>
                  <a:gd name="connsiteX20" fmla="*/ 828287 w 936181"/>
                  <a:gd name="connsiteY20" fmla="*/ 201346 h 2496787"/>
                  <a:gd name="connsiteX21" fmla="*/ 830985 w 936181"/>
                  <a:gd name="connsiteY21" fmla="*/ 247201 h 2496787"/>
                  <a:gd name="connsiteX22" fmla="*/ 839077 w 936181"/>
                  <a:gd name="connsiteY22" fmla="*/ 249898 h 2496787"/>
                  <a:gd name="connsiteX23" fmla="*/ 844472 w 936181"/>
                  <a:gd name="connsiteY23" fmla="*/ 260688 h 2496787"/>
                  <a:gd name="connsiteX24" fmla="*/ 849866 w 936181"/>
                  <a:gd name="connsiteY24" fmla="*/ 268780 h 2496787"/>
                  <a:gd name="connsiteX25" fmla="*/ 844472 w 936181"/>
                  <a:gd name="connsiteY25" fmla="*/ 282267 h 2496787"/>
                  <a:gd name="connsiteX26" fmla="*/ 836380 w 936181"/>
                  <a:gd name="connsiteY26" fmla="*/ 287661 h 2496787"/>
                  <a:gd name="connsiteX27" fmla="*/ 852564 w 936181"/>
                  <a:gd name="connsiteY27" fmla="*/ 306543 h 2496787"/>
                  <a:gd name="connsiteX28" fmla="*/ 855261 w 936181"/>
                  <a:gd name="connsiteY28" fmla="*/ 317332 h 2496787"/>
                  <a:gd name="connsiteX29" fmla="*/ 871445 w 936181"/>
                  <a:gd name="connsiteY29" fmla="*/ 330819 h 2496787"/>
                  <a:gd name="connsiteX30" fmla="*/ 876840 w 936181"/>
                  <a:gd name="connsiteY30" fmla="*/ 349700 h 2496787"/>
                  <a:gd name="connsiteX31" fmla="*/ 884932 w 936181"/>
                  <a:gd name="connsiteY31" fmla="*/ 371279 h 2496787"/>
                  <a:gd name="connsiteX32" fmla="*/ 887629 w 936181"/>
                  <a:gd name="connsiteY32" fmla="*/ 406345 h 2496787"/>
                  <a:gd name="connsiteX33" fmla="*/ 884932 w 936181"/>
                  <a:gd name="connsiteY33" fmla="*/ 414437 h 2496787"/>
                  <a:gd name="connsiteX34" fmla="*/ 882234 w 936181"/>
                  <a:gd name="connsiteY34" fmla="*/ 427923 h 2496787"/>
                  <a:gd name="connsiteX35" fmla="*/ 890326 w 936181"/>
                  <a:gd name="connsiteY35" fmla="*/ 454897 h 2496787"/>
                  <a:gd name="connsiteX36" fmla="*/ 901116 w 936181"/>
                  <a:gd name="connsiteY36" fmla="*/ 457594 h 2496787"/>
                  <a:gd name="connsiteX37" fmla="*/ 911905 w 936181"/>
                  <a:gd name="connsiteY37" fmla="*/ 484568 h 2496787"/>
                  <a:gd name="connsiteX38" fmla="*/ 914603 w 936181"/>
                  <a:gd name="connsiteY38" fmla="*/ 500752 h 2496787"/>
                  <a:gd name="connsiteX39" fmla="*/ 917300 w 936181"/>
                  <a:gd name="connsiteY39" fmla="*/ 508844 h 2496787"/>
                  <a:gd name="connsiteX40" fmla="*/ 936181 w 936181"/>
                  <a:gd name="connsiteY40" fmla="*/ 511541 h 2496787"/>
                  <a:gd name="connsiteX41" fmla="*/ 933484 w 936181"/>
                  <a:gd name="connsiteY41" fmla="*/ 530422 h 2496787"/>
                  <a:gd name="connsiteX42" fmla="*/ 925392 w 936181"/>
                  <a:gd name="connsiteY42" fmla="*/ 535817 h 2496787"/>
                  <a:gd name="connsiteX43" fmla="*/ 893024 w 936181"/>
                  <a:gd name="connsiteY43" fmla="*/ 541212 h 2496787"/>
                  <a:gd name="connsiteX44" fmla="*/ 879537 w 936181"/>
                  <a:gd name="connsiteY44" fmla="*/ 560093 h 2496787"/>
                  <a:gd name="connsiteX45" fmla="*/ 857958 w 936181"/>
                  <a:gd name="connsiteY45" fmla="*/ 557396 h 2496787"/>
                  <a:gd name="connsiteX46" fmla="*/ 839077 w 936181"/>
                  <a:gd name="connsiteY46" fmla="*/ 549304 h 2496787"/>
                  <a:gd name="connsiteX47" fmla="*/ 814801 w 936181"/>
                  <a:gd name="connsiteY47" fmla="*/ 552001 h 2496787"/>
                  <a:gd name="connsiteX48" fmla="*/ 817498 w 936181"/>
                  <a:gd name="connsiteY48" fmla="*/ 587067 h 2496787"/>
                  <a:gd name="connsiteX49" fmla="*/ 825590 w 936181"/>
                  <a:gd name="connsiteY49" fmla="*/ 595159 h 2496787"/>
                  <a:gd name="connsiteX50" fmla="*/ 812103 w 936181"/>
                  <a:gd name="connsiteY50" fmla="*/ 597856 h 2496787"/>
                  <a:gd name="connsiteX51" fmla="*/ 790525 w 936181"/>
                  <a:gd name="connsiteY51" fmla="*/ 595159 h 2496787"/>
                  <a:gd name="connsiteX52" fmla="*/ 785130 w 936181"/>
                  <a:gd name="connsiteY52" fmla="*/ 587067 h 2496787"/>
                  <a:gd name="connsiteX53" fmla="*/ 782433 w 936181"/>
                  <a:gd name="connsiteY53" fmla="*/ 578975 h 2496787"/>
                  <a:gd name="connsiteX54" fmla="*/ 801314 w 936181"/>
                  <a:gd name="connsiteY54" fmla="*/ 595159 h 2496787"/>
                  <a:gd name="connsiteX55" fmla="*/ 790525 w 936181"/>
                  <a:gd name="connsiteY55" fmla="*/ 622132 h 2496787"/>
                  <a:gd name="connsiteX56" fmla="*/ 768946 w 936181"/>
                  <a:gd name="connsiteY56" fmla="*/ 627527 h 2496787"/>
                  <a:gd name="connsiteX57" fmla="*/ 750064 w 936181"/>
                  <a:gd name="connsiteY57" fmla="*/ 635619 h 2496787"/>
                  <a:gd name="connsiteX58" fmla="*/ 741972 w 936181"/>
                  <a:gd name="connsiteY58" fmla="*/ 641014 h 2496787"/>
                  <a:gd name="connsiteX59" fmla="*/ 766249 w 936181"/>
                  <a:gd name="connsiteY59" fmla="*/ 659895 h 2496787"/>
                  <a:gd name="connsiteX60" fmla="*/ 774341 w 936181"/>
                  <a:gd name="connsiteY60" fmla="*/ 662592 h 2496787"/>
                  <a:gd name="connsiteX61" fmla="*/ 763551 w 936181"/>
                  <a:gd name="connsiteY61" fmla="*/ 692263 h 2496787"/>
                  <a:gd name="connsiteX62" fmla="*/ 760854 w 936181"/>
                  <a:gd name="connsiteY62" fmla="*/ 703052 h 2496787"/>
                  <a:gd name="connsiteX63" fmla="*/ 747367 w 936181"/>
                  <a:gd name="connsiteY63" fmla="*/ 713842 h 2496787"/>
                  <a:gd name="connsiteX64" fmla="*/ 750064 w 936181"/>
                  <a:gd name="connsiteY64" fmla="*/ 743513 h 2496787"/>
                  <a:gd name="connsiteX65" fmla="*/ 752762 w 936181"/>
                  <a:gd name="connsiteY65" fmla="*/ 756999 h 2496787"/>
                  <a:gd name="connsiteX66" fmla="*/ 766249 w 936181"/>
                  <a:gd name="connsiteY66" fmla="*/ 773183 h 2496787"/>
                  <a:gd name="connsiteX67" fmla="*/ 768946 w 936181"/>
                  <a:gd name="connsiteY67" fmla="*/ 781275 h 2496787"/>
                  <a:gd name="connsiteX68" fmla="*/ 777038 w 936181"/>
                  <a:gd name="connsiteY68" fmla="*/ 783973 h 2496787"/>
                  <a:gd name="connsiteX69" fmla="*/ 787827 w 936181"/>
                  <a:gd name="connsiteY69" fmla="*/ 789368 h 2496787"/>
                  <a:gd name="connsiteX70" fmla="*/ 790525 w 936181"/>
                  <a:gd name="connsiteY70" fmla="*/ 800157 h 2496787"/>
                  <a:gd name="connsiteX71" fmla="*/ 782433 w 936181"/>
                  <a:gd name="connsiteY71" fmla="*/ 805552 h 2496787"/>
                  <a:gd name="connsiteX72" fmla="*/ 771643 w 936181"/>
                  <a:gd name="connsiteY72" fmla="*/ 816341 h 2496787"/>
                  <a:gd name="connsiteX73" fmla="*/ 768946 w 936181"/>
                  <a:gd name="connsiteY73" fmla="*/ 824433 h 2496787"/>
                  <a:gd name="connsiteX74" fmla="*/ 758157 w 936181"/>
                  <a:gd name="connsiteY74" fmla="*/ 851406 h 2496787"/>
                  <a:gd name="connsiteX75" fmla="*/ 733880 w 936181"/>
                  <a:gd name="connsiteY75" fmla="*/ 937722 h 2496787"/>
                  <a:gd name="connsiteX76" fmla="*/ 725788 w 936181"/>
                  <a:gd name="connsiteY76" fmla="*/ 940419 h 2496787"/>
                  <a:gd name="connsiteX77" fmla="*/ 723091 w 936181"/>
                  <a:gd name="connsiteY77" fmla="*/ 948511 h 2496787"/>
                  <a:gd name="connsiteX78" fmla="*/ 696118 w 936181"/>
                  <a:gd name="connsiteY78" fmla="*/ 970090 h 2496787"/>
                  <a:gd name="connsiteX79" fmla="*/ 688026 w 936181"/>
                  <a:gd name="connsiteY79" fmla="*/ 980879 h 2496787"/>
                  <a:gd name="connsiteX80" fmla="*/ 679934 w 936181"/>
                  <a:gd name="connsiteY80" fmla="*/ 986274 h 2496787"/>
                  <a:gd name="connsiteX81" fmla="*/ 674539 w 936181"/>
                  <a:gd name="connsiteY81" fmla="*/ 994366 h 2496787"/>
                  <a:gd name="connsiteX82" fmla="*/ 655657 w 936181"/>
                  <a:gd name="connsiteY82" fmla="*/ 1002458 h 2496787"/>
                  <a:gd name="connsiteX83" fmla="*/ 650263 w 936181"/>
                  <a:gd name="connsiteY83" fmla="*/ 1015945 h 2496787"/>
                  <a:gd name="connsiteX84" fmla="*/ 639473 w 936181"/>
                  <a:gd name="connsiteY84" fmla="*/ 1021339 h 2496787"/>
                  <a:gd name="connsiteX85" fmla="*/ 636776 w 936181"/>
                  <a:gd name="connsiteY85" fmla="*/ 1032129 h 2496787"/>
                  <a:gd name="connsiteX86" fmla="*/ 623289 w 936181"/>
                  <a:gd name="connsiteY86" fmla="*/ 1045615 h 2496787"/>
                  <a:gd name="connsiteX87" fmla="*/ 636776 w 936181"/>
                  <a:gd name="connsiteY87" fmla="*/ 1051010 h 2496787"/>
                  <a:gd name="connsiteX88" fmla="*/ 642171 w 936181"/>
                  <a:gd name="connsiteY88" fmla="*/ 1059102 h 2496787"/>
                  <a:gd name="connsiteX89" fmla="*/ 615197 w 936181"/>
                  <a:gd name="connsiteY89" fmla="*/ 1061799 h 2496787"/>
                  <a:gd name="connsiteX90" fmla="*/ 580132 w 936181"/>
                  <a:gd name="connsiteY90" fmla="*/ 1086075 h 2496787"/>
                  <a:gd name="connsiteX91" fmla="*/ 588224 w 936181"/>
                  <a:gd name="connsiteY91" fmla="*/ 1091470 h 2496787"/>
                  <a:gd name="connsiteX92" fmla="*/ 596316 w 936181"/>
                  <a:gd name="connsiteY92" fmla="*/ 1099562 h 2496787"/>
                  <a:gd name="connsiteX93" fmla="*/ 588224 w 936181"/>
                  <a:gd name="connsiteY93" fmla="*/ 1123838 h 2496787"/>
                  <a:gd name="connsiteX94" fmla="*/ 574737 w 936181"/>
                  <a:gd name="connsiteY94" fmla="*/ 1126536 h 2496787"/>
                  <a:gd name="connsiteX95" fmla="*/ 545066 w 936181"/>
                  <a:gd name="connsiteY95" fmla="*/ 1123838 h 2496787"/>
                  <a:gd name="connsiteX96" fmla="*/ 542369 w 936181"/>
                  <a:gd name="connsiteY96" fmla="*/ 1107654 h 2496787"/>
                  <a:gd name="connsiteX97" fmla="*/ 534277 w 936181"/>
                  <a:gd name="connsiteY97" fmla="*/ 1104957 h 2496787"/>
                  <a:gd name="connsiteX98" fmla="*/ 539672 w 936181"/>
                  <a:gd name="connsiteY98" fmla="*/ 1118444 h 2496787"/>
                  <a:gd name="connsiteX99" fmla="*/ 547764 w 936181"/>
                  <a:gd name="connsiteY99" fmla="*/ 1123838 h 2496787"/>
                  <a:gd name="connsiteX100" fmla="*/ 550461 w 936181"/>
                  <a:gd name="connsiteY100" fmla="*/ 1131930 h 2496787"/>
                  <a:gd name="connsiteX101" fmla="*/ 561250 w 936181"/>
                  <a:gd name="connsiteY101" fmla="*/ 1153509 h 2496787"/>
                  <a:gd name="connsiteX102" fmla="*/ 563948 w 936181"/>
                  <a:gd name="connsiteY102" fmla="*/ 1183180 h 2496787"/>
                  <a:gd name="connsiteX103" fmla="*/ 555856 w 936181"/>
                  <a:gd name="connsiteY103" fmla="*/ 1188575 h 2496787"/>
                  <a:gd name="connsiteX104" fmla="*/ 520790 w 936181"/>
                  <a:gd name="connsiteY104" fmla="*/ 1202061 h 2496787"/>
                  <a:gd name="connsiteX105" fmla="*/ 523487 w 936181"/>
                  <a:gd name="connsiteY105" fmla="*/ 1220943 h 2496787"/>
                  <a:gd name="connsiteX106" fmla="*/ 534277 w 936181"/>
                  <a:gd name="connsiteY106" fmla="*/ 1226337 h 2496787"/>
                  <a:gd name="connsiteX107" fmla="*/ 536974 w 936181"/>
                  <a:gd name="connsiteY107" fmla="*/ 1234429 h 2496787"/>
                  <a:gd name="connsiteX108" fmla="*/ 528882 w 936181"/>
                  <a:gd name="connsiteY108" fmla="*/ 1237127 h 2496787"/>
                  <a:gd name="connsiteX109" fmla="*/ 528882 w 936181"/>
                  <a:gd name="connsiteY109" fmla="*/ 1261403 h 2496787"/>
                  <a:gd name="connsiteX110" fmla="*/ 534277 w 936181"/>
                  <a:gd name="connsiteY110" fmla="*/ 1269495 h 2496787"/>
                  <a:gd name="connsiteX111" fmla="*/ 515395 w 936181"/>
                  <a:gd name="connsiteY111" fmla="*/ 1280284 h 2496787"/>
                  <a:gd name="connsiteX112" fmla="*/ 520790 w 936181"/>
                  <a:gd name="connsiteY112" fmla="*/ 1291074 h 2496787"/>
                  <a:gd name="connsiteX113" fmla="*/ 523487 w 936181"/>
                  <a:gd name="connsiteY113" fmla="*/ 1326139 h 2496787"/>
                  <a:gd name="connsiteX114" fmla="*/ 528882 w 936181"/>
                  <a:gd name="connsiteY114" fmla="*/ 1342323 h 2496787"/>
                  <a:gd name="connsiteX115" fmla="*/ 507303 w 936181"/>
                  <a:gd name="connsiteY115" fmla="*/ 1350415 h 2496787"/>
                  <a:gd name="connsiteX116" fmla="*/ 518093 w 936181"/>
                  <a:gd name="connsiteY116" fmla="*/ 1374691 h 2496787"/>
                  <a:gd name="connsiteX117" fmla="*/ 520790 w 936181"/>
                  <a:gd name="connsiteY117" fmla="*/ 1382783 h 2496787"/>
                  <a:gd name="connsiteX118" fmla="*/ 526185 w 936181"/>
                  <a:gd name="connsiteY118" fmla="*/ 1404362 h 2496787"/>
                  <a:gd name="connsiteX119" fmla="*/ 520790 w 936181"/>
                  <a:gd name="connsiteY119" fmla="*/ 1436730 h 2496787"/>
                  <a:gd name="connsiteX120" fmla="*/ 515395 w 936181"/>
                  <a:gd name="connsiteY120" fmla="*/ 1463704 h 2496787"/>
                  <a:gd name="connsiteX121" fmla="*/ 520790 w 936181"/>
                  <a:gd name="connsiteY121" fmla="*/ 1471796 h 2496787"/>
                  <a:gd name="connsiteX122" fmla="*/ 534277 w 936181"/>
                  <a:gd name="connsiteY122" fmla="*/ 1482585 h 2496787"/>
                  <a:gd name="connsiteX123" fmla="*/ 536974 w 936181"/>
                  <a:gd name="connsiteY123" fmla="*/ 1501467 h 2496787"/>
                  <a:gd name="connsiteX124" fmla="*/ 542369 w 936181"/>
                  <a:gd name="connsiteY124" fmla="*/ 1509559 h 2496787"/>
                  <a:gd name="connsiteX125" fmla="*/ 545066 w 936181"/>
                  <a:gd name="connsiteY125" fmla="*/ 1517651 h 2496787"/>
                  <a:gd name="connsiteX126" fmla="*/ 558553 w 936181"/>
                  <a:gd name="connsiteY126" fmla="*/ 1514953 h 2496787"/>
                  <a:gd name="connsiteX127" fmla="*/ 569342 w 936181"/>
                  <a:gd name="connsiteY127" fmla="*/ 1523045 h 2496787"/>
                  <a:gd name="connsiteX128" fmla="*/ 582829 w 936181"/>
                  <a:gd name="connsiteY128" fmla="*/ 1528440 h 2496787"/>
                  <a:gd name="connsiteX129" fmla="*/ 590921 w 936181"/>
                  <a:gd name="connsiteY129" fmla="*/ 1536532 h 2496787"/>
                  <a:gd name="connsiteX130" fmla="*/ 601710 w 936181"/>
                  <a:gd name="connsiteY130" fmla="*/ 1539229 h 2496787"/>
                  <a:gd name="connsiteX131" fmla="*/ 612500 w 936181"/>
                  <a:gd name="connsiteY131" fmla="*/ 1544624 h 2496787"/>
                  <a:gd name="connsiteX132" fmla="*/ 623289 w 936181"/>
                  <a:gd name="connsiteY132" fmla="*/ 1576992 h 2496787"/>
                  <a:gd name="connsiteX133" fmla="*/ 631381 w 936181"/>
                  <a:gd name="connsiteY133" fmla="*/ 1571598 h 2496787"/>
                  <a:gd name="connsiteX134" fmla="*/ 642171 w 936181"/>
                  <a:gd name="connsiteY134" fmla="*/ 1552716 h 2496787"/>
                  <a:gd name="connsiteX135" fmla="*/ 644868 w 936181"/>
                  <a:gd name="connsiteY135" fmla="*/ 1560808 h 2496787"/>
                  <a:gd name="connsiteX136" fmla="*/ 655657 w 936181"/>
                  <a:gd name="connsiteY136" fmla="*/ 1576992 h 2496787"/>
                  <a:gd name="connsiteX137" fmla="*/ 658355 w 936181"/>
                  <a:gd name="connsiteY137" fmla="*/ 1601268 h 2496787"/>
                  <a:gd name="connsiteX138" fmla="*/ 690723 w 936181"/>
                  <a:gd name="connsiteY138" fmla="*/ 1609360 h 2496787"/>
                  <a:gd name="connsiteX139" fmla="*/ 696118 w 936181"/>
                  <a:gd name="connsiteY139" fmla="*/ 1617452 h 2496787"/>
                  <a:gd name="connsiteX140" fmla="*/ 698815 w 936181"/>
                  <a:gd name="connsiteY140" fmla="*/ 1625545 h 2496787"/>
                  <a:gd name="connsiteX141" fmla="*/ 704210 w 936181"/>
                  <a:gd name="connsiteY141" fmla="*/ 1660610 h 2496787"/>
                  <a:gd name="connsiteX142" fmla="*/ 690723 w 936181"/>
                  <a:gd name="connsiteY142" fmla="*/ 1679491 h 2496787"/>
                  <a:gd name="connsiteX143" fmla="*/ 688026 w 936181"/>
                  <a:gd name="connsiteY143" fmla="*/ 1690281 h 2496787"/>
                  <a:gd name="connsiteX144" fmla="*/ 685328 w 936181"/>
                  <a:gd name="connsiteY144" fmla="*/ 1709162 h 2496787"/>
                  <a:gd name="connsiteX145" fmla="*/ 677236 w 936181"/>
                  <a:gd name="connsiteY145" fmla="*/ 1711860 h 2496787"/>
                  <a:gd name="connsiteX146" fmla="*/ 661052 w 936181"/>
                  <a:gd name="connsiteY146" fmla="*/ 1714557 h 2496787"/>
                  <a:gd name="connsiteX147" fmla="*/ 655657 w 936181"/>
                  <a:gd name="connsiteY147" fmla="*/ 1722649 h 2496787"/>
                  <a:gd name="connsiteX148" fmla="*/ 625987 w 936181"/>
                  <a:gd name="connsiteY148" fmla="*/ 1733438 h 2496787"/>
                  <a:gd name="connsiteX149" fmla="*/ 623289 w 936181"/>
                  <a:gd name="connsiteY149" fmla="*/ 1752320 h 2496787"/>
                  <a:gd name="connsiteX150" fmla="*/ 601710 w 936181"/>
                  <a:gd name="connsiteY150" fmla="*/ 1749622 h 2496787"/>
                  <a:gd name="connsiteX151" fmla="*/ 596316 w 936181"/>
                  <a:gd name="connsiteY151" fmla="*/ 1736136 h 2496787"/>
                  <a:gd name="connsiteX152" fmla="*/ 601710 w 936181"/>
                  <a:gd name="connsiteY152" fmla="*/ 1719952 h 2496787"/>
                  <a:gd name="connsiteX153" fmla="*/ 582829 w 936181"/>
                  <a:gd name="connsiteY153" fmla="*/ 1695675 h 2496787"/>
                  <a:gd name="connsiteX154" fmla="*/ 580132 w 936181"/>
                  <a:gd name="connsiteY154" fmla="*/ 1714557 h 2496787"/>
                  <a:gd name="connsiteX155" fmla="*/ 574737 w 936181"/>
                  <a:gd name="connsiteY155" fmla="*/ 1722649 h 2496787"/>
                  <a:gd name="connsiteX156" fmla="*/ 558553 w 936181"/>
                  <a:gd name="connsiteY156" fmla="*/ 1719952 h 2496787"/>
                  <a:gd name="connsiteX157" fmla="*/ 501909 w 936181"/>
                  <a:gd name="connsiteY157" fmla="*/ 1730741 h 2496787"/>
                  <a:gd name="connsiteX158" fmla="*/ 488422 w 936181"/>
                  <a:gd name="connsiteY158" fmla="*/ 1741530 h 2496787"/>
                  <a:gd name="connsiteX159" fmla="*/ 464146 w 936181"/>
                  <a:gd name="connsiteY159" fmla="*/ 1746925 h 2496787"/>
                  <a:gd name="connsiteX160" fmla="*/ 453357 w 936181"/>
                  <a:gd name="connsiteY160" fmla="*/ 1749622 h 2496787"/>
                  <a:gd name="connsiteX161" fmla="*/ 499211 w 936181"/>
                  <a:gd name="connsiteY161" fmla="*/ 1746925 h 2496787"/>
                  <a:gd name="connsiteX162" fmla="*/ 507303 w 936181"/>
                  <a:gd name="connsiteY162" fmla="*/ 1752320 h 2496787"/>
                  <a:gd name="connsiteX163" fmla="*/ 523487 w 936181"/>
                  <a:gd name="connsiteY163" fmla="*/ 1757714 h 2496787"/>
                  <a:gd name="connsiteX164" fmla="*/ 531580 w 936181"/>
                  <a:gd name="connsiteY164" fmla="*/ 1738833 h 2496787"/>
                  <a:gd name="connsiteX165" fmla="*/ 539672 w 936181"/>
                  <a:gd name="connsiteY165" fmla="*/ 1733438 h 2496787"/>
                  <a:gd name="connsiteX166" fmla="*/ 555856 w 936181"/>
                  <a:gd name="connsiteY166" fmla="*/ 1755017 h 2496787"/>
                  <a:gd name="connsiteX167" fmla="*/ 566645 w 936181"/>
                  <a:gd name="connsiteY167" fmla="*/ 1773898 h 2496787"/>
                  <a:gd name="connsiteX168" fmla="*/ 582829 w 936181"/>
                  <a:gd name="connsiteY168" fmla="*/ 1768504 h 2496787"/>
                  <a:gd name="connsiteX169" fmla="*/ 588224 w 936181"/>
                  <a:gd name="connsiteY169" fmla="*/ 1760412 h 2496787"/>
                  <a:gd name="connsiteX170" fmla="*/ 636776 w 936181"/>
                  <a:gd name="connsiteY170" fmla="*/ 1749622 h 2496787"/>
                  <a:gd name="connsiteX171" fmla="*/ 650263 w 936181"/>
                  <a:gd name="connsiteY171" fmla="*/ 1725346 h 2496787"/>
                  <a:gd name="connsiteX172" fmla="*/ 658355 w 936181"/>
                  <a:gd name="connsiteY172" fmla="*/ 1722649 h 2496787"/>
                  <a:gd name="connsiteX173" fmla="*/ 671841 w 936181"/>
                  <a:gd name="connsiteY173" fmla="*/ 1728044 h 2496787"/>
                  <a:gd name="connsiteX174" fmla="*/ 679934 w 936181"/>
                  <a:gd name="connsiteY174" fmla="*/ 1730741 h 2496787"/>
                  <a:gd name="connsiteX175" fmla="*/ 682631 w 936181"/>
                  <a:gd name="connsiteY175" fmla="*/ 1738833 h 2496787"/>
                  <a:gd name="connsiteX176" fmla="*/ 671841 w 936181"/>
                  <a:gd name="connsiteY176" fmla="*/ 1741530 h 2496787"/>
                  <a:gd name="connsiteX177" fmla="*/ 655657 w 936181"/>
                  <a:gd name="connsiteY177" fmla="*/ 1755017 h 2496787"/>
                  <a:gd name="connsiteX178" fmla="*/ 658355 w 936181"/>
                  <a:gd name="connsiteY178" fmla="*/ 1781991 h 2496787"/>
                  <a:gd name="connsiteX179" fmla="*/ 644868 w 936181"/>
                  <a:gd name="connsiteY179" fmla="*/ 1790083 h 2496787"/>
                  <a:gd name="connsiteX180" fmla="*/ 650263 w 936181"/>
                  <a:gd name="connsiteY180" fmla="*/ 1798175 h 2496787"/>
                  <a:gd name="connsiteX181" fmla="*/ 642171 w 936181"/>
                  <a:gd name="connsiteY181" fmla="*/ 1822451 h 2496787"/>
                  <a:gd name="connsiteX182" fmla="*/ 634079 w 936181"/>
                  <a:gd name="connsiteY182" fmla="*/ 1849424 h 2496787"/>
                  <a:gd name="connsiteX183" fmla="*/ 628684 w 936181"/>
                  <a:gd name="connsiteY183" fmla="*/ 1835937 h 2496787"/>
                  <a:gd name="connsiteX184" fmla="*/ 617895 w 936181"/>
                  <a:gd name="connsiteY184" fmla="*/ 1806267 h 2496787"/>
                  <a:gd name="connsiteX185" fmla="*/ 607105 w 936181"/>
                  <a:gd name="connsiteY185" fmla="*/ 1800872 h 2496787"/>
                  <a:gd name="connsiteX186" fmla="*/ 593618 w 936181"/>
                  <a:gd name="connsiteY186" fmla="*/ 1838635 h 2496787"/>
                  <a:gd name="connsiteX187" fmla="*/ 585526 w 936181"/>
                  <a:gd name="connsiteY187" fmla="*/ 1841332 h 2496787"/>
                  <a:gd name="connsiteX188" fmla="*/ 582829 w 936181"/>
                  <a:gd name="connsiteY188" fmla="*/ 1857516 h 2496787"/>
                  <a:gd name="connsiteX189" fmla="*/ 580132 w 936181"/>
                  <a:gd name="connsiteY189" fmla="*/ 1865608 h 2496787"/>
                  <a:gd name="connsiteX190" fmla="*/ 572040 w 936181"/>
                  <a:gd name="connsiteY190" fmla="*/ 1873700 h 2496787"/>
                  <a:gd name="connsiteX191" fmla="*/ 563948 w 936181"/>
                  <a:gd name="connsiteY191" fmla="*/ 1876398 h 2496787"/>
                  <a:gd name="connsiteX192" fmla="*/ 520790 w 936181"/>
                  <a:gd name="connsiteY192" fmla="*/ 1879095 h 2496787"/>
                  <a:gd name="connsiteX193" fmla="*/ 472238 w 936181"/>
                  <a:gd name="connsiteY193" fmla="*/ 1887187 h 2496787"/>
                  <a:gd name="connsiteX194" fmla="*/ 488422 w 936181"/>
                  <a:gd name="connsiteY194" fmla="*/ 1881792 h 2496787"/>
                  <a:gd name="connsiteX195" fmla="*/ 539672 w 936181"/>
                  <a:gd name="connsiteY195" fmla="*/ 1911463 h 2496787"/>
                  <a:gd name="connsiteX196" fmla="*/ 542369 w 936181"/>
                  <a:gd name="connsiteY196" fmla="*/ 1919555 h 2496787"/>
                  <a:gd name="connsiteX197" fmla="*/ 523487 w 936181"/>
                  <a:gd name="connsiteY197" fmla="*/ 1922252 h 2496787"/>
                  <a:gd name="connsiteX198" fmla="*/ 512698 w 936181"/>
                  <a:gd name="connsiteY198" fmla="*/ 1938437 h 2496787"/>
                  <a:gd name="connsiteX199" fmla="*/ 523487 w 936181"/>
                  <a:gd name="connsiteY199" fmla="*/ 1943831 h 2496787"/>
                  <a:gd name="connsiteX200" fmla="*/ 526185 w 936181"/>
                  <a:gd name="connsiteY200" fmla="*/ 1951923 h 2496787"/>
                  <a:gd name="connsiteX201" fmla="*/ 536974 w 936181"/>
                  <a:gd name="connsiteY201" fmla="*/ 1957318 h 2496787"/>
                  <a:gd name="connsiteX202" fmla="*/ 534277 w 936181"/>
                  <a:gd name="connsiteY202" fmla="*/ 1965410 h 2496787"/>
                  <a:gd name="connsiteX203" fmla="*/ 523487 w 936181"/>
                  <a:gd name="connsiteY203" fmla="*/ 1995081 h 2496787"/>
                  <a:gd name="connsiteX204" fmla="*/ 515395 w 936181"/>
                  <a:gd name="connsiteY204" fmla="*/ 2000475 h 2496787"/>
                  <a:gd name="connsiteX205" fmla="*/ 523487 w 936181"/>
                  <a:gd name="connsiteY205" fmla="*/ 2005870 h 2496787"/>
                  <a:gd name="connsiteX206" fmla="*/ 545066 w 936181"/>
                  <a:gd name="connsiteY206" fmla="*/ 2013962 h 2496787"/>
                  <a:gd name="connsiteX207" fmla="*/ 553158 w 936181"/>
                  <a:gd name="connsiteY207" fmla="*/ 2011265 h 2496787"/>
                  <a:gd name="connsiteX208" fmla="*/ 539672 w 936181"/>
                  <a:gd name="connsiteY208" fmla="*/ 2022054 h 2496787"/>
                  <a:gd name="connsiteX209" fmla="*/ 534277 w 936181"/>
                  <a:gd name="connsiteY209" fmla="*/ 2038238 h 2496787"/>
                  <a:gd name="connsiteX210" fmla="*/ 542369 w 936181"/>
                  <a:gd name="connsiteY210" fmla="*/ 2062514 h 2496787"/>
                  <a:gd name="connsiteX211" fmla="*/ 536974 w 936181"/>
                  <a:gd name="connsiteY211" fmla="*/ 2070606 h 2496787"/>
                  <a:gd name="connsiteX212" fmla="*/ 539672 w 936181"/>
                  <a:gd name="connsiteY212" fmla="*/ 2084093 h 2496787"/>
                  <a:gd name="connsiteX213" fmla="*/ 545066 w 936181"/>
                  <a:gd name="connsiteY213" fmla="*/ 2100277 h 2496787"/>
                  <a:gd name="connsiteX214" fmla="*/ 531580 w 936181"/>
                  <a:gd name="connsiteY214" fmla="*/ 2111067 h 2496787"/>
                  <a:gd name="connsiteX215" fmla="*/ 528882 w 936181"/>
                  <a:gd name="connsiteY215" fmla="*/ 2121856 h 2496787"/>
                  <a:gd name="connsiteX216" fmla="*/ 510001 w 936181"/>
                  <a:gd name="connsiteY216" fmla="*/ 2127251 h 2496787"/>
                  <a:gd name="connsiteX217" fmla="*/ 515395 w 936181"/>
                  <a:gd name="connsiteY217" fmla="*/ 2138040 h 2496787"/>
                  <a:gd name="connsiteX218" fmla="*/ 520790 w 936181"/>
                  <a:gd name="connsiteY218" fmla="*/ 2148829 h 2496787"/>
                  <a:gd name="connsiteX219" fmla="*/ 523487 w 936181"/>
                  <a:gd name="connsiteY219" fmla="*/ 2156922 h 2496787"/>
                  <a:gd name="connsiteX220" fmla="*/ 542369 w 936181"/>
                  <a:gd name="connsiteY220" fmla="*/ 2162316 h 2496787"/>
                  <a:gd name="connsiteX221" fmla="*/ 531580 w 936181"/>
                  <a:gd name="connsiteY221" fmla="*/ 2170408 h 2496787"/>
                  <a:gd name="connsiteX222" fmla="*/ 515395 w 936181"/>
                  <a:gd name="connsiteY222" fmla="*/ 2210868 h 2496787"/>
                  <a:gd name="connsiteX223" fmla="*/ 518093 w 936181"/>
                  <a:gd name="connsiteY223" fmla="*/ 2218960 h 2496787"/>
                  <a:gd name="connsiteX224" fmla="*/ 542369 w 936181"/>
                  <a:gd name="connsiteY224" fmla="*/ 2202776 h 2496787"/>
                  <a:gd name="connsiteX225" fmla="*/ 545066 w 936181"/>
                  <a:gd name="connsiteY225" fmla="*/ 2183895 h 2496787"/>
                  <a:gd name="connsiteX226" fmla="*/ 550461 w 936181"/>
                  <a:gd name="connsiteY226" fmla="*/ 2167711 h 2496787"/>
                  <a:gd name="connsiteX227" fmla="*/ 553158 w 936181"/>
                  <a:gd name="connsiteY227" fmla="*/ 2146132 h 2496787"/>
                  <a:gd name="connsiteX228" fmla="*/ 563948 w 936181"/>
                  <a:gd name="connsiteY228" fmla="*/ 2129948 h 2496787"/>
                  <a:gd name="connsiteX229" fmla="*/ 569342 w 936181"/>
                  <a:gd name="connsiteY229" fmla="*/ 2121856 h 2496787"/>
                  <a:gd name="connsiteX230" fmla="*/ 577434 w 936181"/>
                  <a:gd name="connsiteY230" fmla="*/ 2129948 h 2496787"/>
                  <a:gd name="connsiteX231" fmla="*/ 574737 w 936181"/>
                  <a:gd name="connsiteY231" fmla="*/ 2138040 h 2496787"/>
                  <a:gd name="connsiteX232" fmla="*/ 566645 w 936181"/>
                  <a:gd name="connsiteY232" fmla="*/ 2170408 h 2496787"/>
                  <a:gd name="connsiteX233" fmla="*/ 561250 w 936181"/>
                  <a:gd name="connsiteY233" fmla="*/ 2191987 h 2496787"/>
                  <a:gd name="connsiteX234" fmla="*/ 558553 w 936181"/>
                  <a:gd name="connsiteY234" fmla="*/ 2208171 h 2496787"/>
                  <a:gd name="connsiteX235" fmla="*/ 553158 w 936181"/>
                  <a:gd name="connsiteY235" fmla="*/ 2227052 h 2496787"/>
                  <a:gd name="connsiteX236" fmla="*/ 547764 w 936181"/>
                  <a:gd name="connsiteY236" fmla="*/ 2294486 h 2496787"/>
                  <a:gd name="connsiteX237" fmla="*/ 545066 w 936181"/>
                  <a:gd name="connsiteY237" fmla="*/ 2313368 h 2496787"/>
                  <a:gd name="connsiteX238" fmla="*/ 536974 w 936181"/>
                  <a:gd name="connsiteY238" fmla="*/ 2318762 h 2496787"/>
                  <a:gd name="connsiteX239" fmla="*/ 528882 w 936181"/>
                  <a:gd name="connsiteY239" fmla="*/ 2326854 h 2496787"/>
                  <a:gd name="connsiteX240" fmla="*/ 520790 w 936181"/>
                  <a:gd name="connsiteY240" fmla="*/ 2313368 h 2496787"/>
                  <a:gd name="connsiteX241" fmla="*/ 520790 w 936181"/>
                  <a:gd name="connsiteY241" fmla="*/ 2272907 h 2496787"/>
                  <a:gd name="connsiteX242" fmla="*/ 526185 w 936181"/>
                  <a:gd name="connsiteY242" fmla="*/ 2256723 h 2496787"/>
                  <a:gd name="connsiteX243" fmla="*/ 528882 w 936181"/>
                  <a:gd name="connsiteY243" fmla="*/ 2245934 h 2496787"/>
                  <a:gd name="connsiteX244" fmla="*/ 520790 w 936181"/>
                  <a:gd name="connsiteY244" fmla="*/ 2254026 h 2496787"/>
                  <a:gd name="connsiteX245" fmla="*/ 507303 w 936181"/>
                  <a:gd name="connsiteY245" fmla="*/ 2259421 h 2496787"/>
                  <a:gd name="connsiteX246" fmla="*/ 501909 w 936181"/>
                  <a:gd name="connsiteY246" fmla="*/ 2267513 h 2496787"/>
                  <a:gd name="connsiteX247" fmla="*/ 496514 w 936181"/>
                  <a:gd name="connsiteY247" fmla="*/ 2316065 h 2496787"/>
                  <a:gd name="connsiteX248" fmla="*/ 491119 w 936181"/>
                  <a:gd name="connsiteY248" fmla="*/ 2332249 h 2496787"/>
                  <a:gd name="connsiteX249" fmla="*/ 480330 w 936181"/>
                  <a:gd name="connsiteY249" fmla="*/ 2340341 h 2496787"/>
                  <a:gd name="connsiteX250" fmla="*/ 437172 w 936181"/>
                  <a:gd name="connsiteY250" fmla="*/ 2337644 h 2496787"/>
                  <a:gd name="connsiteX251" fmla="*/ 434475 w 936181"/>
                  <a:gd name="connsiteY251" fmla="*/ 2351130 h 2496787"/>
                  <a:gd name="connsiteX252" fmla="*/ 426383 w 936181"/>
                  <a:gd name="connsiteY252" fmla="*/ 2359222 h 2496787"/>
                  <a:gd name="connsiteX253" fmla="*/ 404804 w 936181"/>
                  <a:gd name="connsiteY253" fmla="*/ 2356525 h 2496787"/>
                  <a:gd name="connsiteX254" fmla="*/ 396712 w 936181"/>
                  <a:gd name="connsiteY254" fmla="*/ 2351130 h 2496787"/>
                  <a:gd name="connsiteX255" fmla="*/ 377831 w 936181"/>
                  <a:gd name="connsiteY255" fmla="*/ 2356525 h 2496787"/>
                  <a:gd name="connsiteX256" fmla="*/ 380528 w 936181"/>
                  <a:gd name="connsiteY256" fmla="*/ 2372709 h 2496787"/>
                  <a:gd name="connsiteX257" fmla="*/ 377831 w 936181"/>
                  <a:gd name="connsiteY257" fmla="*/ 2383498 h 2496787"/>
                  <a:gd name="connsiteX258" fmla="*/ 334673 w 936181"/>
                  <a:gd name="connsiteY258" fmla="*/ 2391591 h 2496787"/>
                  <a:gd name="connsiteX259" fmla="*/ 331976 w 936181"/>
                  <a:gd name="connsiteY259" fmla="*/ 2405077 h 2496787"/>
                  <a:gd name="connsiteX260" fmla="*/ 326581 w 936181"/>
                  <a:gd name="connsiteY260" fmla="*/ 2418564 h 2496787"/>
                  <a:gd name="connsiteX261" fmla="*/ 329279 w 936181"/>
                  <a:gd name="connsiteY261" fmla="*/ 2432051 h 2496787"/>
                  <a:gd name="connsiteX262" fmla="*/ 334673 w 936181"/>
                  <a:gd name="connsiteY262" fmla="*/ 2450932 h 2496787"/>
                  <a:gd name="connsiteX263" fmla="*/ 342765 w 936181"/>
                  <a:gd name="connsiteY263" fmla="*/ 2459024 h 2496787"/>
                  <a:gd name="connsiteX264" fmla="*/ 331976 w 936181"/>
                  <a:gd name="connsiteY264" fmla="*/ 2480603 h 2496787"/>
                  <a:gd name="connsiteX265" fmla="*/ 318489 w 936181"/>
                  <a:gd name="connsiteY265" fmla="*/ 2483300 h 2496787"/>
                  <a:gd name="connsiteX266" fmla="*/ 302305 w 936181"/>
                  <a:gd name="connsiteY266" fmla="*/ 2485998 h 2496787"/>
                  <a:gd name="connsiteX267" fmla="*/ 269937 w 936181"/>
                  <a:gd name="connsiteY267" fmla="*/ 2483300 h 2496787"/>
                  <a:gd name="connsiteX268" fmla="*/ 253753 w 936181"/>
                  <a:gd name="connsiteY268" fmla="*/ 2494090 h 2496787"/>
                  <a:gd name="connsiteX269" fmla="*/ 207898 w 936181"/>
                  <a:gd name="connsiteY269" fmla="*/ 2496787 h 2496787"/>
                  <a:gd name="connsiteX270" fmla="*/ 197109 w 936181"/>
                  <a:gd name="connsiteY270" fmla="*/ 2491392 h 2496787"/>
                  <a:gd name="connsiteX271" fmla="*/ 194411 w 936181"/>
                  <a:gd name="connsiteY271" fmla="*/ 2483300 h 2496787"/>
                  <a:gd name="connsiteX272" fmla="*/ 202503 w 936181"/>
                  <a:gd name="connsiteY272" fmla="*/ 2423959 h 2496787"/>
                  <a:gd name="connsiteX273" fmla="*/ 199806 w 936181"/>
                  <a:gd name="connsiteY273" fmla="*/ 2415867 h 2496787"/>
                  <a:gd name="connsiteX274" fmla="*/ 197109 w 936181"/>
                  <a:gd name="connsiteY274" fmla="*/ 2405077 h 2496787"/>
                  <a:gd name="connsiteX275" fmla="*/ 175530 w 936181"/>
                  <a:gd name="connsiteY275" fmla="*/ 2394288 h 2496787"/>
                  <a:gd name="connsiteX276" fmla="*/ 162043 w 936181"/>
                  <a:gd name="connsiteY276" fmla="*/ 2383498 h 2496787"/>
                  <a:gd name="connsiteX277" fmla="*/ 153951 w 936181"/>
                  <a:gd name="connsiteY277" fmla="*/ 2370012 h 2496787"/>
                  <a:gd name="connsiteX278" fmla="*/ 140464 w 936181"/>
                  <a:gd name="connsiteY278" fmla="*/ 2343038 h 2496787"/>
                  <a:gd name="connsiteX279" fmla="*/ 153951 w 936181"/>
                  <a:gd name="connsiteY279" fmla="*/ 2337644 h 2496787"/>
                  <a:gd name="connsiteX280" fmla="*/ 167438 w 936181"/>
                  <a:gd name="connsiteY280" fmla="*/ 2340341 h 2496787"/>
                  <a:gd name="connsiteX281" fmla="*/ 159346 w 936181"/>
                  <a:gd name="connsiteY281" fmla="*/ 2310670 h 2496787"/>
                  <a:gd name="connsiteX282" fmla="*/ 156649 w 936181"/>
                  <a:gd name="connsiteY282" fmla="*/ 2299881 h 2496787"/>
                  <a:gd name="connsiteX283" fmla="*/ 175530 w 936181"/>
                  <a:gd name="connsiteY283" fmla="*/ 2302578 h 2496787"/>
                  <a:gd name="connsiteX284" fmla="*/ 183622 w 936181"/>
                  <a:gd name="connsiteY284" fmla="*/ 2286394 h 2496787"/>
                  <a:gd name="connsiteX285" fmla="*/ 156649 w 936181"/>
                  <a:gd name="connsiteY285" fmla="*/ 2272907 h 2496787"/>
                  <a:gd name="connsiteX286" fmla="*/ 159346 w 936181"/>
                  <a:gd name="connsiteY286" fmla="*/ 2262118 h 2496787"/>
                  <a:gd name="connsiteX287" fmla="*/ 151254 w 936181"/>
                  <a:gd name="connsiteY287" fmla="*/ 2243237 h 2496787"/>
                  <a:gd name="connsiteX288" fmla="*/ 132372 w 936181"/>
                  <a:gd name="connsiteY288" fmla="*/ 2224355 h 2496787"/>
                  <a:gd name="connsiteX289" fmla="*/ 121583 w 936181"/>
                  <a:gd name="connsiteY289" fmla="*/ 2213566 h 2496787"/>
                  <a:gd name="connsiteX290" fmla="*/ 113491 w 936181"/>
                  <a:gd name="connsiteY290" fmla="*/ 2197382 h 2496787"/>
                  <a:gd name="connsiteX291" fmla="*/ 110794 w 936181"/>
                  <a:gd name="connsiteY291" fmla="*/ 2173106 h 2496787"/>
                  <a:gd name="connsiteX292" fmla="*/ 102702 w 936181"/>
                  <a:gd name="connsiteY292" fmla="*/ 2170408 h 2496787"/>
                  <a:gd name="connsiteX293" fmla="*/ 100004 w 936181"/>
                  <a:gd name="connsiteY293" fmla="*/ 2159619 h 2496787"/>
                  <a:gd name="connsiteX294" fmla="*/ 81123 w 936181"/>
                  <a:gd name="connsiteY294" fmla="*/ 2135343 h 2496787"/>
                  <a:gd name="connsiteX295" fmla="*/ 94610 w 936181"/>
                  <a:gd name="connsiteY295" fmla="*/ 2127251 h 2496787"/>
                  <a:gd name="connsiteX296" fmla="*/ 81123 w 936181"/>
                  <a:gd name="connsiteY296" fmla="*/ 2105672 h 2496787"/>
                  <a:gd name="connsiteX297" fmla="*/ 62241 w 936181"/>
                  <a:gd name="connsiteY297" fmla="*/ 2086791 h 2496787"/>
                  <a:gd name="connsiteX298" fmla="*/ 54149 w 936181"/>
                  <a:gd name="connsiteY298" fmla="*/ 2084093 h 2496787"/>
                  <a:gd name="connsiteX299" fmla="*/ 56847 w 936181"/>
                  <a:gd name="connsiteY299" fmla="*/ 2062514 h 2496787"/>
                  <a:gd name="connsiteX300" fmla="*/ 56847 w 936181"/>
                  <a:gd name="connsiteY300" fmla="*/ 2038238 h 2496787"/>
                  <a:gd name="connsiteX301" fmla="*/ 46057 w 936181"/>
                  <a:gd name="connsiteY301" fmla="*/ 2035541 h 2496787"/>
                  <a:gd name="connsiteX302" fmla="*/ 37965 w 936181"/>
                  <a:gd name="connsiteY302" fmla="*/ 2032844 h 2496787"/>
                  <a:gd name="connsiteX303" fmla="*/ 32571 w 936181"/>
                  <a:gd name="connsiteY303" fmla="*/ 2022054 h 2496787"/>
                  <a:gd name="connsiteX304" fmla="*/ 35268 w 936181"/>
                  <a:gd name="connsiteY304" fmla="*/ 2013962 h 2496787"/>
                  <a:gd name="connsiteX305" fmla="*/ 48755 w 936181"/>
                  <a:gd name="connsiteY305" fmla="*/ 2019357 h 2496787"/>
                  <a:gd name="connsiteX306" fmla="*/ 59544 w 936181"/>
                  <a:gd name="connsiteY306" fmla="*/ 2040936 h 2496787"/>
                  <a:gd name="connsiteX307" fmla="*/ 70334 w 936181"/>
                  <a:gd name="connsiteY307" fmla="*/ 2038238 h 2496787"/>
                  <a:gd name="connsiteX308" fmla="*/ 64939 w 936181"/>
                  <a:gd name="connsiteY308" fmla="*/ 1995081 h 2496787"/>
                  <a:gd name="connsiteX309" fmla="*/ 67636 w 936181"/>
                  <a:gd name="connsiteY309" fmla="*/ 1986989 h 2496787"/>
                  <a:gd name="connsiteX310" fmla="*/ 56847 w 936181"/>
                  <a:gd name="connsiteY310" fmla="*/ 1976199 h 2496787"/>
                  <a:gd name="connsiteX311" fmla="*/ 32571 w 936181"/>
                  <a:gd name="connsiteY311" fmla="*/ 1981594 h 2496787"/>
                  <a:gd name="connsiteX312" fmla="*/ 24479 w 936181"/>
                  <a:gd name="connsiteY312" fmla="*/ 1986989 h 2496787"/>
                  <a:gd name="connsiteX313" fmla="*/ 16387 w 936181"/>
                  <a:gd name="connsiteY313" fmla="*/ 1965410 h 2496787"/>
                  <a:gd name="connsiteX314" fmla="*/ 5597 w 936181"/>
                  <a:gd name="connsiteY314" fmla="*/ 1949226 h 2496787"/>
                  <a:gd name="connsiteX315" fmla="*/ 13689 w 936181"/>
                  <a:gd name="connsiteY315" fmla="*/ 1935739 h 2496787"/>
                  <a:gd name="connsiteX316" fmla="*/ 19084 w 936181"/>
                  <a:gd name="connsiteY316" fmla="*/ 1919555 h 2496787"/>
                  <a:gd name="connsiteX317" fmla="*/ 8295 w 936181"/>
                  <a:gd name="connsiteY317" fmla="*/ 1916858 h 2496787"/>
                  <a:gd name="connsiteX318" fmla="*/ 2900 w 936181"/>
                  <a:gd name="connsiteY318" fmla="*/ 1852122 h 2496787"/>
                  <a:gd name="connsiteX319" fmla="*/ 16387 w 936181"/>
                  <a:gd name="connsiteY319" fmla="*/ 1849424 h 2496787"/>
                  <a:gd name="connsiteX320" fmla="*/ 19084 w 936181"/>
                  <a:gd name="connsiteY320" fmla="*/ 1841332 h 2496787"/>
                  <a:gd name="connsiteX321" fmla="*/ 2900 w 936181"/>
                  <a:gd name="connsiteY321" fmla="*/ 1841332 h 2496787"/>
                  <a:gd name="connsiteX322" fmla="*/ 16387 w 936181"/>
                  <a:gd name="connsiteY322" fmla="*/ 1846727 h 2496787"/>
                  <a:gd name="connsiteX323" fmla="*/ 29873 w 936181"/>
                  <a:gd name="connsiteY323" fmla="*/ 1862911 h 2496787"/>
                  <a:gd name="connsiteX324" fmla="*/ 40663 w 936181"/>
                  <a:gd name="connsiteY324" fmla="*/ 1865608 h 2496787"/>
                  <a:gd name="connsiteX325" fmla="*/ 56847 w 936181"/>
                  <a:gd name="connsiteY325" fmla="*/ 1854819 h 2496787"/>
                  <a:gd name="connsiteX326" fmla="*/ 48755 w 936181"/>
                  <a:gd name="connsiteY326" fmla="*/ 1768504 h 2496787"/>
                  <a:gd name="connsiteX327" fmla="*/ 56847 w 936181"/>
                  <a:gd name="connsiteY327" fmla="*/ 1730741 h 2496787"/>
                  <a:gd name="connsiteX328" fmla="*/ 64939 w 936181"/>
                  <a:gd name="connsiteY328" fmla="*/ 1728044 h 2496787"/>
                  <a:gd name="connsiteX329" fmla="*/ 67636 w 936181"/>
                  <a:gd name="connsiteY329" fmla="*/ 1719952 h 2496787"/>
                  <a:gd name="connsiteX330" fmla="*/ 64939 w 936181"/>
                  <a:gd name="connsiteY330" fmla="*/ 1709162 h 2496787"/>
                  <a:gd name="connsiteX331" fmla="*/ 70334 w 936181"/>
                  <a:gd name="connsiteY331" fmla="*/ 1684886 h 2496787"/>
                  <a:gd name="connsiteX332" fmla="*/ 100004 w 936181"/>
                  <a:gd name="connsiteY332" fmla="*/ 1679491 h 2496787"/>
                  <a:gd name="connsiteX333" fmla="*/ 108096 w 936181"/>
                  <a:gd name="connsiteY333" fmla="*/ 1671399 h 2496787"/>
                  <a:gd name="connsiteX334" fmla="*/ 110794 w 936181"/>
                  <a:gd name="connsiteY334" fmla="*/ 1657913 h 2496787"/>
                  <a:gd name="connsiteX335" fmla="*/ 116188 w 936181"/>
                  <a:gd name="connsiteY335" fmla="*/ 1639031 h 2496787"/>
                  <a:gd name="connsiteX336" fmla="*/ 118886 w 936181"/>
                  <a:gd name="connsiteY336" fmla="*/ 1612058 h 2496787"/>
                  <a:gd name="connsiteX337" fmla="*/ 126978 w 936181"/>
                  <a:gd name="connsiteY337" fmla="*/ 1598571 h 2496787"/>
                  <a:gd name="connsiteX338" fmla="*/ 129675 w 936181"/>
                  <a:gd name="connsiteY338" fmla="*/ 1590479 h 2496787"/>
                  <a:gd name="connsiteX339" fmla="*/ 105399 w 936181"/>
                  <a:gd name="connsiteY339" fmla="*/ 1558111 h 2496787"/>
                  <a:gd name="connsiteX340" fmla="*/ 102702 w 936181"/>
                  <a:gd name="connsiteY340" fmla="*/ 1528440 h 2496787"/>
                  <a:gd name="connsiteX341" fmla="*/ 100004 w 936181"/>
                  <a:gd name="connsiteY341" fmla="*/ 1506861 h 2496787"/>
                  <a:gd name="connsiteX342" fmla="*/ 91912 w 936181"/>
                  <a:gd name="connsiteY342" fmla="*/ 1496072 h 2496787"/>
                  <a:gd name="connsiteX343" fmla="*/ 100004 w 936181"/>
                  <a:gd name="connsiteY343" fmla="*/ 1490677 h 2496787"/>
                  <a:gd name="connsiteX344" fmla="*/ 121583 w 936181"/>
                  <a:gd name="connsiteY344" fmla="*/ 1485283 h 2496787"/>
                  <a:gd name="connsiteX345" fmla="*/ 129675 w 936181"/>
                  <a:gd name="connsiteY345" fmla="*/ 1482585 h 2496787"/>
                  <a:gd name="connsiteX346" fmla="*/ 135070 w 936181"/>
                  <a:gd name="connsiteY346" fmla="*/ 1474493 h 2496787"/>
                  <a:gd name="connsiteX347" fmla="*/ 135070 w 936181"/>
                  <a:gd name="connsiteY347" fmla="*/ 1412454 h 2496787"/>
                  <a:gd name="connsiteX348" fmla="*/ 129675 w 936181"/>
                  <a:gd name="connsiteY348" fmla="*/ 1404362 h 2496787"/>
                  <a:gd name="connsiteX349" fmla="*/ 110794 w 936181"/>
                  <a:gd name="connsiteY349" fmla="*/ 1380086 h 2496787"/>
                  <a:gd name="connsiteX350" fmla="*/ 94610 w 936181"/>
                  <a:gd name="connsiteY350" fmla="*/ 1366599 h 2496787"/>
                  <a:gd name="connsiteX351" fmla="*/ 83820 w 936181"/>
                  <a:gd name="connsiteY351" fmla="*/ 1353113 h 2496787"/>
                  <a:gd name="connsiteX352" fmla="*/ 81123 w 936181"/>
                  <a:gd name="connsiteY352" fmla="*/ 1258706 h 2496787"/>
                  <a:gd name="connsiteX353" fmla="*/ 70334 w 936181"/>
                  <a:gd name="connsiteY353" fmla="*/ 1242522 h 2496787"/>
                  <a:gd name="connsiteX354" fmla="*/ 59544 w 936181"/>
                  <a:gd name="connsiteY354" fmla="*/ 1199364 h 2496787"/>
                  <a:gd name="connsiteX355" fmla="*/ 56847 w 936181"/>
                  <a:gd name="connsiteY355" fmla="*/ 1148114 h 2496787"/>
                  <a:gd name="connsiteX356" fmla="*/ 73031 w 936181"/>
                  <a:gd name="connsiteY356" fmla="*/ 1140022 h 2496787"/>
                  <a:gd name="connsiteX357" fmla="*/ 51452 w 936181"/>
                  <a:gd name="connsiteY357" fmla="*/ 1113049 h 2496787"/>
                  <a:gd name="connsiteX358" fmla="*/ 40663 w 936181"/>
                  <a:gd name="connsiteY358" fmla="*/ 1104957 h 2496787"/>
                  <a:gd name="connsiteX359" fmla="*/ 37965 w 936181"/>
                  <a:gd name="connsiteY359" fmla="*/ 1094168 h 2496787"/>
                  <a:gd name="connsiteX360" fmla="*/ 40663 w 936181"/>
                  <a:gd name="connsiteY360" fmla="*/ 1069891 h 2496787"/>
                  <a:gd name="connsiteX361" fmla="*/ 59544 w 936181"/>
                  <a:gd name="connsiteY361" fmla="*/ 1045615 h 2496787"/>
                  <a:gd name="connsiteX362" fmla="*/ 64939 w 936181"/>
                  <a:gd name="connsiteY362" fmla="*/ 1034826 h 2496787"/>
                  <a:gd name="connsiteX363" fmla="*/ 73031 w 936181"/>
                  <a:gd name="connsiteY363" fmla="*/ 1021339 h 2496787"/>
                  <a:gd name="connsiteX364" fmla="*/ 83820 w 936181"/>
                  <a:gd name="connsiteY364" fmla="*/ 1005155 h 2496787"/>
                  <a:gd name="connsiteX365" fmla="*/ 86518 w 936181"/>
                  <a:gd name="connsiteY365" fmla="*/ 988971 h 2496787"/>
                  <a:gd name="connsiteX366" fmla="*/ 97307 w 936181"/>
                  <a:gd name="connsiteY366" fmla="*/ 983576 h 2496787"/>
                  <a:gd name="connsiteX367" fmla="*/ 113491 w 936181"/>
                  <a:gd name="connsiteY367" fmla="*/ 975484 h 2496787"/>
                  <a:gd name="connsiteX368" fmla="*/ 124280 w 936181"/>
                  <a:gd name="connsiteY368" fmla="*/ 961998 h 2496787"/>
                  <a:gd name="connsiteX369" fmla="*/ 129675 w 936181"/>
                  <a:gd name="connsiteY369" fmla="*/ 951208 h 2496787"/>
                  <a:gd name="connsiteX370" fmla="*/ 145859 w 936181"/>
                  <a:gd name="connsiteY370" fmla="*/ 937722 h 2496787"/>
                  <a:gd name="connsiteX371" fmla="*/ 156649 w 936181"/>
                  <a:gd name="connsiteY371" fmla="*/ 929629 h 2496787"/>
                  <a:gd name="connsiteX372" fmla="*/ 162043 w 936181"/>
                  <a:gd name="connsiteY372" fmla="*/ 937722 h 2496787"/>
                  <a:gd name="connsiteX373" fmla="*/ 164741 w 936181"/>
                  <a:gd name="connsiteY373" fmla="*/ 945814 h 2496787"/>
                  <a:gd name="connsiteX374" fmla="*/ 178227 w 936181"/>
                  <a:gd name="connsiteY374" fmla="*/ 956603 h 2496787"/>
                  <a:gd name="connsiteX375" fmla="*/ 202503 w 936181"/>
                  <a:gd name="connsiteY375" fmla="*/ 940419 h 2496787"/>
                  <a:gd name="connsiteX376" fmla="*/ 205201 w 936181"/>
                  <a:gd name="connsiteY376" fmla="*/ 918840 h 2496787"/>
                  <a:gd name="connsiteX377" fmla="*/ 210595 w 936181"/>
                  <a:gd name="connsiteY377" fmla="*/ 894564 h 2496787"/>
                  <a:gd name="connsiteX378" fmla="*/ 205201 w 936181"/>
                  <a:gd name="connsiteY378" fmla="*/ 856801 h 2496787"/>
                  <a:gd name="connsiteX379" fmla="*/ 183622 w 936181"/>
                  <a:gd name="connsiteY379" fmla="*/ 854104 h 2496787"/>
                  <a:gd name="connsiteX380" fmla="*/ 194411 w 936181"/>
                  <a:gd name="connsiteY380" fmla="*/ 829828 h 2496787"/>
                  <a:gd name="connsiteX381" fmla="*/ 205201 w 936181"/>
                  <a:gd name="connsiteY381" fmla="*/ 805552 h 2496787"/>
                  <a:gd name="connsiteX382" fmla="*/ 210595 w 936181"/>
                  <a:gd name="connsiteY382" fmla="*/ 765091 h 2496787"/>
                  <a:gd name="connsiteX383" fmla="*/ 215990 w 936181"/>
                  <a:gd name="connsiteY383" fmla="*/ 756999 h 2496787"/>
                  <a:gd name="connsiteX384" fmla="*/ 229477 w 936181"/>
                  <a:gd name="connsiteY384" fmla="*/ 721934 h 2496787"/>
                  <a:gd name="connsiteX385" fmla="*/ 237569 w 936181"/>
                  <a:gd name="connsiteY385" fmla="*/ 692263 h 2496787"/>
                  <a:gd name="connsiteX386" fmla="*/ 240266 w 936181"/>
                  <a:gd name="connsiteY386" fmla="*/ 684171 h 2496787"/>
                  <a:gd name="connsiteX387" fmla="*/ 229477 w 936181"/>
                  <a:gd name="connsiteY387" fmla="*/ 667987 h 2496787"/>
                  <a:gd name="connsiteX388" fmla="*/ 232174 w 936181"/>
                  <a:gd name="connsiteY388" fmla="*/ 654500 h 2496787"/>
                  <a:gd name="connsiteX389" fmla="*/ 234872 w 936181"/>
                  <a:gd name="connsiteY389" fmla="*/ 646408 h 2496787"/>
                  <a:gd name="connsiteX390" fmla="*/ 237569 w 936181"/>
                  <a:gd name="connsiteY390" fmla="*/ 632922 h 2496787"/>
                  <a:gd name="connsiteX391" fmla="*/ 234872 w 936181"/>
                  <a:gd name="connsiteY391" fmla="*/ 581672 h 2496787"/>
                  <a:gd name="connsiteX392" fmla="*/ 229477 w 936181"/>
                  <a:gd name="connsiteY392" fmla="*/ 570883 h 2496787"/>
                  <a:gd name="connsiteX393" fmla="*/ 253753 w 936181"/>
                  <a:gd name="connsiteY393" fmla="*/ 568185 h 2496787"/>
                  <a:gd name="connsiteX394" fmla="*/ 256450 w 936181"/>
                  <a:gd name="connsiteY394" fmla="*/ 560093 h 2496787"/>
                  <a:gd name="connsiteX395" fmla="*/ 272634 w 936181"/>
                  <a:gd name="connsiteY395" fmla="*/ 546606 h 2496787"/>
                  <a:gd name="connsiteX396" fmla="*/ 275332 w 936181"/>
                  <a:gd name="connsiteY396" fmla="*/ 535817 h 2496787"/>
                  <a:gd name="connsiteX397" fmla="*/ 288818 w 936181"/>
                  <a:gd name="connsiteY397" fmla="*/ 522330 h 2496787"/>
                  <a:gd name="connsiteX398" fmla="*/ 280726 w 936181"/>
                  <a:gd name="connsiteY398" fmla="*/ 489962 h 2496787"/>
                  <a:gd name="connsiteX399" fmla="*/ 286121 w 936181"/>
                  <a:gd name="connsiteY399" fmla="*/ 479173 h 2496787"/>
                  <a:gd name="connsiteX400" fmla="*/ 288818 w 936181"/>
                  <a:gd name="connsiteY400" fmla="*/ 462989 h 2496787"/>
                  <a:gd name="connsiteX401" fmla="*/ 307700 w 936181"/>
                  <a:gd name="connsiteY401" fmla="*/ 444107 h 2496787"/>
                  <a:gd name="connsiteX402" fmla="*/ 318489 w 936181"/>
                  <a:gd name="connsiteY402" fmla="*/ 427923 h 2496787"/>
                  <a:gd name="connsiteX403" fmla="*/ 337371 w 936181"/>
                  <a:gd name="connsiteY403" fmla="*/ 414437 h 2496787"/>
                  <a:gd name="connsiteX404" fmla="*/ 342765 w 936181"/>
                  <a:gd name="connsiteY404" fmla="*/ 395555 h 2496787"/>
                  <a:gd name="connsiteX405" fmla="*/ 337371 w 936181"/>
                  <a:gd name="connsiteY405" fmla="*/ 363187 h 2496787"/>
                  <a:gd name="connsiteX406" fmla="*/ 329279 w 936181"/>
                  <a:gd name="connsiteY406" fmla="*/ 338911 h 2496787"/>
                  <a:gd name="connsiteX407" fmla="*/ 321187 w 936181"/>
                  <a:gd name="connsiteY407" fmla="*/ 336214 h 2496787"/>
                  <a:gd name="connsiteX408" fmla="*/ 318489 w 936181"/>
                  <a:gd name="connsiteY408" fmla="*/ 352398 h 2496787"/>
                  <a:gd name="connsiteX409" fmla="*/ 329279 w 936181"/>
                  <a:gd name="connsiteY409" fmla="*/ 325424 h 2496787"/>
                  <a:gd name="connsiteX410" fmla="*/ 331976 w 936181"/>
                  <a:gd name="connsiteY410" fmla="*/ 306543 h 2496787"/>
                  <a:gd name="connsiteX411" fmla="*/ 342765 w 936181"/>
                  <a:gd name="connsiteY411" fmla="*/ 295753 h 2496787"/>
                  <a:gd name="connsiteX412" fmla="*/ 356252 w 936181"/>
                  <a:gd name="connsiteY412" fmla="*/ 255293 h 2496787"/>
                  <a:gd name="connsiteX413" fmla="*/ 358949 w 936181"/>
                  <a:gd name="connsiteY413" fmla="*/ 233714 h 2496787"/>
                  <a:gd name="connsiteX414" fmla="*/ 364344 w 936181"/>
                  <a:gd name="connsiteY414" fmla="*/ 225622 h 2496787"/>
                  <a:gd name="connsiteX415" fmla="*/ 399410 w 936181"/>
                  <a:gd name="connsiteY415" fmla="*/ 198649 h 2496787"/>
                  <a:gd name="connsiteX416" fmla="*/ 410199 w 936181"/>
                  <a:gd name="connsiteY416" fmla="*/ 206741 h 2496787"/>
                  <a:gd name="connsiteX417" fmla="*/ 418291 w 936181"/>
                  <a:gd name="connsiteY417" fmla="*/ 220228 h 2496787"/>
                  <a:gd name="connsiteX418" fmla="*/ 429080 w 936181"/>
                  <a:gd name="connsiteY418" fmla="*/ 217530 h 2496787"/>
                  <a:gd name="connsiteX419" fmla="*/ 437172 w 936181"/>
                  <a:gd name="connsiteY419" fmla="*/ 185162 h 2496787"/>
                  <a:gd name="connsiteX420" fmla="*/ 437172 w 936181"/>
                  <a:gd name="connsiteY420" fmla="*/ 117729 h 2496787"/>
                  <a:gd name="connsiteX421" fmla="*/ 456054 w 936181"/>
                  <a:gd name="connsiteY421" fmla="*/ 120426 h 2496787"/>
                  <a:gd name="connsiteX422" fmla="*/ 464146 w 936181"/>
                  <a:gd name="connsiteY422" fmla="*/ 123123 h 2496787"/>
                  <a:gd name="connsiteX423" fmla="*/ 491119 w 936181"/>
                  <a:gd name="connsiteY423" fmla="*/ 117729 h 2496787"/>
                  <a:gd name="connsiteX424" fmla="*/ 545066 w 936181"/>
                  <a:gd name="connsiteY424" fmla="*/ 123123 h 2496787"/>
                  <a:gd name="connsiteX425" fmla="*/ 553158 w 936181"/>
                  <a:gd name="connsiteY425" fmla="*/ 125821 h 2496787"/>
                  <a:gd name="connsiteX426" fmla="*/ 563948 w 936181"/>
                  <a:gd name="connsiteY426" fmla="*/ 128518 h 2496787"/>
                  <a:gd name="connsiteX427" fmla="*/ 569342 w 936181"/>
                  <a:gd name="connsiteY427" fmla="*/ 109637 h 2496787"/>
                  <a:gd name="connsiteX428" fmla="*/ 566645 w 936181"/>
                  <a:gd name="connsiteY428" fmla="*/ 88058 h 2496787"/>
                  <a:gd name="connsiteX429" fmla="*/ 572040 w 936181"/>
                  <a:gd name="connsiteY429" fmla="*/ 52992 h 2496787"/>
                  <a:gd name="connsiteX430" fmla="*/ 577434 w 936181"/>
                  <a:gd name="connsiteY430" fmla="*/ 42203 h 2496787"/>
                  <a:gd name="connsiteX431" fmla="*/ 566645 w 936181"/>
                  <a:gd name="connsiteY431" fmla="*/ 20624 h 2496787"/>
                  <a:gd name="connsiteX432" fmla="*/ 563948 w 936181"/>
                  <a:gd name="connsiteY432" fmla="*/ 12532 h 2496787"/>
                  <a:gd name="connsiteX433" fmla="*/ 599013 w 936181"/>
                  <a:gd name="connsiteY433" fmla="*/ 1743 h 2496787"/>
                  <a:gd name="connsiteX0" fmla="*/ 599013 w 936181"/>
                  <a:gd name="connsiteY0" fmla="*/ 1743 h 2496787"/>
                  <a:gd name="connsiteX1" fmla="*/ 612500 w 936181"/>
                  <a:gd name="connsiteY1" fmla="*/ 4440 h 2496787"/>
                  <a:gd name="connsiteX2" fmla="*/ 615197 w 936181"/>
                  <a:gd name="connsiteY2" fmla="*/ 12532 h 2496787"/>
                  <a:gd name="connsiteX3" fmla="*/ 623289 w 936181"/>
                  <a:gd name="connsiteY3" fmla="*/ 26019 h 2496787"/>
                  <a:gd name="connsiteX4" fmla="*/ 625987 w 936181"/>
                  <a:gd name="connsiteY4" fmla="*/ 39506 h 2496787"/>
                  <a:gd name="connsiteX5" fmla="*/ 636776 w 936181"/>
                  <a:gd name="connsiteY5" fmla="*/ 44900 h 2496787"/>
                  <a:gd name="connsiteX6" fmla="*/ 644868 w 936181"/>
                  <a:gd name="connsiteY6" fmla="*/ 50295 h 2496787"/>
                  <a:gd name="connsiteX7" fmla="*/ 650263 w 936181"/>
                  <a:gd name="connsiteY7" fmla="*/ 58387 h 2496787"/>
                  <a:gd name="connsiteX8" fmla="*/ 661052 w 936181"/>
                  <a:gd name="connsiteY8" fmla="*/ 63782 h 2496787"/>
                  <a:gd name="connsiteX9" fmla="*/ 688026 w 936181"/>
                  <a:gd name="connsiteY9" fmla="*/ 74571 h 2496787"/>
                  <a:gd name="connsiteX10" fmla="*/ 717696 w 936181"/>
                  <a:gd name="connsiteY10" fmla="*/ 88058 h 2496787"/>
                  <a:gd name="connsiteX11" fmla="*/ 736578 w 936181"/>
                  <a:gd name="connsiteY11" fmla="*/ 82663 h 2496787"/>
                  <a:gd name="connsiteX12" fmla="*/ 752762 w 936181"/>
                  <a:gd name="connsiteY12" fmla="*/ 93452 h 2496787"/>
                  <a:gd name="connsiteX13" fmla="*/ 766249 w 936181"/>
                  <a:gd name="connsiteY13" fmla="*/ 112334 h 2496787"/>
                  <a:gd name="connsiteX14" fmla="*/ 771643 w 936181"/>
                  <a:gd name="connsiteY14" fmla="*/ 128518 h 2496787"/>
                  <a:gd name="connsiteX15" fmla="*/ 787827 w 936181"/>
                  <a:gd name="connsiteY15" fmla="*/ 133913 h 2496787"/>
                  <a:gd name="connsiteX16" fmla="*/ 795919 w 936181"/>
                  <a:gd name="connsiteY16" fmla="*/ 139307 h 2496787"/>
                  <a:gd name="connsiteX17" fmla="*/ 804011 w 936181"/>
                  <a:gd name="connsiteY17" fmla="*/ 150097 h 2496787"/>
                  <a:gd name="connsiteX18" fmla="*/ 820195 w 936181"/>
                  <a:gd name="connsiteY18" fmla="*/ 166281 h 2496787"/>
                  <a:gd name="connsiteX19" fmla="*/ 817498 w 936181"/>
                  <a:gd name="connsiteY19" fmla="*/ 198649 h 2496787"/>
                  <a:gd name="connsiteX20" fmla="*/ 828287 w 936181"/>
                  <a:gd name="connsiteY20" fmla="*/ 201346 h 2496787"/>
                  <a:gd name="connsiteX21" fmla="*/ 830985 w 936181"/>
                  <a:gd name="connsiteY21" fmla="*/ 247201 h 2496787"/>
                  <a:gd name="connsiteX22" fmla="*/ 839077 w 936181"/>
                  <a:gd name="connsiteY22" fmla="*/ 249898 h 2496787"/>
                  <a:gd name="connsiteX23" fmla="*/ 844472 w 936181"/>
                  <a:gd name="connsiteY23" fmla="*/ 260688 h 2496787"/>
                  <a:gd name="connsiteX24" fmla="*/ 849866 w 936181"/>
                  <a:gd name="connsiteY24" fmla="*/ 268780 h 2496787"/>
                  <a:gd name="connsiteX25" fmla="*/ 844472 w 936181"/>
                  <a:gd name="connsiteY25" fmla="*/ 282267 h 2496787"/>
                  <a:gd name="connsiteX26" fmla="*/ 836380 w 936181"/>
                  <a:gd name="connsiteY26" fmla="*/ 287661 h 2496787"/>
                  <a:gd name="connsiteX27" fmla="*/ 852564 w 936181"/>
                  <a:gd name="connsiteY27" fmla="*/ 306543 h 2496787"/>
                  <a:gd name="connsiteX28" fmla="*/ 855261 w 936181"/>
                  <a:gd name="connsiteY28" fmla="*/ 317332 h 2496787"/>
                  <a:gd name="connsiteX29" fmla="*/ 871445 w 936181"/>
                  <a:gd name="connsiteY29" fmla="*/ 330819 h 2496787"/>
                  <a:gd name="connsiteX30" fmla="*/ 876840 w 936181"/>
                  <a:gd name="connsiteY30" fmla="*/ 349700 h 2496787"/>
                  <a:gd name="connsiteX31" fmla="*/ 884932 w 936181"/>
                  <a:gd name="connsiteY31" fmla="*/ 371279 h 2496787"/>
                  <a:gd name="connsiteX32" fmla="*/ 887629 w 936181"/>
                  <a:gd name="connsiteY32" fmla="*/ 406345 h 2496787"/>
                  <a:gd name="connsiteX33" fmla="*/ 884932 w 936181"/>
                  <a:gd name="connsiteY33" fmla="*/ 414437 h 2496787"/>
                  <a:gd name="connsiteX34" fmla="*/ 882234 w 936181"/>
                  <a:gd name="connsiteY34" fmla="*/ 427923 h 2496787"/>
                  <a:gd name="connsiteX35" fmla="*/ 890326 w 936181"/>
                  <a:gd name="connsiteY35" fmla="*/ 454897 h 2496787"/>
                  <a:gd name="connsiteX36" fmla="*/ 901116 w 936181"/>
                  <a:gd name="connsiteY36" fmla="*/ 457594 h 2496787"/>
                  <a:gd name="connsiteX37" fmla="*/ 911905 w 936181"/>
                  <a:gd name="connsiteY37" fmla="*/ 484568 h 2496787"/>
                  <a:gd name="connsiteX38" fmla="*/ 914603 w 936181"/>
                  <a:gd name="connsiteY38" fmla="*/ 500752 h 2496787"/>
                  <a:gd name="connsiteX39" fmla="*/ 917300 w 936181"/>
                  <a:gd name="connsiteY39" fmla="*/ 508844 h 2496787"/>
                  <a:gd name="connsiteX40" fmla="*/ 936181 w 936181"/>
                  <a:gd name="connsiteY40" fmla="*/ 511541 h 2496787"/>
                  <a:gd name="connsiteX41" fmla="*/ 933484 w 936181"/>
                  <a:gd name="connsiteY41" fmla="*/ 530422 h 2496787"/>
                  <a:gd name="connsiteX42" fmla="*/ 925392 w 936181"/>
                  <a:gd name="connsiteY42" fmla="*/ 535817 h 2496787"/>
                  <a:gd name="connsiteX43" fmla="*/ 893024 w 936181"/>
                  <a:gd name="connsiteY43" fmla="*/ 541212 h 2496787"/>
                  <a:gd name="connsiteX44" fmla="*/ 879537 w 936181"/>
                  <a:gd name="connsiteY44" fmla="*/ 560093 h 2496787"/>
                  <a:gd name="connsiteX45" fmla="*/ 857958 w 936181"/>
                  <a:gd name="connsiteY45" fmla="*/ 557396 h 2496787"/>
                  <a:gd name="connsiteX46" fmla="*/ 839077 w 936181"/>
                  <a:gd name="connsiteY46" fmla="*/ 549304 h 2496787"/>
                  <a:gd name="connsiteX47" fmla="*/ 814801 w 936181"/>
                  <a:gd name="connsiteY47" fmla="*/ 552001 h 2496787"/>
                  <a:gd name="connsiteX48" fmla="*/ 817498 w 936181"/>
                  <a:gd name="connsiteY48" fmla="*/ 587067 h 2496787"/>
                  <a:gd name="connsiteX49" fmla="*/ 825590 w 936181"/>
                  <a:gd name="connsiteY49" fmla="*/ 595159 h 2496787"/>
                  <a:gd name="connsiteX50" fmla="*/ 812103 w 936181"/>
                  <a:gd name="connsiteY50" fmla="*/ 597856 h 2496787"/>
                  <a:gd name="connsiteX51" fmla="*/ 790525 w 936181"/>
                  <a:gd name="connsiteY51" fmla="*/ 595159 h 2496787"/>
                  <a:gd name="connsiteX52" fmla="*/ 785130 w 936181"/>
                  <a:gd name="connsiteY52" fmla="*/ 587067 h 2496787"/>
                  <a:gd name="connsiteX53" fmla="*/ 782433 w 936181"/>
                  <a:gd name="connsiteY53" fmla="*/ 578975 h 2496787"/>
                  <a:gd name="connsiteX54" fmla="*/ 801314 w 936181"/>
                  <a:gd name="connsiteY54" fmla="*/ 595159 h 2496787"/>
                  <a:gd name="connsiteX55" fmla="*/ 790525 w 936181"/>
                  <a:gd name="connsiteY55" fmla="*/ 622132 h 2496787"/>
                  <a:gd name="connsiteX56" fmla="*/ 768946 w 936181"/>
                  <a:gd name="connsiteY56" fmla="*/ 627527 h 2496787"/>
                  <a:gd name="connsiteX57" fmla="*/ 750064 w 936181"/>
                  <a:gd name="connsiteY57" fmla="*/ 635619 h 2496787"/>
                  <a:gd name="connsiteX58" fmla="*/ 741972 w 936181"/>
                  <a:gd name="connsiteY58" fmla="*/ 641014 h 2496787"/>
                  <a:gd name="connsiteX59" fmla="*/ 766249 w 936181"/>
                  <a:gd name="connsiteY59" fmla="*/ 659895 h 2496787"/>
                  <a:gd name="connsiteX60" fmla="*/ 774341 w 936181"/>
                  <a:gd name="connsiteY60" fmla="*/ 662592 h 2496787"/>
                  <a:gd name="connsiteX61" fmla="*/ 763551 w 936181"/>
                  <a:gd name="connsiteY61" fmla="*/ 692263 h 2496787"/>
                  <a:gd name="connsiteX62" fmla="*/ 760854 w 936181"/>
                  <a:gd name="connsiteY62" fmla="*/ 703052 h 2496787"/>
                  <a:gd name="connsiteX63" fmla="*/ 747367 w 936181"/>
                  <a:gd name="connsiteY63" fmla="*/ 713842 h 2496787"/>
                  <a:gd name="connsiteX64" fmla="*/ 750064 w 936181"/>
                  <a:gd name="connsiteY64" fmla="*/ 743513 h 2496787"/>
                  <a:gd name="connsiteX65" fmla="*/ 752762 w 936181"/>
                  <a:gd name="connsiteY65" fmla="*/ 756999 h 2496787"/>
                  <a:gd name="connsiteX66" fmla="*/ 766249 w 936181"/>
                  <a:gd name="connsiteY66" fmla="*/ 773183 h 2496787"/>
                  <a:gd name="connsiteX67" fmla="*/ 768946 w 936181"/>
                  <a:gd name="connsiteY67" fmla="*/ 781275 h 2496787"/>
                  <a:gd name="connsiteX68" fmla="*/ 777038 w 936181"/>
                  <a:gd name="connsiteY68" fmla="*/ 783973 h 2496787"/>
                  <a:gd name="connsiteX69" fmla="*/ 787827 w 936181"/>
                  <a:gd name="connsiteY69" fmla="*/ 789368 h 2496787"/>
                  <a:gd name="connsiteX70" fmla="*/ 790525 w 936181"/>
                  <a:gd name="connsiteY70" fmla="*/ 800157 h 2496787"/>
                  <a:gd name="connsiteX71" fmla="*/ 782433 w 936181"/>
                  <a:gd name="connsiteY71" fmla="*/ 805552 h 2496787"/>
                  <a:gd name="connsiteX72" fmla="*/ 771643 w 936181"/>
                  <a:gd name="connsiteY72" fmla="*/ 816341 h 2496787"/>
                  <a:gd name="connsiteX73" fmla="*/ 768946 w 936181"/>
                  <a:gd name="connsiteY73" fmla="*/ 824433 h 2496787"/>
                  <a:gd name="connsiteX74" fmla="*/ 758157 w 936181"/>
                  <a:gd name="connsiteY74" fmla="*/ 851406 h 2496787"/>
                  <a:gd name="connsiteX75" fmla="*/ 733880 w 936181"/>
                  <a:gd name="connsiteY75" fmla="*/ 937722 h 2496787"/>
                  <a:gd name="connsiteX76" fmla="*/ 725788 w 936181"/>
                  <a:gd name="connsiteY76" fmla="*/ 940419 h 2496787"/>
                  <a:gd name="connsiteX77" fmla="*/ 723091 w 936181"/>
                  <a:gd name="connsiteY77" fmla="*/ 948511 h 2496787"/>
                  <a:gd name="connsiteX78" fmla="*/ 696118 w 936181"/>
                  <a:gd name="connsiteY78" fmla="*/ 970090 h 2496787"/>
                  <a:gd name="connsiteX79" fmla="*/ 688026 w 936181"/>
                  <a:gd name="connsiteY79" fmla="*/ 980879 h 2496787"/>
                  <a:gd name="connsiteX80" fmla="*/ 679934 w 936181"/>
                  <a:gd name="connsiteY80" fmla="*/ 986274 h 2496787"/>
                  <a:gd name="connsiteX81" fmla="*/ 674539 w 936181"/>
                  <a:gd name="connsiteY81" fmla="*/ 994366 h 2496787"/>
                  <a:gd name="connsiteX82" fmla="*/ 655657 w 936181"/>
                  <a:gd name="connsiteY82" fmla="*/ 1002458 h 2496787"/>
                  <a:gd name="connsiteX83" fmla="*/ 650263 w 936181"/>
                  <a:gd name="connsiteY83" fmla="*/ 1015945 h 2496787"/>
                  <a:gd name="connsiteX84" fmla="*/ 639473 w 936181"/>
                  <a:gd name="connsiteY84" fmla="*/ 1021339 h 2496787"/>
                  <a:gd name="connsiteX85" fmla="*/ 636776 w 936181"/>
                  <a:gd name="connsiteY85" fmla="*/ 1032129 h 2496787"/>
                  <a:gd name="connsiteX86" fmla="*/ 623289 w 936181"/>
                  <a:gd name="connsiteY86" fmla="*/ 1045615 h 2496787"/>
                  <a:gd name="connsiteX87" fmla="*/ 636776 w 936181"/>
                  <a:gd name="connsiteY87" fmla="*/ 1051010 h 2496787"/>
                  <a:gd name="connsiteX88" fmla="*/ 642171 w 936181"/>
                  <a:gd name="connsiteY88" fmla="*/ 1059102 h 2496787"/>
                  <a:gd name="connsiteX89" fmla="*/ 615197 w 936181"/>
                  <a:gd name="connsiteY89" fmla="*/ 1061799 h 2496787"/>
                  <a:gd name="connsiteX90" fmla="*/ 580132 w 936181"/>
                  <a:gd name="connsiteY90" fmla="*/ 1086075 h 2496787"/>
                  <a:gd name="connsiteX91" fmla="*/ 588224 w 936181"/>
                  <a:gd name="connsiteY91" fmla="*/ 1091470 h 2496787"/>
                  <a:gd name="connsiteX92" fmla="*/ 596316 w 936181"/>
                  <a:gd name="connsiteY92" fmla="*/ 1099562 h 2496787"/>
                  <a:gd name="connsiteX93" fmla="*/ 588224 w 936181"/>
                  <a:gd name="connsiteY93" fmla="*/ 1123838 h 2496787"/>
                  <a:gd name="connsiteX94" fmla="*/ 574737 w 936181"/>
                  <a:gd name="connsiteY94" fmla="*/ 1126536 h 2496787"/>
                  <a:gd name="connsiteX95" fmla="*/ 545066 w 936181"/>
                  <a:gd name="connsiteY95" fmla="*/ 1123838 h 2496787"/>
                  <a:gd name="connsiteX96" fmla="*/ 542369 w 936181"/>
                  <a:gd name="connsiteY96" fmla="*/ 1107654 h 2496787"/>
                  <a:gd name="connsiteX97" fmla="*/ 534277 w 936181"/>
                  <a:gd name="connsiteY97" fmla="*/ 1104957 h 2496787"/>
                  <a:gd name="connsiteX98" fmla="*/ 539672 w 936181"/>
                  <a:gd name="connsiteY98" fmla="*/ 1118444 h 2496787"/>
                  <a:gd name="connsiteX99" fmla="*/ 547764 w 936181"/>
                  <a:gd name="connsiteY99" fmla="*/ 1123838 h 2496787"/>
                  <a:gd name="connsiteX100" fmla="*/ 550461 w 936181"/>
                  <a:gd name="connsiteY100" fmla="*/ 1131930 h 2496787"/>
                  <a:gd name="connsiteX101" fmla="*/ 561250 w 936181"/>
                  <a:gd name="connsiteY101" fmla="*/ 1153509 h 2496787"/>
                  <a:gd name="connsiteX102" fmla="*/ 563948 w 936181"/>
                  <a:gd name="connsiteY102" fmla="*/ 1183180 h 2496787"/>
                  <a:gd name="connsiteX103" fmla="*/ 555856 w 936181"/>
                  <a:gd name="connsiteY103" fmla="*/ 1188575 h 2496787"/>
                  <a:gd name="connsiteX104" fmla="*/ 520790 w 936181"/>
                  <a:gd name="connsiteY104" fmla="*/ 1202061 h 2496787"/>
                  <a:gd name="connsiteX105" fmla="*/ 523487 w 936181"/>
                  <a:gd name="connsiteY105" fmla="*/ 1220943 h 2496787"/>
                  <a:gd name="connsiteX106" fmla="*/ 534277 w 936181"/>
                  <a:gd name="connsiteY106" fmla="*/ 1226337 h 2496787"/>
                  <a:gd name="connsiteX107" fmla="*/ 536974 w 936181"/>
                  <a:gd name="connsiteY107" fmla="*/ 1234429 h 2496787"/>
                  <a:gd name="connsiteX108" fmla="*/ 528882 w 936181"/>
                  <a:gd name="connsiteY108" fmla="*/ 1237127 h 2496787"/>
                  <a:gd name="connsiteX109" fmla="*/ 528882 w 936181"/>
                  <a:gd name="connsiteY109" fmla="*/ 1261403 h 2496787"/>
                  <a:gd name="connsiteX110" fmla="*/ 534277 w 936181"/>
                  <a:gd name="connsiteY110" fmla="*/ 1269495 h 2496787"/>
                  <a:gd name="connsiteX111" fmla="*/ 515395 w 936181"/>
                  <a:gd name="connsiteY111" fmla="*/ 1280284 h 2496787"/>
                  <a:gd name="connsiteX112" fmla="*/ 520790 w 936181"/>
                  <a:gd name="connsiteY112" fmla="*/ 1291074 h 2496787"/>
                  <a:gd name="connsiteX113" fmla="*/ 523487 w 936181"/>
                  <a:gd name="connsiteY113" fmla="*/ 1326139 h 2496787"/>
                  <a:gd name="connsiteX114" fmla="*/ 528882 w 936181"/>
                  <a:gd name="connsiteY114" fmla="*/ 1342323 h 2496787"/>
                  <a:gd name="connsiteX115" fmla="*/ 507303 w 936181"/>
                  <a:gd name="connsiteY115" fmla="*/ 1350415 h 2496787"/>
                  <a:gd name="connsiteX116" fmla="*/ 518093 w 936181"/>
                  <a:gd name="connsiteY116" fmla="*/ 1374691 h 2496787"/>
                  <a:gd name="connsiteX117" fmla="*/ 520790 w 936181"/>
                  <a:gd name="connsiteY117" fmla="*/ 1382783 h 2496787"/>
                  <a:gd name="connsiteX118" fmla="*/ 526185 w 936181"/>
                  <a:gd name="connsiteY118" fmla="*/ 1404362 h 2496787"/>
                  <a:gd name="connsiteX119" fmla="*/ 520790 w 936181"/>
                  <a:gd name="connsiteY119" fmla="*/ 1436730 h 2496787"/>
                  <a:gd name="connsiteX120" fmla="*/ 515395 w 936181"/>
                  <a:gd name="connsiteY120" fmla="*/ 1463704 h 2496787"/>
                  <a:gd name="connsiteX121" fmla="*/ 520790 w 936181"/>
                  <a:gd name="connsiteY121" fmla="*/ 1471796 h 2496787"/>
                  <a:gd name="connsiteX122" fmla="*/ 534277 w 936181"/>
                  <a:gd name="connsiteY122" fmla="*/ 1482585 h 2496787"/>
                  <a:gd name="connsiteX123" fmla="*/ 536974 w 936181"/>
                  <a:gd name="connsiteY123" fmla="*/ 1501467 h 2496787"/>
                  <a:gd name="connsiteX124" fmla="*/ 542369 w 936181"/>
                  <a:gd name="connsiteY124" fmla="*/ 1509559 h 2496787"/>
                  <a:gd name="connsiteX125" fmla="*/ 545066 w 936181"/>
                  <a:gd name="connsiteY125" fmla="*/ 1517651 h 2496787"/>
                  <a:gd name="connsiteX126" fmla="*/ 558553 w 936181"/>
                  <a:gd name="connsiteY126" fmla="*/ 1514953 h 2496787"/>
                  <a:gd name="connsiteX127" fmla="*/ 569342 w 936181"/>
                  <a:gd name="connsiteY127" fmla="*/ 1523045 h 2496787"/>
                  <a:gd name="connsiteX128" fmla="*/ 582829 w 936181"/>
                  <a:gd name="connsiteY128" fmla="*/ 1528440 h 2496787"/>
                  <a:gd name="connsiteX129" fmla="*/ 590921 w 936181"/>
                  <a:gd name="connsiteY129" fmla="*/ 1536532 h 2496787"/>
                  <a:gd name="connsiteX130" fmla="*/ 601710 w 936181"/>
                  <a:gd name="connsiteY130" fmla="*/ 1539229 h 2496787"/>
                  <a:gd name="connsiteX131" fmla="*/ 612500 w 936181"/>
                  <a:gd name="connsiteY131" fmla="*/ 1544624 h 2496787"/>
                  <a:gd name="connsiteX132" fmla="*/ 623289 w 936181"/>
                  <a:gd name="connsiteY132" fmla="*/ 1576992 h 2496787"/>
                  <a:gd name="connsiteX133" fmla="*/ 631381 w 936181"/>
                  <a:gd name="connsiteY133" fmla="*/ 1571598 h 2496787"/>
                  <a:gd name="connsiteX134" fmla="*/ 642171 w 936181"/>
                  <a:gd name="connsiteY134" fmla="*/ 1552716 h 2496787"/>
                  <a:gd name="connsiteX135" fmla="*/ 644868 w 936181"/>
                  <a:gd name="connsiteY135" fmla="*/ 1560808 h 2496787"/>
                  <a:gd name="connsiteX136" fmla="*/ 655657 w 936181"/>
                  <a:gd name="connsiteY136" fmla="*/ 1576992 h 2496787"/>
                  <a:gd name="connsiteX137" fmla="*/ 658355 w 936181"/>
                  <a:gd name="connsiteY137" fmla="*/ 1601268 h 2496787"/>
                  <a:gd name="connsiteX138" fmla="*/ 690723 w 936181"/>
                  <a:gd name="connsiteY138" fmla="*/ 1609360 h 2496787"/>
                  <a:gd name="connsiteX139" fmla="*/ 696118 w 936181"/>
                  <a:gd name="connsiteY139" fmla="*/ 1617452 h 2496787"/>
                  <a:gd name="connsiteX140" fmla="*/ 698815 w 936181"/>
                  <a:gd name="connsiteY140" fmla="*/ 1625545 h 2496787"/>
                  <a:gd name="connsiteX141" fmla="*/ 704210 w 936181"/>
                  <a:gd name="connsiteY141" fmla="*/ 1660610 h 2496787"/>
                  <a:gd name="connsiteX142" fmla="*/ 690723 w 936181"/>
                  <a:gd name="connsiteY142" fmla="*/ 1679491 h 2496787"/>
                  <a:gd name="connsiteX143" fmla="*/ 688026 w 936181"/>
                  <a:gd name="connsiteY143" fmla="*/ 1690281 h 2496787"/>
                  <a:gd name="connsiteX144" fmla="*/ 685328 w 936181"/>
                  <a:gd name="connsiteY144" fmla="*/ 1709162 h 2496787"/>
                  <a:gd name="connsiteX145" fmla="*/ 677236 w 936181"/>
                  <a:gd name="connsiteY145" fmla="*/ 1711860 h 2496787"/>
                  <a:gd name="connsiteX146" fmla="*/ 661052 w 936181"/>
                  <a:gd name="connsiteY146" fmla="*/ 1714557 h 2496787"/>
                  <a:gd name="connsiteX147" fmla="*/ 655657 w 936181"/>
                  <a:gd name="connsiteY147" fmla="*/ 1722649 h 2496787"/>
                  <a:gd name="connsiteX148" fmla="*/ 625987 w 936181"/>
                  <a:gd name="connsiteY148" fmla="*/ 1733438 h 2496787"/>
                  <a:gd name="connsiteX149" fmla="*/ 623289 w 936181"/>
                  <a:gd name="connsiteY149" fmla="*/ 1752320 h 2496787"/>
                  <a:gd name="connsiteX150" fmla="*/ 601710 w 936181"/>
                  <a:gd name="connsiteY150" fmla="*/ 1749622 h 2496787"/>
                  <a:gd name="connsiteX151" fmla="*/ 596316 w 936181"/>
                  <a:gd name="connsiteY151" fmla="*/ 1736136 h 2496787"/>
                  <a:gd name="connsiteX152" fmla="*/ 601710 w 936181"/>
                  <a:gd name="connsiteY152" fmla="*/ 1719952 h 2496787"/>
                  <a:gd name="connsiteX153" fmla="*/ 582829 w 936181"/>
                  <a:gd name="connsiteY153" fmla="*/ 1695675 h 2496787"/>
                  <a:gd name="connsiteX154" fmla="*/ 580132 w 936181"/>
                  <a:gd name="connsiteY154" fmla="*/ 1714557 h 2496787"/>
                  <a:gd name="connsiteX155" fmla="*/ 574737 w 936181"/>
                  <a:gd name="connsiteY155" fmla="*/ 1722649 h 2496787"/>
                  <a:gd name="connsiteX156" fmla="*/ 558553 w 936181"/>
                  <a:gd name="connsiteY156" fmla="*/ 1719952 h 2496787"/>
                  <a:gd name="connsiteX157" fmla="*/ 501909 w 936181"/>
                  <a:gd name="connsiteY157" fmla="*/ 1730741 h 2496787"/>
                  <a:gd name="connsiteX158" fmla="*/ 488422 w 936181"/>
                  <a:gd name="connsiteY158" fmla="*/ 1741530 h 2496787"/>
                  <a:gd name="connsiteX159" fmla="*/ 464146 w 936181"/>
                  <a:gd name="connsiteY159" fmla="*/ 1746925 h 2496787"/>
                  <a:gd name="connsiteX160" fmla="*/ 453357 w 936181"/>
                  <a:gd name="connsiteY160" fmla="*/ 1749622 h 2496787"/>
                  <a:gd name="connsiteX161" fmla="*/ 499211 w 936181"/>
                  <a:gd name="connsiteY161" fmla="*/ 1746925 h 2496787"/>
                  <a:gd name="connsiteX162" fmla="*/ 507303 w 936181"/>
                  <a:gd name="connsiteY162" fmla="*/ 1752320 h 2496787"/>
                  <a:gd name="connsiteX163" fmla="*/ 523487 w 936181"/>
                  <a:gd name="connsiteY163" fmla="*/ 1757714 h 2496787"/>
                  <a:gd name="connsiteX164" fmla="*/ 531580 w 936181"/>
                  <a:gd name="connsiteY164" fmla="*/ 1738833 h 2496787"/>
                  <a:gd name="connsiteX165" fmla="*/ 539672 w 936181"/>
                  <a:gd name="connsiteY165" fmla="*/ 1733438 h 2496787"/>
                  <a:gd name="connsiteX166" fmla="*/ 555856 w 936181"/>
                  <a:gd name="connsiteY166" fmla="*/ 1755017 h 2496787"/>
                  <a:gd name="connsiteX167" fmla="*/ 566645 w 936181"/>
                  <a:gd name="connsiteY167" fmla="*/ 1773898 h 2496787"/>
                  <a:gd name="connsiteX168" fmla="*/ 582829 w 936181"/>
                  <a:gd name="connsiteY168" fmla="*/ 1768504 h 2496787"/>
                  <a:gd name="connsiteX169" fmla="*/ 588224 w 936181"/>
                  <a:gd name="connsiteY169" fmla="*/ 1760412 h 2496787"/>
                  <a:gd name="connsiteX170" fmla="*/ 636776 w 936181"/>
                  <a:gd name="connsiteY170" fmla="*/ 1749622 h 2496787"/>
                  <a:gd name="connsiteX171" fmla="*/ 650263 w 936181"/>
                  <a:gd name="connsiteY171" fmla="*/ 1725346 h 2496787"/>
                  <a:gd name="connsiteX172" fmla="*/ 658355 w 936181"/>
                  <a:gd name="connsiteY172" fmla="*/ 1722649 h 2496787"/>
                  <a:gd name="connsiteX173" fmla="*/ 671841 w 936181"/>
                  <a:gd name="connsiteY173" fmla="*/ 1728044 h 2496787"/>
                  <a:gd name="connsiteX174" fmla="*/ 679934 w 936181"/>
                  <a:gd name="connsiteY174" fmla="*/ 1730741 h 2496787"/>
                  <a:gd name="connsiteX175" fmla="*/ 682631 w 936181"/>
                  <a:gd name="connsiteY175" fmla="*/ 1738833 h 2496787"/>
                  <a:gd name="connsiteX176" fmla="*/ 671841 w 936181"/>
                  <a:gd name="connsiteY176" fmla="*/ 1741530 h 2496787"/>
                  <a:gd name="connsiteX177" fmla="*/ 655657 w 936181"/>
                  <a:gd name="connsiteY177" fmla="*/ 1755017 h 2496787"/>
                  <a:gd name="connsiteX178" fmla="*/ 658355 w 936181"/>
                  <a:gd name="connsiteY178" fmla="*/ 1781991 h 2496787"/>
                  <a:gd name="connsiteX179" fmla="*/ 644868 w 936181"/>
                  <a:gd name="connsiteY179" fmla="*/ 1790083 h 2496787"/>
                  <a:gd name="connsiteX180" fmla="*/ 650263 w 936181"/>
                  <a:gd name="connsiteY180" fmla="*/ 1798175 h 2496787"/>
                  <a:gd name="connsiteX181" fmla="*/ 642171 w 936181"/>
                  <a:gd name="connsiteY181" fmla="*/ 1822451 h 2496787"/>
                  <a:gd name="connsiteX182" fmla="*/ 634079 w 936181"/>
                  <a:gd name="connsiteY182" fmla="*/ 1849424 h 2496787"/>
                  <a:gd name="connsiteX183" fmla="*/ 628684 w 936181"/>
                  <a:gd name="connsiteY183" fmla="*/ 1835937 h 2496787"/>
                  <a:gd name="connsiteX184" fmla="*/ 617895 w 936181"/>
                  <a:gd name="connsiteY184" fmla="*/ 1806267 h 2496787"/>
                  <a:gd name="connsiteX185" fmla="*/ 607105 w 936181"/>
                  <a:gd name="connsiteY185" fmla="*/ 1800872 h 2496787"/>
                  <a:gd name="connsiteX186" fmla="*/ 593618 w 936181"/>
                  <a:gd name="connsiteY186" fmla="*/ 1838635 h 2496787"/>
                  <a:gd name="connsiteX187" fmla="*/ 585526 w 936181"/>
                  <a:gd name="connsiteY187" fmla="*/ 1841332 h 2496787"/>
                  <a:gd name="connsiteX188" fmla="*/ 582829 w 936181"/>
                  <a:gd name="connsiteY188" fmla="*/ 1857516 h 2496787"/>
                  <a:gd name="connsiteX189" fmla="*/ 580132 w 936181"/>
                  <a:gd name="connsiteY189" fmla="*/ 1865608 h 2496787"/>
                  <a:gd name="connsiteX190" fmla="*/ 572040 w 936181"/>
                  <a:gd name="connsiteY190" fmla="*/ 1873700 h 2496787"/>
                  <a:gd name="connsiteX191" fmla="*/ 563948 w 936181"/>
                  <a:gd name="connsiteY191" fmla="*/ 1876398 h 2496787"/>
                  <a:gd name="connsiteX192" fmla="*/ 520790 w 936181"/>
                  <a:gd name="connsiteY192" fmla="*/ 1879095 h 2496787"/>
                  <a:gd name="connsiteX193" fmla="*/ 472238 w 936181"/>
                  <a:gd name="connsiteY193" fmla="*/ 1887187 h 2496787"/>
                  <a:gd name="connsiteX194" fmla="*/ 488422 w 936181"/>
                  <a:gd name="connsiteY194" fmla="*/ 1881792 h 2496787"/>
                  <a:gd name="connsiteX195" fmla="*/ 539672 w 936181"/>
                  <a:gd name="connsiteY195" fmla="*/ 1911463 h 2496787"/>
                  <a:gd name="connsiteX196" fmla="*/ 542369 w 936181"/>
                  <a:gd name="connsiteY196" fmla="*/ 1919555 h 2496787"/>
                  <a:gd name="connsiteX197" fmla="*/ 523487 w 936181"/>
                  <a:gd name="connsiteY197" fmla="*/ 1922252 h 2496787"/>
                  <a:gd name="connsiteX198" fmla="*/ 512698 w 936181"/>
                  <a:gd name="connsiteY198" fmla="*/ 1938437 h 2496787"/>
                  <a:gd name="connsiteX199" fmla="*/ 523487 w 936181"/>
                  <a:gd name="connsiteY199" fmla="*/ 1943831 h 2496787"/>
                  <a:gd name="connsiteX200" fmla="*/ 526185 w 936181"/>
                  <a:gd name="connsiteY200" fmla="*/ 1951923 h 2496787"/>
                  <a:gd name="connsiteX201" fmla="*/ 536974 w 936181"/>
                  <a:gd name="connsiteY201" fmla="*/ 1957318 h 2496787"/>
                  <a:gd name="connsiteX202" fmla="*/ 534277 w 936181"/>
                  <a:gd name="connsiteY202" fmla="*/ 1965410 h 2496787"/>
                  <a:gd name="connsiteX203" fmla="*/ 523487 w 936181"/>
                  <a:gd name="connsiteY203" fmla="*/ 1995081 h 2496787"/>
                  <a:gd name="connsiteX204" fmla="*/ 515395 w 936181"/>
                  <a:gd name="connsiteY204" fmla="*/ 2000475 h 2496787"/>
                  <a:gd name="connsiteX205" fmla="*/ 523487 w 936181"/>
                  <a:gd name="connsiteY205" fmla="*/ 2005870 h 2496787"/>
                  <a:gd name="connsiteX206" fmla="*/ 545066 w 936181"/>
                  <a:gd name="connsiteY206" fmla="*/ 2013962 h 2496787"/>
                  <a:gd name="connsiteX207" fmla="*/ 553158 w 936181"/>
                  <a:gd name="connsiteY207" fmla="*/ 2011265 h 2496787"/>
                  <a:gd name="connsiteX208" fmla="*/ 539672 w 936181"/>
                  <a:gd name="connsiteY208" fmla="*/ 2022054 h 2496787"/>
                  <a:gd name="connsiteX209" fmla="*/ 534277 w 936181"/>
                  <a:gd name="connsiteY209" fmla="*/ 2038238 h 2496787"/>
                  <a:gd name="connsiteX210" fmla="*/ 542369 w 936181"/>
                  <a:gd name="connsiteY210" fmla="*/ 2062514 h 2496787"/>
                  <a:gd name="connsiteX211" fmla="*/ 536974 w 936181"/>
                  <a:gd name="connsiteY211" fmla="*/ 2070606 h 2496787"/>
                  <a:gd name="connsiteX212" fmla="*/ 539672 w 936181"/>
                  <a:gd name="connsiteY212" fmla="*/ 2084093 h 2496787"/>
                  <a:gd name="connsiteX213" fmla="*/ 545066 w 936181"/>
                  <a:gd name="connsiteY213" fmla="*/ 2100277 h 2496787"/>
                  <a:gd name="connsiteX214" fmla="*/ 531580 w 936181"/>
                  <a:gd name="connsiteY214" fmla="*/ 2111067 h 2496787"/>
                  <a:gd name="connsiteX215" fmla="*/ 528882 w 936181"/>
                  <a:gd name="connsiteY215" fmla="*/ 2121856 h 2496787"/>
                  <a:gd name="connsiteX216" fmla="*/ 510001 w 936181"/>
                  <a:gd name="connsiteY216" fmla="*/ 2127251 h 2496787"/>
                  <a:gd name="connsiteX217" fmla="*/ 515395 w 936181"/>
                  <a:gd name="connsiteY217" fmla="*/ 2138040 h 2496787"/>
                  <a:gd name="connsiteX218" fmla="*/ 520790 w 936181"/>
                  <a:gd name="connsiteY218" fmla="*/ 2148829 h 2496787"/>
                  <a:gd name="connsiteX219" fmla="*/ 523487 w 936181"/>
                  <a:gd name="connsiteY219" fmla="*/ 2156922 h 2496787"/>
                  <a:gd name="connsiteX220" fmla="*/ 542369 w 936181"/>
                  <a:gd name="connsiteY220" fmla="*/ 2162316 h 2496787"/>
                  <a:gd name="connsiteX221" fmla="*/ 531580 w 936181"/>
                  <a:gd name="connsiteY221" fmla="*/ 2170408 h 2496787"/>
                  <a:gd name="connsiteX222" fmla="*/ 515395 w 936181"/>
                  <a:gd name="connsiteY222" fmla="*/ 2210868 h 2496787"/>
                  <a:gd name="connsiteX223" fmla="*/ 518093 w 936181"/>
                  <a:gd name="connsiteY223" fmla="*/ 2218960 h 2496787"/>
                  <a:gd name="connsiteX224" fmla="*/ 542369 w 936181"/>
                  <a:gd name="connsiteY224" fmla="*/ 2202776 h 2496787"/>
                  <a:gd name="connsiteX225" fmla="*/ 545066 w 936181"/>
                  <a:gd name="connsiteY225" fmla="*/ 2183895 h 2496787"/>
                  <a:gd name="connsiteX226" fmla="*/ 550461 w 936181"/>
                  <a:gd name="connsiteY226" fmla="*/ 2167711 h 2496787"/>
                  <a:gd name="connsiteX227" fmla="*/ 553158 w 936181"/>
                  <a:gd name="connsiteY227" fmla="*/ 2146132 h 2496787"/>
                  <a:gd name="connsiteX228" fmla="*/ 563948 w 936181"/>
                  <a:gd name="connsiteY228" fmla="*/ 2129948 h 2496787"/>
                  <a:gd name="connsiteX229" fmla="*/ 569342 w 936181"/>
                  <a:gd name="connsiteY229" fmla="*/ 2121856 h 2496787"/>
                  <a:gd name="connsiteX230" fmla="*/ 577434 w 936181"/>
                  <a:gd name="connsiteY230" fmla="*/ 2129948 h 2496787"/>
                  <a:gd name="connsiteX231" fmla="*/ 574737 w 936181"/>
                  <a:gd name="connsiteY231" fmla="*/ 2138040 h 2496787"/>
                  <a:gd name="connsiteX232" fmla="*/ 566645 w 936181"/>
                  <a:gd name="connsiteY232" fmla="*/ 2170408 h 2496787"/>
                  <a:gd name="connsiteX233" fmla="*/ 561250 w 936181"/>
                  <a:gd name="connsiteY233" fmla="*/ 2191987 h 2496787"/>
                  <a:gd name="connsiteX234" fmla="*/ 558553 w 936181"/>
                  <a:gd name="connsiteY234" fmla="*/ 2208171 h 2496787"/>
                  <a:gd name="connsiteX235" fmla="*/ 553158 w 936181"/>
                  <a:gd name="connsiteY235" fmla="*/ 2227052 h 2496787"/>
                  <a:gd name="connsiteX236" fmla="*/ 547764 w 936181"/>
                  <a:gd name="connsiteY236" fmla="*/ 2294486 h 2496787"/>
                  <a:gd name="connsiteX237" fmla="*/ 545066 w 936181"/>
                  <a:gd name="connsiteY237" fmla="*/ 2313368 h 2496787"/>
                  <a:gd name="connsiteX238" fmla="*/ 536974 w 936181"/>
                  <a:gd name="connsiteY238" fmla="*/ 2318762 h 2496787"/>
                  <a:gd name="connsiteX239" fmla="*/ 528882 w 936181"/>
                  <a:gd name="connsiteY239" fmla="*/ 2326854 h 2496787"/>
                  <a:gd name="connsiteX240" fmla="*/ 520790 w 936181"/>
                  <a:gd name="connsiteY240" fmla="*/ 2313368 h 2496787"/>
                  <a:gd name="connsiteX241" fmla="*/ 520790 w 936181"/>
                  <a:gd name="connsiteY241" fmla="*/ 2272907 h 2496787"/>
                  <a:gd name="connsiteX242" fmla="*/ 526185 w 936181"/>
                  <a:gd name="connsiteY242" fmla="*/ 2256723 h 2496787"/>
                  <a:gd name="connsiteX243" fmla="*/ 527294 w 936181"/>
                  <a:gd name="connsiteY243" fmla="*/ 2220534 h 2496787"/>
                  <a:gd name="connsiteX244" fmla="*/ 520790 w 936181"/>
                  <a:gd name="connsiteY244" fmla="*/ 2254026 h 2496787"/>
                  <a:gd name="connsiteX245" fmla="*/ 507303 w 936181"/>
                  <a:gd name="connsiteY245" fmla="*/ 2259421 h 2496787"/>
                  <a:gd name="connsiteX246" fmla="*/ 501909 w 936181"/>
                  <a:gd name="connsiteY246" fmla="*/ 2267513 h 2496787"/>
                  <a:gd name="connsiteX247" fmla="*/ 496514 w 936181"/>
                  <a:gd name="connsiteY247" fmla="*/ 2316065 h 2496787"/>
                  <a:gd name="connsiteX248" fmla="*/ 491119 w 936181"/>
                  <a:gd name="connsiteY248" fmla="*/ 2332249 h 2496787"/>
                  <a:gd name="connsiteX249" fmla="*/ 480330 w 936181"/>
                  <a:gd name="connsiteY249" fmla="*/ 2340341 h 2496787"/>
                  <a:gd name="connsiteX250" fmla="*/ 437172 w 936181"/>
                  <a:gd name="connsiteY250" fmla="*/ 2337644 h 2496787"/>
                  <a:gd name="connsiteX251" fmla="*/ 434475 w 936181"/>
                  <a:gd name="connsiteY251" fmla="*/ 2351130 h 2496787"/>
                  <a:gd name="connsiteX252" fmla="*/ 426383 w 936181"/>
                  <a:gd name="connsiteY252" fmla="*/ 2359222 h 2496787"/>
                  <a:gd name="connsiteX253" fmla="*/ 404804 w 936181"/>
                  <a:gd name="connsiteY253" fmla="*/ 2356525 h 2496787"/>
                  <a:gd name="connsiteX254" fmla="*/ 396712 w 936181"/>
                  <a:gd name="connsiteY254" fmla="*/ 2351130 h 2496787"/>
                  <a:gd name="connsiteX255" fmla="*/ 377831 w 936181"/>
                  <a:gd name="connsiteY255" fmla="*/ 2356525 h 2496787"/>
                  <a:gd name="connsiteX256" fmla="*/ 380528 w 936181"/>
                  <a:gd name="connsiteY256" fmla="*/ 2372709 h 2496787"/>
                  <a:gd name="connsiteX257" fmla="*/ 377831 w 936181"/>
                  <a:gd name="connsiteY257" fmla="*/ 2383498 h 2496787"/>
                  <a:gd name="connsiteX258" fmla="*/ 334673 w 936181"/>
                  <a:gd name="connsiteY258" fmla="*/ 2391591 h 2496787"/>
                  <a:gd name="connsiteX259" fmla="*/ 331976 w 936181"/>
                  <a:gd name="connsiteY259" fmla="*/ 2405077 h 2496787"/>
                  <a:gd name="connsiteX260" fmla="*/ 326581 w 936181"/>
                  <a:gd name="connsiteY260" fmla="*/ 2418564 h 2496787"/>
                  <a:gd name="connsiteX261" fmla="*/ 329279 w 936181"/>
                  <a:gd name="connsiteY261" fmla="*/ 2432051 h 2496787"/>
                  <a:gd name="connsiteX262" fmla="*/ 334673 w 936181"/>
                  <a:gd name="connsiteY262" fmla="*/ 2450932 h 2496787"/>
                  <a:gd name="connsiteX263" fmla="*/ 342765 w 936181"/>
                  <a:gd name="connsiteY263" fmla="*/ 2459024 h 2496787"/>
                  <a:gd name="connsiteX264" fmla="*/ 331976 w 936181"/>
                  <a:gd name="connsiteY264" fmla="*/ 2480603 h 2496787"/>
                  <a:gd name="connsiteX265" fmla="*/ 318489 w 936181"/>
                  <a:gd name="connsiteY265" fmla="*/ 2483300 h 2496787"/>
                  <a:gd name="connsiteX266" fmla="*/ 302305 w 936181"/>
                  <a:gd name="connsiteY266" fmla="*/ 2485998 h 2496787"/>
                  <a:gd name="connsiteX267" fmla="*/ 269937 w 936181"/>
                  <a:gd name="connsiteY267" fmla="*/ 2483300 h 2496787"/>
                  <a:gd name="connsiteX268" fmla="*/ 253753 w 936181"/>
                  <a:gd name="connsiteY268" fmla="*/ 2494090 h 2496787"/>
                  <a:gd name="connsiteX269" fmla="*/ 207898 w 936181"/>
                  <a:gd name="connsiteY269" fmla="*/ 2496787 h 2496787"/>
                  <a:gd name="connsiteX270" fmla="*/ 197109 w 936181"/>
                  <a:gd name="connsiteY270" fmla="*/ 2491392 h 2496787"/>
                  <a:gd name="connsiteX271" fmla="*/ 194411 w 936181"/>
                  <a:gd name="connsiteY271" fmla="*/ 2483300 h 2496787"/>
                  <a:gd name="connsiteX272" fmla="*/ 202503 w 936181"/>
                  <a:gd name="connsiteY272" fmla="*/ 2423959 h 2496787"/>
                  <a:gd name="connsiteX273" fmla="*/ 199806 w 936181"/>
                  <a:gd name="connsiteY273" fmla="*/ 2415867 h 2496787"/>
                  <a:gd name="connsiteX274" fmla="*/ 197109 w 936181"/>
                  <a:gd name="connsiteY274" fmla="*/ 2405077 h 2496787"/>
                  <a:gd name="connsiteX275" fmla="*/ 175530 w 936181"/>
                  <a:gd name="connsiteY275" fmla="*/ 2394288 h 2496787"/>
                  <a:gd name="connsiteX276" fmla="*/ 162043 w 936181"/>
                  <a:gd name="connsiteY276" fmla="*/ 2383498 h 2496787"/>
                  <a:gd name="connsiteX277" fmla="*/ 153951 w 936181"/>
                  <a:gd name="connsiteY277" fmla="*/ 2370012 h 2496787"/>
                  <a:gd name="connsiteX278" fmla="*/ 140464 w 936181"/>
                  <a:gd name="connsiteY278" fmla="*/ 2343038 h 2496787"/>
                  <a:gd name="connsiteX279" fmla="*/ 153951 w 936181"/>
                  <a:gd name="connsiteY279" fmla="*/ 2337644 h 2496787"/>
                  <a:gd name="connsiteX280" fmla="*/ 167438 w 936181"/>
                  <a:gd name="connsiteY280" fmla="*/ 2340341 h 2496787"/>
                  <a:gd name="connsiteX281" fmla="*/ 159346 w 936181"/>
                  <a:gd name="connsiteY281" fmla="*/ 2310670 h 2496787"/>
                  <a:gd name="connsiteX282" fmla="*/ 156649 w 936181"/>
                  <a:gd name="connsiteY282" fmla="*/ 2299881 h 2496787"/>
                  <a:gd name="connsiteX283" fmla="*/ 175530 w 936181"/>
                  <a:gd name="connsiteY283" fmla="*/ 2302578 h 2496787"/>
                  <a:gd name="connsiteX284" fmla="*/ 183622 w 936181"/>
                  <a:gd name="connsiteY284" fmla="*/ 2286394 h 2496787"/>
                  <a:gd name="connsiteX285" fmla="*/ 156649 w 936181"/>
                  <a:gd name="connsiteY285" fmla="*/ 2272907 h 2496787"/>
                  <a:gd name="connsiteX286" fmla="*/ 159346 w 936181"/>
                  <a:gd name="connsiteY286" fmla="*/ 2262118 h 2496787"/>
                  <a:gd name="connsiteX287" fmla="*/ 151254 w 936181"/>
                  <a:gd name="connsiteY287" fmla="*/ 2243237 h 2496787"/>
                  <a:gd name="connsiteX288" fmla="*/ 132372 w 936181"/>
                  <a:gd name="connsiteY288" fmla="*/ 2224355 h 2496787"/>
                  <a:gd name="connsiteX289" fmla="*/ 121583 w 936181"/>
                  <a:gd name="connsiteY289" fmla="*/ 2213566 h 2496787"/>
                  <a:gd name="connsiteX290" fmla="*/ 113491 w 936181"/>
                  <a:gd name="connsiteY290" fmla="*/ 2197382 h 2496787"/>
                  <a:gd name="connsiteX291" fmla="*/ 110794 w 936181"/>
                  <a:gd name="connsiteY291" fmla="*/ 2173106 h 2496787"/>
                  <a:gd name="connsiteX292" fmla="*/ 102702 w 936181"/>
                  <a:gd name="connsiteY292" fmla="*/ 2170408 h 2496787"/>
                  <a:gd name="connsiteX293" fmla="*/ 100004 w 936181"/>
                  <a:gd name="connsiteY293" fmla="*/ 2159619 h 2496787"/>
                  <a:gd name="connsiteX294" fmla="*/ 81123 w 936181"/>
                  <a:gd name="connsiteY294" fmla="*/ 2135343 h 2496787"/>
                  <a:gd name="connsiteX295" fmla="*/ 94610 w 936181"/>
                  <a:gd name="connsiteY295" fmla="*/ 2127251 h 2496787"/>
                  <a:gd name="connsiteX296" fmla="*/ 81123 w 936181"/>
                  <a:gd name="connsiteY296" fmla="*/ 2105672 h 2496787"/>
                  <a:gd name="connsiteX297" fmla="*/ 62241 w 936181"/>
                  <a:gd name="connsiteY297" fmla="*/ 2086791 h 2496787"/>
                  <a:gd name="connsiteX298" fmla="*/ 54149 w 936181"/>
                  <a:gd name="connsiteY298" fmla="*/ 2084093 h 2496787"/>
                  <a:gd name="connsiteX299" fmla="*/ 56847 w 936181"/>
                  <a:gd name="connsiteY299" fmla="*/ 2062514 h 2496787"/>
                  <a:gd name="connsiteX300" fmla="*/ 56847 w 936181"/>
                  <a:gd name="connsiteY300" fmla="*/ 2038238 h 2496787"/>
                  <a:gd name="connsiteX301" fmla="*/ 46057 w 936181"/>
                  <a:gd name="connsiteY301" fmla="*/ 2035541 h 2496787"/>
                  <a:gd name="connsiteX302" fmla="*/ 37965 w 936181"/>
                  <a:gd name="connsiteY302" fmla="*/ 2032844 h 2496787"/>
                  <a:gd name="connsiteX303" fmla="*/ 32571 w 936181"/>
                  <a:gd name="connsiteY303" fmla="*/ 2022054 h 2496787"/>
                  <a:gd name="connsiteX304" fmla="*/ 35268 w 936181"/>
                  <a:gd name="connsiteY304" fmla="*/ 2013962 h 2496787"/>
                  <a:gd name="connsiteX305" fmla="*/ 48755 w 936181"/>
                  <a:gd name="connsiteY305" fmla="*/ 2019357 h 2496787"/>
                  <a:gd name="connsiteX306" fmla="*/ 59544 w 936181"/>
                  <a:gd name="connsiteY306" fmla="*/ 2040936 h 2496787"/>
                  <a:gd name="connsiteX307" fmla="*/ 70334 w 936181"/>
                  <a:gd name="connsiteY307" fmla="*/ 2038238 h 2496787"/>
                  <a:gd name="connsiteX308" fmla="*/ 64939 w 936181"/>
                  <a:gd name="connsiteY308" fmla="*/ 1995081 h 2496787"/>
                  <a:gd name="connsiteX309" fmla="*/ 67636 w 936181"/>
                  <a:gd name="connsiteY309" fmla="*/ 1986989 h 2496787"/>
                  <a:gd name="connsiteX310" fmla="*/ 56847 w 936181"/>
                  <a:gd name="connsiteY310" fmla="*/ 1976199 h 2496787"/>
                  <a:gd name="connsiteX311" fmla="*/ 32571 w 936181"/>
                  <a:gd name="connsiteY311" fmla="*/ 1981594 h 2496787"/>
                  <a:gd name="connsiteX312" fmla="*/ 24479 w 936181"/>
                  <a:gd name="connsiteY312" fmla="*/ 1986989 h 2496787"/>
                  <a:gd name="connsiteX313" fmla="*/ 16387 w 936181"/>
                  <a:gd name="connsiteY313" fmla="*/ 1965410 h 2496787"/>
                  <a:gd name="connsiteX314" fmla="*/ 5597 w 936181"/>
                  <a:gd name="connsiteY314" fmla="*/ 1949226 h 2496787"/>
                  <a:gd name="connsiteX315" fmla="*/ 13689 w 936181"/>
                  <a:gd name="connsiteY315" fmla="*/ 1935739 h 2496787"/>
                  <a:gd name="connsiteX316" fmla="*/ 19084 w 936181"/>
                  <a:gd name="connsiteY316" fmla="*/ 1919555 h 2496787"/>
                  <a:gd name="connsiteX317" fmla="*/ 8295 w 936181"/>
                  <a:gd name="connsiteY317" fmla="*/ 1916858 h 2496787"/>
                  <a:gd name="connsiteX318" fmla="*/ 2900 w 936181"/>
                  <a:gd name="connsiteY318" fmla="*/ 1852122 h 2496787"/>
                  <a:gd name="connsiteX319" fmla="*/ 16387 w 936181"/>
                  <a:gd name="connsiteY319" fmla="*/ 1849424 h 2496787"/>
                  <a:gd name="connsiteX320" fmla="*/ 19084 w 936181"/>
                  <a:gd name="connsiteY320" fmla="*/ 1841332 h 2496787"/>
                  <a:gd name="connsiteX321" fmla="*/ 2900 w 936181"/>
                  <a:gd name="connsiteY321" fmla="*/ 1841332 h 2496787"/>
                  <a:gd name="connsiteX322" fmla="*/ 16387 w 936181"/>
                  <a:gd name="connsiteY322" fmla="*/ 1846727 h 2496787"/>
                  <a:gd name="connsiteX323" fmla="*/ 29873 w 936181"/>
                  <a:gd name="connsiteY323" fmla="*/ 1862911 h 2496787"/>
                  <a:gd name="connsiteX324" fmla="*/ 40663 w 936181"/>
                  <a:gd name="connsiteY324" fmla="*/ 1865608 h 2496787"/>
                  <a:gd name="connsiteX325" fmla="*/ 56847 w 936181"/>
                  <a:gd name="connsiteY325" fmla="*/ 1854819 h 2496787"/>
                  <a:gd name="connsiteX326" fmla="*/ 48755 w 936181"/>
                  <a:gd name="connsiteY326" fmla="*/ 1768504 h 2496787"/>
                  <a:gd name="connsiteX327" fmla="*/ 56847 w 936181"/>
                  <a:gd name="connsiteY327" fmla="*/ 1730741 h 2496787"/>
                  <a:gd name="connsiteX328" fmla="*/ 64939 w 936181"/>
                  <a:gd name="connsiteY328" fmla="*/ 1728044 h 2496787"/>
                  <a:gd name="connsiteX329" fmla="*/ 67636 w 936181"/>
                  <a:gd name="connsiteY329" fmla="*/ 1719952 h 2496787"/>
                  <a:gd name="connsiteX330" fmla="*/ 64939 w 936181"/>
                  <a:gd name="connsiteY330" fmla="*/ 1709162 h 2496787"/>
                  <a:gd name="connsiteX331" fmla="*/ 70334 w 936181"/>
                  <a:gd name="connsiteY331" fmla="*/ 1684886 h 2496787"/>
                  <a:gd name="connsiteX332" fmla="*/ 100004 w 936181"/>
                  <a:gd name="connsiteY332" fmla="*/ 1679491 h 2496787"/>
                  <a:gd name="connsiteX333" fmla="*/ 108096 w 936181"/>
                  <a:gd name="connsiteY333" fmla="*/ 1671399 h 2496787"/>
                  <a:gd name="connsiteX334" fmla="*/ 110794 w 936181"/>
                  <a:gd name="connsiteY334" fmla="*/ 1657913 h 2496787"/>
                  <a:gd name="connsiteX335" fmla="*/ 116188 w 936181"/>
                  <a:gd name="connsiteY335" fmla="*/ 1639031 h 2496787"/>
                  <a:gd name="connsiteX336" fmla="*/ 118886 w 936181"/>
                  <a:gd name="connsiteY336" fmla="*/ 1612058 h 2496787"/>
                  <a:gd name="connsiteX337" fmla="*/ 126978 w 936181"/>
                  <a:gd name="connsiteY337" fmla="*/ 1598571 h 2496787"/>
                  <a:gd name="connsiteX338" fmla="*/ 129675 w 936181"/>
                  <a:gd name="connsiteY338" fmla="*/ 1590479 h 2496787"/>
                  <a:gd name="connsiteX339" fmla="*/ 105399 w 936181"/>
                  <a:gd name="connsiteY339" fmla="*/ 1558111 h 2496787"/>
                  <a:gd name="connsiteX340" fmla="*/ 102702 w 936181"/>
                  <a:gd name="connsiteY340" fmla="*/ 1528440 h 2496787"/>
                  <a:gd name="connsiteX341" fmla="*/ 100004 w 936181"/>
                  <a:gd name="connsiteY341" fmla="*/ 1506861 h 2496787"/>
                  <a:gd name="connsiteX342" fmla="*/ 91912 w 936181"/>
                  <a:gd name="connsiteY342" fmla="*/ 1496072 h 2496787"/>
                  <a:gd name="connsiteX343" fmla="*/ 100004 w 936181"/>
                  <a:gd name="connsiteY343" fmla="*/ 1490677 h 2496787"/>
                  <a:gd name="connsiteX344" fmla="*/ 121583 w 936181"/>
                  <a:gd name="connsiteY344" fmla="*/ 1485283 h 2496787"/>
                  <a:gd name="connsiteX345" fmla="*/ 129675 w 936181"/>
                  <a:gd name="connsiteY345" fmla="*/ 1482585 h 2496787"/>
                  <a:gd name="connsiteX346" fmla="*/ 135070 w 936181"/>
                  <a:gd name="connsiteY346" fmla="*/ 1474493 h 2496787"/>
                  <a:gd name="connsiteX347" fmla="*/ 135070 w 936181"/>
                  <a:gd name="connsiteY347" fmla="*/ 1412454 h 2496787"/>
                  <a:gd name="connsiteX348" fmla="*/ 129675 w 936181"/>
                  <a:gd name="connsiteY348" fmla="*/ 1404362 h 2496787"/>
                  <a:gd name="connsiteX349" fmla="*/ 110794 w 936181"/>
                  <a:gd name="connsiteY349" fmla="*/ 1380086 h 2496787"/>
                  <a:gd name="connsiteX350" fmla="*/ 94610 w 936181"/>
                  <a:gd name="connsiteY350" fmla="*/ 1366599 h 2496787"/>
                  <a:gd name="connsiteX351" fmla="*/ 83820 w 936181"/>
                  <a:gd name="connsiteY351" fmla="*/ 1353113 h 2496787"/>
                  <a:gd name="connsiteX352" fmla="*/ 81123 w 936181"/>
                  <a:gd name="connsiteY352" fmla="*/ 1258706 h 2496787"/>
                  <a:gd name="connsiteX353" fmla="*/ 70334 w 936181"/>
                  <a:gd name="connsiteY353" fmla="*/ 1242522 h 2496787"/>
                  <a:gd name="connsiteX354" fmla="*/ 59544 w 936181"/>
                  <a:gd name="connsiteY354" fmla="*/ 1199364 h 2496787"/>
                  <a:gd name="connsiteX355" fmla="*/ 56847 w 936181"/>
                  <a:gd name="connsiteY355" fmla="*/ 1148114 h 2496787"/>
                  <a:gd name="connsiteX356" fmla="*/ 73031 w 936181"/>
                  <a:gd name="connsiteY356" fmla="*/ 1140022 h 2496787"/>
                  <a:gd name="connsiteX357" fmla="*/ 51452 w 936181"/>
                  <a:gd name="connsiteY357" fmla="*/ 1113049 h 2496787"/>
                  <a:gd name="connsiteX358" fmla="*/ 40663 w 936181"/>
                  <a:gd name="connsiteY358" fmla="*/ 1104957 h 2496787"/>
                  <a:gd name="connsiteX359" fmla="*/ 37965 w 936181"/>
                  <a:gd name="connsiteY359" fmla="*/ 1094168 h 2496787"/>
                  <a:gd name="connsiteX360" fmla="*/ 40663 w 936181"/>
                  <a:gd name="connsiteY360" fmla="*/ 1069891 h 2496787"/>
                  <a:gd name="connsiteX361" fmla="*/ 59544 w 936181"/>
                  <a:gd name="connsiteY361" fmla="*/ 1045615 h 2496787"/>
                  <a:gd name="connsiteX362" fmla="*/ 64939 w 936181"/>
                  <a:gd name="connsiteY362" fmla="*/ 1034826 h 2496787"/>
                  <a:gd name="connsiteX363" fmla="*/ 73031 w 936181"/>
                  <a:gd name="connsiteY363" fmla="*/ 1021339 h 2496787"/>
                  <a:gd name="connsiteX364" fmla="*/ 83820 w 936181"/>
                  <a:gd name="connsiteY364" fmla="*/ 1005155 h 2496787"/>
                  <a:gd name="connsiteX365" fmla="*/ 86518 w 936181"/>
                  <a:gd name="connsiteY365" fmla="*/ 988971 h 2496787"/>
                  <a:gd name="connsiteX366" fmla="*/ 97307 w 936181"/>
                  <a:gd name="connsiteY366" fmla="*/ 983576 h 2496787"/>
                  <a:gd name="connsiteX367" fmla="*/ 113491 w 936181"/>
                  <a:gd name="connsiteY367" fmla="*/ 975484 h 2496787"/>
                  <a:gd name="connsiteX368" fmla="*/ 124280 w 936181"/>
                  <a:gd name="connsiteY368" fmla="*/ 961998 h 2496787"/>
                  <a:gd name="connsiteX369" fmla="*/ 129675 w 936181"/>
                  <a:gd name="connsiteY369" fmla="*/ 951208 h 2496787"/>
                  <a:gd name="connsiteX370" fmla="*/ 145859 w 936181"/>
                  <a:gd name="connsiteY370" fmla="*/ 937722 h 2496787"/>
                  <a:gd name="connsiteX371" fmla="*/ 156649 w 936181"/>
                  <a:gd name="connsiteY371" fmla="*/ 929629 h 2496787"/>
                  <a:gd name="connsiteX372" fmla="*/ 162043 w 936181"/>
                  <a:gd name="connsiteY372" fmla="*/ 937722 h 2496787"/>
                  <a:gd name="connsiteX373" fmla="*/ 164741 w 936181"/>
                  <a:gd name="connsiteY373" fmla="*/ 945814 h 2496787"/>
                  <a:gd name="connsiteX374" fmla="*/ 178227 w 936181"/>
                  <a:gd name="connsiteY374" fmla="*/ 956603 h 2496787"/>
                  <a:gd name="connsiteX375" fmla="*/ 202503 w 936181"/>
                  <a:gd name="connsiteY375" fmla="*/ 940419 h 2496787"/>
                  <a:gd name="connsiteX376" fmla="*/ 205201 w 936181"/>
                  <a:gd name="connsiteY376" fmla="*/ 918840 h 2496787"/>
                  <a:gd name="connsiteX377" fmla="*/ 210595 w 936181"/>
                  <a:gd name="connsiteY377" fmla="*/ 894564 h 2496787"/>
                  <a:gd name="connsiteX378" fmla="*/ 205201 w 936181"/>
                  <a:gd name="connsiteY378" fmla="*/ 856801 h 2496787"/>
                  <a:gd name="connsiteX379" fmla="*/ 183622 w 936181"/>
                  <a:gd name="connsiteY379" fmla="*/ 854104 h 2496787"/>
                  <a:gd name="connsiteX380" fmla="*/ 194411 w 936181"/>
                  <a:gd name="connsiteY380" fmla="*/ 829828 h 2496787"/>
                  <a:gd name="connsiteX381" fmla="*/ 205201 w 936181"/>
                  <a:gd name="connsiteY381" fmla="*/ 805552 h 2496787"/>
                  <a:gd name="connsiteX382" fmla="*/ 210595 w 936181"/>
                  <a:gd name="connsiteY382" fmla="*/ 765091 h 2496787"/>
                  <a:gd name="connsiteX383" fmla="*/ 215990 w 936181"/>
                  <a:gd name="connsiteY383" fmla="*/ 756999 h 2496787"/>
                  <a:gd name="connsiteX384" fmla="*/ 229477 w 936181"/>
                  <a:gd name="connsiteY384" fmla="*/ 721934 h 2496787"/>
                  <a:gd name="connsiteX385" fmla="*/ 237569 w 936181"/>
                  <a:gd name="connsiteY385" fmla="*/ 692263 h 2496787"/>
                  <a:gd name="connsiteX386" fmla="*/ 240266 w 936181"/>
                  <a:gd name="connsiteY386" fmla="*/ 684171 h 2496787"/>
                  <a:gd name="connsiteX387" fmla="*/ 229477 w 936181"/>
                  <a:gd name="connsiteY387" fmla="*/ 667987 h 2496787"/>
                  <a:gd name="connsiteX388" fmla="*/ 232174 w 936181"/>
                  <a:gd name="connsiteY388" fmla="*/ 654500 h 2496787"/>
                  <a:gd name="connsiteX389" fmla="*/ 234872 w 936181"/>
                  <a:gd name="connsiteY389" fmla="*/ 646408 h 2496787"/>
                  <a:gd name="connsiteX390" fmla="*/ 237569 w 936181"/>
                  <a:gd name="connsiteY390" fmla="*/ 632922 h 2496787"/>
                  <a:gd name="connsiteX391" fmla="*/ 234872 w 936181"/>
                  <a:gd name="connsiteY391" fmla="*/ 581672 h 2496787"/>
                  <a:gd name="connsiteX392" fmla="*/ 229477 w 936181"/>
                  <a:gd name="connsiteY392" fmla="*/ 570883 h 2496787"/>
                  <a:gd name="connsiteX393" fmla="*/ 253753 w 936181"/>
                  <a:gd name="connsiteY393" fmla="*/ 568185 h 2496787"/>
                  <a:gd name="connsiteX394" fmla="*/ 256450 w 936181"/>
                  <a:gd name="connsiteY394" fmla="*/ 560093 h 2496787"/>
                  <a:gd name="connsiteX395" fmla="*/ 272634 w 936181"/>
                  <a:gd name="connsiteY395" fmla="*/ 546606 h 2496787"/>
                  <a:gd name="connsiteX396" fmla="*/ 275332 w 936181"/>
                  <a:gd name="connsiteY396" fmla="*/ 535817 h 2496787"/>
                  <a:gd name="connsiteX397" fmla="*/ 288818 w 936181"/>
                  <a:gd name="connsiteY397" fmla="*/ 522330 h 2496787"/>
                  <a:gd name="connsiteX398" fmla="*/ 280726 w 936181"/>
                  <a:gd name="connsiteY398" fmla="*/ 489962 h 2496787"/>
                  <a:gd name="connsiteX399" fmla="*/ 286121 w 936181"/>
                  <a:gd name="connsiteY399" fmla="*/ 479173 h 2496787"/>
                  <a:gd name="connsiteX400" fmla="*/ 288818 w 936181"/>
                  <a:gd name="connsiteY400" fmla="*/ 462989 h 2496787"/>
                  <a:gd name="connsiteX401" fmla="*/ 307700 w 936181"/>
                  <a:gd name="connsiteY401" fmla="*/ 444107 h 2496787"/>
                  <a:gd name="connsiteX402" fmla="*/ 318489 w 936181"/>
                  <a:gd name="connsiteY402" fmla="*/ 427923 h 2496787"/>
                  <a:gd name="connsiteX403" fmla="*/ 337371 w 936181"/>
                  <a:gd name="connsiteY403" fmla="*/ 414437 h 2496787"/>
                  <a:gd name="connsiteX404" fmla="*/ 342765 w 936181"/>
                  <a:gd name="connsiteY404" fmla="*/ 395555 h 2496787"/>
                  <a:gd name="connsiteX405" fmla="*/ 337371 w 936181"/>
                  <a:gd name="connsiteY405" fmla="*/ 363187 h 2496787"/>
                  <a:gd name="connsiteX406" fmla="*/ 329279 w 936181"/>
                  <a:gd name="connsiteY406" fmla="*/ 338911 h 2496787"/>
                  <a:gd name="connsiteX407" fmla="*/ 321187 w 936181"/>
                  <a:gd name="connsiteY407" fmla="*/ 336214 h 2496787"/>
                  <a:gd name="connsiteX408" fmla="*/ 318489 w 936181"/>
                  <a:gd name="connsiteY408" fmla="*/ 352398 h 2496787"/>
                  <a:gd name="connsiteX409" fmla="*/ 329279 w 936181"/>
                  <a:gd name="connsiteY409" fmla="*/ 325424 h 2496787"/>
                  <a:gd name="connsiteX410" fmla="*/ 331976 w 936181"/>
                  <a:gd name="connsiteY410" fmla="*/ 306543 h 2496787"/>
                  <a:gd name="connsiteX411" fmla="*/ 342765 w 936181"/>
                  <a:gd name="connsiteY411" fmla="*/ 295753 h 2496787"/>
                  <a:gd name="connsiteX412" fmla="*/ 356252 w 936181"/>
                  <a:gd name="connsiteY412" fmla="*/ 255293 h 2496787"/>
                  <a:gd name="connsiteX413" fmla="*/ 358949 w 936181"/>
                  <a:gd name="connsiteY413" fmla="*/ 233714 h 2496787"/>
                  <a:gd name="connsiteX414" fmla="*/ 364344 w 936181"/>
                  <a:gd name="connsiteY414" fmla="*/ 225622 h 2496787"/>
                  <a:gd name="connsiteX415" fmla="*/ 399410 w 936181"/>
                  <a:gd name="connsiteY415" fmla="*/ 198649 h 2496787"/>
                  <a:gd name="connsiteX416" fmla="*/ 410199 w 936181"/>
                  <a:gd name="connsiteY416" fmla="*/ 206741 h 2496787"/>
                  <a:gd name="connsiteX417" fmla="*/ 418291 w 936181"/>
                  <a:gd name="connsiteY417" fmla="*/ 220228 h 2496787"/>
                  <a:gd name="connsiteX418" fmla="*/ 429080 w 936181"/>
                  <a:gd name="connsiteY418" fmla="*/ 217530 h 2496787"/>
                  <a:gd name="connsiteX419" fmla="*/ 437172 w 936181"/>
                  <a:gd name="connsiteY419" fmla="*/ 185162 h 2496787"/>
                  <a:gd name="connsiteX420" fmla="*/ 437172 w 936181"/>
                  <a:gd name="connsiteY420" fmla="*/ 117729 h 2496787"/>
                  <a:gd name="connsiteX421" fmla="*/ 456054 w 936181"/>
                  <a:gd name="connsiteY421" fmla="*/ 120426 h 2496787"/>
                  <a:gd name="connsiteX422" fmla="*/ 464146 w 936181"/>
                  <a:gd name="connsiteY422" fmla="*/ 123123 h 2496787"/>
                  <a:gd name="connsiteX423" fmla="*/ 491119 w 936181"/>
                  <a:gd name="connsiteY423" fmla="*/ 117729 h 2496787"/>
                  <a:gd name="connsiteX424" fmla="*/ 545066 w 936181"/>
                  <a:gd name="connsiteY424" fmla="*/ 123123 h 2496787"/>
                  <a:gd name="connsiteX425" fmla="*/ 553158 w 936181"/>
                  <a:gd name="connsiteY425" fmla="*/ 125821 h 2496787"/>
                  <a:gd name="connsiteX426" fmla="*/ 563948 w 936181"/>
                  <a:gd name="connsiteY426" fmla="*/ 128518 h 2496787"/>
                  <a:gd name="connsiteX427" fmla="*/ 569342 w 936181"/>
                  <a:gd name="connsiteY427" fmla="*/ 109637 h 2496787"/>
                  <a:gd name="connsiteX428" fmla="*/ 566645 w 936181"/>
                  <a:gd name="connsiteY428" fmla="*/ 88058 h 2496787"/>
                  <a:gd name="connsiteX429" fmla="*/ 572040 w 936181"/>
                  <a:gd name="connsiteY429" fmla="*/ 52992 h 2496787"/>
                  <a:gd name="connsiteX430" fmla="*/ 577434 w 936181"/>
                  <a:gd name="connsiteY430" fmla="*/ 42203 h 2496787"/>
                  <a:gd name="connsiteX431" fmla="*/ 566645 w 936181"/>
                  <a:gd name="connsiteY431" fmla="*/ 20624 h 2496787"/>
                  <a:gd name="connsiteX432" fmla="*/ 563948 w 936181"/>
                  <a:gd name="connsiteY432" fmla="*/ 12532 h 2496787"/>
                  <a:gd name="connsiteX433" fmla="*/ 599013 w 936181"/>
                  <a:gd name="connsiteY433" fmla="*/ 1743 h 2496787"/>
                  <a:gd name="connsiteX0" fmla="*/ 599013 w 936181"/>
                  <a:gd name="connsiteY0" fmla="*/ 1743 h 2496787"/>
                  <a:gd name="connsiteX1" fmla="*/ 612500 w 936181"/>
                  <a:gd name="connsiteY1" fmla="*/ 4440 h 2496787"/>
                  <a:gd name="connsiteX2" fmla="*/ 615197 w 936181"/>
                  <a:gd name="connsiteY2" fmla="*/ 12532 h 2496787"/>
                  <a:gd name="connsiteX3" fmla="*/ 623289 w 936181"/>
                  <a:gd name="connsiteY3" fmla="*/ 26019 h 2496787"/>
                  <a:gd name="connsiteX4" fmla="*/ 625987 w 936181"/>
                  <a:gd name="connsiteY4" fmla="*/ 39506 h 2496787"/>
                  <a:gd name="connsiteX5" fmla="*/ 636776 w 936181"/>
                  <a:gd name="connsiteY5" fmla="*/ 44900 h 2496787"/>
                  <a:gd name="connsiteX6" fmla="*/ 644868 w 936181"/>
                  <a:gd name="connsiteY6" fmla="*/ 50295 h 2496787"/>
                  <a:gd name="connsiteX7" fmla="*/ 650263 w 936181"/>
                  <a:gd name="connsiteY7" fmla="*/ 58387 h 2496787"/>
                  <a:gd name="connsiteX8" fmla="*/ 661052 w 936181"/>
                  <a:gd name="connsiteY8" fmla="*/ 63782 h 2496787"/>
                  <a:gd name="connsiteX9" fmla="*/ 688026 w 936181"/>
                  <a:gd name="connsiteY9" fmla="*/ 74571 h 2496787"/>
                  <a:gd name="connsiteX10" fmla="*/ 717696 w 936181"/>
                  <a:gd name="connsiteY10" fmla="*/ 88058 h 2496787"/>
                  <a:gd name="connsiteX11" fmla="*/ 736578 w 936181"/>
                  <a:gd name="connsiteY11" fmla="*/ 82663 h 2496787"/>
                  <a:gd name="connsiteX12" fmla="*/ 752762 w 936181"/>
                  <a:gd name="connsiteY12" fmla="*/ 93452 h 2496787"/>
                  <a:gd name="connsiteX13" fmla="*/ 766249 w 936181"/>
                  <a:gd name="connsiteY13" fmla="*/ 112334 h 2496787"/>
                  <a:gd name="connsiteX14" fmla="*/ 771643 w 936181"/>
                  <a:gd name="connsiteY14" fmla="*/ 128518 h 2496787"/>
                  <a:gd name="connsiteX15" fmla="*/ 787827 w 936181"/>
                  <a:gd name="connsiteY15" fmla="*/ 133913 h 2496787"/>
                  <a:gd name="connsiteX16" fmla="*/ 795919 w 936181"/>
                  <a:gd name="connsiteY16" fmla="*/ 139307 h 2496787"/>
                  <a:gd name="connsiteX17" fmla="*/ 804011 w 936181"/>
                  <a:gd name="connsiteY17" fmla="*/ 150097 h 2496787"/>
                  <a:gd name="connsiteX18" fmla="*/ 820195 w 936181"/>
                  <a:gd name="connsiteY18" fmla="*/ 166281 h 2496787"/>
                  <a:gd name="connsiteX19" fmla="*/ 817498 w 936181"/>
                  <a:gd name="connsiteY19" fmla="*/ 198649 h 2496787"/>
                  <a:gd name="connsiteX20" fmla="*/ 828287 w 936181"/>
                  <a:gd name="connsiteY20" fmla="*/ 201346 h 2496787"/>
                  <a:gd name="connsiteX21" fmla="*/ 830985 w 936181"/>
                  <a:gd name="connsiteY21" fmla="*/ 247201 h 2496787"/>
                  <a:gd name="connsiteX22" fmla="*/ 839077 w 936181"/>
                  <a:gd name="connsiteY22" fmla="*/ 249898 h 2496787"/>
                  <a:gd name="connsiteX23" fmla="*/ 844472 w 936181"/>
                  <a:gd name="connsiteY23" fmla="*/ 260688 h 2496787"/>
                  <a:gd name="connsiteX24" fmla="*/ 849866 w 936181"/>
                  <a:gd name="connsiteY24" fmla="*/ 268780 h 2496787"/>
                  <a:gd name="connsiteX25" fmla="*/ 844472 w 936181"/>
                  <a:gd name="connsiteY25" fmla="*/ 282267 h 2496787"/>
                  <a:gd name="connsiteX26" fmla="*/ 836380 w 936181"/>
                  <a:gd name="connsiteY26" fmla="*/ 287661 h 2496787"/>
                  <a:gd name="connsiteX27" fmla="*/ 852564 w 936181"/>
                  <a:gd name="connsiteY27" fmla="*/ 306543 h 2496787"/>
                  <a:gd name="connsiteX28" fmla="*/ 855261 w 936181"/>
                  <a:gd name="connsiteY28" fmla="*/ 317332 h 2496787"/>
                  <a:gd name="connsiteX29" fmla="*/ 871445 w 936181"/>
                  <a:gd name="connsiteY29" fmla="*/ 330819 h 2496787"/>
                  <a:gd name="connsiteX30" fmla="*/ 876840 w 936181"/>
                  <a:gd name="connsiteY30" fmla="*/ 349700 h 2496787"/>
                  <a:gd name="connsiteX31" fmla="*/ 884932 w 936181"/>
                  <a:gd name="connsiteY31" fmla="*/ 371279 h 2496787"/>
                  <a:gd name="connsiteX32" fmla="*/ 887629 w 936181"/>
                  <a:gd name="connsiteY32" fmla="*/ 406345 h 2496787"/>
                  <a:gd name="connsiteX33" fmla="*/ 884932 w 936181"/>
                  <a:gd name="connsiteY33" fmla="*/ 414437 h 2496787"/>
                  <a:gd name="connsiteX34" fmla="*/ 882234 w 936181"/>
                  <a:gd name="connsiteY34" fmla="*/ 427923 h 2496787"/>
                  <a:gd name="connsiteX35" fmla="*/ 890326 w 936181"/>
                  <a:gd name="connsiteY35" fmla="*/ 454897 h 2496787"/>
                  <a:gd name="connsiteX36" fmla="*/ 901116 w 936181"/>
                  <a:gd name="connsiteY36" fmla="*/ 457594 h 2496787"/>
                  <a:gd name="connsiteX37" fmla="*/ 911905 w 936181"/>
                  <a:gd name="connsiteY37" fmla="*/ 484568 h 2496787"/>
                  <a:gd name="connsiteX38" fmla="*/ 914603 w 936181"/>
                  <a:gd name="connsiteY38" fmla="*/ 500752 h 2496787"/>
                  <a:gd name="connsiteX39" fmla="*/ 917300 w 936181"/>
                  <a:gd name="connsiteY39" fmla="*/ 508844 h 2496787"/>
                  <a:gd name="connsiteX40" fmla="*/ 936181 w 936181"/>
                  <a:gd name="connsiteY40" fmla="*/ 511541 h 2496787"/>
                  <a:gd name="connsiteX41" fmla="*/ 933484 w 936181"/>
                  <a:gd name="connsiteY41" fmla="*/ 530422 h 2496787"/>
                  <a:gd name="connsiteX42" fmla="*/ 925392 w 936181"/>
                  <a:gd name="connsiteY42" fmla="*/ 535817 h 2496787"/>
                  <a:gd name="connsiteX43" fmla="*/ 893024 w 936181"/>
                  <a:gd name="connsiteY43" fmla="*/ 541212 h 2496787"/>
                  <a:gd name="connsiteX44" fmla="*/ 879537 w 936181"/>
                  <a:gd name="connsiteY44" fmla="*/ 560093 h 2496787"/>
                  <a:gd name="connsiteX45" fmla="*/ 857958 w 936181"/>
                  <a:gd name="connsiteY45" fmla="*/ 557396 h 2496787"/>
                  <a:gd name="connsiteX46" fmla="*/ 839077 w 936181"/>
                  <a:gd name="connsiteY46" fmla="*/ 549304 h 2496787"/>
                  <a:gd name="connsiteX47" fmla="*/ 814801 w 936181"/>
                  <a:gd name="connsiteY47" fmla="*/ 552001 h 2496787"/>
                  <a:gd name="connsiteX48" fmla="*/ 817498 w 936181"/>
                  <a:gd name="connsiteY48" fmla="*/ 587067 h 2496787"/>
                  <a:gd name="connsiteX49" fmla="*/ 825590 w 936181"/>
                  <a:gd name="connsiteY49" fmla="*/ 595159 h 2496787"/>
                  <a:gd name="connsiteX50" fmla="*/ 812103 w 936181"/>
                  <a:gd name="connsiteY50" fmla="*/ 597856 h 2496787"/>
                  <a:gd name="connsiteX51" fmla="*/ 790525 w 936181"/>
                  <a:gd name="connsiteY51" fmla="*/ 595159 h 2496787"/>
                  <a:gd name="connsiteX52" fmla="*/ 785130 w 936181"/>
                  <a:gd name="connsiteY52" fmla="*/ 587067 h 2496787"/>
                  <a:gd name="connsiteX53" fmla="*/ 782433 w 936181"/>
                  <a:gd name="connsiteY53" fmla="*/ 578975 h 2496787"/>
                  <a:gd name="connsiteX54" fmla="*/ 801314 w 936181"/>
                  <a:gd name="connsiteY54" fmla="*/ 595159 h 2496787"/>
                  <a:gd name="connsiteX55" fmla="*/ 790525 w 936181"/>
                  <a:gd name="connsiteY55" fmla="*/ 622132 h 2496787"/>
                  <a:gd name="connsiteX56" fmla="*/ 768946 w 936181"/>
                  <a:gd name="connsiteY56" fmla="*/ 627527 h 2496787"/>
                  <a:gd name="connsiteX57" fmla="*/ 750064 w 936181"/>
                  <a:gd name="connsiteY57" fmla="*/ 635619 h 2496787"/>
                  <a:gd name="connsiteX58" fmla="*/ 741972 w 936181"/>
                  <a:gd name="connsiteY58" fmla="*/ 641014 h 2496787"/>
                  <a:gd name="connsiteX59" fmla="*/ 766249 w 936181"/>
                  <a:gd name="connsiteY59" fmla="*/ 659895 h 2496787"/>
                  <a:gd name="connsiteX60" fmla="*/ 774341 w 936181"/>
                  <a:gd name="connsiteY60" fmla="*/ 662592 h 2496787"/>
                  <a:gd name="connsiteX61" fmla="*/ 763551 w 936181"/>
                  <a:gd name="connsiteY61" fmla="*/ 692263 h 2496787"/>
                  <a:gd name="connsiteX62" fmla="*/ 760854 w 936181"/>
                  <a:gd name="connsiteY62" fmla="*/ 703052 h 2496787"/>
                  <a:gd name="connsiteX63" fmla="*/ 747367 w 936181"/>
                  <a:gd name="connsiteY63" fmla="*/ 713842 h 2496787"/>
                  <a:gd name="connsiteX64" fmla="*/ 750064 w 936181"/>
                  <a:gd name="connsiteY64" fmla="*/ 743513 h 2496787"/>
                  <a:gd name="connsiteX65" fmla="*/ 752762 w 936181"/>
                  <a:gd name="connsiteY65" fmla="*/ 756999 h 2496787"/>
                  <a:gd name="connsiteX66" fmla="*/ 766249 w 936181"/>
                  <a:gd name="connsiteY66" fmla="*/ 773183 h 2496787"/>
                  <a:gd name="connsiteX67" fmla="*/ 768946 w 936181"/>
                  <a:gd name="connsiteY67" fmla="*/ 781275 h 2496787"/>
                  <a:gd name="connsiteX68" fmla="*/ 777038 w 936181"/>
                  <a:gd name="connsiteY68" fmla="*/ 783973 h 2496787"/>
                  <a:gd name="connsiteX69" fmla="*/ 787827 w 936181"/>
                  <a:gd name="connsiteY69" fmla="*/ 789368 h 2496787"/>
                  <a:gd name="connsiteX70" fmla="*/ 790525 w 936181"/>
                  <a:gd name="connsiteY70" fmla="*/ 800157 h 2496787"/>
                  <a:gd name="connsiteX71" fmla="*/ 782433 w 936181"/>
                  <a:gd name="connsiteY71" fmla="*/ 805552 h 2496787"/>
                  <a:gd name="connsiteX72" fmla="*/ 771643 w 936181"/>
                  <a:gd name="connsiteY72" fmla="*/ 816341 h 2496787"/>
                  <a:gd name="connsiteX73" fmla="*/ 768946 w 936181"/>
                  <a:gd name="connsiteY73" fmla="*/ 824433 h 2496787"/>
                  <a:gd name="connsiteX74" fmla="*/ 758157 w 936181"/>
                  <a:gd name="connsiteY74" fmla="*/ 851406 h 2496787"/>
                  <a:gd name="connsiteX75" fmla="*/ 733880 w 936181"/>
                  <a:gd name="connsiteY75" fmla="*/ 937722 h 2496787"/>
                  <a:gd name="connsiteX76" fmla="*/ 725788 w 936181"/>
                  <a:gd name="connsiteY76" fmla="*/ 940419 h 2496787"/>
                  <a:gd name="connsiteX77" fmla="*/ 723091 w 936181"/>
                  <a:gd name="connsiteY77" fmla="*/ 948511 h 2496787"/>
                  <a:gd name="connsiteX78" fmla="*/ 696118 w 936181"/>
                  <a:gd name="connsiteY78" fmla="*/ 970090 h 2496787"/>
                  <a:gd name="connsiteX79" fmla="*/ 688026 w 936181"/>
                  <a:gd name="connsiteY79" fmla="*/ 980879 h 2496787"/>
                  <a:gd name="connsiteX80" fmla="*/ 679934 w 936181"/>
                  <a:gd name="connsiteY80" fmla="*/ 986274 h 2496787"/>
                  <a:gd name="connsiteX81" fmla="*/ 674539 w 936181"/>
                  <a:gd name="connsiteY81" fmla="*/ 994366 h 2496787"/>
                  <a:gd name="connsiteX82" fmla="*/ 655657 w 936181"/>
                  <a:gd name="connsiteY82" fmla="*/ 1002458 h 2496787"/>
                  <a:gd name="connsiteX83" fmla="*/ 650263 w 936181"/>
                  <a:gd name="connsiteY83" fmla="*/ 1015945 h 2496787"/>
                  <a:gd name="connsiteX84" fmla="*/ 639473 w 936181"/>
                  <a:gd name="connsiteY84" fmla="*/ 1021339 h 2496787"/>
                  <a:gd name="connsiteX85" fmla="*/ 636776 w 936181"/>
                  <a:gd name="connsiteY85" fmla="*/ 1032129 h 2496787"/>
                  <a:gd name="connsiteX86" fmla="*/ 623289 w 936181"/>
                  <a:gd name="connsiteY86" fmla="*/ 1045615 h 2496787"/>
                  <a:gd name="connsiteX87" fmla="*/ 636776 w 936181"/>
                  <a:gd name="connsiteY87" fmla="*/ 1051010 h 2496787"/>
                  <a:gd name="connsiteX88" fmla="*/ 642171 w 936181"/>
                  <a:gd name="connsiteY88" fmla="*/ 1059102 h 2496787"/>
                  <a:gd name="connsiteX89" fmla="*/ 615197 w 936181"/>
                  <a:gd name="connsiteY89" fmla="*/ 1061799 h 2496787"/>
                  <a:gd name="connsiteX90" fmla="*/ 580132 w 936181"/>
                  <a:gd name="connsiteY90" fmla="*/ 1086075 h 2496787"/>
                  <a:gd name="connsiteX91" fmla="*/ 588224 w 936181"/>
                  <a:gd name="connsiteY91" fmla="*/ 1091470 h 2496787"/>
                  <a:gd name="connsiteX92" fmla="*/ 596316 w 936181"/>
                  <a:gd name="connsiteY92" fmla="*/ 1099562 h 2496787"/>
                  <a:gd name="connsiteX93" fmla="*/ 588224 w 936181"/>
                  <a:gd name="connsiteY93" fmla="*/ 1123838 h 2496787"/>
                  <a:gd name="connsiteX94" fmla="*/ 574737 w 936181"/>
                  <a:gd name="connsiteY94" fmla="*/ 1126536 h 2496787"/>
                  <a:gd name="connsiteX95" fmla="*/ 545066 w 936181"/>
                  <a:gd name="connsiteY95" fmla="*/ 1123838 h 2496787"/>
                  <a:gd name="connsiteX96" fmla="*/ 542369 w 936181"/>
                  <a:gd name="connsiteY96" fmla="*/ 1107654 h 2496787"/>
                  <a:gd name="connsiteX97" fmla="*/ 534277 w 936181"/>
                  <a:gd name="connsiteY97" fmla="*/ 1104957 h 2496787"/>
                  <a:gd name="connsiteX98" fmla="*/ 539672 w 936181"/>
                  <a:gd name="connsiteY98" fmla="*/ 1118444 h 2496787"/>
                  <a:gd name="connsiteX99" fmla="*/ 547764 w 936181"/>
                  <a:gd name="connsiteY99" fmla="*/ 1123838 h 2496787"/>
                  <a:gd name="connsiteX100" fmla="*/ 550461 w 936181"/>
                  <a:gd name="connsiteY100" fmla="*/ 1131930 h 2496787"/>
                  <a:gd name="connsiteX101" fmla="*/ 561250 w 936181"/>
                  <a:gd name="connsiteY101" fmla="*/ 1153509 h 2496787"/>
                  <a:gd name="connsiteX102" fmla="*/ 563948 w 936181"/>
                  <a:gd name="connsiteY102" fmla="*/ 1183180 h 2496787"/>
                  <a:gd name="connsiteX103" fmla="*/ 555856 w 936181"/>
                  <a:gd name="connsiteY103" fmla="*/ 1188575 h 2496787"/>
                  <a:gd name="connsiteX104" fmla="*/ 520790 w 936181"/>
                  <a:gd name="connsiteY104" fmla="*/ 1202061 h 2496787"/>
                  <a:gd name="connsiteX105" fmla="*/ 523487 w 936181"/>
                  <a:gd name="connsiteY105" fmla="*/ 1220943 h 2496787"/>
                  <a:gd name="connsiteX106" fmla="*/ 534277 w 936181"/>
                  <a:gd name="connsiteY106" fmla="*/ 1226337 h 2496787"/>
                  <a:gd name="connsiteX107" fmla="*/ 536974 w 936181"/>
                  <a:gd name="connsiteY107" fmla="*/ 1234429 h 2496787"/>
                  <a:gd name="connsiteX108" fmla="*/ 528882 w 936181"/>
                  <a:gd name="connsiteY108" fmla="*/ 1237127 h 2496787"/>
                  <a:gd name="connsiteX109" fmla="*/ 528882 w 936181"/>
                  <a:gd name="connsiteY109" fmla="*/ 1261403 h 2496787"/>
                  <a:gd name="connsiteX110" fmla="*/ 534277 w 936181"/>
                  <a:gd name="connsiteY110" fmla="*/ 1269495 h 2496787"/>
                  <a:gd name="connsiteX111" fmla="*/ 515395 w 936181"/>
                  <a:gd name="connsiteY111" fmla="*/ 1280284 h 2496787"/>
                  <a:gd name="connsiteX112" fmla="*/ 520790 w 936181"/>
                  <a:gd name="connsiteY112" fmla="*/ 1291074 h 2496787"/>
                  <a:gd name="connsiteX113" fmla="*/ 523487 w 936181"/>
                  <a:gd name="connsiteY113" fmla="*/ 1326139 h 2496787"/>
                  <a:gd name="connsiteX114" fmla="*/ 528882 w 936181"/>
                  <a:gd name="connsiteY114" fmla="*/ 1342323 h 2496787"/>
                  <a:gd name="connsiteX115" fmla="*/ 507303 w 936181"/>
                  <a:gd name="connsiteY115" fmla="*/ 1350415 h 2496787"/>
                  <a:gd name="connsiteX116" fmla="*/ 518093 w 936181"/>
                  <a:gd name="connsiteY116" fmla="*/ 1374691 h 2496787"/>
                  <a:gd name="connsiteX117" fmla="*/ 520790 w 936181"/>
                  <a:gd name="connsiteY117" fmla="*/ 1382783 h 2496787"/>
                  <a:gd name="connsiteX118" fmla="*/ 526185 w 936181"/>
                  <a:gd name="connsiteY118" fmla="*/ 1404362 h 2496787"/>
                  <a:gd name="connsiteX119" fmla="*/ 520790 w 936181"/>
                  <a:gd name="connsiteY119" fmla="*/ 1436730 h 2496787"/>
                  <a:gd name="connsiteX120" fmla="*/ 515395 w 936181"/>
                  <a:gd name="connsiteY120" fmla="*/ 1463704 h 2496787"/>
                  <a:gd name="connsiteX121" fmla="*/ 520790 w 936181"/>
                  <a:gd name="connsiteY121" fmla="*/ 1471796 h 2496787"/>
                  <a:gd name="connsiteX122" fmla="*/ 534277 w 936181"/>
                  <a:gd name="connsiteY122" fmla="*/ 1482585 h 2496787"/>
                  <a:gd name="connsiteX123" fmla="*/ 536974 w 936181"/>
                  <a:gd name="connsiteY123" fmla="*/ 1501467 h 2496787"/>
                  <a:gd name="connsiteX124" fmla="*/ 542369 w 936181"/>
                  <a:gd name="connsiteY124" fmla="*/ 1509559 h 2496787"/>
                  <a:gd name="connsiteX125" fmla="*/ 545066 w 936181"/>
                  <a:gd name="connsiteY125" fmla="*/ 1517651 h 2496787"/>
                  <a:gd name="connsiteX126" fmla="*/ 558553 w 936181"/>
                  <a:gd name="connsiteY126" fmla="*/ 1514953 h 2496787"/>
                  <a:gd name="connsiteX127" fmla="*/ 569342 w 936181"/>
                  <a:gd name="connsiteY127" fmla="*/ 1523045 h 2496787"/>
                  <a:gd name="connsiteX128" fmla="*/ 582829 w 936181"/>
                  <a:gd name="connsiteY128" fmla="*/ 1528440 h 2496787"/>
                  <a:gd name="connsiteX129" fmla="*/ 590921 w 936181"/>
                  <a:gd name="connsiteY129" fmla="*/ 1536532 h 2496787"/>
                  <a:gd name="connsiteX130" fmla="*/ 601710 w 936181"/>
                  <a:gd name="connsiteY130" fmla="*/ 1539229 h 2496787"/>
                  <a:gd name="connsiteX131" fmla="*/ 612500 w 936181"/>
                  <a:gd name="connsiteY131" fmla="*/ 1544624 h 2496787"/>
                  <a:gd name="connsiteX132" fmla="*/ 623289 w 936181"/>
                  <a:gd name="connsiteY132" fmla="*/ 1576992 h 2496787"/>
                  <a:gd name="connsiteX133" fmla="*/ 631381 w 936181"/>
                  <a:gd name="connsiteY133" fmla="*/ 1571598 h 2496787"/>
                  <a:gd name="connsiteX134" fmla="*/ 642171 w 936181"/>
                  <a:gd name="connsiteY134" fmla="*/ 1552716 h 2496787"/>
                  <a:gd name="connsiteX135" fmla="*/ 644868 w 936181"/>
                  <a:gd name="connsiteY135" fmla="*/ 1560808 h 2496787"/>
                  <a:gd name="connsiteX136" fmla="*/ 655657 w 936181"/>
                  <a:gd name="connsiteY136" fmla="*/ 1576992 h 2496787"/>
                  <a:gd name="connsiteX137" fmla="*/ 658355 w 936181"/>
                  <a:gd name="connsiteY137" fmla="*/ 1601268 h 2496787"/>
                  <a:gd name="connsiteX138" fmla="*/ 690723 w 936181"/>
                  <a:gd name="connsiteY138" fmla="*/ 1609360 h 2496787"/>
                  <a:gd name="connsiteX139" fmla="*/ 696118 w 936181"/>
                  <a:gd name="connsiteY139" fmla="*/ 1617452 h 2496787"/>
                  <a:gd name="connsiteX140" fmla="*/ 698815 w 936181"/>
                  <a:gd name="connsiteY140" fmla="*/ 1625545 h 2496787"/>
                  <a:gd name="connsiteX141" fmla="*/ 704210 w 936181"/>
                  <a:gd name="connsiteY141" fmla="*/ 1660610 h 2496787"/>
                  <a:gd name="connsiteX142" fmla="*/ 690723 w 936181"/>
                  <a:gd name="connsiteY142" fmla="*/ 1679491 h 2496787"/>
                  <a:gd name="connsiteX143" fmla="*/ 688026 w 936181"/>
                  <a:gd name="connsiteY143" fmla="*/ 1690281 h 2496787"/>
                  <a:gd name="connsiteX144" fmla="*/ 685328 w 936181"/>
                  <a:gd name="connsiteY144" fmla="*/ 1709162 h 2496787"/>
                  <a:gd name="connsiteX145" fmla="*/ 677236 w 936181"/>
                  <a:gd name="connsiteY145" fmla="*/ 1711860 h 2496787"/>
                  <a:gd name="connsiteX146" fmla="*/ 661052 w 936181"/>
                  <a:gd name="connsiteY146" fmla="*/ 1714557 h 2496787"/>
                  <a:gd name="connsiteX147" fmla="*/ 655657 w 936181"/>
                  <a:gd name="connsiteY147" fmla="*/ 1722649 h 2496787"/>
                  <a:gd name="connsiteX148" fmla="*/ 625987 w 936181"/>
                  <a:gd name="connsiteY148" fmla="*/ 1733438 h 2496787"/>
                  <a:gd name="connsiteX149" fmla="*/ 623289 w 936181"/>
                  <a:gd name="connsiteY149" fmla="*/ 1752320 h 2496787"/>
                  <a:gd name="connsiteX150" fmla="*/ 601710 w 936181"/>
                  <a:gd name="connsiteY150" fmla="*/ 1749622 h 2496787"/>
                  <a:gd name="connsiteX151" fmla="*/ 596316 w 936181"/>
                  <a:gd name="connsiteY151" fmla="*/ 1736136 h 2496787"/>
                  <a:gd name="connsiteX152" fmla="*/ 601710 w 936181"/>
                  <a:gd name="connsiteY152" fmla="*/ 1719952 h 2496787"/>
                  <a:gd name="connsiteX153" fmla="*/ 582829 w 936181"/>
                  <a:gd name="connsiteY153" fmla="*/ 1695675 h 2496787"/>
                  <a:gd name="connsiteX154" fmla="*/ 580132 w 936181"/>
                  <a:gd name="connsiteY154" fmla="*/ 1714557 h 2496787"/>
                  <a:gd name="connsiteX155" fmla="*/ 574737 w 936181"/>
                  <a:gd name="connsiteY155" fmla="*/ 1722649 h 2496787"/>
                  <a:gd name="connsiteX156" fmla="*/ 558553 w 936181"/>
                  <a:gd name="connsiteY156" fmla="*/ 1719952 h 2496787"/>
                  <a:gd name="connsiteX157" fmla="*/ 501909 w 936181"/>
                  <a:gd name="connsiteY157" fmla="*/ 1730741 h 2496787"/>
                  <a:gd name="connsiteX158" fmla="*/ 488422 w 936181"/>
                  <a:gd name="connsiteY158" fmla="*/ 1741530 h 2496787"/>
                  <a:gd name="connsiteX159" fmla="*/ 464146 w 936181"/>
                  <a:gd name="connsiteY159" fmla="*/ 1746925 h 2496787"/>
                  <a:gd name="connsiteX160" fmla="*/ 453357 w 936181"/>
                  <a:gd name="connsiteY160" fmla="*/ 1749622 h 2496787"/>
                  <a:gd name="connsiteX161" fmla="*/ 499211 w 936181"/>
                  <a:gd name="connsiteY161" fmla="*/ 1746925 h 2496787"/>
                  <a:gd name="connsiteX162" fmla="*/ 507303 w 936181"/>
                  <a:gd name="connsiteY162" fmla="*/ 1752320 h 2496787"/>
                  <a:gd name="connsiteX163" fmla="*/ 523487 w 936181"/>
                  <a:gd name="connsiteY163" fmla="*/ 1757714 h 2496787"/>
                  <a:gd name="connsiteX164" fmla="*/ 531580 w 936181"/>
                  <a:gd name="connsiteY164" fmla="*/ 1738833 h 2496787"/>
                  <a:gd name="connsiteX165" fmla="*/ 539672 w 936181"/>
                  <a:gd name="connsiteY165" fmla="*/ 1733438 h 2496787"/>
                  <a:gd name="connsiteX166" fmla="*/ 555856 w 936181"/>
                  <a:gd name="connsiteY166" fmla="*/ 1755017 h 2496787"/>
                  <a:gd name="connsiteX167" fmla="*/ 566645 w 936181"/>
                  <a:gd name="connsiteY167" fmla="*/ 1773898 h 2496787"/>
                  <a:gd name="connsiteX168" fmla="*/ 582829 w 936181"/>
                  <a:gd name="connsiteY168" fmla="*/ 1768504 h 2496787"/>
                  <a:gd name="connsiteX169" fmla="*/ 588224 w 936181"/>
                  <a:gd name="connsiteY169" fmla="*/ 1760412 h 2496787"/>
                  <a:gd name="connsiteX170" fmla="*/ 636776 w 936181"/>
                  <a:gd name="connsiteY170" fmla="*/ 1749622 h 2496787"/>
                  <a:gd name="connsiteX171" fmla="*/ 650263 w 936181"/>
                  <a:gd name="connsiteY171" fmla="*/ 1725346 h 2496787"/>
                  <a:gd name="connsiteX172" fmla="*/ 658355 w 936181"/>
                  <a:gd name="connsiteY172" fmla="*/ 1722649 h 2496787"/>
                  <a:gd name="connsiteX173" fmla="*/ 671841 w 936181"/>
                  <a:gd name="connsiteY173" fmla="*/ 1728044 h 2496787"/>
                  <a:gd name="connsiteX174" fmla="*/ 679934 w 936181"/>
                  <a:gd name="connsiteY174" fmla="*/ 1730741 h 2496787"/>
                  <a:gd name="connsiteX175" fmla="*/ 682631 w 936181"/>
                  <a:gd name="connsiteY175" fmla="*/ 1738833 h 2496787"/>
                  <a:gd name="connsiteX176" fmla="*/ 671841 w 936181"/>
                  <a:gd name="connsiteY176" fmla="*/ 1741530 h 2496787"/>
                  <a:gd name="connsiteX177" fmla="*/ 655657 w 936181"/>
                  <a:gd name="connsiteY177" fmla="*/ 1755017 h 2496787"/>
                  <a:gd name="connsiteX178" fmla="*/ 658355 w 936181"/>
                  <a:gd name="connsiteY178" fmla="*/ 1781991 h 2496787"/>
                  <a:gd name="connsiteX179" fmla="*/ 644868 w 936181"/>
                  <a:gd name="connsiteY179" fmla="*/ 1790083 h 2496787"/>
                  <a:gd name="connsiteX180" fmla="*/ 650263 w 936181"/>
                  <a:gd name="connsiteY180" fmla="*/ 1798175 h 2496787"/>
                  <a:gd name="connsiteX181" fmla="*/ 642171 w 936181"/>
                  <a:gd name="connsiteY181" fmla="*/ 1822451 h 2496787"/>
                  <a:gd name="connsiteX182" fmla="*/ 636537 w 936181"/>
                  <a:gd name="connsiteY182" fmla="*/ 1842050 h 2496787"/>
                  <a:gd name="connsiteX183" fmla="*/ 628684 w 936181"/>
                  <a:gd name="connsiteY183" fmla="*/ 1835937 h 2496787"/>
                  <a:gd name="connsiteX184" fmla="*/ 617895 w 936181"/>
                  <a:gd name="connsiteY184" fmla="*/ 1806267 h 2496787"/>
                  <a:gd name="connsiteX185" fmla="*/ 607105 w 936181"/>
                  <a:gd name="connsiteY185" fmla="*/ 1800872 h 2496787"/>
                  <a:gd name="connsiteX186" fmla="*/ 593618 w 936181"/>
                  <a:gd name="connsiteY186" fmla="*/ 1838635 h 2496787"/>
                  <a:gd name="connsiteX187" fmla="*/ 585526 w 936181"/>
                  <a:gd name="connsiteY187" fmla="*/ 1841332 h 2496787"/>
                  <a:gd name="connsiteX188" fmla="*/ 582829 w 936181"/>
                  <a:gd name="connsiteY188" fmla="*/ 1857516 h 2496787"/>
                  <a:gd name="connsiteX189" fmla="*/ 580132 w 936181"/>
                  <a:gd name="connsiteY189" fmla="*/ 1865608 h 2496787"/>
                  <a:gd name="connsiteX190" fmla="*/ 572040 w 936181"/>
                  <a:gd name="connsiteY190" fmla="*/ 1873700 h 2496787"/>
                  <a:gd name="connsiteX191" fmla="*/ 563948 w 936181"/>
                  <a:gd name="connsiteY191" fmla="*/ 1876398 h 2496787"/>
                  <a:gd name="connsiteX192" fmla="*/ 520790 w 936181"/>
                  <a:gd name="connsiteY192" fmla="*/ 1879095 h 2496787"/>
                  <a:gd name="connsiteX193" fmla="*/ 472238 w 936181"/>
                  <a:gd name="connsiteY193" fmla="*/ 1887187 h 2496787"/>
                  <a:gd name="connsiteX194" fmla="*/ 488422 w 936181"/>
                  <a:gd name="connsiteY194" fmla="*/ 1881792 h 2496787"/>
                  <a:gd name="connsiteX195" fmla="*/ 539672 w 936181"/>
                  <a:gd name="connsiteY195" fmla="*/ 1911463 h 2496787"/>
                  <a:gd name="connsiteX196" fmla="*/ 542369 w 936181"/>
                  <a:gd name="connsiteY196" fmla="*/ 1919555 h 2496787"/>
                  <a:gd name="connsiteX197" fmla="*/ 523487 w 936181"/>
                  <a:gd name="connsiteY197" fmla="*/ 1922252 h 2496787"/>
                  <a:gd name="connsiteX198" fmla="*/ 512698 w 936181"/>
                  <a:gd name="connsiteY198" fmla="*/ 1938437 h 2496787"/>
                  <a:gd name="connsiteX199" fmla="*/ 523487 w 936181"/>
                  <a:gd name="connsiteY199" fmla="*/ 1943831 h 2496787"/>
                  <a:gd name="connsiteX200" fmla="*/ 526185 w 936181"/>
                  <a:gd name="connsiteY200" fmla="*/ 1951923 h 2496787"/>
                  <a:gd name="connsiteX201" fmla="*/ 536974 w 936181"/>
                  <a:gd name="connsiteY201" fmla="*/ 1957318 h 2496787"/>
                  <a:gd name="connsiteX202" fmla="*/ 534277 w 936181"/>
                  <a:gd name="connsiteY202" fmla="*/ 1965410 h 2496787"/>
                  <a:gd name="connsiteX203" fmla="*/ 523487 w 936181"/>
                  <a:gd name="connsiteY203" fmla="*/ 1995081 h 2496787"/>
                  <a:gd name="connsiteX204" fmla="*/ 515395 w 936181"/>
                  <a:gd name="connsiteY204" fmla="*/ 2000475 h 2496787"/>
                  <a:gd name="connsiteX205" fmla="*/ 523487 w 936181"/>
                  <a:gd name="connsiteY205" fmla="*/ 2005870 h 2496787"/>
                  <a:gd name="connsiteX206" fmla="*/ 545066 w 936181"/>
                  <a:gd name="connsiteY206" fmla="*/ 2013962 h 2496787"/>
                  <a:gd name="connsiteX207" fmla="*/ 553158 w 936181"/>
                  <a:gd name="connsiteY207" fmla="*/ 2011265 h 2496787"/>
                  <a:gd name="connsiteX208" fmla="*/ 539672 w 936181"/>
                  <a:gd name="connsiteY208" fmla="*/ 2022054 h 2496787"/>
                  <a:gd name="connsiteX209" fmla="*/ 534277 w 936181"/>
                  <a:gd name="connsiteY209" fmla="*/ 2038238 h 2496787"/>
                  <a:gd name="connsiteX210" fmla="*/ 542369 w 936181"/>
                  <a:gd name="connsiteY210" fmla="*/ 2062514 h 2496787"/>
                  <a:gd name="connsiteX211" fmla="*/ 536974 w 936181"/>
                  <a:gd name="connsiteY211" fmla="*/ 2070606 h 2496787"/>
                  <a:gd name="connsiteX212" fmla="*/ 539672 w 936181"/>
                  <a:gd name="connsiteY212" fmla="*/ 2084093 h 2496787"/>
                  <a:gd name="connsiteX213" fmla="*/ 545066 w 936181"/>
                  <a:gd name="connsiteY213" fmla="*/ 2100277 h 2496787"/>
                  <a:gd name="connsiteX214" fmla="*/ 531580 w 936181"/>
                  <a:gd name="connsiteY214" fmla="*/ 2111067 h 2496787"/>
                  <a:gd name="connsiteX215" fmla="*/ 528882 w 936181"/>
                  <a:gd name="connsiteY215" fmla="*/ 2121856 h 2496787"/>
                  <a:gd name="connsiteX216" fmla="*/ 510001 w 936181"/>
                  <a:gd name="connsiteY216" fmla="*/ 2127251 h 2496787"/>
                  <a:gd name="connsiteX217" fmla="*/ 515395 w 936181"/>
                  <a:gd name="connsiteY217" fmla="*/ 2138040 h 2496787"/>
                  <a:gd name="connsiteX218" fmla="*/ 520790 w 936181"/>
                  <a:gd name="connsiteY218" fmla="*/ 2148829 h 2496787"/>
                  <a:gd name="connsiteX219" fmla="*/ 523487 w 936181"/>
                  <a:gd name="connsiteY219" fmla="*/ 2156922 h 2496787"/>
                  <a:gd name="connsiteX220" fmla="*/ 542369 w 936181"/>
                  <a:gd name="connsiteY220" fmla="*/ 2162316 h 2496787"/>
                  <a:gd name="connsiteX221" fmla="*/ 531580 w 936181"/>
                  <a:gd name="connsiteY221" fmla="*/ 2170408 h 2496787"/>
                  <a:gd name="connsiteX222" fmla="*/ 515395 w 936181"/>
                  <a:gd name="connsiteY222" fmla="*/ 2210868 h 2496787"/>
                  <a:gd name="connsiteX223" fmla="*/ 518093 w 936181"/>
                  <a:gd name="connsiteY223" fmla="*/ 2218960 h 2496787"/>
                  <a:gd name="connsiteX224" fmla="*/ 542369 w 936181"/>
                  <a:gd name="connsiteY224" fmla="*/ 2202776 h 2496787"/>
                  <a:gd name="connsiteX225" fmla="*/ 545066 w 936181"/>
                  <a:gd name="connsiteY225" fmla="*/ 2183895 h 2496787"/>
                  <a:gd name="connsiteX226" fmla="*/ 550461 w 936181"/>
                  <a:gd name="connsiteY226" fmla="*/ 2167711 h 2496787"/>
                  <a:gd name="connsiteX227" fmla="*/ 553158 w 936181"/>
                  <a:gd name="connsiteY227" fmla="*/ 2146132 h 2496787"/>
                  <a:gd name="connsiteX228" fmla="*/ 563948 w 936181"/>
                  <a:gd name="connsiteY228" fmla="*/ 2129948 h 2496787"/>
                  <a:gd name="connsiteX229" fmla="*/ 569342 w 936181"/>
                  <a:gd name="connsiteY229" fmla="*/ 2121856 h 2496787"/>
                  <a:gd name="connsiteX230" fmla="*/ 577434 w 936181"/>
                  <a:gd name="connsiteY230" fmla="*/ 2129948 h 2496787"/>
                  <a:gd name="connsiteX231" fmla="*/ 574737 w 936181"/>
                  <a:gd name="connsiteY231" fmla="*/ 2138040 h 2496787"/>
                  <a:gd name="connsiteX232" fmla="*/ 566645 w 936181"/>
                  <a:gd name="connsiteY232" fmla="*/ 2170408 h 2496787"/>
                  <a:gd name="connsiteX233" fmla="*/ 561250 w 936181"/>
                  <a:gd name="connsiteY233" fmla="*/ 2191987 h 2496787"/>
                  <a:gd name="connsiteX234" fmla="*/ 558553 w 936181"/>
                  <a:gd name="connsiteY234" fmla="*/ 2208171 h 2496787"/>
                  <a:gd name="connsiteX235" fmla="*/ 553158 w 936181"/>
                  <a:gd name="connsiteY235" fmla="*/ 2227052 h 2496787"/>
                  <a:gd name="connsiteX236" fmla="*/ 547764 w 936181"/>
                  <a:gd name="connsiteY236" fmla="*/ 2294486 h 2496787"/>
                  <a:gd name="connsiteX237" fmla="*/ 545066 w 936181"/>
                  <a:gd name="connsiteY237" fmla="*/ 2313368 h 2496787"/>
                  <a:gd name="connsiteX238" fmla="*/ 536974 w 936181"/>
                  <a:gd name="connsiteY238" fmla="*/ 2318762 h 2496787"/>
                  <a:gd name="connsiteX239" fmla="*/ 528882 w 936181"/>
                  <a:gd name="connsiteY239" fmla="*/ 2326854 h 2496787"/>
                  <a:gd name="connsiteX240" fmla="*/ 520790 w 936181"/>
                  <a:gd name="connsiteY240" fmla="*/ 2313368 h 2496787"/>
                  <a:gd name="connsiteX241" fmla="*/ 520790 w 936181"/>
                  <a:gd name="connsiteY241" fmla="*/ 2272907 h 2496787"/>
                  <a:gd name="connsiteX242" fmla="*/ 526185 w 936181"/>
                  <a:gd name="connsiteY242" fmla="*/ 2256723 h 2496787"/>
                  <a:gd name="connsiteX243" fmla="*/ 527294 w 936181"/>
                  <a:gd name="connsiteY243" fmla="*/ 2220534 h 2496787"/>
                  <a:gd name="connsiteX244" fmla="*/ 520790 w 936181"/>
                  <a:gd name="connsiteY244" fmla="*/ 2254026 h 2496787"/>
                  <a:gd name="connsiteX245" fmla="*/ 507303 w 936181"/>
                  <a:gd name="connsiteY245" fmla="*/ 2259421 h 2496787"/>
                  <a:gd name="connsiteX246" fmla="*/ 501909 w 936181"/>
                  <a:gd name="connsiteY246" fmla="*/ 2267513 h 2496787"/>
                  <a:gd name="connsiteX247" fmla="*/ 496514 w 936181"/>
                  <a:gd name="connsiteY247" fmla="*/ 2316065 h 2496787"/>
                  <a:gd name="connsiteX248" fmla="*/ 491119 w 936181"/>
                  <a:gd name="connsiteY248" fmla="*/ 2332249 h 2496787"/>
                  <a:gd name="connsiteX249" fmla="*/ 480330 w 936181"/>
                  <a:gd name="connsiteY249" fmla="*/ 2340341 h 2496787"/>
                  <a:gd name="connsiteX250" fmla="*/ 437172 w 936181"/>
                  <a:gd name="connsiteY250" fmla="*/ 2337644 h 2496787"/>
                  <a:gd name="connsiteX251" fmla="*/ 434475 w 936181"/>
                  <a:gd name="connsiteY251" fmla="*/ 2351130 h 2496787"/>
                  <a:gd name="connsiteX252" fmla="*/ 426383 w 936181"/>
                  <a:gd name="connsiteY252" fmla="*/ 2359222 h 2496787"/>
                  <a:gd name="connsiteX253" fmla="*/ 404804 w 936181"/>
                  <a:gd name="connsiteY253" fmla="*/ 2356525 h 2496787"/>
                  <a:gd name="connsiteX254" fmla="*/ 396712 w 936181"/>
                  <a:gd name="connsiteY254" fmla="*/ 2351130 h 2496787"/>
                  <a:gd name="connsiteX255" fmla="*/ 377831 w 936181"/>
                  <a:gd name="connsiteY255" fmla="*/ 2356525 h 2496787"/>
                  <a:gd name="connsiteX256" fmla="*/ 380528 w 936181"/>
                  <a:gd name="connsiteY256" fmla="*/ 2372709 h 2496787"/>
                  <a:gd name="connsiteX257" fmla="*/ 377831 w 936181"/>
                  <a:gd name="connsiteY257" fmla="*/ 2383498 h 2496787"/>
                  <a:gd name="connsiteX258" fmla="*/ 334673 w 936181"/>
                  <a:gd name="connsiteY258" fmla="*/ 2391591 h 2496787"/>
                  <a:gd name="connsiteX259" fmla="*/ 331976 w 936181"/>
                  <a:gd name="connsiteY259" fmla="*/ 2405077 h 2496787"/>
                  <a:gd name="connsiteX260" fmla="*/ 326581 w 936181"/>
                  <a:gd name="connsiteY260" fmla="*/ 2418564 h 2496787"/>
                  <a:gd name="connsiteX261" fmla="*/ 329279 w 936181"/>
                  <a:gd name="connsiteY261" fmla="*/ 2432051 h 2496787"/>
                  <a:gd name="connsiteX262" fmla="*/ 334673 w 936181"/>
                  <a:gd name="connsiteY262" fmla="*/ 2450932 h 2496787"/>
                  <a:gd name="connsiteX263" fmla="*/ 342765 w 936181"/>
                  <a:gd name="connsiteY263" fmla="*/ 2459024 h 2496787"/>
                  <a:gd name="connsiteX264" fmla="*/ 331976 w 936181"/>
                  <a:gd name="connsiteY264" fmla="*/ 2480603 h 2496787"/>
                  <a:gd name="connsiteX265" fmla="*/ 318489 w 936181"/>
                  <a:gd name="connsiteY265" fmla="*/ 2483300 h 2496787"/>
                  <a:gd name="connsiteX266" fmla="*/ 302305 w 936181"/>
                  <a:gd name="connsiteY266" fmla="*/ 2485998 h 2496787"/>
                  <a:gd name="connsiteX267" fmla="*/ 269937 w 936181"/>
                  <a:gd name="connsiteY267" fmla="*/ 2483300 h 2496787"/>
                  <a:gd name="connsiteX268" fmla="*/ 253753 w 936181"/>
                  <a:gd name="connsiteY268" fmla="*/ 2494090 h 2496787"/>
                  <a:gd name="connsiteX269" fmla="*/ 207898 w 936181"/>
                  <a:gd name="connsiteY269" fmla="*/ 2496787 h 2496787"/>
                  <a:gd name="connsiteX270" fmla="*/ 197109 w 936181"/>
                  <a:gd name="connsiteY270" fmla="*/ 2491392 h 2496787"/>
                  <a:gd name="connsiteX271" fmla="*/ 194411 w 936181"/>
                  <a:gd name="connsiteY271" fmla="*/ 2483300 h 2496787"/>
                  <a:gd name="connsiteX272" fmla="*/ 202503 w 936181"/>
                  <a:gd name="connsiteY272" fmla="*/ 2423959 h 2496787"/>
                  <a:gd name="connsiteX273" fmla="*/ 199806 w 936181"/>
                  <a:gd name="connsiteY273" fmla="*/ 2415867 h 2496787"/>
                  <a:gd name="connsiteX274" fmla="*/ 197109 w 936181"/>
                  <a:gd name="connsiteY274" fmla="*/ 2405077 h 2496787"/>
                  <a:gd name="connsiteX275" fmla="*/ 175530 w 936181"/>
                  <a:gd name="connsiteY275" fmla="*/ 2394288 h 2496787"/>
                  <a:gd name="connsiteX276" fmla="*/ 162043 w 936181"/>
                  <a:gd name="connsiteY276" fmla="*/ 2383498 h 2496787"/>
                  <a:gd name="connsiteX277" fmla="*/ 153951 w 936181"/>
                  <a:gd name="connsiteY277" fmla="*/ 2370012 h 2496787"/>
                  <a:gd name="connsiteX278" fmla="*/ 140464 w 936181"/>
                  <a:gd name="connsiteY278" fmla="*/ 2343038 h 2496787"/>
                  <a:gd name="connsiteX279" fmla="*/ 153951 w 936181"/>
                  <a:gd name="connsiteY279" fmla="*/ 2337644 h 2496787"/>
                  <a:gd name="connsiteX280" fmla="*/ 167438 w 936181"/>
                  <a:gd name="connsiteY280" fmla="*/ 2340341 h 2496787"/>
                  <a:gd name="connsiteX281" fmla="*/ 159346 w 936181"/>
                  <a:gd name="connsiteY281" fmla="*/ 2310670 h 2496787"/>
                  <a:gd name="connsiteX282" fmla="*/ 156649 w 936181"/>
                  <a:gd name="connsiteY282" fmla="*/ 2299881 h 2496787"/>
                  <a:gd name="connsiteX283" fmla="*/ 175530 w 936181"/>
                  <a:gd name="connsiteY283" fmla="*/ 2302578 h 2496787"/>
                  <a:gd name="connsiteX284" fmla="*/ 183622 w 936181"/>
                  <a:gd name="connsiteY284" fmla="*/ 2286394 h 2496787"/>
                  <a:gd name="connsiteX285" fmla="*/ 156649 w 936181"/>
                  <a:gd name="connsiteY285" fmla="*/ 2272907 h 2496787"/>
                  <a:gd name="connsiteX286" fmla="*/ 159346 w 936181"/>
                  <a:gd name="connsiteY286" fmla="*/ 2262118 h 2496787"/>
                  <a:gd name="connsiteX287" fmla="*/ 151254 w 936181"/>
                  <a:gd name="connsiteY287" fmla="*/ 2243237 h 2496787"/>
                  <a:gd name="connsiteX288" fmla="*/ 132372 w 936181"/>
                  <a:gd name="connsiteY288" fmla="*/ 2224355 h 2496787"/>
                  <a:gd name="connsiteX289" fmla="*/ 121583 w 936181"/>
                  <a:gd name="connsiteY289" fmla="*/ 2213566 h 2496787"/>
                  <a:gd name="connsiteX290" fmla="*/ 113491 w 936181"/>
                  <a:gd name="connsiteY290" fmla="*/ 2197382 h 2496787"/>
                  <a:gd name="connsiteX291" fmla="*/ 110794 w 936181"/>
                  <a:gd name="connsiteY291" fmla="*/ 2173106 h 2496787"/>
                  <a:gd name="connsiteX292" fmla="*/ 102702 w 936181"/>
                  <a:gd name="connsiteY292" fmla="*/ 2170408 h 2496787"/>
                  <a:gd name="connsiteX293" fmla="*/ 100004 w 936181"/>
                  <a:gd name="connsiteY293" fmla="*/ 2159619 h 2496787"/>
                  <a:gd name="connsiteX294" fmla="*/ 81123 w 936181"/>
                  <a:gd name="connsiteY294" fmla="*/ 2135343 h 2496787"/>
                  <a:gd name="connsiteX295" fmla="*/ 94610 w 936181"/>
                  <a:gd name="connsiteY295" fmla="*/ 2127251 h 2496787"/>
                  <a:gd name="connsiteX296" fmla="*/ 81123 w 936181"/>
                  <a:gd name="connsiteY296" fmla="*/ 2105672 h 2496787"/>
                  <a:gd name="connsiteX297" fmla="*/ 62241 w 936181"/>
                  <a:gd name="connsiteY297" fmla="*/ 2086791 h 2496787"/>
                  <a:gd name="connsiteX298" fmla="*/ 54149 w 936181"/>
                  <a:gd name="connsiteY298" fmla="*/ 2084093 h 2496787"/>
                  <a:gd name="connsiteX299" fmla="*/ 56847 w 936181"/>
                  <a:gd name="connsiteY299" fmla="*/ 2062514 h 2496787"/>
                  <a:gd name="connsiteX300" fmla="*/ 56847 w 936181"/>
                  <a:gd name="connsiteY300" fmla="*/ 2038238 h 2496787"/>
                  <a:gd name="connsiteX301" fmla="*/ 46057 w 936181"/>
                  <a:gd name="connsiteY301" fmla="*/ 2035541 h 2496787"/>
                  <a:gd name="connsiteX302" fmla="*/ 37965 w 936181"/>
                  <a:gd name="connsiteY302" fmla="*/ 2032844 h 2496787"/>
                  <a:gd name="connsiteX303" fmla="*/ 32571 w 936181"/>
                  <a:gd name="connsiteY303" fmla="*/ 2022054 h 2496787"/>
                  <a:gd name="connsiteX304" fmla="*/ 35268 w 936181"/>
                  <a:gd name="connsiteY304" fmla="*/ 2013962 h 2496787"/>
                  <a:gd name="connsiteX305" fmla="*/ 48755 w 936181"/>
                  <a:gd name="connsiteY305" fmla="*/ 2019357 h 2496787"/>
                  <a:gd name="connsiteX306" fmla="*/ 59544 w 936181"/>
                  <a:gd name="connsiteY306" fmla="*/ 2040936 h 2496787"/>
                  <a:gd name="connsiteX307" fmla="*/ 70334 w 936181"/>
                  <a:gd name="connsiteY307" fmla="*/ 2038238 h 2496787"/>
                  <a:gd name="connsiteX308" fmla="*/ 64939 w 936181"/>
                  <a:gd name="connsiteY308" fmla="*/ 1995081 h 2496787"/>
                  <a:gd name="connsiteX309" fmla="*/ 67636 w 936181"/>
                  <a:gd name="connsiteY309" fmla="*/ 1986989 h 2496787"/>
                  <a:gd name="connsiteX310" fmla="*/ 56847 w 936181"/>
                  <a:gd name="connsiteY310" fmla="*/ 1976199 h 2496787"/>
                  <a:gd name="connsiteX311" fmla="*/ 32571 w 936181"/>
                  <a:gd name="connsiteY311" fmla="*/ 1981594 h 2496787"/>
                  <a:gd name="connsiteX312" fmla="*/ 24479 w 936181"/>
                  <a:gd name="connsiteY312" fmla="*/ 1986989 h 2496787"/>
                  <a:gd name="connsiteX313" fmla="*/ 16387 w 936181"/>
                  <a:gd name="connsiteY313" fmla="*/ 1965410 h 2496787"/>
                  <a:gd name="connsiteX314" fmla="*/ 5597 w 936181"/>
                  <a:gd name="connsiteY314" fmla="*/ 1949226 h 2496787"/>
                  <a:gd name="connsiteX315" fmla="*/ 13689 w 936181"/>
                  <a:gd name="connsiteY315" fmla="*/ 1935739 h 2496787"/>
                  <a:gd name="connsiteX316" fmla="*/ 19084 w 936181"/>
                  <a:gd name="connsiteY316" fmla="*/ 1919555 h 2496787"/>
                  <a:gd name="connsiteX317" fmla="*/ 8295 w 936181"/>
                  <a:gd name="connsiteY317" fmla="*/ 1916858 h 2496787"/>
                  <a:gd name="connsiteX318" fmla="*/ 2900 w 936181"/>
                  <a:gd name="connsiteY318" fmla="*/ 1852122 h 2496787"/>
                  <a:gd name="connsiteX319" fmla="*/ 16387 w 936181"/>
                  <a:gd name="connsiteY319" fmla="*/ 1849424 h 2496787"/>
                  <a:gd name="connsiteX320" fmla="*/ 19084 w 936181"/>
                  <a:gd name="connsiteY320" fmla="*/ 1841332 h 2496787"/>
                  <a:gd name="connsiteX321" fmla="*/ 2900 w 936181"/>
                  <a:gd name="connsiteY321" fmla="*/ 1841332 h 2496787"/>
                  <a:gd name="connsiteX322" fmla="*/ 16387 w 936181"/>
                  <a:gd name="connsiteY322" fmla="*/ 1846727 h 2496787"/>
                  <a:gd name="connsiteX323" fmla="*/ 29873 w 936181"/>
                  <a:gd name="connsiteY323" fmla="*/ 1862911 h 2496787"/>
                  <a:gd name="connsiteX324" fmla="*/ 40663 w 936181"/>
                  <a:gd name="connsiteY324" fmla="*/ 1865608 h 2496787"/>
                  <a:gd name="connsiteX325" fmla="*/ 56847 w 936181"/>
                  <a:gd name="connsiteY325" fmla="*/ 1854819 h 2496787"/>
                  <a:gd name="connsiteX326" fmla="*/ 48755 w 936181"/>
                  <a:gd name="connsiteY326" fmla="*/ 1768504 h 2496787"/>
                  <a:gd name="connsiteX327" fmla="*/ 56847 w 936181"/>
                  <a:gd name="connsiteY327" fmla="*/ 1730741 h 2496787"/>
                  <a:gd name="connsiteX328" fmla="*/ 64939 w 936181"/>
                  <a:gd name="connsiteY328" fmla="*/ 1728044 h 2496787"/>
                  <a:gd name="connsiteX329" fmla="*/ 67636 w 936181"/>
                  <a:gd name="connsiteY329" fmla="*/ 1719952 h 2496787"/>
                  <a:gd name="connsiteX330" fmla="*/ 64939 w 936181"/>
                  <a:gd name="connsiteY330" fmla="*/ 1709162 h 2496787"/>
                  <a:gd name="connsiteX331" fmla="*/ 70334 w 936181"/>
                  <a:gd name="connsiteY331" fmla="*/ 1684886 h 2496787"/>
                  <a:gd name="connsiteX332" fmla="*/ 100004 w 936181"/>
                  <a:gd name="connsiteY332" fmla="*/ 1679491 h 2496787"/>
                  <a:gd name="connsiteX333" fmla="*/ 108096 w 936181"/>
                  <a:gd name="connsiteY333" fmla="*/ 1671399 h 2496787"/>
                  <a:gd name="connsiteX334" fmla="*/ 110794 w 936181"/>
                  <a:gd name="connsiteY334" fmla="*/ 1657913 h 2496787"/>
                  <a:gd name="connsiteX335" fmla="*/ 116188 w 936181"/>
                  <a:gd name="connsiteY335" fmla="*/ 1639031 h 2496787"/>
                  <a:gd name="connsiteX336" fmla="*/ 118886 w 936181"/>
                  <a:gd name="connsiteY336" fmla="*/ 1612058 h 2496787"/>
                  <a:gd name="connsiteX337" fmla="*/ 126978 w 936181"/>
                  <a:gd name="connsiteY337" fmla="*/ 1598571 h 2496787"/>
                  <a:gd name="connsiteX338" fmla="*/ 129675 w 936181"/>
                  <a:gd name="connsiteY338" fmla="*/ 1590479 h 2496787"/>
                  <a:gd name="connsiteX339" fmla="*/ 105399 w 936181"/>
                  <a:gd name="connsiteY339" fmla="*/ 1558111 h 2496787"/>
                  <a:gd name="connsiteX340" fmla="*/ 102702 w 936181"/>
                  <a:gd name="connsiteY340" fmla="*/ 1528440 h 2496787"/>
                  <a:gd name="connsiteX341" fmla="*/ 100004 w 936181"/>
                  <a:gd name="connsiteY341" fmla="*/ 1506861 h 2496787"/>
                  <a:gd name="connsiteX342" fmla="*/ 91912 w 936181"/>
                  <a:gd name="connsiteY342" fmla="*/ 1496072 h 2496787"/>
                  <a:gd name="connsiteX343" fmla="*/ 100004 w 936181"/>
                  <a:gd name="connsiteY343" fmla="*/ 1490677 h 2496787"/>
                  <a:gd name="connsiteX344" fmla="*/ 121583 w 936181"/>
                  <a:gd name="connsiteY344" fmla="*/ 1485283 h 2496787"/>
                  <a:gd name="connsiteX345" fmla="*/ 129675 w 936181"/>
                  <a:gd name="connsiteY345" fmla="*/ 1482585 h 2496787"/>
                  <a:gd name="connsiteX346" fmla="*/ 135070 w 936181"/>
                  <a:gd name="connsiteY346" fmla="*/ 1474493 h 2496787"/>
                  <a:gd name="connsiteX347" fmla="*/ 135070 w 936181"/>
                  <a:gd name="connsiteY347" fmla="*/ 1412454 h 2496787"/>
                  <a:gd name="connsiteX348" fmla="*/ 129675 w 936181"/>
                  <a:gd name="connsiteY348" fmla="*/ 1404362 h 2496787"/>
                  <a:gd name="connsiteX349" fmla="*/ 110794 w 936181"/>
                  <a:gd name="connsiteY349" fmla="*/ 1380086 h 2496787"/>
                  <a:gd name="connsiteX350" fmla="*/ 94610 w 936181"/>
                  <a:gd name="connsiteY350" fmla="*/ 1366599 h 2496787"/>
                  <a:gd name="connsiteX351" fmla="*/ 83820 w 936181"/>
                  <a:gd name="connsiteY351" fmla="*/ 1353113 h 2496787"/>
                  <a:gd name="connsiteX352" fmla="*/ 81123 w 936181"/>
                  <a:gd name="connsiteY352" fmla="*/ 1258706 h 2496787"/>
                  <a:gd name="connsiteX353" fmla="*/ 70334 w 936181"/>
                  <a:gd name="connsiteY353" fmla="*/ 1242522 h 2496787"/>
                  <a:gd name="connsiteX354" fmla="*/ 59544 w 936181"/>
                  <a:gd name="connsiteY354" fmla="*/ 1199364 h 2496787"/>
                  <a:gd name="connsiteX355" fmla="*/ 56847 w 936181"/>
                  <a:gd name="connsiteY355" fmla="*/ 1148114 h 2496787"/>
                  <a:gd name="connsiteX356" fmla="*/ 73031 w 936181"/>
                  <a:gd name="connsiteY356" fmla="*/ 1140022 h 2496787"/>
                  <a:gd name="connsiteX357" fmla="*/ 51452 w 936181"/>
                  <a:gd name="connsiteY357" fmla="*/ 1113049 h 2496787"/>
                  <a:gd name="connsiteX358" fmla="*/ 40663 w 936181"/>
                  <a:gd name="connsiteY358" fmla="*/ 1104957 h 2496787"/>
                  <a:gd name="connsiteX359" fmla="*/ 37965 w 936181"/>
                  <a:gd name="connsiteY359" fmla="*/ 1094168 h 2496787"/>
                  <a:gd name="connsiteX360" fmla="*/ 40663 w 936181"/>
                  <a:gd name="connsiteY360" fmla="*/ 1069891 h 2496787"/>
                  <a:gd name="connsiteX361" fmla="*/ 59544 w 936181"/>
                  <a:gd name="connsiteY361" fmla="*/ 1045615 h 2496787"/>
                  <a:gd name="connsiteX362" fmla="*/ 64939 w 936181"/>
                  <a:gd name="connsiteY362" fmla="*/ 1034826 h 2496787"/>
                  <a:gd name="connsiteX363" fmla="*/ 73031 w 936181"/>
                  <a:gd name="connsiteY363" fmla="*/ 1021339 h 2496787"/>
                  <a:gd name="connsiteX364" fmla="*/ 83820 w 936181"/>
                  <a:gd name="connsiteY364" fmla="*/ 1005155 h 2496787"/>
                  <a:gd name="connsiteX365" fmla="*/ 86518 w 936181"/>
                  <a:gd name="connsiteY365" fmla="*/ 988971 h 2496787"/>
                  <a:gd name="connsiteX366" fmla="*/ 97307 w 936181"/>
                  <a:gd name="connsiteY366" fmla="*/ 983576 h 2496787"/>
                  <a:gd name="connsiteX367" fmla="*/ 113491 w 936181"/>
                  <a:gd name="connsiteY367" fmla="*/ 975484 h 2496787"/>
                  <a:gd name="connsiteX368" fmla="*/ 124280 w 936181"/>
                  <a:gd name="connsiteY368" fmla="*/ 961998 h 2496787"/>
                  <a:gd name="connsiteX369" fmla="*/ 129675 w 936181"/>
                  <a:gd name="connsiteY369" fmla="*/ 951208 h 2496787"/>
                  <a:gd name="connsiteX370" fmla="*/ 145859 w 936181"/>
                  <a:gd name="connsiteY370" fmla="*/ 937722 h 2496787"/>
                  <a:gd name="connsiteX371" fmla="*/ 156649 w 936181"/>
                  <a:gd name="connsiteY371" fmla="*/ 929629 h 2496787"/>
                  <a:gd name="connsiteX372" fmla="*/ 162043 w 936181"/>
                  <a:gd name="connsiteY372" fmla="*/ 937722 h 2496787"/>
                  <a:gd name="connsiteX373" fmla="*/ 164741 w 936181"/>
                  <a:gd name="connsiteY373" fmla="*/ 945814 h 2496787"/>
                  <a:gd name="connsiteX374" fmla="*/ 178227 w 936181"/>
                  <a:gd name="connsiteY374" fmla="*/ 956603 h 2496787"/>
                  <a:gd name="connsiteX375" fmla="*/ 202503 w 936181"/>
                  <a:gd name="connsiteY375" fmla="*/ 940419 h 2496787"/>
                  <a:gd name="connsiteX376" fmla="*/ 205201 w 936181"/>
                  <a:gd name="connsiteY376" fmla="*/ 918840 h 2496787"/>
                  <a:gd name="connsiteX377" fmla="*/ 210595 w 936181"/>
                  <a:gd name="connsiteY377" fmla="*/ 894564 h 2496787"/>
                  <a:gd name="connsiteX378" fmla="*/ 205201 w 936181"/>
                  <a:gd name="connsiteY378" fmla="*/ 856801 h 2496787"/>
                  <a:gd name="connsiteX379" fmla="*/ 183622 w 936181"/>
                  <a:gd name="connsiteY379" fmla="*/ 854104 h 2496787"/>
                  <a:gd name="connsiteX380" fmla="*/ 194411 w 936181"/>
                  <a:gd name="connsiteY380" fmla="*/ 829828 h 2496787"/>
                  <a:gd name="connsiteX381" fmla="*/ 205201 w 936181"/>
                  <a:gd name="connsiteY381" fmla="*/ 805552 h 2496787"/>
                  <a:gd name="connsiteX382" fmla="*/ 210595 w 936181"/>
                  <a:gd name="connsiteY382" fmla="*/ 765091 h 2496787"/>
                  <a:gd name="connsiteX383" fmla="*/ 215990 w 936181"/>
                  <a:gd name="connsiteY383" fmla="*/ 756999 h 2496787"/>
                  <a:gd name="connsiteX384" fmla="*/ 229477 w 936181"/>
                  <a:gd name="connsiteY384" fmla="*/ 721934 h 2496787"/>
                  <a:gd name="connsiteX385" fmla="*/ 237569 w 936181"/>
                  <a:gd name="connsiteY385" fmla="*/ 692263 h 2496787"/>
                  <a:gd name="connsiteX386" fmla="*/ 240266 w 936181"/>
                  <a:gd name="connsiteY386" fmla="*/ 684171 h 2496787"/>
                  <a:gd name="connsiteX387" fmla="*/ 229477 w 936181"/>
                  <a:gd name="connsiteY387" fmla="*/ 667987 h 2496787"/>
                  <a:gd name="connsiteX388" fmla="*/ 232174 w 936181"/>
                  <a:gd name="connsiteY388" fmla="*/ 654500 h 2496787"/>
                  <a:gd name="connsiteX389" fmla="*/ 234872 w 936181"/>
                  <a:gd name="connsiteY389" fmla="*/ 646408 h 2496787"/>
                  <a:gd name="connsiteX390" fmla="*/ 237569 w 936181"/>
                  <a:gd name="connsiteY390" fmla="*/ 632922 h 2496787"/>
                  <a:gd name="connsiteX391" fmla="*/ 234872 w 936181"/>
                  <a:gd name="connsiteY391" fmla="*/ 581672 h 2496787"/>
                  <a:gd name="connsiteX392" fmla="*/ 229477 w 936181"/>
                  <a:gd name="connsiteY392" fmla="*/ 570883 h 2496787"/>
                  <a:gd name="connsiteX393" fmla="*/ 253753 w 936181"/>
                  <a:gd name="connsiteY393" fmla="*/ 568185 h 2496787"/>
                  <a:gd name="connsiteX394" fmla="*/ 256450 w 936181"/>
                  <a:gd name="connsiteY394" fmla="*/ 560093 h 2496787"/>
                  <a:gd name="connsiteX395" fmla="*/ 272634 w 936181"/>
                  <a:gd name="connsiteY395" fmla="*/ 546606 h 2496787"/>
                  <a:gd name="connsiteX396" fmla="*/ 275332 w 936181"/>
                  <a:gd name="connsiteY396" fmla="*/ 535817 h 2496787"/>
                  <a:gd name="connsiteX397" fmla="*/ 288818 w 936181"/>
                  <a:gd name="connsiteY397" fmla="*/ 522330 h 2496787"/>
                  <a:gd name="connsiteX398" fmla="*/ 280726 w 936181"/>
                  <a:gd name="connsiteY398" fmla="*/ 489962 h 2496787"/>
                  <a:gd name="connsiteX399" fmla="*/ 286121 w 936181"/>
                  <a:gd name="connsiteY399" fmla="*/ 479173 h 2496787"/>
                  <a:gd name="connsiteX400" fmla="*/ 288818 w 936181"/>
                  <a:gd name="connsiteY400" fmla="*/ 462989 h 2496787"/>
                  <a:gd name="connsiteX401" fmla="*/ 307700 w 936181"/>
                  <a:gd name="connsiteY401" fmla="*/ 444107 h 2496787"/>
                  <a:gd name="connsiteX402" fmla="*/ 318489 w 936181"/>
                  <a:gd name="connsiteY402" fmla="*/ 427923 h 2496787"/>
                  <a:gd name="connsiteX403" fmla="*/ 337371 w 936181"/>
                  <a:gd name="connsiteY403" fmla="*/ 414437 h 2496787"/>
                  <a:gd name="connsiteX404" fmla="*/ 342765 w 936181"/>
                  <a:gd name="connsiteY404" fmla="*/ 395555 h 2496787"/>
                  <a:gd name="connsiteX405" fmla="*/ 337371 w 936181"/>
                  <a:gd name="connsiteY405" fmla="*/ 363187 h 2496787"/>
                  <a:gd name="connsiteX406" fmla="*/ 329279 w 936181"/>
                  <a:gd name="connsiteY406" fmla="*/ 338911 h 2496787"/>
                  <a:gd name="connsiteX407" fmla="*/ 321187 w 936181"/>
                  <a:gd name="connsiteY407" fmla="*/ 336214 h 2496787"/>
                  <a:gd name="connsiteX408" fmla="*/ 318489 w 936181"/>
                  <a:gd name="connsiteY408" fmla="*/ 352398 h 2496787"/>
                  <a:gd name="connsiteX409" fmla="*/ 329279 w 936181"/>
                  <a:gd name="connsiteY409" fmla="*/ 325424 h 2496787"/>
                  <a:gd name="connsiteX410" fmla="*/ 331976 w 936181"/>
                  <a:gd name="connsiteY410" fmla="*/ 306543 h 2496787"/>
                  <a:gd name="connsiteX411" fmla="*/ 342765 w 936181"/>
                  <a:gd name="connsiteY411" fmla="*/ 295753 h 2496787"/>
                  <a:gd name="connsiteX412" fmla="*/ 356252 w 936181"/>
                  <a:gd name="connsiteY412" fmla="*/ 255293 h 2496787"/>
                  <a:gd name="connsiteX413" fmla="*/ 358949 w 936181"/>
                  <a:gd name="connsiteY413" fmla="*/ 233714 h 2496787"/>
                  <a:gd name="connsiteX414" fmla="*/ 364344 w 936181"/>
                  <a:gd name="connsiteY414" fmla="*/ 225622 h 2496787"/>
                  <a:gd name="connsiteX415" fmla="*/ 399410 w 936181"/>
                  <a:gd name="connsiteY415" fmla="*/ 198649 h 2496787"/>
                  <a:gd name="connsiteX416" fmla="*/ 410199 w 936181"/>
                  <a:gd name="connsiteY416" fmla="*/ 206741 h 2496787"/>
                  <a:gd name="connsiteX417" fmla="*/ 418291 w 936181"/>
                  <a:gd name="connsiteY417" fmla="*/ 220228 h 2496787"/>
                  <a:gd name="connsiteX418" fmla="*/ 429080 w 936181"/>
                  <a:gd name="connsiteY418" fmla="*/ 217530 h 2496787"/>
                  <a:gd name="connsiteX419" fmla="*/ 437172 w 936181"/>
                  <a:gd name="connsiteY419" fmla="*/ 185162 h 2496787"/>
                  <a:gd name="connsiteX420" fmla="*/ 437172 w 936181"/>
                  <a:gd name="connsiteY420" fmla="*/ 117729 h 2496787"/>
                  <a:gd name="connsiteX421" fmla="*/ 456054 w 936181"/>
                  <a:gd name="connsiteY421" fmla="*/ 120426 h 2496787"/>
                  <a:gd name="connsiteX422" fmla="*/ 464146 w 936181"/>
                  <a:gd name="connsiteY422" fmla="*/ 123123 h 2496787"/>
                  <a:gd name="connsiteX423" fmla="*/ 491119 w 936181"/>
                  <a:gd name="connsiteY423" fmla="*/ 117729 h 2496787"/>
                  <a:gd name="connsiteX424" fmla="*/ 545066 w 936181"/>
                  <a:gd name="connsiteY424" fmla="*/ 123123 h 2496787"/>
                  <a:gd name="connsiteX425" fmla="*/ 553158 w 936181"/>
                  <a:gd name="connsiteY425" fmla="*/ 125821 h 2496787"/>
                  <a:gd name="connsiteX426" fmla="*/ 563948 w 936181"/>
                  <a:gd name="connsiteY426" fmla="*/ 128518 h 2496787"/>
                  <a:gd name="connsiteX427" fmla="*/ 569342 w 936181"/>
                  <a:gd name="connsiteY427" fmla="*/ 109637 h 2496787"/>
                  <a:gd name="connsiteX428" fmla="*/ 566645 w 936181"/>
                  <a:gd name="connsiteY428" fmla="*/ 88058 h 2496787"/>
                  <a:gd name="connsiteX429" fmla="*/ 572040 w 936181"/>
                  <a:gd name="connsiteY429" fmla="*/ 52992 h 2496787"/>
                  <a:gd name="connsiteX430" fmla="*/ 577434 w 936181"/>
                  <a:gd name="connsiteY430" fmla="*/ 42203 h 2496787"/>
                  <a:gd name="connsiteX431" fmla="*/ 566645 w 936181"/>
                  <a:gd name="connsiteY431" fmla="*/ 20624 h 2496787"/>
                  <a:gd name="connsiteX432" fmla="*/ 563948 w 936181"/>
                  <a:gd name="connsiteY432" fmla="*/ 12532 h 2496787"/>
                  <a:gd name="connsiteX433" fmla="*/ 599013 w 936181"/>
                  <a:gd name="connsiteY433" fmla="*/ 1743 h 2496787"/>
                  <a:gd name="connsiteX0" fmla="*/ 599013 w 936181"/>
                  <a:gd name="connsiteY0" fmla="*/ 1743 h 2496787"/>
                  <a:gd name="connsiteX1" fmla="*/ 612500 w 936181"/>
                  <a:gd name="connsiteY1" fmla="*/ 4440 h 2496787"/>
                  <a:gd name="connsiteX2" fmla="*/ 615197 w 936181"/>
                  <a:gd name="connsiteY2" fmla="*/ 12532 h 2496787"/>
                  <a:gd name="connsiteX3" fmla="*/ 623289 w 936181"/>
                  <a:gd name="connsiteY3" fmla="*/ 26019 h 2496787"/>
                  <a:gd name="connsiteX4" fmla="*/ 625987 w 936181"/>
                  <a:gd name="connsiteY4" fmla="*/ 39506 h 2496787"/>
                  <a:gd name="connsiteX5" fmla="*/ 636776 w 936181"/>
                  <a:gd name="connsiteY5" fmla="*/ 44900 h 2496787"/>
                  <a:gd name="connsiteX6" fmla="*/ 644868 w 936181"/>
                  <a:gd name="connsiteY6" fmla="*/ 50295 h 2496787"/>
                  <a:gd name="connsiteX7" fmla="*/ 650263 w 936181"/>
                  <a:gd name="connsiteY7" fmla="*/ 58387 h 2496787"/>
                  <a:gd name="connsiteX8" fmla="*/ 661052 w 936181"/>
                  <a:gd name="connsiteY8" fmla="*/ 63782 h 2496787"/>
                  <a:gd name="connsiteX9" fmla="*/ 688026 w 936181"/>
                  <a:gd name="connsiteY9" fmla="*/ 74571 h 2496787"/>
                  <a:gd name="connsiteX10" fmla="*/ 717696 w 936181"/>
                  <a:gd name="connsiteY10" fmla="*/ 88058 h 2496787"/>
                  <a:gd name="connsiteX11" fmla="*/ 736578 w 936181"/>
                  <a:gd name="connsiteY11" fmla="*/ 82663 h 2496787"/>
                  <a:gd name="connsiteX12" fmla="*/ 752762 w 936181"/>
                  <a:gd name="connsiteY12" fmla="*/ 93452 h 2496787"/>
                  <a:gd name="connsiteX13" fmla="*/ 766249 w 936181"/>
                  <a:gd name="connsiteY13" fmla="*/ 112334 h 2496787"/>
                  <a:gd name="connsiteX14" fmla="*/ 771643 w 936181"/>
                  <a:gd name="connsiteY14" fmla="*/ 128518 h 2496787"/>
                  <a:gd name="connsiteX15" fmla="*/ 787827 w 936181"/>
                  <a:gd name="connsiteY15" fmla="*/ 133913 h 2496787"/>
                  <a:gd name="connsiteX16" fmla="*/ 795919 w 936181"/>
                  <a:gd name="connsiteY16" fmla="*/ 139307 h 2496787"/>
                  <a:gd name="connsiteX17" fmla="*/ 804011 w 936181"/>
                  <a:gd name="connsiteY17" fmla="*/ 150097 h 2496787"/>
                  <a:gd name="connsiteX18" fmla="*/ 820195 w 936181"/>
                  <a:gd name="connsiteY18" fmla="*/ 166281 h 2496787"/>
                  <a:gd name="connsiteX19" fmla="*/ 817498 w 936181"/>
                  <a:gd name="connsiteY19" fmla="*/ 198649 h 2496787"/>
                  <a:gd name="connsiteX20" fmla="*/ 828287 w 936181"/>
                  <a:gd name="connsiteY20" fmla="*/ 201346 h 2496787"/>
                  <a:gd name="connsiteX21" fmla="*/ 830985 w 936181"/>
                  <a:gd name="connsiteY21" fmla="*/ 247201 h 2496787"/>
                  <a:gd name="connsiteX22" fmla="*/ 839077 w 936181"/>
                  <a:gd name="connsiteY22" fmla="*/ 249898 h 2496787"/>
                  <a:gd name="connsiteX23" fmla="*/ 844472 w 936181"/>
                  <a:gd name="connsiteY23" fmla="*/ 260688 h 2496787"/>
                  <a:gd name="connsiteX24" fmla="*/ 849866 w 936181"/>
                  <a:gd name="connsiteY24" fmla="*/ 268780 h 2496787"/>
                  <a:gd name="connsiteX25" fmla="*/ 844472 w 936181"/>
                  <a:gd name="connsiteY25" fmla="*/ 282267 h 2496787"/>
                  <a:gd name="connsiteX26" fmla="*/ 836380 w 936181"/>
                  <a:gd name="connsiteY26" fmla="*/ 287661 h 2496787"/>
                  <a:gd name="connsiteX27" fmla="*/ 852564 w 936181"/>
                  <a:gd name="connsiteY27" fmla="*/ 306543 h 2496787"/>
                  <a:gd name="connsiteX28" fmla="*/ 855261 w 936181"/>
                  <a:gd name="connsiteY28" fmla="*/ 317332 h 2496787"/>
                  <a:gd name="connsiteX29" fmla="*/ 871445 w 936181"/>
                  <a:gd name="connsiteY29" fmla="*/ 330819 h 2496787"/>
                  <a:gd name="connsiteX30" fmla="*/ 876840 w 936181"/>
                  <a:gd name="connsiteY30" fmla="*/ 349700 h 2496787"/>
                  <a:gd name="connsiteX31" fmla="*/ 884932 w 936181"/>
                  <a:gd name="connsiteY31" fmla="*/ 371279 h 2496787"/>
                  <a:gd name="connsiteX32" fmla="*/ 887629 w 936181"/>
                  <a:gd name="connsiteY32" fmla="*/ 406345 h 2496787"/>
                  <a:gd name="connsiteX33" fmla="*/ 884932 w 936181"/>
                  <a:gd name="connsiteY33" fmla="*/ 414437 h 2496787"/>
                  <a:gd name="connsiteX34" fmla="*/ 882234 w 936181"/>
                  <a:gd name="connsiteY34" fmla="*/ 427923 h 2496787"/>
                  <a:gd name="connsiteX35" fmla="*/ 890326 w 936181"/>
                  <a:gd name="connsiteY35" fmla="*/ 454897 h 2496787"/>
                  <a:gd name="connsiteX36" fmla="*/ 901116 w 936181"/>
                  <a:gd name="connsiteY36" fmla="*/ 457594 h 2496787"/>
                  <a:gd name="connsiteX37" fmla="*/ 911905 w 936181"/>
                  <a:gd name="connsiteY37" fmla="*/ 484568 h 2496787"/>
                  <a:gd name="connsiteX38" fmla="*/ 914603 w 936181"/>
                  <a:gd name="connsiteY38" fmla="*/ 500752 h 2496787"/>
                  <a:gd name="connsiteX39" fmla="*/ 917300 w 936181"/>
                  <a:gd name="connsiteY39" fmla="*/ 508844 h 2496787"/>
                  <a:gd name="connsiteX40" fmla="*/ 936181 w 936181"/>
                  <a:gd name="connsiteY40" fmla="*/ 511541 h 2496787"/>
                  <a:gd name="connsiteX41" fmla="*/ 933484 w 936181"/>
                  <a:gd name="connsiteY41" fmla="*/ 530422 h 2496787"/>
                  <a:gd name="connsiteX42" fmla="*/ 925392 w 936181"/>
                  <a:gd name="connsiteY42" fmla="*/ 535817 h 2496787"/>
                  <a:gd name="connsiteX43" fmla="*/ 893024 w 936181"/>
                  <a:gd name="connsiteY43" fmla="*/ 541212 h 2496787"/>
                  <a:gd name="connsiteX44" fmla="*/ 879537 w 936181"/>
                  <a:gd name="connsiteY44" fmla="*/ 560093 h 2496787"/>
                  <a:gd name="connsiteX45" fmla="*/ 857958 w 936181"/>
                  <a:gd name="connsiteY45" fmla="*/ 557396 h 2496787"/>
                  <a:gd name="connsiteX46" fmla="*/ 839077 w 936181"/>
                  <a:gd name="connsiteY46" fmla="*/ 549304 h 2496787"/>
                  <a:gd name="connsiteX47" fmla="*/ 814801 w 936181"/>
                  <a:gd name="connsiteY47" fmla="*/ 552001 h 2496787"/>
                  <a:gd name="connsiteX48" fmla="*/ 817498 w 936181"/>
                  <a:gd name="connsiteY48" fmla="*/ 587067 h 2496787"/>
                  <a:gd name="connsiteX49" fmla="*/ 825590 w 936181"/>
                  <a:gd name="connsiteY49" fmla="*/ 595159 h 2496787"/>
                  <a:gd name="connsiteX50" fmla="*/ 812103 w 936181"/>
                  <a:gd name="connsiteY50" fmla="*/ 597856 h 2496787"/>
                  <a:gd name="connsiteX51" fmla="*/ 790525 w 936181"/>
                  <a:gd name="connsiteY51" fmla="*/ 595159 h 2496787"/>
                  <a:gd name="connsiteX52" fmla="*/ 785130 w 936181"/>
                  <a:gd name="connsiteY52" fmla="*/ 587067 h 2496787"/>
                  <a:gd name="connsiteX53" fmla="*/ 782433 w 936181"/>
                  <a:gd name="connsiteY53" fmla="*/ 578975 h 2496787"/>
                  <a:gd name="connsiteX54" fmla="*/ 801314 w 936181"/>
                  <a:gd name="connsiteY54" fmla="*/ 595159 h 2496787"/>
                  <a:gd name="connsiteX55" fmla="*/ 790525 w 936181"/>
                  <a:gd name="connsiteY55" fmla="*/ 622132 h 2496787"/>
                  <a:gd name="connsiteX56" fmla="*/ 768946 w 936181"/>
                  <a:gd name="connsiteY56" fmla="*/ 627527 h 2496787"/>
                  <a:gd name="connsiteX57" fmla="*/ 750064 w 936181"/>
                  <a:gd name="connsiteY57" fmla="*/ 635619 h 2496787"/>
                  <a:gd name="connsiteX58" fmla="*/ 741972 w 936181"/>
                  <a:gd name="connsiteY58" fmla="*/ 641014 h 2496787"/>
                  <a:gd name="connsiteX59" fmla="*/ 766249 w 936181"/>
                  <a:gd name="connsiteY59" fmla="*/ 659895 h 2496787"/>
                  <a:gd name="connsiteX60" fmla="*/ 774341 w 936181"/>
                  <a:gd name="connsiteY60" fmla="*/ 662592 h 2496787"/>
                  <a:gd name="connsiteX61" fmla="*/ 763551 w 936181"/>
                  <a:gd name="connsiteY61" fmla="*/ 692263 h 2496787"/>
                  <a:gd name="connsiteX62" fmla="*/ 760854 w 936181"/>
                  <a:gd name="connsiteY62" fmla="*/ 703052 h 2496787"/>
                  <a:gd name="connsiteX63" fmla="*/ 747367 w 936181"/>
                  <a:gd name="connsiteY63" fmla="*/ 713842 h 2496787"/>
                  <a:gd name="connsiteX64" fmla="*/ 750064 w 936181"/>
                  <a:gd name="connsiteY64" fmla="*/ 743513 h 2496787"/>
                  <a:gd name="connsiteX65" fmla="*/ 752762 w 936181"/>
                  <a:gd name="connsiteY65" fmla="*/ 756999 h 2496787"/>
                  <a:gd name="connsiteX66" fmla="*/ 766249 w 936181"/>
                  <a:gd name="connsiteY66" fmla="*/ 773183 h 2496787"/>
                  <a:gd name="connsiteX67" fmla="*/ 768946 w 936181"/>
                  <a:gd name="connsiteY67" fmla="*/ 781275 h 2496787"/>
                  <a:gd name="connsiteX68" fmla="*/ 777038 w 936181"/>
                  <a:gd name="connsiteY68" fmla="*/ 783973 h 2496787"/>
                  <a:gd name="connsiteX69" fmla="*/ 787827 w 936181"/>
                  <a:gd name="connsiteY69" fmla="*/ 789368 h 2496787"/>
                  <a:gd name="connsiteX70" fmla="*/ 790525 w 936181"/>
                  <a:gd name="connsiteY70" fmla="*/ 800157 h 2496787"/>
                  <a:gd name="connsiteX71" fmla="*/ 782433 w 936181"/>
                  <a:gd name="connsiteY71" fmla="*/ 805552 h 2496787"/>
                  <a:gd name="connsiteX72" fmla="*/ 771643 w 936181"/>
                  <a:gd name="connsiteY72" fmla="*/ 816341 h 2496787"/>
                  <a:gd name="connsiteX73" fmla="*/ 768946 w 936181"/>
                  <a:gd name="connsiteY73" fmla="*/ 824433 h 2496787"/>
                  <a:gd name="connsiteX74" fmla="*/ 758157 w 936181"/>
                  <a:gd name="connsiteY74" fmla="*/ 851406 h 2496787"/>
                  <a:gd name="connsiteX75" fmla="*/ 733880 w 936181"/>
                  <a:gd name="connsiteY75" fmla="*/ 937722 h 2496787"/>
                  <a:gd name="connsiteX76" fmla="*/ 725788 w 936181"/>
                  <a:gd name="connsiteY76" fmla="*/ 940419 h 2496787"/>
                  <a:gd name="connsiteX77" fmla="*/ 723091 w 936181"/>
                  <a:gd name="connsiteY77" fmla="*/ 948511 h 2496787"/>
                  <a:gd name="connsiteX78" fmla="*/ 696118 w 936181"/>
                  <a:gd name="connsiteY78" fmla="*/ 970090 h 2496787"/>
                  <a:gd name="connsiteX79" fmla="*/ 688026 w 936181"/>
                  <a:gd name="connsiteY79" fmla="*/ 980879 h 2496787"/>
                  <a:gd name="connsiteX80" fmla="*/ 679934 w 936181"/>
                  <a:gd name="connsiteY80" fmla="*/ 986274 h 2496787"/>
                  <a:gd name="connsiteX81" fmla="*/ 674539 w 936181"/>
                  <a:gd name="connsiteY81" fmla="*/ 994366 h 2496787"/>
                  <a:gd name="connsiteX82" fmla="*/ 655657 w 936181"/>
                  <a:gd name="connsiteY82" fmla="*/ 1002458 h 2496787"/>
                  <a:gd name="connsiteX83" fmla="*/ 650263 w 936181"/>
                  <a:gd name="connsiteY83" fmla="*/ 1015945 h 2496787"/>
                  <a:gd name="connsiteX84" fmla="*/ 639473 w 936181"/>
                  <a:gd name="connsiteY84" fmla="*/ 1021339 h 2496787"/>
                  <a:gd name="connsiteX85" fmla="*/ 636776 w 936181"/>
                  <a:gd name="connsiteY85" fmla="*/ 1032129 h 2496787"/>
                  <a:gd name="connsiteX86" fmla="*/ 623289 w 936181"/>
                  <a:gd name="connsiteY86" fmla="*/ 1045615 h 2496787"/>
                  <a:gd name="connsiteX87" fmla="*/ 636776 w 936181"/>
                  <a:gd name="connsiteY87" fmla="*/ 1051010 h 2496787"/>
                  <a:gd name="connsiteX88" fmla="*/ 642171 w 936181"/>
                  <a:gd name="connsiteY88" fmla="*/ 1059102 h 2496787"/>
                  <a:gd name="connsiteX89" fmla="*/ 615197 w 936181"/>
                  <a:gd name="connsiteY89" fmla="*/ 1061799 h 2496787"/>
                  <a:gd name="connsiteX90" fmla="*/ 580132 w 936181"/>
                  <a:gd name="connsiteY90" fmla="*/ 1086075 h 2496787"/>
                  <a:gd name="connsiteX91" fmla="*/ 588224 w 936181"/>
                  <a:gd name="connsiteY91" fmla="*/ 1091470 h 2496787"/>
                  <a:gd name="connsiteX92" fmla="*/ 596316 w 936181"/>
                  <a:gd name="connsiteY92" fmla="*/ 1099562 h 2496787"/>
                  <a:gd name="connsiteX93" fmla="*/ 588224 w 936181"/>
                  <a:gd name="connsiteY93" fmla="*/ 1123838 h 2496787"/>
                  <a:gd name="connsiteX94" fmla="*/ 574737 w 936181"/>
                  <a:gd name="connsiteY94" fmla="*/ 1126536 h 2496787"/>
                  <a:gd name="connsiteX95" fmla="*/ 545066 w 936181"/>
                  <a:gd name="connsiteY95" fmla="*/ 1123838 h 2496787"/>
                  <a:gd name="connsiteX96" fmla="*/ 542369 w 936181"/>
                  <a:gd name="connsiteY96" fmla="*/ 1107654 h 2496787"/>
                  <a:gd name="connsiteX97" fmla="*/ 534277 w 936181"/>
                  <a:gd name="connsiteY97" fmla="*/ 1104957 h 2496787"/>
                  <a:gd name="connsiteX98" fmla="*/ 539672 w 936181"/>
                  <a:gd name="connsiteY98" fmla="*/ 1118444 h 2496787"/>
                  <a:gd name="connsiteX99" fmla="*/ 547764 w 936181"/>
                  <a:gd name="connsiteY99" fmla="*/ 1123838 h 2496787"/>
                  <a:gd name="connsiteX100" fmla="*/ 550461 w 936181"/>
                  <a:gd name="connsiteY100" fmla="*/ 1131930 h 2496787"/>
                  <a:gd name="connsiteX101" fmla="*/ 561250 w 936181"/>
                  <a:gd name="connsiteY101" fmla="*/ 1153509 h 2496787"/>
                  <a:gd name="connsiteX102" fmla="*/ 563948 w 936181"/>
                  <a:gd name="connsiteY102" fmla="*/ 1183180 h 2496787"/>
                  <a:gd name="connsiteX103" fmla="*/ 555856 w 936181"/>
                  <a:gd name="connsiteY103" fmla="*/ 1188575 h 2496787"/>
                  <a:gd name="connsiteX104" fmla="*/ 520790 w 936181"/>
                  <a:gd name="connsiteY104" fmla="*/ 1202061 h 2496787"/>
                  <a:gd name="connsiteX105" fmla="*/ 523487 w 936181"/>
                  <a:gd name="connsiteY105" fmla="*/ 1220943 h 2496787"/>
                  <a:gd name="connsiteX106" fmla="*/ 534277 w 936181"/>
                  <a:gd name="connsiteY106" fmla="*/ 1226337 h 2496787"/>
                  <a:gd name="connsiteX107" fmla="*/ 536974 w 936181"/>
                  <a:gd name="connsiteY107" fmla="*/ 1234429 h 2496787"/>
                  <a:gd name="connsiteX108" fmla="*/ 528882 w 936181"/>
                  <a:gd name="connsiteY108" fmla="*/ 1237127 h 2496787"/>
                  <a:gd name="connsiteX109" fmla="*/ 528882 w 936181"/>
                  <a:gd name="connsiteY109" fmla="*/ 1261403 h 2496787"/>
                  <a:gd name="connsiteX110" fmla="*/ 534277 w 936181"/>
                  <a:gd name="connsiteY110" fmla="*/ 1269495 h 2496787"/>
                  <a:gd name="connsiteX111" fmla="*/ 515395 w 936181"/>
                  <a:gd name="connsiteY111" fmla="*/ 1280284 h 2496787"/>
                  <a:gd name="connsiteX112" fmla="*/ 520790 w 936181"/>
                  <a:gd name="connsiteY112" fmla="*/ 1291074 h 2496787"/>
                  <a:gd name="connsiteX113" fmla="*/ 523487 w 936181"/>
                  <a:gd name="connsiteY113" fmla="*/ 1326139 h 2496787"/>
                  <a:gd name="connsiteX114" fmla="*/ 528882 w 936181"/>
                  <a:gd name="connsiteY114" fmla="*/ 1342323 h 2496787"/>
                  <a:gd name="connsiteX115" fmla="*/ 507303 w 936181"/>
                  <a:gd name="connsiteY115" fmla="*/ 1350415 h 2496787"/>
                  <a:gd name="connsiteX116" fmla="*/ 518093 w 936181"/>
                  <a:gd name="connsiteY116" fmla="*/ 1374691 h 2496787"/>
                  <a:gd name="connsiteX117" fmla="*/ 520790 w 936181"/>
                  <a:gd name="connsiteY117" fmla="*/ 1382783 h 2496787"/>
                  <a:gd name="connsiteX118" fmla="*/ 526185 w 936181"/>
                  <a:gd name="connsiteY118" fmla="*/ 1404362 h 2496787"/>
                  <a:gd name="connsiteX119" fmla="*/ 520790 w 936181"/>
                  <a:gd name="connsiteY119" fmla="*/ 1436730 h 2496787"/>
                  <a:gd name="connsiteX120" fmla="*/ 515395 w 936181"/>
                  <a:gd name="connsiteY120" fmla="*/ 1463704 h 2496787"/>
                  <a:gd name="connsiteX121" fmla="*/ 520790 w 936181"/>
                  <a:gd name="connsiteY121" fmla="*/ 1471796 h 2496787"/>
                  <a:gd name="connsiteX122" fmla="*/ 534277 w 936181"/>
                  <a:gd name="connsiteY122" fmla="*/ 1482585 h 2496787"/>
                  <a:gd name="connsiteX123" fmla="*/ 536974 w 936181"/>
                  <a:gd name="connsiteY123" fmla="*/ 1501467 h 2496787"/>
                  <a:gd name="connsiteX124" fmla="*/ 542369 w 936181"/>
                  <a:gd name="connsiteY124" fmla="*/ 1509559 h 2496787"/>
                  <a:gd name="connsiteX125" fmla="*/ 545066 w 936181"/>
                  <a:gd name="connsiteY125" fmla="*/ 1517651 h 2496787"/>
                  <a:gd name="connsiteX126" fmla="*/ 558553 w 936181"/>
                  <a:gd name="connsiteY126" fmla="*/ 1514953 h 2496787"/>
                  <a:gd name="connsiteX127" fmla="*/ 569342 w 936181"/>
                  <a:gd name="connsiteY127" fmla="*/ 1523045 h 2496787"/>
                  <a:gd name="connsiteX128" fmla="*/ 582829 w 936181"/>
                  <a:gd name="connsiteY128" fmla="*/ 1528440 h 2496787"/>
                  <a:gd name="connsiteX129" fmla="*/ 590921 w 936181"/>
                  <a:gd name="connsiteY129" fmla="*/ 1536532 h 2496787"/>
                  <a:gd name="connsiteX130" fmla="*/ 601710 w 936181"/>
                  <a:gd name="connsiteY130" fmla="*/ 1539229 h 2496787"/>
                  <a:gd name="connsiteX131" fmla="*/ 612500 w 936181"/>
                  <a:gd name="connsiteY131" fmla="*/ 1544624 h 2496787"/>
                  <a:gd name="connsiteX132" fmla="*/ 623289 w 936181"/>
                  <a:gd name="connsiteY132" fmla="*/ 1576992 h 2496787"/>
                  <a:gd name="connsiteX133" fmla="*/ 631381 w 936181"/>
                  <a:gd name="connsiteY133" fmla="*/ 1571598 h 2496787"/>
                  <a:gd name="connsiteX134" fmla="*/ 642171 w 936181"/>
                  <a:gd name="connsiteY134" fmla="*/ 1552716 h 2496787"/>
                  <a:gd name="connsiteX135" fmla="*/ 644868 w 936181"/>
                  <a:gd name="connsiteY135" fmla="*/ 1560808 h 2496787"/>
                  <a:gd name="connsiteX136" fmla="*/ 655657 w 936181"/>
                  <a:gd name="connsiteY136" fmla="*/ 1576992 h 2496787"/>
                  <a:gd name="connsiteX137" fmla="*/ 658355 w 936181"/>
                  <a:gd name="connsiteY137" fmla="*/ 1601268 h 2496787"/>
                  <a:gd name="connsiteX138" fmla="*/ 690723 w 936181"/>
                  <a:gd name="connsiteY138" fmla="*/ 1609360 h 2496787"/>
                  <a:gd name="connsiteX139" fmla="*/ 696118 w 936181"/>
                  <a:gd name="connsiteY139" fmla="*/ 1617452 h 2496787"/>
                  <a:gd name="connsiteX140" fmla="*/ 698815 w 936181"/>
                  <a:gd name="connsiteY140" fmla="*/ 1625545 h 2496787"/>
                  <a:gd name="connsiteX141" fmla="*/ 704210 w 936181"/>
                  <a:gd name="connsiteY141" fmla="*/ 1660610 h 2496787"/>
                  <a:gd name="connsiteX142" fmla="*/ 690723 w 936181"/>
                  <a:gd name="connsiteY142" fmla="*/ 1679491 h 2496787"/>
                  <a:gd name="connsiteX143" fmla="*/ 688026 w 936181"/>
                  <a:gd name="connsiteY143" fmla="*/ 1690281 h 2496787"/>
                  <a:gd name="connsiteX144" fmla="*/ 685328 w 936181"/>
                  <a:gd name="connsiteY144" fmla="*/ 1709162 h 2496787"/>
                  <a:gd name="connsiteX145" fmla="*/ 677236 w 936181"/>
                  <a:gd name="connsiteY145" fmla="*/ 1711860 h 2496787"/>
                  <a:gd name="connsiteX146" fmla="*/ 661052 w 936181"/>
                  <a:gd name="connsiteY146" fmla="*/ 1714557 h 2496787"/>
                  <a:gd name="connsiteX147" fmla="*/ 655657 w 936181"/>
                  <a:gd name="connsiteY147" fmla="*/ 1722649 h 2496787"/>
                  <a:gd name="connsiteX148" fmla="*/ 625987 w 936181"/>
                  <a:gd name="connsiteY148" fmla="*/ 1733438 h 2496787"/>
                  <a:gd name="connsiteX149" fmla="*/ 623289 w 936181"/>
                  <a:gd name="connsiteY149" fmla="*/ 1752320 h 2496787"/>
                  <a:gd name="connsiteX150" fmla="*/ 601710 w 936181"/>
                  <a:gd name="connsiteY150" fmla="*/ 1749622 h 2496787"/>
                  <a:gd name="connsiteX151" fmla="*/ 596316 w 936181"/>
                  <a:gd name="connsiteY151" fmla="*/ 1736136 h 2496787"/>
                  <a:gd name="connsiteX152" fmla="*/ 601710 w 936181"/>
                  <a:gd name="connsiteY152" fmla="*/ 1719952 h 2496787"/>
                  <a:gd name="connsiteX153" fmla="*/ 582829 w 936181"/>
                  <a:gd name="connsiteY153" fmla="*/ 1695675 h 2496787"/>
                  <a:gd name="connsiteX154" fmla="*/ 580132 w 936181"/>
                  <a:gd name="connsiteY154" fmla="*/ 1714557 h 2496787"/>
                  <a:gd name="connsiteX155" fmla="*/ 574737 w 936181"/>
                  <a:gd name="connsiteY155" fmla="*/ 1722649 h 2496787"/>
                  <a:gd name="connsiteX156" fmla="*/ 558553 w 936181"/>
                  <a:gd name="connsiteY156" fmla="*/ 1719952 h 2496787"/>
                  <a:gd name="connsiteX157" fmla="*/ 501909 w 936181"/>
                  <a:gd name="connsiteY157" fmla="*/ 1730741 h 2496787"/>
                  <a:gd name="connsiteX158" fmla="*/ 488422 w 936181"/>
                  <a:gd name="connsiteY158" fmla="*/ 1741530 h 2496787"/>
                  <a:gd name="connsiteX159" fmla="*/ 464146 w 936181"/>
                  <a:gd name="connsiteY159" fmla="*/ 1746925 h 2496787"/>
                  <a:gd name="connsiteX160" fmla="*/ 453357 w 936181"/>
                  <a:gd name="connsiteY160" fmla="*/ 1749622 h 2496787"/>
                  <a:gd name="connsiteX161" fmla="*/ 499211 w 936181"/>
                  <a:gd name="connsiteY161" fmla="*/ 1746925 h 2496787"/>
                  <a:gd name="connsiteX162" fmla="*/ 507303 w 936181"/>
                  <a:gd name="connsiteY162" fmla="*/ 1752320 h 2496787"/>
                  <a:gd name="connsiteX163" fmla="*/ 523487 w 936181"/>
                  <a:gd name="connsiteY163" fmla="*/ 1757714 h 2496787"/>
                  <a:gd name="connsiteX164" fmla="*/ 531580 w 936181"/>
                  <a:gd name="connsiteY164" fmla="*/ 1738833 h 2496787"/>
                  <a:gd name="connsiteX165" fmla="*/ 539672 w 936181"/>
                  <a:gd name="connsiteY165" fmla="*/ 1733438 h 2496787"/>
                  <a:gd name="connsiteX166" fmla="*/ 555856 w 936181"/>
                  <a:gd name="connsiteY166" fmla="*/ 1755017 h 2496787"/>
                  <a:gd name="connsiteX167" fmla="*/ 566645 w 936181"/>
                  <a:gd name="connsiteY167" fmla="*/ 1773898 h 2496787"/>
                  <a:gd name="connsiteX168" fmla="*/ 582829 w 936181"/>
                  <a:gd name="connsiteY168" fmla="*/ 1768504 h 2496787"/>
                  <a:gd name="connsiteX169" fmla="*/ 588224 w 936181"/>
                  <a:gd name="connsiteY169" fmla="*/ 1760412 h 2496787"/>
                  <a:gd name="connsiteX170" fmla="*/ 636776 w 936181"/>
                  <a:gd name="connsiteY170" fmla="*/ 1749622 h 2496787"/>
                  <a:gd name="connsiteX171" fmla="*/ 650263 w 936181"/>
                  <a:gd name="connsiteY171" fmla="*/ 1725346 h 2496787"/>
                  <a:gd name="connsiteX172" fmla="*/ 658355 w 936181"/>
                  <a:gd name="connsiteY172" fmla="*/ 1722649 h 2496787"/>
                  <a:gd name="connsiteX173" fmla="*/ 671841 w 936181"/>
                  <a:gd name="connsiteY173" fmla="*/ 1728044 h 2496787"/>
                  <a:gd name="connsiteX174" fmla="*/ 679934 w 936181"/>
                  <a:gd name="connsiteY174" fmla="*/ 1730741 h 2496787"/>
                  <a:gd name="connsiteX175" fmla="*/ 682631 w 936181"/>
                  <a:gd name="connsiteY175" fmla="*/ 1738833 h 2496787"/>
                  <a:gd name="connsiteX176" fmla="*/ 671841 w 936181"/>
                  <a:gd name="connsiteY176" fmla="*/ 1741530 h 2496787"/>
                  <a:gd name="connsiteX177" fmla="*/ 655657 w 936181"/>
                  <a:gd name="connsiteY177" fmla="*/ 1755017 h 2496787"/>
                  <a:gd name="connsiteX178" fmla="*/ 658355 w 936181"/>
                  <a:gd name="connsiteY178" fmla="*/ 1781991 h 2496787"/>
                  <a:gd name="connsiteX179" fmla="*/ 644868 w 936181"/>
                  <a:gd name="connsiteY179" fmla="*/ 1790083 h 2496787"/>
                  <a:gd name="connsiteX180" fmla="*/ 650263 w 936181"/>
                  <a:gd name="connsiteY180" fmla="*/ 1798175 h 2496787"/>
                  <a:gd name="connsiteX181" fmla="*/ 642171 w 936181"/>
                  <a:gd name="connsiteY181" fmla="*/ 1822451 h 2496787"/>
                  <a:gd name="connsiteX182" fmla="*/ 636537 w 936181"/>
                  <a:gd name="connsiteY182" fmla="*/ 1842050 h 2496787"/>
                  <a:gd name="connsiteX183" fmla="*/ 628684 w 936181"/>
                  <a:gd name="connsiteY183" fmla="*/ 1835937 h 2496787"/>
                  <a:gd name="connsiteX184" fmla="*/ 617895 w 936181"/>
                  <a:gd name="connsiteY184" fmla="*/ 1806267 h 2496787"/>
                  <a:gd name="connsiteX185" fmla="*/ 607105 w 936181"/>
                  <a:gd name="connsiteY185" fmla="*/ 1800872 h 2496787"/>
                  <a:gd name="connsiteX186" fmla="*/ 593618 w 936181"/>
                  <a:gd name="connsiteY186" fmla="*/ 1838635 h 2496787"/>
                  <a:gd name="connsiteX187" fmla="*/ 585526 w 936181"/>
                  <a:gd name="connsiteY187" fmla="*/ 1841332 h 2496787"/>
                  <a:gd name="connsiteX188" fmla="*/ 582829 w 936181"/>
                  <a:gd name="connsiteY188" fmla="*/ 1857516 h 2496787"/>
                  <a:gd name="connsiteX189" fmla="*/ 580132 w 936181"/>
                  <a:gd name="connsiteY189" fmla="*/ 1865608 h 2496787"/>
                  <a:gd name="connsiteX190" fmla="*/ 572040 w 936181"/>
                  <a:gd name="connsiteY190" fmla="*/ 1873700 h 2496787"/>
                  <a:gd name="connsiteX191" fmla="*/ 563948 w 936181"/>
                  <a:gd name="connsiteY191" fmla="*/ 1876398 h 2496787"/>
                  <a:gd name="connsiteX192" fmla="*/ 520790 w 936181"/>
                  <a:gd name="connsiteY192" fmla="*/ 1879095 h 2496787"/>
                  <a:gd name="connsiteX193" fmla="*/ 472238 w 936181"/>
                  <a:gd name="connsiteY193" fmla="*/ 1887187 h 2496787"/>
                  <a:gd name="connsiteX194" fmla="*/ 488422 w 936181"/>
                  <a:gd name="connsiteY194" fmla="*/ 1881792 h 2496787"/>
                  <a:gd name="connsiteX195" fmla="*/ 539672 w 936181"/>
                  <a:gd name="connsiteY195" fmla="*/ 1911463 h 2496787"/>
                  <a:gd name="connsiteX196" fmla="*/ 542369 w 936181"/>
                  <a:gd name="connsiteY196" fmla="*/ 1919555 h 2496787"/>
                  <a:gd name="connsiteX197" fmla="*/ 523487 w 936181"/>
                  <a:gd name="connsiteY197" fmla="*/ 1922252 h 2496787"/>
                  <a:gd name="connsiteX198" fmla="*/ 512698 w 936181"/>
                  <a:gd name="connsiteY198" fmla="*/ 1938437 h 2496787"/>
                  <a:gd name="connsiteX199" fmla="*/ 523487 w 936181"/>
                  <a:gd name="connsiteY199" fmla="*/ 1943831 h 2496787"/>
                  <a:gd name="connsiteX200" fmla="*/ 526185 w 936181"/>
                  <a:gd name="connsiteY200" fmla="*/ 1951923 h 2496787"/>
                  <a:gd name="connsiteX201" fmla="*/ 536974 w 936181"/>
                  <a:gd name="connsiteY201" fmla="*/ 1957318 h 2496787"/>
                  <a:gd name="connsiteX202" fmla="*/ 534277 w 936181"/>
                  <a:gd name="connsiteY202" fmla="*/ 1965410 h 2496787"/>
                  <a:gd name="connsiteX203" fmla="*/ 523487 w 936181"/>
                  <a:gd name="connsiteY203" fmla="*/ 1995081 h 2496787"/>
                  <a:gd name="connsiteX204" fmla="*/ 515395 w 936181"/>
                  <a:gd name="connsiteY204" fmla="*/ 2000475 h 2496787"/>
                  <a:gd name="connsiteX205" fmla="*/ 523487 w 936181"/>
                  <a:gd name="connsiteY205" fmla="*/ 2005870 h 2496787"/>
                  <a:gd name="connsiteX206" fmla="*/ 545066 w 936181"/>
                  <a:gd name="connsiteY206" fmla="*/ 2013962 h 2496787"/>
                  <a:gd name="connsiteX207" fmla="*/ 553158 w 936181"/>
                  <a:gd name="connsiteY207" fmla="*/ 2011265 h 2496787"/>
                  <a:gd name="connsiteX208" fmla="*/ 539672 w 936181"/>
                  <a:gd name="connsiteY208" fmla="*/ 2022054 h 2496787"/>
                  <a:gd name="connsiteX209" fmla="*/ 534277 w 936181"/>
                  <a:gd name="connsiteY209" fmla="*/ 2038238 h 2496787"/>
                  <a:gd name="connsiteX210" fmla="*/ 542369 w 936181"/>
                  <a:gd name="connsiteY210" fmla="*/ 2062514 h 2496787"/>
                  <a:gd name="connsiteX211" fmla="*/ 536974 w 936181"/>
                  <a:gd name="connsiteY211" fmla="*/ 2070606 h 2496787"/>
                  <a:gd name="connsiteX212" fmla="*/ 539672 w 936181"/>
                  <a:gd name="connsiteY212" fmla="*/ 2084093 h 2496787"/>
                  <a:gd name="connsiteX213" fmla="*/ 545066 w 936181"/>
                  <a:gd name="connsiteY213" fmla="*/ 2100277 h 2496787"/>
                  <a:gd name="connsiteX214" fmla="*/ 531580 w 936181"/>
                  <a:gd name="connsiteY214" fmla="*/ 2111067 h 2496787"/>
                  <a:gd name="connsiteX215" fmla="*/ 528882 w 936181"/>
                  <a:gd name="connsiteY215" fmla="*/ 2121856 h 2496787"/>
                  <a:gd name="connsiteX216" fmla="*/ 510001 w 936181"/>
                  <a:gd name="connsiteY216" fmla="*/ 2127251 h 2496787"/>
                  <a:gd name="connsiteX217" fmla="*/ 515395 w 936181"/>
                  <a:gd name="connsiteY217" fmla="*/ 2138040 h 2496787"/>
                  <a:gd name="connsiteX218" fmla="*/ 520790 w 936181"/>
                  <a:gd name="connsiteY218" fmla="*/ 2148829 h 2496787"/>
                  <a:gd name="connsiteX219" fmla="*/ 523487 w 936181"/>
                  <a:gd name="connsiteY219" fmla="*/ 2156922 h 2496787"/>
                  <a:gd name="connsiteX220" fmla="*/ 542369 w 936181"/>
                  <a:gd name="connsiteY220" fmla="*/ 2162316 h 2496787"/>
                  <a:gd name="connsiteX221" fmla="*/ 531580 w 936181"/>
                  <a:gd name="connsiteY221" fmla="*/ 2170408 h 2496787"/>
                  <a:gd name="connsiteX222" fmla="*/ 515395 w 936181"/>
                  <a:gd name="connsiteY222" fmla="*/ 2210868 h 2496787"/>
                  <a:gd name="connsiteX223" fmla="*/ 518093 w 936181"/>
                  <a:gd name="connsiteY223" fmla="*/ 2218960 h 2496787"/>
                  <a:gd name="connsiteX224" fmla="*/ 542369 w 936181"/>
                  <a:gd name="connsiteY224" fmla="*/ 2202776 h 2496787"/>
                  <a:gd name="connsiteX225" fmla="*/ 545066 w 936181"/>
                  <a:gd name="connsiteY225" fmla="*/ 2183895 h 2496787"/>
                  <a:gd name="connsiteX226" fmla="*/ 550461 w 936181"/>
                  <a:gd name="connsiteY226" fmla="*/ 2167711 h 2496787"/>
                  <a:gd name="connsiteX227" fmla="*/ 553158 w 936181"/>
                  <a:gd name="connsiteY227" fmla="*/ 2146132 h 2496787"/>
                  <a:gd name="connsiteX228" fmla="*/ 563948 w 936181"/>
                  <a:gd name="connsiteY228" fmla="*/ 2129948 h 2496787"/>
                  <a:gd name="connsiteX229" fmla="*/ 569342 w 936181"/>
                  <a:gd name="connsiteY229" fmla="*/ 2121856 h 2496787"/>
                  <a:gd name="connsiteX230" fmla="*/ 577434 w 936181"/>
                  <a:gd name="connsiteY230" fmla="*/ 2129948 h 2496787"/>
                  <a:gd name="connsiteX231" fmla="*/ 574737 w 936181"/>
                  <a:gd name="connsiteY231" fmla="*/ 2138040 h 2496787"/>
                  <a:gd name="connsiteX232" fmla="*/ 566645 w 936181"/>
                  <a:gd name="connsiteY232" fmla="*/ 2170408 h 2496787"/>
                  <a:gd name="connsiteX233" fmla="*/ 561250 w 936181"/>
                  <a:gd name="connsiteY233" fmla="*/ 2191987 h 2496787"/>
                  <a:gd name="connsiteX234" fmla="*/ 558553 w 936181"/>
                  <a:gd name="connsiteY234" fmla="*/ 2208171 h 2496787"/>
                  <a:gd name="connsiteX235" fmla="*/ 553158 w 936181"/>
                  <a:gd name="connsiteY235" fmla="*/ 2227052 h 2496787"/>
                  <a:gd name="connsiteX236" fmla="*/ 547764 w 936181"/>
                  <a:gd name="connsiteY236" fmla="*/ 2294486 h 2496787"/>
                  <a:gd name="connsiteX237" fmla="*/ 545066 w 936181"/>
                  <a:gd name="connsiteY237" fmla="*/ 2313368 h 2496787"/>
                  <a:gd name="connsiteX238" fmla="*/ 536974 w 936181"/>
                  <a:gd name="connsiteY238" fmla="*/ 2318762 h 2496787"/>
                  <a:gd name="connsiteX239" fmla="*/ 528882 w 936181"/>
                  <a:gd name="connsiteY239" fmla="*/ 2326854 h 2496787"/>
                  <a:gd name="connsiteX240" fmla="*/ 520790 w 936181"/>
                  <a:gd name="connsiteY240" fmla="*/ 2313368 h 2496787"/>
                  <a:gd name="connsiteX241" fmla="*/ 520790 w 936181"/>
                  <a:gd name="connsiteY241" fmla="*/ 2272907 h 2496787"/>
                  <a:gd name="connsiteX242" fmla="*/ 526185 w 936181"/>
                  <a:gd name="connsiteY242" fmla="*/ 2256723 h 2496787"/>
                  <a:gd name="connsiteX243" fmla="*/ 527294 w 936181"/>
                  <a:gd name="connsiteY243" fmla="*/ 2220534 h 2496787"/>
                  <a:gd name="connsiteX244" fmla="*/ 520790 w 936181"/>
                  <a:gd name="connsiteY244" fmla="*/ 2254026 h 2496787"/>
                  <a:gd name="connsiteX245" fmla="*/ 507303 w 936181"/>
                  <a:gd name="connsiteY245" fmla="*/ 2259421 h 2496787"/>
                  <a:gd name="connsiteX246" fmla="*/ 501909 w 936181"/>
                  <a:gd name="connsiteY246" fmla="*/ 2267513 h 2496787"/>
                  <a:gd name="connsiteX247" fmla="*/ 496514 w 936181"/>
                  <a:gd name="connsiteY247" fmla="*/ 2316065 h 2496787"/>
                  <a:gd name="connsiteX248" fmla="*/ 491119 w 936181"/>
                  <a:gd name="connsiteY248" fmla="*/ 2332249 h 2496787"/>
                  <a:gd name="connsiteX249" fmla="*/ 480330 w 936181"/>
                  <a:gd name="connsiteY249" fmla="*/ 2340341 h 2496787"/>
                  <a:gd name="connsiteX250" fmla="*/ 437172 w 936181"/>
                  <a:gd name="connsiteY250" fmla="*/ 2337644 h 2496787"/>
                  <a:gd name="connsiteX251" fmla="*/ 434475 w 936181"/>
                  <a:gd name="connsiteY251" fmla="*/ 2351130 h 2496787"/>
                  <a:gd name="connsiteX252" fmla="*/ 426383 w 936181"/>
                  <a:gd name="connsiteY252" fmla="*/ 2359222 h 2496787"/>
                  <a:gd name="connsiteX253" fmla="*/ 404804 w 936181"/>
                  <a:gd name="connsiteY253" fmla="*/ 2356525 h 2496787"/>
                  <a:gd name="connsiteX254" fmla="*/ 396712 w 936181"/>
                  <a:gd name="connsiteY254" fmla="*/ 2351130 h 2496787"/>
                  <a:gd name="connsiteX255" fmla="*/ 377831 w 936181"/>
                  <a:gd name="connsiteY255" fmla="*/ 2356525 h 2496787"/>
                  <a:gd name="connsiteX256" fmla="*/ 380528 w 936181"/>
                  <a:gd name="connsiteY256" fmla="*/ 2372709 h 2496787"/>
                  <a:gd name="connsiteX257" fmla="*/ 377831 w 936181"/>
                  <a:gd name="connsiteY257" fmla="*/ 2383498 h 2496787"/>
                  <a:gd name="connsiteX258" fmla="*/ 334673 w 936181"/>
                  <a:gd name="connsiteY258" fmla="*/ 2391591 h 2496787"/>
                  <a:gd name="connsiteX259" fmla="*/ 331976 w 936181"/>
                  <a:gd name="connsiteY259" fmla="*/ 2405077 h 2496787"/>
                  <a:gd name="connsiteX260" fmla="*/ 326581 w 936181"/>
                  <a:gd name="connsiteY260" fmla="*/ 2418564 h 2496787"/>
                  <a:gd name="connsiteX261" fmla="*/ 329279 w 936181"/>
                  <a:gd name="connsiteY261" fmla="*/ 2432051 h 2496787"/>
                  <a:gd name="connsiteX262" fmla="*/ 334673 w 936181"/>
                  <a:gd name="connsiteY262" fmla="*/ 2450932 h 2496787"/>
                  <a:gd name="connsiteX263" fmla="*/ 342765 w 936181"/>
                  <a:gd name="connsiteY263" fmla="*/ 2459024 h 2496787"/>
                  <a:gd name="connsiteX264" fmla="*/ 331976 w 936181"/>
                  <a:gd name="connsiteY264" fmla="*/ 2480603 h 2496787"/>
                  <a:gd name="connsiteX265" fmla="*/ 318489 w 936181"/>
                  <a:gd name="connsiteY265" fmla="*/ 2483300 h 2496787"/>
                  <a:gd name="connsiteX266" fmla="*/ 302305 w 936181"/>
                  <a:gd name="connsiteY266" fmla="*/ 2485998 h 2496787"/>
                  <a:gd name="connsiteX267" fmla="*/ 269937 w 936181"/>
                  <a:gd name="connsiteY267" fmla="*/ 2483300 h 2496787"/>
                  <a:gd name="connsiteX268" fmla="*/ 253753 w 936181"/>
                  <a:gd name="connsiteY268" fmla="*/ 2494090 h 2496787"/>
                  <a:gd name="connsiteX269" fmla="*/ 207898 w 936181"/>
                  <a:gd name="connsiteY269" fmla="*/ 2496787 h 2496787"/>
                  <a:gd name="connsiteX270" fmla="*/ 197109 w 936181"/>
                  <a:gd name="connsiteY270" fmla="*/ 2491392 h 2496787"/>
                  <a:gd name="connsiteX271" fmla="*/ 194411 w 936181"/>
                  <a:gd name="connsiteY271" fmla="*/ 2483300 h 2496787"/>
                  <a:gd name="connsiteX272" fmla="*/ 202503 w 936181"/>
                  <a:gd name="connsiteY272" fmla="*/ 2423959 h 2496787"/>
                  <a:gd name="connsiteX273" fmla="*/ 199806 w 936181"/>
                  <a:gd name="connsiteY273" fmla="*/ 2415867 h 2496787"/>
                  <a:gd name="connsiteX274" fmla="*/ 197109 w 936181"/>
                  <a:gd name="connsiteY274" fmla="*/ 2405077 h 2496787"/>
                  <a:gd name="connsiteX275" fmla="*/ 175530 w 936181"/>
                  <a:gd name="connsiteY275" fmla="*/ 2394288 h 2496787"/>
                  <a:gd name="connsiteX276" fmla="*/ 162043 w 936181"/>
                  <a:gd name="connsiteY276" fmla="*/ 2383498 h 2496787"/>
                  <a:gd name="connsiteX277" fmla="*/ 153951 w 936181"/>
                  <a:gd name="connsiteY277" fmla="*/ 2370012 h 2496787"/>
                  <a:gd name="connsiteX278" fmla="*/ 140464 w 936181"/>
                  <a:gd name="connsiteY278" fmla="*/ 2343038 h 2496787"/>
                  <a:gd name="connsiteX279" fmla="*/ 153951 w 936181"/>
                  <a:gd name="connsiteY279" fmla="*/ 2337644 h 2496787"/>
                  <a:gd name="connsiteX280" fmla="*/ 167438 w 936181"/>
                  <a:gd name="connsiteY280" fmla="*/ 2340341 h 2496787"/>
                  <a:gd name="connsiteX281" fmla="*/ 159346 w 936181"/>
                  <a:gd name="connsiteY281" fmla="*/ 2310670 h 2496787"/>
                  <a:gd name="connsiteX282" fmla="*/ 156649 w 936181"/>
                  <a:gd name="connsiteY282" fmla="*/ 2299881 h 2496787"/>
                  <a:gd name="connsiteX283" fmla="*/ 175530 w 936181"/>
                  <a:gd name="connsiteY283" fmla="*/ 2302578 h 2496787"/>
                  <a:gd name="connsiteX284" fmla="*/ 183622 w 936181"/>
                  <a:gd name="connsiteY284" fmla="*/ 2286394 h 2496787"/>
                  <a:gd name="connsiteX285" fmla="*/ 156649 w 936181"/>
                  <a:gd name="connsiteY285" fmla="*/ 2272907 h 2496787"/>
                  <a:gd name="connsiteX286" fmla="*/ 159346 w 936181"/>
                  <a:gd name="connsiteY286" fmla="*/ 2262118 h 2496787"/>
                  <a:gd name="connsiteX287" fmla="*/ 151254 w 936181"/>
                  <a:gd name="connsiteY287" fmla="*/ 2243237 h 2496787"/>
                  <a:gd name="connsiteX288" fmla="*/ 132372 w 936181"/>
                  <a:gd name="connsiteY288" fmla="*/ 2224355 h 2496787"/>
                  <a:gd name="connsiteX289" fmla="*/ 121583 w 936181"/>
                  <a:gd name="connsiteY289" fmla="*/ 2213566 h 2496787"/>
                  <a:gd name="connsiteX290" fmla="*/ 113491 w 936181"/>
                  <a:gd name="connsiteY290" fmla="*/ 2197382 h 2496787"/>
                  <a:gd name="connsiteX291" fmla="*/ 110794 w 936181"/>
                  <a:gd name="connsiteY291" fmla="*/ 2173106 h 2496787"/>
                  <a:gd name="connsiteX292" fmla="*/ 102702 w 936181"/>
                  <a:gd name="connsiteY292" fmla="*/ 2170408 h 2496787"/>
                  <a:gd name="connsiteX293" fmla="*/ 100004 w 936181"/>
                  <a:gd name="connsiteY293" fmla="*/ 2159619 h 2496787"/>
                  <a:gd name="connsiteX294" fmla="*/ 81123 w 936181"/>
                  <a:gd name="connsiteY294" fmla="*/ 2135343 h 2496787"/>
                  <a:gd name="connsiteX295" fmla="*/ 94610 w 936181"/>
                  <a:gd name="connsiteY295" fmla="*/ 2127251 h 2496787"/>
                  <a:gd name="connsiteX296" fmla="*/ 81123 w 936181"/>
                  <a:gd name="connsiteY296" fmla="*/ 2105672 h 2496787"/>
                  <a:gd name="connsiteX297" fmla="*/ 62241 w 936181"/>
                  <a:gd name="connsiteY297" fmla="*/ 2086791 h 2496787"/>
                  <a:gd name="connsiteX298" fmla="*/ 54149 w 936181"/>
                  <a:gd name="connsiteY298" fmla="*/ 2084093 h 2496787"/>
                  <a:gd name="connsiteX299" fmla="*/ 56847 w 936181"/>
                  <a:gd name="connsiteY299" fmla="*/ 2062514 h 2496787"/>
                  <a:gd name="connsiteX300" fmla="*/ 56847 w 936181"/>
                  <a:gd name="connsiteY300" fmla="*/ 2038238 h 2496787"/>
                  <a:gd name="connsiteX301" fmla="*/ 46057 w 936181"/>
                  <a:gd name="connsiteY301" fmla="*/ 2035541 h 2496787"/>
                  <a:gd name="connsiteX302" fmla="*/ 37965 w 936181"/>
                  <a:gd name="connsiteY302" fmla="*/ 2032844 h 2496787"/>
                  <a:gd name="connsiteX303" fmla="*/ 32571 w 936181"/>
                  <a:gd name="connsiteY303" fmla="*/ 2022054 h 2496787"/>
                  <a:gd name="connsiteX304" fmla="*/ 35268 w 936181"/>
                  <a:gd name="connsiteY304" fmla="*/ 2013962 h 2496787"/>
                  <a:gd name="connsiteX305" fmla="*/ 48755 w 936181"/>
                  <a:gd name="connsiteY305" fmla="*/ 2019357 h 2496787"/>
                  <a:gd name="connsiteX306" fmla="*/ 59544 w 936181"/>
                  <a:gd name="connsiteY306" fmla="*/ 2040936 h 2496787"/>
                  <a:gd name="connsiteX307" fmla="*/ 70334 w 936181"/>
                  <a:gd name="connsiteY307" fmla="*/ 2038238 h 2496787"/>
                  <a:gd name="connsiteX308" fmla="*/ 64939 w 936181"/>
                  <a:gd name="connsiteY308" fmla="*/ 1995081 h 2496787"/>
                  <a:gd name="connsiteX309" fmla="*/ 67636 w 936181"/>
                  <a:gd name="connsiteY309" fmla="*/ 1986989 h 2496787"/>
                  <a:gd name="connsiteX310" fmla="*/ 56847 w 936181"/>
                  <a:gd name="connsiteY310" fmla="*/ 1976199 h 2496787"/>
                  <a:gd name="connsiteX311" fmla="*/ 32571 w 936181"/>
                  <a:gd name="connsiteY311" fmla="*/ 1981594 h 2496787"/>
                  <a:gd name="connsiteX312" fmla="*/ 24479 w 936181"/>
                  <a:gd name="connsiteY312" fmla="*/ 1986989 h 2496787"/>
                  <a:gd name="connsiteX313" fmla="*/ 16387 w 936181"/>
                  <a:gd name="connsiteY313" fmla="*/ 1965410 h 2496787"/>
                  <a:gd name="connsiteX314" fmla="*/ 5597 w 936181"/>
                  <a:gd name="connsiteY314" fmla="*/ 1949226 h 2496787"/>
                  <a:gd name="connsiteX315" fmla="*/ 13689 w 936181"/>
                  <a:gd name="connsiteY315" fmla="*/ 1935739 h 2496787"/>
                  <a:gd name="connsiteX316" fmla="*/ 19084 w 936181"/>
                  <a:gd name="connsiteY316" fmla="*/ 1919555 h 2496787"/>
                  <a:gd name="connsiteX317" fmla="*/ 8295 w 936181"/>
                  <a:gd name="connsiteY317" fmla="*/ 1916858 h 2496787"/>
                  <a:gd name="connsiteX318" fmla="*/ 2900 w 936181"/>
                  <a:gd name="connsiteY318" fmla="*/ 1852122 h 2496787"/>
                  <a:gd name="connsiteX319" fmla="*/ 16387 w 936181"/>
                  <a:gd name="connsiteY319" fmla="*/ 1849424 h 2496787"/>
                  <a:gd name="connsiteX320" fmla="*/ 19084 w 936181"/>
                  <a:gd name="connsiteY320" fmla="*/ 1841332 h 2496787"/>
                  <a:gd name="connsiteX321" fmla="*/ 2900 w 936181"/>
                  <a:gd name="connsiteY321" fmla="*/ 1841332 h 2496787"/>
                  <a:gd name="connsiteX322" fmla="*/ 16387 w 936181"/>
                  <a:gd name="connsiteY322" fmla="*/ 1846727 h 2496787"/>
                  <a:gd name="connsiteX323" fmla="*/ 29873 w 936181"/>
                  <a:gd name="connsiteY323" fmla="*/ 1862911 h 2496787"/>
                  <a:gd name="connsiteX324" fmla="*/ 40663 w 936181"/>
                  <a:gd name="connsiteY324" fmla="*/ 1865608 h 2496787"/>
                  <a:gd name="connsiteX325" fmla="*/ 56847 w 936181"/>
                  <a:gd name="connsiteY325" fmla="*/ 1854819 h 2496787"/>
                  <a:gd name="connsiteX326" fmla="*/ 48755 w 936181"/>
                  <a:gd name="connsiteY326" fmla="*/ 1768504 h 2496787"/>
                  <a:gd name="connsiteX327" fmla="*/ 56847 w 936181"/>
                  <a:gd name="connsiteY327" fmla="*/ 1730741 h 2496787"/>
                  <a:gd name="connsiteX328" fmla="*/ 64939 w 936181"/>
                  <a:gd name="connsiteY328" fmla="*/ 1728044 h 2496787"/>
                  <a:gd name="connsiteX329" fmla="*/ 67636 w 936181"/>
                  <a:gd name="connsiteY329" fmla="*/ 1719952 h 2496787"/>
                  <a:gd name="connsiteX330" fmla="*/ 64939 w 936181"/>
                  <a:gd name="connsiteY330" fmla="*/ 1709162 h 2496787"/>
                  <a:gd name="connsiteX331" fmla="*/ 70334 w 936181"/>
                  <a:gd name="connsiteY331" fmla="*/ 1684886 h 2496787"/>
                  <a:gd name="connsiteX332" fmla="*/ 100004 w 936181"/>
                  <a:gd name="connsiteY332" fmla="*/ 1679491 h 2496787"/>
                  <a:gd name="connsiteX333" fmla="*/ 108096 w 936181"/>
                  <a:gd name="connsiteY333" fmla="*/ 1671399 h 2496787"/>
                  <a:gd name="connsiteX334" fmla="*/ 110794 w 936181"/>
                  <a:gd name="connsiteY334" fmla="*/ 1657913 h 2496787"/>
                  <a:gd name="connsiteX335" fmla="*/ 116188 w 936181"/>
                  <a:gd name="connsiteY335" fmla="*/ 1639031 h 2496787"/>
                  <a:gd name="connsiteX336" fmla="*/ 118886 w 936181"/>
                  <a:gd name="connsiteY336" fmla="*/ 1612058 h 2496787"/>
                  <a:gd name="connsiteX337" fmla="*/ 126978 w 936181"/>
                  <a:gd name="connsiteY337" fmla="*/ 1598571 h 2496787"/>
                  <a:gd name="connsiteX338" fmla="*/ 129675 w 936181"/>
                  <a:gd name="connsiteY338" fmla="*/ 1590479 h 2496787"/>
                  <a:gd name="connsiteX339" fmla="*/ 105399 w 936181"/>
                  <a:gd name="connsiteY339" fmla="*/ 1558111 h 2496787"/>
                  <a:gd name="connsiteX340" fmla="*/ 102702 w 936181"/>
                  <a:gd name="connsiteY340" fmla="*/ 1528440 h 2496787"/>
                  <a:gd name="connsiteX341" fmla="*/ 100004 w 936181"/>
                  <a:gd name="connsiteY341" fmla="*/ 1506861 h 2496787"/>
                  <a:gd name="connsiteX342" fmla="*/ 91912 w 936181"/>
                  <a:gd name="connsiteY342" fmla="*/ 1496072 h 2496787"/>
                  <a:gd name="connsiteX343" fmla="*/ 100004 w 936181"/>
                  <a:gd name="connsiteY343" fmla="*/ 1490677 h 2496787"/>
                  <a:gd name="connsiteX344" fmla="*/ 121583 w 936181"/>
                  <a:gd name="connsiteY344" fmla="*/ 1485283 h 2496787"/>
                  <a:gd name="connsiteX345" fmla="*/ 129675 w 936181"/>
                  <a:gd name="connsiteY345" fmla="*/ 1482585 h 2496787"/>
                  <a:gd name="connsiteX346" fmla="*/ 135070 w 936181"/>
                  <a:gd name="connsiteY346" fmla="*/ 1474493 h 2496787"/>
                  <a:gd name="connsiteX347" fmla="*/ 135070 w 936181"/>
                  <a:gd name="connsiteY347" fmla="*/ 1412454 h 2496787"/>
                  <a:gd name="connsiteX348" fmla="*/ 129675 w 936181"/>
                  <a:gd name="connsiteY348" fmla="*/ 1404362 h 2496787"/>
                  <a:gd name="connsiteX349" fmla="*/ 110794 w 936181"/>
                  <a:gd name="connsiteY349" fmla="*/ 1380086 h 2496787"/>
                  <a:gd name="connsiteX350" fmla="*/ 94610 w 936181"/>
                  <a:gd name="connsiteY350" fmla="*/ 1366599 h 2496787"/>
                  <a:gd name="connsiteX351" fmla="*/ 83820 w 936181"/>
                  <a:gd name="connsiteY351" fmla="*/ 1353113 h 2496787"/>
                  <a:gd name="connsiteX352" fmla="*/ 81123 w 936181"/>
                  <a:gd name="connsiteY352" fmla="*/ 1258706 h 2496787"/>
                  <a:gd name="connsiteX353" fmla="*/ 70334 w 936181"/>
                  <a:gd name="connsiteY353" fmla="*/ 1242522 h 2496787"/>
                  <a:gd name="connsiteX354" fmla="*/ 59544 w 936181"/>
                  <a:gd name="connsiteY354" fmla="*/ 1199364 h 2496787"/>
                  <a:gd name="connsiteX355" fmla="*/ 56847 w 936181"/>
                  <a:gd name="connsiteY355" fmla="*/ 1148114 h 2496787"/>
                  <a:gd name="connsiteX356" fmla="*/ 73031 w 936181"/>
                  <a:gd name="connsiteY356" fmla="*/ 1140022 h 2496787"/>
                  <a:gd name="connsiteX357" fmla="*/ 51452 w 936181"/>
                  <a:gd name="connsiteY357" fmla="*/ 1113049 h 2496787"/>
                  <a:gd name="connsiteX358" fmla="*/ 40663 w 936181"/>
                  <a:gd name="connsiteY358" fmla="*/ 1104957 h 2496787"/>
                  <a:gd name="connsiteX359" fmla="*/ 37965 w 936181"/>
                  <a:gd name="connsiteY359" fmla="*/ 1094168 h 2496787"/>
                  <a:gd name="connsiteX360" fmla="*/ 40663 w 936181"/>
                  <a:gd name="connsiteY360" fmla="*/ 1069891 h 2496787"/>
                  <a:gd name="connsiteX361" fmla="*/ 59544 w 936181"/>
                  <a:gd name="connsiteY361" fmla="*/ 1045615 h 2496787"/>
                  <a:gd name="connsiteX362" fmla="*/ 64939 w 936181"/>
                  <a:gd name="connsiteY362" fmla="*/ 1034826 h 2496787"/>
                  <a:gd name="connsiteX363" fmla="*/ 73031 w 936181"/>
                  <a:gd name="connsiteY363" fmla="*/ 1021339 h 2496787"/>
                  <a:gd name="connsiteX364" fmla="*/ 83820 w 936181"/>
                  <a:gd name="connsiteY364" fmla="*/ 1005155 h 2496787"/>
                  <a:gd name="connsiteX365" fmla="*/ 86518 w 936181"/>
                  <a:gd name="connsiteY365" fmla="*/ 988971 h 2496787"/>
                  <a:gd name="connsiteX366" fmla="*/ 97307 w 936181"/>
                  <a:gd name="connsiteY366" fmla="*/ 983576 h 2496787"/>
                  <a:gd name="connsiteX367" fmla="*/ 113491 w 936181"/>
                  <a:gd name="connsiteY367" fmla="*/ 975484 h 2496787"/>
                  <a:gd name="connsiteX368" fmla="*/ 124280 w 936181"/>
                  <a:gd name="connsiteY368" fmla="*/ 961998 h 2496787"/>
                  <a:gd name="connsiteX369" fmla="*/ 129675 w 936181"/>
                  <a:gd name="connsiteY369" fmla="*/ 951208 h 2496787"/>
                  <a:gd name="connsiteX370" fmla="*/ 145859 w 936181"/>
                  <a:gd name="connsiteY370" fmla="*/ 937722 h 2496787"/>
                  <a:gd name="connsiteX371" fmla="*/ 156649 w 936181"/>
                  <a:gd name="connsiteY371" fmla="*/ 929629 h 2496787"/>
                  <a:gd name="connsiteX372" fmla="*/ 162043 w 936181"/>
                  <a:gd name="connsiteY372" fmla="*/ 937722 h 2496787"/>
                  <a:gd name="connsiteX373" fmla="*/ 164741 w 936181"/>
                  <a:gd name="connsiteY373" fmla="*/ 945814 h 2496787"/>
                  <a:gd name="connsiteX374" fmla="*/ 178227 w 936181"/>
                  <a:gd name="connsiteY374" fmla="*/ 956603 h 2496787"/>
                  <a:gd name="connsiteX375" fmla="*/ 202503 w 936181"/>
                  <a:gd name="connsiteY375" fmla="*/ 940419 h 2496787"/>
                  <a:gd name="connsiteX376" fmla="*/ 205201 w 936181"/>
                  <a:gd name="connsiteY376" fmla="*/ 918840 h 2496787"/>
                  <a:gd name="connsiteX377" fmla="*/ 210595 w 936181"/>
                  <a:gd name="connsiteY377" fmla="*/ 894564 h 2496787"/>
                  <a:gd name="connsiteX378" fmla="*/ 205201 w 936181"/>
                  <a:gd name="connsiteY378" fmla="*/ 856801 h 2496787"/>
                  <a:gd name="connsiteX379" fmla="*/ 183622 w 936181"/>
                  <a:gd name="connsiteY379" fmla="*/ 854104 h 2496787"/>
                  <a:gd name="connsiteX380" fmla="*/ 194411 w 936181"/>
                  <a:gd name="connsiteY380" fmla="*/ 829828 h 2496787"/>
                  <a:gd name="connsiteX381" fmla="*/ 205201 w 936181"/>
                  <a:gd name="connsiteY381" fmla="*/ 805552 h 2496787"/>
                  <a:gd name="connsiteX382" fmla="*/ 210595 w 936181"/>
                  <a:gd name="connsiteY382" fmla="*/ 765091 h 2496787"/>
                  <a:gd name="connsiteX383" fmla="*/ 215990 w 936181"/>
                  <a:gd name="connsiteY383" fmla="*/ 756999 h 2496787"/>
                  <a:gd name="connsiteX384" fmla="*/ 229477 w 936181"/>
                  <a:gd name="connsiteY384" fmla="*/ 721934 h 2496787"/>
                  <a:gd name="connsiteX385" fmla="*/ 237569 w 936181"/>
                  <a:gd name="connsiteY385" fmla="*/ 692263 h 2496787"/>
                  <a:gd name="connsiteX386" fmla="*/ 240266 w 936181"/>
                  <a:gd name="connsiteY386" fmla="*/ 684171 h 2496787"/>
                  <a:gd name="connsiteX387" fmla="*/ 229477 w 936181"/>
                  <a:gd name="connsiteY387" fmla="*/ 667987 h 2496787"/>
                  <a:gd name="connsiteX388" fmla="*/ 232174 w 936181"/>
                  <a:gd name="connsiteY388" fmla="*/ 654500 h 2496787"/>
                  <a:gd name="connsiteX389" fmla="*/ 234872 w 936181"/>
                  <a:gd name="connsiteY389" fmla="*/ 646408 h 2496787"/>
                  <a:gd name="connsiteX390" fmla="*/ 237569 w 936181"/>
                  <a:gd name="connsiteY390" fmla="*/ 632922 h 2496787"/>
                  <a:gd name="connsiteX391" fmla="*/ 234872 w 936181"/>
                  <a:gd name="connsiteY391" fmla="*/ 581672 h 2496787"/>
                  <a:gd name="connsiteX392" fmla="*/ 229477 w 936181"/>
                  <a:gd name="connsiteY392" fmla="*/ 570883 h 2496787"/>
                  <a:gd name="connsiteX393" fmla="*/ 253753 w 936181"/>
                  <a:gd name="connsiteY393" fmla="*/ 568185 h 2496787"/>
                  <a:gd name="connsiteX394" fmla="*/ 256450 w 936181"/>
                  <a:gd name="connsiteY394" fmla="*/ 560093 h 2496787"/>
                  <a:gd name="connsiteX395" fmla="*/ 272634 w 936181"/>
                  <a:gd name="connsiteY395" fmla="*/ 546606 h 2496787"/>
                  <a:gd name="connsiteX396" fmla="*/ 275332 w 936181"/>
                  <a:gd name="connsiteY396" fmla="*/ 535817 h 2496787"/>
                  <a:gd name="connsiteX397" fmla="*/ 288818 w 936181"/>
                  <a:gd name="connsiteY397" fmla="*/ 522330 h 2496787"/>
                  <a:gd name="connsiteX398" fmla="*/ 280726 w 936181"/>
                  <a:gd name="connsiteY398" fmla="*/ 489962 h 2496787"/>
                  <a:gd name="connsiteX399" fmla="*/ 286121 w 936181"/>
                  <a:gd name="connsiteY399" fmla="*/ 479173 h 2496787"/>
                  <a:gd name="connsiteX400" fmla="*/ 288818 w 936181"/>
                  <a:gd name="connsiteY400" fmla="*/ 462989 h 2496787"/>
                  <a:gd name="connsiteX401" fmla="*/ 307700 w 936181"/>
                  <a:gd name="connsiteY401" fmla="*/ 444107 h 2496787"/>
                  <a:gd name="connsiteX402" fmla="*/ 318489 w 936181"/>
                  <a:gd name="connsiteY402" fmla="*/ 427923 h 2496787"/>
                  <a:gd name="connsiteX403" fmla="*/ 337371 w 936181"/>
                  <a:gd name="connsiteY403" fmla="*/ 414437 h 2496787"/>
                  <a:gd name="connsiteX404" fmla="*/ 342765 w 936181"/>
                  <a:gd name="connsiteY404" fmla="*/ 395555 h 2496787"/>
                  <a:gd name="connsiteX405" fmla="*/ 337371 w 936181"/>
                  <a:gd name="connsiteY405" fmla="*/ 363187 h 2496787"/>
                  <a:gd name="connsiteX406" fmla="*/ 329279 w 936181"/>
                  <a:gd name="connsiteY406" fmla="*/ 338911 h 2496787"/>
                  <a:gd name="connsiteX407" fmla="*/ 321187 w 936181"/>
                  <a:gd name="connsiteY407" fmla="*/ 336214 h 2496787"/>
                  <a:gd name="connsiteX408" fmla="*/ 318489 w 936181"/>
                  <a:gd name="connsiteY408" fmla="*/ 352398 h 2496787"/>
                  <a:gd name="connsiteX409" fmla="*/ 329279 w 936181"/>
                  <a:gd name="connsiteY409" fmla="*/ 325424 h 2496787"/>
                  <a:gd name="connsiteX410" fmla="*/ 331976 w 936181"/>
                  <a:gd name="connsiteY410" fmla="*/ 306543 h 2496787"/>
                  <a:gd name="connsiteX411" fmla="*/ 342765 w 936181"/>
                  <a:gd name="connsiteY411" fmla="*/ 295753 h 2496787"/>
                  <a:gd name="connsiteX412" fmla="*/ 356252 w 936181"/>
                  <a:gd name="connsiteY412" fmla="*/ 255293 h 2496787"/>
                  <a:gd name="connsiteX413" fmla="*/ 358949 w 936181"/>
                  <a:gd name="connsiteY413" fmla="*/ 233714 h 2496787"/>
                  <a:gd name="connsiteX414" fmla="*/ 364344 w 936181"/>
                  <a:gd name="connsiteY414" fmla="*/ 225622 h 2496787"/>
                  <a:gd name="connsiteX415" fmla="*/ 399410 w 936181"/>
                  <a:gd name="connsiteY415" fmla="*/ 198649 h 2496787"/>
                  <a:gd name="connsiteX416" fmla="*/ 410199 w 936181"/>
                  <a:gd name="connsiteY416" fmla="*/ 206741 h 2496787"/>
                  <a:gd name="connsiteX417" fmla="*/ 418291 w 936181"/>
                  <a:gd name="connsiteY417" fmla="*/ 220228 h 2496787"/>
                  <a:gd name="connsiteX418" fmla="*/ 429080 w 936181"/>
                  <a:gd name="connsiteY418" fmla="*/ 217530 h 2496787"/>
                  <a:gd name="connsiteX419" fmla="*/ 437172 w 936181"/>
                  <a:gd name="connsiteY419" fmla="*/ 185162 h 2496787"/>
                  <a:gd name="connsiteX420" fmla="*/ 437172 w 936181"/>
                  <a:gd name="connsiteY420" fmla="*/ 117729 h 2496787"/>
                  <a:gd name="connsiteX421" fmla="*/ 456054 w 936181"/>
                  <a:gd name="connsiteY421" fmla="*/ 120426 h 2496787"/>
                  <a:gd name="connsiteX422" fmla="*/ 464146 w 936181"/>
                  <a:gd name="connsiteY422" fmla="*/ 113290 h 2496787"/>
                  <a:gd name="connsiteX423" fmla="*/ 491119 w 936181"/>
                  <a:gd name="connsiteY423" fmla="*/ 117729 h 2496787"/>
                  <a:gd name="connsiteX424" fmla="*/ 545066 w 936181"/>
                  <a:gd name="connsiteY424" fmla="*/ 123123 h 2496787"/>
                  <a:gd name="connsiteX425" fmla="*/ 553158 w 936181"/>
                  <a:gd name="connsiteY425" fmla="*/ 125821 h 2496787"/>
                  <a:gd name="connsiteX426" fmla="*/ 563948 w 936181"/>
                  <a:gd name="connsiteY426" fmla="*/ 128518 h 2496787"/>
                  <a:gd name="connsiteX427" fmla="*/ 569342 w 936181"/>
                  <a:gd name="connsiteY427" fmla="*/ 109637 h 2496787"/>
                  <a:gd name="connsiteX428" fmla="*/ 566645 w 936181"/>
                  <a:gd name="connsiteY428" fmla="*/ 88058 h 2496787"/>
                  <a:gd name="connsiteX429" fmla="*/ 572040 w 936181"/>
                  <a:gd name="connsiteY429" fmla="*/ 52992 h 2496787"/>
                  <a:gd name="connsiteX430" fmla="*/ 577434 w 936181"/>
                  <a:gd name="connsiteY430" fmla="*/ 42203 h 2496787"/>
                  <a:gd name="connsiteX431" fmla="*/ 566645 w 936181"/>
                  <a:gd name="connsiteY431" fmla="*/ 20624 h 2496787"/>
                  <a:gd name="connsiteX432" fmla="*/ 563948 w 936181"/>
                  <a:gd name="connsiteY432" fmla="*/ 12532 h 2496787"/>
                  <a:gd name="connsiteX433" fmla="*/ 599013 w 936181"/>
                  <a:gd name="connsiteY433" fmla="*/ 1743 h 2496787"/>
                  <a:gd name="connsiteX0" fmla="*/ 599013 w 936181"/>
                  <a:gd name="connsiteY0" fmla="*/ 1743 h 2496787"/>
                  <a:gd name="connsiteX1" fmla="*/ 612500 w 936181"/>
                  <a:gd name="connsiteY1" fmla="*/ 4440 h 2496787"/>
                  <a:gd name="connsiteX2" fmla="*/ 615197 w 936181"/>
                  <a:gd name="connsiteY2" fmla="*/ 12532 h 2496787"/>
                  <a:gd name="connsiteX3" fmla="*/ 623289 w 936181"/>
                  <a:gd name="connsiteY3" fmla="*/ 26019 h 2496787"/>
                  <a:gd name="connsiteX4" fmla="*/ 625987 w 936181"/>
                  <a:gd name="connsiteY4" fmla="*/ 39506 h 2496787"/>
                  <a:gd name="connsiteX5" fmla="*/ 636776 w 936181"/>
                  <a:gd name="connsiteY5" fmla="*/ 44900 h 2496787"/>
                  <a:gd name="connsiteX6" fmla="*/ 644868 w 936181"/>
                  <a:gd name="connsiteY6" fmla="*/ 50295 h 2496787"/>
                  <a:gd name="connsiteX7" fmla="*/ 650263 w 936181"/>
                  <a:gd name="connsiteY7" fmla="*/ 58387 h 2496787"/>
                  <a:gd name="connsiteX8" fmla="*/ 661052 w 936181"/>
                  <a:gd name="connsiteY8" fmla="*/ 63782 h 2496787"/>
                  <a:gd name="connsiteX9" fmla="*/ 688026 w 936181"/>
                  <a:gd name="connsiteY9" fmla="*/ 74571 h 2496787"/>
                  <a:gd name="connsiteX10" fmla="*/ 717696 w 936181"/>
                  <a:gd name="connsiteY10" fmla="*/ 88058 h 2496787"/>
                  <a:gd name="connsiteX11" fmla="*/ 736578 w 936181"/>
                  <a:gd name="connsiteY11" fmla="*/ 82663 h 2496787"/>
                  <a:gd name="connsiteX12" fmla="*/ 752762 w 936181"/>
                  <a:gd name="connsiteY12" fmla="*/ 93452 h 2496787"/>
                  <a:gd name="connsiteX13" fmla="*/ 766249 w 936181"/>
                  <a:gd name="connsiteY13" fmla="*/ 112334 h 2496787"/>
                  <a:gd name="connsiteX14" fmla="*/ 771643 w 936181"/>
                  <a:gd name="connsiteY14" fmla="*/ 128518 h 2496787"/>
                  <a:gd name="connsiteX15" fmla="*/ 787827 w 936181"/>
                  <a:gd name="connsiteY15" fmla="*/ 133913 h 2496787"/>
                  <a:gd name="connsiteX16" fmla="*/ 795919 w 936181"/>
                  <a:gd name="connsiteY16" fmla="*/ 139307 h 2496787"/>
                  <a:gd name="connsiteX17" fmla="*/ 804011 w 936181"/>
                  <a:gd name="connsiteY17" fmla="*/ 150097 h 2496787"/>
                  <a:gd name="connsiteX18" fmla="*/ 820195 w 936181"/>
                  <a:gd name="connsiteY18" fmla="*/ 166281 h 2496787"/>
                  <a:gd name="connsiteX19" fmla="*/ 817498 w 936181"/>
                  <a:gd name="connsiteY19" fmla="*/ 198649 h 2496787"/>
                  <a:gd name="connsiteX20" fmla="*/ 828287 w 936181"/>
                  <a:gd name="connsiteY20" fmla="*/ 201346 h 2496787"/>
                  <a:gd name="connsiteX21" fmla="*/ 830985 w 936181"/>
                  <a:gd name="connsiteY21" fmla="*/ 247201 h 2496787"/>
                  <a:gd name="connsiteX22" fmla="*/ 839077 w 936181"/>
                  <a:gd name="connsiteY22" fmla="*/ 249898 h 2496787"/>
                  <a:gd name="connsiteX23" fmla="*/ 844472 w 936181"/>
                  <a:gd name="connsiteY23" fmla="*/ 260688 h 2496787"/>
                  <a:gd name="connsiteX24" fmla="*/ 849866 w 936181"/>
                  <a:gd name="connsiteY24" fmla="*/ 268780 h 2496787"/>
                  <a:gd name="connsiteX25" fmla="*/ 844472 w 936181"/>
                  <a:gd name="connsiteY25" fmla="*/ 282267 h 2496787"/>
                  <a:gd name="connsiteX26" fmla="*/ 836380 w 936181"/>
                  <a:gd name="connsiteY26" fmla="*/ 287661 h 2496787"/>
                  <a:gd name="connsiteX27" fmla="*/ 852564 w 936181"/>
                  <a:gd name="connsiteY27" fmla="*/ 306543 h 2496787"/>
                  <a:gd name="connsiteX28" fmla="*/ 855261 w 936181"/>
                  <a:gd name="connsiteY28" fmla="*/ 317332 h 2496787"/>
                  <a:gd name="connsiteX29" fmla="*/ 871445 w 936181"/>
                  <a:gd name="connsiteY29" fmla="*/ 330819 h 2496787"/>
                  <a:gd name="connsiteX30" fmla="*/ 876840 w 936181"/>
                  <a:gd name="connsiteY30" fmla="*/ 349700 h 2496787"/>
                  <a:gd name="connsiteX31" fmla="*/ 884932 w 936181"/>
                  <a:gd name="connsiteY31" fmla="*/ 371279 h 2496787"/>
                  <a:gd name="connsiteX32" fmla="*/ 887629 w 936181"/>
                  <a:gd name="connsiteY32" fmla="*/ 406345 h 2496787"/>
                  <a:gd name="connsiteX33" fmla="*/ 884932 w 936181"/>
                  <a:gd name="connsiteY33" fmla="*/ 414437 h 2496787"/>
                  <a:gd name="connsiteX34" fmla="*/ 882234 w 936181"/>
                  <a:gd name="connsiteY34" fmla="*/ 427923 h 2496787"/>
                  <a:gd name="connsiteX35" fmla="*/ 890326 w 936181"/>
                  <a:gd name="connsiteY35" fmla="*/ 454897 h 2496787"/>
                  <a:gd name="connsiteX36" fmla="*/ 901116 w 936181"/>
                  <a:gd name="connsiteY36" fmla="*/ 457594 h 2496787"/>
                  <a:gd name="connsiteX37" fmla="*/ 911905 w 936181"/>
                  <a:gd name="connsiteY37" fmla="*/ 484568 h 2496787"/>
                  <a:gd name="connsiteX38" fmla="*/ 914603 w 936181"/>
                  <a:gd name="connsiteY38" fmla="*/ 500752 h 2496787"/>
                  <a:gd name="connsiteX39" fmla="*/ 917300 w 936181"/>
                  <a:gd name="connsiteY39" fmla="*/ 508844 h 2496787"/>
                  <a:gd name="connsiteX40" fmla="*/ 936181 w 936181"/>
                  <a:gd name="connsiteY40" fmla="*/ 511541 h 2496787"/>
                  <a:gd name="connsiteX41" fmla="*/ 933484 w 936181"/>
                  <a:gd name="connsiteY41" fmla="*/ 530422 h 2496787"/>
                  <a:gd name="connsiteX42" fmla="*/ 925392 w 936181"/>
                  <a:gd name="connsiteY42" fmla="*/ 535817 h 2496787"/>
                  <a:gd name="connsiteX43" fmla="*/ 893024 w 936181"/>
                  <a:gd name="connsiteY43" fmla="*/ 541212 h 2496787"/>
                  <a:gd name="connsiteX44" fmla="*/ 879537 w 936181"/>
                  <a:gd name="connsiteY44" fmla="*/ 560093 h 2496787"/>
                  <a:gd name="connsiteX45" fmla="*/ 857958 w 936181"/>
                  <a:gd name="connsiteY45" fmla="*/ 557396 h 2496787"/>
                  <a:gd name="connsiteX46" fmla="*/ 839077 w 936181"/>
                  <a:gd name="connsiteY46" fmla="*/ 549304 h 2496787"/>
                  <a:gd name="connsiteX47" fmla="*/ 814801 w 936181"/>
                  <a:gd name="connsiteY47" fmla="*/ 552001 h 2496787"/>
                  <a:gd name="connsiteX48" fmla="*/ 817498 w 936181"/>
                  <a:gd name="connsiteY48" fmla="*/ 587067 h 2496787"/>
                  <a:gd name="connsiteX49" fmla="*/ 825590 w 936181"/>
                  <a:gd name="connsiteY49" fmla="*/ 595159 h 2496787"/>
                  <a:gd name="connsiteX50" fmla="*/ 812103 w 936181"/>
                  <a:gd name="connsiteY50" fmla="*/ 597856 h 2496787"/>
                  <a:gd name="connsiteX51" fmla="*/ 790525 w 936181"/>
                  <a:gd name="connsiteY51" fmla="*/ 595159 h 2496787"/>
                  <a:gd name="connsiteX52" fmla="*/ 785130 w 936181"/>
                  <a:gd name="connsiteY52" fmla="*/ 587067 h 2496787"/>
                  <a:gd name="connsiteX53" fmla="*/ 782433 w 936181"/>
                  <a:gd name="connsiteY53" fmla="*/ 578975 h 2496787"/>
                  <a:gd name="connsiteX54" fmla="*/ 801314 w 936181"/>
                  <a:gd name="connsiteY54" fmla="*/ 595159 h 2496787"/>
                  <a:gd name="connsiteX55" fmla="*/ 790525 w 936181"/>
                  <a:gd name="connsiteY55" fmla="*/ 622132 h 2496787"/>
                  <a:gd name="connsiteX56" fmla="*/ 768946 w 936181"/>
                  <a:gd name="connsiteY56" fmla="*/ 627527 h 2496787"/>
                  <a:gd name="connsiteX57" fmla="*/ 750064 w 936181"/>
                  <a:gd name="connsiteY57" fmla="*/ 635619 h 2496787"/>
                  <a:gd name="connsiteX58" fmla="*/ 741972 w 936181"/>
                  <a:gd name="connsiteY58" fmla="*/ 641014 h 2496787"/>
                  <a:gd name="connsiteX59" fmla="*/ 766249 w 936181"/>
                  <a:gd name="connsiteY59" fmla="*/ 659895 h 2496787"/>
                  <a:gd name="connsiteX60" fmla="*/ 774341 w 936181"/>
                  <a:gd name="connsiteY60" fmla="*/ 662592 h 2496787"/>
                  <a:gd name="connsiteX61" fmla="*/ 763551 w 936181"/>
                  <a:gd name="connsiteY61" fmla="*/ 692263 h 2496787"/>
                  <a:gd name="connsiteX62" fmla="*/ 760854 w 936181"/>
                  <a:gd name="connsiteY62" fmla="*/ 703052 h 2496787"/>
                  <a:gd name="connsiteX63" fmla="*/ 747367 w 936181"/>
                  <a:gd name="connsiteY63" fmla="*/ 713842 h 2496787"/>
                  <a:gd name="connsiteX64" fmla="*/ 750064 w 936181"/>
                  <a:gd name="connsiteY64" fmla="*/ 743513 h 2496787"/>
                  <a:gd name="connsiteX65" fmla="*/ 752762 w 936181"/>
                  <a:gd name="connsiteY65" fmla="*/ 756999 h 2496787"/>
                  <a:gd name="connsiteX66" fmla="*/ 766249 w 936181"/>
                  <a:gd name="connsiteY66" fmla="*/ 773183 h 2496787"/>
                  <a:gd name="connsiteX67" fmla="*/ 768946 w 936181"/>
                  <a:gd name="connsiteY67" fmla="*/ 781275 h 2496787"/>
                  <a:gd name="connsiteX68" fmla="*/ 777038 w 936181"/>
                  <a:gd name="connsiteY68" fmla="*/ 783973 h 2496787"/>
                  <a:gd name="connsiteX69" fmla="*/ 787827 w 936181"/>
                  <a:gd name="connsiteY69" fmla="*/ 789368 h 2496787"/>
                  <a:gd name="connsiteX70" fmla="*/ 790525 w 936181"/>
                  <a:gd name="connsiteY70" fmla="*/ 800157 h 2496787"/>
                  <a:gd name="connsiteX71" fmla="*/ 782433 w 936181"/>
                  <a:gd name="connsiteY71" fmla="*/ 805552 h 2496787"/>
                  <a:gd name="connsiteX72" fmla="*/ 771643 w 936181"/>
                  <a:gd name="connsiteY72" fmla="*/ 816341 h 2496787"/>
                  <a:gd name="connsiteX73" fmla="*/ 768946 w 936181"/>
                  <a:gd name="connsiteY73" fmla="*/ 824433 h 2496787"/>
                  <a:gd name="connsiteX74" fmla="*/ 758157 w 936181"/>
                  <a:gd name="connsiteY74" fmla="*/ 851406 h 2496787"/>
                  <a:gd name="connsiteX75" fmla="*/ 733880 w 936181"/>
                  <a:gd name="connsiteY75" fmla="*/ 937722 h 2496787"/>
                  <a:gd name="connsiteX76" fmla="*/ 725788 w 936181"/>
                  <a:gd name="connsiteY76" fmla="*/ 940419 h 2496787"/>
                  <a:gd name="connsiteX77" fmla="*/ 723091 w 936181"/>
                  <a:gd name="connsiteY77" fmla="*/ 948511 h 2496787"/>
                  <a:gd name="connsiteX78" fmla="*/ 696118 w 936181"/>
                  <a:gd name="connsiteY78" fmla="*/ 970090 h 2496787"/>
                  <a:gd name="connsiteX79" fmla="*/ 688026 w 936181"/>
                  <a:gd name="connsiteY79" fmla="*/ 980879 h 2496787"/>
                  <a:gd name="connsiteX80" fmla="*/ 679934 w 936181"/>
                  <a:gd name="connsiteY80" fmla="*/ 986274 h 2496787"/>
                  <a:gd name="connsiteX81" fmla="*/ 674539 w 936181"/>
                  <a:gd name="connsiteY81" fmla="*/ 994366 h 2496787"/>
                  <a:gd name="connsiteX82" fmla="*/ 655657 w 936181"/>
                  <a:gd name="connsiteY82" fmla="*/ 1002458 h 2496787"/>
                  <a:gd name="connsiteX83" fmla="*/ 650263 w 936181"/>
                  <a:gd name="connsiteY83" fmla="*/ 1015945 h 2496787"/>
                  <a:gd name="connsiteX84" fmla="*/ 639473 w 936181"/>
                  <a:gd name="connsiteY84" fmla="*/ 1021339 h 2496787"/>
                  <a:gd name="connsiteX85" fmla="*/ 636776 w 936181"/>
                  <a:gd name="connsiteY85" fmla="*/ 1032129 h 2496787"/>
                  <a:gd name="connsiteX86" fmla="*/ 623289 w 936181"/>
                  <a:gd name="connsiteY86" fmla="*/ 1045615 h 2496787"/>
                  <a:gd name="connsiteX87" fmla="*/ 636776 w 936181"/>
                  <a:gd name="connsiteY87" fmla="*/ 1051010 h 2496787"/>
                  <a:gd name="connsiteX88" fmla="*/ 642171 w 936181"/>
                  <a:gd name="connsiteY88" fmla="*/ 1059102 h 2496787"/>
                  <a:gd name="connsiteX89" fmla="*/ 615197 w 936181"/>
                  <a:gd name="connsiteY89" fmla="*/ 1061799 h 2496787"/>
                  <a:gd name="connsiteX90" fmla="*/ 580132 w 936181"/>
                  <a:gd name="connsiteY90" fmla="*/ 1086075 h 2496787"/>
                  <a:gd name="connsiteX91" fmla="*/ 588224 w 936181"/>
                  <a:gd name="connsiteY91" fmla="*/ 1091470 h 2496787"/>
                  <a:gd name="connsiteX92" fmla="*/ 596316 w 936181"/>
                  <a:gd name="connsiteY92" fmla="*/ 1099562 h 2496787"/>
                  <a:gd name="connsiteX93" fmla="*/ 588224 w 936181"/>
                  <a:gd name="connsiteY93" fmla="*/ 1123838 h 2496787"/>
                  <a:gd name="connsiteX94" fmla="*/ 574737 w 936181"/>
                  <a:gd name="connsiteY94" fmla="*/ 1126536 h 2496787"/>
                  <a:gd name="connsiteX95" fmla="*/ 545066 w 936181"/>
                  <a:gd name="connsiteY95" fmla="*/ 1123838 h 2496787"/>
                  <a:gd name="connsiteX96" fmla="*/ 542369 w 936181"/>
                  <a:gd name="connsiteY96" fmla="*/ 1107654 h 2496787"/>
                  <a:gd name="connsiteX97" fmla="*/ 534277 w 936181"/>
                  <a:gd name="connsiteY97" fmla="*/ 1104957 h 2496787"/>
                  <a:gd name="connsiteX98" fmla="*/ 539672 w 936181"/>
                  <a:gd name="connsiteY98" fmla="*/ 1118444 h 2496787"/>
                  <a:gd name="connsiteX99" fmla="*/ 547764 w 936181"/>
                  <a:gd name="connsiteY99" fmla="*/ 1123838 h 2496787"/>
                  <a:gd name="connsiteX100" fmla="*/ 550461 w 936181"/>
                  <a:gd name="connsiteY100" fmla="*/ 1131930 h 2496787"/>
                  <a:gd name="connsiteX101" fmla="*/ 561250 w 936181"/>
                  <a:gd name="connsiteY101" fmla="*/ 1153509 h 2496787"/>
                  <a:gd name="connsiteX102" fmla="*/ 563948 w 936181"/>
                  <a:gd name="connsiteY102" fmla="*/ 1183180 h 2496787"/>
                  <a:gd name="connsiteX103" fmla="*/ 555856 w 936181"/>
                  <a:gd name="connsiteY103" fmla="*/ 1188575 h 2496787"/>
                  <a:gd name="connsiteX104" fmla="*/ 520790 w 936181"/>
                  <a:gd name="connsiteY104" fmla="*/ 1202061 h 2496787"/>
                  <a:gd name="connsiteX105" fmla="*/ 523487 w 936181"/>
                  <a:gd name="connsiteY105" fmla="*/ 1220943 h 2496787"/>
                  <a:gd name="connsiteX106" fmla="*/ 534277 w 936181"/>
                  <a:gd name="connsiteY106" fmla="*/ 1226337 h 2496787"/>
                  <a:gd name="connsiteX107" fmla="*/ 536974 w 936181"/>
                  <a:gd name="connsiteY107" fmla="*/ 1234429 h 2496787"/>
                  <a:gd name="connsiteX108" fmla="*/ 528882 w 936181"/>
                  <a:gd name="connsiteY108" fmla="*/ 1237127 h 2496787"/>
                  <a:gd name="connsiteX109" fmla="*/ 528882 w 936181"/>
                  <a:gd name="connsiteY109" fmla="*/ 1261403 h 2496787"/>
                  <a:gd name="connsiteX110" fmla="*/ 534277 w 936181"/>
                  <a:gd name="connsiteY110" fmla="*/ 1269495 h 2496787"/>
                  <a:gd name="connsiteX111" fmla="*/ 515395 w 936181"/>
                  <a:gd name="connsiteY111" fmla="*/ 1280284 h 2496787"/>
                  <a:gd name="connsiteX112" fmla="*/ 520790 w 936181"/>
                  <a:gd name="connsiteY112" fmla="*/ 1291074 h 2496787"/>
                  <a:gd name="connsiteX113" fmla="*/ 523487 w 936181"/>
                  <a:gd name="connsiteY113" fmla="*/ 1326139 h 2496787"/>
                  <a:gd name="connsiteX114" fmla="*/ 528882 w 936181"/>
                  <a:gd name="connsiteY114" fmla="*/ 1342323 h 2496787"/>
                  <a:gd name="connsiteX115" fmla="*/ 507303 w 936181"/>
                  <a:gd name="connsiteY115" fmla="*/ 1350415 h 2496787"/>
                  <a:gd name="connsiteX116" fmla="*/ 518093 w 936181"/>
                  <a:gd name="connsiteY116" fmla="*/ 1374691 h 2496787"/>
                  <a:gd name="connsiteX117" fmla="*/ 520790 w 936181"/>
                  <a:gd name="connsiteY117" fmla="*/ 1382783 h 2496787"/>
                  <a:gd name="connsiteX118" fmla="*/ 526185 w 936181"/>
                  <a:gd name="connsiteY118" fmla="*/ 1404362 h 2496787"/>
                  <a:gd name="connsiteX119" fmla="*/ 520790 w 936181"/>
                  <a:gd name="connsiteY119" fmla="*/ 1436730 h 2496787"/>
                  <a:gd name="connsiteX120" fmla="*/ 515395 w 936181"/>
                  <a:gd name="connsiteY120" fmla="*/ 1463704 h 2496787"/>
                  <a:gd name="connsiteX121" fmla="*/ 520790 w 936181"/>
                  <a:gd name="connsiteY121" fmla="*/ 1471796 h 2496787"/>
                  <a:gd name="connsiteX122" fmla="*/ 534277 w 936181"/>
                  <a:gd name="connsiteY122" fmla="*/ 1482585 h 2496787"/>
                  <a:gd name="connsiteX123" fmla="*/ 536974 w 936181"/>
                  <a:gd name="connsiteY123" fmla="*/ 1501467 h 2496787"/>
                  <a:gd name="connsiteX124" fmla="*/ 542369 w 936181"/>
                  <a:gd name="connsiteY124" fmla="*/ 1509559 h 2496787"/>
                  <a:gd name="connsiteX125" fmla="*/ 545066 w 936181"/>
                  <a:gd name="connsiteY125" fmla="*/ 1517651 h 2496787"/>
                  <a:gd name="connsiteX126" fmla="*/ 558553 w 936181"/>
                  <a:gd name="connsiteY126" fmla="*/ 1514953 h 2496787"/>
                  <a:gd name="connsiteX127" fmla="*/ 569342 w 936181"/>
                  <a:gd name="connsiteY127" fmla="*/ 1523045 h 2496787"/>
                  <a:gd name="connsiteX128" fmla="*/ 582829 w 936181"/>
                  <a:gd name="connsiteY128" fmla="*/ 1528440 h 2496787"/>
                  <a:gd name="connsiteX129" fmla="*/ 590921 w 936181"/>
                  <a:gd name="connsiteY129" fmla="*/ 1536532 h 2496787"/>
                  <a:gd name="connsiteX130" fmla="*/ 601710 w 936181"/>
                  <a:gd name="connsiteY130" fmla="*/ 1539229 h 2496787"/>
                  <a:gd name="connsiteX131" fmla="*/ 612500 w 936181"/>
                  <a:gd name="connsiteY131" fmla="*/ 1544624 h 2496787"/>
                  <a:gd name="connsiteX132" fmla="*/ 623289 w 936181"/>
                  <a:gd name="connsiteY132" fmla="*/ 1576992 h 2496787"/>
                  <a:gd name="connsiteX133" fmla="*/ 631381 w 936181"/>
                  <a:gd name="connsiteY133" fmla="*/ 1571598 h 2496787"/>
                  <a:gd name="connsiteX134" fmla="*/ 642171 w 936181"/>
                  <a:gd name="connsiteY134" fmla="*/ 1552716 h 2496787"/>
                  <a:gd name="connsiteX135" fmla="*/ 644868 w 936181"/>
                  <a:gd name="connsiteY135" fmla="*/ 1560808 h 2496787"/>
                  <a:gd name="connsiteX136" fmla="*/ 655657 w 936181"/>
                  <a:gd name="connsiteY136" fmla="*/ 1576992 h 2496787"/>
                  <a:gd name="connsiteX137" fmla="*/ 658355 w 936181"/>
                  <a:gd name="connsiteY137" fmla="*/ 1601268 h 2496787"/>
                  <a:gd name="connsiteX138" fmla="*/ 690723 w 936181"/>
                  <a:gd name="connsiteY138" fmla="*/ 1609360 h 2496787"/>
                  <a:gd name="connsiteX139" fmla="*/ 696118 w 936181"/>
                  <a:gd name="connsiteY139" fmla="*/ 1617452 h 2496787"/>
                  <a:gd name="connsiteX140" fmla="*/ 698815 w 936181"/>
                  <a:gd name="connsiteY140" fmla="*/ 1625545 h 2496787"/>
                  <a:gd name="connsiteX141" fmla="*/ 704210 w 936181"/>
                  <a:gd name="connsiteY141" fmla="*/ 1660610 h 2496787"/>
                  <a:gd name="connsiteX142" fmla="*/ 690723 w 936181"/>
                  <a:gd name="connsiteY142" fmla="*/ 1679491 h 2496787"/>
                  <a:gd name="connsiteX143" fmla="*/ 688026 w 936181"/>
                  <a:gd name="connsiteY143" fmla="*/ 1690281 h 2496787"/>
                  <a:gd name="connsiteX144" fmla="*/ 685328 w 936181"/>
                  <a:gd name="connsiteY144" fmla="*/ 1709162 h 2496787"/>
                  <a:gd name="connsiteX145" fmla="*/ 677236 w 936181"/>
                  <a:gd name="connsiteY145" fmla="*/ 1711860 h 2496787"/>
                  <a:gd name="connsiteX146" fmla="*/ 661052 w 936181"/>
                  <a:gd name="connsiteY146" fmla="*/ 1714557 h 2496787"/>
                  <a:gd name="connsiteX147" fmla="*/ 655657 w 936181"/>
                  <a:gd name="connsiteY147" fmla="*/ 1722649 h 2496787"/>
                  <a:gd name="connsiteX148" fmla="*/ 625987 w 936181"/>
                  <a:gd name="connsiteY148" fmla="*/ 1733438 h 2496787"/>
                  <a:gd name="connsiteX149" fmla="*/ 623289 w 936181"/>
                  <a:gd name="connsiteY149" fmla="*/ 1752320 h 2496787"/>
                  <a:gd name="connsiteX150" fmla="*/ 601710 w 936181"/>
                  <a:gd name="connsiteY150" fmla="*/ 1749622 h 2496787"/>
                  <a:gd name="connsiteX151" fmla="*/ 596316 w 936181"/>
                  <a:gd name="connsiteY151" fmla="*/ 1736136 h 2496787"/>
                  <a:gd name="connsiteX152" fmla="*/ 601710 w 936181"/>
                  <a:gd name="connsiteY152" fmla="*/ 1719952 h 2496787"/>
                  <a:gd name="connsiteX153" fmla="*/ 582829 w 936181"/>
                  <a:gd name="connsiteY153" fmla="*/ 1695675 h 2496787"/>
                  <a:gd name="connsiteX154" fmla="*/ 580132 w 936181"/>
                  <a:gd name="connsiteY154" fmla="*/ 1714557 h 2496787"/>
                  <a:gd name="connsiteX155" fmla="*/ 574737 w 936181"/>
                  <a:gd name="connsiteY155" fmla="*/ 1722649 h 2496787"/>
                  <a:gd name="connsiteX156" fmla="*/ 558553 w 936181"/>
                  <a:gd name="connsiteY156" fmla="*/ 1719952 h 2496787"/>
                  <a:gd name="connsiteX157" fmla="*/ 501909 w 936181"/>
                  <a:gd name="connsiteY157" fmla="*/ 1730741 h 2496787"/>
                  <a:gd name="connsiteX158" fmla="*/ 488422 w 936181"/>
                  <a:gd name="connsiteY158" fmla="*/ 1741530 h 2496787"/>
                  <a:gd name="connsiteX159" fmla="*/ 464146 w 936181"/>
                  <a:gd name="connsiteY159" fmla="*/ 1746925 h 2496787"/>
                  <a:gd name="connsiteX160" fmla="*/ 453357 w 936181"/>
                  <a:gd name="connsiteY160" fmla="*/ 1749622 h 2496787"/>
                  <a:gd name="connsiteX161" fmla="*/ 499211 w 936181"/>
                  <a:gd name="connsiteY161" fmla="*/ 1746925 h 2496787"/>
                  <a:gd name="connsiteX162" fmla="*/ 507303 w 936181"/>
                  <a:gd name="connsiteY162" fmla="*/ 1752320 h 2496787"/>
                  <a:gd name="connsiteX163" fmla="*/ 523487 w 936181"/>
                  <a:gd name="connsiteY163" fmla="*/ 1757714 h 2496787"/>
                  <a:gd name="connsiteX164" fmla="*/ 531580 w 936181"/>
                  <a:gd name="connsiteY164" fmla="*/ 1738833 h 2496787"/>
                  <a:gd name="connsiteX165" fmla="*/ 539672 w 936181"/>
                  <a:gd name="connsiteY165" fmla="*/ 1733438 h 2496787"/>
                  <a:gd name="connsiteX166" fmla="*/ 555856 w 936181"/>
                  <a:gd name="connsiteY166" fmla="*/ 1755017 h 2496787"/>
                  <a:gd name="connsiteX167" fmla="*/ 566645 w 936181"/>
                  <a:gd name="connsiteY167" fmla="*/ 1773898 h 2496787"/>
                  <a:gd name="connsiteX168" fmla="*/ 582829 w 936181"/>
                  <a:gd name="connsiteY168" fmla="*/ 1768504 h 2496787"/>
                  <a:gd name="connsiteX169" fmla="*/ 588224 w 936181"/>
                  <a:gd name="connsiteY169" fmla="*/ 1760412 h 2496787"/>
                  <a:gd name="connsiteX170" fmla="*/ 636776 w 936181"/>
                  <a:gd name="connsiteY170" fmla="*/ 1749622 h 2496787"/>
                  <a:gd name="connsiteX171" fmla="*/ 650263 w 936181"/>
                  <a:gd name="connsiteY171" fmla="*/ 1725346 h 2496787"/>
                  <a:gd name="connsiteX172" fmla="*/ 658355 w 936181"/>
                  <a:gd name="connsiteY172" fmla="*/ 1722649 h 2496787"/>
                  <a:gd name="connsiteX173" fmla="*/ 671841 w 936181"/>
                  <a:gd name="connsiteY173" fmla="*/ 1728044 h 2496787"/>
                  <a:gd name="connsiteX174" fmla="*/ 679934 w 936181"/>
                  <a:gd name="connsiteY174" fmla="*/ 1730741 h 2496787"/>
                  <a:gd name="connsiteX175" fmla="*/ 682631 w 936181"/>
                  <a:gd name="connsiteY175" fmla="*/ 1738833 h 2496787"/>
                  <a:gd name="connsiteX176" fmla="*/ 671841 w 936181"/>
                  <a:gd name="connsiteY176" fmla="*/ 1741530 h 2496787"/>
                  <a:gd name="connsiteX177" fmla="*/ 655657 w 936181"/>
                  <a:gd name="connsiteY177" fmla="*/ 1755017 h 2496787"/>
                  <a:gd name="connsiteX178" fmla="*/ 658355 w 936181"/>
                  <a:gd name="connsiteY178" fmla="*/ 1781991 h 2496787"/>
                  <a:gd name="connsiteX179" fmla="*/ 644868 w 936181"/>
                  <a:gd name="connsiteY179" fmla="*/ 1790083 h 2496787"/>
                  <a:gd name="connsiteX180" fmla="*/ 650263 w 936181"/>
                  <a:gd name="connsiteY180" fmla="*/ 1798175 h 2496787"/>
                  <a:gd name="connsiteX181" fmla="*/ 642171 w 936181"/>
                  <a:gd name="connsiteY181" fmla="*/ 1822451 h 2496787"/>
                  <a:gd name="connsiteX182" fmla="*/ 636537 w 936181"/>
                  <a:gd name="connsiteY182" fmla="*/ 1842050 h 2496787"/>
                  <a:gd name="connsiteX183" fmla="*/ 628684 w 936181"/>
                  <a:gd name="connsiteY183" fmla="*/ 1835937 h 2496787"/>
                  <a:gd name="connsiteX184" fmla="*/ 617895 w 936181"/>
                  <a:gd name="connsiteY184" fmla="*/ 1806267 h 2496787"/>
                  <a:gd name="connsiteX185" fmla="*/ 607105 w 936181"/>
                  <a:gd name="connsiteY185" fmla="*/ 1800872 h 2496787"/>
                  <a:gd name="connsiteX186" fmla="*/ 593618 w 936181"/>
                  <a:gd name="connsiteY186" fmla="*/ 1838635 h 2496787"/>
                  <a:gd name="connsiteX187" fmla="*/ 585526 w 936181"/>
                  <a:gd name="connsiteY187" fmla="*/ 1841332 h 2496787"/>
                  <a:gd name="connsiteX188" fmla="*/ 582829 w 936181"/>
                  <a:gd name="connsiteY188" fmla="*/ 1857516 h 2496787"/>
                  <a:gd name="connsiteX189" fmla="*/ 580132 w 936181"/>
                  <a:gd name="connsiteY189" fmla="*/ 1865608 h 2496787"/>
                  <a:gd name="connsiteX190" fmla="*/ 572040 w 936181"/>
                  <a:gd name="connsiteY190" fmla="*/ 1873700 h 2496787"/>
                  <a:gd name="connsiteX191" fmla="*/ 563948 w 936181"/>
                  <a:gd name="connsiteY191" fmla="*/ 1876398 h 2496787"/>
                  <a:gd name="connsiteX192" fmla="*/ 520790 w 936181"/>
                  <a:gd name="connsiteY192" fmla="*/ 1879095 h 2496787"/>
                  <a:gd name="connsiteX193" fmla="*/ 472238 w 936181"/>
                  <a:gd name="connsiteY193" fmla="*/ 1887187 h 2496787"/>
                  <a:gd name="connsiteX194" fmla="*/ 488422 w 936181"/>
                  <a:gd name="connsiteY194" fmla="*/ 1881792 h 2496787"/>
                  <a:gd name="connsiteX195" fmla="*/ 539672 w 936181"/>
                  <a:gd name="connsiteY195" fmla="*/ 1911463 h 2496787"/>
                  <a:gd name="connsiteX196" fmla="*/ 542369 w 936181"/>
                  <a:gd name="connsiteY196" fmla="*/ 1919555 h 2496787"/>
                  <a:gd name="connsiteX197" fmla="*/ 523487 w 936181"/>
                  <a:gd name="connsiteY197" fmla="*/ 1922252 h 2496787"/>
                  <a:gd name="connsiteX198" fmla="*/ 512698 w 936181"/>
                  <a:gd name="connsiteY198" fmla="*/ 1938437 h 2496787"/>
                  <a:gd name="connsiteX199" fmla="*/ 523487 w 936181"/>
                  <a:gd name="connsiteY199" fmla="*/ 1943831 h 2496787"/>
                  <a:gd name="connsiteX200" fmla="*/ 526185 w 936181"/>
                  <a:gd name="connsiteY200" fmla="*/ 1951923 h 2496787"/>
                  <a:gd name="connsiteX201" fmla="*/ 536974 w 936181"/>
                  <a:gd name="connsiteY201" fmla="*/ 1957318 h 2496787"/>
                  <a:gd name="connsiteX202" fmla="*/ 534277 w 936181"/>
                  <a:gd name="connsiteY202" fmla="*/ 1965410 h 2496787"/>
                  <a:gd name="connsiteX203" fmla="*/ 523487 w 936181"/>
                  <a:gd name="connsiteY203" fmla="*/ 1995081 h 2496787"/>
                  <a:gd name="connsiteX204" fmla="*/ 515395 w 936181"/>
                  <a:gd name="connsiteY204" fmla="*/ 2000475 h 2496787"/>
                  <a:gd name="connsiteX205" fmla="*/ 523487 w 936181"/>
                  <a:gd name="connsiteY205" fmla="*/ 2005870 h 2496787"/>
                  <a:gd name="connsiteX206" fmla="*/ 545066 w 936181"/>
                  <a:gd name="connsiteY206" fmla="*/ 2013962 h 2496787"/>
                  <a:gd name="connsiteX207" fmla="*/ 553158 w 936181"/>
                  <a:gd name="connsiteY207" fmla="*/ 2011265 h 2496787"/>
                  <a:gd name="connsiteX208" fmla="*/ 539672 w 936181"/>
                  <a:gd name="connsiteY208" fmla="*/ 2022054 h 2496787"/>
                  <a:gd name="connsiteX209" fmla="*/ 534277 w 936181"/>
                  <a:gd name="connsiteY209" fmla="*/ 2038238 h 2496787"/>
                  <a:gd name="connsiteX210" fmla="*/ 542369 w 936181"/>
                  <a:gd name="connsiteY210" fmla="*/ 2062514 h 2496787"/>
                  <a:gd name="connsiteX211" fmla="*/ 536974 w 936181"/>
                  <a:gd name="connsiteY211" fmla="*/ 2070606 h 2496787"/>
                  <a:gd name="connsiteX212" fmla="*/ 539672 w 936181"/>
                  <a:gd name="connsiteY212" fmla="*/ 2084093 h 2496787"/>
                  <a:gd name="connsiteX213" fmla="*/ 545066 w 936181"/>
                  <a:gd name="connsiteY213" fmla="*/ 2100277 h 2496787"/>
                  <a:gd name="connsiteX214" fmla="*/ 531580 w 936181"/>
                  <a:gd name="connsiteY214" fmla="*/ 2111067 h 2496787"/>
                  <a:gd name="connsiteX215" fmla="*/ 528882 w 936181"/>
                  <a:gd name="connsiteY215" fmla="*/ 2121856 h 2496787"/>
                  <a:gd name="connsiteX216" fmla="*/ 510001 w 936181"/>
                  <a:gd name="connsiteY216" fmla="*/ 2127251 h 2496787"/>
                  <a:gd name="connsiteX217" fmla="*/ 515395 w 936181"/>
                  <a:gd name="connsiteY217" fmla="*/ 2138040 h 2496787"/>
                  <a:gd name="connsiteX218" fmla="*/ 520790 w 936181"/>
                  <a:gd name="connsiteY218" fmla="*/ 2148829 h 2496787"/>
                  <a:gd name="connsiteX219" fmla="*/ 523487 w 936181"/>
                  <a:gd name="connsiteY219" fmla="*/ 2156922 h 2496787"/>
                  <a:gd name="connsiteX220" fmla="*/ 542369 w 936181"/>
                  <a:gd name="connsiteY220" fmla="*/ 2162316 h 2496787"/>
                  <a:gd name="connsiteX221" fmla="*/ 531580 w 936181"/>
                  <a:gd name="connsiteY221" fmla="*/ 2170408 h 2496787"/>
                  <a:gd name="connsiteX222" fmla="*/ 515395 w 936181"/>
                  <a:gd name="connsiteY222" fmla="*/ 2210868 h 2496787"/>
                  <a:gd name="connsiteX223" fmla="*/ 518093 w 936181"/>
                  <a:gd name="connsiteY223" fmla="*/ 2218960 h 2496787"/>
                  <a:gd name="connsiteX224" fmla="*/ 542369 w 936181"/>
                  <a:gd name="connsiteY224" fmla="*/ 2202776 h 2496787"/>
                  <a:gd name="connsiteX225" fmla="*/ 545066 w 936181"/>
                  <a:gd name="connsiteY225" fmla="*/ 2183895 h 2496787"/>
                  <a:gd name="connsiteX226" fmla="*/ 550461 w 936181"/>
                  <a:gd name="connsiteY226" fmla="*/ 2167711 h 2496787"/>
                  <a:gd name="connsiteX227" fmla="*/ 553158 w 936181"/>
                  <a:gd name="connsiteY227" fmla="*/ 2146132 h 2496787"/>
                  <a:gd name="connsiteX228" fmla="*/ 563948 w 936181"/>
                  <a:gd name="connsiteY228" fmla="*/ 2129948 h 2496787"/>
                  <a:gd name="connsiteX229" fmla="*/ 569342 w 936181"/>
                  <a:gd name="connsiteY229" fmla="*/ 2121856 h 2496787"/>
                  <a:gd name="connsiteX230" fmla="*/ 577434 w 936181"/>
                  <a:gd name="connsiteY230" fmla="*/ 2129948 h 2496787"/>
                  <a:gd name="connsiteX231" fmla="*/ 574737 w 936181"/>
                  <a:gd name="connsiteY231" fmla="*/ 2138040 h 2496787"/>
                  <a:gd name="connsiteX232" fmla="*/ 566645 w 936181"/>
                  <a:gd name="connsiteY232" fmla="*/ 2170408 h 2496787"/>
                  <a:gd name="connsiteX233" fmla="*/ 561250 w 936181"/>
                  <a:gd name="connsiteY233" fmla="*/ 2191987 h 2496787"/>
                  <a:gd name="connsiteX234" fmla="*/ 558553 w 936181"/>
                  <a:gd name="connsiteY234" fmla="*/ 2208171 h 2496787"/>
                  <a:gd name="connsiteX235" fmla="*/ 553158 w 936181"/>
                  <a:gd name="connsiteY235" fmla="*/ 2227052 h 2496787"/>
                  <a:gd name="connsiteX236" fmla="*/ 547764 w 936181"/>
                  <a:gd name="connsiteY236" fmla="*/ 2294486 h 2496787"/>
                  <a:gd name="connsiteX237" fmla="*/ 545066 w 936181"/>
                  <a:gd name="connsiteY237" fmla="*/ 2313368 h 2496787"/>
                  <a:gd name="connsiteX238" fmla="*/ 536974 w 936181"/>
                  <a:gd name="connsiteY238" fmla="*/ 2318762 h 2496787"/>
                  <a:gd name="connsiteX239" fmla="*/ 528882 w 936181"/>
                  <a:gd name="connsiteY239" fmla="*/ 2326854 h 2496787"/>
                  <a:gd name="connsiteX240" fmla="*/ 520790 w 936181"/>
                  <a:gd name="connsiteY240" fmla="*/ 2313368 h 2496787"/>
                  <a:gd name="connsiteX241" fmla="*/ 520790 w 936181"/>
                  <a:gd name="connsiteY241" fmla="*/ 2272907 h 2496787"/>
                  <a:gd name="connsiteX242" fmla="*/ 526185 w 936181"/>
                  <a:gd name="connsiteY242" fmla="*/ 2256723 h 2496787"/>
                  <a:gd name="connsiteX243" fmla="*/ 527294 w 936181"/>
                  <a:gd name="connsiteY243" fmla="*/ 2220534 h 2496787"/>
                  <a:gd name="connsiteX244" fmla="*/ 520790 w 936181"/>
                  <a:gd name="connsiteY244" fmla="*/ 2254026 h 2496787"/>
                  <a:gd name="connsiteX245" fmla="*/ 507303 w 936181"/>
                  <a:gd name="connsiteY245" fmla="*/ 2259421 h 2496787"/>
                  <a:gd name="connsiteX246" fmla="*/ 501909 w 936181"/>
                  <a:gd name="connsiteY246" fmla="*/ 2267513 h 2496787"/>
                  <a:gd name="connsiteX247" fmla="*/ 496514 w 936181"/>
                  <a:gd name="connsiteY247" fmla="*/ 2316065 h 2496787"/>
                  <a:gd name="connsiteX248" fmla="*/ 491119 w 936181"/>
                  <a:gd name="connsiteY248" fmla="*/ 2332249 h 2496787"/>
                  <a:gd name="connsiteX249" fmla="*/ 480330 w 936181"/>
                  <a:gd name="connsiteY249" fmla="*/ 2340341 h 2496787"/>
                  <a:gd name="connsiteX250" fmla="*/ 437172 w 936181"/>
                  <a:gd name="connsiteY250" fmla="*/ 2337644 h 2496787"/>
                  <a:gd name="connsiteX251" fmla="*/ 434475 w 936181"/>
                  <a:gd name="connsiteY251" fmla="*/ 2351130 h 2496787"/>
                  <a:gd name="connsiteX252" fmla="*/ 426383 w 936181"/>
                  <a:gd name="connsiteY252" fmla="*/ 2359222 h 2496787"/>
                  <a:gd name="connsiteX253" fmla="*/ 404804 w 936181"/>
                  <a:gd name="connsiteY253" fmla="*/ 2356525 h 2496787"/>
                  <a:gd name="connsiteX254" fmla="*/ 396712 w 936181"/>
                  <a:gd name="connsiteY254" fmla="*/ 2351130 h 2496787"/>
                  <a:gd name="connsiteX255" fmla="*/ 377831 w 936181"/>
                  <a:gd name="connsiteY255" fmla="*/ 2356525 h 2496787"/>
                  <a:gd name="connsiteX256" fmla="*/ 380528 w 936181"/>
                  <a:gd name="connsiteY256" fmla="*/ 2372709 h 2496787"/>
                  <a:gd name="connsiteX257" fmla="*/ 377831 w 936181"/>
                  <a:gd name="connsiteY257" fmla="*/ 2383498 h 2496787"/>
                  <a:gd name="connsiteX258" fmla="*/ 334673 w 936181"/>
                  <a:gd name="connsiteY258" fmla="*/ 2391591 h 2496787"/>
                  <a:gd name="connsiteX259" fmla="*/ 331976 w 936181"/>
                  <a:gd name="connsiteY259" fmla="*/ 2405077 h 2496787"/>
                  <a:gd name="connsiteX260" fmla="*/ 326581 w 936181"/>
                  <a:gd name="connsiteY260" fmla="*/ 2418564 h 2496787"/>
                  <a:gd name="connsiteX261" fmla="*/ 329279 w 936181"/>
                  <a:gd name="connsiteY261" fmla="*/ 2432051 h 2496787"/>
                  <a:gd name="connsiteX262" fmla="*/ 334673 w 936181"/>
                  <a:gd name="connsiteY262" fmla="*/ 2450932 h 2496787"/>
                  <a:gd name="connsiteX263" fmla="*/ 342765 w 936181"/>
                  <a:gd name="connsiteY263" fmla="*/ 2459024 h 2496787"/>
                  <a:gd name="connsiteX264" fmla="*/ 331976 w 936181"/>
                  <a:gd name="connsiteY264" fmla="*/ 2480603 h 2496787"/>
                  <a:gd name="connsiteX265" fmla="*/ 318489 w 936181"/>
                  <a:gd name="connsiteY265" fmla="*/ 2483300 h 2496787"/>
                  <a:gd name="connsiteX266" fmla="*/ 302305 w 936181"/>
                  <a:gd name="connsiteY266" fmla="*/ 2485998 h 2496787"/>
                  <a:gd name="connsiteX267" fmla="*/ 269937 w 936181"/>
                  <a:gd name="connsiteY267" fmla="*/ 2483300 h 2496787"/>
                  <a:gd name="connsiteX268" fmla="*/ 253753 w 936181"/>
                  <a:gd name="connsiteY268" fmla="*/ 2494090 h 2496787"/>
                  <a:gd name="connsiteX269" fmla="*/ 207898 w 936181"/>
                  <a:gd name="connsiteY269" fmla="*/ 2496787 h 2496787"/>
                  <a:gd name="connsiteX270" fmla="*/ 197109 w 936181"/>
                  <a:gd name="connsiteY270" fmla="*/ 2491392 h 2496787"/>
                  <a:gd name="connsiteX271" fmla="*/ 194411 w 936181"/>
                  <a:gd name="connsiteY271" fmla="*/ 2483300 h 2496787"/>
                  <a:gd name="connsiteX272" fmla="*/ 202503 w 936181"/>
                  <a:gd name="connsiteY272" fmla="*/ 2423959 h 2496787"/>
                  <a:gd name="connsiteX273" fmla="*/ 199806 w 936181"/>
                  <a:gd name="connsiteY273" fmla="*/ 2415867 h 2496787"/>
                  <a:gd name="connsiteX274" fmla="*/ 197109 w 936181"/>
                  <a:gd name="connsiteY274" fmla="*/ 2405077 h 2496787"/>
                  <a:gd name="connsiteX275" fmla="*/ 175530 w 936181"/>
                  <a:gd name="connsiteY275" fmla="*/ 2394288 h 2496787"/>
                  <a:gd name="connsiteX276" fmla="*/ 162043 w 936181"/>
                  <a:gd name="connsiteY276" fmla="*/ 2383498 h 2496787"/>
                  <a:gd name="connsiteX277" fmla="*/ 153951 w 936181"/>
                  <a:gd name="connsiteY277" fmla="*/ 2370012 h 2496787"/>
                  <a:gd name="connsiteX278" fmla="*/ 140464 w 936181"/>
                  <a:gd name="connsiteY278" fmla="*/ 2343038 h 2496787"/>
                  <a:gd name="connsiteX279" fmla="*/ 153951 w 936181"/>
                  <a:gd name="connsiteY279" fmla="*/ 2337644 h 2496787"/>
                  <a:gd name="connsiteX280" fmla="*/ 167438 w 936181"/>
                  <a:gd name="connsiteY280" fmla="*/ 2340341 h 2496787"/>
                  <a:gd name="connsiteX281" fmla="*/ 159346 w 936181"/>
                  <a:gd name="connsiteY281" fmla="*/ 2310670 h 2496787"/>
                  <a:gd name="connsiteX282" fmla="*/ 156649 w 936181"/>
                  <a:gd name="connsiteY282" fmla="*/ 2299881 h 2496787"/>
                  <a:gd name="connsiteX283" fmla="*/ 175530 w 936181"/>
                  <a:gd name="connsiteY283" fmla="*/ 2302578 h 2496787"/>
                  <a:gd name="connsiteX284" fmla="*/ 183622 w 936181"/>
                  <a:gd name="connsiteY284" fmla="*/ 2286394 h 2496787"/>
                  <a:gd name="connsiteX285" fmla="*/ 156649 w 936181"/>
                  <a:gd name="connsiteY285" fmla="*/ 2272907 h 2496787"/>
                  <a:gd name="connsiteX286" fmla="*/ 159346 w 936181"/>
                  <a:gd name="connsiteY286" fmla="*/ 2262118 h 2496787"/>
                  <a:gd name="connsiteX287" fmla="*/ 151254 w 936181"/>
                  <a:gd name="connsiteY287" fmla="*/ 2243237 h 2496787"/>
                  <a:gd name="connsiteX288" fmla="*/ 132372 w 936181"/>
                  <a:gd name="connsiteY288" fmla="*/ 2224355 h 2496787"/>
                  <a:gd name="connsiteX289" fmla="*/ 121583 w 936181"/>
                  <a:gd name="connsiteY289" fmla="*/ 2213566 h 2496787"/>
                  <a:gd name="connsiteX290" fmla="*/ 113491 w 936181"/>
                  <a:gd name="connsiteY290" fmla="*/ 2197382 h 2496787"/>
                  <a:gd name="connsiteX291" fmla="*/ 110794 w 936181"/>
                  <a:gd name="connsiteY291" fmla="*/ 2173106 h 2496787"/>
                  <a:gd name="connsiteX292" fmla="*/ 102702 w 936181"/>
                  <a:gd name="connsiteY292" fmla="*/ 2170408 h 2496787"/>
                  <a:gd name="connsiteX293" fmla="*/ 100004 w 936181"/>
                  <a:gd name="connsiteY293" fmla="*/ 2159619 h 2496787"/>
                  <a:gd name="connsiteX294" fmla="*/ 81123 w 936181"/>
                  <a:gd name="connsiteY294" fmla="*/ 2135343 h 2496787"/>
                  <a:gd name="connsiteX295" fmla="*/ 94610 w 936181"/>
                  <a:gd name="connsiteY295" fmla="*/ 2127251 h 2496787"/>
                  <a:gd name="connsiteX296" fmla="*/ 81123 w 936181"/>
                  <a:gd name="connsiteY296" fmla="*/ 2105672 h 2496787"/>
                  <a:gd name="connsiteX297" fmla="*/ 62241 w 936181"/>
                  <a:gd name="connsiteY297" fmla="*/ 2086791 h 2496787"/>
                  <a:gd name="connsiteX298" fmla="*/ 54149 w 936181"/>
                  <a:gd name="connsiteY298" fmla="*/ 2084093 h 2496787"/>
                  <a:gd name="connsiteX299" fmla="*/ 56847 w 936181"/>
                  <a:gd name="connsiteY299" fmla="*/ 2062514 h 2496787"/>
                  <a:gd name="connsiteX300" fmla="*/ 56847 w 936181"/>
                  <a:gd name="connsiteY300" fmla="*/ 2038238 h 2496787"/>
                  <a:gd name="connsiteX301" fmla="*/ 46057 w 936181"/>
                  <a:gd name="connsiteY301" fmla="*/ 2035541 h 2496787"/>
                  <a:gd name="connsiteX302" fmla="*/ 37965 w 936181"/>
                  <a:gd name="connsiteY302" fmla="*/ 2032844 h 2496787"/>
                  <a:gd name="connsiteX303" fmla="*/ 32571 w 936181"/>
                  <a:gd name="connsiteY303" fmla="*/ 2022054 h 2496787"/>
                  <a:gd name="connsiteX304" fmla="*/ 35268 w 936181"/>
                  <a:gd name="connsiteY304" fmla="*/ 2013962 h 2496787"/>
                  <a:gd name="connsiteX305" fmla="*/ 48755 w 936181"/>
                  <a:gd name="connsiteY305" fmla="*/ 2019357 h 2496787"/>
                  <a:gd name="connsiteX306" fmla="*/ 59544 w 936181"/>
                  <a:gd name="connsiteY306" fmla="*/ 2040936 h 2496787"/>
                  <a:gd name="connsiteX307" fmla="*/ 70334 w 936181"/>
                  <a:gd name="connsiteY307" fmla="*/ 2038238 h 2496787"/>
                  <a:gd name="connsiteX308" fmla="*/ 64939 w 936181"/>
                  <a:gd name="connsiteY308" fmla="*/ 1995081 h 2496787"/>
                  <a:gd name="connsiteX309" fmla="*/ 67636 w 936181"/>
                  <a:gd name="connsiteY309" fmla="*/ 1986989 h 2496787"/>
                  <a:gd name="connsiteX310" fmla="*/ 56847 w 936181"/>
                  <a:gd name="connsiteY310" fmla="*/ 1976199 h 2496787"/>
                  <a:gd name="connsiteX311" fmla="*/ 32571 w 936181"/>
                  <a:gd name="connsiteY311" fmla="*/ 1981594 h 2496787"/>
                  <a:gd name="connsiteX312" fmla="*/ 24479 w 936181"/>
                  <a:gd name="connsiteY312" fmla="*/ 1986989 h 2496787"/>
                  <a:gd name="connsiteX313" fmla="*/ 16387 w 936181"/>
                  <a:gd name="connsiteY313" fmla="*/ 1965410 h 2496787"/>
                  <a:gd name="connsiteX314" fmla="*/ 5597 w 936181"/>
                  <a:gd name="connsiteY314" fmla="*/ 1949226 h 2496787"/>
                  <a:gd name="connsiteX315" fmla="*/ 13689 w 936181"/>
                  <a:gd name="connsiteY315" fmla="*/ 1935739 h 2496787"/>
                  <a:gd name="connsiteX316" fmla="*/ 19084 w 936181"/>
                  <a:gd name="connsiteY316" fmla="*/ 1919555 h 2496787"/>
                  <a:gd name="connsiteX317" fmla="*/ 8295 w 936181"/>
                  <a:gd name="connsiteY317" fmla="*/ 1916858 h 2496787"/>
                  <a:gd name="connsiteX318" fmla="*/ 2900 w 936181"/>
                  <a:gd name="connsiteY318" fmla="*/ 1852122 h 2496787"/>
                  <a:gd name="connsiteX319" fmla="*/ 16387 w 936181"/>
                  <a:gd name="connsiteY319" fmla="*/ 1849424 h 2496787"/>
                  <a:gd name="connsiteX320" fmla="*/ 19084 w 936181"/>
                  <a:gd name="connsiteY320" fmla="*/ 1841332 h 2496787"/>
                  <a:gd name="connsiteX321" fmla="*/ 2900 w 936181"/>
                  <a:gd name="connsiteY321" fmla="*/ 1841332 h 2496787"/>
                  <a:gd name="connsiteX322" fmla="*/ 16387 w 936181"/>
                  <a:gd name="connsiteY322" fmla="*/ 1846727 h 2496787"/>
                  <a:gd name="connsiteX323" fmla="*/ 29873 w 936181"/>
                  <a:gd name="connsiteY323" fmla="*/ 1862911 h 2496787"/>
                  <a:gd name="connsiteX324" fmla="*/ 40663 w 936181"/>
                  <a:gd name="connsiteY324" fmla="*/ 1865608 h 2496787"/>
                  <a:gd name="connsiteX325" fmla="*/ 56847 w 936181"/>
                  <a:gd name="connsiteY325" fmla="*/ 1854819 h 2496787"/>
                  <a:gd name="connsiteX326" fmla="*/ 48755 w 936181"/>
                  <a:gd name="connsiteY326" fmla="*/ 1768504 h 2496787"/>
                  <a:gd name="connsiteX327" fmla="*/ 56847 w 936181"/>
                  <a:gd name="connsiteY327" fmla="*/ 1730741 h 2496787"/>
                  <a:gd name="connsiteX328" fmla="*/ 64939 w 936181"/>
                  <a:gd name="connsiteY328" fmla="*/ 1728044 h 2496787"/>
                  <a:gd name="connsiteX329" fmla="*/ 67636 w 936181"/>
                  <a:gd name="connsiteY329" fmla="*/ 1719952 h 2496787"/>
                  <a:gd name="connsiteX330" fmla="*/ 64939 w 936181"/>
                  <a:gd name="connsiteY330" fmla="*/ 1709162 h 2496787"/>
                  <a:gd name="connsiteX331" fmla="*/ 70334 w 936181"/>
                  <a:gd name="connsiteY331" fmla="*/ 1684886 h 2496787"/>
                  <a:gd name="connsiteX332" fmla="*/ 100004 w 936181"/>
                  <a:gd name="connsiteY332" fmla="*/ 1679491 h 2496787"/>
                  <a:gd name="connsiteX333" fmla="*/ 108096 w 936181"/>
                  <a:gd name="connsiteY333" fmla="*/ 1671399 h 2496787"/>
                  <a:gd name="connsiteX334" fmla="*/ 110794 w 936181"/>
                  <a:gd name="connsiteY334" fmla="*/ 1657913 h 2496787"/>
                  <a:gd name="connsiteX335" fmla="*/ 116188 w 936181"/>
                  <a:gd name="connsiteY335" fmla="*/ 1639031 h 2496787"/>
                  <a:gd name="connsiteX336" fmla="*/ 118886 w 936181"/>
                  <a:gd name="connsiteY336" fmla="*/ 1612058 h 2496787"/>
                  <a:gd name="connsiteX337" fmla="*/ 126978 w 936181"/>
                  <a:gd name="connsiteY337" fmla="*/ 1598571 h 2496787"/>
                  <a:gd name="connsiteX338" fmla="*/ 129675 w 936181"/>
                  <a:gd name="connsiteY338" fmla="*/ 1590479 h 2496787"/>
                  <a:gd name="connsiteX339" fmla="*/ 105399 w 936181"/>
                  <a:gd name="connsiteY339" fmla="*/ 1558111 h 2496787"/>
                  <a:gd name="connsiteX340" fmla="*/ 102702 w 936181"/>
                  <a:gd name="connsiteY340" fmla="*/ 1528440 h 2496787"/>
                  <a:gd name="connsiteX341" fmla="*/ 100004 w 936181"/>
                  <a:gd name="connsiteY341" fmla="*/ 1506861 h 2496787"/>
                  <a:gd name="connsiteX342" fmla="*/ 91912 w 936181"/>
                  <a:gd name="connsiteY342" fmla="*/ 1496072 h 2496787"/>
                  <a:gd name="connsiteX343" fmla="*/ 100004 w 936181"/>
                  <a:gd name="connsiteY343" fmla="*/ 1490677 h 2496787"/>
                  <a:gd name="connsiteX344" fmla="*/ 121583 w 936181"/>
                  <a:gd name="connsiteY344" fmla="*/ 1485283 h 2496787"/>
                  <a:gd name="connsiteX345" fmla="*/ 129675 w 936181"/>
                  <a:gd name="connsiteY345" fmla="*/ 1482585 h 2496787"/>
                  <a:gd name="connsiteX346" fmla="*/ 135070 w 936181"/>
                  <a:gd name="connsiteY346" fmla="*/ 1474493 h 2496787"/>
                  <a:gd name="connsiteX347" fmla="*/ 135070 w 936181"/>
                  <a:gd name="connsiteY347" fmla="*/ 1412454 h 2496787"/>
                  <a:gd name="connsiteX348" fmla="*/ 129675 w 936181"/>
                  <a:gd name="connsiteY348" fmla="*/ 1404362 h 2496787"/>
                  <a:gd name="connsiteX349" fmla="*/ 110794 w 936181"/>
                  <a:gd name="connsiteY349" fmla="*/ 1380086 h 2496787"/>
                  <a:gd name="connsiteX350" fmla="*/ 94610 w 936181"/>
                  <a:gd name="connsiteY350" fmla="*/ 1366599 h 2496787"/>
                  <a:gd name="connsiteX351" fmla="*/ 83820 w 936181"/>
                  <a:gd name="connsiteY351" fmla="*/ 1353113 h 2496787"/>
                  <a:gd name="connsiteX352" fmla="*/ 81123 w 936181"/>
                  <a:gd name="connsiteY352" fmla="*/ 1258706 h 2496787"/>
                  <a:gd name="connsiteX353" fmla="*/ 70334 w 936181"/>
                  <a:gd name="connsiteY353" fmla="*/ 1242522 h 2496787"/>
                  <a:gd name="connsiteX354" fmla="*/ 59544 w 936181"/>
                  <a:gd name="connsiteY354" fmla="*/ 1199364 h 2496787"/>
                  <a:gd name="connsiteX355" fmla="*/ 56847 w 936181"/>
                  <a:gd name="connsiteY355" fmla="*/ 1148114 h 2496787"/>
                  <a:gd name="connsiteX356" fmla="*/ 73031 w 936181"/>
                  <a:gd name="connsiteY356" fmla="*/ 1140022 h 2496787"/>
                  <a:gd name="connsiteX357" fmla="*/ 51452 w 936181"/>
                  <a:gd name="connsiteY357" fmla="*/ 1113049 h 2496787"/>
                  <a:gd name="connsiteX358" fmla="*/ 40663 w 936181"/>
                  <a:gd name="connsiteY358" fmla="*/ 1104957 h 2496787"/>
                  <a:gd name="connsiteX359" fmla="*/ 37965 w 936181"/>
                  <a:gd name="connsiteY359" fmla="*/ 1094168 h 2496787"/>
                  <a:gd name="connsiteX360" fmla="*/ 40663 w 936181"/>
                  <a:gd name="connsiteY360" fmla="*/ 1069891 h 2496787"/>
                  <a:gd name="connsiteX361" fmla="*/ 59544 w 936181"/>
                  <a:gd name="connsiteY361" fmla="*/ 1045615 h 2496787"/>
                  <a:gd name="connsiteX362" fmla="*/ 64939 w 936181"/>
                  <a:gd name="connsiteY362" fmla="*/ 1034826 h 2496787"/>
                  <a:gd name="connsiteX363" fmla="*/ 73031 w 936181"/>
                  <a:gd name="connsiteY363" fmla="*/ 1021339 h 2496787"/>
                  <a:gd name="connsiteX364" fmla="*/ 83820 w 936181"/>
                  <a:gd name="connsiteY364" fmla="*/ 1005155 h 2496787"/>
                  <a:gd name="connsiteX365" fmla="*/ 86518 w 936181"/>
                  <a:gd name="connsiteY365" fmla="*/ 988971 h 2496787"/>
                  <a:gd name="connsiteX366" fmla="*/ 97307 w 936181"/>
                  <a:gd name="connsiteY366" fmla="*/ 983576 h 2496787"/>
                  <a:gd name="connsiteX367" fmla="*/ 113491 w 936181"/>
                  <a:gd name="connsiteY367" fmla="*/ 975484 h 2496787"/>
                  <a:gd name="connsiteX368" fmla="*/ 124280 w 936181"/>
                  <a:gd name="connsiteY368" fmla="*/ 961998 h 2496787"/>
                  <a:gd name="connsiteX369" fmla="*/ 129675 w 936181"/>
                  <a:gd name="connsiteY369" fmla="*/ 951208 h 2496787"/>
                  <a:gd name="connsiteX370" fmla="*/ 145859 w 936181"/>
                  <a:gd name="connsiteY370" fmla="*/ 937722 h 2496787"/>
                  <a:gd name="connsiteX371" fmla="*/ 156649 w 936181"/>
                  <a:gd name="connsiteY371" fmla="*/ 929629 h 2496787"/>
                  <a:gd name="connsiteX372" fmla="*/ 162043 w 936181"/>
                  <a:gd name="connsiteY372" fmla="*/ 937722 h 2496787"/>
                  <a:gd name="connsiteX373" fmla="*/ 164741 w 936181"/>
                  <a:gd name="connsiteY373" fmla="*/ 945814 h 2496787"/>
                  <a:gd name="connsiteX374" fmla="*/ 178227 w 936181"/>
                  <a:gd name="connsiteY374" fmla="*/ 956603 h 2496787"/>
                  <a:gd name="connsiteX375" fmla="*/ 202503 w 936181"/>
                  <a:gd name="connsiteY375" fmla="*/ 940419 h 2496787"/>
                  <a:gd name="connsiteX376" fmla="*/ 205201 w 936181"/>
                  <a:gd name="connsiteY376" fmla="*/ 918840 h 2496787"/>
                  <a:gd name="connsiteX377" fmla="*/ 210595 w 936181"/>
                  <a:gd name="connsiteY377" fmla="*/ 894564 h 2496787"/>
                  <a:gd name="connsiteX378" fmla="*/ 205201 w 936181"/>
                  <a:gd name="connsiteY378" fmla="*/ 856801 h 2496787"/>
                  <a:gd name="connsiteX379" fmla="*/ 183622 w 936181"/>
                  <a:gd name="connsiteY379" fmla="*/ 854104 h 2496787"/>
                  <a:gd name="connsiteX380" fmla="*/ 194411 w 936181"/>
                  <a:gd name="connsiteY380" fmla="*/ 829828 h 2496787"/>
                  <a:gd name="connsiteX381" fmla="*/ 205201 w 936181"/>
                  <a:gd name="connsiteY381" fmla="*/ 805552 h 2496787"/>
                  <a:gd name="connsiteX382" fmla="*/ 210595 w 936181"/>
                  <a:gd name="connsiteY382" fmla="*/ 765091 h 2496787"/>
                  <a:gd name="connsiteX383" fmla="*/ 215990 w 936181"/>
                  <a:gd name="connsiteY383" fmla="*/ 756999 h 2496787"/>
                  <a:gd name="connsiteX384" fmla="*/ 229477 w 936181"/>
                  <a:gd name="connsiteY384" fmla="*/ 721934 h 2496787"/>
                  <a:gd name="connsiteX385" fmla="*/ 237569 w 936181"/>
                  <a:gd name="connsiteY385" fmla="*/ 692263 h 2496787"/>
                  <a:gd name="connsiteX386" fmla="*/ 240266 w 936181"/>
                  <a:gd name="connsiteY386" fmla="*/ 684171 h 2496787"/>
                  <a:gd name="connsiteX387" fmla="*/ 229477 w 936181"/>
                  <a:gd name="connsiteY387" fmla="*/ 667987 h 2496787"/>
                  <a:gd name="connsiteX388" fmla="*/ 232174 w 936181"/>
                  <a:gd name="connsiteY388" fmla="*/ 654500 h 2496787"/>
                  <a:gd name="connsiteX389" fmla="*/ 234872 w 936181"/>
                  <a:gd name="connsiteY389" fmla="*/ 646408 h 2496787"/>
                  <a:gd name="connsiteX390" fmla="*/ 237569 w 936181"/>
                  <a:gd name="connsiteY390" fmla="*/ 632922 h 2496787"/>
                  <a:gd name="connsiteX391" fmla="*/ 234872 w 936181"/>
                  <a:gd name="connsiteY391" fmla="*/ 581672 h 2496787"/>
                  <a:gd name="connsiteX392" fmla="*/ 229477 w 936181"/>
                  <a:gd name="connsiteY392" fmla="*/ 570883 h 2496787"/>
                  <a:gd name="connsiteX393" fmla="*/ 253753 w 936181"/>
                  <a:gd name="connsiteY393" fmla="*/ 568185 h 2496787"/>
                  <a:gd name="connsiteX394" fmla="*/ 256450 w 936181"/>
                  <a:gd name="connsiteY394" fmla="*/ 560093 h 2496787"/>
                  <a:gd name="connsiteX395" fmla="*/ 272634 w 936181"/>
                  <a:gd name="connsiteY395" fmla="*/ 546606 h 2496787"/>
                  <a:gd name="connsiteX396" fmla="*/ 275332 w 936181"/>
                  <a:gd name="connsiteY396" fmla="*/ 535817 h 2496787"/>
                  <a:gd name="connsiteX397" fmla="*/ 288818 w 936181"/>
                  <a:gd name="connsiteY397" fmla="*/ 522330 h 2496787"/>
                  <a:gd name="connsiteX398" fmla="*/ 280726 w 936181"/>
                  <a:gd name="connsiteY398" fmla="*/ 489962 h 2496787"/>
                  <a:gd name="connsiteX399" fmla="*/ 286121 w 936181"/>
                  <a:gd name="connsiteY399" fmla="*/ 479173 h 2496787"/>
                  <a:gd name="connsiteX400" fmla="*/ 288818 w 936181"/>
                  <a:gd name="connsiteY400" fmla="*/ 462989 h 2496787"/>
                  <a:gd name="connsiteX401" fmla="*/ 307700 w 936181"/>
                  <a:gd name="connsiteY401" fmla="*/ 444107 h 2496787"/>
                  <a:gd name="connsiteX402" fmla="*/ 318489 w 936181"/>
                  <a:gd name="connsiteY402" fmla="*/ 427923 h 2496787"/>
                  <a:gd name="connsiteX403" fmla="*/ 337371 w 936181"/>
                  <a:gd name="connsiteY403" fmla="*/ 414437 h 2496787"/>
                  <a:gd name="connsiteX404" fmla="*/ 342765 w 936181"/>
                  <a:gd name="connsiteY404" fmla="*/ 395555 h 2496787"/>
                  <a:gd name="connsiteX405" fmla="*/ 337371 w 936181"/>
                  <a:gd name="connsiteY405" fmla="*/ 363187 h 2496787"/>
                  <a:gd name="connsiteX406" fmla="*/ 329279 w 936181"/>
                  <a:gd name="connsiteY406" fmla="*/ 338911 h 2496787"/>
                  <a:gd name="connsiteX407" fmla="*/ 321187 w 936181"/>
                  <a:gd name="connsiteY407" fmla="*/ 336214 h 2496787"/>
                  <a:gd name="connsiteX408" fmla="*/ 318489 w 936181"/>
                  <a:gd name="connsiteY408" fmla="*/ 352398 h 2496787"/>
                  <a:gd name="connsiteX409" fmla="*/ 329279 w 936181"/>
                  <a:gd name="connsiteY409" fmla="*/ 325424 h 2496787"/>
                  <a:gd name="connsiteX410" fmla="*/ 331976 w 936181"/>
                  <a:gd name="connsiteY410" fmla="*/ 306543 h 2496787"/>
                  <a:gd name="connsiteX411" fmla="*/ 342765 w 936181"/>
                  <a:gd name="connsiteY411" fmla="*/ 295753 h 2496787"/>
                  <a:gd name="connsiteX412" fmla="*/ 356252 w 936181"/>
                  <a:gd name="connsiteY412" fmla="*/ 255293 h 2496787"/>
                  <a:gd name="connsiteX413" fmla="*/ 358949 w 936181"/>
                  <a:gd name="connsiteY413" fmla="*/ 233714 h 2496787"/>
                  <a:gd name="connsiteX414" fmla="*/ 364344 w 936181"/>
                  <a:gd name="connsiteY414" fmla="*/ 225622 h 2496787"/>
                  <a:gd name="connsiteX415" fmla="*/ 399410 w 936181"/>
                  <a:gd name="connsiteY415" fmla="*/ 198649 h 2496787"/>
                  <a:gd name="connsiteX416" fmla="*/ 410199 w 936181"/>
                  <a:gd name="connsiteY416" fmla="*/ 206741 h 2496787"/>
                  <a:gd name="connsiteX417" fmla="*/ 418291 w 936181"/>
                  <a:gd name="connsiteY417" fmla="*/ 220228 h 2496787"/>
                  <a:gd name="connsiteX418" fmla="*/ 429080 w 936181"/>
                  <a:gd name="connsiteY418" fmla="*/ 217530 h 2496787"/>
                  <a:gd name="connsiteX419" fmla="*/ 437172 w 936181"/>
                  <a:gd name="connsiteY419" fmla="*/ 185162 h 2496787"/>
                  <a:gd name="connsiteX420" fmla="*/ 437172 w 936181"/>
                  <a:gd name="connsiteY420" fmla="*/ 117729 h 2496787"/>
                  <a:gd name="connsiteX421" fmla="*/ 456054 w 936181"/>
                  <a:gd name="connsiteY421" fmla="*/ 120426 h 2496787"/>
                  <a:gd name="connsiteX422" fmla="*/ 477255 w 936181"/>
                  <a:gd name="connsiteY422" fmla="*/ 101819 h 2496787"/>
                  <a:gd name="connsiteX423" fmla="*/ 491119 w 936181"/>
                  <a:gd name="connsiteY423" fmla="*/ 117729 h 2496787"/>
                  <a:gd name="connsiteX424" fmla="*/ 545066 w 936181"/>
                  <a:gd name="connsiteY424" fmla="*/ 123123 h 2496787"/>
                  <a:gd name="connsiteX425" fmla="*/ 553158 w 936181"/>
                  <a:gd name="connsiteY425" fmla="*/ 125821 h 2496787"/>
                  <a:gd name="connsiteX426" fmla="*/ 563948 w 936181"/>
                  <a:gd name="connsiteY426" fmla="*/ 128518 h 2496787"/>
                  <a:gd name="connsiteX427" fmla="*/ 569342 w 936181"/>
                  <a:gd name="connsiteY427" fmla="*/ 109637 h 2496787"/>
                  <a:gd name="connsiteX428" fmla="*/ 566645 w 936181"/>
                  <a:gd name="connsiteY428" fmla="*/ 88058 h 2496787"/>
                  <a:gd name="connsiteX429" fmla="*/ 572040 w 936181"/>
                  <a:gd name="connsiteY429" fmla="*/ 52992 h 2496787"/>
                  <a:gd name="connsiteX430" fmla="*/ 577434 w 936181"/>
                  <a:gd name="connsiteY430" fmla="*/ 42203 h 2496787"/>
                  <a:gd name="connsiteX431" fmla="*/ 566645 w 936181"/>
                  <a:gd name="connsiteY431" fmla="*/ 20624 h 2496787"/>
                  <a:gd name="connsiteX432" fmla="*/ 563948 w 936181"/>
                  <a:gd name="connsiteY432" fmla="*/ 12532 h 2496787"/>
                  <a:gd name="connsiteX433" fmla="*/ 599013 w 936181"/>
                  <a:gd name="connsiteY433" fmla="*/ 1743 h 2496787"/>
                  <a:gd name="connsiteX0" fmla="*/ 599013 w 936181"/>
                  <a:gd name="connsiteY0" fmla="*/ 1743 h 2496787"/>
                  <a:gd name="connsiteX1" fmla="*/ 612500 w 936181"/>
                  <a:gd name="connsiteY1" fmla="*/ 4440 h 2496787"/>
                  <a:gd name="connsiteX2" fmla="*/ 615197 w 936181"/>
                  <a:gd name="connsiteY2" fmla="*/ 12532 h 2496787"/>
                  <a:gd name="connsiteX3" fmla="*/ 623289 w 936181"/>
                  <a:gd name="connsiteY3" fmla="*/ 26019 h 2496787"/>
                  <a:gd name="connsiteX4" fmla="*/ 625987 w 936181"/>
                  <a:gd name="connsiteY4" fmla="*/ 39506 h 2496787"/>
                  <a:gd name="connsiteX5" fmla="*/ 636776 w 936181"/>
                  <a:gd name="connsiteY5" fmla="*/ 44900 h 2496787"/>
                  <a:gd name="connsiteX6" fmla="*/ 644868 w 936181"/>
                  <a:gd name="connsiteY6" fmla="*/ 50295 h 2496787"/>
                  <a:gd name="connsiteX7" fmla="*/ 650263 w 936181"/>
                  <a:gd name="connsiteY7" fmla="*/ 58387 h 2496787"/>
                  <a:gd name="connsiteX8" fmla="*/ 661052 w 936181"/>
                  <a:gd name="connsiteY8" fmla="*/ 63782 h 2496787"/>
                  <a:gd name="connsiteX9" fmla="*/ 688026 w 936181"/>
                  <a:gd name="connsiteY9" fmla="*/ 74571 h 2496787"/>
                  <a:gd name="connsiteX10" fmla="*/ 717696 w 936181"/>
                  <a:gd name="connsiteY10" fmla="*/ 88058 h 2496787"/>
                  <a:gd name="connsiteX11" fmla="*/ 736578 w 936181"/>
                  <a:gd name="connsiteY11" fmla="*/ 82663 h 2496787"/>
                  <a:gd name="connsiteX12" fmla="*/ 752762 w 936181"/>
                  <a:gd name="connsiteY12" fmla="*/ 93452 h 2496787"/>
                  <a:gd name="connsiteX13" fmla="*/ 766249 w 936181"/>
                  <a:gd name="connsiteY13" fmla="*/ 112334 h 2496787"/>
                  <a:gd name="connsiteX14" fmla="*/ 771643 w 936181"/>
                  <a:gd name="connsiteY14" fmla="*/ 128518 h 2496787"/>
                  <a:gd name="connsiteX15" fmla="*/ 787827 w 936181"/>
                  <a:gd name="connsiteY15" fmla="*/ 133913 h 2496787"/>
                  <a:gd name="connsiteX16" fmla="*/ 795919 w 936181"/>
                  <a:gd name="connsiteY16" fmla="*/ 139307 h 2496787"/>
                  <a:gd name="connsiteX17" fmla="*/ 804011 w 936181"/>
                  <a:gd name="connsiteY17" fmla="*/ 150097 h 2496787"/>
                  <a:gd name="connsiteX18" fmla="*/ 820195 w 936181"/>
                  <a:gd name="connsiteY18" fmla="*/ 166281 h 2496787"/>
                  <a:gd name="connsiteX19" fmla="*/ 817498 w 936181"/>
                  <a:gd name="connsiteY19" fmla="*/ 198649 h 2496787"/>
                  <a:gd name="connsiteX20" fmla="*/ 828287 w 936181"/>
                  <a:gd name="connsiteY20" fmla="*/ 201346 h 2496787"/>
                  <a:gd name="connsiteX21" fmla="*/ 830985 w 936181"/>
                  <a:gd name="connsiteY21" fmla="*/ 247201 h 2496787"/>
                  <a:gd name="connsiteX22" fmla="*/ 839077 w 936181"/>
                  <a:gd name="connsiteY22" fmla="*/ 249898 h 2496787"/>
                  <a:gd name="connsiteX23" fmla="*/ 844472 w 936181"/>
                  <a:gd name="connsiteY23" fmla="*/ 260688 h 2496787"/>
                  <a:gd name="connsiteX24" fmla="*/ 849866 w 936181"/>
                  <a:gd name="connsiteY24" fmla="*/ 268780 h 2496787"/>
                  <a:gd name="connsiteX25" fmla="*/ 844472 w 936181"/>
                  <a:gd name="connsiteY25" fmla="*/ 282267 h 2496787"/>
                  <a:gd name="connsiteX26" fmla="*/ 836380 w 936181"/>
                  <a:gd name="connsiteY26" fmla="*/ 287661 h 2496787"/>
                  <a:gd name="connsiteX27" fmla="*/ 852564 w 936181"/>
                  <a:gd name="connsiteY27" fmla="*/ 306543 h 2496787"/>
                  <a:gd name="connsiteX28" fmla="*/ 855261 w 936181"/>
                  <a:gd name="connsiteY28" fmla="*/ 317332 h 2496787"/>
                  <a:gd name="connsiteX29" fmla="*/ 871445 w 936181"/>
                  <a:gd name="connsiteY29" fmla="*/ 330819 h 2496787"/>
                  <a:gd name="connsiteX30" fmla="*/ 876840 w 936181"/>
                  <a:gd name="connsiteY30" fmla="*/ 349700 h 2496787"/>
                  <a:gd name="connsiteX31" fmla="*/ 884932 w 936181"/>
                  <a:gd name="connsiteY31" fmla="*/ 371279 h 2496787"/>
                  <a:gd name="connsiteX32" fmla="*/ 887629 w 936181"/>
                  <a:gd name="connsiteY32" fmla="*/ 406345 h 2496787"/>
                  <a:gd name="connsiteX33" fmla="*/ 884932 w 936181"/>
                  <a:gd name="connsiteY33" fmla="*/ 414437 h 2496787"/>
                  <a:gd name="connsiteX34" fmla="*/ 882234 w 936181"/>
                  <a:gd name="connsiteY34" fmla="*/ 427923 h 2496787"/>
                  <a:gd name="connsiteX35" fmla="*/ 890326 w 936181"/>
                  <a:gd name="connsiteY35" fmla="*/ 454897 h 2496787"/>
                  <a:gd name="connsiteX36" fmla="*/ 901116 w 936181"/>
                  <a:gd name="connsiteY36" fmla="*/ 457594 h 2496787"/>
                  <a:gd name="connsiteX37" fmla="*/ 911905 w 936181"/>
                  <a:gd name="connsiteY37" fmla="*/ 484568 h 2496787"/>
                  <a:gd name="connsiteX38" fmla="*/ 914603 w 936181"/>
                  <a:gd name="connsiteY38" fmla="*/ 500752 h 2496787"/>
                  <a:gd name="connsiteX39" fmla="*/ 917300 w 936181"/>
                  <a:gd name="connsiteY39" fmla="*/ 508844 h 2496787"/>
                  <a:gd name="connsiteX40" fmla="*/ 936181 w 936181"/>
                  <a:gd name="connsiteY40" fmla="*/ 511541 h 2496787"/>
                  <a:gd name="connsiteX41" fmla="*/ 933484 w 936181"/>
                  <a:gd name="connsiteY41" fmla="*/ 530422 h 2496787"/>
                  <a:gd name="connsiteX42" fmla="*/ 925392 w 936181"/>
                  <a:gd name="connsiteY42" fmla="*/ 535817 h 2496787"/>
                  <a:gd name="connsiteX43" fmla="*/ 893024 w 936181"/>
                  <a:gd name="connsiteY43" fmla="*/ 541212 h 2496787"/>
                  <a:gd name="connsiteX44" fmla="*/ 879537 w 936181"/>
                  <a:gd name="connsiteY44" fmla="*/ 560093 h 2496787"/>
                  <a:gd name="connsiteX45" fmla="*/ 857958 w 936181"/>
                  <a:gd name="connsiteY45" fmla="*/ 557396 h 2496787"/>
                  <a:gd name="connsiteX46" fmla="*/ 839077 w 936181"/>
                  <a:gd name="connsiteY46" fmla="*/ 549304 h 2496787"/>
                  <a:gd name="connsiteX47" fmla="*/ 814801 w 936181"/>
                  <a:gd name="connsiteY47" fmla="*/ 552001 h 2496787"/>
                  <a:gd name="connsiteX48" fmla="*/ 817498 w 936181"/>
                  <a:gd name="connsiteY48" fmla="*/ 587067 h 2496787"/>
                  <a:gd name="connsiteX49" fmla="*/ 825590 w 936181"/>
                  <a:gd name="connsiteY49" fmla="*/ 595159 h 2496787"/>
                  <a:gd name="connsiteX50" fmla="*/ 812103 w 936181"/>
                  <a:gd name="connsiteY50" fmla="*/ 597856 h 2496787"/>
                  <a:gd name="connsiteX51" fmla="*/ 790525 w 936181"/>
                  <a:gd name="connsiteY51" fmla="*/ 595159 h 2496787"/>
                  <a:gd name="connsiteX52" fmla="*/ 785130 w 936181"/>
                  <a:gd name="connsiteY52" fmla="*/ 587067 h 2496787"/>
                  <a:gd name="connsiteX53" fmla="*/ 782433 w 936181"/>
                  <a:gd name="connsiteY53" fmla="*/ 578975 h 2496787"/>
                  <a:gd name="connsiteX54" fmla="*/ 801314 w 936181"/>
                  <a:gd name="connsiteY54" fmla="*/ 595159 h 2496787"/>
                  <a:gd name="connsiteX55" fmla="*/ 790525 w 936181"/>
                  <a:gd name="connsiteY55" fmla="*/ 622132 h 2496787"/>
                  <a:gd name="connsiteX56" fmla="*/ 768946 w 936181"/>
                  <a:gd name="connsiteY56" fmla="*/ 627527 h 2496787"/>
                  <a:gd name="connsiteX57" fmla="*/ 750064 w 936181"/>
                  <a:gd name="connsiteY57" fmla="*/ 635619 h 2496787"/>
                  <a:gd name="connsiteX58" fmla="*/ 741972 w 936181"/>
                  <a:gd name="connsiteY58" fmla="*/ 641014 h 2496787"/>
                  <a:gd name="connsiteX59" fmla="*/ 766249 w 936181"/>
                  <a:gd name="connsiteY59" fmla="*/ 659895 h 2496787"/>
                  <a:gd name="connsiteX60" fmla="*/ 774341 w 936181"/>
                  <a:gd name="connsiteY60" fmla="*/ 662592 h 2496787"/>
                  <a:gd name="connsiteX61" fmla="*/ 763551 w 936181"/>
                  <a:gd name="connsiteY61" fmla="*/ 692263 h 2496787"/>
                  <a:gd name="connsiteX62" fmla="*/ 760854 w 936181"/>
                  <a:gd name="connsiteY62" fmla="*/ 703052 h 2496787"/>
                  <a:gd name="connsiteX63" fmla="*/ 747367 w 936181"/>
                  <a:gd name="connsiteY63" fmla="*/ 713842 h 2496787"/>
                  <a:gd name="connsiteX64" fmla="*/ 750064 w 936181"/>
                  <a:gd name="connsiteY64" fmla="*/ 743513 h 2496787"/>
                  <a:gd name="connsiteX65" fmla="*/ 752762 w 936181"/>
                  <a:gd name="connsiteY65" fmla="*/ 756999 h 2496787"/>
                  <a:gd name="connsiteX66" fmla="*/ 766249 w 936181"/>
                  <a:gd name="connsiteY66" fmla="*/ 773183 h 2496787"/>
                  <a:gd name="connsiteX67" fmla="*/ 768946 w 936181"/>
                  <a:gd name="connsiteY67" fmla="*/ 781275 h 2496787"/>
                  <a:gd name="connsiteX68" fmla="*/ 777038 w 936181"/>
                  <a:gd name="connsiteY68" fmla="*/ 783973 h 2496787"/>
                  <a:gd name="connsiteX69" fmla="*/ 787827 w 936181"/>
                  <a:gd name="connsiteY69" fmla="*/ 789368 h 2496787"/>
                  <a:gd name="connsiteX70" fmla="*/ 790525 w 936181"/>
                  <a:gd name="connsiteY70" fmla="*/ 800157 h 2496787"/>
                  <a:gd name="connsiteX71" fmla="*/ 782433 w 936181"/>
                  <a:gd name="connsiteY71" fmla="*/ 805552 h 2496787"/>
                  <a:gd name="connsiteX72" fmla="*/ 771643 w 936181"/>
                  <a:gd name="connsiteY72" fmla="*/ 816341 h 2496787"/>
                  <a:gd name="connsiteX73" fmla="*/ 768946 w 936181"/>
                  <a:gd name="connsiteY73" fmla="*/ 824433 h 2496787"/>
                  <a:gd name="connsiteX74" fmla="*/ 758157 w 936181"/>
                  <a:gd name="connsiteY74" fmla="*/ 851406 h 2496787"/>
                  <a:gd name="connsiteX75" fmla="*/ 733880 w 936181"/>
                  <a:gd name="connsiteY75" fmla="*/ 937722 h 2496787"/>
                  <a:gd name="connsiteX76" fmla="*/ 725788 w 936181"/>
                  <a:gd name="connsiteY76" fmla="*/ 940419 h 2496787"/>
                  <a:gd name="connsiteX77" fmla="*/ 723091 w 936181"/>
                  <a:gd name="connsiteY77" fmla="*/ 948511 h 2496787"/>
                  <a:gd name="connsiteX78" fmla="*/ 696118 w 936181"/>
                  <a:gd name="connsiteY78" fmla="*/ 970090 h 2496787"/>
                  <a:gd name="connsiteX79" fmla="*/ 688026 w 936181"/>
                  <a:gd name="connsiteY79" fmla="*/ 980879 h 2496787"/>
                  <a:gd name="connsiteX80" fmla="*/ 679934 w 936181"/>
                  <a:gd name="connsiteY80" fmla="*/ 986274 h 2496787"/>
                  <a:gd name="connsiteX81" fmla="*/ 674539 w 936181"/>
                  <a:gd name="connsiteY81" fmla="*/ 994366 h 2496787"/>
                  <a:gd name="connsiteX82" fmla="*/ 655657 w 936181"/>
                  <a:gd name="connsiteY82" fmla="*/ 1002458 h 2496787"/>
                  <a:gd name="connsiteX83" fmla="*/ 650263 w 936181"/>
                  <a:gd name="connsiteY83" fmla="*/ 1015945 h 2496787"/>
                  <a:gd name="connsiteX84" fmla="*/ 639473 w 936181"/>
                  <a:gd name="connsiteY84" fmla="*/ 1021339 h 2496787"/>
                  <a:gd name="connsiteX85" fmla="*/ 636776 w 936181"/>
                  <a:gd name="connsiteY85" fmla="*/ 1032129 h 2496787"/>
                  <a:gd name="connsiteX86" fmla="*/ 623289 w 936181"/>
                  <a:gd name="connsiteY86" fmla="*/ 1045615 h 2496787"/>
                  <a:gd name="connsiteX87" fmla="*/ 636776 w 936181"/>
                  <a:gd name="connsiteY87" fmla="*/ 1051010 h 2496787"/>
                  <a:gd name="connsiteX88" fmla="*/ 642171 w 936181"/>
                  <a:gd name="connsiteY88" fmla="*/ 1059102 h 2496787"/>
                  <a:gd name="connsiteX89" fmla="*/ 615197 w 936181"/>
                  <a:gd name="connsiteY89" fmla="*/ 1061799 h 2496787"/>
                  <a:gd name="connsiteX90" fmla="*/ 580132 w 936181"/>
                  <a:gd name="connsiteY90" fmla="*/ 1086075 h 2496787"/>
                  <a:gd name="connsiteX91" fmla="*/ 588224 w 936181"/>
                  <a:gd name="connsiteY91" fmla="*/ 1091470 h 2496787"/>
                  <a:gd name="connsiteX92" fmla="*/ 596316 w 936181"/>
                  <a:gd name="connsiteY92" fmla="*/ 1099562 h 2496787"/>
                  <a:gd name="connsiteX93" fmla="*/ 588224 w 936181"/>
                  <a:gd name="connsiteY93" fmla="*/ 1123838 h 2496787"/>
                  <a:gd name="connsiteX94" fmla="*/ 574737 w 936181"/>
                  <a:gd name="connsiteY94" fmla="*/ 1126536 h 2496787"/>
                  <a:gd name="connsiteX95" fmla="*/ 545066 w 936181"/>
                  <a:gd name="connsiteY95" fmla="*/ 1123838 h 2496787"/>
                  <a:gd name="connsiteX96" fmla="*/ 542369 w 936181"/>
                  <a:gd name="connsiteY96" fmla="*/ 1107654 h 2496787"/>
                  <a:gd name="connsiteX97" fmla="*/ 534277 w 936181"/>
                  <a:gd name="connsiteY97" fmla="*/ 1104957 h 2496787"/>
                  <a:gd name="connsiteX98" fmla="*/ 539672 w 936181"/>
                  <a:gd name="connsiteY98" fmla="*/ 1118444 h 2496787"/>
                  <a:gd name="connsiteX99" fmla="*/ 547764 w 936181"/>
                  <a:gd name="connsiteY99" fmla="*/ 1123838 h 2496787"/>
                  <a:gd name="connsiteX100" fmla="*/ 550461 w 936181"/>
                  <a:gd name="connsiteY100" fmla="*/ 1131930 h 2496787"/>
                  <a:gd name="connsiteX101" fmla="*/ 561250 w 936181"/>
                  <a:gd name="connsiteY101" fmla="*/ 1153509 h 2496787"/>
                  <a:gd name="connsiteX102" fmla="*/ 563948 w 936181"/>
                  <a:gd name="connsiteY102" fmla="*/ 1183180 h 2496787"/>
                  <a:gd name="connsiteX103" fmla="*/ 555856 w 936181"/>
                  <a:gd name="connsiteY103" fmla="*/ 1188575 h 2496787"/>
                  <a:gd name="connsiteX104" fmla="*/ 520790 w 936181"/>
                  <a:gd name="connsiteY104" fmla="*/ 1202061 h 2496787"/>
                  <a:gd name="connsiteX105" fmla="*/ 523487 w 936181"/>
                  <a:gd name="connsiteY105" fmla="*/ 1220943 h 2496787"/>
                  <a:gd name="connsiteX106" fmla="*/ 534277 w 936181"/>
                  <a:gd name="connsiteY106" fmla="*/ 1226337 h 2496787"/>
                  <a:gd name="connsiteX107" fmla="*/ 536974 w 936181"/>
                  <a:gd name="connsiteY107" fmla="*/ 1234429 h 2496787"/>
                  <a:gd name="connsiteX108" fmla="*/ 528882 w 936181"/>
                  <a:gd name="connsiteY108" fmla="*/ 1237127 h 2496787"/>
                  <a:gd name="connsiteX109" fmla="*/ 528882 w 936181"/>
                  <a:gd name="connsiteY109" fmla="*/ 1261403 h 2496787"/>
                  <a:gd name="connsiteX110" fmla="*/ 534277 w 936181"/>
                  <a:gd name="connsiteY110" fmla="*/ 1269495 h 2496787"/>
                  <a:gd name="connsiteX111" fmla="*/ 515395 w 936181"/>
                  <a:gd name="connsiteY111" fmla="*/ 1280284 h 2496787"/>
                  <a:gd name="connsiteX112" fmla="*/ 520790 w 936181"/>
                  <a:gd name="connsiteY112" fmla="*/ 1291074 h 2496787"/>
                  <a:gd name="connsiteX113" fmla="*/ 523487 w 936181"/>
                  <a:gd name="connsiteY113" fmla="*/ 1326139 h 2496787"/>
                  <a:gd name="connsiteX114" fmla="*/ 528882 w 936181"/>
                  <a:gd name="connsiteY114" fmla="*/ 1342323 h 2496787"/>
                  <a:gd name="connsiteX115" fmla="*/ 507303 w 936181"/>
                  <a:gd name="connsiteY115" fmla="*/ 1350415 h 2496787"/>
                  <a:gd name="connsiteX116" fmla="*/ 518093 w 936181"/>
                  <a:gd name="connsiteY116" fmla="*/ 1374691 h 2496787"/>
                  <a:gd name="connsiteX117" fmla="*/ 520790 w 936181"/>
                  <a:gd name="connsiteY117" fmla="*/ 1382783 h 2496787"/>
                  <a:gd name="connsiteX118" fmla="*/ 526185 w 936181"/>
                  <a:gd name="connsiteY118" fmla="*/ 1404362 h 2496787"/>
                  <a:gd name="connsiteX119" fmla="*/ 520790 w 936181"/>
                  <a:gd name="connsiteY119" fmla="*/ 1436730 h 2496787"/>
                  <a:gd name="connsiteX120" fmla="*/ 515395 w 936181"/>
                  <a:gd name="connsiteY120" fmla="*/ 1463704 h 2496787"/>
                  <a:gd name="connsiteX121" fmla="*/ 520790 w 936181"/>
                  <a:gd name="connsiteY121" fmla="*/ 1471796 h 2496787"/>
                  <a:gd name="connsiteX122" fmla="*/ 534277 w 936181"/>
                  <a:gd name="connsiteY122" fmla="*/ 1482585 h 2496787"/>
                  <a:gd name="connsiteX123" fmla="*/ 536974 w 936181"/>
                  <a:gd name="connsiteY123" fmla="*/ 1501467 h 2496787"/>
                  <a:gd name="connsiteX124" fmla="*/ 542369 w 936181"/>
                  <a:gd name="connsiteY124" fmla="*/ 1509559 h 2496787"/>
                  <a:gd name="connsiteX125" fmla="*/ 545066 w 936181"/>
                  <a:gd name="connsiteY125" fmla="*/ 1517651 h 2496787"/>
                  <a:gd name="connsiteX126" fmla="*/ 558553 w 936181"/>
                  <a:gd name="connsiteY126" fmla="*/ 1514953 h 2496787"/>
                  <a:gd name="connsiteX127" fmla="*/ 569342 w 936181"/>
                  <a:gd name="connsiteY127" fmla="*/ 1523045 h 2496787"/>
                  <a:gd name="connsiteX128" fmla="*/ 582829 w 936181"/>
                  <a:gd name="connsiteY128" fmla="*/ 1528440 h 2496787"/>
                  <a:gd name="connsiteX129" fmla="*/ 590921 w 936181"/>
                  <a:gd name="connsiteY129" fmla="*/ 1536532 h 2496787"/>
                  <a:gd name="connsiteX130" fmla="*/ 601710 w 936181"/>
                  <a:gd name="connsiteY130" fmla="*/ 1539229 h 2496787"/>
                  <a:gd name="connsiteX131" fmla="*/ 612500 w 936181"/>
                  <a:gd name="connsiteY131" fmla="*/ 1544624 h 2496787"/>
                  <a:gd name="connsiteX132" fmla="*/ 623289 w 936181"/>
                  <a:gd name="connsiteY132" fmla="*/ 1576992 h 2496787"/>
                  <a:gd name="connsiteX133" fmla="*/ 631381 w 936181"/>
                  <a:gd name="connsiteY133" fmla="*/ 1571598 h 2496787"/>
                  <a:gd name="connsiteX134" fmla="*/ 642171 w 936181"/>
                  <a:gd name="connsiteY134" fmla="*/ 1552716 h 2496787"/>
                  <a:gd name="connsiteX135" fmla="*/ 644868 w 936181"/>
                  <a:gd name="connsiteY135" fmla="*/ 1560808 h 2496787"/>
                  <a:gd name="connsiteX136" fmla="*/ 655657 w 936181"/>
                  <a:gd name="connsiteY136" fmla="*/ 1576992 h 2496787"/>
                  <a:gd name="connsiteX137" fmla="*/ 658355 w 936181"/>
                  <a:gd name="connsiteY137" fmla="*/ 1601268 h 2496787"/>
                  <a:gd name="connsiteX138" fmla="*/ 690723 w 936181"/>
                  <a:gd name="connsiteY138" fmla="*/ 1609360 h 2496787"/>
                  <a:gd name="connsiteX139" fmla="*/ 696118 w 936181"/>
                  <a:gd name="connsiteY139" fmla="*/ 1617452 h 2496787"/>
                  <a:gd name="connsiteX140" fmla="*/ 698815 w 936181"/>
                  <a:gd name="connsiteY140" fmla="*/ 1625545 h 2496787"/>
                  <a:gd name="connsiteX141" fmla="*/ 704210 w 936181"/>
                  <a:gd name="connsiteY141" fmla="*/ 1660610 h 2496787"/>
                  <a:gd name="connsiteX142" fmla="*/ 690723 w 936181"/>
                  <a:gd name="connsiteY142" fmla="*/ 1679491 h 2496787"/>
                  <a:gd name="connsiteX143" fmla="*/ 688026 w 936181"/>
                  <a:gd name="connsiteY143" fmla="*/ 1690281 h 2496787"/>
                  <a:gd name="connsiteX144" fmla="*/ 685328 w 936181"/>
                  <a:gd name="connsiteY144" fmla="*/ 1709162 h 2496787"/>
                  <a:gd name="connsiteX145" fmla="*/ 677236 w 936181"/>
                  <a:gd name="connsiteY145" fmla="*/ 1711860 h 2496787"/>
                  <a:gd name="connsiteX146" fmla="*/ 661052 w 936181"/>
                  <a:gd name="connsiteY146" fmla="*/ 1714557 h 2496787"/>
                  <a:gd name="connsiteX147" fmla="*/ 655657 w 936181"/>
                  <a:gd name="connsiteY147" fmla="*/ 1722649 h 2496787"/>
                  <a:gd name="connsiteX148" fmla="*/ 625987 w 936181"/>
                  <a:gd name="connsiteY148" fmla="*/ 1733438 h 2496787"/>
                  <a:gd name="connsiteX149" fmla="*/ 623289 w 936181"/>
                  <a:gd name="connsiteY149" fmla="*/ 1752320 h 2496787"/>
                  <a:gd name="connsiteX150" fmla="*/ 601710 w 936181"/>
                  <a:gd name="connsiteY150" fmla="*/ 1749622 h 2496787"/>
                  <a:gd name="connsiteX151" fmla="*/ 596316 w 936181"/>
                  <a:gd name="connsiteY151" fmla="*/ 1736136 h 2496787"/>
                  <a:gd name="connsiteX152" fmla="*/ 601710 w 936181"/>
                  <a:gd name="connsiteY152" fmla="*/ 1719952 h 2496787"/>
                  <a:gd name="connsiteX153" fmla="*/ 582829 w 936181"/>
                  <a:gd name="connsiteY153" fmla="*/ 1695675 h 2496787"/>
                  <a:gd name="connsiteX154" fmla="*/ 580132 w 936181"/>
                  <a:gd name="connsiteY154" fmla="*/ 1714557 h 2496787"/>
                  <a:gd name="connsiteX155" fmla="*/ 574737 w 936181"/>
                  <a:gd name="connsiteY155" fmla="*/ 1722649 h 2496787"/>
                  <a:gd name="connsiteX156" fmla="*/ 558553 w 936181"/>
                  <a:gd name="connsiteY156" fmla="*/ 1719952 h 2496787"/>
                  <a:gd name="connsiteX157" fmla="*/ 501909 w 936181"/>
                  <a:gd name="connsiteY157" fmla="*/ 1730741 h 2496787"/>
                  <a:gd name="connsiteX158" fmla="*/ 488422 w 936181"/>
                  <a:gd name="connsiteY158" fmla="*/ 1741530 h 2496787"/>
                  <a:gd name="connsiteX159" fmla="*/ 464146 w 936181"/>
                  <a:gd name="connsiteY159" fmla="*/ 1746925 h 2496787"/>
                  <a:gd name="connsiteX160" fmla="*/ 453357 w 936181"/>
                  <a:gd name="connsiteY160" fmla="*/ 1749622 h 2496787"/>
                  <a:gd name="connsiteX161" fmla="*/ 499211 w 936181"/>
                  <a:gd name="connsiteY161" fmla="*/ 1746925 h 2496787"/>
                  <a:gd name="connsiteX162" fmla="*/ 507303 w 936181"/>
                  <a:gd name="connsiteY162" fmla="*/ 1752320 h 2496787"/>
                  <a:gd name="connsiteX163" fmla="*/ 523487 w 936181"/>
                  <a:gd name="connsiteY163" fmla="*/ 1757714 h 2496787"/>
                  <a:gd name="connsiteX164" fmla="*/ 531580 w 936181"/>
                  <a:gd name="connsiteY164" fmla="*/ 1738833 h 2496787"/>
                  <a:gd name="connsiteX165" fmla="*/ 539672 w 936181"/>
                  <a:gd name="connsiteY165" fmla="*/ 1733438 h 2496787"/>
                  <a:gd name="connsiteX166" fmla="*/ 555856 w 936181"/>
                  <a:gd name="connsiteY166" fmla="*/ 1755017 h 2496787"/>
                  <a:gd name="connsiteX167" fmla="*/ 566645 w 936181"/>
                  <a:gd name="connsiteY167" fmla="*/ 1773898 h 2496787"/>
                  <a:gd name="connsiteX168" fmla="*/ 582829 w 936181"/>
                  <a:gd name="connsiteY168" fmla="*/ 1768504 h 2496787"/>
                  <a:gd name="connsiteX169" fmla="*/ 588224 w 936181"/>
                  <a:gd name="connsiteY169" fmla="*/ 1760412 h 2496787"/>
                  <a:gd name="connsiteX170" fmla="*/ 636776 w 936181"/>
                  <a:gd name="connsiteY170" fmla="*/ 1749622 h 2496787"/>
                  <a:gd name="connsiteX171" fmla="*/ 650263 w 936181"/>
                  <a:gd name="connsiteY171" fmla="*/ 1725346 h 2496787"/>
                  <a:gd name="connsiteX172" fmla="*/ 658355 w 936181"/>
                  <a:gd name="connsiteY172" fmla="*/ 1722649 h 2496787"/>
                  <a:gd name="connsiteX173" fmla="*/ 671841 w 936181"/>
                  <a:gd name="connsiteY173" fmla="*/ 1728044 h 2496787"/>
                  <a:gd name="connsiteX174" fmla="*/ 679934 w 936181"/>
                  <a:gd name="connsiteY174" fmla="*/ 1730741 h 2496787"/>
                  <a:gd name="connsiteX175" fmla="*/ 682631 w 936181"/>
                  <a:gd name="connsiteY175" fmla="*/ 1738833 h 2496787"/>
                  <a:gd name="connsiteX176" fmla="*/ 671841 w 936181"/>
                  <a:gd name="connsiteY176" fmla="*/ 1741530 h 2496787"/>
                  <a:gd name="connsiteX177" fmla="*/ 655657 w 936181"/>
                  <a:gd name="connsiteY177" fmla="*/ 1755017 h 2496787"/>
                  <a:gd name="connsiteX178" fmla="*/ 658355 w 936181"/>
                  <a:gd name="connsiteY178" fmla="*/ 1781991 h 2496787"/>
                  <a:gd name="connsiteX179" fmla="*/ 644868 w 936181"/>
                  <a:gd name="connsiteY179" fmla="*/ 1790083 h 2496787"/>
                  <a:gd name="connsiteX180" fmla="*/ 650263 w 936181"/>
                  <a:gd name="connsiteY180" fmla="*/ 1798175 h 2496787"/>
                  <a:gd name="connsiteX181" fmla="*/ 642171 w 936181"/>
                  <a:gd name="connsiteY181" fmla="*/ 1822451 h 2496787"/>
                  <a:gd name="connsiteX182" fmla="*/ 636537 w 936181"/>
                  <a:gd name="connsiteY182" fmla="*/ 1842050 h 2496787"/>
                  <a:gd name="connsiteX183" fmla="*/ 628684 w 936181"/>
                  <a:gd name="connsiteY183" fmla="*/ 1835937 h 2496787"/>
                  <a:gd name="connsiteX184" fmla="*/ 617895 w 936181"/>
                  <a:gd name="connsiteY184" fmla="*/ 1806267 h 2496787"/>
                  <a:gd name="connsiteX185" fmla="*/ 607105 w 936181"/>
                  <a:gd name="connsiteY185" fmla="*/ 1800872 h 2496787"/>
                  <a:gd name="connsiteX186" fmla="*/ 593618 w 936181"/>
                  <a:gd name="connsiteY186" fmla="*/ 1838635 h 2496787"/>
                  <a:gd name="connsiteX187" fmla="*/ 585526 w 936181"/>
                  <a:gd name="connsiteY187" fmla="*/ 1841332 h 2496787"/>
                  <a:gd name="connsiteX188" fmla="*/ 582829 w 936181"/>
                  <a:gd name="connsiteY188" fmla="*/ 1857516 h 2496787"/>
                  <a:gd name="connsiteX189" fmla="*/ 580132 w 936181"/>
                  <a:gd name="connsiteY189" fmla="*/ 1865608 h 2496787"/>
                  <a:gd name="connsiteX190" fmla="*/ 572040 w 936181"/>
                  <a:gd name="connsiteY190" fmla="*/ 1873700 h 2496787"/>
                  <a:gd name="connsiteX191" fmla="*/ 563948 w 936181"/>
                  <a:gd name="connsiteY191" fmla="*/ 1876398 h 2496787"/>
                  <a:gd name="connsiteX192" fmla="*/ 520790 w 936181"/>
                  <a:gd name="connsiteY192" fmla="*/ 1879095 h 2496787"/>
                  <a:gd name="connsiteX193" fmla="*/ 472238 w 936181"/>
                  <a:gd name="connsiteY193" fmla="*/ 1887187 h 2496787"/>
                  <a:gd name="connsiteX194" fmla="*/ 488422 w 936181"/>
                  <a:gd name="connsiteY194" fmla="*/ 1881792 h 2496787"/>
                  <a:gd name="connsiteX195" fmla="*/ 539672 w 936181"/>
                  <a:gd name="connsiteY195" fmla="*/ 1911463 h 2496787"/>
                  <a:gd name="connsiteX196" fmla="*/ 542369 w 936181"/>
                  <a:gd name="connsiteY196" fmla="*/ 1919555 h 2496787"/>
                  <a:gd name="connsiteX197" fmla="*/ 523487 w 936181"/>
                  <a:gd name="connsiteY197" fmla="*/ 1922252 h 2496787"/>
                  <a:gd name="connsiteX198" fmla="*/ 512698 w 936181"/>
                  <a:gd name="connsiteY198" fmla="*/ 1938437 h 2496787"/>
                  <a:gd name="connsiteX199" fmla="*/ 523487 w 936181"/>
                  <a:gd name="connsiteY199" fmla="*/ 1943831 h 2496787"/>
                  <a:gd name="connsiteX200" fmla="*/ 526185 w 936181"/>
                  <a:gd name="connsiteY200" fmla="*/ 1951923 h 2496787"/>
                  <a:gd name="connsiteX201" fmla="*/ 536974 w 936181"/>
                  <a:gd name="connsiteY201" fmla="*/ 1957318 h 2496787"/>
                  <a:gd name="connsiteX202" fmla="*/ 534277 w 936181"/>
                  <a:gd name="connsiteY202" fmla="*/ 1965410 h 2496787"/>
                  <a:gd name="connsiteX203" fmla="*/ 523487 w 936181"/>
                  <a:gd name="connsiteY203" fmla="*/ 1995081 h 2496787"/>
                  <a:gd name="connsiteX204" fmla="*/ 515395 w 936181"/>
                  <a:gd name="connsiteY204" fmla="*/ 2000475 h 2496787"/>
                  <a:gd name="connsiteX205" fmla="*/ 523487 w 936181"/>
                  <a:gd name="connsiteY205" fmla="*/ 2005870 h 2496787"/>
                  <a:gd name="connsiteX206" fmla="*/ 545066 w 936181"/>
                  <a:gd name="connsiteY206" fmla="*/ 2013962 h 2496787"/>
                  <a:gd name="connsiteX207" fmla="*/ 553158 w 936181"/>
                  <a:gd name="connsiteY207" fmla="*/ 2011265 h 2496787"/>
                  <a:gd name="connsiteX208" fmla="*/ 539672 w 936181"/>
                  <a:gd name="connsiteY208" fmla="*/ 2022054 h 2496787"/>
                  <a:gd name="connsiteX209" fmla="*/ 534277 w 936181"/>
                  <a:gd name="connsiteY209" fmla="*/ 2038238 h 2496787"/>
                  <a:gd name="connsiteX210" fmla="*/ 542369 w 936181"/>
                  <a:gd name="connsiteY210" fmla="*/ 2062514 h 2496787"/>
                  <a:gd name="connsiteX211" fmla="*/ 536974 w 936181"/>
                  <a:gd name="connsiteY211" fmla="*/ 2070606 h 2496787"/>
                  <a:gd name="connsiteX212" fmla="*/ 539672 w 936181"/>
                  <a:gd name="connsiteY212" fmla="*/ 2084093 h 2496787"/>
                  <a:gd name="connsiteX213" fmla="*/ 545066 w 936181"/>
                  <a:gd name="connsiteY213" fmla="*/ 2100277 h 2496787"/>
                  <a:gd name="connsiteX214" fmla="*/ 531580 w 936181"/>
                  <a:gd name="connsiteY214" fmla="*/ 2111067 h 2496787"/>
                  <a:gd name="connsiteX215" fmla="*/ 528882 w 936181"/>
                  <a:gd name="connsiteY215" fmla="*/ 2121856 h 2496787"/>
                  <a:gd name="connsiteX216" fmla="*/ 510001 w 936181"/>
                  <a:gd name="connsiteY216" fmla="*/ 2127251 h 2496787"/>
                  <a:gd name="connsiteX217" fmla="*/ 515395 w 936181"/>
                  <a:gd name="connsiteY217" fmla="*/ 2138040 h 2496787"/>
                  <a:gd name="connsiteX218" fmla="*/ 520790 w 936181"/>
                  <a:gd name="connsiteY218" fmla="*/ 2148829 h 2496787"/>
                  <a:gd name="connsiteX219" fmla="*/ 523487 w 936181"/>
                  <a:gd name="connsiteY219" fmla="*/ 2156922 h 2496787"/>
                  <a:gd name="connsiteX220" fmla="*/ 542369 w 936181"/>
                  <a:gd name="connsiteY220" fmla="*/ 2162316 h 2496787"/>
                  <a:gd name="connsiteX221" fmla="*/ 531580 w 936181"/>
                  <a:gd name="connsiteY221" fmla="*/ 2170408 h 2496787"/>
                  <a:gd name="connsiteX222" fmla="*/ 515395 w 936181"/>
                  <a:gd name="connsiteY222" fmla="*/ 2210868 h 2496787"/>
                  <a:gd name="connsiteX223" fmla="*/ 518093 w 936181"/>
                  <a:gd name="connsiteY223" fmla="*/ 2218960 h 2496787"/>
                  <a:gd name="connsiteX224" fmla="*/ 542369 w 936181"/>
                  <a:gd name="connsiteY224" fmla="*/ 2202776 h 2496787"/>
                  <a:gd name="connsiteX225" fmla="*/ 545066 w 936181"/>
                  <a:gd name="connsiteY225" fmla="*/ 2183895 h 2496787"/>
                  <a:gd name="connsiteX226" fmla="*/ 550461 w 936181"/>
                  <a:gd name="connsiteY226" fmla="*/ 2167711 h 2496787"/>
                  <a:gd name="connsiteX227" fmla="*/ 553158 w 936181"/>
                  <a:gd name="connsiteY227" fmla="*/ 2146132 h 2496787"/>
                  <a:gd name="connsiteX228" fmla="*/ 563948 w 936181"/>
                  <a:gd name="connsiteY228" fmla="*/ 2129948 h 2496787"/>
                  <a:gd name="connsiteX229" fmla="*/ 569342 w 936181"/>
                  <a:gd name="connsiteY229" fmla="*/ 2121856 h 2496787"/>
                  <a:gd name="connsiteX230" fmla="*/ 577434 w 936181"/>
                  <a:gd name="connsiteY230" fmla="*/ 2129948 h 2496787"/>
                  <a:gd name="connsiteX231" fmla="*/ 574737 w 936181"/>
                  <a:gd name="connsiteY231" fmla="*/ 2138040 h 2496787"/>
                  <a:gd name="connsiteX232" fmla="*/ 566645 w 936181"/>
                  <a:gd name="connsiteY232" fmla="*/ 2170408 h 2496787"/>
                  <a:gd name="connsiteX233" fmla="*/ 561250 w 936181"/>
                  <a:gd name="connsiteY233" fmla="*/ 2191987 h 2496787"/>
                  <a:gd name="connsiteX234" fmla="*/ 558553 w 936181"/>
                  <a:gd name="connsiteY234" fmla="*/ 2208171 h 2496787"/>
                  <a:gd name="connsiteX235" fmla="*/ 553158 w 936181"/>
                  <a:gd name="connsiteY235" fmla="*/ 2227052 h 2496787"/>
                  <a:gd name="connsiteX236" fmla="*/ 547764 w 936181"/>
                  <a:gd name="connsiteY236" fmla="*/ 2294486 h 2496787"/>
                  <a:gd name="connsiteX237" fmla="*/ 545066 w 936181"/>
                  <a:gd name="connsiteY237" fmla="*/ 2313368 h 2496787"/>
                  <a:gd name="connsiteX238" fmla="*/ 536974 w 936181"/>
                  <a:gd name="connsiteY238" fmla="*/ 2318762 h 2496787"/>
                  <a:gd name="connsiteX239" fmla="*/ 528882 w 936181"/>
                  <a:gd name="connsiteY239" fmla="*/ 2326854 h 2496787"/>
                  <a:gd name="connsiteX240" fmla="*/ 520790 w 936181"/>
                  <a:gd name="connsiteY240" fmla="*/ 2313368 h 2496787"/>
                  <a:gd name="connsiteX241" fmla="*/ 520790 w 936181"/>
                  <a:gd name="connsiteY241" fmla="*/ 2272907 h 2496787"/>
                  <a:gd name="connsiteX242" fmla="*/ 526185 w 936181"/>
                  <a:gd name="connsiteY242" fmla="*/ 2256723 h 2496787"/>
                  <a:gd name="connsiteX243" fmla="*/ 527294 w 936181"/>
                  <a:gd name="connsiteY243" fmla="*/ 2220534 h 2496787"/>
                  <a:gd name="connsiteX244" fmla="*/ 520790 w 936181"/>
                  <a:gd name="connsiteY244" fmla="*/ 2254026 h 2496787"/>
                  <a:gd name="connsiteX245" fmla="*/ 507303 w 936181"/>
                  <a:gd name="connsiteY245" fmla="*/ 2259421 h 2496787"/>
                  <a:gd name="connsiteX246" fmla="*/ 501909 w 936181"/>
                  <a:gd name="connsiteY246" fmla="*/ 2267513 h 2496787"/>
                  <a:gd name="connsiteX247" fmla="*/ 496514 w 936181"/>
                  <a:gd name="connsiteY247" fmla="*/ 2316065 h 2496787"/>
                  <a:gd name="connsiteX248" fmla="*/ 491119 w 936181"/>
                  <a:gd name="connsiteY248" fmla="*/ 2332249 h 2496787"/>
                  <a:gd name="connsiteX249" fmla="*/ 480330 w 936181"/>
                  <a:gd name="connsiteY249" fmla="*/ 2340341 h 2496787"/>
                  <a:gd name="connsiteX250" fmla="*/ 437172 w 936181"/>
                  <a:gd name="connsiteY250" fmla="*/ 2337644 h 2496787"/>
                  <a:gd name="connsiteX251" fmla="*/ 434475 w 936181"/>
                  <a:gd name="connsiteY251" fmla="*/ 2351130 h 2496787"/>
                  <a:gd name="connsiteX252" fmla="*/ 426383 w 936181"/>
                  <a:gd name="connsiteY252" fmla="*/ 2359222 h 2496787"/>
                  <a:gd name="connsiteX253" fmla="*/ 404804 w 936181"/>
                  <a:gd name="connsiteY253" fmla="*/ 2356525 h 2496787"/>
                  <a:gd name="connsiteX254" fmla="*/ 396712 w 936181"/>
                  <a:gd name="connsiteY254" fmla="*/ 2351130 h 2496787"/>
                  <a:gd name="connsiteX255" fmla="*/ 377831 w 936181"/>
                  <a:gd name="connsiteY255" fmla="*/ 2356525 h 2496787"/>
                  <a:gd name="connsiteX256" fmla="*/ 380528 w 936181"/>
                  <a:gd name="connsiteY256" fmla="*/ 2372709 h 2496787"/>
                  <a:gd name="connsiteX257" fmla="*/ 377831 w 936181"/>
                  <a:gd name="connsiteY257" fmla="*/ 2383498 h 2496787"/>
                  <a:gd name="connsiteX258" fmla="*/ 334673 w 936181"/>
                  <a:gd name="connsiteY258" fmla="*/ 2391591 h 2496787"/>
                  <a:gd name="connsiteX259" fmla="*/ 331976 w 936181"/>
                  <a:gd name="connsiteY259" fmla="*/ 2405077 h 2496787"/>
                  <a:gd name="connsiteX260" fmla="*/ 326581 w 936181"/>
                  <a:gd name="connsiteY260" fmla="*/ 2418564 h 2496787"/>
                  <a:gd name="connsiteX261" fmla="*/ 329279 w 936181"/>
                  <a:gd name="connsiteY261" fmla="*/ 2432051 h 2496787"/>
                  <a:gd name="connsiteX262" fmla="*/ 334673 w 936181"/>
                  <a:gd name="connsiteY262" fmla="*/ 2450932 h 2496787"/>
                  <a:gd name="connsiteX263" fmla="*/ 342765 w 936181"/>
                  <a:gd name="connsiteY263" fmla="*/ 2459024 h 2496787"/>
                  <a:gd name="connsiteX264" fmla="*/ 331976 w 936181"/>
                  <a:gd name="connsiteY264" fmla="*/ 2480603 h 2496787"/>
                  <a:gd name="connsiteX265" fmla="*/ 318489 w 936181"/>
                  <a:gd name="connsiteY265" fmla="*/ 2483300 h 2496787"/>
                  <a:gd name="connsiteX266" fmla="*/ 302305 w 936181"/>
                  <a:gd name="connsiteY266" fmla="*/ 2485998 h 2496787"/>
                  <a:gd name="connsiteX267" fmla="*/ 269937 w 936181"/>
                  <a:gd name="connsiteY267" fmla="*/ 2483300 h 2496787"/>
                  <a:gd name="connsiteX268" fmla="*/ 253753 w 936181"/>
                  <a:gd name="connsiteY268" fmla="*/ 2494090 h 2496787"/>
                  <a:gd name="connsiteX269" fmla="*/ 207898 w 936181"/>
                  <a:gd name="connsiteY269" fmla="*/ 2496787 h 2496787"/>
                  <a:gd name="connsiteX270" fmla="*/ 197109 w 936181"/>
                  <a:gd name="connsiteY270" fmla="*/ 2491392 h 2496787"/>
                  <a:gd name="connsiteX271" fmla="*/ 194411 w 936181"/>
                  <a:gd name="connsiteY271" fmla="*/ 2483300 h 2496787"/>
                  <a:gd name="connsiteX272" fmla="*/ 202503 w 936181"/>
                  <a:gd name="connsiteY272" fmla="*/ 2423959 h 2496787"/>
                  <a:gd name="connsiteX273" fmla="*/ 199806 w 936181"/>
                  <a:gd name="connsiteY273" fmla="*/ 2415867 h 2496787"/>
                  <a:gd name="connsiteX274" fmla="*/ 197109 w 936181"/>
                  <a:gd name="connsiteY274" fmla="*/ 2405077 h 2496787"/>
                  <a:gd name="connsiteX275" fmla="*/ 175530 w 936181"/>
                  <a:gd name="connsiteY275" fmla="*/ 2394288 h 2496787"/>
                  <a:gd name="connsiteX276" fmla="*/ 162043 w 936181"/>
                  <a:gd name="connsiteY276" fmla="*/ 2383498 h 2496787"/>
                  <a:gd name="connsiteX277" fmla="*/ 153951 w 936181"/>
                  <a:gd name="connsiteY277" fmla="*/ 2370012 h 2496787"/>
                  <a:gd name="connsiteX278" fmla="*/ 140464 w 936181"/>
                  <a:gd name="connsiteY278" fmla="*/ 2343038 h 2496787"/>
                  <a:gd name="connsiteX279" fmla="*/ 153951 w 936181"/>
                  <a:gd name="connsiteY279" fmla="*/ 2337644 h 2496787"/>
                  <a:gd name="connsiteX280" fmla="*/ 167438 w 936181"/>
                  <a:gd name="connsiteY280" fmla="*/ 2340341 h 2496787"/>
                  <a:gd name="connsiteX281" fmla="*/ 159346 w 936181"/>
                  <a:gd name="connsiteY281" fmla="*/ 2310670 h 2496787"/>
                  <a:gd name="connsiteX282" fmla="*/ 156649 w 936181"/>
                  <a:gd name="connsiteY282" fmla="*/ 2299881 h 2496787"/>
                  <a:gd name="connsiteX283" fmla="*/ 175530 w 936181"/>
                  <a:gd name="connsiteY283" fmla="*/ 2302578 h 2496787"/>
                  <a:gd name="connsiteX284" fmla="*/ 183622 w 936181"/>
                  <a:gd name="connsiteY284" fmla="*/ 2286394 h 2496787"/>
                  <a:gd name="connsiteX285" fmla="*/ 156649 w 936181"/>
                  <a:gd name="connsiteY285" fmla="*/ 2272907 h 2496787"/>
                  <a:gd name="connsiteX286" fmla="*/ 159346 w 936181"/>
                  <a:gd name="connsiteY286" fmla="*/ 2262118 h 2496787"/>
                  <a:gd name="connsiteX287" fmla="*/ 151254 w 936181"/>
                  <a:gd name="connsiteY287" fmla="*/ 2243237 h 2496787"/>
                  <a:gd name="connsiteX288" fmla="*/ 132372 w 936181"/>
                  <a:gd name="connsiteY288" fmla="*/ 2224355 h 2496787"/>
                  <a:gd name="connsiteX289" fmla="*/ 121583 w 936181"/>
                  <a:gd name="connsiteY289" fmla="*/ 2213566 h 2496787"/>
                  <a:gd name="connsiteX290" fmla="*/ 113491 w 936181"/>
                  <a:gd name="connsiteY290" fmla="*/ 2197382 h 2496787"/>
                  <a:gd name="connsiteX291" fmla="*/ 110794 w 936181"/>
                  <a:gd name="connsiteY291" fmla="*/ 2173106 h 2496787"/>
                  <a:gd name="connsiteX292" fmla="*/ 102702 w 936181"/>
                  <a:gd name="connsiteY292" fmla="*/ 2170408 h 2496787"/>
                  <a:gd name="connsiteX293" fmla="*/ 100004 w 936181"/>
                  <a:gd name="connsiteY293" fmla="*/ 2159619 h 2496787"/>
                  <a:gd name="connsiteX294" fmla="*/ 81123 w 936181"/>
                  <a:gd name="connsiteY294" fmla="*/ 2135343 h 2496787"/>
                  <a:gd name="connsiteX295" fmla="*/ 94610 w 936181"/>
                  <a:gd name="connsiteY295" fmla="*/ 2127251 h 2496787"/>
                  <a:gd name="connsiteX296" fmla="*/ 81123 w 936181"/>
                  <a:gd name="connsiteY296" fmla="*/ 2105672 h 2496787"/>
                  <a:gd name="connsiteX297" fmla="*/ 62241 w 936181"/>
                  <a:gd name="connsiteY297" fmla="*/ 2086791 h 2496787"/>
                  <a:gd name="connsiteX298" fmla="*/ 54149 w 936181"/>
                  <a:gd name="connsiteY298" fmla="*/ 2084093 h 2496787"/>
                  <a:gd name="connsiteX299" fmla="*/ 56847 w 936181"/>
                  <a:gd name="connsiteY299" fmla="*/ 2062514 h 2496787"/>
                  <a:gd name="connsiteX300" fmla="*/ 56847 w 936181"/>
                  <a:gd name="connsiteY300" fmla="*/ 2038238 h 2496787"/>
                  <a:gd name="connsiteX301" fmla="*/ 46057 w 936181"/>
                  <a:gd name="connsiteY301" fmla="*/ 2035541 h 2496787"/>
                  <a:gd name="connsiteX302" fmla="*/ 37965 w 936181"/>
                  <a:gd name="connsiteY302" fmla="*/ 2032844 h 2496787"/>
                  <a:gd name="connsiteX303" fmla="*/ 32571 w 936181"/>
                  <a:gd name="connsiteY303" fmla="*/ 2022054 h 2496787"/>
                  <a:gd name="connsiteX304" fmla="*/ 35268 w 936181"/>
                  <a:gd name="connsiteY304" fmla="*/ 2013962 h 2496787"/>
                  <a:gd name="connsiteX305" fmla="*/ 48755 w 936181"/>
                  <a:gd name="connsiteY305" fmla="*/ 2019357 h 2496787"/>
                  <a:gd name="connsiteX306" fmla="*/ 59544 w 936181"/>
                  <a:gd name="connsiteY306" fmla="*/ 2040936 h 2496787"/>
                  <a:gd name="connsiteX307" fmla="*/ 70334 w 936181"/>
                  <a:gd name="connsiteY307" fmla="*/ 2038238 h 2496787"/>
                  <a:gd name="connsiteX308" fmla="*/ 64939 w 936181"/>
                  <a:gd name="connsiteY308" fmla="*/ 1995081 h 2496787"/>
                  <a:gd name="connsiteX309" fmla="*/ 67636 w 936181"/>
                  <a:gd name="connsiteY309" fmla="*/ 1986989 h 2496787"/>
                  <a:gd name="connsiteX310" fmla="*/ 56847 w 936181"/>
                  <a:gd name="connsiteY310" fmla="*/ 1976199 h 2496787"/>
                  <a:gd name="connsiteX311" fmla="*/ 32571 w 936181"/>
                  <a:gd name="connsiteY311" fmla="*/ 1981594 h 2496787"/>
                  <a:gd name="connsiteX312" fmla="*/ 24479 w 936181"/>
                  <a:gd name="connsiteY312" fmla="*/ 1986989 h 2496787"/>
                  <a:gd name="connsiteX313" fmla="*/ 16387 w 936181"/>
                  <a:gd name="connsiteY313" fmla="*/ 1965410 h 2496787"/>
                  <a:gd name="connsiteX314" fmla="*/ 5597 w 936181"/>
                  <a:gd name="connsiteY314" fmla="*/ 1949226 h 2496787"/>
                  <a:gd name="connsiteX315" fmla="*/ 13689 w 936181"/>
                  <a:gd name="connsiteY315" fmla="*/ 1935739 h 2496787"/>
                  <a:gd name="connsiteX316" fmla="*/ 19084 w 936181"/>
                  <a:gd name="connsiteY316" fmla="*/ 1919555 h 2496787"/>
                  <a:gd name="connsiteX317" fmla="*/ 8295 w 936181"/>
                  <a:gd name="connsiteY317" fmla="*/ 1916858 h 2496787"/>
                  <a:gd name="connsiteX318" fmla="*/ 2900 w 936181"/>
                  <a:gd name="connsiteY318" fmla="*/ 1852122 h 2496787"/>
                  <a:gd name="connsiteX319" fmla="*/ 16387 w 936181"/>
                  <a:gd name="connsiteY319" fmla="*/ 1849424 h 2496787"/>
                  <a:gd name="connsiteX320" fmla="*/ 19084 w 936181"/>
                  <a:gd name="connsiteY320" fmla="*/ 1841332 h 2496787"/>
                  <a:gd name="connsiteX321" fmla="*/ 2900 w 936181"/>
                  <a:gd name="connsiteY321" fmla="*/ 1841332 h 2496787"/>
                  <a:gd name="connsiteX322" fmla="*/ 16387 w 936181"/>
                  <a:gd name="connsiteY322" fmla="*/ 1846727 h 2496787"/>
                  <a:gd name="connsiteX323" fmla="*/ 29873 w 936181"/>
                  <a:gd name="connsiteY323" fmla="*/ 1862911 h 2496787"/>
                  <a:gd name="connsiteX324" fmla="*/ 40663 w 936181"/>
                  <a:gd name="connsiteY324" fmla="*/ 1865608 h 2496787"/>
                  <a:gd name="connsiteX325" fmla="*/ 56847 w 936181"/>
                  <a:gd name="connsiteY325" fmla="*/ 1854819 h 2496787"/>
                  <a:gd name="connsiteX326" fmla="*/ 48755 w 936181"/>
                  <a:gd name="connsiteY326" fmla="*/ 1768504 h 2496787"/>
                  <a:gd name="connsiteX327" fmla="*/ 56847 w 936181"/>
                  <a:gd name="connsiteY327" fmla="*/ 1730741 h 2496787"/>
                  <a:gd name="connsiteX328" fmla="*/ 64939 w 936181"/>
                  <a:gd name="connsiteY328" fmla="*/ 1728044 h 2496787"/>
                  <a:gd name="connsiteX329" fmla="*/ 67636 w 936181"/>
                  <a:gd name="connsiteY329" fmla="*/ 1719952 h 2496787"/>
                  <a:gd name="connsiteX330" fmla="*/ 64939 w 936181"/>
                  <a:gd name="connsiteY330" fmla="*/ 1709162 h 2496787"/>
                  <a:gd name="connsiteX331" fmla="*/ 70334 w 936181"/>
                  <a:gd name="connsiteY331" fmla="*/ 1684886 h 2496787"/>
                  <a:gd name="connsiteX332" fmla="*/ 100004 w 936181"/>
                  <a:gd name="connsiteY332" fmla="*/ 1679491 h 2496787"/>
                  <a:gd name="connsiteX333" fmla="*/ 108096 w 936181"/>
                  <a:gd name="connsiteY333" fmla="*/ 1671399 h 2496787"/>
                  <a:gd name="connsiteX334" fmla="*/ 110794 w 936181"/>
                  <a:gd name="connsiteY334" fmla="*/ 1657913 h 2496787"/>
                  <a:gd name="connsiteX335" fmla="*/ 116188 w 936181"/>
                  <a:gd name="connsiteY335" fmla="*/ 1639031 h 2496787"/>
                  <a:gd name="connsiteX336" fmla="*/ 118886 w 936181"/>
                  <a:gd name="connsiteY336" fmla="*/ 1612058 h 2496787"/>
                  <a:gd name="connsiteX337" fmla="*/ 126978 w 936181"/>
                  <a:gd name="connsiteY337" fmla="*/ 1598571 h 2496787"/>
                  <a:gd name="connsiteX338" fmla="*/ 129675 w 936181"/>
                  <a:gd name="connsiteY338" fmla="*/ 1590479 h 2496787"/>
                  <a:gd name="connsiteX339" fmla="*/ 105399 w 936181"/>
                  <a:gd name="connsiteY339" fmla="*/ 1558111 h 2496787"/>
                  <a:gd name="connsiteX340" fmla="*/ 102702 w 936181"/>
                  <a:gd name="connsiteY340" fmla="*/ 1528440 h 2496787"/>
                  <a:gd name="connsiteX341" fmla="*/ 100004 w 936181"/>
                  <a:gd name="connsiteY341" fmla="*/ 1506861 h 2496787"/>
                  <a:gd name="connsiteX342" fmla="*/ 91912 w 936181"/>
                  <a:gd name="connsiteY342" fmla="*/ 1496072 h 2496787"/>
                  <a:gd name="connsiteX343" fmla="*/ 100004 w 936181"/>
                  <a:gd name="connsiteY343" fmla="*/ 1490677 h 2496787"/>
                  <a:gd name="connsiteX344" fmla="*/ 121583 w 936181"/>
                  <a:gd name="connsiteY344" fmla="*/ 1485283 h 2496787"/>
                  <a:gd name="connsiteX345" fmla="*/ 129675 w 936181"/>
                  <a:gd name="connsiteY345" fmla="*/ 1482585 h 2496787"/>
                  <a:gd name="connsiteX346" fmla="*/ 135070 w 936181"/>
                  <a:gd name="connsiteY346" fmla="*/ 1474493 h 2496787"/>
                  <a:gd name="connsiteX347" fmla="*/ 135070 w 936181"/>
                  <a:gd name="connsiteY347" fmla="*/ 1412454 h 2496787"/>
                  <a:gd name="connsiteX348" fmla="*/ 129675 w 936181"/>
                  <a:gd name="connsiteY348" fmla="*/ 1404362 h 2496787"/>
                  <a:gd name="connsiteX349" fmla="*/ 110794 w 936181"/>
                  <a:gd name="connsiteY349" fmla="*/ 1380086 h 2496787"/>
                  <a:gd name="connsiteX350" fmla="*/ 94610 w 936181"/>
                  <a:gd name="connsiteY350" fmla="*/ 1366599 h 2496787"/>
                  <a:gd name="connsiteX351" fmla="*/ 83820 w 936181"/>
                  <a:gd name="connsiteY351" fmla="*/ 1353113 h 2496787"/>
                  <a:gd name="connsiteX352" fmla="*/ 81123 w 936181"/>
                  <a:gd name="connsiteY352" fmla="*/ 1258706 h 2496787"/>
                  <a:gd name="connsiteX353" fmla="*/ 70334 w 936181"/>
                  <a:gd name="connsiteY353" fmla="*/ 1242522 h 2496787"/>
                  <a:gd name="connsiteX354" fmla="*/ 59544 w 936181"/>
                  <a:gd name="connsiteY354" fmla="*/ 1199364 h 2496787"/>
                  <a:gd name="connsiteX355" fmla="*/ 56847 w 936181"/>
                  <a:gd name="connsiteY355" fmla="*/ 1148114 h 2496787"/>
                  <a:gd name="connsiteX356" fmla="*/ 73031 w 936181"/>
                  <a:gd name="connsiteY356" fmla="*/ 1140022 h 2496787"/>
                  <a:gd name="connsiteX357" fmla="*/ 51452 w 936181"/>
                  <a:gd name="connsiteY357" fmla="*/ 1113049 h 2496787"/>
                  <a:gd name="connsiteX358" fmla="*/ 40663 w 936181"/>
                  <a:gd name="connsiteY358" fmla="*/ 1104957 h 2496787"/>
                  <a:gd name="connsiteX359" fmla="*/ 37965 w 936181"/>
                  <a:gd name="connsiteY359" fmla="*/ 1094168 h 2496787"/>
                  <a:gd name="connsiteX360" fmla="*/ 40663 w 936181"/>
                  <a:gd name="connsiteY360" fmla="*/ 1069891 h 2496787"/>
                  <a:gd name="connsiteX361" fmla="*/ 59544 w 936181"/>
                  <a:gd name="connsiteY361" fmla="*/ 1045615 h 2496787"/>
                  <a:gd name="connsiteX362" fmla="*/ 64939 w 936181"/>
                  <a:gd name="connsiteY362" fmla="*/ 1034826 h 2496787"/>
                  <a:gd name="connsiteX363" fmla="*/ 73031 w 936181"/>
                  <a:gd name="connsiteY363" fmla="*/ 1021339 h 2496787"/>
                  <a:gd name="connsiteX364" fmla="*/ 83820 w 936181"/>
                  <a:gd name="connsiteY364" fmla="*/ 1005155 h 2496787"/>
                  <a:gd name="connsiteX365" fmla="*/ 86518 w 936181"/>
                  <a:gd name="connsiteY365" fmla="*/ 988971 h 2496787"/>
                  <a:gd name="connsiteX366" fmla="*/ 97307 w 936181"/>
                  <a:gd name="connsiteY366" fmla="*/ 983576 h 2496787"/>
                  <a:gd name="connsiteX367" fmla="*/ 113491 w 936181"/>
                  <a:gd name="connsiteY367" fmla="*/ 975484 h 2496787"/>
                  <a:gd name="connsiteX368" fmla="*/ 124280 w 936181"/>
                  <a:gd name="connsiteY368" fmla="*/ 961998 h 2496787"/>
                  <a:gd name="connsiteX369" fmla="*/ 129675 w 936181"/>
                  <a:gd name="connsiteY369" fmla="*/ 951208 h 2496787"/>
                  <a:gd name="connsiteX370" fmla="*/ 145859 w 936181"/>
                  <a:gd name="connsiteY370" fmla="*/ 937722 h 2496787"/>
                  <a:gd name="connsiteX371" fmla="*/ 156649 w 936181"/>
                  <a:gd name="connsiteY371" fmla="*/ 929629 h 2496787"/>
                  <a:gd name="connsiteX372" fmla="*/ 162043 w 936181"/>
                  <a:gd name="connsiteY372" fmla="*/ 937722 h 2496787"/>
                  <a:gd name="connsiteX373" fmla="*/ 164741 w 936181"/>
                  <a:gd name="connsiteY373" fmla="*/ 945814 h 2496787"/>
                  <a:gd name="connsiteX374" fmla="*/ 178227 w 936181"/>
                  <a:gd name="connsiteY374" fmla="*/ 956603 h 2496787"/>
                  <a:gd name="connsiteX375" fmla="*/ 202503 w 936181"/>
                  <a:gd name="connsiteY375" fmla="*/ 940419 h 2496787"/>
                  <a:gd name="connsiteX376" fmla="*/ 205201 w 936181"/>
                  <a:gd name="connsiteY376" fmla="*/ 918840 h 2496787"/>
                  <a:gd name="connsiteX377" fmla="*/ 210595 w 936181"/>
                  <a:gd name="connsiteY377" fmla="*/ 894564 h 2496787"/>
                  <a:gd name="connsiteX378" fmla="*/ 205201 w 936181"/>
                  <a:gd name="connsiteY378" fmla="*/ 856801 h 2496787"/>
                  <a:gd name="connsiteX379" fmla="*/ 183622 w 936181"/>
                  <a:gd name="connsiteY379" fmla="*/ 854104 h 2496787"/>
                  <a:gd name="connsiteX380" fmla="*/ 194411 w 936181"/>
                  <a:gd name="connsiteY380" fmla="*/ 829828 h 2496787"/>
                  <a:gd name="connsiteX381" fmla="*/ 205201 w 936181"/>
                  <a:gd name="connsiteY381" fmla="*/ 805552 h 2496787"/>
                  <a:gd name="connsiteX382" fmla="*/ 210595 w 936181"/>
                  <a:gd name="connsiteY382" fmla="*/ 765091 h 2496787"/>
                  <a:gd name="connsiteX383" fmla="*/ 215990 w 936181"/>
                  <a:gd name="connsiteY383" fmla="*/ 756999 h 2496787"/>
                  <a:gd name="connsiteX384" fmla="*/ 229477 w 936181"/>
                  <a:gd name="connsiteY384" fmla="*/ 721934 h 2496787"/>
                  <a:gd name="connsiteX385" fmla="*/ 237569 w 936181"/>
                  <a:gd name="connsiteY385" fmla="*/ 692263 h 2496787"/>
                  <a:gd name="connsiteX386" fmla="*/ 240266 w 936181"/>
                  <a:gd name="connsiteY386" fmla="*/ 684171 h 2496787"/>
                  <a:gd name="connsiteX387" fmla="*/ 229477 w 936181"/>
                  <a:gd name="connsiteY387" fmla="*/ 667987 h 2496787"/>
                  <a:gd name="connsiteX388" fmla="*/ 232174 w 936181"/>
                  <a:gd name="connsiteY388" fmla="*/ 654500 h 2496787"/>
                  <a:gd name="connsiteX389" fmla="*/ 234872 w 936181"/>
                  <a:gd name="connsiteY389" fmla="*/ 646408 h 2496787"/>
                  <a:gd name="connsiteX390" fmla="*/ 237569 w 936181"/>
                  <a:gd name="connsiteY390" fmla="*/ 632922 h 2496787"/>
                  <a:gd name="connsiteX391" fmla="*/ 234872 w 936181"/>
                  <a:gd name="connsiteY391" fmla="*/ 581672 h 2496787"/>
                  <a:gd name="connsiteX392" fmla="*/ 229477 w 936181"/>
                  <a:gd name="connsiteY392" fmla="*/ 570883 h 2496787"/>
                  <a:gd name="connsiteX393" fmla="*/ 253753 w 936181"/>
                  <a:gd name="connsiteY393" fmla="*/ 568185 h 2496787"/>
                  <a:gd name="connsiteX394" fmla="*/ 256450 w 936181"/>
                  <a:gd name="connsiteY394" fmla="*/ 560093 h 2496787"/>
                  <a:gd name="connsiteX395" fmla="*/ 272634 w 936181"/>
                  <a:gd name="connsiteY395" fmla="*/ 546606 h 2496787"/>
                  <a:gd name="connsiteX396" fmla="*/ 275332 w 936181"/>
                  <a:gd name="connsiteY396" fmla="*/ 535817 h 2496787"/>
                  <a:gd name="connsiteX397" fmla="*/ 288818 w 936181"/>
                  <a:gd name="connsiteY397" fmla="*/ 522330 h 2496787"/>
                  <a:gd name="connsiteX398" fmla="*/ 280726 w 936181"/>
                  <a:gd name="connsiteY398" fmla="*/ 489962 h 2496787"/>
                  <a:gd name="connsiteX399" fmla="*/ 286121 w 936181"/>
                  <a:gd name="connsiteY399" fmla="*/ 479173 h 2496787"/>
                  <a:gd name="connsiteX400" fmla="*/ 288818 w 936181"/>
                  <a:gd name="connsiteY400" fmla="*/ 462989 h 2496787"/>
                  <a:gd name="connsiteX401" fmla="*/ 307700 w 936181"/>
                  <a:gd name="connsiteY401" fmla="*/ 444107 h 2496787"/>
                  <a:gd name="connsiteX402" fmla="*/ 318489 w 936181"/>
                  <a:gd name="connsiteY402" fmla="*/ 427923 h 2496787"/>
                  <a:gd name="connsiteX403" fmla="*/ 337371 w 936181"/>
                  <a:gd name="connsiteY403" fmla="*/ 414437 h 2496787"/>
                  <a:gd name="connsiteX404" fmla="*/ 342765 w 936181"/>
                  <a:gd name="connsiteY404" fmla="*/ 395555 h 2496787"/>
                  <a:gd name="connsiteX405" fmla="*/ 337371 w 936181"/>
                  <a:gd name="connsiteY405" fmla="*/ 363187 h 2496787"/>
                  <a:gd name="connsiteX406" fmla="*/ 329279 w 936181"/>
                  <a:gd name="connsiteY406" fmla="*/ 338911 h 2496787"/>
                  <a:gd name="connsiteX407" fmla="*/ 321187 w 936181"/>
                  <a:gd name="connsiteY407" fmla="*/ 336214 h 2496787"/>
                  <a:gd name="connsiteX408" fmla="*/ 318489 w 936181"/>
                  <a:gd name="connsiteY408" fmla="*/ 352398 h 2496787"/>
                  <a:gd name="connsiteX409" fmla="*/ 329279 w 936181"/>
                  <a:gd name="connsiteY409" fmla="*/ 325424 h 2496787"/>
                  <a:gd name="connsiteX410" fmla="*/ 331976 w 936181"/>
                  <a:gd name="connsiteY410" fmla="*/ 306543 h 2496787"/>
                  <a:gd name="connsiteX411" fmla="*/ 342765 w 936181"/>
                  <a:gd name="connsiteY411" fmla="*/ 295753 h 2496787"/>
                  <a:gd name="connsiteX412" fmla="*/ 356252 w 936181"/>
                  <a:gd name="connsiteY412" fmla="*/ 255293 h 2496787"/>
                  <a:gd name="connsiteX413" fmla="*/ 358949 w 936181"/>
                  <a:gd name="connsiteY413" fmla="*/ 233714 h 2496787"/>
                  <a:gd name="connsiteX414" fmla="*/ 364344 w 936181"/>
                  <a:gd name="connsiteY414" fmla="*/ 225622 h 2496787"/>
                  <a:gd name="connsiteX415" fmla="*/ 399410 w 936181"/>
                  <a:gd name="connsiteY415" fmla="*/ 198649 h 2496787"/>
                  <a:gd name="connsiteX416" fmla="*/ 410199 w 936181"/>
                  <a:gd name="connsiteY416" fmla="*/ 206741 h 2496787"/>
                  <a:gd name="connsiteX417" fmla="*/ 418291 w 936181"/>
                  <a:gd name="connsiteY417" fmla="*/ 220228 h 2496787"/>
                  <a:gd name="connsiteX418" fmla="*/ 429080 w 936181"/>
                  <a:gd name="connsiteY418" fmla="*/ 217530 h 2496787"/>
                  <a:gd name="connsiteX419" fmla="*/ 437172 w 936181"/>
                  <a:gd name="connsiteY419" fmla="*/ 185162 h 2496787"/>
                  <a:gd name="connsiteX420" fmla="*/ 437172 w 936181"/>
                  <a:gd name="connsiteY420" fmla="*/ 117729 h 2496787"/>
                  <a:gd name="connsiteX421" fmla="*/ 447860 w 936181"/>
                  <a:gd name="connsiteY421" fmla="*/ 113871 h 2496787"/>
                  <a:gd name="connsiteX422" fmla="*/ 477255 w 936181"/>
                  <a:gd name="connsiteY422" fmla="*/ 101819 h 2496787"/>
                  <a:gd name="connsiteX423" fmla="*/ 491119 w 936181"/>
                  <a:gd name="connsiteY423" fmla="*/ 117729 h 2496787"/>
                  <a:gd name="connsiteX424" fmla="*/ 545066 w 936181"/>
                  <a:gd name="connsiteY424" fmla="*/ 123123 h 2496787"/>
                  <a:gd name="connsiteX425" fmla="*/ 553158 w 936181"/>
                  <a:gd name="connsiteY425" fmla="*/ 125821 h 2496787"/>
                  <a:gd name="connsiteX426" fmla="*/ 563948 w 936181"/>
                  <a:gd name="connsiteY426" fmla="*/ 128518 h 2496787"/>
                  <a:gd name="connsiteX427" fmla="*/ 569342 w 936181"/>
                  <a:gd name="connsiteY427" fmla="*/ 109637 h 2496787"/>
                  <a:gd name="connsiteX428" fmla="*/ 566645 w 936181"/>
                  <a:gd name="connsiteY428" fmla="*/ 88058 h 2496787"/>
                  <a:gd name="connsiteX429" fmla="*/ 572040 w 936181"/>
                  <a:gd name="connsiteY429" fmla="*/ 52992 h 2496787"/>
                  <a:gd name="connsiteX430" fmla="*/ 577434 w 936181"/>
                  <a:gd name="connsiteY430" fmla="*/ 42203 h 2496787"/>
                  <a:gd name="connsiteX431" fmla="*/ 566645 w 936181"/>
                  <a:gd name="connsiteY431" fmla="*/ 20624 h 2496787"/>
                  <a:gd name="connsiteX432" fmla="*/ 563948 w 936181"/>
                  <a:gd name="connsiteY432" fmla="*/ 12532 h 2496787"/>
                  <a:gd name="connsiteX433" fmla="*/ 599013 w 936181"/>
                  <a:gd name="connsiteY433" fmla="*/ 1743 h 2496787"/>
                  <a:gd name="connsiteX0" fmla="*/ 599013 w 936181"/>
                  <a:gd name="connsiteY0" fmla="*/ 1743 h 2496787"/>
                  <a:gd name="connsiteX1" fmla="*/ 612500 w 936181"/>
                  <a:gd name="connsiteY1" fmla="*/ 4440 h 2496787"/>
                  <a:gd name="connsiteX2" fmla="*/ 615197 w 936181"/>
                  <a:gd name="connsiteY2" fmla="*/ 12532 h 2496787"/>
                  <a:gd name="connsiteX3" fmla="*/ 623289 w 936181"/>
                  <a:gd name="connsiteY3" fmla="*/ 26019 h 2496787"/>
                  <a:gd name="connsiteX4" fmla="*/ 625987 w 936181"/>
                  <a:gd name="connsiteY4" fmla="*/ 39506 h 2496787"/>
                  <a:gd name="connsiteX5" fmla="*/ 636776 w 936181"/>
                  <a:gd name="connsiteY5" fmla="*/ 44900 h 2496787"/>
                  <a:gd name="connsiteX6" fmla="*/ 644868 w 936181"/>
                  <a:gd name="connsiteY6" fmla="*/ 50295 h 2496787"/>
                  <a:gd name="connsiteX7" fmla="*/ 650263 w 936181"/>
                  <a:gd name="connsiteY7" fmla="*/ 58387 h 2496787"/>
                  <a:gd name="connsiteX8" fmla="*/ 661052 w 936181"/>
                  <a:gd name="connsiteY8" fmla="*/ 63782 h 2496787"/>
                  <a:gd name="connsiteX9" fmla="*/ 688026 w 936181"/>
                  <a:gd name="connsiteY9" fmla="*/ 74571 h 2496787"/>
                  <a:gd name="connsiteX10" fmla="*/ 717696 w 936181"/>
                  <a:gd name="connsiteY10" fmla="*/ 88058 h 2496787"/>
                  <a:gd name="connsiteX11" fmla="*/ 736578 w 936181"/>
                  <a:gd name="connsiteY11" fmla="*/ 82663 h 2496787"/>
                  <a:gd name="connsiteX12" fmla="*/ 752762 w 936181"/>
                  <a:gd name="connsiteY12" fmla="*/ 93452 h 2496787"/>
                  <a:gd name="connsiteX13" fmla="*/ 766249 w 936181"/>
                  <a:gd name="connsiteY13" fmla="*/ 112334 h 2496787"/>
                  <a:gd name="connsiteX14" fmla="*/ 771643 w 936181"/>
                  <a:gd name="connsiteY14" fmla="*/ 128518 h 2496787"/>
                  <a:gd name="connsiteX15" fmla="*/ 787827 w 936181"/>
                  <a:gd name="connsiteY15" fmla="*/ 133913 h 2496787"/>
                  <a:gd name="connsiteX16" fmla="*/ 795919 w 936181"/>
                  <a:gd name="connsiteY16" fmla="*/ 139307 h 2496787"/>
                  <a:gd name="connsiteX17" fmla="*/ 804011 w 936181"/>
                  <a:gd name="connsiteY17" fmla="*/ 150097 h 2496787"/>
                  <a:gd name="connsiteX18" fmla="*/ 820195 w 936181"/>
                  <a:gd name="connsiteY18" fmla="*/ 166281 h 2496787"/>
                  <a:gd name="connsiteX19" fmla="*/ 817498 w 936181"/>
                  <a:gd name="connsiteY19" fmla="*/ 198649 h 2496787"/>
                  <a:gd name="connsiteX20" fmla="*/ 828287 w 936181"/>
                  <a:gd name="connsiteY20" fmla="*/ 201346 h 2496787"/>
                  <a:gd name="connsiteX21" fmla="*/ 830985 w 936181"/>
                  <a:gd name="connsiteY21" fmla="*/ 247201 h 2496787"/>
                  <a:gd name="connsiteX22" fmla="*/ 839077 w 936181"/>
                  <a:gd name="connsiteY22" fmla="*/ 249898 h 2496787"/>
                  <a:gd name="connsiteX23" fmla="*/ 844472 w 936181"/>
                  <a:gd name="connsiteY23" fmla="*/ 260688 h 2496787"/>
                  <a:gd name="connsiteX24" fmla="*/ 849866 w 936181"/>
                  <a:gd name="connsiteY24" fmla="*/ 268780 h 2496787"/>
                  <a:gd name="connsiteX25" fmla="*/ 844472 w 936181"/>
                  <a:gd name="connsiteY25" fmla="*/ 282267 h 2496787"/>
                  <a:gd name="connsiteX26" fmla="*/ 836380 w 936181"/>
                  <a:gd name="connsiteY26" fmla="*/ 287661 h 2496787"/>
                  <a:gd name="connsiteX27" fmla="*/ 852564 w 936181"/>
                  <a:gd name="connsiteY27" fmla="*/ 306543 h 2496787"/>
                  <a:gd name="connsiteX28" fmla="*/ 855261 w 936181"/>
                  <a:gd name="connsiteY28" fmla="*/ 317332 h 2496787"/>
                  <a:gd name="connsiteX29" fmla="*/ 871445 w 936181"/>
                  <a:gd name="connsiteY29" fmla="*/ 330819 h 2496787"/>
                  <a:gd name="connsiteX30" fmla="*/ 876840 w 936181"/>
                  <a:gd name="connsiteY30" fmla="*/ 349700 h 2496787"/>
                  <a:gd name="connsiteX31" fmla="*/ 884932 w 936181"/>
                  <a:gd name="connsiteY31" fmla="*/ 371279 h 2496787"/>
                  <a:gd name="connsiteX32" fmla="*/ 887629 w 936181"/>
                  <a:gd name="connsiteY32" fmla="*/ 406345 h 2496787"/>
                  <a:gd name="connsiteX33" fmla="*/ 884932 w 936181"/>
                  <a:gd name="connsiteY33" fmla="*/ 414437 h 2496787"/>
                  <a:gd name="connsiteX34" fmla="*/ 882234 w 936181"/>
                  <a:gd name="connsiteY34" fmla="*/ 427923 h 2496787"/>
                  <a:gd name="connsiteX35" fmla="*/ 890326 w 936181"/>
                  <a:gd name="connsiteY35" fmla="*/ 454897 h 2496787"/>
                  <a:gd name="connsiteX36" fmla="*/ 901116 w 936181"/>
                  <a:gd name="connsiteY36" fmla="*/ 457594 h 2496787"/>
                  <a:gd name="connsiteX37" fmla="*/ 911905 w 936181"/>
                  <a:gd name="connsiteY37" fmla="*/ 484568 h 2496787"/>
                  <a:gd name="connsiteX38" fmla="*/ 914603 w 936181"/>
                  <a:gd name="connsiteY38" fmla="*/ 500752 h 2496787"/>
                  <a:gd name="connsiteX39" fmla="*/ 917300 w 936181"/>
                  <a:gd name="connsiteY39" fmla="*/ 508844 h 2496787"/>
                  <a:gd name="connsiteX40" fmla="*/ 936181 w 936181"/>
                  <a:gd name="connsiteY40" fmla="*/ 511541 h 2496787"/>
                  <a:gd name="connsiteX41" fmla="*/ 933484 w 936181"/>
                  <a:gd name="connsiteY41" fmla="*/ 530422 h 2496787"/>
                  <a:gd name="connsiteX42" fmla="*/ 925392 w 936181"/>
                  <a:gd name="connsiteY42" fmla="*/ 535817 h 2496787"/>
                  <a:gd name="connsiteX43" fmla="*/ 893024 w 936181"/>
                  <a:gd name="connsiteY43" fmla="*/ 541212 h 2496787"/>
                  <a:gd name="connsiteX44" fmla="*/ 879537 w 936181"/>
                  <a:gd name="connsiteY44" fmla="*/ 560093 h 2496787"/>
                  <a:gd name="connsiteX45" fmla="*/ 857958 w 936181"/>
                  <a:gd name="connsiteY45" fmla="*/ 557396 h 2496787"/>
                  <a:gd name="connsiteX46" fmla="*/ 839077 w 936181"/>
                  <a:gd name="connsiteY46" fmla="*/ 549304 h 2496787"/>
                  <a:gd name="connsiteX47" fmla="*/ 814801 w 936181"/>
                  <a:gd name="connsiteY47" fmla="*/ 552001 h 2496787"/>
                  <a:gd name="connsiteX48" fmla="*/ 817498 w 936181"/>
                  <a:gd name="connsiteY48" fmla="*/ 587067 h 2496787"/>
                  <a:gd name="connsiteX49" fmla="*/ 825590 w 936181"/>
                  <a:gd name="connsiteY49" fmla="*/ 595159 h 2496787"/>
                  <a:gd name="connsiteX50" fmla="*/ 812103 w 936181"/>
                  <a:gd name="connsiteY50" fmla="*/ 597856 h 2496787"/>
                  <a:gd name="connsiteX51" fmla="*/ 790525 w 936181"/>
                  <a:gd name="connsiteY51" fmla="*/ 595159 h 2496787"/>
                  <a:gd name="connsiteX52" fmla="*/ 785130 w 936181"/>
                  <a:gd name="connsiteY52" fmla="*/ 587067 h 2496787"/>
                  <a:gd name="connsiteX53" fmla="*/ 782433 w 936181"/>
                  <a:gd name="connsiteY53" fmla="*/ 578975 h 2496787"/>
                  <a:gd name="connsiteX54" fmla="*/ 801314 w 936181"/>
                  <a:gd name="connsiteY54" fmla="*/ 595159 h 2496787"/>
                  <a:gd name="connsiteX55" fmla="*/ 790525 w 936181"/>
                  <a:gd name="connsiteY55" fmla="*/ 622132 h 2496787"/>
                  <a:gd name="connsiteX56" fmla="*/ 768946 w 936181"/>
                  <a:gd name="connsiteY56" fmla="*/ 627527 h 2496787"/>
                  <a:gd name="connsiteX57" fmla="*/ 750064 w 936181"/>
                  <a:gd name="connsiteY57" fmla="*/ 635619 h 2496787"/>
                  <a:gd name="connsiteX58" fmla="*/ 741972 w 936181"/>
                  <a:gd name="connsiteY58" fmla="*/ 641014 h 2496787"/>
                  <a:gd name="connsiteX59" fmla="*/ 766249 w 936181"/>
                  <a:gd name="connsiteY59" fmla="*/ 659895 h 2496787"/>
                  <a:gd name="connsiteX60" fmla="*/ 774341 w 936181"/>
                  <a:gd name="connsiteY60" fmla="*/ 662592 h 2496787"/>
                  <a:gd name="connsiteX61" fmla="*/ 763551 w 936181"/>
                  <a:gd name="connsiteY61" fmla="*/ 692263 h 2496787"/>
                  <a:gd name="connsiteX62" fmla="*/ 760854 w 936181"/>
                  <a:gd name="connsiteY62" fmla="*/ 703052 h 2496787"/>
                  <a:gd name="connsiteX63" fmla="*/ 747367 w 936181"/>
                  <a:gd name="connsiteY63" fmla="*/ 713842 h 2496787"/>
                  <a:gd name="connsiteX64" fmla="*/ 750064 w 936181"/>
                  <a:gd name="connsiteY64" fmla="*/ 743513 h 2496787"/>
                  <a:gd name="connsiteX65" fmla="*/ 752762 w 936181"/>
                  <a:gd name="connsiteY65" fmla="*/ 756999 h 2496787"/>
                  <a:gd name="connsiteX66" fmla="*/ 766249 w 936181"/>
                  <a:gd name="connsiteY66" fmla="*/ 773183 h 2496787"/>
                  <a:gd name="connsiteX67" fmla="*/ 768946 w 936181"/>
                  <a:gd name="connsiteY67" fmla="*/ 781275 h 2496787"/>
                  <a:gd name="connsiteX68" fmla="*/ 777038 w 936181"/>
                  <a:gd name="connsiteY68" fmla="*/ 783973 h 2496787"/>
                  <a:gd name="connsiteX69" fmla="*/ 787827 w 936181"/>
                  <a:gd name="connsiteY69" fmla="*/ 789368 h 2496787"/>
                  <a:gd name="connsiteX70" fmla="*/ 790525 w 936181"/>
                  <a:gd name="connsiteY70" fmla="*/ 800157 h 2496787"/>
                  <a:gd name="connsiteX71" fmla="*/ 782433 w 936181"/>
                  <a:gd name="connsiteY71" fmla="*/ 805552 h 2496787"/>
                  <a:gd name="connsiteX72" fmla="*/ 771643 w 936181"/>
                  <a:gd name="connsiteY72" fmla="*/ 816341 h 2496787"/>
                  <a:gd name="connsiteX73" fmla="*/ 768946 w 936181"/>
                  <a:gd name="connsiteY73" fmla="*/ 824433 h 2496787"/>
                  <a:gd name="connsiteX74" fmla="*/ 758157 w 936181"/>
                  <a:gd name="connsiteY74" fmla="*/ 851406 h 2496787"/>
                  <a:gd name="connsiteX75" fmla="*/ 733880 w 936181"/>
                  <a:gd name="connsiteY75" fmla="*/ 937722 h 2496787"/>
                  <a:gd name="connsiteX76" fmla="*/ 725788 w 936181"/>
                  <a:gd name="connsiteY76" fmla="*/ 940419 h 2496787"/>
                  <a:gd name="connsiteX77" fmla="*/ 723091 w 936181"/>
                  <a:gd name="connsiteY77" fmla="*/ 948511 h 2496787"/>
                  <a:gd name="connsiteX78" fmla="*/ 696118 w 936181"/>
                  <a:gd name="connsiteY78" fmla="*/ 970090 h 2496787"/>
                  <a:gd name="connsiteX79" fmla="*/ 688026 w 936181"/>
                  <a:gd name="connsiteY79" fmla="*/ 980879 h 2496787"/>
                  <a:gd name="connsiteX80" fmla="*/ 679934 w 936181"/>
                  <a:gd name="connsiteY80" fmla="*/ 986274 h 2496787"/>
                  <a:gd name="connsiteX81" fmla="*/ 674539 w 936181"/>
                  <a:gd name="connsiteY81" fmla="*/ 994366 h 2496787"/>
                  <a:gd name="connsiteX82" fmla="*/ 655657 w 936181"/>
                  <a:gd name="connsiteY82" fmla="*/ 1002458 h 2496787"/>
                  <a:gd name="connsiteX83" fmla="*/ 650263 w 936181"/>
                  <a:gd name="connsiteY83" fmla="*/ 1015945 h 2496787"/>
                  <a:gd name="connsiteX84" fmla="*/ 639473 w 936181"/>
                  <a:gd name="connsiteY84" fmla="*/ 1021339 h 2496787"/>
                  <a:gd name="connsiteX85" fmla="*/ 636776 w 936181"/>
                  <a:gd name="connsiteY85" fmla="*/ 1032129 h 2496787"/>
                  <a:gd name="connsiteX86" fmla="*/ 623289 w 936181"/>
                  <a:gd name="connsiteY86" fmla="*/ 1045615 h 2496787"/>
                  <a:gd name="connsiteX87" fmla="*/ 636776 w 936181"/>
                  <a:gd name="connsiteY87" fmla="*/ 1051010 h 2496787"/>
                  <a:gd name="connsiteX88" fmla="*/ 642171 w 936181"/>
                  <a:gd name="connsiteY88" fmla="*/ 1059102 h 2496787"/>
                  <a:gd name="connsiteX89" fmla="*/ 615197 w 936181"/>
                  <a:gd name="connsiteY89" fmla="*/ 1061799 h 2496787"/>
                  <a:gd name="connsiteX90" fmla="*/ 580132 w 936181"/>
                  <a:gd name="connsiteY90" fmla="*/ 1086075 h 2496787"/>
                  <a:gd name="connsiteX91" fmla="*/ 588224 w 936181"/>
                  <a:gd name="connsiteY91" fmla="*/ 1091470 h 2496787"/>
                  <a:gd name="connsiteX92" fmla="*/ 596316 w 936181"/>
                  <a:gd name="connsiteY92" fmla="*/ 1099562 h 2496787"/>
                  <a:gd name="connsiteX93" fmla="*/ 588224 w 936181"/>
                  <a:gd name="connsiteY93" fmla="*/ 1123838 h 2496787"/>
                  <a:gd name="connsiteX94" fmla="*/ 574737 w 936181"/>
                  <a:gd name="connsiteY94" fmla="*/ 1126536 h 2496787"/>
                  <a:gd name="connsiteX95" fmla="*/ 545066 w 936181"/>
                  <a:gd name="connsiteY95" fmla="*/ 1123838 h 2496787"/>
                  <a:gd name="connsiteX96" fmla="*/ 542369 w 936181"/>
                  <a:gd name="connsiteY96" fmla="*/ 1107654 h 2496787"/>
                  <a:gd name="connsiteX97" fmla="*/ 534277 w 936181"/>
                  <a:gd name="connsiteY97" fmla="*/ 1104957 h 2496787"/>
                  <a:gd name="connsiteX98" fmla="*/ 539672 w 936181"/>
                  <a:gd name="connsiteY98" fmla="*/ 1118444 h 2496787"/>
                  <a:gd name="connsiteX99" fmla="*/ 547764 w 936181"/>
                  <a:gd name="connsiteY99" fmla="*/ 1123838 h 2496787"/>
                  <a:gd name="connsiteX100" fmla="*/ 550461 w 936181"/>
                  <a:gd name="connsiteY100" fmla="*/ 1131930 h 2496787"/>
                  <a:gd name="connsiteX101" fmla="*/ 561250 w 936181"/>
                  <a:gd name="connsiteY101" fmla="*/ 1153509 h 2496787"/>
                  <a:gd name="connsiteX102" fmla="*/ 563948 w 936181"/>
                  <a:gd name="connsiteY102" fmla="*/ 1183180 h 2496787"/>
                  <a:gd name="connsiteX103" fmla="*/ 555856 w 936181"/>
                  <a:gd name="connsiteY103" fmla="*/ 1188575 h 2496787"/>
                  <a:gd name="connsiteX104" fmla="*/ 520790 w 936181"/>
                  <a:gd name="connsiteY104" fmla="*/ 1202061 h 2496787"/>
                  <a:gd name="connsiteX105" fmla="*/ 523487 w 936181"/>
                  <a:gd name="connsiteY105" fmla="*/ 1220943 h 2496787"/>
                  <a:gd name="connsiteX106" fmla="*/ 534277 w 936181"/>
                  <a:gd name="connsiteY106" fmla="*/ 1226337 h 2496787"/>
                  <a:gd name="connsiteX107" fmla="*/ 536974 w 936181"/>
                  <a:gd name="connsiteY107" fmla="*/ 1234429 h 2496787"/>
                  <a:gd name="connsiteX108" fmla="*/ 528882 w 936181"/>
                  <a:gd name="connsiteY108" fmla="*/ 1237127 h 2496787"/>
                  <a:gd name="connsiteX109" fmla="*/ 528882 w 936181"/>
                  <a:gd name="connsiteY109" fmla="*/ 1261403 h 2496787"/>
                  <a:gd name="connsiteX110" fmla="*/ 534277 w 936181"/>
                  <a:gd name="connsiteY110" fmla="*/ 1269495 h 2496787"/>
                  <a:gd name="connsiteX111" fmla="*/ 515395 w 936181"/>
                  <a:gd name="connsiteY111" fmla="*/ 1280284 h 2496787"/>
                  <a:gd name="connsiteX112" fmla="*/ 520790 w 936181"/>
                  <a:gd name="connsiteY112" fmla="*/ 1291074 h 2496787"/>
                  <a:gd name="connsiteX113" fmla="*/ 523487 w 936181"/>
                  <a:gd name="connsiteY113" fmla="*/ 1326139 h 2496787"/>
                  <a:gd name="connsiteX114" fmla="*/ 528882 w 936181"/>
                  <a:gd name="connsiteY114" fmla="*/ 1342323 h 2496787"/>
                  <a:gd name="connsiteX115" fmla="*/ 507303 w 936181"/>
                  <a:gd name="connsiteY115" fmla="*/ 1350415 h 2496787"/>
                  <a:gd name="connsiteX116" fmla="*/ 518093 w 936181"/>
                  <a:gd name="connsiteY116" fmla="*/ 1374691 h 2496787"/>
                  <a:gd name="connsiteX117" fmla="*/ 520790 w 936181"/>
                  <a:gd name="connsiteY117" fmla="*/ 1382783 h 2496787"/>
                  <a:gd name="connsiteX118" fmla="*/ 526185 w 936181"/>
                  <a:gd name="connsiteY118" fmla="*/ 1404362 h 2496787"/>
                  <a:gd name="connsiteX119" fmla="*/ 520790 w 936181"/>
                  <a:gd name="connsiteY119" fmla="*/ 1436730 h 2496787"/>
                  <a:gd name="connsiteX120" fmla="*/ 515395 w 936181"/>
                  <a:gd name="connsiteY120" fmla="*/ 1463704 h 2496787"/>
                  <a:gd name="connsiteX121" fmla="*/ 520790 w 936181"/>
                  <a:gd name="connsiteY121" fmla="*/ 1471796 h 2496787"/>
                  <a:gd name="connsiteX122" fmla="*/ 534277 w 936181"/>
                  <a:gd name="connsiteY122" fmla="*/ 1482585 h 2496787"/>
                  <a:gd name="connsiteX123" fmla="*/ 536974 w 936181"/>
                  <a:gd name="connsiteY123" fmla="*/ 1501467 h 2496787"/>
                  <a:gd name="connsiteX124" fmla="*/ 542369 w 936181"/>
                  <a:gd name="connsiteY124" fmla="*/ 1509559 h 2496787"/>
                  <a:gd name="connsiteX125" fmla="*/ 545066 w 936181"/>
                  <a:gd name="connsiteY125" fmla="*/ 1517651 h 2496787"/>
                  <a:gd name="connsiteX126" fmla="*/ 558553 w 936181"/>
                  <a:gd name="connsiteY126" fmla="*/ 1514953 h 2496787"/>
                  <a:gd name="connsiteX127" fmla="*/ 569342 w 936181"/>
                  <a:gd name="connsiteY127" fmla="*/ 1523045 h 2496787"/>
                  <a:gd name="connsiteX128" fmla="*/ 582829 w 936181"/>
                  <a:gd name="connsiteY128" fmla="*/ 1528440 h 2496787"/>
                  <a:gd name="connsiteX129" fmla="*/ 590921 w 936181"/>
                  <a:gd name="connsiteY129" fmla="*/ 1536532 h 2496787"/>
                  <a:gd name="connsiteX130" fmla="*/ 601710 w 936181"/>
                  <a:gd name="connsiteY130" fmla="*/ 1539229 h 2496787"/>
                  <a:gd name="connsiteX131" fmla="*/ 612500 w 936181"/>
                  <a:gd name="connsiteY131" fmla="*/ 1544624 h 2496787"/>
                  <a:gd name="connsiteX132" fmla="*/ 623289 w 936181"/>
                  <a:gd name="connsiteY132" fmla="*/ 1576992 h 2496787"/>
                  <a:gd name="connsiteX133" fmla="*/ 631381 w 936181"/>
                  <a:gd name="connsiteY133" fmla="*/ 1571598 h 2496787"/>
                  <a:gd name="connsiteX134" fmla="*/ 642171 w 936181"/>
                  <a:gd name="connsiteY134" fmla="*/ 1552716 h 2496787"/>
                  <a:gd name="connsiteX135" fmla="*/ 644868 w 936181"/>
                  <a:gd name="connsiteY135" fmla="*/ 1560808 h 2496787"/>
                  <a:gd name="connsiteX136" fmla="*/ 655657 w 936181"/>
                  <a:gd name="connsiteY136" fmla="*/ 1576992 h 2496787"/>
                  <a:gd name="connsiteX137" fmla="*/ 658355 w 936181"/>
                  <a:gd name="connsiteY137" fmla="*/ 1601268 h 2496787"/>
                  <a:gd name="connsiteX138" fmla="*/ 690723 w 936181"/>
                  <a:gd name="connsiteY138" fmla="*/ 1609360 h 2496787"/>
                  <a:gd name="connsiteX139" fmla="*/ 696118 w 936181"/>
                  <a:gd name="connsiteY139" fmla="*/ 1617452 h 2496787"/>
                  <a:gd name="connsiteX140" fmla="*/ 698815 w 936181"/>
                  <a:gd name="connsiteY140" fmla="*/ 1625545 h 2496787"/>
                  <a:gd name="connsiteX141" fmla="*/ 704210 w 936181"/>
                  <a:gd name="connsiteY141" fmla="*/ 1660610 h 2496787"/>
                  <a:gd name="connsiteX142" fmla="*/ 690723 w 936181"/>
                  <a:gd name="connsiteY142" fmla="*/ 1679491 h 2496787"/>
                  <a:gd name="connsiteX143" fmla="*/ 688026 w 936181"/>
                  <a:gd name="connsiteY143" fmla="*/ 1690281 h 2496787"/>
                  <a:gd name="connsiteX144" fmla="*/ 685328 w 936181"/>
                  <a:gd name="connsiteY144" fmla="*/ 1709162 h 2496787"/>
                  <a:gd name="connsiteX145" fmla="*/ 677236 w 936181"/>
                  <a:gd name="connsiteY145" fmla="*/ 1711860 h 2496787"/>
                  <a:gd name="connsiteX146" fmla="*/ 661052 w 936181"/>
                  <a:gd name="connsiteY146" fmla="*/ 1714557 h 2496787"/>
                  <a:gd name="connsiteX147" fmla="*/ 655657 w 936181"/>
                  <a:gd name="connsiteY147" fmla="*/ 1722649 h 2496787"/>
                  <a:gd name="connsiteX148" fmla="*/ 625987 w 936181"/>
                  <a:gd name="connsiteY148" fmla="*/ 1733438 h 2496787"/>
                  <a:gd name="connsiteX149" fmla="*/ 623289 w 936181"/>
                  <a:gd name="connsiteY149" fmla="*/ 1752320 h 2496787"/>
                  <a:gd name="connsiteX150" fmla="*/ 601710 w 936181"/>
                  <a:gd name="connsiteY150" fmla="*/ 1749622 h 2496787"/>
                  <a:gd name="connsiteX151" fmla="*/ 596316 w 936181"/>
                  <a:gd name="connsiteY151" fmla="*/ 1736136 h 2496787"/>
                  <a:gd name="connsiteX152" fmla="*/ 601710 w 936181"/>
                  <a:gd name="connsiteY152" fmla="*/ 1719952 h 2496787"/>
                  <a:gd name="connsiteX153" fmla="*/ 582829 w 936181"/>
                  <a:gd name="connsiteY153" fmla="*/ 1695675 h 2496787"/>
                  <a:gd name="connsiteX154" fmla="*/ 580132 w 936181"/>
                  <a:gd name="connsiteY154" fmla="*/ 1714557 h 2496787"/>
                  <a:gd name="connsiteX155" fmla="*/ 574737 w 936181"/>
                  <a:gd name="connsiteY155" fmla="*/ 1722649 h 2496787"/>
                  <a:gd name="connsiteX156" fmla="*/ 558553 w 936181"/>
                  <a:gd name="connsiteY156" fmla="*/ 1719952 h 2496787"/>
                  <a:gd name="connsiteX157" fmla="*/ 501909 w 936181"/>
                  <a:gd name="connsiteY157" fmla="*/ 1730741 h 2496787"/>
                  <a:gd name="connsiteX158" fmla="*/ 488422 w 936181"/>
                  <a:gd name="connsiteY158" fmla="*/ 1741530 h 2496787"/>
                  <a:gd name="connsiteX159" fmla="*/ 464146 w 936181"/>
                  <a:gd name="connsiteY159" fmla="*/ 1746925 h 2496787"/>
                  <a:gd name="connsiteX160" fmla="*/ 453357 w 936181"/>
                  <a:gd name="connsiteY160" fmla="*/ 1749622 h 2496787"/>
                  <a:gd name="connsiteX161" fmla="*/ 499211 w 936181"/>
                  <a:gd name="connsiteY161" fmla="*/ 1746925 h 2496787"/>
                  <a:gd name="connsiteX162" fmla="*/ 507303 w 936181"/>
                  <a:gd name="connsiteY162" fmla="*/ 1752320 h 2496787"/>
                  <a:gd name="connsiteX163" fmla="*/ 523487 w 936181"/>
                  <a:gd name="connsiteY163" fmla="*/ 1757714 h 2496787"/>
                  <a:gd name="connsiteX164" fmla="*/ 531580 w 936181"/>
                  <a:gd name="connsiteY164" fmla="*/ 1738833 h 2496787"/>
                  <a:gd name="connsiteX165" fmla="*/ 539672 w 936181"/>
                  <a:gd name="connsiteY165" fmla="*/ 1733438 h 2496787"/>
                  <a:gd name="connsiteX166" fmla="*/ 555856 w 936181"/>
                  <a:gd name="connsiteY166" fmla="*/ 1755017 h 2496787"/>
                  <a:gd name="connsiteX167" fmla="*/ 566645 w 936181"/>
                  <a:gd name="connsiteY167" fmla="*/ 1773898 h 2496787"/>
                  <a:gd name="connsiteX168" fmla="*/ 582829 w 936181"/>
                  <a:gd name="connsiteY168" fmla="*/ 1768504 h 2496787"/>
                  <a:gd name="connsiteX169" fmla="*/ 588224 w 936181"/>
                  <a:gd name="connsiteY169" fmla="*/ 1760412 h 2496787"/>
                  <a:gd name="connsiteX170" fmla="*/ 636776 w 936181"/>
                  <a:gd name="connsiteY170" fmla="*/ 1749622 h 2496787"/>
                  <a:gd name="connsiteX171" fmla="*/ 650263 w 936181"/>
                  <a:gd name="connsiteY171" fmla="*/ 1725346 h 2496787"/>
                  <a:gd name="connsiteX172" fmla="*/ 658355 w 936181"/>
                  <a:gd name="connsiteY172" fmla="*/ 1722649 h 2496787"/>
                  <a:gd name="connsiteX173" fmla="*/ 671841 w 936181"/>
                  <a:gd name="connsiteY173" fmla="*/ 1728044 h 2496787"/>
                  <a:gd name="connsiteX174" fmla="*/ 679934 w 936181"/>
                  <a:gd name="connsiteY174" fmla="*/ 1730741 h 2496787"/>
                  <a:gd name="connsiteX175" fmla="*/ 682631 w 936181"/>
                  <a:gd name="connsiteY175" fmla="*/ 1738833 h 2496787"/>
                  <a:gd name="connsiteX176" fmla="*/ 671841 w 936181"/>
                  <a:gd name="connsiteY176" fmla="*/ 1741530 h 2496787"/>
                  <a:gd name="connsiteX177" fmla="*/ 655657 w 936181"/>
                  <a:gd name="connsiteY177" fmla="*/ 1755017 h 2496787"/>
                  <a:gd name="connsiteX178" fmla="*/ 658355 w 936181"/>
                  <a:gd name="connsiteY178" fmla="*/ 1781991 h 2496787"/>
                  <a:gd name="connsiteX179" fmla="*/ 644868 w 936181"/>
                  <a:gd name="connsiteY179" fmla="*/ 1790083 h 2496787"/>
                  <a:gd name="connsiteX180" fmla="*/ 650263 w 936181"/>
                  <a:gd name="connsiteY180" fmla="*/ 1798175 h 2496787"/>
                  <a:gd name="connsiteX181" fmla="*/ 642171 w 936181"/>
                  <a:gd name="connsiteY181" fmla="*/ 1822451 h 2496787"/>
                  <a:gd name="connsiteX182" fmla="*/ 636537 w 936181"/>
                  <a:gd name="connsiteY182" fmla="*/ 1842050 h 2496787"/>
                  <a:gd name="connsiteX183" fmla="*/ 628684 w 936181"/>
                  <a:gd name="connsiteY183" fmla="*/ 1835937 h 2496787"/>
                  <a:gd name="connsiteX184" fmla="*/ 617895 w 936181"/>
                  <a:gd name="connsiteY184" fmla="*/ 1806267 h 2496787"/>
                  <a:gd name="connsiteX185" fmla="*/ 607105 w 936181"/>
                  <a:gd name="connsiteY185" fmla="*/ 1800872 h 2496787"/>
                  <a:gd name="connsiteX186" fmla="*/ 593618 w 936181"/>
                  <a:gd name="connsiteY186" fmla="*/ 1838635 h 2496787"/>
                  <a:gd name="connsiteX187" fmla="*/ 585526 w 936181"/>
                  <a:gd name="connsiteY187" fmla="*/ 1841332 h 2496787"/>
                  <a:gd name="connsiteX188" fmla="*/ 582829 w 936181"/>
                  <a:gd name="connsiteY188" fmla="*/ 1857516 h 2496787"/>
                  <a:gd name="connsiteX189" fmla="*/ 580132 w 936181"/>
                  <a:gd name="connsiteY189" fmla="*/ 1865608 h 2496787"/>
                  <a:gd name="connsiteX190" fmla="*/ 572040 w 936181"/>
                  <a:gd name="connsiteY190" fmla="*/ 1873700 h 2496787"/>
                  <a:gd name="connsiteX191" fmla="*/ 563948 w 936181"/>
                  <a:gd name="connsiteY191" fmla="*/ 1876398 h 2496787"/>
                  <a:gd name="connsiteX192" fmla="*/ 520790 w 936181"/>
                  <a:gd name="connsiteY192" fmla="*/ 1879095 h 2496787"/>
                  <a:gd name="connsiteX193" fmla="*/ 472238 w 936181"/>
                  <a:gd name="connsiteY193" fmla="*/ 1887187 h 2496787"/>
                  <a:gd name="connsiteX194" fmla="*/ 488422 w 936181"/>
                  <a:gd name="connsiteY194" fmla="*/ 1881792 h 2496787"/>
                  <a:gd name="connsiteX195" fmla="*/ 539672 w 936181"/>
                  <a:gd name="connsiteY195" fmla="*/ 1911463 h 2496787"/>
                  <a:gd name="connsiteX196" fmla="*/ 542369 w 936181"/>
                  <a:gd name="connsiteY196" fmla="*/ 1919555 h 2496787"/>
                  <a:gd name="connsiteX197" fmla="*/ 523487 w 936181"/>
                  <a:gd name="connsiteY197" fmla="*/ 1922252 h 2496787"/>
                  <a:gd name="connsiteX198" fmla="*/ 512698 w 936181"/>
                  <a:gd name="connsiteY198" fmla="*/ 1938437 h 2496787"/>
                  <a:gd name="connsiteX199" fmla="*/ 523487 w 936181"/>
                  <a:gd name="connsiteY199" fmla="*/ 1943831 h 2496787"/>
                  <a:gd name="connsiteX200" fmla="*/ 526185 w 936181"/>
                  <a:gd name="connsiteY200" fmla="*/ 1951923 h 2496787"/>
                  <a:gd name="connsiteX201" fmla="*/ 536974 w 936181"/>
                  <a:gd name="connsiteY201" fmla="*/ 1957318 h 2496787"/>
                  <a:gd name="connsiteX202" fmla="*/ 534277 w 936181"/>
                  <a:gd name="connsiteY202" fmla="*/ 1965410 h 2496787"/>
                  <a:gd name="connsiteX203" fmla="*/ 523487 w 936181"/>
                  <a:gd name="connsiteY203" fmla="*/ 1995081 h 2496787"/>
                  <a:gd name="connsiteX204" fmla="*/ 515395 w 936181"/>
                  <a:gd name="connsiteY204" fmla="*/ 2000475 h 2496787"/>
                  <a:gd name="connsiteX205" fmla="*/ 523487 w 936181"/>
                  <a:gd name="connsiteY205" fmla="*/ 2005870 h 2496787"/>
                  <a:gd name="connsiteX206" fmla="*/ 545066 w 936181"/>
                  <a:gd name="connsiteY206" fmla="*/ 2013962 h 2496787"/>
                  <a:gd name="connsiteX207" fmla="*/ 553158 w 936181"/>
                  <a:gd name="connsiteY207" fmla="*/ 2011265 h 2496787"/>
                  <a:gd name="connsiteX208" fmla="*/ 539672 w 936181"/>
                  <a:gd name="connsiteY208" fmla="*/ 2022054 h 2496787"/>
                  <a:gd name="connsiteX209" fmla="*/ 534277 w 936181"/>
                  <a:gd name="connsiteY209" fmla="*/ 2038238 h 2496787"/>
                  <a:gd name="connsiteX210" fmla="*/ 542369 w 936181"/>
                  <a:gd name="connsiteY210" fmla="*/ 2062514 h 2496787"/>
                  <a:gd name="connsiteX211" fmla="*/ 536974 w 936181"/>
                  <a:gd name="connsiteY211" fmla="*/ 2070606 h 2496787"/>
                  <a:gd name="connsiteX212" fmla="*/ 539672 w 936181"/>
                  <a:gd name="connsiteY212" fmla="*/ 2084093 h 2496787"/>
                  <a:gd name="connsiteX213" fmla="*/ 545066 w 936181"/>
                  <a:gd name="connsiteY213" fmla="*/ 2100277 h 2496787"/>
                  <a:gd name="connsiteX214" fmla="*/ 531580 w 936181"/>
                  <a:gd name="connsiteY214" fmla="*/ 2111067 h 2496787"/>
                  <a:gd name="connsiteX215" fmla="*/ 528882 w 936181"/>
                  <a:gd name="connsiteY215" fmla="*/ 2121856 h 2496787"/>
                  <a:gd name="connsiteX216" fmla="*/ 510001 w 936181"/>
                  <a:gd name="connsiteY216" fmla="*/ 2127251 h 2496787"/>
                  <a:gd name="connsiteX217" fmla="*/ 515395 w 936181"/>
                  <a:gd name="connsiteY217" fmla="*/ 2138040 h 2496787"/>
                  <a:gd name="connsiteX218" fmla="*/ 520790 w 936181"/>
                  <a:gd name="connsiteY218" fmla="*/ 2148829 h 2496787"/>
                  <a:gd name="connsiteX219" fmla="*/ 523487 w 936181"/>
                  <a:gd name="connsiteY219" fmla="*/ 2156922 h 2496787"/>
                  <a:gd name="connsiteX220" fmla="*/ 542369 w 936181"/>
                  <a:gd name="connsiteY220" fmla="*/ 2162316 h 2496787"/>
                  <a:gd name="connsiteX221" fmla="*/ 531580 w 936181"/>
                  <a:gd name="connsiteY221" fmla="*/ 2170408 h 2496787"/>
                  <a:gd name="connsiteX222" fmla="*/ 515395 w 936181"/>
                  <a:gd name="connsiteY222" fmla="*/ 2210868 h 2496787"/>
                  <a:gd name="connsiteX223" fmla="*/ 518093 w 936181"/>
                  <a:gd name="connsiteY223" fmla="*/ 2218960 h 2496787"/>
                  <a:gd name="connsiteX224" fmla="*/ 542369 w 936181"/>
                  <a:gd name="connsiteY224" fmla="*/ 2202776 h 2496787"/>
                  <a:gd name="connsiteX225" fmla="*/ 545066 w 936181"/>
                  <a:gd name="connsiteY225" fmla="*/ 2183895 h 2496787"/>
                  <a:gd name="connsiteX226" fmla="*/ 550461 w 936181"/>
                  <a:gd name="connsiteY226" fmla="*/ 2167711 h 2496787"/>
                  <a:gd name="connsiteX227" fmla="*/ 553158 w 936181"/>
                  <a:gd name="connsiteY227" fmla="*/ 2146132 h 2496787"/>
                  <a:gd name="connsiteX228" fmla="*/ 563948 w 936181"/>
                  <a:gd name="connsiteY228" fmla="*/ 2129948 h 2496787"/>
                  <a:gd name="connsiteX229" fmla="*/ 569342 w 936181"/>
                  <a:gd name="connsiteY229" fmla="*/ 2121856 h 2496787"/>
                  <a:gd name="connsiteX230" fmla="*/ 577434 w 936181"/>
                  <a:gd name="connsiteY230" fmla="*/ 2129948 h 2496787"/>
                  <a:gd name="connsiteX231" fmla="*/ 574737 w 936181"/>
                  <a:gd name="connsiteY231" fmla="*/ 2138040 h 2496787"/>
                  <a:gd name="connsiteX232" fmla="*/ 566645 w 936181"/>
                  <a:gd name="connsiteY232" fmla="*/ 2170408 h 2496787"/>
                  <a:gd name="connsiteX233" fmla="*/ 561250 w 936181"/>
                  <a:gd name="connsiteY233" fmla="*/ 2191987 h 2496787"/>
                  <a:gd name="connsiteX234" fmla="*/ 558553 w 936181"/>
                  <a:gd name="connsiteY234" fmla="*/ 2208171 h 2496787"/>
                  <a:gd name="connsiteX235" fmla="*/ 553158 w 936181"/>
                  <a:gd name="connsiteY235" fmla="*/ 2227052 h 2496787"/>
                  <a:gd name="connsiteX236" fmla="*/ 547764 w 936181"/>
                  <a:gd name="connsiteY236" fmla="*/ 2294486 h 2496787"/>
                  <a:gd name="connsiteX237" fmla="*/ 545066 w 936181"/>
                  <a:gd name="connsiteY237" fmla="*/ 2313368 h 2496787"/>
                  <a:gd name="connsiteX238" fmla="*/ 536974 w 936181"/>
                  <a:gd name="connsiteY238" fmla="*/ 2318762 h 2496787"/>
                  <a:gd name="connsiteX239" fmla="*/ 528882 w 936181"/>
                  <a:gd name="connsiteY239" fmla="*/ 2326854 h 2496787"/>
                  <a:gd name="connsiteX240" fmla="*/ 520790 w 936181"/>
                  <a:gd name="connsiteY240" fmla="*/ 2313368 h 2496787"/>
                  <a:gd name="connsiteX241" fmla="*/ 520790 w 936181"/>
                  <a:gd name="connsiteY241" fmla="*/ 2272907 h 2496787"/>
                  <a:gd name="connsiteX242" fmla="*/ 526185 w 936181"/>
                  <a:gd name="connsiteY242" fmla="*/ 2256723 h 2496787"/>
                  <a:gd name="connsiteX243" fmla="*/ 527294 w 936181"/>
                  <a:gd name="connsiteY243" fmla="*/ 2220534 h 2496787"/>
                  <a:gd name="connsiteX244" fmla="*/ 520790 w 936181"/>
                  <a:gd name="connsiteY244" fmla="*/ 2254026 h 2496787"/>
                  <a:gd name="connsiteX245" fmla="*/ 507303 w 936181"/>
                  <a:gd name="connsiteY245" fmla="*/ 2259421 h 2496787"/>
                  <a:gd name="connsiteX246" fmla="*/ 501909 w 936181"/>
                  <a:gd name="connsiteY246" fmla="*/ 2267513 h 2496787"/>
                  <a:gd name="connsiteX247" fmla="*/ 496514 w 936181"/>
                  <a:gd name="connsiteY247" fmla="*/ 2316065 h 2496787"/>
                  <a:gd name="connsiteX248" fmla="*/ 491119 w 936181"/>
                  <a:gd name="connsiteY248" fmla="*/ 2332249 h 2496787"/>
                  <a:gd name="connsiteX249" fmla="*/ 480330 w 936181"/>
                  <a:gd name="connsiteY249" fmla="*/ 2340341 h 2496787"/>
                  <a:gd name="connsiteX250" fmla="*/ 437172 w 936181"/>
                  <a:gd name="connsiteY250" fmla="*/ 2337644 h 2496787"/>
                  <a:gd name="connsiteX251" fmla="*/ 434475 w 936181"/>
                  <a:gd name="connsiteY251" fmla="*/ 2351130 h 2496787"/>
                  <a:gd name="connsiteX252" fmla="*/ 426383 w 936181"/>
                  <a:gd name="connsiteY252" fmla="*/ 2359222 h 2496787"/>
                  <a:gd name="connsiteX253" fmla="*/ 404804 w 936181"/>
                  <a:gd name="connsiteY253" fmla="*/ 2356525 h 2496787"/>
                  <a:gd name="connsiteX254" fmla="*/ 396712 w 936181"/>
                  <a:gd name="connsiteY254" fmla="*/ 2351130 h 2496787"/>
                  <a:gd name="connsiteX255" fmla="*/ 377831 w 936181"/>
                  <a:gd name="connsiteY255" fmla="*/ 2356525 h 2496787"/>
                  <a:gd name="connsiteX256" fmla="*/ 380528 w 936181"/>
                  <a:gd name="connsiteY256" fmla="*/ 2372709 h 2496787"/>
                  <a:gd name="connsiteX257" fmla="*/ 377831 w 936181"/>
                  <a:gd name="connsiteY257" fmla="*/ 2383498 h 2496787"/>
                  <a:gd name="connsiteX258" fmla="*/ 334673 w 936181"/>
                  <a:gd name="connsiteY258" fmla="*/ 2391591 h 2496787"/>
                  <a:gd name="connsiteX259" fmla="*/ 331976 w 936181"/>
                  <a:gd name="connsiteY259" fmla="*/ 2405077 h 2496787"/>
                  <a:gd name="connsiteX260" fmla="*/ 326581 w 936181"/>
                  <a:gd name="connsiteY260" fmla="*/ 2418564 h 2496787"/>
                  <a:gd name="connsiteX261" fmla="*/ 329279 w 936181"/>
                  <a:gd name="connsiteY261" fmla="*/ 2432051 h 2496787"/>
                  <a:gd name="connsiteX262" fmla="*/ 334673 w 936181"/>
                  <a:gd name="connsiteY262" fmla="*/ 2450932 h 2496787"/>
                  <a:gd name="connsiteX263" fmla="*/ 342765 w 936181"/>
                  <a:gd name="connsiteY263" fmla="*/ 2459024 h 2496787"/>
                  <a:gd name="connsiteX264" fmla="*/ 331976 w 936181"/>
                  <a:gd name="connsiteY264" fmla="*/ 2480603 h 2496787"/>
                  <a:gd name="connsiteX265" fmla="*/ 318489 w 936181"/>
                  <a:gd name="connsiteY265" fmla="*/ 2483300 h 2496787"/>
                  <a:gd name="connsiteX266" fmla="*/ 302305 w 936181"/>
                  <a:gd name="connsiteY266" fmla="*/ 2485998 h 2496787"/>
                  <a:gd name="connsiteX267" fmla="*/ 269937 w 936181"/>
                  <a:gd name="connsiteY267" fmla="*/ 2483300 h 2496787"/>
                  <a:gd name="connsiteX268" fmla="*/ 253753 w 936181"/>
                  <a:gd name="connsiteY268" fmla="*/ 2494090 h 2496787"/>
                  <a:gd name="connsiteX269" fmla="*/ 207898 w 936181"/>
                  <a:gd name="connsiteY269" fmla="*/ 2496787 h 2496787"/>
                  <a:gd name="connsiteX270" fmla="*/ 197109 w 936181"/>
                  <a:gd name="connsiteY270" fmla="*/ 2491392 h 2496787"/>
                  <a:gd name="connsiteX271" fmla="*/ 194411 w 936181"/>
                  <a:gd name="connsiteY271" fmla="*/ 2483300 h 2496787"/>
                  <a:gd name="connsiteX272" fmla="*/ 202503 w 936181"/>
                  <a:gd name="connsiteY272" fmla="*/ 2423959 h 2496787"/>
                  <a:gd name="connsiteX273" fmla="*/ 199806 w 936181"/>
                  <a:gd name="connsiteY273" fmla="*/ 2415867 h 2496787"/>
                  <a:gd name="connsiteX274" fmla="*/ 197109 w 936181"/>
                  <a:gd name="connsiteY274" fmla="*/ 2405077 h 2496787"/>
                  <a:gd name="connsiteX275" fmla="*/ 175530 w 936181"/>
                  <a:gd name="connsiteY275" fmla="*/ 2394288 h 2496787"/>
                  <a:gd name="connsiteX276" fmla="*/ 162043 w 936181"/>
                  <a:gd name="connsiteY276" fmla="*/ 2383498 h 2496787"/>
                  <a:gd name="connsiteX277" fmla="*/ 153951 w 936181"/>
                  <a:gd name="connsiteY277" fmla="*/ 2370012 h 2496787"/>
                  <a:gd name="connsiteX278" fmla="*/ 140464 w 936181"/>
                  <a:gd name="connsiteY278" fmla="*/ 2343038 h 2496787"/>
                  <a:gd name="connsiteX279" fmla="*/ 153951 w 936181"/>
                  <a:gd name="connsiteY279" fmla="*/ 2337644 h 2496787"/>
                  <a:gd name="connsiteX280" fmla="*/ 167438 w 936181"/>
                  <a:gd name="connsiteY280" fmla="*/ 2340341 h 2496787"/>
                  <a:gd name="connsiteX281" fmla="*/ 159346 w 936181"/>
                  <a:gd name="connsiteY281" fmla="*/ 2310670 h 2496787"/>
                  <a:gd name="connsiteX282" fmla="*/ 156649 w 936181"/>
                  <a:gd name="connsiteY282" fmla="*/ 2299881 h 2496787"/>
                  <a:gd name="connsiteX283" fmla="*/ 175530 w 936181"/>
                  <a:gd name="connsiteY283" fmla="*/ 2302578 h 2496787"/>
                  <a:gd name="connsiteX284" fmla="*/ 183622 w 936181"/>
                  <a:gd name="connsiteY284" fmla="*/ 2286394 h 2496787"/>
                  <a:gd name="connsiteX285" fmla="*/ 156649 w 936181"/>
                  <a:gd name="connsiteY285" fmla="*/ 2272907 h 2496787"/>
                  <a:gd name="connsiteX286" fmla="*/ 159346 w 936181"/>
                  <a:gd name="connsiteY286" fmla="*/ 2262118 h 2496787"/>
                  <a:gd name="connsiteX287" fmla="*/ 151254 w 936181"/>
                  <a:gd name="connsiteY287" fmla="*/ 2243237 h 2496787"/>
                  <a:gd name="connsiteX288" fmla="*/ 132372 w 936181"/>
                  <a:gd name="connsiteY288" fmla="*/ 2224355 h 2496787"/>
                  <a:gd name="connsiteX289" fmla="*/ 121583 w 936181"/>
                  <a:gd name="connsiteY289" fmla="*/ 2213566 h 2496787"/>
                  <a:gd name="connsiteX290" fmla="*/ 113491 w 936181"/>
                  <a:gd name="connsiteY290" fmla="*/ 2197382 h 2496787"/>
                  <a:gd name="connsiteX291" fmla="*/ 110794 w 936181"/>
                  <a:gd name="connsiteY291" fmla="*/ 2173106 h 2496787"/>
                  <a:gd name="connsiteX292" fmla="*/ 102702 w 936181"/>
                  <a:gd name="connsiteY292" fmla="*/ 2170408 h 2496787"/>
                  <a:gd name="connsiteX293" fmla="*/ 100004 w 936181"/>
                  <a:gd name="connsiteY293" fmla="*/ 2159619 h 2496787"/>
                  <a:gd name="connsiteX294" fmla="*/ 81123 w 936181"/>
                  <a:gd name="connsiteY294" fmla="*/ 2135343 h 2496787"/>
                  <a:gd name="connsiteX295" fmla="*/ 94610 w 936181"/>
                  <a:gd name="connsiteY295" fmla="*/ 2127251 h 2496787"/>
                  <a:gd name="connsiteX296" fmla="*/ 81123 w 936181"/>
                  <a:gd name="connsiteY296" fmla="*/ 2105672 h 2496787"/>
                  <a:gd name="connsiteX297" fmla="*/ 62241 w 936181"/>
                  <a:gd name="connsiteY297" fmla="*/ 2086791 h 2496787"/>
                  <a:gd name="connsiteX298" fmla="*/ 54149 w 936181"/>
                  <a:gd name="connsiteY298" fmla="*/ 2084093 h 2496787"/>
                  <a:gd name="connsiteX299" fmla="*/ 56847 w 936181"/>
                  <a:gd name="connsiteY299" fmla="*/ 2062514 h 2496787"/>
                  <a:gd name="connsiteX300" fmla="*/ 56847 w 936181"/>
                  <a:gd name="connsiteY300" fmla="*/ 2038238 h 2496787"/>
                  <a:gd name="connsiteX301" fmla="*/ 46057 w 936181"/>
                  <a:gd name="connsiteY301" fmla="*/ 2035541 h 2496787"/>
                  <a:gd name="connsiteX302" fmla="*/ 37965 w 936181"/>
                  <a:gd name="connsiteY302" fmla="*/ 2032844 h 2496787"/>
                  <a:gd name="connsiteX303" fmla="*/ 32571 w 936181"/>
                  <a:gd name="connsiteY303" fmla="*/ 2022054 h 2496787"/>
                  <a:gd name="connsiteX304" fmla="*/ 35268 w 936181"/>
                  <a:gd name="connsiteY304" fmla="*/ 2013962 h 2496787"/>
                  <a:gd name="connsiteX305" fmla="*/ 48755 w 936181"/>
                  <a:gd name="connsiteY305" fmla="*/ 2019357 h 2496787"/>
                  <a:gd name="connsiteX306" fmla="*/ 59544 w 936181"/>
                  <a:gd name="connsiteY306" fmla="*/ 2040936 h 2496787"/>
                  <a:gd name="connsiteX307" fmla="*/ 70334 w 936181"/>
                  <a:gd name="connsiteY307" fmla="*/ 2038238 h 2496787"/>
                  <a:gd name="connsiteX308" fmla="*/ 64939 w 936181"/>
                  <a:gd name="connsiteY308" fmla="*/ 1995081 h 2496787"/>
                  <a:gd name="connsiteX309" fmla="*/ 67636 w 936181"/>
                  <a:gd name="connsiteY309" fmla="*/ 1986989 h 2496787"/>
                  <a:gd name="connsiteX310" fmla="*/ 56847 w 936181"/>
                  <a:gd name="connsiteY310" fmla="*/ 1976199 h 2496787"/>
                  <a:gd name="connsiteX311" fmla="*/ 32571 w 936181"/>
                  <a:gd name="connsiteY311" fmla="*/ 1981594 h 2496787"/>
                  <a:gd name="connsiteX312" fmla="*/ 24479 w 936181"/>
                  <a:gd name="connsiteY312" fmla="*/ 1986989 h 2496787"/>
                  <a:gd name="connsiteX313" fmla="*/ 16387 w 936181"/>
                  <a:gd name="connsiteY313" fmla="*/ 1965410 h 2496787"/>
                  <a:gd name="connsiteX314" fmla="*/ 5597 w 936181"/>
                  <a:gd name="connsiteY314" fmla="*/ 1949226 h 2496787"/>
                  <a:gd name="connsiteX315" fmla="*/ 13689 w 936181"/>
                  <a:gd name="connsiteY315" fmla="*/ 1935739 h 2496787"/>
                  <a:gd name="connsiteX316" fmla="*/ 19084 w 936181"/>
                  <a:gd name="connsiteY316" fmla="*/ 1919555 h 2496787"/>
                  <a:gd name="connsiteX317" fmla="*/ 8295 w 936181"/>
                  <a:gd name="connsiteY317" fmla="*/ 1916858 h 2496787"/>
                  <a:gd name="connsiteX318" fmla="*/ 2900 w 936181"/>
                  <a:gd name="connsiteY318" fmla="*/ 1852122 h 2496787"/>
                  <a:gd name="connsiteX319" fmla="*/ 16387 w 936181"/>
                  <a:gd name="connsiteY319" fmla="*/ 1849424 h 2496787"/>
                  <a:gd name="connsiteX320" fmla="*/ 19084 w 936181"/>
                  <a:gd name="connsiteY320" fmla="*/ 1841332 h 2496787"/>
                  <a:gd name="connsiteX321" fmla="*/ 2900 w 936181"/>
                  <a:gd name="connsiteY321" fmla="*/ 1841332 h 2496787"/>
                  <a:gd name="connsiteX322" fmla="*/ 16387 w 936181"/>
                  <a:gd name="connsiteY322" fmla="*/ 1846727 h 2496787"/>
                  <a:gd name="connsiteX323" fmla="*/ 29873 w 936181"/>
                  <a:gd name="connsiteY323" fmla="*/ 1862911 h 2496787"/>
                  <a:gd name="connsiteX324" fmla="*/ 40663 w 936181"/>
                  <a:gd name="connsiteY324" fmla="*/ 1865608 h 2496787"/>
                  <a:gd name="connsiteX325" fmla="*/ 56847 w 936181"/>
                  <a:gd name="connsiteY325" fmla="*/ 1854819 h 2496787"/>
                  <a:gd name="connsiteX326" fmla="*/ 48755 w 936181"/>
                  <a:gd name="connsiteY326" fmla="*/ 1768504 h 2496787"/>
                  <a:gd name="connsiteX327" fmla="*/ 56847 w 936181"/>
                  <a:gd name="connsiteY327" fmla="*/ 1730741 h 2496787"/>
                  <a:gd name="connsiteX328" fmla="*/ 64939 w 936181"/>
                  <a:gd name="connsiteY328" fmla="*/ 1728044 h 2496787"/>
                  <a:gd name="connsiteX329" fmla="*/ 67636 w 936181"/>
                  <a:gd name="connsiteY329" fmla="*/ 1719952 h 2496787"/>
                  <a:gd name="connsiteX330" fmla="*/ 64939 w 936181"/>
                  <a:gd name="connsiteY330" fmla="*/ 1709162 h 2496787"/>
                  <a:gd name="connsiteX331" fmla="*/ 70334 w 936181"/>
                  <a:gd name="connsiteY331" fmla="*/ 1684886 h 2496787"/>
                  <a:gd name="connsiteX332" fmla="*/ 100004 w 936181"/>
                  <a:gd name="connsiteY332" fmla="*/ 1679491 h 2496787"/>
                  <a:gd name="connsiteX333" fmla="*/ 108096 w 936181"/>
                  <a:gd name="connsiteY333" fmla="*/ 1671399 h 2496787"/>
                  <a:gd name="connsiteX334" fmla="*/ 110794 w 936181"/>
                  <a:gd name="connsiteY334" fmla="*/ 1657913 h 2496787"/>
                  <a:gd name="connsiteX335" fmla="*/ 116188 w 936181"/>
                  <a:gd name="connsiteY335" fmla="*/ 1639031 h 2496787"/>
                  <a:gd name="connsiteX336" fmla="*/ 118886 w 936181"/>
                  <a:gd name="connsiteY336" fmla="*/ 1612058 h 2496787"/>
                  <a:gd name="connsiteX337" fmla="*/ 126978 w 936181"/>
                  <a:gd name="connsiteY337" fmla="*/ 1598571 h 2496787"/>
                  <a:gd name="connsiteX338" fmla="*/ 129675 w 936181"/>
                  <a:gd name="connsiteY338" fmla="*/ 1590479 h 2496787"/>
                  <a:gd name="connsiteX339" fmla="*/ 105399 w 936181"/>
                  <a:gd name="connsiteY339" fmla="*/ 1558111 h 2496787"/>
                  <a:gd name="connsiteX340" fmla="*/ 102702 w 936181"/>
                  <a:gd name="connsiteY340" fmla="*/ 1528440 h 2496787"/>
                  <a:gd name="connsiteX341" fmla="*/ 100004 w 936181"/>
                  <a:gd name="connsiteY341" fmla="*/ 1506861 h 2496787"/>
                  <a:gd name="connsiteX342" fmla="*/ 91912 w 936181"/>
                  <a:gd name="connsiteY342" fmla="*/ 1496072 h 2496787"/>
                  <a:gd name="connsiteX343" fmla="*/ 100004 w 936181"/>
                  <a:gd name="connsiteY343" fmla="*/ 1490677 h 2496787"/>
                  <a:gd name="connsiteX344" fmla="*/ 121583 w 936181"/>
                  <a:gd name="connsiteY344" fmla="*/ 1485283 h 2496787"/>
                  <a:gd name="connsiteX345" fmla="*/ 129675 w 936181"/>
                  <a:gd name="connsiteY345" fmla="*/ 1482585 h 2496787"/>
                  <a:gd name="connsiteX346" fmla="*/ 135070 w 936181"/>
                  <a:gd name="connsiteY346" fmla="*/ 1474493 h 2496787"/>
                  <a:gd name="connsiteX347" fmla="*/ 135070 w 936181"/>
                  <a:gd name="connsiteY347" fmla="*/ 1412454 h 2496787"/>
                  <a:gd name="connsiteX348" fmla="*/ 129675 w 936181"/>
                  <a:gd name="connsiteY348" fmla="*/ 1404362 h 2496787"/>
                  <a:gd name="connsiteX349" fmla="*/ 110794 w 936181"/>
                  <a:gd name="connsiteY349" fmla="*/ 1380086 h 2496787"/>
                  <a:gd name="connsiteX350" fmla="*/ 94610 w 936181"/>
                  <a:gd name="connsiteY350" fmla="*/ 1366599 h 2496787"/>
                  <a:gd name="connsiteX351" fmla="*/ 83820 w 936181"/>
                  <a:gd name="connsiteY351" fmla="*/ 1353113 h 2496787"/>
                  <a:gd name="connsiteX352" fmla="*/ 81123 w 936181"/>
                  <a:gd name="connsiteY352" fmla="*/ 1258706 h 2496787"/>
                  <a:gd name="connsiteX353" fmla="*/ 70334 w 936181"/>
                  <a:gd name="connsiteY353" fmla="*/ 1242522 h 2496787"/>
                  <a:gd name="connsiteX354" fmla="*/ 59544 w 936181"/>
                  <a:gd name="connsiteY354" fmla="*/ 1199364 h 2496787"/>
                  <a:gd name="connsiteX355" fmla="*/ 56847 w 936181"/>
                  <a:gd name="connsiteY355" fmla="*/ 1148114 h 2496787"/>
                  <a:gd name="connsiteX356" fmla="*/ 73031 w 936181"/>
                  <a:gd name="connsiteY356" fmla="*/ 1140022 h 2496787"/>
                  <a:gd name="connsiteX357" fmla="*/ 51452 w 936181"/>
                  <a:gd name="connsiteY357" fmla="*/ 1113049 h 2496787"/>
                  <a:gd name="connsiteX358" fmla="*/ 40663 w 936181"/>
                  <a:gd name="connsiteY358" fmla="*/ 1104957 h 2496787"/>
                  <a:gd name="connsiteX359" fmla="*/ 37965 w 936181"/>
                  <a:gd name="connsiteY359" fmla="*/ 1094168 h 2496787"/>
                  <a:gd name="connsiteX360" fmla="*/ 40663 w 936181"/>
                  <a:gd name="connsiteY360" fmla="*/ 1069891 h 2496787"/>
                  <a:gd name="connsiteX361" fmla="*/ 59544 w 936181"/>
                  <a:gd name="connsiteY361" fmla="*/ 1045615 h 2496787"/>
                  <a:gd name="connsiteX362" fmla="*/ 64939 w 936181"/>
                  <a:gd name="connsiteY362" fmla="*/ 1034826 h 2496787"/>
                  <a:gd name="connsiteX363" fmla="*/ 73031 w 936181"/>
                  <a:gd name="connsiteY363" fmla="*/ 1021339 h 2496787"/>
                  <a:gd name="connsiteX364" fmla="*/ 83820 w 936181"/>
                  <a:gd name="connsiteY364" fmla="*/ 1005155 h 2496787"/>
                  <a:gd name="connsiteX365" fmla="*/ 86518 w 936181"/>
                  <a:gd name="connsiteY365" fmla="*/ 988971 h 2496787"/>
                  <a:gd name="connsiteX366" fmla="*/ 97307 w 936181"/>
                  <a:gd name="connsiteY366" fmla="*/ 983576 h 2496787"/>
                  <a:gd name="connsiteX367" fmla="*/ 113491 w 936181"/>
                  <a:gd name="connsiteY367" fmla="*/ 975484 h 2496787"/>
                  <a:gd name="connsiteX368" fmla="*/ 124280 w 936181"/>
                  <a:gd name="connsiteY368" fmla="*/ 961998 h 2496787"/>
                  <a:gd name="connsiteX369" fmla="*/ 129675 w 936181"/>
                  <a:gd name="connsiteY369" fmla="*/ 951208 h 2496787"/>
                  <a:gd name="connsiteX370" fmla="*/ 145859 w 936181"/>
                  <a:gd name="connsiteY370" fmla="*/ 937722 h 2496787"/>
                  <a:gd name="connsiteX371" fmla="*/ 156649 w 936181"/>
                  <a:gd name="connsiteY371" fmla="*/ 929629 h 2496787"/>
                  <a:gd name="connsiteX372" fmla="*/ 162043 w 936181"/>
                  <a:gd name="connsiteY372" fmla="*/ 937722 h 2496787"/>
                  <a:gd name="connsiteX373" fmla="*/ 164741 w 936181"/>
                  <a:gd name="connsiteY373" fmla="*/ 945814 h 2496787"/>
                  <a:gd name="connsiteX374" fmla="*/ 178227 w 936181"/>
                  <a:gd name="connsiteY374" fmla="*/ 956603 h 2496787"/>
                  <a:gd name="connsiteX375" fmla="*/ 202503 w 936181"/>
                  <a:gd name="connsiteY375" fmla="*/ 940419 h 2496787"/>
                  <a:gd name="connsiteX376" fmla="*/ 205201 w 936181"/>
                  <a:gd name="connsiteY376" fmla="*/ 918840 h 2496787"/>
                  <a:gd name="connsiteX377" fmla="*/ 210595 w 936181"/>
                  <a:gd name="connsiteY377" fmla="*/ 894564 h 2496787"/>
                  <a:gd name="connsiteX378" fmla="*/ 205201 w 936181"/>
                  <a:gd name="connsiteY378" fmla="*/ 856801 h 2496787"/>
                  <a:gd name="connsiteX379" fmla="*/ 183622 w 936181"/>
                  <a:gd name="connsiteY379" fmla="*/ 854104 h 2496787"/>
                  <a:gd name="connsiteX380" fmla="*/ 194411 w 936181"/>
                  <a:gd name="connsiteY380" fmla="*/ 829828 h 2496787"/>
                  <a:gd name="connsiteX381" fmla="*/ 205201 w 936181"/>
                  <a:gd name="connsiteY381" fmla="*/ 805552 h 2496787"/>
                  <a:gd name="connsiteX382" fmla="*/ 210595 w 936181"/>
                  <a:gd name="connsiteY382" fmla="*/ 765091 h 2496787"/>
                  <a:gd name="connsiteX383" fmla="*/ 215990 w 936181"/>
                  <a:gd name="connsiteY383" fmla="*/ 756999 h 2496787"/>
                  <a:gd name="connsiteX384" fmla="*/ 229477 w 936181"/>
                  <a:gd name="connsiteY384" fmla="*/ 721934 h 2496787"/>
                  <a:gd name="connsiteX385" fmla="*/ 237569 w 936181"/>
                  <a:gd name="connsiteY385" fmla="*/ 692263 h 2496787"/>
                  <a:gd name="connsiteX386" fmla="*/ 240266 w 936181"/>
                  <a:gd name="connsiteY386" fmla="*/ 684171 h 2496787"/>
                  <a:gd name="connsiteX387" fmla="*/ 229477 w 936181"/>
                  <a:gd name="connsiteY387" fmla="*/ 667987 h 2496787"/>
                  <a:gd name="connsiteX388" fmla="*/ 232174 w 936181"/>
                  <a:gd name="connsiteY388" fmla="*/ 654500 h 2496787"/>
                  <a:gd name="connsiteX389" fmla="*/ 234872 w 936181"/>
                  <a:gd name="connsiteY389" fmla="*/ 646408 h 2496787"/>
                  <a:gd name="connsiteX390" fmla="*/ 237569 w 936181"/>
                  <a:gd name="connsiteY390" fmla="*/ 632922 h 2496787"/>
                  <a:gd name="connsiteX391" fmla="*/ 234872 w 936181"/>
                  <a:gd name="connsiteY391" fmla="*/ 581672 h 2496787"/>
                  <a:gd name="connsiteX392" fmla="*/ 229477 w 936181"/>
                  <a:gd name="connsiteY392" fmla="*/ 570883 h 2496787"/>
                  <a:gd name="connsiteX393" fmla="*/ 253753 w 936181"/>
                  <a:gd name="connsiteY393" fmla="*/ 568185 h 2496787"/>
                  <a:gd name="connsiteX394" fmla="*/ 256450 w 936181"/>
                  <a:gd name="connsiteY394" fmla="*/ 560093 h 2496787"/>
                  <a:gd name="connsiteX395" fmla="*/ 272634 w 936181"/>
                  <a:gd name="connsiteY395" fmla="*/ 546606 h 2496787"/>
                  <a:gd name="connsiteX396" fmla="*/ 275332 w 936181"/>
                  <a:gd name="connsiteY396" fmla="*/ 535817 h 2496787"/>
                  <a:gd name="connsiteX397" fmla="*/ 288818 w 936181"/>
                  <a:gd name="connsiteY397" fmla="*/ 522330 h 2496787"/>
                  <a:gd name="connsiteX398" fmla="*/ 280726 w 936181"/>
                  <a:gd name="connsiteY398" fmla="*/ 489962 h 2496787"/>
                  <a:gd name="connsiteX399" fmla="*/ 286121 w 936181"/>
                  <a:gd name="connsiteY399" fmla="*/ 479173 h 2496787"/>
                  <a:gd name="connsiteX400" fmla="*/ 288818 w 936181"/>
                  <a:gd name="connsiteY400" fmla="*/ 462989 h 2496787"/>
                  <a:gd name="connsiteX401" fmla="*/ 307700 w 936181"/>
                  <a:gd name="connsiteY401" fmla="*/ 444107 h 2496787"/>
                  <a:gd name="connsiteX402" fmla="*/ 318489 w 936181"/>
                  <a:gd name="connsiteY402" fmla="*/ 427923 h 2496787"/>
                  <a:gd name="connsiteX403" fmla="*/ 337371 w 936181"/>
                  <a:gd name="connsiteY403" fmla="*/ 414437 h 2496787"/>
                  <a:gd name="connsiteX404" fmla="*/ 342765 w 936181"/>
                  <a:gd name="connsiteY404" fmla="*/ 395555 h 2496787"/>
                  <a:gd name="connsiteX405" fmla="*/ 337371 w 936181"/>
                  <a:gd name="connsiteY405" fmla="*/ 363187 h 2496787"/>
                  <a:gd name="connsiteX406" fmla="*/ 329279 w 936181"/>
                  <a:gd name="connsiteY406" fmla="*/ 338911 h 2496787"/>
                  <a:gd name="connsiteX407" fmla="*/ 321187 w 936181"/>
                  <a:gd name="connsiteY407" fmla="*/ 336214 h 2496787"/>
                  <a:gd name="connsiteX408" fmla="*/ 318489 w 936181"/>
                  <a:gd name="connsiteY408" fmla="*/ 352398 h 2496787"/>
                  <a:gd name="connsiteX409" fmla="*/ 329279 w 936181"/>
                  <a:gd name="connsiteY409" fmla="*/ 325424 h 2496787"/>
                  <a:gd name="connsiteX410" fmla="*/ 331976 w 936181"/>
                  <a:gd name="connsiteY410" fmla="*/ 306543 h 2496787"/>
                  <a:gd name="connsiteX411" fmla="*/ 342765 w 936181"/>
                  <a:gd name="connsiteY411" fmla="*/ 295753 h 2496787"/>
                  <a:gd name="connsiteX412" fmla="*/ 356252 w 936181"/>
                  <a:gd name="connsiteY412" fmla="*/ 255293 h 2496787"/>
                  <a:gd name="connsiteX413" fmla="*/ 358949 w 936181"/>
                  <a:gd name="connsiteY413" fmla="*/ 233714 h 2496787"/>
                  <a:gd name="connsiteX414" fmla="*/ 364344 w 936181"/>
                  <a:gd name="connsiteY414" fmla="*/ 225622 h 2496787"/>
                  <a:gd name="connsiteX415" fmla="*/ 399410 w 936181"/>
                  <a:gd name="connsiteY415" fmla="*/ 198649 h 2496787"/>
                  <a:gd name="connsiteX416" fmla="*/ 410199 w 936181"/>
                  <a:gd name="connsiteY416" fmla="*/ 206741 h 2496787"/>
                  <a:gd name="connsiteX417" fmla="*/ 418291 w 936181"/>
                  <a:gd name="connsiteY417" fmla="*/ 220228 h 2496787"/>
                  <a:gd name="connsiteX418" fmla="*/ 429080 w 936181"/>
                  <a:gd name="connsiteY418" fmla="*/ 217530 h 2496787"/>
                  <a:gd name="connsiteX419" fmla="*/ 437172 w 936181"/>
                  <a:gd name="connsiteY419" fmla="*/ 185162 h 2496787"/>
                  <a:gd name="connsiteX420" fmla="*/ 437172 w 936181"/>
                  <a:gd name="connsiteY420" fmla="*/ 117729 h 2496787"/>
                  <a:gd name="connsiteX421" fmla="*/ 456053 w 936181"/>
                  <a:gd name="connsiteY421" fmla="*/ 105677 h 2496787"/>
                  <a:gd name="connsiteX422" fmla="*/ 477255 w 936181"/>
                  <a:gd name="connsiteY422" fmla="*/ 101819 h 2496787"/>
                  <a:gd name="connsiteX423" fmla="*/ 491119 w 936181"/>
                  <a:gd name="connsiteY423" fmla="*/ 117729 h 2496787"/>
                  <a:gd name="connsiteX424" fmla="*/ 545066 w 936181"/>
                  <a:gd name="connsiteY424" fmla="*/ 123123 h 2496787"/>
                  <a:gd name="connsiteX425" fmla="*/ 553158 w 936181"/>
                  <a:gd name="connsiteY425" fmla="*/ 125821 h 2496787"/>
                  <a:gd name="connsiteX426" fmla="*/ 563948 w 936181"/>
                  <a:gd name="connsiteY426" fmla="*/ 128518 h 2496787"/>
                  <a:gd name="connsiteX427" fmla="*/ 569342 w 936181"/>
                  <a:gd name="connsiteY427" fmla="*/ 109637 h 2496787"/>
                  <a:gd name="connsiteX428" fmla="*/ 566645 w 936181"/>
                  <a:gd name="connsiteY428" fmla="*/ 88058 h 2496787"/>
                  <a:gd name="connsiteX429" fmla="*/ 572040 w 936181"/>
                  <a:gd name="connsiteY429" fmla="*/ 52992 h 2496787"/>
                  <a:gd name="connsiteX430" fmla="*/ 577434 w 936181"/>
                  <a:gd name="connsiteY430" fmla="*/ 42203 h 2496787"/>
                  <a:gd name="connsiteX431" fmla="*/ 566645 w 936181"/>
                  <a:gd name="connsiteY431" fmla="*/ 20624 h 2496787"/>
                  <a:gd name="connsiteX432" fmla="*/ 563948 w 936181"/>
                  <a:gd name="connsiteY432" fmla="*/ 12532 h 2496787"/>
                  <a:gd name="connsiteX433" fmla="*/ 599013 w 936181"/>
                  <a:gd name="connsiteY433" fmla="*/ 1743 h 2496787"/>
                  <a:gd name="connsiteX0" fmla="*/ 592458 w 936181"/>
                  <a:gd name="connsiteY0" fmla="*/ 156 h 2501755"/>
                  <a:gd name="connsiteX1" fmla="*/ 612500 w 936181"/>
                  <a:gd name="connsiteY1" fmla="*/ 9408 h 2501755"/>
                  <a:gd name="connsiteX2" fmla="*/ 615197 w 936181"/>
                  <a:gd name="connsiteY2" fmla="*/ 17500 h 2501755"/>
                  <a:gd name="connsiteX3" fmla="*/ 623289 w 936181"/>
                  <a:gd name="connsiteY3" fmla="*/ 30987 h 2501755"/>
                  <a:gd name="connsiteX4" fmla="*/ 625987 w 936181"/>
                  <a:gd name="connsiteY4" fmla="*/ 44474 h 2501755"/>
                  <a:gd name="connsiteX5" fmla="*/ 636776 w 936181"/>
                  <a:gd name="connsiteY5" fmla="*/ 49868 h 2501755"/>
                  <a:gd name="connsiteX6" fmla="*/ 644868 w 936181"/>
                  <a:gd name="connsiteY6" fmla="*/ 55263 h 2501755"/>
                  <a:gd name="connsiteX7" fmla="*/ 650263 w 936181"/>
                  <a:gd name="connsiteY7" fmla="*/ 63355 h 2501755"/>
                  <a:gd name="connsiteX8" fmla="*/ 661052 w 936181"/>
                  <a:gd name="connsiteY8" fmla="*/ 68750 h 2501755"/>
                  <a:gd name="connsiteX9" fmla="*/ 688026 w 936181"/>
                  <a:gd name="connsiteY9" fmla="*/ 79539 h 2501755"/>
                  <a:gd name="connsiteX10" fmla="*/ 717696 w 936181"/>
                  <a:gd name="connsiteY10" fmla="*/ 93026 h 2501755"/>
                  <a:gd name="connsiteX11" fmla="*/ 736578 w 936181"/>
                  <a:gd name="connsiteY11" fmla="*/ 87631 h 2501755"/>
                  <a:gd name="connsiteX12" fmla="*/ 752762 w 936181"/>
                  <a:gd name="connsiteY12" fmla="*/ 98420 h 2501755"/>
                  <a:gd name="connsiteX13" fmla="*/ 766249 w 936181"/>
                  <a:gd name="connsiteY13" fmla="*/ 117302 h 2501755"/>
                  <a:gd name="connsiteX14" fmla="*/ 771643 w 936181"/>
                  <a:gd name="connsiteY14" fmla="*/ 133486 h 2501755"/>
                  <a:gd name="connsiteX15" fmla="*/ 787827 w 936181"/>
                  <a:gd name="connsiteY15" fmla="*/ 138881 h 2501755"/>
                  <a:gd name="connsiteX16" fmla="*/ 795919 w 936181"/>
                  <a:gd name="connsiteY16" fmla="*/ 144275 h 2501755"/>
                  <a:gd name="connsiteX17" fmla="*/ 804011 w 936181"/>
                  <a:gd name="connsiteY17" fmla="*/ 155065 h 2501755"/>
                  <a:gd name="connsiteX18" fmla="*/ 820195 w 936181"/>
                  <a:gd name="connsiteY18" fmla="*/ 171249 h 2501755"/>
                  <a:gd name="connsiteX19" fmla="*/ 817498 w 936181"/>
                  <a:gd name="connsiteY19" fmla="*/ 203617 h 2501755"/>
                  <a:gd name="connsiteX20" fmla="*/ 828287 w 936181"/>
                  <a:gd name="connsiteY20" fmla="*/ 206314 h 2501755"/>
                  <a:gd name="connsiteX21" fmla="*/ 830985 w 936181"/>
                  <a:gd name="connsiteY21" fmla="*/ 252169 h 2501755"/>
                  <a:gd name="connsiteX22" fmla="*/ 839077 w 936181"/>
                  <a:gd name="connsiteY22" fmla="*/ 254866 h 2501755"/>
                  <a:gd name="connsiteX23" fmla="*/ 844472 w 936181"/>
                  <a:gd name="connsiteY23" fmla="*/ 265656 h 2501755"/>
                  <a:gd name="connsiteX24" fmla="*/ 849866 w 936181"/>
                  <a:gd name="connsiteY24" fmla="*/ 273748 h 2501755"/>
                  <a:gd name="connsiteX25" fmla="*/ 844472 w 936181"/>
                  <a:gd name="connsiteY25" fmla="*/ 287235 h 2501755"/>
                  <a:gd name="connsiteX26" fmla="*/ 836380 w 936181"/>
                  <a:gd name="connsiteY26" fmla="*/ 292629 h 2501755"/>
                  <a:gd name="connsiteX27" fmla="*/ 852564 w 936181"/>
                  <a:gd name="connsiteY27" fmla="*/ 311511 h 2501755"/>
                  <a:gd name="connsiteX28" fmla="*/ 855261 w 936181"/>
                  <a:gd name="connsiteY28" fmla="*/ 322300 h 2501755"/>
                  <a:gd name="connsiteX29" fmla="*/ 871445 w 936181"/>
                  <a:gd name="connsiteY29" fmla="*/ 335787 h 2501755"/>
                  <a:gd name="connsiteX30" fmla="*/ 876840 w 936181"/>
                  <a:gd name="connsiteY30" fmla="*/ 354668 h 2501755"/>
                  <a:gd name="connsiteX31" fmla="*/ 884932 w 936181"/>
                  <a:gd name="connsiteY31" fmla="*/ 376247 h 2501755"/>
                  <a:gd name="connsiteX32" fmla="*/ 887629 w 936181"/>
                  <a:gd name="connsiteY32" fmla="*/ 411313 h 2501755"/>
                  <a:gd name="connsiteX33" fmla="*/ 884932 w 936181"/>
                  <a:gd name="connsiteY33" fmla="*/ 419405 h 2501755"/>
                  <a:gd name="connsiteX34" fmla="*/ 882234 w 936181"/>
                  <a:gd name="connsiteY34" fmla="*/ 432891 h 2501755"/>
                  <a:gd name="connsiteX35" fmla="*/ 890326 w 936181"/>
                  <a:gd name="connsiteY35" fmla="*/ 459865 h 2501755"/>
                  <a:gd name="connsiteX36" fmla="*/ 901116 w 936181"/>
                  <a:gd name="connsiteY36" fmla="*/ 462562 h 2501755"/>
                  <a:gd name="connsiteX37" fmla="*/ 911905 w 936181"/>
                  <a:gd name="connsiteY37" fmla="*/ 489536 h 2501755"/>
                  <a:gd name="connsiteX38" fmla="*/ 914603 w 936181"/>
                  <a:gd name="connsiteY38" fmla="*/ 505720 h 2501755"/>
                  <a:gd name="connsiteX39" fmla="*/ 917300 w 936181"/>
                  <a:gd name="connsiteY39" fmla="*/ 513812 h 2501755"/>
                  <a:gd name="connsiteX40" fmla="*/ 936181 w 936181"/>
                  <a:gd name="connsiteY40" fmla="*/ 516509 h 2501755"/>
                  <a:gd name="connsiteX41" fmla="*/ 933484 w 936181"/>
                  <a:gd name="connsiteY41" fmla="*/ 535390 h 2501755"/>
                  <a:gd name="connsiteX42" fmla="*/ 925392 w 936181"/>
                  <a:gd name="connsiteY42" fmla="*/ 540785 h 2501755"/>
                  <a:gd name="connsiteX43" fmla="*/ 893024 w 936181"/>
                  <a:gd name="connsiteY43" fmla="*/ 546180 h 2501755"/>
                  <a:gd name="connsiteX44" fmla="*/ 879537 w 936181"/>
                  <a:gd name="connsiteY44" fmla="*/ 565061 h 2501755"/>
                  <a:gd name="connsiteX45" fmla="*/ 857958 w 936181"/>
                  <a:gd name="connsiteY45" fmla="*/ 562364 h 2501755"/>
                  <a:gd name="connsiteX46" fmla="*/ 839077 w 936181"/>
                  <a:gd name="connsiteY46" fmla="*/ 554272 h 2501755"/>
                  <a:gd name="connsiteX47" fmla="*/ 814801 w 936181"/>
                  <a:gd name="connsiteY47" fmla="*/ 556969 h 2501755"/>
                  <a:gd name="connsiteX48" fmla="*/ 817498 w 936181"/>
                  <a:gd name="connsiteY48" fmla="*/ 592035 h 2501755"/>
                  <a:gd name="connsiteX49" fmla="*/ 825590 w 936181"/>
                  <a:gd name="connsiteY49" fmla="*/ 600127 h 2501755"/>
                  <a:gd name="connsiteX50" fmla="*/ 812103 w 936181"/>
                  <a:gd name="connsiteY50" fmla="*/ 602824 h 2501755"/>
                  <a:gd name="connsiteX51" fmla="*/ 790525 w 936181"/>
                  <a:gd name="connsiteY51" fmla="*/ 600127 h 2501755"/>
                  <a:gd name="connsiteX52" fmla="*/ 785130 w 936181"/>
                  <a:gd name="connsiteY52" fmla="*/ 592035 h 2501755"/>
                  <a:gd name="connsiteX53" fmla="*/ 782433 w 936181"/>
                  <a:gd name="connsiteY53" fmla="*/ 583943 h 2501755"/>
                  <a:gd name="connsiteX54" fmla="*/ 801314 w 936181"/>
                  <a:gd name="connsiteY54" fmla="*/ 600127 h 2501755"/>
                  <a:gd name="connsiteX55" fmla="*/ 790525 w 936181"/>
                  <a:gd name="connsiteY55" fmla="*/ 627100 h 2501755"/>
                  <a:gd name="connsiteX56" fmla="*/ 768946 w 936181"/>
                  <a:gd name="connsiteY56" fmla="*/ 632495 h 2501755"/>
                  <a:gd name="connsiteX57" fmla="*/ 750064 w 936181"/>
                  <a:gd name="connsiteY57" fmla="*/ 640587 h 2501755"/>
                  <a:gd name="connsiteX58" fmla="*/ 741972 w 936181"/>
                  <a:gd name="connsiteY58" fmla="*/ 645982 h 2501755"/>
                  <a:gd name="connsiteX59" fmla="*/ 766249 w 936181"/>
                  <a:gd name="connsiteY59" fmla="*/ 664863 h 2501755"/>
                  <a:gd name="connsiteX60" fmla="*/ 774341 w 936181"/>
                  <a:gd name="connsiteY60" fmla="*/ 667560 h 2501755"/>
                  <a:gd name="connsiteX61" fmla="*/ 763551 w 936181"/>
                  <a:gd name="connsiteY61" fmla="*/ 697231 h 2501755"/>
                  <a:gd name="connsiteX62" fmla="*/ 760854 w 936181"/>
                  <a:gd name="connsiteY62" fmla="*/ 708020 h 2501755"/>
                  <a:gd name="connsiteX63" fmla="*/ 747367 w 936181"/>
                  <a:gd name="connsiteY63" fmla="*/ 718810 h 2501755"/>
                  <a:gd name="connsiteX64" fmla="*/ 750064 w 936181"/>
                  <a:gd name="connsiteY64" fmla="*/ 748481 h 2501755"/>
                  <a:gd name="connsiteX65" fmla="*/ 752762 w 936181"/>
                  <a:gd name="connsiteY65" fmla="*/ 761967 h 2501755"/>
                  <a:gd name="connsiteX66" fmla="*/ 766249 w 936181"/>
                  <a:gd name="connsiteY66" fmla="*/ 778151 h 2501755"/>
                  <a:gd name="connsiteX67" fmla="*/ 768946 w 936181"/>
                  <a:gd name="connsiteY67" fmla="*/ 786243 h 2501755"/>
                  <a:gd name="connsiteX68" fmla="*/ 777038 w 936181"/>
                  <a:gd name="connsiteY68" fmla="*/ 788941 h 2501755"/>
                  <a:gd name="connsiteX69" fmla="*/ 787827 w 936181"/>
                  <a:gd name="connsiteY69" fmla="*/ 794336 h 2501755"/>
                  <a:gd name="connsiteX70" fmla="*/ 790525 w 936181"/>
                  <a:gd name="connsiteY70" fmla="*/ 805125 h 2501755"/>
                  <a:gd name="connsiteX71" fmla="*/ 782433 w 936181"/>
                  <a:gd name="connsiteY71" fmla="*/ 810520 h 2501755"/>
                  <a:gd name="connsiteX72" fmla="*/ 771643 w 936181"/>
                  <a:gd name="connsiteY72" fmla="*/ 821309 h 2501755"/>
                  <a:gd name="connsiteX73" fmla="*/ 768946 w 936181"/>
                  <a:gd name="connsiteY73" fmla="*/ 829401 h 2501755"/>
                  <a:gd name="connsiteX74" fmla="*/ 758157 w 936181"/>
                  <a:gd name="connsiteY74" fmla="*/ 856374 h 2501755"/>
                  <a:gd name="connsiteX75" fmla="*/ 733880 w 936181"/>
                  <a:gd name="connsiteY75" fmla="*/ 942690 h 2501755"/>
                  <a:gd name="connsiteX76" fmla="*/ 725788 w 936181"/>
                  <a:gd name="connsiteY76" fmla="*/ 945387 h 2501755"/>
                  <a:gd name="connsiteX77" fmla="*/ 723091 w 936181"/>
                  <a:gd name="connsiteY77" fmla="*/ 953479 h 2501755"/>
                  <a:gd name="connsiteX78" fmla="*/ 696118 w 936181"/>
                  <a:gd name="connsiteY78" fmla="*/ 975058 h 2501755"/>
                  <a:gd name="connsiteX79" fmla="*/ 688026 w 936181"/>
                  <a:gd name="connsiteY79" fmla="*/ 985847 h 2501755"/>
                  <a:gd name="connsiteX80" fmla="*/ 679934 w 936181"/>
                  <a:gd name="connsiteY80" fmla="*/ 991242 h 2501755"/>
                  <a:gd name="connsiteX81" fmla="*/ 674539 w 936181"/>
                  <a:gd name="connsiteY81" fmla="*/ 999334 h 2501755"/>
                  <a:gd name="connsiteX82" fmla="*/ 655657 w 936181"/>
                  <a:gd name="connsiteY82" fmla="*/ 1007426 h 2501755"/>
                  <a:gd name="connsiteX83" fmla="*/ 650263 w 936181"/>
                  <a:gd name="connsiteY83" fmla="*/ 1020913 h 2501755"/>
                  <a:gd name="connsiteX84" fmla="*/ 639473 w 936181"/>
                  <a:gd name="connsiteY84" fmla="*/ 1026307 h 2501755"/>
                  <a:gd name="connsiteX85" fmla="*/ 636776 w 936181"/>
                  <a:gd name="connsiteY85" fmla="*/ 1037097 h 2501755"/>
                  <a:gd name="connsiteX86" fmla="*/ 623289 w 936181"/>
                  <a:gd name="connsiteY86" fmla="*/ 1050583 h 2501755"/>
                  <a:gd name="connsiteX87" fmla="*/ 636776 w 936181"/>
                  <a:gd name="connsiteY87" fmla="*/ 1055978 h 2501755"/>
                  <a:gd name="connsiteX88" fmla="*/ 642171 w 936181"/>
                  <a:gd name="connsiteY88" fmla="*/ 1064070 h 2501755"/>
                  <a:gd name="connsiteX89" fmla="*/ 615197 w 936181"/>
                  <a:gd name="connsiteY89" fmla="*/ 1066767 h 2501755"/>
                  <a:gd name="connsiteX90" fmla="*/ 580132 w 936181"/>
                  <a:gd name="connsiteY90" fmla="*/ 1091043 h 2501755"/>
                  <a:gd name="connsiteX91" fmla="*/ 588224 w 936181"/>
                  <a:gd name="connsiteY91" fmla="*/ 1096438 h 2501755"/>
                  <a:gd name="connsiteX92" fmla="*/ 596316 w 936181"/>
                  <a:gd name="connsiteY92" fmla="*/ 1104530 h 2501755"/>
                  <a:gd name="connsiteX93" fmla="*/ 588224 w 936181"/>
                  <a:gd name="connsiteY93" fmla="*/ 1128806 h 2501755"/>
                  <a:gd name="connsiteX94" fmla="*/ 574737 w 936181"/>
                  <a:gd name="connsiteY94" fmla="*/ 1131504 h 2501755"/>
                  <a:gd name="connsiteX95" fmla="*/ 545066 w 936181"/>
                  <a:gd name="connsiteY95" fmla="*/ 1128806 h 2501755"/>
                  <a:gd name="connsiteX96" fmla="*/ 542369 w 936181"/>
                  <a:gd name="connsiteY96" fmla="*/ 1112622 h 2501755"/>
                  <a:gd name="connsiteX97" fmla="*/ 534277 w 936181"/>
                  <a:gd name="connsiteY97" fmla="*/ 1109925 h 2501755"/>
                  <a:gd name="connsiteX98" fmla="*/ 539672 w 936181"/>
                  <a:gd name="connsiteY98" fmla="*/ 1123412 h 2501755"/>
                  <a:gd name="connsiteX99" fmla="*/ 547764 w 936181"/>
                  <a:gd name="connsiteY99" fmla="*/ 1128806 h 2501755"/>
                  <a:gd name="connsiteX100" fmla="*/ 550461 w 936181"/>
                  <a:gd name="connsiteY100" fmla="*/ 1136898 h 2501755"/>
                  <a:gd name="connsiteX101" fmla="*/ 561250 w 936181"/>
                  <a:gd name="connsiteY101" fmla="*/ 1158477 h 2501755"/>
                  <a:gd name="connsiteX102" fmla="*/ 563948 w 936181"/>
                  <a:gd name="connsiteY102" fmla="*/ 1188148 h 2501755"/>
                  <a:gd name="connsiteX103" fmla="*/ 555856 w 936181"/>
                  <a:gd name="connsiteY103" fmla="*/ 1193543 h 2501755"/>
                  <a:gd name="connsiteX104" fmla="*/ 520790 w 936181"/>
                  <a:gd name="connsiteY104" fmla="*/ 1207029 h 2501755"/>
                  <a:gd name="connsiteX105" fmla="*/ 523487 w 936181"/>
                  <a:gd name="connsiteY105" fmla="*/ 1225911 h 2501755"/>
                  <a:gd name="connsiteX106" fmla="*/ 534277 w 936181"/>
                  <a:gd name="connsiteY106" fmla="*/ 1231305 h 2501755"/>
                  <a:gd name="connsiteX107" fmla="*/ 536974 w 936181"/>
                  <a:gd name="connsiteY107" fmla="*/ 1239397 h 2501755"/>
                  <a:gd name="connsiteX108" fmla="*/ 528882 w 936181"/>
                  <a:gd name="connsiteY108" fmla="*/ 1242095 h 2501755"/>
                  <a:gd name="connsiteX109" fmla="*/ 528882 w 936181"/>
                  <a:gd name="connsiteY109" fmla="*/ 1266371 h 2501755"/>
                  <a:gd name="connsiteX110" fmla="*/ 534277 w 936181"/>
                  <a:gd name="connsiteY110" fmla="*/ 1274463 h 2501755"/>
                  <a:gd name="connsiteX111" fmla="*/ 515395 w 936181"/>
                  <a:gd name="connsiteY111" fmla="*/ 1285252 h 2501755"/>
                  <a:gd name="connsiteX112" fmla="*/ 520790 w 936181"/>
                  <a:gd name="connsiteY112" fmla="*/ 1296042 h 2501755"/>
                  <a:gd name="connsiteX113" fmla="*/ 523487 w 936181"/>
                  <a:gd name="connsiteY113" fmla="*/ 1331107 h 2501755"/>
                  <a:gd name="connsiteX114" fmla="*/ 528882 w 936181"/>
                  <a:gd name="connsiteY114" fmla="*/ 1347291 h 2501755"/>
                  <a:gd name="connsiteX115" fmla="*/ 507303 w 936181"/>
                  <a:gd name="connsiteY115" fmla="*/ 1355383 h 2501755"/>
                  <a:gd name="connsiteX116" fmla="*/ 518093 w 936181"/>
                  <a:gd name="connsiteY116" fmla="*/ 1379659 h 2501755"/>
                  <a:gd name="connsiteX117" fmla="*/ 520790 w 936181"/>
                  <a:gd name="connsiteY117" fmla="*/ 1387751 h 2501755"/>
                  <a:gd name="connsiteX118" fmla="*/ 526185 w 936181"/>
                  <a:gd name="connsiteY118" fmla="*/ 1409330 h 2501755"/>
                  <a:gd name="connsiteX119" fmla="*/ 520790 w 936181"/>
                  <a:gd name="connsiteY119" fmla="*/ 1441698 h 2501755"/>
                  <a:gd name="connsiteX120" fmla="*/ 515395 w 936181"/>
                  <a:gd name="connsiteY120" fmla="*/ 1468672 h 2501755"/>
                  <a:gd name="connsiteX121" fmla="*/ 520790 w 936181"/>
                  <a:gd name="connsiteY121" fmla="*/ 1476764 h 2501755"/>
                  <a:gd name="connsiteX122" fmla="*/ 534277 w 936181"/>
                  <a:gd name="connsiteY122" fmla="*/ 1487553 h 2501755"/>
                  <a:gd name="connsiteX123" fmla="*/ 536974 w 936181"/>
                  <a:gd name="connsiteY123" fmla="*/ 1506435 h 2501755"/>
                  <a:gd name="connsiteX124" fmla="*/ 542369 w 936181"/>
                  <a:gd name="connsiteY124" fmla="*/ 1514527 h 2501755"/>
                  <a:gd name="connsiteX125" fmla="*/ 545066 w 936181"/>
                  <a:gd name="connsiteY125" fmla="*/ 1522619 h 2501755"/>
                  <a:gd name="connsiteX126" fmla="*/ 558553 w 936181"/>
                  <a:gd name="connsiteY126" fmla="*/ 1519921 h 2501755"/>
                  <a:gd name="connsiteX127" fmla="*/ 569342 w 936181"/>
                  <a:gd name="connsiteY127" fmla="*/ 1528013 h 2501755"/>
                  <a:gd name="connsiteX128" fmla="*/ 582829 w 936181"/>
                  <a:gd name="connsiteY128" fmla="*/ 1533408 h 2501755"/>
                  <a:gd name="connsiteX129" fmla="*/ 590921 w 936181"/>
                  <a:gd name="connsiteY129" fmla="*/ 1541500 h 2501755"/>
                  <a:gd name="connsiteX130" fmla="*/ 601710 w 936181"/>
                  <a:gd name="connsiteY130" fmla="*/ 1544197 h 2501755"/>
                  <a:gd name="connsiteX131" fmla="*/ 612500 w 936181"/>
                  <a:gd name="connsiteY131" fmla="*/ 1549592 h 2501755"/>
                  <a:gd name="connsiteX132" fmla="*/ 623289 w 936181"/>
                  <a:gd name="connsiteY132" fmla="*/ 1581960 h 2501755"/>
                  <a:gd name="connsiteX133" fmla="*/ 631381 w 936181"/>
                  <a:gd name="connsiteY133" fmla="*/ 1576566 h 2501755"/>
                  <a:gd name="connsiteX134" fmla="*/ 642171 w 936181"/>
                  <a:gd name="connsiteY134" fmla="*/ 1557684 h 2501755"/>
                  <a:gd name="connsiteX135" fmla="*/ 644868 w 936181"/>
                  <a:gd name="connsiteY135" fmla="*/ 1565776 h 2501755"/>
                  <a:gd name="connsiteX136" fmla="*/ 655657 w 936181"/>
                  <a:gd name="connsiteY136" fmla="*/ 1581960 h 2501755"/>
                  <a:gd name="connsiteX137" fmla="*/ 658355 w 936181"/>
                  <a:gd name="connsiteY137" fmla="*/ 1606236 h 2501755"/>
                  <a:gd name="connsiteX138" fmla="*/ 690723 w 936181"/>
                  <a:gd name="connsiteY138" fmla="*/ 1614328 h 2501755"/>
                  <a:gd name="connsiteX139" fmla="*/ 696118 w 936181"/>
                  <a:gd name="connsiteY139" fmla="*/ 1622420 h 2501755"/>
                  <a:gd name="connsiteX140" fmla="*/ 698815 w 936181"/>
                  <a:gd name="connsiteY140" fmla="*/ 1630513 h 2501755"/>
                  <a:gd name="connsiteX141" fmla="*/ 704210 w 936181"/>
                  <a:gd name="connsiteY141" fmla="*/ 1665578 h 2501755"/>
                  <a:gd name="connsiteX142" fmla="*/ 690723 w 936181"/>
                  <a:gd name="connsiteY142" fmla="*/ 1684459 h 2501755"/>
                  <a:gd name="connsiteX143" fmla="*/ 688026 w 936181"/>
                  <a:gd name="connsiteY143" fmla="*/ 1695249 h 2501755"/>
                  <a:gd name="connsiteX144" fmla="*/ 685328 w 936181"/>
                  <a:gd name="connsiteY144" fmla="*/ 1714130 h 2501755"/>
                  <a:gd name="connsiteX145" fmla="*/ 677236 w 936181"/>
                  <a:gd name="connsiteY145" fmla="*/ 1716828 h 2501755"/>
                  <a:gd name="connsiteX146" fmla="*/ 661052 w 936181"/>
                  <a:gd name="connsiteY146" fmla="*/ 1719525 h 2501755"/>
                  <a:gd name="connsiteX147" fmla="*/ 655657 w 936181"/>
                  <a:gd name="connsiteY147" fmla="*/ 1727617 h 2501755"/>
                  <a:gd name="connsiteX148" fmla="*/ 625987 w 936181"/>
                  <a:gd name="connsiteY148" fmla="*/ 1738406 h 2501755"/>
                  <a:gd name="connsiteX149" fmla="*/ 623289 w 936181"/>
                  <a:gd name="connsiteY149" fmla="*/ 1757288 h 2501755"/>
                  <a:gd name="connsiteX150" fmla="*/ 601710 w 936181"/>
                  <a:gd name="connsiteY150" fmla="*/ 1754590 h 2501755"/>
                  <a:gd name="connsiteX151" fmla="*/ 596316 w 936181"/>
                  <a:gd name="connsiteY151" fmla="*/ 1741104 h 2501755"/>
                  <a:gd name="connsiteX152" fmla="*/ 601710 w 936181"/>
                  <a:gd name="connsiteY152" fmla="*/ 1724920 h 2501755"/>
                  <a:gd name="connsiteX153" fmla="*/ 582829 w 936181"/>
                  <a:gd name="connsiteY153" fmla="*/ 1700643 h 2501755"/>
                  <a:gd name="connsiteX154" fmla="*/ 580132 w 936181"/>
                  <a:gd name="connsiteY154" fmla="*/ 1719525 h 2501755"/>
                  <a:gd name="connsiteX155" fmla="*/ 574737 w 936181"/>
                  <a:gd name="connsiteY155" fmla="*/ 1727617 h 2501755"/>
                  <a:gd name="connsiteX156" fmla="*/ 558553 w 936181"/>
                  <a:gd name="connsiteY156" fmla="*/ 1724920 h 2501755"/>
                  <a:gd name="connsiteX157" fmla="*/ 501909 w 936181"/>
                  <a:gd name="connsiteY157" fmla="*/ 1735709 h 2501755"/>
                  <a:gd name="connsiteX158" fmla="*/ 488422 w 936181"/>
                  <a:gd name="connsiteY158" fmla="*/ 1746498 h 2501755"/>
                  <a:gd name="connsiteX159" fmla="*/ 464146 w 936181"/>
                  <a:gd name="connsiteY159" fmla="*/ 1751893 h 2501755"/>
                  <a:gd name="connsiteX160" fmla="*/ 453357 w 936181"/>
                  <a:gd name="connsiteY160" fmla="*/ 1754590 h 2501755"/>
                  <a:gd name="connsiteX161" fmla="*/ 499211 w 936181"/>
                  <a:gd name="connsiteY161" fmla="*/ 1751893 h 2501755"/>
                  <a:gd name="connsiteX162" fmla="*/ 507303 w 936181"/>
                  <a:gd name="connsiteY162" fmla="*/ 1757288 h 2501755"/>
                  <a:gd name="connsiteX163" fmla="*/ 523487 w 936181"/>
                  <a:gd name="connsiteY163" fmla="*/ 1762682 h 2501755"/>
                  <a:gd name="connsiteX164" fmla="*/ 531580 w 936181"/>
                  <a:gd name="connsiteY164" fmla="*/ 1743801 h 2501755"/>
                  <a:gd name="connsiteX165" fmla="*/ 539672 w 936181"/>
                  <a:gd name="connsiteY165" fmla="*/ 1738406 h 2501755"/>
                  <a:gd name="connsiteX166" fmla="*/ 555856 w 936181"/>
                  <a:gd name="connsiteY166" fmla="*/ 1759985 h 2501755"/>
                  <a:gd name="connsiteX167" fmla="*/ 566645 w 936181"/>
                  <a:gd name="connsiteY167" fmla="*/ 1778866 h 2501755"/>
                  <a:gd name="connsiteX168" fmla="*/ 582829 w 936181"/>
                  <a:gd name="connsiteY168" fmla="*/ 1773472 h 2501755"/>
                  <a:gd name="connsiteX169" fmla="*/ 588224 w 936181"/>
                  <a:gd name="connsiteY169" fmla="*/ 1765380 h 2501755"/>
                  <a:gd name="connsiteX170" fmla="*/ 636776 w 936181"/>
                  <a:gd name="connsiteY170" fmla="*/ 1754590 h 2501755"/>
                  <a:gd name="connsiteX171" fmla="*/ 650263 w 936181"/>
                  <a:gd name="connsiteY171" fmla="*/ 1730314 h 2501755"/>
                  <a:gd name="connsiteX172" fmla="*/ 658355 w 936181"/>
                  <a:gd name="connsiteY172" fmla="*/ 1727617 h 2501755"/>
                  <a:gd name="connsiteX173" fmla="*/ 671841 w 936181"/>
                  <a:gd name="connsiteY173" fmla="*/ 1733012 h 2501755"/>
                  <a:gd name="connsiteX174" fmla="*/ 679934 w 936181"/>
                  <a:gd name="connsiteY174" fmla="*/ 1735709 h 2501755"/>
                  <a:gd name="connsiteX175" fmla="*/ 682631 w 936181"/>
                  <a:gd name="connsiteY175" fmla="*/ 1743801 h 2501755"/>
                  <a:gd name="connsiteX176" fmla="*/ 671841 w 936181"/>
                  <a:gd name="connsiteY176" fmla="*/ 1746498 h 2501755"/>
                  <a:gd name="connsiteX177" fmla="*/ 655657 w 936181"/>
                  <a:gd name="connsiteY177" fmla="*/ 1759985 h 2501755"/>
                  <a:gd name="connsiteX178" fmla="*/ 658355 w 936181"/>
                  <a:gd name="connsiteY178" fmla="*/ 1786959 h 2501755"/>
                  <a:gd name="connsiteX179" fmla="*/ 644868 w 936181"/>
                  <a:gd name="connsiteY179" fmla="*/ 1795051 h 2501755"/>
                  <a:gd name="connsiteX180" fmla="*/ 650263 w 936181"/>
                  <a:gd name="connsiteY180" fmla="*/ 1803143 h 2501755"/>
                  <a:gd name="connsiteX181" fmla="*/ 642171 w 936181"/>
                  <a:gd name="connsiteY181" fmla="*/ 1827419 h 2501755"/>
                  <a:gd name="connsiteX182" fmla="*/ 636537 w 936181"/>
                  <a:gd name="connsiteY182" fmla="*/ 1847018 h 2501755"/>
                  <a:gd name="connsiteX183" fmla="*/ 628684 w 936181"/>
                  <a:gd name="connsiteY183" fmla="*/ 1840905 h 2501755"/>
                  <a:gd name="connsiteX184" fmla="*/ 617895 w 936181"/>
                  <a:gd name="connsiteY184" fmla="*/ 1811235 h 2501755"/>
                  <a:gd name="connsiteX185" fmla="*/ 607105 w 936181"/>
                  <a:gd name="connsiteY185" fmla="*/ 1805840 h 2501755"/>
                  <a:gd name="connsiteX186" fmla="*/ 593618 w 936181"/>
                  <a:gd name="connsiteY186" fmla="*/ 1843603 h 2501755"/>
                  <a:gd name="connsiteX187" fmla="*/ 585526 w 936181"/>
                  <a:gd name="connsiteY187" fmla="*/ 1846300 h 2501755"/>
                  <a:gd name="connsiteX188" fmla="*/ 582829 w 936181"/>
                  <a:gd name="connsiteY188" fmla="*/ 1862484 h 2501755"/>
                  <a:gd name="connsiteX189" fmla="*/ 580132 w 936181"/>
                  <a:gd name="connsiteY189" fmla="*/ 1870576 h 2501755"/>
                  <a:gd name="connsiteX190" fmla="*/ 572040 w 936181"/>
                  <a:gd name="connsiteY190" fmla="*/ 1878668 h 2501755"/>
                  <a:gd name="connsiteX191" fmla="*/ 563948 w 936181"/>
                  <a:gd name="connsiteY191" fmla="*/ 1881366 h 2501755"/>
                  <a:gd name="connsiteX192" fmla="*/ 520790 w 936181"/>
                  <a:gd name="connsiteY192" fmla="*/ 1884063 h 2501755"/>
                  <a:gd name="connsiteX193" fmla="*/ 472238 w 936181"/>
                  <a:gd name="connsiteY193" fmla="*/ 1892155 h 2501755"/>
                  <a:gd name="connsiteX194" fmla="*/ 488422 w 936181"/>
                  <a:gd name="connsiteY194" fmla="*/ 1886760 h 2501755"/>
                  <a:gd name="connsiteX195" fmla="*/ 539672 w 936181"/>
                  <a:gd name="connsiteY195" fmla="*/ 1916431 h 2501755"/>
                  <a:gd name="connsiteX196" fmla="*/ 542369 w 936181"/>
                  <a:gd name="connsiteY196" fmla="*/ 1924523 h 2501755"/>
                  <a:gd name="connsiteX197" fmla="*/ 523487 w 936181"/>
                  <a:gd name="connsiteY197" fmla="*/ 1927220 h 2501755"/>
                  <a:gd name="connsiteX198" fmla="*/ 512698 w 936181"/>
                  <a:gd name="connsiteY198" fmla="*/ 1943405 h 2501755"/>
                  <a:gd name="connsiteX199" fmla="*/ 523487 w 936181"/>
                  <a:gd name="connsiteY199" fmla="*/ 1948799 h 2501755"/>
                  <a:gd name="connsiteX200" fmla="*/ 526185 w 936181"/>
                  <a:gd name="connsiteY200" fmla="*/ 1956891 h 2501755"/>
                  <a:gd name="connsiteX201" fmla="*/ 536974 w 936181"/>
                  <a:gd name="connsiteY201" fmla="*/ 1962286 h 2501755"/>
                  <a:gd name="connsiteX202" fmla="*/ 534277 w 936181"/>
                  <a:gd name="connsiteY202" fmla="*/ 1970378 h 2501755"/>
                  <a:gd name="connsiteX203" fmla="*/ 523487 w 936181"/>
                  <a:gd name="connsiteY203" fmla="*/ 2000049 h 2501755"/>
                  <a:gd name="connsiteX204" fmla="*/ 515395 w 936181"/>
                  <a:gd name="connsiteY204" fmla="*/ 2005443 h 2501755"/>
                  <a:gd name="connsiteX205" fmla="*/ 523487 w 936181"/>
                  <a:gd name="connsiteY205" fmla="*/ 2010838 h 2501755"/>
                  <a:gd name="connsiteX206" fmla="*/ 545066 w 936181"/>
                  <a:gd name="connsiteY206" fmla="*/ 2018930 h 2501755"/>
                  <a:gd name="connsiteX207" fmla="*/ 553158 w 936181"/>
                  <a:gd name="connsiteY207" fmla="*/ 2016233 h 2501755"/>
                  <a:gd name="connsiteX208" fmla="*/ 539672 w 936181"/>
                  <a:gd name="connsiteY208" fmla="*/ 2027022 h 2501755"/>
                  <a:gd name="connsiteX209" fmla="*/ 534277 w 936181"/>
                  <a:gd name="connsiteY209" fmla="*/ 2043206 h 2501755"/>
                  <a:gd name="connsiteX210" fmla="*/ 542369 w 936181"/>
                  <a:gd name="connsiteY210" fmla="*/ 2067482 h 2501755"/>
                  <a:gd name="connsiteX211" fmla="*/ 536974 w 936181"/>
                  <a:gd name="connsiteY211" fmla="*/ 2075574 h 2501755"/>
                  <a:gd name="connsiteX212" fmla="*/ 539672 w 936181"/>
                  <a:gd name="connsiteY212" fmla="*/ 2089061 h 2501755"/>
                  <a:gd name="connsiteX213" fmla="*/ 545066 w 936181"/>
                  <a:gd name="connsiteY213" fmla="*/ 2105245 h 2501755"/>
                  <a:gd name="connsiteX214" fmla="*/ 531580 w 936181"/>
                  <a:gd name="connsiteY214" fmla="*/ 2116035 h 2501755"/>
                  <a:gd name="connsiteX215" fmla="*/ 528882 w 936181"/>
                  <a:gd name="connsiteY215" fmla="*/ 2126824 h 2501755"/>
                  <a:gd name="connsiteX216" fmla="*/ 510001 w 936181"/>
                  <a:gd name="connsiteY216" fmla="*/ 2132219 h 2501755"/>
                  <a:gd name="connsiteX217" fmla="*/ 515395 w 936181"/>
                  <a:gd name="connsiteY217" fmla="*/ 2143008 h 2501755"/>
                  <a:gd name="connsiteX218" fmla="*/ 520790 w 936181"/>
                  <a:gd name="connsiteY218" fmla="*/ 2153797 h 2501755"/>
                  <a:gd name="connsiteX219" fmla="*/ 523487 w 936181"/>
                  <a:gd name="connsiteY219" fmla="*/ 2161890 h 2501755"/>
                  <a:gd name="connsiteX220" fmla="*/ 542369 w 936181"/>
                  <a:gd name="connsiteY220" fmla="*/ 2167284 h 2501755"/>
                  <a:gd name="connsiteX221" fmla="*/ 531580 w 936181"/>
                  <a:gd name="connsiteY221" fmla="*/ 2175376 h 2501755"/>
                  <a:gd name="connsiteX222" fmla="*/ 515395 w 936181"/>
                  <a:gd name="connsiteY222" fmla="*/ 2215836 h 2501755"/>
                  <a:gd name="connsiteX223" fmla="*/ 518093 w 936181"/>
                  <a:gd name="connsiteY223" fmla="*/ 2223928 h 2501755"/>
                  <a:gd name="connsiteX224" fmla="*/ 542369 w 936181"/>
                  <a:gd name="connsiteY224" fmla="*/ 2207744 h 2501755"/>
                  <a:gd name="connsiteX225" fmla="*/ 545066 w 936181"/>
                  <a:gd name="connsiteY225" fmla="*/ 2188863 h 2501755"/>
                  <a:gd name="connsiteX226" fmla="*/ 550461 w 936181"/>
                  <a:gd name="connsiteY226" fmla="*/ 2172679 h 2501755"/>
                  <a:gd name="connsiteX227" fmla="*/ 553158 w 936181"/>
                  <a:gd name="connsiteY227" fmla="*/ 2151100 h 2501755"/>
                  <a:gd name="connsiteX228" fmla="*/ 563948 w 936181"/>
                  <a:gd name="connsiteY228" fmla="*/ 2134916 h 2501755"/>
                  <a:gd name="connsiteX229" fmla="*/ 569342 w 936181"/>
                  <a:gd name="connsiteY229" fmla="*/ 2126824 h 2501755"/>
                  <a:gd name="connsiteX230" fmla="*/ 577434 w 936181"/>
                  <a:gd name="connsiteY230" fmla="*/ 2134916 h 2501755"/>
                  <a:gd name="connsiteX231" fmla="*/ 574737 w 936181"/>
                  <a:gd name="connsiteY231" fmla="*/ 2143008 h 2501755"/>
                  <a:gd name="connsiteX232" fmla="*/ 566645 w 936181"/>
                  <a:gd name="connsiteY232" fmla="*/ 2175376 h 2501755"/>
                  <a:gd name="connsiteX233" fmla="*/ 561250 w 936181"/>
                  <a:gd name="connsiteY233" fmla="*/ 2196955 h 2501755"/>
                  <a:gd name="connsiteX234" fmla="*/ 558553 w 936181"/>
                  <a:gd name="connsiteY234" fmla="*/ 2213139 h 2501755"/>
                  <a:gd name="connsiteX235" fmla="*/ 553158 w 936181"/>
                  <a:gd name="connsiteY235" fmla="*/ 2232020 h 2501755"/>
                  <a:gd name="connsiteX236" fmla="*/ 547764 w 936181"/>
                  <a:gd name="connsiteY236" fmla="*/ 2299454 h 2501755"/>
                  <a:gd name="connsiteX237" fmla="*/ 545066 w 936181"/>
                  <a:gd name="connsiteY237" fmla="*/ 2318336 h 2501755"/>
                  <a:gd name="connsiteX238" fmla="*/ 536974 w 936181"/>
                  <a:gd name="connsiteY238" fmla="*/ 2323730 h 2501755"/>
                  <a:gd name="connsiteX239" fmla="*/ 528882 w 936181"/>
                  <a:gd name="connsiteY239" fmla="*/ 2331822 h 2501755"/>
                  <a:gd name="connsiteX240" fmla="*/ 520790 w 936181"/>
                  <a:gd name="connsiteY240" fmla="*/ 2318336 h 2501755"/>
                  <a:gd name="connsiteX241" fmla="*/ 520790 w 936181"/>
                  <a:gd name="connsiteY241" fmla="*/ 2277875 h 2501755"/>
                  <a:gd name="connsiteX242" fmla="*/ 526185 w 936181"/>
                  <a:gd name="connsiteY242" fmla="*/ 2261691 h 2501755"/>
                  <a:gd name="connsiteX243" fmla="*/ 527294 w 936181"/>
                  <a:gd name="connsiteY243" fmla="*/ 2225502 h 2501755"/>
                  <a:gd name="connsiteX244" fmla="*/ 520790 w 936181"/>
                  <a:gd name="connsiteY244" fmla="*/ 2258994 h 2501755"/>
                  <a:gd name="connsiteX245" fmla="*/ 507303 w 936181"/>
                  <a:gd name="connsiteY245" fmla="*/ 2264389 h 2501755"/>
                  <a:gd name="connsiteX246" fmla="*/ 501909 w 936181"/>
                  <a:gd name="connsiteY246" fmla="*/ 2272481 h 2501755"/>
                  <a:gd name="connsiteX247" fmla="*/ 496514 w 936181"/>
                  <a:gd name="connsiteY247" fmla="*/ 2321033 h 2501755"/>
                  <a:gd name="connsiteX248" fmla="*/ 491119 w 936181"/>
                  <a:gd name="connsiteY248" fmla="*/ 2337217 h 2501755"/>
                  <a:gd name="connsiteX249" fmla="*/ 480330 w 936181"/>
                  <a:gd name="connsiteY249" fmla="*/ 2345309 h 2501755"/>
                  <a:gd name="connsiteX250" fmla="*/ 437172 w 936181"/>
                  <a:gd name="connsiteY250" fmla="*/ 2342612 h 2501755"/>
                  <a:gd name="connsiteX251" fmla="*/ 434475 w 936181"/>
                  <a:gd name="connsiteY251" fmla="*/ 2356098 h 2501755"/>
                  <a:gd name="connsiteX252" fmla="*/ 426383 w 936181"/>
                  <a:gd name="connsiteY252" fmla="*/ 2364190 h 2501755"/>
                  <a:gd name="connsiteX253" fmla="*/ 404804 w 936181"/>
                  <a:gd name="connsiteY253" fmla="*/ 2361493 h 2501755"/>
                  <a:gd name="connsiteX254" fmla="*/ 396712 w 936181"/>
                  <a:gd name="connsiteY254" fmla="*/ 2356098 h 2501755"/>
                  <a:gd name="connsiteX255" fmla="*/ 377831 w 936181"/>
                  <a:gd name="connsiteY255" fmla="*/ 2361493 h 2501755"/>
                  <a:gd name="connsiteX256" fmla="*/ 380528 w 936181"/>
                  <a:gd name="connsiteY256" fmla="*/ 2377677 h 2501755"/>
                  <a:gd name="connsiteX257" fmla="*/ 377831 w 936181"/>
                  <a:gd name="connsiteY257" fmla="*/ 2388466 h 2501755"/>
                  <a:gd name="connsiteX258" fmla="*/ 334673 w 936181"/>
                  <a:gd name="connsiteY258" fmla="*/ 2396559 h 2501755"/>
                  <a:gd name="connsiteX259" fmla="*/ 331976 w 936181"/>
                  <a:gd name="connsiteY259" fmla="*/ 2410045 h 2501755"/>
                  <a:gd name="connsiteX260" fmla="*/ 326581 w 936181"/>
                  <a:gd name="connsiteY260" fmla="*/ 2423532 h 2501755"/>
                  <a:gd name="connsiteX261" fmla="*/ 329279 w 936181"/>
                  <a:gd name="connsiteY261" fmla="*/ 2437019 h 2501755"/>
                  <a:gd name="connsiteX262" fmla="*/ 334673 w 936181"/>
                  <a:gd name="connsiteY262" fmla="*/ 2455900 h 2501755"/>
                  <a:gd name="connsiteX263" fmla="*/ 342765 w 936181"/>
                  <a:gd name="connsiteY263" fmla="*/ 2463992 h 2501755"/>
                  <a:gd name="connsiteX264" fmla="*/ 331976 w 936181"/>
                  <a:gd name="connsiteY264" fmla="*/ 2485571 h 2501755"/>
                  <a:gd name="connsiteX265" fmla="*/ 318489 w 936181"/>
                  <a:gd name="connsiteY265" fmla="*/ 2488268 h 2501755"/>
                  <a:gd name="connsiteX266" fmla="*/ 302305 w 936181"/>
                  <a:gd name="connsiteY266" fmla="*/ 2490966 h 2501755"/>
                  <a:gd name="connsiteX267" fmla="*/ 269937 w 936181"/>
                  <a:gd name="connsiteY267" fmla="*/ 2488268 h 2501755"/>
                  <a:gd name="connsiteX268" fmla="*/ 253753 w 936181"/>
                  <a:gd name="connsiteY268" fmla="*/ 2499058 h 2501755"/>
                  <a:gd name="connsiteX269" fmla="*/ 207898 w 936181"/>
                  <a:gd name="connsiteY269" fmla="*/ 2501755 h 2501755"/>
                  <a:gd name="connsiteX270" fmla="*/ 197109 w 936181"/>
                  <a:gd name="connsiteY270" fmla="*/ 2496360 h 2501755"/>
                  <a:gd name="connsiteX271" fmla="*/ 194411 w 936181"/>
                  <a:gd name="connsiteY271" fmla="*/ 2488268 h 2501755"/>
                  <a:gd name="connsiteX272" fmla="*/ 202503 w 936181"/>
                  <a:gd name="connsiteY272" fmla="*/ 2428927 h 2501755"/>
                  <a:gd name="connsiteX273" fmla="*/ 199806 w 936181"/>
                  <a:gd name="connsiteY273" fmla="*/ 2420835 h 2501755"/>
                  <a:gd name="connsiteX274" fmla="*/ 197109 w 936181"/>
                  <a:gd name="connsiteY274" fmla="*/ 2410045 h 2501755"/>
                  <a:gd name="connsiteX275" fmla="*/ 175530 w 936181"/>
                  <a:gd name="connsiteY275" fmla="*/ 2399256 h 2501755"/>
                  <a:gd name="connsiteX276" fmla="*/ 162043 w 936181"/>
                  <a:gd name="connsiteY276" fmla="*/ 2388466 h 2501755"/>
                  <a:gd name="connsiteX277" fmla="*/ 153951 w 936181"/>
                  <a:gd name="connsiteY277" fmla="*/ 2374980 h 2501755"/>
                  <a:gd name="connsiteX278" fmla="*/ 140464 w 936181"/>
                  <a:gd name="connsiteY278" fmla="*/ 2348006 h 2501755"/>
                  <a:gd name="connsiteX279" fmla="*/ 153951 w 936181"/>
                  <a:gd name="connsiteY279" fmla="*/ 2342612 h 2501755"/>
                  <a:gd name="connsiteX280" fmla="*/ 167438 w 936181"/>
                  <a:gd name="connsiteY280" fmla="*/ 2345309 h 2501755"/>
                  <a:gd name="connsiteX281" fmla="*/ 159346 w 936181"/>
                  <a:gd name="connsiteY281" fmla="*/ 2315638 h 2501755"/>
                  <a:gd name="connsiteX282" fmla="*/ 156649 w 936181"/>
                  <a:gd name="connsiteY282" fmla="*/ 2304849 h 2501755"/>
                  <a:gd name="connsiteX283" fmla="*/ 175530 w 936181"/>
                  <a:gd name="connsiteY283" fmla="*/ 2307546 h 2501755"/>
                  <a:gd name="connsiteX284" fmla="*/ 183622 w 936181"/>
                  <a:gd name="connsiteY284" fmla="*/ 2291362 h 2501755"/>
                  <a:gd name="connsiteX285" fmla="*/ 156649 w 936181"/>
                  <a:gd name="connsiteY285" fmla="*/ 2277875 h 2501755"/>
                  <a:gd name="connsiteX286" fmla="*/ 159346 w 936181"/>
                  <a:gd name="connsiteY286" fmla="*/ 2267086 h 2501755"/>
                  <a:gd name="connsiteX287" fmla="*/ 151254 w 936181"/>
                  <a:gd name="connsiteY287" fmla="*/ 2248205 h 2501755"/>
                  <a:gd name="connsiteX288" fmla="*/ 132372 w 936181"/>
                  <a:gd name="connsiteY288" fmla="*/ 2229323 h 2501755"/>
                  <a:gd name="connsiteX289" fmla="*/ 121583 w 936181"/>
                  <a:gd name="connsiteY289" fmla="*/ 2218534 h 2501755"/>
                  <a:gd name="connsiteX290" fmla="*/ 113491 w 936181"/>
                  <a:gd name="connsiteY290" fmla="*/ 2202350 h 2501755"/>
                  <a:gd name="connsiteX291" fmla="*/ 110794 w 936181"/>
                  <a:gd name="connsiteY291" fmla="*/ 2178074 h 2501755"/>
                  <a:gd name="connsiteX292" fmla="*/ 102702 w 936181"/>
                  <a:gd name="connsiteY292" fmla="*/ 2175376 h 2501755"/>
                  <a:gd name="connsiteX293" fmla="*/ 100004 w 936181"/>
                  <a:gd name="connsiteY293" fmla="*/ 2164587 h 2501755"/>
                  <a:gd name="connsiteX294" fmla="*/ 81123 w 936181"/>
                  <a:gd name="connsiteY294" fmla="*/ 2140311 h 2501755"/>
                  <a:gd name="connsiteX295" fmla="*/ 94610 w 936181"/>
                  <a:gd name="connsiteY295" fmla="*/ 2132219 h 2501755"/>
                  <a:gd name="connsiteX296" fmla="*/ 81123 w 936181"/>
                  <a:gd name="connsiteY296" fmla="*/ 2110640 h 2501755"/>
                  <a:gd name="connsiteX297" fmla="*/ 62241 w 936181"/>
                  <a:gd name="connsiteY297" fmla="*/ 2091759 h 2501755"/>
                  <a:gd name="connsiteX298" fmla="*/ 54149 w 936181"/>
                  <a:gd name="connsiteY298" fmla="*/ 2089061 h 2501755"/>
                  <a:gd name="connsiteX299" fmla="*/ 56847 w 936181"/>
                  <a:gd name="connsiteY299" fmla="*/ 2067482 h 2501755"/>
                  <a:gd name="connsiteX300" fmla="*/ 56847 w 936181"/>
                  <a:gd name="connsiteY300" fmla="*/ 2043206 h 2501755"/>
                  <a:gd name="connsiteX301" fmla="*/ 46057 w 936181"/>
                  <a:gd name="connsiteY301" fmla="*/ 2040509 h 2501755"/>
                  <a:gd name="connsiteX302" fmla="*/ 37965 w 936181"/>
                  <a:gd name="connsiteY302" fmla="*/ 2037812 h 2501755"/>
                  <a:gd name="connsiteX303" fmla="*/ 32571 w 936181"/>
                  <a:gd name="connsiteY303" fmla="*/ 2027022 h 2501755"/>
                  <a:gd name="connsiteX304" fmla="*/ 35268 w 936181"/>
                  <a:gd name="connsiteY304" fmla="*/ 2018930 h 2501755"/>
                  <a:gd name="connsiteX305" fmla="*/ 48755 w 936181"/>
                  <a:gd name="connsiteY305" fmla="*/ 2024325 h 2501755"/>
                  <a:gd name="connsiteX306" fmla="*/ 59544 w 936181"/>
                  <a:gd name="connsiteY306" fmla="*/ 2045904 h 2501755"/>
                  <a:gd name="connsiteX307" fmla="*/ 70334 w 936181"/>
                  <a:gd name="connsiteY307" fmla="*/ 2043206 h 2501755"/>
                  <a:gd name="connsiteX308" fmla="*/ 64939 w 936181"/>
                  <a:gd name="connsiteY308" fmla="*/ 2000049 h 2501755"/>
                  <a:gd name="connsiteX309" fmla="*/ 67636 w 936181"/>
                  <a:gd name="connsiteY309" fmla="*/ 1991957 h 2501755"/>
                  <a:gd name="connsiteX310" fmla="*/ 56847 w 936181"/>
                  <a:gd name="connsiteY310" fmla="*/ 1981167 h 2501755"/>
                  <a:gd name="connsiteX311" fmla="*/ 32571 w 936181"/>
                  <a:gd name="connsiteY311" fmla="*/ 1986562 h 2501755"/>
                  <a:gd name="connsiteX312" fmla="*/ 24479 w 936181"/>
                  <a:gd name="connsiteY312" fmla="*/ 1991957 h 2501755"/>
                  <a:gd name="connsiteX313" fmla="*/ 16387 w 936181"/>
                  <a:gd name="connsiteY313" fmla="*/ 1970378 h 2501755"/>
                  <a:gd name="connsiteX314" fmla="*/ 5597 w 936181"/>
                  <a:gd name="connsiteY314" fmla="*/ 1954194 h 2501755"/>
                  <a:gd name="connsiteX315" fmla="*/ 13689 w 936181"/>
                  <a:gd name="connsiteY315" fmla="*/ 1940707 h 2501755"/>
                  <a:gd name="connsiteX316" fmla="*/ 19084 w 936181"/>
                  <a:gd name="connsiteY316" fmla="*/ 1924523 h 2501755"/>
                  <a:gd name="connsiteX317" fmla="*/ 8295 w 936181"/>
                  <a:gd name="connsiteY317" fmla="*/ 1921826 h 2501755"/>
                  <a:gd name="connsiteX318" fmla="*/ 2900 w 936181"/>
                  <a:gd name="connsiteY318" fmla="*/ 1857090 h 2501755"/>
                  <a:gd name="connsiteX319" fmla="*/ 16387 w 936181"/>
                  <a:gd name="connsiteY319" fmla="*/ 1854392 h 2501755"/>
                  <a:gd name="connsiteX320" fmla="*/ 19084 w 936181"/>
                  <a:gd name="connsiteY320" fmla="*/ 1846300 h 2501755"/>
                  <a:gd name="connsiteX321" fmla="*/ 2900 w 936181"/>
                  <a:gd name="connsiteY321" fmla="*/ 1846300 h 2501755"/>
                  <a:gd name="connsiteX322" fmla="*/ 16387 w 936181"/>
                  <a:gd name="connsiteY322" fmla="*/ 1851695 h 2501755"/>
                  <a:gd name="connsiteX323" fmla="*/ 29873 w 936181"/>
                  <a:gd name="connsiteY323" fmla="*/ 1867879 h 2501755"/>
                  <a:gd name="connsiteX324" fmla="*/ 40663 w 936181"/>
                  <a:gd name="connsiteY324" fmla="*/ 1870576 h 2501755"/>
                  <a:gd name="connsiteX325" fmla="*/ 56847 w 936181"/>
                  <a:gd name="connsiteY325" fmla="*/ 1859787 h 2501755"/>
                  <a:gd name="connsiteX326" fmla="*/ 48755 w 936181"/>
                  <a:gd name="connsiteY326" fmla="*/ 1773472 h 2501755"/>
                  <a:gd name="connsiteX327" fmla="*/ 56847 w 936181"/>
                  <a:gd name="connsiteY327" fmla="*/ 1735709 h 2501755"/>
                  <a:gd name="connsiteX328" fmla="*/ 64939 w 936181"/>
                  <a:gd name="connsiteY328" fmla="*/ 1733012 h 2501755"/>
                  <a:gd name="connsiteX329" fmla="*/ 67636 w 936181"/>
                  <a:gd name="connsiteY329" fmla="*/ 1724920 h 2501755"/>
                  <a:gd name="connsiteX330" fmla="*/ 64939 w 936181"/>
                  <a:gd name="connsiteY330" fmla="*/ 1714130 h 2501755"/>
                  <a:gd name="connsiteX331" fmla="*/ 70334 w 936181"/>
                  <a:gd name="connsiteY331" fmla="*/ 1689854 h 2501755"/>
                  <a:gd name="connsiteX332" fmla="*/ 100004 w 936181"/>
                  <a:gd name="connsiteY332" fmla="*/ 1684459 h 2501755"/>
                  <a:gd name="connsiteX333" fmla="*/ 108096 w 936181"/>
                  <a:gd name="connsiteY333" fmla="*/ 1676367 h 2501755"/>
                  <a:gd name="connsiteX334" fmla="*/ 110794 w 936181"/>
                  <a:gd name="connsiteY334" fmla="*/ 1662881 h 2501755"/>
                  <a:gd name="connsiteX335" fmla="*/ 116188 w 936181"/>
                  <a:gd name="connsiteY335" fmla="*/ 1643999 h 2501755"/>
                  <a:gd name="connsiteX336" fmla="*/ 118886 w 936181"/>
                  <a:gd name="connsiteY336" fmla="*/ 1617026 h 2501755"/>
                  <a:gd name="connsiteX337" fmla="*/ 126978 w 936181"/>
                  <a:gd name="connsiteY337" fmla="*/ 1603539 h 2501755"/>
                  <a:gd name="connsiteX338" fmla="*/ 129675 w 936181"/>
                  <a:gd name="connsiteY338" fmla="*/ 1595447 h 2501755"/>
                  <a:gd name="connsiteX339" fmla="*/ 105399 w 936181"/>
                  <a:gd name="connsiteY339" fmla="*/ 1563079 h 2501755"/>
                  <a:gd name="connsiteX340" fmla="*/ 102702 w 936181"/>
                  <a:gd name="connsiteY340" fmla="*/ 1533408 h 2501755"/>
                  <a:gd name="connsiteX341" fmla="*/ 100004 w 936181"/>
                  <a:gd name="connsiteY341" fmla="*/ 1511829 h 2501755"/>
                  <a:gd name="connsiteX342" fmla="*/ 91912 w 936181"/>
                  <a:gd name="connsiteY342" fmla="*/ 1501040 h 2501755"/>
                  <a:gd name="connsiteX343" fmla="*/ 100004 w 936181"/>
                  <a:gd name="connsiteY343" fmla="*/ 1495645 h 2501755"/>
                  <a:gd name="connsiteX344" fmla="*/ 121583 w 936181"/>
                  <a:gd name="connsiteY344" fmla="*/ 1490251 h 2501755"/>
                  <a:gd name="connsiteX345" fmla="*/ 129675 w 936181"/>
                  <a:gd name="connsiteY345" fmla="*/ 1487553 h 2501755"/>
                  <a:gd name="connsiteX346" fmla="*/ 135070 w 936181"/>
                  <a:gd name="connsiteY346" fmla="*/ 1479461 h 2501755"/>
                  <a:gd name="connsiteX347" fmla="*/ 135070 w 936181"/>
                  <a:gd name="connsiteY347" fmla="*/ 1417422 h 2501755"/>
                  <a:gd name="connsiteX348" fmla="*/ 129675 w 936181"/>
                  <a:gd name="connsiteY348" fmla="*/ 1409330 h 2501755"/>
                  <a:gd name="connsiteX349" fmla="*/ 110794 w 936181"/>
                  <a:gd name="connsiteY349" fmla="*/ 1385054 h 2501755"/>
                  <a:gd name="connsiteX350" fmla="*/ 94610 w 936181"/>
                  <a:gd name="connsiteY350" fmla="*/ 1371567 h 2501755"/>
                  <a:gd name="connsiteX351" fmla="*/ 83820 w 936181"/>
                  <a:gd name="connsiteY351" fmla="*/ 1358081 h 2501755"/>
                  <a:gd name="connsiteX352" fmla="*/ 81123 w 936181"/>
                  <a:gd name="connsiteY352" fmla="*/ 1263674 h 2501755"/>
                  <a:gd name="connsiteX353" fmla="*/ 70334 w 936181"/>
                  <a:gd name="connsiteY353" fmla="*/ 1247490 h 2501755"/>
                  <a:gd name="connsiteX354" fmla="*/ 59544 w 936181"/>
                  <a:gd name="connsiteY354" fmla="*/ 1204332 h 2501755"/>
                  <a:gd name="connsiteX355" fmla="*/ 56847 w 936181"/>
                  <a:gd name="connsiteY355" fmla="*/ 1153082 h 2501755"/>
                  <a:gd name="connsiteX356" fmla="*/ 73031 w 936181"/>
                  <a:gd name="connsiteY356" fmla="*/ 1144990 h 2501755"/>
                  <a:gd name="connsiteX357" fmla="*/ 51452 w 936181"/>
                  <a:gd name="connsiteY357" fmla="*/ 1118017 h 2501755"/>
                  <a:gd name="connsiteX358" fmla="*/ 40663 w 936181"/>
                  <a:gd name="connsiteY358" fmla="*/ 1109925 h 2501755"/>
                  <a:gd name="connsiteX359" fmla="*/ 37965 w 936181"/>
                  <a:gd name="connsiteY359" fmla="*/ 1099136 h 2501755"/>
                  <a:gd name="connsiteX360" fmla="*/ 40663 w 936181"/>
                  <a:gd name="connsiteY360" fmla="*/ 1074859 h 2501755"/>
                  <a:gd name="connsiteX361" fmla="*/ 59544 w 936181"/>
                  <a:gd name="connsiteY361" fmla="*/ 1050583 h 2501755"/>
                  <a:gd name="connsiteX362" fmla="*/ 64939 w 936181"/>
                  <a:gd name="connsiteY362" fmla="*/ 1039794 h 2501755"/>
                  <a:gd name="connsiteX363" fmla="*/ 73031 w 936181"/>
                  <a:gd name="connsiteY363" fmla="*/ 1026307 h 2501755"/>
                  <a:gd name="connsiteX364" fmla="*/ 83820 w 936181"/>
                  <a:gd name="connsiteY364" fmla="*/ 1010123 h 2501755"/>
                  <a:gd name="connsiteX365" fmla="*/ 86518 w 936181"/>
                  <a:gd name="connsiteY365" fmla="*/ 993939 h 2501755"/>
                  <a:gd name="connsiteX366" fmla="*/ 97307 w 936181"/>
                  <a:gd name="connsiteY366" fmla="*/ 988544 h 2501755"/>
                  <a:gd name="connsiteX367" fmla="*/ 113491 w 936181"/>
                  <a:gd name="connsiteY367" fmla="*/ 980452 h 2501755"/>
                  <a:gd name="connsiteX368" fmla="*/ 124280 w 936181"/>
                  <a:gd name="connsiteY368" fmla="*/ 966966 h 2501755"/>
                  <a:gd name="connsiteX369" fmla="*/ 129675 w 936181"/>
                  <a:gd name="connsiteY369" fmla="*/ 956176 h 2501755"/>
                  <a:gd name="connsiteX370" fmla="*/ 145859 w 936181"/>
                  <a:gd name="connsiteY370" fmla="*/ 942690 h 2501755"/>
                  <a:gd name="connsiteX371" fmla="*/ 156649 w 936181"/>
                  <a:gd name="connsiteY371" fmla="*/ 934597 h 2501755"/>
                  <a:gd name="connsiteX372" fmla="*/ 162043 w 936181"/>
                  <a:gd name="connsiteY372" fmla="*/ 942690 h 2501755"/>
                  <a:gd name="connsiteX373" fmla="*/ 164741 w 936181"/>
                  <a:gd name="connsiteY373" fmla="*/ 950782 h 2501755"/>
                  <a:gd name="connsiteX374" fmla="*/ 178227 w 936181"/>
                  <a:gd name="connsiteY374" fmla="*/ 961571 h 2501755"/>
                  <a:gd name="connsiteX375" fmla="*/ 202503 w 936181"/>
                  <a:gd name="connsiteY375" fmla="*/ 945387 h 2501755"/>
                  <a:gd name="connsiteX376" fmla="*/ 205201 w 936181"/>
                  <a:gd name="connsiteY376" fmla="*/ 923808 h 2501755"/>
                  <a:gd name="connsiteX377" fmla="*/ 210595 w 936181"/>
                  <a:gd name="connsiteY377" fmla="*/ 899532 h 2501755"/>
                  <a:gd name="connsiteX378" fmla="*/ 205201 w 936181"/>
                  <a:gd name="connsiteY378" fmla="*/ 861769 h 2501755"/>
                  <a:gd name="connsiteX379" fmla="*/ 183622 w 936181"/>
                  <a:gd name="connsiteY379" fmla="*/ 859072 h 2501755"/>
                  <a:gd name="connsiteX380" fmla="*/ 194411 w 936181"/>
                  <a:gd name="connsiteY380" fmla="*/ 834796 h 2501755"/>
                  <a:gd name="connsiteX381" fmla="*/ 205201 w 936181"/>
                  <a:gd name="connsiteY381" fmla="*/ 810520 h 2501755"/>
                  <a:gd name="connsiteX382" fmla="*/ 210595 w 936181"/>
                  <a:gd name="connsiteY382" fmla="*/ 770059 h 2501755"/>
                  <a:gd name="connsiteX383" fmla="*/ 215990 w 936181"/>
                  <a:gd name="connsiteY383" fmla="*/ 761967 h 2501755"/>
                  <a:gd name="connsiteX384" fmla="*/ 229477 w 936181"/>
                  <a:gd name="connsiteY384" fmla="*/ 726902 h 2501755"/>
                  <a:gd name="connsiteX385" fmla="*/ 237569 w 936181"/>
                  <a:gd name="connsiteY385" fmla="*/ 697231 h 2501755"/>
                  <a:gd name="connsiteX386" fmla="*/ 240266 w 936181"/>
                  <a:gd name="connsiteY386" fmla="*/ 689139 h 2501755"/>
                  <a:gd name="connsiteX387" fmla="*/ 229477 w 936181"/>
                  <a:gd name="connsiteY387" fmla="*/ 672955 h 2501755"/>
                  <a:gd name="connsiteX388" fmla="*/ 232174 w 936181"/>
                  <a:gd name="connsiteY388" fmla="*/ 659468 h 2501755"/>
                  <a:gd name="connsiteX389" fmla="*/ 234872 w 936181"/>
                  <a:gd name="connsiteY389" fmla="*/ 651376 h 2501755"/>
                  <a:gd name="connsiteX390" fmla="*/ 237569 w 936181"/>
                  <a:gd name="connsiteY390" fmla="*/ 637890 h 2501755"/>
                  <a:gd name="connsiteX391" fmla="*/ 234872 w 936181"/>
                  <a:gd name="connsiteY391" fmla="*/ 586640 h 2501755"/>
                  <a:gd name="connsiteX392" fmla="*/ 229477 w 936181"/>
                  <a:gd name="connsiteY392" fmla="*/ 575851 h 2501755"/>
                  <a:gd name="connsiteX393" fmla="*/ 253753 w 936181"/>
                  <a:gd name="connsiteY393" fmla="*/ 573153 h 2501755"/>
                  <a:gd name="connsiteX394" fmla="*/ 256450 w 936181"/>
                  <a:gd name="connsiteY394" fmla="*/ 565061 h 2501755"/>
                  <a:gd name="connsiteX395" fmla="*/ 272634 w 936181"/>
                  <a:gd name="connsiteY395" fmla="*/ 551574 h 2501755"/>
                  <a:gd name="connsiteX396" fmla="*/ 275332 w 936181"/>
                  <a:gd name="connsiteY396" fmla="*/ 540785 h 2501755"/>
                  <a:gd name="connsiteX397" fmla="*/ 288818 w 936181"/>
                  <a:gd name="connsiteY397" fmla="*/ 527298 h 2501755"/>
                  <a:gd name="connsiteX398" fmla="*/ 280726 w 936181"/>
                  <a:gd name="connsiteY398" fmla="*/ 494930 h 2501755"/>
                  <a:gd name="connsiteX399" fmla="*/ 286121 w 936181"/>
                  <a:gd name="connsiteY399" fmla="*/ 484141 h 2501755"/>
                  <a:gd name="connsiteX400" fmla="*/ 288818 w 936181"/>
                  <a:gd name="connsiteY400" fmla="*/ 467957 h 2501755"/>
                  <a:gd name="connsiteX401" fmla="*/ 307700 w 936181"/>
                  <a:gd name="connsiteY401" fmla="*/ 449075 h 2501755"/>
                  <a:gd name="connsiteX402" fmla="*/ 318489 w 936181"/>
                  <a:gd name="connsiteY402" fmla="*/ 432891 h 2501755"/>
                  <a:gd name="connsiteX403" fmla="*/ 337371 w 936181"/>
                  <a:gd name="connsiteY403" fmla="*/ 419405 h 2501755"/>
                  <a:gd name="connsiteX404" fmla="*/ 342765 w 936181"/>
                  <a:gd name="connsiteY404" fmla="*/ 400523 h 2501755"/>
                  <a:gd name="connsiteX405" fmla="*/ 337371 w 936181"/>
                  <a:gd name="connsiteY405" fmla="*/ 368155 h 2501755"/>
                  <a:gd name="connsiteX406" fmla="*/ 329279 w 936181"/>
                  <a:gd name="connsiteY406" fmla="*/ 343879 h 2501755"/>
                  <a:gd name="connsiteX407" fmla="*/ 321187 w 936181"/>
                  <a:gd name="connsiteY407" fmla="*/ 341182 h 2501755"/>
                  <a:gd name="connsiteX408" fmla="*/ 318489 w 936181"/>
                  <a:gd name="connsiteY408" fmla="*/ 357366 h 2501755"/>
                  <a:gd name="connsiteX409" fmla="*/ 329279 w 936181"/>
                  <a:gd name="connsiteY409" fmla="*/ 330392 h 2501755"/>
                  <a:gd name="connsiteX410" fmla="*/ 331976 w 936181"/>
                  <a:gd name="connsiteY410" fmla="*/ 311511 h 2501755"/>
                  <a:gd name="connsiteX411" fmla="*/ 342765 w 936181"/>
                  <a:gd name="connsiteY411" fmla="*/ 300721 h 2501755"/>
                  <a:gd name="connsiteX412" fmla="*/ 356252 w 936181"/>
                  <a:gd name="connsiteY412" fmla="*/ 260261 h 2501755"/>
                  <a:gd name="connsiteX413" fmla="*/ 358949 w 936181"/>
                  <a:gd name="connsiteY413" fmla="*/ 238682 h 2501755"/>
                  <a:gd name="connsiteX414" fmla="*/ 364344 w 936181"/>
                  <a:gd name="connsiteY414" fmla="*/ 230590 h 2501755"/>
                  <a:gd name="connsiteX415" fmla="*/ 399410 w 936181"/>
                  <a:gd name="connsiteY415" fmla="*/ 203617 h 2501755"/>
                  <a:gd name="connsiteX416" fmla="*/ 410199 w 936181"/>
                  <a:gd name="connsiteY416" fmla="*/ 211709 h 2501755"/>
                  <a:gd name="connsiteX417" fmla="*/ 418291 w 936181"/>
                  <a:gd name="connsiteY417" fmla="*/ 225196 h 2501755"/>
                  <a:gd name="connsiteX418" fmla="*/ 429080 w 936181"/>
                  <a:gd name="connsiteY418" fmla="*/ 222498 h 2501755"/>
                  <a:gd name="connsiteX419" fmla="*/ 437172 w 936181"/>
                  <a:gd name="connsiteY419" fmla="*/ 190130 h 2501755"/>
                  <a:gd name="connsiteX420" fmla="*/ 437172 w 936181"/>
                  <a:gd name="connsiteY420" fmla="*/ 122697 h 2501755"/>
                  <a:gd name="connsiteX421" fmla="*/ 456053 w 936181"/>
                  <a:gd name="connsiteY421" fmla="*/ 110645 h 2501755"/>
                  <a:gd name="connsiteX422" fmla="*/ 477255 w 936181"/>
                  <a:gd name="connsiteY422" fmla="*/ 106787 h 2501755"/>
                  <a:gd name="connsiteX423" fmla="*/ 491119 w 936181"/>
                  <a:gd name="connsiteY423" fmla="*/ 122697 h 2501755"/>
                  <a:gd name="connsiteX424" fmla="*/ 545066 w 936181"/>
                  <a:gd name="connsiteY424" fmla="*/ 128091 h 2501755"/>
                  <a:gd name="connsiteX425" fmla="*/ 553158 w 936181"/>
                  <a:gd name="connsiteY425" fmla="*/ 130789 h 2501755"/>
                  <a:gd name="connsiteX426" fmla="*/ 563948 w 936181"/>
                  <a:gd name="connsiteY426" fmla="*/ 133486 h 2501755"/>
                  <a:gd name="connsiteX427" fmla="*/ 569342 w 936181"/>
                  <a:gd name="connsiteY427" fmla="*/ 114605 h 2501755"/>
                  <a:gd name="connsiteX428" fmla="*/ 566645 w 936181"/>
                  <a:gd name="connsiteY428" fmla="*/ 93026 h 2501755"/>
                  <a:gd name="connsiteX429" fmla="*/ 572040 w 936181"/>
                  <a:gd name="connsiteY429" fmla="*/ 57960 h 2501755"/>
                  <a:gd name="connsiteX430" fmla="*/ 577434 w 936181"/>
                  <a:gd name="connsiteY430" fmla="*/ 47171 h 2501755"/>
                  <a:gd name="connsiteX431" fmla="*/ 566645 w 936181"/>
                  <a:gd name="connsiteY431" fmla="*/ 25592 h 2501755"/>
                  <a:gd name="connsiteX432" fmla="*/ 563948 w 936181"/>
                  <a:gd name="connsiteY432" fmla="*/ 17500 h 2501755"/>
                  <a:gd name="connsiteX433" fmla="*/ 592458 w 936181"/>
                  <a:gd name="connsiteY433" fmla="*/ 156 h 2501755"/>
                  <a:gd name="connsiteX0" fmla="*/ 592458 w 936181"/>
                  <a:gd name="connsiteY0" fmla="*/ 156 h 2501755"/>
                  <a:gd name="connsiteX1" fmla="*/ 612500 w 936181"/>
                  <a:gd name="connsiteY1" fmla="*/ 9408 h 2501755"/>
                  <a:gd name="connsiteX2" fmla="*/ 615197 w 936181"/>
                  <a:gd name="connsiteY2" fmla="*/ 17500 h 2501755"/>
                  <a:gd name="connsiteX3" fmla="*/ 623289 w 936181"/>
                  <a:gd name="connsiteY3" fmla="*/ 30987 h 2501755"/>
                  <a:gd name="connsiteX4" fmla="*/ 640736 w 936181"/>
                  <a:gd name="connsiteY4" fmla="*/ 37920 h 2501755"/>
                  <a:gd name="connsiteX5" fmla="*/ 636776 w 936181"/>
                  <a:gd name="connsiteY5" fmla="*/ 49868 h 2501755"/>
                  <a:gd name="connsiteX6" fmla="*/ 644868 w 936181"/>
                  <a:gd name="connsiteY6" fmla="*/ 55263 h 2501755"/>
                  <a:gd name="connsiteX7" fmla="*/ 650263 w 936181"/>
                  <a:gd name="connsiteY7" fmla="*/ 63355 h 2501755"/>
                  <a:gd name="connsiteX8" fmla="*/ 661052 w 936181"/>
                  <a:gd name="connsiteY8" fmla="*/ 68750 h 2501755"/>
                  <a:gd name="connsiteX9" fmla="*/ 688026 w 936181"/>
                  <a:gd name="connsiteY9" fmla="*/ 79539 h 2501755"/>
                  <a:gd name="connsiteX10" fmla="*/ 717696 w 936181"/>
                  <a:gd name="connsiteY10" fmla="*/ 93026 h 2501755"/>
                  <a:gd name="connsiteX11" fmla="*/ 736578 w 936181"/>
                  <a:gd name="connsiteY11" fmla="*/ 87631 h 2501755"/>
                  <a:gd name="connsiteX12" fmla="*/ 752762 w 936181"/>
                  <a:gd name="connsiteY12" fmla="*/ 98420 h 2501755"/>
                  <a:gd name="connsiteX13" fmla="*/ 766249 w 936181"/>
                  <a:gd name="connsiteY13" fmla="*/ 117302 h 2501755"/>
                  <a:gd name="connsiteX14" fmla="*/ 771643 w 936181"/>
                  <a:gd name="connsiteY14" fmla="*/ 133486 h 2501755"/>
                  <a:gd name="connsiteX15" fmla="*/ 787827 w 936181"/>
                  <a:gd name="connsiteY15" fmla="*/ 138881 h 2501755"/>
                  <a:gd name="connsiteX16" fmla="*/ 795919 w 936181"/>
                  <a:gd name="connsiteY16" fmla="*/ 144275 h 2501755"/>
                  <a:gd name="connsiteX17" fmla="*/ 804011 w 936181"/>
                  <a:gd name="connsiteY17" fmla="*/ 155065 h 2501755"/>
                  <a:gd name="connsiteX18" fmla="*/ 820195 w 936181"/>
                  <a:gd name="connsiteY18" fmla="*/ 171249 h 2501755"/>
                  <a:gd name="connsiteX19" fmla="*/ 817498 w 936181"/>
                  <a:gd name="connsiteY19" fmla="*/ 203617 h 2501755"/>
                  <a:gd name="connsiteX20" fmla="*/ 828287 w 936181"/>
                  <a:gd name="connsiteY20" fmla="*/ 206314 h 2501755"/>
                  <a:gd name="connsiteX21" fmla="*/ 830985 w 936181"/>
                  <a:gd name="connsiteY21" fmla="*/ 252169 h 2501755"/>
                  <a:gd name="connsiteX22" fmla="*/ 839077 w 936181"/>
                  <a:gd name="connsiteY22" fmla="*/ 254866 h 2501755"/>
                  <a:gd name="connsiteX23" fmla="*/ 844472 w 936181"/>
                  <a:gd name="connsiteY23" fmla="*/ 265656 h 2501755"/>
                  <a:gd name="connsiteX24" fmla="*/ 849866 w 936181"/>
                  <a:gd name="connsiteY24" fmla="*/ 273748 h 2501755"/>
                  <a:gd name="connsiteX25" fmla="*/ 844472 w 936181"/>
                  <a:gd name="connsiteY25" fmla="*/ 287235 h 2501755"/>
                  <a:gd name="connsiteX26" fmla="*/ 836380 w 936181"/>
                  <a:gd name="connsiteY26" fmla="*/ 292629 h 2501755"/>
                  <a:gd name="connsiteX27" fmla="*/ 852564 w 936181"/>
                  <a:gd name="connsiteY27" fmla="*/ 311511 h 2501755"/>
                  <a:gd name="connsiteX28" fmla="*/ 855261 w 936181"/>
                  <a:gd name="connsiteY28" fmla="*/ 322300 h 2501755"/>
                  <a:gd name="connsiteX29" fmla="*/ 871445 w 936181"/>
                  <a:gd name="connsiteY29" fmla="*/ 335787 h 2501755"/>
                  <a:gd name="connsiteX30" fmla="*/ 876840 w 936181"/>
                  <a:gd name="connsiteY30" fmla="*/ 354668 h 2501755"/>
                  <a:gd name="connsiteX31" fmla="*/ 884932 w 936181"/>
                  <a:gd name="connsiteY31" fmla="*/ 376247 h 2501755"/>
                  <a:gd name="connsiteX32" fmla="*/ 887629 w 936181"/>
                  <a:gd name="connsiteY32" fmla="*/ 411313 h 2501755"/>
                  <a:gd name="connsiteX33" fmla="*/ 884932 w 936181"/>
                  <a:gd name="connsiteY33" fmla="*/ 419405 h 2501755"/>
                  <a:gd name="connsiteX34" fmla="*/ 882234 w 936181"/>
                  <a:gd name="connsiteY34" fmla="*/ 432891 h 2501755"/>
                  <a:gd name="connsiteX35" fmla="*/ 890326 w 936181"/>
                  <a:gd name="connsiteY35" fmla="*/ 459865 h 2501755"/>
                  <a:gd name="connsiteX36" fmla="*/ 901116 w 936181"/>
                  <a:gd name="connsiteY36" fmla="*/ 462562 h 2501755"/>
                  <a:gd name="connsiteX37" fmla="*/ 911905 w 936181"/>
                  <a:gd name="connsiteY37" fmla="*/ 489536 h 2501755"/>
                  <a:gd name="connsiteX38" fmla="*/ 914603 w 936181"/>
                  <a:gd name="connsiteY38" fmla="*/ 505720 h 2501755"/>
                  <a:gd name="connsiteX39" fmla="*/ 917300 w 936181"/>
                  <a:gd name="connsiteY39" fmla="*/ 513812 h 2501755"/>
                  <a:gd name="connsiteX40" fmla="*/ 936181 w 936181"/>
                  <a:gd name="connsiteY40" fmla="*/ 516509 h 2501755"/>
                  <a:gd name="connsiteX41" fmla="*/ 933484 w 936181"/>
                  <a:gd name="connsiteY41" fmla="*/ 535390 h 2501755"/>
                  <a:gd name="connsiteX42" fmla="*/ 925392 w 936181"/>
                  <a:gd name="connsiteY42" fmla="*/ 540785 h 2501755"/>
                  <a:gd name="connsiteX43" fmla="*/ 893024 w 936181"/>
                  <a:gd name="connsiteY43" fmla="*/ 546180 h 2501755"/>
                  <a:gd name="connsiteX44" fmla="*/ 879537 w 936181"/>
                  <a:gd name="connsiteY44" fmla="*/ 565061 h 2501755"/>
                  <a:gd name="connsiteX45" fmla="*/ 857958 w 936181"/>
                  <a:gd name="connsiteY45" fmla="*/ 562364 h 2501755"/>
                  <a:gd name="connsiteX46" fmla="*/ 839077 w 936181"/>
                  <a:gd name="connsiteY46" fmla="*/ 554272 h 2501755"/>
                  <a:gd name="connsiteX47" fmla="*/ 814801 w 936181"/>
                  <a:gd name="connsiteY47" fmla="*/ 556969 h 2501755"/>
                  <a:gd name="connsiteX48" fmla="*/ 817498 w 936181"/>
                  <a:gd name="connsiteY48" fmla="*/ 592035 h 2501755"/>
                  <a:gd name="connsiteX49" fmla="*/ 825590 w 936181"/>
                  <a:gd name="connsiteY49" fmla="*/ 600127 h 2501755"/>
                  <a:gd name="connsiteX50" fmla="*/ 812103 w 936181"/>
                  <a:gd name="connsiteY50" fmla="*/ 602824 h 2501755"/>
                  <a:gd name="connsiteX51" fmla="*/ 790525 w 936181"/>
                  <a:gd name="connsiteY51" fmla="*/ 600127 h 2501755"/>
                  <a:gd name="connsiteX52" fmla="*/ 785130 w 936181"/>
                  <a:gd name="connsiteY52" fmla="*/ 592035 h 2501755"/>
                  <a:gd name="connsiteX53" fmla="*/ 782433 w 936181"/>
                  <a:gd name="connsiteY53" fmla="*/ 583943 h 2501755"/>
                  <a:gd name="connsiteX54" fmla="*/ 801314 w 936181"/>
                  <a:gd name="connsiteY54" fmla="*/ 600127 h 2501755"/>
                  <a:gd name="connsiteX55" fmla="*/ 790525 w 936181"/>
                  <a:gd name="connsiteY55" fmla="*/ 627100 h 2501755"/>
                  <a:gd name="connsiteX56" fmla="*/ 768946 w 936181"/>
                  <a:gd name="connsiteY56" fmla="*/ 632495 h 2501755"/>
                  <a:gd name="connsiteX57" fmla="*/ 750064 w 936181"/>
                  <a:gd name="connsiteY57" fmla="*/ 640587 h 2501755"/>
                  <a:gd name="connsiteX58" fmla="*/ 741972 w 936181"/>
                  <a:gd name="connsiteY58" fmla="*/ 645982 h 2501755"/>
                  <a:gd name="connsiteX59" fmla="*/ 766249 w 936181"/>
                  <a:gd name="connsiteY59" fmla="*/ 664863 h 2501755"/>
                  <a:gd name="connsiteX60" fmla="*/ 774341 w 936181"/>
                  <a:gd name="connsiteY60" fmla="*/ 667560 h 2501755"/>
                  <a:gd name="connsiteX61" fmla="*/ 763551 w 936181"/>
                  <a:gd name="connsiteY61" fmla="*/ 697231 h 2501755"/>
                  <a:gd name="connsiteX62" fmla="*/ 760854 w 936181"/>
                  <a:gd name="connsiteY62" fmla="*/ 708020 h 2501755"/>
                  <a:gd name="connsiteX63" fmla="*/ 747367 w 936181"/>
                  <a:gd name="connsiteY63" fmla="*/ 718810 h 2501755"/>
                  <a:gd name="connsiteX64" fmla="*/ 750064 w 936181"/>
                  <a:gd name="connsiteY64" fmla="*/ 748481 h 2501755"/>
                  <a:gd name="connsiteX65" fmla="*/ 752762 w 936181"/>
                  <a:gd name="connsiteY65" fmla="*/ 761967 h 2501755"/>
                  <a:gd name="connsiteX66" fmla="*/ 766249 w 936181"/>
                  <a:gd name="connsiteY66" fmla="*/ 778151 h 2501755"/>
                  <a:gd name="connsiteX67" fmla="*/ 768946 w 936181"/>
                  <a:gd name="connsiteY67" fmla="*/ 786243 h 2501755"/>
                  <a:gd name="connsiteX68" fmla="*/ 777038 w 936181"/>
                  <a:gd name="connsiteY68" fmla="*/ 788941 h 2501755"/>
                  <a:gd name="connsiteX69" fmla="*/ 787827 w 936181"/>
                  <a:gd name="connsiteY69" fmla="*/ 794336 h 2501755"/>
                  <a:gd name="connsiteX70" fmla="*/ 790525 w 936181"/>
                  <a:gd name="connsiteY70" fmla="*/ 805125 h 2501755"/>
                  <a:gd name="connsiteX71" fmla="*/ 782433 w 936181"/>
                  <a:gd name="connsiteY71" fmla="*/ 810520 h 2501755"/>
                  <a:gd name="connsiteX72" fmla="*/ 771643 w 936181"/>
                  <a:gd name="connsiteY72" fmla="*/ 821309 h 2501755"/>
                  <a:gd name="connsiteX73" fmla="*/ 768946 w 936181"/>
                  <a:gd name="connsiteY73" fmla="*/ 829401 h 2501755"/>
                  <a:gd name="connsiteX74" fmla="*/ 758157 w 936181"/>
                  <a:gd name="connsiteY74" fmla="*/ 856374 h 2501755"/>
                  <a:gd name="connsiteX75" fmla="*/ 733880 w 936181"/>
                  <a:gd name="connsiteY75" fmla="*/ 942690 h 2501755"/>
                  <a:gd name="connsiteX76" fmla="*/ 725788 w 936181"/>
                  <a:gd name="connsiteY76" fmla="*/ 945387 h 2501755"/>
                  <a:gd name="connsiteX77" fmla="*/ 723091 w 936181"/>
                  <a:gd name="connsiteY77" fmla="*/ 953479 h 2501755"/>
                  <a:gd name="connsiteX78" fmla="*/ 696118 w 936181"/>
                  <a:gd name="connsiteY78" fmla="*/ 975058 h 2501755"/>
                  <a:gd name="connsiteX79" fmla="*/ 688026 w 936181"/>
                  <a:gd name="connsiteY79" fmla="*/ 985847 h 2501755"/>
                  <a:gd name="connsiteX80" fmla="*/ 679934 w 936181"/>
                  <a:gd name="connsiteY80" fmla="*/ 991242 h 2501755"/>
                  <a:gd name="connsiteX81" fmla="*/ 674539 w 936181"/>
                  <a:gd name="connsiteY81" fmla="*/ 999334 h 2501755"/>
                  <a:gd name="connsiteX82" fmla="*/ 655657 w 936181"/>
                  <a:gd name="connsiteY82" fmla="*/ 1007426 h 2501755"/>
                  <a:gd name="connsiteX83" fmla="*/ 650263 w 936181"/>
                  <a:gd name="connsiteY83" fmla="*/ 1020913 h 2501755"/>
                  <a:gd name="connsiteX84" fmla="*/ 639473 w 936181"/>
                  <a:gd name="connsiteY84" fmla="*/ 1026307 h 2501755"/>
                  <a:gd name="connsiteX85" fmla="*/ 636776 w 936181"/>
                  <a:gd name="connsiteY85" fmla="*/ 1037097 h 2501755"/>
                  <a:gd name="connsiteX86" fmla="*/ 623289 w 936181"/>
                  <a:gd name="connsiteY86" fmla="*/ 1050583 h 2501755"/>
                  <a:gd name="connsiteX87" fmla="*/ 636776 w 936181"/>
                  <a:gd name="connsiteY87" fmla="*/ 1055978 h 2501755"/>
                  <a:gd name="connsiteX88" fmla="*/ 642171 w 936181"/>
                  <a:gd name="connsiteY88" fmla="*/ 1064070 h 2501755"/>
                  <a:gd name="connsiteX89" fmla="*/ 615197 w 936181"/>
                  <a:gd name="connsiteY89" fmla="*/ 1066767 h 2501755"/>
                  <a:gd name="connsiteX90" fmla="*/ 580132 w 936181"/>
                  <a:gd name="connsiteY90" fmla="*/ 1091043 h 2501755"/>
                  <a:gd name="connsiteX91" fmla="*/ 588224 w 936181"/>
                  <a:gd name="connsiteY91" fmla="*/ 1096438 h 2501755"/>
                  <a:gd name="connsiteX92" fmla="*/ 596316 w 936181"/>
                  <a:gd name="connsiteY92" fmla="*/ 1104530 h 2501755"/>
                  <a:gd name="connsiteX93" fmla="*/ 588224 w 936181"/>
                  <a:gd name="connsiteY93" fmla="*/ 1128806 h 2501755"/>
                  <a:gd name="connsiteX94" fmla="*/ 574737 w 936181"/>
                  <a:gd name="connsiteY94" fmla="*/ 1131504 h 2501755"/>
                  <a:gd name="connsiteX95" fmla="*/ 545066 w 936181"/>
                  <a:gd name="connsiteY95" fmla="*/ 1128806 h 2501755"/>
                  <a:gd name="connsiteX96" fmla="*/ 542369 w 936181"/>
                  <a:gd name="connsiteY96" fmla="*/ 1112622 h 2501755"/>
                  <a:gd name="connsiteX97" fmla="*/ 534277 w 936181"/>
                  <a:gd name="connsiteY97" fmla="*/ 1109925 h 2501755"/>
                  <a:gd name="connsiteX98" fmla="*/ 539672 w 936181"/>
                  <a:gd name="connsiteY98" fmla="*/ 1123412 h 2501755"/>
                  <a:gd name="connsiteX99" fmla="*/ 547764 w 936181"/>
                  <a:gd name="connsiteY99" fmla="*/ 1128806 h 2501755"/>
                  <a:gd name="connsiteX100" fmla="*/ 550461 w 936181"/>
                  <a:gd name="connsiteY100" fmla="*/ 1136898 h 2501755"/>
                  <a:gd name="connsiteX101" fmla="*/ 561250 w 936181"/>
                  <a:gd name="connsiteY101" fmla="*/ 1158477 h 2501755"/>
                  <a:gd name="connsiteX102" fmla="*/ 563948 w 936181"/>
                  <a:gd name="connsiteY102" fmla="*/ 1188148 h 2501755"/>
                  <a:gd name="connsiteX103" fmla="*/ 555856 w 936181"/>
                  <a:gd name="connsiteY103" fmla="*/ 1193543 h 2501755"/>
                  <a:gd name="connsiteX104" fmla="*/ 520790 w 936181"/>
                  <a:gd name="connsiteY104" fmla="*/ 1207029 h 2501755"/>
                  <a:gd name="connsiteX105" fmla="*/ 523487 w 936181"/>
                  <a:gd name="connsiteY105" fmla="*/ 1225911 h 2501755"/>
                  <a:gd name="connsiteX106" fmla="*/ 534277 w 936181"/>
                  <a:gd name="connsiteY106" fmla="*/ 1231305 h 2501755"/>
                  <a:gd name="connsiteX107" fmla="*/ 536974 w 936181"/>
                  <a:gd name="connsiteY107" fmla="*/ 1239397 h 2501755"/>
                  <a:gd name="connsiteX108" fmla="*/ 528882 w 936181"/>
                  <a:gd name="connsiteY108" fmla="*/ 1242095 h 2501755"/>
                  <a:gd name="connsiteX109" fmla="*/ 528882 w 936181"/>
                  <a:gd name="connsiteY109" fmla="*/ 1266371 h 2501755"/>
                  <a:gd name="connsiteX110" fmla="*/ 534277 w 936181"/>
                  <a:gd name="connsiteY110" fmla="*/ 1274463 h 2501755"/>
                  <a:gd name="connsiteX111" fmla="*/ 515395 w 936181"/>
                  <a:gd name="connsiteY111" fmla="*/ 1285252 h 2501755"/>
                  <a:gd name="connsiteX112" fmla="*/ 520790 w 936181"/>
                  <a:gd name="connsiteY112" fmla="*/ 1296042 h 2501755"/>
                  <a:gd name="connsiteX113" fmla="*/ 523487 w 936181"/>
                  <a:gd name="connsiteY113" fmla="*/ 1331107 h 2501755"/>
                  <a:gd name="connsiteX114" fmla="*/ 528882 w 936181"/>
                  <a:gd name="connsiteY114" fmla="*/ 1347291 h 2501755"/>
                  <a:gd name="connsiteX115" fmla="*/ 507303 w 936181"/>
                  <a:gd name="connsiteY115" fmla="*/ 1355383 h 2501755"/>
                  <a:gd name="connsiteX116" fmla="*/ 518093 w 936181"/>
                  <a:gd name="connsiteY116" fmla="*/ 1379659 h 2501755"/>
                  <a:gd name="connsiteX117" fmla="*/ 520790 w 936181"/>
                  <a:gd name="connsiteY117" fmla="*/ 1387751 h 2501755"/>
                  <a:gd name="connsiteX118" fmla="*/ 526185 w 936181"/>
                  <a:gd name="connsiteY118" fmla="*/ 1409330 h 2501755"/>
                  <a:gd name="connsiteX119" fmla="*/ 520790 w 936181"/>
                  <a:gd name="connsiteY119" fmla="*/ 1441698 h 2501755"/>
                  <a:gd name="connsiteX120" fmla="*/ 515395 w 936181"/>
                  <a:gd name="connsiteY120" fmla="*/ 1468672 h 2501755"/>
                  <a:gd name="connsiteX121" fmla="*/ 520790 w 936181"/>
                  <a:gd name="connsiteY121" fmla="*/ 1476764 h 2501755"/>
                  <a:gd name="connsiteX122" fmla="*/ 534277 w 936181"/>
                  <a:gd name="connsiteY122" fmla="*/ 1487553 h 2501755"/>
                  <a:gd name="connsiteX123" fmla="*/ 536974 w 936181"/>
                  <a:gd name="connsiteY123" fmla="*/ 1506435 h 2501755"/>
                  <a:gd name="connsiteX124" fmla="*/ 542369 w 936181"/>
                  <a:gd name="connsiteY124" fmla="*/ 1514527 h 2501755"/>
                  <a:gd name="connsiteX125" fmla="*/ 545066 w 936181"/>
                  <a:gd name="connsiteY125" fmla="*/ 1522619 h 2501755"/>
                  <a:gd name="connsiteX126" fmla="*/ 558553 w 936181"/>
                  <a:gd name="connsiteY126" fmla="*/ 1519921 h 2501755"/>
                  <a:gd name="connsiteX127" fmla="*/ 569342 w 936181"/>
                  <a:gd name="connsiteY127" fmla="*/ 1528013 h 2501755"/>
                  <a:gd name="connsiteX128" fmla="*/ 582829 w 936181"/>
                  <a:gd name="connsiteY128" fmla="*/ 1533408 h 2501755"/>
                  <a:gd name="connsiteX129" fmla="*/ 590921 w 936181"/>
                  <a:gd name="connsiteY129" fmla="*/ 1541500 h 2501755"/>
                  <a:gd name="connsiteX130" fmla="*/ 601710 w 936181"/>
                  <a:gd name="connsiteY130" fmla="*/ 1544197 h 2501755"/>
                  <a:gd name="connsiteX131" fmla="*/ 612500 w 936181"/>
                  <a:gd name="connsiteY131" fmla="*/ 1549592 h 2501755"/>
                  <a:gd name="connsiteX132" fmla="*/ 623289 w 936181"/>
                  <a:gd name="connsiteY132" fmla="*/ 1581960 h 2501755"/>
                  <a:gd name="connsiteX133" fmla="*/ 631381 w 936181"/>
                  <a:gd name="connsiteY133" fmla="*/ 1576566 h 2501755"/>
                  <a:gd name="connsiteX134" fmla="*/ 642171 w 936181"/>
                  <a:gd name="connsiteY134" fmla="*/ 1557684 h 2501755"/>
                  <a:gd name="connsiteX135" fmla="*/ 644868 w 936181"/>
                  <a:gd name="connsiteY135" fmla="*/ 1565776 h 2501755"/>
                  <a:gd name="connsiteX136" fmla="*/ 655657 w 936181"/>
                  <a:gd name="connsiteY136" fmla="*/ 1581960 h 2501755"/>
                  <a:gd name="connsiteX137" fmla="*/ 658355 w 936181"/>
                  <a:gd name="connsiteY137" fmla="*/ 1606236 h 2501755"/>
                  <a:gd name="connsiteX138" fmla="*/ 690723 w 936181"/>
                  <a:gd name="connsiteY138" fmla="*/ 1614328 h 2501755"/>
                  <a:gd name="connsiteX139" fmla="*/ 696118 w 936181"/>
                  <a:gd name="connsiteY139" fmla="*/ 1622420 h 2501755"/>
                  <a:gd name="connsiteX140" fmla="*/ 698815 w 936181"/>
                  <a:gd name="connsiteY140" fmla="*/ 1630513 h 2501755"/>
                  <a:gd name="connsiteX141" fmla="*/ 704210 w 936181"/>
                  <a:gd name="connsiteY141" fmla="*/ 1665578 h 2501755"/>
                  <a:gd name="connsiteX142" fmla="*/ 690723 w 936181"/>
                  <a:gd name="connsiteY142" fmla="*/ 1684459 h 2501755"/>
                  <a:gd name="connsiteX143" fmla="*/ 688026 w 936181"/>
                  <a:gd name="connsiteY143" fmla="*/ 1695249 h 2501755"/>
                  <a:gd name="connsiteX144" fmla="*/ 685328 w 936181"/>
                  <a:gd name="connsiteY144" fmla="*/ 1714130 h 2501755"/>
                  <a:gd name="connsiteX145" fmla="*/ 677236 w 936181"/>
                  <a:gd name="connsiteY145" fmla="*/ 1716828 h 2501755"/>
                  <a:gd name="connsiteX146" fmla="*/ 661052 w 936181"/>
                  <a:gd name="connsiteY146" fmla="*/ 1719525 h 2501755"/>
                  <a:gd name="connsiteX147" fmla="*/ 655657 w 936181"/>
                  <a:gd name="connsiteY147" fmla="*/ 1727617 h 2501755"/>
                  <a:gd name="connsiteX148" fmla="*/ 625987 w 936181"/>
                  <a:gd name="connsiteY148" fmla="*/ 1738406 h 2501755"/>
                  <a:gd name="connsiteX149" fmla="*/ 623289 w 936181"/>
                  <a:gd name="connsiteY149" fmla="*/ 1757288 h 2501755"/>
                  <a:gd name="connsiteX150" fmla="*/ 601710 w 936181"/>
                  <a:gd name="connsiteY150" fmla="*/ 1754590 h 2501755"/>
                  <a:gd name="connsiteX151" fmla="*/ 596316 w 936181"/>
                  <a:gd name="connsiteY151" fmla="*/ 1741104 h 2501755"/>
                  <a:gd name="connsiteX152" fmla="*/ 601710 w 936181"/>
                  <a:gd name="connsiteY152" fmla="*/ 1724920 h 2501755"/>
                  <a:gd name="connsiteX153" fmla="*/ 582829 w 936181"/>
                  <a:gd name="connsiteY153" fmla="*/ 1700643 h 2501755"/>
                  <a:gd name="connsiteX154" fmla="*/ 580132 w 936181"/>
                  <a:gd name="connsiteY154" fmla="*/ 1719525 h 2501755"/>
                  <a:gd name="connsiteX155" fmla="*/ 574737 w 936181"/>
                  <a:gd name="connsiteY155" fmla="*/ 1727617 h 2501755"/>
                  <a:gd name="connsiteX156" fmla="*/ 558553 w 936181"/>
                  <a:gd name="connsiteY156" fmla="*/ 1724920 h 2501755"/>
                  <a:gd name="connsiteX157" fmla="*/ 501909 w 936181"/>
                  <a:gd name="connsiteY157" fmla="*/ 1735709 h 2501755"/>
                  <a:gd name="connsiteX158" fmla="*/ 488422 w 936181"/>
                  <a:gd name="connsiteY158" fmla="*/ 1746498 h 2501755"/>
                  <a:gd name="connsiteX159" fmla="*/ 464146 w 936181"/>
                  <a:gd name="connsiteY159" fmla="*/ 1751893 h 2501755"/>
                  <a:gd name="connsiteX160" fmla="*/ 453357 w 936181"/>
                  <a:gd name="connsiteY160" fmla="*/ 1754590 h 2501755"/>
                  <a:gd name="connsiteX161" fmla="*/ 499211 w 936181"/>
                  <a:gd name="connsiteY161" fmla="*/ 1751893 h 2501755"/>
                  <a:gd name="connsiteX162" fmla="*/ 507303 w 936181"/>
                  <a:gd name="connsiteY162" fmla="*/ 1757288 h 2501755"/>
                  <a:gd name="connsiteX163" fmla="*/ 523487 w 936181"/>
                  <a:gd name="connsiteY163" fmla="*/ 1762682 h 2501755"/>
                  <a:gd name="connsiteX164" fmla="*/ 531580 w 936181"/>
                  <a:gd name="connsiteY164" fmla="*/ 1743801 h 2501755"/>
                  <a:gd name="connsiteX165" fmla="*/ 539672 w 936181"/>
                  <a:gd name="connsiteY165" fmla="*/ 1738406 h 2501755"/>
                  <a:gd name="connsiteX166" fmla="*/ 555856 w 936181"/>
                  <a:gd name="connsiteY166" fmla="*/ 1759985 h 2501755"/>
                  <a:gd name="connsiteX167" fmla="*/ 566645 w 936181"/>
                  <a:gd name="connsiteY167" fmla="*/ 1778866 h 2501755"/>
                  <a:gd name="connsiteX168" fmla="*/ 582829 w 936181"/>
                  <a:gd name="connsiteY168" fmla="*/ 1773472 h 2501755"/>
                  <a:gd name="connsiteX169" fmla="*/ 588224 w 936181"/>
                  <a:gd name="connsiteY169" fmla="*/ 1765380 h 2501755"/>
                  <a:gd name="connsiteX170" fmla="*/ 636776 w 936181"/>
                  <a:gd name="connsiteY170" fmla="*/ 1754590 h 2501755"/>
                  <a:gd name="connsiteX171" fmla="*/ 650263 w 936181"/>
                  <a:gd name="connsiteY171" fmla="*/ 1730314 h 2501755"/>
                  <a:gd name="connsiteX172" fmla="*/ 658355 w 936181"/>
                  <a:gd name="connsiteY172" fmla="*/ 1727617 h 2501755"/>
                  <a:gd name="connsiteX173" fmla="*/ 671841 w 936181"/>
                  <a:gd name="connsiteY173" fmla="*/ 1733012 h 2501755"/>
                  <a:gd name="connsiteX174" fmla="*/ 679934 w 936181"/>
                  <a:gd name="connsiteY174" fmla="*/ 1735709 h 2501755"/>
                  <a:gd name="connsiteX175" fmla="*/ 682631 w 936181"/>
                  <a:gd name="connsiteY175" fmla="*/ 1743801 h 2501755"/>
                  <a:gd name="connsiteX176" fmla="*/ 671841 w 936181"/>
                  <a:gd name="connsiteY176" fmla="*/ 1746498 h 2501755"/>
                  <a:gd name="connsiteX177" fmla="*/ 655657 w 936181"/>
                  <a:gd name="connsiteY177" fmla="*/ 1759985 h 2501755"/>
                  <a:gd name="connsiteX178" fmla="*/ 658355 w 936181"/>
                  <a:gd name="connsiteY178" fmla="*/ 1786959 h 2501755"/>
                  <a:gd name="connsiteX179" fmla="*/ 644868 w 936181"/>
                  <a:gd name="connsiteY179" fmla="*/ 1795051 h 2501755"/>
                  <a:gd name="connsiteX180" fmla="*/ 650263 w 936181"/>
                  <a:gd name="connsiteY180" fmla="*/ 1803143 h 2501755"/>
                  <a:gd name="connsiteX181" fmla="*/ 642171 w 936181"/>
                  <a:gd name="connsiteY181" fmla="*/ 1827419 h 2501755"/>
                  <a:gd name="connsiteX182" fmla="*/ 636537 w 936181"/>
                  <a:gd name="connsiteY182" fmla="*/ 1847018 h 2501755"/>
                  <a:gd name="connsiteX183" fmla="*/ 628684 w 936181"/>
                  <a:gd name="connsiteY183" fmla="*/ 1840905 h 2501755"/>
                  <a:gd name="connsiteX184" fmla="*/ 617895 w 936181"/>
                  <a:gd name="connsiteY184" fmla="*/ 1811235 h 2501755"/>
                  <a:gd name="connsiteX185" fmla="*/ 607105 w 936181"/>
                  <a:gd name="connsiteY185" fmla="*/ 1805840 h 2501755"/>
                  <a:gd name="connsiteX186" fmla="*/ 593618 w 936181"/>
                  <a:gd name="connsiteY186" fmla="*/ 1843603 h 2501755"/>
                  <a:gd name="connsiteX187" fmla="*/ 585526 w 936181"/>
                  <a:gd name="connsiteY187" fmla="*/ 1846300 h 2501755"/>
                  <a:gd name="connsiteX188" fmla="*/ 582829 w 936181"/>
                  <a:gd name="connsiteY188" fmla="*/ 1862484 h 2501755"/>
                  <a:gd name="connsiteX189" fmla="*/ 580132 w 936181"/>
                  <a:gd name="connsiteY189" fmla="*/ 1870576 h 2501755"/>
                  <a:gd name="connsiteX190" fmla="*/ 572040 w 936181"/>
                  <a:gd name="connsiteY190" fmla="*/ 1878668 h 2501755"/>
                  <a:gd name="connsiteX191" fmla="*/ 563948 w 936181"/>
                  <a:gd name="connsiteY191" fmla="*/ 1881366 h 2501755"/>
                  <a:gd name="connsiteX192" fmla="*/ 520790 w 936181"/>
                  <a:gd name="connsiteY192" fmla="*/ 1884063 h 2501755"/>
                  <a:gd name="connsiteX193" fmla="*/ 472238 w 936181"/>
                  <a:gd name="connsiteY193" fmla="*/ 1892155 h 2501755"/>
                  <a:gd name="connsiteX194" fmla="*/ 488422 w 936181"/>
                  <a:gd name="connsiteY194" fmla="*/ 1886760 h 2501755"/>
                  <a:gd name="connsiteX195" fmla="*/ 539672 w 936181"/>
                  <a:gd name="connsiteY195" fmla="*/ 1916431 h 2501755"/>
                  <a:gd name="connsiteX196" fmla="*/ 542369 w 936181"/>
                  <a:gd name="connsiteY196" fmla="*/ 1924523 h 2501755"/>
                  <a:gd name="connsiteX197" fmla="*/ 523487 w 936181"/>
                  <a:gd name="connsiteY197" fmla="*/ 1927220 h 2501755"/>
                  <a:gd name="connsiteX198" fmla="*/ 512698 w 936181"/>
                  <a:gd name="connsiteY198" fmla="*/ 1943405 h 2501755"/>
                  <a:gd name="connsiteX199" fmla="*/ 523487 w 936181"/>
                  <a:gd name="connsiteY199" fmla="*/ 1948799 h 2501755"/>
                  <a:gd name="connsiteX200" fmla="*/ 526185 w 936181"/>
                  <a:gd name="connsiteY200" fmla="*/ 1956891 h 2501755"/>
                  <a:gd name="connsiteX201" fmla="*/ 536974 w 936181"/>
                  <a:gd name="connsiteY201" fmla="*/ 1962286 h 2501755"/>
                  <a:gd name="connsiteX202" fmla="*/ 534277 w 936181"/>
                  <a:gd name="connsiteY202" fmla="*/ 1970378 h 2501755"/>
                  <a:gd name="connsiteX203" fmla="*/ 523487 w 936181"/>
                  <a:gd name="connsiteY203" fmla="*/ 2000049 h 2501755"/>
                  <a:gd name="connsiteX204" fmla="*/ 515395 w 936181"/>
                  <a:gd name="connsiteY204" fmla="*/ 2005443 h 2501755"/>
                  <a:gd name="connsiteX205" fmla="*/ 523487 w 936181"/>
                  <a:gd name="connsiteY205" fmla="*/ 2010838 h 2501755"/>
                  <a:gd name="connsiteX206" fmla="*/ 545066 w 936181"/>
                  <a:gd name="connsiteY206" fmla="*/ 2018930 h 2501755"/>
                  <a:gd name="connsiteX207" fmla="*/ 553158 w 936181"/>
                  <a:gd name="connsiteY207" fmla="*/ 2016233 h 2501755"/>
                  <a:gd name="connsiteX208" fmla="*/ 539672 w 936181"/>
                  <a:gd name="connsiteY208" fmla="*/ 2027022 h 2501755"/>
                  <a:gd name="connsiteX209" fmla="*/ 534277 w 936181"/>
                  <a:gd name="connsiteY209" fmla="*/ 2043206 h 2501755"/>
                  <a:gd name="connsiteX210" fmla="*/ 542369 w 936181"/>
                  <a:gd name="connsiteY210" fmla="*/ 2067482 h 2501755"/>
                  <a:gd name="connsiteX211" fmla="*/ 536974 w 936181"/>
                  <a:gd name="connsiteY211" fmla="*/ 2075574 h 2501755"/>
                  <a:gd name="connsiteX212" fmla="*/ 539672 w 936181"/>
                  <a:gd name="connsiteY212" fmla="*/ 2089061 h 2501755"/>
                  <a:gd name="connsiteX213" fmla="*/ 545066 w 936181"/>
                  <a:gd name="connsiteY213" fmla="*/ 2105245 h 2501755"/>
                  <a:gd name="connsiteX214" fmla="*/ 531580 w 936181"/>
                  <a:gd name="connsiteY214" fmla="*/ 2116035 h 2501755"/>
                  <a:gd name="connsiteX215" fmla="*/ 528882 w 936181"/>
                  <a:gd name="connsiteY215" fmla="*/ 2126824 h 2501755"/>
                  <a:gd name="connsiteX216" fmla="*/ 510001 w 936181"/>
                  <a:gd name="connsiteY216" fmla="*/ 2132219 h 2501755"/>
                  <a:gd name="connsiteX217" fmla="*/ 515395 w 936181"/>
                  <a:gd name="connsiteY217" fmla="*/ 2143008 h 2501755"/>
                  <a:gd name="connsiteX218" fmla="*/ 520790 w 936181"/>
                  <a:gd name="connsiteY218" fmla="*/ 2153797 h 2501755"/>
                  <a:gd name="connsiteX219" fmla="*/ 523487 w 936181"/>
                  <a:gd name="connsiteY219" fmla="*/ 2161890 h 2501755"/>
                  <a:gd name="connsiteX220" fmla="*/ 542369 w 936181"/>
                  <a:gd name="connsiteY220" fmla="*/ 2167284 h 2501755"/>
                  <a:gd name="connsiteX221" fmla="*/ 531580 w 936181"/>
                  <a:gd name="connsiteY221" fmla="*/ 2175376 h 2501755"/>
                  <a:gd name="connsiteX222" fmla="*/ 515395 w 936181"/>
                  <a:gd name="connsiteY222" fmla="*/ 2215836 h 2501755"/>
                  <a:gd name="connsiteX223" fmla="*/ 518093 w 936181"/>
                  <a:gd name="connsiteY223" fmla="*/ 2223928 h 2501755"/>
                  <a:gd name="connsiteX224" fmla="*/ 542369 w 936181"/>
                  <a:gd name="connsiteY224" fmla="*/ 2207744 h 2501755"/>
                  <a:gd name="connsiteX225" fmla="*/ 545066 w 936181"/>
                  <a:gd name="connsiteY225" fmla="*/ 2188863 h 2501755"/>
                  <a:gd name="connsiteX226" fmla="*/ 550461 w 936181"/>
                  <a:gd name="connsiteY226" fmla="*/ 2172679 h 2501755"/>
                  <a:gd name="connsiteX227" fmla="*/ 553158 w 936181"/>
                  <a:gd name="connsiteY227" fmla="*/ 2151100 h 2501755"/>
                  <a:gd name="connsiteX228" fmla="*/ 563948 w 936181"/>
                  <a:gd name="connsiteY228" fmla="*/ 2134916 h 2501755"/>
                  <a:gd name="connsiteX229" fmla="*/ 569342 w 936181"/>
                  <a:gd name="connsiteY229" fmla="*/ 2126824 h 2501755"/>
                  <a:gd name="connsiteX230" fmla="*/ 577434 w 936181"/>
                  <a:gd name="connsiteY230" fmla="*/ 2134916 h 2501755"/>
                  <a:gd name="connsiteX231" fmla="*/ 574737 w 936181"/>
                  <a:gd name="connsiteY231" fmla="*/ 2143008 h 2501755"/>
                  <a:gd name="connsiteX232" fmla="*/ 566645 w 936181"/>
                  <a:gd name="connsiteY232" fmla="*/ 2175376 h 2501755"/>
                  <a:gd name="connsiteX233" fmla="*/ 561250 w 936181"/>
                  <a:gd name="connsiteY233" fmla="*/ 2196955 h 2501755"/>
                  <a:gd name="connsiteX234" fmla="*/ 558553 w 936181"/>
                  <a:gd name="connsiteY234" fmla="*/ 2213139 h 2501755"/>
                  <a:gd name="connsiteX235" fmla="*/ 553158 w 936181"/>
                  <a:gd name="connsiteY235" fmla="*/ 2232020 h 2501755"/>
                  <a:gd name="connsiteX236" fmla="*/ 547764 w 936181"/>
                  <a:gd name="connsiteY236" fmla="*/ 2299454 h 2501755"/>
                  <a:gd name="connsiteX237" fmla="*/ 545066 w 936181"/>
                  <a:gd name="connsiteY237" fmla="*/ 2318336 h 2501755"/>
                  <a:gd name="connsiteX238" fmla="*/ 536974 w 936181"/>
                  <a:gd name="connsiteY238" fmla="*/ 2323730 h 2501755"/>
                  <a:gd name="connsiteX239" fmla="*/ 528882 w 936181"/>
                  <a:gd name="connsiteY239" fmla="*/ 2331822 h 2501755"/>
                  <a:gd name="connsiteX240" fmla="*/ 520790 w 936181"/>
                  <a:gd name="connsiteY240" fmla="*/ 2318336 h 2501755"/>
                  <a:gd name="connsiteX241" fmla="*/ 520790 w 936181"/>
                  <a:gd name="connsiteY241" fmla="*/ 2277875 h 2501755"/>
                  <a:gd name="connsiteX242" fmla="*/ 526185 w 936181"/>
                  <a:gd name="connsiteY242" fmla="*/ 2261691 h 2501755"/>
                  <a:gd name="connsiteX243" fmla="*/ 527294 w 936181"/>
                  <a:gd name="connsiteY243" fmla="*/ 2225502 h 2501755"/>
                  <a:gd name="connsiteX244" fmla="*/ 520790 w 936181"/>
                  <a:gd name="connsiteY244" fmla="*/ 2258994 h 2501755"/>
                  <a:gd name="connsiteX245" fmla="*/ 507303 w 936181"/>
                  <a:gd name="connsiteY245" fmla="*/ 2264389 h 2501755"/>
                  <a:gd name="connsiteX246" fmla="*/ 501909 w 936181"/>
                  <a:gd name="connsiteY246" fmla="*/ 2272481 h 2501755"/>
                  <a:gd name="connsiteX247" fmla="*/ 496514 w 936181"/>
                  <a:gd name="connsiteY247" fmla="*/ 2321033 h 2501755"/>
                  <a:gd name="connsiteX248" fmla="*/ 491119 w 936181"/>
                  <a:gd name="connsiteY248" fmla="*/ 2337217 h 2501755"/>
                  <a:gd name="connsiteX249" fmla="*/ 480330 w 936181"/>
                  <a:gd name="connsiteY249" fmla="*/ 2345309 h 2501755"/>
                  <a:gd name="connsiteX250" fmla="*/ 437172 w 936181"/>
                  <a:gd name="connsiteY250" fmla="*/ 2342612 h 2501755"/>
                  <a:gd name="connsiteX251" fmla="*/ 434475 w 936181"/>
                  <a:gd name="connsiteY251" fmla="*/ 2356098 h 2501755"/>
                  <a:gd name="connsiteX252" fmla="*/ 426383 w 936181"/>
                  <a:gd name="connsiteY252" fmla="*/ 2364190 h 2501755"/>
                  <a:gd name="connsiteX253" fmla="*/ 404804 w 936181"/>
                  <a:gd name="connsiteY253" fmla="*/ 2361493 h 2501755"/>
                  <a:gd name="connsiteX254" fmla="*/ 396712 w 936181"/>
                  <a:gd name="connsiteY254" fmla="*/ 2356098 h 2501755"/>
                  <a:gd name="connsiteX255" fmla="*/ 377831 w 936181"/>
                  <a:gd name="connsiteY255" fmla="*/ 2361493 h 2501755"/>
                  <a:gd name="connsiteX256" fmla="*/ 380528 w 936181"/>
                  <a:gd name="connsiteY256" fmla="*/ 2377677 h 2501755"/>
                  <a:gd name="connsiteX257" fmla="*/ 377831 w 936181"/>
                  <a:gd name="connsiteY257" fmla="*/ 2388466 h 2501755"/>
                  <a:gd name="connsiteX258" fmla="*/ 334673 w 936181"/>
                  <a:gd name="connsiteY258" fmla="*/ 2396559 h 2501755"/>
                  <a:gd name="connsiteX259" fmla="*/ 331976 w 936181"/>
                  <a:gd name="connsiteY259" fmla="*/ 2410045 h 2501755"/>
                  <a:gd name="connsiteX260" fmla="*/ 326581 w 936181"/>
                  <a:gd name="connsiteY260" fmla="*/ 2423532 h 2501755"/>
                  <a:gd name="connsiteX261" fmla="*/ 329279 w 936181"/>
                  <a:gd name="connsiteY261" fmla="*/ 2437019 h 2501755"/>
                  <a:gd name="connsiteX262" fmla="*/ 334673 w 936181"/>
                  <a:gd name="connsiteY262" fmla="*/ 2455900 h 2501755"/>
                  <a:gd name="connsiteX263" fmla="*/ 342765 w 936181"/>
                  <a:gd name="connsiteY263" fmla="*/ 2463992 h 2501755"/>
                  <a:gd name="connsiteX264" fmla="*/ 331976 w 936181"/>
                  <a:gd name="connsiteY264" fmla="*/ 2485571 h 2501755"/>
                  <a:gd name="connsiteX265" fmla="*/ 318489 w 936181"/>
                  <a:gd name="connsiteY265" fmla="*/ 2488268 h 2501755"/>
                  <a:gd name="connsiteX266" fmla="*/ 302305 w 936181"/>
                  <a:gd name="connsiteY266" fmla="*/ 2490966 h 2501755"/>
                  <a:gd name="connsiteX267" fmla="*/ 269937 w 936181"/>
                  <a:gd name="connsiteY267" fmla="*/ 2488268 h 2501755"/>
                  <a:gd name="connsiteX268" fmla="*/ 253753 w 936181"/>
                  <a:gd name="connsiteY268" fmla="*/ 2499058 h 2501755"/>
                  <a:gd name="connsiteX269" fmla="*/ 207898 w 936181"/>
                  <a:gd name="connsiteY269" fmla="*/ 2501755 h 2501755"/>
                  <a:gd name="connsiteX270" fmla="*/ 197109 w 936181"/>
                  <a:gd name="connsiteY270" fmla="*/ 2496360 h 2501755"/>
                  <a:gd name="connsiteX271" fmla="*/ 194411 w 936181"/>
                  <a:gd name="connsiteY271" fmla="*/ 2488268 h 2501755"/>
                  <a:gd name="connsiteX272" fmla="*/ 202503 w 936181"/>
                  <a:gd name="connsiteY272" fmla="*/ 2428927 h 2501755"/>
                  <a:gd name="connsiteX273" fmla="*/ 199806 w 936181"/>
                  <a:gd name="connsiteY273" fmla="*/ 2420835 h 2501755"/>
                  <a:gd name="connsiteX274" fmla="*/ 197109 w 936181"/>
                  <a:gd name="connsiteY274" fmla="*/ 2410045 h 2501755"/>
                  <a:gd name="connsiteX275" fmla="*/ 175530 w 936181"/>
                  <a:gd name="connsiteY275" fmla="*/ 2399256 h 2501755"/>
                  <a:gd name="connsiteX276" fmla="*/ 162043 w 936181"/>
                  <a:gd name="connsiteY276" fmla="*/ 2388466 h 2501755"/>
                  <a:gd name="connsiteX277" fmla="*/ 153951 w 936181"/>
                  <a:gd name="connsiteY277" fmla="*/ 2374980 h 2501755"/>
                  <a:gd name="connsiteX278" fmla="*/ 140464 w 936181"/>
                  <a:gd name="connsiteY278" fmla="*/ 2348006 h 2501755"/>
                  <a:gd name="connsiteX279" fmla="*/ 153951 w 936181"/>
                  <a:gd name="connsiteY279" fmla="*/ 2342612 h 2501755"/>
                  <a:gd name="connsiteX280" fmla="*/ 167438 w 936181"/>
                  <a:gd name="connsiteY280" fmla="*/ 2345309 h 2501755"/>
                  <a:gd name="connsiteX281" fmla="*/ 159346 w 936181"/>
                  <a:gd name="connsiteY281" fmla="*/ 2315638 h 2501755"/>
                  <a:gd name="connsiteX282" fmla="*/ 156649 w 936181"/>
                  <a:gd name="connsiteY282" fmla="*/ 2304849 h 2501755"/>
                  <a:gd name="connsiteX283" fmla="*/ 175530 w 936181"/>
                  <a:gd name="connsiteY283" fmla="*/ 2307546 h 2501755"/>
                  <a:gd name="connsiteX284" fmla="*/ 183622 w 936181"/>
                  <a:gd name="connsiteY284" fmla="*/ 2291362 h 2501755"/>
                  <a:gd name="connsiteX285" fmla="*/ 156649 w 936181"/>
                  <a:gd name="connsiteY285" fmla="*/ 2277875 h 2501755"/>
                  <a:gd name="connsiteX286" fmla="*/ 159346 w 936181"/>
                  <a:gd name="connsiteY286" fmla="*/ 2267086 h 2501755"/>
                  <a:gd name="connsiteX287" fmla="*/ 151254 w 936181"/>
                  <a:gd name="connsiteY287" fmla="*/ 2248205 h 2501755"/>
                  <a:gd name="connsiteX288" fmla="*/ 132372 w 936181"/>
                  <a:gd name="connsiteY288" fmla="*/ 2229323 h 2501755"/>
                  <a:gd name="connsiteX289" fmla="*/ 121583 w 936181"/>
                  <a:gd name="connsiteY289" fmla="*/ 2218534 h 2501755"/>
                  <a:gd name="connsiteX290" fmla="*/ 113491 w 936181"/>
                  <a:gd name="connsiteY290" fmla="*/ 2202350 h 2501755"/>
                  <a:gd name="connsiteX291" fmla="*/ 110794 w 936181"/>
                  <a:gd name="connsiteY291" fmla="*/ 2178074 h 2501755"/>
                  <a:gd name="connsiteX292" fmla="*/ 102702 w 936181"/>
                  <a:gd name="connsiteY292" fmla="*/ 2175376 h 2501755"/>
                  <a:gd name="connsiteX293" fmla="*/ 100004 w 936181"/>
                  <a:gd name="connsiteY293" fmla="*/ 2164587 h 2501755"/>
                  <a:gd name="connsiteX294" fmla="*/ 81123 w 936181"/>
                  <a:gd name="connsiteY294" fmla="*/ 2140311 h 2501755"/>
                  <a:gd name="connsiteX295" fmla="*/ 94610 w 936181"/>
                  <a:gd name="connsiteY295" fmla="*/ 2132219 h 2501755"/>
                  <a:gd name="connsiteX296" fmla="*/ 81123 w 936181"/>
                  <a:gd name="connsiteY296" fmla="*/ 2110640 h 2501755"/>
                  <a:gd name="connsiteX297" fmla="*/ 62241 w 936181"/>
                  <a:gd name="connsiteY297" fmla="*/ 2091759 h 2501755"/>
                  <a:gd name="connsiteX298" fmla="*/ 54149 w 936181"/>
                  <a:gd name="connsiteY298" fmla="*/ 2089061 h 2501755"/>
                  <a:gd name="connsiteX299" fmla="*/ 56847 w 936181"/>
                  <a:gd name="connsiteY299" fmla="*/ 2067482 h 2501755"/>
                  <a:gd name="connsiteX300" fmla="*/ 56847 w 936181"/>
                  <a:gd name="connsiteY300" fmla="*/ 2043206 h 2501755"/>
                  <a:gd name="connsiteX301" fmla="*/ 46057 w 936181"/>
                  <a:gd name="connsiteY301" fmla="*/ 2040509 h 2501755"/>
                  <a:gd name="connsiteX302" fmla="*/ 37965 w 936181"/>
                  <a:gd name="connsiteY302" fmla="*/ 2037812 h 2501755"/>
                  <a:gd name="connsiteX303" fmla="*/ 32571 w 936181"/>
                  <a:gd name="connsiteY303" fmla="*/ 2027022 h 2501755"/>
                  <a:gd name="connsiteX304" fmla="*/ 35268 w 936181"/>
                  <a:gd name="connsiteY304" fmla="*/ 2018930 h 2501755"/>
                  <a:gd name="connsiteX305" fmla="*/ 48755 w 936181"/>
                  <a:gd name="connsiteY305" fmla="*/ 2024325 h 2501755"/>
                  <a:gd name="connsiteX306" fmla="*/ 59544 w 936181"/>
                  <a:gd name="connsiteY306" fmla="*/ 2045904 h 2501755"/>
                  <a:gd name="connsiteX307" fmla="*/ 70334 w 936181"/>
                  <a:gd name="connsiteY307" fmla="*/ 2043206 h 2501755"/>
                  <a:gd name="connsiteX308" fmla="*/ 64939 w 936181"/>
                  <a:gd name="connsiteY308" fmla="*/ 2000049 h 2501755"/>
                  <a:gd name="connsiteX309" fmla="*/ 67636 w 936181"/>
                  <a:gd name="connsiteY309" fmla="*/ 1991957 h 2501755"/>
                  <a:gd name="connsiteX310" fmla="*/ 56847 w 936181"/>
                  <a:gd name="connsiteY310" fmla="*/ 1981167 h 2501755"/>
                  <a:gd name="connsiteX311" fmla="*/ 32571 w 936181"/>
                  <a:gd name="connsiteY311" fmla="*/ 1986562 h 2501755"/>
                  <a:gd name="connsiteX312" fmla="*/ 24479 w 936181"/>
                  <a:gd name="connsiteY312" fmla="*/ 1991957 h 2501755"/>
                  <a:gd name="connsiteX313" fmla="*/ 16387 w 936181"/>
                  <a:gd name="connsiteY313" fmla="*/ 1970378 h 2501755"/>
                  <a:gd name="connsiteX314" fmla="*/ 5597 w 936181"/>
                  <a:gd name="connsiteY314" fmla="*/ 1954194 h 2501755"/>
                  <a:gd name="connsiteX315" fmla="*/ 13689 w 936181"/>
                  <a:gd name="connsiteY315" fmla="*/ 1940707 h 2501755"/>
                  <a:gd name="connsiteX316" fmla="*/ 19084 w 936181"/>
                  <a:gd name="connsiteY316" fmla="*/ 1924523 h 2501755"/>
                  <a:gd name="connsiteX317" fmla="*/ 8295 w 936181"/>
                  <a:gd name="connsiteY317" fmla="*/ 1921826 h 2501755"/>
                  <a:gd name="connsiteX318" fmla="*/ 2900 w 936181"/>
                  <a:gd name="connsiteY318" fmla="*/ 1857090 h 2501755"/>
                  <a:gd name="connsiteX319" fmla="*/ 16387 w 936181"/>
                  <a:gd name="connsiteY319" fmla="*/ 1854392 h 2501755"/>
                  <a:gd name="connsiteX320" fmla="*/ 19084 w 936181"/>
                  <a:gd name="connsiteY320" fmla="*/ 1846300 h 2501755"/>
                  <a:gd name="connsiteX321" fmla="*/ 2900 w 936181"/>
                  <a:gd name="connsiteY321" fmla="*/ 1846300 h 2501755"/>
                  <a:gd name="connsiteX322" fmla="*/ 16387 w 936181"/>
                  <a:gd name="connsiteY322" fmla="*/ 1851695 h 2501755"/>
                  <a:gd name="connsiteX323" fmla="*/ 29873 w 936181"/>
                  <a:gd name="connsiteY323" fmla="*/ 1867879 h 2501755"/>
                  <a:gd name="connsiteX324" fmla="*/ 40663 w 936181"/>
                  <a:gd name="connsiteY324" fmla="*/ 1870576 h 2501755"/>
                  <a:gd name="connsiteX325" fmla="*/ 56847 w 936181"/>
                  <a:gd name="connsiteY325" fmla="*/ 1859787 h 2501755"/>
                  <a:gd name="connsiteX326" fmla="*/ 48755 w 936181"/>
                  <a:gd name="connsiteY326" fmla="*/ 1773472 h 2501755"/>
                  <a:gd name="connsiteX327" fmla="*/ 56847 w 936181"/>
                  <a:gd name="connsiteY327" fmla="*/ 1735709 h 2501755"/>
                  <a:gd name="connsiteX328" fmla="*/ 64939 w 936181"/>
                  <a:gd name="connsiteY328" fmla="*/ 1733012 h 2501755"/>
                  <a:gd name="connsiteX329" fmla="*/ 67636 w 936181"/>
                  <a:gd name="connsiteY329" fmla="*/ 1724920 h 2501755"/>
                  <a:gd name="connsiteX330" fmla="*/ 64939 w 936181"/>
                  <a:gd name="connsiteY330" fmla="*/ 1714130 h 2501755"/>
                  <a:gd name="connsiteX331" fmla="*/ 70334 w 936181"/>
                  <a:gd name="connsiteY331" fmla="*/ 1689854 h 2501755"/>
                  <a:gd name="connsiteX332" fmla="*/ 100004 w 936181"/>
                  <a:gd name="connsiteY332" fmla="*/ 1684459 h 2501755"/>
                  <a:gd name="connsiteX333" fmla="*/ 108096 w 936181"/>
                  <a:gd name="connsiteY333" fmla="*/ 1676367 h 2501755"/>
                  <a:gd name="connsiteX334" fmla="*/ 110794 w 936181"/>
                  <a:gd name="connsiteY334" fmla="*/ 1662881 h 2501755"/>
                  <a:gd name="connsiteX335" fmla="*/ 116188 w 936181"/>
                  <a:gd name="connsiteY335" fmla="*/ 1643999 h 2501755"/>
                  <a:gd name="connsiteX336" fmla="*/ 118886 w 936181"/>
                  <a:gd name="connsiteY336" fmla="*/ 1617026 h 2501755"/>
                  <a:gd name="connsiteX337" fmla="*/ 126978 w 936181"/>
                  <a:gd name="connsiteY337" fmla="*/ 1603539 h 2501755"/>
                  <a:gd name="connsiteX338" fmla="*/ 129675 w 936181"/>
                  <a:gd name="connsiteY338" fmla="*/ 1595447 h 2501755"/>
                  <a:gd name="connsiteX339" fmla="*/ 105399 w 936181"/>
                  <a:gd name="connsiteY339" fmla="*/ 1563079 h 2501755"/>
                  <a:gd name="connsiteX340" fmla="*/ 102702 w 936181"/>
                  <a:gd name="connsiteY340" fmla="*/ 1533408 h 2501755"/>
                  <a:gd name="connsiteX341" fmla="*/ 100004 w 936181"/>
                  <a:gd name="connsiteY341" fmla="*/ 1511829 h 2501755"/>
                  <a:gd name="connsiteX342" fmla="*/ 91912 w 936181"/>
                  <a:gd name="connsiteY342" fmla="*/ 1501040 h 2501755"/>
                  <a:gd name="connsiteX343" fmla="*/ 100004 w 936181"/>
                  <a:gd name="connsiteY343" fmla="*/ 1495645 h 2501755"/>
                  <a:gd name="connsiteX344" fmla="*/ 121583 w 936181"/>
                  <a:gd name="connsiteY344" fmla="*/ 1490251 h 2501755"/>
                  <a:gd name="connsiteX345" fmla="*/ 129675 w 936181"/>
                  <a:gd name="connsiteY345" fmla="*/ 1487553 h 2501755"/>
                  <a:gd name="connsiteX346" fmla="*/ 135070 w 936181"/>
                  <a:gd name="connsiteY346" fmla="*/ 1479461 h 2501755"/>
                  <a:gd name="connsiteX347" fmla="*/ 135070 w 936181"/>
                  <a:gd name="connsiteY347" fmla="*/ 1417422 h 2501755"/>
                  <a:gd name="connsiteX348" fmla="*/ 129675 w 936181"/>
                  <a:gd name="connsiteY348" fmla="*/ 1409330 h 2501755"/>
                  <a:gd name="connsiteX349" fmla="*/ 110794 w 936181"/>
                  <a:gd name="connsiteY349" fmla="*/ 1385054 h 2501755"/>
                  <a:gd name="connsiteX350" fmla="*/ 94610 w 936181"/>
                  <a:gd name="connsiteY350" fmla="*/ 1371567 h 2501755"/>
                  <a:gd name="connsiteX351" fmla="*/ 83820 w 936181"/>
                  <a:gd name="connsiteY351" fmla="*/ 1358081 h 2501755"/>
                  <a:gd name="connsiteX352" fmla="*/ 81123 w 936181"/>
                  <a:gd name="connsiteY352" fmla="*/ 1263674 h 2501755"/>
                  <a:gd name="connsiteX353" fmla="*/ 70334 w 936181"/>
                  <a:gd name="connsiteY353" fmla="*/ 1247490 h 2501755"/>
                  <a:gd name="connsiteX354" fmla="*/ 59544 w 936181"/>
                  <a:gd name="connsiteY354" fmla="*/ 1204332 h 2501755"/>
                  <a:gd name="connsiteX355" fmla="*/ 56847 w 936181"/>
                  <a:gd name="connsiteY355" fmla="*/ 1153082 h 2501755"/>
                  <a:gd name="connsiteX356" fmla="*/ 73031 w 936181"/>
                  <a:gd name="connsiteY356" fmla="*/ 1144990 h 2501755"/>
                  <a:gd name="connsiteX357" fmla="*/ 51452 w 936181"/>
                  <a:gd name="connsiteY357" fmla="*/ 1118017 h 2501755"/>
                  <a:gd name="connsiteX358" fmla="*/ 40663 w 936181"/>
                  <a:gd name="connsiteY358" fmla="*/ 1109925 h 2501755"/>
                  <a:gd name="connsiteX359" fmla="*/ 37965 w 936181"/>
                  <a:gd name="connsiteY359" fmla="*/ 1099136 h 2501755"/>
                  <a:gd name="connsiteX360" fmla="*/ 40663 w 936181"/>
                  <a:gd name="connsiteY360" fmla="*/ 1074859 h 2501755"/>
                  <a:gd name="connsiteX361" fmla="*/ 59544 w 936181"/>
                  <a:gd name="connsiteY361" fmla="*/ 1050583 h 2501755"/>
                  <a:gd name="connsiteX362" fmla="*/ 64939 w 936181"/>
                  <a:gd name="connsiteY362" fmla="*/ 1039794 h 2501755"/>
                  <a:gd name="connsiteX363" fmla="*/ 73031 w 936181"/>
                  <a:gd name="connsiteY363" fmla="*/ 1026307 h 2501755"/>
                  <a:gd name="connsiteX364" fmla="*/ 83820 w 936181"/>
                  <a:gd name="connsiteY364" fmla="*/ 1010123 h 2501755"/>
                  <a:gd name="connsiteX365" fmla="*/ 86518 w 936181"/>
                  <a:gd name="connsiteY365" fmla="*/ 993939 h 2501755"/>
                  <a:gd name="connsiteX366" fmla="*/ 97307 w 936181"/>
                  <a:gd name="connsiteY366" fmla="*/ 988544 h 2501755"/>
                  <a:gd name="connsiteX367" fmla="*/ 113491 w 936181"/>
                  <a:gd name="connsiteY367" fmla="*/ 980452 h 2501755"/>
                  <a:gd name="connsiteX368" fmla="*/ 124280 w 936181"/>
                  <a:gd name="connsiteY368" fmla="*/ 966966 h 2501755"/>
                  <a:gd name="connsiteX369" fmla="*/ 129675 w 936181"/>
                  <a:gd name="connsiteY369" fmla="*/ 956176 h 2501755"/>
                  <a:gd name="connsiteX370" fmla="*/ 145859 w 936181"/>
                  <a:gd name="connsiteY370" fmla="*/ 942690 h 2501755"/>
                  <a:gd name="connsiteX371" fmla="*/ 156649 w 936181"/>
                  <a:gd name="connsiteY371" fmla="*/ 934597 h 2501755"/>
                  <a:gd name="connsiteX372" fmla="*/ 162043 w 936181"/>
                  <a:gd name="connsiteY372" fmla="*/ 942690 h 2501755"/>
                  <a:gd name="connsiteX373" fmla="*/ 164741 w 936181"/>
                  <a:gd name="connsiteY373" fmla="*/ 950782 h 2501755"/>
                  <a:gd name="connsiteX374" fmla="*/ 178227 w 936181"/>
                  <a:gd name="connsiteY374" fmla="*/ 961571 h 2501755"/>
                  <a:gd name="connsiteX375" fmla="*/ 202503 w 936181"/>
                  <a:gd name="connsiteY375" fmla="*/ 945387 h 2501755"/>
                  <a:gd name="connsiteX376" fmla="*/ 205201 w 936181"/>
                  <a:gd name="connsiteY376" fmla="*/ 923808 h 2501755"/>
                  <a:gd name="connsiteX377" fmla="*/ 210595 w 936181"/>
                  <a:gd name="connsiteY377" fmla="*/ 899532 h 2501755"/>
                  <a:gd name="connsiteX378" fmla="*/ 205201 w 936181"/>
                  <a:gd name="connsiteY378" fmla="*/ 861769 h 2501755"/>
                  <a:gd name="connsiteX379" fmla="*/ 183622 w 936181"/>
                  <a:gd name="connsiteY379" fmla="*/ 859072 h 2501755"/>
                  <a:gd name="connsiteX380" fmla="*/ 194411 w 936181"/>
                  <a:gd name="connsiteY380" fmla="*/ 834796 h 2501755"/>
                  <a:gd name="connsiteX381" fmla="*/ 205201 w 936181"/>
                  <a:gd name="connsiteY381" fmla="*/ 810520 h 2501755"/>
                  <a:gd name="connsiteX382" fmla="*/ 210595 w 936181"/>
                  <a:gd name="connsiteY382" fmla="*/ 770059 h 2501755"/>
                  <a:gd name="connsiteX383" fmla="*/ 215990 w 936181"/>
                  <a:gd name="connsiteY383" fmla="*/ 761967 h 2501755"/>
                  <a:gd name="connsiteX384" fmla="*/ 229477 w 936181"/>
                  <a:gd name="connsiteY384" fmla="*/ 726902 h 2501755"/>
                  <a:gd name="connsiteX385" fmla="*/ 237569 w 936181"/>
                  <a:gd name="connsiteY385" fmla="*/ 697231 h 2501755"/>
                  <a:gd name="connsiteX386" fmla="*/ 240266 w 936181"/>
                  <a:gd name="connsiteY386" fmla="*/ 689139 h 2501755"/>
                  <a:gd name="connsiteX387" fmla="*/ 229477 w 936181"/>
                  <a:gd name="connsiteY387" fmla="*/ 672955 h 2501755"/>
                  <a:gd name="connsiteX388" fmla="*/ 232174 w 936181"/>
                  <a:gd name="connsiteY388" fmla="*/ 659468 h 2501755"/>
                  <a:gd name="connsiteX389" fmla="*/ 234872 w 936181"/>
                  <a:gd name="connsiteY389" fmla="*/ 651376 h 2501755"/>
                  <a:gd name="connsiteX390" fmla="*/ 237569 w 936181"/>
                  <a:gd name="connsiteY390" fmla="*/ 637890 h 2501755"/>
                  <a:gd name="connsiteX391" fmla="*/ 234872 w 936181"/>
                  <a:gd name="connsiteY391" fmla="*/ 586640 h 2501755"/>
                  <a:gd name="connsiteX392" fmla="*/ 229477 w 936181"/>
                  <a:gd name="connsiteY392" fmla="*/ 575851 h 2501755"/>
                  <a:gd name="connsiteX393" fmla="*/ 253753 w 936181"/>
                  <a:gd name="connsiteY393" fmla="*/ 573153 h 2501755"/>
                  <a:gd name="connsiteX394" fmla="*/ 256450 w 936181"/>
                  <a:gd name="connsiteY394" fmla="*/ 565061 h 2501755"/>
                  <a:gd name="connsiteX395" fmla="*/ 272634 w 936181"/>
                  <a:gd name="connsiteY395" fmla="*/ 551574 h 2501755"/>
                  <a:gd name="connsiteX396" fmla="*/ 275332 w 936181"/>
                  <a:gd name="connsiteY396" fmla="*/ 540785 h 2501755"/>
                  <a:gd name="connsiteX397" fmla="*/ 288818 w 936181"/>
                  <a:gd name="connsiteY397" fmla="*/ 527298 h 2501755"/>
                  <a:gd name="connsiteX398" fmla="*/ 280726 w 936181"/>
                  <a:gd name="connsiteY398" fmla="*/ 494930 h 2501755"/>
                  <a:gd name="connsiteX399" fmla="*/ 286121 w 936181"/>
                  <a:gd name="connsiteY399" fmla="*/ 484141 h 2501755"/>
                  <a:gd name="connsiteX400" fmla="*/ 288818 w 936181"/>
                  <a:gd name="connsiteY400" fmla="*/ 467957 h 2501755"/>
                  <a:gd name="connsiteX401" fmla="*/ 307700 w 936181"/>
                  <a:gd name="connsiteY401" fmla="*/ 449075 h 2501755"/>
                  <a:gd name="connsiteX402" fmla="*/ 318489 w 936181"/>
                  <a:gd name="connsiteY402" fmla="*/ 432891 h 2501755"/>
                  <a:gd name="connsiteX403" fmla="*/ 337371 w 936181"/>
                  <a:gd name="connsiteY403" fmla="*/ 419405 h 2501755"/>
                  <a:gd name="connsiteX404" fmla="*/ 342765 w 936181"/>
                  <a:gd name="connsiteY404" fmla="*/ 400523 h 2501755"/>
                  <a:gd name="connsiteX405" fmla="*/ 337371 w 936181"/>
                  <a:gd name="connsiteY405" fmla="*/ 368155 h 2501755"/>
                  <a:gd name="connsiteX406" fmla="*/ 329279 w 936181"/>
                  <a:gd name="connsiteY406" fmla="*/ 343879 h 2501755"/>
                  <a:gd name="connsiteX407" fmla="*/ 321187 w 936181"/>
                  <a:gd name="connsiteY407" fmla="*/ 341182 h 2501755"/>
                  <a:gd name="connsiteX408" fmla="*/ 318489 w 936181"/>
                  <a:gd name="connsiteY408" fmla="*/ 357366 h 2501755"/>
                  <a:gd name="connsiteX409" fmla="*/ 329279 w 936181"/>
                  <a:gd name="connsiteY409" fmla="*/ 330392 h 2501755"/>
                  <a:gd name="connsiteX410" fmla="*/ 331976 w 936181"/>
                  <a:gd name="connsiteY410" fmla="*/ 311511 h 2501755"/>
                  <a:gd name="connsiteX411" fmla="*/ 342765 w 936181"/>
                  <a:gd name="connsiteY411" fmla="*/ 300721 h 2501755"/>
                  <a:gd name="connsiteX412" fmla="*/ 356252 w 936181"/>
                  <a:gd name="connsiteY412" fmla="*/ 260261 h 2501755"/>
                  <a:gd name="connsiteX413" fmla="*/ 358949 w 936181"/>
                  <a:gd name="connsiteY413" fmla="*/ 238682 h 2501755"/>
                  <a:gd name="connsiteX414" fmla="*/ 364344 w 936181"/>
                  <a:gd name="connsiteY414" fmla="*/ 230590 h 2501755"/>
                  <a:gd name="connsiteX415" fmla="*/ 399410 w 936181"/>
                  <a:gd name="connsiteY415" fmla="*/ 203617 h 2501755"/>
                  <a:gd name="connsiteX416" fmla="*/ 410199 w 936181"/>
                  <a:gd name="connsiteY416" fmla="*/ 211709 h 2501755"/>
                  <a:gd name="connsiteX417" fmla="*/ 418291 w 936181"/>
                  <a:gd name="connsiteY417" fmla="*/ 225196 h 2501755"/>
                  <a:gd name="connsiteX418" fmla="*/ 429080 w 936181"/>
                  <a:gd name="connsiteY418" fmla="*/ 222498 h 2501755"/>
                  <a:gd name="connsiteX419" fmla="*/ 437172 w 936181"/>
                  <a:gd name="connsiteY419" fmla="*/ 190130 h 2501755"/>
                  <a:gd name="connsiteX420" fmla="*/ 437172 w 936181"/>
                  <a:gd name="connsiteY420" fmla="*/ 122697 h 2501755"/>
                  <a:gd name="connsiteX421" fmla="*/ 456053 w 936181"/>
                  <a:gd name="connsiteY421" fmla="*/ 110645 h 2501755"/>
                  <a:gd name="connsiteX422" fmla="*/ 477255 w 936181"/>
                  <a:gd name="connsiteY422" fmla="*/ 106787 h 2501755"/>
                  <a:gd name="connsiteX423" fmla="*/ 491119 w 936181"/>
                  <a:gd name="connsiteY423" fmla="*/ 122697 h 2501755"/>
                  <a:gd name="connsiteX424" fmla="*/ 545066 w 936181"/>
                  <a:gd name="connsiteY424" fmla="*/ 128091 h 2501755"/>
                  <a:gd name="connsiteX425" fmla="*/ 553158 w 936181"/>
                  <a:gd name="connsiteY425" fmla="*/ 130789 h 2501755"/>
                  <a:gd name="connsiteX426" fmla="*/ 563948 w 936181"/>
                  <a:gd name="connsiteY426" fmla="*/ 133486 h 2501755"/>
                  <a:gd name="connsiteX427" fmla="*/ 569342 w 936181"/>
                  <a:gd name="connsiteY427" fmla="*/ 114605 h 2501755"/>
                  <a:gd name="connsiteX428" fmla="*/ 566645 w 936181"/>
                  <a:gd name="connsiteY428" fmla="*/ 93026 h 2501755"/>
                  <a:gd name="connsiteX429" fmla="*/ 572040 w 936181"/>
                  <a:gd name="connsiteY429" fmla="*/ 57960 h 2501755"/>
                  <a:gd name="connsiteX430" fmla="*/ 577434 w 936181"/>
                  <a:gd name="connsiteY430" fmla="*/ 47171 h 2501755"/>
                  <a:gd name="connsiteX431" fmla="*/ 566645 w 936181"/>
                  <a:gd name="connsiteY431" fmla="*/ 25592 h 2501755"/>
                  <a:gd name="connsiteX432" fmla="*/ 563948 w 936181"/>
                  <a:gd name="connsiteY432" fmla="*/ 17500 h 2501755"/>
                  <a:gd name="connsiteX433" fmla="*/ 592458 w 936181"/>
                  <a:gd name="connsiteY433" fmla="*/ 156 h 2501755"/>
                  <a:gd name="connsiteX0" fmla="*/ 592458 w 936181"/>
                  <a:gd name="connsiteY0" fmla="*/ 156 h 2501755"/>
                  <a:gd name="connsiteX1" fmla="*/ 612500 w 936181"/>
                  <a:gd name="connsiteY1" fmla="*/ 9408 h 2501755"/>
                  <a:gd name="connsiteX2" fmla="*/ 615197 w 936181"/>
                  <a:gd name="connsiteY2" fmla="*/ 17500 h 2501755"/>
                  <a:gd name="connsiteX3" fmla="*/ 623289 w 936181"/>
                  <a:gd name="connsiteY3" fmla="*/ 30987 h 2501755"/>
                  <a:gd name="connsiteX4" fmla="*/ 640736 w 936181"/>
                  <a:gd name="connsiteY4" fmla="*/ 37920 h 2501755"/>
                  <a:gd name="connsiteX5" fmla="*/ 649886 w 936181"/>
                  <a:gd name="connsiteY5" fmla="*/ 46590 h 2501755"/>
                  <a:gd name="connsiteX6" fmla="*/ 644868 w 936181"/>
                  <a:gd name="connsiteY6" fmla="*/ 55263 h 2501755"/>
                  <a:gd name="connsiteX7" fmla="*/ 650263 w 936181"/>
                  <a:gd name="connsiteY7" fmla="*/ 63355 h 2501755"/>
                  <a:gd name="connsiteX8" fmla="*/ 661052 w 936181"/>
                  <a:gd name="connsiteY8" fmla="*/ 68750 h 2501755"/>
                  <a:gd name="connsiteX9" fmla="*/ 688026 w 936181"/>
                  <a:gd name="connsiteY9" fmla="*/ 79539 h 2501755"/>
                  <a:gd name="connsiteX10" fmla="*/ 717696 w 936181"/>
                  <a:gd name="connsiteY10" fmla="*/ 93026 h 2501755"/>
                  <a:gd name="connsiteX11" fmla="*/ 736578 w 936181"/>
                  <a:gd name="connsiteY11" fmla="*/ 87631 h 2501755"/>
                  <a:gd name="connsiteX12" fmla="*/ 752762 w 936181"/>
                  <a:gd name="connsiteY12" fmla="*/ 98420 h 2501755"/>
                  <a:gd name="connsiteX13" fmla="*/ 766249 w 936181"/>
                  <a:gd name="connsiteY13" fmla="*/ 117302 h 2501755"/>
                  <a:gd name="connsiteX14" fmla="*/ 771643 w 936181"/>
                  <a:gd name="connsiteY14" fmla="*/ 133486 h 2501755"/>
                  <a:gd name="connsiteX15" fmla="*/ 787827 w 936181"/>
                  <a:gd name="connsiteY15" fmla="*/ 138881 h 2501755"/>
                  <a:gd name="connsiteX16" fmla="*/ 795919 w 936181"/>
                  <a:gd name="connsiteY16" fmla="*/ 144275 h 2501755"/>
                  <a:gd name="connsiteX17" fmla="*/ 804011 w 936181"/>
                  <a:gd name="connsiteY17" fmla="*/ 155065 h 2501755"/>
                  <a:gd name="connsiteX18" fmla="*/ 820195 w 936181"/>
                  <a:gd name="connsiteY18" fmla="*/ 171249 h 2501755"/>
                  <a:gd name="connsiteX19" fmla="*/ 817498 w 936181"/>
                  <a:gd name="connsiteY19" fmla="*/ 203617 h 2501755"/>
                  <a:gd name="connsiteX20" fmla="*/ 828287 w 936181"/>
                  <a:gd name="connsiteY20" fmla="*/ 206314 h 2501755"/>
                  <a:gd name="connsiteX21" fmla="*/ 830985 w 936181"/>
                  <a:gd name="connsiteY21" fmla="*/ 252169 h 2501755"/>
                  <a:gd name="connsiteX22" fmla="*/ 839077 w 936181"/>
                  <a:gd name="connsiteY22" fmla="*/ 254866 h 2501755"/>
                  <a:gd name="connsiteX23" fmla="*/ 844472 w 936181"/>
                  <a:gd name="connsiteY23" fmla="*/ 265656 h 2501755"/>
                  <a:gd name="connsiteX24" fmla="*/ 849866 w 936181"/>
                  <a:gd name="connsiteY24" fmla="*/ 273748 h 2501755"/>
                  <a:gd name="connsiteX25" fmla="*/ 844472 w 936181"/>
                  <a:gd name="connsiteY25" fmla="*/ 287235 h 2501755"/>
                  <a:gd name="connsiteX26" fmla="*/ 836380 w 936181"/>
                  <a:gd name="connsiteY26" fmla="*/ 292629 h 2501755"/>
                  <a:gd name="connsiteX27" fmla="*/ 852564 w 936181"/>
                  <a:gd name="connsiteY27" fmla="*/ 311511 h 2501755"/>
                  <a:gd name="connsiteX28" fmla="*/ 855261 w 936181"/>
                  <a:gd name="connsiteY28" fmla="*/ 322300 h 2501755"/>
                  <a:gd name="connsiteX29" fmla="*/ 871445 w 936181"/>
                  <a:gd name="connsiteY29" fmla="*/ 335787 h 2501755"/>
                  <a:gd name="connsiteX30" fmla="*/ 876840 w 936181"/>
                  <a:gd name="connsiteY30" fmla="*/ 354668 h 2501755"/>
                  <a:gd name="connsiteX31" fmla="*/ 884932 w 936181"/>
                  <a:gd name="connsiteY31" fmla="*/ 376247 h 2501755"/>
                  <a:gd name="connsiteX32" fmla="*/ 887629 w 936181"/>
                  <a:gd name="connsiteY32" fmla="*/ 411313 h 2501755"/>
                  <a:gd name="connsiteX33" fmla="*/ 884932 w 936181"/>
                  <a:gd name="connsiteY33" fmla="*/ 419405 h 2501755"/>
                  <a:gd name="connsiteX34" fmla="*/ 882234 w 936181"/>
                  <a:gd name="connsiteY34" fmla="*/ 432891 h 2501755"/>
                  <a:gd name="connsiteX35" fmla="*/ 890326 w 936181"/>
                  <a:gd name="connsiteY35" fmla="*/ 459865 h 2501755"/>
                  <a:gd name="connsiteX36" fmla="*/ 901116 w 936181"/>
                  <a:gd name="connsiteY36" fmla="*/ 462562 h 2501755"/>
                  <a:gd name="connsiteX37" fmla="*/ 911905 w 936181"/>
                  <a:gd name="connsiteY37" fmla="*/ 489536 h 2501755"/>
                  <a:gd name="connsiteX38" fmla="*/ 914603 w 936181"/>
                  <a:gd name="connsiteY38" fmla="*/ 505720 h 2501755"/>
                  <a:gd name="connsiteX39" fmla="*/ 917300 w 936181"/>
                  <a:gd name="connsiteY39" fmla="*/ 513812 h 2501755"/>
                  <a:gd name="connsiteX40" fmla="*/ 936181 w 936181"/>
                  <a:gd name="connsiteY40" fmla="*/ 516509 h 2501755"/>
                  <a:gd name="connsiteX41" fmla="*/ 933484 w 936181"/>
                  <a:gd name="connsiteY41" fmla="*/ 535390 h 2501755"/>
                  <a:gd name="connsiteX42" fmla="*/ 925392 w 936181"/>
                  <a:gd name="connsiteY42" fmla="*/ 540785 h 2501755"/>
                  <a:gd name="connsiteX43" fmla="*/ 893024 w 936181"/>
                  <a:gd name="connsiteY43" fmla="*/ 546180 h 2501755"/>
                  <a:gd name="connsiteX44" fmla="*/ 879537 w 936181"/>
                  <a:gd name="connsiteY44" fmla="*/ 565061 h 2501755"/>
                  <a:gd name="connsiteX45" fmla="*/ 857958 w 936181"/>
                  <a:gd name="connsiteY45" fmla="*/ 562364 h 2501755"/>
                  <a:gd name="connsiteX46" fmla="*/ 839077 w 936181"/>
                  <a:gd name="connsiteY46" fmla="*/ 554272 h 2501755"/>
                  <a:gd name="connsiteX47" fmla="*/ 814801 w 936181"/>
                  <a:gd name="connsiteY47" fmla="*/ 556969 h 2501755"/>
                  <a:gd name="connsiteX48" fmla="*/ 817498 w 936181"/>
                  <a:gd name="connsiteY48" fmla="*/ 592035 h 2501755"/>
                  <a:gd name="connsiteX49" fmla="*/ 825590 w 936181"/>
                  <a:gd name="connsiteY49" fmla="*/ 600127 h 2501755"/>
                  <a:gd name="connsiteX50" fmla="*/ 812103 w 936181"/>
                  <a:gd name="connsiteY50" fmla="*/ 602824 h 2501755"/>
                  <a:gd name="connsiteX51" fmla="*/ 790525 w 936181"/>
                  <a:gd name="connsiteY51" fmla="*/ 600127 h 2501755"/>
                  <a:gd name="connsiteX52" fmla="*/ 785130 w 936181"/>
                  <a:gd name="connsiteY52" fmla="*/ 592035 h 2501755"/>
                  <a:gd name="connsiteX53" fmla="*/ 782433 w 936181"/>
                  <a:gd name="connsiteY53" fmla="*/ 583943 h 2501755"/>
                  <a:gd name="connsiteX54" fmla="*/ 801314 w 936181"/>
                  <a:gd name="connsiteY54" fmla="*/ 600127 h 2501755"/>
                  <a:gd name="connsiteX55" fmla="*/ 790525 w 936181"/>
                  <a:gd name="connsiteY55" fmla="*/ 627100 h 2501755"/>
                  <a:gd name="connsiteX56" fmla="*/ 768946 w 936181"/>
                  <a:gd name="connsiteY56" fmla="*/ 632495 h 2501755"/>
                  <a:gd name="connsiteX57" fmla="*/ 750064 w 936181"/>
                  <a:gd name="connsiteY57" fmla="*/ 640587 h 2501755"/>
                  <a:gd name="connsiteX58" fmla="*/ 741972 w 936181"/>
                  <a:gd name="connsiteY58" fmla="*/ 645982 h 2501755"/>
                  <a:gd name="connsiteX59" fmla="*/ 766249 w 936181"/>
                  <a:gd name="connsiteY59" fmla="*/ 664863 h 2501755"/>
                  <a:gd name="connsiteX60" fmla="*/ 774341 w 936181"/>
                  <a:gd name="connsiteY60" fmla="*/ 667560 h 2501755"/>
                  <a:gd name="connsiteX61" fmla="*/ 763551 w 936181"/>
                  <a:gd name="connsiteY61" fmla="*/ 697231 h 2501755"/>
                  <a:gd name="connsiteX62" fmla="*/ 760854 w 936181"/>
                  <a:gd name="connsiteY62" fmla="*/ 708020 h 2501755"/>
                  <a:gd name="connsiteX63" fmla="*/ 747367 w 936181"/>
                  <a:gd name="connsiteY63" fmla="*/ 718810 h 2501755"/>
                  <a:gd name="connsiteX64" fmla="*/ 750064 w 936181"/>
                  <a:gd name="connsiteY64" fmla="*/ 748481 h 2501755"/>
                  <a:gd name="connsiteX65" fmla="*/ 752762 w 936181"/>
                  <a:gd name="connsiteY65" fmla="*/ 761967 h 2501755"/>
                  <a:gd name="connsiteX66" fmla="*/ 766249 w 936181"/>
                  <a:gd name="connsiteY66" fmla="*/ 778151 h 2501755"/>
                  <a:gd name="connsiteX67" fmla="*/ 768946 w 936181"/>
                  <a:gd name="connsiteY67" fmla="*/ 786243 h 2501755"/>
                  <a:gd name="connsiteX68" fmla="*/ 777038 w 936181"/>
                  <a:gd name="connsiteY68" fmla="*/ 788941 h 2501755"/>
                  <a:gd name="connsiteX69" fmla="*/ 787827 w 936181"/>
                  <a:gd name="connsiteY69" fmla="*/ 794336 h 2501755"/>
                  <a:gd name="connsiteX70" fmla="*/ 790525 w 936181"/>
                  <a:gd name="connsiteY70" fmla="*/ 805125 h 2501755"/>
                  <a:gd name="connsiteX71" fmla="*/ 782433 w 936181"/>
                  <a:gd name="connsiteY71" fmla="*/ 810520 h 2501755"/>
                  <a:gd name="connsiteX72" fmla="*/ 771643 w 936181"/>
                  <a:gd name="connsiteY72" fmla="*/ 821309 h 2501755"/>
                  <a:gd name="connsiteX73" fmla="*/ 768946 w 936181"/>
                  <a:gd name="connsiteY73" fmla="*/ 829401 h 2501755"/>
                  <a:gd name="connsiteX74" fmla="*/ 758157 w 936181"/>
                  <a:gd name="connsiteY74" fmla="*/ 856374 h 2501755"/>
                  <a:gd name="connsiteX75" fmla="*/ 733880 w 936181"/>
                  <a:gd name="connsiteY75" fmla="*/ 942690 h 2501755"/>
                  <a:gd name="connsiteX76" fmla="*/ 725788 w 936181"/>
                  <a:gd name="connsiteY76" fmla="*/ 945387 h 2501755"/>
                  <a:gd name="connsiteX77" fmla="*/ 723091 w 936181"/>
                  <a:gd name="connsiteY77" fmla="*/ 953479 h 2501755"/>
                  <a:gd name="connsiteX78" fmla="*/ 696118 w 936181"/>
                  <a:gd name="connsiteY78" fmla="*/ 975058 h 2501755"/>
                  <a:gd name="connsiteX79" fmla="*/ 688026 w 936181"/>
                  <a:gd name="connsiteY79" fmla="*/ 985847 h 2501755"/>
                  <a:gd name="connsiteX80" fmla="*/ 679934 w 936181"/>
                  <a:gd name="connsiteY80" fmla="*/ 991242 h 2501755"/>
                  <a:gd name="connsiteX81" fmla="*/ 674539 w 936181"/>
                  <a:gd name="connsiteY81" fmla="*/ 999334 h 2501755"/>
                  <a:gd name="connsiteX82" fmla="*/ 655657 w 936181"/>
                  <a:gd name="connsiteY82" fmla="*/ 1007426 h 2501755"/>
                  <a:gd name="connsiteX83" fmla="*/ 650263 w 936181"/>
                  <a:gd name="connsiteY83" fmla="*/ 1020913 h 2501755"/>
                  <a:gd name="connsiteX84" fmla="*/ 639473 w 936181"/>
                  <a:gd name="connsiteY84" fmla="*/ 1026307 h 2501755"/>
                  <a:gd name="connsiteX85" fmla="*/ 636776 w 936181"/>
                  <a:gd name="connsiteY85" fmla="*/ 1037097 h 2501755"/>
                  <a:gd name="connsiteX86" fmla="*/ 623289 w 936181"/>
                  <a:gd name="connsiteY86" fmla="*/ 1050583 h 2501755"/>
                  <a:gd name="connsiteX87" fmla="*/ 636776 w 936181"/>
                  <a:gd name="connsiteY87" fmla="*/ 1055978 h 2501755"/>
                  <a:gd name="connsiteX88" fmla="*/ 642171 w 936181"/>
                  <a:gd name="connsiteY88" fmla="*/ 1064070 h 2501755"/>
                  <a:gd name="connsiteX89" fmla="*/ 615197 w 936181"/>
                  <a:gd name="connsiteY89" fmla="*/ 1066767 h 2501755"/>
                  <a:gd name="connsiteX90" fmla="*/ 580132 w 936181"/>
                  <a:gd name="connsiteY90" fmla="*/ 1091043 h 2501755"/>
                  <a:gd name="connsiteX91" fmla="*/ 588224 w 936181"/>
                  <a:gd name="connsiteY91" fmla="*/ 1096438 h 2501755"/>
                  <a:gd name="connsiteX92" fmla="*/ 596316 w 936181"/>
                  <a:gd name="connsiteY92" fmla="*/ 1104530 h 2501755"/>
                  <a:gd name="connsiteX93" fmla="*/ 588224 w 936181"/>
                  <a:gd name="connsiteY93" fmla="*/ 1128806 h 2501755"/>
                  <a:gd name="connsiteX94" fmla="*/ 574737 w 936181"/>
                  <a:gd name="connsiteY94" fmla="*/ 1131504 h 2501755"/>
                  <a:gd name="connsiteX95" fmla="*/ 545066 w 936181"/>
                  <a:gd name="connsiteY95" fmla="*/ 1128806 h 2501755"/>
                  <a:gd name="connsiteX96" fmla="*/ 542369 w 936181"/>
                  <a:gd name="connsiteY96" fmla="*/ 1112622 h 2501755"/>
                  <a:gd name="connsiteX97" fmla="*/ 534277 w 936181"/>
                  <a:gd name="connsiteY97" fmla="*/ 1109925 h 2501755"/>
                  <a:gd name="connsiteX98" fmla="*/ 539672 w 936181"/>
                  <a:gd name="connsiteY98" fmla="*/ 1123412 h 2501755"/>
                  <a:gd name="connsiteX99" fmla="*/ 547764 w 936181"/>
                  <a:gd name="connsiteY99" fmla="*/ 1128806 h 2501755"/>
                  <a:gd name="connsiteX100" fmla="*/ 550461 w 936181"/>
                  <a:gd name="connsiteY100" fmla="*/ 1136898 h 2501755"/>
                  <a:gd name="connsiteX101" fmla="*/ 561250 w 936181"/>
                  <a:gd name="connsiteY101" fmla="*/ 1158477 h 2501755"/>
                  <a:gd name="connsiteX102" fmla="*/ 563948 w 936181"/>
                  <a:gd name="connsiteY102" fmla="*/ 1188148 h 2501755"/>
                  <a:gd name="connsiteX103" fmla="*/ 555856 w 936181"/>
                  <a:gd name="connsiteY103" fmla="*/ 1193543 h 2501755"/>
                  <a:gd name="connsiteX104" fmla="*/ 520790 w 936181"/>
                  <a:gd name="connsiteY104" fmla="*/ 1207029 h 2501755"/>
                  <a:gd name="connsiteX105" fmla="*/ 523487 w 936181"/>
                  <a:gd name="connsiteY105" fmla="*/ 1225911 h 2501755"/>
                  <a:gd name="connsiteX106" fmla="*/ 534277 w 936181"/>
                  <a:gd name="connsiteY106" fmla="*/ 1231305 h 2501755"/>
                  <a:gd name="connsiteX107" fmla="*/ 536974 w 936181"/>
                  <a:gd name="connsiteY107" fmla="*/ 1239397 h 2501755"/>
                  <a:gd name="connsiteX108" fmla="*/ 528882 w 936181"/>
                  <a:gd name="connsiteY108" fmla="*/ 1242095 h 2501755"/>
                  <a:gd name="connsiteX109" fmla="*/ 528882 w 936181"/>
                  <a:gd name="connsiteY109" fmla="*/ 1266371 h 2501755"/>
                  <a:gd name="connsiteX110" fmla="*/ 534277 w 936181"/>
                  <a:gd name="connsiteY110" fmla="*/ 1274463 h 2501755"/>
                  <a:gd name="connsiteX111" fmla="*/ 515395 w 936181"/>
                  <a:gd name="connsiteY111" fmla="*/ 1285252 h 2501755"/>
                  <a:gd name="connsiteX112" fmla="*/ 520790 w 936181"/>
                  <a:gd name="connsiteY112" fmla="*/ 1296042 h 2501755"/>
                  <a:gd name="connsiteX113" fmla="*/ 523487 w 936181"/>
                  <a:gd name="connsiteY113" fmla="*/ 1331107 h 2501755"/>
                  <a:gd name="connsiteX114" fmla="*/ 528882 w 936181"/>
                  <a:gd name="connsiteY114" fmla="*/ 1347291 h 2501755"/>
                  <a:gd name="connsiteX115" fmla="*/ 507303 w 936181"/>
                  <a:gd name="connsiteY115" fmla="*/ 1355383 h 2501755"/>
                  <a:gd name="connsiteX116" fmla="*/ 518093 w 936181"/>
                  <a:gd name="connsiteY116" fmla="*/ 1379659 h 2501755"/>
                  <a:gd name="connsiteX117" fmla="*/ 520790 w 936181"/>
                  <a:gd name="connsiteY117" fmla="*/ 1387751 h 2501755"/>
                  <a:gd name="connsiteX118" fmla="*/ 526185 w 936181"/>
                  <a:gd name="connsiteY118" fmla="*/ 1409330 h 2501755"/>
                  <a:gd name="connsiteX119" fmla="*/ 520790 w 936181"/>
                  <a:gd name="connsiteY119" fmla="*/ 1441698 h 2501755"/>
                  <a:gd name="connsiteX120" fmla="*/ 515395 w 936181"/>
                  <a:gd name="connsiteY120" fmla="*/ 1468672 h 2501755"/>
                  <a:gd name="connsiteX121" fmla="*/ 520790 w 936181"/>
                  <a:gd name="connsiteY121" fmla="*/ 1476764 h 2501755"/>
                  <a:gd name="connsiteX122" fmla="*/ 534277 w 936181"/>
                  <a:gd name="connsiteY122" fmla="*/ 1487553 h 2501755"/>
                  <a:gd name="connsiteX123" fmla="*/ 536974 w 936181"/>
                  <a:gd name="connsiteY123" fmla="*/ 1506435 h 2501755"/>
                  <a:gd name="connsiteX124" fmla="*/ 542369 w 936181"/>
                  <a:gd name="connsiteY124" fmla="*/ 1514527 h 2501755"/>
                  <a:gd name="connsiteX125" fmla="*/ 545066 w 936181"/>
                  <a:gd name="connsiteY125" fmla="*/ 1522619 h 2501755"/>
                  <a:gd name="connsiteX126" fmla="*/ 558553 w 936181"/>
                  <a:gd name="connsiteY126" fmla="*/ 1519921 h 2501755"/>
                  <a:gd name="connsiteX127" fmla="*/ 569342 w 936181"/>
                  <a:gd name="connsiteY127" fmla="*/ 1528013 h 2501755"/>
                  <a:gd name="connsiteX128" fmla="*/ 582829 w 936181"/>
                  <a:gd name="connsiteY128" fmla="*/ 1533408 h 2501755"/>
                  <a:gd name="connsiteX129" fmla="*/ 590921 w 936181"/>
                  <a:gd name="connsiteY129" fmla="*/ 1541500 h 2501755"/>
                  <a:gd name="connsiteX130" fmla="*/ 601710 w 936181"/>
                  <a:gd name="connsiteY130" fmla="*/ 1544197 h 2501755"/>
                  <a:gd name="connsiteX131" fmla="*/ 612500 w 936181"/>
                  <a:gd name="connsiteY131" fmla="*/ 1549592 h 2501755"/>
                  <a:gd name="connsiteX132" fmla="*/ 623289 w 936181"/>
                  <a:gd name="connsiteY132" fmla="*/ 1581960 h 2501755"/>
                  <a:gd name="connsiteX133" fmla="*/ 631381 w 936181"/>
                  <a:gd name="connsiteY133" fmla="*/ 1576566 h 2501755"/>
                  <a:gd name="connsiteX134" fmla="*/ 642171 w 936181"/>
                  <a:gd name="connsiteY134" fmla="*/ 1557684 h 2501755"/>
                  <a:gd name="connsiteX135" fmla="*/ 644868 w 936181"/>
                  <a:gd name="connsiteY135" fmla="*/ 1565776 h 2501755"/>
                  <a:gd name="connsiteX136" fmla="*/ 655657 w 936181"/>
                  <a:gd name="connsiteY136" fmla="*/ 1581960 h 2501755"/>
                  <a:gd name="connsiteX137" fmla="*/ 658355 w 936181"/>
                  <a:gd name="connsiteY137" fmla="*/ 1606236 h 2501755"/>
                  <a:gd name="connsiteX138" fmla="*/ 690723 w 936181"/>
                  <a:gd name="connsiteY138" fmla="*/ 1614328 h 2501755"/>
                  <a:gd name="connsiteX139" fmla="*/ 696118 w 936181"/>
                  <a:gd name="connsiteY139" fmla="*/ 1622420 h 2501755"/>
                  <a:gd name="connsiteX140" fmla="*/ 698815 w 936181"/>
                  <a:gd name="connsiteY140" fmla="*/ 1630513 h 2501755"/>
                  <a:gd name="connsiteX141" fmla="*/ 704210 w 936181"/>
                  <a:gd name="connsiteY141" fmla="*/ 1665578 h 2501755"/>
                  <a:gd name="connsiteX142" fmla="*/ 690723 w 936181"/>
                  <a:gd name="connsiteY142" fmla="*/ 1684459 h 2501755"/>
                  <a:gd name="connsiteX143" fmla="*/ 688026 w 936181"/>
                  <a:gd name="connsiteY143" fmla="*/ 1695249 h 2501755"/>
                  <a:gd name="connsiteX144" fmla="*/ 685328 w 936181"/>
                  <a:gd name="connsiteY144" fmla="*/ 1714130 h 2501755"/>
                  <a:gd name="connsiteX145" fmla="*/ 677236 w 936181"/>
                  <a:gd name="connsiteY145" fmla="*/ 1716828 h 2501755"/>
                  <a:gd name="connsiteX146" fmla="*/ 661052 w 936181"/>
                  <a:gd name="connsiteY146" fmla="*/ 1719525 h 2501755"/>
                  <a:gd name="connsiteX147" fmla="*/ 655657 w 936181"/>
                  <a:gd name="connsiteY147" fmla="*/ 1727617 h 2501755"/>
                  <a:gd name="connsiteX148" fmla="*/ 625987 w 936181"/>
                  <a:gd name="connsiteY148" fmla="*/ 1738406 h 2501755"/>
                  <a:gd name="connsiteX149" fmla="*/ 623289 w 936181"/>
                  <a:gd name="connsiteY149" fmla="*/ 1757288 h 2501755"/>
                  <a:gd name="connsiteX150" fmla="*/ 601710 w 936181"/>
                  <a:gd name="connsiteY150" fmla="*/ 1754590 h 2501755"/>
                  <a:gd name="connsiteX151" fmla="*/ 596316 w 936181"/>
                  <a:gd name="connsiteY151" fmla="*/ 1741104 h 2501755"/>
                  <a:gd name="connsiteX152" fmla="*/ 601710 w 936181"/>
                  <a:gd name="connsiteY152" fmla="*/ 1724920 h 2501755"/>
                  <a:gd name="connsiteX153" fmla="*/ 582829 w 936181"/>
                  <a:gd name="connsiteY153" fmla="*/ 1700643 h 2501755"/>
                  <a:gd name="connsiteX154" fmla="*/ 580132 w 936181"/>
                  <a:gd name="connsiteY154" fmla="*/ 1719525 h 2501755"/>
                  <a:gd name="connsiteX155" fmla="*/ 574737 w 936181"/>
                  <a:gd name="connsiteY155" fmla="*/ 1727617 h 2501755"/>
                  <a:gd name="connsiteX156" fmla="*/ 558553 w 936181"/>
                  <a:gd name="connsiteY156" fmla="*/ 1724920 h 2501755"/>
                  <a:gd name="connsiteX157" fmla="*/ 501909 w 936181"/>
                  <a:gd name="connsiteY157" fmla="*/ 1735709 h 2501755"/>
                  <a:gd name="connsiteX158" fmla="*/ 488422 w 936181"/>
                  <a:gd name="connsiteY158" fmla="*/ 1746498 h 2501755"/>
                  <a:gd name="connsiteX159" fmla="*/ 464146 w 936181"/>
                  <a:gd name="connsiteY159" fmla="*/ 1751893 h 2501755"/>
                  <a:gd name="connsiteX160" fmla="*/ 453357 w 936181"/>
                  <a:gd name="connsiteY160" fmla="*/ 1754590 h 2501755"/>
                  <a:gd name="connsiteX161" fmla="*/ 499211 w 936181"/>
                  <a:gd name="connsiteY161" fmla="*/ 1751893 h 2501755"/>
                  <a:gd name="connsiteX162" fmla="*/ 507303 w 936181"/>
                  <a:gd name="connsiteY162" fmla="*/ 1757288 h 2501755"/>
                  <a:gd name="connsiteX163" fmla="*/ 523487 w 936181"/>
                  <a:gd name="connsiteY163" fmla="*/ 1762682 h 2501755"/>
                  <a:gd name="connsiteX164" fmla="*/ 531580 w 936181"/>
                  <a:gd name="connsiteY164" fmla="*/ 1743801 h 2501755"/>
                  <a:gd name="connsiteX165" fmla="*/ 539672 w 936181"/>
                  <a:gd name="connsiteY165" fmla="*/ 1738406 h 2501755"/>
                  <a:gd name="connsiteX166" fmla="*/ 555856 w 936181"/>
                  <a:gd name="connsiteY166" fmla="*/ 1759985 h 2501755"/>
                  <a:gd name="connsiteX167" fmla="*/ 566645 w 936181"/>
                  <a:gd name="connsiteY167" fmla="*/ 1778866 h 2501755"/>
                  <a:gd name="connsiteX168" fmla="*/ 582829 w 936181"/>
                  <a:gd name="connsiteY168" fmla="*/ 1773472 h 2501755"/>
                  <a:gd name="connsiteX169" fmla="*/ 588224 w 936181"/>
                  <a:gd name="connsiteY169" fmla="*/ 1765380 h 2501755"/>
                  <a:gd name="connsiteX170" fmla="*/ 636776 w 936181"/>
                  <a:gd name="connsiteY170" fmla="*/ 1754590 h 2501755"/>
                  <a:gd name="connsiteX171" fmla="*/ 650263 w 936181"/>
                  <a:gd name="connsiteY171" fmla="*/ 1730314 h 2501755"/>
                  <a:gd name="connsiteX172" fmla="*/ 658355 w 936181"/>
                  <a:gd name="connsiteY172" fmla="*/ 1727617 h 2501755"/>
                  <a:gd name="connsiteX173" fmla="*/ 671841 w 936181"/>
                  <a:gd name="connsiteY173" fmla="*/ 1733012 h 2501755"/>
                  <a:gd name="connsiteX174" fmla="*/ 679934 w 936181"/>
                  <a:gd name="connsiteY174" fmla="*/ 1735709 h 2501755"/>
                  <a:gd name="connsiteX175" fmla="*/ 682631 w 936181"/>
                  <a:gd name="connsiteY175" fmla="*/ 1743801 h 2501755"/>
                  <a:gd name="connsiteX176" fmla="*/ 671841 w 936181"/>
                  <a:gd name="connsiteY176" fmla="*/ 1746498 h 2501755"/>
                  <a:gd name="connsiteX177" fmla="*/ 655657 w 936181"/>
                  <a:gd name="connsiteY177" fmla="*/ 1759985 h 2501755"/>
                  <a:gd name="connsiteX178" fmla="*/ 658355 w 936181"/>
                  <a:gd name="connsiteY178" fmla="*/ 1786959 h 2501755"/>
                  <a:gd name="connsiteX179" fmla="*/ 644868 w 936181"/>
                  <a:gd name="connsiteY179" fmla="*/ 1795051 h 2501755"/>
                  <a:gd name="connsiteX180" fmla="*/ 650263 w 936181"/>
                  <a:gd name="connsiteY180" fmla="*/ 1803143 h 2501755"/>
                  <a:gd name="connsiteX181" fmla="*/ 642171 w 936181"/>
                  <a:gd name="connsiteY181" fmla="*/ 1827419 h 2501755"/>
                  <a:gd name="connsiteX182" fmla="*/ 636537 w 936181"/>
                  <a:gd name="connsiteY182" fmla="*/ 1847018 h 2501755"/>
                  <a:gd name="connsiteX183" fmla="*/ 628684 w 936181"/>
                  <a:gd name="connsiteY183" fmla="*/ 1840905 h 2501755"/>
                  <a:gd name="connsiteX184" fmla="*/ 617895 w 936181"/>
                  <a:gd name="connsiteY184" fmla="*/ 1811235 h 2501755"/>
                  <a:gd name="connsiteX185" fmla="*/ 607105 w 936181"/>
                  <a:gd name="connsiteY185" fmla="*/ 1805840 h 2501755"/>
                  <a:gd name="connsiteX186" fmla="*/ 593618 w 936181"/>
                  <a:gd name="connsiteY186" fmla="*/ 1843603 h 2501755"/>
                  <a:gd name="connsiteX187" fmla="*/ 585526 w 936181"/>
                  <a:gd name="connsiteY187" fmla="*/ 1846300 h 2501755"/>
                  <a:gd name="connsiteX188" fmla="*/ 582829 w 936181"/>
                  <a:gd name="connsiteY188" fmla="*/ 1862484 h 2501755"/>
                  <a:gd name="connsiteX189" fmla="*/ 580132 w 936181"/>
                  <a:gd name="connsiteY189" fmla="*/ 1870576 h 2501755"/>
                  <a:gd name="connsiteX190" fmla="*/ 572040 w 936181"/>
                  <a:gd name="connsiteY190" fmla="*/ 1878668 h 2501755"/>
                  <a:gd name="connsiteX191" fmla="*/ 563948 w 936181"/>
                  <a:gd name="connsiteY191" fmla="*/ 1881366 h 2501755"/>
                  <a:gd name="connsiteX192" fmla="*/ 520790 w 936181"/>
                  <a:gd name="connsiteY192" fmla="*/ 1884063 h 2501755"/>
                  <a:gd name="connsiteX193" fmla="*/ 472238 w 936181"/>
                  <a:gd name="connsiteY193" fmla="*/ 1892155 h 2501755"/>
                  <a:gd name="connsiteX194" fmla="*/ 488422 w 936181"/>
                  <a:gd name="connsiteY194" fmla="*/ 1886760 h 2501755"/>
                  <a:gd name="connsiteX195" fmla="*/ 539672 w 936181"/>
                  <a:gd name="connsiteY195" fmla="*/ 1916431 h 2501755"/>
                  <a:gd name="connsiteX196" fmla="*/ 542369 w 936181"/>
                  <a:gd name="connsiteY196" fmla="*/ 1924523 h 2501755"/>
                  <a:gd name="connsiteX197" fmla="*/ 523487 w 936181"/>
                  <a:gd name="connsiteY197" fmla="*/ 1927220 h 2501755"/>
                  <a:gd name="connsiteX198" fmla="*/ 512698 w 936181"/>
                  <a:gd name="connsiteY198" fmla="*/ 1943405 h 2501755"/>
                  <a:gd name="connsiteX199" fmla="*/ 523487 w 936181"/>
                  <a:gd name="connsiteY199" fmla="*/ 1948799 h 2501755"/>
                  <a:gd name="connsiteX200" fmla="*/ 526185 w 936181"/>
                  <a:gd name="connsiteY200" fmla="*/ 1956891 h 2501755"/>
                  <a:gd name="connsiteX201" fmla="*/ 536974 w 936181"/>
                  <a:gd name="connsiteY201" fmla="*/ 1962286 h 2501755"/>
                  <a:gd name="connsiteX202" fmla="*/ 534277 w 936181"/>
                  <a:gd name="connsiteY202" fmla="*/ 1970378 h 2501755"/>
                  <a:gd name="connsiteX203" fmla="*/ 523487 w 936181"/>
                  <a:gd name="connsiteY203" fmla="*/ 2000049 h 2501755"/>
                  <a:gd name="connsiteX204" fmla="*/ 515395 w 936181"/>
                  <a:gd name="connsiteY204" fmla="*/ 2005443 h 2501755"/>
                  <a:gd name="connsiteX205" fmla="*/ 523487 w 936181"/>
                  <a:gd name="connsiteY205" fmla="*/ 2010838 h 2501755"/>
                  <a:gd name="connsiteX206" fmla="*/ 545066 w 936181"/>
                  <a:gd name="connsiteY206" fmla="*/ 2018930 h 2501755"/>
                  <a:gd name="connsiteX207" fmla="*/ 553158 w 936181"/>
                  <a:gd name="connsiteY207" fmla="*/ 2016233 h 2501755"/>
                  <a:gd name="connsiteX208" fmla="*/ 539672 w 936181"/>
                  <a:gd name="connsiteY208" fmla="*/ 2027022 h 2501755"/>
                  <a:gd name="connsiteX209" fmla="*/ 534277 w 936181"/>
                  <a:gd name="connsiteY209" fmla="*/ 2043206 h 2501755"/>
                  <a:gd name="connsiteX210" fmla="*/ 542369 w 936181"/>
                  <a:gd name="connsiteY210" fmla="*/ 2067482 h 2501755"/>
                  <a:gd name="connsiteX211" fmla="*/ 536974 w 936181"/>
                  <a:gd name="connsiteY211" fmla="*/ 2075574 h 2501755"/>
                  <a:gd name="connsiteX212" fmla="*/ 539672 w 936181"/>
                  <a:gd name="connsiteY212" fmla="*/ 2089061 h 2501755"/>
                  <a:gd name="connsiteX213" fmla="*/ 545066 w 936181"/>
                  <a:gd name="connsiteY213" fmla="*/ 2105245 h 2501755"/>
                  <a:gd name="connsiteX214" fmla="*/ 531580 w 936181"/>
                  <a:gd name="connsiteY214" fmla="*/ 2116035 h 2501755"/>
                  <a:gd name="connsiteX215" fmla="*/ 528882 w 936181"/>
                  <a:gd name="connsiteY215" fmla="*/ 2126824 h 2501755"/>
                  <a:gd name="connsiteX216" fmla="*/ 510001 w 936181"/>
                  <a:gd name="connsiteY216" fmla="*/ 2132219 h 2501755"/>
                  <a:gd name="connsiteX217" fmla="*/ 515395 w 936181"/>
                  <a:gd name="connsiteY217" fmla="*/ 2143008 h 2501755"/>
                  <a:gd name="connsiteX218" fmla="*/ 520790 w 936181"/>
                  <a:gd name="connsiteY218" fmla="*/ 2153797 h 2501755"/>
                  <a:gd name="connsiteX219" fmla="*/ 523487 w 936181"/>
                  <a:gd name="connsiteY219" fmla="*/ 2161890 h 2501755"/>
                  <a:gd name="connsiteX220" fmla="*/ 542369 w 936181"/>
                  <a:gd name="connsiteY220" fmla="*/ 2167284 h 2501755"/>
                  <a:gd name="connsiteX221" fmla="*/ 531580 w 936181"/>
                  <a:gd name="connsiteY221" fmla="*/ 2175376 h 2501755"/>
                  <a:gd name="connsiteX222" fmla="*/ 515395 w 936181"/>
                  <a:gd name="connsiteY222" fmla="*/ 2215836 h 2501755"/>
                  <a:gd name="connsiteX223" fmla="*/ 518093 w 936181"/>
                  <a:gd name="connsiteY223" fmla="*/ 2223928 h 2501755"/>
                  <a:gd name="connsiteX224" fmla="*/ 542369 w 936181"/>
                  <a:gd name="connsiteY224" fmla="*/ 2207744 h 2501755"/>
                  <a:gd name="connsiteX225" fmla="*/ 545066 w 936181"/>
                  <a:gd name="connsiteY225" fmla="*/ 2188863 h 2501755"/>
                  <a:gd name="connsiteX226" fmla="*/ 550461 w 936181"/>
                  <a:gd name="connsiteY226" fmla="*/ 2172679 h 2501755"/>
                  <a:gd name="connsiteX227" fmla="*/ 553158 w 936181"/>
                  <a:gd name="connsiteY227" fmla="*/ 2151100 h 2501755"/>
                  <a:gd name="connsiteX228" fmla="*/ 563948 w 936181"/>
                  <a:gd name="connsiteY228" fmla="*/ 2134916 h 2501755"/>
                  <a:gd name="connsiteX229" fmla="*/ 569342 w 936181"/>
                  <a:gd name="connsiteY229" fmla="*/ 2126824 h 2501755"/>
                  <a:gd name="connsiteX230" fmla="*/ 577434 w 936181"/>
                  <a:gd name="connsiteY230" fmla="*/ 2134916 h 2501755"/>
                  <a:gd name="connsiteX231" fmla="*/ 574737 w 936181"/>
                  <a:gd name="connsiteY231" fmla="*/ 2143008 h 2501755"/>
                  <a:gd name="connsiteX232" fmla="*/ 566645 w 936181"/>
                  <a:gd name="connsiteY232" fmla="*/ 2175376 h 2501755"/>
                  <a:gd name="connsiteX233" fmla="*/ 561250 w 936181"/>
                  <a:gd name="connsiteY233" fmla="*/ 2196955 h 2501755"/>
                  <a:gd name="connsiteX234" fmla="*/ 558553 w 936181"/>
                  <a:gd name="connsiteY234" fmla="*/ 2213139 h 2501755"/>
                  <a:gd name="connsiteX235" fmla="*/ 553158 w 936181"/>
                  <a:gd name="connsiteY235" fmla="*/ 2232020 h 2501755"/>
                  <a:gd name="connsiteX236" fmla="*/ 547764 w 936181"/>
                  <a:gd name="connsiteY236" fmla="*/ 2299454 h 2501755"/>
                  <a:gd name="connsiteX237" fmla="*/ 545066 w 936181"/>
                  <a:gd name="connsiteY237" fmla="*/ 2318336 h 2501755"/>
                  <a:gd name="connsiteX238" fmla="*/ 536974 w 936181"/>
                  <a:gd name="connsiteY238" fmla="*/ 2323730 h 2501755"/>
                  <a:gd name="connsiteX239" fmla="*/ 528882 w 936181"/>
                  <a:gd name="connsiteY239" fmla="*/ 2331822 h 2501755"/>
                  <a:gd name="connsiteX240" fmla="*/ 520790 w 936181"/>
                  <a:gd name="connsiteY240" fmla="*/ 2318336 h 2501755"/>
                  <a:gd name="connsiteX241" fmla="*/ 520790 w 936181"/>
                  <a:gd name="connsiteY241" fmla="*/ 2277875 h 2501755"/>
                  <a:gd name="connsiteX242" fmla="*/ 526185 w 936181"/>
                  <a:gd name="connsiteY242" fmla="*/ 2261691 h 2501755"/>
                  <a:gd name="connsiteX243" fmla="*/ 527294 w 936181"/>
                  <a:gd name="connsiteY243" fmla="*/ 2225502 h 2501755"/>
                  <a:gd name="connsiteX244" fmla="*/ 520790 w 936181"/>
                  <a:gd name="connsiteY244" fmla="*/ 2258994 h 2501755"/>
                  <a:gd name="connsiteX245" fmla="*/ 507303 w 936181"/>
                  <a:gd name="connsiteY245" fmla="*/ 2264389 h 2501755"/>
                  <a:gd name="connsiteX246" fmla="*/ 501909 w 936181"/>
                  <a:gd name="connsiteY246" fmla="*/ 2272481 h 2501755"/>
                  <a:gd name="connsiteX247" fmla="*/ 496514 w 936181"/>
                  <a:gd name="connsiteY247" fmla="*/ 2321033 h 2501755"/>
                  <a:gd name="connsiteX248" fmla="*/ 491119 w 936181"/>
                  <a:gd name="connsiteY248" fmla="*/ 2337217 h 2501755"/>
                  <a:gd name="connsiteX249" fmla="*/ 480330 w 936181"/>
                  <a:gd name="connsiteY249" fmla="*/ 2345309 h 2501755"/>
                  <a:gd name="connsiteX250" fmla="*/ 437172 w 936181"/>
                  <a:gd name="connsiteY250" fmla="*/ 2342612 h 2501755"/>
                  <a:gd name="connsiteX251" fmla="*/ 434475 w 936181"/>
                  <a:gd name="connsiteY251" fmla="*/ 2356098 h 2501755"/>
                  <a:gd name="connsiteX252" fmla="*/ 426383 w 936181"/>
                  <a:gd name="connsiteY252" fmla="*/ 2364190 h 2501755"/>
                  <a:gd name="connsiteX253" fmla="*/ 404804 w 936181"/>
                  <a:gd name="connsiteY253" fmla="*/ 2361493 h 2501755"/>
                  <a:gd name="connsiteX254" fmla="*/ 396712 w 936181"/>
                  <a:gd name="connsiteY254" fmla="*/ 2356098 h 2501755"/>
                  <a:gd name="connsiteX255" fmla="*/ 377831 w 936181"/>
                  <a:gd name="connsiteY255" fmla="*/ 2361493 h 2501755"/>
                  <a:gd name="connsiteX256" fmla="*/ 380528 w 936181"/>
                  <a:gd name="connsiteY256" fmla="*/ 2377677 h 2501755"/>
                  <a:gd name="connsiteX257" fmla="*/ 377831 w 936181"/>
                  <a:gd name="connsiteY257" fmla="*/ 2388466 h 2501755"/>
                  <a:gd name="connsiteX258" fmla="*/ 334673 w 936181"/>
                  <a:gd name="connsiteY258" fmla="*/ 2396559 h 2501755"/>
                  <a:gd name="connsiteX259" fmla="*/ 331976 w 936181"/>
                  <a:gd name="connsiteY259" fmla="*/ 2410045 h 2501755"/>
                  <a:gd name="connsiteX260" fmla="*/ 326581 w 936181"/>
                  <a:gd name="connsiteY260" fmla="*/ 2423532 h 2501755"/>
                  <a:gd name="connsiteX261" fmla="*/ 329279 w 936181"/>
                  <a:gd name="connsiteY261" fmla="*/ 2437019 h 2501755"/>
                  <a:gd name="connsiteX262" fmla="*/ 334673 w 936181"/>
                  <a:gd name="connsiteY262" fmla="*/ 2455900 h 2501755"/>
                  <a:gd name="connsiteX263" fmla="*/ 342765 w 936181"/>
                  <a:gd name="connsiteY263" fmla="*/ 2463992 h 2501755"/>
                  <a:gd name="connsiteX264" fmla="*/ 331976 w 936181"/>
                  <a:gd name="connsiteY264" fmla="*/ 2485571 h 2501755"/>
                  <a:gd name="connsiteX265" fmla="*/ 318489 w 936181"/>
                  <a:gd name="connsiteY265" fmla="*/ 2488268 h 2501755"/>
                  <a:gd name="connsiteX266" fmla="*/ 302305 w 936181"/>
                  <a:gd name="connsiteY266" fmla="*/ 2490966 h 2501755"/>
                  <a:gd name="connsiteX267" fmla="*/ 269937 w 936181"/>
                  <a:gd name="connsiteY267" fmla="*/ 2488268 h 2501755"/>
                  <a:gd name="connsiteX268" fmla="*/ 253753 w 936181"/>
                  <a:gd name="connsiteY268" fmla="*/ 2499058 h 2501755"/>
                  <a:gd name="connsiteX269" fmla="*/ 207898 w 936181"/>
                  <a:gd name="connsiteY269" fmla="*/ 2501755 h 2501755"/>
                  <a:gd name="connsiteX270" fmla="*/ 197109 w 936181"/>
                  <a:gd name="connsiteY270" fmla="*/ 2496360 h 2501755"/>
                  <a:gd name="connsiteX271" fmla="*/ 194411 w 936181"/>
                  <a:gd name="connsiteY271" fmla="*/ 2488268 h 2501755"/>
                  <a:gd name="connsiteX272" fmla="*/ 202503 w 936181"/>
                  <a:gd name="connsiteY272" fmla="*/ 2428927 h 2501755"/>
                  <a:gd name="connsiteX273" fmla="*/ 199806 w 936181"/>
                  <a:gd name="connsiteY273" fmla="*/ 2420835 h 2501755"/>
                  <a:gd name="connsiteX274" fmla="*/ 197109 w 936181"/>
                  <a:gd name="connsiteY274" fmla="*/ 2410045 h 2501755"/>
                  <a:gd name="connsiteX275" fmla="*/ 175530 w 936181"/>
                  <a:gd name="connsiteY275" fmla="*/ 2399256 h 2501755"/>
                  <a:gd name="connsiteX276" fmla="*/ 162043 w 936181"/>
                  <a:gd name="connsiteY276" fmla="*/ 2388466 h 2501755"/>
                  <a:gd name="connsiteX277" fmla="*/ 153951 w 936181"/>
                  <a:gd name="connsiteY277" fmla="*/ 2374980 h 2501755"/>
                  <a:gd name="connsiteX278" fmla="*/ 140464 w 936181"/>
                  <a:gd name="connsiteY278" fmla="*/ 2348006 h 2501755"/>
                  <a:gd name="connsiteX279" fmla="*/ 153951 w 936181"/>
                  <a:gd name="connsiteY279" fmla="*/ 2342612 h 2501755"/>
                  <a:gd name="connsiteX280" fmla="*/ 167438 w 936181"/>
                  <a:gd name="connsiteY280" fmla="*/ 2345309 h 2501755"/>
                  <a:gd name="connsiteX281" fmla="*/ 159346 w 936181"/>
                  <a:gd name="connsiteY281" fmla="*/ 2315638 h 2501755"/>
                  <a:gd name="connsiteX282" fmla="*/ 156649 w 936181"/>
                  <a:gd name="connsiteY282" fmla="*/ 2304849 h 2501755"/>
                  <a:gd name="connsiteX283" fmla="*/ 175530 w 936181"/>
                  <a:gd name="connsiteY283" fmla="*/ 2307546 h 2501755"/>
                  <a:gd name="connsiteX284" fmla="*/ 183622 w 936181"/>
                  <a:gd name="connsiteY284" fmla="*/ 2291362 h 2501755"/>
                  <a:gd name="connsiteX285" fmla="*/ 156649 w 936181"/>
                  <a:gd name="connsiteY285" fmla="*/ 2277875 h 2501755"/>
                  <a:gd name="connsiteX286" fmla="*/ 159346 w 936181"/>
                  <a:gd name="connsiteY286" fmla="*/ 2267086 h 2501755"/>
                  <a:gd name="connsiteX287" fmla="*/ 151254 w 936181"/>
                  <a:gd name="connsiteY287" fmla="*/ 2248205 h 2501755"/>
                  <a:gd name="connsiteX288" fmla="*/ 132372 w 936181"/>
                  <a:gd name="connsiteY288" fmla="*/ 2229323 h 2501755"/>
                  <a:gd name="connsiteX289" fmla="*/ 121583 w 936181"/>
                  <a:gd name="connsiteY289" fmla="*/ 2218534 h 2501755"/>
                  <a:gd name="connsiteX290" fmla="*/ 113491 w 936181"/>
                  <a:gd name="connsiteY290" fmla="*/ 2202350 h 2501755"/>
                  <a:gd name="connsiteX291" fmla="*/ 110794 w 936181"/>
                  <a:gd name="connsiteY291" fmla="*/ 2178074 h 2501755"/>
                  <a:gd name="connsiteX292" fmla="*/ 102702 w 936181"/>
                  <a:gd name="connsiteY292" fmla="*/ 2175376 h 2501755"/>
                  <a:gd name="connsiteX293" fmla="*/ 100004 w 936181"/>
                  <a:gd name="connsiteY293" fmla="*/ 2164587 h 2501755"/>
                  <a:gd name="connsiteX294" fmla="*/ 81123 w 936181"/>
                  <a:gd name="connsiteY294" fmla="*/ 2140311 h 2501755"/>
                  <a:gd name="connsiteX295" fmla="*/ 94610 w 936181"/>
                  <a:gd name="connsiteY295" fmla="*/ 2132219 h 2501755"/>
                  <a:gd name="connsiteX296" fmla="*/ 81123 w 936181"/>
                  <a:gd name="connsiteY296" fmla="*/ 2110640 h 2501755"/>
                  <a:gd name="connsiteX297" fmla="*/ 62241 w 936181"/>
                  <a:gd name="connsiteY297" fmla="*/ 2091759 h 2501755"/>
                  <a:gd name="connsiteX298" fmla="*/ 54149 w 936181"/>
                  <a:gd name="connsiteY298" fmla="*/ 2089061 h 2501755"/>
                  <a:gd name="connsiteX299" fmla="*/ 56847 w 936181"/>
                  <a:gd name="connsiteY299" fmla="*/ 2067482 h 2501755"/>
                  <a:gd name="connsiteX300" fmla="*/ 56847 w 936181"/>
                  <a:gd name="connsiteY300" fmla="*/ 2043206 h 2501755"/>
                  <a:gd name="connsiteX301" fmla="*/ 46057 w 936181"/>
                  <a:gd name="connsiteY301" fmla="*/ 2040509 h 2501755"/>
                  <a:gd name="connsiteX302" fmla="*/ 37965 w 936181"/>
                  <a:gd name="connsiteY302" fmla="*/ 2037812 h 2501755"/>
                  <a:gd name="connsiteX303" fmla="*/ 32571 w 936181"/>
                  <a:gd name="connsiteY303" fmla="*/ 2027022 h 2501755"/>
                  <a:gd name="connsiteX304" fmla="*/ 35268 w 936181"/>
                  <a:gd name="connsiteY304" fmla="*/ 2018930 h 2501755"/>
                  <a:gd name="connsiteX305" fmla="*/ 48755 w 936181"/>
                  <a:gd name="connsiteY305" fmla="*/ 2024325 h 2501755"/>
                  <a:gd name="connsiteX306" fmla="*/ 59544 w 936181"/>
                  <a:gd name="connsiteY306" fmla="*/ 2045904 h 2501755"/>
                  <a:gd name="connsiteX307" fmla="*/ 70334 w 936181"/>
                  <a:gd name="connsiteY307" fmla="*/ 2043206 h 2501755"/>
                  <a:gd name="connsiteX308" fmla="*/ 64939 w 936181"/>
                  <a:gd name="connsiteY308" fmla="*/ 2000049 h 2501755"/>
                  <a:gd name="connsiteX309" fmla="*/ 67636 w 936181"/>
                  <a:gd name="connsiteY309" fmla="*/ 1991957 h 2501755"/>
                  <a:gd name="connsiteX310" fmla="*/ 56847 w 936181"/>
                  <a:gd name="connsiteY310" fmla="*/ 1981167 h 2501755"/>
                  <a:gd name="connsiteX311" fmla="*/ 32571 w 936181"/>
                  <a:gd name="connsiteY311" fmla="*/ 1986562 h 2501755"/>
                  <a:gd name="connsiteX312" fmla="*/ 24479 w 936181"/>
                  <a:gd name="connsiteY312" fmla="*/ 1991957 h 2501755"/>
                  <a:gd name="connsiteX313" fmla="*/ 16387 w 936181"/>
                  <a:gd name="connsiteY313" fmla="*/ 1970378 h 2501755"/>
                  <a:gd name="connsiteX314" fmla="*/ 5597 w 936181"/>
                  <a:gd name="connsiteY314" fmla="*/ 1954194 h 2501755"/>
                  <a:gd name="connsiteX315" fmla="*/ 13689 w 936181"/>
                  <a:gd name="connsiteY315" fmla="*/ 1940707 h 2501755"/>
                  <a:gd name="connsiteX316" fmla="*/ 19084 w 936181"/>
                  <a:gd name="connsiteY316" fmla="*/ 1924523 h 2501755"/>
                  <a:gd name="connsiteX317" fmla="*/ 8295 w 936181"/>
                  <a:gd name="connsiteY317" fmla="*/ 1921826 h 2501755"/>
                  <a:gd name="connsiteX318" fmla="*/ 2900 w 936181"/>
                  <a:gd name="connsiteY318" fmla="*/ 1857090 h 2501755"/>
                  <a:gd name="connsiteX319" fmla="*/ 16387 w 936181"/>
                  <a:gd name="connsiteY319" fmla="*/ 1854392 h 2501755"/>
                  <a:gd name="connsiteX320" fmla="*/ 19084 w 936181"/>
                  <a:gd name="connsiteY320" fmla="*/ 1846300 h 2501755"/>
                  <a:gd name="connsiteX321" fmla="*/ 2900 w 936181"/>
                  <a:gd name="connsiteY321" fmla="*/ 1846300 h 2501755"/>
                  <a:gd name="connsiteX322" fmla="*/ 16387 w 936181"/>
                  <a:gd name="connsiteY322" fmla="*/ 1851695 h 2501755"/>
                  <a:gd name="connsiteX323" fmla="*/ 29873 w 936181"/>
                  <a:gd name="connsiteY323" fmla="*/ 1867879 h 2501755"/>
                  <a:gd name="connsiteX324" fmla="*/ 40663 w 936181"/>
                  <a:gd name="connsiteY324" fmla="*/ 1870576 h 2501755"/>
                  <a:gd name="connsiteX325" fmla="*/ 56847 w 936181"/>
                  <a:gd name="connsiteY325" fmla="*/ 1859787 h 2501755"/>
                  <a:gd name="connsiteX326" fmla="*/ 48755 w 936181"/>
                  <a:gd name="connsiteY326" fmla="*/ 1773472 h 2501755"/>
                  <a:gd name="connsiteX327" fmla="*/ 56847 w 936181"/>
                  <a:gd name="connsiteY327" fmla="*/ 1735709 h 2501755"/>
                  <a:gd name="connsiteX328" fmla="*/ 64939 w 936181"/>
                  <a:gd name="connsiteY328" fmla="*/ 1733012 h 2501755"/>
                  <a:gd name="connsiteX329" fmla="*/ 67636 w 936181"/>
                  <a:gd name="connsiteY329" fmla="*/ 1724920 h 2501755"/>
                  <a:gd name="connsiteX330" fmla="*/ 64939 w 936181"/>
                  <a:gd name="connsiteY330" fmla="*/ 1714130 h 2501755"/>
                  <a:gd name="connsiteX331" fmla="*/ 70334 w 936181"/>
                  <a:gd name="connsiteY331" fmla="*/ 1689854 h 2501755"/>
                  <a:gd name="connsiteX332" fmla="*/ 100004 w 936181"/>
                  <a:gd name="connsiteY332" fmla="*/ 1684459 h 2501755"/>
                  <a:gd name="connsiteX333" fmla="*/ 108096 w 936181"/>
                  <a:gd name="connsiteY333" fmla="*/ 1676367 h 2501755"/>
                  <a:gd name="connsiteX334" fmla="*/ 110794 w 936181"/>
                  <a:gd name="connsiteY334" fmla="*/ 1662881 h 2501755"/>
                  <a:gd name="connsiteX335" fmla="*/ 116188 w 936181"/>
                  <a:gd name="connsiteY335" fmla="*/ 1643999 h 2501755"/>
                  <a:gd name="connsiteX336" fmla="*/ 118886 w 936181"/>
                  <a:gd name="connsiteY336" fmla="*/ 1617026 h 2501755"/>
                  <a:gd name="connsiteX337" fmla="*/ 126978 w 936181"/>
                  <a:gd name="connsiteY337" fmla="*/ 1603539 h 2501755"/>
                  <a:gd name="connsiteX338" fmla="*/ 129675 w 936181"/>
                  <a:gd name="connsiteY338" fmla="*/ 1595447 h 2501755"/>
                  <a:gd name="connsiteX339" fmla="*/ 105399 w 936181"/>
                  <a:gd name="connsiteY339" fmla="*/ 1563079 h 2501755"/>
                  <a:gd name="connsiteX340" fmla="*/ 102702 w 936181"/>
                  <a:gd name="connsiteY340" fmla="*/ 1533408 h 2501755"/>
                  <a:gd name="connsiteX341" fmla="*/ 100004 w 936181"/>
                  <a:gd name="connsiteY341" fmla="*/ 1511829 h 2501755"/>
                  <a:gd name="connsiteX342" fmla="*/ 91912 w 936181"/>
                  <a:gd name="connsiteY342" fmla="*/ 1501040 h 2501755"/>
                  <a:gd name="connsiteX343" fmla="*/ 100004 w 936181"/>
                  <a:gd name="connsiteY343" fmla="*/ 1495645 h 2501755"/>
                  <a:gd name="connsiteX344" fmla="*/ 121583 w 936181"/>
                  <a:gd name="connsiteY344" fmla="*/ 1490251 h 2501755"/>
                  <a:gd name="connsiteX345" fmla="*/ 129675 w 936181"/>
                  <a:gd name="connsiteY345" fmla="*/ 1487553 h 2501755"/>
                  <a:gd name="connsiteX346" fmla="*/ 135070 w 936181"/>
                  <a:gd name="connsiteY346" fmla="*/ 1479461 h 2501755"/>
                  <a:gd name="connsiteX347" fmla="*/ 135070 w 936181"/>
                  <a:gd name="connsiteY347" fmla="*/ 1417422 h 2501755"/>
                  <a:gd name="connsiteX348" fmla="*/ 129675 w 936181"/>
                  <a:gd name="connsiteY348" fmla="*/ 1409330 h 2501755"/>
                  <a:gd name="connsiteX349" fmla="*/ 110794 w 936181"/>
                  <a:gd name="connsiteY349" fmla="*/ 1385054 h 2501755"/>
                  <a:gd name="connsiteX350" fmla="*/ 94610 w 936181"/>
                  <a:gd name="connsiteY350" fmla="*/ 1371567 h 2501755"/>
                  <a:gd name="connsiteX351" fmla="*/ 83820 w 936181"/>
                  <a:gd name="connsiteY351" fmla="*/ 1358081 h 2501755"/>
                  <a:gd name="connsiteX352" fmla="*/ 81123 w 936181"/>
                  <a:gd name="connsiteY352" fmla="*/ 1263674 h 2501755"/>
                  <a:gd name="connsiteX353" fmla="*/ 70334 w 936181"/>
                  <a:gd name="connsiteY353" fmla="*/ 1247490 h 2501755"/>
                  <a:gd name="connsiteX354" fmla="*/ 59544 w 936181"/>
                  <a:gd name="connsiteY354" fmla="*/ 1204332 h 2501755"/>
                  <a:gd name="connsiteX355" fmla="*/ 56847 w 936181"/>
                  <a:gd name="connsiteY355" fmla="*/ 1153082 h 2501755"/>
                  <a:gd name="connsiteX356" fmla="*/ 73031 w 936181"/>
                  <a:gd name="connsiteY356" fmla="*/ 1144990 h 2501755"/>
                  <a:gd name="connsiteX357" fmla="*/ 51452 w 936181"/>
                  <a:gd name="connsiteY357" fmla="*/ 1118017 h 2501755"/>
                  <a:gd name="connsiteX358" fmla="*/ 40663 w 936181"/>
                  <a:gd name="connsiteY358" fmla="*/ 1109925 h 2501755"/>
                  <a:gd name="connsiteX359" fmla="*/ 37965 w 936181"/>
                  <a:gd name="connsiteY359" fmla="*/ 1099136 h 2501755"/>
                  <a:gd name="connsiteX360" fmla="*/ 40663 w 936181"/>
                  <a:gd name="connsiteY360" fmla="*/ 1074859 h 2501755"/>
                  <a:gd name="connsiteX361" fmla="*/ 59544 w 936181"/>
                  <a:gd name="connsiteY361" fmla="*/ 1050583 h 2501755"/>
                  <a:gd name="connsiteX362" fmla="*/ 64939 w 936181"/>
                  <a:gd name="connsiteY362" fmla="*/ 1039794 h 2501755"/>
                  <a:gd name="connsiteX363" fmla="*/ 73031 w 936181"/>
                  <a:gd name="connsiteY363" fmla="*/ 1026307 h 2501755"/>
                  <a:gd name="connsiteX364" fmla="*/ 83820 w 936181"/>
                  <a:gd name="connsiteY364" fmla="*/ 1010123 h 2501755"/>
                  <a:gd name="connsiteX365" fmla="*/ 86518 w 936181"/>
                  <a:gd name="connsiteY365" fmla="*/ 993939 h 2501755"/>
                  <a:gd name="connsiteX366" fmla="*/ 97307 w 936181"/>
                  <a:gd name="connsiteY366" fmla="*/ 988544 h 2501755"/>
                  <a:gd name="connsiteX367" fmla="*/ 113491 w 936181"/>
                  <a:gd name="connsiteY367" fmla="*/ 980452 h 2501755"/>
                  <a:gd name="connsiteX368" fmla="*/ 124280 w 936181"/>
                  <a:gd name="connsiteY368" fmla="*/ 966966 h 2501755"/>
                  <a:gd name="connsiteX369" fmla="*/ 129675 w 936181"/>
                  <a:gd name="connsiteY369" fmla="*/ 956176 h 2501755"/>
                  <a:gd name="connsiteX370" fmla="*/ 145859 w 936181"/>
                  <a:gd name="connsiteY370" fmla="*/ 942690 h 2501755"/>
                  <a:gd name="connsiteX371" fmla="*/ 156649 w 936181"/>
                  <a:gd name="connsiteY371" fmla="*/ 934597 h 2501755"/>
                  <a:gd name="connsiteX372" fmla="*/ 162043 w 936181"/>
                  <a:gd name="connsiteY372" fmla="*/ 942690 h 2501755"/>
                  <a:gd name="connsiteX373" fmla="*/ 164741 w 936181"/>
                  <a:gd name="connsiteY373" fmla="*/ 950782 h 2501755"/>
                  <a:gd name="connsiteX374" fmla="*/ 178227 w 936181"/>
                  <a:gd name="connsiteY374" fmla="*/ 961571 h 2501755"/>
                  <a:gd name="connsiteX375" fmla="*/ 202503 w 936181"/>
                  <a:gd name="connsiteY375" fmla="*/ 945387 h 2501755"/>
                  <a:gd name="connsiteX376" fmla="*/ 205201 w 936181"/>
                  <a:gd name="connsiteY376" fmla="*/ 923808 h 2501755"/>
                  <a:gd name="connsiteX377" fmla="*/ 210595 w 936181"/>
                  <a:gd name="connsiteY377" fmla="*/ 899532 h 2501755"/>
                  <a:gd name="connsiteX378" fmla="*/ 205201 w 936181"/>
                  <a:gd name="connsiteY378" fmla="*/ 861769 h 2501755"/>
                  <a:gd name="connsiteX379" fmla="*/ 183622 w 936181"/>
                  <a:gd name="connsiteY379" fmla="*/ 859072 h 2501755"/>
                  <a:gd name="connsiteX380" fmla="*/ 194411 w 936181"/>
                  <a:gd name="connsiteY380" fmla="*/ 834796 h 2501755"/>
                  <a:gd name="connsiteX381" fmla="*/ 205201 w 936181"/>
                  <a:gd name="connsiteY381" fmla="*/ 810520 h 2501755"/>
                  <a:gd name="connsiteX382" fmla="*/ 210595 w 936181"/>
                  <a:gd name="connsiteY382" fmla="*/ 770059 h 2501755"/>
                  <a:gd name="connsiteX383" fmla="*/ 215990 w 936181"/>
                  <a:gd name="connsiteY383" fmla="*/ 761967 h 2501755"/>
                  <a:gd name="connsiteX384" fmla="*/ 229477 w 936181"/>
                  <a:gd name="connsiteY384" fmla="*/ 726902 h 2501755"/>
                  <a:gd name="connsiteX385" fmla="*/ 237569 w 936181"/>
                  <a:gd name="connsiteY385" fmla="*/ 697231 h 2501755"/>
                  <a:gd name="connsiteX386" fmla="*/ 240266 w 936181"/>
                  <a:gd name="connsiteY386" fmla="*/ 689139 h 2501755"/>
                  <a:gd name="connsiteX387" fmla="*/ 229477 w 936181"/>
                  <a:gd name="connsiteY387" fmla="*/ 672955 h 2501755"/>
                  <a:gd name="connsiteX388" fmla="*/ 232174 w 936181"/>
                  <a:gd name="connsiteY388" fmla="*/ 659468 h 2501755"/>
                  <a:gd name="connsiteX389" fmla="*/ 234872 w 936181"/>
                  <a:gd name="connsiteY389" fmla="*/ 651376 h 2501755"/>
                  <a:gd name="connsiteX390" fmla="*/ 237569 w 936181"/>
                  <a:gd name="connsiteY390" fmla="*/ 637890 h 2501755"/>
                  <a:gd name="connsiteX391" fmla="*/ 234872 w 936181"/>
                  <a:gd name="connsiteY391" fmla="*/ 586640 h 2501755"/>
                  <a:gd name="connsiteX392" fmla="*/ 229477 w 936181"/>
                  <a:gd name="connsiteY392" fmla="*/ 575851 h 2501755"/>
                  <a:gd name="connsiteX393" fmla="*/ 253753 w 936181"/>
                  <a:gd name="connsiteY393" fmla="*/ 573153 h 2501755"/>
                  <a:gd name="connsiteX394" fmla="*/ 256450 w 936181"/>
                  <a:gd name="connsiteY394" fmla="*/ 565061 h 2501755"/>
                  <a:gd name="connsiteX395" fmla="*/ 272634 w 936181"/>
                  <a:gd name="connsiteY395" fmla="*/ 551574 h 2501755"/>
                  <a:gd name="connsiteX396" fmla="*/ 275332 w 936181"/>
                  <a:gd name="connsiteY396" fmla="*/ 540785 h 2501755"/>
                  <a:gd name="connsiteX397" fmla="*/ 288818 w 936181"/>
                  <a:gd name="connsiteY397" fmla="*/ 527298 h 2501755"/>
                  <a:gd name="connsiteX398" fmla="*/ 280726 w 936181"/>
                  <a:gd name="connsiteY398" fmla="*/ 494930 h 2501755"/>
                  <a:gd name="connsiteX399" fmla="*/ 286121 w 936181"/>
                  <a:gd name="connsiteY399" fmla="*/ 484141 h 2501755"/>
                  <a:gd name="connsiteX400" fmla="*/ 288818 w 936181"/>
                  <a:gd name="connsiteY400" fmla="*/ 467957 h 2501755"/>
                  <a:gd name="connsiteX401" fmla="*/ 307700 w 936181"/>
                  <a:gd name="connsiteY401" fmla="*/ 449075 h 2501755"/>
                  <a:gd name="connsiteX402" fmla="*/ 318489 w 936181"/>
                  <a:gd name="connsiteY402" fmla="*/ 432891 h 2501755"/>
                  <a:gd name="connsiteX403" fmla="*/ 337371 w 936181"/>
                  <a:gd name="connsiteY403" fmla="*/ 419405 h 2501755"/>
                  <a:gd name="connsiteX404" fmla="*/ 342765 w 936181"/>
                  <a:gd name="connsiteY404" fmla="*/ 400523 h 2501755"/>
                  <a:gd name="connsiteX405" fmla="*/ 337371 w 936181"/>
                  <a:gd name="connsiteY405" fmla="*/ 368155 h 2501755"/>
                  <a:gd name="connsiteX406" fmla="*/ 329279 w 936181"/>
                  <a:gd name="connsiteY406" fmla="*/ 343879 h 2501755"/>
                  <a:gd name="connsiteX407" fmla="*/ 321187 w 936181"/>
                  <a:gd name="connsiteY407" fmla="*/ 341182 h 2501755"/>
                  <a:gd name="connsiteX408" fmla="*/ 318489 w 936181"/>
                  <a:gd name="connsiteY408" fmla="*/ 357366 h 2501755"/>
                  <a:gd name="connsiteX409" fmla="*/ 329279 w 936181"/>
                  <a:gd name="connsiteY409" fmla="*/ 330392 h 2501755"/>
                  <a:gd name="connsiteX410" fmla="*/ 331976 w 936181"/>
                  <a:gd name="connsiteY410" fmla="*/ 311511 h 2501755"/>
                  <a:gd name="connsiteX411" fmla="*/ 342765 w 936181"/>
                  <a:gd name="connsiteY411" fmla="*/ 300721 h 2501755"/>
                  <a:gd name="connsiteX412" fmla="*/ 356252 w 936181"/>
                  <a:gd name="connsiteY412" fmla="*/ 260261 h 2501755"/>
                  <a:gd name="connsiteX413" fmla="*/ 358949 w 936181"/>
                  <a:gd name="connsiteY413" fmla="*/ 238682 h 2501755"/>
                  <a:gd name="connsiteX414" fmla="*/ 364344 w 936181"/>
                  <a:gd name="connsiteY414" fmla="*/ 230590 h 2501755"/>
                  <a:gd name="connsiteX415" fmla="*/ 399410 w 936181"/>
                  <a:gd name="connsiteY415" fmla="*/ 203617 h 2501755"/>
                  <a:gd name="connsiteX416" fmla="*/ 410199 w 936181"/>
                  <a:gd name="connsiteY416" fmla="*/ 211709 h 2501755"/>
                  <a:gd name="connsiteX417" fmla="*/ 418291 w 936181"/>
                  <a:gd name="connsiteY417" fmla="*/ 225196 h 2501755"/>
                  <a:gd name="connsiteX418" fmla="*/ 429080 w 936181"/>
                  <a:gd name="connsiteY418" fmla="*/ 222498 h 2501755"/>
                  <a:gd name="connsiteX419" fmla="*/ 437172 w 936181"/>
                  <a:gd name="connsiteY419" fmla="*/ 190130 h 2501755"/>
                  <a:gd name="connsiteX420" fmla="*/ 437172 w 936181"/>
                  <a:gd name="connsiteY420" fmla="*/ 122697 h 2501755"/>
                  <a:gd name="connsiteX421" fmla="*/ 456053 w 936181"/>
                  <a:gd name="connsiteY421" fmla="*/ 110645 h 2501755"/>
                  <a:gd name="connsiteX422" fmla="*/ 477255 w 936181"/>
                  <a:gd name="connsiteY422" fmla="*/ 106787 h 2501755"/>
                  <a:gd name="connsiteX423" fmla="*/ 491119 w 936181"/>
                  <a:gd name="connsiteY423" fmla="*/ 122697 h 2501755"/>
                  <a:gd name="connsiteX424" fmla="*/ 545066 w 936181"/>
                  <a:gd name="connsiteY424" fmla="*/ 128091 h 2501755"/>
                  <a:gd name="connsiteX425" fmla="*/ 553158 w 936181"/>
                  <a:gd name="connsiteY425" fmla="*/ 130789 h 2501755"/>
                  <a:gd name="connsiteX426" fmla="*/ 563948 w 936181"/>
                  <a:gd name="connsiteY426" fmla="*/ 133486 h 2501755"/>
                  <a:gd name="connsiteX427" fmla="*/ 569342 w 936181"/>
                  <a:gd name="connsiteY427" fmla="*/ 114605 h 2501755"/>
                  <a:gd name="connsiteX428" fmla="*/ 566645 w 936181"/>
                  <a:gd name="connsiteY428" fmla="*/ 93026 h 2501755"/>
                  <a:gd name="connsiteX429" fmla="*/ 572040 w 936181"/>
                  <a:gd name="connsiteY429" fmla="*/ 57960 h 2501755"/>
                  <a:gd name="connsiteX430" fmla="*/ 577434 w 936181"/>
                  <a:gd name="connsiteY430" fmla="*/ 47171 h 2501755"/>
                  <a:gd name="connsiteX431" fmla="*/ 566645 w 936181"/>
                  <a:gd name="connsiteY431" fmla="*/ 25592 h 2501755"/>
                  <a:gd name="connsiteX432" fmla="*/ 563948 w 936181"/>
                  <a:gd name="connsiteY432" fmla="*/ 17500 h 2501755"/>
                  <a:gd name="connsiteX433" fmla="*/ 592458 w 936181"/>
                  <a:gd name="connsiteY433" fmla="*/ 156 h 2501755"/>
                  <a:gd name="connsiteX0" fmla="*/ 592458 w 936181"/>
                  <a:gd name="connsiteY0" fmla="*/ 156 h 2501755"/>
                  <a:gd name="connsiteX1" fmla="*/ 612500 w 936181"/>
                  <a:gd name="connsiteY1" fmla="*/ 9408 h 2501755"/>
                  <a:gd name="connsiteX2" fmla="*/ 615197 w 936181"/>
                  <a:gd name="connsiteY2" fmla="*/ 17500 h 2501755"/>
                  <a:gd name="connsiteX3" fmla="*/ 624928 w 936181"/>
                  <a:gd name="connsiteY3" fmla="*/ 24433 h 2501755"/>
                  <a:gd name="connsiteX4" fmla="*/ 640736 w 936181"/>
                  <a:gd name="connsiteY4" fmla="*/ 37920 h 2501755"/>
                  <a:gd name="connsiteX5" fmla="*/ 649886 w 936181"/>
                  <a:gd name="connsiteY5" fmla="*/ 46590 h 2501755"/>
                  <a:gd name="connsiteX6" fmla="*/ 644868 w 936181"/>
                  <a:gd name="connsiteY6" fmla="*/ 55263 h 2501755"/>
                  <a:gd name="connsiteX7" fmla="*/ 650263 w 936181"/>
                  <a:gd name="connsiteY7" fmla="*/ 63355 h 2501755"/>
                  <a:gd name="connsiteX8" fmla="*/ 661052 w 936181"/>
                  <a:gd name="connsiteY8" fmla="*/ 68750 h 2501755"/>
                  <a:gd name="connsiteX9" fmla="*/ 688026 w 936181"/>
                  <a:gd name="connsiteY9" fmla="*/ 79539 h 2501755"/>
                  <a:gd name="connsiteX10" fmla="*/ 717696 w 936181"/>
                  <a:gd name="connsiteY10" fmla="*/ 93026 h 2501755"/>
                  <a:gd name="connsiteX11" fmla="*/ 736578 w 936181"/>
                  <a:gd name="connsiteY11" fmla="*/ 87631 h 2501755"/>
                  <a:gd name="connsiteX12" fmla="*/ 752762 w 936181"/>
                  <a:gd name="connsiteY12" fmla="*/ 98420 h 2501755"/>
                  <a:gd name="connsiteX13" fmla="*/ 766249 w 936181"/>
                  <a:gd name="connsiteY13" fmla="*/ 117302 h 2501755"/>
                  <a:gd name="connsiteX14" fmla="*/ 771643 w 936181"/>
                  <a:gd name="connsiteY14" fmla="*/ 133486 h 2501755"/>
                  <a:gd name="connsiteX15" fmla="*/ 787827 w 936181"/>
                  <a:gd name="connsiteY15" fmla="*/ 138881 h 2501755"/>
                  <a:gd name="connsiteX16" fmla="*/ 795919 w 936181"/>
                  <a:gd name="connsiteY16" fmla="*/ 144275 h 2501755"/>
                  <a:gd name="connsiteX17" fmla="*/ 804011 w 936181"/>
                  <a:gd name="connsiteY17" fmla="*/ 155065 h 2501755"/>
                  <a:gd name="connsiteX18" fmla="*/ 820195 w 936181"/>
                  <a:gd name="connsiteY18" fmla="*/ 171249 h 2501755"/>
                  <a:gd name="connsiteX19" fmla="*/ 817498 w 936181"/>
                  <a:gd name="connsiteY19" fmla="*/ 203617 h 2501755"/>
                  <a:gd name="connsiteX20" fmla="*/ 828287 w 936181"/>
                  <a:gd name="connsiteY20" fmla="*/ 206314 h 2501755"/>
                  <a:gd name="connsiteX21" fmla="*/ 830985 w 936181"/>
                  <a:gd name="connsiteY21" fmla="*/ 252169 h 2501755"/>
                  <a:gd name="connsiteX22" fmla="*/ 839077 w 936181"/>
                  <a:gd name="connsiteY22" fmla="*/ 254866 h 2501755"/>
                  <a:gd name="connsiteX23" fmla="*/ 844472 w 936181"/>
                  <a:gd name="connsiteY23" fmla="*/ 265656 h 2501755"/>
                  <a:gd name="connsiteX24" fmla="*/ 849866 w 936181"/>
                  <a:gd name="connsiteY24" fmla="*/ 273748 h 2501755"/>
                  <a:gd name="connsiteX25" fmla="*/ 844472 w 936181"/>
                  <a:gd name="connsiteY25" fmla="*/ 287235 h 2501755"/>
                  <a:gd name="connsiteX26" fmla="*/ 836380 w 936181"/>
                  <a:gd name="connsiteY26" fmla="*/ 292629 h 2501755"/>
                  <a:gd name="connsiteX27" fmla="*/ 852564 w 936181"/>
                  <a:gd name="connsiteY27" fmla="*/ 311511 h 2501755"/>
                  <a:gd name="connsiteX28" fmla="*/ 855261 w 936181"/>
                  <a:gd name="connsiteY28" fmla="*/ 322300 h 2501755"/>
                  <a:gd name="connsiteX29" fmla="*/ 871445 w 936181"/>
                  <a:gd name="connsiteY29" fmla="*/ 335787 h 2501755"/>
                  <a:gd name="connsiteX30" fmla="*/ 876840 w 936181"/>
                  <a:gd name="connsiteY30" fmla="*/ 354668 h 2501755"/>
                  <a:gd name="connsiteX31" fmla="*/ 884932 w 936181"/>
                  <a:gd name="connsiteY31" fmla="*/ 376247 h 2501755"/>
                  <a:gd name="connsiteX32" fmla="*/ 887629 w 936181"/>
                  <a:gd name="connsiteY32" fmla="*/ 411313 h 2501755"/>
                  <a:gd name="connsiteX33" fmla="*/ 884932 w 936181"/>
                  <a:gd name="connsiteY33" fmla="*/ 419405 h 2501755"/>
                  <a:gd name="connsiteX34" fmla="*/ 882234 w 936181"/>
                  <a:gd name="connsiteY34" fmla="*/ 432891 h 2501755"/>
                  <a:gd name="connsiteX35" fmla="*/ 890326 w 936181"/>
                  <a:gd name="connsiteY35" fmla="*/ 459865 h 2501755"/>
                  <a:gd name="connsiteX36" fmla="*/ 901116 w 936181"/>
                  <a:gd name="connsiteY36" fmla="*/ 462562 h 2501755"/>
                  <a:gd name="connsiteX37" fmla="*/ 911905 w 936181"/>
                  <a:gd name="connsiteY37" fmla="*/ 489536 h 2501755"/>
                  <a:gd name="connsiteX38" fmla="*/ 914603 w 936181"/>
                  <a:gd name="connsiteY38" fmla="*/ 505720 h 2501755"/>
                  <a:gd name="connsiteX39" fmla="*/ 917300 w 936181"/>
                  <a:gd name="connsiteY39" fmla="*/ 513812 h 2501755"/>
                  <a:gd name="connsiteX40" fmla="*/ 936181 w 936181"/>
                  <a:gd name="connsiteY40" fmla="*/ 516509 h 2501755"/>
                  <a:gd name="connsiteX41" fmla="*/ 933484 w 936181"/>
                  <a:gd name="connsiteY41" fmla="*/ 535390 h 2501755"/>
                  <a:gd name="connsiteX42" fmla="*/ 925392 w 936181"/>
                  <a:gd name="connsiteY42" fmla="*/ 540785 h 2501755"/>
                  <a:gd name="connsiteX43" fmla="*/ 893024 w 936181"/>
                  <a:gd name="connsiteY43" fmla="*/ 546180 h 2501755"/>
                  <a:gd name="connsiteX44" fmla="*/ 879537 w 936181"/>
                  <a:gd name="connsiteY44" fmla="*/ 565061 h 2501755"/>
                  <a:gd name="connsiteX45" fmla="*/ 857958 w 936181"/>
                  <a:gd name="connsiteY45" fmla="*/ 562364 h 2501755"/>
                  <a:gd name="connsiteX46" fmla="*/ 839077 w 936181"/>
                  <a:gd name="connsiteY46" fmla="*/ 554272 h 2501755"/>
                  <a:gd name="connsiteX47" fmla="*/ 814801 w 936181"/>
                  <a:gd name="connsiteY47" fmla="*/ 556969 h 2501755"/>
                  <a:gd name="connsiteX48" fmla="*/ 817498 w 936181"/>
                  <a:gd name="connsiteY48" fmla="*/ 592035 h 2501755"/>
                  <a:gd name="connsiteX49" fmla="*/ 825590 w 936181"/>
                  <a:gd name="connsiteY49" fmla="*/ 600127 h 2501755"/>
                  <a:gd name="connsiteX50" fmla="*/ 812103 w 936181"/>
                  <a:gd name="connsiteY50" fmla="*/ 602824 h 2501755"/>
                  <a:gd name="connsiteX51" fmla="*/ 790525 w 936181"/>
                  <a:gd name="connsiteY51" fmla="*/ 600127 h 2501755"/>
                  <a:gd name="connsiteX52" fmla="*/ 785130 w 936181"/>
                  <a:gd name="connsiteY52" fmla="*/ 592035 h 2501755"/>
                  <a:gd name="connsiteX53" fmla="*/ 782433 w 936181"/>
                  <a:gd name="connsiteY53" fmla="*/ 583943 h 2501755"/>
                  <a:gd name="connsiteX54" fmla="*/ 801314 w 936181"/>
                  <a:gd name="connsiteY54" fmla="*/ 600127 h 2501755"/>
                  <a:gd name="connsiteX55" fmla="*/ 790525 w 936181"/>
                  <a:gd name="connsiteY55" fmla="*/ 627100 h 2501755"/>
                  <a:gd name="connsiteX56" fmla="*/ 768946 w 936181"/>
                  <a:gd name="connsiteY56" fmla="*/ 632495 h 2501755"/>
                  <a:gd name="connsiteX57" fmla="*/ 750064 w 936181"/>
                  <a:gd name="connsiteY57" fmla="*/ 640587 h 2501755"/>
                  <a:gd name="connsiteX58" fmla="*/ 741972 w 936181"/>
                  <a:gd name="connsiteY58" fmla="*/ 645982 h 2501755"/>
                  <a:gd name="connsiteX59" fmla="*/ 766249 w 936181"/>
                  <a:gd name="connsiteY59" fmla="*/ 664863 h 2501755"/>
                  <a:gd name="connsiteX60" fmla="*/ 774341 w 936181"/>
                  <a:gd name="connsiteY60" fmla="*/ 667560 h 2501755"/>
                  <a:gd name="connsiteX61" fmla="*/ 763551 w 936181"/>
                  <a:gd name="connsiteY61" fmla="*/ 697231 h 2501755"/>
                  <a:gd name="connsiteX62" fmla="*/ 760854 w 936181"/>
                  <a:gd name="connsiteY62" fmla="*/ 708020 h 2501755"/>
                  <a:gd name="connsiteX63" fmla="*/ 747367 w 936181"/>
                  <a:gd name="connsiteY63" fmla="*/ 718810 h 2501755"/>
                  <a:gd name="connsiteX64" fmla="*/ 750064 w 936181"/>
                  <a:gd name="connsiteY64" fmla="*/ 748481 h 2501755"/>
                  <a:gd name="connsiteX65" fmla="*/ 752762 w 936181"/>
                  <a:gd name="connsiteY65" fmla="*/ 761967 h 2501755"/>
                  <a:gd name="connsiteX66" fmla="*/ 766249 w 936181"/>
                  <a:gd name="connsiteY66" fmla="*/ 778151 h 2501755"/>
                  <a:gd name="connsiteX67" fmla="*/ 768946 w 936181"/>
                  <a:gd name="connsiteY67" fmla="*/ 786243 h 2501755"/>
                  <a:gd name="connsiteX68" fmla="*/ 777038 w 936181"/>
                  <a:gd name="connsiteY68" fmla="*/ 788941 h 2501755"/>
                  <a:gd name="connsiteX69" fmla="*/ 787827 w 936181"/>
                  <a:gd name="connsiteY69" fmla="*/ 794336 h 2501755"/>
                  <a:gd name="connsiteX70" fmla="*/ 790525 w 936181"/>
                  <a:gd name="connsiteY70" fmla="*/ 805125 h 2501755"/>
                  <a:gd name="connsiteX71" fmla="*/ 782433 w 936181"/>
                  <a:gd name="connsiteY71" fmla="*/ 810520 h 2501755"/>
                  <a:gd name="connsiteX72" fmla="*/ 771643 w 936181"/>
                  <a:gd name="connsiteY72" fmla="*/ 821309 h 2501755"/>
                  <a:gd name="connsiteX73" fmla="*/ 768946 w 936181"/>
                  <a:gd name="connsiteY73" fmla="*/ 829401 h 2501755"/>
                  <a:gd name="connsiteX74" fmla="*/ 758157 w 936181"/>
                  <a:gd name="connsiteY74" fmla="*/ 856374 h 2501755"/>
                  <a:gd name="connsiteX75" fmla="*/ 733880 w 936181"/>
                  <a:gd name="connsiteY75" fmla="*/ 942690 h 2501755"/>
                  <a:gd name="connsiteX76" fmla="*/ 725788 w 936181"/>
                  <a:gd name="connsiteY76" fmla="*/ 945387 h 2501755"/>
                  <a:gd name="connsiteX77" fmla="*/ 723091 w 936181"/>
                  <a:gd name="connsiteY77" fmla="*/ 953479 h 2501755"/>
                  <a:gd name="connsiteX78" fmla="*/ 696118 w 936181"/>
                  <a:gd name="connsiteY78" fmla="*/ 975058 h 2501755"/>
                  <a:gd name="connsiteX79" fmla="*/ 688026 w 936181"/>
                  <a:gd name="connsiteY79" fmla="*/ 985847 h 2501755"/>
                  <a:gd name="connsiteX80" fmla="*/ 679934 w 936181"/>
                  <a:gd name="connsiteY80" fmla="*/ 991242 h 2501755"/>
                  <a:gd name="connsiteX81" fmla="*/ 674539 w 936181"/>
                  <a:gd name="connsiteY81" fmla="*/ 999334 h 2501755"/>
                  <a:gd name="connsiteX82" fmla="*/ 655657 w 936181"/>
                  <a:gd name="connsiteY82" fmla="*/ 1007426 h 2501755"/>
                  <a:gd name="connsiteX83" fmla="*/ 650263 w 936181"/>
                  <a:gd name="connsiteY83" fmla="*/ 1020913 h 2501755"/>
                  <a:gd name="connsiteX84" fmla="*/ 639473 w 936181"/>
                  <a:gd name="connsiteY84" fmla="*/ 1026307 h 2501755"/>
                  <a:gd name="connsiteX85" fmla="*/ 636776 w 936181"/>
                  <a:gd name="connsiteY85" fmla="*/ 1037097 h 2501755"/>
                  <a:gd name="connsiteX86" fmla="*/ 623289 w 936181"/>
                  <a:gd name="connsiteY86" fmla="*/ 1050583 h 2501755"/>
                  <a:gd name="connsiteX87" fmla="*/ 636776 w 936181"/>
                  <a:gd name="connsiteY87" fmla="*/ 1055978 h 2501755"/>
                  <a:gd name="connsiteX88" fmla="*/ 642171 w 936181"/>
                  <a:gd name="connsiteY88" fmla="*/ 1064070 h 2501755"/>
                  <a:gd name="connsiteX89" fmla="*/ 615197 w 936181"/>
                  <a:gd name="connsiteY89" fmla="*/ 1066767 h 2501755"/>
                  <a:gd name="connsiteX90" fmla="*/ 580132 w 936181"/>
                  <a:gd name="connsiteY90" fmla="*/ 1091043 h 2501755"/>
                  <a:gd name="connsiteX91" fmla="*/ 588224 w 936181"/>
                  <a:gd name="connsiteY91" fmla="*/ 1096438 h 2501755"/>
                  <a:gd name="connsiteX92" fmla="*/ 596316 w 936181"/>
                  <a:gd name="connsiteY92" fmla="*/ 1104530 h 2501755"/>
                  <a:gd name="connsiteX93" fmla="*/ 588224 w 936181"/>
                  <a:gd name="connsiteY93" fmla="*/ 1128806 h 2501755"/>
                  <a:gd name="connsiteX94" fmla="*/ 574737 w 936181"/>
                  <a:gd name="connsiteY94" fmla="*/ 1131504 h 2501755"/>
                  <a:gd name="connsiteX95" fmla="*/ 545066 w 936181"/>
                  <a:gd name="connsiteY95" fmla="*/ 1128806 h 2501755"/>
                  <a:gd name="connsiteX96" fmla="*/ 542369 w 936181"/>
                  <a:gd name="connsiteY96" fmla="*/ 1112622 h 2501755"/>
                  <a:gd name="connsiteX97" fmla="*/ 534277 w 936181"/>
                  <a:gd name="connsiteY97" fmla="*/ 1109925 h 2501755"/>
                  <a:gd name="connsiteX98" fmla="*/ 539672 w 936181"/>
                  <a:gd name="connsiteY98" fmla="*/ 1123412 h 2501755"/>
                  <a:gd name="connsiteX99" fmla="*/ 547764 w 936181"/>
                  <a:gd name="connsiteY99" fmla="*/ 1128806 h 2501755"/>
                  <a:gd name="connsiteX100" fmla="*/ 550461 w 936181"/>
                  <a:gd name="connsiteY100" fmla="*/ 1136898 h 2501755"/>
                  <a:gd name="connsiteX101" fmla="*/ 561250 w 936181"/>
                  <a:gd name="connsiteY101" fmla="*/ 1158477 h 2501755"/>
                  <a:gd name="connsiteX102" fmla="*/ 563948 w 936181"/>
                  <a:gd name="connsiteY102" fmla="*/ 1188148 h 2501755"/>
                  <a:gd name="connsiteX103" fmla="*/ 555856 w 936181"/>
                  <a:gd name="connsiteY103" fmla="*/ 1193543 h 2501755"/>
                  <a:gd name="connsiteX104" fmla="*/ 520790 w 936181"/>
                  <a:gd name="connsiteY104" fmla="*/ 1207029 h 2501755"/>
                  <a:gd name="connsiteX105" fmla="*/ 523487 w 936181"/>
                  <a:gd name="connsiteY105" fmla="*/ 1225911 h 2501755"/>
                  <a:gd name="connsiteX106" fmla="*/ 534277 w 936181"/>
                  <a:gd name="connsiteY106" fmla="*/ 1231305 h 2501755"/>
                  <a:gd name="connsiteX107" fmla="*/ 536974 w 936181"/>
                  <a:gd name="connsiteY107" fmla="*/ 1239397 h 2501755"/>
                  <a:gd name="connsiteX108" fmla="*/ 528882 w 936181"/>
                  <a:gd name="connsiteY108" fmla="*/ 1242095 h 2501755"/>
                  <a:gd name="connsiteX109" fmla="*/ 528882 w 936181"/>
                  <a:gd name="connsiteY109" fmla="*/ 1266371 h 2501755"/>
                  <a:gd name="connsiteX110" fmla="*/ 534277 w 936181"/>
                  <a:gd name="connsiteY110" fmla="*/ 1274463 h 2501755"/>
                  <a:gd name="connsiteX111" fmla="*/ 515395 w 936181"/>
                  <a:gd name="connsiteY111" fmla="*/ 1285252 h 2501755"/>
                  <a:gd name="connsiteX112" fmla="*/ 520790 w 936181"/>
                  <a:gd name="connsiteY112" fmla="*/ 1296042 h 2501755"/>
                  <a:gd name="connsiteX113" fmla="*/ 523487 w 936181"/>
                  <a:gd name="connsiteY113" fmla="*/ 1331107 h 2501755"/>
                  <a:gd name="connsiteX114" fmla="*/ 528882 w 936181"/>
                  <a:gd name="connsiteY114" fmla="*/ 1347291 h 2501755"/>
                  <a:gd name="connsiteX115" fmla="*/ 507303 w 936181"/>
                  <a:gd name="connsiteY115" fmla="*/ 1355383 h 2501755"/>
                  <a:gd name="connsiteX116" fmla="*/ 518093 w 936181"/>
                  <a:gd name="connsiteY116" fmla="*/ 1379659 h 2501755"/>
                  <a:gd name="connsiteX117" fmla="*/ 520790 w 936181"/>
                  <a:gd name="connsiteY117" fmla="*/ 1387751 h 2501755"/>
                  <a:gd name="connsiteX118" fmla="*/ 526185 w 936181"/>
                  <a:gd name="connsiteY118" fmla="*/ 1409330 h 2501755"/>
                  <a:gd name="connsiteX119" fmla="*/ 520790 w 936181"/>
                  <a:gd name="connsiteY119" fmla="*/ 1441698 h 2501755"/>
                  <a:gd name="connsiteX120" fmla="*/ 515395 w 936181"/>
                  <a:gd name="connsiteY120" fmla="*/ 1468672 h 2501755"/>
                  <a:gd name="connsiteX121" fmla="*/ 520790 w 936181"/>
                  <a:gd name="connsiteY121" fmla="*/ 1476764 h 2501755"/>
                  <a:gd name="connsiteX122" fmla="*/ 534277 w 936181"/>
                  <a:gd name="connsiteY122" fmla="*/ 1487553 h 2501755"/>
                  <a:gd name="connsiteX123" fmla="*/ 536974 w 936181"/>
                  <a:gd name="connsiteY123" fmla="*/ 1506435 h 2501755"/>
                  <a:gd name="connsiteX124" fmla="*/ 542369 w 936181"/>
                  <a:gd name="connsiteY124" fmla="*/ 1514527 h 2501755"/>
                  <a:gd name="connsiteX125" fmla="*/ 545066 w 936181"/>
                  <a:gd name="connsiteY125" fmla="*/ 1522619 h 2501755"/>
                  <a:gd name="connsiteX126" fmla="*/ 558553 w 936181"/>
                  <a:gd name="connsiteY126" fmla="*/ 1519921 h 2501755"/>
                  <a:gd name="connsiteX127" fmla="*/ 569342 w 936181"/>
                  <a:gd name="connsiteY127" fmla="*/ 1528013 h 2501755"/>
                  <a:gd name="connsiteX128" fmla="*/ 582829 w 936181"/>
                  <a:gd name="connsiteY128" fmla="*/ 1533408 h 2501755"/>
                  <a:gd name="connsiteX129" fmla="*/ 590921 w 936181"/>
                  <a:gd name="connsiteY129" fmla="*/ 1541500 h 2501755"/>
                  <a:gd name="connsiteX130" fmla="*/ 601710 w 936181"/>
                  <a:gd name="connsiteY130" fmla="*/ 1544197 h 2501755"/>
                  <a:gd name="connsiteX131" fmla="*/ 612500 w 936181"/>
                  <a:gd name="connsiteY131" fmla="*/ 1549592 h 2501755"/>
                  <a:gd name="connsiteX132" fmla="*/ 623289 w 936181"/>
                  <a:gd name="connsiteY132" fmla="*/ 1581960 h 2501755"/>
                  <a:gd name="connsiteX133" fmla="*/ 631381 w 936181"/>
                  <a:gd name="connsiteY133" fmla="*/ 1576566 h 2501755"/>
                  <a:gd name="connsiteX134" fmla="*/ 642171 w 936181"/>
                  <a:gd name="connsiteY134" fmla="*/ 1557684 h 2501755"/>
                  <a:gd name="connsiteX135" fmla="*/ 644868 w 936181"/>
                  <a:gd name="connsiteY135" fmla="*/ 1565776 h 2501755"/>
                  <a:gd name="connsiteX136" fmla="*/ 655657 w 936181"/>
                  <a:gd name="connsiteY136" fmla="*/ 1581960 h 2501755"/>
                  <a:gd name="connsiteX137" fmla="*/ 658355 w 936181"/>
                  <a:gd name="connsiteY137" fmla="*/ 1606236 h 2501755"/>
                  <a:gd name="connsiteX138" fmla="*/ 690723 w 936181"/>
                  <a:gd name="connsiteY138" fmla="*/ 1614328 h 2501755"/>
                  <a:gd name="connsiteX139" fmla="*/ 696118 w 936181"/>
                  <a:gd name="connsiteY139" fmla="*/ 1622420 h 2501755"/>
                  <a:gd name="connsiteX140" fmla="*/ 698815 w 936181"/>
                  <a:gd name="connsiteY140" fmla="*/ 1630513 h 2501755"/>
                  <a:gd name="connsiteX141" fmla="*/ 704210 w 936181"/>
                  <a:gd name="connsiteY141" fmla="*/ 1665578 h 2501755"/>
                  <a:gd name="connsiteX142" fmla="*/ 690723 w 936181"/>
                  <a:gd name="connsiteY142" fmla="*/ 1684459 h 2501755"/>
                  <a:gd name="connsiteX143" fmla="*/ 688026 w 936181"/>
                  <a:gd name="connsiteY143" fmla="*/ 1695249 h 2501755"/>
                  <a:gd name="connsiteX144" fmla="*/ 685328 w 936181"/>
                  <a:gd name="connsiteY144" fmla="*/ 1714130 h 2501755"/>
                  <a:gd name="connsiteX145" fmla="*/ 677236 w 936181"/>
                  <a:gd name="connsiteY145" fmla="*/ 1716828 h 2501755"/>
                  <a:gd name="connsiteX146" fmla="*/ 661052 w 936181"/>
                  <a:gd name="connsiteY146" fmla="*/ 1719525 h 2501755"/>
                  <a:gd name="connsiteX147" fmla="*/ 655657 w 936181"/>
                  <a:gd name="connsiteY147" fmla="*/ 1727617 h 2501755"/>
                  <a:gd name="connsiteX148" fmla="*/ 625987 w 936181"/>
                  <a:gd name="connsiteY148" fmla="*/ 1738406 h 2501755"/>
                  <a:gd name="connsiteX149" fmla="*/ 623289 w 936181"/>
                  <a:gd name="connsiteY149" fmla="*/ 1757288 h 2501755"/>
                  <a:gd name="connsiteX150" fmla="*/ 601710 w 936181"/>
                  <a:gd name="connsiteY150" fmla="*/ 1754590 h 2501755"/>
                  <a:gd name="connsiteX151" fmla="*/ 596316 w 936181"/>
                  <a:gd name="connsiteY151" fmla="*/ 1741104 h 2501755"/>
                  <a:gd name="connsiteX152" fmla="*/ 601710 w 936181"/>
                  <a:gd name="connsiteY152" fmla="*/ 1724920 h 2501755"/>
                  <a:gd name="connsiteX153" fmla="*/ 582829 w 936181"/>
                  <a:gd name="connsiteY153" fmla="*/ 1700643 h 2501755"/>
                  <a:gd name="connsiteX154" fmla="*/ 580132 w 936181"/>
                  <a:gd name="connsiteY154" fmla="*/ 1719525 h 2501755"/>
                  <a:gd name="connsiteX155" fmla="*/ 574737 w 936181"/>
                  <a:gd name="connsiteY155" fmla="*/ 1727617 h 2501755"/>
                  <a:gd name="connsiteX156" fmla="*/ 558553 w 936181"/>
                  <a:gd name="connsiteY156" fmla="*/ 1724920 h 2501755"/>
                  <a:gd name="connsiteX157" fmla="*/ 501909 w 936181"/>
                  <a:gd name="connsiteY157" fmla="*/ 1735709 h 2501755"/>
                  <a:gd name="connsiteX158" fmla="*/ 488422 w 936181"/>
                  <a:gd name="connsiteY158" fmla="*/ 1746498 h 2501755"/>
                  <a:gd name="connsiteX159" fmla="*/ 464146 w 936181"/>
                  <a:gd name="connsiteY159" fmla="*/ 1751893 h 2501755"/>
                  <a:gd name="connsiteX160" fmla="*/ 453357 w 936181"/>
                  <a:gd name="connsiteY160" fmla="*/ 1754590 h 2501755"/>
                  <a:gd name="connsiteX161" fmla="*/ 499211 w 936181"/>
                  <a:gd name="connsiteY161" fmla="*/ 1751893 h 2501755"/>
                  <a:gd name="connsiteX162" fmla="*/ 507303 w 936181"/>
                  <a:gd name="connsiteY162" fmla="*/ 1757288 h 2501755"/>
                  <a:gd name="connsiteX163" fmla="*/ 523487 w 936181"/>
                  <a:gd name="connsiteY163" fmla="*/ 1762682 h 2501755"/>
                  <a:gd name="connsiteX164" fmla="*/ 531580 w 936181"/>
                  <a:gd name="connsiteY164" fmla="*/ 1743801 h 2501755"/>
                  <a:gd name="connsiteX165" fmla="*/ 539672 w 936181"/>
                  <a:gd name="connsiteY165" fmla="*/ 1738406 h 2501755"/>
                  <a:gd name="connsiteX166" fmla="*/ 555856 w 936181"/>
                  <a:gd name="connsiteY166" fmla="*/ 1759985 h 2501755"/>
                  <a:gd name="connsiteX167" fmla="*/ 566645 w 936181"/>
                  <a:gd name="connsiteY167" fmla="*/ 1778866 h 2501755"/>
                  <a:gd name="connsiteX168" fmla="*/ 582829 w 936181"/>
                  <a:gd name="connsiteY168" fmla="*/ 1773472 h 2501755"/>
                  <a:gd name="connsiteX169" fmla="*/ 588224 w 936181"/>
                  <a:gd name="connsiteY169" fmla="*/ 1765380 h 2501755"/>
                  <a:gd name="connsiteX170" fmla="*/ 636776 w 936181"/>
                  <a:gd name="connsiteY170" fmla="*/ 1754590 h 2501755"/>
                  <a:gd name="connsiteX171" fmla="*/ 650263 w 936181"/>
                  <a:gd name="connsiteY171" fmla="*/ 1730314 h 2501755"/>
                  <a:gd name="connsiteX172" fmla="*/ 658355 w 936181"/>
                  <a:gd name="connsiteY172" fmla="*/ 1727617 h 2501755"/>
                  <a:gd name="connsiteX173" fmla="*/ 671841 w 936181"/>
                  <a:gd name="connsiteY173" fmla="*/ 1733012 h 2501755"/>
                  <a:gd name="connsiteX174" fmla="*/ 679934 w 936181"/>
                  <a:gd name="connsiteY174" fmla="*/ 1735709 h 2501755"/>
                  <a:gd name="connsiteX175" fmla="*/ 682631 w 936181"/>
                  <a:gd name="connsiteY175" fmla="*/ 1743801 h 2501755"/>
                  <a:gd name="connsiteX176" fmla="*/ 671841 w 936181"/>
                  <a:gd name="connsiteY176" fmla="*/ 1746498 h 2501755"/>
                  <a:gd name="connsiteX177" fmla="*/ 655657 w 936181"/>
                  <a:gd name="connsiteY177" fmla="*/ 1759985 h 2501755"/>
                  <a:gd name="connsiteX178" fmla="*/ 658355 w 936181"/>
                  <a:gd name="connsiteY178" fmla="*/ 1786959 h 2501755"/>
                  <a:gd name="connsiteX179" fmla="*/ 644868 w 936181"/>
                  <a:gd name="connsiteY179" fmla="*/ 1795051 h 2501755"/>
                  <a:gd name="connsiteX180" fmla="*/ 650263 w 936181"/>
                  <a:gd name="connsiteY180" fmla="*/ 1803143 h 2501755"/>
                  <a:gd name="connsiteX181" fmla="*/ 642171 w 936181"/>
                  <a:gd name="connsiteY181" fmla="*/ 1827419 h 2501755"/>
                  <a:gd name="connsiteX182" fmla="*/ 636537 w 936181"/>
                  <a:gd name="connsiteY182" fmla="*/ 1847018 h 2501755"/>
                  <a:gd name="connsiteX183" fmla="*/ 628684 w 936181"/>
                  <a:gd name="connsiteY183" fmla="*/ 1840905 h 2501755"/>
                  <a:gd name="connsiteX184" fmla="*/ 617895 w 936181"/>
                  <a:gd name="connsiteY184" fmla="*/ 1811235 h 2501755"/>
                  <a:gd name="connsiteX185" fmla="*/ 607105 w 936181"/>
                  <a:gd name="connsiteY185" fmla="*/ 1805840 h 2501755"/>
                  <a:gd name="connsiteX186" fmla="*/ 593618 w 936181"/>
                  <a:gd name="connsiteY186" fmla="*/ 1843603 h 2501755"/>
                  <a:gd name="connsiteX187" fmla="*/ 585526 w 936181"/>
                  <a:gd name="connsiteY187" fmla="*/ 1846300 h 2501755"/>
                  <a:gd name="connsiteX188" fmla="*/ 582829 w 936181"/>
                  <a:gd name="connsiteY188" fmla="*/ 1862484 h 2501755"/>
                  <a:gd name="connsiteX189" fmla="*/ 580132 w 936181"/>
                  <a:gd name="connsiteY189" fmla="*/ 1870576 h 2501755"/>
                  <a:gd name="connsiteX190" fmla="*/ 572040 w 936181"/>
                  <a:gd name="connsiteY190" fmla="*/ 1878668 h 2501755"/>
                  <a:gd name="connsiteX191" fmla="*/ 563948 w 936181"/>
                  <a:gd name="connsiteY191" fmla="*/ 1881366 h 2501755"/>
                  <a:gd name="connsiteX192" fmla="*/ 520790 w 936181"/>
                  <a:gd name="connsiteY192" fmla="*/ 1884063 h 2501755"/>
                  <a:gd name="connsiteX193" fmla="*/ 472238 w 936181"/>
                  <a:gd name="connsiteY193" fmla="*/ 1892155 h 2501755"/>
                  <a:gd name="connsiteX194" fmla="*/ 488422 w 936181"/>
                  <a:gd name="connsiteY194" fmla="*/ 1886760 h 2501755"/>
                  <a:gd name="connsiteX195" fmla="*/ 539672 w 936181"/>
                  <a:gd name="connsiteY195" fmla="*/ 1916431 h 2501755"/>
                  <a:gd name="connsiteX196" fmla="*/ 542369 w 936181"/>
                  <a:gd name="connsiteY196" fmla="*/ 1924523 h 2501755"/>
                  <a:gd name="connsiteX197" fmla="*/ 523487 w 936181"/>
                  <a:gd name="connsiteY197" fmla="*/ 1927220 h 2501755"/>
                  <a:gd name="connsiteX198" fmla="*/ 512698 w 936181"/>
                  <a:gd name="connsiteY198" fmla="*/ 1943405 h 2501755"/>
                  <a:gd name="connsiteX199" fmla="*/ 523487 w 936181"/>
                  <a:gd name="connsiteY199" fmla="*/ 1948799 h 2501755"/>
                  <a:gd name="connsiteX200" fmla="*/ 526185 w 936181"/>
                  <a:gd name="connsiteY200" fmla="*/ 1956891 h 2501755"/>
                  <a:gd name="connsiteX201" fmla="*/ 536974 w 936181"/>
                  <a:gd name="connsiteY201" fmla="*/ 1962286 h 2501755"/>
                  <a:gd name="connsiteX202" fmla="*/ 534277 w 936181"/>
                  <a:gd name="connsiteY202" fmla="*/ 1970378 h 2501755"/>
                  <a:gd name="connsiteX203" fmla="*/ 523487 w 936181"/>
                  <a:gd name="connsiteY203" fmla="*/ 2000049 h 2501755"/>
                  <a:gd name="connsiteX204" fmla="*/ 515395 w 936181"/>
                  <a:gd name="connsiteY204" fmla="*/ 2005443 h 2501755"/>
                  <a:gd name="connsiteX205" fmla="*/ 523487 w 936181"/>
                  <a:gd name="connsiteY205" fmla="*/ 2010838 h 2501755"/>
                  <a:gd name="connsiteX206" fmla="*/ 545066 w 936181"/>
                  <a:gd name="connsiteY206" fmla="*/ 2018930 h 2501755"/>
                  <a:gd name="connsiteX207" fmla="*/ 553158 w 936181"/>
                  <a:gd name="connsiteY207" fmla="*/ 2016233 h 2501755"/>
                  <a:gd name="connsiteX208" fmla="*/ 539672 w 936181"/>
                  <a:gd name="connsiteY208" fmla="*/ 2027022 h 2501755"/>
                  <a:gd name="connsiteX209" fmla="*/ 534277 w 936181"/>
                  <a:gd name="connsiteY209" fmla="*/ 2043206 h 2501755"/>
                  <a:gd name="connsiteX210" fmla="*/ 542369 w 936181"/>
                  <a:gd name="connsiteY210" fmla="*/ 2067482 h 2501755"/>
                  <a:gd name="connsiteX211" fmla="*/ 536974 w 936181"/>
                  <a:gd name="connsiteY211" fmla="*/ 2075574 h 2501755"/>
                  <a:gd name="connsiteX212" fmla="*/ 539672 w 936181"/>
                  <a:gd name="connsiteY212" fmla="*/ 2089061 h 2501755"/>
                  <a:gd name="connsiteX213" fmla="*/ 545066 w 936181"/>
                  <a:gd name="connsiteY213" fmla="*/ 2105245 h 2501755"/>
                  <a:gd name="connsiteX214" fmla="*/ 531580 w 936181"/>
                  <a:gd name="connsiteY214" fmla="*/ 2116035 h 2501755"/>
                  <a:gd name="connsiteX215" fmla="*/ 528882 w 936181"/>
                  <a:gd name="connsiteY215" fmla="*/ 2126824 h 2501755"/>
                  <a:gd name="connsiteX216" fmla="*/ 510001 w 936181"/>
                  <a:gd name="connsiteY216" fmla="*/ 2132219 h 2501755"/>
                  <a:gd name="connsiteX217" fmla="*/ 515395 w 936181"/>
                  <a:gd name="connsiteY217" fmla="*/ 2143008 h 2501755"/>
                  <a:gd name="connsiteX218" fmla="*/ 520790 w 936181"/>
                  <a:gd name="connsiteY218" fmla="*/ 2153797 h 2501755"/>
                  <a:gd name="connsiteX219" fmla="*/ 523487 w 936181"/>
                  <a:gd name="connsiteY219" fmla="*/ 2161890 h 2501755"/>
                  <a:gd name="connsiteX220" fmla="*/ 542369 w 936181"/>
                  <a:gd name="connsiteY220" fmla="*/ 2167284 h 2501755"/>
                  <a:gd name="connsiteX221" fmla="*/ 531580 w 936181"/>
                  <a:gd name="connsiteY221" fmla="*/ 2175376 h 2501755"/>
                  <a:gd name="connsiteX222" fmla="*/ 515395 w 936181"/>
                  <a:gd name="connsiteY222" fmla="*/ 2215836 h 2501755"/>
                  <a:gd name="connsiteX223" fmla="*/ 518093 w 936181"/>
                  <a:gd name="connsiteY223" fmla="*/ 2223928 h 2501755"/>
                  <a:gd name="connsiteX224" fmla="*/ 542369 w 936181"/>
                  <a:gd name="connsiteY224" fmla="*/ 2207744 h 2501755"/>
                  <a:gd name="connsiteX225" fmla="*/ 545066 w 936181"/>
                  <a:gd name="connsiteY225" fmla="*/ 2188863 h 2501755"/>
                  <a:gd name="connsiteX226" fmla="*/ 550461 w 936181"/>
                  <a:gd name="connsiteY226" fmla="*/ 2172679 h 2501755"/>
                  <a:gd name="connsiteX227" fmla="*/ 553158 w 936181"/>
                  <a:gd name="connsiteY227" fmla="*/ 2151100 h 2501755"/>
                  <a:gd name="connsiteX228" fmla="*/ 563948 w 936181"/>
                  <a:gd name="connsiteY228" fmla="*/ 2134916 h 2501755"/>
                  <a:gd name="connsiteX229" fmla="*/ 569342 w 936181"/>
                  <a:gd name="connsiteY229" fmla="*/ 2126824 h 2501755"/>
                  <a:gd name="connsiteX230" fmla="*/ 577434 w 936181"/>
                  <a:gd name="connsiteY230" fmla="*/ 2134916 h 2501755"/>
                  <a:gd name="connsiteX231" fmla="*/ 574737 w 936181"/>
                  <a:gd name="connsiteY231" fmla="*/ 2143008 h 2501755"/>
                  <a:gd name="connsiteX232" fmla="*/ 566645 w 936181"/>
                  <a:gd name="connsiteY232" fmla="*/ 2175376 h 2501755"/>
                  <a:gd name="connsiteX233" fmla="*/ 561250 w 936181"/>
                  <a:gd name="connsiteY233" fmla="*/ 2196955 h 2501755"/>
                  <a:gd name="connsiteX234" fmla="*/ 558553 w 936181"/>
                  <a:gd name="connsiteY234" fmla="*/ 2213139 h 2501755"/>
                  <a:gd name="connsiteX235" fmla="*/ 553158 w 936181"/>
                  <a:gd name="connsiteY235" fmla="*/ 2232020 h 2501755"/>
                  <a:gd name="connsiteX236" fmla="*/ 547764 w 936181"/>
                  <a:gd name="connsiteY236" fmla="*/ 2299454 h 2501755"/>
                  <a:gd name="connsiteX237" fmla="*/ 545066 w 936181"/>
                  <a:gd name="connsiteY237" fmla="*/ 2318336 h 2501755"/>
                  <a:gd name="connsiteX238" fmla="*/ 536974 w 936181"/>
                  <a:gd name="connsiteY238" fmla="*/ 2323730 h 2501755"/>
                  <a:gd name="connsiteX239" fmla="*/ 528882 w 936181"/>
                  <a:gd name="connsiteY239" fmla="*/ 2331822 h 2501755"/>
                  <a:gd name="connsiteX240" fmla="*/ 520790 w 936181"/>
                  <a:gd name="connsiteY240" fmla="*/ 2318336 h 2501755"/>
                  <a:gd name="connsiteX241" fmla="*/ 520790 w 936181"/>
                  <a:gd name="connsiteY241" fmla="*/ 2277875 h 2501755"/>
                  <a:gd name="connsiteX242" fmla="*/ 526185 w 936181"/>
                  <a:gd name="connsiteY242" fmla="*/ 2261691 h 2501755"/>
                  <a:gd name="connsiteX243" fmla="*/ 527294 w 936181"/>
                  <a:gd name="connsiteY243" fmla="*/ 2225502 h 2501755"/>
                  <a:gd name="connsiteX244" fmla="*/ 520790 w 936181"/>
                  <a:gd name="connsiteY244" fmla="*/ 2258994 h 2501755"/>
                  <a:gd name="connsiteX245" fmla="*/ 507303 w 936181"/>
                  <a:gd name="connsiteY245" fmla="*/ 2264389 h 2501755"/>
                  <a:gd name="connsiteX246" fmla="*/ 501909 w 936181"/>
                  <a:gd name="connsiteY246" fmla="*/ 2272481 h 2501755"/>
                  <a:gd name="connsiteX247" fmla="*/ 496514 w 936181"/>
                  <a:gd name="connsiteY247" fmla="*/ 2321033 h 2501755"/>
                  <a:gd name="connsiteX248" fmla="*/ 491119 w 936181"/>
                  <a:gd name="connsiteY248" fmla="*/ 2337217 h 2501755"/>
                  <a:gd name="connsiteX249" fmla="*/ 480330 w 936181"/>
                  <a:gd name="connsiteY249" fmla="*/ 2345309 h 2501755"/>
                  <a:gd name="connsiteX250" fmla="*/ 437172 w 936181"/>
                  <a:gd name="connsiteY250" fmla="*/ 2342612 h 2501755"/>
                  <a:gd name="connsiteX251" fmla="*/ 434475 w 936181"/>
                  <a:gd name="connsiteY251" fmla="*/ 2356098 h 2501755"/>
                  <a:gd name="connsiteX252" fmla="*/ 426383 w 936181"/>
                  <a:gd name="connsiteY252" fmla="*/ 2364190 h 2501755"/>
                  <a:gd name="connsiteX253" fmla="*/ 404804 w 936181"/>
                  <a:gd name="connsiteY253" fmla="*/ 2361493 h 2501755"/>
                  <a:gd name="connsiteX254" fmla="*/ 396712 w 936181"/>
                  <a:gd name="connsiteY254" fmla="*/ 2356098 h 2501755"/>
                  <a:gd name="connsiteX255" fmla="*/ 377831 w 936181"/>
                  <a:gd name="connsiteY255" fmla="*/ 2361493 h 2501755"/>
                  <a:gd name="connsiteX256" fmla="*/ 380528 w 936181"/>
                  <a:gd name="connsiteY256" fmla="*/ 2377677 h 2501755"/>
                  <a:gd name="connsiteX257" fmla="*/ 377831 w 936181"/>
                  <a:gd name="connsiteY257" fmla="*/ 2388466 h 2501755"/>
                  <a:gd name="connsiteX258" fmla="*/ 334673 w 936181"/>
                  <a:gd name="connsiteY258" fmla="*/ 2396559 h 2501755"/>
                  <a:gd name="connsiteX259" fmla="*/ 331976 w 936181"/>
                  <a:gd name="connsiteY259" fmla="*/ 2410045 h 2501755"/>
                  <a:gd name="connsiteX260" fmla="*/ 326581 w 936181"/>
                  <a:gd name="connsiteY260" fmla="*/ 2423532 h 2501755"/>
                  <a:gd name="connsiteX261" fmla="*/ 329279 w 936181"/>
                  <a:gd name="connsiteY261" fmla="*/ 2437019 h 2501755"/>
                  <a:gd name="connsiteX262" fmla="*/ 334673 w 936181"/>
                  <a:gd name="connsiteY262" fmla="*/ 2455900 h 2501755"/>
                  <a:gd name="connsiteX263" fmla="*/ 342765 w 936181"/>
                  <a:gd name="connsiteY263" fmla="*/ 2463992 h 2501755"/>
                  <a:gd name="connsiteX264" fmla="*/ 331976 w 936181"/>
                  <a:gd name="connsiteY264" fmla="*/ 2485571 h 2501755"/>
                  <a:gd name="connsiteX265" fmla="*/ 318489 w 936181"/>
                  <a:gd name="connsiteY265" fmla="*/ 2488268 h 2501755"/>
                  <a:gd name="connsiteX266" fmla="*/ 302305 w 936181"/>
                  <a:gd name="connsiteY266" fmla="*/ 2490966 h 2501755"/>
                  <a:gd name="connsiteX267" fmla="*/ 269937 w 936181"/>
                  <a:gd name="connsiteY267" fmla="*/ 2488268 h 2501755"/>
                  <a:gd name="connsiteX268" fmla="*/ 253753 w 936181"/>
                  <a:gd name="connsiteY268" fmla="*/ 2499058 h 2501755"/>
                  <a:gd name="connsiteX269" fmla="*/ 207898 w 936181"/>
                  <a:gd name="connsiteY269" fmla="*/ 2501755 h 2501755"/>
                  <a:gd name="connsiteX270" fmla="*/ 197109 w 936181"/>
                  <a:gd name="connsiteY270" fmla="*/ 2496360 h 2501755"/>
                  <a:gd name="connsiteX271" fmla="*/ 194411 w 936181"/>
                  <a:gd name="connsiteY271" fmla="*/ 2488268 h 2501755"/>
                  <a:gd name="connsiteX272" fmla="*/ 202503 w 936181"/>
                  <a:gd name="connsiteY272" fmla="*/ 2428927 h 2501755"/>
                  <a:gd name="connsiteX273" fmla="*/ 199806 w 936181"/>
                  <a:gd name="connsiteY273" fmla="*/ 2420835 h 2501755"/>
                  <a:gd name="connsiteX274" fmla="*/ 197109 w 936181"/>
                  <a:gd name="connsiteY274" fmla="*/ 2410045 h 2501755"/>
                  <a:gd name="connsiteX275" fmla="*/ 175530 w 936181"/>
                  <a:gd name="connsiteY275" fmla="*/ 2399256 h 2501755"/>
                  <a:gd name="connsiteX276" fmla="*/ 162043 w 936181"/>
                  <a:gd name="connsiteY276" fmla="*/ 2388466 h 2501755"/>
                  <a:gd name="connsiteX277" fmla="*/ 153951 w 936181"/>
                  <a:gd name="connsiteY277" fmla="*/ 2374980 h 2501755"/>
                  <a:gd name="connsiteX278" fmla="*/ 140464 w 936181"/>
                  <a:gd name="connsiteY278" fmla="*/ 2348006 h 2501755"/>
                  <a:gd name="connsiteX279" fmla="*/ 153951 w 936181"/>
                  <a:gd name="connsiteY279" fmla="*/ 2342612 h 2501755"/>
                  <a:gd name="connsiteX280" fmla="*/ 167438 w 936181"/>
                  <a:gd name="connsiteY280" fmla="*/ 2345309 h 2501755"/>
                  <a:gd name="connsiteX281" fmla="*/ 159346 w 936181"/>
                  <a:gd name="connsiteY281" fmla="*/ 2315638 h 2501755"/>
                  <a:gd name="connsiteX282" fmla="*/ 156649 w 936181"/>
                  <a:gd name="connsiteY282" fmla="*/ 2304849 h 2501755"/>
                  <a:gd name="connsiteX283" fmla="*/ 175530 w 936181"/>
                  <a:gd name="connsiteY283" fmla="*/ 2307546 h 2501755"/>
                  <a:gd name="connsiteX284" fmla="*/ 183622 w 936181"/>
                  <a:gd name="connsiteY284" fmla="*/ 2291362 h 2501755"/>
                  <a:gd name="connsiteX285" fmla="*/ 156649 w 936181"/>
                  <a:gd name="connsiteY285" fmla="*/ 2277875 h 2501755"/>
                  <a:gd name="connsiteX286" fmla="*/ 159346 w 936181"/>
                  <a:gd name="connsiteY286" fmla="*/ 2267086 h 2501755"/>
                  <a:gd name="connsiteX287" fmla="*/ 151254 w 936181"/>
                  <a:gd name="connsiteY287" fmla="*/ 2248205 h 2501755"/>
                  <a:gd name="connsiteX288" fmla="*/ 132372 w 936181"/>
                  <a:gd name="connsiteY288" fmla="*/ 2229323 h 2501755"/>
                  <a:gd name="connsiteX289" fmla="*/ 121583 w 936181"/>
                  <a:gd name="connsiteY289" fmla="*/ 2218534 h 2501755"/>
                  <a:gd name="connsiteX290" fmla="*/ 113491 w 936181"/>
                  <a:gd name="connsiteY290" fmla="*/ 2202350 h 2501755"/>
                  <a:gd name="connsiteX291" fmla="*/ 110794 w 936181"/>
                  <a:gd name="connsiteY291" fmla="*/ 2178074 h 2501755"/>
                  <a:gd name="connsiteX292" fmla="*/ 102702 w 936181"/>
                  <a:gd name="connsiteY292" fmla="*/ 2175376 h 2501755"/>
                  <a:gd name="connsiteX293" fmla="*/ 100004 w 936181"/>
                  <a:gd name="connsiteY293" fmla="*/ 2164587 h 2501755"/>
                  <a:gd name="connsiteX294" fmla="*/ 81123 w 936181"/>
                  <a:gd name="connsiteY294" fmla="*/ 2140311 h 2501755"/>
                  <a:gd name="connsiteX295" fmla="*/ 94610 w 936181"/>
                  <a:gd name="connsiteY295" fmla="*/ 2132219 h 2501755"/>
                  <a:gd name="connsiteX296" fmla="*/ 81123 w 936181"/>
                  <a:gd name="connsiteY296" fmla="*/ 2110640 h 2501755"/>
                  <a:gd name="connsiteX297" fmla="*/ 62241 w 936181"/>
                  <a:gd name="connsiteY297" fmla="*/ 2091759 h 2501755"/>
                  <a:gd name="connsiteX298" fmla="*/ 54149 w 936181"/>
                  <a:gd name="connsiteY298" fmla="*/ 2089061 h 2501755"/>
                  <a:gd name="connsiteX299" fmla="*/ 56847 w 936181"/>
                  <a:gd name="connsiteY299" fmla="*/ 2067482 h 2501755"/>
                  <a:gd name="connsiteX300" fmla="*/ 56847 w 936181"/>
                  <a:gd name="connsiteY300" fmla="*/ 2043206 h 2501755"/>
                  <a:gd name="connsiteX301" fmla="*/ 46057 w 936181"/>
                  <a:gd name="connsiteY301" fmla="*/ 2040509 h 2501755"/>
                  <a:gd name="connsiteX302" fmla="*/ 37965 w 936181"/>
                  <a:gd name="connsiteY302" fmla="*/ 2037812 h 2501755"/>
                  <a:gd name="connsiteX303" fmla="*/ 32571 w 936181"/>
                  <a:gd name="connsiteY303" fmla="*/ 2027022 h 2501755"/>
                  <a:gd name="connsiteX304" fmla="*/ 35268 w 936181"/>
                  <a:gd name="connsiteY304" fmla="*/ 2018930 h 2501755"/>
                  <a:gd name="connsiteX305" fmla="*/ 48755 w 936181"/>
                  <a:gd name="connsiteY305" fmla="*/ 2024325 h 2501755"/>
                  <a:gd name="connsiteX306" fmla="*/ 59544 w 936181"/>
                  <a:gd name="connsiteY306" fmla="*/ 2045904 h 2501755"/>
                  <a:gd name="connsiteX307" fmla="*/ 70334 w 936181"/>
                  <a:gd name="connsiteY307" fmla="*/ 2043206 h 2501755"/>
                  <a:gd name="connsiteX308" fmla="*/ 64939 w 936181"/>
                  <a:gd name="connsiteY308" fmla="*/ 2000049 h 2501755"/>
                  <a:gd name="connsiteX309" fmla="*/ 67636 w 936181"/>
                  <a:gd name="connsiteY309" fmla="*/ 1991957 h 2501755"/>
                  <a:gd name="connsiteX310" fmla="*/ 56847 w 936181"/>
                  <a:gd name="connsiteY310" fmla="*/ 1981167 h 2501755"/>
                  <a:gd name="connsiteX311" fmla="*/ 32571 w 936181"/>
                  <a:gd name="connsiteY311" fmla="*/ 1986562 h 2501755"/>
                  <a:gd name="connsiteX312" fmla="*/ 24479 w 936181"/>
                  <a:gd name="connsiteY312" fmla="*/ 1991957 h 2501755"/>
                  <a:gd name="connsiteX313" fmla="*/ 16387 w 936181"/>
                  <a:gd name="connsiteY313" fmla="*/ 1970378 h 2501755"/>
                  <a:gd name="connsiteX314" fmla="*/ 5597 w 936181"/>
                  <a:gd name="connsiteY314" fmla="*/ 1954194 h 2501755"/>
                  <a:gd name="connsiteX315" fmla="*/ 13689 w 936181"/>
                  <a:gd name="connsiteY315" fmla="*/ 1940707 h 2501755"/>
                  <a:gd name="connsiteX316" fmla="*/ 19084 w 936181"/>
                  <a:gd name="connsiteY316" fmla="*/ 1924523 h 2501755"/>
                  <a:gd name="connsiteX317" fmla="*/ 8295 w 936181"/>
                  <a:gd name="connsiteY317" fmla="*/ 1921826 h 2501755"/>
                  <a:gd name="connsiteX318" fmla="*/ 2900 w 936181"/>
                  <a:gd name="connsiteY318" fmla="*/ 1857090 h 2501755"/>
                  <a:gd name="connsiteX319" fmla="*/ 16387 w 936181"/>
                  <a:gd name="connsiteY319" fmla="*/ 1854392 h 2501755"/>
                  <a:gd name="connsiteX320" fmla="*/ 19084 w 936181"/>
                  <a:gd name="connsiteY320" fmla="*/ 1846300 h 2501755"/>
                  <a:gd name="connsiteX321" fmla="*/ 2900 w 936181"/>
                  <a:gd name="connsiteY321" fmla="*/ 1846300 h 2501755"/>
                  <a:gd name="connsiteX322" fmla="*/ 16387 w 936181"/>
                  <a:gd name="connsiteY322" fmla="*/ 1851695 h 2501755"/>
                  <a:gd name="connsiteX323" fmla="*/ 29873 w 936181"/>
                  <a:gd name="connsiteY323" fmla="*/ 1867879 h 2501755"/>
                  <a:gd name="connsiteX324" fmla="*/ 40663 w 936181"/>
                  <a:gd name="connsiteY324" fmla="*/ 1870576 h 2501755"/>
                  <a:gd name="connsiteX325" fmla="*/ 56847 w 936181"/>
                  <a:gd name="connsiteY325" fmla="*/ 1859787 h 2501755"/>
                  <a:gd name="connsiteX326" fmla="*/ 48755 w 936181"/>
                  <a:gd name="connsiteY326" fmla="*/ 1773472 h 2501755"/>
                  <a:gd name="connsiteX327" fmla="*/ 56847 w 936181"/>
                  <a:gd name="connsiteY327" fmla="*/ 1735709 h 2501755"/>
                  <a:gd name="connsiteX328" fmla="*/ 64939 w 936181"/>
                  <a:gd name="connsiteY328" fmla="*/ 1733012 h 2501755"/>
                  <a:gd name="connsiteX329" fmla="*/ 67636 w 936181"/>
                  <a:gd name="connsiteY329" fmla="*/ 1724920 h 2501755"/>
                  <a:gd name="connsiteX330" fmla="*/ 64939 w 936181"/>
                  <a:gd name="connsiteY330" fmla="*/ 1714130 h 2501755"/>
                  <a:gd name="connsiteX331" fmla="*/ 70334 w 936181"/>
                  <a:gd name="connsiteY331" fmla="*/ 1689854 h 2501755"/>
                  <a:gd name="connsiteX332" fmla="*/ 100004 w 936181"/>
                  <a:gd name="connsiteY332" fmla="*/ 1684459 h 2501755"/>
                  <a:gd name="connsiteX333" fmla="*/ 108096 w 936181"/>
                  <a:gd name="connsiteY333" fmla="*/ 1676367 h 2501755"/>
                  <a:gd name="connsiteX334" fmla="*/ 110794 w 936181"/>
                  <a:gd name="connsiteY334" fmla="*/ 1662881 h 2501755"/>
                  <a:gd name="connsiteX335" fmla="*/ 116188 w 936181"/>
                  <a:gd name="connsiteY335" fmla="*/ 1643999 h 2501755"/>
                  <a:gd name="connsiteX336" fmla="*/ 118886 w 936181"/>
                  <a:gd name="connsiteY336" fmla="*/ 1617026 h 2501755"/>
                  <a:gd name="connsiteX337" fmla="*/ 126978 w 936181"/>
                  <a:gd name="connsiteY337" fmla="*/ 1603539 h 2501755"/>
                  <a:gd name="connsiteX338" fmla="*/ 129675 w 936181"/>
                  <a:gd name="connsiteY338" fmla="*/ 1595447 h 2501755"/>
                  <a:gd name="connsiteX339" fmla="*/ 105399 w 936181"/>
                  <a:gd name="connsiteY339" fmla="*/ 1563079 h 2501755"/>
                  <a:gd name="connsiteX340" fmla="*/ 102702 w 936181"/>
                  <a:gd name="connsiteY340" fmla="*/ 1533408 h 2501755"/>
                  <a:gd name="connsiteX341" fmla="*/ 100004 w 936181"/>
                  <a:gd name="connsiteY341" fmla="*/ 1511829 h 2501755"/>
                  <a:gd name="connsiteX342" fmla="*/ 91912 w 936181"/>
                  <a:gd name="connsiteY342" fmla="*/ 1501040 h 2501755"/>
                  <a:gd name="connsiteX343" fmla="*/ 100004 w 936181"/>
                  <a:gd name="connsiteY343" fmla="*/ 1495645 h 2501755"/>
                  <a:gd name="connsiteX344" fmla="*/ 121583 w 936181"/>
                  <a:gd name="connsiteY344" fmla="*/ 1490251 h 2501755"/>
                  <a:gd name="connsiteX345" fmla="*/ 129675 w 936181"/>
                  <a:gd name="connsiteY345" fmla="*/ 1487553 h 2501755"/>
                  <a:gd name="connsiteX346" fmla="*/ 135070 w 936181"/>
                  <a:gd name="connsiteY346" fmla="*/ 1479461 h 2501755"/>
                  <a:gd name="connsiteX347" fmla="*/ 135070 w 936181"/>
                  <a:gd name="connsiteY347" fmla="*/ 1417422 h 2501755"/>
                  <a:gd name="connsiteX348" fmla="*/ 129675 w 936181"/>
                  <a:gd name="connsiteY348" fmla="*/ 1409330 h 2501755"/>
                  <a:gd name="connsiteX349" fmla="*/ 110794 w 936181"/>
                  <a:gd name="connsiteY349" fmla="*/ 1385054 h 2501755"/>
                  <a:gd name="connsiteX350" fmla="*/ 94610 w 936181"/>
                  <a:gd name="connsiteY350" fmla="*/ 1371567 h 2501755"/>
                  <a:gd name="connsiteX351" fmla="*/ 83820 w 936181"/>
                  <a:gd name="connsiteY351" fmla="*/ 1358081 h 2501755"/>
                  <a:gd name="connsiteX352" fmla="*/ 81123 w 936181"/>
                  <a:gd name="connsiteY352" fmla="*/ 1263674 h 2501755"/>
                  <a:gd name="connsiteX353" fmla="*/ 70334 w 936181"/>
                  <a:gd name="connsiteY353" fmla="*/ 1247490 h 2501755"/>
                  <a:gd name="connsiteX354" fmla="*/ 59544 w 936181"/>
                  <a:gd name="connsiteY354" fmla="*/ 1204332 h 2501755"/>
                  <a:gd name="connsiteX355" fmla="*/ 56847 w 936181"/>
                  <a:gd name="connsiteY355" fmla="*/ 1153082 h 2501755"/>
                  <a:gd name="connsiteX356" fmla="*/ 73031 w 936181"/>
                  <a:gd name="connsiteY356" fmla="*/ 1144990 h 2501755"/>
                  <a:gd name="connsiteX357" fmla="*/ 51452 w 936181"/>
                  <a:gd name="connsiteY357" fmla="*/ 1118017 h 2501755"/>
                  <a:gd name="connsiteX358" fmla="*/ 40663 w 936181"/>
                  <a:gd name="connsiteY358" fmla="*/ 1109925 h 2501755"/>
                  <a:gd name="connsiteX359" fmla="*/ 37965 w 936181"/>
                  <a:gd name="connsiteY359" fmla="*/ 1099136 h 2501755"/>
                  <a:gd name="connsiteX360" fmla="*/ 40663 w 936181"/>
                  <a:gd name="connsiteY360" fmla="*/ 1074859 h 2501755"/>
                  <a:gd name="connsiteX361" fmla="*/ 59544 w 936181"/>
                  <a:gd name="connsiteY361" fmla="*/ 1050583 h 2501755"/>
                  <a:gd name="connsiteX362" fmla="*/ 64939 w 936181"/>
                  <a:gd name="connsiteY362" fmla="*/ 1039794 h 2501755"/>
                  <a:gd name="connsiteX363" fmla="*/ 73031 w 936181"/>
                  <a:gd name="connsiteY363" fmla="*/ 1026307 h 2501755"/>
                  <a:gd name="connsiteX364" fmla="*/ 83820 w 936181"/>
                  <a:gd name="connsiteY364" fmla="*/ 1010123 h 2501755"/>
                  <a:gd name="connsiteX365" fmla="*/ 86518 w 936181"/>
                  <a:gd name="connsiteY365" fmla="*/ 993939 h 2501755"/>
                  <a:gd name="connsiteX366" fmla="*/ 97307 w 936181"/>
                  <a:gd name="connsiteY366" fmla="*/ 988544 h 2501755"/>
                  <a:gd name="connsiteX367" fmla="*/ 113491 w 936181"/>
                  <a:gd name="connsiteY367" fmla="*/ 980452 h 2501755"/>
                  <a:gd name="connsiteX368" fmla="*/ 124280 w 936181"/>
                  <a:gd name="connsiteY368" fmla="*/ 966966 h 2501755"/>
                  <a:gd name="connsiteX369" fmla="*/ 129675 w 936181"/>
                  <a:gd name="connsiteY369" fmla="*/ 956176 h 2501755"/>
                  <a:gd name="connsiteX370" fmla="*/ 145859 w 936181"/>
                  <a:gd name="connsiteY370" fmla="*/ 942690 h 2501755"/>
                  <a:gd name="connsiteX371" fmla="*/ 156649 w 936181"/>
                  <a:gd name="connsiteY371" fmla="*/ 934597 h 2501755"/>
                  <a:gd name="connsiteX372" fmla="*/ 162043 w 936181"/>
                  <a:gd name="connsiteY372" fmla="*/ 942690 h 2501755"/>
                  <a:gd name="connsiteX373" fmla="*/ 164741 w 936181"/>
                  <a:gd name="connsiteY373" fmla="*/ 950782 h 2501755"/>
                  <a:gd name="connsiteX374" fmla="*/ 178227 w 936181"/>
                  <a:gd name="connsiteY374" fmla="*/ 961571 h 2501755"/>
                  <a:gd name="connsiteX375" fmla="*/ 202503 w 936181"/>
                  <a:gd name="connsiteY375" fmla="*/ 945387 h 2501755"/>
                  <a:gd name="connsiteX376" fmla="*/ 205201 w 936181"/>
                  <a:gd name="connsiteY376" fmla="*/ 923808 h 2501755"/>
                  <a:gd name="connsiteX377" fmla="*/ 210595 w 936181"/>
                  <a:gd name="connsiteY377" fmla="*/ 899532 h 2501755"/>
                  <a:gd name="connsiteX378" fmla="*/ 205201 w 936181"/>
                  <a:gd name="connsiteY378" fmla="*/ 861769 h 2501755"/>
                  <a:gd name="connsiteX379" fmla="*/ 183622 w 936181"/>
                  <a:gd name="connsiteY379" fmla="*/ 859072 h 2501755"/>
                  <a:gd name="connsiteX380" fmla="*/ 194411 w 936181"/>
                  <a:gd name="connsiteY380" fmla="*/ 834796 h 2501755"/>
                  <a:gd name="connsiteX381" fmla="*/ 205201 w 936181"/>
                  <a:gd name="connsiteY381" fmla="*/ 810520 h 2501755"/>
                  <a:gd name="connsiteX382" fmla="*/ 210595 w 936181"/>
                  <a:gd name="connsiteY382" fmla="*/ 770059 h 2501755"/>
                  <a:gd name="connsiteX383" fmla="*/ 215990 w 936181"/>
                  <a:gd name="connsiteY383" fmla="*/ 761967 h 2501755"/>
                  <a:gd name="connsiteX384" fmla="*/ 229477 w 936181"/>
                  <a:gd name="connsiteY384" fmla="*/ 726902 h 2501755"/>
                  <a:gd name="connsiteX385" fmla="*/ 237569 w 936181"/>
                  <a:gd name="connsiteY385" fmla="*/ 697231 h 2501755"/>
                  <a:gd name="connsiteX386" fmla="*/ 240266 w 936181"/>
                  <a:gd name="connsiteY386" fmla="*/ 689139 h 2501755"/>
                  <a:gd name="connsiteX387" fmla="*/ 229477 w 936181"/>
                  <a:gd name="connsiteY387" fmla="*/ 672955 h 2501755"/>
                  <a:gd name="connsiteX388" fmla="*/ 232174 w 936181"/>
                  <a:gd name="connsiteY388" fmla="*/ 659468 h 2501755"/>
                  <a:gd name="connsiteX389" fmla="*/ 234872 w 936181"/>
                  <a:gd name="connsiteY389" fmla="*/ 651376 h 2501755"/>
                  <a:gd name="connsiteX390" fmla="*/ 237569 w 936181"/>
                  <a:gd name="connsiteY390" fmla="*/ 637890 h 2501755"/>
                  <a:gd name="connsiteX391" fmla="*/ 234872 w 936181"/>
                  <a:gd name="connsiteY391" fmla="*/ 586640 h 2501755"/>
                  <a:gd name="connsiteX392" fmla="*/ 229477 w 936181"/>
                  <a:gd name="connsiteY392" fmla="*/ 575851 h 2501755"/>
                  <a:gd name="connsiteX393" fmla="*/ 253753 w 936181"/>
                  <a:gd name="connsiteY393" fmla="*/ 573153 h 2501755"/>
                  <a:gd name="connsiteX394" fmla="*/ 256450 w 936181"/>
                  <a:gd name="connsiteY394" fmla="*/ 565061 h 2501755"/>
                  <a:gd name="connsiteX395" fmla="*/ 272634 w 936181"/>
                  <a:gd name="connsiteY395" fmla="*/ 551574 h 2501755"/>
                  <a:gd name="connsiteX396" fmla="*/ 275332 w 936181"/>
                  <a:gd name="connsiteY396" fmla="*/ 540785 h 2501755"/>
                  <a:gd name="connsiteX397" fmla="*/ 288818 w 936181"/>
                  <a:gd name="connsiteY397" fmla="*/ 527298 h 2501755"/>
                  <a:gd name="connsiteX398" fmla="*/ 280726 w 936181"/>
                  <a:gd name="connsiteY398" fmla="*/ 494930 h 2501755"/>
                  <a:gd name="connsiteX399" fmla="*/ 286121 w 936181"/>
                  <a:gd name="connsiteY399" fmla="*/ 484141 h 2501755"/>
                  <a:gd name="connsiteX400" fmla="*/ 288818 w 936181"/>
                  <a:gd name="connsiteY400" fmla="*/ 467957 h 2501755"/>
                  <a:gd name="connsiteX401" fmla="*/ 307700 w 936181"/>
                  <a:gd name="connsiteY401" fmla="*/ 449075 h 2501755"/>
                  <a:gd name="connsiteX402" fmla="*/ 318489 w 936181"/>
                  <a:gd name="connsiteY402" fmla="*/ 432891 h 2501755"/>
                  <a:gd name="connsiteX403" fmla="*/ 337371 w 936181"/>
                  <a:gd name="connsiteY403" fmla="*/ 419405 h 2501755"/>
                  <a:gd name="connsiteX404" fmla="*/ 342765 w 936181"/>
                  <a:gd name="connsiteY404" fmla="*/ 400523 h 2501755"/>
                  <a:gd name="connsiteX405" fmla="*/ 337371 w 936181"/>
                  <a:gd name="connsiteY405" fmla="*/ 368155 h 2501755"/>
                  <a:gd name="connsiteX406" fmla="*/ 329279 w 936181"/>
                  <a:gd name="connsiteY406" fmla="*/ 343879 h 2501755"/>
                  <a:gd name="connsiteX407" fmla="*/ 321187 w 936181"/>
                  <a:gd name="connsiteY407" fmla="*/ 341182 h 2501755"/>
                  <a:gd name="connsiteX408" fmla="*/ 318489 w 936181"/>
                  <a:gd name="connsiteY408" fmla="*/ 357366 h 2501755"/>
                  <a:gd name="connsiteX409" fmla="*/ 329279 w 936181"/>
                  <a:gd name="connsiteY409" fmla="*/ 330392 h 2501755"/>
                  <a:gd name="connsiteX410" fmla="*/ 331976 w 936181"/>
                  <a:gd name="connsiteY410" fmla="*/ 311511 h 2501755"/>
                  <a:gd name="connsiteX411" fmla="*/ 342765 w 936181"/>
                  <a:gd name="connsiteY411" fmla="*/ 300721 h 2501755"/>
                  <a:gd name="connsiteX412" fmla="*/ 356252 w 936181"/>
                  <a:gd name="connsiteY412" fmla="*/ 260261 h 2501755"/>
                  <a:gd name="connsiteX413" fmla="*/ 358949 w 936181"/>
                  <a:gd name="connsiteY413" fmla="*/ 238682 h 2501755"/>
                  <a:gd name="connsiteX414" fmla="*/ 364344 w 936181"/>
                  <a:gd name="connsiteY414" fmla="*/ 230590 h 2501755"/>
                  <a:gd name="connsiteX415" fmla="*/ 399410 w 936181"/>
                  <a:gd name="connsiteY415" fmla="*/ 203617 h 2501755"/>
                  <a:gd name="connsiteX416" fmla="*/ 410199 w 936181"/>
                  <a:gd name="connsiteY416" fmla="*/ 211709 h 2501755"/>
                  <a:gd name="connsiteX417" fmla="*/ 418291 w 936181"/>
                  <a:gd name="connsiteY417" fmla="*/ 225196 h 2501755"/>
                  <a:gd name="connsiteX418" fmla="*/ 429080 w 936181"/>
                  <a:gd name="connsiteY418" fmla="*/ 222498 h 2501755"/>
                  <a:gd name="connsiteX419" fmla="*/ 437172 w 936181"/>
                  <a:gd name="connsiteY419" fmla="*/ 190130 h 2501755"/>
                  <a:gd name="connsiteX420" fmla="*/ 437172 w 936181"/>
                  <a:gd name="connsiteY420" fmla="*/ 122697 h 2501755"/>
                  <a:gd name="connsiteX421" fmla="*/ 456053 w 936181"/>
                  <a:gd name="connsiteY421" fmla="*/ 110645 h 2501755"/>
                  <a:gd name="connsiteX422" fmla="*/ 477255 w 936181"/>
                  <a:gd name="connsiteY422" fmla="*/ 106787 h 2501755"/>
                  <a:gd name="connsiteX423" fmla="*/ 491119 w 936181"/>
                  <a:gd name="connsiteY423" fmla="*/ 122697 h 2501755"/>
                  <a:gd name="connsiteX424" fmla="*/ 545066 w 936181"/>
                  <a:gd name="connsiteY424" fmla="*/ 128091 h 2501755"/>
                  <a:gd name="connsiteX425" fmla="*/ 553158 w 936181"/>
                  <a:gd name="connsiteY425" fmla="*/ 130789 h 2501755"/>
                  <a:gd name="connsiteX426" fmla="*/ 563948 w 936181"/>
                  <a:gd name="connsiteY426" fmla="*/ 133486 h 2501755"/>
                  <a:gd name="connsiteX427" fmla="*/ 569342 w 936181"/>
                  <a:gd name="connsiteY427" fmla="*/ 114605 h 2501755"/>
                  <a:gd name="connsiteX428" fmla="*/ 566645 w 936181"/>
                  <a:gd name="connsiteY428" fmla="*/ 93026 h 2501755"/>
                  <a:gd name="connsiteX429" fmla="*/ 572040 w 936181"/>
                  <a:gd name="connsiteY429" fmla="*/ 57960 h 2501755"/>
                  <a:gd name="connsiteX430" fmla="*/ 577434 w 936181"/>
                  <a:gd name="connsiteY430" fmla="*/ 47171 h 2501755"/>
                  <a:gd name="connsiteX431" fmla="*/ 566645 w 936181"/>
                  <a:gd name="connsiteY431" fmla="*/ 25592 h 2501755"/>
                  <a:gd name="connsiteX432" fmla="*/ 563948 w 936181"/>
                  <a:gd name="connsiteY432" fmla="*/ 17500 h 2501755"/>
                  <a:gd name="connsiteX433" fmla="*/ 592458 w 936181"/>
                  <a:gd name="connsiteY433" fmla="*/ 156 h 25017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Lst>
                <a:rect l="l" t="t" r="r" b="b"/>
                <a:pathLst>
                  <a:path w="936181" h="2501755">
                    <a:moveTo>
                      <a:pt x="592458" y="156"/>
                    </a:moveTo>
                    <a:cubicBezTo>
                      <a:pt x="600550" y="-1193"/>
                      <a:pt x="608710" y="6517"/>
                      <a:pt x="612500" y="9408"/>
                    </a:cubicBezTo>
                    <a:cubicBezTo>
                      <a:pt x="616290" y="12299"/>
                      <a:pt x="613126" y="14996"/>
                      <a:pt x="615197" y="17500"/>
                    </a:cubicBezTo>
                    <a:cubicBezTo>
                      <a:pt x="617268" y="20004"/>
                      <a:pt x="622231" y="19937"/>
                      <a:pt x="624928" y="24433"/>
                    </a:cubicBezTo>
                    <a:cubicBezTo>
                      <a:pt x="625827" y="28929"/>
                      <a:pt x="636576" y="34227"/>
                      <a:pt x="640736" y="37920"/>
                    </a:cubicBezTo>
                    <a:cubicBezTo>
                      <a:pt x="644896" y="41613"/>
                      <a:pt x="649197" y="43700"/>
                      <a:pt x="649886" y="46590"/>
                    </a:cubicBezTo>
                    <a:cubicBezTo>
                      <a:pt x="650575" y="49481"/>
                      <a:pt x="642171" y="53465"/>
                      <a:pt x="644868" y="55263"/>
                    </a:cubicBezTo>
                    <a:cubicBezTo>
                      <a:pt x="646666" y="57960"/>
                      <a:pt x="647773" y="61280"/>
                      <a:pt x="650263" y="63355"/>
                    </a:cubicBezTo>
                    <a:cubicBezTo>
                      <a:pt x="653352" y="65929"/>
                      <a:pt x="657561" y="66755"/>
                      <a:pt x="661052" y="68750"/>
                    </a:cubicBezTo>
                    <a:cubicBezTo>
                      <a:pt x="679100" y="79063"/>
                      <a:pt x="656921" y="70652"/>
                      <a:pt x="688026" y="79539"/>
                    </a:cubicBezTo>
                    <a:cubicBezTo>
                      <a:pt x="708024" y="92871"/>
                      <a:pt x="697852" y="89056"/>
                      <a:pt x="717696" y="93026"/>
                    </a:cubicBezTo>
                    <a:cubicBezTo>
                      <a:pt x="723990" y="91228"/>
                      <a:pt x="730108" y="86636"/>
                      <a:pt x="736578" y="87631"/>
                    </a:cubicBezTo>
                    <a:cubicBezTo>
                      <a:pt x="742986" y="88617"/>
                      <a:pt x="752762" y="98420"/>
                      <a:pt x="752762" y="98420"/>
                    </a:cubicBezTo>
                    <a:cubicBezTo>
                      <a:pt x="753846" y="99865"/>
                      <a:pt x="764816" y="114078"/>
                      <a:pt x="766249" y="117302"/>
                    </a:cubicBezTo>
                    <a:cubicBezTo>
                      <a:pt x="768558" y="122498"/>
                      <a:pt x="767622" y="129465"/>
                      <a:pt x="771643" y="133486"/>
                    </a:cubicBezTo>
                    <a:cubicBezTo>
                      <a:pt x="775664" y="137507"/>
                      <a:pt x="783095" y="135727"/>
                      <a:pt x="787827" y="138881"/>
                    </a:cubicBezTo>
                    <a:lnTo>
                      <a:pt x="795919" y="144275"/>
                    </a:lnTo>
                    <a:cubicBezTo>
                      <a:pt x="798616" y="147872"/>
                      <a:pt x="800832" y="151886"/>
                      <a:pt x="804011" y="155065"/>
                    </a:cubicBezTo>
                    <a:cubicBezTo>
                      <a:pt x="824085" y="175139"/>
                      <a:pt x="807483" y="152179"/>
                      <a:pt x="820195" y="171249"/>
                    </a:cubicBezTo>
                    <a:cubicBezTo>
                      <a:pt x="812689" y="183759"/>
                      <a:pt x="805726" y="187922"/>
                      <a:pt x="817498" y="203617"/>
                    </a:cubicBezTo>
                    <a:cubicBezTo>
                      <a:pt x="819722" y="206583"/>
                      <a:pt x="824691" y="205415"/>
                      <a:pt x="828287" y="206314"/>
                    </a:cubicBezTo>
                    <a:cubicBezTo>
                      <a:pt x="829186" y="221599"/>
                      <a:pt x="827663" y="237222"/>
                      <a:pt x="830985" y="252169"/>
                    </a:cubicBezTo>
                    <a:cubicBezTo>
                      <a:pt x="831602" y="254944"/>
                      <a:pt x="837067" y="252856"/>
                      <a:pt x="839077" y="254866"/>
                    </a:cubicBezTo>
                    <a:cubicBezTo>
                      <a:pt x="841920" y="257709"/>
                      <a:pt x="842477" y="262165"/>
                      <a:pt x="844472" y="265656"/>
                    </a:cubicBezTo>
                    <a:cubicBezTo>
                      <a:pt x="846080" y="268471"/>
                      <a:pt x="848068" y="271051"/>
                      <a:pt x="849866" y="273748"/>
                    </a:cubicBezTo>
                    <a:cubicBezTo>
                      <a:pt x="848068" y="278244"/>
                      <a:pt x="847286" y="283295"/>
                      <a:pt x="844472" y="287235"/>
                    </a:cubicBezTo>
                    <a:cubicBezTo>
                      <a:pt x="842588" y="289873"/>
                      <a:pt x="836380" y="289387"/>
                      <a:pt x="836380" y="292629"/>
                    </a:cubicBezTo>
                    <a:cubicBezTo>
                      <a:pt x="836380" y="296090"/>
                      <a:pt x="850101" y="309048"/>
                      <a:pt x="852564" y="311511"/>
                    </a:cubicBezTo>
                    <a:cubicBezTo>
                      <a:pt x="853463" y="315107"/>
                      <a:pt x="853422" y="319081"/>
                      <a:pt x="855261" y="322300"/>
                    </a:cubicBezTo>
                    <a:cubicBezTo>
                      <a:pt x="858456" y="327891"/>
                      <a:pt x="866289" y="332350"/>
                      <a:pt x="871445" y="335787"/>
                    </a:cubicBezTo>
                    <a:cubicBezTo>
                      <a:pt x="873243" y="342081"/>
                      <a:pt x="874603" y="348517"/>
                      <a:pt x="876840" y="354668"/>
                    </a:cubicBezTo>
                    <a:cubicBezTo>
                      <a:pt x="888125" y="385704"/>
                      <a:pt x="877355" y="345949"/>
                      <a:pt x="884932" y="376247"/>
                    </a:cubicBezTo>
                    <a:cubicBezTo>
                      <a:pt x="885831" y="387936"/>
                      <a:pt x="887629" y="399590"/>
                      <a:pt x="887629" y="411313"/>
                    </a:cubicBezTo>
                    <a:cubicBezTo>
                      <a:pt x="887629" y="414156"/>
                      <a:pt x="885622" y="416647"/>
                      <a:pt x="884932" y="419405"/>
                    </a:cubicBezTo>
                    <a:cubicBezTo>
                      <a:pt x="883820" y="423853"/>
                      <a:pt x="883133" y="428396"/>
                      <a:pt x="882234" y="432891"/>
                    </a:cubicBezTo>
                    <a:cubicBezTo>
                      <a:pt x="883361" y="438523"/>
                      <a:pt x="885892" y="455431"/>
                      <a:pt x="890326" y="459865"/>
                    </a:cubicBezTo>
                    <a:cubicBezTo>
                      <a:pt x="892947" y="462486"/>
                      <a:pt x="897519" y="461663"/>
                      <a:pt x="901116" y="462562"/>
                    </a:cubicBezTo>
                    <a:cubicBezTo>
                      <a:pt x="906697" y="473724"/>
                      <a:pt x="908571" y="476203"/>
                      <a:pt x="911905" y="489536"/>
                    </a:cubicBezTo>
                    <a:cubicBezTo>
                      <a:pt x="913232" y="494842"/>
                      <a:pt x="913417" y="500381"/>
                      <a:pt x="914603" y="505720"/>
                    </a:cubicBezTo>
                    <a:cubicBezTo>
                      <a:pt x="915220" y="508495"/>
                      <a:pt x="914757" y="512540"/>
                      <a:pt x="917300" y="513812"/>
                    </a:cubicBezTo>
                    <a:cubicBezTo>
                      <a:pt x="922986" y="516655"/>
                      <a:pt x="929887" y="515610"/>
                      <a:pt x="936181" y="516509"/>
                    </a:cubicBezTo>
                    <a:cubicBezTo>
                      <a:pt x="935282" y="522803"/>
                      <a:pt x="936066" y="529580"/>
                      <a:pt x="933484" y="535390"/>
                    </a:cubicBezTo>
                    <a:cubicBezTo>
                      <a:pt x="932167" y="538352"/>
                      <a:pt x="928427" y="539647"/>
                      <a:pt x="925392" y="540785"/>
                    </a:cubicBezTo>
                    <a:cubicBezTo>
                      <a:pt x="920542" y="542604"/>
                      <a:pt x="895821" y="545780"/>
                      <a:pt x="893024" y="546180"/>
                    </a:cubicBezTo>
                    <a:cubicBezTo>
                      <a:pt x="891110" y="550007"/>
                      <a:pt x="885551" y="563968"/>
                      <a:pt x="879537" y="565061"/>
                    </a:cubicBezTo>
                    <a:cubicBezTo>
                      <a:pt x="872405" y="566358"/>
                      <a:pt x="865151" y="563263"/>
                      <a:pt x="857958" y="562364"/>
                    </a:cubicBezTo>
                    <a:cubicBezTo>
                      <a:pt x="855849" y="561310"/>
                      <a:pt x="843048" y="554272"/>
                      <a:pt x="839077" y="554272"/>
                    </a:cubicBezTo>
                    <a:cubicBezTo>
                      <a:pt x="830935" y="554272"/>
                      <a:pt x="822893" y="556070"/>
                      <a:pt x="814801" y="556969"/>
                    </a:cubicBezTo>
                    <a:cubicBezTo>
                      <a:pt x="815700" y="568658"/>
                      <a:pt x="814655" y="580662"/>
                      <a:pt x="817498" y="592035"/>
                    </a:cubicBezTo>
                    <a:cubicBezTo>
                      <a:pt x="818423" y="595736"/>
                      <a:pt x="827296" y="596715"/>
                      <a:pt x="825590" y="600127"/>
                    </a:cubicBezTo>
                    <a:cubicBezTo>
                      <a:pt x="823540" y="604228"/>
                      <a:pt x="816599" y="601925"/>
                      <a:pt x="812103" y="602824"/>
                    </a:cubicBezTo>
                    <a:cubicBezTo>
                      <a:pt x="804910" y="601925"/>
                      <a:pt x="797255" y="602819"/>
                      <a:pt x="790525" y="600127"/>
                    </a:cubicBezTo>
                    <a:cubicBezTo>
                      <a:pt x="787515" y="598923"/>
                      <a:pt x="786580" y="594935"/>
                      <a:pt x="785130" y="592035"/>
                    </a:cubicBezTo>
                    <a:cubicBezTo>
                      <a:pt x="783858" y="589492"/>
                      <a:pt x="779590" y="583943"/>
                      <a:pt x="782433" y="583943"/>
                    </a:cubicBezTo>
                    <a:cubicBezTo>
                      <a:pt x="785893" y="583943"/>
                      <a:pt x="798852" y="597665"/>
                      <a:pt x="801314" y="600127"/>
                    </a:cubicBezTo>
                    <a:cubicBezTo>
                      <a:pt x="799108" y="606747"/>
                      <a:pt x="793341" y="624796"/>
                      <a:pt x="790525" y="627100"/>
                    </a:cubicBezTo>
                    <a:cubicBezTo>
                      <a:pt x="784787" y="631795"/>
                      <a:pt x="776139" y="630697"/>
                      <a:pt x="768946" y="632495"/>
                    </a:cubicBezTo>
                    <a:cubicBezTo>
                      <a:pt x="748631" y="646039"/>
                      <a:pt x="774450" y="630136"/>
                      <a:pt x="750064" y="640587"/>
                    </a:cubicBezTo>
                    <a:cubicBezTo>
                      <a:pt x="747084" y="641864"/>
                      <a:pt x="744669" y="644184"/>
                      <a:pt x="741972" y="645982"/>
                    </a:cubicBezTo>
                    <a:cubicBezTo>
                      <a:pt x="748955" y="652965"/>
                      <a:pt x="756568" y="661636"/>
                      <a:pt x="766249" y="664863"/>
                    </a:cubicBezTo>
                    <a:lnTo>
                      <a:pt x="774341" y="667560"/>
                    </a:lnTo>
                    <a:cubicBezTo>
                      <a:pt x="768917" y="694673"/>
                      <a:pt x="775723" y="666801"/>
                      <a:pt x="763551" y="697231"/>
                    </a:cubicBezTo>
                    <a:cubicBezTo>
                      <a:pt x="762174" y="700673"/>
                      <a:pt x="763078" y="705054"/>
                      <a:pt x="760854" y="708020"/>
                    </a:cubicBezTo>
                    <a:cubicBezTo>
                      <a:pt x="757400" y="712626"/>
                      <a:pt x="751863" y="715213"/>
                      <a:pt x="747367" y="718810"/>
                    </a:cubicBezTo>
                    <a:cubicBezTo>
                      <a:pt x="748266" y="728700"/>
                      <a:pt x="746923" y="739060"/>
                      <a:pt x="750064" y="748481"/>
                    </a:cubicBezTo>
                    <a:cubicBezTo>
                      <a:pt x="755621" y="765150"/>
                      <a:pt x="768409" y="730675"/>
                      <a:pt x="752762" y="761967"/>
                    </a:cubicBezTo>
                    <a:cubicBezTo>
                      <a:pt x="758601" y="785328"/>
                      <a:pt x="749792" y="761696"/>
                      <a:pt x="766249" y="778151"/>
                    </a:cubicBezTo>
                    <a:cubicBezTo>
                      <a:pt x="768260" y="780161"/>
                      <a:pt x="766936" y="784232"/>
                      <a:pt x="768946" y="786243"/>
                    </a:cubicBezTo>
                    <a:cubicBezTo>
                      <a:pt x="770956" y="788254"/>
                      <a:pt x="774425" y="787821"/>
                      <a:pt x="777038" y="788941"/>
                    </a:cubicBezTo>
                    <a:cubicBezTo>
                      <a:pt x="780734" y="790525"/>
                      <a:pt x="784231" y="792538"/>
                      <a:pt x="787827" y="794336"/>
                    </a:cubicBezTo>
                    <a:cubicBezTo>
                      <a:pt x="788726" y="797932"/>
                      <a:pt x="791697" y="801608"/>
                      <a:pt x="790525" y="805125"/>
                    </a:cubicBezTo>
                    <a:cubicBezTo>
                      <a:pt x="789500" y="808201"/>
                      <a:pt x="784894" y="808410"/>
                      <a:pt x="782433" y="810520"/>
                    </a:cubicBezTo>
                    <a:cubicBezTo>
                      <a:pt x="778571" y="813830"/>
                      <a:pt x="775240" y="817713"/>
                      <a:pt x="771643" y="821309"/>
                    </a:cubicBezTo>
                    <a:cubicBezTo>
                      <a:pt x="770744" y="824006"/>
                      <a:pt x="769967" y="826747"/>
                      <a:pt x="768946" y="829401"/>
                    </a:cubicBezTo>
                    <a:cubicBezTo>
                      <a:pt x="765470" y="838439"/>
                      <a:pt x="758157" y="856374"/>
                      <a:pt x="758157" y="856374"/>
                    </a:cubicBezTo>
                    <a:cubicBezTo>
                      <a:pt x="752042" y="909364"/>
                      <a:pt x="765778" y="917879"/>
                      <a:pt x="733880" y="942690"/>
                    </a:cubicBezTo>
                    <a:cubicBezTo>
                      <a:pt x="731636" y="944436"/>
                      <a:pt x="728485" y="944488"/>
                      <a:pt x="725788" y="945387"/>
                    </a:cubicBezTo>
                    <a:cubicBezTo>
                      <a:pt x="724889" y="948084"/>
                      <a:pt x="723091" y="950636"/>
                      <a:pt x="723091" y="953479"/>
                    </a:cubicBezTo>
                    <a:cubicBezTo>
                      <a:pt x="723091" y="980369"/>
                      <a:pt x="739163" y="967231"/>
                      <a:pt x="696118" y="975058"/>
                    </a:cubicBezTo>
                    <a:cubicBezTo>
                      <a:pt x="693421" y="978654"/>
                      <a:pt x="691205" y="982668"/>
                      <a:pt x="688026" y="985847"/>
                    </a:cubicBezTo>
                    <a:cubicBezTo>
                      <a:pt x="685734" y="988139"/>
                      <a:pt x="682226" y="988950"/>
                      <a:pt x="679934" y="991242"/>
                    </a:cubicBezTo>
                    <a:cubicBezTo>
                      <a:pt x="677642" y="993534"/>
                      <a:pt x="676831" y="997042"/>
                      <a:pt x="674539" y="999334"/>
                    </a:cubicBezTo>
                    <a:cubicBezTo>
                      <a:pt x="668331" y="1005542"/>
                      <a:pt x="663910" y="1005362"/>
                      <a:pt x="655657" y="1007426"/>
                    </a:cubicBezTo>
                    <a:cubicBezTo>
                      <a:pt x="653859" y="1011922"/>
                      <a:pt x="653414" y="1017237"/>
                      <a:pt x="650263" y="1020913"/>
                    </a:cubicBezTo>
                    <a:cubicBezTo>
                      <a:pt x="647646" y="1023966"/>
                      <a:pt x="642047" y="1023218"/>
                      <a:pt x="639473" y="1026307"/>
                    </a:cubicBezTo>
                    <a:cubicBezTo>
                      <a:pt x="637100" y="1029155"/>
                      <a:pt x="638236" y="1033689"/>
                      <a:pt x="636776" y="1037097"/>
                    </a:cubicBezTo>
                    <a:cubicBezTo>
                      <a:pt x="633180" y="1045488"/>
                      <a:pt x="630482" y="1045788"/>
                      <a:pt x="623289" y="1050583"/>
                    </a:cubicBezTo>
                    <a:cubicBezTo>
                      <a:pt x="627785" y="1052381"/>
                      <a:pt x="632836" y="1053164"/>
                      <a:pt x="636776" y="1055978"/>
                    </a:cubicBezTo>
                    <a:cubicBezTo>
                      <a:pt x="639414" y="1057862"/>
                      <a:pt x="645071" y="1062620"/>
                      <a:pt x="642171" y="1064070"/>
                    </a:cubicBezTo>
                    <a:cubicBezTo>
                      <a:pt x="634089" y="1068111"/>
                      <a:pt x="624188" y="1065868"/>
                      <a:pt x="615197" y="1066767"/>
                    </a:cubicBezTo>
                    <a:cubicBezTo>
                      <a:pt x="597920" y="1070606"/>
                      <a:pt x="582725" y="1067700"/>
                      <a:pt x="580132" y="1091043"/>
                    </a:cubicBezTo>
                    <a:cubicBezTo>
                      <a:pt x="579774" y="1094265"/>
                      <a:pt x="585734" y="1094363"/>
                      <a:pt x="588224" y="1096438"/>
                    </a:cubicBezTo>
                    <a:cubicBezTo>
                      <a:pt x="591154" y="1098880"/>
                      <a:pt x="593619" y="1101833"/>
                      <a:pt x="596316" y="1104530"/>
                    </a:cubicBezTo>
                    <a:cubicBezTo>
                      <a:pt x="595155" y="1109175"/>
                      <a:pt x="591454" y="1126037"/>
                      <a:pt x="588224" y="1128806"/>
                    </a:cubicBezTo>
                    <a:cubicBezTo>
                      <a:pt x="584743" y="1131790"/>
                      <a:pt x="579233" y="1130605"/>
                      <a:pt x="574737" y="1131504"/>
                    </a:cubicBezTo>
                    <a:cubicBezTo>
                      <a:pt x="564847" y="1130605"/>
                      <a:pt x="553644" y="1133810"/>
                      <a:pt x="545066" y="1128806"/>
                    </a:cubicBezTo>
                    <a:cubicBezTo>
                      <a:pt x="540342" y="1126050"/>
                      <a:pt x="545082" y="1117370"/>
                      <a:pt x="542369" y="1112622"/>
                    </a:cubicBezTo>
                    <a:cubicBezTo>
                      <a:pt x="540958" y="1110153"/>
                      <a:pt x="536974" y="1110824"/>
                      <a:pt x="534277" y="1109925"/>
                    </a:cubicBezTo>
                    <a:cubicBezTo>
                      <a:pt x="536075" y="1114421"/>
                      <a:pt x="536858" y="1119472"/>
                      <a:pt x="539672" y="1123412"/>
                    </a:cubicBezTo>
                    <a:cubicBezTo>
                      <a:pt x="541556" y="1126050"/>
                      <a:pt x="545739" y="1126275"/>
                      <a:pt x="547764" y="1128806"/>
                    </a:cubicBezTo>
                    <a:cubicBezTo>
                      <a:pt x="549540" y="1131026"/>
                      <a:pt x="549285" y="1134310"/>
                      <a:pt x="550461" y="1136898"/>
                    </a:cubicBezTo>
                    <a:cubicBezTo>
                      <a:pt x="553789" y="1144219"/>
                      <a:pt x="561250" y="1158477"/>
                      <a:pt x="561250" y="1158477"/>
                    </a:cubicBezTo>
                    <a:cubicBezTo>
                      <a:pt x="562149" y="1168367"/>
                      <a:pt x="565458" y="1178332"/>
                      <a:pt x="563948" y="1188148"/>
                    </a:cubicBezTo>
                    <a:cubicBezTo>
                      <a:pt x="563455" y="1191352"/>
                      <a:pt x="558848" y="1192296"/>
                      <a:pt x="555856" y="1193543"/>
                    </a:cubicBezTo>
                    <a:cubicBezTo>
                      <a:pt x="499636" y="1216968"/>
                      <a:pt x="552470" y="1191192"/>
                      <a:pt x="520790" y="1207029"/>
                    </a:cubicBezTo>
                    <a:cubicBezTo>
                      <a:pt x="521689" y="1213323"/>
                      <a:pt x="520399" y="1220353"/>
                      <a:pt x="523487" y="1225911"/>
                    </a:cubicBezTo>
                    <a:cubicBezTo>
                      <a:pt x="525440" y="1229426"/>
                      <a:pt x="531434" y="1228462"/>
                      <a:pt x="534277" y="1231305"/>
                    </a:cubicBezTo>
                    <a:cubicBezTo>
                      <a:pt x="536288" y="1233315"/>
                      <a:pt x="536075" y="1236700"/>
                      <a:pt x="536974" y="1239397"/>
                    </a:cubicBezTo>
                    <a:cubicBezTo>
                      <a:pt x="534277" y="1240296"/>
                      <a:pt x="530459" y="1239729"/>
                      <a:pt x="528882" y="1242095"/>
                    </a:cubicBezTo>
                    <a:cubicBezTo>
                      <a:pt x="524380" y="1248849"/>
                      <a:pt x="525945" y="1259518"/>
                      <a:pt x="528882" y="1266371"/>
                    </a:cubicBezTo>
                    <a:cubicBezTo>
                      <a:pt x="530159" y="1269351"/>
                      <a:pt x="532479" y="1271766"/>
                      <a:pt x="534277" y="1274463"/>
                    </a:cubicBezTo>
                    <a:cubicBezTo>
                      <a:pt x="527983" y="1278059"/>
                      <a:pt x="519237" y="1279105"/>
                      <a:pt x="515395" y="1285252"/>
                    </a:cubicBezTo>
                    <a:cubicBezTo>
                      <a:pt x="513264" y="1288662"/>
                      <a:pt x="520091" y="1292082"/>
                      <a:pt x="520790" y="1296042"/>
                    </a:cubicBezTo>
                    <a:cubicBezTo>
                      <a:pt x="522827" y="1307586"/>
                      <a:pt x="521659" y="1319528"/>
                      <a:pt x="523487" y="1331107"/>
                    </a:cubicBezTo>
                    <a:cubicBezTo>
                      <a:pt x="524374" y="1336724"/>
                      <a:pt x="528882" y="1347291"/>
                      <a:pt x="528882" y="1347291"/>
                    </a:cubicBezTo>
                    <a:cubicBezTo>
                      <a:pt x="525222" y="1348511"/>
                      <a:pt x="508060" y="1354058"/>
                      <a:pt x="507303" y="1355383"/>
                    </a:cubicBezTo>
                    <a:cubicBezTo>
                      <a:pt x="503047" y="1362831"/>
                      <a:pt x="514933" y="1375446"/>
                      <a:pt x="518093" y="1379659"/>
                    </a:cubicBezTo>
                    <a:cubicBezTo>
                      <a:pt x="518992" y="1382356"/>
                      <a:pt x="520042" y="1385008"/>
                      <a:pt x="520790" y="1387751"/>
                    </a:cubicBezTo>
                    <a:cubicBezTo>
                      <a:pt x="522741" y="1394904"/>
                      <a:pt x="526185" y="1409330"/>
                      <a:pt x="526185" y="1409330"/>
                    </a:cubicBezTo>
                    <a:cubicBezTo>
                      <a:pt x="524387" y="1420119"/>
                      <a:pt x="522496" y="1430894"/>
                      <a:pt x="520790" y="1441698"/>
                    </a:cubicBezTo>
                    <a:cubicBezTo>
                      <a:pt x="517070" y="1465256"/>
                      <a:pt x="520382" y="1453716"/>
                      <a:pt x="515395" y="1468672"/>
                    </a:cubicBezTo>
                    <a:cubicBezTo>
                      <a:pt x="517193" y="1471369"/>
                      <a:pt x="518258" y="1474739"/>
                      <a:pt x="520790" y="1476764"/>
                    </a:cubicBezTo>
                    <a:cubicBezTo>
                      <a:pt x="539403" y="1491654"/>
                      <a:pt x="518815" y="1464362"/>
                      <a:pt x="534277" y="1487553"/>
                    </a:cubicBezTo>
                    <a:cubicBezTo>
                      <a:pt x="535176" y="1493847"/>
                      <a:pt x="535147" y="1500345"/>
                      <a:pt x="536974" y="1506435"/>
                    </a:cubicBezTo>
                    <a:cubicBezTo>
                      <a:pt x="537906" y="1509540"/>
                      <a:pt x="540919" y="1511627"/>
                      <a:pt x="542369" y="1514527"/>
                    </a:cubicBezTo>
                    <a:cubicBezTo>
                      <a:pt x="543641" y="1517070"/>
                      <a:pt x="544167" y="1519922"/>
                      <a:pt x="545066" y="1522619"/>
                    </a:cubicBezTo>
                    <a:cubicBezTo>
                      <a:pt x="549562" y="1521720"/>
                      <a:pt x="554077" y="1518927"/>
                      <a:pt x="558553" y="1519921"/>
                    </a:cubicBezTo>
                    <a:cubicBezTo>
                      <a:pt x="562941" y="1520896"/>
                      <a:pt x="565412" y="1525830"/>
                      <a:pt x="569342" y="1528013"/>
                    </a:cubicBezTo>
                    <a:cubicBezTo>
                      <a:pt x="573575" y="1530365"/>
                      <a:pt x="578333" y="1531610"/>
                      <a:pt x="582829" y="1533408"/>
                    </a:cubicBezTo>
                    <a:cubicBezTo>
                      <a:pt x="577789" y="1563652"/>
                      <a:pt x="577075" y="1544962"/>
                      <a:pt x="590921" y="1541500"/>
                    </a:cubicBezTo>
                    <a:lnTo>
                      <a:pt x="601710" y="1544197"/>
                    </a:lnTo>
                    <a:cubicBezTo>
                      <a:pt x="605307" y="1545995"/>
                      <a:pt x="609228" y="1547255"/>
                      <a:pt x="612500" y="1549592"/>
                    </a:cubicBezTo>
                    <a:cubicBezTo>
                      <a:pt x="625872" y="1559143"/>
                      <a:pt x="621190" y="1563066"/>
                      <a:pt x="623289" y="1581960"/>
                    </a:cubicBezTo>
                    <a:cubicBezTo>
                      <a:pt x="625986" y="1580162"/>
                      <a:pt x="630273" y="1579612"/>
                      <a:pt x="631381" y="1576566"/>
                    </a:cubicBezTo>
                    <a:cubicBezTo>
                      <a:pt x="640026" y="1552794"/>
                      <a:pt x="625079" y="1546291"/>
                      <a:pt x="642171" y="1557684"/>
                    </a:cubicBezTo>
                    <a:cubicBezTo>
                      <a:pt x="643070" y="1560381"/>
                      <a:pt x="643291" y="1563410"/>
                      <a:pt x="644868" y="1565776"/>
                    </a:cubicBezTo>
                    <a:cubicBezTo>
                      <a:pt x="658338" y="1585981"/>
                      <a:pt x="649244" y="1562719"/>
                      <a:pt x="655657" y="1581960"/>
                    </a:cubicBezTo>
                    <a:cubicBezTo>
                      <a:pt x="656556" y="1590052"/>
                      <a:pt x="653566" y="1599651"/>
                      <a:pt x="658355" y="1606236"/>
                    </a:cubicBezTo>
                    <a:cubicBezTo>
                      <a:pt x="660055" y="1608573"/>
                      <a:pt x="685939" y="1613371"/>
                      <a:pt x="690723" y="1614328"/>
                    </a:cubicBezTo>
                    <a:cubicBezTo>
                      <a:pt x="692521" y="1617025"/>
                      <a:pt x="694668" y="1619520"/>
                      <a:pt x="696118" y="1622420"/>
                    </a:cubicBezTo>
                    <a:cubicBezTo>
                      <a:pt x="697390" y="1624963"/>
                      <a:pt x="698291" y="1627718"/>
                      <a:pt x="698815" y="1630513"/>
                    </a:cubicBezTo>
                    <a:cubicBezTo>
                      <a:pt x="700994" y="1642136"/>
                      <a:pt x="702412" y="1653890"/>
                      <a:pt x="704210" y="1665578"/>
                    </a:cubicBezTo>
                    <a:cubicBezTo>
                      <a:pt x="703290" y="1666805"/>
                      <a:pt x="692037" y="1681392"/>
                      <a:pt x="690723" y="1684459"/>
                    </a:cubicBezTo>
                    <a:cubicBezTo>
                      <a:pt x="689263" y="1687867"/>
                      <a:pt x="688689" y="1691601"/>
                      <a:pt x="688026" y="1695249"/>
                    </a:cubicBezTo>
                    <a:cubicBezTo>
                      <a:pt x="686889" y="1701504"/>
                      <a:pt x="688171" y="1708444"/>
                      <a:pt x="685328" y="1714130"/>
                    </a:cubicBezTo>
                    <a:cubicBezTo>
                      <a:pt x="684056" y="1716673"/>
                      <a:pt x="680012" y="1716211"/>
                      <a:pt x="677236" y="1716828"/>
                    </a:cubicBezTo>
                    <a:cubicBezTo>
                      <a:pt x="671897" y="1718014"/>
                      <a:pt x="666447" y="1718626"/>
                      <a:pt x="661052" y="1719525"/>
                    </a:cubicBezTo>
                    <a:cubicBezTo>
                      <a:pt x="659254" y="1722222"/>
                      <a:pt x="658774" y="1726726"/>
                      <a:pt x="655657" y="1727617"/>
                    </a:cubicBezTo>
                    <a:cubicBezTo>
                      <a:pt x="622624" y="1737055"/>
                      <a:pt x="619295" y="1718335"/>
                      <a:pt x="625987" y="1738406"/>
                    </a:cubicBezTo>
                    <a:cubicBezTo>
                      <a:pt x="625088" y="1744700"/>
                      <a:pt x="627104" y="1752202"/>
                      <a:pt x="623289" y="1757288"/>
                    </a:cubicBezTo>
                    <a:cubicBezTo>
                      <a:pt x="616068" y="1766916"/>
                      <a:pt x="606939" y="1758075"/>
                      <a:pt x="601710" y="1754590"/>
                    </a:cubicBezTo>
                    <a:cubicBezTo>
                      <a:pt x="599912" y="1750095"/>
                      <a:pt x="596316" y="1745946"/>
                      <a:pt x="596316" y="1741104"/>
                    </a:cubicBezTo>
                    <a:cubicBezTo>
                      <a:pt x="596316" y="1735418"/>
                      <a:pt x="602514" y="1730549"/>
                      <a:pt x="601710" y="1724920"/>
                    </a:cubicBezTo>
                    <a:cubicBezTo>
                      <a:pt x="598695" y="1703814"/>
                      <a:pt x="595352" y="1704818"/>
                      <a:pt x="582829" y="1700643"/>
                    </a:cubicBezTo>
                    <a:cubicBezTo>
                      <a:pt x="581930" y="1706937"/>
                      <a:pt x="581959" y="1713435"/>
                      <a:pt x="580132" y="1719525"/>
                    </a:cubicBezTo>
                    <a:cubicBezTo>
                      <a:pt x="579200" y="1722630"/>
                      <a:pt x="577882" y="1726831"/>
                      <a:pt x="574737" y="1727617"/>
                    </a:cubicBezTo>
                    <a:cubicBezTo>
                      <a:pt x="569431" y="1728944"/>
                      <a:pt x="563948" y="1725819"/>
                      <a:pt x="558553" y="1724920"/>
                    </a:cubicBezTo>
                    <a:cubicBezTo>
                      <a:pt x="539672" y="1728516"/>
                      <a:pt x="512571" y="1719717"/>
                      <a:pt x="501909" y="1735709"/>
                    </a:cubicBezTo>
                    <a:cubicBezTo>
                      <a:pt x="495436" y="1745419"/>
                      <a:pt x="499152" y="1743432"/>
                      <a:pt x="488422" y="1746498"/>
                    </a:cubicBezTo>
                    <a:cubicBezTo>
                      <a:pt x="476896" y="1749791"/>
                      <a:pt x="476679" y="1749108"/>
                      <a:pt x="464146" y="1751893"/>
                    </a:cubicBezTo>
                    <a:cubicBezTo>
                      <a:pt x="460527" y="1752697"/>
                      <a:pt x="449650" y="1754590"/>
                      <a:pt x="453357" y="1754590"/>
                    </a:cubicBezTo>
                    <a:cubicBezTo>
                      <a:pt x="468668" y="1754590"/>
                      <a:pt x="483926" y="1752792"/>
                      <a:pt x="499211" y="1751893"/>
                    </a:cubicBezTo>
                    <a:cubicBezTo>
                      <a:pt x="501908" y="1753691"/>
                      <a:pt x="504341" y="1755971"/>
                      <a:pt x="507303" y="1757288"/>
                    </a:cubicBezTo>
                    <a:cubicBezTo>
                      <a:pt x="512499" y="1759597"/>
                      <a:pt x="523487" y="1762682"/>
                      <a:pt x="523487" y="1762682"/>
                    </a:cubicBezTo>
                    <a:cubicBezTo>
                      <a:pt x="526185" y="1756388"/>
                      <a:pt x="527782" y="1749498"/>
                      <a:pt x="531580" y="1743801"/>
                    </a:cubicBezTo>
                    <a:cubicBezTo>
                      <a:pt x="533378" y="1741104"/>
                      <a:pt x="536975" y="1736608"/>
                      <a:pt x="539672" y="1738406"/>
                    </a:cubicBezTo>
                    <a:cubicBezTo>
                      <a:pt x="547153" y="1743393"/>
                      <a:pt x="555856" y="1759985"/>
                      <a:pt x="555856" y="1759985"/>
                    </a:cubicBezTo>
                    <a:cubicBezTo>
                      <a:pt x="557099" y="1764956"/>
                      <a:pt x="558380" y="1777947"/>
                      <a:pt x="566645" y="1778866"/>
                    </a:cubicBezTo>
                    <a:cubicBezTo>
                      <a:pt x="572297" y="1779494"/>
                      <a:pt x="577434" y="1775270"/>
                      <a:pt x="582829" y="1773472"/>
                    </a:cubicBezTo>
                    <a:cubicBezTo>
                      <a:pt x="584627" y="1770775"/>
                      <a:pt x="585378" y="1766932"/>
                      <a:pt x="588224" y="1765380"/>
                    </a:cubicBezTo>
                    <a:cubicBezTo>
                      <a:pt x="604595" y="1756450"/>
                      <a:pt x="618940" y="1756572"/>
                      <a:pt x="636776" y="1754590"/>
                    </a:cubicBezTo>
                    <a:cubicBezTo>
                      <a:pt x="639815" y="1742434"/>
                      <a:pt x="638795" y="1740143"/>
                      <a:pt x="650263" y="1730314"/>
                    </a:cubicBezTo>
                    <a:cubicBezTo>
                      <a:pt x="652422" y="1728464"/>
                      <a:pt x="655658" y="1728516"/>
                      <a:pt x="658355" y="1727617"/>
                    </a:cubicBezTo>
                    <a:cubicBezTo>
                      <a:pt x="662850" y="1729415"/>
                      <a:pt x="667308" y="1731312"/>
                      <a:pt x="671841" y="1733012"/>
                    </a:cubicBezTo>
                    <a:cubicBezTo>
                      <a:pt x="674503" y="1734010"/>
                      <a:pt x="677923" y="1733698"/>
                      <a:pt x="679934" y="1735709"/>
                    </a:cubicBezTo>
                    <a:cubicBezTo>
                      <a:pt x="681945" y="1737719"/>
                      <a:pt x="681732" y="1741104"/>
                      <a:pt x="682631" y="1743801"/>
                    </a:cubicBezTo>
                    <a:cubicBezTo>
                      <a:pt x="679034" y="1744700"/>
                      <a:pt x="675249" y="1745038"/>
                      <a:pt x="671841" y="1746498"/>
                    </a:cubicBezTo>
                    <a:cubicBezTo>
                      <a:pt x="665270" y="1749314"/>
                      <a:pt x="660517" y="1755125"/>
                      <a:pt x="655657" y="1759985"/>
                    </a:cubicBezTo>
                    <a:cubicBezTo>
                      <a:pt x="660323" y="1769317"/>
                      <a:pt x="666031" y="1775444"/>
                      <a:pt x="658355" y="1786959"/>
                    </a:cubicBezTo>
                    <a:cubicBezTo>
                      <a:pt x="655447" y="1791321"/>
                      <a:pt x="649364" y="1792354"/>
                      <a:pt x="644868" y="1795051"/>
                    </a:cubicBezTo>
                    <a:cubicBezTo>
                      <a:pt x="646666" y="1797748"/>
                      <a:pt x="650532" y="1799912"/>
                      <a:pt x="650263" y="1803143"/>
                    </a:cubicBezTo>
                    <a:cubicBezTo>
                      <a:pt x="649555" y="1811643"/>
                      <a:pt x="644459" y="1820107"/>
                      <a:pt x="642171" y="1827419"/>
                    </a:cubicBezTo>
                    <a:cubicBezTo>
                      <a:pt x="639883" y="1834731"/>
                      <a:pt x="643103" y="1827317"/>
                      <a:pt x="636537" y="1847018"/>
                    </a:cubicBezTo>
                    <a:cubicBezTo>
                      <a:pt x="634739" y="1842522"/>
                      <a:pt x="631791" y="1846869"/>
                      <a:pt x="628684" y="1840905"/>
                    </a:cubicBezTo>
                    <a:cubicBezTo>
                      <a:pt x="625577" y="1834941"/>
                      <a:pt x="629060" y="1822400"/>
                      <a:pt x="617895" y="1811235"/>
                    </a:cubicBezTo>
                    <a:cubicBezTo>
                      <a:pt x="615052" y="1808392"/>
                      <a:pt x="610702" y="1807638"/>
                      <a:pt x="607105" y="1805840"/>
                    </a:cubicBezTo>
                    <a:cubicBezTo>
                      <a:pt x="603927" y="1847158"/>
                      <a:pt x="615843" y="1837253"/>
                      <a:pt x="593618" y="1843603"/>
                    </a:cubicBezTo>
                    <a:cubicBezTo>
                      <a:pt x="590884" y="1844384"/>
                      <a:pt x="588223" y="1845401"/>
                      <a:pt x="585526" y="1846300"/>
                    </a:cubicBezTo>
                    <a:cubicBezTo>
                      <a:pt x="584627" y="1851695"/>
                      <a:pt x="584015" y="1857145"/>
                      <a:pt x="582829" y="1862484"/>
                    </a:cubicBezTo>
                    <a:cubicBezTo>
                      <a:pt x="582212" y="1865260"/>
                      <a:pt x="581709" y="1868210"/>
                      <a:pt x="580132" y="1870576"/>
                    </a:cubicBezTo>
                    <a:cubicBezTo>
                      <a:pt x="578016" y="1873750"/>
                      <a:pt x="575214" y="1876552"/>
                      <a:pt x="572040" y="1878668"/>
                    </a:cubicBezTo>
                    <a:cubicBezTo>
                      <a:pt x="569674" y="1880245"/>
                      <a:pt x="566776" y="1881068"/>
                      <a:pt x="563948" y="1881366"/>
                    </a:cubicBezTo>
                    <a:cubicBezTo>
                      <a:pt x="549613" y="1882875"/>
                      <a:pt x="535176" y="1883164"/>
                      <a:pt x="520790" y="1884063"/>
                    </a:cubicBezTo>
                    <a:cubicBezTo>
                      <a:pt x="503408" y="1889856"/>
                      <a:pt x="498202" y="1892155"/>
                      <a:pt x="472238" y="1892155"/>
                    </a:cubicBezTo>
                    <a:cubicBezTo>
                      <a:pt x="466551" y="1892155"/>
                      <a:pt x="483027" y="1888558"/>
                      <a:pt x="488422" y="1886760"/>
                    </a:cubicBezTo>
                    <a:cubicBezTo>
                      <a:pt x="550194" y="1890193"/>
                      <a:pt x="533021" y="1873199"/>
                      <a:pt x="539672" y="1916431"/>
                    </a:cubicBezTo>
                    <a:cubicBezTo>
                      <a:pt x="540104" y="1919241"/>
                      <a:pt x="541470" y="1921826"/>
                      <a:pt x="542369" y="1924523"/>
                    </a:cubicBezTo>
                    <a:lnTo>
                      <a:pt x="523487" y="1927220"/>
                    </a:lnTo>
                    <a:cubicBezTo>
                      <a:pt x="510792" y="1929173"/>
                      <a:pt x="497954" y="1926204"/>
                      <a:pt x="512698" y="1943405"/>
                    </a:cubicBezTo>
                    <a:cubicBezTo>
                      <a:pt x="515315" y="1946458"/>
                      <a:pt x="519891" y="1947001"/>
                      <a:pt x="523487" y="1948799"/>
                    </a:cubicBezTo>
                    <a:cubicBezTo>
                      <a:pt x="524386" y="1951496"/>
                      <a:pt x="524174" y="1954880"/>
                      <a:pt x="526185" y="1956891"/>
                    </a:cubicBezTo>
                    <a:cubicBezTo>
                      <a:pt x="529028" y="1959734"/>
                      <a:pt x="534905" y="1958838"/>
                      <a:pt x="536974" y="1962286"/>
                    </a:cubicBezTo>
                    <a:cubicBezTo>
                      <a:pt x="538437" y="1964724"/>
                      <a:pt x="534966" y="1967620"/>
                      <a:pt x="534277" y="1970378"/>
                    </a:cubicBezTo>
                    <a:cubicBezTo>
                      <a:pt x="531703" y="1980676"/>
                      <a:pt x="531575" y="1991962"/>
                      <a:pt x="523487" y="2000049"/>
                    </a:cubicBezTo>
                    <a:cubicBezTo>
                      <a:pt x="521195" y="2002341"/>
                      <a:pt x="518092" y="2003645"/>
                      <a:pt x="515395" y="2005443"/>
                    </a:cubicBezTo>
                    <a:cubicBezTo>
                      <a:pt x="518092" y="2007241"/>
                      <a:pt x="520452" y="2009700"/>
                      <a:pt x="523487" y="2010838"/>
                    </a:cubicBezTo>
                    <a:cubicBezTo>
                      <a:pt x="550156" y="2020840"/>
                      <a:pt x="526086" y="2006278"/>
                      <a:pt x="545066" y="2018930"/>
                    </a:cubicBezTo>
                    <a:cubicBezTo>
                      <a:pt x="547763" y="2018031"/>
                      <a:pt x="554735" y="2013867"/>
                      <a:pt x="553158" y="2016233"/>
                    </a:cubicBezTo>
                    <a:cubicBezTo>
                      <a:pt x="549965" y="2021023"/>
                      <a:pt x="542973" y="2022306"/>
                      <a:pt x="539672" y="2027022"/>
                    </a:cubicBezTo>
                    <a:cubicBezTo>
                      <a:pt x="536411" y="2031681"/>
                      <a:pt x="534277" y="2043206"/>
                      <a:pt x="534277" y="2043206"/>
                    </a:cubicBezTo>
                    <a:cubicBezTo>
                      <a:pt x="537747" y="2050147"/>
                      <a:pt x="543415" y="2059116"/>
                      <a:pt x="542369" y="2067482"/>
                    </a:cubicBezTo>
                    <a:cubicBezTo>
                      <a:pt x="541967" y="2070699"/>
                      <a:pt x="538772" y="2072877"/>
                      <a:pt x="536974" y="2075574"/>
                    </a:cubicBezTo>
                    <a:cubicBezTo>
                      <a:pt x="537873" y="2080070"/>
                      <a:pt x="538466" y="2084638"/>
                      <a:pt x="539672" y="2089061"/>
                    </a:cubicBezTo>
                    <a:cubicBezTo>
                      <a:pt x="541168" y="2094547"/>
                      <a:pt x="545066" y="2105245"/>
                      <a:pt x="545066" y="2105245"/>
                    </a:cubicBezTo>
                    <a:cubicBezTo>
                      <a:pt x="537302" y="2128541"/>
                      <a:pt x="550206" y="2097409"/>
                      <a:pt x="531580" y="2116035"/>
                    </a:cubicBezTo>
                    <a:cubicBezTo>
                      <a:pt x="528959" y="2118656"/>
                      <a:pt x="531848" y="2124600"/>
                      <a:pt x="528882" y="2126824"/>
                    </a:cubicBezTo>
                    <a:cubicBezTo>
                      <a:pt x="523646" y="2130751"/>
                      <a:pt x="516295" y="2130421"/>
                      <a:pt x="510001" y="2132219"/>
                    </a:cubicBezTo>
                    <a:cubicBezTo>
                      <a:pt x="504605" y="2148403"/>
                      <a:pt x="506404" y="2134018"/>
                      <a:pt x="515395" y="2143008"/>
                    </a:cubicBezTo>
                    <a:cubicBezTo>
                      <a:pt x="518238" y="2145851"/>
                      <a:pt x="519206" y="2150101"/>
                      <a:pt x="520790" y="2153797"/>
                    </a:cubicBezTo>
                    <a:cubicBezTo>
                      <a:pt x="521910" y="2156411"/>
                      <a:pt x="521476" y="2159879"/>
                      <a:pt x="523487" y="2161890"/>
                    </a:cubicBezTo>
                    <a:cubicBezTo>
                      <a:pt x="524776" y="2163179"/>
                      <a:pt x="542276" y="2167261"/>
                      <a:pt x="542369" y="2167284"/>
                    </a:cubicBezTo>
                    <a:cubicBezTo>
                      <a:pt x="538773" y="2169981"/>
                      <a:pt x="533158" y="2171167"/>
                      <a:pt x="531580" y="2175376"/>
                    </a:cubicBezTo>
                    <a:cubicBezTo>
                      <a:pt x="514948" y="2219728"/>
                      <a:pt x="540376" y="2203348"/>
                      <a:pt x="515395" y="2215836"/>
                    </a:cubicBezTo>
                    <a:cubicBezTo>
                      <a:pt x="516294" y="2218533"/>
                      <a:pt x="515250" y="2223928"/>
                      <a:pt x="518093" y="2223928"/>
                    </a:cubicBezTo>
                    <a:cubicBezTo>
                      <a:pt x="533707" y="2223928"/>
                      <a:pt x="536133" y="2217097"/>
                      <a:pt x="542369" y="2207744"/>
                    </a:cubicBezTo>
                    <a:cubicBezTo>
                      <a:pt x="543268" y="2201450"/>
                      <a:pt x="543636" y="2195058"/>
                      <a:pt x="545066" y="2188863"/>
                    </a:cubicBezTo>
                    <a:cubicBezTo>
                      <a:pt x="546345" y="2183322"/>
                      <a:pt x="549270" y="2178239"/>
                      <a:pt x="550461" y="2172679"/>
                    </a:cubicBezTo>
                    <a:cubicBezTo>
                      <a:pt x="551980" y="2165591"/>
                      <a:pt x="550720" y="2157927"/>
                      <a:pt x="553158" y="2151100"/>
                    </a:cubicBezTo>
                    <a:cubicBezTo>
                      <a:pt x="555339" y="2144994"/>
                      <a:pt x="560351" y="2140311"/>
                      <a:pt x="563948" y="2134916"/>
                    </a:cubicBezTo>
                    <a:lnTo>
                      <a:pt x="569342" y="2126824"/>
                    </a:lnTo>
                    <a:cubicBezTo>
                      <a:pt x="572039" y="2129521"/>
                      <a:pt x="576228" y="2131297"/>
                      <a:pt x="577434" y="2134916"/>
                    </a:cubicBezTo>
                    <a:cubicBezTo>
                      <a:pt x="578333" y="2137613"/>
                      <a:pt x="575246" y="2140211"/>
                      <a:pt x="574737" y="2143008"/>
                    </a:cubicBezTo>
                    <a:cubicBezTo>
                      <a:pt x="569259" y="2173141"/>
                      <a:pt x="576548" y="2155572"/>
                      <a:pt x="566645" y="2175376"/>
                    </a:cubicBezTo>
                    <a:cubicBezTo>
                      <a:pt x="564847" y="2182569"/>
                      <a:pt x="562469" y="2189641"/>
                      <a:pt x="561250" y="2196955"/>
                    </a:cubicBezTo>
                    <a:cubicBezTo>
                      <a:pt x="560351" y="2202350"/>
                      <a:pt x="559783" y="2207810"/>
                      <a:pt x="558553" y="2213139"/>
                    </a:cubicBezTo>
                    <a:cubicBezTo>
                      <a:pt x="557081" y="2219517"/>
                      <a:pt x="554956" y="2225726"/>
                      <a:pt x="553158" y="2232020"/>
                    </a:cubicBezTo>
                    <a:cubicBezTo>
                      <a:pt x="551360" y="2254498"/>
                      <a:pt x="550954" y="2277131"/>
                      <a:pt x="547764" y="2299454"/>
                    </a:cubicBezTo>
                    <a:cubicBezTo>
                      <a:pt x="546865" y="2305748"/>
                      <a:pt x="547648" y="2312526"/>
                      <a:pt x="545066" y="2318336"/>
                    </a:cubicBezTo>
                    <a:cubicBezTo>
                      <a:pt x="543749" y="2321298"/>
                      <a:pt x="539464" y="2321655"/>
                      <a:pt x="536974" y="2323730"/>
                    </a:cubicBezTo>
                    <a:cubicBezTo>
                      <a:pt x="534043" y="2326172"/>
                      <a:pt x="531579" y="2329125"/>
                      <a:pt x="528882" y="2331822"/>
                    </a:cubicBezTo>
                    <a:cubicBezTo>
                      <a:pt x="526185" y="2327327"/>
                      <a:pt x="522737" y="2323204"/>
                      <a:pt x="520790" y="2318336"/>
                    </a:cubicBezTo>
                    <a:cubicBezTo>
                      <a:pt x="515848" y="2305980"/>
                      <a:pt x="518570" y="2289717"/>
                      <a:pt x="520790" y="2277875"/>
                    </a:cubicBezTo>
                    <a:cubicBezTo>
                      <a:pt x="521838" y="2272286"/>
                      <a:pt x="525101" y="2270420"/>
                      <a:pt x="526185" y="2261691"/>
                    </a:cubicBezTo>
                    <a:cubicBezTo>
                      <a:pt x="527269" y="2252962"/>
                      <a:pt x="530610" y="2227160"/>
                      <a:pt x="527294" y="2225502"/>
                    </a:cubicBezTo>
                    <a:cubicBezTo>
                      <a:pt x="523882" y="2223796"/>
                      <a:pt x="524122" y="2252513"/>
                      <a:pt x="520790" y="2258994"/>
                    </a:cubicBezTo>
                    <a:cubicBezTo>
                      <a:pt x="517458" y="2265475"/>
                      <a:pt x="511799" y="2262591"/>
                      <a:pt x="507303" y="2264389"/>
                    </a:cubicBezTo>
                    <a:cubicBezTo>
                      <a:pt x="505505" y="2267086"/>
                      <a:pt x="502506" y="2269295"/>
                      <a:pt x="501909" y="2272481"/>
                    </a:cubicBezTo>
                    <a:cubicBezTo>
                      <a:pt x="495061" y="2309004"/>
                      <a:pt x="502995" y="2297268"/>
                      <a:pt x="496514" y="2321033"/>
                    </a:cubicBezTo>
                    <a:cubicBezTo>
                      <a:pt x="495018" y="2326519"/>
                      <a:pt x="494273" y="2332486"/>
                      <a:pt x="491119" y="2337217"/>
                    </a:cubicBezTo>
                    <a:cubicBezTo>
                      <a:pt x="488625" y="2340957"/>
                      <a:pt x="483926" y="2342612"/>
                      <a:pt x="480330" y="2345309"/>
                    </a:cubicBezTo>
                    <a:cubicBezTo>
                      <a:pt x="465982" y="2340526"/>
                      <a:pt x="453264" y="2333834"/>
                      <a:pt x="437172" y="2342612"/>
                    </a:cubicBezTo>
                    <a:cubicBezTo>
                      <a:pt x="433147" y="2344807"/>
                      <a:pt x="436525" y="2351998"/>
                      <a:pt x="434475" y="2356098"/>
                    </a:cubicBezTo>
                    <a:cubicBezTo>
                      <a:pt x="432769" y="2359510"/>
                      <a:pt x="429080" y="2361493"/>
                      <a:pt x="426383" y="2364190"/>
                    </a:cubicBezTo>
                    <a:cubicBezTo>
                      <a:pt x="419190" y="2363291"/>
                      <a:pt x="411798" y="2363400"/>
                      <a:pt x="404804" y="2361493"/>
                    </a:cubicBezTo>
                    <a:cubicBezTo>
                      <a:pt x="401676" y="2360640"/>
                      <a:pt x="399954" y="2356098"/>
                      <a:pt x="396712" y="2356098"/>
                    </a:cubicBezTo>
                    <a:cubicBezTo>
                      <a:pt x="390166" y="2356098"/>
                      <a:pt x="384125" y="2359695"/>
                      <a:pt x="377831" y="2361493"/>
                    </a:cubicBezTo>
                    <a:cubicBezTo>
                      <a:pt x="378730" y="2366888"/>
                      <a:pt x="380528" y="2372208"/>
                      <a:pt x="380528" y="2377677"/>
                    </a:cubicBezTo>
                    <a:cubicBezTo>
                      <a:pt x="380528" y="2381384"/>
                      <a:pt x="381259" y="2387055"/>
                      <a:pt x="377831" y="2388466"/>
                    </a:cubicBezTo>
                    <a:cubicBezTo>
                      <a:pt x="364297" y="2394039"/>
                      <a:pt x="334673" y="2396559"/>
                      <a:pt x="334673" y="2396559"/>
                    </a:cubicBezTo>
                    <a:cubicBezTo>
                      <a:pt x="333774" y="2401054"/>
                      <a:pt x="333293" y="2405654"/>
                      <a:pt x="331976" y="2410045"/>
                    </a:cubicBezTo>
                    <a:cubicBezTo>
                      <a:pt x="330585" y="2414683"/>
                      <a:pt x="327063" y="2418714"/>
                      <a:pt x="326581" y="2423532"/>
                    </a:cubicBezTo>
                    <a:cubicBezTo>
                      <a:pt x="326125" y="2428094"/>
                      <a:pt x="328284" y="2432543"/>
                      <a:pt x="329279" y="2437019"/>
                    </a:cubicBezTo>
                    <a:cubicBezTo>
                      <a:pt x="329579" y="2438367"/>
                      <a:pt x="333171" y="2453648"/>
                      <a:pt x="334673" y="2455900"/>
                    </a:cubicBezTo>
                    <a:cubicBezTo>
                      <a:pt x="336789" y="2459074"/>
                      <a:pt x="340068" y="2461295"/>
                      <a:pt x="342765" y="2463992"/>
                    </a:cubicBezTo>
                    <a:cubicBezTo>
                      <a:pt x="339169" y="2471185"/>
                      <a:pt x="337663" y="2479884"/>
                      <a:pt x="331976" y="2485571"/>
                    </a:cubicBezTo>
                    <a:cubicBezTo>
                      <a:pt x="328734" y="2488813"/>
                      <a:pt x="323000" y="2487448"/>
                      <a:pt x="318489" y="2488268"/>
                    </a:cubicBezTo>
                    <a:cubicBezTo>
                      <a:pt x="313108" y="2489246"/>
                      <a:pt x="307700" y="2490067"/>
                      <a:pt x="302305" y="2490966"/>
                    </a:cubicBezTo>
                    <a:cubicBezTo>
                      <a:pt x="290122" y="2482844"/>
                      <a:pt x="290696" y="2480720"/>
                      <a:pt x="269937" y="2488268"/>
                    </a:cubicBezTo>
                    <a:cubicBezTo>
                      <a:pt x="237967" y="2499893"/>
                      <a:pt x="295725" y="2495060"/>
                      <a:pt x="253753" y="2499058"/>
                    </a:cubicBezTo>
                    <a:cubicBezTo>
                      <a:pt x="238511" y="2500510"/>
                      <a:pt x="223183" y="2500856"/>
                      <a:pt x="207898" y="2501755"/>
                    </a:cubicBezTo>
                    <a:cubicBezTo>
                      <a:pt x="204302" y="2499957"/>
                      <a:pt x="199952" y="2499203"/>
                      <a:pt x="197109" y="2496360"/>
                    </a:cubicBezTo>
                    <a:cubicBezTo>
                      <a:pt x="195098" y="2494349"/>
                      <a:pt x="194184" y="2491102"/>
                      <a:pt x="194411" y="2488268"/>
                    </a:cubicBezTo>
                    <a:cubicBezTo>
                      <a:pt x="196003" y="2468368"/>
                      <a:pt x="199806" y="2448707"/>
                      <a:pt x="202503" y="2428927"/>
                    </a:cubicBezTo>
                    <a:cubicBezTo>
                      <a:pt x="201604" y="2426230"/>
                      <a:pt x="200587" y="2423569"/>
                      <a:pt x="199806" y="2420835"/>
                    </a:cubicBezTo>
                    <a:cubicBezTo>
                      <a:pt x="198788" y="2417270"/>
                      <a:pt x="199165" y="2413130"/>
                      <a:pt x="197109" y="2410045"/>
                    </a:cubicBezTo>
                    <a:cubicBezTo>
                      <a:pt x="193758" y="2405019"/>
                      <a:pt x="178927" y="2401294"/>
                      <a:pt x="175530" y="2399256"/>
                    </a:cubicBezTo>
                    <a:cubicBezTo>
                      <a:pt x="170593" y="2396294"/>
                      <a:pt x="166539" y="2392063"/>
                      <a:pt x="162043" y="2388466"/>
                    </a:cubicBezTo>
                    <a:cubicBezTo>
                      <a:pt x="159346" y="2383971"/>
                      <a:pt x="156296" y="2379669"/>
                      <a:pt x="153951" y="2374980"/>
                    </a:cubicBezTo>
                    <a:cubicBezTo>
                      <a:pt x="138336" y="2343749"/>
                      <a:pt x="152615" y="2366231"/>
                      <a:pt x="140464" y="2348006"/>
                    </a:cubicBezTo>
                    <a:cubicBezTo>
                      <a:pt x="144960" y="2346208"/>
                      <a:pt x="149133" y="2343094"/>
                      <a:pt x="153951" y="2342612"/>
                    </a:cubicBezTo>
                    <a:cubicBezTo>
                      <a:pt x="158513" y="2342156"/>
                      <a:pt x="164574" y="2348889"/>
                      <a:pt x="167438" y="2345309"/>
                    </a:cubicBezTo>
                    <a:cubicBezTo>
                      <a:pt x="170891" y="2340993"/>
                      <a:pt x="160622" y="2319467"/>
                      <a:pt x="159346" y="2315638"/>
                    </a:cubicBezTo>
                    <a:cubicBezTo>
                      <a:pt x="158174" y="2312121"/>
                      <a:pt x="153333" y="2306507"/>
                      <a:pt x="156649" y="2304849"/>
                    </a:cubicBezTo>
                    <a:cubicBezTo>
                      <a:pt x="162335" y="2302006"/>
                      <a:pt x="169236" y="2306647"/>
                      <a:pt x="175530" y="2307546"/>
                    </a:cubicBezTo>
                    <a:cubicBezTo>
                      <a:pt x="178227" y="2302151"/>
                      <a:pt x="182314" y="2297250"/>
                      <a:pt x="183622" y="2291362"/>
                    </a:cubicBezTo>
                    <a:cubicBezTo>
                      <a:pt x="186751" y="2277283"/>
                      <a:pt x="159073" y="2278414"/>
                      <a:pt x="156649" y="2277875"/>
                    </a:cubicBezTo>
                    <a:cubicBezTo>
                      <a:pt x="157548" y="2274279"/>
                      <a:pt x="159346" y="2270793"/>
                      <a:pt x="159346" y="2267086"/>
                    </a:cubicBezTo>
                    <a:cubicBezTo>
                      <a:pt x="159346" y="2260335"/>
                      <a:pt x="155659" y="2253100"/>
                      <a:pt x="151254" y="2248205"/>
                    </a:cubicBezTo>
                    <a:cubicBezTo>
                      <a:pt x="145299" y="2241589"/>
                      <a:pt x="132372" y="2229323"/>
                      <a:pt x="132372" y="2229323"/>
                    </a:cubicBezTo>
                    <a:cubicBezTo>
                      <a:pt x="123873" y="2203822"/>
                      <a:pt x="137276" y="2236842"/>
                      <a:pt x="121583" y="2218534"/>
                    </a:cubicBezTo>
                    <a:cubicBezTo>
                      <a:pt x="117658" y="2213955"/>
                      <a:pt x="116188" y="2207745"/>
                      <a:pt x="113491" y="2202350"/>
                    </a:cubicBezTo>
                    <a:cubicBezTo>
                      <a:pt x="112592" y="2194258"/>
                      <a:pt x="113818" y="2185634"/>
                      <a:pt x="110794" y="2178074"/>
                    </a:cubicBezTo>
                    <a:cubicBezTo>
                      <a:pt x="109738" y="2175434"/>
                      <a:pt x="104478" y="2177596"/>
                      <a:pt x="102702" y="2175376"/>
                    </a:cubicBezTo>
                    <a:cubicBezTo>
                      <a:pt x="100386" y="2172481"/>
                      <a:pt x="101381" y="2168029"/>
                      <a:pt x="100004" y="2164587"/>
                    </a:cubicBezTo>
                    <a:cubicBezTo>
                      <a:pt x="92787" y="2146546"/>
                      <a:pt x="94586" y="2150409"/>
                      <a:pt x="81123" y="2140311"/>
                    </a:cubicBezTo>
                    <a:cubicBezTo>
                      <a:pt x="85619" y="2137614"/>
                      <a:pt x="92481" y="2137010"/>
                      <a:pt x="94610" y="2132219"/>
                    </a:cubicBezTo>
                    <a:cubicBezTo>
                      <a:pt x="101326" y="2117107"/>
                      <a:pt x="89396" y="2114777"/>
                      <a:pt x="81123" y="2110640"/>
                    </a:cubicBezTo>
                    <a:cubicBezTo>
                      <a:pt x="74338" y="2100463"/>
                      <a:pt x="75056" y="2099769"/>
                      <a:pt x="62241" y="2091759"/>
                    </a:cubicBezTo>
                    <a:cubicBezTo>
                      <a:pt x="59830" y="2090252"/>
                      <a:pt x="56846" y="2089960"/>
                      <a:pt x="54149" y="2089061"/>
                    </a:cubicBezTo>
                    <a:cubicBezTo>
                      <a:pt x="55048" y="2081868"/>
                      <a:pt x="55655" y="2074632"/>
                      <a:pt x="56847" y="2067482"/>
                    </a:cubicBezTo>
                    <a:cubicBezTo>
                      <a:pt x="58137" y="2059744"/>
                      <a:pt x="63387" y="2051053"/>
                      <a:pt x="56847" y="2043206"/>
                    </a:cubicBezTo>
                    <a:cubicBezTo>
                      <a:pt x="54474" y="2040358"/>
                      <a:pt x="49622" y="2041527"/>
                      <a:pt x="46057" y="2040509"/>
                    </a:cubicBezTo>
                    <a:cubicBezTo>
                      <a:pt x="43323" y="2039728"/>
                      <a:pt x="40662" y="2038711"/>
                      <a:pt x="37965" y="2037812"/>
                    </a:cubicBezTo>
                    <a:cubicBezTo>
                      <a:pt x="36167" y="2034215"/>
                      <a:pt x="33140" y="2031003"/>
                      <a:pt x="32571" y="2027022"/>
                    </a:cubicBezTo>
                    <a:cubicBezTo>
                      <a:pt x="32169" y="2024207"/>
                      <a:pt x="32463" y="2019397"/>
                      <a:pt x="35268" y="2018930"/>
                    </a:cubicBezTo>
                    <a:cubicBezTo>
                      <a:pt x="40044" y="2018134"/>
                      <a:pt x="44259" y="2022527"/>
                      <a:pt x="48755" y="2024325"/>
                    </a:cubicBezTo>
                    <a:cubicBezTo>
                      <a:pt x="50387" y="2030855"/>
                      <a:pt x="51841" y="2042603"/>
                      <a:pt x="59544" y="2045904"/>
                    </a:cubicBezTo>
                    <a:cubicBezTo>
                      <a:pt x="62952" y="2047364"/>
                      <a:pt x="66737" y="2044105"/>
                      <a:pt x="70334" y="2043206"/>
                    </a:cubicBezTo>
                    <a:cubicBezTo>
                      <a:pt x="68536" y="2028820"/>
                      <a:pt x="65701" y="2014527"/>
                      <a:pt x="64939" y="2000049"/>
                    </a:cubicBezTo>
                    <a:cubicBezTo>
                      <a:pt x="64790" y="1997210"/>
                      <a:pt x="67636" y="1994800"/>
                      <a:pt x="67636" y="1991957"/>
                    </a:cubicBezTo>
                    <a:cubicBezTo>
                      <a:pt x="67636" y="1982367"/>
                      <a:pt x="64040" y="1983565"/>
                      <a:pt x="56847" y="1981167"/>
                    </a:cubicBezTo>
                    <a:cubicBezTo>
                      <a:pt x="48755" y="1982965"/>
                      <a:pt x="40435" y="1983941"/>
                      <a:pt x="32571" y="1986562"/>
                    </a:cubicBezTo>
                    <a:cubicBezTo>
                      <a:pt x="29496" y="1987587"/>
                      <a:pt x="27259" y="1993625"/>
                      <a:pt x="24479" y="1991957"/>
                    </a:cubicBezTo>
                    <a:cubicBezTo>
                      <a:pt x="21039" y="1989893"/>
                      <a:pt x="18847" y="1974806"/>
                      <a:pt x="16387" y="1970378"/>
                    </a:cubicBezTo>
                    <a:cubicBezTo>
                      <a:pt x="13238" y="1964710"/>
                      <a:pt x="5597" y="1954194"/>
                      <a:pt x="5597" y="1954194"/>
                    </a:cubicBezTo>
                    <a:cubicBezTo>
                      <a:pt x="8294" y="1949698"/>
                      <a:pt x="10543" y="1944901"/>
                      <a:pt x="13689" y="1940707"/>
                    </a:cubicBezTo>
                    <a:cubicBezTo>
                      <a:pt x="16812" y="1936543"/>
                      <a:pt x="28189" y="1931807"/>
                      <a:pt x="19084" y="1924523"/>
                    </a:cubicBezTo>
                    <a:cubicBezTo>
                      <a:pt x="16189" y="1922207"/>
                      <a:pt x="11891" y="1922725"/>
                      <a:pt x="8295" y="1921826"/>
                    </a:cubicBezTo>
                    <a:cubicBezTo>
                      <a:pt x="947" y="1899786"/>
                      <a:pt x="-3099" y="1890086"/>
                      <a:pt x="2900" y="1857090"/>
                    </a:cubicBezTo>
                    <a:cubicBezTo>
                      <a:pt x="3720" y="1852579"/>
                      <a:pt x="11891" y="1855291"/>
                      <a:pt x="16387" y="1854392"/>
                    </a:cubicBezTo>
                    <a:cubicBezTo>
                      <a:pt x="17286" y="1851695"/>
                      <a:pt x="20140" y="1848940"/>
                      <a:pt x="19084" y="1846300"/>
                    </a:cubicBezTo>
                    <a:cubicBezTo>
                      <a:pt x="14541" y="1834942"/>
                      <a:pt x="7443" y="1843271"/>
                      <a:pt x="2900" y="1846300"/>
                    </a:cubicBezTo>
                    <a:cubicBezTo>
                      <a:pt x="7396" y="1848098"/>
                      <a:pt x="12447" y="1848881"/>
                      <a:pt x="16387" y="1851695"/>
                    </a:cubicBezTo>
                    <a:cubicBezTo>
                      <a:pt x="38726" y="1867652"/>
                      <a:pt x="2039" y="1851975"/>
                      <a:pt x="29873" y="1867879"/>
                    </a:cubicBezTo>
                    <a:cubicBezTo>
                      <a:pt x="33092" y="1869718"/>
                      <a:pt x="37066" y="1869677"/>
                      <a:pt x="40663" y="1870576"/>
                    </a:cubicBezTo>
                    <a:cubicBezTo>
                      <a:pt x="46058" y="1866980"/>
                      <a:pt x="55846" y="1866193"/>
                      <a:pt x="56847" y="1859787"/>
                    </a:cubicBezTo>
                    <a:cubicBezTo>
                      <a:pt x="65639" y="1803513"/>
                      <a:pt x="63557" y="1803079"/>
                      <a:pt x="48755" y="1773472"/>
                    </a:cubicBezTo>
                    <a:cubicBezTo>
                      <a:pt x="51452" y="1760884"/>
                      <a:pt x="52066" y="1747662"/>
                      <a:pt x="56847" y="1735709"/>
                    </a:cubicBezTo>
                    <a:cubicBezTo>
                      <a:pt x="57903" y="1733069"/>
                      <a:pt x="62929" y="1735022"/>
                      <a:pt x="64939" y="1733012"/>
                    </a:cubicBezTo>
                    <a:cubicBezTo>
                      <a:pt x="66949" y="1731002"/>
                      <a:pt x="66737" y="1727617"/>
                      <a:pt x="67636" y="1724920"/>
                    </a:cubicBezTo>
                    <a:cubicBezTo>
                      <a:pt x="66737" y="1721323"/>
                      <a:pt x="65958" y="1717695"/>
                      <a:pt x="64939" y="1714130"/>
                    </a:cubicBezTo>
                    <a:cubicBezTo>
                      <a:pt x="62448" y="1705413"/>
                      <a:pt x="56483" y="1697769"/>
                      <a:pt x="70334" y="1689854"/>
                    </a:cubicBezTo>
                    <a:cubicBezTo>
                      <a:pt x="79062" y="1684867"/>
                      <a:pt x="90114" y="1686257"/>
                      <a:pt x="100004" y="1684459"/>
                    </a:cubicBezTo>
                    <a:cubicBezTo>
                      <a:pt x="102701" y="1681762"/>
                      <a:pt x="106390" y="1679779"/>
                      <a:pt x="108096" y="1676367"/>
                    </a:cubicBezTo>
                    <a:cubicBezTo>
                      <a:pt x="110146" y="1672267"/>
                      <a:pt x="109799" y="1667356"/>
                      <a:pt x="110794" y="1662881"/>
                    </a:cubicBezTo>
                    <a:cubicBezTo>
                      <a:pt x="113053" y="1652714"/>
                      <a:pt x="113183" y="1653015"/>
                      <a:pt x="116188" y="1643999"/>
                    </a:cubicBezTo>
                    <a:cubicBezTo>
                      <a:pt x="117087" y="1635008"/>
                      <a:pt x="116558" y="1625757"/>
                      <a:pt x="118886" y="1617026"/>
                    </a:cubicBezTo>
                    <a:cubicBezTo>
                      <a:pt x="120237" y="1611960"/>
                      <a:pt x="124633" y="1608228"/>
                      <a:pt x="126978" y="1603539"/>
                    </a:cubicBezTo>
                    <a:cubicBezTo>
                      <a:pt x="128249" y="1600996"/>
                      <a:pt x="128776" y="1598144"/>
                      <a:pt x="129675" y="1595447"/>
                    </a:cubicBezTo>
                    <a:cubicBezTo>
                      <a:pt x="107370" y="1573142"/>
                      <a:pt x="114100" y="1584830"/>
                      <a:pt x="105399" y="1563079"/>
                    </a:cubicBezTo>
                    <a:cubicBezTo>
                      <a:pt x="104500" y="1553189"/>
                      <a:pt x="103742" y="1543285"/>
                      <a:pt x="102702" y="1533408"/>
                    </a:cubicBezTo>
                    <a:cubicBezTo>
                      <a:pt x="101943" y="1526199"/>
                      <a:pt x="102296" y="1518706"/>
                      <a:pt x="100004" y="1511829"/>
                    </a:cubicBezTo>
                    <a:cubicBezTo>
                      <a:pt x="98582" y="1507564"/>
                      <a:pt x="94609" y="1504636"/>
                      <a:pt x="91912" y="1501040"/>
                    </a:cubicBezTo>
                    <a:cubicBezTo>
                      <a:pt x="94609" y="1499242"/>
                      <a:pt x="96957" y="1496753"/>
                      <a:pt x="100004" y="1495645"/>
                    </a:cubicBezTo>
                    <a:cubicBezTo>
                      <a:pt x="106972" y="1493111"/>
                      <a:pt x="114430" y="1492202"/>
                      <a:pt x="121583" y="1490251"/>
                    </a:cubicBezTo>
                    <a:cubicBezTo>
                      <a:pt x="124326" y="1489503"/>
                      <a:pt x="126978" y="1488452"/>
                      <a:pt x="129675" y="1487553"/>
                    </a:cubicBezTo>
                    <a:cubicBezTo>
                      <a:pt x="131473" y="1484856"/>
                      <a:pt x="134045" y="1482537"/>
                      <a:pt x="135070" y="1479461"/>
                    </a:cubicBezTo>
                    <a:cubicBezTo>
                      <a:pt x="143285" y="1454815"/>
                      <a:pt x="141539" y="1444918"/>
                      <a:pt x="135070" y="1417422"/>
                    </a:cubicBezTo>
                    <a:cubicBezTo>
                      <a:pt x="134328" y="1414266"/>
                      <a:pt x="131227" y="1412176"/>
                      <a:pt x="129675" y="1409330"/>
                    </a:cubicBezTo>
                    <a:cubicBezTo>
                      <a:pt x="116274" y="1384761"/>
                      <a:pt x="126989" y="1390452"/>
                      <a:pt x="110794" y="1385054"/>
                    </a:cubicBezTo>
                    <a:cubicBezTo>
                      <a:pt x="96547" y="1363685"/>
                      <a:pt x="116511" y="1390730"/>
                      <a:pt x="94610" y="1371567"/>
                    </a:cubicBezTo>
                    <a:cubicBezTo>
                      <a:pt x="90277" y="1367776"/>
                      <a:pt x="87417" y="1362576"/>
                      <a:pt x="83820" y="1358081"/>
                    </a:cubicBezTo>
                    <a:cubicBezTo>
                      <a:pt x="82921" y="1326612"/>
                      <a:pt x="84934" y="1294924"/>
                      <a:pt x="81123" y="1263674"/>
                    </a:cubicBezTo>
                    <a:cubicBezTo>
                      <a:pt x="80338" y="1257238"/>
                      <a:pt x="72384" y="1253641"/>
                      <a:pt x="70334" y="1247490"/>
                    </a:cubicBezTo>
                    <a:cubicBezTo>
                      <a:pt x="62039" y="1222606"/>
                      <a:pt x="66054" y="1236881"/>
                      <a:pt x="59544" y="1204332"/>
                    </a:cubicBezTo>
                    <a:cubicBezTo>
                      <a:pt x="58645" y="1187249"/>
                      <a:pt x="53056" y="1169764"/>
                      <a:pt x="56847" y="1153082"/>
                    </a:cubicBezTo>
                    <a:cubicBezTo>
                      <a:pt x="58184" y="1147201"/>
                      <a:pt x="71124" y="1150712"/>
                      <a:pt x="73031" y="1144990"/>
                    </a:cubicBezTo>
                    <a:cubicBezTo>
                      <a:pt x="82036" y="1117973"/>
                      <a:pt x="65529" y="1120363"/>
                      <a:pt x="51452" y="1118017"/>
                    </a:cubicBezTo>
                    <a:cubicBezTo>
                      <a:pt x="47856" y="1115320"/>
                      <a:pt x="43276" y="1113583"/>
                      <a:pt x="40663" y="1109925"/>
                    </a:cubicBezTo>
                    <a:cubicBezTo>
                      <a:pt x="38508" y="1106908"/>
                      <a:pt x="37965" y="1102843"/>
                      <a:pt x="37965" y="1099136"/>
                    </a:cubicBezTo>
                    <a:cubicBezTo>
                      <a:pt x="37965" y="1090994"/>
                      <a:pt x="37356" y="1082299"/>
                      <a:pt x="40663" y="1074859"/>
                    </a:cubicBezTo>
                    <a:cubicBezTo>
                      <a:pt x="44826" y="1065491"/>
                      <a:pt x="54959" y="1059752"/>
                      <a:pt x="59544" y="1050583"/>
                    </a:cubicBezTo>
                    <a:cubicBezTo>
                      <a:pt x="61342" y="1046987"/>
                      <a:pt x="62986" y="1043309"/>
                      <a:pt x="64939" y="1039794"/>
                    </a:cubicBezTo>
                    <a:cubicBezTo>
                      <a:pt x="67485" y="1035211"/>
                      <a:pt x="70216" y="1030730"/>
                      <a:pt x="73031" y="1026307"/>
                    </a:cubicBezTo>
                    <a:cubicBezTo>
                      <a:pt x="76512" y="1020837"/>
                      <a:pt x="83820" y="1010123"/>
                      <a:pt x="83820" y="1010123"/>
                    </a:cubicBezTo>
                    <a:cubicBezTo>
                      <a:pt x="84719" y="1004728"/>
                      <a:pt x="83619" y="998577"/>
                      <a:pt x="86518" y="993939"/>
                    </a:cubicBezTo>
                    <a:cubicBezTo>
                      <a:pt x="88649" y="990529"/>
                      <a:pt x="93816" y="990539"/>
                      <a:pt x="97307" y="988544"/>
                    </a:cubicBezTo>
                    <a:cubicBezTo>
                      <a:pt x="111946" y="980179"/>
                      <a:pt x="98656" y="985398"/>
                      <a:pt x="113491" y="980452"/>
                    </a:cubicBezTo>
                    <a:cubicBezTo>
                      <a:pt x="117087" y="975957"/>
                      <a:pt x="121087" y="971756"/>
                      <a:pt x="124280" y="966966"/>
                    </a:cubicBezTo>
                    <a:cubicBezTo>
                      <a:pt x="126511" y="963620"/>
                      <a:pt x="127338" y="959448"/>
                      <a:pt x="129675" y="956176"/>
                    </a:cubicBezTo>
                    <a:cubicBezTo>
                      <a:pt x="134924" y="948828"/>
                      <a:pt x="138957" y="947620"/>
                      <a:pt x="145859" y="942690"/>
                    </a:cubicBezTo>
                    <a:cubicBezTo>
                      <a:pt x="149518" y="940077"/>
                      <a:pt x="153052" y="937295"/>
                      <a:pt x="156649" y="934597"/>
                    </a:cubicBezTo>
                    <a:cubicBezTo>
                      <a:pt x="158447" y="937295"/>
                      <a:pt x="160593" y="939790"/>
                      <a:pt x="162043" y="942690"/>
                    </a:cubicBezTo>
                    <a:cubicBezTo>
                      <a:pt x="163315" y="945233"/>
                      <a:pt x="162891" y="948623"/>
                      <a:pt x="164741" y="950782"/>
                    </a:cubicBezTo>
                    <a:cubicBezTo>
                      <a:pt x="168488" y="955153"/>
                      <a:pt x="173732" y="957975"/>
                      <a:pt x="178227" y="961571"/>
                    </a:cubicBezTo>
                    <a:cubicBezTo>
                      <a:pt x="184876" y="958247"/>
                      <a:pt x="199178" y="952038"/>
                      <a:pt x="202503" y="945387"/>
                    </a:cubicBezTo>
                    <a:cubicBezTo>
                      <a:pt x="205745" y="938903"/>
                      <a:pt x="203941" y="930947"/>
                      <a:pt x="205201" y="923808"/>
                    </a:cubicBezTo>
                    <a:cubicBezTo>
                      <a:pt x="206642" y="915645"/>
                      <a:pt x="208797" y="907624"/>
                      <a:pt x="210595" y="899532"/>
                    </a:cubicBezTo>
                    <a:cubicBezTo>
                      <a:pt x="208797" y="886944"/>
                      <a:pt x="212254" y="872349"/>
                      <a:pt x="205201" y="861769"/>
                    </a:cubicBezTo>
                    <a:cubicBezTo>
                      <a:pt x="201180" y="855737"/>
                      <a:pt x="188396" y="864527"/>
                      <a:pt x="183622" y="859072"/>
                    </a:cubicBezTo>
                    <a:cubicBezTo>
                      <a:pt x="172575" y="846448"/>
                      <a:pt x="188270" y="838890"/>
                      <a:pt x="194411" y="834796"/>
                    </a:cubicBezTo>
                    <a:cubicBezTo>
                      <a:pt x="200831" y="815537"/>
                      <a:pt x="196652" y="823343"/>
                      <a:pt x="205201" y="810520"/>
                    </a:cubicBezTo>
                    <a:cubicBezTo>
                      <a:pt x="205498" y="807847"/>
                      <a:pt x="208577" y="776112"/>
                      <a:pt x="210595" y="770059"/>
                    </a:cubicBezTo>
                    <a:cubicBezTo>
                      <a:pt x="211620" y="766984"/>
                      <a:pt x="214192" y="764664"/>
                      <a:pt x="215990" y="761967"/>
                    </a:cubicBezTo>
                    <a:cubicBezTo>
                      <a:pt x="220787" y="737980"/>
                      <a:pt x="215719" y="757168"/>
                      <a:pt x="229477" y="726902"/>
                    </a:cubicBezTo>
                    <a:cubicBezTo>
                      <a:pt x="232391" y="720492"/>
                      <a:pt x="237033" y="698838"/>
                      <a:pt x="237569" y="697231"/>
                    </a:cubicBezTo>
                    <a:lnTo>
                      <a:pt x="240266" y="689139"/>
                    </a:lnTo>
                    <a:cubicBezTo>
                      <a:pt x="236670" y="683744"/>
                      <a:pt x="228206" y="679313"/>
                      <a:pt x="229477" y="672955"/>
                    </a:cubicBezTo>
                    <a:cubicBezTo>
                      <a:pt x="230376" y="668459"/>
                      <a:pt x="231062" y="663916"/>
                      <a:pt x="232174" y="659468"/>
                    </a:cubicBezTo>
                    <a:cubicBezTo>
                      <a:pt x="232864" y="656710"/>
                      <a:pt x="234182" y="654134"/>
                      <a:pt x="234872" y="651376"/>
                    </a:cubicBezTo>
                    <a:cubicBezTo>
                      <a:pt x="235984" y="646929"/>
                      <a:pt x="236670" y="642385"/>
                      <a:pt x="237569" y="637890"/>
                    </a:cubicBezTo>
                    <a:cubicBezTo>
                      <a:pt x="236670" y="620807"/>
                      <a:pt x="237085" y="603603"/>
                      <a:pt x="234872" y="586640"/>
                    </a:cubicBezTo>
                    <a:cubicBezTo>
                      <a:pt x="234352" y="582653"/>
                      <a:pt x="226205" y="578188"/>
                      <a:pt x="229477" y="575851"/>
                    </a:cubicBezTo>
                    <a:cubicBezTo>
                      <a:pt x="236102" y="571119"/>
                      <a:pt x="245661" y="574052"/>
                      <a:pt x="253753" y="573153"/>
                    </a:cubicBezTo>
                    <a:cubicBezTo>
                      <a:pt x="254652" y="570456"/>
                      <a:pt x="254440" y="567071"/>
                      <a:pt x="256450" y="565061"/>
                    </a:cubicBezTo>
                    <a:cubicBezTo>
                      <a:pt x="283824" y="537687"/>
                      <a:pt x="253978" y="579561"/>
                      <a:pt x="272634" y="551574"/>
                    </a:cubicBezTo>
                    <a:cubicBezTo>
                      <a:pt x="273533" y="547978"/>
                      <a:pt x="273276" y="543869"/>
                      <a:pt x="275332" y="540785"/>
                    </a:cubicBezTo>
                    <a:cubicBezTo>
                      <a:pt x="278859" y="535495"/>
                      <a:pt x="286808" y="533329"/>
                      <a:pt x="288818" y="527298"/>
                    </a:cubicBezTo>
                    <a:cubicBezTo>
                      <a:pt x="291585" y="518996"/>
                      <a:pt x="283799" y="502612"/>
                      <a:pt x="280726" y="494930"/>
                    </a:cubicBezTo>
                    <a:cubicBezTo>
                      <a:pt x="282524" y="491334"/>
                      <a:pt x="284966" y="487992"/>
                      <a:pt x="286121" y="484141"/>
                    </a:cubicBezTo>
                    <a:cubicBezTo>
                      <a:pt x="287693" y="478903"/>
                      <a:pt x="285952" y="472615"/>
                      <a:pt x="288818" y="467957"/>
                    </a:cubicBezTo>
                    <a:cubicBezTo>
                      <a:pt x="293483" y="460376"/>
                      <a:pt x="302763" y="456481"/>
                      <a:pt x="307700" y="449075"/>
                    </a:cubicBezTo>
                    <a:cubicBezTo>
                      <a:pt x="311296" y="443680"/>
                      <a:pt x="313094" y="436487"/>
                      <a:pt x="318489" y="432891"/>
                    </a:cubicBezTo>
                    <a:cubicBezTo>
                      <a:pt x="330322" y="425003"/>
                      <a:pt x="323988" y="429442"/>
                      <a:pt x="337371" y="419405"/>
                    </a:cubicBezTo>
                    <a:cubicBezTo>
                      <a:pt x="338643" y="415588"/>
                      <a:pt x="342765" y="403911"/>
                      <a:pt x="342765" y="400523"/>
                    </a:cubicBezTo>
                    <a:cubicBezTo>
                      <a:pt x="342765" y="382343"/>
                      <a:pt x="340212" y="382357"/>
                      <a:pt x="337371" y="368155"/>
                    </a:cubicBezTo>
                    <a:cubicBezTo>
                      <a:pt x="335742" y="360010"/>
                      <a:pt x="336757" y="349861"/>
                      <a:pt x="329279" y="343879"/>
                    </a:cubicBezTo>
                    <a:cubicBezTo>
                      <a:pt x="327059" y="342103"/>
                      <a:pt x="323884" y="342081"/>
                      <a:pt x="321187" y="341182"/>
                    </a:cubicBezTo>
                    <a:cubicBezTo>
                      <a:pt x="320288" y="346577"/>
                      <a:pt x="313598" y="359813"/>
                      <a:pt x="318489" y="357366"/>
                    </a:cubicBezTo>
                    <a:cubicBezTo>
                      <a:pt x="320943" y="356138"/>
                      <a:pt x="327221" y="336564"/>
                      <a:pt x="329279" y="330392"/>
                    </a:cubicBezTo>
                    <a:cubicBezTo>
                      <a:pt x="330178" y="324098"/>
                      <a:pt x="329345" y="317299"/>
                      <a:pt x="331976" y="311511"/>
                    </a:cubicBezTo>
                    <a:cubicBezTo>
                      <a:pt x="334081" y="306881"/>
                      <a:pt x="341330" y="305601"/>
                      <a:pt x="342765" y="300721"/>
                    </a:cubicBezTo>
                    <a:cubicBezTo>
                      <a:pt x="355721" y="256672"/>
                      <a:pt x="331565" y="272605"/>
                      <a:pt x="356252" y="260261"/>
                    </a:cubicBezTo>
                    <a:cubicBezTo>
                      <a:pt x="357151" y="253068"/>
                      <a:pt x="357042" y="245676"/>
                      <a:pt x="358949" y="238682"/>
                    </a:cubicBezTo>
                    <a:cubicBezTo>
                      <a:pt x="359802" y="235554"/>
                      <a:pt x="362153" y="232980"/>
                      <a:pt x="364344" y="230590"/>
                    </a:cubicBezTo>
                    <a:cubicBezTo>
                      <a:pt x="388334" y="204419"/>
                      <a:pt x="378460" y="208854"/>
                      <a:pt x="399410" y="203617"/>
                    </a:cubicBezTo>
                    <a:cubicBezTo>
                      <a:pt x="403006" y="206314"/>
                      <a:pt x="407239" y="208326"/>
                      <a:pt x="410199" y="211709"/>
                    </a:cubicBezTo>
                    <a:cubicBezTo>
                      <a:pt x="413651" y="215655"/>
                      <a:pt x="413739" y="222595"/>
                      <a:pt x="418291" y="225196"/>
                    </a:cubicBezTo>
                    <a:cubicBezTo>
                      <a:pt x="421510" y="227035"/>
                      <a:pt x="425484" y="223397"/>
                      <a:pt x="429080" y="222498"/>
                    </a:cubicBezTo>
                    <a:cubicBezTo>
                      <a:pt x="442904" y="201764"/>
                      <a:pt x="440936" y="212709"/>
                      <a:pt x="437172" y="190130"/>
                    </a:cubicBezTo>
                    <a:cubicBezTo>
                      <a:pt x="436582" y="182463"/>
                      <a:pt x="434025" y="135944"/>
                      <a:pt x="437172" y="122697"/>
                    </a:cubicBezTo>
                    <a:cubicBezTo>
                      <a:pt x="440319" y="109450"/>
                      <a:pt x="449759" y="109746"/>
                      <a:pt x="456053" y="110645"/>
                    </a:cubicBezTo>
                    <a:cubicBezTo>
                      <a:pt x="458750" y="111544"/>
                      <a:pt x="471411" y="104778"/>
                      <a:pt x="477255" y="106787"/>
                    </a:cubicBezTo>
                    <a:cubicBezTo>
                      <a:pt x="483099" y="108796"/>
                      <a:pt x="483989" y="124479"/>
                      <a:pt x="491119" y="122697"/>
                    </a:cubicBezTo>
                    <a:cubicBezTo>
                      <a:pt x="509101" y="124495"/>
                      <a:pt x="527146" y="125754"/>
                      <a:pt x="545066" y="128091"/>
                    </a:cubicBezTo>
                    <a:cubicBezTo>
                      <a:pt x="547885" y="128459"/>
                      <a:pt x="550424" y="130008"/>
                      <a:pt x="553158" y="130789"/>
                    </a:cubicBezTo>
                    <a:cubicBezTo>
                      <a:pt x="556723" y="131808"/>
                      <a:pt x="560351" y="132587"/>
                      <a:pt x="563948" y="133486"/>
                    </a:cubicBezTo>
                    <a:cubicBezTo>
                      <a:pt x="565220" y="129670"/>
                      <a:pt x="569342" y="117992"/>
                      <a:pt x="569342" y="114605"/>
                    </a:cubicBezTo>
                    <a:cubicBezTo>
                      <a:pt x="569342" y="107356"/>
                      <a:pt x="567544" y="100219"/>
                      <a:pt x="566645" y="93026"/>
                    </a:cubicBezTo>
                    <a:cubicBezTo>
                      <a:pt x="568443" y="81337"/>
                      <a:pt x="569331" y="69472"/>
                      <a:pt x="572040" y="57960"/>
                    </a:cubicBezTo>
                    <a:cubicBezTo>
                      <a:pt x="572961" y="54046"/>
                      <a:pt x="576935" y="51161"/>
                      <a:pt x="577434" y="47171"/>
                    </a:cubicBezTo>
                    <a:cubicBezTo>
                      <a:pt x="578516" y="38513"/>
                      <a:pt x="571056" y="31473"/>
                      <a:pt x="566645" y="25592"/>
                    </a:cubicBezTo>
                    <a:cubicBezTo>
                      <a:pt x="565746" y="22895"/>
                      <a:pt x="564729" y="20234"/>
                      <a:pt x="563948" y="17500"/>
                    </a:cubicBezTo>
                    <a:cubicBezTo>
                      <a:pt x="558124" y="-2884"/>
                      <a:pt x="584366" y="1505"/>
                      <a:pt x="592458" y="156"/>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865" name="Forma libre: forma 24">
                <a:extLst>
                  <a:ext uri="{FF2B5EF4-FFF2-40B4-BE49-F238E27FC236}">
                    <a16:creationId xmlns:a16="http://schemas.microsoft.com/office/drawing/2014/main" id="{838C3051-EB6E-4982-9611-143088E32898}"/>
                  </a:ext>
                </a:extLst>
              </p:cNvPr>
              <p:cNvSpPr/>
              <p:nvPr/>
            </p:nvSpPr>
            <p:spPr>
              <a:xfrm>
                <a:off x="5067124" y="3055604"/>
                <a:ext cx="99083" cy="208645"/>
              </a:xfrm>
              <a:custGeom>
                <a:avLst/>
                <a:gdLst>
                  <a:gd name="connsiteX0" fmla="*/ 97014 w 99083"/>
                  <a:gd name="connsiteY0" fmla="*/ 334 h 208645"/>
                  <a:gd name="connsiteX1" fmla="*/ 87489 w 99083"/>
                  <a:gd name="connsiteY1" fmla="*/ 6684 h 208645"/>
                  <a:gd name="connsiteX2" fmla="*/ 76376 w 99083"/>
                  <a:gd name="connsiteY2" fmla="*/ 9859 h 208645"/>
                  <a:gd name="connsiteX3" fmla="*/ 68439 w 99083"/>
                  <a:gd name="connsiteY3" fmla="*/ 16209 h 208645"/>
                  <a:gd name="connsiteX4" fmla="*/ 58914 w 99083"/>
                  <a:gd name="connsiteY4" fmla="*/ 17796 h 208645"/>
                  <a:gd name="connsiteX5" fmla="*/ 39864 w 99083"/>
                  <a:gd name="connsiteY5" fmla="*/ 19384 h 208645"/>
                  <a:gd name="connsiteX6" fmla="*/ 36689 w 99083"/>
                  <a:gd name="connsiteY6" fmla="*/ 25734 h 208645"/>
                  <a:gd name="connsiteX7" fmla="*/ 35101 w 99083"/>
                  <a:gd name="connsiteY7" fmla="*/ 30496 h 208645"/>
                  <a:gd name="connsiteX8" fmla="*/ 28751 w 99083"/>
                  <a:gd name="connsiteY8" fmla="*/ 40021 h 208645"/>
                  <a:gd name="connsiteX9" fmla="*/ 20814 w 99083"/>
                  <a:gd name="connsiteY9" fmla="*/ 54309 h 208645"/>
                  <a:gd name="connsiteX10" fmla="*/ 16051 w 99083"/>
                  <a:gd name="connsiteY10" fmla="*/ 60659 h 208645"/>
                  <a:gd name="connsiteX11" fmla="*/ 12876 w 99083"/>
                  <a:gd name="connsiteY11" fmla="*/ 67009 h 208645"/>
                  <a:gd name="connsiteX12" fmla="*/ 1764 w 99083"/>
                  <a:gd name="connsiteY12" fmla="*/ 82884 h 208645"/>
                  <a:gd name="connsiteX13" fmla="*/ 3351 w 99083"/>
                  <a:gd name="connsiteY13" fmla="*/ 173371 h 208645"/>
                  <a:gd name="connsiteX14" fmla="*/ 12876 w 99083"/>
                  <a:gd name="connsiteY14" fmla="*/ 171784 h 208645"/>
                  <a:gd name="connsiteX15" fmla="*/ 19226 w 99083"/>
                  <a:gd name="connsiteY15" fmla="*/ 168609 h 208645"/>
                  <a:gd name="connsiteX16" fmla="*/ 23989 w 99083"/>
                  <a:gd name="connsiteY16" fmla="*/ 195596 h 208645"/>
                  <a:gd name="connsiteX17" fmla="*/ 20814 w 99083"/>
                  <a:gd name="connsiteY17" fmla="*/ 208296 h 208645"/>
                  <a:gd name="connsiteX18" fmla="*/ 25576 w 99083"/>
                  <a:gd name="connsiteY18" fmla="*/ 205121 h 208645"/>
                  <a:gd name="connsiteX19" fmla="*/ 31926 w 99083"/>
                  <a:gd name="connsiteY19" fmla="*/ 200359 h 208645"/>
                  <a:gd name="connsiteX20" fmla="*/ 38276 w 99083"/>
                  <a:gd name="connsiteY20" fmla="*/ 197184 h 208645"/>
                  <a:gd name="connsiteX21" fmla="*/ 39864 w 99083"/>
                  <a:gd name="connsiteY21" fmla="*/ 160671 h 208645"/>
                  <a:gd name="connsiteX22" fmla="*/ 41451 w 99083"/>
                  <a:gd name="connsiteY22" fmla="*/ 155909 h 208645"/>
                  <a:gd name="connsiteX23" fmla="*/ 54151 w 99083"/>
                  <a:gd name="connsiteY23" fmla="*/ 149559 h 208645"/>
                  <a:gd name="connsiteX24" fmla="*/ 63676 w 99083"/>
                  <a:gd name="connsiteY24" fmla="*/ 147971 h 208645"/>
                  <a:gd name="connsiteX25" fmla="*/ 68439 w 99083"/>
                  <a:gd name="connsiteY25" fmla="*/ 141621 h 208645"/>
                  <a:gd name="connsiteX26" fmla="*/ 66851 w 99083"/>
                  <a:gd name="connsiteY26" fmla="*/ 130509 h 208645"/>
                  <a:gd name="connsiteX27" fmla="*/ 65264 w 99083"/>
                  <a:gd name="connsiteY27" fmla="*/ 117809 h 208645"/>
                  <a:gd name="connsiteX28" fmla="*/ 63676 w 99083"/>
                  <a:gd name="connsiteY28" fmla="*/ 82884 h 208645"/>
                  <a:gd name="connsiteX29" fmla="*/ 58914 w 99083"/>
                  <a:gd name="connsiteY29" fmla="*/ 68596 h 208645"/>
                  <a:gd name="connsiteX30" fmla="*/ 70026 w 99083"/>
                  <a:gd name="connsiteY30" fmla="*/ 43196 h 208645"/>
                  <a:gd name="connsiteX31" fmla="*/ 77964 w 99083"/>
                  <a:gd name="connsiteY31" fmla="*/ 32084 h 208645"/>
                  <a:gd name="connsiteX32" fmla="*/ 97014 w 99083"/>
                  <a:gd name="connsiteY32" fmla="*/ 17796 h 208645"/>
                  <a:gd name="connsiteX33" fmla="*/ 97014 w 99083"/>
                  <a:gd name="connsiteY33" fmla="*/ 334 h 2086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9083" h="208645">
                    <a:moveTo>
                      <a:pt x="97014" y="334"/>
                    </a:moveTo>
                    <a:cubicBezTo>
                      <a:pt x="95427" y="-1518"/>
                      <a:pt x="90825" y="4831"/>
                      <a:pt x="87489" y="6684"/>
                    </a:cubicBezTo>
                    <a:cubicBezTo>
                      <a:pt x="85630" y="7717"/>
                      <a:pt x="77865" y="9487"/>
                      <a:pt x="76376" y="9859"/>
                    </a:cubicBezTo>
                    <a:cubicBezTo>
                      <a:pt x="73730" y="11976"/>
                      <a:pt x="71524" y="14807"/>
                      <a:pt x="68439" y="16209"/>
                    </a:cubicBezTo>
                    <a:cubicBezTo>
                      <a:pt x="65509" y="17541"/>
                      <a:pt x="62113" y="17441"/>
                      <a:pt x="58914" y="17796"/>
                    </a:cubicBezTo>
                    <a:cubicBezTo>
                      <a:pt x="52581" y="18500"/>
                      <a:pt x="46214" y="18855"/>
                      <a:pt x="39864" y="19384"/>
                    </a:cubicBezTo>
                    <a:cubicBezTo>
                      <a:pt x="38806" y="21501"/>
                      <a:pt x="37621" y="23559"/>
                      <a:pt x="36689" y="25734"/>
                    </a:cubicBezTo>
                    <a:cubicBezTo>
                      <a:pt x="36030" y="27272"/>
                      <a:pt x="35914" y="29033"/>
                      <a:pt x="35101" y="30496"/>
                    </a:cubicBezTo>
                    <a:cubicBezTo>
                      <a:pt x="33248" y="33832"/>
                      <a:pt x="30458" y="36608"/>
                      <a:pt x="28751" y="40021"/>
                    </a:cubicBezTo>
                    <a:cubicBezTo>
                      <a:pt x="25727" y="46069"/>
                      <a:pt x="24797" y="48334"/>
                      <a:pt x="20814" y="54309"/>
                    </a:cubicBezTo>
                    <a:cubicBezTo>
                      <a:pt x="19346" y="56511"/>
                      <a:pt x="17453" y="58415"/>
                      <a:pt x="16051" y="60659"/>
                    </a:cubicBezTo>
                    <a:cubicBezTo>
                      <a:pt x="14797" y="62666"/>
                      <a:pt x="14156" y="65018"/>
                      <a:pt x="12876" y="67009"/>
                    </a:cubicBezTo>
                    <a:cubicBezTo>
                      <a:pt x="9383" y="72442"/>
                      <a:pt x="1764" y="82884"/>
                      <a:pt x="1764" y="82884"/>
                    </a:cubicBezTo>
                    <a:cubicBezTo>
                      <a:pt x="727" y="107762"/>
                      <a:pt x="-2354" y="150551"/>
                      <a:pt x="3351" y="173371"/>
                    </a:cubicBezTo>
                    <a:cubicBezTo>
                      <a:pt x="4132" y="176494"/>
                      <a:pt x="9701" y="172313"/>
                      <a:pt x="12876" y="171784"/>
                    </a:cubicBezTo>
                    <a:cubicBezTo>
                      <a:pt x="14993" y="170726"/>
                      <a:pt x="16859" y="168609"/>
                      <a:pt x="19226" y="168609"/>
                    </a:cubicBezTo>
                    <a:cubicBezTo>
                      <a:pt x="33073" y="168609"/>
                      <a:pt x="24451" y="192054"/>
                      <a:pt x="23989" y="195596"/>
                    </a:cubicBezTo>
                    <a:cubicBezTo>
                      <a:pt x="23425" y="199923"/>
                      <a:pt x="17183" y="210717"/>
                      <a:pt x="20814" y="208296"/>
                    </a:cubicBezTo>
                    <a:cubicBezTo>
                      <a:pt x="22401" y="207238"/>
                      <a:pt x="24024" y="206230"/>
                      <a:pt x="25576" y="205121"/>
                    </a:cubicBezTo>
                    <a:cubicBezTo>
                      <a:pt x="27729" y="203583"/>
                      <a:pt x="29682" y="201761"/>
                      <a:pt x="31926" y="200359"/>
                    </a:cubicBezTo>
                    <a:cubicBezTo>
                      <a:pt x="33933" y="199105"/>
                      <a:pt x="36159" y="198242"/>
                      <a:pt x="38276" y="197184"/>
                    </a:cubicBezTo>
                    <a:cubicBezTo>
                      <a:pt x="36544" y="172925"/>
                      <a:pt x="34945" y="180349"/>
                      <a:pt x="39864" y="160671"/>
                    </a:cubicBezTo>
                    <a:cubicBezTo>
                      <a:pt x="40270" y="159048"/>
                      <a:pt x="40268" y="157092"/>
                      <a:pt x="41451" y="155909"/>
                    </a:cubicBezTo>
                    <a:cubicBezTo>
                      <a:pt x="43979" y="153381"/>
                      <a:pt x="50173" y="150443"/>
                      <a:pt x="54151" y="149559"/>
                    </a:cubicBezTo>
                    <a:cubicBezTo>
                      <a:pt x="57293" y="148861"/>
                      <a:pt x="60501" y="148500"/>
                      <a:pt x="63676" y="147971"/>
                    </a:cubicBezTo>
                    <a:cubicBezTo>
                      <a:pt x="65264" y="145854"/>
                      <a:pt x="67966" y="144224"/>
                      <a:pt x="68439" y="141621"/>
                    </a:cubicBezTo>
                    <a:cubicBezTo>
                      <a:pt x="69108" y="137940"/>
                      <a:pt x="67346" y="134218"/>
                      <a:pt x="66851" y="130509"/>
                    </a:cubicBezTo>
                    <a:cubicBezTo>
                      <a:pt x="66287" y="126280"/>
                      <a:pt x="65793" y="122042"/>
                      <a:pt x="65264" y="117809"/>
                    </a:cubicBezTo>
                    <a:cubicBezTo>
                      <a:pt x="64735" y="106167"/>
                      <a:pt x="65167" y="94442"/>
                      <a:pt x="63676" y="82884"/>
                    </a:cubicBezTo>
                    <a:cubicBezTo>
                      <a:pt x="63034" y="77905"/>
                      <a:pt x="58914" y="68596"/>
                      <a:pt x="58914" y="68596"/>
                    </a:cubicBezTo>
                    <a:cubicBezTo>
                      <a:pt x="65091" y="43887"/>
                      <a:pt x="57727" y="67794"/>
                      <a:pt x="70026" y="43196"/>
                    </a:cubicBezTo>
                    <a:cubicBezTo>
                      <a:pt x="72849" y="37550"/>
                      <a:pt x="72814" y="35947"/>
                      <a:pt x="77964" y="32084"/>
                    </a:cubicBezTo>
                    <a:cubicBezTo>
                      <a:pt x="99500" y="15932"/>
                      <a:pt x="86093" y="28717"/>
                      <a:pt x="97014" y="17796"/>
                    </a:cubicBezTo>
                    <a:cubicBezTo>
                      <a:pt x="100745" y="8469"/>
                      <a:pt x="98601" y="2186"/>
                      <a:pt x="97014" y="33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grpSp>
        <p:sp>
          <p:nvSpPr>
            <p:cNvPr id="306" name="Forma libre: forma 25">
              <a:extLst>
                <a:ext uri="{FF2B5EF4-FFF2-40B4-BE49-F238E27FC236}">
                  <a16:creationId xmlns:a16="http://schemas.microsoft.com/office/drawing/2014/main" id="{03440ECA-7C2F-43B3-99B4-62BBBB3DF8F8}"/>
                </a:ext>
              </a:extLst>
            </p:cNvPr>
            <p:cNvSpPr/>
            <p:nvPr/>
          </p:nvSpPr>
          <p:spPr>
            <a:xfrm>
              <a:off x="6512520" y="4544816"/>
              <a:ext cx="561239" cy="353631"/>
            </a:xfrm>
            <a:custGeom>
              <a:avLst/>
              <a:gdLst>
                <a:gd name="connsiteX0" fmla="*/ 211138 w 550863"/>
                <a:gd name="connsiteY0" fmla="*/ 26987 h 350837"/>
                <a:gd name="connsiteX1" fmla="*/ 206375 w 550863"/>
                <a:gd name="connsiteY1" fmla="*/ 34925 h 350837"/>
                <a:gd name="connsiteX2" fmla="*/ 196850 w 550863"/>
                <a:gd name="connsiteY2" fmla="*/ 42862 h 350837"/>
                <a:gd name="connsiteX3" fmla="*/ 192088 w 550863"/>
                <a:gd name="connsiteY3" fmla="*/ 47625 h 350837"/>
                <a:gd name="connsiteX4" fmla="*/ 180975 w 550863"/>
                <a:gd name="connsiteY4" fmla="*/ 57150 h 350837"/>
                <a:gd name="connsiteX5" fmla="*/ 174625 w 550863"/>
                <a:gd name="connsiteY5" fmla="*/ 61912 h 350837"/>
                <a:gd name="connsiteX6" fmla="*/ 166688 w 550863"/>
                <a:gd name="connsiteY6" fmla="*/ 58737 h 350837"/>
                <a:gd name="connsiteX7" fmla="*/ 161925 w 550863"/>
                <a:gd name="connsiteY7" fmla="*/ 57150 h 350837"/>
                <a:gd name="connsiteX8" fmla="*/ 155575 w 550863"/>
                <a:gd name="connsiteY8" fmla="*/ 53975 h 350837"/>
                <a:gd name="connsiteX9" fmla="*/ 134938 w 550863"/>
                <a:gd name="connsiteY9" fmla="*/ 47625 h 350837"/>
                <a:gd name="connsiteX10" fmla="*/ 127000 w 550863"/>
                <a:gd name="connsiteY10" fmla="*/ 60325 h 350837"/>
                <a:gd name="connsiteX11" fmla="*/ 120650 w 550863"/>
                <a:gd name="connsiteY11" fmla="*/ 63500 h 350837"/>
                <a:gd name="connsiteX12" fmla="*/ 114300 w 550863"/>
                <a:gd name="connsiteY12" fmla="*/ 68262 h 350837"/>
                <a:gd name="connsiteX13" fmla="*/ 128588 w 550863"/>
                <a:gd name="connsiteY13" fmla="*/ 73025 h 350837"/>
                <a:gd name="connsiteX14" fmla="*/ 131763 w 550863"/>
                <a:gd name="connsiteY14" fmla="*/ 79375 h 350837"/>
                <a:gd name="connsiteX15" fmla="*/ 127000 w 550863"/>
                <a:gd name="connsiteY15" fmla="*/ 90487 h 350837"/>
                <a:gd name="connsiteX16" fmla="*/ 117475 w 550863"/>
                <a:gd name="connsiteY16" fmla="*/ 100012 h 350837"/>
                <a:gd name="connsiteX17" fmla="*/ 109538 w 550863"/>
                <a:gd name="connsiteY17" fmla="*/ 103187 h 350837"/>
                <a:gd name="connsiteX18" fmla="*/ 104775 w 550863"/>
                <a:gd name="connsiteY18" fmla="*/ 109537 h 350837"/>
                <a:gd name="connsiteX19" fmla="*/ 96838 w 550863"/>
                <a:gd name="connsiteY19" fmla="*/ 112712 h 350837"/>
                <a:gd name="connsiteX20" fmla="*/ 92075 w 550863"/>
                <a:gd name="connsiteY20" fmla="*/ 115887 h 350837"/>
                <a:gd name="connsiteX21" fmla="*/ 84138 w 550863"/>
                <a:gd name="connsiteY21" fmla="*/ 128587 h 350837"/>
                <a:gd name="connsiteX22" fmla="*/ 79375 w 550863"/>
                <a:gd name="connsiteY22" fmla="*/ 133350 h 350837"/>
                <a:gd name="connsiteX23" fmla="*/ 71438 w 550863"/>
                <a:gd name="connsiteY23" fmla="*/ 141287 h 350837"/>
                <a:gd name="connsiteX24" fmla="*/ 63500 w 550863"/>
                <a:gd name="connsiteY24" fmla="*/ 149225 h 350837"/>
                <a:gd name="connsiteX25" fmla="*/ 58738 w 550863"/>
                <a:gd name="connsiteY25" fmla="*/ 155575 h 350837"/>
                <a:gd name="connsiteX26" fmla="*/ 57150 w 550863"/>
                <a:gd name="connsiteY26" fmla="*/ 160337 h 350837"/>
                <a:gd name="connsiteX27" fmla="*/ 55563 w 550863"/>
                <a:gd name="connsiteY27" fmla="*/ 166687 h 350837"/>
                <a:gd name="connsiteX28" fmla="*/ 52388 w 550863"/>
                <a:gd name="connsiteY28" fmla="*/ 171450 h 350837"/>
                <a:gd name="connsiteX29" fmla="*/ 44450 w 550863"/>
                <a:gd name="connsiteY29" fmla="*/ 182562 h 350837"/>
                <a:gd name="connsiteX30" fmla="*/ 39688 w 550863"/>
                <a:gd name="connsiteY30" fmla="*/ 188912 h 350837"/>
                <a:gd name="connsiteX31" fmla="*/ 26988 w 550863"/>
                <a:gd name="connsiteY31" fmla="*/ 192087 h 350837"/>
                <a:gd name="connsiteX32" fmla="*/ 22225 w 550863"/>
                <a:gd name="connsiteY32" fmla="*/ 195262 h 350837"/>
                <a:gd name="connsiteX33" fmla="*/ 14288 w 550863"/>
                <a:gd name="connsiteY33" fmla="*/ 198437 h 350837"/>
                <a:gd name="connsiteX34" fmla="*/ 11113 w 550863"/>
                <a:gd name="connsiteY34" fmla="*/ 204787 h 350837"/>
                <a:gd name="connsiteX35" fmla="*/ 12700 w 550863"/>
                <a:gd name="connsiteY35" fmla="*/ 244475 h 350837"/>
                <a:gd name="connsiteX36" fmla="*/ 14288 w 550863"/>
                <a:gd name="connsiteY36" fmla="*/ 250825 h 350837"/>
                <a:gd name="connsiteX37" fmla="*/ 19050 w 550863"/>
                <a:gd name="connsiteY37" fmla="*/ 255587 h 350837"/>
                <a:gd name="connsiteX38" fmla="*/ 12700 w 550863"/>
                <a:gd name="connsiteY38" fmla="*/ 258762 h 350837"/>
                <a:gd name="connsiteX39" fmla="*/ 0 w 550863"/>
                <a:gd name="connsiteY39" fmla="*/ 271462 h 350837"/>
                <a:gd name="connsiteX40" fmla="*/ 3175 w 550863"/>
                <a:gd name="connsiteY40" fmla="*/ 276225 h 350837"/>
                <a:gd name="connsiteX41" fmla="*/ 11113 w 550863"/>
                <a:gd name="connsiteY41" fmla="*/ 279400 h 350837"/>
                <a:gd name="connsiteX42" fmla="*/ 23813 w 550863"/>
                <a:gd name="connsiteY42" fmla="*/ 276225 h 350837"/>
                <a:gd name="connsiteX43" fmla="*/ 28575 w 550863"/>
                <a:gd name="connsiteY43" fmla="*/ 268287 h 350837"/>
                <a:gd name="connsiteX44" fmla="*/ 28575 w 550863"/>
                <a:gd name="connsiteY44" fmla="*/ 242887 h 350837"/>
                <a:gd name="connsiteX45" fmla="*/ 34925 w 550863"/>
                <a:gd name="connsiteY45" fmla="*/ 239712 h 350837"/>
                <a:gd name="connsiteX46" fmla="*/ 49213 w 550863"/>
                <a:gd name="connsiteY46" fmla="*/ 236537 h 350837"/>
                <a:gd name="connsiteX47" fmla="*/ 57150 w 550863"/>
                <a:gd name="connsiteY47" fmla="*/ 228600 h 350837"/>
                <a:gd name="connsiteX48" fmla="*/ 58738 w 550863"/>
                <a:gd name="connsiteY48" fmla="*/ 223837 h 350837"/>
                <a:gd name="connsiteX49" fmla="*/ 66675 w 550863"/>
                <a:gd name="connsiteY49" fmla="*/ 217487 h 350837"/>
                <a:gd name="connsiteX50" fmla="*/ 77788 w 550863"/>
                <a:gd name="connsiteY50" fmla="*/ 222250 h 350837"/>
                <a:gd name="connsiteX51" fmla="*/ 87313 w 550863"/>
                <a:gd name="connsiteY51" fmla="*/ 225425 h 350837"/>
                <a:gd name="connsiteX52" fmla="*/ 101600 w 550863"/>
                <a:gd name="connsiteY52" fmla="*/ 233362 h 350837"/>
                <a:gd name="connsiteX53" fmla="*/ 103188 w 550863"/>
                <a:gd name="connsiteY53" fmla="*/ 252412 h 350837"/>
                <a:gd name="connsiteX54" fmla="*/ 104775 w 550863"/>
                <a:gd name="connsiteY54" fmla="*/ 284162 h 350837"/>
                <a:gd name="connsiteX55" fmla="*/ 109538 w 550863"/>
                <a:gd name="connsiteY55" fmla="*/ 287337 h 350837"/>
                <a:gd name="connsiteX56" fmla="*/ 111125 w 550863"/>
                <a:gd name="connsiteY56" fmla="*/ 296862 h 350837"/>
                <a:gd name="connsiteX57" fmla="*/ 112713 w 550863"/>
                <a:gd name="connsiteY57" fmla="*/ 301625 h 350837"/>
                <a:gd name="connsiteX58" fmla="*/ 111125 w 550863"/>
                <a:gd name="connsiteY58" fmla="*/ 307975 h 350837"/>
                <a:gd name="connsiteX59" fmla="*/ 115888 w 550863"/>
                <a:gd name="connsiteY59" fmla="*/ 314325 h 350837"/>
                <a:gd name="connsiteX60" fmla="*/ 122238 w 550863"/>
                <a:gd name="connsiteY60" fmla="*/ 315912 h 350837"/>
                <a:gd name="connsiteX61" fmla="*/ 125413 w 550863"/>
                <a:gd name="connsiteY61" fmla="*/ 325437 h 350837"/>
                <a:gd name="connsiteX62" fmla="*/ 127000 w 550863"/>
                <a:gd name="connsiteY62" fmla="*/ 334962 h 350837"/>
                <a:gd name="connsiteX63" fmla="*/ 142875 w 550863"/>
                <a:gd name="connsiteY63" fmla="*/ 336550 h 350837"/>
                <a:gd name="connsiteX64" fmla="*/ 149225 w 550863"/>
                <a:gd name="connsiteY64" fmla="*/ 328612 h 350837"/>
                <a:gd name="connsiteX65" fmla="*/ 152400 w 550863"/>
                <a:gd name="connsiteY65" fmla="*/ 323850 h 350837"/>
                <a:gd name="connsiteX66" fmla="*/ 158750 w 550863"/>
                <a:gd name="connsiteY66" fmla="*/ 327025 h 350837"/>
                <a:gd name="connsiteX67" fmla="*/ 168275 w 550863"/>
                <a:gd name="connsiteY67" fmla="*/ 334962 h 350837"/>
                <a:gd name="connsiteX68" fmla="*/ 173038 w 550863"/>
                <a:gd name="connsiteY68" fmla="*/ 328612 h 350837"/>
                <a:gd name="connsiteX69" fmla="*/ 179388 w 550863"/>
                <a:gd name="connsiteY69" fmla="*/ 323850 h 350837"/>
                <a:gd name="connsiteX70" fmla="*/ 190500 w 550863"/>
                <a:gd name="connsiteY70" fmla="*/ 320675 h 350837"/>
                <a:gd name="connsiteX71" fmla="*/ 200025 w 550863"/>
                <a:gd name="connsiteY71" fmla="*/ 325437 h 350837"/>
                <a:gd name="connsiteX72" fmla="*/ 209550 w 550863"/>
                <a:gd name="connsiteY72" fmla="*/ 327025 h 350837"/>
                <a:gd name="connsiteX73" fmla="*/ 211138 w 550863"/>
                <a:gd name="connsiteY73" fmla="*/ 331787 h 350837"/>
                <a:gd name="connsiteX74" fmla="*/ 212725 w 550863"/>
                <a:gd name="connsiteY74" fmla="*/ 338137 h 350837"/>
                <a:gd name="connsiteX75" fmla="*/ 225425 w 550863"/>
                <a:gd name="connsiteY75" fmla="*/ 336550 h 350837"/>
                <a:gd name="connsiteX76" fmla="*/ 227013 w 550863"/>
                <a:gd name="connsiteY76" fmla="*/ 331787 h 350837"/>
                <a:gd name="connsiteX77" fmla="*/ 231775 w 550863"/>
                <a:gd name="connsiteY77" fmla="*/ 327025 h 350837"/>
                <a:gd name="connsiteX78" fmla="*/ 234950 w 550863"/>
                <a:gd name="connsiteY78" fmla="*/ 319087 h 350837"/>
                <a:gd name="connsiteX79" fmla="*/ 239713 w 550863"/>
                <a:gd name="connsiteY79" fmla="*/ 315912 h 350837"/>
                <a:gd name="connsiteX80" fmla="*/ 254000 w 550863"/>
                <a:gd name="connsiteY80" fmla="*/ 306387 h 350837"/>
                <a:gd name="connsiteX81" fmla="*/ 252413 w 550863"/>
                <a:gd name="connsiteY81" fmla="*/ 292100 h 350837"/>
                <a:gd name="connsiteX82" fmla="*/ 254000 w 550863"/>
                <a:gd name="connsiteY82" fmla="*/ 276225 h 350837"/>
                <a:gd name="connsiteX83" fmla="*/ 258763 w 550863"/>
                <a:gd name="connsiteY83" fmla="*/ 269875 h 350837"/>
                <a:gd name="connsiteX84" fmla="*/ 269875 w 550863"/>
                <a:gd name="connsiteY84" fmla="*/ 258762 h 350837"/>
                <a:gd name="connsiteX85" fmla="*/ 274638 w 550863"/>
                <a:gd name="connsiteY85" fmla="*/ 254000 h 350837"/>
                <a:gd name="connsiteX86" fmla="*/ 280988 w 550863"/>
                <a:gd name="connsiteY86" fmla="*/ 250825 h 350837"/>
                <a:gd name="connsiteX87" fmla="*/ 285750 w 550863"/>
                <a:gd name="connsiteY87" fmla="*/ 249237 h 350837"/>
                <a:gd name="connsiteX88" fmla="*/ 295275 w 550863"/>
                <a:gd name="connsiteY88" fmla="*/ 244475 h 350837"/>
                <a:gd name="connsiteX89" fmla="*/ 301625 w 550863"/>
                <a:gd name="connsiteY89" fmla="*/ 271462 h 350837"/>
                <a:gd name="connsiteX90" fmla="*/ 311150 w 550863"/>
                <a:gd name="connsiteY90" fmla="*/ 282575 h 350837"/>
                <a:gd name="connsiteX91" fmla="*/ 314325 w 550863"/>
                <a:gd name="connsiteY91" fmla="*/ 287337 h 350837"/>
                <a:gd name="connsiteX92" fmla="*/ 315913 w 550863"/>
                <a:gd name="connsiteY92" fmla="*/ 292100 h 350837"/>
                <a:gd name="connsiteX93" fmla="*/ 320675 w 550863"/>
                <a:gd name="connsiteY93" fmla="*/ 295275 h 350837"/>
                <a:gd name="connsiteX94" fmla="*/ 339725 w 550863"/>
                <a:gd name="connsiteY94" fmla="*/ 298450 h 350837"/>
                <a:gd name="connsiteX95" fmla="*/ 344488 w 550863"/>
                <a:gd name="connsiteY95" fmla="*/ 303212 h 350837"/>
                <a:gd name="connsiteX96" fmla="*/ 349250 w 550863"/>
                <a:gd name="connsiteY96" fmla="*/ 315912 h 350837"/>
                <a:gd name="connsiteX97" fmla="*/ 350838 w 550863"/>
                <a:gd name="connsiteY97" fmla="*/ 325437 h 350837"/>
                <a:gd name="connsiteX98" fmla="*/ 355600 w 550863"/>
                <a:gd name="connsiteY98" fmla="*/ 331787 h 350837"/>
                <a:gd name="connsiteX99" fmla="*/ 358775 w 550863"/>
                <a:gd name="connsiteY99" fmla="*/ 336550 h 350837"/>
                <a:gd name="connsiteX100" fmla="*/ 366713 w 550863"/>
                <a:gd name="connsiteY100" fmla="*/ 349250 h 350837"/>
                <a:gd name="connsiteX101" fmla="*/ 371475 w 550863"/>
                <a:gd name="connsiteY101" fmla="*/ 350837 h 350837"/>
                <a:gd name="connsiteX102" fmla="*/ 373063 w 550863"/>
                <a:gd name="connsiteY102" fmla="*/ 312737 h 350837"/>
                <a:gd name="connsiteX103" fmla="*/ 374650 w 550863"/>
                <a:gd name="connsiteY103" fmla="*/ 307975 h 350837"/>
                <a:gd name="connsiteX104" fmla="*/ 377825 w 550863"/>
                <a:gd name="connsiteY104" fmla="*/ 303212 h 350837"/>
                <a:gd name="connsiteX105" fmla="*/ 384175 w 550863"/>
                <a:gd name="connsiteY105" fmla="*/ 298450 h 350837"/>
                <a:gd name="connsiteX106" fmla="*/ 396875 w 550863"/>
                <a:gd name="connsiteY106" fmla="*/ 290512 h 350837"/>
                <a:gd name="connsiteX107" fmla="*/ 401638 w 550863"/>
                <a:gd name="connsiteY107" fmla="*/ 287337 h 350837"/>
                <a:gd name="connsiteX108" fmla="*/ 406400 w 550863"/>
                <a:gd name="connsiteY108" fmla="*/ 280987 h 350837"/>
                <a:gd name="connsiteX109" fmla="*/ 411163 w 550863"/>
                <a:gd name="connsiteY109" fmla="*/ 276225 h 350837"/>
                <a:gd name="connsiteX110" fmla="*/ 412750 w 550863"/>
                <a:gd name="connsiteY110" fmla="*/ 260350 h 350837"/>
                <a:gd name="connsiteX111" fmla="*/ 414338 w 550863"/>
                <a:gd name="connsiteY111" fmla="*/ 236537 h 350837"/>
                <a:gd name="connsiteX112" fmla="*/ 428625 w 550863"/>
                <a:gd name="connsiteY112" fmla="*/ 239712 h 350837"/>
                <a:gd name="connsiteX113" fmla="*/ 430213 w 550863"/>
                <a:gd name="connsiteY113" fmla="*/ 246062 h 350837"/>
                <a:gd name="connsiteX114" fmla="*/ 433388 w 550863"/>
                <a:gd name="connsiteY114" fmla="*/ 250825 h 350837"/>
                <a:gd name="connsiteX115" fmla="*/ 434975 w 550863"/>
                <a:gd name="connsiteY115" fmla="*/ 260350 h 350837"/>
                <a:gd name="connsiteX116" fmla="*/ 447675 w 550863"/>
                <a:gd name="connsiteY116" fmla="*/ 271462 h 350837"/>
                <a:gd name="connsiteX117" fmla="*/ 460375 w 550863"/>
                <a:gd name="connsiteY117" fmla="*/ 266700 h 350837"/>
                <a:gd name="connsiteX118" fmla="*/ 461963 w 550863"/>
                <a:gd name="connsiteY118" fmla="*/ 261937 h 350837"/>
                <a:gd name="connsiteX119" fmla="*/ 468313 w 550863"/>
                <a:gd name="connsiteY119" fmla="*/ 260350 h 350837"/>
                <a:gd name="connsiteX120" fmla="*/ 476250 w 550863"/>
                <a:gd name="connsiteY120" fmla="*/ 258762 h 350837"/>
                <a:gd name="connsiteX121" fmla="*/ 481013 w 550863"/>
                <a:gd name="connsiteY121" fmla="*/ 255587 h 350837"/>
                <a:gd name="connsiteX122" fmla="*/ 488950 w 550863"/>
                <a:gd name="connsiteY122" fmla="*/ 261937 h 350837"/>
                <a:gd name="connsiteX123" fmla="*/ 492125 w 550863"/>
                <a:gd name="connsiteY123" fmla="*/ 268287 h 350837"/>
                <a:gd name="connsiteX124" fmla="*/ 496888 w 550863"/>
                <a:gd name="connsiteY124" fmla="*/ 271462 h 350837"/>
                <a:gd name="connsiteX125" fmla="*/ 501650 w 550863"/>
                <a:gd name="connsiteY125" fmla="*/ 276225 h 350837"/>
                <a:gd name="connsiteX126" fmla="*/ 509588 w 550863"/>
                <a:gd name="connsiteY126" fmla="*/ 292100 h 350837"/>
                <a:gd name="connsiteX127" fmla="*/ 509588 w 550863"/>
                <a:gd name="connsiteY127" fmla="*/ 252412 h 350837"/>
                <a:gd name="connsiteX128" fmla="*/ 504825 w 550863"/>
                <a:gd name="connsiteY128" fmla="*/ 246062 h 350837"/>
                <a:gd name="connsiteX129" fmla="*/ 501650 w 550863"/>
                <a:gd name="connsiteY129" fmla="*/ 239712 h 350837"/>
                <a:gd name="connsiteX130" fmla="*/ 503238 w 550863"/>
                <a:gd name="connsiteY130" fmla="*/ 227012 h 350837"/>
                <a:gd name="connsiteX131" fmla="*/ 509588 w 550863"/>
                <a:gd name="connsiteY131" fmla="*/ 217487 h 350837"/>
                <a:gd name="connsiteX132" fmla="*/ 511175 w 550863"/>
                <a:gd name="connsiteY132" fmla="*/ 211137 h 350837"/>
                <a:gd name="connsiteX133" fmla="*/ 519113 w 550863"/>
                <a:gd name="connsiteY133" fmla="*/ 214312 h 350837"/>
                <a:gd name="connsiteX134" fmla="*/ 523875 w 550863"/>
                <a:gd name="connsiteY134" fmla="*/ 215900 h 350837"/>
                <a:gd name="connsiteX135" fmla="*/ 534988 w 550863"/>
                <a:gd name="connsiteY135" fmla="*/ 222250 h 350837"/>
                <a:gd name="connsiteX136" fmla="*/ 538163 w 550863"/>
                <a:gd name="connsiteY136" fmla="*/ 227012 h 350837"/>
                <a:gd name="connsiteX137" fmla="*/ 550863 w 550863"/>
                <a:gd name="connsiteY137" fmla="*/ 227012 h 350837"/>
                <a:gd name="connsiteX138" fmla="*/ 549275 w 550863"/>
                <a:gd name="connsiteY138" fmla="*/ 212725 h 350837"/>
                <a:gd name="connsiteX139" fmla="*/ 544513 w 550863"/>
                <a:gd name="connsiteY139" fmla="*/ 207962 h 350837"/>
                <a:gd name="connsiteX140" fmla="*/ 541338 w 550863"/>
                <a:gd name="connsiteY140" fmla="*/ 195262 h 350837"/>
                <a:gd name="connsiteX141" fmla="*/ 539750 w 550863"/>
                <a:gd name="connsiteY141" fmla="*/ 169862 h 350837"/>
                <a:gd name="connsiteX142" fmla="*/ 530225 w 550863"/>
                <a:gd name="connsiteY142" fmla="*/ 166687 h 350837"/>
                <a:gd name="connsiteX143" fmla="*/ 495300 w 550863"/>
                <a:gd name="connsiteY143" fmla="*/ 165100 h 350837"/>
                <a:gd name="connsiteX144" fmla="*/ 493713 w 550863"/>
                <a:gd name="connsiteY144" fmla="*/ 160337 h 350837"/>
                <a:gd name="connsiteX145" fmla="*/ 484188 w 550863"/>
                <a:gd name="connsiteY145" fmla="*/ 152400 h 350837"/>
                <a:gd name="connsiteX146" fmla="*/ 481013 w 550863"/>
                <a:gd name="connsiteY146" fmla="*/ 144462 h 350837"/>
                <a:gd name="connsiteX147" fmla="*/ 460375 w 550863"/>
                <a:gd name="connsiteY147" fmla="*/ 139700 h 350837"/>
                <a:gd name="connsiteX148" fmla="*/ 452438 w 550863"/>
                <a:gd name="connsiteY148" fmla="*/ 134937 h 350837"/>
                <a:gd name="connsiteX149" fmla="*/ 447675 w 550863"/>
                <a:gd name="connsiteY149" fmla="*/ 127000 h 350837"/>
                <a:gd name="connsiteX150" fmla="*/ 434975 w 550863"/>
                <a:gd name="connsiteY150" fmla="*/ 125412 h 350837"/>
                <a:gd name="connsiteX151" fmla="*/ 436563 w 550863"/>
                <a:gd name="connsiteY151" fmla="*/ 120650 h 350837"/>
                <a:gd name="connsiteX152" fmla="*/ 436563 w 550863"/>
                <a:gd name="connsiteY152" fmla="*/ 98425 h 350837"/>
                <a:gd name="connsiteX153" fmla="*/ 430213 w 550863"/>
                <a:gd name="connsiteY153" fmla="*/ 92075 h 350837"/>
                <a:gd name="connsiteX154" fmla="*/ 436563 w 550863"/>
                <a:gd name="connsiteY154" fmla="*/ 88900 h 350837"/>
                <a:gd name="connsiteX155" fmla="*/ 452438 w 550863"/>
                <a:gd name="connsiteY155" fmla="*/ 87312 h 350837"/>
                <a:gd name="connsiteX156" fmla="*/ 454025 w 550863"/>
                <a:gd name="connsiteY156" fmla="*/ 79375 h 350837"/>
                <a:gd name="connsiteX157" fmla="*/ 452438 w 550863"/>
                <a:gd name="connsiteY157" fmla="*/ 74612 h 350837"/>
                <a:gd name="connsiteX158" fmla="*/ 442913 w 550863"/>
                <a:gd name="connsiteY158" fmla="*/ 60325 h 350837"/>
                <a:gd name="connsiteX159" fmla="*/ 438150 w 550863"/>
                <a:gd name="connsiteY159" fmla="*/ 47625 h 350837"/>
                <a:gd name="connsiteX160" fmla="*/ 430213 w 550863"/>
                <a:gd name="connsiteY160" fmla="*/ 46037 h 350837"/>
                <a:gd name="connsiteX161" fmla="*/ 423863 w 550863"/>
                <a:gd name="connsiteY161" fmla="*/ 39687 h 350837"/>
                <a:gd name="connsiteX162" fmla="*/ 411163 w 550863"/>
                <a:gd name="connsiteY162" fmla="*/ 34925 h 350837"/>
                <a:gd name="connsiteX163" fmla="*/ 401638 w 550863"/>
                <a:gd name="connsiteY163" fmla="*/ 26987 h 350837"/>
                <a:gd name="connsiteX164" fmla="*/ 392113 w 550863"/>
                <a:gd name="connsiteY164" fmla="*/ 23812 h 350837"/>
                <a:gd name="connsiteX165" fmla="*/ 387350 w 550863"/>
                <a:gd name="connsiteY165" fmla="*/ 19050 h 350837"/>
                <a:gd name="connsiteX166" fmla="*/ 377825 w 550863"/>
                <a:gd name="connsiteY166" fmla="*/ 15875 h 350837"/>
                <a:gd name="connsiteX167" fmla="*/ 363538 w 550863"/>
                <a:gd name="connsiteY167" fmla="*/ 17462 h 350837"/>
                <a:gd name="connsiteX168" fmla="*/ 354013 w 550863"/>
                <a:gd name="connsiteY168" fmla="*/ 19050 h 350837"/>
                <a:gd name="connsiteX169" fmla="*/ 342900 w 550863"/>
                <a:gd name="connsiteY169" fmla="*/ 7937 h 350837"/>
                <a:gd name="connsiteX170" fmla="*/ 328613 w 550863"/>
                <a:gd name="connsiteY170" fmla="*/ 0 h 350837"/>
                <a:gd name="connsiteX171" fmla="*/ 312738 w 550863"/>
                <a:gd name="connsiteY171" fmla="*/ 1587 h 350837"/>
                <a:gd name="connsiteX172" fmla="*/ 306388 w 550863"/>
                <a:gd name="connsiteY172" fmla="*/ 9525 h 350837"/>
                <a:gd name="connsiteX173" fmla="*/ 311150 w 550863"/>
                <a:gd name="connsiteY173" fmla="*/ 11112 h 350837"/>
                <a:gd name="connsiteX174" fmla="*/ 315913 w 550863"/>
                <a:gd name="connsiteY174" fmla="*/ 15875 h 350837"/>
                <a:gd name="connsiteX175" fmla="*/ 339725 w 550863"/>
                <a:gd name="connsiteY175" fmla="*/ 14287 h 350837"/>
                <a:gd name="connsiteX176" fmla="*/ 338138 w 550863"/>
                <a:gd name="connsiteY176" fmla="*/ 15875 h 350837"/>
                <a:gd name="connsiteX177" fmla="*/ 334963 w 550863"/>
                <a:gd name="connsiteY177" fmla="*/ 22225 h 350837"/>
                <a:gd name="connsiteX178" fmla="*/ 328613 w 550863"/>
                <a:gd name="connsiteY178" fmla="*/ 23812 h 350837"/>
                <a:gd name="connsiteX179" fmla="*/ 323850 w 550863"/>
                <a:gd name="connsiteY179" fmla="*/ 26987 h 350837"/>
                <a:gd name="connsiteX180" fmla="*/ 314325 w 550863"/>
                <a:gd name="connsiteY180" fmla="*/ 34925 h 350837"/>
                <a:gd name="connsiteX181" fmla="*/ 306388 w 550863"/>
                <a:gd name="connsiteY181" fmla="*/ 36512 h 350837"/>
                <a:gd name="connsiteX182" fmla="*/ 296863 w 550863"/>
                <a:gd name="connsiteY182" fmla="*/ 33337 h 350837"/>
                <a:gd name="connsiteX183" fmla="*/ 292100 w 550863"/>
                <a:gd name="connsiteY183" fmla="*/ 30162 h 350837"/>
                <a:gd name="connsiteX184" fmla="*/ 282575 w 550863"/>
                <a:gd name="connsiteY184" fmla="*/ 28575 h 350837"/>
                <a:gd name="connsiteX185" fmla="*/ 271463 w 550863"/>
                <a:gd name="connsiteY185" fmla="*/ 23812 h 350837"/>
                <a:gd name="connsiteX186" fmla="*/ 265113 w 550863"/>
                <a:gd name="connsiteY186" fmla="*/ 25400 h 350837"/>
                <a:gd name="connsiteX187" fmla="*/ 246063 w 550863"/>
                <a:gd name="connsiteY187" fmla="*/ 38100 h 350837"/>
                <a:gd name="connsiteX188" fmla="*/ 231775 w 550863"/>
                <a:gd name="connsiteY188" fmla="*/ 36512 h 350837"/>
                <a:gd name="connsiteX189" fmla="*/ 222250 w 550863"/>
                <a:gd name="connsiteY189" fmla="*/ 33337 h 350837"/>
                <a:gd name="connsiteX190" fmla="*/ 211138 w 550863"/>
                <a:gd name="connsiteY190" fmla="*/ 26987 h 350837"/>
                <a:gd name="connsiteX0" fmla="*/ 211138 w 550863"/>
                <a:gd name="connsiteY0" fmla="*/ 26987 h 369887"/>
                <a:gd name="connsiteX1" fmla="*/ 206375 w 550863"/>
                <a:gd name="connsiteY1" fmla="*/ 34925 h 369887"/>
                <a:gd name="connsiteX2" fmla="*/ 196850 w 550863"/>
                <a:gd name="connsiteY2" fmla="*/ 42862 h 369887"/>
                <a:gd name="connsiteX3" fmla="*/ 192088 w 550863"/>
                <a:gd name="connsiteY3" fmla="*/ 47625 h 369887"/>
                <a:gd name="connsiteX4" fmla="*/ 180975 w 550863"/>
                <a:gd name="connsiteY4" fmla="*/ 57150 h 369887"/>
                <a:gd name="connsiteX5" fmla="*/ 174625 w 550863"/>
                <a:gd name="connsiteY5" fmla="*/ 61912 h 369887"/>
                <a:gd name="connsiteX6" fmla="*/ 166688 w 550863"/>
                <a:gd name="connsiteY6" fmla="*/ 58737 h 369887"/>
                <a:gd name="connsiteX7" fmla="*/ 161925 w 550863"/>
                <a:gd name="connsiteY7" fmla="*/ 57150 h 369887"/>
                <a:gd name="connsiteX8" fmla="*/ 155575 w 550863"/>
                <a:gd name="connsiteY8" fmla="*/ 53975 h 369887"/>
                <a:gd name="connsiteX9" fmla="*/ 134938 w 550863"/>
                <a:gd name="connsiteY9" fmla="*/ 47625 h 369887"/>
                <a:gd name="connsiteX10" fmla="*/ 127000 w 550863"/>
                <a:gd name="connsiteY10" fmla="*/ 60325 h 369887"/>
                <a:gd name="connsiteX11" fmla="*/ 120650 w 550863"/>
                <a:gd name="connsiteY11" fmla="*/ 63500 h 369887"/>
                <a:gd name="connsiteX12" fmla="*/ 114300 w 550863"/>
                <a:gd name="connsiteY12" fmla="*/ 68262 h 369887"/>
                <a:gd name="connsiteX13" fmla="*/ 128588 w 550863"/>
                <a:gd name="connsiteY13" fmla="*/ 73025 h 369887"/>
                <a:gd name="connsiteX14" fmla="*/ 131763 w 550863"/>
                <a:gd name="connsiteY14" fmla="*/ 79375 h 369887"/>
                <a:gd name="connsiteX15" fmla="*/ 127000 w 550863"/>
                <a:gd name="connsiteY15" fmla="*/ 90487 h 369887"/>
                <a:gd name="connsiteX16" fmla="*/ 117475 w 550863"/>
                <a:gd name="connsiteY16" fmla="*/ 100012 h 369887"/>
                <a:gd name="connsiteX17" fmla="*/ 109538 w 550863"/>
                <a:gd name="connsiteY17" fmla="*/ 103187 h 369887"/>
                <a:gd name="connsiteX18" fmla="*/ 104775 w 550863"/>
                <a:gd name="connsiteY18" fmla="*/ 109537 h 369887"/>
                <a:gd name="connsiteX19" fmla="*/ 96838 w 550863"/>
                <a:gd name="connsiteY19" fmla="*/ 112712 h 369887"/>
                <a:gd name="connsiteX20" fmla="*/ 92075 w 550863"/>
                <a:gd name="connsiteY20" fmla="*/ 115887 h 369887"/>
                <a:gd name="connsiteX21" fmla="*/ 84138 w 550863"/>
                <a:gd name="connsiteY21" fmla="*/ 128587 h 369887"/>
                <a:gd name="connsiteX22" fmla="*/ 79375 w 550863"/>
                <a:gd name="connsiteY22" fmla="*/ 133350 h 369887"/>
                <a:gd name="connsiteX23" fmla="*/ 71438 w 550863"/>
                <a:gd name="connsiteY23" fmla="*/ 141287 h 369887"/>
                <a:gd name="connsiteX24" fmla="*/ 63500 w 550863"/>
                <a:gd name="connsiteY24" fmla="*/ 149225 h 369887"/>
                <a:gd name="connsiteX25" fmla="*/ 58738 w 550863"/>
                <a:gd name="connsiteY25" fmla="*/ 155575 h 369887"/>
                <a:gd name="connsiteX26" fmla="*/ 57150 w 550863"/>
                <a:gd name="connsiteY26" fmla="*/ 160337 h 369887"/>
                <a:gd name="connsiteX27" fmla="*/ 55563 w 550863"/>
                <a:gd name="connsiteY27" fmla="*/ 166687 h 369887"/>
                <a:gd name="connsiteX28" fmla="*/ 52388 w 550863"/>
                <a:gd name="connsiteY28" fmla="*/ 171450 h 369887"/>
                <a:gd name="connsiteX29" fmla="*/ 44450 w 550863"/>
                <a:gd name="connsiteY29" fmla="*/ 182562 h 369887"/>
                <a:gd name="connsiteX30" fmla="*/ 39688 w 550863"/>
                <a:gd name="connsiteY30" fmla="*/ 188912 h 369887"/>
                <a:gd name="connsiteX31" fmla="*/ 26988 w 550863"/>
                <a:gd name="connsiteY31" fmla="*/ 192087 h 369887"/>
                <a:gd name="connsiteX32" fmla="*/ 22225 w 550863"/>
                <a:gd name="connsiteY32" fmla="*/ 195262 h 369887"/>
                <a:gd name="connsiteX33" fmla="*/ 14288 w 550863"/>
                <a:gd name="connsiteY33" fmla="*/ 198437 h 369887"/>
                <a:gd name="connsiteX34" fmla="*/ 11113 w 550863"/>
                <a:gd name="connsiteY34" fmla="*/ 204787 h 369887"/>
                <a:gd name="connsiteX35" fmla="*/ 12700 w 550863"/>
                <a:gd name="connsiteY35" fmla="*/ 244475 h 369887"/>
                <a:gd name="connsiteX36" fmla="*/ 14288 w 550863"/>
                <a:gd name="connsiteY36" fmla="*/ 250825 h 369887"/>
                <a:gd name="connsiteX37" fmla="*/ 19050 w 550863"/>
                <a:gd name="connsiteY37" fmla="*/ 255587 h 369887"/>
                <a:gd name="connsiteX38" fmla="*/ 12700 w 550863"/>
                <a:gd name="connsiteY38" fmla="*/ 258762 h 369887"/>
                <a:gd name="connsiteX39" fmla="*/ 0 w 550863"/>
                <a:gd name="connsiteY39" fmla="*/ 271462 h 369887"/>
                <a:gd name="connsiteX40" fmla="*/ 3175 w 550863"/>
                <a:gd name="connsiteY40" fmla="*/ 276225 h 369887"/>
                <a:gd name="connsiteX41" fmla="*/ 11113 w 550863"/>
                <a:gd name="connsiteY41" fmla="*/ 279400 h 369887"/>
                <a:gd name="connsiteX42" fmla="*/ 23813 w 550863"/>
                <a:gd name="connsiteY42" fmla="*/ 276225 h 369887"/>
                <a:gd name="connsiteX43" fmla="*/ 28575 w 550863"/>
                <a:gd name="connsiteY43" fmla="*/ 268287 h 369887"/>
                <a:gd name="connsiteX44" fmla="*/ 28575 w 550863"/>
                <a:gd name="connsiteY44" fmla="*/ 242887 h 369887"/>
                <a:gd name="connsiteX45" fmla="*/ 34925 w 550863"/>
                <a:gd name="connsiteY45" fmla="*/ 239712 h 369887"/>
                <a:gd name="connsiteX46" fmla="*/ 49213 w 550863"/>
                <a:gd name="connsiteY46" fmla="*/ 236537 h 369887"/>
                <a:gd name="connsiteX47" fmla="*/ 57150 w 550863"/>
                <a:gd name="connsiteY47" fmla="*/ 228600 h 369887"/>
                <a:gd name="connsiteX48" fmla="*/ 58738 w 550863"/>
                <a:gd name="connsiteY48" fmla="*/ 223837 h 369887"/>
                <a:gd name="connsiteX49" fmla="*/ 66675 w 550863"/>
                <a:gd name="connsiteY49" fmla="*/ 217487 h 369887"/>
                <a:gd name="connsiteX50" fmla="*/ 77788 w 550863"/>
                <a:gd name="connsiteY50" fmla="*/ 222250 h 369887"/>
                <a:gd name="connsiteX51" fmla="*/ 87313 w 550863"/>
                <a:gd name="connsiteY51" fmla="*/ 225425 h 369887"/>
                <a:gd name="connsiteX52" fmla="*/ 101600 w 550863"/>
                <a:gd name="connsiteY52" fmla="*/ 233362 h 369887"/>
                <a:gd name="connsiteX53" fmla="*/ 103188 w 550863"/>
                <a:gd name="connsiteY53" fmla="*/ 252412 h 369887"/>
                <a:gd name="connsiteX54" fmla="*/ 104775 w 550863"/>
                <a:gd name="connsiteY54" fmla="*/ 284162 h 369887"/>
                <a:gd name="connsiteX55" fmla="*/ 109538 w 550863"/>
                <a:gd name="connsiteY55" fmla="*/ 287337 h 369887"/>
                <a:gd name="connsiteX56" fmla="*/ 111125 w 550863"/>
                <a:gd name="connsiteY56" fmla="*/ 296862 h 369887"/>
                <a:gd name="connsiteX57" fmla="*/ 112713 w 550863"/>
                <a:gd name="connsiteY57" fmla="*/ 301625 h 369887"/>
                <a:gd name="connsiteX58" fmla="*/ 111125 w 550863"/>
                <a:gd name="connsiteY58" fmla="*/ 307975 h 369887"/>
                <a:gd name="connsiteX59" fmla="*/ 115888 w 550863"/>
                <a:gd name="connsiteY59" fmla="*/ 314325 h 369887"/>
                <a:gd name="connsiteX60" fmla="*/ 122238 w 550863"/>
                <a:gd name="connsiteY60" fmla="*/ 315912 h 369887"/>
                <a:gd name="connsiteX61" fmla="*/ 125413 w 550863"/>
                <a:gd name="connsiteY61" fmla="*/ 325437 h 369887"/>
                <a:gd name="connsiteX62" fmla="*/ 127000 w 550863"/>
                <a:gd name="connsiteY62" fmla="*/ 334962 h 369887"/>
                <a:gd name="connsiteX63" fmla="*/ 142875 w 550863"/>
                <a:gd name="connsiteY63" fmla="*/ 336550 h 369887"/>
                <a:gd name="connsiteX64" fmla="*/ 149225 w 550863"/>
                <a:gd name="connsiteY64" fmla="*/ 328612 h 369887"/>
                <a:gd name="connsiteX65" fmla="*/ 152400 w 550863"/>
                <a:gd name="connsiteY65" fmla="*/ 323850 h 369887"/>
                <a:gd name="connsiteX66" fmla="*/ 158750 w 550863"/>
                <a:gd name="connsiteY66" fmla="*/ 327025 h 369887"/>
                <a:gd name="connsiteX67" fmla="*/ 168275 w 550863"/>
                <a:gd name="connsiteY67" fmla="*/ 334962 h 369887"/>
                <a:gd name="connsiteX68" fmla="*/ 173038 w 550863"/>
                <a:gd name="connsiteY68" fmla="*/ 328612 h 369887"/>
                <a:gd name="connsiteX69" fmla="*/ 179388 w 550863"/>
                <a:gd name="connsiteY69" fmla="*/ 323850 h 369887"/>
                <a:gd name="connsiteX70" fmla="*/ 190500 w 550863"/>
                <a:gd name="connsiteY70" fmla="*/ 320675 h 369887"/>
                <a:gd name="connsiteX71" fmla="*/ 200025 w 550863"/>
                <a:gd name="connsiteY71" fmla="*/ 325437 h 369887"/>
                <a:gd name="connsiteX72" fmla="*/ 209550 w 550863"/>
                <a:gd name="connsiteY72" fmla="*/ 327025 h 369887"/>
                <a:gd name="connsiteX73" fmla="*/ 211138 w 550863"/>
                <a:gd name="connsiteY73" fmla="*/ 331787 h 369887"/>
                <a:gd name="connsiteX74" fmla="*/ 212725 w 550863"/>
                <a:gd name="connsiteY74" fmla="*/ 338137 h 369887"/>
                <a:gd name="connsiteX75" fmla="*/ 225425 w 550863"/>
                <a:gd name="connsiteY75" fmla="*/ 336550 h 369887"/>
                <a:gd name="connsiteX76" fmla="*/ 227013 w 550863"/>
                <a:gd name="connsiteY76" fmla="*/ 331787 h 369887"/>
                <a:gd name="connsiteX77" fmla="*/ 231775 w 550863"/>
                <a:gd name="connsiteY77" fmla="*/ 327025 h 369887"/>
                <a:gd name="connsiteX78" fmla="*/ 234950 w 550863"/>
                <a:gd name="connsiteY78" fmla="*/ 319087 h 369887"/>
                <a:gd name="connsiteX79" fmla="*/ 239713 w 550863"/>
                <a:gd name="connsiteY79" fmla="*/ 315912 h 369887"/>
                <a:gd name="connsiteX80" fmla="*/ 254000 w 550863"/>
                <a:gd name="connsiteY80" fmla="*/ 306387 h 369887"/>
                <a:gd name="connsiteX81" fmla="*/ 252413 w 550863"/>
                <a:gd name="connsiteY81" fmla="*/ 292100 h 369887"/>
                <a:gd name="connsiteX82" fmla="*/ 254000 w 550863"/>
                <a:gd name="connsiteY82" fmla="*/ 276225 h 369887"/>
                <a:gd name="connsiteX83" fmla="*/ 258763 w 550863"/>
                <a:gd name="connsiteY83" fmla="*/ 269875 h 369887"/>
                <a:gd name="connsiteX84" fmla="*/ 269875 w 550863"/>
                <a:gd name="connsiteY84" fmla="*/ 258762 h 369887"/>
                <a:gd name="connsiteX85" fmla="*/ 274638 w 550863"/>
                <a:gd name="connsiteY85" fmla="*/ 254000 h 369887"/>
                <a:gd name="connsiteX86" fmla="*/ 280988 w 550863"/>
                <a:gd name="connsiteY86" fmla="*/ 250825 h 369887"/>
                <a:gd name="connsiteX87" fmla="*/ 285750 w 550863"/>
                <a:gd name="connsiteY87" fmla="*/ 249237 h 369887"/>
                <a:gd name="connsiteX88" fmla="*/ 295275 w 550863"/>
                <a:gd name="connsiteY88" fmla="*/ 244475 h 369887"/>
                <a:gd name="connsiteX89" fmla="*/ 301625 w 550863"/>
                <a:gd name="connsiteY89" fmla="*/ 271462 h 369887"/>
                <a:gd name="connsiteX90" fmla="*/ 311150 w 550863"/>
                <a:gd name="connsiteY90" fmla="*/ 282575 h 369887"/>
                <a:gd name="connsiteX91" fmla="*/ 314325 w 550863"/>
                <a:gd name="connsiteY91" fmla="*/ 287337 h 369887"/>
                <a:gd name="connsiteX92" fmla="*/ 315913 w 550863"/>
                <a:gd name="connsiteY92" fmla="*/ 292100 h 369887"/>
                <a:gd name="connsiteX93" fmla="*/ 320675 w 550863"/>
                <a:gd name="connsiteY93" fmla="*/ 295275 h 369887"/>
                <a:gd name="connsiteX94" fmla="*/ 339725 w 550863"/>
                <a:gd name="connsiteY94" fmla="*/ 298450 h 369887"/>
                <a:gd name="connsiteX95" fmla="*/ 344488 w 550863"/>
                <a:gd name="connsiteY95" fmla="*/ 303212 h 369887"/>
                <a:gd name="connsiteX96" fmla="*/ 349250 w 550863"/>
                <a:gd name="connsiteY96" fmla="*/ 315912 h 369887"/>
                <a:gd name="connsiteX97" fmla="*/ 350838 w 550863"/>
                <a:gd name="connsiteY97" fmla="*/ 325437 h 369887"/>
                <a:gd name="connsiteX98" fmla="*/ 355600 w 550863"/>
                <a:gd name="connsiteY98" fmla="*/ 331787 h 369887"/>
                <a:gd name="connsiteX99" fmla="*/ 358775 w 550863"/>
                <a:gd name="connsiteY99" fmla="*/ 336550 h 369887"/>
                <a:gd name="connsiteX100" fmla="*/ 366713 w 550863"/>
                <a:gd name="connsiteY100" fmla="*/ 349250 h 369887"/>
                <a:gd name="connsiteX101" fmla="*/ 376237 w 550863"/>
                <a:gd name="connsiteY101" fmla="*/ 369887 h 369887"/>
                <a:gd name="connsiteX102" fmla="*/ 373063 w 550863"/>
                <a:gd name="connsiteY102" fmla="*/ 312737 h 369887"/>
                <a:gd name="connsiteX103" fmla="*/ 374650 w 550863"/>
                <a:gd name="connsiteY103" fmla="*/ 307975 h 369887"/>
                <a:gd name="connsiteX104" fmla="*/ 377825 w 550863"/>
                <a:gd name="connsiteY104" fmla="*/ 303212 h 369887"/>
                <a:gd name="connsiteX105" fmla="*/ 384175 w 550863"/>
                <a:gd name="connsiteY105" fmla="*/ 298450 h 369887"/>
                <a:gd name="connsiteX106" fmla="*/ 396875 w 550863"/>
                <a:gd name="connsiteY106" fmla="*/ 290512 h 369887"/>
                <a:gd name="connsiteX107" fmla="*/ 401638 w 550863"/>
                <a:gd name="connsiteY107" fmla="*/ 287337 h 369887"/>
                <a:gd name="connsiteX108" fmla="*/ 406400 w 550863"/>
                <a:gd name="connsiteY108" fmla="*/ 280987 h 369887"/>
                <a:gd name="connsiteX109" fmla="*/ 411163 w 550863"/>
                <a:gd name="connsiteY109" fmla="*/ 276225 h 369887"/>
                <a:gd name="connsiteX110" fmla="*/ 412750 w 550863"/>
                <a:gd name="connsiteY110" fmla="*/ 260350 h 369887"/>
                <a:gd name="connsiteX111" fmla="*/ 414338 w 550863"/>
                <a:gd name="connsiteY111" fmla="*/ 236537 h 369887"/>
                <a:gd name="connsiteX112" fmla="*/ 428625 w 550863"/>
                <a:gd name="connsiteY112" fmla="*/ 239712 h 369887"/>
                <a:gd name="connsiteX113" fmla="*/ 430213 w 550863"/>
                <a:gd name="connsiteY113" fmla="*/ 246062 h 369887"/>
                <a:gd name="connsiteX114" fmla="*/ 433388 w 550863"/>
                <a:gd name="connsiteY114" fmla="*/ 250825 h 369887"/>
                <a:gd name="connsiteX115" fmla="*/ 434975 w 550863"/>
                <a:gd name="connsiteY115" fmla="*/ 260350 h 369887"/>
                <a:gd name="connsiteX116" fmla="*/ 447675 w 550863"/>
                <a:gd name="connsiteY116" fmla="*/ 271462 h 369887"/>
                <a:gd name="connsiteX117" fmla="*/ 460375 w 550863"/>
                <a:gd name="connsiteY117" fmla="*/ 266700 h 369887"/>
                <a:gd name="connsiteX118" fmla="*/ 461963 w 550863"/>
                <a:gd name="connsiteY118" fmla="*/ 261937 h 369887"/>
                <a:gd name="connsiteX119" fmla="*/ 468313 w 550863"/>
                <a:gd name="connsiteY119" fmla="*/ 260350 h 369887"/>
                <a:gd name="connsiteX120" fmla="*/ 476250 w 550863"/>
                <a:gd name="connsiteY120" fmla="*/ 258762 h 369887"/>
                <a:gd name="connsiteX121" fmla="*/ 481013 w 550863"/>
                <a:gd name="connsiteY121" fmla="*/ 255587 h 369887"/>
                <a:gd name="connsiteX122" fmla="*/ 488950 w 550863"/>
                <a:gd name="connsiteY122" fmla="*/ 261937 h 369887"/>
                <a:gd name="connsiteX123" fmla="*/ 492125 w 550863"/>
                <a:gd name="connsiteY123" fmla="*/ 268287 h 369887"/>
                <a:gd name="connsiteX124" fmla="*/ 496888 w 550863"/>
                <a:gd name="connsiteY124" fmla="*/ 271462 h 369887"/>
                <a:gd name="connsiteX125" fmla="*/ 501650 w 550863"/>
                <a:gd name="connsiteY125" fmla="*/ 276225 h 369887"/>
                <a:gd name="connsiteX126" fmla="*/ 509588 w 550863"/>
                <a:gd name="connsiteY126" fmla="*/ 292100 h 369887"/>
                <a:gd name="connsiteX127" fmla="*/ 509588 w 550863"/>
                <a:gd name="connsiteY127" fmla="*/ 252412 h 369887"/>
                <a:gd name="connsiteX128" fmla="*/ 504825 w 550863"/>
                <a:gd name="connsiteY128" fmla="*/ 246062 h 369887"/>
                <a:gd name="connsiteX129" fmla="*/ 501650 w 550863"/>
                <a:gd name="connsiteY129" fmla="*/ 239712 h 369887"/>
                <a:gd name="connsiteX130" fmla="*/ 503238 w 550863"/>
                <a:gd name="connsiteY130" fmla="*/ 227012 h 369887"/>
                <a:gd name="connsiteX131" fmla="*/ 509588 w 550863"/>
                <a:gd name="connsiteY131" fmla="*/ 217487 h 369887"/>
                <a:gd name="connsiteX132" fmla="*/ 511175 w 550863"/>
                <a:gd name="connsiteY132" fmla="*/ 211137 h 369887"/>
                <a:gd name="connsiteX133" fmla="*/ 519113 w 550863"/>
                <a:gd name="connsiteY133" fmla="*/ 214312 h 369887"/>
                <a:gd name="connsiteX134" fmla="*/ 523875 w 550863"/>
                <a:gd name="connsiteY134" fmla="*/ 215900 h 369887"/>
                <a:gd name="connsiteX135" fmla="*/ 534988 w 550863"/>
                <a:gd name="connsiteY135" fmla="*/ 222250 h 369887"/>
                <a:gd name="connsiteX136" fmla="*/ 538163 w 550863"/>
                <a:gd name="connsiteY136" fmla="*/ 227012 h 369887"/>
                <a:gd name="connsiteX137" fmla="*/ 550863 w 550863"/>
                <a:gd name="connsiteY137" fmla="*/ 227012 h 369887"/>
                <a:gd name="connsiteX138" fmla="*/ 549275 w 550863"/>
                <a:gd name="connsiteY138" fmla="*/ 212725 h 369887"/>
                <a:gd name="connsiteX139" fmla="*/ 544513 w 550863"/>
                <a:gd name="connsiteY139" fmla="*/ 207962 h 369887"/>
                <a:gd name="connsiteX140" fmla="*/ 541338 w 550863"/>
                <a:gd name="connsiteY140" fmla="*/ 195262 h 369887"/>
                <a:gd name="connsiteX141" fmla="*/ 539750 w 550863"/>
                <a:gd name="connsiteY141" fmla="*/ 169862 h 369887"/>
                <a:gd name="connsiteX142" fmla="*/ 530225 w 550863"/>
                <a:gd name="connsiteY142" fmla="*/ 166687 h 369887"/>
                <a:gd name="connsiteX143" fmla="*/ 495300 w 550863"/>
                <a:gd name="connsiteY143" fmla="*/ 165100 h 369887"/>
                <a:gd name="connsiteX144" fmla="*/ 493713 w 550863"/>
                <a:gd name="connsiteY144" fmla="*/ 160337 h 369887"/>
                <a:gd name="connsiteX145" fmla="*/ 484188 w 550863"/>
                <a:gd name="connsiteY145" fmla="*/ 152400 h 369887"/>
                <a:gd name="connsiteX146" fmla="*/ 481013 w 550863"/>
                <a:gd name="connsiteY146" fmla="*/ 144462 h 369887"/>
                <a:gd name="connsiteX147" fmla="*/ 460375 w 550863"/>
                <a:gd name="connsiteY147" fmla="*/ 139700 h 369887"/>
                <a:gd name="connsiteX148" fmla="*/ 452438 w 550863"/>
                <a:gd name="connsiteY148" fmla="*/ 134937 h 369887"/>
                <a:gd name="connsiteX149" fmla="*/ 447675 w 550863"/>
                <a:gd name="connsiteY149" fmla="*/ 127000 h 369887"/>
                <a:gd name="connsiteX150" fmla="*/ 434975 w 550863"/>
                <a:gd name="connsiteY150" fmla="*/ 125412 h 369887"/>
                <a:gd name="connsiteX151" fmla="*/ 436563 w 550863"/>
                <a:gd name="connsiteY151" fmla="*/ 120650 h 369887"/>
                <a:gd name="connsiteX152" fmla="*/ 436563 w 550863"/>
                <a:gd name="connsiteY152" fmla="*/ 98425 h 369887"/>
                <a:gd name="connsiteX153" fmla="*/ 430213 w 550863"/>
                <a:gd name="connsiteY153" fmla="*/ 92075 h 369887"/>
                <a:gd name="connsiteX154" fmla="*/ 436563 w 550863"/>
                <a:gd name="connsiteY154" fmla="*/ 88900 h 369887"/>
                <a:gd name="connsiteX155" fmla="*/ 452438 w 550863"/>
                <a:gd name="connsiteY155" fmla="*/ 87312 h 369887"/>
                <a:gd name="connsiteX156" fmla="*/ 454025 w 550863"/>
                <a:gd name="connsiteY156" fmla="*/ 79375 h 369887"/>
                <a:gd name="connsiteX157" fmla="*/ 452438 w 550863"/>
                <a:gd name="connsiteY157" fmla="*/ 74612 h 369887"/>
                <a:gd name="connsiteX158" fmla="*/ 442913 w 550863"/>
                <a:gd name="connsiteY158" fmla="*/ 60325 h 369887"/>
                <a:gd name="connsiteX159" fmla="*/ 438150 w 550863"/>
                <a:gd name="connsiteY159" fmla="*/ 47625 h 369887"/>
                <a:gd name="connsiteX160" fmla="*/ 430213 w 550863"/>
                <a:gd name="connsiteY160" fmla="*/ 46037 h 369887"/>
                <a:gd name="connsiteX161" fmla="*/ 423863 w 550863"/>
                <a:gd name="connsiteY161" fmla="*/ 39687 h 369887"/>
                <a:gd name="connsiteX162" fmla="*/ 411163 w 550863"/>
                <a:gd name="connsiteY162" fmla="*/ 34925 h 369887"/>
                <a:gd name="connsiteX163" fmla="*/ 401638 w 550863"/>
                <a:gd name="connsiteY163" fmla="*/ 26987 h 369887"/>
                <a:gd name="connsiteX164" fmla="*/ 392113 w 550863"/>
                <a:gd name="connsiteY164" fmla="*/ 23812 h 369887"/>
                <a:gd name="connsiteX165" fmla="*/ 387350 w 550863"/>
                <a:gd name="connsiteY165" fmla="*/ 19050 h 369887"/>
                <a:gd name="connsiteX166" fmla="*/ 377825 w 550863"/>
                <a:gd name="connsiteY166" fmla="*/ 15875 h 369887"/>
                <a:gd name="connsiteX167" fmla="*/ 363538 w 550863"/>
                <a:gd name="connsiteY167" fmla="*/ 17462 h 369887"/>
                <a:gd name="connsiteX168" fmla="*/ 354013 w 550863"/>
                <a:gd name="connsiteY168" fmla="*/ 19050 h 369887"/>
                <a:gd name="connsiteX169" fmla="*/ 342900 w 550863"/>
                <a:gd name="connsiteY169" fmla="*/ 7937 h 369887"/>
                <a:gd name="connsiteX170" fmla="*/ 328613 w 550863"/>
                <a:gd name="connsiteY170" fmla="*/ 0 h 369887"/>
                <a:gd name="connsiteX171" fmla="*/ 312738 w 550863"/>
                <a:gd name="connsiteY171" fmla="*/ 1587 h 369887"/>
                <a:gd name="connsiteX172" fmla="*/ 306388 w 550863"/>
                <a:gd name="connsiteY172" fmla="*/ 9525 h 369887"/>
                <a:gd name="connsiteX173" fmla="*/ 311150 w 550863"/>
                <a:gd name="connsiteY173" fmla="*/ 11112 h 369887"/>
                <a:gd name="connsiteX174" fmla="*/ 315913 w 550863"/>
                <a:gd name="connsiteY174" fmla="*/ 15875 h 369887"/>
                <a:gd name="connsiteX175" fmla="*/ 339725 w 550863"/>
                <a:gd name="connsiteY175" fmla="*/ 14287 h 369887"/>
                <a:gd name="connsiteX176" fmla="*/ 338138 w 550863"/>
                <a:gd name="connsiteY176" fmla="*/ 15875 h 369887"/>
                <a:gd name="connsiteX177" fmla="*/ 334963 w 550863"/>
                <a:gd name="connsiteY177" fmla="*/ 22225 h 369887"/>
                <a:gd name="connsiteX178" fmla="*/ 328613 w 550863"/>
                <a:gd name="connsiteY178" fmla="*/ 23812 h 369887"/>
                <a:gd name="connsiteX179" fmla="*/ 323850 w 550863"/>
                <a:gd name="connsiteY179" fmla="*/ 26987 h 369887"/>
                <a:gd name="connsiteX180" fmla="*/ 314325 w 550863"/>
                <a:gd name="connsiteY180" fmla="*/ 34925 h 369887"/>
                <a:gd name="connsiteX181" fmla="*/ 306388 w 550863"/>
                <a:gd name="connsiteY181" fmla="*/ 36512 h 369887"/>
                <a:gd name="connsiteX182" fmla="*/ 296863 w 550863"/>
                <a:gd name="connsiteY182" fmla="*/ 33337 h 369887"/>
                <a:gd name="connsiteX183" fmla="*/ 292100 w 550863"/>
                <a:gd name="connsiteY183" fmla="*/ 30162 h 369887"/>
                <a:gd name="connsiteX184" fmla="*/ 282575 w 550863"/>
                <a:gd name="connsiteY184" fmla="*/ 28575 h 369887"/>
                <a:gd name="connsiteX185" fmla="*/ 271463 w 550863"/>
                <a:gd name="connsiteY185" fmla="*/ 23812 h 369887"/>
                <a:gd name="connsiteX186" fmla="*/ 265113 w 550863"/>
                <a:gd name="connsiteY186" fmla="*/ 25400 h 369887"/>
                <a:gd name="connsiteX187" fmla="*/ 246063 w 550863"/>
                <a:gd name="connsiteY187" fmla="*/ 38100 h 369887"/>
                <a:gd name="connsiteX188" fmla="*/ 231775 w 550863"/>
                <a:gd name="connsiteY188" fmla="*/ 36512 h 369887"/>
                <a:gd name="connsiteX189" fmla="*/ 222250 w 550863"/>
                <a:gd name="connsiteY189" fmla="*/ 33337 h 369887"/>
                <a:gd name="connsiteX190" fmla="*/ 211138 w 550863"/>
                <a:gd name="connsiteY190" fmla="*/ 26987 h 369887"/>
                <a:gd name="connsiteX0" fmla="*/ 211138 w 550863"/>
                <a:gd name="connsiteY0" fmla="*/ 26987 h 372269"/>
                <a:gd name="connsiteX1" fmla="*/ 206375 w 550863"/>
                <a:gd name="connsiteY1" fmla="*/ 34925 h 372269"/>
                <a:gd name="connsiteX2" fmla="*/ 196850 w 550863"/>
                <a:gd name="connsiteY2" fmla="*/ 42862 h 372269"/>
                <a:gd name="connsiteX3" fmla="*/ 192088 w 550863"/>
                <a:gd name="connsiteY3" fmla="*/ 47625 h 372269"/>
                <a:gd name="connsiteX4" fmla="*/ 180975 w 550863"/>
                <a:gd name="connsiteY4" fmla="*/ 57150 h 372269"/>
                <a:gd name="connsiteX5" fmla="*/ 174625 w 550863"/>
                <a:gd name="connsiteY5" fmla="*/ 61912 h 372269"/>
                <a:gd name="connsiteX6" fmla="*/ 166688 w 550863"/>
                <a:gd name="connsiteY6" fmla="*/ 58737 h 372269"/>
                <a:gd name="connsiteX7" fmla="*/ 161925 w 550863"/>
                <a:gd name="connsiteY7" fmla="*/ 57150 h 372269"/>
                <a:gd name="connsiteX8" fmla="*/ 155575 w 550863"/>
                <a:gd name="connsiteY8" fmla="*/ 53975 h 372269"/>
                <a:gd name="connsiteX9" fmla="*/ 134938 w 550863"/>
                <a:gd name="connsiteY9" fmla="*/ 47625 h 372269"/>
                <a:gd name="connsiteX10" fmla="*/ 127000 w 550863"/>
                <a:gd name="connsiteY10" fmla="*/ 60325 h 372269"/>
                <a:gd name="connsiteX11" fmla="*/ 120650 w 550863"/>
                <a:gd name="connsiteY11" fmla="*/ 63500 h 372269"/>
                <a:gd name="connsiteX12" fmla="*/ 114300 w 550863"/>
                <a:gd name="connsiteY12" fmla="*/ 68262 h 372269"/>
                <a:gd name="connsiteX13" fmla="*/ 128588 w 550863"/>
                <a:gd name="connsiteY13" fmla="*/ 73025 h 372269"/>
                <a:gd name="connsiteX14" fmla="*/ 131763 w 550863"/>
                <a:gd name="connsiteY14" fmla="*/ 79375 h 372269"/>
                <a:gd name="connsiteX15" fmla="*/ 127000 w 550863"/>
                <a:gd name="connsiteY15" fmla="*/ 90487 h 372269"/>
                <a:gd name="connsiteX16" fmla="*/ 117475 w 550863"/>
                <a:gd name="connsiteY16" fmla="*/ 100012 h 372269"/>
                <a:gd name="connsiteX17" fmla="*/ 109538 w 550863"/>
                <a:gd name="connsiteY17" fmla="*/ 103187 h 372269"/>
                <a:gd name="connsiteX18" fmla="*/ 104775 w 550863"/>
                <a:gd name="connsiteY18" fmla="*/ 109537 h 372269"/>
                <a:gd name="connsiteX19" fmla="*/ 96838 w 550863"/>
                <a:gd name="connsiteY19" fmla="*/ 112712 h 372269"/>
                <a:gd name="connsiteX20" fmla="*/ 92075 w 550863"/>
                <a:gd name="connsiteY20" fmla="*/ 115887 h 372269"/>
                <a:gd name="connsiteX21" fmla="*/ 84138 w 550863"/>
                <a:gd name="connsiteY21" fmla="*/ 128587 h 372269"/>
                <a:gd name="connsiteX22" fmla="*/ 79375 w 550863"/>
                <a:gd name="connsiteY22" fmla="*/ 133350 h 372269"/>
                <a:gd name="connsiteX23" fmla="*/ 71438 w 550863"/>
                <a:gd name="connsiteY23" fmla="*/ 141287 h 372269"/>
                <a:gd name="connsiteX24" fmla="*/ 63500 w 550863"/>
                <a:gd name="connsiteY24" fmla="*/ 149225 h 372269"/>
                <a:gd name="connsiteX25" fmla="*/ 58738 w 550863"/>
                <a:gd name="connsiteY25" fmla="*/ 155575 h 372269"/>
                <a:gd name="connsiteX26" fmla="*/ 57150 w 550863"/>
                <a:gd name="connsiteY26" fmla="*/ 160337 h 372269"/>
                <a:gd name="connsiteX27" fmla="*/ 55563 w 550863"/>
                <a:gd name="connsiteY27" fmla="*/ 166687 h 372269"/>
                <a:gd name="connsiteX28" fmla="*/ 52388 w 550863"/>
                <a:gd name="connsiteY28" fmla="*/ 171450 h 372269"/>
                <a:gd name="connsiteX29" fmla="*/ 44450 w 550863"/>
                <a:gd name="connsiteY29" fmla="*/ 182562 h 372269"/>
                <a:gd name="connsiteX30" fmla="*/ 39688 w 550863"/>
                <a:gd name="connsiteY30" fmla="*/ 188912 h 372269"/>
                <a:gd name="connsiteX31" fmla="*/ 26988 w 550863"/>
                <a:gd name="connsiteY31" fmla="*/ 192087 h 372269"/>
                <a:gd name="connsiteX32" fmla="*/ 22225 w 550863"/>
                <a:gd name="connsiteY32" fmla="*/ 195262 h 372269"/>
                <a:gd name="connsiteX33" fmla="*/ 14288 w 550863"/>
                <a:gd name="connsiteY33" fmla="*/ 198437 h 372269"/>
                <a:gd name="connsiteX34" fmla="*/ 11113 w 550863"/>
                <a:gd name="connsiteY34" fmla="*/ 204787 h 372269"/>
                <a:gd name="connsiteX35" fmla="*/ 12700 w 550863"/>
                <a:gd name="connsiteY35" fmla="*/ 244475 h 372269"/>
                <a:gd name="connsiteX36" fmla="*/ 14288 w 550863"/>
                <a:gd name="connsiteY36" fmla="*/ 250825 h 372269"/>
                <a:gd name="connsiteX37" fmla="*/ 19050 w 550863"/>
                <a:gd name="connsiteY37" fmla="*/ 255587 h 372269"/>
                <a:gd name="connsiteX38" fmla="*/ 12700 w 550863"/>
                <a:gd name="connsiteY38" fmla="*/ 258762 h 372269"/>
                <a:gd name="connsiteX39" fmla="*/ 0 w 550863"/>
                <a:gd name="connsiteY39" fmla="*/ 271462 h 372269"/>
                <a:gd name="connsiteX40" fmla="*/ 3175 w 550863"/>
                <a:gd name="connsiteY40" fmla="*/ 276225 h 372269"/>
                <a:gd name="connsiteX41" fmla="*/ 11113 w 550863"/>
                <a:gd name="connsiteY41" fmla="*/ 279400 h 372269"/>
                <a:gd name="connsiteX42" fmla="*/ 23813 w 550863"/>
                <a:gd name="connsiteY42" fmla="*/ 276225 h 372269"/>
                <a:gd name="connsiteX43" fmla="*/ 28575 w 550863"/>
                <a:gd name="connsiteY43" fmla="*/ 268287 h 372269"/>
                <a:gd name="connsiteX44" fmla="*/ 28575 w 550863"/>
                <a:gd name="connsiteY44" fmla="*/ 242887 h 372269"/>
                <a:gd name="connsiteX45" fmla="*/ 34925 w 550863"/>
                <a:gd name="connsiteY45" fmla="*/ 239712 h 372269"/>
                <a:gd name="connsiteX46" fmla="*/ 49213 w 550863"/>
                <a:gd name="connsiteY46" fmla="*/ 236537 h 372269"/>
                <a:gd name="connsiteX47" fmla="*/ 57150 w 550863"/>
                <a:gd name="connsiteY47" fmla="*/ 228600 h 372269"/>
                <a:gd name="connsiteX48" fmla="*/ 58738 w 550863"/>
                <a:gd name="connsiteY48" fmla="*/ 223837 h 372269"/>
                <a:gd name="connsiteX49" fmla="*/ 66675 w 550863"/>
                <a:gd name="connsiteY49" fmla="*/ 217487 h 372269"/>
                <a:gd name="connsiteX50" fmla="*/ 77788 w 550863"/>
                <a:gd name="connsiteY50" fmla="*/ 222250 h 372269"/>
                <a:gd name="connsiteX51" fmla="*/ 87313 w 550863"/>
                <a:gd name="connsiteY51" fmla="*/ 225425 h 372269"/>
                <a:gd name="connsiteX52" fmla="*/ 101600 w 550863"/>
                <a:gd name="connsiteY52" fmla="*/ 233362 h 372269"/>
                <a:gd name="connsiteX53" fmla="*/ 103188 w 550863"/>
                <a:gd name="connsiteY53" fmla="*/ 252412 h 372269"/>
                <a:gd name="connsiteX54" fmla="*/ 104775 w 550863"/>
                <a:gd name="connsiteY54" fmla="*/ 284162 h 372269"/>
                <a:gd name="connsiteX55" fmla="*/ 109538 w 550863"/>
                <a:gd name="connsiteY55" fmla="*/ 287337 h 372269"/>
                <a:gd name="connsiteX56" fmla="*/ 111125 w 550863"/>
                <a:gd name="connsiteY56" fmla="*/ 296862 h 372269"/>
                <a:gd name="connsiteX57" fmla="*/ 112713 w 550863"/>
                <a:gd name="connsiteY57" fmla="*/ 301625 h 372269"/>
                <a:gd name="connsiteX58" fmla="*/ 111125 w 550863"/>
                <a:gd name="connsiteY58" fmla="*/ 307975 h 372269"/>
                <a:gd name="connsiteX59" fmla="*/ 115888 w 550863"/>
                <a:gd name="connsiteY59" fmla="*/ 314325 h 372269"/>
                <a:gd name="connsiteX60" fmla="*/ 122238 w 550863"/>
                <a:gd name="connsiteY60" fmla="*/ 315912 h 372269"/>
                <a:gd name="connsiteX61" fmla="*/ 125413 w 550863"/>
                <a:gd name="connsiteY61" fmla="*/ 325437 h 372269"/>
                <a:gd name="connsiteX62" fmla="*/ 127000 w 550863"/>
                <a:gd name="connsiteY62" fmla="*/ 334962 h 372269"/>
                <a:gd name="connsiteX63" fmla="*/ 142875 w 550863"/>
                <a:gd name="connsiteY63" fmla="*/ 336550 h 372269"/>
                <a:gd name="connsiteX64" fmla="*/ 149225 w 550863"/>
                <a:gd name="connsiteY64" fmla="*/ 328612 h 372269"/>
                <a:gd name="connsiteX65" fmla="*/ 152400 w 550863"/>
                <a:gd name="connsiteY65" fmla="*/ 323850 h 372269"/>
                <a:gd name="connsiteX66" fmla="*/ 158750 w 550863"/>
                <a:gd name="connsiteY66" fmla="*/ 327025 h 372269"/>
                <a:gd name="connsiteX67" fmla="*/ 168275 w 550863"/>
                <a:gd name="connsiteY67" fmla="*/ 334962 h 372269"/>
                <a:gd name="connsiteX68" fmla="*/ 173038 w 550863"/>
                <a:gd name="connsiteY68" fmla="*/ 328612 h 372269"/>
                <a:gd name="connsiteX69" fmla="*/ 179388 w 550863"/>
                <a:gd name="connsiteY69" fmla="*/ 323850 h 372269"/>
                <a:gd name="connsiteX70" fmla="*/ 190500 w 550863"/>
                <a:gd name="connsiteY70" fmla="*/ 320675 h 372269"/>
                <a:gd name="connsiteX71" fmla="*/ 200025 w 550863"/>
                <a:gd name="connsiteY71" fmla="*/ 325437 h 372269"/>
                <a:gd name="connsiteX72" fmla="*/ 209550 w 550863"/>
                <a:gd name="connsiteY72" fmla="*/ 327025 h 372269"/>
                <a:gd name="connsiteX73" fmla="*/ 211138 w 550863"/>
                <a:gd name="connsiteY73" fmla="*/ 331787 h 372269"/>
                <a:gd name="connsiteX74" fmla="*/ 212725 w 550863"/>
                <a:gd name="connsiteY74" fmla="*/ 338137 h 372269"/>
                <a:gd name="connsiteX75" fmla="*/ 225425 w 550863"/>
                <a:gd name="connsiteY75" fmla="*/ 336550 h 372269"/>
                <a:gd name="connsiteX76" fmla="*/ 227013 w 550863"/>
                <a:gd name="connsiteY76" fmla="*/ 331787 h 372269"/>
                <a:gd name="connsiteX77" fmla="*/ 231775 w 550863"/>
                <a:gd name="connsiteY77" fmla="*/ 327025 h 372269"/>
                <a:gd name="connsiteX78" fmla="*/ 234950 w 550863"/>
                <a:gd name="connsiteY78" fmla="*/ 319087 h 372269"/>
                <a:gd name="connsiteX79" fmla="*/ 239713 w 550863"/>
                <a:gd name="connsiteY79" fmla="*/ 315912 h 372269"/>
                <a:gd name="connsiteX80" fmla="*/ 254000 w 550863"/>
                <a:gd name="connsiteY80" fmla="*/ 306387 h 372269"/>
                <a:gd name="connsiteX81" fmla="*/ 252413 w 550863"/>
                <a:gd name="connsiteY81" fmla="*/ 292100 h 372269"/>
                <a:gd name="connsiteX82" fmla="*/ 254000 w 550863"/>
                <a:gd name="connsiteY82" fmla="*/ 276225 h 372269"/>
                <a:gd name="connsiteX83" fmla="*/ 258763 w 550863"/>
                <a:gd name="connsiteY83" fmla="*/ 269875 h 372269"/>
                <a:gd name="connsiteX84" fmla="*/ 269875 w 550863"/>
                <a:gd name="connsiteY84" fmla="*/ 258762 h 372269"/>
                <a:gd name="connsiteX85" fmla="*/ 274638 w 550863"/>
                <a:gd name="connsiteY85" fmla="*/ 254000 h 372269"/>
                <a:gd name="connsiteX86" fmla="*/ 280988 w 550863"/>
                <a:gd name="connsiteY86" fmla="*/ 250825 h 372269"/>
                <a:gd name="connsiteX87" fmla="*/ 285750 w 550863"/>
                <a:gd name="connsiteY87" fmla="*/ 249237 h 372269"/>
                <a:gd name="connsiteX88" fmla="*/ 295275 w 550863"/>
                <a:gd name="connsiteY88" fmla="*/ 244475 h 372269"/>
                <a:gd name="connsiteX89" fmla="*/ 301625 w 550863"/>
                <a:gd name="connsiteY89" fmla="*/ 271462 h 372269"/>
                <a:gd name="connsiteX90" fmla="*/ 311150 w 550863"/>
                <a:gd name="connsiteY90" fmla="*/ 282575 h 372269"/>
                <a:gd name="connsiteX91" fmla="*/ 314325 w 550863"/>
                <a:gd name="connsiteY91" fmla="*/ 287337 h 372269"/>
                <a:gd name="connsiteX92" fmla="*/ 315913 w 550863"/>
                <a:gd name="connsiteY92" fmla="*/ 292100 h 372269"/>
                <a:gd name="connsiteX93" fmla="*/ 320675 w 550863"/>
                <a:gd name="connsiteY93" fmla="*/ 295275 h 372269"/>
                <a:gd name="connsiteX94" fmla="*/ 339725 w 550863"/>
                <a:gd name="connsiteY94" fmla="*/ 298450 h 372269"/>
                <a:gd name="connsiteX95" fmla="*/ 344488 w 550863"/>
                <a:gd name="connsiteY95" fmla="*/ 303212 h 372269"/>
                <a:gd name="connsiteX96" fmla="*/ 349250 w 550863"/>
                <a:gd name="connsiteY96" fmla="*/ 315912 h 372269"/>
                <a:gd name="connsiteX97" fmla="*/ 350838 w 550863"/>
                <a:gd name="connsiteY97" fmla="*/ 325437 h 372269"/>
                <a:gd name="connsiteX98" fmla="*/ 355600 w 550863"/>
                <a:gd name="connsiteY98" fmla="*/ 331787 h 372269"/>
                <a:gd name="connsiteX99" fmla="*/ 358775 w 550863"/>
                <a:gd name="connsiteY99" fmla="*/ 336550 h 372269"/>
                <a:gd name="connsiteX100" fmla="*/ 366713 w 550863"/>
                <a:gd name="connsiteY100" fmla="*/ 349250 h 372269"/>
                <a:gd name="connsiteX101" fmla="*/ 388143 w 550863"/>
                <a:gd name="connsiteY101" fmla="*/ 372269 h 372269"/>
                <a:gd name="connsiteX102" fmla="*/ 373063 w 550863"/>
                <a:gd name="connsiteY102" fmla="*/ 312737 h 372269"/>
                <a:gd name="connsiteX103" fmla="*/ 374650 w 550863"/>
                <a:gd name="connsiteY103" fmla="*/ 307975 h 372269"/>
                <a:gd name="connsiteX104" fmla="*/ 377825 w 550863"/>
                <a:gd name="connsiteY104" fmla="*/ 303212 h 372269"/>
                <a:gd name="connsiteX105" fmla="*/ 384175 w 550863"/>
                <a:gd name="connsiteY105" fmla="*/ 298450 h 372269"/>
                <a:gd name="connsiteX106" fmla="*/ 396875 w 550863"/>
                <a:gd name="connsiteY106" fmla="*/ 290512 h 372269"/>
                <a:gd name="connsiteX107" fmla="*/ 401638 w 550863"/>
                <a:gd name="connsiteY107" fmla="*/ 287337 h 372269"/>
                <a:gd name="connsiteX108" fmla="*/ 406400 w 550863"/>
                <a:gd name="connsiteY108" fmla="*/ 280987 h 372269"/>
                <a:gd name="connsiteX109" fmla="*/ 411163 w 550863"/>
                <a:gd name="connsiteY109" fmla="*/ 276225 h 372269"/>
                <a:gd name="connsiteX110" fmla="*/ 412750 w 550863"/>
                <a:gd name="connsiteY110" fmla="*/ 260350 h 372269"/>
                <a:gd name="connsiteX111" fmla="*/ 414338 w 550863"/>
                <a:gd name="connsiteY111" fmla="*/ 236537 h 372269"/>
                <a:gd name="connsiteX112" fmla="*/ 428625 w 550863"/>
                <a:gd name="connsiteY112" fmla="*/ 239712 h 372269"/>
                <a:gd name="connsiteX113" fmla="*/ 430213 w 550863"/>
                <a:gd name="connsiteY113" fmla="*/ 246062 h 372269"/>
                <a:gd name="connsiteX114" fmla="*/ 433388 w 550863"/>
                <a:gd name="connsiteY114" fmla="*/ 250825 h 372269"/>
                <a:gd name="connsiteX115" fmla="*/ 434975 w 550863"/>
                <a:gd name="connsiteY115" fmla="*/ 260350 h 372269"/>
                <a:gd name="connsiteX116" fmla="*/ 447675 w 550863"/>
                <a:gd name="connsiteY116" fmla="*/ 271462 h 372269"/>
                <a:gd name="connsiteX117" fmla="*/ 460375 w 550863"/>
                <a:gd name="connsiteY117" fmla="*/ 266700 h 372269"/>
                <a:gd name="connsiteX118" fmla="*/ 461963 w 550863"/>
                <a:gd name="connsiteY118" fmla="*/ 261937 h 372269"/>
                <a:gd name="connsiteX119" fmla="*/ 468313 w 550863"/>
                <a:gd name="connsiteY119" fmla="*/ 260350 h 372269"/>
                <a:gd name="connsiteX120" fmla="*/ 476250 w 550863"/>
                <a:gd name="connsiteY120" fmla="*/ 258762 h 372269"/>
                <a:gd name="connsiteX121" fmla="*/ 481013 w 550863"/>
                <a:gd name="connsiteY121" fmla="*/ 255587 h 372269"/>
                <a:gd name="connsiteX122" fmla="*/ 488950 w 550863"/>
                <a:gd name="connsiteY122" fmla="*/ 261937 h 372269"/>
                <a:gd name="connsiteX123" fmla="*/ 492125 w 550863"/>
                <a:gd name="connsiteY123" fmla="*/ 268287 h 372269"/>
                <a:gd name="connsiteX124" fmla="*/ 496888 w 550863"/>
                <a:gd name="connsiteY124" fmla="*/ 271462 h 372269"/>
                <a:gd name="connsiteX125" fmla="*/ 501650 w 550863"/>
                <a:gd name="connsiteY125" fmla="*/ 276225 h 372269"/>
                <a:gd name="connsiteX126" fmla="*/ 509588 w 550863"/>
                <a:gd name="connsiteY126" fmla="*/ 292100 h 372269"/>
                <a:gd name="connsiteX127" fmla="*/ 509588 w 550863"/>
                <a:gd name="connsiteY127" fmla="*/ 252412 h 372269"/>
                <a:gd name="connsiteX128" fmla="*/ 504825 w 550863"/>
                <a:gd name="connsiteY128" fmla="*/ 246062 h 372269"/>
                <a:gd name="connsiteX129" fmla="*/ 501650 w 550863"/>
                <a:gd name="connsiteY129" fmla="*/ 239712 h 372269"/>
                <a:gd name="connsiteX130" fmla="*/ 503238 w 550863"/>
                <a:gd name="connsiteY130" fmla="*/ 227012 h 372269"/>
                <a:gd name="connsiteX131" fmla="*/ 509588 w 550863"/>
                <a:gd name="connsiteY131" fmla="*/ 217487 h 372269"/>
                <a:gd name="connsiteX132" fmla="*/ 511175 w 550863"/>
                <a:gd name="connsiteY132" fmla="*/ 211137 h 372269"/>
                <a:gd name="connsiteX133" fmla="*/ 519113 w 550863"/>
                <a:gd name="connsiteY133" fmla="*/ 214312 h 372269"/>
                <a:gd name="connsiteX134" fmla="*/ 523875 w 550863"/>
                <a:gd name="connsiteY134" fmla="*/ 215900 h 372269"/>
                <a:gd name="connsiteX135" fmla="*/ 534988 w 550863"/>
                <a:gd name="connsiteY135" fmla="*/ 222250 h 372269"/>
                <a:gd name="connsiteX136" fmla="*/ 538163 w 550863"/>
                <a:gd name="connsiteY136" fmla="*/ 227012 h 372269"/>
                <a:gd name="connsiteX137" fmla="*/ 550863 w 550863"/>
                <a:gd name="connsiteY137" fmla="*/ 227012 h 372269"/>
                <a:gd name="connsiteX138" fmla="*/ 549275 w 550863"/>
                <a:gd name="connsiteY138" fmla="*/ 212725 h 372269"/>
                <a:gd name="connsiteX139" fmla="*/ 544513 w 550863"/>
                <a:gd name="connsiteY139" fmla="*/ 207962 h 372269"/>
                <a:gd name="connsiteX140" fmla="*/ 541338 w 550863"/>
                <a:gd name="connsiteY140" fmla="*/ 195262 h 372269"/>
                <a:gd name="connsiteX141" fmla="*/ 539750 w 550863"/>
                <a:gd name="connsiteY141" fmla="*/ 169862 h 372269"/>
                <a:gd name="connsiteX142" fmla="*/ 530225 w 550863"/>
                <a:gd name="connsiteY142" fmla="*/ 166687 h 372269"/>
                <a:gd name="connsiteX143" fmla="*/ 495300 w 550863"/>
                <a:gd name="connsiteY143" fmla="*/ 165100 h 372269"/>
                <a:gd name="connsiteX144" fmla="*/ 493713 w 550863"/>
                <a:gd name="connsiteY144" fmla="*/ 160337 h 372269"/>
                <a:gd name="connsiteX145" fmla="*/ 484188 w 550863"/>
                <a:gd name="connsiteY145" fmla="*/ 152400 h 372269"/>
                <a:gd name="connsiteX146" fmla="*/ 481013 w 550863"/>
                <a:gd name="connsiteY146" fmla="*/ 144462 h 372269"/>
                <a:gd name="connsiteX147" fmla="*/ 460375 w 550863"/>
                <a:gd name="connsiteY147" fmla="*/ 139700 h 372269"/>
                <a:gd name="connsiteX148" fmla="*/ 452438 w 550863"/>
                <a:gd name="connsiteY148" fmla="*/ 134937 h 372269"/>
                <a:gd name="connsiteX149" fmla="*/ 447675 w 550863"/>
                <a:gd name="connsiteY149" fmla="*/ 127000 h 372269"/>
                <a:gd name="connsiteX150" fmla="*/ 434975 w 550863"/>
                <a:gd name="connsiteY150" fmla="*/ 125412 h 372269"/>
                <a:gd name="connsiteX151" fmla="*/ 436563 w 550863"/>
                <a:gd name="connsiteY151" fmla="*/ 120650 h 372269"/>
                <a:gd name="connsiteX152" fmla="*/ 436563 w 550863"/>
                <a:gd name="connsiteY152" fmla="*/ 98425 h 372269"/>
                <a:gd name="connsiteX153" fmla="*/ 430213 w 550863"/>
                <a:gd name="connsiteY153" fmla="*/ 92075 h 372269"/>
                <a:gd name="connsiteX154" fmla="*/ 436563 w 550863"/>
                <a:gd name="connsiteY154" fmla="*/ 88900 h 372269"/>
                <a:gd name="connsiteX155" fmla="*/ 452438 w 550863"/>
                <a:gd name="connsiteY155" fmla="*/ 87312 h 372269"/>
                <a:gd name="connsiteX156" fmla="*/ 454025 w 550863"/>
                <a:gd name="connsiteY156" fmla="*/ 79375 h 372269"/>
                <a:gd name="connsiteX157" fmla="*/ 452438 w 550863"/>
                <a:gd name="connsiteY157" fmla="*/ 74612 h 372269"/>
                <a:gd name="connsiteX158" fmla="*/ 442913 w 550863"/>
                <a:gd name="connsiteY158" fmla="*/ 60325 h 372269"/>
                <a:gd name="connsiteX159" fmla="*/ 438150 w 550863"/>
                <a:gd name="connsiteY159" fmla="*/ 47625 h 372269"/>
                <a:gd name="connsiteX160" fmla="*/ 430213 w 550863"/>
                <a:gd name="connsiteY160" fmla="*/ 46037 h 372269"/>
                <a:gd name="connsiteX161" fmla="*/ 423863 w 550863"/>
                <a:gd name="connsiteY161" fmla="*/ 39687 h 372269"/>
                <a:gd name="connsiteX162" fmla="*/ 411163 w 550863"/>
                <a:gd name="connsiteY162" fmla="*/ 34925 h 372269"/>
                <a:gd name="connsiteX163" fmla="*/ 401638 w 550863"/>
                <a:gd name="connsiteY163" fmla="*/ 26987 h 372269"/>
                <a:gd name="connsiteX164" fmla="*/ 392113 w 550863"/>
                <a:gd name="connsiteY164" fmla="*/ 23812 h 372269"/>
                <a:gd name="connsiteX165" fmla="*/ 387350 w 550863"/>
                <a:gd name="connsiteY165" fmla="*/ 19050 h 372269"/>
                <a:gd name="connsiteX166" fmla="*/ 377825 w 550863"/>
                <a:gd name="connsiteY166" fmla="*/ 15875 h 372269"/>
                <a:gd name="connsiteX167" fmla="*/ 363538 w 550863"/>
                <a:gd name="connsiteY167" fmla="*/ 17462 h 372269"/>
                <a:gd name="connsiteX168" fmla="*/ 354013 w 550863"/>
                <a:gd name="connsiteY168" fmla="*/ 19050 h 372269"/>
                <a:gd name="connsiteX169" fmla="*/ 342900 w 550863"/>
                <a:gd name="connsiteY169" fmla="*/ 7937 h 372269"/>
                <a:gd name="connsiteX170" fmla="*/ 328613 w 550863"/>
                <a:gd name="connsiteY170" fmla="*/ 0 h 372269"/>
                <a:gd name="connsiteX171" fmla="*/ 312738 w 550863"/>
                <a:gd name="connsiteY171" fmla="*/ 1587 h 372269"/>
                <a:gd name="connsiteX172" fmla="*/ 306388 w 550863"/>
                <a:gd name="connsiteY172" fmla="*/ 9525 h 372269"/>
                <a:gd name="connsiteX173" fmla="*/ 311150 w 550863"/>
                <a:gd name="connsiteY173" fmla="*/ 11112 h 372269"/>
                <a:gd name="connsiteX174" fmla="*/ 315913 w 550863"/>
                <a:gd name="connsiteY174" fmla="*/ 15875 h 372269"/>
                <a:gd name="connsiteX175" fmla="*/ 339725 w 550863"/>
                <a:gd name="connsiteY175" fmla="*/ 14287 h 372269"/>
                <a:gd name="connsiteX176" fmla="*/ 338138 w 550863"/>
                <a:gd name="connsiteY176" fmla="*/ 15875 h 372269"/>
                <a:gd name="connsiteX177" fmla="*/ 334963 w 550863"/>
                <a:gd name="connsiteY177" fmla="*/ 22225 h 372269"/>
                <a:gd name="connsiteX178" fmla="*/ 328613 w 550863"/>
                <a:gd name="connsiteY178" fmla="*/ 23812 h 372269"/>
                <a:gd name="connsiteX179" fmla="*/ 323850 w 550863"/>
                <a:gd name="connsiteY179" fmla="*/ 26987 h 372269"/>
                <a:gd name="connsiteX180" fmla="*/ 314325 w 550863"/>
                <a:gd name="connsiteY180" fmla="*/ 34925 h 372269"/>
                <a:gd name="connsiteX181" fmla="*/ 306388 w 550863"/>
                <a:gd name="connsiteY181" fmla="*/ 36512 h 372269"/>
                <a:gd name="connsiteX182" fmla="*/ 296863 w 550863"/>
                <a:gd name="connsiteY182" fmla="*/ 33337 h 372269"/>
                <a:gd name="connsiteX183" fmla="*/ 292100 w 550863"/>
                <a:gd name="connsiteY183" fmla="*/ 30162 h 372269"/>
                <a:gd name="connsiteX184" fmla="*/ 282575 w 550863"/>
                <a:gd name="connsiteY184" fmla="*/ 28575 h 372269"/>
                <a:gd name="connsiteX185" fmla="*/ 271463 w 550863"/>
                <a:gd name="connsiteY185" fmla="*/ 23812 h 372269"/>
                <a:gd name="connsiteX186" fmla="*/ 265113 w 550863"/>
                <a:gd name="connsiteY186" fmla="*/ 25400 h 372269"/>
                <a:gd name="connsiteX187" fmla="*/ 246063 w 550863"/>
                <a:gd name="connsiteY187" fmla="*/ 38100 h 372269"/>
                <a:gd name="connsiteX188" fmla="*/ 231775 w 550863"/>
                <a:gd name="connsiteY188" fmla="*/ 36512 h 372269"/>
                <a:gd name="connsiteX189" fmla="*/ 222250 w 550863"/>
                <a:gd name="connsiteY189" fmla="*/ 33337 h 372269"/>
                <a:gd name="connsiteX190" fmla="*/ 211138 w 550863"/>
                <a:gd name="connsiteY190" fmla="*/ 26987 h 372269"/>
                <a:gd name="connsiteX0" fmla="*/ 211138 w 550863"/>
                <a:gd name="connsiteY0" fmla="*/ 26987 h 372350"/>
                <a:gd name="connsiteX1" fmla="*/ 206375 w 550863"/>
                <a:gd name="connsiteY1" fmla="*/ 34925 h 372350"/>
                <a:gd name="connsiteX2" fmla="*/ 196850 w 550863"/>
                <a:gd name="connsiteY2" fmla="*/ 42862 h 372350"/>
                <a:gd name="connsiteX3" fmla="*/ 192088 w 550863"/>
                <a:gd name="connsiteY3" fmla="*/ 47625 h 372350"/>
                <a:gd name="connsiteX4" fmla="*/ 180975 w 550863"/>
                <a:gd name="connsiteY4" fmla="*/ 57150 h 372350"/>
                <a:gd name="connsiteX5" fmla="*/ 174625 w 550863"/>
                <a:gd name="connsiteY5" fmla="*/ 61912 h 372350"/>
                <a:gd name="connsiteX6" fmla="*/ 166688 w 550863"/>
                <a:gd name="connsiteY6" fmla="*/ 58737 h 372350"/>
                <a:gd name="connsiteX7" fmla="*/ 161925 w 550863"/>
                <a:gd name="connsiteY7" fmla="*/ 57150 h 372350"/>
                <a:gd name="connsiteX8" fmla="*/ 155575 w 550863"/>
                <a:gd name="connsiteY8" fmla="*/ 53975 h 372350"/>
                <a:gd name="connsiteX9" fmla="*/ 134938 w 550863"/>
                <a:gd name="connsiteY9" fmla="*/ 47625 h 372350"/>
                <a:gd name="connsiteX10" fmla="*/ 127000 w 550863"/>
                <a:gd name="connsiteY10" fmla="*/ 60325 h 372350"/>
                <a:gd name="connsiteX11" fmla="*/ 120650 w 550863"/>
                <a:gd name="connsiteY11" fmla="*/ 63500 h 372350"/>
                <a:gd name="connsiteX12" fmla="*/ 114300 w 550863"/>
                <a:gd name="connsiteY12" fmla="*/ 68262 h 372350"/>
                <a:gd name="connsiteX13" fmla="*/ 128588 w 550863"/>
                <a:gd name="connsiteY13" fmla="*/ 73025 h 372350"/>
                <a:gd name="connsiteX14" fmla="*/ 131763 w 550863"/>
                <a:gd name="connsiteY14" fmla="*/ 79375 h 372350"/>
                <a:gd name="connsiteX15" fmla="*/ 127000 w 550863"/>
                <a:gd name="connsiteY15" fmla="*/ 90487 h 372350"/>
                <a:gd name="connsiteX16" fmla="*/ 117475 w 550863"/>
                <a:gd name="connsiteY16" fmla="*/ 100012 h 372350"/>
                <a:gd name="connsiteX17" fmla="*/ 109538 w 550863"/>
                <a:gd name="connsiteY17" fmla="*/ 103187 h 372350"/>
                <a:gd name="connsiteX18" fmla="*/ 104775 w 550863"/>
                <a:gd name="connsiteY18" fmla="*/ 109537 h 372350"/>
                <a:gd name="connsiteX19" fmla="*/ 96838 w 550863"/>
                <a:gd name="connsiteY19" fmla="*/ 112712 h 372350"/>
                <a:gd name="connsiteX20" fmla="*/ 92075 w 550863"/>
                <a:gd name="connsiteY20" fmla="*/ 115887 h 372350"/>
                <a:gd name="connsiteX21" fmla="*/ 84138 w 550863"/>
                <a:gd name="connsiteY21" fmla="*/ 128587 h 372350"/>
                <a:gd name="connsiteX22" fmla="*/ 79375 w 550863"/>
                <a:gd name="connsiteY22" fmla="*/ 133350 h 372350"/>
                <a:gd name="connsiteX23" fmla="*/ 71438 w 550863"/>
                <a:gd name="connsiteY23" fmla="*/ 141287 h 372350"/>
                <a:gd name="connsiteX24" fmla="*/ 63500 w 550863"/>
                <a:gd name="connsiteY24" fmla="*/ 149225 h 372350"/>
                <a:gd name="connsiteX25" fmla="*/ 58738 w 550863"/>
                <a:gd name="connsiteY25" fmla="*/ 155575 h 372350"/>
                <a:gd name="connsiteX26" fmla="*/ 57150 w 550863"/>
                <a:gd name="connsiteY26" fmla="*/ 160337 h 372350"/>
                <a:gd name="connsiteX27" fmla="*/ 55563 w 550863"/>
                <a:gd name="connsiteY27" fmla="*/ 166687 h 372350"/>
                <a:gd name="connsiteX28" fmla="*/ 52388 w 550863"/>
                <a:gd name="connsiteY28" fmla="*/ 171450 h 372350"/>
                <a:gd name="connsiteX29" fmla="*/ 44450 w 550863"/>
                <a:gd name="connsiteY29" fmla="*/ 182562 h 372350"/>
                <a:gd name="connsiteX30" fmla="*/ 39688 w 550863"/>
                <a:gd name="connsiteY30" fmla="*/ 188912 h 372350"/>
                <a:gd name="connsiteX31" fmla="*/ 26988 w 550863"/>
                <a:gd name="connsiteY31" fmla="*/ 192087 h 372350"/>
                <a:gd name="connsiteX32" fmla="*/ 22225 w 550863"/>
                <a:gd name="connsiteY32" fmla="*/ 195262 h 372350"/>
                <a:gd name="connsiteX33" fmla="*/ 14288 w 550863"/>
                <a:gd name="connsiteY33" fmla="*/ 198437 h 372350"/>
                <a:gd name="connsiteX34" fmla="*/ 11113 w 550863"/>
                <a:gd name="connsiteY34" fmla="*/ 204787 h 372350"/>
                <a:gd name="connsiteX35" fmla="*/ 12700 w 550863"/>
                <a:gd name="connsiteY35" fmla="*/ 244475 h 372350"/>
                <a:gd name="connsiteX36" fmla="*/ 14288 w 550863"/>
                <a:gd name="connsiteY36" fmla="*/ 250825 h 372350"/>
                <a:gd name="connsiteX37" fmla="*/ 19050 w 550863"/>
                <a:gd name="connsiteY37" fmla="*/ 255587 h 372350"/>
                <a:gd name="connsiteX38" fmla="*/ 12700 w 550863"/>
                <a:gd name="connsiteY38" fmla="*/ 258762 h 372350"/>
                <a:gd name="connsiteX39" fmla="*/ 0 w 550863"/>
                <a:gd name="connsiteY39" fmla="*/ 271462 h 372350"/>
                <a:gd name="connsiteX40" fmla="*/ 3175 w 550863"/>
                <a:gd name="connsiteY40" fmla="*/ 276225 h 372350"/>
                <a:gd name="connsiteX41" fmla="*/ 11113 w 550863"/>
                <a:gd name="connsiteY41" fmla="*/ 279400 h 372350"/>
                <a:gd name="connsiteX42" fmla="*/ 23813 w 550863"/>
                <a:gd name="connsiteY42" fmla="*/ 276225 h 372350"/>
                <a:gd name="connsiteX43" fmla="*/ 28575 w 550863"/>
                <a:gd name="connsiteY43" fmla="*/ 268287 h 372350"/>
                <a:gd name="connsiteX44" fmla="*/ 28575 w 550863"/>
                <a:gd name="connsiteY44" fmla="*/ 242887 h 372350"/>
                <a:gd name="connsiteX45" fmla="*/ 34925 w 550863"/>
                <a:gd name="connsiteY45" fmla="*/ 239712 h 372350"/>
                <a:gd name="connsiteX46" fmla="*/ 49213 w 550863"/>
                <a:gd name="connsiteY46" fmla="*/ 236537 h 372350"/>
                <a:gd name="connsiteX47" fmla="*/ 57150 w 550863"/>
                <a:gd name="connsiteY47" fmla="*/ 228600 h 372350"/>
                <a:gd name="connsiteX48" fmla="*/ 58738 w 550863"/>
                <a:gd name="connsiteY48" fmla="*/ 223837 h 372350"/>
                <a:gd name="connsiteX49" fmla="*/ 66675 w 550863"/>
                <a:gd name="connsiteY49" fmla="*/ 217487 h 372350"/>
                <a:gd name="connsiteX50" fmla="*/ 77788 w 550863"/>
                <a:gd name="connsiteY50" fmla="*/ 222250 h 372350"/>
                <a:gd name="connsiteX51" fmla="*/ 87313 w 550863"/>
                <a:gd name="connsiteY51" fmla="*/ 225425 h 372350"/>
                <a:gd name="connsiteX52" fmla="*/ 101600 w 550863"/>
                <a:gd name="connsiteY52" fmla="*/ 233362 h 372350"/>
                <a:gd name="connsiteX53" fmla="*/ 103188 w 550863"/>
                <a:gd name="connsiteY53" fmla="*/ 252412 h 372350"/>
                <a:gd name="connsiteX54" fmla="*/ 104775 w 550863"/>
                <a:gd name="connsiteY54" fmla="*/ 284162 h 372350"/>
                <a:gd name="connsiteX55" fmla="*/ 109538 w 550863"/>
                <a:gd name="connsiteY55" fmla="*/ 287337 h 372350"/>
                <a:gd name="connsiteX56" fmla="*/ 111125 w 550863"/>
                <a:gd name="connsiteY56" fmla="*/ 296862 h 372350"/>
                <a:gd name="connsiteX57" fmla="*/ 112713 w 550863"/>
                <a:gd name="connsiteY57" fmla="*/ 301625 h 372350"/>
                <a:gd name="connsiteX58" fmla="*/ 111125 w 550863"/>
                <a:gd name="connsiteY58" fmla="*/ 307975 h 372350"/>
                <a:gd name="connsiteX59" fmla="*/ 115888 w 550863"/>
                <a:gd name="connsiteY59" fmla="*/ 314325 h 372350"/>
                <a:gd name="connsiteX60" fmla="*/ 122238 w 550863"/>
                <a:gd name="connsiteY60" fmla="*/ 315912 h 372350"/>
                <a:gd name="connsiteX61" fmla="*/ 125413 w 550863"/>
                <a:gd name="connsiteY61" fmla="*/ 325437 h 372350"/>
                <a:gd name="connsiteX62" fmla="*/ 127000 w 550863"/>
                <a:gd name="connsiteY62" fmla="*/ 334962 h 372350"/>
                <a:gd name="connsiteX63" fmla="*/ 142875 w 550863"/>
                <a:gd name="connsiteY63" fmla="*/ 336550 h 372350"/>
                <a:gd name="connsiteX64" fmla="*/ 149225 w 550863"/>
                <a:gd name="connsiteY64" fmla="*/ 328612 h 372350"/>
                <a:gd name="connsiteX65" fmla="*/ 152400 w 550863"/>
                <a:gd name="connsiteY65" fmla="*/ 323850 h 372350"/>
                <a:gd name="connsiteX66" fmla="*/ 158750 w 550863"/>
                <a:gd name="connsiteY66" fmla="*/ 327025 h 372350"/>
                <a:gd name="connsiteX67" fmla="*/ 168275 w 550863"/>
                <a:gd name="connsiteY67" fmla="*/ 334962 h 372350"/>
                <a:gd name="connsiteX68" fmla="*/ 173038 w 550863"/>
                <a:gd name="connsiteY68" fmla="*/ 328612 h 372350"/>
                <a:gd name="connsiteX69" fmla="*/ 179388 w 550863"/>
                <a:gd name="connsiteY69" fmla="*/ 323850 h 372350"/>
                <a:gd name="connsiteX70" fmla="*/ 190500 w 550863"/>
                <a:gd name="connsiteY70" fmla="*/ 320675 h 372350"/>
                <a:gd name="connsiteX71" fmla="*/ 200025 w 550863"/>
                <a:gd name="connsiteY71" fmla="*/ 325437 h 372350"/>
                <a:gd name="connsiteX72" fmla="*/ 209550 w 550863"/>
                <a:gd name="connsiteY72" fmla="*/ 327025 h 372350"/>
                <a:gd name="connsiteX73" fmla="*/ 211138 w 550863"/>
                <a:gd name="connsiteY73" fmla="*/ 331787 h 372350"/>
                <a:gd name="connsiteX74" fmla="*/ 212725 w 550863"/>
                <a:gd name="connsiteY74" fmla="*/ 338137 h 372350"/>
                <a:gd name="connsiteX75" fmla="*/ 225425 w 550863"/>
                <a:gd name="connsiteY75" fmla="*/ 336550 h 372350"/>
                <a:gd name="connsiteX76" fmla="*/ 227013 w 550863"/>
                <a:gd name="connsiteY76" fmla="*/ 331787 h 372350"/>
                <a:gd name="connsiteX77" fmla="*/ 231775 w 550863"/>
                <a:gd name="connsiteY77" fmla="*/ 327025 h 372350"/>
                <a:gd name="connsiteX78" fmla="*/ 234950 w 550863"/>
                <a:gd name="connsiteY78" fmla="*/ 319087 h 372350"/>
                <a:gd name="connsiteX79" fmla="*/ 239713 w 550863"/>
                <a:gd name="connsiteY79" fmla="*/ 315912 h 372350"/>
                <a:gd name="connsiteX80" fmla="*/ 254000 w 550863"/>
                <a:gd name="connsiteY80" fmla="*/ 306387 h 372350"/>
                <a:gd name="connsiteX81" fmla="*/ 252413 w 550863"/>
                <a:gd name="connsiteY81" fmla="*/ 292100 h 372350"/>
                <a:gd name="connsiteX82" fmla="*/ 254000 w 550863"/>
                <a:gd name="connsiteY82" fmla="*/ 276225 h 372350"/>
                <a:gd name="connsiteX83" fmla="*/ 258763 w 550863"/>
                <a:gd name="connsiteY83" fmla="*/ 269875 h 372350"/>
                <a:gd name="connsiteX84" fmla="*/ 269875 w 550863"/>
                <a:gd name="connsiteY84" fmla="*/ 258762 h 372350"/>
                <a:gd name="connsiteX85" fmla="*/ 274638 w 550863"/>
                <a:gd name="connsiteY85" fmla="*/ 254000 h 372350"/>
                <a:gd name="connsiteX86" fmla="*/ 280988 w 550863"/>
                <a:gd name="connsiteY86" fmla="*/ 250825 h 372350"/>
                <a:gd name="connsiteX87" fmla="*/ 285750 w 550863"/>
                <a:gd name="connsiteY87" fmla="*/ 249237 h 372350"/>
                <a:gd name="connsiteX88" fmla="*/ 295275 w 550863"/>
                <a:gd name="connsiteY88" fmla="*/ 244475 h 372350"/>
                <a:gd name="connsiteX89" fmla="*/ 301625 w 550863"/>
                <a:gd name="connsiteY89" fmla="*/ 271462 h 372350"/>
                <a:gd name="connsiteX90" fmla="*/ 311150 w 550863"/>
                <a:gd name="connsiteY90" fmla="*/ 282575 h 372350"/>
                <a:gd name="connsiteX91" fmla="*/ 314325 w 550863"/>
                <a:gd name="connsiteY91" fmla="*/ 287337 h 372350"/>
                <a:gd name="connsiteX92" fmla="*/ 315913 w 550863"/>
                <a:gd name="connsiteY92" fmla="*/ 292100 h 372350"/>
                <a:gd name="connsiteX93" fmla="*/ 320675 w 550863"/>
                <a:gd name="connsiteY93" fmla="*/ 295275 h 372350"/>
                <a:gd name="connsiteX94" fmla="*/ 339725 w 550863"/>
                <a:gd name="connsiteY94" fmla="*/ 298450 h 372350"/>
                <a:gd name="connsiteX95" fmla="*/ 344488 w 550863"/>
                <a:gd name="connsiteY95" fmla="*/ 303212 h 372350"/>
                <a:gd name="connsiteX96" fmla="*/ 349250 w 550863"/>
                <a:gd name="connsiteY96" fmla="*/ 315912 h 372350"/>
                <a:gd name="connsiteX97" fmla="*/ 350838 w 550863"/>
                <a:gd name="connsiteY97" fmla="*/ 325437 h 372350"/>
                <a:gd name="connsiteX98" fmla="*/ 355600 w 550863"/>
                <a:gd name="connsiteY98" fmla="*/ 331787 h 372350"/>
                <a:gd name="connsiteX99" fmla="*/ 358775 w 550863"/>
                <a:gd name="connsiteY99" fmla="*/ 336550 h 372350"/>
                <a:gd name="connsiteX100" fmla="*/ 366713 w 550863"/>
                <a:gd name="connsiteY100" fmla="*/ 349250 h 372350"/>
                <a:gd name="connsiteX101" fmla="*/ 388143 w 550863"/>
                <a:gd name="connsiteY101" fmla="*/ 372269 h 372350"/>
                <a:gd name="connsiteX102" fmla="*/ 388938 w 550863"/>
                <a:gd name="connsiteY102" fmla="*/ 338137 h 372350"/>
                <a:gd name="connsiteX103" fmla="*/ 373063 w 550863"/>
                <a:gd name="connsiteY103" fmla="*/ 312737 h 372350"/>
                <a:gd name="connsiteX104" fmla="*/ 374650 w 550863"/>
                <a:gd name="connsiteY104" fmla="*/ 307975 h 372350"/>
                <a:gd name="connsiteX105" fmla="*/ 377825 w 550863"/>
                <a:gd name="connsiteY105" fmla="*/ 303212 h 372350"/>
                <a:gd name="connsiteX106" fmla="*/ 384175 w 550863"/>
                <a:gd name="connsiteY106" fmla="*/ 298450 h 372350"/>
                <a:gd name="connsiteX107" fmla="*/ 396875 w 550863"/>
                <a:gd name="connsiteY107" fmla="*/ 290512 h 372350"/>
                <a:gd name="connsiteX108" fmla="*/ 401638 w 550863"/>
                <a:gd name="connsiteY108" fmla="*/ 287337 h 372350"/>
                <a:gd name="connsiteX109" fmla="*/ 406400 w 550863"/>
                <a:gd name="connsiteY109" fmla="*/ 280987 h 372350"/>
                <a:gd name="connsiteX110" fmla="*/ 411163 w 550863"/>
                <a:gd name="connsiteY110" fmla="*/ 276225 h 372350"/>
                <a:gd name="connsiteX111" fmla="*/ 412750 w 550863"/>
                <a:gd name="connsiteY111" fmla="*/ 260350 h 372350"/>
                <a:gd name="connsiteX112" fmla="*/ 414338 w 550863"/>
                <a:gd name="connsiteY112" fmla="*/ 236537 h 372350"/>
                <a:gd name="connsiteX113" fmla="*/ 428625 w 550863"/>
                <a:gd name="connsiteY113" fmla="*/ 239712 h 372350"/>
                <a:gd name="connsiteX114" fmla="*/ 430213 w 550863"/>
                <a:gd name="connsiteY114" fmla="*/ 246062 h 372350"/>
                <a:gd name="connsiteX115" fmla="*/ 433388 w 550863"/>
                <a:gd name="connsiteY115" fmla="*/ 250825 h 372350"/>
                <a:gd name="connsiteX116" fmla="*/ 434975 w 550863"/>
                <a:gd name="connsiteY116" fmla="*/ 260350 h 372350"/>
                <a:gd name="connsiteX117" fmla="*/ 447675 w 550863"/>
                <a:gd name="connsiteY117" fmla="*/ 271462 h 372350"/>
                <a:gd name="connsiteX118" fmla="*/ 460375 w 550863"/>
                <a:gd name="connsiteY118" fmla="*/ 266700 h 372350"/>
                <a:gd name="connsiteX119" fmla="*/ 461963 w 550863"/>
                <a:gd name="connsiteY119" fmla="*/ 261937 h 372350"/>
                <a:gd name="connsiteX120" fmla="*/ 468313 w 550863"/>
                <a:gd name="connsiteY120" fmla="*/ 260350 h 372350"/>
                <a:gd name="connsiteX121" fmla="*/ 476250 w 550863"/>
                <a:gd name="connsiteY121" fmla="*/ 258762 h 372350"/>
                <a:gd name="connsiteX122" fmla="*/ 481013 w 550863"/>
                <a:gd name="connsiteY122" fmla="*/ 255587 h 372350"/>
                <a:gd name="connsiteX123" fmla="*/ 488950 w 550863"/>
                <a:gd name="connsiteY123" fmla="*/ 261937 h 372350"/>
                <a:gd name="connsiteX124" fmla="*/ 492125 w 550863"/>
                <a:gd name="connsiteY124" fmla="*/ 268287 h 372350"/>
                <a:gd name="connsiteX125" fmla="*/ 496888 w 550863"/>
                <a:gd name="connsiteY125" fmla="*/ 271462 h 372350"/>
                <a:gd name="connsiteX126" fmla="*/ 501650 w 550863"/>
                <a:gd name="connsiteY126" fmla="*/ 276225 h 372350"/>
                <a:gd name="connsiteX127" fmla="*/ 509588 w 550863"/>
                <a:gd name="connsiteY127" fmla="*/ 292100 h 372350"/>
                <a:gd name="connsiteX128" fmla="*/ 509588 w 550863"/>
                <a:gd name="connsiteY128" fmla="*/ 252412 h 372350"/>
                <a:gd name="connsiteX129" fmla="*/ 504825 w 550863"/>
                <a:gd name="connsiteY129" fmla="*/ 246062 h 372350"/>
                <a:gd name="connsiteX130" fmla="*/ 501650 w 550863"/>
                <a:gd name="connsiteY130" fmla="*/ 239712 h 372350"/>
                <a:gd name="connsiteX131" fmla="*/ 503238 w 550863"/>
                <a:gd name="connsiteY131" fmla="*/ 227012 h 372350"/>
                <a:gd name="connsiteX132" fmla="*/ 509588 w 550863"/>
                <a:gd name="connsiteY132" fmla="*/ 217487 h 372350"/>
                <a:gd name="connsiteX133" fmla="*/ 511175 w 550863"/>
                <a:gd name="connsiteY133" fmla="*/ 211137 h 372350"/>
                <a:gd name="connsiteX134" fmla="*/ 519113 w 550863"/>
                <a:gd name="connsiteY134" fmla="*/ 214312 h 372350"/>
                <a:gd name="connsiteX135" fmla="*/ 523875 w 550863"/>
                <a:gd name="connsiteY135" fmla="*/ 215900 h 372350"/>
                <a:gd name="connsiteX136" fmla="*/ 534988 w 550863"/>
                <a:gd name="connsiteY136" fmla="*/ 222250 h 372350"/>
                <a:gd name="connsiteX137" fmla="*/ 538163 w 550863"/>
                <a:gd name="connsiteY137" fmla="*/ 227012 h 372350"/>
                <a:gd name="connsiteX138" fmla="*/ 550863 w 550863"/>
                <a:gd name="connsiteY138" fmla="*/ 227012 h 372350"/>
                <a:gd name="connsiteX139" fmla="*/ 549275 w 550863"/>
                <a:gd name="connsiteY139" fmla="*/ 212725 h 372350"/>
                <a:gd name="connsiteX140" fmla="*/ 544513 w 550863"/>
                <a:gd name="connsiteY140" fmla="*/ 207962 h 372350"/>
                <a:gd name="connsiteX141" fmla="*/ 541338 w 550863"/>
                <a:gd name="connsiteY141" fmla="*/ 195262 h 372350"/>
                <a:gd name="connsiteX142" fmla="*/ 539750 w 550863"/>
                <a:gd name="connsiteY142" fmla="*/ 169862 h 372350"/>
                <a:gd name="connsiteX143" fmla="*/ 530225 w 550863"/>
                <a:gd name="connsiteY143" fmla="*/ 166687 h 372350"/>
                <a:gd name="connsiteX144" fmla="*/ 495300 w 550863"/>
                <a:gd name="connsiteY144" fmla="*/ 165100 h 372350"/>
                <a:gd name="connsiteX145" fmla="*/ 493713 w 550863"/>
                <a:gd name="connsiteY145" fmla="*/ 160337 h 372350"/>
                <a:gd name="connsiteX146" fmla="*/ 484188 w 550863"/>
                <a:gd name="connsiteY146" fmla="*/ 152400 h 372350"/>
                <a:gd name="connsiteX147" fmla="*/ 481013 w 550863"/>
                <a:gd name="connsiteY147" fmla="*/ 144462 h 372350"/>
                <a:gd name="connsiteX148" fmla="*/ 460375 w 550863"/>
                <a:gd name="connsiteY148" fmla="*/ 139700 h 372350"/>
                <a:gd name="connsiteX149" fmla="*/ 452438 w 550863"/>
                <a:gd name="connsiteY149" fmla="*/ 134937 h 372350"/>
                <a:gd name="connsiteX150" fmla="*/ 447675 w 550863"/>
                <a:gd name="connsiteY150" fmla="*/ 127000 h 372350"/>
                <a:gd name="connsiteX151" fmla="*/ 434975 w 550863"/>
                <a:gd name="connsiteY151" fmla="*/ 125412 h 372350"/>
                <a:gd name="connsiteX152" fmla="*/ 436563 w 550863"/>
                <a:gd name="connsiteY152" fmla="*/ 120650 h 372350"/>
                <a:gd name="connsiteX153" fmla="*/ 436563 w 550863"/>
                <a:gd name="connsiteY153" fmla="*/ 98425 h 372350"/>
                <a:gd name="connsiteX154" fmla="*/ 430213 w 550863"/>
                <a:gd name="connsiteY154" fmla="*/ 92075 h 372350"/>
                <a:gd name="connsiteX155" fmla="*/ 436563 w 550863"/>
                <a:gd name="connsiteY155" fmla="*/ 88900 h 372350"/>
                <a:gd name="connsiteX156" fmla="*/ 452438 w 550863"/>
                <a:gd name="connsiteY156" fmla="*/ 87312 h 372350"/>
                <a:gd name="connsiteX157" fmla="*/ 454025 w 550863"/>
                <a:gd name="connsiteY157" fmla="*/ 79375 h 372350"/>
                <a:gd name="connsiteX158" fmla="*/ 452438 w 550863"/>
                <a:gd name="connsiteY158" fmla="*/ 74612 h 372350"/>
                <a:gd name="connsiteX159" fmla="*/ 442913 w 550863"/>
                <a:gd name="connsiteY159" fmla="*/ 60325 h 372350"/>
                <a:gd name="connsiteX160" fmla="*/ 438150 w 550863"/>
                <a:gd name="connsiteY160" fmla="*/ 47625 h 372350"/>
                <a:gd name="connsiteX161" fmla="*/ 430213 w 550863"/>
                <a:gd name="connsiteY161" fmla="*/ 46037 h 372350"/>
                <a:gd name="connsiteX162" fmla="*/ 423863 w 550863"/>
                <a:gd name="connsiteY162" fmla="*/ 39687 h 372350"/>
                <a:gd name="connsiteX163" fmla="*/ 411163 w 550863"/>
                <a:gd name="connsiteY163" fmla="*/ 34925 h 372350"/>
                <a:gd name="connsiteX164" fmla="*/ 401638 w 550863"/>
                <a:gd name="connsiteY164" fmla="*/ 26987 h 372350"/>
                <a:gd name="connsiteX165" fmla="*/ 392113 w 550863"/>
                <a:gd name="connsiteY165" fmla="*/ 23812 h 372350"/>
                <a:gd name="connsiteX166" fmla="*/ 387350 w 550863"/>
                <a:gd name="connsiteY166" fmla="*/ 19050 h 372350"/>
                <a:gd name="connsiteX167" fmla="*/ 377825 w 550863"/>
                <a:gd name="connsiteY167" fmla="*/ 15875 h 372350"/>
                <a:gd name="connsiteX168" fmla="*/ 363538 w 550863"/>
                <a:gd name="connsiteY168" fmla="*/ 17462 h 372350"/>
                <a:gd name="connsiteX169" fmla="*/ 354013 w 550863"/>
                <a:gd name="connsiteY169" fmla="*/ 19050 h 372350"/>
                <a:gd name="connsiteX170" fmla="*/ 342900 w 550863"/>
                <a:gd name="connsiteY170" fmla="*/ 7937 h 372350"/>
                <a:gd name="connsiteX171" fmla="*/ 328613 w 550863"/>
                <a:gd name="connsiteY171" fmla="*/ 0 h 372350"/>
                <a:gd name="connsiteX172" fmla="*/ 312738 w 550863"/>
                <a:gd name="connsiteY172" fmla="*/ 1587 h 372350"/>
                <a:gd name="connsiteX173" fmla="*/ 306388 w 550863"/>
                <a:gd name="connsiteY173" fmla="*/ 9525 h 372350"/>
                <a:gd name="connsiteX174" fmla="*/ 311150 w 550863"/>
                <a:gd name="connsiteY174" fmla="*/ 11112 h 372350"/>
                <a:gd name="connsiteX175" fmla="*/ 315913 w 550863"/>
                <a:gd name="connsiteY175" fmla="*/ 15875 h 372350"/>
                <a:gd name="connsiteX176" fmla="*/ 339725 w 550863"/>
                <a:gd name="connsiteY176" fmla="*/ 14287 h 372350"/>
                <a:gd name="connsiteX177" fmla="*/ 338138 w 550863"/>
                <a:gd name="connsiteY177" fmla="*/ 15875 h 372350"/>
                <a:gd name="connsiteX178" fmla="*/ 334963 w 550863"/>
                <a:gd name="connsiteY178" fmla="*/ 22225 h 372350"/>
                <a:gd name="connsiteX179" fmla="*/ 328613 w 550863"/>
                <a:gd name="connsiteY179" fmla="*/ 23812 h 372350"/>
                <a:gd name="connsiteX180" fmla="*/ 323850 w 550863"/>
                <a:gd name="connsiteY180" fmla="*/ 26987 h 372350"/>
                <a:gd name="connsiteX181" fmla="*/ 314325 w 550863"/>
                <a:gd name="connsiteY181" fmla="*/ 34925 h 372350"/>
                <a:gd name="connsiteX182" fmla="*/ 306388 w 550863"/>
                <a:gd name="connsiteY182" fmla="*/ 36512 h 372350"/>
                <a:gd name="connsiteX183" fmla="*/ 296863 w 550863"/>
                <a:gd name="connsiteY183" fmla="*/ 33337 h 372350"/>
                <a:gd name="connsiteX184" fmla="*/ 292100 w 550863"/>
                <a:gd name="connsiteY184" fmla="*/ 30162 h 372350"/>
                <a:gd name="connsiteX185" fmla="*/ 282575 w 550863"/>
                <a:gd name="connsiteY185" fmla="*/ 28575 h 372350"/>
                <a:gd name="connsiteX186" fmla="*/ 271463 w 550863"/>
                <a:gd name="connsiteY186" fmla="*/ 23812 h 372350"/>
                <a:gd name="connsiteX187" fmla="*/ 265113 w 550863"/>
                <a:gd name="connsiteY187" fmla="*/ 25400 h 372350"/>
                <a:gd name="connsiteX188" fmla="*/ 246063 w 550863"/>
                <a:gd name="connsiteY188" fmla="*/ 38100 h 372350"/>
                <a:gd name="connsiteX189" fmla="*/ 231775 w 550863"/>
                <a:gd name="connsiteY189" fmla="*/ 36512 h 372350"/>
                <a:gd name="connsiteX190" fmla="*/ 222250 w 550863"/>
                <a:gd name="connsiteY190" fmla="*/ 33337 h 372350"/>
                <a:gd name="connsiteX191" fmla="*/ 211138 w 550863"/>
                <a:gd name="connsiteY191" fmla="*/ 26987 h 372350"/>
                <a:gd name="connsiteX0" fmla="*/ 211138 w 550863"/>
                <a:gd name="connsiteY0" fmla="*/ 26987 h 353631"/>
                <a:gd name="connsiteX1" fmla="*/ 206375 w 550863"/>
                <a:gd name="connsiteY1" fmla="*/ 34925 h 353631"/>
                <a:gd name="connsiteX2" fmla="*/ 196850 w 550863"/>
                <a:gd name="connsiteY2" fmla="*/ 42862 h 353631"/>
                <a:gd name="connsiteX3" fmla="*/ 192088 w 550863"/>
                <a:gd name="connsiteY3" fmla="*/ 47625 h 353631"/>
                <a:gd name="connsiteX4" fmla="*/ 180975 w 550863"/>
                <a:gd name="connsiteY4" fmla="*/ 57150 h 353631"/>
                <a:gd name="connsiteX5" fmla="*/ 174625 w 550863"/>
                <a:gd name="connsiteY5" fmla="*/ 61912 h 353631"/>
                <a:gd name="connsiteX6" fmla="*/ 166688 w 550863"/>
                <a:gd name="connsiteY6" fmla="*/ 58737 h 353631"/>
                <a:gd name="connsiteX7" fmla="*/ 161925 w 550863"/>
                <a:gd name="connsiteY7" fmla="*/ 57150 h 353631"/>
                <a:gd name="connsiteX8" fmla="*/ 155575 w 550863"/>
                <a:gd name="connsiteY8" fmla="*/ 53975 h 353631"/>
                <a:gd name="connsiteX9" fmla="*/ 134938 w 550863"/>
                <a:gd name="connsiteY9" fmla="*/ 47625 h 353631"/>
                <a:gd name="connsiteX10" fmla="*/ 127000 w 550863"/>
                <a:gd name="connsiteY10" fmla="*/ 60325 h 353631"/>
                <a:gd name="connsiteX11" fmla="*/ 120650 w 550863"/>
                <a:gd name="connsiteY11" fmla="*/ 63500 h 353631"/>
                <a:gd name="connsiteX12" fmla="*/ 114300 w 550863"/>
                <a:gd name="connsiteY12" fmla="*/ 68262 h 353631"/>
                <a:gd name="connsiteX13" fmla="*/ 128588 w 550863"/>
                <a:gd name="connsiteY13" fmla="*/ 73025 h 353631"/>
                <a:gd name="connsiteX14" fmla="*/ 131763 w 550863"/>
                <a:gd name="connsiteY14" fmla="*/ 79375 h 353631"/>
                <a:gd name="connsiteX15" fmla="*/ 127000 w 550863"/>
                <a:gd name="connsiteY15" fmla="*/ 90487 h 353631"/>
                <a:gd name="connsiteX16" fmla="*/ 117475 w 550863"/>
                <a:gd name="connsiteY16" fmla="*/ 100012 h 353631"/>
                <a:gd name="connsiteX17" fmla="*/ 109538 w 550863"/>
                <a:gd name="connsiteY17" fmla="*/ 103187 h 353631"/>
                <a:gd name="connsiteX18" fmla="*/ 104775 w 550863"/>
                <a:gd name="connsiteY18" fmla="*/ 109537 h 353631"/>
                <a:gd name="connsiteX19" fmla="*/ 96838 w 550863"/>
                <a:gd name="connsiteY19" fmla="*/ 112712 h 353631"/>
                <a:gd name="connsiteX20" fmla="*/ 92075 w 550863"/>
                <a:gd name="connsiteY20" fmla="*/ 115887 h 353631"/>
                <a:gd name="connsiteX21" fmla="*/ 84138 w 550863"/>
                <a:gd name="connsiteY21" fmla="*/ 128587 h 353631"/>
                <a:gd name="connsiteX22" fmla="*/ 79375 w 550863"/>
                <a:gd name="connsiteY22" fmla="*/ 133350 h 353631"/>
                <a:gd name="connsiteX23" fmla="*/ 71438 w 550863"/>
                <a:gd name="connsiteY23" fmla="*/ 141287 h 353631"/>
                <a:gd name="connsiteX24" fmla="*/ 63500 w 550863"/>
                <a:gd name="connsiteY24" fmla="*/ 149225 h 353631"/>
                <a:gd name="connsiteX25" fmla="*/ 58738 w 550863"/>
                <a:gd name="connsiteY25" fmla="*/ 155575 h 353631"/>
                <a:gd name="connsiteX26" fmla="*/ 57150 w 550863"/>
                <a:gd name="connsiteY26" fmla="*/ 160337 h 353631"/>
                <a:gd name="connsiteX27" fmla="*/ 55563 w 550863"/>
                <a:gd name="connsiteY27" fmla="*/ 166687 h 353631"/>
                <a:gd name="connsiteX28" fmla="*/ 52388 w 550863"/>
                <a:gd name="connsiteY28" fmla="*/ 171450 h 353631"/>
                <a:gd name="connsiteX29" fmla="*/ 44450 w 550863"/>
                <a:gd name="connsiteY29" fmla="*/ 182562 h 353631"/>
                <a:gd name="connsiteX30" fmla="*/ 39688 w 550863"/>
                <a:gd name="connsiteY30" fmla="*/ 188912 h 353631"/>
                <a:gd name="connsiteX31" fmla="*/ 26988 w 550863"/>
                <a:gd name="connsiteY31" fmla="*/ 192087 h 353631"/>
                <a:gd name="connsiteX32" fmla="*/ 22225 w 550863"/>
                <a:gd name="connsiteY32" fmla="*/ 195262 h 353631"/>
                <a:gd name="connsiteX33" fmla="*/ 14288 w 550863"/>
                <a:gd name="connsiteY33" fmla="*/ 198437 h 353631"/>
                <a:gd name="connsiteX34" fmla="*/ 11113 w 550863"/>
                <a:gd name="connsiteY34" fmla="*/ 204787 h 353631"/>
                <a:gd name="connsiteX35" fmla="*/ 12700 w 550863"/>
                <a:gd name="connsiteY35" fmla="*/ 244475 h 353631"/>
                <a:gd name="connsiteX36" fmla="*/ 14288 w 550863"/>
                <a:gd name="connsiteY36" fmla="*/ 250825 h 353631"/>
                <a:gd name="connsiteX37" fmla="*/ 19050 w 550863"/>
                <a:gd name="connsiteY37" fmla="*/ 255587 h 353631"/>
                <a:gd name="connsiteX38" fmla="*/ 12700 w 550863"/>
                <a:gd name="connsiteY38" fmla="*/ 258762 h 353631"/>
                <a:gd name="connsiteX39" fmla="*/ 0 w 550863"/>
                <a:gd name="connsiteY39" fmla="*/ 271462 h 353631"/>
                <a:gd name="connsiteX40" fmla="*/ 3175 w 550863"/>
                <a:gd name="connsiteY40" fmla="*/ 276225 h 353631"/>
                <a:gd name="connsiteX41" fmla="*/ 11113 w 550863"/>
                <a:gd name="connsiteY41" fmla="*/ 279400 h 353631"/>
                <a:gd name="connsiteX42" fmla="*/ 23813 w 550863"/>
                <a:gd name="connsiteY42" fmla="*/ 276225 h 353631"/>
                <a:gd name="connsiteX43" fmla="*/ 28575 w 550863"/>
                <a:gd name="connsiteY43" fmla="*/ 268287 h 353631"/>
                <a:gd name="connsiteX44" fmla="*/ 28575 w 550863"/>
                <a:gd name="connsiteY44" fmla="*/ 242887 h 353631"/>
                <a:gd name="connsiteX45" fmla="*/ 34925 w 550863"/>
                <a:gd name="connsiteY45" fmla="*/ 239712 h 353631"/>
                <a:gd name="connsiteX46" fmla="*/ 49213 w 550863"/>
                <a:gd name="connsiteY46" fmla="*/ 236537 h 353631"/>
                <a:gd name="connsiteX47" fmla="*/ 57150 w 550863"/>
                <a:gd name="connsiteY47" fmla="*/ 228600 h 353631"/>
                <a:gd name="connsiteX48" fmla="*/ 58738 w 550863"/>
                <a:gd name="connsiteY48" fmla="*/ 223837 h 353631"/>
                <a:gd name="connsiteX49" fmla="*/ 66675 w 550863"/>
                <a:gd name="connsiteY49" fmla="*/ 217487 h 353631"/>
                <a:gd name="connsiteX50" fmla="*/ 77788 w 550863"/>
                <a:gd name="connsiteY50" fmla="*/ 222250 h 353631"/>
                <a:gd name="connsiteX51" fmla="*/ 87313 w 550863"/>
                <a:gd name="connsiteY51" fmla="*/ 225425 h 353631"/>
                <a:gd name="connsiteX52" fmla="*/ 101600 w 550863"/>
                <a:gd name="connsiteY52" fmla="*/ 233362 h 353631"/>
                <a:gd name="connsiteX53" fmla="*/ 103188 w 550863"/>
                <a:gd name="connsiteY53" fmla="*/ 252412 h 353631"/>
                <a:gd name="connsiteX54" fmla="*/ 104775 w 550863"/>
                <a:gd name="connsiteY54" fmla="*/ 284162 h 353631"/>
                <a:gd name="connsiteX55" fmla="*/ 109538 w 550863"/>
                <a:gd name="connsiteY55" fmla="*/ 287337 h 353631"/>
                <a:gd name="connsiteX56" fmla="*/ 111125 w 550863"/>
                <a:gd name="connsiteY56" fmla="*/ 296862 h 353631"/>
                <a:gd name="connsiteX57" fmla="*/ 112713 w 550863"/>
                <a:gd name="connsiteY57" fmla="*/ 301625 h 353631"/>
                <a:gd name="connsiteX58" fmla="*/ 111125 w 550863"/>
                <a:gd name="connsiteY58" fmla="*/ 307975 h 353631"/>
                <a:gd name="connsiteX59" fmla="*/ 115888 w 550863"/>
                <a:gd name="connsiteY59" fmla="*/ 314325 h 353631"/>
                <a:gd name="connsiteX60" fmla="*/ 122238 w 550863"/>
                <a:gd name="connsiteY60" fmla="*/ 315912 h 353631"/>
                <a:gd name="connsiteX61" fmla="*/ 125413 w 550863"/>
                <a:gd name="connsiteY61" fmla="*/ 325437 h 353631"/>
                <a:gd name="connsiteX62" fmla="*/ 127000 w 550863"/>
                <a:gd name="connsiteY62" fmla="*/ 334962 h 353631"/>
                <a:gd name="connsiteX63" fmla="*/ 142875 w 550863"/>
                <a:gd name="connsiteY63" fmla="*/ 336550 h 353631"/>
                <a:gd name="connsiteX64" fmla="*/ 149225 w 550863"/>
                <a:gd name="connsiteY64" fmla="*/ 328612 h 353631"/>
                <a:gd name="connsiteX65" fmla="*/ 152400 w 550863"/>
                <a:gd name="connsiteY65" fmla="*/ 323850 h 353631"/>
                <a:gd name="connsiteX66" fmla="*/ 158750 w 550863"/>
                <a:gd name="connsiteY66" fmla="*/ 327025 h 353631"/>
                <a:gd name="connsiteX67" fmla="*/ 168275 w 550863"/>
                <a:gd name="connsiteY67" fmla="*/ 334962 h 353631"/>
                <a:gd name="connsiteX68" fmla="*/ 173038 w 550863"/>
                <a:gd name="connsiteY68" fmla="*/ 328612 h 353631"/>
                <a:gd name="connsiteX69" fmla="*/ 179388 w 550863"/>
                <a:gd name="connsiteY69" fmla="*/ 323850 h 353631"/>
                <a:gd name="connsiteX70" fmla="*/ 190500 w 550863"/>
                <a:gd name="connsiteY70" fmla="*/ 320675 h 353631"/>
                <a:gd name="connsiteX71" fmla="*/ 200025 w 550863"/>
                <a:gd name="connsiteY71" fmla="*/ 325437 h 353631"/>
                <a:gd name="connsiteX72" fmla="*/ 209550 w 550863"/>
                <a:gd name="connsiteY72" fmla="*/ 327025 h 353631"/>
                <a:gd name="connsiteX73" fmla="*/ 211138 w 550863"/>
                <a:gd name="connsiteY73" fmla="*/ 331787 h 353631"/>
                <a:gd name="connsiteX74" fmla="*/ 212725 w 550863"/>
                <a:gd name="connsiteY74" fmla="*/ 338137 h 353631"/>
                <a:gd name="connsiteX75" fmla="*/ 225425 w 550863"/>
                <a:gd name="connsiteY75" fmla="*/ 336550 h 353631"/>
                <a:gd name="connsiteX76" fmla="*/ 227013 w 550863"/>
                <a:gd name="connsiteY76" fmla="*/ 331787 h 353631"/>
                <a:gd name="connsiteX77" fmla="*/ 231775 w 550863"/>
                <a:gd name="connsiteY77" fmla="*/ 327025 h 353631"/>
                <a:gd name="connsiteX78" fmla="*/ 234950 w 550863"/>
                <a:gd name="connsiteY78" fmla="*/ 319087 h 353631"/>
                <a:gd name="connsiteX79" fmla="*/ 239713 w 550863"/>
                <a:gd name="connsiteY79" fmla="*/ 315912 h 353631"/>
                <a:gd name="connsiteX80" fmla="*/ 254000 w 550863"/>
                <a:gd name="connsiteY80" fmla="*/ 306387 h 353631"/>
                <a:gd name="connsiteX81" fmla="*/ 252413 w 550863"/>
                <a:gd name="connsiteY81" fmla="*/ 292100 h 353631"/>
                <a:gd name="connsiteX82" fmla="*/ 254000 w 550863"/>
                <a:gd name="connsiteY82" fmla="*/ 276225 h 353631"/>
                <a:gd name="connsiteX83" fmla="*/ 258763 w 550863"/>
                <a:gd name="connsiteY83" fmla="*/ 269875 h 353631"/>
                <a:gd name="connsiteX84" fmla="*/ 269875 w 550863"/>
                <a:gd name="connsiteY84" fmla="*/ 258762 h 353631"/>
                <a:gd name="connsiteX85" fmla="*/ 274638 w 550863"/>
                <a:gd name="connsiteY85" fmla="*/ 254000 h 353631"/>
                <a:gd name="connsiteX86" fmla="*/ 280988 w 550863"/>
                <a:gd name="connsiteY86" fmla="*/ 250825 h 353631"/>
                <a:gd name="connsiteX87" fmla="*/ 285750 w 550863"/>
                <a:gd name="connsiteY87" fmla="*/ 249237 h 353631"/>
                <a:gd name="connsiteX88" fmla="*/ 295275 w 550863"/>
                <a:gd name="connsiteY88" fmla="*/ 244475 h 353631"/>
                <a:gd name="connsiteX89" fmla="*/ 301625 w 550863"/>
                <a:gd name="connsiteY89" fmla="*/ 271462 h 353631"/>
                <a:gd name="connsiteX90" fmla="*/ 311150 w 550863"/>
                <a:gd name="connsiteY90" fmla="*/ 282575 h 353631"/>
                <a:gd name="connsiteX91" fmla="*/ 314325 w 550863"/>
                <a:gd name="connsiteY91" fmla="*/ 287337 h 353631"/>
                <a:gd name="connsiteX92" fmla="*/ 315913 w 550863"/>
                <a:gd name="connsiteY92" fmla="*/ 292100 h 353631"/>
                <a:gd name="connsiteX93" fmla="*/ 320675 w 550863"/>
                <a:gd name="connsiteY93" fmla="*/ 295275 h 353631"/>
                <a:gd name="connsiteX94" fmla="*/ 339725 w 550863"/>
                <a:gd name="connsiteY94" fmla="*/ 298450 h 353631"/>
                <a:gd name="connsiteX95" fmla="*/ 344488 w 550863"/>
                <a:gd name="connsiteY95" fmla="*/ 303212 h 353631"/>
                <a:gd name="connsiteX96" fmla="*/ 349250 w 550863"/>
                <a:gd name="connsiteY96" fmla="*/ 315912 h 353631"/>
                <a:gd name="connsiteX97" fmla="*/ 350838 w 550863"/>
                <a:gd name="connsiteY97" fmla="*/ 325437 h 353631"/>
                <a:gd name="connsiteX98" fmla="*/ 355600 w 550863"/>
                <a:gd name="connsiteY98" fmla="*/ 331787 h 353631"/>
                <a:gd name="connsiteX99" fmla="*/ 358775 w 550863"/>
                <a:gd name="connsiteY99" fmla="*/ 336550 h 353631"/>
                <a:gd name="connsiteX100" fmla="*/ 366713 w 550863"/>
                <a:gd name="connsiteY100" fmla="*/ 349250 h 353631"/>
                <a:gd name="connsiteX101" fmla="*/ 380999 w 550863"/>
                <a:gd name="connsiteY101" fmla="*/ 353219 h 353631"/>
                <a:gd name="connsiteX102" fmla="*/ 388938 w 550863"/>
                <a:gd name="connsiteY102" fmla="*/ 338137 h 353631"/>
                <a:gd name="connsiteX103" fmla="*/ 373063 w 550863"/>
                <a:gd name="connsiteY103" fmla="*/ 312737 h 353631"/>
                <a:gd name="connsiteX104" fmla="*/ 374650 w 550863"/>
                <a:gd name="connsiteY104" fmla="*/ 307975 h 353631"/>
                <a:gd name="connsiteX105" fmla="*/ 377825 w 550863"/>
                <a:gd name="connsiteY105" fmla="*/ 303212 h 353631"/>
                <a:gd name="connsiteX106" fmla="*/ 384175 w 550863"/>
                <a:gd name="connsiteY106" fmla="*/ 298450 h 353631"/>
                <a:gd name="connsiteX107" fmla="*/ 396875 w 550863"/>
                <a:gd name="connsiteY107" fmla="*/ 290512 h 353631"/>
                <a:gd name="connsiteX108" fmla="*/ 401638 w 550863"/>
                <a:gd name="connsiteY108" fmla="*/ 287337 h 353631"/>
                <a:gd name="connsiteX109" fmla="*/ 406400 w 550863"/>
                <a:gd name="connsiteY109" fmla="*/ 280987 h 353631"/>
                <a:gd name="connsiteX110" fmla="*/ 411163 w 550863"/>
                <a:gd name="connsiteY110" fmla="*/ 276225 h 353631"/>
                <a:gd name="connsiteX111" fmla="*/ 412750 w 550863"/>
                <a:gd name="connsiteY111" fmla="*/ 260350 h 353631"/>
                <a:gd name="connsiteX112" fmla="*/ 414338 w 550863"/>
                <a:gd name="connsiteY112" fmla="*/ 236537 h 353631"/>
                <a:gd name="connsiteX113" fmla="*/ 428625 w 550863"/>
                <a:gd name="connsiteY113" fmla="*/ 239712 h 353631"/>
                <a:gd name="connsiteX114" fmla="*/ 430213 w 550863"/>
                <a:gd name="connsiteY114" fmla="*/ 246062 h 353631"/>
                <a:gd name="connsiteX115" fmla="*/ 433388 w 550863"/>
                <a:gd name="connsiteY115" fmla="*/ 250825 h 353631"/>
                <a:gd name="connsiteX116" fmla="*/ 434975 w 550863"/>
                <a:gd name="connsiteY116" fmla="*/ 260350 h 353631"/>
                <a:gd name="connsiteX117" fmla="*/ 447675 w 550863"/>
                <a:gd name="connsiteY117" fmla="*/ 271462 h 353631"/>
                <a:gd name="connsiteX118" fmla="*/ 460375 w 550863"/>
                <a:gd name="connsiteY118" fmla="*/ 266700 h 353631"/>
                <a:gd name="connsiteX119" fmla="*/ 461963 w 550863"/>
                <a:gd name="connsiteY119" fmla="*/ 261937 h 353631"/>
                <a:gd name="connsiteX120" fmla="*/ 468313 w 550863"/>
                <a:gd name="connsiteY120" fmla="*/ 260350 h 353631"/>
                <a:gd name="connsiteX121" fmla="*/ 476250 w 550863"/>
                <a:gd name="connsiteY121" fmla="*/ 258762 h 353631"/>
                <a:gd name="connsiteX122" fmla="*/ 481013 w 550863"/>
                <a:gd name="connsiteY122" fmla="*/ 255587 h 353631"/>
                <a:gd name="connsiteX123" fmla="*/ 488950 w 550863"/>
                <a:gd name="connsiteY123" fmla="*/ 261937 h 353631"/>
                <a:gd name="connsiteX124" fmla="*/ 492125 w 550863"/>
                <a:gd name="connsiteY124" fmla="*/ 268287 h 353631"/>
                <a:gd name="connsiteX125" fmla="*/ 496888 w 550863"/>
                <a:gd name="connsiteY125" fmla="*/ 271462 h 353631"/>
                <a:gd name="connsiteX126" fmla="*/ 501650 w 550863"/>
                <a:gd name="connsiteY126" fmla="*/ 276225 h 353631"/>
                <a:gd name="connsiteX127" fmla="*/ 509588 w 550863"/>
                <a:gd name="connsiteY127" fmla="*/ 292100 h 353631"/>
                <a:gd name="connsiteX128" fmla="*/ 509588 w 550863"/>
                <a:gd name="connsiteY128" fmla="*/ 252412 h 353631"/>
                <a:gd name="connsiteX129" fmla="*/ 504825 w 550863"/>
                <a:gd name="connsiteY129" fmla="*/ 246062 h 353631"/>
                <a:gd name="connsiteX130" fmla="*/ 501650 w 550863"/>
                <a:gd name="connsiteY130" fmla="*/ 239712 h 353631"/>
                <a:gd name="connsiteX131" fmla="*/ 503238 w 550863"/>
                <a:gd name="connsiteY131" fmla="*/ 227012 h 353631"/>
                <a:gd name="connsiteX132" fmla="*/ 509588 w 550863"/>
                <a:gd name="connsiteY132" fmla="*/ 217487 h 353631"/>
                <a:gd name="connsiteX133" fmla="*/ 511175 w 550863"/>
                <a:gd name="connsiteY133" fmla="*/ 211137 h 353631"/>
                <a:gd name="connsiteX134" fmla="*/ 519113 w 550863"/>
                <a:gd name="connsiteY134" fmla="*/ 214312 h 353631"/>
                <a:gd name="connsiteX135" fmla="*/ 523875 w 550863"/>
                <a:gd name="connsiteY135" fmla="*/ 215900 h 353631"/>
                <a:gd name="connsiteX136" fmla="*/ 534988 w 550863"/>
                <a:gd name="connsiteY136" fmla="*/ 222250 h 353631"/>
                <a:gd name="connsiteX137" fmla="*/ 538163 w 550863"/>
                <a:gd name="connsiteY137" fmla="*/ 227012 h 353631"/>
                <a:gd name="connsiteX138" fmla="*/ 550863 w 550863"/>
                <a:gd name="connsiteY138" fmla="*/ 227012 h 353631"/>
                <a:gd name="connsiteX139" fmla="*/ 549275 w 550863"/>
                <a:gd name="connsiteY139" fmla="*/ 212725 h 353631"/>
                <a:gd name="connsiteX140" fmla="*/ 544513 w 550863"/>
                <a:gd name="connsiteY140" fmla="*/ 207962 h 353631"/>
                <a:gd name="connsiteX141" fmla="*/ 541338 w 550863"/>
                <a:gd name="connsiteY141" fmla="*/ 195262 h 353631"/>
                <a:gd name="connsiteX142" fmla="*/ 539750 w 550863"/>
                <a:gd name="connsiteY142" fmla="*/ 169862 h 353631"/>
                <a:gd name="connsiteX143" fmla="*/ 530225 w 550863"/>
                <a:gd name="connsiteY143" fmla="*/ 166687 h 353631"/>
                <a:gd name="connsiteX144" fmla="*/ 495300 w 550863"/>
                <a:gd name="connsiteY144" fmla="*/ 165100 h 353631"/>
                <a:gd name="connsiteX145" fmla="*/ 493713 w 550863"/>
                <a:gd name="connsiteY145" fmla="*/ 160337 h 353631"/>
                <a:gd name="connsiteX146" fmla="*/ 484188 w 550863"/>
                <a:gd name="connsiteY146" fmla="*/ 152400 h 353631"/>
                <a:gd name="connsiteX147" fmla="*/ 481013 w 550863"/>
                <a:gd name="connsiteY147" fmla="*/ 144462 h 353631"/>
                <a:gd name="connsiteX148" fmla="*/ 460375 w 550863"/>
                <a:gd name="connsiteY148" fmla="*/ 139700 h 353631"/>
                <a:gd name="connsiteX149" fmla="*/ 452438 w 550863"/>
                <a:gd name="connsiteY149" fmla="*/ 134937 h 353631"/>
                <a:gd name="connsiteX150" fmla="*/ 447675 w 550863"/>
                <a:gd name="connsiteY150" fmla="*/ 127000 h 353631"/>
                <a:gd name="connsiteX151" fmla="*/ 434975 w 550863"/>
                <a:gd name="connsiteY151" fmla="*/ 125412 h 353631"/>
                <a:gd name="connsiteX152" fmla="*/ 436563 w 550863"/>
                <a:gd name="connsiteY152" fmla="*/ 120650 h 353631"/>
                <a:gd name="connsiteX153" fmla="*/ 436563 w 550863"/>
                <a:gd name="connsiteY153" fmla="*/ 98425 h 353631"/>
                <a:gd name="connsiteX154" fmla="*/ 430213 w 550863"/>
                <a:gd name="connsiteY154" fmla="*/ 92075 h 353631"/>
                <a:gd name="connsiteX155" fmla="*/ 436563 w 550863"/>
                <a:gd name="connsiteY155" fmla="*/ 88900 h 353631"/>
                <a:gd name="connsiteX156" fmla="*/ 452438 w 550863"/>
                <a:gd name="connsiteY156" fmla="*/ 87312 h 353631"/>
                <a:gd name="connsiteX157" fmla="*/ 454025 w 550863"/>
                <a:gd name="connsiteY157" fmla="*/ 79375 h 353631"/>
                <a:gd name="connsiteX158" fmla="*/ 452438 w 550863"/>
                <a:gd name="connsiteY158" fmla="*/ 74612 h 353631"/>
                <a:gd name="connsiteX159" fmla="*/ 442913 w 550863"/>
                <a:gd name="connsiteY159" fmla="*/ 60325 h 353631"/>
                <a:gd name="connsiteX160" fmla="*/ 438150 w 550863"/>
                <a:gd name="connsiteY160" fmla="*/ 47625 h 353631"/>
                <a:gd name="connsiteX161" fmla="*/ 430213 w 550863"/>
                <a:gd name="connsiteY161" fmla="*/ 46037 h 353631"/>
                <a:gd name="connsiteX162" fmla="*/ 423863 w 550863"/>
                <a:gd name="connsiteY162" fmla="*/ 39687 h 353631"/>
                <a:gd name="connsiteX163" fmla="*/ 411163 w 550863"/>
                <a:gd name="connsiteY163" fmla="*/ 34925 h 353631"/>
                <a:gd name="connsiteX164" fmla="*/ 401638 w 550863"/>
                <a:gd name="connsiteY164" fmla="*/ 26987 h 353631"/>
                <a:gd name="connsiteX165" fmla="*/ 392113 w 550863"/>
                <a:gd name="connsiteY165" fmla="*/ 23812 h 353631"/>
                <a:gd name="connsiteX166" fmla="*/ 387350 w 550863"/>
                <a:gd name="connsiteY166" fmla="*/ 19050 h 353631"/>
                <a:gd name="connsiteX167" fmla="*/ 377825 w 550863"/>
                <a:gd name="connsiteY167" fmla="*/ 15875 h 353631"/>
                <a:gd name="connsiteX168" fmla="*/ 363538 w 550863"/>
                <a:gd name="connsiteY168" fmla="*/ 17462 h 353631"/>
                <a:gd name="connsiteX169" fmla="*/ 354013 w 550863"/>
                <a:gd name="connsiteY169" fmla="*/ 19050 h 353631"/>
                <a:gd name="connsiteX170" fmla="*/ 342900 w 550863"/>
                <a:gd name="connsiteY170" fmla="*/ 7937 h 353631"/>
                <a:gd name="connsiteX171" fmla="*/ 328613 w 550863"/>
                <a:gd name="connsiteY171" fmla="*/ 0 h 353631"/>
                <a:gd name="connsiteX172" fmla="*/ 312738 w 550863"/>
                <a:gd name="connsiteY172" fmla="*/ 1587 h 353631"/>
                <a:gd name="connsiteX173" fmla="*/ 306388 w 550863"/>
                <a:gd name="connsiteY173" fmla="*/ 9525 h 353631"/>
                <a:gd name="connsiteX174" fmla="*/ 311150 w 550863"/>
                <a:gd name="connsiteY174" fmla="*/ 11112 h 353631"/>
                <a:gd name="connsiteX175" fmla="*/ 315913 w 550863"/>
                <a:gd name="connsiteY175" fmla="*/ 15875 h 353631"/>
                <a:gd name="connsiteX176" fmla="*/ 339725 w 550863"/>
                <a:gd name="connsiteY176" fmla="*/ 14287 h 353631"/>
                <a:gd name="connsiteX177" fmla="*/ 338138 w 550863"/>
                <a:gd name="connsiteY177" fmla="*/ 15875 h 353631"/>
                <a:gd name="connsiteX178" fmla="*/ 334963 w 550863"/>
                <a:gd name="connsiteY178" fmla="*/ 22225 h 353631"/>
                <a:gd name="connsiteX179" fmla="*/ 328613 w 550863"/>
                <a:gd name="connsiteY179" fmla="*/ 23812 h 353631"/>
                <a:gd name="connsiteX180" fmla="*/ 323850 w 550863"/>
                <a:gd name="connsiteY180" fmla="*/ 26987 h 353631"/>
                <a:gd name="connsiteX181" fmla="*/ 314325 w 550863"/>
                <a:gd name="connsiteY181" fmla="*/ 34925 h 353631"/>
                <a:gd name="connsiteX182" fmla="*/ 306388 w 550863"/>
                <a:gd name="connsiteY182" fmla="*/ 36512 h 353631"/>
                <a:gd name="connsiteX183" fmla="*/ 296863 w 550863"/>
                <a:gd name="connsiteY183" fmla="*/ 33337 h 353631"/>
                <a:gd name="connsiteX184" fmla="*/ 292100 w 550863"/>
                <a:gd name="connsiteY184" fmla="*/ 30162 h 353631"/>
                <a:gd name="connsiteX185" fmla="*/ 282575 w 550863"/>
                <a:gd name="connsiteY185" fmla="*/ 28575 h 353631"/>
                <a:gd name="connsiteX186" fmla="*/ 271463 w 550863"/>
                <a:gd name="connsiteY186" fmla="*/ 23812 h 353631"/>
                <a:gd name="connsiteX187" fmla="*/ 265113 w 550863"/>
                <a:gd name="connsiteY187" fmla="*/ 25400 h 353631"/>
                <a:gd name="connsiteX188" fmla="*/ 246063 w 550863"/>
                <a:gd name="connsiteY188" fmla="*/ 38100 h 353631"/>
                <a:gd name="connsiteX189" fmla="*/ 231775 w 550863"/>
                <a:gd name="connsiteY189" fmla="*/ 36512 h 353631"/>
                <a:gd name="connsiteX190" fmla="*/ 222250 w 550863"/>
                <a:gd name="connsiteY190" fmla="*/ 33337 h 353631"/>
                <a:gd name="connsiteX191" fmla="*/ 211138 w 550863"/>
                <a:gd name="connsiteY191" fmla="*/ 26987 h 353631"/>
                <a:gd name="connsiteX0" fmla="*/ 211138 w 550863"/>
                <a:gd name="connsiteY0" fmla="*/ 26987 h 353631"/>
                <a:gd name="connsiteX1" fmla="*/ 206375 w 550863"/>
                <a:gd name="connsiteY1" fmla="*/ 34925 h 353631"/>
                <a:gd name="connsiteX2" fmla="*/ 196850 w 550863"/>
                <a:gd name="connsiteY2" fmla="*/ 42862 h 353631"/>
                <a:gd name="connsiteX3" fmla="*/ 192088 w 550863"/>
                <a:gd name="connsiteY3" fmla="*/ 47625 h 353631"/>
                <a:gd name="connsiteX4" fmla="*/ 180975 w 550863"/>
                <a:gd name="connsiteY4" fmla="*/ 57150 h 353631"/>
                <a:gd name="connsiteX5" fmla="*/ 174625 w 550863"/>
                <a:gd name="connsiteY5" fmla="*/ 61912 h 353631"/>
                <a:gd name="connsiteX6" fmla="*/ 166688 w 550863"/>
                <a:gd name="connsiteY6" fmla="*/ 58737 h 353631"/>
                <a:gd name="connsiteX7" fmla="*/ 161925 w 550863"/>
                <a:gd name="connsiteY7" fmla="*/ 57150 h 353631"/>
                <a:gd name="connsiteX8" fmla="*/ 155575 w 550863"/>
                <a:gd name="connsiteY8" fmla="*/ 53975 h 353631"/>
                <a:gd name="connsiteX9" fmla="*/ 134938 w 550863"/>
                <a:gd name="connsiteY9" fmla="*/ 47625 h 353631"/>
                <a:gd name="connsiteX10" fmla="*/ 127000 w 550863"/>
                <a:gd name="connsiteY10" fmla="*/ 60325 h 353631"/>
                <a:gd name="connsiteX11" fmla="*/ 120650 w 550863"/>
                <a:gd name="connsiteY11" fmla="*/ 63500 h 353631"/>
                <a:gd name="connsiteX12" fmla="*/ 114300 w 550863"/>
                <a:gd name="connsiteY12" fmla="*/ 68262 h 353631"/>
                <a:gd name="connsiteX13" fmla="*/ 128588 w 550863"/>
                <a:gd name="connsiteY13" fmla="*/ 73025 h 353631"/>
                <a:gd name="connsiteX14" fmla="*/ 131763 w 550863"/>
                <a:gd name="connsiteY14" fmla="*/ 79375 h 353631"/>
                <a:gd name="connsiteX15" fmla="*/ 127000 w 550863"/>
                <a:gd name="connsiteY15" fmla="*/ 90487 h 353631"/>
                <a:gd name="connsiteX16" fmla="*/ 117475 w 550863"/>
                <a:gd name="connsiteY16" fmla="*/ 100012 h 353631"/>
                <a:gd name="connsiteX17" fmla="*/ 109538 w 550863"/>
                <a:gd name="connsiteY17" fmla="*/ 103187 h 353631"/>
                <a:gd name="connsiteX18" fmla="*/ 104775 w 550863"/>
                <a:gd name="connsiteY18" fmla="*/ 109537 h 353631"/>
                <a:gd name="connsiteX19" fmla="*/ 96838 w 550863"/>
                <a:gd name="connsiteY19" fmla="*/ 112712 h 353631"/>
                <a:gd name="connsiteX20" fmla="*/ 92075 w 550863"/>
                <a:gd name="connsiteY20" fmla="*/ 115887 h 353631"/>
                <a:gd name="connsiteX21" fmla="*/ 84138 w 550863"/>
                <a:gd name="connsiteY21" fmla="*/ 128587 h 353631"/>
                <a:gd name="connsiteX22" fmla="*/ 79375 w 550863"/>
                <a:gd name="connsiteY22" fmla="*/ 133350 h 353631"/>
                <a:gd name="connsiteX23" fmla="*/ 71438 w 550863"/>
                <a:gd name="connsiteY23" fmla="*/ 141287 h 353631"/>
                <a:gd name="connsiteX24" fmla="*/ 63500 w 550863"/>
                <a:gd name="connsiteY24" fmla="*/ 149225 h 353631"/>
                <a:gd name="connsiteX25" fmla="*/ 58738 w 550863"/>
                <a:gd name="connsiteY25" fmla="*/ 155575 h 353631"/>
                <a:gd name="connsiteX26" fmla="*/ 57150 w 550863"/>
                <a:gd name="connsiteY26" fmla="*/ 160337 h 353631"/>
                <a:gd name="connsiteX27" fmla="*/ 55563 w 550863"/>
                <a:gd name="connsiteY27" fmla="*/ 166687 h 353631"/>
                <a:gd name="connsiteX28" fmla="*/ 52388 w 550863"/>
                <a:gd name="connsiteY28" fmla="*/ 171450 h 353631"/>
                <a:gd name="connsiteX29" fmla="*/ 44450 w 550863"/>
                <a:gd name="connsiteY29" fmla="*/ 182562 h 353631"/>
                <a:gd name="connsiteX30" fmla="*/ 39688 w 550863"/>
                <a:gd name="connsiteY30" fmla="*/ 188912 h 353631"/>
                <a:gd name="connsiteX31" fmla="*/ 26988 w 550863"/>
                <a:gd name="connsiteY31" fmla="*/ 192087 h 353631"/>
                <a:gd name="connsiteX32" fmla="*/ 22225 w 550863"/>
                <a:gd name="connsiteY32" fmla="*/ 195262 h 353631"/>
                <a:gd name="connsiteX33" fmla="*/ 14288 w 550863"/>
                <a:gd name="connsiteY33" fmla="*/ 198437 h 353631"/>
                <a:gd name="connsiteX34" fmla="*/ 11113 w 550863"/>
                <a:gd name="connsiteY34" fmla="*/ 204787 h 353631"/>
                <a:gd name="connsiteX35" fmla="*/ 12700 w 550863"/>
                <a:gd name="connsiteY35" fmla="*/ 244475 h 353631"/>
                <a:gd name="connsiteX36" fmla="*/ 14288 w 550863"/>
                <a:gd name="connsiteY36" fmla="*/ 250825 h 353631"/>
                <a:gd name="connsiteX37" fmla="*/ 19050 w 550863"/>
                <a:gd name="connsiteY37" fmla="*/ 255587 h 353631"/>
                <a:gd name="connsiteX38" fmla="*/ 12700 w 550863"/>
                <a:gd name="connsiteY38" fmla="*/ 258762 h 353631"/>
                <a:gd name="connsiteX39" fmla="*/ 0 w 550863"/>
                <a:gd name="connsiteY39" fmla="*/ 271462 h 353631"/>
                <a:gd name="connsiteX40" fmla="*/ 3175 w 550863"/>
                <a:gd name="connsiteY40" fmla="*/ 276225 h 353631"/>
                <a:gd name="connsiteX41" fmla="*/ 11113 w 550863"/>
                <a:gd name="connsiteY41" fmla="*/ 279400 h 353631"/>
                <a:gd name="connsiteX42" fmla="*/ 23813 w 550863"/>
                <a:gd name="connsiteY42" fmla="*/ 276225 h 353631"/>
                <a:gd name="connsiteX43" fmla="*/ 28575 w 550863"/>
                <a:gd name="connsiteY43" fmla="*/ 268287 h 353631"/>
                <a:gd name="connsiteX44" fmla="*/ 28575 w 550863"/>
                <a:gd name="connsiteY44" fmla="*/ 242887 h 353631"/>
                <a:gd name="connsiteX45" fmla="*/ 34925 w 550863"/>
                <a:gd name="connsiteY45" fmla="*/ 239712 h 353631"/>
                <a:gd name="connsiteX46" fmla="*/ 49213 w 550863"/>
                <a:gd name="connsiteY46" fmla="*/ 236537 h 353631"/>
                <a:gd name="connsiteX47" fmla="*/ 57150 w 550863"/>
                <a:gd name="connsiteY47" fmla="*/ 228600 h 353631"/>
                <a:gd name="connsiteX48" fmla="*/ 58738 w 550863"/>
                <a:gd name="connsiteY48" fmla="*/ 223837 h 353631"/>
                <a:gd name="connsiteX49" fmla="*/ 66675 w 550863"/>
                <a:gd name="connsiteY49" fmla="*/ 217487 h 353631"/>
                <a:gd name="connsiteX50" fmla="*/ 77788 w 550863"/>
                <a:gd name="connsiteY50" fmla="*/ 222250 h 353631"/>
                <a:gd name="connsiteX51" fmla="*/ 87313 w 550863"/>
                <a:gd name="connsiteY51" fmla="*/ 225425 h 353631"/>
                <a:gd name="connsiteX52" fmla="*/ 101600 w 550863"/>
                <a:gd name="connsiteY52" fmla="*/ 233362 h 353631"/>
                <a:gd name="connsiteX53" fmla="*/ 103188 w 550863"/>
                <a:gd name="connsiteY53" fmla="*/ 252412 h 353631"/>
                <a:gd name="connsiteX54" fmla="*/ 104775 w 550863"/>
                <a:gd name="connsiteY54" fmla="*/ 284162 h 353631"/>
                <a:gd name="connsiteX55" fmla="*/ 109538 w 550863"/>
                <a:gd name="connsiteY55" fmla="*/ 287337 h 353631"/>
                <a:gd name="connsiteX56" fmla="*/ 111125 w 550863"/>
                <a:gd name="connsiteY56" fmla="*/ 296862 h 353631"/>
                <a:gd name="connsiteX57" fmla="*/ 112713 w 550863"/>
                <a:gd name="connsiteY57" fmla="*/ 301625 h 353631"/>
                <a:gd name="connsiteX58" fmla="*/ 111125 w 550863"/>
                <a:gd name="connsiteY58" fmla="*/ 307975 h 353631"/>
                <a:gd name="connsiteX59" fmla="*/ 115888 w 550863"/>
                <a:gd name="connsiteY59" fmla="*/ 314325 h 353631"/>
                <a:gd name="connsiteX60" fmla="*/ 122238 w 550863"/>
                <a:gd name="connsiteY60" fmla="*/ 315912 h 353631"/>
                <a:gd name="connsiteX61" fmla="*/ 125413 w 550863"/>
                <a:gd name="connsiteY61" fmla="*/ 325437 h 353631"/>
                <a:gd name="connsiteX62" fmla="*/ 127000 w 550863"/>
                <a:gd name="connsiteY62" fmla="*/ 334962 h 353631"/>
                <a:gd name="connsiteX63" fmla="*/ 142875 w 550863"/>
                <a:gd name="connsiteY63" fmla="*/ 336550 h 353631"/>
                <a:gd name="connsiteX64" fmla="*/ 149225 w 550863"/>
                <a:gd name="connsiteY64" fmla="*/ 328612 h 353631"/>
                <a:gd name="connsiteX65" fmla="*/ 152400 w 550863"/>
                <a:gd name="connsiteY65" fmla="*/ 323850 h 353631"/>
                <a:gd name="connsiteX66" fmla="*/ 158750 w 550863"/>
                <a:gd name="connsiteY66" fmla="*/ 327025 h 353631"/>
                <a:gd name="connsiteX67" fmla="*/ 168275 w 550863"/>
                <a:gd name="connsiteY67" fmla="*/ 334962 h 353631"/>
                <a:gd name="connsiteX68" fmla="*/ 173038 w 550863"/>
                <a:gd name="connsiteY68" fmla="*/ 328612 h 353631"/>
                <a:gd name="connsiteX69" fmla="*/ 179388 w 550863"/>
                <a:gd name="connsiteY69" fmla="*/ 323850 h 353631"/>
                <a:gd name="connsiteX70" fmla="*/ 190500 w 550863"/>
                <a:gd name="connsiteY70" fmla="*/ 320675 h 353631"/>
                <a:gd name="connsiteX71" fmla="*/ 200025 w 550863"/>
                <a:gd name="connsiteY71" fmla="*/ 325437 h 353631"/>
                <a:gd name="connsiteX72" fmla="*/ 209550 w 550863"/>
                <a:gd name="connsiteY72" fmla="*/ 327025 h 353631"/>
                <a:gd name="connsiteX73" fmla="*/ 211138 w 550863"/>
                <a:gd name="connsiteY73" fmla="*/ 331787 h 353631"/>
                <a:gd name="connsiteX74" fmla="*/ 212725 w 550863"/>
                <a:gd name="connsiteY74" fmla="*/ 338137 h 353631"/>
                <a:gd name="connsiteX75" fmla="*/ 225425 w 550863"/>
                <a:gd name="connsiteY75" fmla="*/ 336550 h 353631"/>
                <a:gd name="connsiteX76" fmla="*/ 227013 w 550863"/>
                <a:gd name="connsiteY76" fmla="*/ 331787 h 353631"/>
                <a:gd name="connsiteX77" fmla="*/ 231775 w 550863"/>
                <a:gd name="connsiteY77" fmla="*/ 327025 h 353631"/>
                <a:gd name="connsiteX78" fmla="*/ 234950 w 550863"/>
                <a:gd name="connsiteY78" fmla="*/ 319087 h 353631"/>
                <a:gd name="connsiteX79" fmla="*/ 239713 w 550863"/>
                <a:gd name="connsiteY79" fmla="*/ 315912 h 353631"/>
                <a:gd name="connsiteX80" fmla="*/ 254000 w 550863"/>
                <a:gd name="connsiteY80" fmla="*/ 306387 h 353631"/>
                <a:gd name="connsiteX81" fmla="*/ 252413 w 550863"/>
                <a:gd name="connsiteY81" fmla="*/ 292100 h 353631"/>
                <a:gd name="connsiteX82" fmla="*/ 254000 w 550863"/>
                <a:gd name="connsiteY82" fmla="*/ 276225 h 353631"/>
                <a:gd name="connsiteX83" fmla="*/ 258763 w 550863"/>
                <a:gd name="connsiteY83" fmla="*/ 269875 h 353631"/>
                <a:gd name="connsiteX84" fmla="*/ 269875 w 550863"/>
                <a:gd name="connsiteY84" fmla="*/ 258762 h 353631"/>
                <a:gd name="connsiteX85" fmla="*/ 274638 w 550863"/>
                <a:gd name="connsiteY85" fmla="*/ 254000 h 353631"/>
                <a:gd name="connsiteX86" fmla="*/ 280988 w 550863"/>
                <a:gd name="connsiteY86" fmla="*/ 250825 h 353631"/>
                <a:gd name="connsiteX87" fmla="*/ 285750 w 550863"/>
                <a:gd name="connsiteY87" fmla="*/ 249237 h 353631"/>
                <a:gd name="connsiteX88" fmla="*/ 295275 w 550863"/>
                <a:gd name="connsiteY88" fmla="*/ 244475 h 353631"/>
                <a:gd name="connsiteX89" fmla="*/ 301625 w 550863"/>
                <a:gd name="connsiteY89" fmla="*/ 271462 h 353631"/>
                <a:gd name="connsiteX90" fmla="*/ 311150 w 550863"/>
                <a:gd name="connsiteY90" fmla="*/ 282575 h 353631"/>
                <a:gd name="connsiteX91" fmla="*/ 314325 w 550863"/>
                <a:gd name="connsiteY91" fmla="*/ 287337 h 353631"/>
                <a:gd name="connsiteX92" fmla="*/ 315913 w 550863"/>
                <a:gd name="connsiteY92" fmla="*/ 292100 h 353631"/>
                <a:gd name="connsiteX93" fmla="*/ 320675 w 550863"/>
                <a:gd name="connsiteY93" fmla="*/ 295275 h 353631"/>
                <a:gd name="connsiteX94" fmla="*/ 339725 w 550863"/>
                <a:gd name="connsiteY94" fmla="*/ 298450 h 353631"/>
                <a:gd name="connsiteX95" fmla="*/ 344488 w 550863"/>
                <a:gd name="connsiteY95" fmla="*/ 303212 h 353631"/>
                <a:gd name="connsiteX96" fmla="*/ 349250 w 550863"/>
                <a:gd name="connsiteY96" fmla="*/ 315912 h 353631"/>
                <a:gd name="connsiteX97" fmla="*/ 350838 w 550863"/>
                <a:gd name="connsiteY97" fmla="*/ 325437 h 353631"/>
                <a:gd name="connsiteX98" fmla="*/ 355600 w 550863"/>
                <a:gd name="connsiteY98" fmla="*/ 331787 h 353631"/>
                <a:gd name="connsiteX99" fmla="*/ 358775 w 550863"/>
                <a:gd name="connsiteY99" fmla="*/ 336550 h 353631"/>
                <a:gd name="connsiteX100" fmla="*/ 366713 w 550863"/>
                <a:gd name="connsiteY100" fmla="*/ 349250 h 353631"/>
                <a:gd name="connsiteX101" fmla="*/ 380999 w 550863"/>
                <a:gd name="connsiteY101" fmla="*/ 353219 h 353631"/>
                <a:gd name="connsiteX102" fmla="*/ 388938 w 550863"/>
                <a:gd name="connsiteY102" fmla="*/ 338137 h 353631"/>
                <a:gd name="connsiteX103" fmla="*/ 373063 w 550863"/>
                <a:gd name="connsiteY103" fmla="*/ 312737 h 353631"/>
                <a:gd name="connsiteX104" fmla="*/ 374650 w 550863"/>
                <a:gd name="connsiteY104" fmla="*/ 307975 h 353631"/>
                <a:gd name="connsiteX105" fmla="*/ 377825 w 550863"/>
                <a:gd name="connsiteY105" fmla="*/ 303212 h 353631"/>
                <a:gd name="connsiteX106" fmla="*/ 384175 w 550863"/>
                <a:gd name="connsiteY106" fmla="*/ 298450 h 353631"/>
                <a:gd name="connsiteX107" fmla="*/ 396875 w 550863"/>
                <a:gd name="connsiteY107" fmla="*/ 290512 h 353631"/>
                <a:gd name="connsiteX108" fmla="*/ 401638 w 550863"/>
                <a:gd name="connsiteY108" fmla="*/ 287337 h 353631"/>
                <a:gd name="connsiteX109" fmla="*/ 406400 w 550863"/>
                <a:gd name="connsiteY109" fmla="*/ 280987 h 353631"/>
                <a:gd name="connsiteX110" fmla="*/ 411163 w 550863"/>
                <a:gd name="connsiteY110" fmla="*/ 276225 h 353631"/>
                <a:gd name="connsiteX111" fmla="*/ 412750 w 550863"/>
                <a:gd name="connsiteY111" fmla="*/ 260350 h 353631"/>
                <a:gd name="connsiteX112" fmla="*/ 414338 w 550863"/>
                <a:gd name="connsiteY112" fmla="*/ 236537 h 353631"/>
                <a:gd name="connsiteX113" fmla="*/ 428625 w 550863"/>
                <a:gd name="connsiteY113" fmla="*/ 239712 h 353631"/>
                <a:gd name="connsiteX114" fmla="*/ 430213 w 550863"/>
                <a:gd name="connsiteY114" fmla="*/ 246062 h 353631"/>
                <a:gd name="connsiteX115" fmla="*/ 433388 w 550863"/>
                <a:gd name="connsiteY115" fmla="*/ 250825 h 353631"/>
                <a:gd name="connsiteX116" fmla="*/ 434975 w 550863"/>
                <a:gd name="connsiteY116" fmla="*/ 260350 h 353631"/>
                <a:gd name="connsiteX117" fmla="*/ 447675 w 550863"/>
                <a:gd name="connsiteY117" fmla="*/ 271462 h 353631"/>
                <a:gd name="connsiteX118" fmla="*/ 460375 w 550863"/>
                <a:gd name="connsiteY118" fmla="*/ 266700 h 353631"/>
                <a:gd name="connsiteX119" fmla="*/ 461963 w 550863"/>
                <a:gd name="connsiteY119" fmla="*/ 261937 h 353631"/>
                <a:gd name="connsiteX120" fmla="*/ 468313 w 550863"/>
                <a:gd name="connsiteY120" fmla="*/ 260350 h 353631"/>
                <a:gd name="connsiteX121" fmla="*/ 476250 w 550863"/>
                <a:gd name="connsiteY121" fmla="*/ 258762 h 353631"/>
                <a:gd name="connsiteX122" fmla="*/ 481013 w 550863"/>
                <a:gd name="connsiteY122" fmla="*/ 255587 h 353631"/>
                <a:gd name="connsiteX123" fmla="*/ 488950 w 550863"/>
                <a:gd name="connsiteY123" fmla="*/ 261937 h 353631"/>
                <a:gd name="connsiteX124" fmla="*/ 492125 w 550863"/>
                <a:gd name="connsiteY124" fmla="*/ 268287 h 353631"/>
                <a:gd name="connsiteX125" fmla="*/ 496888 w 550863"/>
                <a:gd name="connsiteY125" fmla="*/ 271462 h 353631"/>
                <a:gd name="connsiteX126" fmla="*/ 501650 w 550863"/>
                <a:gd name="connsiteY126" fmla="*/ 276225 h 353631"/>
                <a:gd name="connsiteX127" fmla="*/ 509588 w 550863"/>
                <a:gd name="connsiteY127" fmla="*/ 292100 h 353631"/>
                <a:gd name="connsiteX128" fmla="*/ 509588 w 550863"/>
                <a:gd name="connsiteY128" fmla="*/ 252412 h 353631"/>
                <a:gd name="connsiteX129" fmla="*/ 504825 w 550863"/>
                <a:gd name="connsiteY129" fmla="*/ 246062 h 353631"/>
                <a:gd name="connsiteX130" fmla="*/ 501650 w 550863"/>
                <a:gd name="connsiteY130" fmla="*/ 239712 h 353631"/>
                <a:gd name="connsiteX131" fmla="*/ 503238 w 550863"/>
                <a:gd name="connsiteY131" fmla="*/ 227012 h 353631"/>
                <a:gd name="connsiteX132" fmla="*/ 509588 w 550863"/>
                <a:gd name="connsiteY132" fmla="*/ 217487 h 353631"/>
                <a:gd name="connsiteX133" fmla="*/ 511175 w 550863"/>
                <a:gd name="connsiteY133" fmla="*/ 211137 h 353631"/>
                <a:gd name="connsiteX134" fmla="*/ 519113 w 550863"/>
                <a:gd name="connsiteY134" fmla="*/ 214312 h 353631"/>
                <a:gd name="connsiteX135" fmla="*/ 523875 w 550863"/>
                <a:gd name="connsiteY135" fmla="*/ 215900 h 353631"/>
                <a:gd name="connsiteX136" fmla="*/ 534988 w 550863"/>
                <a:gd name="connsiteY136" fmla="*/ 222250 h 353631"/>
                <a:gd name="connsiteX137" fmla="*/ 538163 w 550863"/>
                <a:gd name="connsiteY137" fmla="*/ 227012 h 353631"/>
                <a:gd name="connsiteX138" fmla="*/ 550863 w 550863"/>
                <a:gd name="connsiteY138" fmla="*/ 227012 h 353631"/>
                <a:gd name="connsiteX139" fmla="*/ 549275 w 550863"/>
                <a:gd name="connsiteY139" fmla="*/ 212725 h 353631"/>
                <a:gd name="connsiteX140" fmla="*/ 544513 w 550863"/>
                <a:gd name="connsiteY140" fmla="*/ 207962 h 353631"/>
                <a:gd name="connsiteX141" fmla="*/ 541338 w 550863"/>
                <a:gd name="connsiteY141" fmla="*/ 195262 h 353631"/>
                <a:gd name="connsiteX142" fmla="*/ 539750 w 550863"/>
                <a:gd name="connsiteY142" fmla="*/ 169862 h 353631"/>
                <a:gd name="connsiteX143" fmla="*/ 525145 w 550863"/>
                <a:gd name="connsiteY143" fmla="*/ 159067 h 353631"/>
                <a:gd name="connsiteX144" fmla="*/ 495300 w 550863"/>
                <a:gd name="connsiteY144" fmla="*/ 165100 h 353631"/>
                <a:gd name="connsiteX145" fmla="*/ 493713 w 550863"/>
                <a:gd name="connsiteY145" fmla="*/ 160337 h 353631"/>
                <a:gd name="connsiteX146" fmla="*/ 484188 w 550863"/>
                <a:gd name="connsiteY146" fmla="*/ 152400 h 353631"/>
                <a:gd name="connsiteX147" fmla="*/ 481013 w 550863"/>
                <a:gd name="connsiteY147" fmla="*/ 144462 h 353631"/>
                <a:gd name="connsiteX148" fmla="*/ 460375 w 550863"/>
                <a:gd name="connsiteY148" fmla="*/ 139700 h 353631"/>
                <a:gd name="connsiteX149" fmla="*/ 452438 w 550863"/>
                <a:gd name="connsiteY149" fmla="*/ 134937 h 353631"/>
                <a:gd name="connsiteX150" fmla="*/ 447675 w 550863"/>
                <a:gd name="connsiteY150" fmla="*/ 127000 h 353631"/>
                <a:gd name="connsiteX151" fmla="*/ 434975 w 550863"/>
                <a:gd name="connsiteY151" fmla="*/ 125412 h 353631"/>
                <a:gd name="connsiteX152" fmla="*/ 436563 w 550863"/>
                <a:gd name="connsiteY152" fmla="*/ 120650 h 353631"/>
                <a:gd name="connsiteX153" fmla="*/ 436563 w 550863"/>
                <a:gd name="connsiteY153" fmla="*/ 98425 h 353631"/>
                <a:gd name="connsiteX154" fmla="*/ 430213 w 550863"/>
                <a:gd name="connsiteY154" fmla="*/ 92075 h 353631"/>
                <a:gd name="connsiteX155" fmla="*/ 436563 w 550863"/>
                <a:gd name="connsiteY155" fmla="*/ 88900 h 353631"/>
                <a:gd name="connsiteX156" fmla="*/ 452438 w 550863"/>
                <a:gd name="connsiteY156" fmla="*/ 87312 h 353631"/>
                <a:gd name="connsiteX157" fmla="*/ 454025 w 550863"/>
                <a:gd name="connsiteY157" fmla="*/ 79375 h 353631"/>
                <a:gd name="connsiteX158" fmla="*/ 452438 w 550863"/>
                <a:gd name="connsiteY158" fmla="*/ 74612 h 353631"/>
                <a:gd name="connsiteX159" fmla="*/ 442913 w 550863"/>
                <a:gd name="connsiteY159" fmla="*/ 60325 h 353631"/>
                <a:gd name="connsiteX160" fmla="*/ 438150 w 550863"/>
                <a:gd name="connsiteY160" fmla="*/ 47625 h 353631"/>
                <a:gd name="connsiteX161" fmla="*/ 430213 w 550863"/>
                <a:gd name="connsiteY161" fmla="*/ 46037 h 353631"/>
                <a:gd name="connsiteX162" fmla="*/ 423863 w 550863"/>
                <a:gd name="connsiteY162" fmla="*/ 39687 h 353631"/>
                <a:gd name="connsiteX163" fmla="*/ 411163 w 550863"/>
                <a:gd name="connsiteY163" fmla="*/ 34925 h 353631"/>
                <a:gd name="connsiteX164" fmla="*/ 401638 w 550863"/>
                <a:gd name="connsiteY164" fmla="*/ 26987 h 353631"/>
                <a:gd name="connsiteX165" fmla="*/ 392113 w 550863"/>
                <a:gd name="connsiteY165" fmla="*/ 23812 h 353631"/>
                <a:gd name="connsiteX166" fmla="*/ 387350 w 550863"/>
                <a:gd name="connsiteY166" fmla="*/ 19050 h 353631"/>
                <a:gd name="connsiteX167" fmla="*/ 377825 w 550863"/>
                <a:gd name="connsiteY167" fmla="*/ 15875 h 353631"/>
                <a:gd name="connsiteX168" fmla="*/ 363538 w 550863"/>
                <a:gd name="connsiteY168" fmla="*/ 17462 h 353631"/>
                <a:gd name="connsiteX169" fmla="*/ 354013 w 550863"/>
                <a:gd name="connsiteY169" fmla="*/ 19050 h 353631"/>
                <a:gd name="connsiteX170" fmla="*/ 342900 w 550863"/>
                <a:gd name="connsiteY170" fmla="*/ 7937 h 353631"/>
                <a:gd name="connsiteX171" fmla="*/ 328613 w 550863"/>
                <a:gd name="connsiteY171" fmla="*/ 0 h 353631"/>
                <a:gd name="connsiteX172" fmla="*/ 312738 w 550863"/>
                <a:gd name="connsiteY172" fmla="*/ 1587 h 353631"/>
                <a:gd name="connsiteX173" fmla="*/ 306388 w 550863"/>
                <a:gd name="connsiteY173" fmla="*/ 9525 h 353631"/>
                <a:gd name="connsiteX174" fmla="*/ 311150 w 550863"/>
                <a:gd name="connsiteY174" fmla="*/ 11112 h 353631"/>
                <a:gd name="connsiteX175" fmla="*/ 315913 w 550863"/>
                <a:gd name="connsiteY175" fmla="*/ 15875 h 353631"/>
                <a:gd name="connsiteX176" fmla="*/ 339725 w 550863"/>
                <a:gd name="connsiteY176" fmla="*/ 14287 h 353631"/>
                <a:gd name="connsiteX177" fmla="*/ 338138 w 550863"/>
                <a:gd name="connsiteY177" fmla="*/ 15875 h 353631"/>
                <a:gd name="connsiteX178" fmla="*/ 334963 w 550863"/>
                <a:gd name="connsiteY178" fmla="*/ 22225 h 353631"/>
                <a:gd name="connsiteX179" fmla="*/ 328613 w 550863"/>
                <a:gd name="connsiteY179" fmla="*/ 23812 h 353631"/>
                <a:gd name="connsiteX180" fmla="*/ 323850 w 550863"/>
                <a:gd name="connsiteY180" fmla="*/ 26987 h 353631"/>
                <a:gd name="connsiteX181" fmla="*/ 314325 w 550863"/>
                <a:gd name="connsiteY181" fmla="*/ 34925 h 353631"/>
                <a:gd name="connsiteX182" fmla="*/ 306388 w 550863"/>
                <a:gd name="connsiteY182" fmla="*/ 36512 h 353631"/>
                <a:gd name="connsiteX183" fmla="*/ 296863 w 550863"/>
                <a:gd name="connsiteY183" fmla="*/ 33337 h 353631"/>
                <a:gd name="connsiteX184" fmla="*/ 292100 w 550863"/>
                <a:gd name="connsiteY184" fmla="*/ 30162 h 353631"/>
                <a:gd name="connsiteX185" fmla="*/ 282575 w 550863"/>
                <a:gd name="connsiteY185" fmla="*/ 28575 h 353631"/>
                <a:gd name="connsiteX186" fmla="*/ 271463 w 550863"/>
                <a:gd name="connsiteY186" fmla="*/ 23812 h 353631"/>
                <a:gd name="connsiteX187" fmla="*/ 265113 w 550863"/>
                <a:gd name="connsiteY187" fmla="*/ 25400 h 353631"/>
                <a:gd name="connsiteX188" fmla="*/ 246063 w 550863"/>
                <a:gd name="connsiteY188" fmla="*/ 38100 h 353631"/>
                <a:gd name="connsiteX189" fmla="*/ 231775 w 550863"/>
                <a:gd name="connsiteY189" fmla="*/ 36512 h 353631"/>
                <a:gd name="connsiteX190" fmla="*/ 222250 w 550863"/>
                <a:gd name="connsiteY190" fmla="*/ 33337 h 353631"/>
                <a:gd name="connsiteX191" fmla="*/ 211138 w 550863"/>
                <a:gd name="connsiteY191" fmla="*/ 26987 h 353631"/>
                <a:gd name="connsiteX0" fmla="*/ 211138 w 550863"/>
                <a:gd name="connsiteY0" fmla="*/ 26987 h 353631"/>
                <a:gd name="connsiteX1" fmla="*/ 206375 w 550863"/>
                <a:gd name="connsiteY1" fmla="*/ 34925 h 353631"/>
                <a:gd name="connsiteX2" fmla="*/ 196850 w 550863"/>
                <a:gd name="connsiteY2" fmla="*/ 42862 h 353631"/>
                <a:gd name="connsiteX3" fmla="*/ 192088 w 550863"/>
                <a:gd name="connsiteY3" fmla="*/ 47625 h 353631"/>
                <a:gd name="connsiteX4" fmla="*/ 180975 w 550863"/>
                <a:gd name="connsiteY4" fmla="*/ 57150 h 353631"/>
                <a:gd name="connsiteX5" fmla="*/ 174625 w 550863"/>
                <a:gd name="connsiteY5" fmla="*/ 61912 h 353631"/>
                <a:gd name="connsiteX6" fmla="*/ 166688 w 550863"/>
                <a:gd name="connsiteY6" fmla="*/ 58737 h 353631"/>
                <a:gd name="connsiteX7" fmla="*/ 161925 w 550863"/>
                <a:gd name="connsiteY7" fmla="*/ 57150 h 353631"/>
                <a:gd name="connsiteX8" fmla="*/ 155575 w 550863"/>
                <a:gd name="connsiteY8" fmla="*/ 53975 h 353631"/>
                <a:gd name="connsiteX9" fmla="*/ 134938 w 550863"/>
                <a:gd name="connsiteY9" fmla="*/ 47625 h 353631"/>
                <a:gd name="connsiteX10" fmla="*/ 127000 w 550863"/>
                <a:gd name="connsiteY10" fmla="*/ 60325 h 353631"/>
                <a:gd name="connsiteX11" fmla="*/ 120650 w 550863"/>
                <a:gd name="connsiteY11" fmla="*/ 63500 h 353631"/>
                <a:gd name="connsiteX12" fmla="*/ 114300 w 550863"/>
                <a:gd name="connsiteY12" fmla="*/ 68262 h 353631"/>
                <a:gd name="connsiteX13" fmla="*/ 128588 w 550863"/>
                <a:gd name="connsiteY13" fmla="*/ 73025 h 353631"/>
                <a:gd name="connsiteX14" fmla="*/ 131763 w 550863"/>
                <a:gd name="connsiteY14" fmla="*/ 79375 h 353631"/>
                <a:gd name="connsiteX15" fmla="*/ 127000 w 550863"/>
                <a:gd name="connsiteY15" fmla="*/ 90487 h 353631"/>
                <a:gd name="connsiteX16" fmla="*/ 117475 w 550863"/>
                <a:gd name="connsiteY16" fmla="*/ 100012 h 353631"/>
                <a:gd name="connsiteX17" fmla="*/ 109538 w 550863"/>
                <a:gd name="connsiteY17" fmla="*/ 103187 h 353631"/>
                <a:gd name="connsiteX18" fmla="*/ 104775 w 550863"/>
                <a:gd name="connsiteY18" fmla="*/ 109537 h 353631"/>
                <a:gd name="connsiteX19" fmla="*/ 96838 w 550863"/>
                <a:gd name="connsiteY19" fmla="*/ 112712 h 353631"/>
                <a:gd name="connsiteX20" fmla="*/ 92075 w 550863"/>
                <a:gd name="connsiteY20" fmla="*/ 115887 h 353631"/>
                <a:gd name="connsiteX21" fmla="*/ 84138 w 550863"/>
                <a:gd name="connsiteY21" fmla="*/ 128587 h 353631"/>
                <a:gd name="connsiteX22" fmla="*/ 79375 w 550863"/>
                <a:gd name="connsiteY22" fmla="*/ 133350 h 353631"/>
                <a:gd name="connsiteX23" fmla="*/ 71438 w 550863"/>
                <a:gd name="connsiteY23" fmla="*/ 141287 h 353631"/>
                <a:gd name="connsiteX24" fmla="*/ 63500 w 550863"/>
                <a:gd name="connsiteY24" fmla="*/ 149225 h 353631"/>
                <a:gd name="connsiteX25" fmla="*/ 58738 w 550863"/>
                <a:gd name="connsiteY25" fmla="*/ 155575 h 353631"/>
                <a:gd name="connsiteX26" fmla="*/ 57150 w 550863"/>
                <a:gd name="connsiteY26" fmla="*/ 160337 h 353631"/>
                <a:gd name="connsiteX27" fmla="*/ 55563 w 550863"/>
                <a:gd name="connsiteY27" fmla="*/ 166687 h 353631"/>
                <a:gd name="connsiteX28" fmla="*/ 52388 w 550863"/>
                <a:gd name="connsiteY28" fmla="*/ 171450 h 353631"/>
                <a:gd name="connsiteX29" fmla="*/ 44450 w 550863"/>
                <a:gd name="connsiteY29" fmla="*/ 182562 h 353631"/>
                <a:gd name="connsiteX30" fmla="*/ 39688 w 550863"/>
                <a:gd name="connsiteY30" fmla="*/ 188912 h 353631"/>
                <a:gd name="connsiteX31" fmla="*/ 26988 w 550863"/>
                <a:gd name="connsiteY31" fmla="*/ 192087 h 353631"/>
                <a:gd name="connsiteX32" fmla="*/ 22225 w 550863"/>
                <a:gd name="connsiteY32" fmla="*/ 195262 h 353631"/>
                <a:gd name="connsiteX33" fmla="*/ 14288 w 550863"/>
                <a:gd name="connsiteY33" fmla="*/ 198437 h 353631"/>
                <a:gd name="connsiteX34" fmla="*/ 11113 w 550863"/>
                <a:gd name="connsiteY34" fmla="*/ 204787 h 353631"/>
                <a:gd name="connsiteX35" fmla="*/ 12700 w 550863"/>
                <a:gd name="connsiteY35" fmla="*/ 244475 h 353631"/>
                <a:gd name="connsiteX36" fmla="*/ 14288 w 550863"/>
                <a:gd name="connsiteY36" fmla="*/ 250825 h 353631"/>
                <a:gd name="connsiteX37" fmla="*/ 19050 w 550863"/>
                <a:gd name="connsiteY37" fmla="*/ 255587 h 353631"/>
                <a:gd name="connsiteX38" fmla="*/ 12700 w 550863"/>
                <a:gd name="connsiteY38" fmla="*/ 258762 h 353631"/>
                <a:gd name="connsiteX39" fmla="*/ 0 w 550863"/>
                <a:gd name="connsiteY39" fmla="*/ 271462 h 353631"/>
                <a:gd name="connsiteX40" fmla="*/ 3175 w 550863"/>
                <a:gd name="connsiteY40" fmla="*/ 276225 h 353631"/>
                <a:gd name="connsiteX41" fmla="*/ 11113 w 550863"/>
                <a:gd name="connsiteY41" fmla="*/ 279400 h 353631"/>
                <a:gd name="connsiteX42" fmla="*/ 23813 w 550863"/>
                <a:gd name="connsiteY42" fmla="*/ 276225 h 353631"/>
                <a:gd name="connsiteX43" fmla="*/ 28575 w 550863"/>
                <a:gd name="connsiteY43" fmla="*/ 268287 h 353631"/>
                <a:gd name="connsiteX44" fmla="*/ 28575 w 550863"/>
                <a:gd name="connsiteY44" fmla="*/ 242887 h 353631"/>
                <a:gd name="connsiteX45" fmla="*/ 34925 w 550863"/>
                <a:gd name="connsiteY45" fmla="*/ 239712 h 353631"/>
                <a:gd name="connsiteX46" fmla="*/ 49213 w 550863"/>
                <a:gd name="connsiteY46" fmla="*/ 236537 h 353631"/>
                <a:gd name="connsiteX47" fmla="*/ 57150 w 550863"/>
                <a:gd name="connsiteY47" fmla="*/ 228600 h 353631"/>
                <a:gd name="connsiteX48" fmla="*/ 58738 w 550863"/>
                <a:gd name="connsiteY48" fmla="*/ 223837 h 353631"/>
                <a:gd name="connsiteX49" fmla="*/ 66675 w 550863"/>
                <a:gd name="connsiteY49" fmla="*/ 217487 h 353631"/>
                <a:gd name="connsiteX50" fmla="*/ 77788 w 550863"/>
                <a:gd name="connsiteY50" fmla="*/ 222250 h 353631"/>
                <a:gd name="connsiteX51" fmla="*/ 87313 w 550863"/>
                <a:gd name="connsiteY51" fmla="*/ 225425 h 353631"/>
                <a:gd name="connsiteX52" fmla="*/ 101600 w 550863"/>
                <a:gd name="connsiteY52" fmla="*/ 233362 h 353631"/>
                <a:gd name="connsiteX53" fmla="*/ 103188 w 550863"/>
                <a:gd name="connsiteY53" fmla="*/ 252412 h 353631"/>
                <a:gd name="connsiteX54" fmla="*/ 104775 w 550863"/>
                <a:gd name="connsiteY54" fmla="*/ 284162 h 353631"/>
                <a:gd name="connsiteX55" fmla="*/ 109538 w 550863"/>
                <a:gd name="connsiteY55" fmla="*/ 287337 h 353631"/>
                <a:gd name="connsiteX56" fmla="*/ 111125 w 550863"/>
                <a:gd name="connsiteY56" fmla="*/ 296862 h 353631"/>
                <a:gd name="connsiteX57" fmla="*/ 112713 w 550863"/>
                <a:gd name="connsiteY57" fmla="*/ 301625 h 353631"/>
                <a:gd name="connsiteX58" fmla="*/ 111125 w 550863"/>
                <a:gd name="connsiteY58" fmla="*/ 307975 h 353631"/>
                <a:gd name="connsiteX59" fmla="*/ 115888 w 550863"/>
                <a:gd name="connsiteY59" fmla="*/ 314325 h 353631"/>
                <a:gd name="connsiteX60" fmla="*/ 122238 w 550863"/>
                <a:gd name="connsiteY60" fmla="*/ 315912 h 353631"/>
                <a:gd name="connsiteX61" fmla="*/ 125413 w 550863"/>
                <a:gd name="connsiteY61" fmla="*/ 325437 h 353631"/>
                <a:gd name="connsiteX62" fmla="*/ 127000 w 550863"/>
                <a:gd name="connsiteY62" fmla="*/ 334962 h 353631"/>
                <a:gd name="connsiteX63" fmla="*/ 142875 w 550863"/>
                <a:gd name="connsiteY63" fmla="*/ 336550 h 353631"/>
                <a:gd name="connsiteX64" fmla="*/ 149225 w 550863"/>
                <a:gd name="connsiteY64" fmla="*/ 328612 h 353631"/>
                <a:gd name="connsiteX65" fmla="*/ 152400 w 550863"/>
                <a:gd name="connsiteY65" fmla="*/ 323850 h 353631"/>
                <a:gd name="connsiteX66" fmla="*/ 158750 w 550863"/>
                <a:gd name="connsiteY66" fmla="*/ 327025 h 353631"/>
                <a:gd name="connsiteX67" fmla="*/ 168275 w 550863"/>
                <a:gd name="connsiteY67" fmla="*/ 334962 h 353631"/>
                <a:gd name="connsiteX68" fmla="*/ 173038 w 550863"/>
                <a:gd name="connsiteY68" fmla="*/ 328612 h 353631"/>
                <a:gd name="connsiteX69" fmla="*/ 179388 w 550863"/>
                <a:gd name="connsiteY69" fmla="*/ 323850 h 353631"/>
                <a:gd name="connsiteX70" fmla="*/ 190500 w 550863"/>
                <a:gd name="connsiteY70" fmla="*/ 320675 h 353631"/>
                <a:gd name="connsiteX71" fmla="*/ 200025 w 550863"/>
                <a:gd name="connsiteY71" fmla="*/ 325437 h 353631"/>
                <a:gd name="connsiteX72" fmla="*/ 209550 w 550863"/>
                <a:gd name="connsiteY72" fmla="*/ 327025 h 353631"/>
                <a:gd name="connsiteX73" fmla="*/ 211138 w 550863"/>
                <a:gd name="connsiteY73" fmla="*/ 331787 h 353631"/>
                <a:gd name="connsiteX74" fmla="*/ 212725 w 550863"/>
                <a:gd name="connsiteY74" fmla="*/ 338137 h 353631"/>
                <a:gd name="connsiteX75" fmla="*/ 225425 w 550863"/>
                <a:gd name="connsiteY75" fmla="*/ 336550 h 353631"/>
                <a:gd name="connsiteX76" fmla="*/ 227013 w 550863"/>
                <a:gd name="connsiteY76" fmla="*/ 331787 h 353631"/>
                <a:gd name="connsiteX77" fmla="*/ 231775 w 550863"/>
                <a:gd name="connsiteY77" fmla="*/ 327025 h 353631"/>
                <a:gd name="connsiteX78" fmla="*/ 234950 w 550863"/>
                <a:gd name="connsiteY78" fmla="*/ 319087 h 353631"/>
                <a:gd name="connsiteX79" fmla="*/ 239713 w 550863"/>
                <a:gd name="connsiteY79" fmla="*/ 315912 h 353631"/>
                <a:gd name="connsiteX80" fmla="*/ 254000 w 550863"/>
                <a:gd name="connsiteY80" fmla="*/ 306387 h 353631"/>
                <a:gd name="connsiteX81" fmla="*/ 252413 w 550863"/>
                <a:gd name="connsiteY81" fmla="*/ 292100 h 353631"/>
                <a:gd name="connsiteX82" fmla="*/ 254000 w 550863"/>
                <a:gd name="connsiteY82" fmla="*/ 276225 h 353631"/>
                <a:gd name="connsiteX83" fmla="*/ 258763 w 550863"/>
                <a:gd name="connsiteY83" fmla="*/ 269875 h 353631"/>
                <a:gd name="connsiteX84" fmla="*/ 269875 w 550863"/>
                <a:gd name="connsiteY84" fmla="*/ 258762 h 353631"/>
                <a:gd name="connsiteX85" fmla="*/ 274638 w 550863"/>
                <a:gd name="connsiteY85" fmla="*/ 254000 h 353631"/>
                <a:gd name="connsiteX86" fmla="*/ 280988 w 550863"/>
                <a:gd name="connsiteY86" fmla="*/ 250825 h 353631"/>
                <a:gd name="connsiteX87" fmla="*/ 285750 w 550863"/>
                <a:gd name="connsiteY87" fmla="*/ 249237 h 353631"/>
                <a:gd name="connsiteX88" fmla="*/ 295275 w 550863"/>
                <a:gd name="connsiteY88" fmla="*/ 244475 h 353631"/>
                <a:gd name="connsiteX89" fmla="*/ 301625 w 550863"/>
                <a:gd name="connsiteY89" fmla="*/ 271462 h 353631"/>
                <a:gd name="connsiteX90" fmla="*/ 311150 w 550863"/>
                <a:gd name="connsiteY90" fmla="*/ 282575 h 353631"/>
                <a:gd name="connsiteX91" fmla="*/ 314325 w 550863"/>
                <a:gd name="connsiteY91" fmla="*/ 287337 h 353631"/>
                <a:gd name="connsiteX92" fmla="*/ 315913 w 550863"/>
                <a:gd name="connsiteY92" fmla="*/ 292100 h 353631"/>
                <a:gd name="connsiteX93" fmla="*/ 320675 w 550863"/>
                <a:gd name="connsiteY93" fmla="*/ 295275 h 353631"/>
                <a:gd name="connsiteX94" fmla="*/ 339725 w 550863"/>
                <a:gd name="connsiteY94" fmla="*/ 298450 h 353631"/>
                <a:gd name="connsiteX95" fmla="*/ 344488 w 550863"/>
                <a:gd name="connsiteY95" fmla="*/ 303212 h 353631"/>
                <a:gd name="connsiteX96" fmla="*/ 349250 w 550863"/>
                <a:gd name="connsiteY96" fmla="*/ 315912 h 353631"/>
                <a:gd name="connsiteX97" fmla="*/ 350838 w 550863"/>
                <a:gd name="connsiteY97" fmla="*/ 325437 h 353631"/>
                <a:gd name="connsiteX98" fmla="*/ 355600 w 550863"/>
                <a:gd name="connsiteY98" fmla="*/ 331787 h 353631"/>
                <a:gd name="connsiteX99" fmla="*/ 358775 w 550863"/>
                <a:gd name="connsiteY99" fmla="*/ 336550 h 353631"/>
                <a:gd name="connsiteX100" fmla="*/ 366713 w 550863"/>
                <a:gd name="connsiteY100" fmla="*/ 349250 h 353631"/>
                <a:gd name="connsiteX101" fmla="*/ 380999 w 550863"/>
                <a:gd name="connsiteY101" fmla="*/ 353219 h 353631"/>
                <a:gd name="connsiteX102" fmla="*/ 388938 w 550863"/>
                <a:gd name="connsiteY102" fmla="*/ 338137 h 353631"/>
                <a:gd name="connsiteX103" fmla="*/ 373063 w 550863"/>
                <a:gd name="connsiteY103" fmla="*/ 312737 h 353631"/>
                <a:gd name="connsiteX104" fmla="*/ 374650 w 550863"/>
                <a:gd name="connsiteY104" fmla="*/ 307975 h 353631"/>
                <a:gd name="connsiteX105" fmla="*/ 377825 w 550863"/>
                <a:gd name="connsiteY105" fmla="*/ 303212 h 353631"/>
                <a:gd name="connsiteX106" fmla="*/ 384175 w 550863"/>
                <a:gd name="connsiteY106" fmla="*/ 298450 h 353631"/>
                <a:gd name="connsiteX107" fmla="*/ 396875 w 550863"/>
                <a:gd name="connsiteY107" fmla="*/ 290512 h 353631"/>
                <a:gd name="connsiteX108" fmla="*/ 401638 w 550863"/>
                <a:gd name="connsiteY108" fmla="*/ 287337 h 353631"/>
                <a:gd name="connsiteX109" fmla="*/ 406400 w 550863"/>
                <a:gd name="connsiteY109" fmla="*/ 280987 h 353631"/>
                <a:gd name="connsiteX110" fmla="*/ 411163 w 550863"/>
                <a:gd name="connsiteY110" fmla="*/ 276225 h 353631"/>
                <a:gd name="connsiteX111" fmla="*/ 412750 w 550863"/>
                <a:gd name="connsiteY111" fmla="*/ 260350 h 353631"/>
                <a:gd name="connsiteX112" fmla="*/ 414338 w 550863"/>
                <a:gd name="connsiteY112" fmla="*/ 236537 h 353631"/>
                <a:gd name="connsiteX113" fmla="*/ 428625 w 550863"/>
                <a:gd name="connsiteY113" fmla="*/ 239712 h 353631"/>
                <a:gd name="connsiteX114" fmla="*/ 430213 w 550863"/>
                <a:gd name="connsiteY114" fmla="*/ 246062 h 353631"/>
                <a:gd name="connsiteX115" fmla="*/ 433388 w 550863"/>
                <a:gd name="connsiteY115" fmla="*/ 250825 h 353631"/>
                <a:gd name="connsiteX116" fmla="*/ 434975 w 550863"/>
                <a:gd name="connsiteY116" fmla="*/ 260350 h 353631"/>
                <a:gd name="connsiteX117" fmla="*/ 447675 w 550863"/>
                <a:gd name="connsiteY117" fmla="*/ 271462 h 353631"/>
                <a:gd name="connsiteX118" fmla="*/ 460375 w 550863"/>
                <a:gd name="connsiteY118" fmla="*/ 266700 h 353631"/>
                <a:gd name="connsiteX119" fmla="*/ 461963 w 550863"/>
                <a:gd name="connsiteY119" fmla="*/ 261937 h 353631"/>
                <a:gd name="connsiteX120" fmla="*/ 468313 w 550863"/>
                <a:gd name="connsiteY120" fmla="*/ 260350 h 353631"/>
                <a:gd name="connsiteX121" fmla="*/ 476250 w 550863"/>
                <a:gd name="connsiteY121" fmla="*/ 258762 h 353631"/>
                <a:gd name="connsiteX122" fmla="*/ 481013 w 550863"/>
                <a:gd name="connsiteY122" fmla="*/ 255587 h 353631"/>
                <a:gd name="connsiteX123" fmla="*/ 488950 w 550863"/>
                <a:gd name="connsiteY123" fmla="*/ 261937 h 353631"/>
                <a:gd name="connsiteX124" fmla="*/ 492125 w 550863"/>
                <a:gd name="connsiteY124" fmla="*/ 268287 h 353631"/>
                <a:gd name="connsiteX125" fmla="*/ 496888 w 550863"/>
                <a:gd name="connsiteY125" fmla="*/ 271462 h 353631"/>
                <a:gd name="connsiteX126" fmla="*/ 501650 w 550863"/>
                <a:gd name="connsiteY126" fmla="*/ 276225 h 353631"/>
                <a:gd name="connsiteX127" fmla="*/ 509588 w 550863"/>
                <a:gd name="connsiteY127" fmla="*/ 292100 h 353631"/>
                <a:gd name="connsiteX128" fmla="*/ 509588 w 550863"/>
                <a:gd name="connsiteY128" fmla="*/ 252412 h 353631"/>
                <a:gd name="connsiteX129" fmla="*/ 504825 w 550863"/>
                <a:gd name="connsiteY129" fmla="*/ 246062 h 353631"/>
                <a:gd name="connsiteX130" fmla="*/ 501650 w 550863"/>
                <a:gd name="connsiteY130" fmla="*/ 239712 h 353631"/>
                <a:gd name="connsiteX131" fmla="*/ 503238 w 550863"/>
                <a:gd name="connsiteY131" fmla="*/ 227012 h 353631"/>
                <a:gd name="connsiteX132" fmla="*/ 509588 w 550863"/>
                <a:gd name="connsiteY132" fmla="*/ 217487 h 353631"/>
                <a:gd name="connsiteX133" fmla="*/ 511175 w 550863"/>
                <a:gd name="connsiteY133" fmla="*/ 211137 h 353631"/>
                <a:gd name="connsiteX134" fmla="*/ 519113 w 550863"/>
                <a:gd name="connsiteY134" fmla="*/ 214312 h 353631"/>
                <a:gd name="connsiteX135" fmla="*/ 523875 w 550863"/>
                <a:gd name="connsiteY135" fmla="*/ 215900 h 353631"/>
                <a:gd name="connsiteX136" fmla="*/ 534988 w 550863"/>
                <a:gd name="connsiteY136" fmla="*/ 222250 h 353631"/>
                <a:gd name="connsiteX137" fmla="*/ 538163 w 550863"/>
                <a:gd name="connsiteY137" fmla="*/ 227012 h 353631"/>
                <a:gd name="connsiteX138" fmla="*/ 550863 w 550863"/>
                <a:gd name="connsiteY138" fmla="*/ 227012 h 353631"/>
                <a:gd name="connsiteX139" fmla="*/ 549275 w 550863"/>
                <a:gd name="connsiteY139" fmla="*/ 212725 h 353631"/>
                <a:gd name="connsiteX140" fmla="*/ 544513 w 550863"/>
                <a:gd name="connsiteY140" fmla="*/ 207962 h 353631"/>
                <a:gd name="connsiteX141" fmla="*/ 541338 w 550863"/>
                <a:gd name="connsiteY141" fmla="*/ 195262 h 353631"/>
                <a:gd name="connsiteX142" fmla="*/ 539750 w 550863"/>
                <a:gd name="connsiteY142" fmla="*/ 169862 h 353631"/>
                <a:gd name="connsiteX143" fmla="*/ 537845 w 550863"/>
                <a:gd name="connsiteY143" fmla="*/ 159067 h 353631"/>
                <a:gd name="connsiteX144" fmla="*/ 495300 w 550863"/>
                <a:gd name="connsiteY144" fmla="*/ 165100 h 353631"/>
                <a:gd name="connsiteX145" fmla="*/ 493713 w 550863"/>
                <a:gd name="connsiteY145" fmla="*/ 160337 h 353631"/>
                <a:gd name="connsiteX146" fmla="*/ 484188 w 550863"/>
                <a:gd name="connsiteY146" fmla="*/ 152400 h 353631"/>
                <a:gd name="connsiteX147" fmla="*/ 481013 w 550863"/>
                <a:gd name="connsiteY147" fmla="*/ 144462 h 353631"/>
                <a:gd name="connsiteX148" fmla="*/ 460375 w 550863"/>
                <a:gd name="connsiteY148" fmla="*/ 139700 h 353631"/>
                <a:gd name="connsiteX149" fmla="*/ 452438 w 550863"/>
                <a:gd name="connsiteY149" fmla="*/ 134937 h 353631"/>
                <a:gd name="connsiteX150" fmla="*/ 447675 w 550863"/>
                <a:gd name="connsiteY150" fmla="*/ 127000 h 353631"/>
                <a:gd name="connsiteX151" fmla="*/ 434975 w 550863"/>
                <a:gd name="connsiteY151" fmla="*/ 125412 h 353631"/>
                <a:gd name="connsiteX152" fmla="*/ 436563 w 550863"/>
                <a:gd name="connsiteY152" fmla="*/ 120650 h 353631"/>
                <a:gd name="connsiteX153" fmla="*/ 436563 w 550863"/>
                <a:gd name="connsiteY153" fmla="*/ 98425 h 353631"/>
                <a:gd name="connsiteX154" fmla="*/ 430213 w 550863"/>
                <a:gd name="connsiteY154" fmla="*/ 92075 h 353631"/>
                <a:gd name="connsiteX155" fmla="*/ 436563 w 550863"/>
                <a:gd name="connsiteY155" fmla="*/ 88900 h 353631"/>
                <a:gd name="connsiteX156" fmla="*/ 452438 w 550863"/>
                <a:gd name="connsiteY156" fmla="*/ 87312 h 353631"/>
                <a:gd name="connsiteX157" fmla="*/ 454025 w 550863"/>
                <a:gd name="connsiteY157" fmla="*/ 79375 h 353631"/>
                <a:gd name="connsiteX158" fmla="*/ 452438 w 550863"/>
                <a:gd name="connsiteY158" fmla="*/ 74612 h 353631"/>
                <a:gd name="connsiteX159" fmla="*/ 442913 w 550863"/>
                <a:gd name="connsiteY159" fmla="*/ 60325 h 353631"/>
                <a:gd name="connsiteX160" fmla="*/ 438150 w 550863"/>
                <a:gd name="connsiteY160" fmla="*/ 47625 h 353631"/>
                <a:gd name="connsiteX161" fmla="*/ 430213 w 550863"/>
                <a:gd name="connsiteY161" fmla="*/ 46037 h 353631"/>
                <a:gd name="connsiteX162" fmla="*/ 423863 w 550863"/>
                <a:gd name="connsiteY162" fmla="*/ 39687 h 353631"/>
                <a:gd name="connsiteX163" fmla="*/ 411163 w 550863"/>
                <a:gd name="connsiteY163" fmla="*/ 34925 h 353631"/>
                <a:gd name="connsiteX164" fmla="*/ 401638 w 550863"/>
                <a:gd name="connsiteY164" fmla="*/ 26987 h 353631"/>
                <a:gd name="connsiteX165" fmla="*/ 392113 w 550863"/>
                <a:gd name="connsiteY165" fmla="*/ 23812 h 353631"/>
                <a:gd name="connsiteX166" fmla="*/ 387350 w 550863"/>
                <a:gd name="connsiteY166" fmla="*/ 19050 h 353631"/>
                <a:gd name="connsiteX167" fmla="*/ 377825 w 550863"/>
                <a:gd name="connsiteY167" fmla="*/ 15875 h 353631"/>
                <a:gd name="connsiteX168" fmla="*/ 363538 w 550863"/>
                <a:gd name="connsiteY168" fmla="*/ 17462 h 353631"/>
                <a:gd name="connsiteX169" fmla="*/ 354013 w 550863"/>
                <a:gd name="connsiteY169" fmla="*/ 19050 h 353631"/>
                <a:gd name="connsiteX170" fmla="*/ 342900 w 550863"/>
                <a:gd name="connsiteY170" fmla="*/ 7937 h 353631"/>
                <a:gd name="connsiteX171" fmla="*/ 328613 w 550863"/>
                <a:gd name="connsiteY171" fmla="*/ 0 h 353631"/>
                <a:gd name="connsiteX172" fmla="*/ 312738 w 550863"/>
                <a:gd name="connsiteY172" fmla="*/ 1587 h 353631"/>
                <a:gd name="connsiteX173" fmla="*/ 306388 w 550863"/>
                <a:gd name="connsiteY173" fmla="*/ 9525 h 353631"/>
                <a:gd name="connsiteX174" fmla="*/ 311150 w 550863"/>
                <a:gd name="connsiteY174" fmla="*/ 11112 h 353631"/>
                <a:gd name="connsiteX175" fmla="*/ 315913 w 550863"/>
                <a:gd name="connsiteY175" fmla="*/ 15875 h 353631"/>
                <a:gd name="connsiteX176" fmla="*/ 339725 w 550863"/>
                <a:gd name="connsiteY176" fmla="*/ 14287 h 353631"/>
                <a:gd name="connsiteX177" fmla="*/ 338138 w 550863"/>
                <a:gd name="connsiteY177" fmla="*/ 15875 h 353631"/>
                <a:gd name="connsiteX178" fmla="*/ 334963 w 550863"/>
                <a:gd name="connsiteY178" fmla="*/ 22225 h 353631"/>
                <a:gd name="connsiteX179" fmla="*/ 328613 w 550863"/>
                <a:gd name="connsiteY179" fmla="*/ 23812 h 353631"/>
                <a:gd name="connsiteX180" fmla="*/ 323850 w 550863"/>
                <a:gd name="connsiteY180" fmla="*/ 26987 h 353631"/>
                <a:gd name="connsiteX181" fmla="*/ 314325 w 550863"/>
                <a:gd name="connsiteY181" fmla="*/ 34925 h 353631"/>
                <a:gd name="connsiteX182" fmla="*/ 306388 w 550863"/>
                <a:gd name="connsiteY182" fmla="*/ 36512 h 353631"/>
                <a:gd name="connsiteX183" fmla="*/ 296863 w 550863"/>
                <a:gd name="connsiteY183" fmla="*/ 33337 h 353631"/>
                <a:gd name="connsiteX184" fmla="*/ 292100 w 550863"/>
                <a:gd name="connsiteY184" fmla="*/ 30162 h 353631"/>
                <a:gd name="connsiteX185" fmla="*/ 282575 w 550863"/>
                <a:gd name="connsiteY185" fmla="*/ 28575 h 353631"/>
                <a:gd name="connsiteX186" fmla="*/ 271463 w 550863"/>
                <a:gd name="connsiteY186" fmla="*/ 23812 h 353631"/>
                <a:gd name="connsiteX187" fmla="*/ 265113 w 550863"/>
                <a:gd name="connsiteY187" fmla="*/ 25400 h 353631"/>
                <a:gd name="connsiteX188" fmla="*/ 246063 w 550863"/>
                <a:gd name="connsiteY188" fmla="*/ 38100 h 353631"/>
                <a:gd name="connsiteX189" fmla="*/ 231775 w 550863"/>
                <a:gd name="connsiteY189" fmla="*/ 36512 h 353631"/>
                <a:gd name="connsiteX190" fmla="*/ 222250 w 550863"/>
                <a:gd name="connsiteY190" fmla="*/ 33337 h 353631"/>
                <a:gd name="connsiteX191" fmla="*/ 211138 w 550863"/>
                <a:gd name="connsiteY191" fmla="*/ 26987 h 353631"/>
                <a:gd name="connsiteX0" fmla="*/ 211138 w 550863"/>
                <a:gd name="connsiteY0" fmla="*/ 26987 h 353631"/>
                <a:gd name="connsiteX1" fmla="*/ 206375 w 550863"/>
                <a:gd name="connsiteY1" fmla="*/ 34925 h 353631"/>
                <a:gd name="connsiteX2" fmla="*/ 196850 w 550863"/>
                <a:gd name="connsiteY2" fmla="*/ 42862 h 353631"/>
                <a:gd name="connsiteX3" fmla="*/ 192088 w 550863"/>
                <a:gd name="connsiteY3" fmla="*/ 47625 h 353631"/>
                <a:gd name="connsiteX4" fmla="*/ 180975 w 550863"/>
                <a:gd name="connsiteY4" fmla="*/ 57150 h 353631"/>
                <a:gd name="connsiteX5" fmla="*/ 174625 w 550863"/>
                <a:gd name="connsiteY5" fmla="*/ 61912 h 353631"/>
                <a:gd name="connsiteX6" fmla="*/ 166688 w 550863"/>
                <a:gd name="connsiteY6" fmla="*/ 58737 h 353631"/>
                <a:gd name="connsiteX7" fmla="*/ 161925 w 550863"/>
                <a:gd name="connsiteY7" fmla="*/ 57150 h 353631"/>
                <a:gd name="connsiteX8" fmla="*/ 155575 w 550863"/>
                <a:gd name="connsiteY8" fmla="*/ 53975 h 353631"/>
                <a:gd name="connsiteX9" fmla="*/ 134938 w 550863"/>
                <a:gd name="connsiteY9" fmla="*/ 47625 h 353631"/>
                <a:gd name="connsiteX10" fmla="*/ 127000 w 550863"/>
                <a:gd name="connsiteY10" fmla="*/ 60325 h 353631"/>
                <a:gd name="connsiteX11" fmla="*/ 120650 w 550863"/>
                <a:gd name="connsiteY11" fmla="*/ 63500 h 353631"/>
                <a:gd name="connsiteX12" fmla="*/ 114300 w 550863"/>
                <a:gd name="connsiteY12" fmla="*/ 68262 h 353631"/>
                <a:gd name="connsiteX13" fmla="*/ 128588 w 550863"/>
                <a:gd name="connsiteY13" fmla="*/ 73025 h 353631"/>
                <a:gd name="connsiteX14" fmla="*/ 131763 w 550863"/>
                <a:gd name="connsiteY14" fmla="*/ 79375 h 353631"/>
                <a:gd name="connsiteX15" fmla="*/ 127000 w 550863"/>
                <a:gd name="connsiteY15" fmla="*/ 90487 h 353631"/>
                <a:gd name="connsiteX16" fmla="*/ 117475 w 550863"/>
                <a:gd name="connsiteY16" fmla="*/ 100012 h 353631"/>
                <a:gd name="connsiteX17" fmla="*/ 109538 w 550863"/>
                <a:gd name="connsiteY17" fmla="*/ 103187 h 353631"/>
                <a:gd name="connsiteX18" fmla="*/ 104775 w 550863"/>
                <a:gd name="connsiteY18" fmla="*/ 109537 h 353631"/>
                <a:gd name="connsiteX19" fmla="*/ 96838 w 550863"/>
                <a:gd name="connsiteY19" fmla="*/ 112712 h 353631"/>
                <a:gd name="connsiteX20" fmla="*/ 92075 w 550863"/>
                <a:gd name="connsiteY20" fmla="*/ 115887 h 353631"/>
                <a:gd name="connsiteX21" fmla="*/ 84138 w 550863"/>
                <a:gd name="connsiteY21" fmla="*/ 128587 h 353631"/>
                <a:gd name="connsiteX22" fmla="*/ 79375 w 550863"/>
                <a:gd name="connsiteY22" fmla="*/ 133350 h 353631"/>
                <a:gd name="connsiteX23" fmla="*/ 71438 w 550863"/>
                <a:gd name="connsiteY23" fmla="*/ 141287 h 353631"/>
                <a:gd name="connsiteX24" fmla="*/ 63500 w 550863"/>
                <a:gd name="connsiteY24" fmla="*/ 149225 h 353631"/>
                <a:gd name="connsiteX25" fmla="*/ 58738 w 550863"/>
                <a:gd name="connsiteY25" fmla="*/ 155575 h 353631"/>
                <a:gd name="connsiteX26" fmla="*/ 57150 w 550863"/>
                <a:gd name="connsiteY26" fmla="*/ 160337 h 353631"/>
                <a:gd name="connsiteX27" fmla="*/ 55563 w 550863"/>
                <a:gd name="connsiteY27" fmla="*/ 166687 h 353631"/>
                <a:gd name="connsiteX28" fmla="*/ 52388 w 550863"/>
                <a:gd name="connsiteY28" fmla="*/ 171450 h 353631"/>
                <a:gd name="connsiteX29" fmla="*/ 44450 w 550863"/>
                <a:gd name="connsiteY29" fmla="*/ 182562 h 353631"/>
                <a:gd name="connsiteX30" fmla="*/ 39688 w 550863"/>
                <a:gd name="connsiteY30" fmla="*/ 188912 h 353631"/>
                <a:gd name="connsiteX31" fmla="*/ 26988 w 550863"/>
                <a:gd name="connsiteY31" fmla="*/ 192087 h 353631"/>
                <a:gd name="connsiteX32" fmla="*/ 22225 w 550863"/>
                <a:gd name="connsiteY32" fmla="*/ 195262 h 353631"/>
                <a:gd name="connsiteX33" fmla="*/ 14288 w 550863"/>
                <a:gd name="connsiteY33" fmla="*/ 198437 h 353631"/>
                <a:gd name="connsiteX34" fmla="*/ 11113 w 550863"/>
                <a:gd name="connsiteY34" fmla="*/ 204787 h 353631"/>
                <a:gd name="connsiteX35" fmla="*/ 12700 w 550863"/>
                <a:gd name="connsiteY35" fmla="*/ 244475 h 353631"/>
                <a:gd name="connsiteX36" fmla="*/ 14288 w 550863"/>
                <a:gd name="connsiteY36" fmla="*/ 250825 h 353631"/>
                <a:gd name="connsiteX37" fmla="*/ 19050 w 550863"/>
                <a:gd name="connsiteY37" fmla="*/ 255587 h 353631"/>
                <a:gd name="connsiteX38" fmla="*/ 12700 w 550863"/>
                <a:gd name="connsiteY38" fmla="*/ 258762 h 353631"/>
                <a:gd name="connsiteX39" fmla="*/ 0 w 550863"/>
                <a:gd name="connsiteY39" fmla="*/ 271462 h 353631"/>
                <a:gd name="connsiteX40" fmla="*/ 3175 w 550863"/>
                <a:gd name="connsiteY40" fmla="*/ 276225 h 353631"/>
                <a:gd name="connsiteX41" fmla="*/ 11113 w 550863"/>
                <a:gd name="connsiteY41" fmla="*/ 279400 h 353631"/>
                <a:gd name="connsiteX42" fmla="*/ 23813 w 550863"/>
                <a:gd name="connsiteY42" fmla="*/ 276225 h 353631"/>
                <a:gd name="connsiteX43" fmla="*/ 28575 w 550863"/>
                <a:gd name="connsiteY43" fmla="*/ 268287 h 353631"/>
                <a:gd name="connsiteX44" fmla="*/ 28575 w 550863"/>
                <a:gd name="connsiteY44" fmla="*/ 242887 h 353631"/>
                <a:gd name="connsiteX45" fmla="*/ 34925 w 550863"/>
                <a:gd name="connsiteY45" fmla="*/ 239712 h 353631"/>
                <a:gd name="connsiteX46" fmla="*/ 49213 w 550863"/>
                <a:gd name="connsiteY46" fmla="*/ 236537 h 353631"/>
                <a:gd name="connsiteX47" fmla="*/ 57150 w 550863"/>
                <a:gd name="connsiteY47" fmla="*/ 228600 h 353631"/>
                <a:gd name="connsiteX48" fmla="*/ 58738 w 550863"/>
                <a:gd name="connsiteY48" fmla="*/ 223837 h 353631"/>
                <a:gd name="connsiteX49" fmla="*/ 66675 w 550863"/>
                <a:gd name="connsiteY49" fmla="*/ 217487 h 353631"/>
                <a:gd name="connsiteX50" fmla="*/ 77788 w 550863"/>
                <a:gd name="connsiteY50" fmla="*/ 222250 h 353631"/>
                <a:gd name="connsiteX51" fmla="*/ 87313 w 550863"/>
                <a:gd name="connsiteY51" fmla="*/ 225425 h 353631"/>
                <a:gd name="connsiteX52" fmla="*/ 101600 w 550863"/>
                <a:gd name="connsiteY52" fmla="*/ 233362 h 353631"/>
                <a:gd name="connsiteX53" fmla="*/ 103188 w 550863"/>
                <a:gd name="connsiteY53" fmla="*/ 252412 h 353631"/>
                <a:gd name="connsiteX54" fmla="*/ 104775 w 550863"/>
                <a:gd name="connsiteY54" fmla="*/ 284162 h 353631"/>
                <a:gd name="connsiteX55" fmla="*/ 109538 w 550863"/>
                <a:gd name="connsiteY55" fmla="*/ 287337 h 353631"/>
                <a:gd name="connsiteX56" fmla="*/ 111125 w 550863"/>
                <a:gd name="connsiteY56" fmla="*/ 296862 h 353631"/>
                <a:gd name="connsiteX57" fmla="*/ 112713 w 550863"/>
                <a:gd name="connsiteY57" fmla="*/ 301625 h 353631"/>
                <a:gd name="connsiteX58" fmla="*/ 111125 w 550863"/>
                <a:gd name="connsiteY58" fmla="*/ 307975 h 353631"/>
                <a:gd name="connsiteX59" fmla="*/ 115888 w 550863"/>
                <a:gd name="connsiteY59" fmla="*/ 314325 h 353631"/>
                <a:gd name="connsiteX60" fmla="*/ 122238 w 550863"/>
                <a:gd name="connsiteY60" fmla="*/ 315912 h 353631"/>
                <a:gd name="connsiteX61" fmla="*/ 125413 w 550863"/>
                <a:gd name="connsiteY61" fmla="*/ 325437 h 353631"/>
                <a:gd name="connsiteX62" fmla="*/ 127000 w 550863"/>
                <a:gd name="connsiteY62" fmla="*/ 334962 h 353631"/>
                <a:gd name="connsiteX63" fmla="*/ 142875 w 550863"/>
                <a:gd name="connsiteY63" fmla="*/ 336550 h 353631"/>
                <a:gd name="connsiteX64" fmla="*/ 149225 w 550863"/>
                <a:gd name="connsiteY64" fmla="*/ 328612 h 353631"/>
                <a:gd name="connsiteX65" fmla="*/ 152400 w 550863"/>
                <a:gd name="connsiteY65" fmla="*/ 323850 h 353631"/>
                <a:gd name="connsiteX66" fmla="*/ 158750 w 550863"/>
                <a:gd name="connsiteY66" fmla="*/ 327025 h 353631"/>
                <a:gd name="connsiteX67" fmla="*/ 168275 w 550863"/>
                <a:gd name="connsiteY67" fmla="*/ 334962 h 353631"/>
                <a:gd name="connsiteX68" fmla="*/ 173038 w 550863"/>
                <a:gd name="connsiteY68" fmla="*/ 328612 h 353631"/>
                <a:gd name="connsiteX69" fmla="*/ 179388 w 550863"/>
                <a:gd name="connsiteY69" fmla="*/ 323850 h 353631"/>
                <a:gd name="connsiteX70" fmla="*/ 190500 w 550863"/>
                <a:gd name="connsiteY70" fmla="*/ 320675 h 353631"/>
                <a:gd name="connsiteX71" fmla="*/ 200025 w 550863"/>
                <a:gd name="connsiteY71" fmla="*/ 325437 h 353631"/>
                <a:gd name="connsiteX72" fmla="*/ 209550 w 550863"/>
                <a:gd name="connsiteY72" fmla="*/ 327025 h 353631"/>
                <a:gd name="connsiteX73" fmla="*/ 211138 w 550863"/>
                <a:gd name="connsiteY73" fmla="*/ 331787 h 353631"/>
                <a:gd name="connsiteX74" fmla="*/ 212725 w 550863"/>
                <a:gd name="connsiteY74" fmla="*/ 338137 h 353631"/>
                <a:gd name="connsiteX75" fmla="*/ 225425 w 550863"/>
                <a:gd name="connsiteY75" fmla="*/ 336550 h 353631"/>
                <a:gd name="connsiteX76" fmla="*/ 227013 w 550863"/>
                <a:gd name="connsiteY76" fmla="*/ 331787 h 353631"/>
                <a:gd name="connsiteX77" fmla="*/ 231775 w 550863"/>
                <a:gd name="connsiteY77" fmla="*/ 327025 h 353631"/>
                <a:gd name="connsiteX78" fmla="*/ 234950 w 550863"/>
                <a:gd name="connsiteY78" fmla="*/ 319087 h 353631"/>
                <a:gd name="connsiteX79" fmla="*/ 239713 w 550863"/>
                <a:gd name="connsiteY79" fmla="*/ 315912 h 353631"/>
                <a:gd name="connsiteX80" fmla="*/ 254000 w 550863"/>
                <a:gd name="connsiteY80" fmla="*/ 306387 h 353631"/>
                <a:gd name="connsiteX81" fmla="*/ 252413 w 550863"/>
                <a:gd name="connsiteY81" fmla="*/ 292100 h 353631"/>
                <a:gd name="connsiteX82" fmla="*/ 254000 w 550863"/>
                <a:gd name="connsiteY82" fmla="*/ 276225 h 353631"/>
                <a:gd name="connsiteX83" fmla="*/ 258763 w 550863"/>
                <a:gd name="connsiteY83" fmla="*/ 269875 h 353631"/>
                <a:gd name="connsiteX84" fmla="*/ 269875 w 550863"/>
                <a:gd name="connsiteY84" fmla="*/ 258762 h 353631"/>
                <a:gd name="connsiteX85" fmla="*/ 274638 w 550863"/>
                <a:gd name="connsiteY85" fmla="*/ 254000 h 353631"/>
                <a:gd name="connsiteX86" fmla="*/ 280988 w 550863"/>
                <a:gd name="connsiteY86" fmla="*/ 250825 h 353631"/>
                <a:gd name="connsiteX87" fmla="*/ 285750 w 550863"/>
                <a:gd name="connsiteY87" fmla="*/ 249237 h 353631"/>
                <a:gd name="connsiteX88" fmla="*/ 295275 w 550863"/>
                <a:gd name="connsiteY88" fmla="*/ 244475 h 353631"/>
                <a:gd name="connsiteX89" fmla="*/ 301625 w 550863"/>
                <a:gd name="connsiteY89" fmla="*/ 271462 h 353631"/>
                <a:gd name="connsiteX90" fmla="*/ 311150 w 550863"/>
                <a:gd name="connsiteY90" fmla="*/ 282575 h 353631"/>
                <a:gd name="connsiteX91" fmla="*/ 314325 w 550863"/>
                <a:gd name="connsiteY91" fmla="*/ 287337 h 353631"/>
                <a:gd name="connsiteX92" fmla="*/ 315913 w 550863"/>
                <a:gd name="connsiteY92" fmla="*/ 292100 h 353631"/>
                <a:gd name="connsiteX93" fmla="*/ 320675 w 550863"/>
                <a:gd name="connsiteY93" fmla="*/ 295275 h 353631"/>
                <a:gd name="connsiteX94" fmla="*/ 339725 w 550863"/>
                <a:gd name="connsiteY94" fmla="*/ 298450 h 353631"/>
                <a:gd name="connsiteX95" fmla="*/ 344488 w 550863"/>
                <a:gd name="connsiteY95" fmla="*/ 303212 h 353631"/>
                <a:gd name="connsiteX96" fmla="*/ 349250 w 550863"/>
                <a:gd name="connsiteY96" fmla="*/ 315912 h 353631"/>
                <a:gd name="connsiteX97" fmla="*/ 350838 w 550863"/>
                <a:gd name="connsiteY97" fmla="*/ 325437 h 353631"/>
                <a:gd name="connsiteX98" fmla="*/ 355600 w 550863"/>
                <a:gd name="connsiteY98" fmla="*/ 331787 h 353631"/>
                <a:gd name="connsiteX99" fmla="*/ 358775 w 550863"/>
                <a:gd name="connsiteY99" fmla="*/ 336550 h 353631"/>
                <a:gd name="connsiteX100" fmla="*/ 366713 w 550863"/>
                <a:gd name="connsiteY100" fmla="*/ 349250 h 353631"/>
                <a:gd name="connsiteX101" fmla="*/ 380999 w 550863"/>
                <a:gd name="connsiteY101" fmla="*/ 353219 h 353631"/>
                <a:gd name="connsiteX102" fmla="*/ 388938 w 550863"/>
                <a:gd name="connsiteY102" fmla="*/ 338137 h 353631"/>
                <a:gd name="connsiteX103" fmla="*/ 373063 w 550863"/>
                <a:gd name="connsiteY103" fmla="*/ 312737 h 353631"/>
                <a:gd name="connsiteX104" fmla="*/ 374650 w 550863"/>
                <a:gd name="connsiteY104" fmla="*/ 307975 h 353631"/>
                <a:gd name="connsiteX105" fmla="*/ 377825 w 550863"/>
                <a:gd name="connsiteY105" fmla="*/ 303212 h 353631"/>
                <a:gd name="connsiteX106" fmla="*/ 384175 w 550863"/>
                <a:gd name="connsiteY106" fmla="*/ 298450 h 353631"/>
                <a:gd name="connsiteX107" fmla="*/ 396875 w 550863"/>
                <a:gd name="connsiteY107" fmla="*/ 290512 h 353631"/>
                <a:gd name="connsiteX108" fmla="*/ 401638 w 550863"/>
                <a:gd name="connsiteY108" fmla="*/ 287337 h 353631"/>
                <a:gd name="connsiteX109" fmla="*/ 406400 w 550863"/>
                <a:gd name="connsiteY109" fmla="*/ 280987 h 353631"/>
                <a:gd name="connsiteX110" fmla="*/ 411163 w 550863"/>
                <a:gd name="connsiteY110" fmla="*/ 276225 h 353631"/>
                <a:gd name="connsiteX111" fmla="*/ 412750 w 550863"/>
                <a:gd name="connsiteY111" fmla="*/ 260350 h 353631"/>
                <a:gd name="connsiteX112" fmla="*/ 414338 w 550863"/>
                <a:gd name="connsiteY112" fmla="*/ 236537 h 353631"/>
                <a:gd name="connsiteX113" fmla="*/ 428625 w 550863"/>
                <a:gd name="connsiteY113" fmla="*/ 239712 h 353631"/>
                <a:gd name="connsiteX114" fmla="*/ 430213 w 550863"/>
                <a:gd name="connsiteY114" fmla="*/ 246062 h 353631"/>
                <a:gd name="connsiteX115" fmla="*/ 433388 w 550863"/>
                <a:gd name="connsiteY115" fmla="*/ 250825 h 353631"/>
                <a:gd name="connsiteX116" fmla="*/ 434975 w 550863"/>
                <a:gd name="connsiteY116" fmla="*/ 260350 h 353631"/>
                <a:gd name="connsiteX117" fmla="*/ 447675 w 550863"/>
                <a:gd name="connsiteY117" fmla="*/ 271462 h 353631"/>
                <a:gd name="connsiteX118" fmla="*/ 460375 w 550863"/>
                <a:gd name="connsiteY118" fmla="*/ 266700 h 353631"/>
                <a:gd name="connsiteX119" fmla="*/ 461963 w 550863"/>
                <a:gd name="connsiteY119" fmla="*/ 261937 h 353631"/>
                <a:gd name="connsiteX120" fmla="*/ 468313 w 550863"/>
                <a:gd name="connsiteY120" fmla="*/ 260350 h 353631"/>
                <a:gd name="connsiteX121" fmla="*/ 476250 w 550863"/>
                <a:gd name="connsiteY121" fmla="*/ 258762 h 353631"/>
                <a:gd name="connsiteX122" fmla="*/ 481013 w 550863"/>
                <a:gd name="connsiteY122" fmla="*/ 255587 h 353631"/>
                <a:gd name="connsiteX123" fmla="*/ 488950 w 550863"/>
                <a:gd name="connsiteY123" fmla="*/ 261937 h 353631"/>
                <a:gd name="connsiteX124" fmla="*/ 492125 w 550863"/>
                <a:gd name="connsiteY124" fmla="*/ 268287 h 353631"/>
                <a:gd name="connsiteX125" fmla="*/ 496888 w 550863"/>
                <a:gd name="connsiteY125" fmla="*/ 271462 h 353631"/>
                <a:gd name="connsiteX126" fmla="*/ 501650 w 550863"/>
                <a:gd name="connsiteY126" fmla="*/ 276225 h 353631"/>
                <a:gd name="connsiteX127" fmla="*/ 509588 w 550863"/>
                <a:gd name="connsiteY127" fmla="*/ 292100 h 353631"/>
                <a:gd name="connsiteX128" fmla="*/ 509588 w 550863"/>
                <a:gd name="connsiteY128" fmla="*/ 252412 h 353631"/>
                <a:gd name="connsiteX129" fmla="*/ 504825 w 550863"/>
                <a:gd name="connsiteY129" fmla="*/ 246062 h 353631"/>
                <a:gd name="connsiteX130" fmla="*/ 501650 w 550863"/>
                <a:gd name="connsiteY130" fmla="*/ 239712 h 353631"/>
                <a:gd name="connsiteX131" fmla="*/ 503238 w 550863"/>
                <a:gd name="connsiteY131" fmla="*/ 227012 h 353631"/>
                <a:gd name="connsiteX132" fmla="*/ 509588 w 550863"/>
                <a:gd name="connsiteY132" fmla="*/ 217487 h 353631"/>
                <a:gd name="connsiteX133" fmla="*/ 511175 w 550863"/>
                <a:gd name="connsiteY133" fmla="*/ 211137 h 353631"/>
                <a:gd name="connsiteX134" fmla="*/ 519113 w 550863"/>
                <a:gd name="connsiteY134" fmla="*/ 214312 h 353631"/>
                <a:gd name="connsiteX135" fmla="*/ 523875 w 550863"/>
                <a:gd name="connsiteY135" fmla="*/ 215900 h 353631"/>
                <a:gd name="connsiteX136" fmla="*/ 534988 w 550863"/>
                <a:gd name="connsiteY136" fmla="*/ 222250 h 353631"/>
                <a:gd name="connsiteX137" fmla="*/ 538163 w 550863"/>
                <a:gd name="connsiteY137" fmla="*/ 227012 h 353631"/>
                <a:gd name="connsiteX138" fmla="*/ 550863 w 550863"/>
                <a:gd name="connsiteY138" fmla="*/ 227012 h 353631"/>
                <a:gd name="connsiteX139" fmla="*/ 549275 w 550863"/>
                <a:gd name="connsiteY139" fmla="*/ 212725 h 353631"/>
                <a:gd name="connsiteX140" fmla="*/ 544513 w 550863"/>
                <a:gd name="connsiteY140" fmla="*/ 207962 h 353631"/>
                <a:gd name="connsiteX141" fmla="*/ 541338 w 550863"/>
                <a:gd name="connsiteY141" fmla="*/ 195262 h 353631"/>
                <a:gd name="connsiteX142" fmla="*/ 539750 w 550863"/>
                <a:gd name="connsiteY142" fmla="*/ 169862 h 353631"/>
                <a:gd name="connsiteX143" fmla="*/ 522605 w 550863"/>
                <a:gd name="connsiteY143" fmla="*/ 156527 h 353631"/>
                <a:gd name="connsiteX144" fmla="*/ 495300 w 550863"/>
                <a:gd name="connsiteY144" fmla="*/ 165100 h 353631"/>
                <a:gd name="connsiteX145" fmla="*/ 493713 w 550863"/>
                <a:gd name="connsiteY145" fmla="*/ 160337 h 353631"/>
                <a:gd name="connsiteX146" fmla="*/ 484188 w 550863"/>
                <a:gd name="connsiteY146" fmla="*/ 152400 h 353631"/>
                <a:gd name="connsiteX147" fmla="*/ 481013 w 550863"/>
                <a:gd name="connsiteY147" fmla="*/ 144462 h 353631"/>
                <a:gd name="connsiteX148" fmla="*/ 460375 w 550863"/>
                <a:gd name="connsiteY148" fmla="*/ 139700 h 353631"/>
                <a:gd name="connsiteX149" fmla="*/ 452438 w 550863"/>
                <a:gd name="connsiteY149" fmla="*/ 134937 h 353631"/>
                <a:gd name="connsiteX150" fmla="*/ 447675 w 550863"/>
                <a:gd name="connsiteY150" fmla="*/ 127000 h 353631"/>
                <a:gd name="connsiteX151" fmla="*/ 434975 w 550863"/>
                <a:gd name="connsiteY151" fmla="*/ 125412 h 353631"/>
                <a:gd name="connsiteX152" fmla="*/ 436563 w 550863"/>
                <a:gd name="connsiteY152" fmla="*/ 120650 h 353631"/>
                <a:gd name="connsiteX153" fmla="*/ 436563 w 550863"/>
                <a:gd name="connsiteY153" fmla="*/ 98425 h 353631"/>
                <a:gd name="connsiteX154" fmla="*/ 430213 w 550863"/>
                <a:gd name="connsiteY154" fmla="*/ 92075 h 353631"/>
                <a:gd name="connsiteX155" fmla="*/ 436563 w 550863"/>
                <a:gd name="connsiteY155" fmla="*/ 88900 h 353631"/>
                <a:gd name="connsiteX156" fmla="*/ 452438 w 550863"/>
                <a:gd name="connsiteY156" fmla="*/ 87312 h 353631"/>
                <a:gd name="connsiteX157" fmla="*/ 454025 w 550863"/>
                <a:gd name="connsiteY157" fmla="*/ 79375 h 353631"/>
                <a:gd name="connsiteX158" fmla="*/ 452438 w 550863"/>
                <a:gd name="connsiteY158" fmla="*/ 74612 h 353631"/>
                <a:gd name="connsiteX159" fmla="*/ 442913 w 550863"/>
                <a:gd name="connsiteY159" fmla="*/ 60325 h 353631"/>
                <a:gd name="connsiteX160" fmla="*/ 438150 w 550863"/>
                <a:gd name="connsiteY160" fmla="*/ 47625 h 353631"/>
                <a:gd name="connsiteX161" fmla="*/ 430213 w 550863"/>
                <a:gd name="connsiteY161" fmla="*/ 46037 h 353631"/>
                <a:gd name="connsiteX162" fmla="*/ 423863 w 550863"/>
                <a:gd name="connsiteY162" fmla="*/ 39687 h 353631"/>
                <a:gd name="connsiteX163" fmla="*/ 411163 w 550863"/>
                <a:gd name="connsiteY163" fmla="*/ 34925 h 353631"/>
                <a:gd name="connsiteX164" fmla="*/ 401638 w 550863"/>
                <a:gd name="connsiteY164" fmla="*/ 26987 h 353631"/>
                <a:gd name="connsiteX165" fmla="*/ 392113 w 550863"/>
                <a:gd name="connsiteY165" fmla="*/ 23812 h 353631"/>
                <a:gd name="connsiteX166" fmla="*/ 387350 w 550863"/>
                <a:gd name="connsiteY166" fmla="*/ 19050 h 353631"/>
                <a:gd name="connsiteX167" fmla="*/ 377825 w 550863"/>
                <a:gd name="connsiteY167" fmla="*/ 15875 h 353631"/>
                <a:gd name="connsiteX168" fmla="*/ 363538 w 550863"/>
                <a:gd name="connsiteY168" fmla="*/ 17462 h 353631"/>
                <a:gd name="connsiteX169" fmla="*/ 354013 w 550863"/>
                <a:gd name="connsiteY169" fmla="*/ 19050 h 353631"/>
                <a:gd name="connsiteX170" fmla="*/ 342900 w 550863"/>
                <a:gd name="connsiteY170" fmla="*/ 7937 h 353631"/>
                <a:gd name="connsiteX171" fmla="*/ 328613 w 550863"/>
                <a:gd name="connsiteY171" fmla="*/ 0 h 353631"/>
                <a:gd name="connsiteX172" fmla="*/ 312738 w 550863"/>
                <a:gd name="connsiteY172" fmla="*/ 1587 h 353631"/>
                <a:gd name="connsiteX173" fmla="*/ 306388 w 550863"/>
                <a:gd name="connsiteY173" fmla="*/ 9525 h 353631"/>
                <a:gd name="connsiteX174" fmla="*/ 311150 w 550863"/>
                <a:gd name="connsiteY174" fmla="*/ 11112 h 353631"/>
                <a:gd name="connsiteX175" fmla="*/ 315913 w 550863"/>
                <a:gd name="connsiteY175" fmla="*/ 15875 h 353631"/>
                <a:gd name="connsiteX176" fmla="*/ 339725 w 550863"/>
                <a:gd name="connsiteY176" fmla="*/ 14287 h 353631"/>
                <a:gd name="connsiteX177" fmla="*/ 338138 w 550863"/>
                <a:gd name="connsiteY177" fmla="*/ 15875 h 353631"/>
                <a:gd name="connsiteX178" fmla="*/ 334963 w 550863"/>
                <a:gd name="connsiteY178" fmla="*/ 22225 h 353631"/>
                <a:gd name="connsiteX179" fmla="*/ 328613 w 550863"/>
                <a:gd name="connsiteY179" fmla="*/ 23812 h 353631"/>
                <a:gd name="connsiteX180" fmla="*/ 323850 w 550863"/>
                <a:gd name="connsiteY180" fmla="*/ 26987 h 353631"/>
                <a:gd name="connsiteX181" fmla="*/ 314325 w 550863"/>
                <a:gd name="connsiteY181" fmla="*/ 34925 h 353631"/>
                <a:gd name="connsiteX182" fmla="*/ 306388 w 550863"/>
                <a:gd name="connsiteY182" fmla="*/ 36512 h 353631"/>
                <a:gd name="connsiteX183" fmla="*/ 296863 w 550863"/>
                <a:gd name="connsiteY183" fmla="*/ 33337 h 353631"/>
                <a:gd name="connsiteX184" fmla="*/ 292100 w 550863"/>
                <a:gd name="connsiteY184" fmla="*/ 30162 h 353631"/>
                <a:gd name="connsiteX185" fmla="*/ 282575 w 550863"/>
                <a:gd name="connsiteY185" fmla="*/ 28575 h 353631"/>
                <a:gd name="connsiteX186" fmla="*/ 271463 w 550863"/>
                <a:gd name="connsiteY186" fmla="*/ 23812 h 353631"/>
                <a:gd name="connsiteX187" fmla="*/ 265113 w 550863"/>
                <a:gd name="connsiteY187" fmla="*/ 25400 h 353631"/>
                <a:gd name="connsiteX188" fmla="*/ 246063 w 550863"/>
                <a:gd name="connsiteY188" fmla="*/ 38100 h 353631"/>
                <a:gd name="connsiteX189" fmla="*/ 231775 w 550863"/>
                <a:gd name="connsiteY189" fmla="*/ 36512 h 353631"/>
                <a:gd name="connsiteX190" fmla="*/ 222250 w 550863"/>
                <a:gd name="connsiteY190" fmla="*/ 33337 h 353631"/>
                <a:gd name="connsiteX191" fmla="*/ 211138 w 550863"/>
                <a:gd name="connsiteY191" fmla="*/ 26987 h 353631"/>
                <a:gd name="connsiteX0" fmla="*/ 211138 w 550863"/>
                <a:gd name="connsiteY0" fmla="*/ 26987 h 353631"/>
                <a:gd name="connsiteX1" fmla="*/ 206375 w 550863"/>
                <a:gd name="connsiteY1" fmla="*/ 34925 h 353631"/>
                <a:gd name="connsiteX2" fmla="*/ 196850 w 550863"/>
                <a:gd name="connsiteY2" fmla="*/ 42862 h 353631"/>
                <a:gd name="connsiteX3" fmla="*/ 192088 w 550863"/>
                <a:gd name="connsiteY3" fmla="*/ 47625 h 353631"/>
                <a:gd name="connsiteX4" fmla="*/ 180975 w 550863"/>
                <a:gd name="connsiteY4" fmla="*/ 57150 h 353631"/>
                <a:gd name="connsiteX5" fmla="*/ 174625 w 550863"/>
                <a:gd name="connsiteY5" fmla="*/ 61912 h 353631"/>
                <a:gd name="connsiteX6" fmla="*/ 166688 w 550863"/>
                <a:gd name="connsiteY6" fmla="*/ 58737 h 353631"/>
                <a:gd name="connsiteX7" fmla="*/ 161925 w 550863"/>
                <a:gd name="connsiteY7" fmla="*/ 57150 h 353631"/>
                <a:gd name="connsiteX8" fmla="*/ 155575 w 550863"/>
                <a:gd name="connsiteY8" fmla="*/ 53975 h 353631"/>
                <a:gd name="connsiteX9" fmla="*/ 134938 w 550863"/>
                <a:gd name="connsiteY9" fmla="*/ 47625 h 353631"/>
                <a:gd name="connsiteX10" fmla="*/ 127000 w 550863"/>
                <a:gd name="connsiteY10" fmla="*/ 60325 h 353631"/>
                <a:gd name="connsiteX11" fmla="*/ 120650 w 550863"/>
                <a:gd name="connsiteY11" fmla="*/ 63500 h 353631"/>
                <a:gd name="connsiteX12" fmla="*/ 114300 w 550863"/>
                <a:gd name="connsiteY12" fmla="*/ 68262 h 353631"/>
                <a:gd name="connsiteX13" fmla="*/ 128588 w 550863"/>
                <a:gd name="connsiteY13" fmla="*/ 73025 h 353631"/>
                <a:gd name="connsiteX14" fmla="*/ 131763 w 550863"/>
                <a:gd name="connsiteY14" fmla="*/ 79375 h 353631"/>
                <a:gd name="connsiteX15" fmla="*/ 127000 w 550863"/>
                <a:gd name="connsiteY15" fmla="*/ 90487 h 353631"/>
                <a:gd name="connsiteX16" fmla="*/ 117475 w 550863"/>
                <a:gd name="connsiteY16" fmla="*/ 100012 h 353631"/>
                <a:gd name="connsiteX17" fmla="*/ 109538 w 550863"/>
                <a:gd name="connsiteY17" fmla="*/ 103187 h 353631"/>
                <a:gd name="connsiteX18" fmla="*/ 104775 w 550863"/>
                <a:gd name="connsiteY18" fmla="*/ 109537 h 353631"/>
                <a:gd name="connsiteX19" fmla="*/ 96838 w 550863"/>
                <a:gd name="connsiteY19" fmla="*/ 112712 h 353631"/>
                <a:gd name="connsiteX20" fmla="*/ 92075 w 550863"/>
                <a:gd name="connsiteY20" fmla="*/ 115887 h 353631"/>
                <a:gd name="connsiteX21" fmla="*/ 84138 w 550863"/>
                <a:gd name="connsiteY21" fmla="*/ 128587 h 353631"/>
                <a:gd name="connsiteX22" fmla="*/ 79375 w 550863"/>
                <a:gd name="connsiteY22" fmla="*/ 133350 h 353631"/>
                <a:gd name="connsiteX23" fmla="*/ 71438 w 550863"/>
                <a:gd name="connsiteY23" fmla="*/ 141287 h 353631"/>
                <a:gd name="connsiteX24" fmla="*/ 63500 w 550863"/>
                <a:gd name="connsiteY24" fmla="*/ 149225 h 353631"/>
                <a:gd name="connsiteX25" fmla="*/ 58738 w 550863"/>
                <a:gd name="connsiteY25" fmla="*/ 155575 h 353631"/>
                <a:gd name="connsiteX26" fmla="*/ 57150 w 550863"/>
                <a:gd name="connsiteY26" fmla="*/ 160337 h 353631"/>
                <a:gd name="connsiteX27" fmla="*/ 55563 w 550863"/>
                <a:gd name="connsiteY27" fmla="*/ 166687 h 353631"/>
                <a:gd name="connsiteX28" fmla="*/ 52388 w 550863"/>
                <a:gd name="connsiteY28" fmla="*/ 171450 h 353631"/>
                <a:gd name="connsiteX29" fmla="*/ 44450 w 550863"/>
                <a:gd name="connsiteY29" fmla="*/ 182562 h 353631"/>
                <a:gd name="connsiteX30" fmla="*/ 39688 w 550863"/>
                <a:gd name="connsiteY30" fmla="*/ 188912 h 353631"/>
                <a:gd name="connsiteX31" fmla="*/ 26988 w 550863"/>
                <a:gd name="connsiteY31" fmla="*/ 192087 h 353631"/>
                <a:gd name="connsiteX32" fmla="*/ 22225 w 550863"/>
                <a:gd name="connsiteY32" fmla="*/ 195262 h 353631"/>
                <a:gd name="connsiteX33" fmla="*/ 14288 w 550863"/>
                <a:gd name="connsiteY33" fmla="*/ 198437 h 353631"/>
                <a:gd name="connsiteX34" fmla="*/ 11113 w 550863"/>
                <a:gd name="connsiteY34" fmla="*/ 204787 h 353631"/>
                <a:gd name="connsiteX35" fmla="*/ 12700 w 550863"/>
                <a:gd name="connsiteY35" fmla="*/ 244475 h 353631"/>
                <a:gd name="connsiteX36" fmla="*/ 14288 w 550863"/>
                <a:gd name="connsiteY36" fmla="*/ 250825 h 353631"/>
                <a:gd name="connsiteX37" fmla="*/ 19050 w 550863"/>
                <a:gd name="connsiteY37" fmla="*/ 255587 h 353631"/>
                <a:gd name="connsiteX38" fmla="*/ 12700 w 550863"/>
                <a:gd name="connsiteY38" fmla="*/ 258762 h 353631"/>
                <a:gd name="connsiteX39" fmla="*/ 0 w 550863"/>
                <a:gd name="connsiteY39" fmla="*/ 271462 h 353631"/>
                <a:gd name="connsiteX40" fmla="*/ 3175 w 550863"/>
                <a:gd name="connsiteY40" fmla="*/ 276225 h 353631"/>
                <a:gd name="connsiteX41" fmla="*/ 11113 w 550863"/>
                <a:gd name="connsiteY41" fmla="*/ 279400 h 353631"/>
                <a:gd name="connsiteX42" fmla="*/ 23813 w 550863"/>
                <a:gd name="connsiteY42" fmla="*/ 276225 h 353631"/>
                <a:gd name="connsiteX43" fmla="*/ 28575 w 550863"/>
                <a:gd name="connsiteY43" fmla="*/ 268287 h 353631"/>
                <a:gd name="connsiteX44" fmla="*/ 28575 w 550863"/>
                <a:gd name="connsiteY44" fmla="*/ 242887 h 353631"/>
                <a:gd name="connsiteX45" fmla="*/ 34925 w 550863"/>
                <a:gd name="connsiteY45" fmla="*/ 239712 h 353631"/>
                <a:gd name="connsiteX46" fmla="*/ 49213 w 550863"/>
                <a:gd name="connsiteY46" fmla="*/ 236537 h 353631"/>
                <a:gd name="connsiteX47" fmla="*/ 57150 w 550863"/>
                <a:gd name="connsiteY47" fmla="*/ 228600 h 353631"/>
                <a:gd name="connsiteX48" fmla="*/ 58738 w 550863"/>
                <a:gd name="connsiteY48" fmla="*/ 223837 h 353631"/>
                <a:gd name="connsiteX49" fmla="*/ 66675 w 550863"/>
                <a:gd name="connsiteY49" fmla="*/ 217487 h 353631"/>
                <a:gd name="connsiteX50" fmla="*/ 77788 w 550863"/>
                <a:gd name="connsiteY50" fmla="*/ 222250 h 353631"/>
                <a:gd name="connsiteX51" fmla="*/ 87313 w 550863"/>
                <a:gd name="connsiteY51" fmla="*/ 225425 h 353631"/>
                <a:gd name="connsiteX52" fmla="*/ 101600 w 550863"/>
                <a:gd name="connsiteY52" fmla="*/ 233362 h 353631"/>
                <a:gd name="connsiteX53" fmla="*/ 103188 w 550863"/>
                <a:gd name="connsiteY53" fmla="*/ 252412 h 353631"/>
                <a:gd name="connsiteX54" fmla="*/ 104775 w 550863"/>
                <a:gd name="connsiteY54" fmla="*/ 284162 h 353631"/>
                <a:gd name="connsiteX55" fmla="*/ 109538 w 550863"/>
                <a:gd name="connsiteY55" fmla="*/ 287337 h 353631"/>
                <a:gd name="connsiteX56" fmla="*/ 111125 w 550863"/>
                <a:gd name="connsiteY56" fmla="*/ 296862 h 353631"/>
                <a:gd name="connsiteX57" fmla="*/ 112713 w 550863"/>
                <a:gd name="connsiteY57" fmla="*/ 301625 h 353631"/>
                <a:gd name="connsiteX58" fmla="*/ 111125 w 550863"/>
                <a:gd name="connsiteY58" fmla="*/ 307975 h 353631"/>
                <a:gd name="connsiteX59" fmla="*/ 115888 w 550863"/>
                <a:gd name="connsiteY59" fmla="*/ 314325 h 353631"/>
                <a:gd name="connsiteX60" fmla="*/ 122238 w 550863"/>
                <a:gd name="connsiteY60" fmla="*/ 315912 h 353631"/>
                <a:gd name="connsiteX61" fmla="*/ 125413 w 550863"/>
                <a:gd name="connsiteY61" fmla="*/ 325437 h 353631"/>
                <a:gd name="connsiteX62" fmla="*/ 127000 w 550863"/>
                <a:gd name="connsiteY62" fmla="*/ 334962 h 353631"/>
                <a:gd name="connsiteX63" fmla="*/ 142875 w 550863"/>
                <a:gd name="connsiteY63" fmla="*/ 336550 h 353631"/>
                <a:gd name="connsiteX64" fmla="*/ 149225 w 550863"/>
                <a:gd name="connsiteY64" fmla="*/ 328612 h 353631"/>
                <a:gd name="connsiteX65" fmla="*/ 152400 w 550863"/>
                <a:gd name="connsiteY65" fmla="*/ 323850 h 353631"/>
                <a:gd name="connsiteX66" fmla="*/ 158750 w 550863"/>
                <a:gd name="connsiteY66" fmla="*/ 327025 h 353631"/>
                <a:gd name="connsiteX67" fmla="*/ 168275 w 550863"/>
                <a:gd name="connsiteY67" fmla="*/ 334962 h 353631"/>
                <a:gd name="connsiteX68" fmla="*/ 173038 w 550863"/>
                <a:gd name="connsiteY68" fmla="*/ 328612 h 353631"/>
                <a:gd name="connsiteX69" fmla="*/ 179388 w 550863"/>
                <a:gd name="connsiteY69" fmla="*/ 323850 h 353631"/>
                <a:gd name="connsiteX70" fmla="*/ 190500 w 550863"/>
                <a:gd name="connsiteY70" fmla="*/ 320675 h 353631"/>
                <a:gd name="connsiteX71" fmla="*/ 200025 w 550863"/>
                <a:gd name="connsiteY71" fmla="*/ 325437 h 353631"/>
                <a:gd name="connsiteX72" fmla="*/ 209550 w 550863"/>
                <a:gd name="connsiteY72" fmla="*/ 327025 h 353631"/>
                <a:gd name="connsiteX73" fmla="*/ 211138 w 550863"/>
                <a:gd name="connsiteY73" fmla="*/ 331787 h 353631"/>
                <a:gd name="connsiteX74" fmla="*/ 212725 w 550863"/>
                <a:gd name="connsiteY74" fmla="*/ 338137 h 353631"/>
                <a:gd name="connsiteX75" fmla="*/ 225425 w 550863"/>
                <a:gd name="connsiteY75" fmla="*/ 336550 h 353631"/>
                <a:gd name="connsiteX76" fmla="*/ 227013 w 550863"/>
                <a:gd name="connsiteY76" fmla="*/ 331787 h 353631"/>
                <a:gd name="connsiteX77" fmla="*/ 231775 w 550863"/>
                <a:gd name="connsiteY77" fmla="*/ 327025 h 353631"/>
                <a:gd name="connsiteX78" fmla="*/ 234950 w 550863"/>
                <a:gd name="connsiteY78" fmla="*/ 319087 h 353631"/>
                <a:gd name="connsiteX79" fmla="*/ 239713 w 550863"/>
                <a:gd name="connsiteY79" fmla="*/ 315912 h 353631"/>
                <a:gd name="connsiteX80" fmla="*/ 254000 w 550863"/>
                <a:gd name="connsiteY80" fmla="*/ 306387 h 353631"/>
                <a:gd name="connsiteX81" fmla="*/ 252413 w 550863"/>
                <a:gd name="connsiteY81" fmla="*/ 292100 h 353631"/>
                <a:gd name="connsiteX82" fmla="*/ 254000 w 550863"/>
                <a:gd name="connsiteY82" fmla="*/ 276225 h 353631"/>
                <a:gd name="connsiteX83" fmla="*/ 258763 w 550863"/>
                <a:gd name="connsiteY83" fmla="*/ 269875 h 353631"/>
                <a:gd name="connsiteX84" fmla="*/ 269875 w 550863"/>
                <a:gd name="connsiteY84" fmla="*/ 258762 h 353631"/>
                <a:gd name="connsiteX85" fmla="*/ 274638 w 550863"/>
                <a:gd name="connsiteY85" fmla="*/ 254000 h 353631"/>
                <a:gd name="connsiteX86" fmla="*/ 280988 w 550863"/>
                <a:gd name="connsiteY86" fmla="*/ 250825 h 353631"/>
                <a:gd name="connsiteX87" fmla="*/ 285750 w 550863"/>
                <a:gd name="connsiteY87" fmla="*/ 249237 h 353631"/>
                <a:gd name="connsiteX88" fmla="*/ 295275 w 550863"/>
                <a:gd name="connsiteY88" fmla="*/ 244475 h 353631"/>
                <a:gd name="connsiteX89" fmla="*/ 301625 w 550863"/>
                <a:gd name="connsiteY89" fmla="*/ 271462 h 353631"/>
                <a:gd name="connsiteX90" fmla="*/ 311150 w 550863"/>
                <a:gd name="connsiteY90" fmla="*/ 282575 h 353631"/>
                <a:gd name="connsiteX91" fmla="*/ 314325 w 550863"/>
                <a:gd name="connsiteY91" fmla="*/ 287337 h 353631"/>
                <a:gd name="connsiteX92" fmla="*/ 315913 w 550863"/>
                <a:gd name="connsiteY92" fmla="*/ 292100 h 353631"/>
                <a:gd name="connsiteX93" fmla="*/ 320675 w 550863"/>
                <a:gd name="connsiteY93" fmla="*/ 295275 h 353631"/>
                <a:gd name="connsiteX94" fmla="*/ 339725 w 550863"/>
                <a:gd name="connsiteY94" fmla="*/ 298450 h 353631"/>
                <a:gd name="connsiteX95" fmla="*/ 344488 w 550863"/>
                <a:gd name="connsiteY95" fmla="*/ 303212 h 353631"/>
                <a:gd name="connsiteX96" fmla="*/ 349250 w 550863"/>
                <a:gd name="connsiteY96" fmla="*/ 315912 h 353631"/>
                <a:gd name="connsiteX97" fmla="*/ 350838 w 550863"/>
                <a:gd name="connsiteY97" fmla="*/ 325437 h 353631"/>
                <a:gd name="connsiteX98" fmla="*/ 355600 w 550863"/>
                <a:gd name="connsiteY98" fmla="*/ 331787 h 353631"/>
                <a:gd name="connsiteX99" fmla="*/ 358775 w 550863"/>
                <a:gd name="connsiteY99" fmla="*/ 336550 h 353631"/>
                <a:gd name="connsiteX100" fmla="*/ 366713 w 550863"/>
                <a:gd name="connsiteY100" fmla="*/ 349250 h 353631"/>
                <a:gd name="connsiteX101" fmla="*/ 380999 w 550863"/>
                <a:gd name="connsiteY101" fmla="*/ 353219 h 353631"/>
                <a:gd name="connsiteX102" fmla="*/ 388938 w 550863"/>
                <a:gd name="connsiteY102" fmla="*/ 338137 h 353631"/>
                <a:gd name="connsiteX103" fmla="*/ 373063 w 550863"/>
                <a:gd name="connsiteY103" fmla="*/ 312737 h 353631"/>
                <a:gd name="connsiteX104" fmla="*/ 374650 w 550863"/>
                <a:gd name="connsiteY104" fmla="*/ 307975 h 353631"/>
                <a:gd name="connsiteX105" fmla="*/ 377825 w 550863"/>
                <a:gd name="connsiteY105" fmla="*/ 303212 h 353631"/>
                <a:gd name="connsiteX106" fmla="*/ 384175 w 550863"/>
                <a:gd name="connsiteY106" fmla="*/ 298450 h 353631"/>
                <a:gd name="connsiteX107" fmla="*/ 396875 w 550863"/>
                <a:gd name="connsiteY107" fmla="*/ 290512 h 353631"/>
                <a:gd name="connsiteX108" fmla="*/ 401638 w 550863"/>
                <a:gd name="connsiteY108" fmla="*/ 287337 h 353631"/>
                <a:gd name="connsiteX109" fmla="*/ 406400 w 550863"/>
                <a:gd name="connsiteY109" fmla="*/ 280987 h 353631"/>
                <a:gd name="connsiteX110" fmla="*/ 411163 w 550863"/>
                <a:gd name="connsiteY110" fmla="*/ 276225 h 353631"/>
                <a:gd name="connsiteX111" fmla="*/ 412750 w 550863"/>
                <a:gd name="connsiteY111" fmla="*/ 260350 h 353631"/>
                <a:gd name="connsiteX112" fmla="*/ 414338 w 550863"/>
                <a:gd name="connsiteY112" fmla="*/ 236537 h 353631"/>
                <a:gd name="connsiteX113" fmla="*/ 428625 w 550863"/>
                <a:gd name="connsiteY113" fmla="*/ 239712 h 353631"/>
                <a:gd name="connsiteX114" fmla="*/ 430213 w 550863"/>
                <a:gd name="connsiteY114" fmla="*/ 246062 h 353631"/>
                <a:gd name="connsiteX115" fmla="*/ 433388 w 550863"/>
                <a:gd name="connsiteY115" fmla="*/ 250825 h 353631"/>
                <a:gd name="connsiteX116" fmla="*/ 434975 w 550863"/>
                <a:gd name="connsiteY116" fmla="*/ 260350 h 353631"/>
                <a:gd name="connsiteX117" fmla="*/ 447675 w 550863"/>
                <a:gd name="connsiteY117" fmla="*/ 271462 h 353631"/>
                <a:gd name="connsiteX118" fmla="*/ 460375 w 550863"/>
                <a:gd name="connsiteY118" fmla="*/ 266700 h 353631"/>
                <a:gd name="connsiteX119" fmla="*/ 461963 w 550863"/>
                <a:gd name="connsiteY119" fmla="*/ 261937 h 353631"/>
                <a:gd name="connsiteX120" fmla="*/ 468313 w 550863"/>
                <a:gd name="connsiteY120" fmla="*/ 260350 h 353631"/>
                <a:gd name="connsiteX121" fmla="*/ 476250 w 550863"/>
                <a:gd name="connsiteY121" fmla="*/ 258762 h 353631"/>
                <a:gd name="connsiteX122" fmla="*/ 481013 w 550863"/>
                <a:gd name="connsiteY122" fmla="*/ 255587 h 353631"/>
                <a:gd name="connsiteX123" fmla="*/ 488950 w 550863"/>
                <a:gd name="connsiteY123" fmla="*/ 261937 h 353631"/>
                <a:gd name="connsiteX124" fmla="*/ 492125 w 550863"/>
                <a:gd name="connsiteY124" fmla="*/ 268287 h 353631"/>
                <a:gd name="connsiteX125" fmla="*/ 496888 w 550863"/>
                <a:gd name="connsiteY125" fmla="*/ 271462 h 353631"/>
                <a:gd name="connsiteX126" fmla="*/ 501650 w 550863"/>
                <a:gd name="connsiteY126" fmla="*/ 276225 h 353631"/>
                <a:gd name="connsiteX127" fmla="*/ 509588 w 550863"/>
                <a:gd name="connsiteY127" fmla="*/ 292100 h 353631"/>
                <a:gd name="connsiteX128" fmla="*/ 509588 w 550863"/>
                <a:gd name="connsiteY128" fmla="*/ 252412 h 353631"/>
                <a:gd name="connsiteX129" fmla="*/ 504825 w 550863"/>
                <a:gd name="connsiteY129" fmla="*/ 246062 h 353631"/>
                <a:gd name="connsiteX130" fmla="*/ 501650 w 550863"/>
                <a:gd name="connsiteY130" fmla="*/ 239712 h 353631"/>
                <a:gd name="connsiteX131" fmla="*/ 503238 w 550863"/>
                <a:gd name="connsiteY131" fmla="*/ 227012 h 353631"/>
                <a:gd name="connsiteX132" fmla="*/ 509588 w 550863"/>
                <a:gd name="connsiteY132" fmla="*/ 217487 h 353631"/>
                <a:gd name="connsiteX133" fmla="*/ 511175 w 550863"/>
                <a:gd name="connsiteY133" fmla="*/ 211137 h 353631"/>
                <a:gd name="connsiteX134" fmla="*/ 519113 w 550863"/>
                <a:gd name="connsiteY134" fmla="*/ 214312 h 353631"/>
                <a:gd name="connsiteX135" fmla="*/ 523875 w 550863"/>
                <a:gd name="connsiteY135" fmla="*/ 215900 h 353631"/>
                <a:gd name="connsiteX136" fmla="*/ 534988 w 550863"/>
                <a:gd name="connsiteY136" fmla="*/ 222250 h 353631"/>
                <a:gd name="connsiteX137" fmla="*/ 538163 w 550863"/>
                <a:gd name="connsiteY137" fmla="*/ 227012 h 353631"/>
                <a:gd name="connsiteX138" fmla="*/ 550863 w 550863"/>
                <a:gd name="connsiteY138" fmla="*/ 227012 h 353631"/>
                <a:gd name="connsiteX139" fmla="*/ 549275 w 550863"/>
                <a:gd name="connsiteY139" fmla="*/ 212725 h 353631"/>
                <a:gd name="connsiteX140" fmla="*/ 544513 w 550863"/>
                <a:gd name="connsiteY140" fmla="*/ 207962 h 353631"/>
                <a:gd name="connsiteX141" fmla="*/ 541338 w 550863"/>
                <a:gd name="connsiteY141" fmla="*/ 195262 h 353631"/>
                <a:gd name="connsiteX142" fmla="*/ 549910 w 550863"/>
                <a:gd name="connsiteY142" fmla="*/ 164782 h 353631"/>
                <a:gd name="connsiteX143" fmla="*/ 522605 w 550863"/>
                <a:gd name="connsiteY143" fmla="*/ 156527 h 353631"/>
                <a:gd name="connsiteX144" fmla="*/ 495300 w 550863"/>
                <a:gd name="connsiteY144" fmla="*/ 165100 h 353631"/>
                <a:gd name="connsiteX145" fmla="*/ 493713 w 550863"/>
                <a:gd name="connsiteY145" fmla="*/ 160337 h 353631"/>
                <a:gd name="connsiteX146" fmla="*/ 484188 w 550863"/>
                <a:gd name="connsiteY146" fmla="*/ 152400 h 353631"/>
                <a:gd name="connsiteX147" fmla="*/ 481013 w 550863"/>
                <a:gd name="connsiteY147" fmla="*/ 144462 h 353631"/>
                <a:gd name="connsiteX148" fmla="*/ 460375 w 550863"/>
                <a:gd name="connsiteY148" fmla="*/ 139700 h 353631"/>
                <a:gd name="connsiteX149" fmla="*/ 452438 w 550863"/>
                <a:gd name="connsiteY149" fmla="*/ 134937 h 353631"/>
                <a:gd name="connsiteX150" fmla="*/ 447675 w 550863"/>
                <a:gd name="connsiteY150" fmla="*/ 127000 h 353631"/>
                <a:gd name="connsiteX151" fmla="*/ 434975 w 550863"/>
                <a:gd name="connsiteY151" fmla="*/ 125412 h 353631"/>
                <a:gd name="connsiteX152" fmla="*/ 436563 w 550863"/>
                <a:gd name="connsiteY152" fmla="*/ 120650 h 353631"/>
                <a:gd name="connsiteX153" fmla="*/ 436563 w 550863"/>
                <a:gd name="connsiteY153" fmla="*/ 98425 h 353631"/>
                <a:gd name="connsiteX154" fmla="*/ 430213 w 550863"/>
                <a:gd name="connsiteY154" fmla="*/ 92075 h 353631"/>
                <a:gd name="connsiteX155" fmla="*/ 436563 w 550863"/>
                <a:gd name="connsiteY155" fmla="*/ 88900 h 353631"/>
                <a:gd name="connsiteX156" fmla="*/ 452438 w 550863"/>
                <a:gd name="connsiteY156" fmla="*/ 87312 h 353631"/>
                <a:gd name="connsiteX157" fmla="*/ 454025 w 550863"/>
                <a:gd name="connsiteY157" fmla="*/ 79375 h 353631"/>
                <a:gd name="connsiteX158" fmla="*/ 452438 w 550863"/>
                <a:gd name="connsiteY158" fmla="*/ 74612 h 353631"/>
                <a:gd name="connsiteX159" fmla="*/ 442913 w 550863"/>
                <a:gd name="connsiteY159" fmla="*/ 60325 h 353631"/>
                <a:gd name="connsiteX160" fmla="*/ 438150 w 550863"/>
                <a:gd name="connsiteY160" fmla="*/ 47625 h 353631"/>
                <a:gd name="connsiteX161" fmla="*/ 430213 w 550863"/>
                <a:gd name="connsiteY161" fmla="*/ 46037 h 353631"/>
                <a:gd name="connsiteX162" fmla="*/ 423863 w 550863"/>
                <a:gd name="connsiteY162" fmla="*/ 39687 h 353631"/>
                <a:gd name="connsiteX163" fmla="*/ 411163 w 550863"/>
                <a:gd name="connsiteY163" fmla="*/ 34925 h 353631"/>
                <a:gd name="connsiteX164" fmla="*/ 401638 w 550863"/>
                <a:gd name="connsiteY164" fmla="*/ 26987 h 353631"/>
                <a:gd name="connsiteX165" fmla="*/ 392113 w 550863"/>
                <a:gd name="connsiteY165" fmla="*/ 23812 h 353631"/>
                <a:gd name="connsiteX166" fmla="*/ 387350 w 550863"/>
                <a:gd name="connsiteY166" fmla="*/ 19050 h 353631"/>
                <a:gd name="connsiteX167" fmla="*/ 377825 w 550863"/>
                <a:gd name="connsiteY167" fmla="*/ 15875 h 353631"/>
                <a:gd name="connsiteX168" fmla="*/ 363538 w 550863"/>
                <a:gd name="connsiteY168" fmla="*/ 17462 h 353631"/>
                <a:gd name="connsiteX169" fmla="*/ 354013 w 550863"/>
                <a:gd name="connsiteY169" fmla="*/ 19050 h 353631"/>
                <a:gd name="connsiteX170" fmla="*/ 342900 w 550863"/>
                <a:gd name="connsiteY170" fmla="*/ 7937 h 353631"/>
                <a:gd name="connsiteX171" fmla="*/ 328613 w 550863"/>
                <a:gd name="connsiteY171" fmla="*/ 0 h 353631"/>
                <a:gd name="connsiteX172" fmla="*/ 312738 w 550863"/>
                <a:gd name="connsiteY172" fmla="*/ 1587 h 353631"/>
                <a:gd name="connsiteX173" fmla="*/ 306388 w 550863"/>
                <a:gd name="connsiteY173" fmla="*/ 9525 h 353631"/>
                <a:gd name="connsiteX174" fmla="*/ 311150 w 550863"/>
                <a:gd name="connsiteY174" fmla="*/ 11112 h 353631"/>
                <a:gd name="connsiteX175" fmla="*/ 315913 w 550863"/>
                <a:gd name="connsiteY175" fmla="*/ 15875 h 353631"/>
                <a:gd name="connsiteX176" fmla="*/ 339725 w 550863"/>
                <a:gd name="connsiteY176" fmla="*/ 14287 h 353631"/>
                <a:gd name="connsiteX177" fmla="*/ 338138 w 550863"/>
                <a:gd name="connsiteY177" fmla="*/ 15875 h 353631"/>
                <a:gd name="connsiteX178" fmla="*/ 334963 w 550863"/>
                <a:gd name="connsiteY178" fmla="*/ 22225 h 353631"/>
                <a:gd name="connsiteX179" fmla="*/ 328613 w 550863"/>
                <a:gd name="connsiteY179" fmla="*/ 23812 h 353631"/>
                <a:gd name="connsiteX180" fmla="*/ 323850 w 550863"/>
                <a:gd name="connsiteY180" fmla="*/ 26987 h 353631"/>
                <a:gd name="connsiteX181" fmla="*/ 314325 w 550863"/>
                <a:gd name="connsiteY181" fmla="*/ 34925 h 353631"/>
                <a:gd name="connsiteX182" fmla="*/ 306388 w 550863"/>
                <a:gd name="connsiteY182" fmla="*/ 36512 h 353631"/>
                <a:gd name="connsiteX183" fmla="*/ 296863 w 550863"/>
                <a:gd name="connsiteY183" fmla="*/ 33337 h 353631"/>
                <a:gd name="connsiteX184" fmla="*/ 292100 w 550863"/>
                <a:gd name="connsiteY184" fmla="*/ 30162 h 353631"/>
                <a:gd name="connsiteX185" fmla="*/ 282575 w 550863"/>
                <a:gd name="connsiteY185" fmla="*/ 28575 h 353631"/>
                <a:gd name="connsiteX186" fmla="*/ 271463 w 550863"/>
                <a:gd name="connsiteY186" fmla="*/ 23812 h 353631"/>
                <a:gd name="connsiteX187" fmla="*/ 265113 w 550863"/>
                <a:gd name="connsiteY187" fmla="*/ 25400 h 353631"/>
                <a:gd name="connsiteX188" fmla="*/ 246063 w 550863"/>
                <a:gd name="connsiteY188" fmla="*/ 38100 h 353631"/>
                <a:gd name="connsiteX189" fmla="*/ 231775 w 550863"/>
                <a:gd name="connsiteY189" fmla="*/ 36512 h 353631"/>
                <a:gd name="connsiteX190" fmla="*/ 222250 w 550863"/>
                <a:gd name="connsiteY190" fmla="*/ 33337 h 353631"/>
                <a:gd name="connsiteX191" fmla="*/ 211138 w 550863"/>
                <a:gd name="connsiteY191" fmla="*/ 26987 h 353631"/>
                <a:gd name="connsiteX0" fmla="*/ 211138 w 552855"/>
                <a:gd name="connsiteY0" fmla="*/ 26987 h 353631"/>
                <a:gd name="connsiteX1" fmla="*/ 206375 w 552855"/>
                <a:gd name="connsiteY1" fmla="*/ 34925 h 353631"/>
                <a:gd name="connsiteX2" fmla="*/ 196850 w 552855"/>
                <a:gd name="connsiteY2" fmla="*/ 42862 h 353631"/>
                <a:gd name="connsiteX3" fmla="*/ 192088 w 552855"/>
                <a:gd name="connsiteY3" fmla="*/ 47625 h 353631"/>
                <a:gd name="connsiteX4" fmla="*/ 180975 w 552855"/>
                <a:gd name="connsiteY4" fmla="*/ 57150 h 353631"/>
                <a:gd name="connsiteX5" fmla="*/ 174625 w 552855"/>
                <a:gd name="connsiteY5" fmla="*/ 61912 h 353631"/>
                <a:gd name="connsiteX6" fmla="*/ 166688 w 552855"/>
                <a:gd name="connsiteY6" fmla="*/ 58737 h 353631"/>
                <a:gd name="connsiteX7" fmla="*/ 161925 w 552855"/>
                <a:gd name="connsiteY7" fmla="*/ 57150 h 353631"/>
                <a:gd name="connsiteX8" fmla="*/ 155575 w 552855"/>
                <a:gd name="connsiteY8" fmla="*/ 53975 h 353631"/>
                <a:gd name="connsiteX9" fmla="*/ 134938 w 552855"/>
                <a:gd name="connsiteY9" fmla="*/ 47625 h 353631"/>
                <a:gd name="connsiteX10" fmla="*/ 127000 w 552855"/>
                <a:gd name="connsiteY10" fmla="*/ 60325 h 353631"/>
                <a:gd name="connsiteX11" fmla="*/ 120650 w 552855"/>
                <a:gd name="connsiteY11" fmla="*/ 63500 h 353631"/>
                <a:gd name="connsiteX12" fmla="*/ 114300 w 552855"/>
                <a:gd name="connsiteY12" fmla="*/ 68262 h 353631"/>
                <a:gd name="connsiteX13" fmla="*/ 128588 w 552855"/>
                <a:gd name="connsiteY13" fmla="*/ 73025 h 353631"/>
                <a:gd name="connsiteX14" fmla="*/ 131763 w 552855"/>
                <a:gd name="connsiteY14" fmla="*/ 79375 h 353631"/>
                <a:gd name="connsiteX15" fmla="*/ 127000 w 552855"/>
                <a:gd name="connsiteY15" fmla="*/ 90487 h 353631"/>
                <a:gd name="connsiteX16" fmla="*/ 117475 w 552855"/>
                <a:gd name="connsiteY16" fmla="*/ 100012 h 353631"/>
                <a:gd name="connsiteX17" fmla="*/ 109538 w 552855"/>
                <a:gd name="connsiteY17" fmla="*/ 103187 h 353631"/>
                <a:gd name="connsiteX18" fmla="*/ 104775 w 552855"/>
                <a:gd name="connsiteY18" fmla="*/ 109537 h 353631"/>
                <a:gd name="connsiteX19" fmla="*/ 96838 w 552855"/>
                <a:gd name="connsiteY19" fmla="*/ 112712 h 353631"/>
                <a:gd name="connsiteX20" fmla="*/ 92075 w 552855"/>
                <a:gd name="connsiteY20" fmla="*/ 115887 h 353631"/>
                <a:gd name="connsiteX21" fmla="*/ 84138 w 552855"/>
                <a:gd name="connsiteY21" fmla="*/ 128587 h 353631"/>
                <a:gd name="connsiteX22" fmla="*/ 79375 w 552855"/>
                <a:gd name="connsiteY22" fmla="*/ 133350 h 353631"/>
                <a:gd name="connsiteX23" fmla="*/ 71438 w 552855"/>
                <a:gd name="connsiteY23" fmla="*/ 141287 h 353631"/>
                <a:gd name="connsiteX24" fmla="*/ 63500 w 552855"/>
                <a:gd name="connsiteY24" fmla="*/ 149225 h 353631"/>
                <a:gd name="connsiteX25" fmla="*/ 58738 w 552855"/>
                <a:gd name="connsiteY25" fmla="*/ 155575 h 353631"/>
                <a:gd name="connsiteX26" fmla="*/ 57150 w 552855"/>
                <a:gd name="connsiteY26" fmla="*/ 160337 h 353631"/>
                <a:gd name="connsiteX27" fmla="*/ 55563 w 552855"/>
                <a:gd name="connsiteY27" fmla="*/ 166687 h 353631"/>
                <a:gd name="connsiteX28" fmla="*/ 52388 w 552855"/>
                <a:gd name="connsiteY28" fmla="*/ 171450 h 353631"/>
                <a:gd name="connsiteX29" fmla="*/ 44450 w 552855"/>
                <a:gd name="connsiteY29" fmla="*/ 182562 h 353631"/>
                <a:gd name="connsiteX30" fmla="*/ 39688 w 552855"/>
                <a:gd name="connsiteY30" fmla="*/ 188912 h 353631"/>
                <a:gd name="connsiteX31" fmla="*/ 26988 w 552855"/>
                <a:gd name="connsiteY31" fmla="*/ 192087 h 353631"/>
                <a:gd name="connsiteX32" fmla="*/ 22225 w 552855"/>
                <a:gd name="connsiteY32" fmla="*/ 195262 h 353631"/>
                <a:gd name="connsiteX33" fmla="*/ 14288 w 552855"/>
                <a:gd name="connsiteY33" fmla="*/ 198437 h 353631"/>
                <a:gd name="connsiteX34" fmla="*/ 11113 w 552855"/>
                <a:gd name="connsiteY34" fmla="*/ 204787 h 353631"/>
                <a:gd name="connsiteX35" fmla="*/ 12700 w 552855"/>
                <a:gd name="connsiteY35" fmla="*/ 244475 h 353631"/>
                <a:gd name="connsiteX36" fmla="*/ 14288 w 552855"/>
                <a:gd name="connsiteY36" fmla="*/ 250825 h 353631"/>
                <a:gd name="connsiteX37" fmla="*/ 19050 w 552855"/>
                <a:gd name="connsiteY37" fmla="*/ 255587 h 353631"/>
                <a:gd name="connsiteX38" fmla="*/ 12700 w 552855"/>
                <a:gd name="connsiteY38" fmla="*/ 258762 h 353631"/>
                <a:gd name="connsiteX39" fmla="*/ 0 w 552855"/>
                <a:gd name="connsiteY39" fmla="*/ 271462 h 353631"/>
                <a:gd name="connsiteX40" fmla="*/ 3175 w 552855"/>
                <a:gd name="connsiteY40" fmla="*/ 276225 h 353631"/>
                <a:gd name="connsiteX41" fmla="*/ 11113 w 552855"/>
                <a:gd name="connsiteY41" fmla="*/ 279400 h 353631"/>
                <a:gd name="connsiteX42" fmla="*/ 23813 w 552855"/>
                <a:gd name="connsiteY42" fmla="*/ 276225 h 353631"/>
                <a:gd name="connsiteX43" fmla="*/ 28575 w 552855"/>
                <a:gd name="connsiteY43" fmla="*/ 268287 h 353631"/>
                <a:gd name="connsiteX44" fmla="*/ 28575 w 552855"/>
                <a:gd name="connsiteY44" fmla="*/ 242887 h 353631"/>
                <a:gd name="connsiteX45" fmla="*/ 34925 w 552855"/>
                <a:gd name="connsiteY45" fmla="*/ 239712 h 353631"/>
                <a:gd name="connsiteX46" fmla="*/ 49213 w 552855"/>
                <a:gd name="connsiteY46" fmla="*/ 236537 h 353631"/>
                <a:gd name="connsiteX47" fmla="*/ 57150 w 552855"/>
                <a:gd name="connsiteY47" fmla="*/ 228600 h 353631"/>
                <a:gd name="connsiteX48" fmla="*/ 58738 w 552855"/>
                <a:gd name="connsiteY48" fmla="*/ 223837 h 353631"/>
                <a:gd name="connsiteX49" fmla="*/ 66675 w 552855"/>
                <a:gd name="connsiteY49" fmla="*/ 217487 h 353631"/>
                <a:gd name="connsiteX50" fmla="*/ 77788 w 552855"/>
                <a:gd name="connsiteY50" fmla="*/ 222250 h 353631"/>
                <a:gd name="connsiteX51" fmla="*/ 87313 w 552855"/>
                <a:gd name="connsiteY51" fmla="*/ 225425 h 353631"/>
                <a:gd name="connsiteX52" fmla="*/ 101600 w 552855"/>
                <a:gd name="connsiteY52" fmla="*/ 233362 h 353631"/>
                <a:gd name="connsiteX53" fmla="*/ 103188 w 552855"/>
                <a:gd name="connsiteY53" fmla="*/ 252412 h 353631"/>
                <a:gd name="connsiteX54" fmla="*/ 104775 w 552855"/>
                <a:gd name="connsiteY54" fmla="*/ 284162 h 353631"/>
                <a:gd name="connsiteX55" fmla="*/ 109538 w 552855"/>
                <a:gd name="connsiteY55" fmla="*/ 287337 h 353631"/>
                <a:gd name="connsiteX56" fmla="*/ 111125 w 552855"/>
                <a:gd name="connsiteY56" fmla="*/ 296862 h 353631"/>
                <a:gd name="connsiteX57" fmla="*/ 112713 w 552855"/>
                <a:gd name="connsiteY57" fmla="*/ 301625 h 353631"/>
                <a:gd name="connsiteX58" fmla="*/ 111125 w 552855"/>
                <a:gd name="connsiteY58" fmla="*/ 307975 h 353631"/>
                <a:gd name="connsiteX59" fmla="*/ 115888 w 552855"/>
                <a:gd name="connsiteY59" fmla="*/ 314325 h 353631"/>
                <a:gd name="connsiteX60" fmla="*/ 122238 w 552855"/>
                <a:gd name="connsiteY60" fmla="*/ 315912 h 353631"/>
                <a:gd name="connsiteX61" fmla="*/ 125413 w 552855"/>
                <a:gd name="connsiteY61" fmla="*/ 325437 h 353631"/>
                <a:gd name="connsiteX62" fmla="*/ 127000 w 552855"/>
                <a:gd name="connsiteY62" fmla="*/ 334962 h 353631"/>
                <a:gd name="connsiteX63" fmla="*/ 142875 w 552855"/>
                <a:gd name="connsiteY63" fmla="*/ 336550 h 353631"/>
                <a:gd name="connsiteX64" fmla="*/ 149225 w 552855"/>
                <a:gd name="connsiteY64" fmla="*/ 328612 h 353631"/>
                <a:gd name="connsiteX65" fmla="*/ 152400 w 552855"/>
                <a:gd name="connsiteY65" fmla="*/ 323850 h 353631"/>
                <a:gd name="connsiteX66" fmla="*/ 158750 w 552855"/>
                <a:gd name="connsiteY66" fmla="*/ 327025 h 353631"/>
                <a:gd name="connsiteX67" fmla="*/ 168275 w 552855"/>
                <a:gd name="connsiteY67" fmla="*/ 334962 h 353631"/>
                <a:gd name="connsiteX68" fmla="*/ 173038 w 552855"/>
                <a:gd name="connsiteY68" fmla="*/ 328612 h 353631"/>
                <a:gd name="connsiteX69" fmla="*/ 179388 w 552855"/>
                <a:gd name="connsiteY69" fmla="*/ 323850 h 353631"/>
                <a:gd name="connsiteX70" fmla="*/ 190500 w 552855"/>
                <a:gd name="connsiteY70" fmla="*/ 320675 h 353631"/>
                <a:gd name="connsiteX71" fmla="*/ 200025 w 552855"/>
                <a:gd name="connsiteY71" fmla="*/ 325437 h 353631"/>
                <a:gd name="connsiteX72" fmla="*/ 209550 w 552855"/>
                <a:gd name="connsiteY72" fmla="*/ 327025 h 353631"/>
                <a:gd name="connsiteX73" fmla="*/ 211138 w 552855"/>
                <a:gd name="connsiteY73" fmla="*/ 331787 h 353631"/>
                <a:gd name="connsiteX74" fmla="*/ 212725 w 552855"/>
                <a:gd name="connsiteY74" fmla="*/ 338137 h 353631"/>
                <a:gd name="connsiteX75" fmla="*/ 225425 w 552855"/>
                <a:gd name="connsiteY75" fmla="*/ 336550 h 353631"/>
                <a:gd name="connsiteX76" fmla="*/ 227013 w 552855"/>
                <a:gd name="connsiteY76" fmla="*/ 331787 h 353631"/>
                <a:gd name="connsiteX77" fmla="*/ 231775 w 552855"/>
                <a:gd name="connsiteY77" fmla="*/ 327025 h 353631"/>
                <a:gd name="connsiteX78" fmla="*/ 234950 w 552855"/>
                <a:gd name="connsiteY78" fmla="*/ 319087 h 353631"/>
                <a:gd name="connsiteX79" fmla="*/ 239713 w 552855"/>
                <a:gd name="connsiteY79" fmla="*/ 315912 h 353631"/>
                <a:gd name="connsiteX80" fmla="*/ 254000 w 552855"/>
                <a:gd name="connsiteY80" fmla="*/ 306387 h 353631"/>
                <a:gd name="connsiteX81" fmla="*/ 252413 w 552855"/>
                <a:gd name="connsiteY81" fmla="*/ 292100 h 353631"/>
                <a:gd name="connsiteX82" fmla="*/ 254000 w 552855"/>
                <a:gd name="connsiteY82" fmla="*/ 276225 h 353631"/>
                <a:gd name="connsiteX83" fmla="*/ 258763 w 552855"/>
                <a:gd name="connsiteY83" fmla="*/ 269875 h 353631"/>
                <a:gd name="connsiteX84" fmla="*/ 269875 w 552855"/>
                <a:gd name="connsiteY84" fmla="*/ 258762 h 353631"/>
                <a:gd name="connsiteX85" fmla="*/ 274638 w 552855"/>
                <a:gd name="connsiteY85" fmla="*/ 254000 h 353631"/>
                <a:gd name="connsiteX86" fmla="*/ 280988 w 552855"/>
                <a:gd name="connsiteY86" fmla="*/ 250825 h 353631"/>
                <a:gd name="connsiteX87" fmla="*/ 285750 w 552855"/>
                <a:gd name="connsiteY87" fmla="*/ 249237 h 353631"/>
                <a:gd name="connsiteX88" fmla="*/ 295275 w 552855"/>
                <a:gd name="connsiteY88" fmla="*/ 244475 h 353631"/>
                <a:gd name="connsiteX89" fmla="*/ 301625 w 552855"/>
                <a:gd name="connsiteY89" fmla="*/ 271462 h 353631"/>
                <a:gd name="connsiteX90" fmla="*/ 311150 w 552855"/>
                <a:gd name="connsiteY90" fmla="*/ 282575 h 353631"/>
                <a:gd name="connsiteX91" fmla="*/ 314325 w 552855"/>
                <a:gd name="connsiteY91" fmla="*/ 287337 h 353631"/>
                <a:gd name="connsiteX92" fmla="*/ 315913 w 552855"/>
                <a:gd name="connsiteY92" fmla="*/ 292100 h 353631"/>
                <a:gd name="connsiteX93" fmla="*/ 320675 w 552855"/>
                <a:gd name="connsiteY93" fmla="*/ 295275 h 353631"/>
                <a:gd name="connsiteX94" fmla="*/ 339725 w 552855"/>
                <a:gd name="connsiteY94" fmla="*/ 298450 h 353631"/>
                <a:gd name="connsiteX95" fmla="*/ 344488 w 552855"/>
                <a:gd name="connsiteY95" fmla="*/ 303212 h 353631"/>
                <a:gd name="connsiteX96" fmla="*/ 349250 w 552855"/>
                <a:gd name="connsiteY96" fmla="*/ 315912 h 353631"/>
                <a:gd name="connsiteX97" fmla="*/ 350838 w 552855"/>
                <a:gd name="connsiteY97" fmla="*/ 325437 h 353631"/>
                <a:gd name="connsiteX98" fmla="*/ 355600 w 552855"/>
                <a:gd name="connsiteY98" fmla="*/ 331787 h 353631"/>
                <a:gd name="connsiteX99" fmla="*/ 358775 w 552855"/>
                <a:gd name="connsiteY99" fmla="*/ 336550 h 353631"/>
                <a:gd name="connsiteX100" fmla="*/ 366713 w 552855"/>
                <a:gd name="connsiteY100" fmla="*/ 349250 h 353631"/>
                <a:gd name="connsiteX101" fmla="*/ 380999 w 552855"/>
                <a:gd name="connsiteY101" fmla="*/ 353219 h 353631"/>
                <a:gd name="connsiteX102" fmla="*/ 388938 w 552855"/>
                <a:gd name="connsiteY102" fmla="*/ 338137 h 353631"/>
                <a:gd name="connsiteX103" fmla="*/ 373063 w 552855"/>
                <a:gd name="connsiteY103" fmla="*/ 312737 h 353631"/>
                <a:gd name="connsiteX104" fmla="*/ 374650 w 552855"/>
                <a:gd name="connsiteY104" fmla="*/ 307975 h 353631"/>
                <a:gd name="connsiteX105" fmla="*/ 377825 w 552855"/>
                <a:gd name="connsiteY105" fmla="*/ 303212 h 353631"/>
                <a:gd name="connsiteX106" fmla="*/ 384175 w 552855"/>
                <a:gd name="connsiteY106" fmla="*/ 298450 h 353631"/>
                <a:gd name="connsiteX107" fmla="*/ 396875 w 552855"/>
                <a:gd name="connsiteY107" fmla="*/ 290512 h 353631"/>
                <a:gd name="connsiteX108" fmla="*/ 401638 w 552855"/>
                <a:gd name="connsiteY108" fmla="*/ 287337 h 353631"/>
                <a:gd name="connsiteX109" fmla="*/ 406400 w 552855"/>
                <a:gd name="connsiteY109" fmla="*/ 280987 h 353631"/>
                <a:gd name="connsiteX110" fmla="*/ 411163 w 552855"/>
                <a:gd name="connsiteY110" fmla="*/ 276225 h 353631"/>
                <a:gd name="connsiteX111" fmla="*/ 412750 w 552855"/>
                <a:gd name="connsiteY111" fmla="*/ 260350 h 353631"/>
                <a:gd name="connsiteX112" fmla="*/ 414338 w 552855"/>
                <a:gd name="connsiteY112" fmla="*/ 236537 h 353631"/>
                <a:gd name="connsiteX113" fmla="*/ 428625 w 552855"/>
                <a:gd name="connsiteY113" fmla="*/ 239712 h 353631"/>
                <a:gd name="connsiteX114" fmla="*/ 430213 w 552855"/>
                <a:gd name="connsiteY114" fmla="*/ 246062 h 353631"/>
                <a:gd name="connsiteX115" fmla="*/ 433388 w 552855"/>
                <a:gd name="connsiteY115" fmla="*/ 250825 h 353631"/>
                <a:gd name="connsiteX116" fmla="*/ 434975 w 552855"/>
                <a:gd name="connsiteY116" fmla="*/ 260350 h 353631"/>
                <a:gd name="connsiteX117" fmla="*/ 447675 w 552855"/>
                <a:gd name="connsiteY117" fmla="*/ 271462 h 353631"/>
                <a:gd name="connsiteX118" fmla="*/ 460375 w 552855"/>
                <a:gd name="connsiteY118" fmla="*/ 266700 h 353631"/>
                <a:gd name="connsiteX119" fmla="*/ 461963 w 552855"/>
                <a:gd name="connsiteY119" fmla="*/ 261937 h 353631"/>
                <a:gd name="connsiteX120" fmla="*/ 468313 w 552855"/>
                <a:gd name="connsiteY120" fmla="*/ 260350 h 353631"/>
                <a:gd name="connsiteX121" fmla="*/ 476250 w 552855"/>
                <a:gd name="connsiteY121" fmla="*/ 258762 h 353631"/>
                <a:gd name="connsiteX122" fmla="*/ 481013 w 552855"/>
                <a:gd name="connsiteY122" fmla="*/ 255587 h 353631"/>
                <a:gd name="connsiteX123" fmla="*/ 488950 w 552855"/>
                <a:gd name="connsiteY123" fmla="*/ 261937 h 353631"/>
                <a:gd name="connsiteX124" fmla="*/ 492125 w 552855"/>
                <a:gd name="connsiteY124" fmla="*/ 268287 h 353631"/>
                <a:gd name="connsiteX125" fmla="*/ 496888 w 552855"/>
                <a:gd name="connsiteY125" fmla="*/ 271462 h 353631"/>
                <a:gd name="connsiteX126" fmla="*/ 501650 w 552855"/>
                <a:gd name="connsiteY126" fmla="*/ 276225 h 353631"/>
                <a:gd name="connsiteX127" fmla="*/ 509588 w 552855"/>
                <a:gd name="connsiteY127" fmla="*/ 292100 h 353631"/>
                <a:gd name="connsiteX128" fmla="*/ 509588 w 552855"/>
                <a:gd name="connsiteY128" fmla="*/ 252412 h 353631"/>
                <a:gd name="connsiteX129" fmla="*/ 504825 w 552855"/>
                <a:gd name="connsiteY129" fmla="*/ 246062 h 353631"/>
                <a:gd name="connsiteX130" fmla="*/ 501650 w 552855"/>
                <a:gd name="connsiteY130" fmla="*/ 239712 h 353631"/>
                <a:gd name="connsiteX131" fmla="*/ 503238 w 552855"/>
                <a:gd name="connsiteY131" fmla="*/ 227012 h 353631"/>
                <a:gd name="connsiteX132" fmla="*/ 509588 w 552855"/>
                <a:gd name="connsiteY132" fmla="*/ 217487 h 353631"/>
                <a:gd name="connsiteX133" fmla="*/ 511175 w 552855"/>
                <a:gd name="connsiteY133" fmla="*/ 211137 h 353631"/>
                <a:gd name="connsiteX134" fmla="*/ 519113 w 552855"/>
                <a:gd name="connsiteY134" fmla="*/ 214312 h 353631"/>
                <a:gd name="connsiteX135" fmla="*/ 523875 w 552855"/>
                <a:gd name="connsiteY135" fmla="*/ 215900 h 353631"/>
                <a:gd name="connsiteX136" fmla="*/ 534988 w 552855"/>
                <a:gd name="connsiteY136" fmla="*/ 222250 h 353631"/>
                <a:gd name="connsiteX137" fmla="*/ 538163 w 552855"/>
                <a:gd name="connsiteY137" fmla="*/ 227012 h 353631"/>
                <a:gd name="connsiteX138" fmla="*/ 550863 w 552855"/>
                <a:gd name="connsiteY138" fmla="*/ 227012 h 353631"/>
                <a:gd name="connsiteX139" fmla="*/ 549275 w 552855"/>
                <a:gd name="connsiteY139" fmla="*/ 212725 h 353631"/>
                <a:gd name="connsiteX140" fmla="*/ 544513 w 552855"/>
                <a:gd name="connsiteY140" fmla="*/ 207962 h 353631"/>
                <a:gd name="connsiteX141" fmla="*/ 551498 w 552855"/>
                <a:gd name="connsiteY141" fmla="*/ 192722 h 353631"/>
                <a:gd name="connsiteX142" fmla="*/ 549910 w 552855"/>
                <a:gd name="connsiteY142" fmla="*/ 164782 h 353631"/>
                <a:gd name="connsiteX143" fmla="*/ 522605 w 552855"/>
                <a:gd name="connsiteY143" fmla="*/ 156527 h 353631"/>
                <a:gd name="connsiteX144" fmla="*/ 495300 w 552855"/>
                <a:gd name="connsiteY144" fmla="*/ 165100 h 353631"/>
                <a:gd name="connsiteX145" fmla="*/ 493713 w 552855"/>
                <a:gd name="connsiteY145" fmla="*/ 160337 h 353631"/>
                <a:gd name="connsiteX146" fmla="*/ 484188 w 552855"/>
                <a:gd name="connsiteY146" fmla="*/ 152400 h 353631"/>
                <a:gd name="connsiteX147" fmla="*/ 481013 w 552855"/>
                <a:gd name="connsiteY147" fmla="*/ 144462 h 353631"/>
                <a:gd name="connsiteX148" fmla="*/ 460375 w 552855"/>
                <a:gd name="connsiteY148" fmla="*/ 139700 h 353631"/>
                <a:gd name="connsiteX149" fmla="*/ 452438 w 552855"/>
                <a:gd name="connsiteY149" fmla="*/ 134937 h 353631"/>
                <a:gd name="connsiteX150" fmla="*/ 447675 w 552855"/>
                <a:gd name="connsiteY150" fmla="*/ 127000 h 353631"/>
                <a:gd name="connsiteX151" fmla="*/ 434975 w 552855"/>
                <a:gd name="connsiteY151" fmla="*/ 125412 h 353631"/>
                <a:gd name="connsiteX152" fmla="*/ 436563 w 552855"/>
                <a:gd name="connsiteY152" fmla="*/ 120650 h 353631"/>
                <a:gd name="connsiteX153" fmla="*/ 436563 w 552855"/>
                <a:gd name="connsiteY153" fmla="*/ 98425 h 353631"/>
                <a:gd name="connsiteX154" fmla="*/ 430213 w 552855"/>
                <a:gd name="connsiteY154" fmla="*/ 92075 h 353631"/>
                <a:gd name="connsiteX155" fmla="*/ 436563 w 552855"/>
                <a:gd name="connsiteY155" fmla="*/ 88900 h 353631"/>
                <a:gd name="connsiteX156" fmla="*/ 452438 w 552855"/>
                <a:gd name="connsiteY156" fmla="*/ 87312 h 353631"/>
                <a:gd name="connsiteX157" fmla="*/ 454025 w 552855"/>
                <a:gd name="connsiteY157" fmla="*/ 79375 h 353631"/>
                <a:gd name="connsiteX158" fmla="*/ 452438 w 552855"/>
                <a:gd name="connsiteY158" fmla="*/ 74612 h 353631"/>
                <a:gd name="connsiteX159" fmla="*/ 442913 w 552855"/>
                <a:gd name="connsiteY159" fmla="*/ 60325 h 353631"/>
                <a:gd name="connsiteX160" fmla="*/ 438150 w 552855"/>
                <a:gd name="connsiteY160" fmla="*/ 47625 h 353631"/>
                <a:gd name="connsiteX161" fmla="*/ 430213 w 552855"/>
                <a:gd name="connsiteY161" fmla="*/ 46037 h 353631"/>
                <a:gd name="connsiteX162" fmla="*/ 423863 w 552855"/>
                <a:gd name="connsiteY162" fmla="*/ 39687 h 353631"/>
                <a:gd name="connsiteX163" fmla="*/ 411163 w 552855"/>
                <a:gd name="connsiteY163" fmla="*/ 34925 h 353631"/>
                <a:gd name="connsiteX164" fmla="*/ 401638 w 552855"/>
                <a:gd name="connsiteY164" fmla="*/ 26987 h 353631"/>
                <a:gd name="connsiteX165" fmla="*/ 392113 w 552855"/>
                <a:gd name="connsiteY165" fmla="*/ 23812 h 353631"/>
                <a:gd name="connsiteX166" fmla="*/ 387350 w 552855"/>
                <a:gd name="connsiteY166" fmla="*/ 19050 h 353631"/>
                <a:gd name="connsiteX167" fmla="*/ 377825 w 552855"/>
                <a:gd name="connsiteY167" fmla="*/ 15875 h 353631"/>
                <a:gd name="connsiteX168" fmla="*/ 363538 w 552855"/>
                <a:gd name="connsiteY168" fmla="*/ 17462 h 353631"/>
                <a:gd name="connsiteX169" fmla="*/ 354013 w 552855"/>
                <a:gd name="connsiteY169" fmla="*/ 19050 h 353631"/>
                <a:gd name="connsiteX170" fmla="*/ 342900 w 552855"/>
                <a:gd name="connsiteY170" fmla="*/ 7937 h 353631"/>
                <a:gd name="connsiteX171" fmla="*/ 328613 w 552855"/>
                <a:gd name="connsiteY171" fmla="*/ 0 h 353631"/>
                <a:gd name="connsiteX172" fmla="*/ 312738 w 552855"/>
                <a:gd name="connsiteY172" fmla="*/ 1587 h 353631"/>
                <a:gd name="connsiteX173" fmla="*/ 306388 w 552855"/>
                <a:gd name="connsiteY173" fmla="*/ 9525 h 353631"/>
                <a:gd name="connsiteX174" fmla="*/ 311150 w 552855"/>
                <a:gd name="connsiteY174" fmla="*/ 11112 h 353631"/>
                <a:gd name="connsiteX175" fmla="*/ 315913 w 552855"/>
                <a:gd name="connsiteY175" fmla="*/ 15875 h 353631"/>
                <a:gd name="connsiteX176" fmla="*/ 339725 w 552855"/>
                <a:gd name="connsiteY176" fmla="*/ 14287 h 353631"/>
                <a:gd name="connsiteX177" fmla="*/ 338138 w 552855"/>
                <a:gd name="connsiteY177" fmla="*/ 15875 h 353631"/>
                <a:gd name="connsiteX178" fmla="*/ 334963 w 552855"/>
                <a:gd name="connsiteY178" fmla="*/ 22225 h 353631"/>
                <a:gd name="connsiteX179" fmla="*/ 328613 w 552855"/>
                <a:gd name="connsiteY179" fmla="*/ 23812 h 353631"/>
                <a:gd name="connsiteX180" fmla="*/ 323850 w 552855"/>
                <a:gd name="connsiteY180" fmla="*/ 26987 h 353631"/>
                <a:gd name="connsiteX181" fmla="*/ 314325 w 552855"/>
                <a:gd name="connsiteY181" fmla="*/ 34925 h 353631"/>
                <a:gd name="connsiteX182" fmla="*/ 306388 w 552855"/>
                <a:gd name="connsiteY182" fmla="*/ 36512 h 353631"/>
                <a:gd name="connsiteX183" fmla="*/ 296863 w 552855"/>
                <a:gd name="connsiteY183" fmla="*/ 33337 h 353631"/>
                <a:gd name="connsiteX184" fmla="*/ 292100 w 552855"/>
                <a:gd name="connsiteY184" fmla="*/ 30162 h 353631"/>
                <a:gd name="connsiteX185" fmla="*/ 282575 w 552855"/>
                <a:gd name="connsiteY185" fmla="*/ 28575 h 353631"/>
                <a:gd name="connsiteX186" fmla="*/ 271463 w 552855"/>
                <a:gd name="connsiteY186" fmla="*/ 23812 h 353631"/>
                <a:gd name="connsiteX187" fmla="*/ 265113 w 552855"/>
                <a:gd name="connsiteY187" fmla="*/ 25400 h 353631"/>
                <a:gd name="connsiteX188" fmla="*/ 246063 w 552855"/>
                <a:gd name="connsiteY188" fmla="*/ 38100 h 353631"/>
                <a:gd name="connsiteX189" fmla="*/ 231775 w 552855"/>
                <a:gd name="connsiteY189" fmla="*/ 36512 h 353631"/>
                <a:gd name="connsiteX190" fmla="*/ 222250 w 552855"/>
                <a:gd name="connsiteY190" fmla="*/ 33337 h 353631"/>
                <a:gd name="connsiteX191" fmla="*/ 211138 w 552855"/>
                <a:gd name="connsiteY191" fmla="*/ 26987 h 353631"/>
                <a:gd name="connsiteX0" fmla="*/ 211138 w 551499"/>
                <a:gd name="connsiteY0" fmla="*/ 26987 h 353631"/>
                <a:gd name="connsiteX1" fmla="*/ 206375 w 551499"/>
                <a:gd name="connsiteY1" fmla="*/ 34925 h 353631"/>
                <a:gd name="connsiteX2" fmla="*/ 196850 w 551499"/>
                <a:gd name="connsiteY2" fmla="*/ 42862 h 353631"/>
                <a:gd name="connsiteX3" fmla="*/ 192088 w 551499"/>
                <a:gd name="connsiteY3" fmla="*/ 47625 h 353631"/>
                <a:gd name="connsiteX4" fmla="*/ 180975 w 551499"/>
                <a:gd name="connsiteY4" fmla="*/ 57150 h 353631"/>
                <a:gd name="connsiteX5" fmla="*/ 174625 w 551499"/>
                <a:gd name="connsiteY5" fmla="*/ 61912 h 353631"/>
                <a:gd name="connsiteX6" fmla="*/ 166688 w 551499"/>
                <a:gd name="connsiteY6" fmla="*/ 58737 h 353631"/>
                <a:gd name="connsiteX7" fmla="*/ 161925 w 551499"/>
                <a:gd name="connsiteY7" fmla="*/ 57150 h 353631"/>
                <a:gd name="connsiteX8" fmla="*/ 155575 w 551499"/>
                <a:gd name="connsiteY8" fmla="*/ 53975 h 353631"/>
                <a:gd name="connsiteX9" fmla="*/ 134938 w 551499"/>
                <a:gd name="connsiteY9" fmla="*/ 47625 h 353631"/>
                <a:gd name="connsiteX10" fmla="*/ 127000 w 551499"/>
                <a:gd name="connsiteY10" fmla="*/ 60325 h 353631"/>
                <a:gd name="connsiteX11" fmla="*/ 120650 w 551499"/>
                <a:gd name="connsiteY11" fmla="*/ 63500 h 353631"/>
                <a:gd name="connsiteX12" fmla="*/ 114300 w 551499"/>
                <a:gd name="connsiteY12" fmla="*/ 68262 h 353631"/>
                <a:gd name="connsiteX13" fmla="*/ 128588 w 551499"/>
                <a:gd name="connsiteY13" fmla="*/ 73025 h 353631"/>
                <a:gd name="connsiteX14" fmla="*/ 131763 w 551499"/>
                <a:gd name="connsiteY14" fmla="*/ 79375 h 353631"/>
                <a:gd name="connsiteX15" fmla="*/ 127000 w 551499"/>
                <a:gd name="connsiteY15" fmla="*/ 90487 h 353631"/>
                <a:gd name="connsiteX16" fmla="*/ 117475 w 551499"/>
                <a:gd name="connsiteY16" fmla="*/ 100012 h 353631"/>
                <a:gd name="connsiteX17" fmla="*/ 109538 w 551499"/>
                <a:gd name="connsiteY17" fmla="*/ 103187 h 353631"/>
                <a:gd name="connsiteX18" fmla="*/ 104775 w 551499"/>
                <a:gd name="connsiteY18" fmla="*/ 109537 h 353631"/>
                <a:gd name="connsiteX19" fmla="*/ 96838 w 551499"/>
                <a:gd name="connsiteY19" fmla="*/ 112712 h 353631"/>
                <a:gd name="connsiteX20" fmla="*/ 92075 w 551499"/>
                <a:gd name="connsiteY20" fmla="*/ 115887 h 353631"/>
                <a:gd name="connsiteX21" fmla="*/ 84138 w 551499"/>
                <a:gd name="connsiteY21" fmla="*/ 128587 h 353631"/>
                <a:gd name="connsiteX22" fmla="*/ 79375 w 551499"/>
                <a:gd name="connsiteY22" fmla="*/ 133350 h 353631"/>
                <a:gd name="connsiteX23" fmla="*/ 71438 w 551499"/>
                <a:gd name="connsiteY23" fmla="*/ 141287 h 353631"/>
                <a:gd name="connsiteX24" fmla="*/ 63500 w 551499"/>
                <a:gd name="connsiteY24" fmla="*/ 149225 h 353631"/>
                <a:gd name="connsiteX25" fmla="*/ 58738 w 551499"/>
                <a:gd name="connsiteY25" fmla="*/ 155575 h 353631"/>
                <a:gd name="connsiteX26" fmla="*/ 57150 w 551499"/>
                <a:gd name="connsiteY26" fmla="*/ 160337 h 353631"/>
                <a:gd name="connsiteX27" fmla="*/ 55563 w 551499"/>
                <a:gd name="connsiteY27" fmla="*/ 166687 h 353631"/>
                <a:gd name="connsiteX28" fmla="*/ 52388 w 551499"/>
                <a:gd name="connsiteY28" fmla="*/ 171450 h 353631"/>
                <a:gd name="connsiteX29" fmla="*/ 44450 w 551499"/>
                <a:gd name="connsiteY29" fmla="*/ 182562 h 353631"/>
                <a:gd name="connsiteX30" fmla="*/ 39688 w 551499"/>
                <a:gd name="connsiteY30" fmla="*/ 188912 h 353631"/>
                <a:gd name="connsiteX31" fmla="*/ 26988 w 551499"/>
                <a:gd name="connsiteY31" fmla="*/ 192087 h 353631"/>
                <a:gd name="connsiteX32" fmla="*/ 22225 w 551499"/>
                <a:gd name="connsiteY32" fmla="*/ 195262 h 353631"/>
                <a:gd name="connsiteX33" fmla="*/ 14288 w 551499"/>
                <a:gd name="connsiteY33" fmla="*/ 198437 h 353631"/>
                <a:gd name="connsiteX34" fmla="*/ 11113 w 551499"/>
                <a:gd name="connsiteY34" fmla="*/ 204787 h 353631"/>
                <a:gd name="connsiteX35" fmla="*/ 12700 w 551499"/>
                <a:gd name="connsiteY35" fmla="*/ 244475 h 353631"/>
                <a:gd name="connsiteX36" fmla="*/ 14288 w 551499"/>
                <a:gd name="connsiteY36" fmla="*/ 250825 h 353631"/>
                <a:gd name="connsiteX37" fmla="*/ 19050 w 551499"/>
                <a:gd name="connsiteY37" fmla="*/ 255587 h 353631"/>
                <a:gd name="connsiteX38" fmla="*/ 12700 w 551499"/>
                <a:gd name="connsiteY38" fmla="*/ 258762 h 353631"/>
                <a:gd name="connsiteX39" fmla="*/ 0 w 551499"/>
                <a:gd name="connsiteY39" fmla="*/ 271462 h 353631"/>
                <a:gd name="connsiteX40" fmla="*/ 3175 w 551499"/>
                <a:gd name="connsiteY40" fmla="*/ 276225 h 353631"/>
                <a:gd name="connsiteX41" fmla="*/ 11113 w 551499"/>
                <a:gd name="connsiteY41" fmla="*/ 279400 h 353631"/>
                <a:gd name="connsiteX42" fmla="*/ 23813 w 551499"/>
                <a:gd name="connsiteY42" fmla="*/ 276225 h 353631"/>
                <a:gd name="connsiteX43" fmla="*/ 28575 w 551499"/>
                <a:gd name="connsiteY43" fmla="*/ 268287 h 353631"/>
                <a:gd name="connsiteX44" fmla="*/ 28575 w 551499"/>
                <a:gd name="connsiteY44" fmla="*/ 242887 h 353631"/>
                <a:gd name="connsiteX45" fmla="*/ 34925 w 551499"/>
                <a:gd name="connsiteY45" fmla="*/ 239712 h 353631"/>
                <a:gd name="connsiteX46" fmla="*/ 49213 w 551499"/>
                <a:gd name="connsiteY46" fmla="*/ 236537 h 353631"/>
                <a:gd name="connsiteX47" fmla="*/ 57150 w 551499"/>
                <a:gd name="connsiteY47" fmla="*/ 228600 h 353631"/>
                <a:gd name="connsiteX48" fmla="*/ 58738 w 551499"/>
                <a:gd name="connsiteY48" fmla="*/ 223837 h 353631"/>
                <a:gd name="connsiteX49" fmla="*/ 66675 w 551499"/>
                <a:gd name="connsiteY49" fmla="*/ 217487 h 353631"/>
                <a:gd name="connsiteX50" fmla="*/ 77788 w 551499"/>
                <a:gd name="connsiteY50" fmla="*/ 222250 h 353631"/>
                <a:gd name="connsiteX51" fmla="*/ 87313 w 551499"/>
                <a:gd name="connsiteY51" fmla="*/ 225425 h 353631"/>
                <a:gd name="connsiteX52" fmla="*/ 101600 w 551499"/>
                <a:gd name="connsiteY52" fmla="*/ 233362 h 353631"/>
                <a:gd name="connsiteX53" fmla="*/ 103188 w 551499"/>
                <a:gd name="connsiteY53" fmla="*/ 252412 h 353631"/>
                <a:gd name="connsiteX54" fmla="*/ 104775 w 551499"/>
                <a:gd name="connsiteY54" fmla="*/ 284162 h 353631"/>
                <a:gd name="connsiteX55" fmla="*/ 109538 w 551499"/>
                <a:gd name="connsiteY55" fmla="*/ 287337 h 353631"/>
                <a:gd name="connsiteX56" fmla="*/ 111125 w 551499"/>
                <a:gd name="connsiteY56" fmla="*/ 296862 h 353631"/>
                <a:gd name="connsiteX57" fmla="*/ 112713 w 551499"/>
                <a:gd name="connsiteY57" fmla="*/ 301625 h 353631"/>
                <a:gd name="connsiteX58" fmla="*/ 111125 w 551499"/>
                <a:gd name="connsiteY58" fmla="*/ 307975 h 353631"/>
                <a:gd name="connsiteX59" fmla="*/ 115888 w 551499"/>
                <a:gd name="connsiteY59" fmla="*/ 314325 h 353631"/>
                <a:gd name="connsiteX60" fmla="*/ 122238 w 551499"/>
                <a:gd name="connsiteY60" fmla="*/ 315912 h 353631"/>
                <a:gd name="connsiteX61" fmla="*/ 125413 w 551499"/>
                <a:gd name="connsiteY61" fmla="*/ 325437 h 353631"/>
                <a:gd name="connsiteX62" fmla="*/ 127000 w 551499"/>
                <a:gd name="connsiteY62" fmla="*/ 334962 h 353631"/>
                <a:gd name="connsiteX63" fmla="*/ 142875 w 551499"/>
                <a:gd name="connsiteY63" fmla="*/ 336550 h 353631"/>
                <a:gd name="connsiteX64" fmla="*/ 149225 w 551499"/>
                <a:gd name="connsiteY64" fmla="*/ 328612 h 353631"/>
                <a:gd name="connsiteX65" fmla="*/ 152400 w 551499"/>
                <a:gd name="connsiteY65" fmla="*/ 323850 h 353631"/>
                <a:gd name="connsiteX66" fmla="*/ 158750 w 551499"/>
                <a:gd name="connsiteY66" fmla="*/ 327025 h 353631"/>
                <a:gd name="connsiteX67" fmla="*/ 168275 w 551499"/>
                <a:gd name="connsiteY67" fmla="*/ 334962 h 353631"/>
                <a:gd name="connsiteX68" fmla="*/ 173038 w 551499"/>
                <a:gd name="connsiteY68" fmla="*/ 328612 h 353631"/>
                <a:gd name="connsiteX69" fmla="*/ 179388 w 551499"/>
                <a:gd name="connsiteY69" fmla="*/ 323850 h 353631"/>
                <a:gd name="connsiteX70" fmla="*/ 190500 w 551499"/>
                <a:gd name="connsiteY70" fmla="*/ 320675 h 353631"/>
                <a:gd name="connsiteX71" fmla="*/ 200025 w 551499"/>
                <a:gd name="connsiteY71" fmla="*/ 325437 h 353631"/>
                <a:gd name="connsiteX72" fmla="*/ 209550 w 551499"/>
                <a:gd name="connsiteY72" fmla="*/ 327025 h 353631"/>
                <a:gd name="connsiteX73" fmla="*/ 211138 w 551499"/>
                <a:gd name="connsiteY73" fmla="*/ 331787 h 353631"/>
                <a:gd name="connsiteX74" fmla="*/ 212725 w 551499"/>
                <a:gd name="connsiteY74" fmla="*/ 338137 h 353631"/>
                <a:gd name="connsiteX75" fmla="*/ 225425 w 551499"/>
                <a:gd name="connsiteY75" fmla="*/ 336550 h 353631"/>
                <a:gd name="connsiteX76" fmla="*/ 227013 w 551499"/>
                <a:gd name="connsiteY76" fmla="*/ 331787 h 353631"/>
                <a:gd name="connsiteX77" fmla="*/ 231775 w 551499"/>
                <a:gd name="connsiteY77" fmla="*/ 327025 h 353631"/>
                <a:gd name="connsiteX78" fmla="*/ 234950 w 551499"/>
                <a:gd name="connsiteY78" fmla="*/ 319087 h 353631"/>
                <a:gd name="connsiteX79" fmla="*/ 239713 w 551499"/>
                <a:gd name="connsiteY79" fmla="*/ 315912 h 353631"/>
                <a:gd name="connsiteX80" fmla="*/ 254000 w 551499"/>
                <a:gd name="connsiteY80" fmla="*/ 306387 h 353631"/>
                <a:gd name="connsiteX81" fmla="*/ 252413 w 551499"/>
                <a:gd name="connsiteY81" fmla="*/ 292100 h 353631"/>
                <a:gd name="connsiteX82" fmla="*/ 254000 w 551499"/>
                <a:gd name="connsiteY82" fmla="*/ 276225 h 353631"/>
                <a:gd name="connsiteX83" fmla="*/ 258763 w 551499"/>
                <a:gd name="connsiteY83" fmla="*/ 269875 h 353631"/>
                <a:gd name="connsiteX84" fmla="*/ 269875 w 551499"/>
                <a:gd name="connsiteY84" fmla="*/ 258762 h 353631"/>
                <a:gd name="connsiteX85" fmla="*/ 274638 w 551499"/>
                <a:gd name="connsiteY85" fmla="*/ 254000 h 353631"/>
                <a:gd name="connsiteX86" fmla="*/ 280988 w 551499"/>
                <a:gd name="connsiteY86" fmla="*/ 250825 h 353631"/>
                <a:gd name="connsiteX87" fmla="*/ 285750 w 551499"/>
                <a:gd name="connsiteY87" fmla="*/ 249237 h 353631"/>
                <a:gd name="connsiteX88" fmla="*/ 295275 w 551499"/>
                <a:gd name="connsiteY88" fmla="*/ 244475 h 353631"/>
                <a:gd name="connsiteX89" fmla="*/ 301625 w 551499"/>
                <a:gd name="connsiteY89" fmla="*/ 271462 h 353631"/>
                <a:gd name="connsiteX90" fmla="*/ 311150 w 551499"/>
                <a:gd name="connsiteY90" fmla="*/ 282575 h 353631"/>
                <a:gd name="connsiteX91" fmla="*/ 314325 w 551499"/>
                <a:gd name="connsiteY91" fmla="*/ 287337 h 353631"/>
                <a:gd name="connsiteX92" fmla="*/ 315913 w 551499"/>
                <a:gd name="connsiteY92" fmla="*/ 292100 h 353631"/>
                <a:gd name="connsiteX93" fmla="*/ 320675 w 551499"/>
                <a:gd name="connsiteY93" fmla="*/ 295275 h 353631"/>
                <a:gd name="connsiteX94" fmla="*/ 339725 w 551499"/>
                <a:gd name="connsiteY94" fmla="*/ 298450 h 353631"/>
                <a:gd name="connsiteX95" fmla="*/ 344488 w 551499"/>
                <a:gd name="connsiteY95" fmla="*/ 303212 h 353631"/>
                <a:gd name="connsiteX96" fmla="*/ 349250 w 551499"/>
                <a:gd name="connsiteY96" fmla="*/ 315912 h 353631"/>
                <a:gd name="connsiteX97" fmla="*/ 350838 w 551499"/>
                <a:gd name="connsiteY97" fmla="*/ 325437 h 353631"/>
                <a:gd name="connsiteX98" fmla="*/ 355600 w 551499"/>
                <a:gd name="connsiteY98" fmla="*/ 331787 h 353631"/>
                <a:gd name="connsiteX99" fmla="*/ 358775 w 551499"/>
                <a:gd name="connsiteY99" fmla="*/ 336550 h 353631"/>
                <a:gd name="connsiteX100" fmla="*/ 366713 w 551499"/>
                <a:gd name="connsiteY100" fmla="*/ 349250 h 353631"/>
                <a:gd name="connsiteX101" fmla="*/ 380999 w 551499"/>
                <a:gd name="connsiteY101" fmla="*/ 353219 h 353631"/>
                <a:gd name="connsiteX102" fmla="*/ 388938 w 551499"/>
                <a:gd name="connsiteY102" fmla="*/ 338137 h 353631"/>
                <a:gd name="connsiteX103" fmla="*/ 373063 w 551499"/>
                <a:gd name="connsiteY103" fmla="*/ 312737 h 353631"/>
                <a:gd name="connsiteX104" fmla="*/ 374650 w 551499"/>
                <a:gd name="connsiteY104" fmla="*/ 307975 h 353631"/>
                <a:gd name="connsiteX105" fmla="*/ 377825 w 551499"/>
                <a:gd name="connsiteY105" fmla="*/ 303212 h 353631"/>
                <a:gd name="connsiteX106" fmla="*/ 384175 w 551499"/>
                <a:gd name="connsiteY106" fmla="*/ 298450 h 353631"/>
                <a:gd name="connsiteX107" fmla="*/ 396875 w 551499"/>
                <a:gd name="connsiteY107" fmla="*/ 290512 h 353631"/>
                <a:gd name="connsiteX108" fmla="*/ 401638 w 551499"/>
                <a:gd name="connsiteY108" fmla="*/ 287337 h 353631"/>
                <a:gd name="connsiteX109" fmla="*/ 406400 w 551499"/>
                <a:gd name="connsiteY109" fmla="*/ 280987 h 353631"/>
                <a:gd name="connsiteX110" fmla="*/ 411163 w 551499"/>
                <a:gd name="connsiteY110" fmla="*/ 276225 h 353631"/>
                <a:gd name="connsiteX111" fmla="*/ 412750 w 551499"/>
                <a:gd name="connsiteY111" fmla="*/ 260350 h 353631"/>
                <a:gd name="connsiteX112" fmla="*/ 414338 w 551499"/>
                <a:gd name="connsiteY112" fmla="*/ 236537 h 353631"/>
                <a:gd name="connsiteX113" fmla="*/ 428625 w 551499"/>
                <a:gd name="connsiteY113" fmla="*/ 239712 h 353631"/>
                <a:gd name="connsiteX114" fmla="*/ 430213 w 551499"/>
                <a:gd name="connsiteY114" fmla="*/ 246062 h 353631"/>
                <a:gd name="connsiteX115" fmla="*/ 433388 w 551499"/>
                <a:gd name="connsiteY115" fmla="*/ 250825 h 353631"/>
                <a:gd name="connsiteX116" fmla="*/ 434975 w 551499"/>
                <a:gd name="connsiteY116" fmla="*/ 260350 h 353631"/>
                <a:gd name="connsiteX117" fmla="*/ 447675 w 551499"/>
                <a:gd name="connsiteY117" fmla="*/ 271462 h 353631"/>
                <a:gd name="connsiteX118" fmla="*/ 460375 w 551499"/>
                <a:gd name="connsiteY118" fmla="*/ 266700 h 353631"/>
                <a:gd name="connsiteX119" fmla="*/ 461963 w 551499"/>
                <a:gd name="connsiteY119" fmla="*/ 261937 h 353631"/>
                <a:gd name="connsiteX120" fmla="*/ 468313 w 551499"/>
                <a:gd name="connsiteY120" fmla="*/ 260350 h 353631"/>
                <a:gd name="connsiteX121" fmla="*/ 476250 w 551499"/>
                <a:gd name="connsiteY121" fmla="*/ 258762 h 353631"/>
                <a:gd name="connsiteX122" fmla="*/ 481013 w 551499"/>
                <a:gd name="connsiteY122" fmla="*/ 255587 h 353631"/>
                <a:gd name="connsiteX123" fmla="*/ 488950 w 551499"/>
                <a:gd name="connsiteY123" fmla="*/ 261937 h 353631"/>
                <a:gd name="connsiteX124" fmla="*/ 492125 w 551499"/>
                <a:gd name="connsiteY124" fmla="*/ 268287 h 353631"/>
                <a:gd name="connsiteX125" fmla="*/ 496888 w 551499"/>
                <a:gd name="connsiteY125" fmla="*/ 271462 h 353631"/>
                <a:gd name="connsiteX126" fmla="*/ 501650 w 551499"/>
                <a:gd name="connsiteY126" fmla="*/ 276225 h 353631"/>
                <a:gd name="connsiteX127" fmla="*/ 509588 w 551499"/>
                <a:gd name="connsiteY127" fmla="*/ 292100 h 353631"/>
                <a:gd name="connsiteX128" fmla="*/ 509588 w 551499"/>
                <a:gd name="connsiteY128" fmla="*/ 252412 h 353631"/>
                <a:gd name="connsiteX129" fmla="*/ 504825 w 551499"/>
                <a:gd name="connsiteY129" fmla="*/ 246062 h 353631"/>
                <a:gd name="connsiteX130" fmla="*/ 501650 w 551499"/>
                <a:gd name="connsiteY130" fmla="*/ 239712 h 353631"/>
                <a:gd name="connsiteX131" fmla="*/ 503238 w 551499"/>
                <a:gd name="connsiteY131" fmla="*/ 227012 h 353631"/>
                <a:gd name="connsiteX132" fmla="*/ 509588 w 551499"/>
                <a:gd name="connsiteY132" fmla="*/ 217487 h 353631"/>
                <a:gd name="connsiteX133" fmla="*/ 511175 w 551499"/>
                <a:gd name="connsiteY133" fmla="*/ 211137 h 353631"/>
                <a:gd name="connsiteX134" fmla="*/ 519113 w 551499"/>
                <a:gd name="connsiteY134" fmla="*/ 214312 h 353631"/>
                <a:gd name="connsiteX135" fmla="*/ 523875 w 551499"/>
                <a:gd name="connsiteY135" fmla="*/ 215900 h 353631"/>
                <a:gd name="connsiteX136" fmla="*/ 534988 w 551499"/>
                <a:gd name="connsiteY136" fmla="*/ 222250 h 353631"/>
                <a:gd name="connsiteX137" fmla="*/ 538163 w 551499"/>
                <a:gd name="connsiteY137" fmla="*/ 227012 h 353631"/>
                <a:gd name="connsiteX138" fmla="*/ 550863 w 551499"/>
                <a:gd name="connsiteY138" fmla="*/ 227012 h 353631"/>
                <a:gd name="connsiteX139" fmla="*/ 549275 w 551499"/>
                <a:gd name="connsiteY139" fmla="*/ 212725 h 353631"/>
                <a:gd name="connsiteX140" fmla="*/ 544513 w 551499"/>
                <a:gd name="connsiteY140" fmla="*/ 207962 h 353631"/>
                <a:gd name="connsiteX141" fmla="*/ 551498 w 551499"/>
                <a:gd name="connsiteY141" fmla="*/ 192722 h 353631"/>
                <a:gd name="connsiteX142" fmla="*/ 544830 w 551499"/>
                <a:gd name="connsiteY142" fmla="*/ 152082 h 353631"/>
                <a:gd name="connsiteX143" fmla="*/ 522605 w 551499"/>
                <a:gd name="connsiteY143" fmla="*/ 156527 h 353631"/>
                <a:gd name="connsiteX144" fmla="*/ 495300 w 551499"/>
                <a:gd name="connsiteY144" fmla="*/ 165100 h 353631"/>
                <a:gd name="connsiteX145" fmla="*/ 493713 w 551499"/>
                <a:gd name="connsiteY145" fmla="*/ 160337 h 353631"/>
                <a:gd name="connsiteX146" fmla="*/ 484188 w 551499"/>
                <a:gd name="connsiteY146" fmla="*/ 152400 h 353631"/>
                <a:gd name="connsiteX147" fmla="*/ 481013 w 551499"/>
                <a:gd name="connsiteY147" fmla="*/ 144462 h 353631"/>
                <a:gd name="connsiteX148" fmla="*/ 460375 w 551499"/>
                <a:gd name="connsiteY148" fmla="*/ 139700 h 353631"/>
                <a:gd name="connsiteX149" fmla="*/ 452438 w 551499"/>
                <a:gd name="connsiteY149" fmla="*/ 134937 h 353631"/>
                <a:gd name="connsiteX150" fmla="*/ 447675 w 551499"/>
                <a:gd name="connsiteY150" fmla="*/ 127000 h 353631"/>
                <a:gd name="connsiteX151" fmla="*/ 434975 w 551499"/>
                <a:gd name="connsiteY151" fmla="*/ 125412 h 353631"/>
                <a:gd name="connsiteX152" fmla="*/ 436563 w 551499"/>
                <a:gd name="connsiteY152" fmla="*/ 120650 h 353631"/>
                <a:gd name="connsiteX153" fmla="*/ 436563 w 551499"/>
                <a:gd name="connsiteY153" fmla="*/ 98425 h 353631"/>
                <a:gd name="connsiteX154" fmla="*/ 430213 w 551499"/>
                <a:gd name="connsiteY154" fmla="*/ 92075 h 353631"/>
                <a:gd name="connsiteX155" fmla="*/ 436563 w 551499"/>
                <a:gd name="connsiteY155" fmla="*/ 88900 h 353631"/>
                <a:gd name="connsiteX156" fmla="*/ 452438 w 551499"/>
                <a:gd name="connsiteY156" fmla="*/ 87312 h 353631"/>
                <a:gd name="connsiteX157" fmla="*/ 454025 w 551499"/>
                <a:gd name="connsiteY157" fmla="*/ 79375 h 353631"/>
                <a:gd name="connsiteX158" fmla="*/ 452438 w 551499"/>
                <a:gd name="connsiteY158" fmla="*/ 74612 h 353631"/>
                <a:gd name="connsiteX159" fmla="*/ 442913 w 551499"/>
                <a:gd name="connsiteY159" fmla="*/ 60325 h 353631"/>
                <a:gd name="connsiteX160" fmla="*/ 438150 w 551499"/>
                <a:gd name="connsiteY160" fmla="*/ 47625 h 353631"/>
                <a:gd name="connsiteX161" fmla="*/ 430213 w 551499"/>
                <a:gd name="connsiteY161" fmla="*/ 46037 h 353631"/>
                <a:gd name="connsiteX162" fmla="*/ 423863 w 551499"/>
                <a:gd name="connsiteY162" fmla="*/ 39687 h 353631"/>
                <a:gd name="connsiteX163" fmla="*/ 411163 w 551499"/>
                <a:gd name="connsiteY163" fmla="*/ 34925 h 353631"/>
                <a:gd name="connsiteX164" fmla="*/ 401638 w 551499"/>
                <a:gd name="connsiteY164" fmla="*/ 26987 h 353631"/>
                <a:gd name="connsiteX165" fmla="*/ 392113 w 551499"/>
                <a:gd name="connsiteY165" fmla="*/ 23812 h 353631"/>
                <a:gd name="connsiteX166" fmla="*/ 387350 w 551499"/>
                <a:gd name="connsiteY166" fmla="*/ 19050 h 353631"/>
                <a:gd name="connsiteX167" fmla="*/ 377825 w 551499"/>
                <a:gd name="connsiteY167" fmla="*/ 15875 h 353631"/>
                <a:gd name="connsiteX168" fmla="*/ 363538 w 551499"/>
                <a:gd name="connsiteY168" fmla="*/ 17462 h 353631"/>
                <a:gd name="connsiteX169" fmla="*/ 354013 w 551499"/>
                <a:gd name="connsiteY169" fmla="*/ 19050 h 353631"/>
                <a:gd name="connsiteX170" fmla="*/ 342900 w 551499"/>
                <a:gd name="connsiteY170" fmla="*/ 7937 h 353631"/>
                <a:gd name="connsiteX171" fmla="*/ 328613 w 551499"/>
                <a:gd name="connsiteY171" fmla="*/ 0 h 353631"/>
                <a:gd name="connsiteX172" fmla="*/ 312738 w 551499"/>
                <a:gd name="connsiteY172" fmla="*/ 1587 h 353631"/>
                <a:gd name="connsiteX173" fmla="*/ 306388 w 551499"/>
                <a:gd name="connsiteY173" fmla="*/ 9525 h 353631"/>
                <a:gd name="connsiteX174" fmla="*/ 311150 w 551499"/>
                <a:gd name="connsiteY174" fmla="*/ 11112 h 353631"/>
                <a:gd name="connsiteX175" fmla="*/ 315913 w 551499"/>
                <a:gd name="connsiteY175" fmla="*/ 15875 h 353631"/>
                <a:gd name="connsiteX176" fmla="*/ 339725 w 551499"/>
                <a:gd name="connsiteY176" fmla="*/ 14287 h 353631"/>
                <a:gd name="connsiteX177" fmla="*/ 338138 w 551499"/>
                <a:gd name="connsiteY177" fmla="*/ 15875 h 353631"/>
                <a:gd name="connsiteX178" fmla="*/ 334963 w 551499"/>
                <a:gd name="connsiteY178" fmla="*/ 22225 h 353631"/>
                <a:gd name="connsiteX179" fmla="*/ 328613 w 551499"/>
                <a:gd name="connsiteY179" fmla="*/ 23812 h 353631"/>
                <a:gd name="connsiteX180" fmla="*/ 323850 w 551499"/>
                <a:gd name="connsiteY180" fmla="*/ 26987 h 353631"/>
                <a:gd name="connsiteX181" fmla="*/ 314325 w 551499"/>
                <a:gd name="connsiteY181" fmla="*/ 34925 h 353631"/>
                <a:gd name="connsiteX182" fmla="*/ 306388 w 551499"/>
                <a:gd name="connsiteY182" fmla="*/ 36512 h 353631"/>
                <a:gd name="connsiteX183" fmla="*/ 296863 w 551499"/>
                <a:gd name="connsiteY183" fmla="*/ 33337 h 353631"/>
                <a:gd name="connsiteX184" fmla="*/ 292100 w 551499"/>
                <a:gd name="connsiteY184" fmla="*/ 30162 h 353631"/>
                <a:gd name="connsiteX185" fmla="*/ 282575 w 551499"/>
                <a:gd name="connsiteY185" fmla="*/ 28575 h 353631"/>
                <a:gd name="connsiteX186" fmla="*/ 271463 w 551499"/>
                <a:gd name="connsiteY186" fmla="*/ 23812 h 353631"/>
                <a:gd name="connsiteX187" fmla="*/ 265113 w 551499"/>
                <a:gd name="connsiteY187" fmla="*/ 25400 h 353631"/>
                <a:gd name="connsiteX188" fmla="*/ 246063 w 551499"/>
                <a:gd name="connsiteY188" fmla="*/ 38100 h 353631"/>
                <a:gd name="connsiteX189" fmla="*/ 231775 w 551499"/>
                <a:gd name="connsiteY189" fmla="*/ 36512 h 353631"/>
                <a:gd name="connsiteX190" fmla="*/ 222250 w 551499"/>
                <a:gd name="connsiteY190" fmla="*/ 33337 h 353631"/>
                <a:gd name="connsiteX191" fmla="*/ 211138 w 551499"/>
                <a:gd name="connsiteY191" fmla="*/ 26987 h 353631"/>
                <a:gd name="connsiteX0" fmla="*/ 211138 w 551626"/>
                <a:gd name="connsiteY0" fmla="*/ 26987 h 353631"/>
                <a:gd name="connsiteX1" fmla="*/ 206375 w 551626"/>
                <a:gd name="connsiteY1" fmla="*/ 34925 h 353631"/>
                <a:gd name="connsiteX2" fmla="*/ 196850 w 551626"/>
                <a:gd name="connsiteY2" fmla="*/ 42862 h 353631"/>
                <a:gd name="connsiteX3" fmla="*/ 192088 w 551626"/>
                <a:gd name="connsiteY3" fmla="*/ 47625 h 353631"/>
                <a:gd name="connsiteX4" fmla="*/ 180975 w 551626"/>
                <a:gd name="connsiteY4" fmla="*/ 57150 h 353631"/>
                <a:gd name="connsiteX5" fmla="*/ 174625 w 551626"/>
                <a:gd name="connsiteY5" fmla="*/ 61912 h 353631"/>
                <a:gd name="connsiteX6" fmla="*/ 166688 w 551626"/>
                <a:gd name="connsiteY6" fmla="*/ 58737 h 353631"/>
                <a:gd name="connsiteX7" fmla="*/ 161925 w 551626"/>
                <a:gd name="connsiteY7" fmla="*/ 57150 h 353631"/>
                <a:gd name="connsiteX8" fmla="*/ 155575 w 551626"/>
                <a:gd name="connsiteY8" fmla="*/ 53975 h 353631"/>
                <a:gd name="connsiteX9" fmla="*/ 134938 w 551626"/>
                <a:gd name="connsiteY9" fmla="*/ 47625 h 353631"/>
                <a:gd name="connsiteX10" fmla="*/ 127000 w 551626"/>
                <a:gd name="connsiteY10" fmla="*/ 60325 h 353631"/>
                <a:gd name="connsiteX11" fmla="*/ 120650 w 551626"/>
                <a:gd name="connsiteY11" fmla="*/ 63500 h 353631"/>
                <a:gd name="connsiteX12" fmla="*/ 114300 w 551626"/>
                <a:gd name="connsiteY12" fmla="*/ 68262 h 353631"/>
                <a:gd name="connsiteX13" fmla="*/ 128588 w 551626"/>
                <a:gd name="connsiteY13" fmla="*/ 73025 h 353631"/>
                <a:gd name="connsiteX14" fmla="*/ 131763 w 551626"/>
                <a:gd name="connsiteY14" fmla="*/ 79375 h 353631"/>
                <a:gd name="connsiteX15" fmla="*/ 127000 w 551626"/>
                <a:gd name="connsiteY15" fmla="*/ 90487 h 353631"/>
                <a:gd name="connsiteX16" fmla="*/ 117475 w 551626"/>
                <a:gd name="connsiteY16" fmla="*/ 100012 h 353631"/>
                <a:gd name="connsiteX17" fmla="*/ 109538 w 551626"/>
                <a:gd name="connsiteY17" fmla="*/ 103187 h 353631"/>
                <a:gd name="connsiteX18" fmla="*/ 104775 w 551626"/>
                <a:gd name="connsiteY18" fmla="*/ 109537 h 353631"/>
                <a:gd name="connsiteX19" fmla="*/ 96838 w 551626"/>
                <a:gd name="connsiteY19" fmla="*/ 112712 h 353631"/>
                <a:gd name="connsiteX20" fmla="*/ 92075 w 551626"/>
                <a:gd name="connsiteY20" fmla="*/ 115887 h 353631"/>
                <a:gd name="connsiteX21" fmla="*/ 84138 w 551626"/>
                <a:gd name="connsiteY21" fmla="*/ 128587 h 353631"/>
                <a:gd name="connsiteX22" fmla="*/ 79375 w 551626"/>
                <a:gd name="connsiteY22" fmla="*/ 133350 h 353631"/>
                <a:gd name="connsiteX23" fmla="*/ 71438 w 551626"/>
                <a:gd name="connsiteY23" fmla="*/ 141287 h 353631"/>
                <a:gd name="connsiteX24" fmla="*/ 63500 w 551626"/>
                <a:gd name="connsiteY24" fmla="*/ 149225 h 353631"/>
                <a:gd name="connsiteX25" fmla="*/ 58738 w 551626"/>
                <a:gd name="connsiteY25" fmla="*/ 155575 h 353631"/>
                <a:gd name="connsiteX26" fmla="*/ 57150 w 551626"/>
                <a:gd name="connsiteY26" fmla="*/ 160337 h 353631"/>
                <a:gd name="connsiteX27" fmla="*/ 55563 w 551626"/>
                <a:gd name="connsiteY27" fmla="*/ 166687 h 353631"/>
                <a:gd name="connsiteX28" fmla="*/ 52388 w 551626"/>
                <a:gd name="connsiteY28" fmla="*/ 171450 h 353631"/>
                <a:gd name="connsiteX29" fmla="*/ 44450 w 551626"/>
                <a:gd name="connsiteY29" fmla="*/ 182562 h 353631"/>
                <a:gd name="connsiteX30" fmla="*/ 39688 w 551626"/>
                <a:gd name="connsiteY30" fmla="*/ 188912 h 353631"/>
                <a:gd name="connsiteX31" fmla="*/ 26988 w 551626"/>
                <a:gd name="connsiteY31" fmla="*/ 192087 h 353631"/>
                <a:gd name="connsiteX32" fmla="*/ 22225 w 551626"/>
                <a:gd name="connsiteY32" fmla="*/ 195262 h 353631"/>
                <a:gd name="connsiteX33" fmla="*/ 14288 w 551626"/>
                <a:gd name="connsiteY33" fmla="*/ 198437 h 353631"/>
                <a:gd name="connsiteX34" fmla="*/ 11113 w 551626"/>
                <a:gd name="connsiteY34" fmla="*/ 204787 h 353631"/>
                <a:gd name="connsiteX35" fmla="*/ 12700 w 551626"/>
                <a:gd name="connsiteY35" fmla="*/ 244475 h 353631"/>
                <a:gd name="connsiteX36" fmla="*/ 14288 w 551626"/>
                <a:gd name="connsiteY36" fmla="*/ 250825 h 353631"/>
                <a:gd name="connsiteX37" fmla="*/ 19050 w 551626"/>
                <a:gd name="connsiteY37" fmla="*/ 255587 h 353631"/>
                <a:gd name="connsiteX38" fmla="*/ 12700 w 551626"/>
                <a:gd name="connsiteY38" fmla="*/ 258762 h 353631"/>
                <a:gd name="connsiteX39" fmla="*/ 0 w 551626"/>
                <a:gd name="connsiteY39" fmla="*/ 271462 h 353631"/>
                <a:gd name="connsiteX40" fmla="*/ 3175 w 551626"/>
                <a:gd name="connsiteY40" fmla="*/ 276225 h 353631"/>
                <a:gd name="connsiteX41" fmla="*/ 11113 w 551626"/>
                <a:gd name="connsiteY41" fmla="*/ 279400 h 353631"/>
                <a:gd name="connsiteX42" fmla="*/ 23813 w 551626"/>
                <a:gd name="connsiteY42" fmla="*/ 276225 h 353631"/>
                <a:gd name="connsiteX43" fmla="*/ 28575 w 551626"/>
                <a:gd name="connsiteY43" fmla="*/ 268287 h 353631"/>
                <a:gd name="connsiteX44" fmla="*/ 28575 w 551626"/>
                <a:gd name="connsiteY44" fmla="*/ 242887 h 353631"/>
                <a:gd name="connsiteX45" fmla="*/ 34925 w 551626"/>
                <a:gd name="connsiteY45" fmla="*/ 239712 h 353631"/>
                <a:gd name="connsiteX46" fmla="*/ 49213 w 551626"/>
                <a:gd name="connsiteY46" fmla="*/ 236537 h 353631"/>
                <a:gd name="connsiteX47" fmla="*/ 57150 w 551626"/>
                <a:gd name="connsiteY47" fmla="*/ 228600 h 353631"/>
                <a:gd name="connsiteX48" fmla="*/ 58738 w 551626"/>
                <a:gd name="connsiteY48" fmla="*/ 223837 h 353631"/>
                <a:gd name="connsiteX49" fmla="*/ 66675 w 551626"/>
                <a:gd name="connsiteY49" fmla="*/ 217487 h 353631"/>
                <a:gd name="connsiteX50" fmla="*/ 77788 w 551626"/>
                <a:gd name="connsiteY50" fmla="*/ 222250 h 353631"/>
                <a:gd name="connsiteX51" fmla="*/ 87313 w 551626"/>
                <a:gd name="connsiteY51" fmla="*/ 225425 h 353631"/>
                <a:gd name="connsiteX52" fmla="*/ 101600 w 551626"/>
                <a:gd name="connsiteY52" fmla="*/ 233362 h 353631"/>
                <a:gd name="connsiteX53" fmla="*/ 103188 w 551626"/>
                <a:gd name="connsiteY53" fmla="*/ 252412 h 353631"/>
                <a:gd name="connsiteX54" fmla="*/ 104775 w 551626"/>
                <a:gd name="connsiteY54" fmla="*/ 284162 h 353631"/>
                <a:gd name="connsiteX55" fmla="*/ 109538 w 551626"/>
                <a:gd name="connsiteY55" fmla="*/ 287337 h 353631"/>
                <a:gd name="connsiteX56" fmla="*/ 111125 w 551626"/>
                <a:gd name="connsiteY56" fmla="*/ 296862 h 353631"/>
                <a:gd name="connsiteX57" fmla="*/ 112713 w 551626"/>
                <a:gd name="connsiteY57" fmla="*/ 301625 h 353631"/>
                <a:gd name="connsiteX58" fmla="*/ 111125 w 551626"/>
                <a:gd name="connsiteY58" fmla="*/ 307975 h 353631"/>
                <a:gd name="connsiteX59" fmla="*/ 115888 w 551626"/>
                <a:gd name="connsiteY59" fmla="*/ 314325 h 353631"/>
                <a:gd name="connsiteX60" fmla="*/ 122238 w 551626"/>
                <a:gd name="connsiteY60" fmla="*/ 315912 h 353631"/>
                <a:gd name="connsiteX61" fmla="*/ 125413 w 551626"/>
                <a:gd name="connsiteY61" fmla="*/ 325437 h 353631"/>
                <a:gd name="connsiteX62" fmla="*/ 127000 w 551626"/>
                <a:gd name="connsiteY62" fmla="*/ 334962 h 353631"/>
                <a:gd name="connsiteX63" fmla="*/ 142875 w 551626"/>
                <a:gd name="connsiteY63" fmla="*/ 336550 h 353631"/>
                <a:gd name="connsiteX64" fmla="*/ 149225 w 551626"/>
                <a:gd name="connsiteY64" fmla="*/ 328612 h 353631"/>
                <a:gd name="connsiteX65" fmla="*/ 152400 w 551626"/>
                <a:gd name="connsiteY65" fmla="*/ 323850 h 353631"/>
                <a:gd name="connsiteX66" fmla="*/ 158750 w 551626"/>
                <a:gd name="connsiteY66" fmla="*/ 327025 h 353631"/>
                <a:gd name="connsiteX67" fmla="*/ 168275 w 551626"/>
                <a:gd name="connsiteY67" fmla="*/ 334962 h 353631"/>
                <a:gd name="connsiteX68" fmla="*/ 173038 w 551626"/>
                <a:gd name="connsiteY68" fmla="*/ 328612 h 353631"/>
                <a:gd name="connsiteX69" fmla="*/ 179388 w 551626"/>
                <a:gd name="connsiteY69" fmla="*/ 323850 h 353631"/>
                <a:gd name="connsiteX70" fmla="*/ 190500 w 551626"/>
                <a:gd name="connsiteY70" fmla="*/ 320675 h 353631"/>
                <a:gd name="connsiteX71" fmla="*/ 200025 w 551626"/>
                <a:gd name="connsiteY71" fmla="*/ 325437 h 353631"/>
                <a:gd name="connsiteX72" fmla="*/ 209550 w 551626"/>
                <a:gd name="connsiteY72" fmla="*/ 327025 h 353631"/>
                <a:gd name="connsiteX73" fmla="*/ 211138 w 551626"/>
                <a:gd name="connsiteY73" fmla="*/ 331787 h 353631"/>
                <a:gd name="connsiteX74" fmla="*/ 212725 w 551626"/>
                <a:gd name="connsiteY74" fmla="*/ 338137 h 353631"/>
                <a:gd name="connsiteX75" fmla="*/ 225425 w 551626"/>
                <a:gd name="connsiteY75" fmla="*/ 336550 h 353631"/>
                <a:gd name="connsiteX76" fmla="*/ 227013 w 551626"/>
                <a:gd name="connsiteY76" fmla="*/ 331787 h 353631"/>
                <a:gd name="connsiteX77" fmla="*/ 231775 w 551626"/>
                <a:gd name="connsiteY77" fmla="*/ 327025 h 353631"/>
                <a:gd name="connsiteX78" fmla="*/ 234950 w 551626"/>
                <a:gd name="connsiteY78" fmla="*/ 319087 h 353631"/>
                <a:gd name="connsiteX79" fmla="*/ 239713 w 551626"/>
                <a:gd name="connsiteY79" fmla="*/ 315912 h 353631"/>
                <a:gd name="connsiteX80" fmla="*/ 254000 w 551626"/>
                <a:gd name="connsiteY80" fmla="*/ 306387 h 353631"/>
                <a:gd name="connsiteX81" fmla="*/ 252413 w 551626"/>
                <a:gd name="connsiteY81" fmla="*/ 292100 h 353631"/>
                <a:gd name="connsiteX82" fmla="*/ 254000 w 551626"/>
                <a:gd name="connsiteY82" fmla="*/ 276225 h 353631"/>
                <a:gd name="connsiteX83" fmla="*/ 258763 w 551626"/>
                <a:gd name="connsiteY83" fmla="*/ 269875 h 353631"/>
                <a:gd name="connsiteX84" fmla="*/ 269875 w 551626"/>
                <a:gd name="connsiteY84" fmla="*/ 258762 h 353631"/>
                <a:gd name="connsiteX85" fmla="*/ 274638 w 551626"/>
                <a:gd name="connsiteY85" fmla="*/ 254000 h 353631"/>
                <a:gd name="connsiteX86" fmla="*/ 280988 w 551626"/>
                <a:gd name="connsiteY86" fmla="*/ 250825 h 353631"/>
                <a:gd name="connsiteX87" fmla="*/ 285750 w 551626"/>
                <a:gd name="connsiteY87" fmla="*/ 249237 h 353631"/>
                <a:gd name="connsiteX88" fmla="*/ 295275 w 551626"/>
                <a:gd name="connsiteY88" fmla="*/ 244475 h 353631"/>
                <a:gd name="connsiteX89" fmla="*/ 301625 w 551626"/>
                <a:gd name="connsiteY89" fmla="*/ 271462 h 353631"/>
                <a:gd name="connsiteX90" fmla="*/ 311150 w 551626"/>
                <a:gd name="connsiteY90" fmla="*/ 282575 h 353631"/>
                <a:gd name="connsiteX91" fmla="*/ 314325 w 551626"/>
                <a:gd name="connsiteY91" fmla="*/ 287337 h 353631"/>
                <a:gd name="connsiteX92" fmla="*/ 315913 w 551626"/>
                <a:gd name="connsiteY92" fmla="*/ 292100 h 353631"/>
                <a:gd name="connsiteX93" fmla="*/ 320675 w 551626"/>
                <a:gd name="connsiteY93" fmla="*/ 295275 h 353631"/>
                <a:gd name="connsiteX94" fmla="*/ 339725 w 551626"/>
                <a:gd name="connsiteY94" fmla="*/ 298450 h 353631"/>
                <a:gd name="connsiteX95" fmla="*/ 344488 w 551626"/>
                <a:gd name="connsiteY95" fmla="*/ 303212 h 353631"/>
                <a:gd name="connsiteX96" fmla="*/ 349250 w 551626"/>
                <a:gd name="connsiteY96" fmla="*/ 315912 h 353631"/>
                <a:gd name="connsiteX97" fmla="*/ 350838 w 551626"/>
                <a:gd name="connsiteY97" fmla="*/ 325437 h 353631"/>
                <a:gd name="connsiteX98" fmla="*/ 355600 w 551626"/>
                <a:gd name="connsiteY98" fmla="*/ 331787 h 353631"/>
                <a:gd name="connsiteX99" fmla="*/ 358775 w 551626"/>
                <a:gd name="connsiteY99" fmla="*/ 336550 h 353631"/>
                <a:gd name="connsiteX100" fmla="*/ 366713 w 551626"/>
                <a:gd name="connsiteY100" fmla="*/ 349250 h 353631"/>
                <a:gd name="connsiteX101" fmla="*/ 380999 w 551626"/>
                <a:gd name="connsiteY101" fmla="*/ 353219 h 353631"/>
                <a:gd name="connsiteX102" fmla="*/ 388938 w 551626"/>
                <a:gd name="connsiteY102" fmla="*/ 338137 h 353631"/>
                <a:gd name="connsiteX103" fmla="*/ 373063 w 551626"/>
                <a:gd name="connsiteY103" fmla="*/ 312737 h 353631"/>
                <a:gd name="connsiteX104" fmla="*/ 374650 w 551626"/>
                <a:gd name="connsiteY104" fmla="*/ 307975 h 353631"/>
                <a:gd name="connsiteX105" fmla="*/ 377825 w 551626"/>
                <a:gd name="connsiteY105" fmla="*/ 303212 h 353631"/>
                <a:gd name="connsiteX106" fmla="*/ 384175 w 551626"/>
                <a:gd name="connsiteY106" fmla="*/ 298450 h 353631"/>
                <a:gd name="connsiteX107" fmla="*/ 396875 w 551626"/>
                <a:gd name="connsiteY107" fmla="*/ 290512 h 353631"/>
                <a:gd name="connsiteX108" fmla="*/ 401638 w 551626"/>
                <a:gd name="connsiteY108" fmla="*/ 287337 h 353631"/>
                <a:gd name="connsiteX109" fmla="*/ 406400 w 551626"/>
                <a:gd name="connsiteY109" fmla="*/ 280987 h 353631"/>
                <a:gd name="connsiteX110" fmla="*/ 411163 w 551626"/>
                <a:gd name="connsiteY110" fmla="*/ 276225 h 353631"/>
                <a:gd name="connsiteX111" fmla="*/ 412750 w 551626"/>
                <a:gd name="connsiteY111" fmla="*/ 260350 h 353631"/>
                <a:gd name="connsiteX112" fmla="*/ 414338 w 551626"/>
                <a:gd name="connsiteY112" fmla="*/ 236537 h 353631"/>
                <a:gd name="connsiteX113" fmla="*/ 428625 w 551626"/>
                <a:gd name="connsiteY113" fmla="*/ 239712 h 353631"/>
                <a:gd name="connsiteX114" fmla="*/ 430213 w 551626"/>
                <a:gd name="connsiteY114" fmla="*/ 246062 h 353631"/>
                <a:gd name="connsiteX115" fmla="*/ 433388 w 551626"/>
                <a:gd name="connsiteY115" fmla="*/ 250825 h 353631"/>
                <a:gd name="connsiteX116" fmla="*/ 434975 w 551626"/>
                <a:gd name="connsiteY116" fmla="*/ 260350 h 353631"/>
                <a:gd name="connsiteX117" fmla="*/ 447675 w 551626"/>
                <a:gd name="connsiteY117" fmla="*/ 271462 h 353631"/>
                <a:gd name="connsiteX118" fmla="*/ 460375 w 551626"/>
                <a:gd name="connsiteY118" fmla="*/ 266700 h 353631"/>
                <a:gd name="connsiteX119" fmla="*/ 461963 w 551626"/>
                <a:gd name="connsiteY119" fmla="*/ 261937 h 353631"/>
                <a:gd name="connsiteX120" fmla="*/ 468313 w 551626"/>
                <a:gd name="connsiteY120" fmla="*/ 260350 h 353631"/>
                <a:gd name="connsiteX121" fmla="*/ 476250 w 551626"/>
                <a:gd name="connsiteY121" fmla="*/ 258762 h 353631"/>
                <a:gd name="connsiteX122" fmla="*/ 481013 w 551626"/>
                <a:gd name="connsiteY122" fmla="*/ 255587 h 353631"/>
                <a:gd name="connsiteX123" fmla="*/ 488950 w 551626"/>
                <a:gd name="connsiteY123" fmla="*/ 261937 h 353631"/>
                <a:gd name="connsiteX124" fmla="*/ 492125 w 551626"/>
                <a:gd name="connsiteY124" fmla="*/ 268287 h 353631"/>
                <a:gd name="connsiteX125" fmla="*/ 496888 w 551626"/>
                <a:gd name="connsiteY125" fmla="*/ 271462 h 353631"/>
                <a:gd name="connsiteX126" fmla="*/ 501650 w 551626"/>
                <a:gd name="connsiteY126" fmla="*/ 276225 h 353631"/>
                <a:gd name="connsiteX127" fmla="*/ 509588 w 551626"/>
                <a:gd name="connsiteY127" fmla="*/ 292100 h 353631"/>
                <a:gd name="connsiteX128" fmla="*/ 509588 w 551626"/>
                <a:gd name="connsiteY128" fmla="*/ 252412 h 353631"/>
                <a:gd name="connsiteX129" fmla="*/ 504825 w 551626"/>
                <a:gd name="connsiteY129" fmla="*/ 246062 h 353631"/>
                <a:gd name="connsiteX130" fmla="*/ 501650 w 551626"/>
                <a:gd name="connsiteY130" fmla="*/ 239712 h 353631"/>
                <a:gd name="connsiteX131" fmla="*/ 503238 w 551626"/>
                <a:gd name="connsiteY131" fmla="*/ 227012 h 353631"/>
                <a:gd name="connsiteX132" fmla="*/ 509588 w 551626"/>
                <a:gd name="connsiteY132" fmla="*/ 217487 h 353631"/>
                <a:gd name="connsiteX133" fmla="*/ 511175 w 551626"/>
                <a:gd name="connsiteY133" fmla="*/ 211137 h 353631"/>
                <a:gd name="connsiteX134" fmla="*/ 519113 w 551626"/>
                <a:gd name="connsiteY134" fmla="*/ 214312 h 353631"/>
                <a:gd name="connsiteX135" fmla="*/ 523875 w 551626"/>
                <a:gd name="connsiteY135" fmla="*/ 215900 h 353631"/>
                <a:gd name="connsiteX136" fmla="*/ 534988 w 551626"/>
                <a:gd name="connsiteY136" fmla="*/ 222250 h 353631"/>
                <a:gd name="connsiteX137" fmla="*/ 538163 w 551626"/>
                <a:gd name="connsiteY137" fmla="*/ 227012 h 353631"/>
                <a:gd name="connsiteX138" fmla="*/ 550863 w 551626"/>
                <a:gd name="connsiteY138" fmla="*/ 227012 h 353631"/>
                <a:gd name="connsiteX139" fmla="*/ 549275 w 551626"/>
                <a:gd name="connsiteY139" fmla="*/ 212725 h 353631"/>
                <a:gd name="connsiteX140" fmla="*/ 544513 w 551626"/>
                <a:gd name="connsiteY140" fmla="*/ 207962 h 353631"/>
                <a:gd name="connsiteX141" fmla="*/ 551498 w 551626"/>
                <a:gd name="connsiteY141" fmla="*/ 192722 h 353631"/>
                <a:gd name="connsiteX142" fmla="*/ 537210 w 551626"/>
                <a:gd name="connsiteY142" fmla="*/ 141922 h 353631"/>
                <a:gd name="connsiteX143" fmla="*/ 522605 w 551626"/>
                <a:gd name="connsiteY143" fmla="*/ 156527 h 353631"/>
                <a:gd name="connsiteX144" fmla="*/ 495300 w 551626"/>
                <a:gd name="connsiteY144" fmla="*/ 165100 h 353631"/>
                <a:gd name="connsiteX145" fmla="*/ 493713 w 551626"/>
                <a:gd name="connsiteY145" fmla="*/ 160337 h 353631"/>
                <a:gd name="connsiteX146" fmla="*/ 484188 w 551626"/>
                <a:gd name="connsiteY146" fmla="*/ 152400 h 353631"/>
                <a:gd name="connsiteX147" fmla="*/ 481013 w 551626"/>
                <a:gd name="connsiteY147" fmla="*/ 144462 h 353631"/>
                <a:gd name="connsiteX148" fmla="*/ 460375 w 551626"/>
                <a:gd name="connsiteY148" fmla="*/ 139700 h 353631"/>
                <a:gd name="connsiteX149" fmla="*/ 452438 w 551626"/>
                <a:gd name="connsiteY149" fmla="*/ 134937 h 353631"/>
                <a:gd name="connsiteX150" fmla="*/ 447675 w 551626"/>
                <a:gd name="connsiteY150" fmla="*/ 127000 h 353631"/>
                <a:gd name="connsiteX151" fmla="*/ 434975 w 551626"/>
                <a:gd name="connsiteY151" fmla="*/ 125412 h 353631"/>
                <a:gd name="connsiteX152" fmla="*/ 436563 w 551626"/>
                <a:gd name="connsiteY152" fmla="*/ 120650 h 353631"/>
                <a:gd name="connsiteX153" fmla="*/ 436563 w 551626"/>
                <a:gd name="connsiteY153" fmla="*/ 98425 h 353631"/>
                <a:gd name="connsiteX154" fmla="*/ 430213 w 551626"/>
                <a:gd name="connsiteY154" fmla="*/ 92075 h 353631"/>
                <a:gd name="connsiteX155" fmla="*/ 436563 w 551626"/>
                <a:gd name="connsiteY155" fmla="*/ 88900 h 353631"/>
                <a:gd name="connsiteX156" fmla="*/ 452438 w 551626"/>
                <a:gd name="connsiteY156" fmla="*/ 87312 h 353631"/>
                <a:gd name="connsiteX157" fmla="*/ 454025 w 551626"/>
                <a:gd name="connsiteY157" fmla="*/ 79375 h 353631"/>
                <a:gd name="connsiteX158" fmla="*/ 452438 w 551626"/>
                <a:gd name="connsiteY158" fmla="*/ 74612 h 353631"/>
                <a:gd name="connsiteX159" fmla="*/ 442913 w 551626"/>
                <a:gd name="connsiteY159" fmla="*/ 60325 h 353631"/>
                <a:gd name="connsiteX160" fmla="*/ 438150 w 551626"/>
                <a:gd name="connsiteY160" fmla="*/ 47625 h 353631"/>
                <a:gd name="connsiteX161" fmla="*/ 430213 w 551626"/>
                <a:gd name="connsiteY161" fmla="*/ 46037 h 353631"/>
                <a:gd name="connsiteX162" fmla="*/ 423863 w 551626"/>
                <a:gd name="connsiteY162" fmla="*/ 39687 h 353631"/>
                <a:gd name="connsiteX163" fmla="*/ 411163 w 551626"/>
                <a:gd name="connsiteY163" fmla="*/ 34925 h 353631"/>
                <a:gd name="connsiteX164" fmla="*/ 401638 w 551626"/>
                <a:gd name="connsiteY164" fmla="*/ 26987 h 353631"/>
                <a:gd name="connsiteX165" fmla="*/ 392113 w 551626"/>
                <a:gd name="connsiteY165" fmla="*/ 23812 h 353631"/>
                <a:gd name="connsiteX166" fmla="*/ 387350 w 551626"/>
                <a:gd name="connsiteY166" fmla="*/ 19050 h 353631"/>
                <a:gd name="connsiteX167" fmla="*/ 377825 w 551626"/>
                <a:gd name="connsiteY167" fmla="*/ 15875 h 353631"/>
                <a:gd name="connsiteX168" fmla="*/ 363538 w 551626"/>
                <a:gd name="connsiteY168" fmla="*/ 17462 h 353631"/>
                <a:gd name="connsiteX169" fmla="*/ 354013 w 551626"/>
                <a:gd name="connsiteY169" fmla="*/ 19050 h 353631"/>
                <a:gd name="connsiteX170" fmla="*/ 342900 w 551626"/>
                <a:gd name="connsiteY170" fmla="*/ 7937 h 353631"/>
                <a:gd name="connsiteX171" fmla="*/ 328613 w 551626"/>
                <a:gd name="connsiteY171" fmla="*/ 0 h 353631"/>
                <a:gd name="connsiteX172" fmla="*/ 312738 w 551626"/>
                <a:gd name="connsiteY172" fmla="*/ 1587 h 353631"/>
                <a:gd name="connsiteX173" fmla="*/ 306388 w 551626"/>
                <a:gd name="connsiteY173" fmla="*/ 9525 h 353631"/>
                <a:gd name="connsiteX174" fmla="*/ 311150 w 551626"/>
                <a:gd name="connsiteY174" fmla="*/ 11112 h 353631"/>
                <a:gd name="connsiteX175" fmla="*/ 315913 w 551626"/>
                <a:gd name="connsiteY175" fmla="*/ 15875 h 353631"/>
                <a:gd name="connsiteX176" fmla="*/ 339725 w 551626"/>
                <a:gd name="connsiteY176" fmla="*/ 14287 h 353631"/>
                <a:gd name="connsiteX177" fmla="*/ 338138 w 551626"/>
                <a:gd name="connsiteY177" fmla="*/ 15875 h 353631"/>
                <a:gd name="connsiteX178" fmla="*/ 334963 w 551626"/>
                <a:gd name="connsiteY178" fmla="*/ 22225 h 353631"/>
                <a:gd name="connsiteX179" fmla="*/ 328613 w 551626"/>
                <a:gd name="connsiteY179" fmla="*/ 23812 h 353631"/>
                <a:gd name="connsiteX180" fmla="*/ 323850 w 551626"/>
                <a:gd name="connsiteY180" fmla="*/ 26987 h 353631"/>
                <a:gd name="connsiteX181" fmla="*/ 314325 w 551626"/>
                <a:gd name="connsiteY181" fmla="*/ 34925 h 353631"/>
                <a:gd name="connsiteX182" fmla="*/ 306388 w 551626"/>
                <a:gd name="connsiteY182" fmla="*/ 36512 h 353631"/>
                <a:gd name="connsiteX183" fmla="*/ 296863 w 551626"/>
                <a:gd name="connsiteY183" fmla="*/ 33337 h 353631"/>
                <a:gd name="connsiteX184" fmla="*/ 292100 w 551626"/>
                <a:gd name="connsiteY184" fmla="*/ 30162 h 353631"/>
                <a:gd name="connsiteX185" fmla="*/ 282575 w 551626"/>
                <a:gd name="connsiteY185" fmla="*/ 28575 h 353631"/>
                <a:gd name="connsiteX186" fmla="*/ 271463 w 551626"/>
                <a:gd name="connsiteY186" fmla="*/ 23812 h 353631"/>
                <a:gd name="connsiteX187" fmla="*/ 265113 w 551626"/>
                <a:gd name="connsiteY187" fmla="*/ 25400 h 353631"/>
                <a:gd name="connsiteX188" fmla="*/ 246063 w 551626"/>
                <a:gd name="connsiteY188" fmla="*/ 38100 h 353631"/>
                <a:gd name="connsiteX189" fmla="*/ 231775 w 551626"/>
                <a:gd name="connsiteY189" fmla="*/ 36512 h 353631"/>
                <a:gd name="connsiteX190" fmla="*/ 222250 w 551626"/>
                <a:gd name="connsiteY190" fmla="*/ 33337 h 353631"/>
                <a:gd name="connsiteX191" fmla="*/ 211138 w 551626"/>
                <a:gd name="connsiteY191" fmla="*/ 26987 h 353631"/>
                <a:gd name="connsiteX0" fmla="*/ 211138 w 561104"/>
                <a:gd name="connsiteY0" fmla="*/ 26987 h 353631"/>
                <a:gd name="connsiteX1" fmla="*/ 206375 w 561104"/>
                <a:gd name="connsiteY1" fmla="*/ 34925 h 353631"/>
                <a:gd name="connsiteX2" fmla="*/ 196850 w 561104"/>
                <a:gd name="connsiteY2" fmla="*/ 42862 h 353631"/>
                <a:gd name="connsiteX3" fmla="*/ 192088 w 561104"/>
                <a:gd name="connsiteY3" fmla="*/ 47625 h 353631"/>
                <a:gd name="connsiteX4" fmla="*/ 180975 w 561104"/>
                <a:gd name="connsiteY4" fmla="*/ 57150 h 353631"/>
                <a:gd name="connsiteX5" fmla="*/ 174625 w 561104"/>
                <a:gd name="connsiteY5" fmla="*/ 61912 h 353631"/>
                <a:gd name="connsiteX6" fmla="*/ 166688 w 561104"/>
                <a:gd name="connsiteY6" fmla="*/ 58737 h 353631"/>
                <a:gd name="connsiteX7" fmla="*/ 161925 w 561104"/>
                <a:gd name="connsiteY7" fmla="*/ 57150 h 353631"/>
                <a:gd name="connsiteX8" fmla="*/ 155575 w 561104"/>
                <a:gd name="connsiteY8" fmla="*/ 53975 h 353631"/>
                <a:gd name="connsiteX9" fmla="*/ 134938 w 561104"/>
                <a:gd name="connsiteY9" fmla="*/ 47625 h 353631"/>
                <a:gd name="connsiteX10" fmla="*/ 127000 w 561104"/>
                <a:gd name="connsiteY10" fmla="*/ 60325 h 353631"/>
                <a:gd name="connsiteX11" fmla="*/ 120650 w 561104"/>
                <a:gd name="connsiteY11" fmla="*/ 63500 h 353631"/>
                <a:gd name="connsiteX12" fmla="*/ 114300 w 561104"/>
                <a:gd name="connsiteY12" fmla="*/ 68262 h 353631"/>
                <a:gd name="connsiteX13" fmla="*/ 128588 w 561104"/>
                <a:gd name="connsiteY13" fmla="*/ 73025 h 353631"/>
                <a:gd name="connsiteX14" fmla="*/ 131763 w 561104"/>
                <a:gd name="connsiteY14" fmla="*/ 79375 h 353631"/>
                <a:gd name="connsiteX15" fmla="*/ 127000 w 561104"/>
                <a:gd name="connsiteY15" fmla="*/ 90487 h 353631"/>
                <a:gd name="connsiteX16" fmla="*/ 117475 w 561104"/>
                <a:gd name="connsiteY16" fmla="*/ 100012 h 353631"/>
                <a:gd name="connsiteX17" fmla="*/ 109538 w 561104"/>
                <a:gd name="connsiteY17" fmla="*/ 103187 h 353631"/>
                <a:gd name="connsiteX18" fmla="*/ 104775 w 561104"/>
                <a:gd name="connsiteY18" fmla="*/ 109537 h 353631"/>
                <a:gd name="connsiteX19" fmla="*/ 96838 w 561104"/>
                <a:gd name="connsiteY19" fmla="*/ 112712 h 353631"/>
                <a:gd name="connsiteX20" fmla="*/ 92075 w 561104"/>
                <a:gd name="connsiteY20" fmla="*/ 115887 h 353631"/>
                <a:gd name="connsiteX21" fmla="*/ 84138 w 561104"/>
                <a:gd name="connsiteY21" fmla="*/ 128587 h 353631"/>
                <a:gd name="connsiteX22" fmla="*/ 79375 w 561104"/>
                <a:gd name="connsiteY22" fmla="*/ 133350 h 353631"/>
                <a:gd name="connsiteX23" fmla="*/ 71438 w 561104"/>
                <a:gd name="connsiteY23" fmla="*/ 141287 h 353631"/>
                <a:gd name="connsiteX24" fmla="*/ 63500 w 561104"/>
                <a:gd name="connsiteY24" fmla="*/ 149225 h 353631"/>
                <a:gd name="connsiteX25" fmla="*/ 58738 w 561104"/>
                <a:gd name="connsiteY25" fmla="*/ 155575 h 353631"/>
                <a:gd name="connsiteX26" fmla="*/ 57150 w 561104"/>
                <a:gd name="connsiteY26" fmla="*/ 160337 h 353631"/>
                <a:gd name="connsiteX27" fmla="*/ 55563 w 561104"/>
                <a:gd name="connsiteY27" fmla="*/ 166687 h 353631"/>
                <a:gd name="connsiteX28" fmla="*/ 52388 w 561104"/>
                <a:gd name="connsiteY28" fmla="*/ 171450 h 353631"/>
                <a:gd name="connsiteX29" fmla="*/ 44450 w 561104"/>
                <a:gd name="connsiteY29" fmla="*/ 182562 h 353631"/>
                <a:gd name="connsiteX30" fmla="*/ 39688 w 561104"/>
                <a:gd name="connsiteY30" fmla="*/ 188912 h 353631"/>
                <a:gd name="connsiteX31" fmla="*/ 26988 w 561104"/>
                <a:gd name="connsiteY31" fmla="*/ 192087 h 353631"/>
                <a:gd name="connsiteX32" fmla="*/ 22225 w 561104"/>
                <a:gd name="connsiteY32" fmla="*/ 195262 h 353631"/>
                <a:gd name="connsiteX33" fmla="*/ 14288 w 561104"/>
                <a:gd name="connsiteY33" fmla="*/ 198437 h 353631"/>
                <a:gd name="connsiteX34" fmla="*/ 11113 w 561104"/>
                <a:gd name="connsiteY34" fmla="*/ 204787 h 353631"/>
                <a:gd name="connsiteX35" fmla="*/ 12700 w 561104"/>
                <a:gd name="connsiteY35" fmla="*/ 244475 h 353631"/>
                <a:gd name="connsiteX36" fmla="*/ 14288 w 561104"/>
                <a:gd name="connsiteY36" fmla="*/ 250825 h 353631"/>
                <a:gd name="connsiteX37" fmla="*/ 19050 w 561104"/>
                <a:gd name="connsiteY37" fmla="*/ 255587 h 353631"/>
                <a:gd name="connsiteX38" fmla="*/ 12700 w 561104"/>
                <a:gd name="connsiteY38" fmla="*/ 258762 h 353631"/>
                <a:gd name="connsiteX39" fmla="*/ 0 w 561104"/>
                <a:gd name="connsiteY39" fmla="*/ 271462 h 353631"/>
                <a:gd name="connsiteX40" fmla="*/ 3175 w 561104"/>
                <a:gd name="connsiteY40" fmla="*/ 276225 h 353631"/>
                <a:gd name="connsiteX41" fmla="*/ 11113 w 561104"/>
                <a:gd name="connsiteY41" fmla="*/ 279400 h 353631"/>
                <a:gd name="connsiteX42" fmla="*/ 23813 w 561104"/>
                <a:gd name="connsiteY42" fmla="*/ 276225 h 353631"/>
                <a:gd name="connsiteX43" fmla="*/ 28575 w 561104"/>
                <a:gd name="connsiteY43" fmla="*/ 268287 h 353631"/>
                <a:gd name="connsiteX44" fmla="*/ 28575 w 561104"/>
                <a:gd name="connsiteY44" fmla="*/ 242887 h 353631"/>
                <a:gd name="connsiteX45" fmla="*/ 34925 w 561104"/>
                <a:gd name="connsiteY45" fmla="*/ 239712 h 353631"/>
                <a:gd name="connsiteX46" fmla="*/ 49213 w 561104"/>
                <a:gd name="connsiteY46" fmla="*/ 236537 h 353631"/>
                <a:gd name="connsiteX47" fmla="*/ 57150 w 561104"/>
                <a:gd name="connsiteY47" fmla="*/ 228600 h 353631"/>
                <a:gd name="connsiteX48" fmla="*/ 58738 w 561104"/>
                <a:gd name="connsiteY48" fmla="*/ 223837 h 353631"/>
                <a:gd name="connsiteX49" fmla="*/ 66675 w 561104"/>
                <a:gd name="connsiteY49" fmla="*/ 217487 h 353631"/>
                <a:gd name="connsiteX50" fmla="*/ 77788 w 561104"/>
                <a:gd name="connsiteY50" fmla="*/ 222250 h 353631"/>
                <a:gd name="connsiteX51" fmla="*/ 87313 w 561104"/>
                <a:gd name="connsiteY51" fmla="*/ 225425 h 353631"/>
                <a:gd name="connsiteX52" fmla="*/ 101600 w 561104"/>
                <a:gd name="connsiteY52" fmla="*/ 233362 h 353631"/>
                <a:gd name="connsiteX53" fmla="*/ 103188 w 561104"/>
                <a:gd name="connsiteY53" fmla="*/ 252412 h 353631"/>
                <a:gd name="connsiteX54" fmla="*/ 104775 w 561104"/>
                <a:gd name="connsiteY54" fmla="*/ 284162 h 353631"/>
                <a:gd name="connsiteX55" fmla="*/ 109538 w 561104"/>
                <a:gd name="connsiteY55" fmla="*/ 287337 h 353631"/>
                <a:gd name="connsiteX56" fmla="*/ 111125 w 561104"/>
                <a:gd name="connsiteY56" fmla="*/ 296862 h 353631"/>
                <a:gd name="connsiteX57" fmla="*/ 112713 w 561104"/>
                <a:gd name="connsiteY57" fmla="*/ 301625 h 353631"/>
                <a:gd name="connsiteX58" fmla="*/ 111125 w 561104"/>
                <a:gd name="connsiteY58" fmla="*/ 307975 h 353631"/>
                <a:gd name="connsiteX59" fmla="*/ 115888 w 561104"/>
                <a:gd name="connsiteY59" fmla="*/ 314325 h 353631"/>
                <a:gd name="connsiteX60" fmla="*/ 122238 w 561104"/>
                <a:gd name="connsiteY60" fmla="*/ 315912 h 353631"/>
                <a:gd name="connsiteX61" fmla="*/ 125413 w 561104"/>
                <a:gd name="connsiteY61" fmla="*/ 325437 h 353631"/>
                <a:gd name="connsiteX62" fmla="*/ 127000 w 561104"/>
                <a:gd name="connsiteY62" fmla="*/ 334962 h 353631"/>
                <a:gd name="connsiteX63" fmla="*/ 142875 w 561104"/>
                <a:gd name="connsiteY63" fmla="*/ 336550 h 353631"/>
                <a:gd name="connsiteX64" fmla="*/ 149225 w 561104"/>
                <a:gd name="connsiteY64" fmla="*/ 328612 h 353631"/>
                <a:gd name="connsiteX65" fmla="*/ 152400 w 561104"/>
                <a:gd name="connsiteY65" fmla="*/ 323850 h 353631"/>
                <a:gd name="connsiteX66" fmla="*/ 158750 w 561104"/>
                <a:gd name="connsiteY66" fmla="*/ 327025 h 353631"/>
                <a:gd name="connsiteX67" fmla="*/ 168275 w 561104"/>
                <a:gd name="connsiteY67" fmla="*/ 334962 h 353631"/>
                <a:gd name="connsiteX68" fmla="*/ 173038 w 561104"/>
                <a:gd name="connsiteY68" fmla="*/ 328612 h 353631"/>
                <a:gd name="connsiteX69" fmla="*/ 179388 w 561104"/>
                <a:gd name="connsiteY69" fmla="*/ 323850 h 353631"/>
                <a:gd name="connsiteX70" fmla="*/ 190500 w 561104"/>
                <a:gd name="connsiteY70" fmla="*/ 320675 h 353631"/>
                <a:gd name="connsiteX71" fmla="*/ 200025 w 561104"/>
                <a:gd name="connsiteY71" fmla="*/ 325437 h 353631"/>
                <a:gd name="connsiteX72" fmla="*/ 209550 w 561104"/>
                <a:gd name="connsiteY72" fmla="*/ 327025 h 353631"/>
                <a:gd name="connsiteX73" fmla="*/ 211138 w 561104"/>
                <a:gd name="connsiteY73" fmla="*/ 331787 h 353631"/>
                <a:gd name="connsiteX74" fmla="*/ 212725 w 561104"/>
                <a:gd name="connsiteY74" fmla="*/ 338137 h 353631"/>
                <a:gd name="connsiteX75" fmla="*/ 225425 w 561104"/>
                <a:gd name="connsiteY75" fmla="*/ 336550 h 353631"/>
                <a:gd name="connsiteX76" fmla="*/ 227013 w 561104"/>
                <a:gd name="connsiteY76" fmla="*/ 331787 h 353631"/>
                <a:gd name="connsiteX77" fmla="*/ 231775 w 561104"/>
                <a:gd name="connsiteY77" fmla="*/ 327025 h 353631"/>
                <a:gd name="connsiteX78" fmla="*/ 234950 w 561104"/>
                <a:gd name="connsiteY78" fmla="*/ 319087 h 353631"/>
                <a:gd name="connsiteX79" fmla="*/ 239713 w 561104"/>
                <a:gd name="connsiteY79" fmla="*/ 315912 h 353631"/>
                <a:gd name="connsiteX80" fmla="*/ 254000 w 561104"/>
                <a:gd name="connsiteY80" fmla="*/ 306387 h 353631"/>
                <a:gd name="connsiteX81" fmla="*/ 252413 w 561104"/>
                <a:gd name="connsiteY81" fmla="*/ 292100 h 353631"/>
                <a:gd name="connsiteX82" fmla="*/ 254000 w 561104"/>
                <a:gd name="connsiteY82" fmla="*/ 276225 h 353631"/>
                <a:gd name="connsiteX83" fmla="*/ 258763 w 561104"/>
                <a:gd name="connsiteY83" fmla="*/ 269875 h 353631"/>
                <a:gd name="connsiteX84" fmla="*/ 269875 w 561104"/>
                <a:gd name="connsiteY84" fmla="*/ 258762 h 353631"/>
                <a:gd name="connsiteX85" fmla="*/ 274638 w 561104"/>
                <a:gd name="connsiteY85" fmla="*/ 254000 h 353631"/>
                <a:gd name="connsiteX86" fmla="*/ 280988 w 561104"/>
                <a:gd name="connsiteY86" fmla="*/ 250825 h 353631"/>
                <a:gd name="connsiteX87" fmla="*/ 285750 w 561104"/>
                <a:gd name="connsiteY87" fmla="*/ 249237 h 353631"/>
                <a:gd name="connsiteX88" fmla="*/ 295275 w 561104"/>
                <a:gd name="connsiteY88" fmla="*/ 244475 h 353631"/>
                <a:gd name="connsiteX89" fmla="*/ 301625 w 561104"/>
                <a:gd name="connsiteY89" fmla="*/ 271462 h 353631"/>
                <a:gd name="connsiteX90" fmla="*/ 311150 w 561104"/>
                <a:gd name="connsiteY90" fmla="*/ 282575 h 353631"/>
                <a:gd name="connsiteX91" fmla="*/ 314325 w 561104"/>
                <a:gd name="connsiteY91" fmla="*/ 287337 h 353631"/>
                <a:gd name="connsiteX92" fmla="*/ 315913 w 561104"/>
                <a:gd name="connsiteY92" fmla="*/ 292100 h 353631"/>
                <a:gd name="connsiteX93" fmla="*/ 320675 w 561104"/>
                <a:gd name="connsiteY93" fmla="*/ 295275 h 353631"/>
                <a:gd name="connsiteX94" fmla="*/ 339725 w 561104"/>
                <a:gd name="connsiteY94" fmla="*/ 298450 h 353631"/>
                <a:gd name="connsiteX95" fmla="*/ 344488 w 561104"/>
                <a:gd name="connsiteY95" fmla="*/ 303212 h 353631"/>
                <a:gd name="connsiteX96" fmla="*/ 349250 w 561104"/>
                <a:gd name="connsiteY96" fmla="*/ 315912 h 353631"/>
                <a:gd name="connsiteX97" fmla="*/ 350838 w 561104"/>
                <a:gd name="connsiteY97" fmla="*/ 325437 h 353631"/>
                <a:gd name="connsiteX98" fmla="*/ 355600 w 561104"/>
                <a:gd name="connsiteY98" fmla="*/ 331787 h 353631"/>
                <a:gd name="connsiteX99" fmla="*/ 358775 w 561104"/>
                <a:gd name="connsiteY99" fmla="*/ 336550 h 353631"/>
                <a:gd name="connsiteX100" fmla="*/ 366713 w 561104"/>
                <a:gd name="connsiteY100" fmla="*/ 349250 h 353631"/>
                <a:gd name="connsiteX101" fmla="*/ 380999 w 561104"/>
                <a:gd name="connsiteY101" fmla="*/ 353219 h 353631"/>
                <a:gd name="connsiteX102" fmla="*/ 388938 w 561104"/>
                <a:gd name="connsiteY102" fmla="*/ 338137 h 353631"/>
                <a:gd name="connsiteX103" fmla="*/ 373063 w 561104"/>
                <a:gd name="connsiteY103" fmla="*/ 312737 h 353631"/>
                <a:gd name="connsiteX104" fmla="*/ 374650 w 561104"/>
                <a:gd name="connsiteY104" fmla="*/ 307975 h 353631"/>
                <a:gd name="connsiteX105" fmla="*/ 377825 w 561104"/>
                <a:gd name="connsiteY105" fmla="*/ 303212 h 353631"/>
                <a:gd name="connsiteX106" fmla="*/ 384175 w 561104"/>
                <a:gd name="connsiteY106" fmla="*/ 298450 h 353631"/>
                <a:gd name="connsiteX107" fmla="*/ 396875 w 561104"/>
                <a:gd name="connsiteY107" fmla="*/ 290512 h 353631"/>
                <a:gd name="connsiteX108" fmla="*/ 401638 w 561104"/>
                <a:gd name="connsiteY108" fmla="*/ 287337 h 353631"/>
                <a:gd name="connsiteX109" fmla="*/ 406400 w 561104"/>
                <a:gd name="connsiteY109" fmla="*/ 280987 h 353631"/>
                <a:gd name="connsiteX110" fmla="*/ 411163 w 561104"/>
                <a:gd name="connsiteY110" fmla="*/ 276225 h 353631"/>
                <a:gd name="connsiteX111" fmla="*/ 412750 w 561104"/>
                <a:gd name="connsiteY111" fmla="*/ 260350 h 353631"/>
                <a:gd name="connsiteX112" fmla="*/ 414338 w 561104"/>
                <a:gd name="connsiteY112" fmla="*/ 236537 h 353631"/>
                <a:gd name="connsiteX113" fmla="*/ 428625 w 561104"/>
                <a:gd name="connsiteY113" fmla="*/ 239712 h 353631"/>
                <a:gd name="connsiteX114" fmla="*/ 430213 w 561104"/>
                <a:gd name="connsiteY114" fmla="*/ 246062 h 353631"/>
                <a:gd name="connsiteX115" fmla="*/ 433388 w 561104"/>
                <a:gd name="connsiteY115" fmla="*/ 250825 h 353631"/>
                <a:gd name="connsiteX116" fmla="*/ 434975 w 561104"/>
                <a:gd name="connsiteY116" fmla="*/ 260350 h 353631"/>
                <a:gd name="connsiteX117" fmla="*/ 447675 w 561104"/>
                <a:gd name="connsiteY117" fmla="*/ 271462 h 353631"/>
                <a:gd name="connsiteX118" fmla="*/ 460375 w 561104"/>
                <a:gd name="connsiteY118" fmla="*/ 266700 h 353631"/>
                <a:gd name="connsiteX119" fmla="*/ 461963 w 561104"/>
                <a:gd name="connsiteY119" fmla="*/ 261937 h 353631"/>
                <a:gd name="connsiteX120" fmla="*/ 468313 w 561104"/>
                <a:gd name="connsiteY120" fmla="*/ 260350 h 353631"/>
                <a:gd name="connsiteX121" fmla="*/ 476250 w 561104"/>
                <a:gd name="connsiteY121" fmla="*/ 258762 h 353631"/>
                <a:gd name="connsiteX122" fmla="*/ 481013 w 561104"/>
                <a:gd name="connsiteY122" fmla="*/ 255587 h 353631"/>
                <a:gd name="connsiteX123" fmla="*/ 488950 w 561104"/>
                <a:gd name="connsiteY123" fmla="*/ 261937 h 353631"/>
                <a:gd name="connsiteX124" fmla="*/ 492125 w 561104"/>
                <a:gd name="connsiteY124" fmla="*/ 268287 h 353631"/>
                <a:gd name="connsiteX125" fmla="*/ 496888 w 561104"/>
                <a:gd name="connsiteY125" fmla="*/ 271462 h 353631"/>
                <a:gd name="connsiteX126" fmla="*/ 501650 w 561104"/>
                <a:gd name="connsiteY126" fmla="*/ 276225 h 353631"/>
                <a:gd name="connsiteX127" fmla="*/ 509588 w 561104"/>
                <a:gd name="connsiteY127" fmla="*/ 292100 h 353631"/>
                <a:gd name="connsiteX128" fmla="*/ 509588 w 561104"/>
                <a:gd name="connsiteY128" fmla="*/ 252412 h 353631"/>
                <a:gd name="connsiteX129" fmla="*/ 504825 w 561104"/>
                <a:gd name="connsiteY129" fmla="*/ 246062 h 353631"/>
                <a:gd name="connsiteX130" fmla="*/ 501650 w 561104"/>
                <a:gd name="connsiteY130" fmla="*/ 239712 h 353631"/>
                <a:gd name="connsiteX131" fmla="*/ 503238 w 561104"/>
                <a:gd name="connsiteY131" fmla="*/ 227012 h 353631"/>
                <a:gd name="connsiteX132" fmla="*/ 509588 w 561104"/>
                <a:gd name="connsiteY132" fmla="*/ 217487 h 353631"/>
                <a:gd name="connsiteX133" fmla="*/ 511175 w 561104"/>
                <a:gd name="connsiteY133" fmla="*/ 211137 h 353631"/>
                <a:gd name="connsiteX134" fmla="*/ 519113 w 561104"/>
                <a:gd name="connsiteY134" fmla="*/ 214312 h 353631"/>
                <a:gd name="connsiteX135" fmla="*/ 523875 w 561104"/>
                <a:gd name="connsiteY135" fmla="*/ 215900 h 353631"/>
                <a:gd name="connsiteX136" fmla="*/ 534988 w 561104"/>
                <a:gd name="connsiteY136" fmla="*/ 222250 h 353631"/>
                <a:gd name="connsiteX137" fmla="*/ 538163 w 561104"/>
                <a:gd name="connsiteY137" fmla="*/ 227012 h 353631"/>
                <a:gd name="connsiteX138" fmla="*/ 550863 w 561104"/>
                <a:gd name="connsiteY138" fmla="*/ 227012 h 353631"/>
                <a:gd name="connsiteX139" fmla="*/ 549275 w 561104"/>
                <a:gd name="connsiteY139" fmla="*/ 212725 h 353631"/>
                <a:gd name="connsiteX140" fmla="*/ 544513 w 561104"/>
                <a:gd name="connsiteY140" fmla="*/ 207962 h 353631"/>
                <a:gd name="connsiteX141" fmla="*/ 551498 w 561104"/>
                <a:gd name="connsiteY141" fmla="*/ 192722 h 353631"/>
                <a:gd name="connsiteX142" fmla="*/ 560704 w 561104"/>
                <a:gd name="connsiteY142" fmla="*/ 147002 h 353631"/>
                <a:gd name="connsiteX143" fmla="*/ 537210 w 561104"/>
                <a:gd name="connsiteY143" fmla="*/ 141922 h 353631"/>
                <a:gd name="connsiteX144" fmla="*/ 522605 w 561104"/>
                <a:gd name="connsiteY144" fmla="*/ 156527 h 353631"/>
                <a:gd name="connsiteX145" fmla="*/ 495300 w 561104"/>
                <a:gd name="connsiteY145" fmla="*/ 165100 h 353631"/>
                <a:gd name="connsiteX146" fmla="*/ 493713 w 561104"/>
                <a:gd name="connsiteY146" fmla="*/ 160337 h 353631"/>
                <a:gd name="connsiteX147" fmla="*/ 484188 w 561104"/>
                <a:gd name="connsiteY147" fmla="*/ 152400 h 353631"/>
                <a:gd name="connsiteX148" fmla="*/ 481013 w 561104"/>
                <a:gd name="connsiteY148" fmla="*/ 144462 h 353631"/>
                <a:gd name="connsiteX149" fmla="*/ 460375 w 561104"/>
                <a:gd name="connsiteY149" fmla="*/ 139700 h 353631"/>
                <a:gd name="connsiteX150" fmla="*/ 452438 w 561104"/>
                <a:gd name="connsiteY150" fmla="*/ 134937 h 353631"/>
                <a:gd name="connsiteX151" fmla="*/ 447675 w 561104"/>
                <a:gd name="connsiteY151" fmla="*/ 127000 h 353631"/>
                <a:gd name="connsiteX152" fmla="*/ 434975 w 561104"/>
                <a:gd name="connsiteY152" fmla="*/ 125412 h 353631"/>
                <a:gd name="connsiteX153" fmla="*/ 436563 w 561104"/>
                <a:gd name="connsiteY153" fmla="*/ 120650 h 353631"/>
                <a:gd name="connsiteX154" fmla="*/ 436563 w 561104"/>
                <a:gd name="connsiteY154" fmla="*/ 98425 h 353631"/>
                <a:gd name="connsiteX155" fmla="*/ 430213 w 561104"/>
                <a:gd name="connsiteY155" fmla="*/ 92075 h 353631"/>
                <a:gd name="connsiteX156" fmla="*/ 436563 w 561104"/>
                <a:gd name="connsiteY156" fmla="*/ 88900 h 353631"/>
                <a:gd name="connsiteX157" fmla="*/ 452438 w 561104"/>
                <a:gd name="connsiteY157" fmla="*/ 87312 h 353631"/>
                <a:gd name="connsiteX158" fmla="*/ 454025 w 561104"/>
                <a:gd name="connsiteY158" fmla="*/ 79375 h 353631"/>
                <a:gd name="connsiteX159" fmla="*/ 452438 w 561104"/>
                <a:gd name="connsiteY159" fmla="*/ 74612 h 353631"/>
                <a:gd name="connsiteX160" fmla="*/ 442913 w 561104"/>
                <a:gd name="connsiteY160" fmla="*/ 60325 h 353631"/>
                <a:gd name="connsiteX161" fmla="*/ 438150 w 561104"/>
                <a:gd name="connsiteY161" fmla="*/ 47625 h 353631"/>
                <a:gd name="connsiteX162" fmla="*/ 430213 w 561104"/>
                <a:gd name="connsiteY162" fmla="*/ 46037 h 353631"/>
                <a:gd name="connsiteX163" fmla="*/ 423863 w 561104"/>
                <a:gd name="connsiteY163" fmla="*/ 39687 h 353631"/>
                <a:gd name="connsiteX164" fmla="*/ 411163 w 561104"/>
                <a:gd name="connsiteY164" fmla="*/ 34925 h 353631"/>
                <a:gd name="connsiteX165" fmla="*/ 401638 w 561104"/>
                <a:gd name="connsiteY165" fmla="*/ 26987 h 353631"/>
                <a:gd name="connsiteX166" fmla="*/ 392113 w 561104"/>
                <a:gd name="connsiteY166" fmla="*/ 23812 h 353631"/>
                <a:gd name="connsiteX167" fmla="*/ 387350 w 561104"/>
                <a:gd name="connsiteY167" fmla="*/ 19050 h 353631"/>
                <a:gd name="connsiteX168" fmla="*/ 377825 w 561104"/>
                <a:gd name="connsiteY168" fmla="*/ 15875 h 353631"/>
                <a:gd name="connsiteX169" fmla="*/ 363538 w 561104"/>
                <a:gd name="connsiteY169" fmla="*/ 17462 h 353631"/>
                <a:gd name="connsiteX170" fmla="*/ 354013 w 561104"/>
                <a:gd name="connsiteY170" fmla="*/ 19050 h 353631"/>
                <a:gd name="connsiteX171" fmla="*/ 342900 w 561104"/>
                <a:gd name="connsiteY171" fmla="*/ 7937 h 353631"/>
                <a:gd name="connsiteX172" fmla="*/ 328613 w 561104"/>
                <a:gd name="connsiteY172" fmla="*/ 0 h 353631"/>
                <a:gd name="connsiteX173" fmla="*/ 312738 w 561104"/>
                <a:gd name="connsiteY173" fmla="*/ 1587 h 353631"/>
                <a:gd name="connsiteX174" fmla="*/ 306388 w 561104"/>
                <a:gd name="connsiteY174" fmla="*/ 9525 h 353631"/>
                <a:gd name="connsiteX175" fmla="*/ 311150 w 561104"/>
                <a:gd name="connsiteY175" fmla="*/ 11112 h 353631"/>
                <a:gd name="connsiteX176" fmla="*/ 315913 w 561104"/>
                <a:gd name="connsiteY176" fmla="*/ 15875 h 353631"/>
                <a:gd name="connsiteX177" fmla="*/ 339725 w 561104"/>
                <a:gd name="connsiteY177" fmla="*/ 14287 h 353631"/>
                <a:gd name="connsiteX178" fmla="*/ 338138 w 561104"/>
                <a:gd name="connsiteY178" fmla="*/ 15875 h 353631"/>
                <a:gd name="connsiteX179" fmla="*/ 334963 w 561104"/>
                <a:gd name="connsiteY179" fmla="*/ 22225 h 353631"/>
                <a:gd name="connsiteX180" fmla="*/ 328613 w 561104"/>
                <a:gd name="connsiteY180" fmla="*/ 23812 h 353631"/>
                <a:gd name="connsiteX181" fmla="*/ 323850 w 561104"/>
                <a:gd name="connsiteY181" fmla="*/ 26987 h 353631"/>
                <a:gd name="connsiteX182" fmla="*/ 314325 w 561104"/>
                <a:gd name="connsiteY182" fmla="*/ 34925 h 353631"/>
                <a:gd name="connsiteX183" fmla="*/ 306388 w 561104"/>
                <a:gd name="connsiteY183" fmla="*/ 36512 h 353631"/>
                <a:gd name="connsiteX184" fmla="*/ 296863 w 561104"/>
                <a:gd name="connsiteY184" fmla="*/ 33337 h 353631"/>
                <a:gd name="connsiteX185" fmla="*/ 292100 w 561104"/>
                <a:gd name="connsiteY185" fmla="*/ 30162 h 353631"/>
                <a:gd name="connsiteX186" fmla="*/ 282575 w 561104"/>
                <a:gd name="connsiteY186" fmla="*/ 28575 h 353631"/>
                <a:gd name="connsiteX187" fmla="*/ 271463 w 561104"/>
                <a:gd name="connsiteY187" fmla="*/ 23812 h 353631"/>
                <a:gd name="connsiteX188" fmla="*/ 265113 w 561104"/>
                <a:gd name="connsiteY188" fmla="*/ 25400 h 353631"/>
                <a:gd name="connsiteX189" fmla="*/ 246063 w 561104"/>
                <a:gd name="connsiteY189" fmla="*/ 38100 h 353631"/>
                <a:gd name="connsiteX190" fmla="*/ 231775 w 561104"/>
                <a:gd name="connsiteY190" fmla="*/ 36512 h 353631"/>
                <a:gd name="connsiteX191" fmla="*/ 222250 w 561104"/>
                <a:gd name="connsiteY191" fmla="*/ 33337 h 353631"/>
                <a:gd name="connsiteX192" fmla="*/ 211138 w 561104"/>
                <a:gd name="connsiteY192" fmla="*/ 26987 h 353631"/>
                <a:gd name="connsiteX0" fmla="*/ 211138 w 561239"/>
                <a:gd name="connsiteY0" fmla="*/ 26987 h 353631"/>
                <a:gd name="connsiteX1" fmla="*/ 206375 w 561239"/>
                <a:gd name="connsiteY1" fmla="*/ 34925 h 353631"/>
                <a:gd name="connsiteX2" fmla="*/ 196850 w 561239"/>
                <a:gd name="connsiteY2" fmla="*/ 42862 h 353631"/>
                <a:gd name="connsiteX3" fmla="*/ 192088 w 561239"/>
                <a:gd name="connsiteY3" fmla="*/ 47625 h 353631"/>
                <a:gd name="connsiteX4" fmla="*/ 180975 w 561239"/>
                <a:gd name="connsiteY4" fmla="*/ 57150 h 353631"/>
                <a:gd name="connsiteX5" fmla="*/ 174625 w 561239"/>
                <a:gd name="connsiteY5" fmla="*/ 61912 h 353631"/>
                <a:gd name="connsiteX6" fmla="*/ 166688 w 561239"/>
                <a:gd name="connsiteY6" fmla="*/ 58737 h 353631"/>
                <a:gd name="connsiteX7" fmla="*/ 161925 w 561239"/>
                <a:gd name="connsiteY7" fmla="*/ 57150 h 353631"/>
                <a:gd name="connsiteX8" fmla="*/ 155575 w 561239"/>
                <a:gd name="connsiteY8" fmla="*/ 53975 h 353631"/>
                <a:gd name="connsiteX9" fmla="*/ 134938 w 561239"/>
                <a:gd name="connsiteY9" fmla="*/ 47625 h 353631"/>
                <a:gd name="connsiteX10" fmla="*/ 127000 w 561239"/>
                <a:gd name="connsiteY10" fmla="*/ 60325 h 353631"/>
                <a:gd name="connsiteX11" fmla="*/ 120650 w 561239"/>
                <a:gd name="connsiteY11" fmla="*/ 63500 h 353631"/>
                <a:gd name="connsiteX12" fmla="*/ 114300 w 561239"/>
                <a:gd name="connsiteY12" fmla="*/ 68262 h 353631"/>
                <a:gd name="connsiteX13" fmla="*/ 128588 w 561239"/>
                <a:gd name="connsiteY13" fmla="*/ 73025 h 353631"/>
                <a:gd name="connsiteX14" fmla="*/ 131763 w 561239"/>
                <a:gd name="connsiteY14" fmla="*/ 79375 h 353631"/>
                <a:gd name="connsiteX15" fmla="*/ 127000 w 561239"/>
                <a:gd name="connsiteY15" fmla="*/ 90487 h 353631"/>
                <a:gd name="connsiteX16" fmla="*/ 117475 w 561239"/>
                <a:gd name="connsiteY16" fmla="*/ 100012 h 353631"/>
                <a:gd name="connsiteX17" fmla="*/ 109538 w 561239"/>
                <a:gd name="connsiteY17" fmla="*/ 103187 h 353631"/>
                <a:gd name="connsiteX18" fmla="*/ 104775 w 561239"/>
                <a:gd name="connsiteY18" fmla="*/ 109537 h 353631"/>
                <a:gd name="connsiteX19" fmla="*/ 96838 w 561239"/>
                <a:gd name="connsiteY19" fmla="*/ 112712 h 353631"/>
                <a:gd name="connsiteX20" fmla="*/ 92075 w 561239"/>
                <a:gd name="connsiteY20" fmla="*/ 115887 h 353631"/>
                <a:gd name="connsiteX21" fmla="*/ 84138 w 561239"/>
                <a:gd name="connsiteY21" fmla="*/ 128587 h 353631"/>
                <a:gd name="connsiteX22" fmla="*/ 79375 w 561239"/>
                <a:gd name="connsiteY22" fmla="*/ 133350 h 353631"/>
                <a:gd name="connsiteX23" fmla="*/ 71438 w 561239"/>
                <a:gd name="connsiteY23" fmla="*/ 141287 h 353631"/>
                <a:gd name="connsiteX24" fmla="*/ 63500 w 561239"/>
                <a:gd name="connsiteY24" fmla="*/ 149225 h 353631"/>
                <a:gd name="connsiteX25" fmla="*/ 58738 w 561239"/>
                <a:gd name="connsiteY25" fmla="*/ 155575 h 353631"/>
                <a:gd name="connsiteX26" fmla="*/ 57150 w 561239"/>
                <a:gd name="connsiteY26" fmla="*/ 160337 h 353631"/>
                <a:gd name="connsiteX27" fmla="*/ 55563 w 561239"/>
                <a:gd name="connsiteY27" fmla="*/ 166687 h 353631"/>
                <a:gd name="connsiteX28" fmla="*/ 52388 w 561239"/>
                <a:gd name="connsiteY28" fmla="*/ 171450 h 353631"/>
                <a:gd name="connsiteX29" fmla="*/ 44450 w 561239"/>
                <a:gd name="connsiteY29" fmla="*/ 182562 h 353631"/>
                <a:gd name="connsiteX30" fmla="*/ 39688 w 561239"/>
                <a:gd name="connsiteY30" fmla="*/ 188912 h 353631"/>
                <a:gd name="connsiteX31" fmla="*/ 26988 w 561239"/>
                <a:gd name="connsiteY31" fmla="*/ 192087 h 353631"/>
                <a:gd name="connsiteX32" fmla="*/ 22225 w 561239"/>
                <a:gd name="connsiteY32" fmla="*/ 195262 h 353631"/>
                <a:gd name="connsiteX33" fmla="*/ 14288 w 561239"/>
                <a:gd name="connsiteY33" fmla="*/ 198437 h 353631"/>
                <a:gd name="connsiteX34" fmla="*/ 11113 w 561239"/>
                <a:gd name="connsiteY34" fmla="*/ 204787 h 353631"/>
                <a:gd name="connsiteX35" fmla="*/ 12700 w 561239"/>
                <a:gd name="connsiteY35" fmla="*/ 244475 h 353631"/>
                <a:gd name="connsiteX36" fmla="*/ 14288 w 561239"/>
                <a:gd name="connsiteY36" fmla="*/ 250825 h 353631"/>
                <a:gd name="connsiteX37" fmla="*/ 19050 w 561239"/>
                <a:gd name="connsiteY37" fmla="*/ 255587 h 353631"/>
                <a:gd name="connsiteX38" fmla="*/ 12700 w 561239"/>
                <a:gd name="connsiteY38" fmla="*/ 258762 h 353631"/>
                <a:gd name="connsiteX39" fmla="*/ 0 w 561239"/>
                <a:gd name="connsiteY39" fmla="*/ 271462 h 353631"/>
                <a:gd name="connsiteX40" fmla="*/ 3175 w 561239"/>
                <a:gd name="connsiteY40" fmla="*/ 276225 h 353631"/>
                <a:gd name="connsiteX41" fmla="*/ 11113 w 561239"/>
                <a:gd name="connsiteY41" fmla="*/ 279400 h 353631"/>
                <a:gd name="connsiteX42" fmla="*/ 23813 w 561239"/>
                <a:gd name="connsiteY42" fmla="*/ 276225 h 353631"/>
                <a:gd name="connsiteX43" fmla="*/ 28575 w 561239"/>
                <a:gd name="connsiteY43" fmla="*/ 268287 h 353631"/>
                <a:gd name="connsiteX44" fmla="*/ 28575 w 561239"/>
                <a:gd name="connsiteY44" fmla="*/ 242887 h 353631"/>
                <a:gd name="connsiteX45" fmla="*/ 34925 w 561239"/>
                <a:gd name="connsiteY45" fmla="*/ 239712 h 353631"/>
                <a:gd name="connsiteX46" fmla="*/ 49213 w 561239"/>
                <a:gd name="connsiteY46" fmla="*/ 236537 h 353631"/>
                <a:gd name="connsiteX47" fmla="*/ 57150 w 561239"/>
                <a:gd name="connsiteY47" fmla="*/ 228600 h 353631"/>
                <a:gd name="connsiteX48" fmla="*/ 58738 w 561239"/>
                <a:gd name="connsiteY48" fmla="*/ 223837 h 353631"/>
                <a:gd name="connsiteX49" fmla="*/ 66675 w 561239"/>
                <a:gd name="connsiteY49" fmla="*/ 217487 h 353631"/>
                <a:gd name="connsiteX50" fmla="*/ 77788 w 561239"/>
                <a:gd name="connsiteY50" fmla="*/ 222250 h 353631"/>
                <a:gd name="connsiteX51" fmla="*/ 87313 w 561239"/>
                <a:gd name="connsiteY51" fmla="*/ 225425 h 353631"/>
                <a:gd name="connsiteX52" fmla="*/ 101600 w 561239"/>
                <a:gd name="connsiteY52" fmla="*/ 233362 h 353631"/>
                <a:gd name="connsiteX53" fmla="*/ 103188 w 561239"/>
                <a:gd name="connsiteY53" fmla="*/ 252412 h 353631"/>
                <a:gd name="connsiteX54" fmla="*/ 104775 w 561239"/>
                <a:gd name="connsiteY54" fmla="*/ 284162 h 353631"/>
                <a:gd name="connsiteX55" fmla="*/ 109538 w 561239"/>
                <a:gd name="connsiteY55" fmla="*/ 287337 h 353631"/>
                <a:gd name="connsiteX56" fmla="*/ 111125 w 561239"/>
                <a:gd name="connsiteY56" fmla="*/ 296862 h 353631"/>
                <a:gd name="connsiteX57" fmla="*/ 112713 w 561239"/>
                <a:gd name="connsiteY57" fmla="*/ 301625 h 353631"/>
                <a:gd name="connsiteX58" fmla="*/ 111125 w 561239"/>
                <a:gd name="connsiteY58" fmla="*/ 307975 h 353631"/>
                <a:gd name="connsiteX59" fmla="*/ 115888 w 561239"/>
                <a:gd name="connsiteY59" fmla="*/ 314325 h 353631"/>
                <a:gd name="connsiteX60" fmla="*/ 122238 w 561239"/>
                <a:gd name="connsiteY60" fmla="*/ 315912 h 353631"/>
                <a:gd name="connsiteX61" fmla="*/ 125413 w 561239"/>
                <a:gd name="connsiteY61" fmla="*/ 325437 h 353631"/>
                <a:gd name="connsiteX62" fmla="*/ 127000 w 561239"/>
                <a:gd name="connsiteY62" fmla="*/ 334962 h 353631"/>
                <a:gd name="connsiteX63" fmla="*/ 142875 w 561239"/>
                <a:gd name="connsiteY63" fmla="*/ 336550 h 353631"/>
                <a:gd name="connsiteX64" fmla="*/ 149225 w 561239"/>
                <a:gd name="connsiteY64" fmla="*/ 328612 h 353631"/>
                <a:gd name="connsiteX65" fmla="*/ 152400 w 561239"/>
                <a:gd name="connsiteY65" fmla="*/ 323850 h 353631"/>
                <a:gd name="connsiteX66" fmla="*/ 158750 w 561239"/>
                <a:gd name="connsiteY66" fmla="*/ 327025 h 353631"/>
                <a:gd name="connsiteX67" fmla="*/ 168275 w 561239"/>
                <a:gd name="connsiteY67" fmla="*/ 334962 h 353631"/>
                <a:gd name="connsiteX68" fmla="*/ 173038 w 561239"/>
                <a:gd name="connsiteY68" fmla="*/ 328612 h 353631"/>
                <a:gd name="connsiteX69" fmla="*/ 179388 w 561239"/>
                <a:gd name="connsiteY69" fmla="*/ 323850 h 353631"/>
                <a:gd name="connsiteX70" fmla="*/ 190500 w 561239"/>
                <a:gd name="connsiteY70" fmla="*/ 320675 h 353631"/>
                <a:gd name="connsiteX71" fmla="*/ 200025 w 561239"/>
                <a:gd name="connsiteY71" fmla="*/ 325437 h 353631"/>
                <a:gd name="connsiteX72" fmla="*/ 209550 w 561239"/>
                <a:gd name="connsiteY72" fmla="*/ 327025 h 353631"/>
                <a:gd name="connsiteX73" fmla="*/ 211138 w 561239"/>
                <a:gd name="connsiteY73" fmla="*/ 331787 h 353631"/>
                <a:gd name="connsiteX74" fmla="*/ 212725 w 561239"/>
                <a:gd name="connsiteY74" fmla="*/ 338137 h 353631"/>
                <a:gd name="connsiteX75" fmla="*/ 225425 w 561239"/>
                <a:gd name="connsiteY75" fmla="*/ 336550 h 353631"/>
                <a:gd name="connsiteX76" fmla="*/ 227013 w 561239"/>
                <a:gd name="connsiteY76" fmla="*/ 331787 h 353631"/>
                <a:gd name="connsiteX77" fmla="*/ 231775 w 561239"/>
                <a:gd name="connsiteY77" fmla="*/ 327025 h 353631"/>
                <a:gd name="connsiteX78" fmla="*/ 234950 w 561239"/>
                <a:gd name="connsiteY78" fmla="*/ 319087 h 353631"/>
                <a:gd name="connsiteX79" fmla="*/ 239713 w 561239"/>
                <a:gd name="connsiteY79" fmla="*/ 315912 h 353631"/>
                <a:gd name="connsiteX80" fmla="*/ 254000 w 561239"/>
                <a:gd name="connsiteY80" fmla="*/ 306387 h 353631"/>
                <a:gd name="connsiteX81" fmla="*/ 252413 w 561239"/>
                <a:gd name="connsiteY81" fmla="*/ 292100 h 353631"/>
                <a:gd name="connsiteX82" fmla="*/ 254000 w 561239"/>
                <a:gd name="connsiteY82" fmla="*/ 276225 h 353631"/>
                <a:gd name="connsiteX83" fmla="*/ 258763 w 561239"/>
                <a:gd name="connsiteY83" fmla="*/ 269875 h 353631"/>
                <a:gd name="connsiteX84" fmla="*/ 269875 w 561239"/>
                <a:gd name="connsiteY84" fmla="*/ 258762 h 353631"/>
                <a:gd name="connsiteX85" fmla="*/ 274638 w 561239"/>
                <a:gd name="connsiteY85" fmla="*/ 254000 h 353631"/>
                <a:gd name="connsiteX86" fmla="*/ 280988 w 561239"/>
                <a:gd name="connsiteY86" fmla="*/ 250825 h 353631"/>
                <a:gd name="connsiteX87" fmla="*/ 285750 w 561239"/>
                <a:gd name="connsiteY87" fmla="*/ 249237 h 353631"/>
                <a:gd name="connsiteX88" fmla="*/ 295275 w 561239"/>
                <a:gd name="connsiteY88" fmla="*/ 244475 h 353631"/>
                <a:gd name="connsiteX89" fmla="*/ 301625 w 561239"/>
                <a:gd name="connsiteY89" fmla="*/ 271462 h 353631"/>
                <a:gd name="connsiteX90" fmla="*/ 311150 w 561239"/>
                <a:gd name="connsiteY90" fmla="*/ 282575 h 353631"/>
                <a:gd name="connsiteX91" fmla="*/ 314325 w 561239"/>
                <a:gd name="connsiteY91" fmla="*/ 287337 h 353631"/>
                <a:gd name="connsiteX92" fmla="*/ 315913 w 561239"/>
                <a:gd name="connsiteY92" fmla="*/ 292100 h 353631"/>
                <a:gd name="connsiteX93" fmla="*/ 320675 w 561239"/>
                <a:gd name="connsiteY93" fmla="*/ 295275 h 353631"/>
                <a:gd name="connsiteX94" fmla="*/ 339725 w 561239"/>
                <a:gd name="connsiteY94" fmla="*/ 298450 h 353631"/>
                <a:gd name="connsiteX95" fmla="*/ 344488 w 561239"/>
                <a:gd name="connsiteY95" fmla="*/ 303212 h 353631"/>
                <a:gd name="connsiteX96" fmla="*/ 349250 w 561239"/>
                <a:gd name="connsiteY96" fmla="*/ 315912 h 353631"/>
                <a:gd name="connsiteX97" fmla="*/ 350838 w 561239"/>
                <a:gd name="connsiteY97" fmla="*/ 325437 h 353631"/>
                <a:gd name="connsiteX98" fmla="*/ 355600 w 561239"/>
                <a:gd name="connsiteY98" fmla="*/ 331787 h 353631"/>
                <a:gd name="connsiteX99" fmla="*/ 358775 w 561239"/>
                <a:gd name="connsiteY99" fmla="*/ 336550 h 353631"/>
                <a:gd name="connsiteX100" fmla="*/ 366713 w 561239"/>
                <a:gd name="connsiteY100" fmla="*/ 349250 h 353631"/>
                <a:gd name="connsiteX101" fmla="*/ 380999 w 561239"/>
                <a:gd name="connsiteY101" fmla="*/ 353219 h 353631"/>
                <a:gd name="connsiteX102" fmla="*/ 388938 w 561239"/>
                <a:gd name="connsiteY102" fmla="*/ 338137 h 353631"/>
                <a:gd name="connsiteX103" fmla="*/ 373063 w 561239"/>
                <a:gd name="connsiteY103" fmla="*/ 312737 h 353631"/>
                <a:gd name="connsiteX104" fmla="*/ 374650 w 561239"/>
                <a:gd name="connsiteY104" fmla="*/ 307975 h 353631"/>
                <a:gd name="connsiteX105" fmla="*/ 377825 w 561239"/>
                <a:gd name="connsiteY105" fmla="*/ 303212 h 353631"/>
                <a:gd name="connsiteX106" fmla="*/ 384175 w 561239"/>
                <a:gd name="connsiteY106" fmla="*/ 298450 h 353631"/>
                <a:gd name="connsiteX107" fmla="*/ 396875 w 561239"/>
                <a:gd name="connsiteY107" fmla="*/ 290512 h 353631"/>
                <a:gd name="connsiteX108" fmla="*/ 401638 w 561239"/>
                <a:gd name="connsiteY108" fmla="*/ 287337 h 353631"/>
                <a:gd name="connsiteX109" fmla="*/ 406400 w 561239"/>
                <a:gd name="connsiteY109" fmla="*/ 280987 h 353631"/>
                <a:gd name="connsiteX110" fmla="*/ 411163 w 561239"/>
                <a:gd name="connsiteY110" fmla="*/ 276225 h 353631"/>
                <a:gd name="connsiteX111" fmla="*/ 412750 w 561239"/>
                <a:gd name="connsiteY111" fmla="*/ 260350 h 353631"/>
                <a:gd name="connsiteX112" fmla="*/ 414338 w 561239"/>
                <a:gd name="connsiteY112" fmla="*/ 236537 h 353631"/>
                <a:gd name="connsiteX113" fmla="*/ 428625 w 561239"/>
                <a:gd name="connsiteY113" fmla="*/ 239712 h 353631"/>
                <a:gd name="connsiteX114" fmla="*/ 430213 w 561239"/>
                <a:gd name="connsiteY114" fmla="*/ 246062 h 353631"/>
                <a:gd name="connsiteX115" fmla="*/ 433388 w 561239"/>
                <a:gd name="connsiteY115" fmla="*/ 250825 h 353631"/>
                <a:gd name="connsiteX116" fmla="*/ 434975 w 561239"/>
                <a:gd name="connsiteY116" fmla="*/ 260350 h 353631"/>
                <a:gd name="connsiteX117" fmla="*/ 447675 w 561239"/>
                <a:gd name="connsiteY117" fmla="*/ 271462 h 353631"/>
                <a:gd name="connsiteX118" fmla="*/ 460375 w 561239"/>
                <a:gd name="connsiteY118" fmla="*/ 266700 h 353631"/>
                <a:gd name="connsiteX119" fmla="*/ 461963 w 561239"/>
                <a:gd name="connsiteY119" fmla="*/ 261937 h 353631"/>
                <a:gd name="connsiteX120" fmla="*/ 468313 w 561239"/>
                <a:gd name="connsiteY120" fmla="*/ 260350 h 353631"/>
                <a:gd name="connsiteX121" fmla="*/ 476250 w 561239"/>
                <a:gd name="connsiteY121" fmla="*/ 258762 h 353631"/>
                <a:gd name="connsiteX122" fmla="*/ 481013 w 561239"/>
                <a:gd name="connsiteY122" fmla="*/ 255587 h 353631"/>
                <a:gd name="connsiteX123" fmla="*/ 488950 w 561239"/>
                <a:gd name="connsiteY123" fmla="*/ 261937 h 353631"/>
                <a:gd name="connsiteX124" fmla="*/ 492125 w 561239"/>
                <a:gd name="connsiteY124" fmla="*/ 268287 h 353631"/>
                <a:gd name="connsiteX125" fmla="*/ 496888 w 561239"/>
                <a:gd name="connsiteY125" fmla="*/ 271462 h 353631"/>
                <a:gd name="connsiteX126" fmla="*/ 501650 w 561239"/>
                <a:gd name="connsiteY126" fmla="*/ 276225 h 353631"/>
                <a:gd name="connsiteX127" fmla="*/ 509588 w 561239"/>
                <a:gd name="connsiteY127" fmla="*/ 292100 h 353631"/>
                <a:gd name="connsiteX128" fmla="*/ 509588 w 561239"/>
                <a:gd name="connsiteY128" fmla="*/ 252412 h 353631"/>
                <a:gd name="connsiteX129" fmla="*/ 504825 w 561239"/>
                <a:gd name="connsiteY129" fmla="*/ 246062 h 353631"/>
                <a:gd name="connsiteX130" fmla="*/ 501650 w 561239"/>
                <a:gd name="connsiteY130" fmla="*/ 239712 h 353631"/>
                <a:gd name="connsiteX131" fmla="*/ 503238 w 561239"/>
                <a:gd name="connsiteY131" fmla="*/ 227012 h 353631"/>
                <a:gd name="connsiteX132" fmla="*/ 509588 w 561239"/>
                <a:gd name="connsiteY132" fmla="*/ 217487 h 353631"/>
                <a:gd name="connsiteX133" fmla="*/ 511175 w 561239"/>
                <a:gd name="connsiteY133" fmla="*/ 211137 h 353631"/>
                <a:gd name="connsiteX134" fmla="*/ 519113 w 561239"/>
                <a:gd name="connsiteY134" fmla="*/ 214312 h 353631"/>
                <a:gd name="connsiteX135" fmla="*/ 523875 w 561239"/>
                <a:gd name="connsiteY135" fmla="*/ 215900 h 353631"/>
                <a:gd name="connsiteX136" fmla="*/ 534988 w 561239"/>
                <a:gd name="connsiteY136" fmla="*/ 222250 h 353631"/>
                <a:gd name="connsiteX137" fmla="*/ 538163 w 561239"/>
                <a:gd name="connsiteY137" fmla="*/ 227012 h 353631"/>
                <a:gd name="connsiteX138" fmla="*/ 550863 w 561239"/>
                <a:gd name="connsiteY138" fmla="*/ 227012 h 353631"/>
                <a:gd name="connsiteX139" fmla="*/ 549275 w 561239"/>
                <a:gd name="connsiteY139" fmla="*/ 212725 h 353631"/>
                <a:gd name="connsiteX140" fmla="*/ 544513 w 561239"/>
                <a:gd name="connsiteY140" fmla="*/ 207962 h 353631"/>
                <a:gd name="connsiteX141" fmla="*/ 551498 w 561239"/>
                <a:gd name="connsiteY141" fmla="*/ 192722 h 353631"/>
                <a:gd name="connsiteX142" fmla="*/ 548004 w 561239"/>
                <a:gd name="connsiteY142" fmla="*/ 174942 h 353631"/>
                <a:gd name="connsiteX143" fmla="*/ 560704 w 561239"/>
                <a:gd name="connsiteY143" fmla="*/ 147002 h 353631"/>
                <a:gd name="connsiteX144" fmla="*/ 537210 w 561239"/>
                <a:gd name="connsiteY144" fmla="*/ 141922 h 353631"/>
                <a:gd name="connsiteX145" fmla="*/ 522605 w 561239"/>
                <a:gd name="connsiteY145" fmla="*/ 156527 h 353631"/>
                <a:gd name="connsiteX146" fmla="*/ 495300 w 561239"/>
                <a:gd name="connsiteY146" fmla="*/ 165100 h 353631"/>
                <a:gd name="connsiteX147" fmla="*/ 493713 w 561239"/>
                <a:gd name="connsiteY147" fmla="*/ 160337 h 353631"/>
                <a:gd name="connsiteX148" fmla="*/ 484188 w 561239"/>
                <a:gd name="connsiteY148" fmla="*/ 152400 h 353631"/>
                <a:gd name="connsiteX149" fmla="*/ 481013 w 561239"/>
                <a:gd name="connsiteY149" fmla="*/ 144462 h 353631"/>
                <a:gd name="connsiteX150" fmla="*/ 460375 w 561239"/>
                <a:gd name="connsiteY150" fmla="*/ 139700 h 353631"/>
                <a:gd name="connsiteX151" fmla="*/ 452438 w 561239"/>
                <a:gd name="connsiteY151" fmla="*/ 134937 h 353631"/>
                <a:gd name="connsiteX152" fmla="*/ 447675 w 561239"/>
                <a:gd name="connsiteY152" fmla="*/ 127000 h 353631"/>
                <a:gd name="connsiteX153" fmla="*/ 434975 w 561239"/>
                <a:gd name="connsiteY153" fmla="*/ 125412 h 353631"/>
                <a:gd name="connsiteX154" fmla="*/ 436563 w 561239"/>
                <a:gd name="connsiteY154" fmla="*/ 120650 h 353631"/>
                <a:gd name="connsiteX155" fmla="*/ 436563 w 561239"/>
                <a:gd name="connsiteY155" fmla="*/ 98425 h 353631"/>
                <a:gd name="connsiteX156" fmla="*/ 430213 w 561239"/>
                <a:gd name="connsiteY156" fmla="*/ 92075 h 353631"/>
                <a:gd name="connsiteX157" fmla="*/ 436563 w 561239"/>
                <a:gd name="connsiteY157" fmla="*/ 88900 h 353631"/>
                <a:gd name="connsiteX158" fmla="*/ 452438 w 561239"/>
                <a:gd name="connsiteY158" fmla="*/ 87312 h 353631"/>
                <a:gd name="connsiteX159" fmla="*/ 454025 w 561239"/>
                <a:gd name="connsiteY159" fmla="*/ 79375 h 353631"/>
                <a:gd name="connsiteX160" fmla="*/ 452438 w 561239"/>
                <a:gd name="connsiteY160" fmla="*/ 74612 h 353631"/>
                <a:gd name="connsiteX161" fmla="*/ 442913 w 561239"/>
                <a:gd name="connsiteY161" fmla="*/ 60325 h 353631"/>
                <a:gd name="connsiteX162" fmla="*/ 438150 w 561239"/>
                <a:gd name="connsiteY162" fmla="*/ 47625 h 353631"/>
                <a:gd name="connsiteX163" fmla="*/ 430213 w 561239"/>
                <a:gd name="connsiteY163" fmla="*/ 46037 h 353631"/>
                <a:gd name="connsiteX164" fmla="*/ 423863 w 561239"/>
                <a:gd name="connsiteY164" fmla="*/ 39687 h 353631"/>
                <a:gd name="connsiteX165" fmla="*/ 411163 w 561239"/>
                <a:gd name="connsiteY165" fmla="*/ 34925 h 353631"/>
                <a:gd name="connsiteX166" fmla="*/ 401638 w 561239"/>
                <a:gd name="connsiteY166" fmla="*/ 26987 h 353631"/>
                <a:gd name="connsiteX167" fmla="*/ 392113 w 561239"/>
                <a:gd name="connsiteY167" fmla="*/ 23812 h 353631"/>
                <a:gd name="connsiteX168" fmla="*/ 387350 w 561239"/>
                <a:gd name="connsiteY168" fmla="*/ 19050 h 353631"/>
                <a:gd name="connsiteX169" fmla="*/ 377825 w 561239"/>
                <a:gd name="connsiteY169" fmla="*/ 15875 h 353631"/>
                <a:gd name="connsiteX170" fmla="*/ 363538 w 561239"/>
                <a:gd name="connsiteY170" fmla="*/ 17462 h 353631"/>
                <a:gd name="connsiteX171" fmla="*/ 354013 w 561239"/>
                <a:gd name="connsiteY171" fmla="*/ 19050 h 353631"/>
                <a:gd name="connsiteX172" fmla="*/ 342900 w 561239"/>
                <a:gd name="connsiteY172" fmla="*/ 7937 h 353631"/>
                <a:gd name="connsiteX173" fmla="*/ 328613 w 561239"/>
                <a:gd name="connsiteY173" fmla="*/ 0 h 353631"/>
                <a:gd name="connsiteX174" fmla="*/ 312738 w 561239"/>
                <a:gd name="connsiteY174" fmla="*/ 1587 h 353631"/>
                <a:gd name="connsiteX175" fmla="*/ 306388 w 561239"/>
                <a:gd name="connsiteY175" fmla="*/ 9525 h 353631"/>
                <a:gd name="connsiteX176" fmla="*/ 311150 w 561239"/>
                <a:gd name="connsiteY176" fmla="*/ 11112 h 353631"/>
                <a:gd name="connsiteX177" fmla="*/ 315913 w 561239"/>
                <a:gd name="connsiteY177" fmla="*/ 15875 h 353631"/>
                <a:gd name="connsiteX178" fmla="*/ 339725 w 561239"/>
                <a:gd name="connsiteY178" fmla="*/ 14287 h 353631"/>
                <a:gd name="connsiteX179" fmla="*/ 338138 w 561239"/>
                <a:gd name="connsiteY179" fmla="*/ 15875 h 353631"/>
                <a:gd name="connsiteX180" fmla="*/ 334963 w 561239"/>
                <a:gd name="connsiteY180" fmla="*/ 22225 h 353631"/>
                <a:gd name="connsiteX181" fmla="*/ 328613 w 561239"/>
                <a:gd name="connsiteY181" fmla="*/ 23812 h 353631"/>
                <a:gd name="connsiteX182" fmla="*/ 323850 w 561239"/>
                <a:gd name="connsiteY182" fmla="*/ 26987 h 353631"/>
                <a:gd name="connsiteX183" fmla="*/ 314325 w 561239"/>
                <a:gd name="connsiteY183" fmla="*/ 34925 h 353631"/>
                <a:gd name="connsiteX184" fmla="*/ 306388 w 561239"/>
                <a:gd name="connsiteY184" fmla="*/ 36512 h 353631"/>
                <a:gd name="connsiteX185" fmla="*/ 296863 w 561239"/>
                <a:gd name="connsiteY185" fmla="*/ 33337 h 353631"/>
                <a:gd name="connsiteX186" fmla="*/ 292100 w 561239"/>
                <a:gd name="connsiteY186" fmla="*/ 30162 h 353631"/>
                <a:gd name="connsiteX187" fmla="*/ 282575 w 561239"/>
                <a:gd name="connsiteY187" fmla="*/ 28575 h 353631"/>
                <a:gd name="connsiteX188" fmla="*/ 271463 w 561239"/>
                <a:gd name="connsiteY188" fmla="*/ 23812 h 353631"/>
                <a:gd name="connsiteX189" fmla="*/ 265113 w 561239"/>
                <a:gd name="connsiteY189" fmla="*/ 25400 h 353631"/>
                <a:gd name="connsiteX190" fmla="*/ 246063 w 561239"/>
                <a:gd name="connsiteY190" fmla="*/ 38100 h 353631"/>
                <a:gd name="connsiteX191" fmla="*/ 231775 w 561239"/>
                <a:gd name="connsiteY191" fmla="*/ 36512 h 353631"/>
                <a:gd name="connsiteX192" fmla="*/ 222250 w 561239"/>
                <a:gd name="connsiteY192" fmla="*/ 33337 h 353631"/>
                <a:gd name="connsiteX193" fmla="*/ 211138 w 561239"/>
                <a:gd name="connsiteY193" fmla="*/ 26987 h 353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561239" h="353631">
                  <a:moveTo>
                    <a:pt x="211138" y="26987"/>
                  </a:moveTo>
                  <a:cubicBezTo>
                    <a:pt x="208492" y="27252"/>
                    <a:pt x="208226" y="32456"/>
                    <a:pt x="206375" y="34925"/>
                  </a:cubicBezTo>
                  <a:cubicBezTo>
                    <a:pt x="201736" y="41111"/>
                    <a:pt x="202230" y="38379"/>
                    <a:pt x="196850" y="42862"/>
                  </a:cubicBezTo>
                  <a:cubicBezTo>
                    <a:pt x="195125" y="44299"/>
                    <a:pt x="193566" y="45935"/>
                    <a:pt x="192088" y="47625"/>
                  </a:cubicBezTo>
                  <a:cubicBezTo>
                    <a:pt x="183715" y="57195"/>
                    <a:pt x="189435" y="54329"/>
                    <a:pt x="180975" y="57150"/>
                  </a:cubicBezTo>
                  <a:cubicBezTo>
                    <a:pt x="178858" y="58737"/>
                    <a:pt x="177255" y="61620"/>
                    <a:pt x="174625" y="61912"/>
                  </a:cubicBezTo>
                  <a:cubicBezTo>
                    <a:pt x="171793" y="62227"/>
                    <a:pt x="169356" y="59737"/>
                    <a:pt x="166688" y="58737"/>
                  </a:cubicBezTo>
                  <a:cubicBezTo>
                    <a:pt x="165121" y="58149"/>
                    <a:pt x="163463" y="57809"/>
                    <a:pt x="161925" y="57150"/>
                  </a:cubicBezTo>
                  <a:cubicBezTo>
                    <a:pt x="159750" y="56218"/>
                    <a:pt x="157772" y="54854"/>
                    <a:pt x="155575" y="53975"/>
                  </a:cubicBezTo>
                  <a:cubicBezTo>
                    <a:pt x="150084" y="51779"/>
                    <a:pt x="140418" y="49191"/>
                    <a:pt x="134938" y="47625"/>
                  </a:cubicBezTo>
                  <a:cubicBezTo>
                    <a:pt x="121249" y="51046"/>
                    <a:pt x="135257" y="45463"/>
                    <a:pt x="127000" y="60325"/>
                  </a:cubicBezTo>
                  <a:cubicBezTo>
                    <a:pt x="125851" y="62394"/>
                    <a:pt x="122657" y="62246"/>
                    <a:pt x="120650" y="63500"/>
                  </a:cubicBezTo>
                  <a:cubicBezTo>
                    <a:pt x="118406" y="64902"/>
                    <a:pt x="116417" y="66675"/>
                    <a:pt x="114300" y="68262"/>
                  </a:cubicBezTo>
                  <a:cubicBezTo>
                    <a:pt x="119227" y="69083"/>
                    <a:pt x="124988" y="68705"/>
                    <a:pt x="128588" y="73025"/>
                  </a:cubicBezTo>
                  <a:cubicBezTo>
                    <a:pt x="130103" y="74843"/>
                    <a:pt x="130705" y="77258"/>
                    <a:pt x="131763" y="79375"/>
                  </a:cubicBezTo>
                  <a:cubicBezTo>
                    <a:pt x="130616" y="82814"/>
                    <a:pt x="129241" y="87686"/>
                    <a:pt x="127000" y="90487"/>
                  </a:cubicBezTo>
                  <a:cubicBezTo>
                    <a:pt x="124195" y="93993"/>
                    <a:pt x="121644" y="98344"/>
                    <a:pt x="117475" y="100012"/>
                  </a:cubicBezTo>
                  <a:lnTo>
                    <a:pt x="109538" y="103187"/>
                  </a:lnTo>
                  <a:cubicBezTo>
                    <a:pt x="107950" y="105304"/>
                    <a:pt x="106892" y="107949"/>
                    <a:pt x="104775" y="109537"/>
                  </a:cubicBezTo>
                  <a:cubicBezTo>
                    <a:pt x="102495" y="111247"/>
                    <a:pt x="99387" y="111438"/>
                    <a:pt x="96838" y="112712"/>
                  </a:cubicBezTo>
                  <a:cubicBezTo>
                    <a:pt x="95131" y="113565"/>
                    <a:pt x="93663" y="114829"/>
                    <a:pt x="92075" y="115887"/>
                  </a:cubicBezTo>
                  <a:cubicBezTo>
                    <a:pt x="91407" y="117000"/>
                    <a:pt x="85887" y="126489"/>
                    <a:pt x="84138" y="128587"/>
                  </a:cubicBezTo>
                  <a:cubicBezTo>
                    <a:pt x="82701" y="130312"/>
                    <a:pt x="80812" y="131625"/>
                    <a:pt x="79375" y="133350"/>
                  </a:cubicBezTo>
                  <a:cubicBezTo>
                    <a:pt x="72760" y="141287"/>
                    <a:pt x="80169" y="135466"/>
                    <a:pt x="71438" y="141287"/>
                  </a:cubicBezTo>
                  <a:cubicBezTo>
                    <a:pt x="62971" y="153988"/>
                    <a:pt x="74084" y="138641"/>
                    <a:pt x="63500" y="149225"/>
                  </a:cubicBezTo>
                  <a:cubicBezTo>
                    <a:pt x="61629" y="151096"/>
                    <a:pt x="60325" y="153458"/>
                    <a:pt x="58738" y="155575"/>
                  </a:cubicBezTo>
                  <a:cubicBezTo>
                    <a:pt x="58209" y="157162"/>
                    <a:pt x="57610" y="158728"/>
                    <a:pt x="57150" y="160337"/>
                  </a:cubicBezTo>
                  <a:cubicBezTo>
                    <a:pt x="56551" y="162435"/>
                    <a:pt x="56422" y="164682"/>
                    <a:pt x="55563" y="166687"/>
                  </a:cubicBezTo>
                  <a:cubicBezTo>
                    <a:pt x="54811" y="168441"/>
                    <a:pt x="53446" y="169862"/>
                    <a:pt x="52388" y="171450"/>
                  </a:cubicBezTo>
                  <a:cubicBezTo>
                    <a:pt x="49601" y="182593"/>
                    <a:pt x="53221" y="173791"/>
                    <a:pt x="44450" y="182562"/>
                  </a:cubicBezTo>
                  <a:cubicBezTo>
                    <a:pt x="42579" y="184433"/>
                    <a:pt x="42011" y="187645"/>
                    <a:pt x="39688" y="188912"/>
                  </a:cubicBezTo>
                  <a:cubicBezTo>
                    <a:pt x="35857" y="191002"/>
                    <a:pt x="31221" y="191029"/>
                    <a:pt x="26988" y="192087"/>
                  </a:cubicBezTo>
                  <a:cubicBezTo>
                    <a:pt x="25400" y="193145"/>
                    <a:pt x="23932" y="194409"/>
                    <a:pt x="22225" y="195262"/>
                  </a:cubicBezTo>
                  <a:cubicBezTo>
                    <a:pt x="19676" y="196536"/>
                    <a:pt x="16451" y="196583"/>
                    <a:pt x="14288" y="198437"/>
                  </a:cubicBezTo>
                  <a:cubicBezTo>
                    <a:pt x="12491" y="199977"/>
                    <a:pt x="12171" y="202670"/>
                    <a:pt x="11113" y="204787"/>
                  </a:cubicBezTo>
                  <a:cubicBezTo>
                    <a:pt x="11642" y="218016"/>
                    <a:pt x="11789" y="231266"/>
                    <a:pt x="12700" y="244475"/>
                  </a:cubicBezTo>
                  <a:cubicBezTo>
                    <a:pt x="12850" y="246652"/>
                    <a:pt x="13205" y="248931"/>
                    <a:pt x="14288" y="250825"/>
                  </a:cubicBezTo>
                  <a:cubicBezTo>
                    <a:pt x="15402" y="252774"/>
                    <a:pt x="17463" y="254000"/>
                    <a:pt x="19050" y="255587"/>
                  </a:cubicBezTo>
                  <a:cubicBezTo>
                    <a:pt x="16933" y="256645"/>
                    <a:pt x="14518" y="257247"/>
                    <a:pt x="12700" y="258762"/>
                  </a:cubicBezTo>
                  <a:cubicBezTo>
                    <a:pt x="8101" y="262595"/>
                    <a:pt x="0" y="271462"/>
                    <a:pt x="0" y="271462"/>
                  </a:cubicBezTo>
                  <a:cubicBezTo>
                    <a:pt x="1058" y="273050"/>
                    <a:pt x="1622" y="275116"/>
                    <a:pt x="3175" y="276225"/>
                  </a:cubicBezTo>
                  <a:cubicBezTo>
                    <a:pt x="5494" y="277881"/>
                    <a:pt x="8277" y="279117"/>
                    <a:pt x="11113" y="279400"/>
                  </a:cubicBezTo>
                  <a:cubicBezTo>
                    <a:pt x="14056" y="279694"/>
                    <a:pt x="20605" y="277294"/>
                    <a:pt x="23813" y="276225"/>
                  </a:cubicBezTo>
                  <a:cubicBezTo>
                    <a:pt x="25400" y="273579"/>
                    <a:pt x="28167" y="271346"/>
                    <a:pt x="28575" y="268287"/>
                  </a:cubicBezTo>
                  <a:cubicBezTo>
                    <a:pt x="29292" y="262908"/>
                    <a:pt x="24526" y="249366"/>
                    <a:pt x="28575" y="242887"/>
                  </a:cubicBezTo>
                  <a:cubicBezTo>
                    <a:pt x="29829" y="240880"/>
                    <a:pt x="32709" y="240543"/>
                    <a:pt x="34925" y="239712"/>
                  </a:cubicBezTo>
                  <a:cubicBezTo>
                    <a:pt x="37482" y="238753"/>
                    <a:pt x="47065" y="236967"/>
                    <a:pt x="49213" y="236537"/>
                  </a:cubicBezTo>
                  <a:cubicBezTo>
                    <a:pt x="53975" y="233362"/>
                    <a:pt x="54504" y="233891"/>
                    <a:pt x="57150" y="228600"/>
                  </a:cubicBezTo>
                  <a:cubicBezTo>
                    <a:pt x="57899" y="227103"/>
                    <a:pt x="57649" y="225108"/>
                    <a:pt x="58738" y="223837"/>
                  </a:cubicBezTo>
                  <a:cubicBezTo>
                    <a:pt x="60943" y="221264"/>
                    <a:pt x="64029" y="219604"/>
                    <a:pt x="66675" y="217487"/>
                  </a:cubicBezTo>
                  <a:cubicBezTo>
                    <a:pt x="83475" y="221688"/>
                    <a:pt x="63689" y="215984"/>
                    <a:pt x="77788" y="222250"/>
                  </a:cubicBezTo>
                  <a:cubicBezTo>
                    <a:pt x="80846" y="223609"/>
                    <a:pt x="84443" y="223703"/>
                    <a:pt x="87313" y="225425"/>
                  </a:cubicBezTo>
                  <a:cubicBezTo>
                    <a:pt x="97279" y="231405"/>
                    <a:pt x="92490" y="228807"/>
                    <a:pt x="101600" y="233362"/>
                  </a:cubicBezTo>
                  <a:cubicBezTo>
                    <a:pt x="102129" y="239712"/>
                    <a:pt x="103188" y="246040"/>
                    <a:pt x="103188" y="252412"/>
                  </a:cubicBezTo>
                  <a:cubicBezTo>
                    <a:pt x="103188" y="272404"/>
                    <a:pt x="94592" y="251577"/>
                    <a:pt x="104775" y="284162"/>
                  </a:cubicBezTo>
                  <a:cubicBezTo>
                    <a:pt x="105344" y="285983"/>
                    <a:pt x="107950" y="286279"/>
                    <a:pt x="109538" y="287337"/>
                  </a:cubicBezTo>
                  <a:cubicBezTo>
                    <a:pt x="110067" y="290512"/>
                    <a:pt x="110427" y="293720"/>
                    <a:pt x="111125" y="296862"/>
                  </a:cubicBezTo>
                  <a:cubicBezTo>
                    <a:pt x="111488" y="298496"/>
                    <a:pt x="112713" y="299951"/>
                    <a:pt x="112713" y="301625"/>
                  </a:cubicBezTo>
                  <a:cubicBezTo>
                    <a:pt x="112713" y="303807"/>
                    <a:pt x="111654" y="305858"/>
                    <a:pt x="111125" y="307975"/>
                  </a:cubicBezTo>
                  <a:cubicBezTo>
                    <a:pt x="112713" y="310092"/>
                    <a:pt x="113735" y="312787"/>
                    <a:pt x="115888" y="314325"/>
                  </a:cubicBezTo>
                  <a:cubicBezTo>
                    <a:pt x="117663" y="315593"/>
                    <a:pt x="120818" y="314256"/>
                    <a:pt x="122238" y="315912"/>
                  </a:cubicBezTo>
                  <a:cubicBezTo>
                    <a:pt x="124416" y="318453"/>
                    <a:pt x="125413" y="325437"/>
                    <a:pt x="125413" y="325437"/>
                  </a:cubicBezTo>
                  <a:cubicBezTo>
                    <a:pt x="125942" y="328612"/>
                    <a:pt x="125561" y="332083"/>
                    <a:pt x="127000" y="334962"/>
                  </a:cubicBezTo>
                  <a:cubicBezTo>
                    <a:pt x="129975" y="340912"/>
                    <a:pt x="139485" y="337034"/>
                    <a:pt x="142875" y="336550"/>
                  </a:cubicBezTo>
                  <a:cubicBezTo>
                    <a:pt x="144992" y="333904"/>
                    <a:pt x="147192" y="331323"/>
                    <a:pt x="149225" y="328612"/>
                  </a:cubicBezTo>
                  <a:cubicBezTo>
                    <a:pt x="150370" y="327086"/>
                    <a:pt x="150518" y="324164"/>
                    <a:pt x="152400" y="323850"/>
                  </a:cubicBezTo>
                  <a:cubicBezTo>
                    <a:pt x="154734" y="323461"/>
                    <a:pt x="156633" y="325967"/>
                    <a:pt x="158750" y="327025"/>
                  </a:cubicBezTo>
                  <a:cubicBezTo>
                    <a:pt x="159289" y="327744"/>
                    <a:pt x="164308" y="336945"/>
                    <a:pt x="168275" y="334962"/>
                  </a:cubicBezTo>
                  <a:cubicBezTo>
                    <a:pt x="170642" y="333779"/>
                    <a:pt x="171167" y="330483"/>
                    <a:pt x="173038" y="328612"/>
                  </a:cubicBezTo>
                  <a:cubicBezTo>
                    <a:pt x="174909" y="326741"/>
                    <a:pt x="177091" y="325163"/>
                    <a:pt x="179388" y="323850"/>
                  </a:cubicBezTo>
                  <a:cubicBezTo>
                    <a:pt x="181163" y="322836"/>
                    <a:pt x="189120" y="321020"/>
                    <a:pt x="190500" y="320675"/>
                  </a:cubicBezTo>
                  <a:cubicBezTo>
                    <a:pt x="193675" y="322262"/>
                    <a:pt x="196657" y="324314"/>
                    <a:pt x="200025" y="325437"/>
                  </a:cubicBezTo>
                  <a:cubicBezTo>
                    <a:pt x="203079" y="326455"/>
                    <a:pt x="206755" y="325428"/>
                    <a:pt x="209550" y="327025"/>
                  </a:cubicBezTo>
                  <a:cubicBezTo>
                    <a:pt x="211003" y="327855"/>
                    <a:pt x="210678" y="330178"/>
                    <a:pt x="211138" y="331787"/>
                  </a:cubicBezTo>
                  <a:cubicBezTo>
                    <a:pt x="211737" y="333885"/>
                    <a:pt x="212196" y="336020"/>
                    <a:pt x="212725" y="338137"/>
                  </a:cubicBezTo>
                  <a:cubicBezTo>
                    <a:pt x="216958" y="337608"/>
                    <a:pt x="221526" y="338283"/>
                    <a:pt x="225425" y="336550"/>
                  </a:cubicBezTo>
                  <a:cubicBezTo>
                    <a:pt x="226954" y="335870"/>
                    <a:pt x="226085" y="333180"/>
                    <a:pt x="227013" y="331787"/>
                  </a:cubicBezTo>
                  <a:cubicBezTo>
                    <a:pt x="228258" y="329919"/>
                    <a:pt x="230188" y="328612"/>
                    <a:pt x="231775" y="327025"/>
                  </a:cubicBezTo>
                  <a:cubicBezTo>
                    <a:pt x="232833" y="324379"/>
                    <a:pt x="233294" y="321406"/>
                    <a:pt x="234950" y="319087"/>
                  </a:cubicBezTo>
                  <a:cubicBezTo>
                    <a:pt x="236059" y="317534"/>
                    <a:pt x="238264" y="317154"/>
                    <a:pt x="239713" y="315912"/>
                  </a:cubicBezTo>
                  <a:cubicBezTo>
                    <a:pt x="250693" y="306501"/>
                    <a:pt x="240794" y="311670"/>
                    <a:pt x="254000" y="306387"/>
                  </a:cubicBezTo>
                  <a:cubicBezTo>
                    <a:pt x="257914" y="294651"/>
                    <a:pt x="253583" y="310812"/>
                    <a:pt x="252413" y="292100"/>
                  </a:cubicBezTo>
                  <a:cubicBezTo>
                    <a:pt x="252081" y="286792"/>
                    <a:pt x="252539" y="281338"/>
                    <a:pt x="254000" y="276225"/>
                  </a:cubicBezTo>
                  <a:cubicBezTo>
                    <a:pt x="254727" y="273681"/>
                    <a:pt x="256983" y="271833"/>
                    <a:pt x="258763" y="269875"/>
                  </a:cubicBezTo>
                  <a:cubicBezTo>
                    <a:pt x="262287" y="265999"/>
                    <a:pt x="266171" y="262466"/>
                    <a:pt x="269875" y="258762"/>
                  </a:cubicBezTo>
                  <a:cubicBezTo>
                    <a:pt x="271463" y="257174"/>
                    <a:pt x="272630" y="255004"/>
                    <a:pt x="274638" y="254000"/>
                  </a:cubicBezTo>
                  <a:cubicBezTo>
                    <a:pt x="276755" y="252942"/>
                    <a:pt x="278813" y="251757"/>
                    <a:pt x="280988" y="250825"/>
                  </a:cubicBezTo>
                  <a:cubicBezTo>
                    <a:pt x="282526" y="250166"/>
                    <a:pt x="284253" y="249985"/>
                    <a:pt x="285750" y="249237"/>
                  </a:cubicBezTo>
                  <a:cubicBezTo>
                    <a:pt x="298051" y="243086"/>
                    <a:pt x="283313" y="248461"/>
                    <a:pt x="295275" y="244475"/>
                  </a:cubicBezTo>
                  <a:cubicBezTo>
                    <a:pt x="308882" y="235405"/>
                    <a:pt x="297476" y="241035"/>
                    <a:pt x="301625" y="271462"/>
                  </a:cubicBezTo>
                  <a:cubicBezTo>
                    <a:pt x="302019" y="274352"/>
                    <a:pt x="310418" y="281721"/>
                    <a:pt x="311150" y="282575"/>
                  </a:cubicBezTo>
                  <a:cubicBezTo>
                    <a:pt x="312392" y="284023"/>
                    <a:pt x="313472" y="285631"/>
                    <a:pt x="314325" y="287337"/>
                  </a:cubicBezTo>
                  <a:cubicBezTo>
                    <a:pt x="315074" y="288834"/>
                    <a:pt x="314868" y="290793"/>
                    <a:pt x="315913" y="292100"/>
                  </a:cubicBezTo>
                  <a:cubicBezTo>
                    <a:pt x="317105" y="293590"/>
                    <a:pt x="318969" y="294422"/>
                    <a:pt x="320675" y="295275"/>
                  </a:cubicBezTo>
                  <a:cubicBezTo>
                    <a:pt x="325991" y="297933"/>
                    <a:pt x="335207" y="297948"/>
                    <a:pt x="339725" y="298450"/>
                  </a:cubicBezTo>
                  <a:cubicBezTo>
                    <a:pt x="341313" y="300037"/>
                    <a:pt x="343298" y="301308"/>
                    <a:pt x="344488" y="303212"/>
                  </a:cubicBezTo>
                  <a:cubicBezTo>
                    <a:pt x="344915" y="303895"/>
                    <a:pt x="348740" y="313618"/>
                    <a:pt x="349250" y="315912"/>
                  </a:cubicBezTo>
                  <a:cubicBezTo>
                    <a:pt x="349948" y="319054"/>
                    <a:pt x="349643" y="322448"/>
                    <a:pt x="350838" y="325437"/>
                  </a:cubicBezTo>
                  <a:cubicBezTo>
                    <a:pt x="351821" y="327894"/>
                    <a:pt x="354062" y="329634"/>
                    <a:pt x="355600" y="331787"/>
                  </a:cubicBezTo>
                  <a:cubicBezTo>
                    <a:pt x="356709" y="333340"/>
                    <a:pt x="357922" y="334843"/>
                    <a:pt x="358775" y="336550"/>
                  </a:cubicBezTo>
                  <a:cubicBezTo>
                    <a:pt x="362136" y="343273"/>
                    <a:pt x="363009" y="346472"/>
                    <a:pt x="366713" y="349250"/>
                  </a:cubicBezTo>
                  <a:cubicBezTo>
                    <a:pt x="370417" y="352028"/>
                    <a:pt x="378089" y="354674"/>
                    <a:pt x="380999" y="353219"/>
                  </a:cubicBezTo>
                  <a:cubicBezTo>
                    <a:pt x="383909" y="351764"/>
                    <a:pt x="391451" y="348059"/>
                    <a:pt x="388938" y="338137"/>
                  </a:cubicBezTo>
                  <a:cubicBezTo>
                    <a:pt x="386425" y="328215"/>
                    <a:pt x="374650" y="318161"/>
                    <a:pt x="373063" y="312737"/>
                  </a:cubicBezTo>
                  <a:cubicBezTo>
                    <a:pt x="373187" y="311068"/>
                    <a:pt x="373902" y="309472"/>
                    <a:pt x="374650" y="307975"/>
                  </a:cubicBezTo>
                  <a:cubicBezTo>
                    <a:pt x="375503" y="306268"/>
                    <a:pt x="376476" y="304561"/>
                    <a:pt x="377825" y="303212"/>
                  </a:cubicBezTo>
                  <a:cubicBezTo>
                    <a:pt x="379696" y="301341"/>
                    <a:pt x="382184" y="300192"/>
                    <a:pt x="384175" y="298450"/>
                  </a:cubicBezTo>
                  <a:cubicBezTo>
                    <a:pt x="393647" y="290162"/>
                    <a:pt x="386470" y="293114"/>
                    <a:pt x="396875" y="290512"/>
                  </a:cubicBezTo>
                  <a:cubicBezTo>
                    <a:pt x="398463" y="289454"/>
                    <a:pt x="400289" y="288686"/>
                    <a:pt x="401638" y="287337"/>
                  </a:cubicBezTo>
                  <a:cubicBezTo>
                    <a:pt x="403509" y="285466"/>
                    <a:pt x="404678" y="282996"/>
                    <a:pt x="406400" y="280987"/>
                  </a:cubicBezTo>
                  <a:cubicBezTo>
                    <a:pt x="407861" y="279282"/>
                    <a:pt x="409575" y="277812"/>
                    <a:pt x="411163" y="276225"/>
                  </a:cubicBezTo>
                  <a:cubicBezTo>
                    <a:pt x="411692" y="270933"/>
                    <a:pt x="412326" y="265651"/>
                    <a:pt x="412750" y="260350"/>
                  </a:cubicBezTo>
                  <a:cubicBezTo>
                    <a:pt x="413384" y="252420"/>
                    <a:pt x="409488" y="242843"/>
                    <a:pt x="414338" y="236537"/>
                  </a:cubicBezTo>
                  <a:cubicBezTo>
                    <a:pt x="417312" y="232670"/>
                    <a:pt x="423863" y="238654"/>
                    <a:pt x="428625" y="239712"/>
                  </a:cubicBezTo>
                  <a:cubicBezTo>
                    <a:pt x="429154" y="241829"/>
                    <a:pt x="429353" y="244057"/>
                    <a:pt x="430213" y="246062"/>
                  </a:cubicBezTo>
                  <a:cubicBezTo>
                    <a:pt x="430965" y="247816"/>
                    <a:pt x="432785" y="249015"/>
                    <a:pt x="433388" y="250825"/>
                  </a:cubicBezTo>
                  <a:cubicBezTo>
                    <a:pt x="434406" y="253879"/>
                    <a:pt x="433668" y="257409"/>
                    <a:pt x="434975" y="260350"/>
                  </a:cubicBezTo>
                  <a:cubicBezTo>
                    <a:pt x="435961" y="262569"/>
                    <a:pt x="447301" y="271163"/>
                    <a:pt x="447675" y="271462"/>
                  </a:cubicBezTo>
                  <a:cubicBezTo>
                    <a:pt x="451979" y="270602"/>
                    <a:pt x="457260" y="270594"/>
                    <a:pt x="460375" y="266700"/>
                  </a:cubicBezTo>
                  <a:cubicBezTo>
                    <a:pt x="461420" y="265393"/>
                    <a:pt x="460656" y="262982"/>
                    <a:pt x="461963" y="261937"/>
                  </a:cubicBezTo>
                  <a:cubicBezTo>
                    <a:pt x="463667" y="260574"/>
                    <a:pt x="466183" y="260823"/>
                    <a:pt x="468313" y="260350"/>
                  </a:cubicBezTo>
                  <a:cubicBezTo>
                    <a:pt x="470947" y="259765"/>
                    <a:pt x="473604" y="259291"/>
                    <a:pt x="476250" y="258762"/>
                  </a:cubicBezTo>
                  <a:cubicBezTo>
                    <a:pt x="477838" y="257704"/>
                    <a:pt x="479124" y="255857"/>
                    <a:pt x="481013" y="255587"/>
                  </a:cubicBezTo>
                  <a:cubicBezTo>
                    <a:pt x="488521" y="254515"/>
                    <a:pt x="487030" y="257456"/>
                    <a:pt x="488950" y="261937"/>
                  </a:cubicBezTo>
                  <a:cubicBezTo>
                    <a:pt x="489882" y="264112"/>
                    <a:pt x="490610" y="266469"/>
                    <a:pt x="492125" y="268287"/>
                  </a:cubicBezTo>
                  <a:cubicBezTo>
                    <a:pt x="493347" y="269753"/>
                    <a:pt x="495422" y="270240"/>
                    <a:pt x="496888" y="271462"/>
                  </a:cubicBezTo>
                  <a:cubicBezTo>
                    <a:pt x="498613" y="272899"/>
                    <a:pt x="500063" y="274637"/>
                    <a:pt x="501650" y="276225"/>
                  </a:cubicBezTo>
                  <a:cubicBezTo>
                    <a:pt x="505288" y="290776"/>
                    <a:pt x="501194" y="286505"/>
                    <a:pt x="509588" y="292100"/>
                  </a:cubicBezTo>
                  <a:cubicBezTo>
                    <a:pt x="513395" y="276867"/>
                    <a:pt x="513713" y="278191"/>
                    <a:pt x="509588" y="252412"/>
                  </a:cubicBezTo>
                  <a:cubicBezTo>
                    <a:pt x="509170" y="249799"/>
                    <a:pt x="506227" y="248306"/>
                    <a:pt x="504825" y="246062"/>
                  </a:cubicBezTo>
                  <a:cubicBezTo>
                    <a:pt x="503571" y="244055"/>
                    <a:pt x="502708" y="241829"/>
                    <a:pt x="501650" y="239712"/>
                  </a:cubicBezTo>
                  <a:cubicBezTo>
                    <a:pt x="502179" y="235479"/>
                    <a:pt x="501803" y="231030"/>
                    <a:pt x="503238" y="227012"/>
                  </a:cubicBezTo>
                  <a:cubicBezTo>
                    <a:pt x="504521" y="223418"/>
                    <a:pt x="509588" y="217487"/>
                    <a:pt x="509588" y="217487"/>
                  </a:cubicBezTo>
                  <a:cubicBezTo>
                    <a:pt x="510117" y="215370"/>
                    <a:pt x="509105" y="211827"/>
                    <a:pt x="511175" y="211137"/>
                  </a:cubicBezTo>
                  <a:cubicBezTo>
                    <a:pt x="513879" y="210236"/>
                    <a:pt x="516445" y="213311"/>
                    <a:pt x="519113" y="214312"/>
                  </a:cubicBezTo>
                  <a:cubicBezTo>
                    <a:pt x="520680" y="214900"/>
                    <a:pt x="522337" y="215241"/>
                    <a:pt x="523875" y="215900"/>
                  </a:cubicBezTo>
                  <a:cubicBezTo>
                    <a:pt x="529515" y="218318"/>
                    <a:pt x="530204" y="219061"/>
                    <a:pt x="534988" y="222250"/>
                  </a:cubicBezTo>
                  <a:cubicBezTo>
                    <a:pt x="536046" y="223837"/>
                    <a:pt x="536673" y="225820"/>
                    <a:pt x="538163" y="227012"/>
                  </a:cubicBezTo>
                  <a:cubicBezTo>
                    <a:pt x="542069" y="230137"/>
                    <a:pt x="546793" y="227826"/>
                    <a:pt x="550863" y="227012"/>
                  </a:cubicBezTo>
                  <a:cubicBezTo>
                    <a:pt x="550334" y="222250"/>
                    <a:pt x="550790" y="217271"/>
                    <a:pt x="549275" y="212725"/>
                  </a:cubicBezTo>
                  <a:cubicBezTo>
                    <a:pt x="548565" y="210595"/>
                    <a:pt x="544142" y="211296"/>
                    <a:pt x="544513" y="207962"/>
                  </a:cubicBezTo>
                  <a:cubicBezTo>
                    <a:pt x="544884" y="204628"/>
                    <a:pt x="550916" y="198225"/>
                    <a:pt x="551498" y="192722"/>
                  </a:cubicBezTo>
                  <a:cubicBezTo>
                    <a:pt x="552080" y="187219"/>
                    <a:pt x="546470" y="182562"/>
                    <a:pt x="548004" y="174942"/>
                  </a:cubicBezTo>
                  <a:cubicBezTo>
                    <a:pt x="549538" y="167322"/>
                    <a:pt x="564196" y="152082"/>
                    <a:pt x="560704" y="147002"/>
                  </a:cubicBezTo>
                  <a:cubicBezTo>
                    <a:pt x="557212" y="141922"/>
                    <a:pt x="543560" y="140335"/>
                    <a:pt x="537210" y="141922"/>
                  </a:cubicBezTo>
                  <a:cubicBezTo>
                    <a:pt x="530860" y="143510"/>
                    <a:pt x="525948" y="156679"/>
                    <a:pt x="522605" y="156527"/>
                  </a:cubicBezTo>
                  <a:lnTo>
                    <a:pt x="495300" y="165100"/>
                  </a:lnTo>
                  <a:cubicBezTo>
                    <a:pt x="494771" y="163512"/>
                    <a:pt x="494641" y="161729"/>
                    <a:pt x="493713" y="160337"/>
                  </a:cubicBezTo>
                  <a:cubicBezTo>
                    <a:pt x="491270" y="156672"/>
                    <a:pt x="487700" y="154742"/>
                    <a:pt x="484188" y="152400"/>
                  </a:cubicBezTo>
                  <a:cubicBezTo>
                    <a:pt x="483130" y="149754"/>
                    <a:pt x="483028" y="146477"/>
                    <a:pt x="481013" y="144462"/>
                  </a:cubicBezTo>
                  <a:cubicBezTo>
                    <a:pt x="477273" y="140722"/>
                    <a:pt x="463688" y="140114"/>
                    <a:pt x="460375" y="139700"/>
                  </a:cubicBezTo>
                  <a:cubicBezTo>
                    <a:pt x="457729" y="138112"/>
                    <a:pt x="454620" y="137119"/>
                    <a:pt x="452438" y="134937"/>
                  </a:cubicBezTo>
                  <a:cubicBezTo>
                    <a:pt x="450256" y="132755"/>
                    <a:pt x="450384" y="128477"/>
                    <a:pt x="447675" y="127000"/>
                  </a:cubicBezTo>
                  <a:cubicBezTo>
                    <a:pt x="443930" y="124957"/>
                    <a:pt x="439208" y="125941"/>
                    <a:pt x="434975" y="125412"/>
                  </a:cubicBezTo>
                  <a:cubicBezTo>
                    <a:pt x="435504" y="123825"/>
                    <a:pt x="436103" y="122259"/>
                    <a:pt x="436563" y="120650"/>
                  </a:cubicBezTo>
                  <a:cubicBezTo>
                    <a:pt x="438822" y="112743"/>
                    <a:pt x="439872" y="107690"/>
                    <a:pt x="436563" y="98425"/>
                  </a:cubicBezTo>
                  <a:cubicBezTo>
                    <a:pt x="435556" y="95606"/>
                    <a:pt x="432330" y="94192"/>
                    <a:pt x="430213" y="92075"/>
                  </a:cubicBezTo>
                  <a:cubicBezTo>
                    <a:pt x="432330" y="91017"/>
                    <a:pt x="434249" y="89396"/>
                    <a:pt x="436563" y="88900"/>
                  </a:cubicBezTo>
                  <a:cubicBezTo>
                    <a:pt x="441763" y="87786"/>
                    <a:pt x="447769" y="89859"/>
                    <a:pt x="452438" y="87312"/>
                  </a:cubicBezTo>
                  <a:cubicBezTo>
                    <a:pt x="454807" y="86020"/>
                    <a:pt x="453496" y="82021"/>
                    <a:pt x="454025" y="79375"/>
                  </a:cubicBezTo>
                  <a:cubicBezTo>
                    <a:pt x="453496" y="77787"/>
                    <a:pt x="453281" y="76058"/>
                    <a:pt x="452438" y="74612"/>
                  </a:cubicBezTo>
                  <a:cubicBezTo>
                    <a:pt x="449554" y="69668"/>
                    <a:pt x="442913" y="60325"/>
                    <a:pt x="442913" y="60325"/>
                  </a:cubicBezTo>
                  <a:cubicBezTo>
                    <a:pt x="442336" y="57443"/>
                    <a:pt x="441842" y="49735"/>
                    <a:pt x="438150" y="47625"/>
                  </a:cubicBezTo>
                  <a:cubicBezTo>
                    <a:pt x="435807" y="46286"/>
                    <a:pt x="432859" y="46566"/>
                    <a:pt x="430213" y="46037"/>
                  </a:cubicBezTo>
                  <a:cubicBezTo>
                    <a:pt x="428096" y="43920"/>
                    <a:pt x="426258" y="41483"/>
                    <a:pt x="423863" y="39687"/>
                  </a:cubicBezTo>
                  <a:cubicBezTo>
                    <a:pt x="419712" y="36573"/>
                    <a:pt x="415983" y="36130"/>
                    <a:pt x="411163" y="34925"/>
                  </a:cubicBezTo>
                  <a:cubicBezTo>
                    <a:pt x="408173" y="31935"/>
                    <a:pt x="405615" y="28755"/>
                    <a:pt x="401638" y="26987"/>
                  </a:cubicBezTo>
                  <a:cubicBezTo>
                    <a:pt x="398580" y="25628"/>
                    <a:pt x="395288" y="24870"/>
                    <a:pt x="392113" y="23812"/>
                  </a:cubicBezTo>
                  <a:cubicBezTo>
                    <a:pt x="390525" y="22225"/>
                    <a:pt x="389313" y="20140"/>
                    <a:pt x="387350" y="19050"/>
                  </a:cubicBezTo>
                  <a:cubicBezTo>
                    <a:pt x="384424" y="17425"/>
                    <a:pt x="377825" y="15875"/>
                    <a:pt x="377825" y="15875"/>
                  </a:cubicBezTo>
                  <a:cubicBezTo>
                    <a:pt x="373063" y="16404"/>
                    <a:pt x="368288" y="16829"/>
                    <a:pt x="363538" y="17462"/>
                  </a:cubicBezTo>
                  <a:cubicBezTo>
                    <a:pt x="360347" y="17887"/>
                    <a:pt x="356936" y="20399"/>
                    <a:pt x="354013" y="19050"/>
                  </a:cubicBezTo>
                  <a:cubicBezTo>
                    <a:pt x="349256" y="16855"/>
                    <a:pt x="347392" y="10632"/>
                    <a:pt x="342900" y="7937"/>
                  </a:cubicBezTo>
                  <a:cubicBezTo>
                    <a:pt x="332934" y="1957"/>
                    <a:pt x="337723" y="4555"/>
                    <a:pt x="328613" y="0"/>
                  </a:cubicBezTo>
                  <a:cubicBezTo>
                    <a:pt x="323321" y="529"/>
                    <a:pt x="317953" y="544"/>
                    <a:pt x="312738" y="1587"/>
                  </a:cubicBezTo>
                  <a:cubicBezTo>
                    <a:pt x="308727" y="2389"/>
                    <a:pt x="300680" y="3817"/>
                    <a:pt x="306388" y="9525"/>
                  </a:cubicBezTo>
                  <a:cubicBezTo>
                    <a:pt x="307571" y="10708"/>
                    <a:pt x="309563" y="10583"/>
                    <a:pt x="311150" y="11112"/>
                  </a:cubicBezTo>
                  <a:cubicBezTo>
                    <a:pt x="312738" y="12700"/>
                    <a:pt x="314045" y="14630"/>
                    <a:pt x="315913" y="15875"/>
                  </a:cubicBezTo>
                  <a:cubicBezTo>
                    <a:pt x="322434" y="20222"/>
                    <a:pt x="335756" y="14948"/>
                    <a:pt x="339725" y="14287"/>
                  </a:cubicBezTo>
                  <a:cubicBezTo>
                    <a:pt x="339196" y="14816"/>
                    <a:pt x="338473" y="15206"/>
                    <a:pt x="338138" y="15875"/>
                  </a:cubicBezTo>
                  <a:cubicBezTo>
                    <a:pt x="337080" y="17992"/>
                    <a:pt x="336781" y="20710"/>
                    <a:pt x="334963" y="22225"/>
                  </a:cubicBezTo>
                  <a:cubicBezTo>
                    <a:pt x="333287" y="23622"/>
                    <a:pt x="330730" y="23283"/>
                    <a:pt x="328613" y="23812"/>
                  </a:cubicBezTo>
                  <a:cubicBezTo>
                    <a:pt x="327025" y="24870"/>
                    <a:pt x="325356" y="25816"/>
                    <a:pt x="323850" y="26987"/>
                  </a:cubicBezTo>
                  <a:cubicBezTo>
                    <a:pt x="320588" y="29524"/>
                    <a:pt x="317953" y="32946"/>
                    <a:pt x="314325" y="34925"/>
                  </a:cubicBezTo>
                  <a:cubicBezTo>
                    <a:pt x="311956" y="36217"/>
                    <a:pt x="309034" y="35983"/>
                    <a:pt x="306388" y="36512"/>
                  </a:cubicBezTo>
                  <a:cubicBezTo>
                    <a:pt x="303213" y="35454"/>
                    <a:pt x="299648" y="35193"/>
                    <a:pt x="296863" y="33337"/>
                  </a:cubicBezTo>
                  <a:cubicBezTo>
                    <a:pt x="295275" y="32279"/>
                    <a:pt x="293910" y="30765"/>
                    <a:pt x="292100" y="30162"/>
                  </a:cubicBezTo>
                  <a:cubicBezTo>
                    <a:pt x="289046" y="29144"/>
                    <a:pt x="285750" y="29104"/>
                    <a:pt x="282575" y="28575"/>
                  </a:cubicBezTo>
                  <a:cubicBezTo>
                    <a:pt x="281338" y="27956"/>
                    <a:pt x="273797" y="23812"/>
                    <a:pt x="271463" y="23812"/>
                  </a:cubicBezTo>
                  <a:cubicBezTo>
                    <a:pt x="269281" y="23812"/>
                    <a:pt x="267230" y="24871"/>
                    <a:pt x="265113" y="25400"/>
                  </a:cubicBezTo>
                  <a:cubicBezTo>
                    <a:pt x="250520" y="36345"/>
                    <a:pt x="257146" y="32558"/>
                    <a:pt x="246063" y="38100"/>
                  </a:cubicBezTo>
                  <a:cubicBezTo>
                    <a:pt x="241300" y="37571"/>
                    <a:pt x="236474" y="37452"/>
                    <a:pt x="231775" y="36512"/>
                  </a:cubicBezTo>
                  <a:cubicBezTo>
                    <a:pt x="228493" y="35856"/>
                    <a:pt x="225551" y="33887"/>
                    <a:pt x="222250" y="33337"/>
                  </a:cubicBezTo>
                  <a:cubicBezTo>
                    <a:pt x="210637" y="31402"/>
                    <a:pt x="213784" y="26722"/>
                    <a:pt x="211138" y="26987"/>
                  </a:cubicBezTo>
                  <a:close/>
                </a:path>
              </a:pathLst>
            </a:custGeom>
            <a:solidFill>
              <a:schemeClr val="bg1">
                <a:lumMod val="85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07" name="Forma libre: forma 26">
              <a:extLst>
                <a:ext uri="{FF2B5EF4-FFF2-40B4-BE49-F238E27FC236}">
                  <a16:creationId xmlns:a16="http://schemas.microsoft.com/office/drawing/2014/main" id="{F44D8B0E-CBCA-4B6D-80EF-AA4C6E353DCE}"/>
                </a:ext>
              </a:extLst>
            </p:cNvPr>
            <p:cNvSpPr/>
            <p:nvPr/>
          </p:nvSpPr>
          <p:spPr>
            <a:xfrm>
              <a:off x="8298388" y="4230491"/>
              <a:ext cx="1187519" cy="877887"/>
            </a:xfrm>
            <a:custGeom>
              <a:avLst/>
              <a:gdLst>
                <a:gd name="connsiteX0" fmla="*/ 692219 w 1187519"/>
                <a:gd name="connsiteY0" fmla="*/ 0 h 877887"/>
                <a:gd name="connsiteX1" fmla="*/ 706506 w 1187519"/>
                <a:gd name="connsiteY1" fmla="*/ 1587 h 877887"/>
                <a:gd name="connsiteX2" fmla="*/ 712856 w 1187519"/>
                <a:gd name="connsiteY2" fmla="*/ 4762 h 877887"/>
                <a:gd name="connsiteX3" fmla="*/ 719206 w 1187519"/>
                <a:gd name="connsiteY3" fmla="*/ 6350 h 877887"/>
                <a:gd name="connsiteX4" fmla="*/ 723969 w 1187519"/>
                <a:gd name="connsiteY4" fmla="*/ 7937 h 877887"/>
                <a:gd name="connsiteX5" fmla="*/ 727144 w 1187519"/>
                <a:gd name="connsiteY5" fmla="*/ 12700 h 877887"/>
                <a:gd name="connsiteX6" fmla="*/ 731906 w 1187519"/>
                <a:gd name="connsiteY6" fmla="*/ 19050 h 877887"/>
                <a:gd name="connsiteX7" fmla="*/ 735081 w 1187519"/>
                <a:gd name="connsiteY7" fmla="*/ 30162 h 877887"/>
                <a:gd name="connsiteX8" fmla="*/ 743019 w 1187519"/>
                <a:gd name="connsiteY8" fmla="*/ 34925 h 877887"/>
                <a:gd name="connsiteX9" fmla="*/ 754131 w 1187519"/>
                <a:gd name="connsiteY9" fmla="*/ 39687 h 877887"/>
                <a:gd name="connsiteX10" fmla="*/ 766831 w 1187519"/>
                <a:gd name="connsiteY10" fmla="*/ 60325 h 877887"/>
                <a:gd name="connsiteX11" fmla="*/ 779531 w 1187519"/>
                <a:gd name="connsiteY11" fmla="*/ 66675 h 877887"/>
                <a:gd name="connsiteX12" fmla="*/ 784294 w 1187519"/>
                <a:gd name="connsiteY12" fmla="*/ 82550 h 877887"/>
                <a:gd name="connsiteX13" fmla="*/ 785881 w 1187519"/>
                <a:gd name="connsiteY13" fmla="*/ 88900 h 877887"/>
                <a:gd name="connsiteX14" fmla="*/ 796994 w 1187519"/>
                <a:gd name="connsiteY14" fmla="*/ 101600 h 877887"/>
                <a:gd name="connsiteX15" fmla="*/ 808106 w 1187519"/>
                <a:gd name="connsiteY15" fmla="*/ 114300 h 877887"/>
                <a:gd name="connsiteX16" fmla="*/ 816044 w 1187519"/>
                <a:gd name="connsiteY16" fmla="*/ 119062 h 877887"/>
                <a:gd name="connsiteX17" fmla="*/ 822394 w 1187519"/>
                <a:gd name="connsiteY17" fmla="*/ 130175 h 877887"/>
                <a:gd name="connsiteX18" fmla="*/ 825569 w 1187519"/>
                <a:gd name="connsiteY18" fmla="*/ 136525 h 877887"/>
                <a:gd name="connsiteX19" fmla="*/ 846206 w 1187519"/>
                <a:gd name="connsiteY19" fmla="*/ 139700 h 877887"/>
                <a:gd name="connsiteX20" fmla="*/ 850969 w 1187519"/>
                <a:gd name="connsiteY20" fmla="*/ 142875 h 877887"/>
                <a:gd name="connsiteX21" fmla="*/ 855731 w 1187519"/>
                <a:gd name="connsiteY21" fmla="*/ 147637 h 877887"/>
                <a:gd name="connsiteX22" fmla="*/ 860494 w 1187519"/>
                <a:gd name="connsiteY22" fmla="*/ 149225 h 877887"/>
                <a:gd name="connsiteX23" fmla="*/ 863669 w 1187519"/>
                <a:gd name="connsiteY23" fmla="*/ 155575 h 877887"/>
                <a:gd name="connsiteX24" fmla="*/ 871606 w 1187519"/>
                <a:gd name="connsiteY24" fmla="*/ 168275 h 877887"/>
                <a:gd name="connsiteX25" fmla="*/ 877956 w 1187519"/>
                <a:gd name="connsiteY25" fmla="*/ 182562 h 877887"/>
                <a:gd name="connsiteX26" fmla="*/ 889069 w 1187519"/>
                <a:gd name="connsiteY26" fmla="*/ 185737 h 877887"/>
                <a:gd name="connsiteX27" fmla="*/ 900181 w 1187519"/>
                <a:gd name="connsiteY27" fmla="*/ 190500 h 877887"/>
                <a:gd name="connsiteX28" fmla="*/ 904944 w 1187519"/>
                <a:gd name="connsiteY28" fmla="*/ 193675 h 877887"/>
                <a:gd name="connsiteX29" fmla="*/ 916056 w 1187519"/>
                <a:gd name="connsiteY29" fmla="*/ 203200 h 877887"/>
                <a:gd name="connsiteX30" fmla="*/ 919231 w 1187519"/>
                <a:gd name="connsiteY30" fmla="*/ 214312 h 877887"/>
                <a:gd name="connsiteX31" fmla="*/ 923994 w 1187519"/>
                <a:gd name="connsiteY31" fmla="*/ 217487 h 877887"/>
                <a:gd name="connsiteX32" fmla="*/ 928756 w 1187519"/>
                <a:gd name="connsiteY32" fmla="*/ 230187 h 877887"/>
                <a:gd name="connsiteX33" fmla="*/ 938281 w 1187519"/>
                <a:gd name="connsiteY33" fmla="*/ 236537 h 877887"/>
                <a:gd name="connsiteX34" fmla="*/ 941456 w 1187519"/>
                <a:gd name="connsiteY34" fmla="*/ 241300 h 877887"/>
                <a:gd name="connsiteX35" fmla="*/ 946219 w 1187519"/>
                <a:gd name="connsiteY35" fmla="*/ 247650 h 877887"/>
                <a:gd name="connsiteX36" fmla="*/ 947806 w 1187519"/>
                <a:gd name="connsiteY36" fmla="*/ 254000 h 877887"/>
                <a:gd name="connsiteX37" fmla="*/ 950981 w 1187519"/>
                <a:gd name="connsiteY37" fmla="*/ 268287 h 877887"/>
                <a:gd name="connsiteX38" fmla="*/ 955744 w 1187519"/>
                <a:gd name="connsiteY38" fmla="*/ 273050 h 877887"/>
                <a:gd name="connsiteX39" fmla="*/ 958919 w 1187519"/>
                <a:gd name="connsiteY39" fmla="*/ 277812 h 877887"/>
                <a:gd name="connsiteX40" fmla="*/ 960506 w 1187519"/>
                <a:gd name="connsiteY40" fmla="*/ 282575 h 877887"/>
                <a:gd name="connsiteX41" fmla="*/ 952569 w 1187519"/>
                <a:gd name="connsiteY41" fmla="*/ 293687 h 877887"/>
                <a:gd name="connsiteX42" fmla="*/ 949394 w 1187519"/>
                <a:gd name="connsiteY42" fmla="*/ 315912 h 877887"/>
                <a:gd name="connsiteX43" fmla="*/ 947806 w 1187519"/>
                <a:gd name="connsiteY43" fmla="*/ 328612 h 877887"/>
                <a:gd name="connsiteX44" fmla="*/ 949394 w 1187519"/>
                <a:gd name="connsiteY44" fmla="*/ 369887 h 877887"/>
                <a:gd name="connsiteX45" fmla="*/ 952569 w 1187519"/>
                <a:gd name="connsiteY45" fmla="*/ 374650 h 877887"/>
                <a:gd name="connsiteX46" fmla="*/ 957331 w 1187519"/>
                <a:gd name="connsiteY46" fmla="*/ 376237 h 877887"/>
                <a:gd name="connsiteX47" fmla="*/ 963681 w 1187519"/>
                <a:gd name="connsiteY47" fmla="*/ 387350 h 877887"/>
                <a:gd name="connsiteX48" fmla="*/ 971619 w 1187519"/>
                <a:gd name="connsiteY48" fmla="*/ 388937 h 877887"/>
                <a:gd name="connsiteX49" fmla="*/ 970031 w 1187519"/>
                <a:gd name="connsiteY49" fmla="*/ 396875 h 877887"/>
                <a:gd name="connsiteX50" fmla="*/ 973206 w 1187519"/>
                <a:gd name="connsiteY50" fmla="*/ 414337 h 877887"/>
                <a:gd name="connsiteX51" fmla="*/ 968444 w 1187519"/>
                <a:gd name="connsiteY51" fmla="*/ 433387 h 877887"/>
                <a:gd name="connsiteX52" fmla="*/ 963681 w 1187519"/>
                <a:gd name="connsiteY52" fmla="*/ 436562 h 877887"/>
                <a:gd name="connsiteX53" fmla="*/ 966856 w 1187519"/>
                <a:gd name="connsiteY53" fmla="*/ 441325 h 877887"/>
                <a:gd name="connsiteX54" fmla="*/ 974794 w 1187519"/>
                <a:gd name="connsiteY54" fmla="*/ 444500 h 877887"/>
                <a:gd name="connsiteX55" fmla="*/ 979556 w 1187519"/>
                <a:gd name="connsiteY55" fmla="*/ 447675 h 877887"/>
                <a:gd name="connsiteX56" fmla="*/ 990669 w 1187519"/>
                <a:gd name="connsiteY56" fmla="*/ 460375 h 877887"/>
                <a:gd name="connsiteX57" fmla="*/ 995431 w 1187519"/>
                <a:gd name="connsiteY57" fmla="*/ 461962 h 877887"/>
                <a:gd name="connsiteX58" fmla="*/ 1003369 w 1187519"/>
                <a:gd name="connsiteY58" fmla="*/ 468312 h 877887"/>
                <a:gd name="connsiteX59" fmla="*/ 1006544 w 1187519"/>
                <a:gd name="connsiteY59" fmla="*/ 473075 h 877887"/>
                <a:gd name="connsiteX60" fmla="*/ 1011306 w 1187519"/>
                <a:gd name="connsiteY60" fmla="*/ 476250 h 877887"/>
                <a:gd name="connsiteX61" fmla="*/ 1019244 w 1187519"/>
                <a:gd name="connsiteY61" fmla="*/ 482600 h 877887"/>
                <a:gd name="connsiteX62" fmla="*/ 1033531 w 1187519"/>
                <a:gd name="connsiteY62" fmla="*/ 481012 h 877887"/>
                <a:gd name="connsiteX63" fmla="*/ 1054169 w 1187519"/>
                <a:gd name="connsiteY63" fmla="*/ 479425 h 877887"/>
                <a:gd name="connsiteX64" fmla="*/ 1065281 w 1187519"/>
                <a:gd name="connsiteY64" fmla="*/ 477837 h 877887"/>
                <a:gd name="connsiteX65" fmla="*/ 1077981 w 1187519"/>
                <a:gd name="connsiteY65" fmla="*/ 473075 h 877887"/>
                <a:gd name="connsiteX66" fmla="*/ 1079569 w 1187519"/>
                <a:gd name="connsiteY66" fmla="*/ 468312 h 877887"/>
                <a:gd name="connsiteX67" fmla="*/ 1085919 w 1187519"/>
                <a:gd name="connsiteY67" fmla="*/ 458787 h 877887"/>
                <a:gd name="connsiteX68" fmla="*/ 1098619 w 1187519"/>
                <a:gd name="connsiteY68" fmla="*/ 441325 h 877887"/>
                <a:gd name="connsiteX69" fmla="*/ 1106556 w 1187519"/>
                <a:gd name="connsiteY69" fmla="*/ 423862 h 877887"/>
                <a:gd name="connsiteX70" fmla="*/ 1112906 w 1187519"/>
                <a:gd name="connsiteY70" fmla="*/ 420687 h 877887"/>
                <a:gd name="connsiteX71" fmla="*/ 1128781 w 1187519"/>
                <a:gd name="connsiteY71" fmla="*/ 417512 h 877887"/>
                <a:gd name="connsiteX72" fmla="*/ 1135131 w 1187519"/>
                <a:gd name="connsiteY72" fmla="*/ 422275 h 877887"/>
                <a:gd name="connsiteX73" fmla="*/ 1155769 w 1187519"/>
                <a:gd name="connsiteY73" fmla="*/ 415925 h 877887"/>
                <a:gd name="connsiteX74" fmla="*/ 1163706 w 1187519"/>
                <a:gd name="connsiteY74" fmla="*/ 412750 h 877887"/>
                <a:gd name="connsiteX75" fmla="*/ 1166881 w 1187519"/>
                <a:gd name="connsiteY75" fmla="*/ 407987 h 877887"/>
                <a:gd name="connsiteX76" fmla="*/ 1171644 w 1187519"/>
                <a:gd name="connsiteY76" fmla="*/ 411162 h 877887"/>
                <a:gd name="connsiteX77" fmla="*/ 1176406 w 1187519"/>
                <a:gd name="connsiteY77" fmla="*/ 412750 h 877887"/>
                <a:gd name="connsiteX78" fmla="*/ 1179581 w 1187519"/>
                <a:gd name="connsiteY78" fmla="*/ 419100 h 877887"/>
                <a:gd name="connsiteX79" fmla="*/ 1176406 w 1187519"/>
                <a:gd name="connsiteY79" fmla="*/ 436562 h 877887"/>
                <a:gd name="connsiteX80" fmla="*/ 1171644 w 1187519"/>
                <a:gd name="connsiteY80" fmla="*/ 444500 h 877887"/>
                <a:gd name="connsiteX81" fmla="*/ 1174819 w 1187519"/>
                <a:gd name="connsiteY81" fmla="*/ 461962 h 877887"/>
                <a:gd name="connsiteX82" fmla="*/ 1176406 w 1187519"/>
                <a:gd name="connsiteY82" fmla="*/ 466725 h 877887"/>
                <a:gd name="connsiteX83" fmla="*/ 1179581 w 1187519"/>
                <a:gd name="connsiteY83" fmla="*/ 471487 h 877887"/>
                <a:gd name="connsiteX84" fmla="*/ 1185931 w 1187519"/>
                <a:gd name="connsiteY84" fmla="*/ 485775 h 877887"/>
                <a:gd name="connsiteX85" fmla="*/ 1187519 w 1187519"/>
                <a:gd name="connsiteY85" fmla="*/ 492125 h 877887"/>
                <a:gd name="connsiteX86" fmla="*/ 1185931 w 1187519"/>
                <a:gd name="connsiteY86" fmla="*/ 506412 h 877887"/>
                <a:gd name="connsiteX87" fmla="*/ 1179581 w 1187519"/>
                <a:gd name="connsiteY87" fmla="*/ 512762 h 877887"/>
                <a:gd name="connsiteX88" fmla="*/ 1174819 w 1187519"/>
                <a:gd name="connsiteY88" fmla="*/ 519112 h 877887"/>
                <a:gd name="connsiteX89" fmla="*/ 1163706 w 1187519"/>
                <a:gd name="connsiteY89" fmla="*/ 525462 h 877887"/>
                <a:gd name="connsiteX90" fmla="*/ 1155769 w 1187519"/>
                <a:gd name="connsiteY90" fmla="*/ 533400 h 877887"/>
                <a:gd name="connsiteX91" fmla="*/ 1151006 w 1187519"/>
                <a:gd name="connsiteY91" fmla="*/ 541337 h 877887"/>
                <a:gd name="connsiteX92" fmla="*/ 1144656 w 1187519"/>
                <a:gd name="connsiteY92" fmla="*/ 542925 h 877887"/>
                <a:gd name="connsiteX93" fmla="*/ 1139894 w 1187519"/>
                <a:gd name="connsiteY93" fmla="*/ 544512 h 877887"/>
                <a:gd name="connsiteX94" fmla="*/ 1125606 w 1187519"/>
                <a:gd name="connsiteY94" fmla="*/ 539750 h 877887"/>
                <a:gd name="connsiteX95" fmla="*/ 1124019 w 1187519"/>
                <a:gd name="connsiteY95" fmla="*/ 534987 h 877887"/>
                <a:gd name="connsiteX96" fmla="*/ 1117669 w 1187519"/>
                <a:gd name="connsiteY96" fmla="*/ 530225 h 877887"/>
                <a:gd name="connsiteX97" fmla="*/ 1098619 w 1187519"/>
                <a:gd name="connsiteY97" fmla="*/ 504825 h 877887"/>
                <a:gd name="connsiteX98" fmla="*/ 1093856 w 1187519"/>
                <a:gd name="connsiteY98" fmla="*/ 519112 h 877887"/>
                <a:gd name="connsiteX99" fmla="*/ 1085919 w 1187519"/>
                <a:gd name="connsiteY99" fmla="*/ 528637 h 877887"/>
                <a:gd name="connsiteX100" fmla="*/ 1095444 w 1187519"/>
                <a:gd name="connsiteY100" fmla="*/ 533400 h 877887"/>
                <a:gd name="connsiteX101" fmla="*/ 1098619 w 1187519"/>
                <a:gd name="connsiteY101" fmla="*/ 538162 h 877887"/>
                <a:gd name="connsiteX102" fmla="*/ 1097031 w 1187519"/>
                <a:gd name="connsiteY102" fmla="*/ 560387 h 877887"/>
                <a:gd name="connsiteX103" fmla="*/ 1093856 w 1187519"/>
                <a:gd name="connsiteY103" fmla="*/ 569912 h 877887"/>
                <a:gd name="connsiteX104" fmla="*/ 1100206 w 1187519"/>
                <a:gd name="connsiteY104" fmla="*/ 573087 h 877887"/>
                <a:gd name="connsiteX105" fmla="*/ 1095444 w 1187519"/>
                <a:gd name="connsiteY105" fmla="*/ 584200 h 877887"/>
                <a:gd name="connsiteX106" fmla="*/ 1087506 w 1187519"/>
                <a:gd name="connsiteY106" fmla="*/ 590550 h 877887"/>
                <a:gd name="connsiteX107" fmla="*/ 1089094 w 1187519"/>
                <a:gd name="connsiteY107" fmla="*/ 595312 h 877887"/>
                <a:gd name="connsiteX108" fmla="*/ 1100206 w 1187519"/>
                <a:gd name="connsiteY108" fmla="*/ 593725 h 877887"/>
                <a:gd name="connsiteX109" fmla="*/ 1104969 w 1187519"/>
                <a:gd name="connsiteY109" fmla="*/ 603250 h 877887"/>
                <a:gd name="connsiteX110" fmla="*/ 1103381 w 1187519"/>
                <a:gd name="connsiteY110" fmla="*/ 611187 h 877887"/>
                <a:gd name="connsiteX111" fmla="*/ 1097031 w 1187519"/>
                <a:gd name="connsiteY111" fmla="*/ 617537 h 877887"/>
                <a:gd name="connsiteX112" fmla="*/ 1095444 w 1187519"/>
                <a:gd name="connsiteY112" fmla="*/ 628650 h 877887"/>
                <a:gd name="connsiteX113" fmla="*/ 1089094 w 1187519"/>
                <a:gd name="connsiteY113" fmla="*/ 630237 h 877887"/>
                <a:gd name="connsiteX114" fmla="*/ 1092269 w 1187519"/>
                <a:gd name="connsiteY114" fmla="*/ 685800 h 877887"/>
                <a:gd name="connsiteX115" fmla="*/ 1093856 w 1187519"/>
                <a:gd name="connsiteY115" fmla="*/ 690562 h 877887"/>
                <a:gd name="connsiteX116" fmla="*/ 1097031 w 1187519"/>
                <a:gd name="connsiteY116" fmla="*/ 695325 h 877887"/>
                <a:gd name="connsiteX117" fmla="*/ 1098619 w 1187519"/>
                <a:gd name="connsiteY117" fmla="*/ 704850 h 877887"/>
                <a:gd name="connsiteX118" fmla="*/ 1095444 w 1187519"/>
                <a:gd name="connsiteY118" fmla="*/ 749300 h 877887"/>
                <a:gd name="connsiteX119" fmla="*/ 1087506 w 1187519"/>
                <a:gd name="connsiteY119" fmla="*/ 754062 h 877887"/>
                <a:gd name="connsiteX120" fmla="*/ 1077981 w 1187519"/>
                <a:gd name="connsiteY120" fmla="*/ 755650 h 877887"/>
                <a:gd name="connsiteX121" fmla="*/ 1070044 w 1187519"/>
                <a:gd name="connsiteY121" fmla="*/ 757237 h 877887"/>
                <a:gd name="connsiteX122" fmla="*/ 1058931 w 1187519"/>
                <a:gd name="connsiteY122" fmla="*/ 762000 h 877887"/>
                <a:gd name="connsiteX123" fmla="*/ 1043056 w 1187519"/>
                <a:gd name="connsiteY123" fmla="*/ 760412 h 877887"/>
                <a:gd name="connsiteX124" fmla="*/ 1041469 w 1187519"/>
                <a:gd name="connsiteY124" fmla="*/ 755650 h 877887"/>
                <a:gd name="connsiteX125" fmla="*/ 1038294 w 1187519"/>
                <a:gd name="connsiteY125" fmla="*/ 749300 h 877887"/>
                <a:gd name="connsiteX126" fmla="*/ 1036706 w 1187519"/>
                <a:gd name="connsiteY126" fmla="*/ 738187 h 877887"/>
                <a:gd name="connsiteX127" fmla="*/ 1028769 w 1187519"/>
                <a:gd name="connsiteY127" fmla="*/ 736600 h 877887"/>
                <a:gd name="connsiteX128" fmla="*/ 1017656 w 1187519"/>
                <a:gd name="connsiteY128" fmla="*/ 725487 h 877887"/>
                <a:gd name="connsiteX129" fmla="*/ 1012894 w 1187519"/>
                <a:gd name="connsiteY129" fmla="*/ 723900 h 877887"/>
                <a:gd name="connsiteX130" fmla="*/ 976381 w 1187519"/>
                <a:gd name="connsiteY130" fmla="*/ 722312 h 877887"/>
                <a:gd name="connsiteX131" fmla="*/ 957331 w 1187519"/>
                <a:gd name="connsiteY131" fmla="*/ 720725 h 877887"/>
                <a:gd name="connsiteX132" fmla="*/ 952569 w 1187519"/>
                <a:gd name="connsiteY132" fmla="*/ 723900 h 877887"/>
                <a:gd name="connsiteX133" fmla="*/ 925581 w 1187519"/>
                <a:gd name="connsiteY133" fmla="*/ 722312 h 877887"/>
                <a:gd name="connsiteX134" fmla="*/ 920819 w 1187519"/>
                <a:gd name="connsiteY134" fmla="*/ 709612 h 877887"/>
                <a:gd name="connsiteX135" fmla="*/ 912881 w 1187519"/>
                <a:gd name="connsiteY135" fmla="*/ 708025 h 877887"/>
                <a:gd name="connsiteX136" fmla="*/ 900181 w 1187519"/>
                <a:gd name="connsiteY136" fmla="*/ 712787 h 877887"/>
                <a:gd name="connsiteX137" fmla="*/ 895419 w 1187519"/>
                <a:gd name="connsiteY137" fmla="*/ 714375 h 877887"/>
                <a:gd name="connsiteX138" fmla="*/ 882719 w 1187519"/>
                <a:gd name="connsiteY138" fmla="*/ 715962 h 877887"/>
                <a:gd name="connsiteX139" fmla="*/ 876369 w 1187519"/>
                <a:gd name="connsiteY139" fmla="*/ 717550 h 877887"/>
                <a:gd name="connsiteX140" fmla="*/ 871606 w 1187519"/>
                <a:gd name="connsiteY140" fmla="*/ 722312 h 877887"/>
                <a:gd name="connsiteX141" fmla="*/ 865256 w 1187519"/>
                <a:gd name="connsiteY141" fmla="*/ 727075 h 877887"/>
                <a:gd name="connsiteX142" fmla="*/ 855731 w 1187519"/>
                <a:gd name="connsiteY142" fmla="*/ 731837 h 877887"/>
                <a:gd name="connsiteX143" fmla="*/ 847794 w 1187519"/>
                <a:gd name="connsiteY143" fmla="*/ 736600 h 877887"/>
                <a:gd name="connsiteX144" fmla="*/ 843031 w 1187519"/>
                <a:gd name="connsiteY144" fmla="*/ 739775 h 877887"/>
                <a:gd name="connsiteX145" fmla="*/ 822394 w 1187519"/>
                <a:gd name="connsiteY145" fmla="*/ 742950 h 877887"/>
                <a:gd name="connsiteX146" fmla="*/ 814456 w 1187519"/>
                <a:gd name="connsiteY146" fmla="*/ 746125 h 877887"/>
                <a:gd name="connsiteX147" fmla="*/ 804931 w 1187519"/>
                <a:gd name="connsiteY147" fmla="*/ 749300 h 877887"/>
                <a:gd name="connsiteX148" fmla="*/ 795406 w 1187519"/>
                <a:gd name="connsiteY148" fmla="*/ 755650 h 877887"/>
                <a:gd name="connsiteX149" fmla="*/ 792231 w 1187519"/>
                <a:gd name="connsiteY149" fmla="*/ 760412 h 877887"/>
                <a:gd name="connsiteX150" fmla="*/ 785881 w 1187519"/>
                <a:gd name="connsiteY150" fmla="*/ 768350 h 877887"/>
                <a:gd name="connsiteX151" fmla="*/ 782706 w 1187519"/>
                <a:gd name="connsiteY151" fmla="*/ 774700 h 877887"/>
                <a:gd name="connsiteX152" fmla="*/ 776356 w 1187519"/>
                <a:gd name="connsiteY152" fmla="*/ 779462 h 877887"/>
                <a:gd name="connsiteX153" fmla="*/ 762069 w 1187519"/>
                <a:gd name="connsiteY153" fmla="*/ 793750 h 877887"/>
                <a:gd name="connsiteX154" fmla="*/ 760481 w 1187519"/>
                <a:gd name="connsiteY154" fmla="*/ 798512 h 877887"/>
                <a:gd name="connsiteX155" fmla="*/ 762069 w 1187519"/>
                <a:gd name="connsiteY155" fmla="*/ 804862 h 877887"/>
                <a:gd name="connsiteX156" fmla="*/ 758894 w 1187519"/>
                <a:gd name="connsiteY156" fmla="*/ 809625 h 877887"/>
                <a:gd name="connsiteX157" fmla="*/ 752544 w 1187519"/>
                <a:gd name="connsiteY157" fmla="*/ 819150 h 877887"/>
                <a:gd name="connsiteX158" fmla="*/ 749369 w 1187519"/>
                <a:gd name="connsiteY158" fmla="*/ 823912 h 877887"/>
                <a:gd name="connsiteX159" fmla="*/ 735081 w 1187519"/>
                <a:gd name="connsiteY159" fmla="*/ 836612 h 877887"/>
                <a:gd name="connsiteX160" fmla="*/ 728731 w 1187519"/>
                <a:gd name="connsiteY160" fmla="*/ 838200 h 877887"/>
                <a:gd name="connsiteX161" fmla="*/ 723969 w 1187519"/>
                <a:gd name="connsiteY161" fmla="*/ 839787 h 877887"/>
                <a:gd name="connsiteX162" fmla="*/ 712856 w 1187519"/>
                <a:gd name="connsiteY162" fmla="*/ 849312 h 877887"/>
                <a:gd name="connsiteX163" fmla="*/ 706506 w 1187519"/>
                <a:gd name="connsiteY163" fmla="*/ 855662 h 877887"/>
                <a:gd name="connsiteX164" fmla="*/ 696981 w 1187519"/>
                <a:gd name="connsiteY164" fmla="*/ 857250 h 877887"/>
                <a:gd name="connsiteX165" fmla="*/ 682694 w 1187519"/>
                <a:gd name="connsiteY165" fmla="*/ 852487 h 877887"/>
                <a:gd name="connsiteX166" fmla="*/ 677931 w 1187519"/>
                <a:gd name="connsiteY166" fmla="*/ 849312 h 877887"/>
                <a:gd name="connsiteX167" fmla="*/ 666819 w 1187519"/>
                <a:gd name="connsiteY167" fmla="*/ 847725 h 877887"/>
                <a:gd name="connsiteX168" fmla="*/ 623956 w 1187519"/>
                <a:gd name="connsiteY168" fmla="*/ 849312 h 877887"/>
                <a:gd name="connsiteX169" fmla="*/ 620781 w 1187519"/>
                <a:gd name="connsiteY169" fmla="*/ 852487 h 877887"/>
                <a:gd name="connsiteX170" fmla="*/ 622369 w 1187519"/>
                <a:gd name="connsiteY170" fmla="*/ 858837 h 877887"/>
                <a:gd name="connsiteX171" fmla="*/ 616019 w 1187519"/>
                <a:gd name="connsiteY171" fmla="*/ 860425 h 877887"/>
                <a:gd name="connsiteX172" fmla="*/ 608081 w 1187519"/>
                <a:gd name="connsiteY172" fmla="*/ 862012 h 877887"/>
                <a:gd name="connsiteX173" fmla="*/ 595381 w 1187519"/>
                <a:gd name="connsiteY173" fmla="*/ 857250 h 877887"/>
                <a:gd name="connsiteX174" fmla="*/ 589031 w 1187519"/>
                <a:gd name="connsiteY174" fmla="*/ 855662 h 877887"/>
                <a:gd name="connsiteX175" fmla="*/ 584269 w 1187519"/>
                <a:gd name="connsiteY175" fmla="*/ 857250 h 877887"/>
                <a:gd name="connsiteX176" fmla="*/ 582681 w 1187519"/>
                <a:gd name="connsiteY176" fmla="*/ 863600 h 877887"/>
                <a:gd name="connsiteX177" fmla="*/ 577919 w 1187519"/>
                <a:gd name="connsiteY177" fmla="*/ 869950 h 877887"/>
                <a:gd name="connsiteX178" fmla="*/ 569981 w 1187519"/>
                <a:gd name="connsiteY178" fmla="*/ 871537 h 877887"/>
                <a:gd name="connsiteX179" fmla="*/ 555694 w 1187519"/>
                <a:gd name="connsiteY179" fmla="*/ 873125 h 877887"/>
                <a:gd name="connsiteX180" fmla="*/ 531881 w 1187519"/>
                <a:gd name="connsiteY180" fmla="*/ 877887 h 877887"/>
                <a:gd name="connsiteX181" fmla="*/ 519181 w 1187519"/>
                <a:gd name="connsiteY181" fmla="*/ 873125 h 877887"/>
                <a:gd name="connsiteX182" fmla="*/ 512831 w 1187519"/>
                <a:gd name="connsiteY182" fmla="*/ 863600 h 877887"/>
                <a:gd name="connsiteX183" fmla="*/ 500131 w 1187519"/>
                <a:gd name="connsiteY183" fmla="*/ 862012 h 877887"/>
                <a:gd name="connsiteX184" fmla="*/ 423931 w 1187519"/>
                <a:gd name="connsiteY184" fmla="*/ 860425 h 877887"/>
                <a:gd name="connsiteX185" fmla="*/ 420756 w 1187519"/>
                <a:gd name="connsiteY185" fmla="*/ 866775 h 877887"/>
                <a:gd name="connsiteX186" fmla="*/ 415994 w 1187519"/>
                <a:gd name="connsiteY186" fmla="*/ 869950 h 877887"/>
                <a:gd name="connsiteX187" fmla="*/ 396944 w 1187519"/>
                <a:gd name="connsiteY187" fmla="*/ 873125 h 877887"/>
                <a:gd name="connsiteX188" fmla="*/ 384244 w 1187519"/>
                <a:gd name="connsiteY188" fmla="*/ 876300 h 877887"/>
                <a:gd name="connsiteX189" fmla="*/ 369956 w 1187519"/>
                <a:gd name="connsiteY189" fmla="*/ 874712 h 877887"/>
                <a:gd name="connsiteX190" fmla="*/ 381069 w 1187519"/>
                <a:gd name="connsiteY190" fmla="*/ 849312 h 877887"/>
                <a:gd name="connsiteX191" fmla="*/ 385831 w 1187519"/>
                <a:gd name="connsiteY191" fmla="*/ 846137 h 877887"/>
                <a:gd name="connsiteX192" fmla="*/ 387419 w 1187519"/>
                <a:gd name="connsiteY192" fmla="*/ 839787 h 877887"/>
                <a:gd name="connsiteX193" fmla="*/ 392181 w 1187519"/>
                <a:gd name="connsiteY193" fmla="*/ 831850 h 877887"/>
                <a:gd name="connsiteX194" fmla="*/ 387419 w 1187519"/>
                <a:gd name="connsiteY194" fmla="*/ 830262 h 877887"/>
                <a:gd name="connsiteX195" fmla="*/ 381069 w 1187519"/>
                <a:gd name="connsiteY195" fmla="*/ 828675 h 877887"/>
                <a:gd name="connsiteX196" fmla="*/ 368369 w 1187519"/>
                <a:gd name="connsiteY196" fmla="*/ 822325 h 877887"/>
                <a:gd name="connsiteX197" fmla="*/ 358844 w 1187519"/>
                <a:gd name="connsiteY197" fmla="*/ 815975 h 877887"/>
                <a:gd name="connsiteX198" fmla="*/ 349319 w 1187519"/>
                <a:gd name="connsiteY198" fmla="*/ 809625 h 877887"/>
                <a:gd name="connsiteX199" fmla="*/ 344556 w 1187519"/>
                <a:gd name="connsiteY199" fmla="*/ 806450 h 877887"/>
                <a:gd name="connsiteX200" fmla="*/ 328681 w 1187519"/>
                <a:gd name="connsiteY200" fmla="*/ 800100 h 877887"/>
                <a:gd name="connsiteX201" fmla="*/ 315981 w 1187519"/>
                <a:gd name="connsiteY201" fmla="*/ 796925 h 877887"/>
                <a:gd name="connsiteX202" fmla="*/ 309631 w 1187519"/>
                <a:gd name="connsiteY202" fmla="*/ 784225 h 877887"/>
                <a:gd name="connsiteX203" fmla="*/ 311219 w 1187519"/>
                <a:gd name="connsiteY203" fmla="*/ 771525 h 877887"/>
                <a:gd name="connsiteX204" fmla="*/ 315981 w 1187519"/>
                <a:gd name="connsiteY204" fmla="*/ 766762 h 877887"/>
                <a:gd name="connsiteX205" fmla="*/ 320744 w 1187519"/>
                <a:gd name="connsiteY205" fmla="*/ 763587 h 877887"/>
                <a:gd name="connsiteX206" fmla="*/ 325506 w 1187519"/>
                <a:gd name="connsiteY206" fmla="*/ 762000 h 877887"/>
                <a:gd name="connsiteX207" fmla="*/ 333444 w 1187519"/>
                <a:gd name="connsiteY207" fmla="*/ 758825 h 877887"/>
                <a:gd name="connsiteX208" fmla="*/ 338206 w 1187519"/>
                <a:gd name="connsiteY208" fmla="*/ 755650 h 877887"/>
                <a:gd name="connsiteX209" fmla="*/ 322331 w 1187519"/>
                <a:gd name="connsiteY209" fmla="*/ 750887 h 877887"/>
                <a:gd name="connsiteX210" fmla="*/ 320744 w 1187519"/>
                <a:gd name="connsiteY210" fmla="*/ 742950 h 877887"/>
                <a:gd name="connsiteX211" fmla="*/ 319156 w 1187519"/>
                <a:gd name="connsiteY211" fmla="*/ 738187 h 877887"/>
                <a:gd name="connsiteX212" fmla="*/ 311219 w 1187519"/>
                <a:gd name="connsiteY212" fmla="*/ 736600 h 877887"/>
                <a:gd name="connsiteX213" fmla="*/ 301694 w 1187519"/>
                <a:gd name="connsiteY213" fmla="*/ 739775 h 877887"/>
                <a:gd name="connsiteX214" fmla="*/ 284231 w 1187519"/>
                <a:gd name="connsiteY214" fmla="*/ 742950 h 877887"/>
                <a:gd name="connsiteX215" fmla="*/ 281056 w 1187519"/>
                <a:gd name="connsiteY215" fmla="*/ 749300 h 877887"/>
                <a:gd name="connsiteX216" fmla="*/ 274706 w 1187519"/>
                <a:gd name="connsiteY216" fmla="*/ 755650 h 877887"/>
                <a:gd name="connsiteX217" fmla="*/ 271531 w 1187519"/>
                <a:gd name="connsiteY217" fmla="*/ 760412 h 877887"/>
                <a:gd name="connsiteX218" fmla="*/ 269944 w 1187519"/>
                <a:gd name="connsiteY218" fmla="*/ 773112 h 877887"/>
                <a:gd name="connsiteX219" fmla="*/ 249306 w 1187519"/>
                <a:gd name="connsiteY219" fmla="*/ 765175 h 877887"/>
                <a:gd name="connsiteX220" fmla="*/ 242956 w 1187519"/>
                <a:gd name="connsiteY220" fmla="*/ 752475 h 877887"/>
                <a:gd name="connsiteX221" fmla="*/ 238194 w 1187519"/>
                <a:gd name="connsiteY221" fmla="*/ 750887 h 877887"/>
                <a:gd name="connsiteX222" fmla="*/ 233431 w 1187519"/>
                <a:gd name="connsiteY222" fmla="*/ 752475 h 877887"/>
                <a:gd name="connsiteX223" fmla="*/ 220731 w 1187519"/>
                <a:gd name="connsiteY223" fmla="*/ 758825 h 877887"/>
                <a:gd name="connsiteX224" fmla="*/ 200094 w 1187519"/>
                <a:gd name="connsiteY224" fmla="*/ 760412 h 877887"/>
                <a:gd name="connsiteX225" fmla="*/ 182631 w 1187519"/>
                <a:gd name="connsiteY225" fmla="*/ 758825 h 877887"/>
                <a:gd name="connsiteX226" fmla="*/ 187394 w 1187519"/>
                <a:gd name="connsiteY226" fmla="*/ 754062 h 877887"/>
                <a:gd name="connsiteX227" fmla="*/ 185806 w 1187519"/>
                <a:gd name="connsiteY227" fmla="*/ 742950 h 877887"/>
                <a:gd name="connsiteX228" fmla="*/ 161994 w 1187519"/>
                <a:gd name="connsiteY228" fmla="*/ 741362 h 877887"/>
                <a:gd name="connsiteX229" fmla="*/ 163581 w 1187519"/>
                <a:gd name="connsiteY229" fmla="*/ 733425 h 877887"/>
                <a:gd name="connsiteX230" fmla="*/ 161994 w 1187519"/>
                <a:gd name="connsiteY230" fmla="*/ 725487 h 877887"/>
                <a:gd name="connsiteX231" fmla="*/ 174694 w 1187519"/>
                <a:gd name="connsiteY231" fmla="*/ 720725 h 877887"/>
                <a:gd name="connsiteX232" fmla="*/ 173106 w 1187519"/>
                <a:gd name="connsiteY232" fmla="*/ 714375 h 877887"/>
                <a:gd name="connsiteX233" fmla="*/ 163581 w 1187519"/>
                <a:gd name="connsiteY233" fmla="*/ 709612 h 877887"/>
                <a:gd name="connsiteX234" fmla="*/ 158819 w 1187519"/>
                <a:gd name="connsiteY234" fmla="*/ 706437 h 877887"/>
                <a:gd name="connsiteX235" fmla="*/ 155644 w 1187519"/>
                <a:gd name="connsiteY235" fmla="*/ 701675 h 877887"/>
                <a:gd name="connsiteX236" fmla="*/ 157231 w 1187519"/>
                <a:gd name="connsiteY236" fmla="*/ 696912 h 877887"/>
                <a:gd name="connsiteX237" fmla="*/ 158819 w 1187519"/>
                <a:gd name="connsiteY237" fmla="*/ 690562 h 877887"/>
                <a:gd name="connsiteX238" fmla="*/ 176281 w 1187519"/>
                <a:gd name="connsiteY238" fmla="*/ 677862 h 877887"/>
                <a:gd name="connsiteX239" fmla="*/ 166756 w 1187519"/>
                <a:gd name="connsiteY239" fmla="*/ 673100 h 877887"/>
                <a:gd name="connsiteX240" fmla="*/ 158819 w 1187519"/>
                <a:gd name="connsiteY240" fmla="*/ 668337 h 877887"/>
                <a:gd name="connsiteX241" fmla="*/ 154056 w 1187519"/>
                <a:gd name="connsiteY241" fmla="*/ 666750 h 877887"/>
                <a:gd name="connsiteX242" fmla="*/ 104844 w 1187519"/>
                <a:gd name="connsiteY242" fmla="*/ 658812 h 877887"/>
                <a:gd name="connsiteX243" fmla="*/ 101669 w 1187519"/>
                <a:gd name="connsiteY243" fmla="*/ 652462 h 877887"/>
                <a:gd name="connsiteX244" fmla="*/ 95319 w 1187519"/>
                <a:gd name="connsiteY244" fmla="*/ 649287 h 877887"/>
                <a:gd name="connsiteX245" fmla="*/ 90556 w 1187519"/>
                <a:gd name="connsiteY245" fmla="*/ 642937 h 877887"/>
                <a:gd name="connsiteX246" fmla="*/ 76269 w 1187519"/>
                <a:gd name="connsiteY246" fmla="*/ 630237 h 877887"/>
                <a:gd name="connsiteX247" fmla="*/ 69919 w 1187519"/>
                <a:gd name="connsiteY247" fmla="*/ 620712 h 877887"/>
                <a:gd name="connsiteX248" fmla="*/ 69919 w 1187519"/>
                <a:gd name="connsiteY248" fmla="*/ 603250 h 877887"/>
                <a:gd name="connsiteX249" fmla="*/ 68331 w 1187519"/>
                <a:gd name="connsiteY249" fmla="*/ 588962 h 877887"/>
                <a:gd name="connsiteX250" fmla="*/ 66744 w 1187519"/>
                <a:gd name="connsiteY250" fmla="*/ 584200 h 877887"/>
                <a:gd name="connsiteX251" fmla="*/ 55631 w 1187519"/>
                <a:gd name="connsiteY251" fmla="*/ 581025 h 877887"/>
                <a:gd name="connsiteX252" fmla="*/ 54044 w 1187519"/>
                <a:gd name="connsiteY252" fmla="*/ 576262 h 877887"/>
                <a:gd name="connsiteX253" fmla="*/ 42931 w 1187519"/>
                <a:gd name="connsiteY253" fmla="*/ 573087 h 877887"/>
                <a:gd name="connsiteX254" fmla="*/ 36581 w 1187519"/>
                <a:gd name="connsiteY254" fmla="*/ 565150 h 877887"/>
                <a:gd name="connsiteX255" fmla="*/ 28644 w 1187519"/>
                <a:gd name="connsiteY255" fmla="*/ 561975 h 877887"/>
                <a:gd name="connsiteX256" fmla="*/ 15944 w 1187519"/>
                <a:gd name="connsiteY256" fmla="*/ 558800 h 877887"/>
                <a:gd name="connsiteX257" fmla="*/ 4831 w 1187519"/>
                <a:gd name="connsiteY257" fmla="*/ 555625 h 877887"/>
                <a:gd name="connsiteX258" fmla="*/ 3244 w 1187519"/>
                <a:gd name="connsiteY258" fmla="*/ 550862 h 877887"/>
                <a:gd name="connsiteX259" fmla="*/ 69 w 1187519"/>
                <a:gd name="connsiteY259" fmla="*/ 546100 h 877887"/>
                <a:gd name="connsiteX260" fmla="*/ 1656 w 1187519"/>
                <a:gd name="connsiteY260" fmla="*/ 531812 h 877887"/>
                <a:gd name="connsiteX261" fmla="*/ 3244 w 1187519"/>
                <a:gd name="connsiteY261" fmla="*/ 519112 h 877887"/>
                <a:gd name="connsiteX262" fmla="*/ 39756 w 1187519"/>
                <a:gd name="connsiteY262" fmla="*/ 512762 h 877887"/>
                <a:gd name="connsiteX263" fmla="*/ 44519 w 1187519"/>
                <a:gd name="connsiteY263" fmla="*/ 509587 h 877887"/>
                <a:gd name="connsiteX264" fmla="*/ 54044 w 1187519"/>
                <a:gd name="connsiteY264" fmla="*/ 504825 h 877887"/>
                <a:gd name="connsiteX265" fmla="*/ 57219 w 1187519"/>
                <a:gd name="connsiteY265" fmla="*/ 500062 h 877887"/>
                <a:gd name="connsiteX266" fmla="*/ 58806 w 1187519"/>
                <a:gd name="connsiteY266" fmla="*/ 493712 h 877887"/>
                <a:gd name="connsiteX267" fmla="*/ 85794 w 1187519"/>
                <a:gd name="connsiteY267" fmla="*/ 485775 h 877887"/>
                <a:gd name="connsiteX268" fmla="*/ 90556 w 1187519"/>
                <a:gd name="connsiteY268" fmla="*/ 484187 h 877887"/>
                <a:gd name="connsiteX269" fmla="*/ 95319 w 1187519"/>
                <a:gd name="connsiteY269" fmla="*/ 473075 h 877887"/>
                <a:gd name="connsiteX270" fmla="*/ 96906 w 1187519"/>
                <a:gd name="connsiteY270" fmla="*/ 460375 h 877887"/>
                <a:gd name="connsiteX271" fmla="*/ 104844 w 1187519"/>
                <a:gd name="connsiteY271" fmla="*/ 452437 h 877887"/>
                <a:gd name="connsiteX272" fmla="*/ 112781 w 1187519"/>
                <a:gd name="connsiteY272" fmla="*/ 450850 h 877887"/>
                <a:gd name="connsiteX273" fmla="*/ 106431 w 1187519"/>
                <a:gd name="connsiteY273" fmla="*/ 442912 h 877887"/>
                <a:gd name="connsiteX274" fmla="*/ 104844 w 1187519"/>
                <a:gd name="connsiteY274" fmla="*/ 436562 h 877887"/>
                <a:gd name="connsiteX275" fmla="*/ 111194 w 1187519"/>
                <a:gd name="connsiteY275" fmla="*/ 419100 h 877887"/>
                <a:gd name="connsiteX276" fmla="*/ 125481 w 1187519"/>
                <a:gd name="connsiteY276" fmla="*/ 414337 h 877887"/>
                <a:gd name="connsiteX277" fmla="*/ 130244 w 1187519"/>
                <a:gd name="connsiteY277" fmla="*/ 412750 h 877887"/>
                <a:gd name="connsiteX278" fmla="*/ 135006 w 1187519"/>
                <a:gd name="connsiteY278" fmla="*/ 406400 h 877887"/>
                <a:gd name="connsiteX279" fmla="*/ 127069 w 1187519"/>
                <a:gd name="connsiteY279" fmla="*/ 395287 h 877887"/>
                <a:gd name="connsiteX280" fmla="*/ 127069 w 1187519"/>
                <a:gd name="connsiteY280" fmla="*/ 377825 h 877887"/>
                <a:gd name="connsiteX281" fmla="*/ 128656 w 1187519"/>
                <a:gd name="connsiteY281" fmla="*/ 373062 h 877887"/>
                <a:gd name="connsiteX282" fmla="*/ 133419 w 1187519"/>
                <a:gd name="connsiteY282" fmla="*/ 368300 h 877887"/>
                <a:gd name="connsiteX283" fmla="*/ 136594 w 1187519"/>
                <a:gd name="connsiteY283" fmla="*/ 361950 h 877887"/>
                <a:gd name="connsiteX284" fmla="*/ 141356 w 1187519"/>
                <a:gd name="connsiteY284" fmla="*/ 355600 h 877887"/>
                <a:gd name="connsiteX285" fmla="*/ 138181 w 1187519"/>
                <a:gd name="connsiteY285" fmla="*/ 341312 h 877887"/>
                <a:gd name="connsiteX286" fmla="*/ 141356 w 1187519"/>
                <a:gd name="connsiteY286" fmla="*/ 334962 h 877887"/>
                <a:gd name="connsiteX287" fmla="*/ 144531 w 1187519"/>
                <a:gd name="connsiteY287" fmla="*/ 327025 h 877887"/>
                <a:gd name="connsiteX288" fmla="*/ 150881 w 1187519"/>
                <a:gd name="connsiteY288" fmla="*/ 320675 h 877887"/>
                <a:gd name="connsiteX289" fmla="*/ 155644 w 1187519"/>
                <a:gd name="connsiteY289" fmla="*/ 314325 h 877887"/>
                <a:gd name="connsiteX290" fmla="*/ 149294 w 1187519"/>
                <a:gd name="connsiteY290" fmla="*/ 301625 h 877887"/>
                <a:gd name="connsiteX291" fmla="*/ 155644 w 1187519"/>
                <a:gd name="connsiteY291" fmla="*/ 279400 h 877887"/>
                <a:gd name="connsiteX292" fmla="*/ 166756 w 1187519"/>
                <a:gd name="connsiteY292" fmla="*/ 266700 h 877887"/>
                <a:gd name="connsiteX293" fmla="*/ 165169 w 1187519"/>
                <a:gd name="connsiteY293" fmla="*/ 238125 h 877887"/>
                <a:gd name="connsiteX294" fmla="*/ 171519 w 1187519"/>
                <a:gd name="connsiteY294" fmla="*/ 236537 h 877887"/>
                <a:gd name="connsiteX295" fmla="*/ 195331 w 1187519"/>
                <a:gd name="connsiteY295" fmla="*/ 223837 h 877887"/>
                <a:gd name="connsiteX296" fmla="*/ 200094 w 1187519"/>
                <a:gd name="connsiteY296" fmla="*/ 219075 h 877887"/>
                <a:gd name="connsiteX297" fmla="*/ 203269 w 1187519"/>
                <a:gd name="connsiteY297" fmla="*/ 207962 h 877887"/>
                <a:gd name="connsiteX298" fmla="*/ 220731 w 1187519"/>
                <a:gd name="connsiteY298" fmla="*/ 193675 h 877887"/>
                <a:gd name="connsiteX299" fmla="*/ 225494 w 1187519"/>
                <a:gd name="connsiteY299" fmla="*/ 190500 h 877887"/>
                <a:gd name="connsiteX300" fmla="*/ 239781 w 1187519"/>
                <a:gd name="connsiteY300" fmla="*/ 187325 h 877887"/>
                <a:gd name="connsiteX301" fmla="*/ 246131 w 1187519"/>
                <a:gd name="connsiteY301" fmla="*/ 176212 h 877887"/>
                <a:gd name="connsiteX302" fmla="*/ 252481 w 1187519"/>
                <a:gd name="connsiteY302" fmla="*/ 169862 h 877887"/>
                <a:gd name="connsiteX303" fmla="*/ 260419 w 1187519"/>
                <a:gd name="connsiteY303" fmla="*/ 150812 h 877887"/>
                <a:gd name="connsiteX304" fmla="*/ 265181 w 1187519"/>
                <a:gd name="connsiteY304" fmla="*/ 147637 h 877887"/>
                <a:gd name="connsiteX305" fmla="*/ 277881 w 1187519"/>
                <a:gd name="connsiteY305" fmla="*/ 133350 h 877887"/>
                <a:gd name="connsiteX306" fmla="*/ 281056 w 1187519"/>
                <a:gd name="connsiteY306" fmla="*/ 119062 h 877887"/>
                <a:gd name="connsiteX307" fmla="*/ 285819 w 1187519"/>
                <a:gd name="connsiteY307" fmla="*/ 115887 h 877887"/>
                <a:gd name="connsiteX308" fmla="*/ 293756 w 1187519"/>
                <a:gd name="connsiteY308" fmla="*/ 119062 h 877887"/>
                <a:gd name="connsiteX309" fmla="*/ 309631 w 1187519"/>
                <a:gd name="connsiteY309" fmla="*/ 133350 h 877887"/>
                <a:gd name="connsiteX310" fmla="*/ 314394 w 1187519"/>
                <a:gd name="connsiteY310" fmla="*/ 136525 h 877887"/>
                <a:gd name="connsiteX311" fmla="*/ 325506 w 1187519"/>
                <a:gd name="connsiteY311" fmla="*/ 133350 h 877887"/>
                <a:gd name="connsiteX312" fmla="*/ 335031 w 1187519"/>
                <a:gd name="connsiteY312" fmla="*/ 128587 h 877887"/>
                <a:gd name="connsiteX313" fmla="*/ 354081 w 1187519"/>
                <a:gd name="connsiteY313" fmla="*/ 125412 h 877887"/>
                <a:gd name="connsiteX314" fmla="*/ 365194 w 1187519"/>
                <a:gd name="connsiteY314" fmla="*/ 122237 h 877887"/>
                <a:gd name="connsiteX315" fmla="*/ 406469 w 1187519"/>
                <a:gd name="connsiteY315" fmla="*/ 123825 h 877887"/>
                <a:gd name="connsiteX316" fmla="*/ 411231 w 1187519"/>
                <a:gd name="connsiteY316" fmla="*/ 127000 h 877887"/>
                <a:gd name="connsiteX317" fmla="*/ 415994 w 1187519"/>
                <a:gd name="connsiteY317" fmla="*/ 128587 h 877887"/>
                <a:gd name="connsiteX318" fmla="*/ 423931 w 1187519"/>
                <a:gd name="connsiteY318" fmla="*/ 125412 h 877887"/>
                <a:gd name="connsiteX319" fmla="*/ 435044 w 1187519"/>
                <a:gd name="connsiteY319" fmla="*/ 123825 h 877887"/>
                <a:gd name="connsiteX320" fmla="*/ 439806 w 1187519"/>
                <a:gd name="connsiteY320" fmla="*/ 119062 h 877887"/>
                <a:gd name="connsiteX321" fmla="*/ 444569 w 1187519"/>
                <a:gd name="connsiteY321" fmla="*/ 115887 h 877887"/>
                <a:gd name="connsiteX322" fmla="*/ 457269 w 1187519"/>
                <a:gd name="connsiteY322" fmla="*/ 117475 h 877887"/>
                <a:gd name="connsiteX323" fmla="*/ 465206 w 1187519"/>
                <a:gd name="connsiteY323" fmla="*/ 127000 h 877887"/>
                <a:gd name="connsiteX324" fmla="*/ 471556 w 1187519"/>
                <a:gd name="connsiteY324" fmla="*/ 128587 h 877887"/>
                <a:gd name="connsiteX325" fmla="*/ 485844 w 1187519"/>
                <a:gd name="connsiteY325" fmla="*/ 128587 h 877887"/>
                <a:gd name="connsiteX326" fmla="*/ 481081 w 1187519"/>
                <a:gd name="connsiteY326" fmla="*/ 134937 h 877887"/>
                <a:gd name="connsiteX327" fmla="*/ 485844 w 1187519"/>
                <a:gd name="connsiteY327" fmla="*/ 141287 h 877887"/>
                <a:gd name="connsiteX328" fmla="*/ 490606 w 1187519"/>
                <a:gd name="connsiteY328" fmla="*/ 139700 h 877887"/>
                <a:gd name="connsiteX329" fmla="*/ 501719 w 1187519"/>
                <a:gd name="connsiteY329" fmla="*/ 138112 h 877887"/>
                <a:gd name="connsiteX330" fmla="*/ 506481 w 1187519"/>
                <a:gd name="connsiteY330" fmla="*/ 136525 h 877887"/>
                <a:gd name="connsiteX331" fmla="*/ 511244 w 1187519"/>
                <a:gd name="connsiteY331" fmla="*/ 133350 h 877887"/>
                <a:gd name="connsiteX332" fmla="*/ 519181 w 1187519"/>
                <a:gd name="connsiteY332" fmla="*/ 131762 h 877887"/>
                <a:gd name="connsiteX333" fmla="*/ 525531 w 1187519"/>
                <a:gd name="connsiteY333" fmla="*/ 130175 h 877887"/>
                <a:gd name="connsiteX334" fmla="*/ 533469 w 1187519"/>
                <a:gd name="connsiteY334" fmla="*/ 109537 h 877887"/>
                <a:gd name="connsiteX335" fmla="*/ 539819 w 1187519"/>
                <a:gd name="connsiteY335" fmla="*/ 107950 h 877887"/>
                <a:gd name="connsiteX336" fmla="*/ 546169 w 1187519"/>
                <a:gd name="connsiteY336" fmla="*/ 104775 h 877887"/>
                <a:gd name="connsiteX337" fmla="*/ 557281 w 1187519"/>
                <a:gd name="connsiteY337" fmla="*/ 103187 h 877887"/>
                <a:gd name="connsiteX338" fmla="*/ 563631 w 1187519"/>
                <a:gd name="connsiteY338" fmla="*/ 101600 h 877887"/>
                <a:gd name="connsiteX339" fmla="*/ 568394 w 1187519"/>
                <a:gd name="connsiteY339" fmla="*/ 96837 h 877887"/>
                <a:gd name="connsiteX340" fmla="*/ 577919 w 1187519"/>
                <a:gd name="connsiteY340" fmla="*/ 95250 h 877887"/>
                <a:gd name="connsiteX341" fmla="*/ 592206 w 1187519"/>
                <a:gd name="connsiteY341" fmla="*/ 93662 h 877887"/>
                <a:gd name="connsiteX342" fmla="*/ 595381 w 1187519"/>
                <a:gd name="connsiteY342" fmla="*/ 87312 h 877887"/>
                <a:gd name="connsiteX343" fmla="*/ 600144 w 1187519"/>
                <a:gd name="connsiteY343" fmla="*/ 85725 h 877887"/>
                <a:gd name="connsiteX344" fmla="*/ 622369 w 1187519"/>
                <a:gd name="connsiteY344" fmla="*/ 84137 h 877887"/>
                <a:gd name="connsiteX345" fmla="*/ 631894 w 1187519"/>
                <a:gd name="connsiteY345" fmla="*/ 76200 h 877887"/>
                <a:gd name="connsiteX346" fmla="*/ 641419 w 1187519"/>
                <a:gd name="connsiteY346" fmla="*/ 69850 h 877887"/>
                <a:gd name="connsiteX347" fmla="*/ 641419 w 1187519"/>
                <a:gd name="connsiteY347" fmla="*/ 55562 h 877887"/>
                <a:gd name="connsiteX348" fmla="*/ 644594 w 1187519"/>
                <a:gd name="connsiteY348" fmla="*/ 44450 h 877887"/>
                <a:gd name="connsiteX349" fmla="*/ 657294 w 1187519"/>
                <a:gd name="connsiteY349" fmla="*/ 31750 h 877887"/>
                <a:gd name="connsiteX350" fmla="*/ 658881 w 1187519"/>
                <a:gd name="connsiteY350" fmla="*/ 26987 h 877887"/>
                <a:gd name="connsiteX351" fmla="*/ 677931 w 1187519"/>
                <a:gd name="connsiteY351" fmla="*/ 14287 h 877887"/>
                <a:gd name="connsiteX352" fmla="*/ 685869 w 1187519"/>
                <a:gd name="connsiteY352" fmla="*/ 9525 h 877887"/>
                <a:gd name="connsiteX353" fmla="*/ 692219 w 1187519"/>
                <a:gd name="connsiteY353" fmla="*/ 0 h 877887"/>
                <a:gd name="connsiteX354" fmla="*/ 692219 w 1187519"/>
                <a:gd name="connsiteY354" fmla="*/ 0 h 877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Lst>
              <a:rect l="l" t="t" r="r" b="b"/>
              <a:pathLst>
                <a:path w="1187519" h="877887">
                  <a:moveTo>
                    <a:pt x="692219" y="0"/>
                  </a:moveTo>
                  <a:cubicBezTo>
                    <a:pt x="694600" y="264"/>
                    <a:pt x="701837" y="510"/>
                    <a:pt x="706506" y="1587"/>
                  </a:cubicBezTo>
                  <a:cubicBezTo>
                    <a:pt x="708812" y="2119"/>
                    <a:pt x="710640" y="3931"/>
                    <a:pt x="712856" y="4762"/>
                  </a:cubicBezTo>
                  <a:cubicBezTo>
                    <a:pt x="714899" y="5528"/>
                    <a:pt x="717108" y="5751"/>
                    <a:pt x="719206" y="6350"/>
                  </a:cubicBezTo>
                  <a:cubicBezTo>
                    <a:pt x="720815" y="6810"/>
                    <a:pt x="722381" y="7408"/>
                    <a:pt x="723969" y="7937"/>
                  </a:cubicBezTo>
                  <a:cubicBezTo>
                    <a:pt x="725027" y="9525"/>
                    <a:pt x="726035" y="11147"/>
                    <a:pt x="727144" y="12700"/>
                  </a:cubicBezTo>
                  <a:cubicBezTo>
                    <a:pt x="728682" y="14853"/>
                    <a:pt x="730811" y="16641"/>
                    <a:pt x="731906" y="19050"/>
                  </a:cubicBezTo>
                  <a:cubicBezTo>
                    <a:pt x="733500" y="22557"/>
                    <a:pt x="732872" y="27006"/>
                    <a:pt x="735081" y="30162"/>
                  </a:cubicBezTo>
                  <a:cubicBezTo>
                    <a:pt x="736851" y="32690"/>
                    <a:pt x="740322" y="33426"/>
                    <a:pt x="743019" y="34925"/>
                  </a:cubicBezTo>
                  <a:cubicBezTo>
                    <a:pt x="748904" y="38195"/>
                    <a:pt x="748511" y="37814"/>
                    <a:pt x="754131" y="39687"/>
                  </a:cubicBezTo>
                  <a:cubicBezTo>
                    <a:pt x="756721" y="47455"/>
                    <a:pt x="759640" y="55531"/>
                    <a:pt x="766831" y="60325"/>
                  </a:cubicBezTo>
                  <a:cubicBezTo>
                    <a:pt x="770769" y="62950"/>
                    <a:pt x="779531" y="66675"/>
                    <a:pt x="779531" y="66675"/>
                  </a:cubicBezTo>
                  <a:cubicBezTo>
                    <a:pt x="781943" y="73909"/>
                    <a:pt x="781567" y="72551"/>
                    <a:pt x="784294" y="82550"/>
                  </a:cubicBezTo>
                  <a:cubicBezTo>
                    <a:pt x="784868" y="84655"/>
                    <a:pt x="784995" y="86906"/>
                    <a:pt x="785881" y="88900"/>
                  </a:cubicBezTo>
                  <a:cubicBezTo>
                    <a:pt x="791203" y="100874"/>
                    <a:pt x="788864" y="93469"/>
                    <a:pt x="796994" y="101600"/>
                  </a:cubicBezTo>
                  <a:cubicBezTo>
                    <a:pt x="806121" y="110727"/>
                    <a:pt x="796979" y="105646"/>
                    <a:pt x="808106" y="114300"/>
                  </a:cubicBezTo>
                  <a:cubicBezTo>
                    <a:pt x="810542" y="116194"/>
                    <a:pt x="813398" y="117475"/>
                    <a:pt x="816044" y="119062"/>
                  </a:cubicBezTo>
                  <a:cubicBezTo>
                    <a:pt x="824364" y="130157"/>
                    <a:pt x="818353" y="120747"/>
                    <a:pt x="822394" y="130175"/>
                  </a:cubicBezTo>
                  <a:cubicBezTo>
                    <a:pt x="823326" y="132350"/>
                    <a:pt x="823372" y="135646"/>
                    <a:pt x="825569" y="136525"/>
                  </a:cubicBezTo>
                  <a:cubicBezTo>
                    <a:pt x="832031" y="139110"/>
                    <a:pt x="839327" y="138642"/>
                    <a:pt x="846206" y="139700"/>
                  </a:cubicBezTo>
                  <a:cubicBezTo>
                    <a:pt x="847794" y="140758"/>
                    <a:pt x="849503" y="141654"/>
                    <a:pt x="850969" y="142875"/>
                  </a:cubicBezTo>
                  <a:cubicBezTo>
                    <a:pt x="852694" y="144312"/>
                    <a:pt x="853863" y="146392"/>
                    <a:pt x="855731" y="147637"/>
                  </a:cubicBezTo>
                  <a:cubicBezTo>
                    <a:pt x="857124" y="148565"/>
                    <a:pt x="858906" y="148696"/>
                    <a:pt x="860494" y="149225"/>
                  </a:cubicBezTo>
                  <a:cubicBezTo>
                    <a:pt x="861552" y="151342"/>
                    <a:pt x="862477" y="153531"/>
                    <a:pt x="863669" y="155575"/>
                  </a:cubicBezTo>
                  <a:cubicBezTo>
                    <a:pt x="866184" y="159887"/>
                    <a:pt x="869752" y="163640"/>
                    <a:pt x="871606" y="168275"/>
                  </a:cubicBezTo>
                  <a:cubicBezTo>
                    <a:pt x="872088" y="169480"/>
                    <a:pt x="876473" y="181079"/>
                    <a:pt x="877956" y="182562"/>
                  </a:cubicBezTo>
                  <a:cubicBezTo>
                    <a:pt x="878716" y="183322"/>
                    <a:pt x="889012" y="185723"/>
                    <a:pt x="889069" y="185737"/>
                  </a:cubicBezTo>
                  <a:cubicBezTo>
                    <a:pt x="901022" y="193706"/>
                    <a:pt x="885833" y="184350"/>
                    <a:pt x="900181" y="190500"/>
                  </a:cubicBezTo>
                  <a:cubicBezTo>
                    <a:pt x="901935" y="191252"/>
                    <a:pt x="903391" y="192566"/>
                    <a:pt x="904944" y="193675"/>
                  </a:cubicBezTo>
                  <a:cubicBezTo>
                    <a:pt x="912073" y="198767"/>
                    <a:pt x="910287" y="197429"/>
                    <a:pt x="916056" y="203200"/>
                  </a:cubicBezTo>
                  <a:cubicBezTo>
                    <a:pt x="916159" y="203612"/>
                    <a:pt x="918404" y="213279"/>
                    <a:pt x="919231" y="214312"/>
                  </a:cubicBezTo>
                  <a:cubicBezTo>
                    <a:pt x="920423" y="215802"/>
                    <a:pt x="922406" y="216429"/>
                    <a:pt x="923994" y="217487"/>
                  </a:cubicBezTo>
                  <a:cubicBezTo>
                    <a:pt x="924848" y="220050"/>
                    <a:pt x="927741" y="229046"/>
                    <a:pt x="928756" y="230187"/>
                  </a:cubicBezTo>
                  <a:cubicBezTo>
                    <a:pt x="931291" y="233039"/>
                    <a:pt x="938281" y="236537"/>
                    <a:pt x="938281" y="236537"/>
                  </a:cubicBezTo>
                  <a:cubicBezTo>
                    <a:pt x="939339" y="238125"/>
                    <a:pt x="940347" y="239747"/>
                    <a:pt x="941456" y="241300"/>
                  </a:cubicBezTo>
                  <a:cubicBezTo>
                    <a:pt x="942994" y="243453"/>
                    <a:pt x="945036" y="245283"/>
                    <a:pt x="946219" y="247650"/>
                  </a:cubicBezTo>
                  <a:cubicBezTo>
                    <a:pt x="947195" y="249601"/>
                    <a:pt x="947315" y="251874"/>
                    <a:pt x="947806" y="254000"/>
                  </a:cubicBezTo>
                  <a:cubicBezTo>
                    <a:pt x="948903" y="258754"/>
                    <a:pt x="949105" y="263784"/>
                    <a:pt x="950981" y="268287"/>
                  </a:cubicBezTo>
                  <a:cubicBezTo>
                    <a:pt x="951845" y="270360"/>
                    <a:pt x="954307" y="271325"/>
                    <a:pt x="955744" y="273050"/>
                  </a:cubicBezTo>
                  <a:cubicBezTo>
                    <a:pt x="956965" y="274516"/>
                    <a:pt x="957861" y="276225"/>
                    <a:pt x="958919" y="277812"/>
                  </a:cubicBezTo>
                  <a:cubicBezTo>
                    <a:pt x="959448" y="279400"/>
                    <a:pt x="961165" y="281037"/>
                    <a:pt x="960506" y="282575"/>
                  </a:cubicBezTo>
                  <a:cubicBezTo>
                    <a:pt x="949665" y="307869"/>
                    <a:pt x="956951" y="276158"/>
                    <a:pt x="952569" y="293687"/>
                  </a:cubicBezTo>
                  <a:cubicBezTo>
                    <a:pt x="950484" y="302029"/>
                    <a:pt x="950493" y="306569"/>
                    <a:pt x="949394" y="315912"/>
                  </a:cubicBezTo>
                  <a:cubicBezTo>
                    <a:pt x="948896" y="320149"/>
                    <a:pt x="948335" y="324379"/>
                    <a:pt x="947806" y="328612"/>
                  </a:cubicBezTo>
                  <a:cubicBezTo>
                    <a:pt x="948335" y="342370"/>
                    <a:pt x="947977" y="356192"/>
                    <a:pt x="949394" y="369887"/>
                  </a:cubicBezTo>
                  <a:cubicBezTo>
                    <a:pt x="949590" y="371785"/>
                    <a:pt x="951079" y="373458"/>
                    <a:pt x="952569" y="374650"/>
                  </a:cubicBezTo>
                  <a:cubicBezTo>
                    <a:pt x="953875" y="375695"/>
                    <a:pt x="955744" y="375708"/>
                    <a:pt x="957331" y="376237"/>
                  </a:cubicBezTo>
                  <a:cubicBezTo>
                    <a:pt x="957741" y="377057"/>
                    <a:pt x="962111" y="386453"/>
                    <a:pt x="963681" y="387350"/>
                  </a:cubicBezTo>
                  <a:cubicBezTo>
                    <a:pt x="966024" y="388689"/>
                    <a:pt x="968973" y="388408"/>
                    <a:pt x="971619" y="388937"/>
                  </a:cubicBezTo>
                  <a:cubicBezTo>
                    <a:pt x="971090" y="391583"/>
                    <a:pt x="970031" y="394177"/>
                    <a:pt x="970031" y="396875"/>
                  </a:cubicBezTo>
                  <a:cubicBezTo>
                    <a:pt x="970031" y="405847"/>
                    <a:pt x="970974" y="407641"/>
                    <a:pt x="973206" y="414337"/>
                  </a:cubicBezTo>
                  <a:cubicBezTo>
                    <a:pt x="971619" y="420687"/>
                    <a:pt x="971022" y="427371"/>
                    <a:pt x="968444" y="433387"/>
                  </a:cubicBezTo>
                  <a:cubicBezTo>
                    <a:pt x="967692" y="435141"/>
                    <a:pt x="964055" y="434691"/>
                    <a:pt x="963681" y="436562"/>
                  </a:cubicBezTo>
                  <a:cubicBezTo>
                    <a:pt x="963307" y="438433"/>
                    <a:pt x="965303" y="440216"/>
                    <a:pt x="966856" y="441325"/>
                  </a:cubicBezTo>
                  <a:cubicBezTo>
                    <a:pt x="969175" y="442981"/>
                    <a:pt x="972245" y="443226"/>
                    <a:pt x="974794" y="444500"/>
                  </a:cubicBezTo>
                  <a:cubicBezTo>
                    <a:pt x="976500" y="445353"/>
                    <a:pt x="977969" y="446617"/>
                    <a:pt x="979556" y="447675"/>
                  </a:cubicBezTo>
                  <a:cubicBezTo>
                    <a:pt x="984319" y="454819"/>
                    <a:pt x="984054" y="457068"/>
                    <a:pt x="990669" y="460375"/>
                  </a:cubicBezTo>
                  <a:cubicBezTo>
                    <a:pt x="992166" y="461123"/>
                    <a:pt x="993844" y="461433"/>
                    <a:pt x="995431" y="461962"/>
                  </a:cubicBezTo>
                  <a:cubicBezTo>
                    <a:pt x="998077" y="464079"/>
                    <a:pt x="1000973" y="465916"/>
                    <a:pt x="1003369" y="468312"/>
                  </a:cubicBezTo>
                  <a:cubicBezTo>
                    <a:pt x="1004718" y="469661"/>
                    <a:pt x="1005195" y="471726"/>
                    <a:pt x="1006544" y="473075"/>
                  </a:cubicBezTo>
                  <a:cubicBezTo>
                    <a:pt x="1007893" y="474424"/>
                    <a:pt x="1009780" y="475105"/>
                    <a:pt x="1011306" y="476250"/>
                  </a:cubicBezTo>
                  <a:cubicBezTo>
                    <a:pt x="1014017" y="478283"/>
                    <a:pt x="1016598" y="480483"/>
                    <a:pt x="1019244" y="482600"/>
                  </a:cubicBezTo>
                  <a:cubicBezTo>
                    <a:pt x="1024006" y="482071"/>
                    <a:pt x="1028759" y="481446"/>
                    <a:pt x="1033531" y="481012"/>
                  </a:cubicBezTo>
                  <a:cubicBezTo>
                    <a:pt x="1040402" y="480387"/>
                    <a:pt x="1047304" y="480112"/>
                    <a:pt x="1054169" y="479425"/>
                  </a:cubicBezTo>
                  <a:cubicBezTo>
                    <a:pt x="1057892" y="479053"/>
                    <a:pt x="1061577" y="478366"/>
                    <a:pt x="1065281" y="477837"/>
                  </a:cubicBezTo>
                  <a:cubicBezTo>
                    <a:pt x="1069514" y="476250"/>
                    <a:pt x="1074219" y="475583"/>
                    <a:pt x="1077981" y="473075"/>
                  </a:cubicBezTo>
                  <a:cubicBezTo>
                    <a:pt x="1079374" y="472147"/>
                    <a:pt x="1078756" y="469775"/>
                    <a:pt x="1079569" y="468312"/>
                  </a:cubicBezTo>
                  <a:cubicBezTo>
                    <a:pt x="1081422" y="464976"/>
                    <a:pt x="1083701" y="461892"/>
                    <a:pt x="1085919" y="458787"/>
                  </a:cubicBezTo>
                  <a:cubicBezTo>
                    <a:pt x="1103713" y="433875"/>
                    <a:pt x="1089940" y="454342"/>
                    <a:pt x="1098619" y="441325"/>
                  </a:cubicBezTo>
                  <a:cubicBezTo>
                    <a:pt x="1100425" y="435907"/>
                    <a:pt x="1102234" y="428184"/>
                    <a:pt x="1106556" y="423862"/>
                  </a:cubicBezTo>
                  <a:cubicBezTo>
                    <a:pt x="1108229" y="422189"/>
                    <a:pt x="1110631" y="421337"/>
                    <a:pt x="1112906" y="420687"/>
                  </a:cubicBezTo>
                  <a:cubicBezTo>
                    <a:pt x="1118095" y="419204"/>
                    <a:pt x="1128781" y="417512"/>
                    <a:pt x="1128781" y="417512"/>
                  </a:cubicBezTo>
                  <a:cubicBezTo>
                    <a:pt x="1130898" y="419100"/>
                    <a:pt x="1132516" y="421873"/>
                    <a:pt x="1135131" y="422275"/>
                  </a:cubicBezTo>
                  <a:cubicBezTo>
                    <a:pt x="1150783" y="424683"/>
                    <a:pt x="1146284" y="421194"/>
                    <a:pt x="1155769" y="415925"/>
                  </a:cubicBezTo>
                  <a:cubicBezTo>
                    <a:pt x="1158260" y="414541"/>
                    <a:pt x="1161060" y="413808"/>
                    <a:pt x="1163706" y="412750"/>
                  </a:cubicBezTo>
                  <a:cubicBezTo>
                    <a:pt x="1164764" y="411162"/>
                    <a:pt x="1165010" y="408361"/>
                    <a:pt x="1166881" y="407987"/>
                  </a:cubicBezTo>
                  <a:cubicBezTo>
                    <a:pt x="1168752" y="407613"/>
                    <a:pt x="1169937" y="410309"/>
                    <a:pt x="1171644" y="411162"/>
                  </a:cubicBezTo>
                  <a:cubicBezTo>
                    <a:pt x="1173141" y="411910"/>
                    <a:pt x="1174819" y="412221"/>
                    <a:pt x="1176406" y="412750"/>
                  </a:cubicBezTo>
                  <a:cubicBezTo>
                    <a:pt x="1177464" y="414867"/>
                    <a:pt x="1179384" y="416742"/>
                    <a:pt x="1179581" y="419100"/>
                  </a:cubicBezTo>
                  <a:cubicBezTo>
                    <a:pt x="1179816" y="421921"/>
                    <a:pt x="1178548" y="432279"/>
                    <a:pt x="1176406" y="436562"/>
                  </a:cubicBezTo>
                  <a:cubicBezTo>
                    <a:pt x="1175026" y="439322"/>
                    <a:pt x="1173231" y="441854"/>
                    <a:pt x="1171644" y="444500"/>
                  </a:cubicBezTo>
                  <a:cubicBezTo>
                    <a:pt x="1172702" y="450321"/>
                    <a:pt x="1173580" y="456177"/>
                    <a:pt x="1174819" y="461962"/>
                  </a:cubicBezTo>
                  <a:cubicBezTo>
                    <a:pt x="1175170" y="463598"/>
                    <a:pt x="1175658" y="465228"/>
                    <a:pt x="1176406" y="466725"/>
                  </a:cubicBezTo>
                  <a:cubicBezTo>
                    <a:pt x="1177259" y="468431"/>
                    <a:pt x="1178523" y="469900"/>
                    <a:pt x="1179581" y="471487"/>
                  </a:cubicBezTo>
                  <a:cubicBezTo>
                    <a:pt x="1183305" y="486379"/>
                    <a:pt x="1178084" y="468119"/>
                    <a:pt x="1185931" y="485775"/>
                  </a:cubicBezTo>
                  <a:cubicBezTo>
                    <a:pt x="1186817" y="487769"/>
                    <a:pt x="1186990" y="490008"/>
                    <a:pt x="1187519" y="492125"/>
                  </a:cubicBezTo>
                  <a:cubicBezTo>
                    <a:pt x="1186990" y="496887"/>
                    <a:pt x="1187651" y="501940"/>
                    <a:pt x="1185931" y="506412"/>
                  </a:cubicBezTo>
                  <a:cubicBezTo>
                    <a:pt x="1184856" y="509206"/>
                    <a:pt x="1181552" y="510509"/>
                    <a:pt x="1179581" y="512762"/>
                  </a:cubicBezTo>
                  <a:cubicBezTo>
                    <a:pt x="1177839" y="514753"/>
                    <a:pt x="1176690" y="517241"/>
                    <a:pt x="1174819" y="519112"/>
                  </a:cubicBezTo>
                  <a:cubicBezTo>
                    <a:pt x="1172576" y="521355"/>
                    <a:pt x="1166195" y="524217"/>
                    <a:pt x="1163706" y="525462"/>
                  </a:cubicBezTo>
                  <a:cubicBezTo>
                    <a:pt x="1161060" y="528108"/>
                    <a:pt x="1158106" y="530478"/>
                    <a:pt x="1155769" y="533400"/>
                  </a:cubicBezTo>
                  <a:cubicBezTo>
                    <a:pt x="1153842" y="535809"/>
                    <a:pt x="1153349" y="539329"/>
                    <a:pt x="1151006" y="541337"/>
                  </a:cubicBezTo>
                  <a:cubicBezTo>
                    <a:pt x="1149349" y="542757"/>
                    <a:pt x="1146754" y="542326"/>
                    <a:pt x="1144656" y="542925"/>
                  </a:cubicBezTo>
                  <a:cubicBezTo>
                    <a:pt x="1143047" y="543385"/>
                    <a:pt x="1141481" y="543983"/>
                    <a:pt x="1139894" y="544512"/>
                  </a:cubicBezTo>
                  <a:cubicBezTo>
                    <a:pt x="1135131" y="542925"/>
                    <a:pt x="1129911" y="542333"/>
                    <a:pt x="1125606" y="539750"/>
                  </a:cubicBezTo>
                  <a:cubicBezTo>
                    <a:pt x="1124171" y="538889"/>
                    <a:pt x="1125090" y="536273"/>
                    <a:pt x="1124019" y="534987"/>
                  </a:cubicBezTo>
                  <a:cubicBezTo>
                    <a:pt x="1122325" y="532954"/>
                    <a:pt x="1119786" y="531812"/>
                    <a:pt x="1117669" y="530225"/>
                  </a:cubicBezTo>
                  <a:cubicBezTo>
                    <a:pt x="1110220" y="502290"/>
                    <a:pt x="1119471" y="507431"/>
                    <a:pt x="1098619" y="504825"/>
                  </a:cubicBezTo>
                  <a:cubicBezTo>
                    <a:pt x="1097031" y="509587"/>
                    <a:pt x="1097405" y="515562"/>
                    <a:pt x="1093856" y="519112"/>
                  </a:cubicBezTo>
                  <a:cubicBezTo>
                    <a:pt x="1087745" y="525224"/>
                    <a:pt x="1090339" y="522007"/>
                    <a:pt x="1085919" y="528637"/>
                  </a:cubicBezTo>
                  <a:cubicBezTo>
                    <a:pt x="1089792" y="529928"/>
                    <a:pt x="1092367" y="530323"/>
                    <a:pt x="1095444" y="533400"/>
                  </a:cubicBezTo>
                  <a:cubicBezTo>
                    <a:pt x="1096793" y="534749"/>
                    <a:pt x="1097561" y="536575"/>
                    <a:pt x="1098619" y="538162"/>
                  </a:cubicBezTo>
                  <a:cubicBezTo>
                    <a:pt x="1098090" y="545570"/>
                    <a:pt x="1098133" y="553042"/>
                    <a:pt x="1097031" y="560387"/>
                  </a:cubicBezTo>
                  <a:cubicBezTo>
                    <a:pt x="1096534" y="563697"/>
                    <a:pt x="1093856" y="569912"/>
                    <a:pt x="1093856" y="569912"/>
                  </a:cubicBezTo>
                  <a:cubicBezTo>
                    <a:pt x="1095973" y="570970"/>
                    <a:pt x="1099148" y="570970"/>
                    <a:pt x="1100206" y="573087"/>
                  </a:cubicBezTo>
                  <a:cubicBezTo>
                    <a:pt x="1101671" y="576016"/>
                    <a:pt x="1096756" y="582232"/>
                    <a:pt x="1095444" y="584200"/>
                  </a:cubicBezTo>
                  <a:cubicBezTo>
                    <a:pt x="1109040" y="590998"/>
                    <a:pt x="1098162" y="583891"/>
                    <a:pt x="1087506" y="590550"/>
                  </a:cubicBezTo>
                  <a:cubicBezTo>
                    <a:pt x="1086087" y="591437"/>
                    <a:pt x="1088565" y="593725"/>
                    <a:pt x="1089094" y="595312"/>
                  </a:cubicBezTo>
                  <a:cubicBezTo>
                    <a:pt x="1092798" y="594783"/>
                    <a:pt x="1096480" y="593386"/>
                    <a:pt x="1100206" y="593725"/>
                  </a:cubicBezTo>
                  <a:cubicBezTo>
                    <a:pt x="1109502" y="594570"/>
                    <a:pt x="1106213" y="597651"/>
                    <a:pt x="1104969" y="603250"/>
                  </a:cubicBezTo>
                  <a:cubicBezTo>
                    <a:pt x="1104384" y="605884"/>
                    <a:pt x="1104691" y="608828"/>
                    <a:pt x="1103381" y="611187"/>
                  </a:cubicBezTo>
                  <a:cubicBezTo>
                    <a:pt x="1101927" y="613804"/>
                    <a:pt x="1099148" y="615420"/>
                    <a:pt x="1097031" y="617537"/>
                  </a:cubicBezTo>
                  <a:cubicBezTo>
                    <a:pt x="1096502" y="621241"/>
                    <a:pt x="1097427" y="625477"/>
                    <a:pt x="1095444" y="628650"/>
                  </a:cubicBezTo>
                  <a:cubicBezTo>
                    <a:pt x="1094288" y="630500"/>
                    <a:pt x="1089304" y="628065"/>
                    <a:pt x="1089094" y="630237"/>
                  </a:cubicBezTo>
                  <a:cubicBezTo>
                    <a:pt x="1087980" y="641743"/>
                    <a:pt x="1088039" y="668881"/>
                    <a:pt x="1092269" y="685800"/>
                  </a:cubicBezTo>
                  <a:cubicBezTo>
                    <a:pt x="1092675" y="687423"/>
                    <a:pt x="1093108" y="689065"/>
                    <a:pt x="1093856" y="690562"/>
                  </a:cubicBezTo>
                  <a:cubicBezTo>
                    <a:pt x="1094709" y="692269"/>
                    <a:pt x="1095973" y="693737"/>
                    <a:pt x="1097031" y="695325"/>
                  </a:cubicBezTo>
                  <a:cubicBezTo>
                    <a:pt x="1097560" y="698500"/>
                    <a:pt x="1098714" y="701633"/>
                    <a:pt x="1098619" y="704850"/>
                  </a:cubicBezTo>
                  <a:cubicBezTo>
                    <a:pt x="1098182" y="719698"/>
                    <a:pt x="1098716" y="734810"/>
                    <a:pt x="1095444" y="749300"/>
                  </a:cubicBezTo>
                  <a:cubicBezTo>
                    <a:pt x="1094764" y="752310"/>
                    <a:pt x="1090406" y="753008"/>
                    <a:pt x="1087506" y="754062"/>
                  </a:cubicBezTo>
                  <a:cubicBezTo>
                    <a:pt x="1084481" y="755162"/>
                    <a:pt x="1081148" y="755074"/>
                    <a:pt x="1077981" y="755650"/>
                  </a:cubicBezTo>
                  <a:cubicBezTo>
                    <a:pt x="1075326" y="756133"/>
                    <a:pt x="1072690" y="756708"/>
                    <a:pt x="1070044" y="757237"/>
                  </a:cubicBezTo>
                  <a:cubicBezTo>
                    <a:pt x="1068805" y="757857"/>
                    <a:pt x="1061266" y="762000"/>
                    <a:pt x="1058931" y="762000"/>
                  </a:cubicBezTo>
                  <a:cubicBezTo>
                    <a:pt x="1053613" y="762000"/>
                    <a:pt x="1048348" y="760941"/>
                    <a:pt x="1043056" y="760412"/>
                  </a:cubicBezTo>
                  <a:cubicBezTo>
                    <a:pt x="1042527" y="758825"/>
                    <a:pt x="1042128" y="757188"/>
                    <a:pt x="1041469" y="755650"/>
                  </a:cubicBezTo>
                  <a:cubicBezTo>
                    <a:pt x="1040537" y="753475"/>
                    <a:pt x="1038917" y="751583"/>
                    <a:pt x="1038294" y="749300"/>
                  </a:cubicBezTo>
                  <a:cubicBezTo>
                    <a:pt x="1037309" y="745690"/>
                    <a:pt x="1038951" y="741181"/>
                    <a:pt x="1036706" y="738187"/>
                  </a:cubicBezTo>
                  <a:cubicBezTo>
                    <a:pt x="1035087" y="736029"/>
                    <a:pt x="1031415" y="737129"/>
                    <a:pt x="1028769" y="736600"/>
                  </a:cubicBezTo>
                  <a:cubicBezTo>
                    <a:pt x="1025065" y="732896"/>
                    <a:pt x="1021747" y="728760"/>
                    <a:pt x="1017656" y="725487"/>
                  </a:cubicBezTo>
                  <a:cubicBezTo>
                    <a:pt x="1016349" y="724442"/>
                    <a:pt x="1014562" y="724028"/>
                    <a:pt x="1012894" y="723900"/>
                  </a:cubicBezTo>
                  <a:cubicBezTo>
                    <a:pt x="1000747" y="722966"/>
                    <a:pt x="988552" y="722841"/>
                    <a:pt x="976381" y="722312"/>
                  </a:cubicBezTo>
                  <a:cubicBezTo>
                    <a:pt x="966776" y="720178"/>
                    <a:pt x="964555" y="717112"/>
                    <a:pt x="957331" y="720725"/>
                  </a:cubicBezTo>
                  <a:cubicBezTo>
                    <a:pt x="955625" y="721578"/>
                    <a:pt x="954156" y="722842"/>
                    <a:pt x="952569" y="723900"/>
                  </a:cubicBezTo>
                  <a:cubicBezTo>
                    <a:pt x="943573" y="723371"/>
                    <a:pt x="934296" y="724605"/>
                    <a:pt x="925581" y="722312"/>
                  </a:cubicBezTo>
                  <a:cubicBezTo>
                    <a:pt x="921052" y="721120"/>
                    <a:pt x="923329" y="711703"/>
                    <a:pt x="920819" y="709612"/>
                  </a:cubicBezTo>
                  <a:cubicBezTo>
                    <a:pt x="918746" y="707885"/>
                    <a:pt x="915527" y="708554"/>
                    <a:pt x="912881" y="708025"/>
                  </a:cubicBezTo>
                  <a:lnTo>
                    <a:pt x="900181" y="712787"/>
                  </a:lnTo>
                  <a:cubicBezTo>
                    <a:pt x="898608" y="713359"/>
                    <a:pt x="897065" y="714076"/>
                    <a:pt x="895419" y="714375"/>
                  </a:cubicBezTo>
                  <a:cubicBezTo>
                    <a:pt x="891222" y="715138"/>
                    <a:pt x="886952" y="715433"/>
                    <a:pt x="882719" y="715962"/>
                  </a:cubicBezTo>
                  <a:cubicBezTo>
                    <a:pt x="880602" y="716491"/>
                    <a:pt x="878263" y="716468"/>
                    <a:pt x="876369" y="717550"/>
                  </a:cubicBezTo>
                  <a:cubicBezTo>
                    <a:pt x="874420" y="718664"/>
                    <a:pt x="873311" y="720851"/>
                    <a:pt x="871606" y="722312"/>
                  </a:cubicBezTo>
                  <a:cubicBezTo>
                    <a:pt x="869597" y="724034"/>
                    <a:pt x="867525" y="725714"/>
                    <a:pt x="865256" y="727075"/>
                  </a:cubicBezTo>
                  <a:cubicBezTo>
                    <a:pt x="862212" y="728901"/>
                    <a:pt x="858847" y="730137"/>
                    <a:pt x="855731" y="731837"/>
                  </a:cubicBezTo>
                  <a:cubicBezTo>
                    <a:pt x="853022" y="733315"/>
                    <a:pt x="850410" y="734965"/>
                    <a:pt x="847794" y="736600"/>
                  </a:cubicBezTo>
                  <a:cubicBezTo>
                    <a:pt x="846176" y="737611"/>
                    <a:pt x="844841" y="739172"/>
                    <a:pt x="843031" y="739775"/>
                  </a:cubicBezTo>
                  <a:cubicBezTo>
                    <a:pt x="841385" y="740323"/>
                    <a:pt x="823243" y="742829"/>
                    <a:pt x="822394" y="742950"/>
                  </a:cubicBezTo>
                  <a:cubicBezTo>
                    <a:pt x="819748" y="744008"/>
                    <a:pt x="817134" y="745151"/>
                    <a:pt x="814456" y="746125"/>
                  </a:cubicBezTo>
                  <a:cubicBezTo>
                    <a:pt x="811311" y="747269"/>
                    <a:pt x="804931" y="749300"/>
                    <a:pt x="804931" y="749300"/>
                  </a:cubicBezTo>
                  <a:cubicBezTo>
                    <a:pt x="801583" y="759346"/>
                    <a:pt x="806449" y="749340"/>
                    <a:pt x="795406" y="755650"/>
                  </a:cubicBezTo>
                  <a:cubicBezTo>
                    <a:pt x="793750" y="756597"/>
                    <a:pt x="793289" y="758825"/>
                    <a:pt x="792231" y="760412"/>
                  </a:cubicBezTo>
                  <a:cubicBezTo>
                    <a:pt x="788442" y="771782"/>
                    <a:pt x="793859" y="758777"/>
                    <a:pt x="785881" y="768350"/>
                  </a:cubicBezTo>
                  <a:cubicBezTo>
                    <a:pt x="784366" y="770168"/>
                    <a:pt x="784246" y="772903"/>
                    <a:pt x="782706" y="774700"/>
                  </a:cubicBezTo>
                  <a:cubicBezTo>
                    <a:pt x="780984" y="776709"/>
                    <a:pt x="778227" y="777591"/>
                    <a:pt x="776356" y="779462"/>
                  </a:cubicBezTo>
                  <a:cubicBezTo>
                    <a:pt x="757300" y="798518"/>
                    <a:pt x="783240" y="776812"/>
                    <a:pt x="762069" y="793750"/>
                  </a:cubicBezTo>
                  <a:cubicBezTo>
                    <a:pt x="761540" y="795337"/>
                    <a:pt x="760481" y="796839"/>
                    <a:pt x="760481" y="798512"/>
                  </a:cubicBezTo>
                  <a:cubicBezTo>
                    <a:pt x="760481" y="800694"/>
                    <a:pt x="762377" y="802702"/>
                    <a:pt x="762069" y="804862"/>
                  </a:cubicBezTo>
                  <a:cubicBezTo>
                    <a:pt x="761799" y="806751"/>
                    <a:pt x="759747" y="807918"/>
                    <a:pt x="758894" y="809625"/>
                  </a:cubicBezTo>
                  <a:cubicBezTo>
                    <a:pt x="752618" y="822176"/>
                    <a:pt x="763827" y="805610"/>
                    <a:pt x="752544" y="819150"/>
                  </a:cubicBezTo>
                  <a:cubicBezTo>
                    <a:pt x="751323" y="820616"/>
                    <a:pt x="750636" y="822486"/>
                    <a:pt x="749369" y="823912"/>
                  </a:cubicBezTo>
                  <a:cubicBezTo>
                    <a:pt x="747282" y="826260"/>
                    <a:pt x="739846" y="834570"/>
                    <a:pt x="735081" y="836612"/>
                  </a:cubicBezTo>
                  <a:cubicBezTo>
                    <a:pt x="733076" y="837472"/>
                    <a:pt x="730829" y="837601"/>
                    <a:pt x="728731" y="838200"/>
                  </a:cubicBezTo>
                  <a:cubicBezTo>
                    <a:pt x="727122" y="838660"/>
                    <a:pt x="725556" y="839258"/>
                    <a:pt x="723969" y="839787"/>
                  </a:cubicBezTo>
                  <a:cubicBezTo>
                    <a:pt x="717625" y="849304"/>
                    <a:pt x="724787" y="840033"/>
                    <a:pt x="712856" y="849312"/>
                  </a:cubicBezTo>
                  <a:cubicBezTo>
                    <a:pt x="710493" y="851150"/>
                    <a:pt x="709183" y="854323"/>
                    <a:pt x="706506" y="855662"/>
                  </a:cubicBezTo>
                  <a:cubicBezTo>
                    <a:pt x="703627" y="857102"/>
                    <a:pt x="700156" y="856721"/>
                    <a:pt x="696981" y="857250"/>
                  </a:cubicBezTo>
                  <a:cubicBezTo>
                    <a:pt x="688645" y="855582"/>
                    <a:pt x="689772" y="856531"/>
                    <a:pt x="682694" y="852487"/>
                  </a:cubicBezTo>
                  <a:cubicBezTo>
                    <a:pt x="681037" y="851540"/>
                    <a:pt x="679759" y="849860"/>
                    <a:pt x="677931" y="849312"/>
                  </a:cubicBezTo>
                  <a:cubicBezTo>
                    <a:pt x="674347" y="848237"/>
                    <a:pt x="670523" y="848254"/>
                    <a:pt x="666819" y="847725"/>
                  </a:cubicBezTo>
                  <a:cubicBezTo>
                    <a:pt x="652531" y="848254"/>
                    <a:pt x="638226" y="848420"/>
                    <a:pt x="623956" y="849312"/>
                  </a:cubicBezTo>
                  <a:cubicBezTo>
                    <a:pt x="611049" y="850119"/>
                    <a:pt x="615524" y="850735"/>
                    <a:pt x="620781" y="852487"/>
                  </a:cubicBezTo>
                  <a:cubicBezTo>
                    <a:pt x="621310" y="854604"/>
                    <a:pt x="623491" y="856966"/>
                    <a:pt x="622369" y="858837"/>
                  </a:cubicBezTo>
                  <a:cubicBezTo>
                    <a:pt x="621247" y="860708"/>
                    <a:pt x="618149" y="859952"/>
                    <a:pt x="616019" y="860425"/>
                  </a:cubicBezTo>
                  <a:cubicBezTo>
                    <a:pt x="613385" y="861010"/>
                    <a:pt x="610727" y="861483"/>
                    <a:pt x="608081" y="862012"/>
                  </a:cubicBezTo>
                  <a:cubicBezTo>
                    <a:pt x="603848" y="860425"/>
                    <a:pt x="599670" y="858680"/>
                    <a:pt x="595381" y="857250"/>
                  </a:cubicBezTo>
                  <a:cubicBezTo>
                    <a:pt x="593311" y="856560"/>
                    <a:pt x="591213" y="855662"/>
                    <a:pt x="589031" y="855662"/>
                  </a:cubicBezTo>
                  <a:cubicBezTo>
                    <a:pt x="587358" y="855662"/>
                    <a:pt x="585856" y="856721"/>
                    <a:pt x="584269" y="857250"/>
                  </a:cubicBezTo>
                  <a:cubicBezTo>
                    <a:pt x="583740" y="859367"/>
                    <a:pt x="583657" y="861648"/>
                    <a:pt x="582681" y="863600"/>
                  </a:cubicBezTo>
                  <a:cubicBezTo>
                    <a:pt x="581498" y="865966"/>
                    <a:pt x="580163" y="868548"/>
                    <a:pt x="577919" y="869950"/>
                  </a:cubicBezTo>
                  <a:cubicBezTo>
                    <a:pt x="575631" y="871380"/>
                    <a:pt x="572652" y="871155"/>
                    <a:pt x="569981" y="871537"/>
                  </a:cubicBezTo>
                  <a:cubicBezTo>
                    <a:pt x="565237" y="872215"/>
                    <a:pt x="560420" y="872337"/>
                    <a:pt x="555694" y="873125"/>
                  </a:cubicBezTo>
                  <a:cubicBezTo>
                    <a:pt x="547709" y="874456"/>
                    <a:pt x="531881" y="877887"/>
                    <a:pt x="531881" y="877887"/>
                  </a:cubicBezTo>
                  <a:cubicBezTo>
                    <a:pt x="528337" y="877001"/>
                    <a:pt x="521949" y="875893"/>
                    <a:pt x="519181" y="873125"/>
                  </a:cubicBezTo>
                  <a:cubicBezTo>
                    <a:pt x="516483" y="870427"/>
                    <a:pt x="516617" y="864073"/>
                    <a:pt x="512831" y="863600"/>
                  </a:cubicBezTo>
                  <a:lnTo>
                    <a:pt x="500131" y="862012"/>
                  </a:lnTo>
                  <a:cubicBezTo>
                    <a:pt x="472592" y="850996"/>
                    <a:pt x="482820" y="853881"/>
                    <a:pt x="423931" y="860425"/>
                  </a:cubicBezTo>
                  <a:cubicBezTo>
                    <a:pt x="421579" y="860686"/>
                    <a:pt x="422271" y="864957"/>
                    <a:pt x="420756" y="866775"/>
                  </a:cubicBezTo>
                  <a:cubicBezTo>
                    <a:pt x="419535" y="868241"/>
                    <a:pt x="417748" y="869199"/>
                    <a:pt x="415994" y="869950"/>
                  </a:cubicBezTo>
                  <a:cubicBezTo>
                    <a:pt x="411308" y="871958"/>
                    <a:pt x="400462" y="872465"/>
                    <a:pt x="396944" y="873125"/>
                  </a:cubicBezTo>
                  <a:cubicBezTo>
                    <a:pt x="392655" y="873929"/>
                    <a:pt x="384244" y="876300"/>
                    <a:pt x="384244" y="876300"/>
                  </a:cubicBezTo>
                  <a:cubicBezTo>
                    <a:pt x="379481" y="875771"/>
                    <a:pt x="372529" y="878755"/>
                    <a:pt x="369956" y="874712"/>
                  </a:cubicBezTo>
                  <a:cubicBezTo>
                    <a:pt x="364913" y="866787"/>
                    <a:pt x="376591" y="853790"/>
                    <a:pt x="381069" y="849312"/>
                  </a:cubicBezTo>
                  <a:cubicBezTo>
                    <a:pt x="382418" y="847963"/>
                    <a:pt x="384244" y="847195"/>
                    <a:pt x="385831" y="846137"/>
                  </a:cubicBezTo>
                  <a:cubicBezTo>
                    <a:pt x="386360" y="844020"/>
                    <a:pt x="386533" y="841781"/>
                    <a:pt x="387419" y="839787"/>
                  </a:cubicBezTo>
                  <a:cubicBezTo>
                    <a:pt x="388672" y="836968"/>
                    <a:pt x="392181" y="834935"/>
                    <a:pt x="392181" y="831850"/>
                  </a:cubicBezTo>
                  <a:cubicBezTo>
                    <a:pt x="392181" y="830177"/>
                    <a:pt x="389028" y="830722"/>
                    <a:pt x="387419" y="830262"/>
                  </a:cubicBezTo>
                  <a:cubicBezTo>
                    <a:pt x="385321" y="829663"/>
                    <a:pt x="383186" y="829204"/>
                    <a:pt x="381069" y="828675"/>
                  </a:cubicBezTo>
                  <a:cubicBezTo>
                    <a:pt x="366129" y="818716"/>
                    <a:pt x="389735" y="833980"/>
                    <a:pt x="368369" y="822325"/>
                  </a:cubicBezTo>
                  <a:cubicBezTo>
                    <a:pt x="365019" y="820498"/>
                    <a:pt x="362019" y="818092"/>
                    <a:pt x="358844" y="815975"/>
                  </a:cubicBezTo>
                  <a:lnTo>
                    <a:pt x="349319" y="809625"/>
                  </a:lnTo>
                  <a:cubicBezTo>
                    <a:pt x="347731" y="808567"/>
                    <a:pt x="346366" y="807054"/>
                    <a:pt x="344556" y="806450"/>
                  </a:cubicBezTo>
                  <a:cubicBezTo>
                    <a:pt x="333720" y="802837"/>
                    <a:pt x="346753" y="807329"/>
                    <a:pt x="328681" y="800100"/>
                  </a:cubicBezTo>
                  <a:cubicBezTo>
                    <a:pt x="323794" y="798145"/>
                    <a:pt x="321634" y="798055"/>
                    <a:pt x="315981" y="796925"/>
                  </a:cubicBezTo>
                  <a:cubicBezTo>
                    <a:pt x="313600" y="793353"/>
                    <a:pt x="309968" y="788614"/>
                    <a:pt x="309631" y="784225"/>
                  </a:cubicBezTo>
                  <a:cubicBezTo>
                    <a:pt x="309304" y="779971"/>
                    <a:pt x="309761" y="775534"/>
                    <a:pt x="311219" y="771525"/>
                  </a:cubicBezTo>
                  <a:cubicBezTo>
                    <a:pt x="311986" y="769415"/>
                    <a:pt x="314256" y="768199"/>
                    <a:pt x="315981" y="766762"/>
                  </a:cubicBezTo>
                  <a:cubicBezTo>
                    <a:pt x="317447" y="765540"/>
                    <a:pt x="319037" y="764440"/>
                    <a:pt x="320744" y="763587"/>
                  </a:cubicBezTo>
                  <a:cubicBezTo>
                    <a:pt x="322241" y="762839"/>
                    <a:pt x="323939" y="762587"/>
                    <a:pt x="325506" y="762000"/>
                  </a:cubicBezTo>
                  <a:cubicBezTo>
                    <a:pt x="328174" y="760999"/>
                    <a:pt x="330895" y="760099"/>
                    <a:pt x="333444" y="758825"/>
                  </a:cubicBezTo>
                  <a:cubicBezTo>
                    <a:pt x="335150" y="757972"/>
                    <a:pt x="336619" y="756708"/>
                    <a:pt x="338206" y="755650"/>
                  </a:cubicBezTo>
                  <a:cubicBezTo>
                    <a:pt x="326611" y="751785"/>
                    <a:pt x="331928" y="753287"/>
                    <a:pt x="322331" y="750887"/>
                  </a:cubicBezTo>
                  <a:cubicBezTo>
                    <a:pt x="321802" y="748241"/>
                    <a:pt x="321398" y="745567"/>
                    <a:pt x="320744" y="742950"/>
                  </a:cubicBezTo>
                  <a:cubicBezTo>
                    <a:pt x="320338" y="741326"/>
                    <a:pt x="320549" y="739115"/>
                    <a:pt x="319156" y="738187"/>
                  </a:cubicBezTo>
                  <a:cubicBezTo>
                    <a:pt x="316911" y="736690"/>
                    <a:pt x="313865" y="737129"/>
                    <a:pt x="311219" y="736600"/>
                  </a:cubicBezTo>
                  <a:cubicBezTo>
                    <a:pt x="308044" y="737658"/>
                    <a:pt x="304966" y="739074"/>
                    <a:pt x="301694" y="739775"/>
                  </a:cubicBezTo>
                  <a:cubicBezTo>
                    <a:pt x="276569" y="745158"/>
                    <a:pt x="297264" y="738605"/>
                    <a:pt x="284231" y="742950"/>
                  </a:cubicBezTo>
                  <a:cubicBezTo>
                    <a:pt x="283173" y="745067"/>
                    <a:pt x="282476" y="747407"/>
                    <a:pt x="281056" y="749300"/>
                  </a:cubicBezTo>
                  <a:cubicBezTo>
                    <a:pt x="279260" y="751695"/>
                    <a:pt x="276654" y="753377"/>
                    <a:pt x="274706" y="755650"/>
                  </a:cubicBezTo>
                  <a:cubicBezTo>
                    <a:pt x="273464" y="757098"/>
                    <a:pt x="272589" y="758825"/>
                    <a:pt x="271531" y="760412"/>
                  </a:cubicBezTo>
                  <a:cubicBezTo>
                    <a:pt x="271002" y="764645"/>
                    <a:pt x="273543" y="770821"/>
                    <a:pt x="269944" y="773112"/>
                  </a:cubicBezTo>
                  <a:cubicBezTo>
                    <a:pt x="258356" y="780487"/>
                    <a:pt x="253817" y="771189"/>
                    <a:pt x="249306" y="765175"/>
                  </a:cubicBezTo>
                  <a:cubicBezTo>
                    <a:pt x="247867" y="759419"/>
                    <a:pt x="248070" y="756737"/>
                    <a:pt x="242956" y="752475"/>
                  </a:cubicBezTo>
                  <a:cubicBezTo>
                    <a:pt x="241671" y="751404"/>
                    <a:pt x="239781" y="751416"/>
                    <a:pt x="238194" y="750887"/>
                  </a:cubicBezTo>
                  <a:cubicBezTo>
                    <a:pt x="236606" y="751416"/>
                    <a:pt x="234928" y="751727"/>
                    <a:pt x="233431" y="752475"/>
                  </a:cubicBezTo>
                  <a:cubicBezTo>
                    <a:pt x="229439" y="754471"/>
                    <a:pt x="225503" y="758229"/>
                    <a:pt x="220731" y="758825"/>
                  </a:cubicBezTo>
                  <a:cubicBezTo>
                    <a:pt x="213885" y="759681"/>
                    <a:pt x="206973" y="759883"/>
                    <a:pt x="200094" y="760412"/>
                  </a:cubicBezTo>
                  <a:lnTo>
                    <a:pt x="182631" y="758825"/>
                  </a:lnTo>
                  <a:cubicBezTo>
                    <a:pt x="180623" y="757821"/>
                    <a:pt x="186954" y="756264"/>
                    <a:pt x="187394" y="754062"/>
                  </a:cubicBezTo>
                  <a:cubicBezTo>
                    <a:pt x="188128" y="750393"/>
                    <a:pt x="189153" y="744623"/>
                    <a:pt x="185806" y="742950"/>
                  </a:cubicBezTo>
                  <a:cubicBezTo>
                    <a:pt x="178691" y="739392"/>
                    <a:pt x="169931" y="741891"/>
                    <a:pt x="161994" y="741362"/>
                  </a:cubicBezTo>
                  <a:cubicBezTo>
                    <a:pt x="162523" y="738716"/>
                    <a:pt x="163581" y="736123"/>
                    <a:pt x="163581" y="733425"/>
                  </a:cubicBezTo>
                  <a:cubicBezTo>
                    <a:pt x="163581" y="730727"/>
                    <a:pt x="160931" y="727967"/>
                    <a:pt x="161994" y="725487"/>
                  </a:cubicBezTo>
                  <a:cubicBezTo>
                    <a:pt x="162991" y="723162"/>
                    <a:pt x="172783" y="721203"/>
                    <a:pt x="174694" y="720725"/>
                  </a:cubicBezTo>
                  <a:cubicBezTo>
                    <a:pt x="174165" y="718608"/>
                    <a:pt x="174316" y="716190"/>
                    <a:pt x="173106" y="714375"/>
                  </a:cubicBezTo>
                  <a:cubicBezTo>
                    <a:pt x="170831" y="710963"/>
                    <a:pt x="166750" y="711197"/>
                    <a:pt x="163581" y="709612"/>
                  </a:cubicBezTo>
                  <a:cubicBezTo>
                    <a:pt x="161875" y="708759"/>
                    <a:pt x="160406" y="707495"/>
                    <a:pt x="158819" y="706437"/>
                  </a:cubicBezTo>
                  <a:cubicBezTo>
                    <a:pt x="157761" y="704850"/>
                    <a:pt x="155958" y="703557"/>
                    <a:pt x="155644" y="701675"/>
                  </a:cubicBezTo>
                  <a:cubicBezTo>
                    <a:pt x="155369" y="700024"/>
                    <a:pt x="156771" y="698521"/>
                    <a:pt x="157231" y="696912"/>
                  </a:cubicBezTo>
                  <a:cubicBezTo>
                    <a:pt x="157830" y="694814"/>
                    <a:pt x="157536" y="692327"/>
                    <a:pt x="158819" y="690562"/>
                  </a:cubicBezTo>
                  <a:cubicBezTo>
                    <a:pt x="167256" y="678962"/>
                    <a:pt x="166606" y="680281"/>
                    <a:pt x="176281" y="677862"/>
                  </a:cubicBezTo>
                  <a:cubicBezTo>
                    <a:pt x="162630" y="668760"/>
                    <a:pt x="179905" y="679674"/>
                    <a:pt x="166756" y="673100"/>
                  </a:cubicBezTo>
                  <a:cubicBezTo>
                    <a:pt x="163996" y="671720"/>
                    <a:pt x="161579" y="669717"/>
                    <a:pt x="158819" y="668337"/>
                  </a:cubicBezTo>
                  <a:cubicBezTo>
                    <a:pt x="157322" y="667589"/>
                    <a:pt x="155688" y="667121"/>
                    <a:pt x="154056" y="666750"/>
                  </a:cubicBezTo>
                  <a:cubicBezTo>
                    <a:pt x="121890" y="659440"/>
                    <a:pt x="131509" y="661035"/>
                    <a:pt x="104844" y="658812"/>
                  </a:cubicBezTo>
                  <a:cubicBezTo>
                    <a:pt x="103786" y="656695"/>
                    <a:pt x="103342" y="654135"/>
                    <a:pt x="101669" y="652462"/>
                  </a:cubicBezTo>
                  <a:cubicBezTo>
                    <a:pt x="99996" y="650789"/>
                    <a:pt x="97116" y="650827"/>
                    <a:pt x="95319" y="649287"/>
                  </a:cubicBezTo>
                  <a:cubicBezTo>
                    <a:pt x="93310" y="647565"/>
                    <a:pt x="92144" y="645054"/>
                    <a:pt x="90556" y="642937"/>
                  </a:cubicBezTo>
                  <a:cubicBezTo>
                    <a:pt x="87338" y="620405"/>
                    <a:pt x="93854" y="640495"/>
                    <a:pt x="76269" y="630237"/>
                  </a:cubicBezTo>
                  <a:cubicBezTo>
                    <a:pt x="72973" y="628314"/>
                    <a:pt x="69919" y="620712"/>
                    <a:pt x="69919" y="620712"/>
                  </a:cubicBezTo>
                  <a:cubicBezTo>
                    <a:pt x="66317" y="606310"/>
                    <a:pt x="69919" y="624106"/>
                    <a:pt x="69919" y="603250"/>
                  </a:cubicBezTo>
                  <a:cubicBezTo>
                    <a:pt x="69919" y="598458"/>
                    <a:pt x="69119" y="593689"/>
                    <a:pt x="68331" y="588962"/>
                  </a:cubicBezTo>
                  <a:cubicBezTo>
                    <a:pt x="68056" y="587312"/>
                    <a:pt x="68163" y="585087"/>
                    <a:pt x="66744" y="584200"/>
                  </a:cubicBezTo>
                  <a:cubicBezTo>
                    <a:pt x="63477" y="582158"/>
                    <a:pt x="59335" y="582083"/>
                    <a:pt x="55631" y="581025"/>
                  </a:cubicBezTo>
                  <a:cubicBezTo>
                    <a:pt x="55102" y="579437"/>
                    <a:pt x="55227" y="577445"/>
                    <a:pt x="54044" y="576262"/>
                  </a:cubicBezTo>
                  <a:cubicBezTo>
                    <a:pt x="53287" y="575505"/>
                    <a:pt x="42983" y="573100"/>
                    <a:pt x="42931" y="573087"/>
                  </a:cubicBezTo>
                  <a:cubicBezTo>
                    <a:pt x="40814" y="570441"/>
                    <a:pt x="39255" y="567230"/>
                    <a:pt x="36581" y="565150"/>
                  </a:cubicBezTo>
                  <a:cubicBezTo>
                    <a:pt x="34332" y="563401"/>
                    <a:pt x="31367" y="562813"/>
                    <a:pt x="28644" y="561975"/>
                  </a:cubicBezTo>
                  <a:cubicBezTo>
                    <a:pt x="24473" y="560692"/>
                    <a:pt x="20160" y="559924"/>
                    <a:pt x="15944" y="558800"/>
                  </a:cubicBezTo>
                  <a:cubicBezTo>
                    <a:pt x="12222" y="557807"/>
                    <a:pt x="8535" y="556683"/>
                    <a:pt x="4831" y="555625"/>
                  </a:cubicBezTo>
                  <a:cubicBezTo>
                    <a:pt x="4302" y="554037"/>
                    <a:pt x="3992" y="552359"/>
                    <a:pt x="3244" y="550862"/>
                  </a:cubicBezTo>
                  <a:cubicBezTo>
                    <a:pt x="2391" y="549156"/>
                    <a:pt x="227" y="548001"/>
                    <a:pt x="69" y="546100"/>
                  </a:cubicBezTo>
                  <a:cubicBezTo>
                    <a:pt x="-329" y="541325"/>
                    <a:pt x="1096" y="536571"/>
                    <a:pt x="1656" y="531812"/>
                  </a:cubicBezTo>
                  <a:cubicBezTo>
                    <a:pt x="2154" y="527575"/>
                    <a:pt x="227" y="522129"/>
                    <a:pt x="3244" y="519112"/>
                  </a:cubicBezTo>
                  <a:cubicBezTo>
                    <a:pt x="8677" y="513680"/>
                    <a:pt x="34904" y="513135"/>
                    <a:pt x="39756" y="512762"/>
                  </a:cubicBezTo>
                  <a:cubicBezTo>
                    <a:pt x="41344" y="511704"/>
                    <a:pt x="42851" y="510514"/>
                    <a:pt x="44519" y="509587"/>
                  </a:cubicBezTo>
                  <a:cubicBezTo>
                    <a:pt x="47622" y="507863"/>
                    <a:pt x="51204" y="506955"/>
                    <a:pt x="54044" y="504825"/>
                  </a:cubicBezTo>
                  <a:cubicBezTo>
                    <a:pt x="55570" y="503680"/>
                    <a:pt x="56161" y="501650"/>
                    <a:pt x="57219" y="500062"/>
                  </a:cubicBezTo>
                  <a:cubicBezTo>
                    <a:pt x="57748" y="497945"/>
                    <a:pt x="57386" y="495368"/>
                    <a:pt x="58806" y="493712"/>
                  </a:cubicBezTo>
                  <a:cubicBezTo>
                    <a:pt x="64637" y="486910"/>
                    <a:pt x="79614" y="486805"/>
                    <a:pt x="85794" y="485775"/>
                  </a:cubicBezTo>
                  <a:cubicBezTo>
                    <a:pt x="87381" y="485246"/>
                    <a:pt x="89373" y="485370"/>
                    <a:pt x="90556" y="484187"/>
                  </a:cubicBezTo>
                  <a:cubicBezTo>
                    <a:pt x="92517" y="482226"/>
                    <a:pt x="94370" y="475920"/>
                    <a:pt x="95319" y="473075"/>
                  </a:cubicBezTo>
                  <a:cubicBezTo>
                    <a:pt x="95848" y="468842"/>
                    <a:pt x="95784" y="464491"/>
                    <a:pt x="96906" y="460375"/>
                  </a:cubicBezTo>
                  <a:cubicBezTo>
                    <a:pt x="97790" y="457132"/>
                    <a:pt x="101842" y="453562"/>
                    <a:pt x="104844" y="452437"/>
                  </a:cubicBezTo>
                  <a:cubicBezTo>
                    <a:pt x="107370" y="451490"/>
                    <a:pt x="110135" y="451379"/>
                    <a:pt x="112781" y="450850"/>
                  </a:cubicBezTo>
                  <a:cubicBezTo>
                    <a:pt x="107594" y="435282"/>
                    <a:pt x="116004" y="457271"/>
                    <a:pt x="106431" y="442912"/>
                  </a:cubicBezTo>
                  <a:cubicBezTo>
                    <a:pt x="105221" y="441097"/>
                    <a:pt x="105373" y="438679"/>
                    <a:pt x="104844" y="436562"/>
                  </a:cubicBezTo>
                  <a:cubicBezTo>
                    <a:pt x="105683" y="431525"/>
                    <a:pt x="105978" y="422578"/>
                    <a:pt x="111194" y="419100"/>
                  </a:cubicBezTo>
                  <a:cubicBezTo>
                    <a:pt x="115371" y="416315"/>
                    <a:pt x="120719" y="415924"/>
                    <a:pt x="125481" y="414337"/>
                  </a:cubicBezTo>
                  <a:lnTo>
                    <a:pt x="130244" y="412750"/>
                  </a:lnTo>
                  <a:cubicBezTo>
                    <a:pt x="131831" y="410633"/>
                    <a:pt x="134714" y="409030"/>
                    <a:pt x="135006" y="406400"/>
                  </a:cubicBezTo>
                  <a:cubicBezTo>
                    <a:pt x="135742" y="399771"/>
                    <a:pt x="131109" y="397981"/>
                    <a:pt x="127069" y="395287"/>
                  </a:cubicBezTo>
                  <a:cubicBezTo>
                    <a:pt x="124819" y="386289"/>
                    <a:pt x="124751" y="389413"/>
                    <a:pt x="127069" y="377825"/>
                  </a:cubicBezTo>
                  <a:cubicBezTo>
                    <a:pt x="127397" y="376184"/>
                    <a:pt x="127728" y="374454"/>
                    <a:pt x="128656" y="373062"/>
                  </a:cubicBezTo>
                  <a:cubicBezTo>
                    <a:pt x="129901" y="371194"/>
                    <a:pt x="131831" y="369887"/>
                    <a:pt x="133419" y="368300"/>
                  </a:cubicBezTo>
                  <a:cubicBezTo>
                    <a:pt x="134477" y="366183"/>
                    <a:pt x="135340" y="363957"/>
                    <a:pt x="136594" y="361950"/>
                  </a:cubicBezTo>
                  <a:cubicBezTo>
                    <a:pt x="137996" y="359706"/>
                    <a:pt x="140782" y="358183"/>
                    <a:pt x="141356" y="355600"/>
                  </a:cubicBezTo>
                  <a:cubicBezTo>
                    <a:pt x="141594" y="354530"/>
                    <a:pt x="138602" y="342997"/>
                    <a:pt x="138181" y="341312"/>
                  </a:cubicBezTo>
                  <a:cubicBezTo>
                    <a:pt x="139239" y="339195"/>
                    <a:pt x="140395" y="337125"/>
                    <a:pt x="141356" y="334962"/>
                  </a:cubicBezTo>
                  <a:cubicBezTo>
                    <a:pt x="142513" y="332358"/>
                    <a:pt x="142950" y="329396"/>
                    <a:pt x="144531" y="327025"/>
                  </a:cubicBezTo>
                  <a:cubicBezTo>
                    <a:pt x="146191" y="324534"/>
                    <a:pt x="148910" y="322928"/>
                    <a:pt x="150881" y="320675"/>
                  </a:cubicBezTo>
                  <a:cubicBezTo>
                    <a:pt x="152623" y="318684"/>
                    <a:pt x="154056" y="316442"/>
                    <a:pt x="155644" y="314325"/>
                  </a:cubicBezTo>
                  <a:cubicBezTo>
                    <a:pt x="160415" y="295234"/>
                    <a:pt x="155266" y="324019"/>
                    <a:pt x="149294" y="301625"/>
                  </a:cubicBezTo>
                  <a:cubicBezTo>
                    <a:pt x="145009" y="285556"/>
                    <a:pt x="149081" y="286900"/>
                    <a:pt x="155644" y="279400"/>
                  </a:cubicBezTo>
                  <a:cubicBezTo>
                    <a:pt x="169220" y="263886"/>
                    <a:pt x="155740" y="277716"/>
                    <a:pt x="166756" y="266700"/>
                  </a:cubicBezTo>
                  <a:cubicBezTo>
                    <a:pt x="165347" y="259655"/>
                    <a:pt x="160854" y="245892"/>
                    <a:pt x="165169" y="238125"/>
                  </a:cubicBezTo>
                  <a:cubicBezTo>
                    <a:pt x="166229" y="236218"/>
                    <a:pt x="169514" y="237396"/>
                    <a:pt x="171519" y="236537"/>
                  </a:cubicBezTo>
                  <a:cubicBezTo>
                    <a:pt x="174381" y="235310"/>
                    <a:pt x="190547" y="227425"/>
                    <a:pt x="195331" y="223837"/>
                  </a:cubicBezTo>
                  <a:cubicBezTo>
                    <a:pt x="197127" y="222490"/>
                    <a:pt x="198506" y="220662"/>
                    <a:pt x="200094" y="219075"/>
                  </a:cubicBezTo>
                  <a:cubicBezTo>
                    <a:pt x="200198" y="218657"/>
                    <a:pt x="202439" y="208999"/>
                    <a:pt x="203269" y="207962"/>
                  </a:cubicBezTo>
                  <a:cubicBezTo>
                    <a:pt x="213914" y="194655"/>
                    <a:pt x="210663" y="199428"/>
                    <a:pt x="220731" y="193675"/>
                  </a:cubicBezTo>
                  <a:cubicBezTo>
                    <a:pt x="222388" y="192728"/>
                    <a:pt x="223684" y="191103"/>
                    <a:pt x="225494" y="190500"/>
                  </a:cubicBezTo>
                  <a:cubicBezTo>
                    <a:pt x="230122" y="188957"/>
                    <a:pt x="235019" y="188383"/>
                    <a:pt x="239781" y="187325"/>
                  </a:cubicBezTo>
                  <a:cubicBezTo>
                    <a:pt x="250706" y="180042"/>
                    <a:pt x="238631" y="189713"/>
                    <a:pt x="246131" y="176212"/>
                  </a:cubicBezTo>
                  <a:cubicBezTo>
                    <a:pt x="247585" y="173595"/>
                    <a:pt x="250364" y="171979"/>
                    <a:pt x="252481" y="169862"/>
                  </a:cubicBezTo>
                  <a:cubicBezTo>
                    <a:pt x="253926" y="165526"/>
                    <a:pt x="255950" y="155282"/>
                    <a:pt x="260419" y="150812"/>
                  </a:cubicBezTo>
                  <a:cubicBezTo>
                    <a:pt x="261768" y="149463"/>
                    <a:pt x="263745" y="148893"/>
                    <a:pt x="265181" y="147637"/>
                  </a:cubicBezTo>
                  <a:cubicBezTo>
                    <a:pt x="272318" y="141393"/>
                    <a:pt x="272764" y="140174"/>
                    <a:pt x="277881" y="133350"/>
                  </a:cubicBezTo>
                  <a:cubicBezTo>
                    <a:pt x="277915" y="133179"/>
                    <a:pt x="280417" y="120020"/>
                    <a:pt x="281056" y="119062"/>
                  </a:cubicBezTo>
                  <a:cubicBezTo>
                    <a:pt x="282114" y="117474"/>
                    <a:pt x="284231" y="116945"/>
                    <a:pt x="285819" y="115887"/>
                  </a:cubicBezTo>
                  <a:cubicBezTo>
                    <a:pt x="288465" y="116945"/>
                    <a:pt x="291352" y="117532"/>
                    <a:pt x="293756" y="119062"/>
                  </a:cubicBezTo>
                  <a:cubicBezTo>
                    <a:pt x="303316" y="125146"/>
                    <a:pt x="301998" y="126808"/>
                    <a:pt x="309631" y="133350"/>
                  </a:cubicBezTo>
                  <a:cubicBezTo>
                    <a:pt x="311080" y="134592"/>
                    <a:pt x="312806" y="135467"/>
                    <a:pt x="314394" y="136525"/>
                  </a:cubicBezTo>
                  <a:cubicBezTo>
                    <a:pt x="318098" y="135467"/>
                    <a:pt x="321929" y="134781"/>
                    <a:pt x="325506" y="133350"/>
                  </a:cubicBezTo>
                  <a:cubicBezTo>
                    <a:pt x="338431" y="128180"/>
                    <a:pt x="322523" y="131714"/>
                    <a:pt x="335031" y="128587"/>
                  </a:cubicBezTo>
                  <a:cubicBezTo>
                    <a:pt x="343786" y="126398"/>
                    <a:pt x="344252" y="127199"/>
                    <a:pt x="354081" y="125412"/>
                  </a:cubicBezTo>
                  <a:cubicBezTo>
                    <a:pt x="358472" y="124614"/>
                    <a:pt x="361109" y="123599"/>
                    <a:pt x="365194" y="122237"/>
                  </a:cubicBezTo>
                  <a:cubicBezTo>
                    <a:pt x="378952" y="122766"/>
                    <a:pt x="392774" y="122408"/>
                    <a:pt x="406469" y="123825"/>
                  </a:cubicBezTo>
                  <a:cubicBezTo>
                    <a:pt x="408367" y="124021"/>
                    <a:pt x="409525" y="126147"/>
                    <a:pt x="411231" y="127000"/>
                  </a:cubicBezTo>
                  <a:cubicBezTo>
                    <a:pt x="412728" y="127748"/>
                    <a:pt x="414406" y="128058"/>
                    <a:pt x="415994" y="128587"/>
                  </a:cubicBezTo>
                  <a:cubicBezTo>
                    <a:pt x="418640" y="127529"/>
                    <a:pt x="421167" y="126103"/>
                    <a:pt x="423931" y="125412"/>
                  </a:cubicBezTo>
                  <a:cubicBezTo>
                    <a:pt x="427561" y="124505"/>
                    <a:pt x="431570" y="125215"/>
                    <a:pt x="435044" y="123825"/>
                  </a:cubicBezTo>
                  <a:cubicBezTo>
                    <a:pt x="437128" y="122991"/>
                    <a:pt x="438081" y="120499"/>
                    <a:pt x="439806" y="119062"/>
                  </a:cubicBezTo>
                  <a:cubicBezTo>
                    <a:pt x="441272" y="117840"/>
                    <a:pt x="442981" y="116945"/>
                    <a:pt x="444569" y="115887"/>
                  </a:cubicBezTo>
                  <a:cubicBezTo>
                    <a:pt x="448802" y="116416"/>
                    <a:pt x="453222" y="116126"/>
                    <a:pt x="457269" y="117475"/>
                  </a:cubicBezTo>
                  <a:cubicBezTo>
                    <a:pt x="476164" y="123773"/>
                    <a:pt x="455694" y="119390"/>
                    <a:pt x="465206" y="127000"/>
                  </a:cubicBezTo>
                  <a:cubicBezTo>
                    <a:pt x="466910" y="128363"/>
                    <a:pt x="469439" y="128058"/>
                    <a:pt x="471556" y="128587"/>
                  </a:cubicBezTo>
                  <a:cubicBezTo>
                    <a:pt x="475014" y="127435"/>
                    <a:pt x="483051" y="123932"/>
                    <a:pt x="485844" y="128587"/>
                  </a:cubicBezTo>
                  <a:cubicBezTo>
                    <a:pt x="487205" y="130856"/>
                    <a:pt x="482669" y="132820"/>
                    <a:pt x="481081" y="134937"/>
                  </a:cubicBezTo>
                  <a:cubicBezTo>
                    <a:pt x="482669" y="137054"/>
                    <a:pt x="483477" y="140104"/>
                    <a:pt x="485844" y="141287"/>
                  </a:cubicBezTo>
                  <a:cubicBezTo>
                    <a:pt x="487340" y="142035"/>
                    <a:pt x="488965" y="140028"/>
                    <a:pt x="490606" y="139700"/>
                  </a:cubicBezTo>
                  <a:cubicBezTo>
                    <a:pt x="494275" y="138966"/>
                    <a:pt x="498015" y="138641"/>
                    <a:pt x="501719" y="138112"/>
                  </a:cubicBezTo>
                  <a:cubicBezTo>
                    <a:pt x="503306" y="137583"/>
                    <a:pt x="504984" y="137273"/>
                    <a:pt x="506481" y="136525"/>
                  </a:cubicBezTo>
                  <a:cubicBezTo>
                    <a:pt x="508188" y="135672"/>
                    <a:pt x="509457" y="134020"/>
                    <a:pt x="511244" y="133350"/>
                  </a:cubicBezTo>
                  <a:cubicBezTo>
                    <a:pt x="513770" y="132403"/>
                    <a:pt x="516547" y="132347"/>
                    <a:pt x="519181" y="131762"/>
                  </a:cubicBezTo>
                  <a:cubicBezTo>
                    <a:pt x="521311" y="131289"/>
                    <a:pt x="523414" y="130704"/>
                    <a:pt x="525531" y="130175"/>
                  </a:cubicBezTo>
                  <a:cubicBezTo>
                    <a:pt x="527281" y="123176"/>
                    <a:pt x="528866" y="115291"/>
                    <a:pt x="533469" y="109537"/>
                  </a:cubicBezTo>
                  <a:cubicBezTo>
                    <a:pt x="534832" y="107833"/>
                    <a:pt x="537702" y="108479"/>
                    <a:pt x="539819" y="107950"/>
                  </a:cubicBezTo>
                  <a:cubicBezTo>
                    <a:pt x="541936" y="106892"/>
                    <a:pt x="543886" y="105398"/>
                    <a:pt x="546169" y="104775"/>
                  </a:cubicBezTo>
                  <a:cubicBezTo>
                    <a:pt x="549779" y="103790"/>
                    <a:pt x="553600" y="103856"/>
                    <a:pt x="557281" y="103187"/>
                  </a:cubicBezTo>
                  <a:cubicBezTo>
                    <a:pt x="559428" y="102797"/>
                    <a:pt x="561514" y="102129"/>
                    <a:pt x="563631" y="101600"/>
                  </a:cubicBezTo>
                  <a:cubicBezTo>
                    <a:pt x="565219" y="100012"/>
                    <a:pt x="566342" y="97749"/>
                    <a:pt x="568394" y="96837"/>
                  </a:cubicBezTo>
                  <a:cubicBezTo>
                    <a:pt x="571335" y="95530"/>
                    <a:pt x="574728" y="95675"/>
                    <a:pt x="577919" y="95250"/>
                  </a:cubicBezTo>
                  <a:cubicBezTo>
                    <a:pt x="582669" y="94617"/>
                    <a:pt x="587444" y="94191"/>
                    <a:pt x="592206" y="93662"/>
                  </a:cubicBezTo>
                  <a:cubicBezTo>
                    <a:pt x="593264" y="91545"/>
                    <a:pt x="593708" y="88985"/>
                    <a:pt x="595381" y="87312"/>
                  </a:cubicBezTo>
                  <a:cubicBezTo>
                    <a:pt x="596564" y="86129"/>
                    <a:pt x="598482" y="85921"/>
                    <a:pt x="600144" y="85725"/>
                  </a:cubicBezTo>
                  <a:cubicBezTo>
                    <a:pt x="607520" y="84857"/>
                    <a:pt x="614961" y="84666"/>
                    <a:pt x="622369" y="84137"/>
                  </a:cubicBezTo>
                  <a:cubicBezTo>
                    <a:pt x="636290" y="70216"/>
                    <a:pt x="618625" y="87258"/>
                    <a:pt x="631894" y="76200"/>
                  </a:cubicBezTo>
                  <a:cubicBezTo>
                    <a:pt x="639822" y="69593"/>
                    <a:pt x="633048" y="72639"/>
                    <a:pt x="641419" y="69850"/>
                  </a:cubicBezTo>
                  <a:cubicBezTo>
                    <a:pt x="637641" y="58515"/>
                    <a:pt x="636388" y="63110"/>
                    <a:pt x="641419" y="55562"/>
                  </a:cubicBezTo>
                  <a:cubicBezTo>
                    <a:pt x="642477" y="51858"/>
                    <a:pt x="642457" y="47655"/>
                    <a:pt x="644594" y="44450"/>
                  </a:cubicBezTo>
                  <a:cubicBezTo>
                    <a:pt x="647915" y="39469"/>
                    <a:pt x="657294" y="31750"/>
                    <a:pt x="657294" y="31750"/>
                  </a:cubicBezTo>
                  <a:cubicBezTo>
                    <a:pt x="657823" y="30162"/>
                    <a:pt x="657779" y="28246"/>
                    <a:pt x="658881" y="26987"/>
                  </a:cubicBezTo>
                  <a:cubicBezTo>
                    <a:pt x="665953" y="18904"/>
                    <a:pt x="669159" y="19072"/>
                    <a:pt x="677931" y="14287"/>
                  </a:cubicBezTo>
                  <a:cubicBezTo>
                    <a:pt x="680640" y="12809"/>
                    <a:pt x="683223" y="11112"/>
                    <a:pt x="685869" y="9525"/>
                  </a:cubicBezTo>
                  <a:cubicBezTo>
                    <a:pt x="687280" y="5290"/>
                    <a:pt x="687461" y="2379"/>
                    <a:pt x="692219" y="0"/>
                  </a:cubicBezTo>
                  <a:lnTo>
                    <a:pt x="692219" y="0"/>
                  </a:lnTo>
                  <a:close/>
                </a:path>
              </a:pathLst>
            </a:custGeom>
            <a:solidFill>
              <a:srgbClr val="003399"/>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08" name="Forma libre: forma 28">
              <a:extLst>
                <a:ext uri="{FF2B5EF4-FFF2-40B4-BE49-F238E27FC236}">
                  <a16:creationId xmlns:a16="http://schemas.microsoft.com/office/drawing/2014/main" id="{D40C73BB-E5C8-497C-AEC3-E73F40B51A0F}"/>
                </a:ext>
              </a:extLst>
            </p:cNvPr>
            <p:cNvSpPr/>
            <p:nvPr/>
          </p:nvSpPr>
          <p:spPr>
            <a:xfrm>
              <a:off x="6960194" y="4298279"/>
              <a:ext cx="911314" cy="471962"/>
            </a:xfrm>
            <a:custGeom>
              <a:avLst/>
              <a:gdLst>
                <a:gd name="connsiteX0" fmla="*/ 514350 w 911314"/>
                <a:gd name="connsiteY0" fmla="*/ 62387 h 471962"/>
                <a:gd name="connsiteX1" fmla="*/ 522288 w 911314"/>
                <a:gd name="connsiteY1" fmla="*/ 63974 h 471962"/>
                <a:gd name="connsiteX2" fmla="*/ 525463 w 911314"/>
                <a:gd name="connsiteY2" fmla="*/ 68737 h 471962"/>
                <a:gd name="connsiteX3" fmla="*/ 530225 w 911314"/>
                <a:gd name="connsiteY3" fmla="*/ 76674 h 471962"/>
                <a:gd name="connsiteX4" fmla="*/ 531813 w 911314"/>
                <a:gd name="connsiteY4" fmla="*/ 81437 h 471962"/>
                <a:gd name="connsiteX5" fmla="*/ 541338 w 911314"/>
                <a:gd name="connsiteY5" fmla="*/ 87787 h 471962"/>
                <a:gd name="connsiteX6" fmla="*/ 546100 w 911314"/>
                <a:gd name="connsiteY6" fmla="*/ 90962 h 471962"/>
                <a:gd name="connsiteX7" fmla="*/ 561975 w 911314"/>
                <a:gd name="connsiteY7" fmla="*/ 86199 h 471962"/>
                <a:gd name="connsiteX8" fmla="*/ 566738 w 911314"/>
                <a:gd name="connsiteY8" fmla="*/ 84612 h 471962"/>
                <a:gd name="connsiteX9" fmla="*/ 576263 w 911314"/>
                <a:gd name="connsiteY9" fmla="*/ 83024 h 471962"/>
                <a:gd name="connsiteX10" fmla="*/ 581025 w 911314"/>
                <a:gd name="connsiteY10" fmla="*/ 81437 h 471962"/>
                <a:gd name="connsiteX11" fmla="*/ 614363 w 911314"/>
                <a:gd name="connsiteY11" fmla="*/ 79849 h 471962"/>
                <a:gd name="connsiteX12" fmla="*/ 619125 w 911314"/>
                <a:gd name="connsiteY12" fmla="*/ 54449 h 471962"/>
                <a:gd name="connsiteX13" fmla="*/ 630238 w 911314"/>
                <a:gd name="connsiteY13" fmla="*/ 46512 h 471962"/>
                <a:gd name="connsiteX14" fmla="*/ 642938 w 911314"/>
                <a:gd name="connsiteY14" fmla="*/ 40162 h 471962"/>
                <a:gd name="connsiteX15" fmla="*/ 644525 w 911314"/>
                <a:gd name="connsiteY15" fmla="*/ 9999 h 471962"/>
                <a:gd name="connsiteX16" fmla="*/ 684213 w 911314"/>
                <a:gd name="connsiteY16" fmla="*/ 16349 h 471962"/>
                <a:gd name="connsiteX17" fmla="*/ 692150 w 911314"/>
                <a:gd name="connsiteY17" fmla="*/ 21112 h 471962"/>
                <a:gd name="connsiteX18" fmla="*/ 700088 w 911314"/>
                <a:gd name="connsiteY18" fmla="*/ 22699 h 471962"/>
                <a:gd name="connsiteX19" fmla="*/ 701675 w 911314"/>
                <a:gd name="connsiteY19" fmla="*/ 32224 h 471962"/>
                <a:gd name="connsiteX20" fmla="*/ 735013 w 911314"/>
                <a:gd name="connsiteY20" fmla="*/ 30637 h 471962"/>
                <a:gd name="connsiteX21" fmla="*/ 749300 w 911314"/>
                <a:gd name="connsiteY21" fmla="*/ 32224 h 471962"/>
                <a:gd name="connsiteX22" fmla="*/ 755650 w 911314"/>
                <a:gd name="connsiteY22" fmla="*/ 40162 h 471962"/>
                <a:gd name="connsiteX23" fmla="*/ 758825 w 911314"/>
                <a:gd name="connsiteY23" fmla="*/ 46512 h 471962"/>
                <a:gd name="connsiteX24" fmla="*/ 782638 w 911314"/>
                <a:gd name="connsiteY24" fmla="*/ 46512 h 471962"/>
                <a:gd name="connsiteX25" fmla="*/ 796925 w 911314"/>
                <a:gd name="connsiteY25" fmla="*/ 44924 h 471962"/>
                <a:gd name="connsiteX26" fmla="*/ 806450 w 911314"/>
                <a:gd name="connsiteY26" fmla="*/ 38574 h 471962"/>
                <a:gd name="connsiteX27" fmla="*/ 812800 w 911314"/>
                <a:gd name="connsiteY27" fmla="*/ 29049 h 471962"/>
                <a:gd name="connsiteX28" fmla="*/ 827088 w 911314"/>
                <a:gd name="connsiteY28" fmla="*/ 30637 h 471962"/>
                <a:gd name="connsiteX29" fmla="*/ 828675 w 911314"/>
                <a:gd name="connsiteY29" fmla="*/ 36987 h 471962"/>
                <a:gd name="connsiteX30" fmla="*/ 838200 w 911314"/>
                <a:gd name="connsiteY30" fmla="*/ 44924 h 471962"/>
                <a:gd name="connsiteX31" fmla="*/ 863600 w 911314"/>
                <a:gd name="connsiteY31" fmla="*/ 43337 h 471962"/>
                <a:gd name="connsiteX32" fmla="*/ 873125 w 911314"/>
                <a:gd name="connsiteY32" fmla="*/ 41749 h 471962"/>
                <a:gd name="connsiteX33" fmla="*/ 874713 w 911314"/>
                <a:gd name="connsiteY33" fmla="*/ 48099 h 471962"/>
                <a:gd name="connsiteX34" fmla="*/ 876300 w 911314"/>
                <a:gd name="connsiteY34" fmla="*/ 103662 h 471962"/>
                <a:gd name="connsiteX35" fmla="*/ 881063 w 911314"/>
                <a:gd name="connsiteY35" fmla="*/ 108424 h 471962"/>
                <a:gd name="connsiteX36" fmla="*/ 882650 w 911314"/>
                <a:gd name="connsiteY36" fmla="*/ 122712 h 471962"/>
                <a:gd name="connsiteX37" fmla="*/ 889000 w 911314"/>
                <a:gd name="connsiteY37" fmla="*/ 135412 h 471962"/>
                <a:gd name="connsiteX38" fmla="*/ 890588 w 911314"/>
                <a:gd name="connsiteY38" fmla="*/ 140174 h 471962"/>
                <a:gd name="connsiteX39" fmla="*/ 895350 w 911314"/>
                <a:gd name="connsiteY39" fmla="*/ 146524 h 471962"/>
                <a:gd name="connsiteX40" fmla="*/ 896938 w 911314"/>
                <a:gd name="connsiteY40" fmla="*/ 151287 h 471962"/>
                <a:gd name="connsiteX41" fmla="*/ 903288 w 911314"/>
                <a:gd name="connsiteY41" fmla="*/ 154462 h 471962"/>
                <a:gd name="connsiteX42" fmla="*/ 908050 w 911314"/>
                <a:gd name="connsiteY42" fmla="*/ 157637 h 471962"/>
                <a:gd name="connsiteX43" fmla="*/ 911225 w 911314"/>
                <a:gd name="connsiteY43" fmla="*/ 165574 h 471962"/>
                <a:gd name="connsiteX44" fmla="*/ 904875 w 911314"/>
                <a:gd name="connsiteY44" fmla="*/ 171924 h 471962"/>
                <a:gd name="connsiteX45" fmla="*/ 903288 w 911314"/>
                <a:gd name="connsiteY45" fmla="*/ 179862 h 471962"/>
                <a:gd name="connsiteX46" fmla="*/ 901700 w 911314"/>
                <a:gd name="connsiteY46" fmla="*/ 184624 h 471962"/>
                <a:gd name="connsiteX47" fmla="*/ 898525 w 911314"/>
                <a:gd name="connsiteY47" fmla="*/ 197324 h 471962"/>
                <a:gd name="connsiteX48" fmla="*/ 901700 w 911314"/>
                <a:gd name="connsiteY48" fmla="*/ 206849 h 471962"/>
                <a:gd name="connsiteX49" fmla="*/ 906463 w 911314"/>
                <a:gd name="connsiteY49" fmla="*/ 205262 h 471962"/>
                <a:gd name="connsiteX50" fmla="*/ 904875 w 911314"/>
                <a:gd name="connsiteY50" fmla="*/ 219549 h 471962"/>
                <a:gd name="connsiteX51" fmla="*/ 900113 w 911314"/>
                <a:gd name="connsiteY51" fmla="*/ 221137 h 471962"/>
                <a:gd name="connsiteX52" fmla="*/ 884238 w 911314"/>
                <a:gd name="connsiteY52" fmla="*/ 224312 h 471962"/>
                <a:gd name="connsiteX53" fmla="*/ 863600 w 911314"/>
                <a:gd name="connsiteY53" fmla="*/ 217962 h 471962"/>
                <a:gd name="connsiteX54" fmla="*/ 860425 w 911314"/>
                <a:gd name="connsiteY54" fmla="*/ 211612 h 471962"/>
                <a:gd name="connsiteX55" fmla="*/ 846138 w 911314"/>
                <a:gd name="connsiteY55" fmla="*/ 213199 h 471962"/>
                <a:gd name="connsiteX56" fmla="*/ 841375 w 911314"/>
                <a:gd name="connsiteY56" fmla="*/ 217962 h 471962"/>
                <a:gd name="connsiteX57" fmla="*/ 839788 w 911314"/>
                <a:gd name="connsiteY57" fmla="*/ 222724 h 471962"/>
                <a:gd name="connsiteX58" fmla="*/ 835025 w 911314"/>
                <a:gd name="connsiteY58" fmla="*/ 225899 h 471962"/>
                <a:gd name="connsiteX59" fmla="*/ 841375 w 911314"/>
                <a:gd name="connsiteY59" fmla="*/ 229074 h 471962"/>
                <a:gd name="connsiteX60" fmla="*/ 847725 w 911314"/>
                <a:gd name="connsiteY60" fmla="*/ 240187 h 471962"/>
                <a:gd name="connsiteX61" fmla="*/ 852488 w 911314"/>
                <a:gd name="connsiteY61" fmla="*/ 241774 h 471962"/>
                <a:gd name="connsiteX62" fmla="*/ 860425 w 911314"/>
                <a:gd name="connsiteY62" fmla="*/ 254474 h 471962"/>
                <a:gd name="connsiteX63" fmla="*/ 852488 w 911314"/>
                <a:gd name="connsiteY63" fmla="*/ 273524 h 471962"/>
                <a:gd name="connsiteX64" fmla="*/ 841375 w 911314"/>
                <a:gd name="connsiteY64" fmla="*/ 278287 h 471962"/>
                <a:gd name="connsiteX65" fmla="*/ 839788 w 911314"/>
                <a:gd name="connsiteY65" fmla="*/ 295749 h 471962"/>
                <a:gd name="connsiteX66" fmla="*/ 833438 w 911314"/>
                <a:gd name="connsiteY66" fmla="*/ 303687 h 471962"/>
                <a:gd name="connsiteX67" fmla="*/ 838200 w 911314"/>
                <a:gd name="connsiteY67" fmla="*/ 306862 h 471962"/>
                <a:gd name="connsiteX68" fmla="*/ 835025 w 911314"/>
                <a:gd name="connsiteY68" fmla="*/ 321149 h 471962"/>
                <a:gd name="connsiteX69" fmla="*/ 847725 w 911314"/>
                <a:gd name="connsiteY69" fmla="*/ 332262 h 471962"/>
                <a:gd name="connsiteX70" fmla="*/ 850900 w 911314"/>
                <a:gd name="connsiteY70" fmla="*/ 338612 h 471962"/>
                <a:gd name="connsiteX71" fmla="*/ 854075 w 911314"/>
                <a:gd name="connsiteY71" fmla="*/ 343374 h 471962"/>
                <a:gd name="connsiteX72" fmla="*/ 846138 w 911314"/>
                <a:gd name="connsiteY72" fmla="*/ 348137 h 471962"/>
                <a:gd name="connsiteX73" fmla="*/ 841375 w 911314"/>
                <a:gd name="connsiteY73" fmla="*/ 351312 h 471962"/>
                <a:gd name="connsiteX74" fmla="*/ 831850 w 911314"/>
                <a:gd name="connsiteY74" fmla="*/ 354487 h 471962"/>
                <a:gd name="connsiteX75" fmla="*/ 827088 w 911314"/>
                <a:gd name="connsiteY75" fmla="*/ 356074 h 471962"/>
                <a:gd name="connsiteX76" fmla="*/ 822325 w 911314"/>
                <a:gd name="connsiteY76" fmla="*/ 360837 h 471962"/>
                <a:gd name="connsiteX77" fmla="*/ 819150 w 911314"/>
                <a:gd name="connsiteY77" fmla="*/ 365599 h 471962"/>
                <a:gd name="connsiteX78" fmla="*/ 803275 w 911314"/>
                <a:gd name="connsiteY78" fmla="*/ 375124 h 471962"/>
                <a:gd name="connsiteX79" fmla="*/ 796925 w 911314"/>
                <a:gd name="connsiteY79" fmla="*/ 376712 h 471962"/>
                <a:gd name="connsiteX80" fmla="*/ 793750 w 911314"/>
                <a:gd name="connsiteY80" fmla="*/ 381474 h 471962"/>
                <a:gd name="connsiteX81" fmla="*/ 792163 w 911314"/>
                <a:gd name="connsiteY81" fmla="*/ 386237 h 471962"/>
                <a:gd name="connsiteX82" fmla="*/ 785813 w 911314"/>
                <a:gd name="connsiteY82" fmla="*/ 387824 h 471962"/>
                <a:gd name="connsiteX83" fmla="*/ 784225 w 911314"/>
                <a:gd name="connsiteY83" fmla="*/ 400524 h 471962"/>
                <a:gd name="connsiteX84" fmla="*/ 766763 w 911314"/>
                <a:gd name="connsiteY84" fmla="*/ 405287 h 471962"/>
                <a:gd name="connsiteX85" fmla="*/ 755650 w 911314"/>
                <a:gd name="connsiteY85" fmla="*/ 410049 h 471962"/>
                <a:gd name="connsiteX86" fmla="*/ 741363 w 911314"/>
                <a:gd name="connsiteY86" fmla="*/ 417987 h 471962"/>
                <a:gd name="connsiteX87" fmla="*/ 735013 w 911314"/>
                <a:gd name="connsiteY87" fmla="*/ 424337 h 471962"/>
                <a:gd name="connsiteX88" fmla="*/ 717550 w 911314"/>
                <a:gd name="connsiteY88" fmla="*/ 421162 h 471962"/>
                <a:gd name="connsiteX89" fmla="*/ 703263 w 911314"/>
                <a:gd name="connsiteY89" fmla="*/ 422749 h 471962"/>
                <a:gd name="connsiteX90" fmla="*/ 696913 w 911314"/>
                <a:gd name="connsiteY90" fmla="*/ 424337 h 471962"/>
                <a:gd name="connsiteX91" fmla="*/ 658813 w 911314"/>
                <a:gd name="connsiteY91" fmla="*/ 425924 h 471962"/>
                <a:gd name="connsiteX92" fmla="*/ 657225 w 911314"/>
                <a:gd name="connsiteY92" fmla="*/ 441799 h 471962"/>
                <a:gd name="connsiteX93" fmla="*/ 652463 w 911314"/>
                <a:gd name="connsiteY93" fmla="*/ 446562 h 471962"/>
                <a:gd name="connsiteX94" fmla="*/ 633413 w 911314"/>
                <a:gd name="connsiteY94" fmla="*/ 454499 h 471962"/>
                <a:gd name="connsiteX95" fmla="*/ 623888 w 911314"/>
                <a:gd name="connsiteY95" fmla="*/ 460849 h 471962"/>
                <a:gd name="connsiteX96" fmla="*/ 612775 w 911314"/>
                <a:gd name="connsiteY96" fmla="*/ 471962 h 471962"/>
                <a:gd name="connsiteX97" fmla="*/ 604838 w 911314"/>
                <a:gd name="connsiteY97" fmla="*/ 470374 h 471962"/>
                <a:gd name="connsiteX98" fmla="*/ 563563 w 911314"/>
                <a:gd name="connsiteY98" fmla="*/ 467199 h 471962"/>
                <a:gd name="connsiteX99" fmla="*/ 558800 w 911314"/>
                <a:gd name="connsiteY99" fmla="*/ 465612 h 471962"/>
                <a:gd name="connsiteX100" fmla="*/ 550863 w 911314"/>
                <a:gd name="connsiteY100" fmla="*/ 464024 h 471962"/>
                <a:gd name="connsiteX101" fmla="*/ 544513 w 911314"/>
                <a:gd name="connsiteY101" fmla="*/ 459262 h 471962"/>
                <a:gd name="connsiteX102" fmla="*/ 534988 w 911314"/>
                <a:gd name="connsiteY102" fmla="*/ 456087 h 471962"/>
                <a:gd name="connsiteX103" fmla="*/ 531813 w 911314"/>
                <a:gd name="connsiteY103" fmla="*/ 451324 h 471962"/>
                <a:gd name="connsiteX104" fmla="*/ 530225 w 911314"/>
                <a:gd name="connsiteY104" fmla="*/ 444974 h 471962"/>
                <a:gd name="connsiteX105" fmla="*/ 520700 w 911314"/>
                <a:gd name="connsiteY105" fmla="*/ 451324 h 471962"/>
                <a:gd name="connsiteX106" fmla="*/ 514350 w 911314"/>
                <a:gd name="connsiteY106" fmla="*/ 452912 h 471962"/>
                <a:gd name="connsiteX107" fmla="*/ 500063 w 911314"/>
                <a:gd name="connsiteY107" fmla="*/ 456087 h 471962"/>
                <a:gd name="connsiteX108" fmla="*/ 496888 w 911314"/>
                <a:gd name="connsiteY108" fmla="*/ 446562 h 471962"/>
                <a:gd name="connsiteX109" fmla="*/ 488950 w 911314"/>
                <a:gd name="connsiteY109" fmla="*/ 448149 h 471962"/>
                <a:gd name="connsiteX110" fmla="*/ 466725 w 911314"/>
                <a:gd name="connsiteY110" fmla="*/ 449737 h 471962"/>
                <a:gd name="connsiteX111" fmla="*/ 461963 w 911314"/>
                <a:gd name="connsiteY111" fmla="*/ 452912 h 471962"/>
                <a:gd name="connsiteX112" fmla="*/ 444500 w 911314"/>
                <a:gd name="connsiteY112" fmla="*/ 457674 h 471962"/>
                <a:gd name="connsiteX113" fmla="*/ 423863 w 911314"/>
                <a:gd name="connsiteY113" fmla="*/ 456087 h 471962"/>
                <a:gd name="connsiteX114" fmla="*/ 404813 w 911314"/>
                <a:gd name="connsiteY114" fmla="*/ 444974 h 471962"/>
                <a:gd name="connsiteX115" fmla="*/ 400050 w 911314"/>
                <a:gd name="connsiteY115" fmla="*/ 440212 h 471962"/>
                <a:gd name="connsiteX116" fmla="*/ 395288 w 911314"/>
                <a:gd name="connsiteY116" fmla="*/ 437037 h 471962"/>
                <a:gd name="connsiteX117" fmla="*/ 379413 w 911314"/>
                <a:gd name="connsiteY117" fmla="*/ 437037 h 471962"/>
                <a:gd name="connsiteX118" fmla="*/ 352425 w 911314"/>
                <a:gd name="connsiteY118" fmla="*/ 435449 h 471962"/>
                <a:gd name="connsiteX119" fmla="*/ 350838 w 911314"/>
                <a:gd name="connsiteY119" fmla="*/ 427512 h 471962"/>
                <a:gd name="connsiteX120" fmla="*/ 341313 w 911314"/>
                <a:gd name="connsiteY120" fmla="*/ 421162 h 471962"/>
                <a:gd name="connsiteX121" fmla="*/ 333375 w 911314"/>
                <a:gd name="connsiteY121" fmla="*/ 419574 h 471962"/>
                <a:gd name="connsiteX122" fmla="*/ 330200 w 911314"/>
                <a:gd name="connsiteY122" fmla="*/ 413224 h 471962"/>
                <a:gd name="connsiteX123" fmla="*/ 325438 w 911314"/>
                <a:gd name="connsiteY123" fmla="*/ 408462 h 471962"/>
                <a:gd name="connsiteX124" fmla="*/ 319088 w 911314"/>
                <a:gd name="connsiteY124" fmla="*/ 400524 h 471962"/>
                <a:gd name="connsiteX125" fmla="*/ 320675 w 911314"/>
                <a:gd name="connsiteY125" fmla="*/ 381474 h 471962"/>
                <a:gd name="connsiteX126" fmla="*/ 323850 w 911314"/>
                <a:gd name="connsiteY126" fmla="*/ 370362 h 471962"/>
                <a:gd name="connsiteX127" fmla="*/ 307975 w 911314"/>
                <a:gd name="connsiteY127" fmla="*/ 373537 h 471962"/>
                <a:gd name="connsiteX128" fmla="*/ 306388 w 911314"/>
                <a:gd name="connsiteY128" fmla="*/ 378299 h 471962"/>
                <a:gd name="connsiteX129" fmla="*/ 301625 w 911314"/>
                <a:gd name="connsiteY129" fmla="*/ 379887 h 471962"/>
                <a:gd name="connsiteX130" fmla="*/ 276225 w 911314"/>
                <a:gd name="connsiteY130" fmla="*/ 381474 h 471962"/>
                <a:gd name="connsiteX131" fmla="*/ 269875 w 911314"/>
                <a:gd name="connsiteY131" fmla="*/ 384649 h 471962"/>
                <a:gd name="connsiteX132" fmla="*/ 265113 w 911314"/>
                <a:gd name="connsiteY132" fmla="*/ 387824 h 471962"/>
                <a:gd name="connsiteX133" fmla="*/ 257175 w 911314"/>
                <a:gd name="connsiteY133" fmla="*/ 386237 h 471962"/>
                <a:gd name="connsiteX134" fmla="*/ 247650 w 911314"/>
                <a:gd name="connsiteY134" fmla="*/ 378299 h 471962"/>
                <a:gd name="connsiteX135" fmla="*/ 246063 w 911314"/>
                <a:gd name="connsiteY135" fmla="*/ 383062 h 471962"/>
                <a:gd name="connsiteX136" fmla="*/ 236538 w 911314"/>
                <a:gd name="connsiteY136" fmla="*/ 384649 h 471962"/>
                <a:gd name="connsiteX137" fmla="*/ 217488 w 911314"/>
                <a:gd name="connsiteY137" fmla="*/ 386237 h 471962"/>
                <a:gd name="connsiteX138" fmla="*/ 204788 w 911314"/>
                <a:gd name="connsiteY138" fmla="*/ 392587 h 471962"/>
                <a:gd name="connsiteX139" fmla="*/ 196850 w 911314"/>
                <a:gd name="connsiteY139" fmla="*/ 402112 h 471962"/>
                <a:gd name="connsiteX140" fmla="*/ 188913 w 911314"/>
                <a:gd name="connsiteY140" fmla="*/ 408462 h 471962"/>
                <a:gd name="connsiteX141" fmla="*/ 180975 w 911314"/>
                <a:gd name="connsiteY141" fmla="*/ 421162 h 471962"/>
                <a:gd name="connsiteX142" fmla="*/ 169863 w 911314"/>
                <a:gd name="connsiteY142" fmla="*/ 424337 h 471962"/>
                <a:gd name="connsiteX143" fmla="*/ 150813 w 911314"/>
                <a:gd name="connsiteY143" fmla="*/ 419574 h 471962"/>
                <a:gd name="connsiteX144" fmla="*/ 149225 w 911314"/>
                <a:gd name="connsiteY144" fmla="*/ 414812 h 471962"/>
                <a:gd name="connsiteX145" fmla="*/ 144463 w 911314"/>
                <a:gd name="connsiteY145" fmla="*/ 411637 h 471962"/>
                <a:gd name="connsiteX146" fmla="*/ 123825 w 911314"/>
                <a:gd name="connsiteY146" fmla="*/ 408462 h 471962"/>
                <a:gd name="connsiteX147" fmla="*/ 122238 w 911314"/>
                <a:gd name="connsiteY147" fmla="*/ 400524 h 471962"/>
                <a:gd name="connsiteX148" fmla="*/ 117475 w 911314"/>
                <a:gd name="connsiteY148" fmla="*/ 398937 h 471962"/>
                <a:gd name="connsiteX149" fmla="*/ 111125 w 911314"/>
                <a:gd name="connsiteY149" fmla="*/ 395762 h 471962"/>
                <a:gd name="connsiteX150" fmla="*/ 109538 w 911314"/>
                <a:gd name="connsiteY150" fmla="*/ 389412 h 471962"/>
                <a:gd name="connsiteX151" fmla="*/ 103188 w 911314"/>
                <a:gd name="connsiteY151" fmla="*/ 386237 h 471962"/>
                <a:gd name="connsiteX152" fmla="*/ 98425 w 911314"/>
                <a:gd name="connsiteY152" fmla="*/ 383062 h 471962"/>
                <a:gd name="connsiteX153" fmla="*/ 85725 w 911314"/>
                <a:gd name="connsiteY153" fmla="*/ 384649 h 471962"/>
                <a:gd name="connsiteX154" fmla="*/ 82550 w 911314"/>
                <a:gd name="connsiteY154" fmla="*/ 400524 h 471962"/>
                <a:gd name="connsiteX155" fmla="*/ 58738 w 911314"/>
                <a:gd name="connsiteY155" fmla="*/ 410049 h 471962"/>
                <a:gd name="connsiteX156" fmla="*/ 53975 w 911314"/>
                <a:gd name="connsiteY156" fmla="*/ 408462 h 471962"/>
                <a:gd name="connsiteX157" fmla="*/ 50800 w 911314"/>
                <a:gd name="connsiteY157" fmla="*/ 402112 h 471962"/>
                <a:gd name="connsiteX158" fmla="*/ 42863 w 911314"/>
                <a:gd name="connsiteY158" fmla="*/ 394174 h 471962"/>
                <a:gd name="connsiteX159" fmla="*/ 41275 w 911314"/>
                <a:gd name="connsiteY159" fmla="*/ 386237 h 471962"/>
                <a:gd name="connsiteX160" fmla="*/ 36513 w 911314"/>
                <a:gd name="connsiteY160" fmla="*/ 384649 h 471962"/>
                <a:gd name="connsiteX161" fmla="*/ 0 w 911314"/>
                <a:gd name="connsiteY161" fmla="*/ 381474 h 471962"/>
                <a:gd name="connsiteX162" fmla="*/ 1588 w 911314"/>
                <a:gd name="connsiteY162" fmla="*/ 351312 h 471962"/>
                <a:gd name="connsiteX163" fmla="*/ 1588 w 911314"/>
                <a:gd name="connsiteY163" fmla="*/ 333849 h 471962"/>
                <a:gd name="connsiteX164" fmla="*/ 6350 w 911314"/>
                <a:gd name="connsiteY164" fmla="*/ 324324 h 471962"/>
                <a:gd name="connsiteX165" fmla="*/ 15875 w 911314"/>
                <a:gd name="connsiteY165" fmla="*/ 322737 h 471962"/>
                <a:gd name="connsiteX166" fmla="*/ 14288 w 911314"/>
                <a:gd name="connsiteY166" fmla="*/ 317974 h 471962"/>
                <a:gd name="connsiteX167" fmla="*/ 7938 w 911314"/>
                <a:gd name="connsiteY167" fmla="*/ 316387 h 471962"/>
                <a:gd name="connsiteX168" fmla="*/ 3175 w 911314"/>
                <a:gd name="connsiteY168" fmla="*/ 313212 h 471962"/>
                <a:gd name="connsiteX169" fmla="*/ 6350 w 911314"/>
                <a:gd name="connsiteY169" fmla="*/ 294162 h 471962"/>
                <a:gd name="connsiteX170" fmla="*/ 9525 w 911314"/>
                <a:gd name="connsiteY170" fmla="*/ 287812 h 471962"/>
                <a:gd name="connsiteX171" fmla="*/ 38100 w 911314"/>
                <a:gd name="connsiteY171" fmla="*/ 286224 h 471962"/>
                <a:gd name="connsiteX172" fmla="*/ 47625 w 911314"/>
                <a:gd name="connsiteY172" fmla="*/ 287812 h 471962"/>
                <a:gd name="connsiteX173" fmla="*/ 53975 w 911314"/>
                <a:gd name="connsiteY173" fmla="*/ 290987 h 471962"/>
                <a:gd name="connsiteX174" fmla="*/ 58738 w 911314"/>
                <a:gd name="connsiteY174" fmla="*/ 292574 h 471962"/>
                <a:gd name="connsiteX175" fmla="*/ 61913 w 911314"/>
                <a:gd name="connsiteY175" fmla="*/ 297337 h 471962"/>
                <a:gd name="connsiteX176" fmla="*/ 63500 w 911314"/>
                <a:gd name="connsiteY176" fmla="*/ 302099 h 471962"/>
                <a:gd name="connsiteX177" fmla="*/ 68263 w 911314"/>
                <a:gd name="connsiteY177" fmla="*/ 305274 h 471962"/>
                <a:gd name="connsiteX178" fmla="*/ 69850 w 911314"/>
                <a:gd name="connsiteY178" fmla="*/ 311624 h 471962"/>
                <a:gd name="connsiteX179" fmla="*/ 71438 w 911314"/>
                <a:gd name="connsiteY179" fmla="*/ 316387 h 471962"/>
                <a:gd name="connsiteX180" fmla="*/ 73025 w 911314"/>
                <a:gd name="connsiteY180" fmla="*/ 325912 h 471962"/>
                <a:gd name="connsiteX181" fmla="*/ 82550 w 911314"/>
                <a:gd name="connsiteY181" fmla="*/ 332262 h 471962"/>
                <a:gd name="connsiteX182" fmla="*/ 92075 w 911314"/>
                <a:gd name="connsiteY182" fmla="*/ 330674 h 471962"/>
                <a:gd name="connsiteX183" fmla="*/ 95250 w 911314"/>
                <a:gd name="connsiteY183" fmla="*/ 325912 h 471962"/>
                <a:gd name="connsiteX184" fmla="*/ 93663 w 911314"/>
                <a:gd name="connsiteY184" fmla="*/ 300512 h 471962"/>
                <a:gd name="connsiteX185" fmla="*/ 96838 w 911314"/>
                <a:gd name="connsiteY185" fmla="*/ 295749 h 471962"/>
                <a:gd name="connsiteX186" fmla="*/ 100013 w 911314"/>
                <a:gd name="connsiteY186" fmla="*/ 289399 h 471962"/>
                <a:gd name="connsiteX187" fmla="*/ 98425 w 911314"/>
                <a:gd name="connsiteY187" fmla="*/ 284637 h 471962"/>
                <a:gd name="connsiteX188" fmla="*/ 130175 w 911314"/>
                <a:gd name="connsiteY188" fmla="*/ 287812 h 471962"/>
                <a:gd name="connsiteX189" fmla="*/ 136525 w 911314"/>
                <a:gd name="connsiteY189" fmla="*/ 290987 h 471962"/>
                <a:gd name="connsiteX190" fmla="*/ 150813 w 911314"/>
                <a:gd name="connsiteY190" fmla="*/ 292574 h 471962"/>
                <a:gd name="connsiteX191" fmla="*/ 152400 w 911314"/>
                <a:gd name="connsiteY191" fmla="*/ 297337 h 471962"/>
                <a:gd name="connsiteX192" fmla="*/ 158750 w 911314"/>
                <a:gd name="connsiteY192" fmla="*/ 300512 h 471962"/>
                <a:gd name="connsiteX193" fmla="*/ 161925 w 911314"/>
                <a:gd name="connsiteY193" fmla="*/ 316387 h 471962"/>
                <a:gd name="connsiteX194" fmla="*/ 163513 w 911314"/>
                <a:gd name="connsiteY194" fmla="*/ 324324 h 471962"/>
                <a:gd name="connsiteX195" fmla="*/ 169863 w 911314"/>
                <a:gd name="connsiteY195" fmla="*/ 325912 h 471962"/>
                <a:gd name="connsiteX196" fmla="*/ 176213 w 911314"/>
                <a:gd name="connsiteY196" fmla="*/ 324324 h 471962"/>
                <a:gd name="connsiteX197" fmla="*/ 188913 w 911314"/>
                <a:gd name="connsiteY197" fmla="*/ 317974 h 471962"/>
                <a:gd name="connsiteX198" fmla="*/ 198438 w 911314"/>
                <a:gd name="connsiteY198" fmla="*/ 316387 h 471962"/>
                <a:gd name="connsiteX199" fmla="*/ 206375 w 911314"/>
                <a:gd name="connsiteY199" fmla="*/ 306862 h 471962"/>
                <a:gd name="connsiteX200" fmla="*/ 211138 w 911314"/>
                <a:gd name="connsiteY200" fmla="*/ 305274 h 471962"/>
                <a:gd name="connsiteX201" fmla="*/ 217488 w 911314"/>
                <a:gd name="connsiteY201" fmla="*/ 302099 h 471962"/>
                <a:gd name="connsiteX202" fmla="*/ 227013 w 911314"/>
                <a:gd name="connsiteY202" fmla="*/ 287812 h 471962"/>
                <a:gd name="connsiteX203" fmla="*/ 231775 w 911314"/>
                <a:gd name="connsiteY203" fmla="*/ 284637 h 471962"/>
                <a:gd name="connsiteX204" fmla="*/ 239713 w 911314"/>
                <a:gd name="connsiteY204" fmla="*/ 279874 h 471962"/>
                <a:gd name="connsiteX205" fmla="*/ 244475 w 911314"/>
                <a:gd name="connsiteY205" fmla="*/ 278287 h 471962"/>
                <a:gd name="connsiteX206" fmla="*/ 260350 w 911314"/>
                <a:gd name="connsiteY206" fmla="*/ 273524 h 471962"/>
                <a:gd name="connsiteX207" fmla="*/ 271463 w 911314"/>
                <a:gd name="connsiteY207" fmla="*/ 275112 h 471962"/>
                <a:gd name="connsiteX208" fmla="*/ 279400 w 911314"/>
                <a:gd name="connsiteY208" fmla="*/ 279874 h 471962"/>
                <a:gd name="connsiteX209" fmla="*/ 296863 w 911314"/>
                <a:gd name="connsiteY209" fmla="*/ 278287 h 471962"/>
                <a:gd name="connsiteX210" fmla="*/ 303213 w 911314"/>
                <a:gd name="connsiteY210" fmla="*/ 275112 h 471962"/>
                <a:gd name="connsiteX211" fmla="*/ 307975 w 911314"/>
                <a:gd name="connsiteY211" fmla="*/ 271937 h 471962"/>
                <a:gd name="connsiteX212" fmla="*/ 315913 w 911314"/>
                <a:gd name="connsiteY212" fmla="*/ 270349 h 471962"/>
                <a:gd name="connsiteX213" fmla="*/ 320675 w 911314"/>
                <a:gd name="connsiteY213" fmla="*/ 273524 h 471962"/>
                <a:gd name="connsiteX214" fmla="*/ 350838 w 911314"/>
                <a:gd name="connsiteY214" fmla="*/ 271937 h 471962"/>
                <a:gd name="connsiteX215" fmla="*/ 352425 w 911314"/>
                <a:gd name="connsiteY215" fmla="*/ 265587 h 471962"/>
                <a:gd name="connsiteX216" fmla="*/ 360363 w 911314"/>
                <a:gd name="connsiteY216" fmla="*/ 257649 h 471962"/>
                <a:gd name="connsiteX217" fmla="*/ 365125 w 911314"/>
                <a:gd name="connsiteY217" fmla="*/ 256062 h 471962"/>
                <a:gd name="connsiteX218" fmla="*/ 369888 w 911314"/>
                <a:gd name="connsiteY218" fmla="*/ 262412 h 471962"/>
                <a:gd name="connsiteX219" fmla="*/ 376238 w 911314"/>
                <a:gd name="connsiteY219" fmla="*/ 273524 h 471962"/>
                <a:gd name="connsiteX220" fmla="*/ 381000 w 911314"/>
                <a:gd name="connsiteY220" fmla="*/ 278287 h 471962"/>
                <a:gd name="connsiteX221" fmla="*/ 388938 w 911314"/>
                <a:gd name="connsiteY221" fmla="*/ 287812 h 471962"/>
                <a:gd name="connsiteX222" fmla="*/ 406400 w 911314"/>
                <a:gd name="connsiteY222" fmla="*/ 290987 h 471962"/>
                <a:gd name="connsiteX223" fmla="*/ 411163 w 911314"/>
                <a:gd name="connsiteY223" fmla="*/ 289399 h 471962"/>
                <a:gd name="connsiteX224" fmla="*/ 422275 w 911314"/>
                <a:gd name="connsiteY224" fmla="*/ 283049 h 471962"/>
                <a:gd name="connsiteX225" fmla="*/ 425450 w 911314"/>
                <a:gd name="connsiteY225" fmla="*/ 262412 h 471962"/>
                <a:gd name="connsiteX226" fmla="*/ 420688 w 911314"/>
                <a:gd name="connsiteY226" fmla="*/ 260824 h 471962"/>
                <a:gd name="connsiteX227" fmla="*/ 415925 w 911314"/>
                <a:gd name="connsiteY227" fmla="*/ 257649 h 471962"/>
                <a:gd name="connsiteX228" fmla="*/ 401638 w 911314"/>
                <a:gd name="connsiteY228" fmla="*/ 257649 h 471962"/>
                <a:gd name="connsiteX229" fmla="*/ 403225 w 911314"/>
                <a:gd name="connsiteY229" fmla="*/ 251299 h 471962"/>
                <a:gd name="connsiteX230" fmla="*/ 407988 w 911314"/>
                <a:gd name="connsiteY230" fmla="*/ 248124 h 471962"/>
                <a:gd name="connsiteX231" fmla="*/ 409575 w 911314"/>
                <a:gd name="connsiteY231" fmla="*/ 214787 h 471962"/>
                <a:gd name="connsiteX232" fmla="*/ 403225 w 911314"/>
                <a:gd name="connsiteY232" fmla="*/ 213199 h 471962"/>
                <a:gd name="connsiteX233" fmla="*/ 401638 w 911314"/>
                <a:gd name="connsiteY233" fmla="*/ 208437 h 471962"/>
                <a:gd name="connsiteX234" fmla="*/ 400050 w 911314"/>
                <a:gd name="connsiteY234" fmla="*/ 202087 h 471962"/>
                <a:gd name="connsiteX235" fmla="*/ 395288 w 911314"/>
                <a:gd name="connsiteY235" fmla="*/ 198912 h 471962"/>
                <a:gd name="connsiteX236" fmla="*/ 390525 w 911314"/>
                <a:gd name="connsiteY236" fmla="*/ 194149 h 471962"/>
                <a:gd name="connsiteX237" fmla="*/ 384175 w 911314"/>
                <a:gd name="connsiteY237" fmla="*/ 181449 h 471962"/>
                <a:gd name="connsiteX238" fmla="*/ 387350 w 911314"/>
                <a:gd name="connsiteY238" fmla="*/ 167162 h 471962"/>
                <a:gd name="connsiteX239" fmla="*/ 395288 w 911314"/>
                <a:gd name="connsiteY239" fmla="*/ 165574 h 471962"/>
                <a:gd name="connsiteX240" fmla="*/ 400050 w 911314"/>
                <a:gd name="connsiteY240" fmla="*/ 163987 h 471962"/>
                <a:gd name="connsiteX241" fmla="*/ 414338 w 911314"/>
                <a:gd name="connsiteY241" fmla="*/ 154462 h 471962"/>
                <a:gd name="connsiteX242" fmla="*/ 438150 w 911314"/>
                <a:gd name="connsiteY242" fmla="*/ 159224 h 471962"/>
                <a:gd name="connsiteX243" fmla="*/ 446088 w 911314"/>
                <a:gd name="connsiteY243" fmla="*/ 144937 h 471962"/>
                <a:gd name="connsiteX244" fmla="*/ 454025 w 911314"/>
                <a:gd name="connsiteY244" fmla="*/ 135412 h 471962"/>
                <a:gd name="connsiteX245" fmla="*/ 457200 w 911314"/>
                <a:gd name="connsiteY245" fmla="*/ 130649 h 471962"/>
                <a:gd name="connsiteX246" fmla="*/ 460375 w 911314"/>
                <a:gd name="connsiteY246" fmla="*/ 103662 h 471962"/>
                <a:gd name="connsiteX247" fmla="*/ 479425 w 911314"/>
                <a:gd name="connsiteY247" fmla="*/ 108424 h 471962"/>
                <a:gd name="connsiteX248" fmla="*/ 484188 w 911314"/>
                <a:gd name="connsiteY248" fmla="*/ 110012 h 471962"/>
                <a:gd name="connsiteX249" fmla="*/ 501650 w 911314"/>
                <a:gd name="connsiteY249" fmla="*/ 108424 h 471962"/>
                <a:gd name="connsiteX250" fmla="*/ 498475 w 911314"/>
                <a:gd name="connsiteY250" fmla="*/ 103662 h 471962"/>
                <a:gd name="connsiteX251" fmla="*/ 500063 w 911314"/>
                <a:gd name="connsiteY251" fmla="*/ 67149 h 471962"/>
                <a:gd name="connsiteX252" fmla="*/ 514350 w 911314"/>
                <a:gd name="connsiteY252" fmla="*/ 62387 h 471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Lst>
              <a:rect l="l" t="t" r="r" b="b"/>
              <a:pathLst>
                <a:path w="911314" h="471962">
                  <a:moveTo>
                    <a:pt x="514350" y="62387"/>
                  </a:moveTo>
                  <a:cubicBezTo>
                    <a:pt x="518054" y="61858"/>
                    <a:pt x="519945" y="62635"/>
                    <a:pt x="522288" y="63974"/>
                  </a:cubicBezTo>
                  <a:cubicBezTo>
                    <a:pt x="523945" y="64921"/>
                    <a:pt x="524452" y="67119"/>
                    <a:pt x="525463" y="68737"/>
                  </a:cubicBezTo>
                  <a:cubicBezTo>
                    <a:pt x="527098" y="71353"/>
                    <a:pt x="528845" y="73914"/>
                    <a:pt x="530225" y="76674"/>
                  </a:cubicBezTo>
                  <a:cubicBezTo>
                    <a:pt x="530973" y="78171"/>
                    <a:pt x="530630" y="80254"/>
                    <a:pt x="531813" y="81437"/>
                  </a:cubicBezTo>
                  <a:cubicBezTo>
                    <a:pt x="534511" y="84135"/>
                    <a:pt x="538163" y="85670"/>
                    <a:pt x="541338" y="87787"/>
                  </a:cubicBezTo>
                  <a:lnTo>
                    <a:pt x="546100" y="90962"/>
                  </a:lnTo>
                  <a:lnTo>
                    <a:pt x="561975" y="86199"/>
                  </a:lnTo>
                  <a:cubicBezTo>
                    <a:pt x="563574" y="85707"/>
                    <a:pt x="565104" y="84975"/>
                    <a:pt x="566738" y="84612"/>
                  </a:cubicBezTo>
                  <a:cubicBezTo>
                    <a:pt x="569880" y="83914"/>
                    <a:pt x="573121" y="83722"/>
                    <a:pt x="576263" y="83024"/>
                  </a:cubicBezTo>
                  <a:cubicBezTo>
                    <a:pt x="577896" y="82661"/>
                    <a:pt x="579358" y="81576"/>
                    <a:pt x="581025" y="81437"/>
                  </a:cubicBezTo>
                  <a:cubicBezTo>
                    <a:pt x="592112" y="80513"/>
                    <a:pt x="603250" y="80378"/>
                    <a:pt x="614363" y="79849"/>
                  </a:cubicBezTo>
                  <a:cubicBezTo>
                    <a:pt x="615950" y="71382"/>
                    <a:pt x="616933" y="62780"/>
                    <a:pt x="619125" y="54449"/>
                  </a:cubicBezTo>
                  <a:cubicBezTo>
                    <a:pt x="620763" y="48225"/>
                    <a:pt x="625186" y="49038"/>
                    <a:pt x="630238" y="46512"/>
                  </a:cubicBezTo>
                  <a:cubicBezTo>
                    <a:pt x="649262" y="37000"/>
                    <a:pt x="615467" y="51150"/>
                    <a:pt x="642938" y="40162"/>
                  </a:cubicBezTo>
                  <a:cubicBezTo>
                    <a:pt x="643467" y="30108"/>
                    <a:pt x="636596" y="16204"/>
                    <a:pt x="644525" y="9999"/>
                  </a:cubicBezTo>
                  <a:cubicBezTo>
                    <a:pt x="672612" y="-11983"/>
                    <a:pt x="672958" y="7908"/>
                    <a:pt x="684213" y="16349"/>
                  </a:cubicBezTo>
                  <a:cubicBezTo>
                    <a:pt x="686681" y="18200"/>
                    <a:pt x="689285" y="19966"/>
                    <a:pt x="692150" y="21112"/>
                  </a:cubicBezTo>
                  <a:cubicBezTo>
                    <a:pt x="694655" y="22114"/>
                    <a:pt x="697442" y="22170"/>
                    <a:pt x="700088" y="22699"/>
                  </a:cubicBezTo>
                  <a:cubicBezTo>
                    <a:pt x="700617" y="25874"/>
                    <a:pt x="698536" y="31511"/>
                    <a:pt x="701675" y="32224"/>
                  </a:cubicBezTo>
                  <a:cubicBezTo>
                    <a:pt x="712524" y="34690"/>
                    <a:pt x="723888" y="30637"/>
                    <a:pt x="735013" y="30637"/>
                  </a:cubicBezTo>
                  <a:cubicBezTo>
                    <a:pt x="739805" y="30637"/>
                    <a:pt x="744538" y="31695"/>
                    <a:pt x="749300" y="32224"/>
                  </a:cubicBezTo>
                  <a:cubicBezTo>
                    <a:pt x="753092" y="43597"/>
                    <a:pt x="747671" y="30587"/>
                    <a:pt x="755650" y="40162"/>
                  </a:cubicBezTo>
                  <a:cubicBezTo>
                    <a:pt x="757165" y="41980"/>
                    <a:pt x="757767" y="44395"/>
                    <a:pt x="758825" y="46512"/>
                  </a:cubicBezTo>
                  <a:cubicBezTo>
                    <a:pt x="773511" y="42839"/>
                    <a:pt x="755862" y="46512"/>
                    <a:pt x="782638" y="46512"/>
                  </a:cubicBezTo>
                  <a:cubicBezTo>
                    <a:pt x="787430" y="46512"/>
                    <a:pt x="792163" y="45453"/>
                    <a:pt x="796925" y="44924"/>
                  </a:cubicBezTo>
                  <a:cubicBezTo>
                    <a:pt x="802489" y="43070"/>
                    <a:pt x="802287" y="43927"/>
                    <a:pt x="806450" y="38574"/>
                  </a:cubicBezTo>
                  <a:cubicBezTo>
                    <a:pt x="808793" y="35562"/>
                    <a:pt x="812800" y="29049"/>
                    <a:pt x="812800" y="29049"/>
                  </a:cubicBezTo>
                  <a:cubicBezTo>
                    <a:pt x="817563" y="29578"/>
                    <a:pt x="822802" y="28494"/>
                    <a:pt x="827088" y="30637"/>
                  </a:cubicBezTo>
                  <a:cubicBezTo>
                    <a:pt x="829039" y="31613"/>
                    <a:pt x="827593" y="35093"/>
                    <a:pt x="828675" y="36987"/>
                  </a:cubicBezTo>
                  <a:cubicBezTo>
                    <a:pt x="830554" y="40276"/>
                    <a:pt x="835167" y="42902"/>
                    <a:pt x="838200" y="44924"/>
                  </a:cubicBezTo>
                  <a:cubicBezTo>
                    <a:pt x="846667" y="44395"/>
                    <a:pt x="855152" y="44105"/>
                    <a:pt x="863600" y="43337"/>
                  </a:cubicBezTo>
                  <a:cubicBezTo>
                    <a:pt x="866806" y="43046"/>
                    <a:pt x="870166" y="40481"/>
                    <a:pt x="873125" y="41749"/>
                  </a:cubicBezTo>
                  <a:cubicBezTo>
                    <a:pt x="875130" y="42608"/>
                    <a:pt x="874184" y="45982"/>
                    <a:pt x="874713" y="48099"/>
                  </a:cubicBezTo>
                  <a:cubicBezTo>
                    <a:pt x="869491" y="68978"/>
                    <a:pt x="870313" y="62954"/>
                    <a:pt x="876300" y="103662"/>
                  </a:cubicBezTo>
                  <a:cubicBezTo>
                    <a:pt x="876627" y="105883"/>
                    <a:pt x="879475" y="106837"/>
                    <a:pt x="881063" y="108424"/>
                  </a:cubicBezTo>
                  <a:cubicBezTo>
                    <a:pt x="881592" y="113187"/>
                    <a:pt x="881298" y="118115"/>
                    <a:pt x="882650" y="122712"/>
                  </a:cubicBezTo>
                  <a:cubicBezTo>
                    <a:pt x="883985" y="127253"/>
                    <a:pt x="887503" y="130922"/>
                    <a:pt x="889000" y="135412"/>
                  </a:cubicBezTo>
                  <a:cubicBezTo>
                    <a:pt x="889529" y="136999"/>
                    <a:pt x="889758" y="138721"/>
                    <a:pt x="890588" y="140174"/>
                  </a:cubicBezTo>
                  <a:cubicBezTo>
                    <a:pt x="891901" y="142471"/>
                    <a:pt x="893763" y="144407"/>
                    <a:pt x="895350" y="146524"/>
                  </a:cubicBezTo>
                  <a:cubicBezTo>
                    <a:pt x="895879" y="148112"/>
                    <a:pt x="895755" y="150104"/>
                    <a:pt x="896938" y="151287"/>
                  </a:cubicBezTo>
                  <a:cubicBezTo>
                    <a:pt x="898611" y="152960"/>
                    <a:pt x="901233" y="153288"/>
                    <a:pt x="903288" y="154462"/>
                  </a:cubicBezTo>
                  <a:cubicBezTo>
                    <a:pt x="904944" y="155409"/>
                    <a:pt x="906463" y="156579"/>
                    <a:pt x="908050" y="157637"/>
                  </a:cubicBezTo>
                  <a:cubicBezTo>
                    <a:pt x="909108" y="160283"/>
                    <a:pt x="911843" y="162792"/>
                    <a:pt x="911225" y="165574"/>
                  </a:cubicBezTo>
                  <a:cubicBezTo>
                    <a:pt x="910576" y="168496"/>
                    <a:pt x="906329" y="169307"/>
                    <a:pt x="904875" y="171924"/>
                  </a:cubicBezTo>
                  <a:cubicBezTo>
                    <a:pt x="903565" y="174283"/>
                    <a:pt x="903942" y="177244"/>
                    <a:pt x="903288" y="179862"/>
                  </a:cubicBezTo>
                  <a:cubicBezTo>
                    <a:pt x="902882" y="181485"/>
                    <a:pt x="902106" y="183001"/>
                    <a:pt x="901700" y="184624"/>
                  </a:cubicBezTo>
                  <a:cubicBezTo>
                    <a:pt x="897869" y="199949"/>
                    <a:pt x="902155" y="186439"/>
                    <a:pt x="898525" y="197324"/>
                  </a:cubicBezTo>
                  <a:cubicBezTo>
                    <a:pt x="899583" y="200499"/>
                    <a:pt x="899333" y="204482"/>
                    <a:pt x="901700" y="206849"/>
                  </a:cubicBezTo>
                  <a:cubicBezTo>
                    <a:pt x="902883" y="208032"/>
                    <a:pt x="906057" y="203638"/>
                    <a:pt x="906463" y="205262"/>
                  </a:cubicBezTo>
                  <a:cubicBezTo>
                    <a:pt x="907625" y="209911"/>
                    <a:pt x="906655" y="215100"/>
                    <a:pt x="904875" y="219549"/>
                  </a:cubicBezTo>
                  <a:cubicBezTo>
                    <a:pt x="904254" y="221103"/>
                    <a:pt x="901722" y="220677"/>
                    <a:pt x="900113" y="221137"/>
                  </a:cubicBezTo>
                  <a:cubicBezTo>
                    <a:pt x="893490" y="223029"/>
                    <a:pt x="891710" y="223066"/>
                    <a:pt x="884238" y="224312"/>
                  </a:cubicBezTo>
                  <a:cubicBezTo>
                    <a:pt x="877359" y="222195"/>
                    <a:pt x="869951" y="221349"/>
                    <a:pt x="863600" y="217962"/>
                  </a:cubicBezTo>
                  <a:cubicBezTo>
                    <a:pt x="861512" y="216848"/>
                    <a:pt x="862708" y="212235"/>
                    <a:pt x="860425" y="211612"/>
                  </a:cubicBezTo>
                  <a:cubicBezTo>
                    <a:pt x="855802" y="210351"/>
                    <a:pt x="850900" y="212670"/>
                    <a:pt x="846138" y="213199"/>
                  </a:cubicBezTo>
                  <a:cubicBezTo>
                    <a:pt x="844550" y="214787"/>
                    <a:pt x="842620" y="216094"/>
                    <a:pt x="841375" y="217962"/>
                  </a:cubicBezTo>
                  <a:cubicBezTo>
                    <a:pt x="840447" y="219354"/>
                    <a:pt x="840833" y="221418"/>
                    <a:pt x="839788" y="222724"/>
                  </a:cubicBezTo>
                  <a:cubicBezTo>
                    <a:pt x="838596" y="224214"/>
                    <a:pt x="836613" y="224841"/>
                    <a:pt x="835025" y="225899"/>
                  </a:cubicBezTo>
                  <a:cubicBezTo>
                    <a:pt x="837142" y="226957"/>
                    <a:pt x="839557" y="227559"/>
                    <a:pt x="841375" y="229074"/>
                  </a:cubicBezTo>
                  <a:cubicBezTo>
                    <a:pt x="847401" y="234096"/>
                    <a:pt x="841788" y="234251"/>
                    <a:pt x="847725" y="240187"/>
                  </a:cubicBezTo>
                  <a:cubicBezTo>
                    <a:pt x="848908" y="241370"/>
                    <a:pt x="850900" y="241245"/>
                    <a:pt x="852488" y="241774"/>
                  </a:cubicBezTo>
                  <a:cubicBezTo>
                    <a:pt x="853822" y="243776"/>
                    <a:pt x="860425" y="253517"/>
                    <a:pt x="860425" y="254474"/>
                  </a:cubicBezTo>
                  <a:cubicBezTo>
                    <a:pt x="860425" y="255647"/>
                    <a:pt x="856409" y="270257"/>
                    <a:pt x="852488" y="273524"/>
                  </a:cubicBezTo>
                  <a:cubicBezTo>
                    <a:pt x="849873" y="275703"/>
                    <a:pt x="844683" y="277184"/>
                    <a:pt x="841375" y="278287"/>
                  </a:cubicBezTo>
                  <a:cubicBezTo>
                    <a:pt x="832283" y="291924"/>
                    <a:pt x="845903" y="269248"/>
                    <a:pt x="839788" y="295749"/>
                  </a:cubicBezTo>
                  <a:cubicBezTo>
                    <a:pt x="839026" y="299051"/>
                    <a:pt x="835555" y="301041"/>
                    <a:pt x="833438" y="303687"/>
                  </a:cubicBezTo>
                  <a:cubicBezTo>
                    <a:pt x="835025" y="304745"/>
                    <a:pt x="837737" y="305011"/>
                    <a:pt x="838200" y="306862"/>
                  </a:cubicBezTo>
                  <a:cubicBezTo>
                    <a:pt x="838999" y="310058"/>
                    <a:pt x="836248" y="317482"/>
                    <a:pt x="835025" y="321149"/>
                  </a:cubicBezTo>
                  <a:cubicBezTo>
                    <a:pt x="838161" y="339959"/>
                    <a:pt x="832342" y="323715"/>
                    <a:pt x="847725" y="332262"/>
                  </a:cubicBezTo>
                  <a:cubicBezTo>
                    <a:pt x="849794" y="333411"/>
                    <a:pt x="849726" y="336557"/>
                    <a:pt x="850900" y="338612"/>
                  </a:cubicBezTo>
                  <a:cubicBezTo>
                    <a:pt x="851847" y="340268"/>
                    <a:pt x="853017" y="341787"/>
                    <a:pt x="854075" y="343374"/>
                  </a:cubicBezTo>
                  <a:cubicBezTo>
                    <a:pt x="851429" y="344962"/>
                    <a:pt x="848754" y="346502"/>
                    <a:pt x="846138" y="348137"/>
                  </a:cubicBezTo>
                  <a:cubicBezTo>
                    <a:pt x="844520" y="349148"/>
                    <a:pt x="843119" y="350537"/>
                    <a:pt x="841375" y="351312"/>
                  </a:cubicBezTo>
                  <a:cubicBezTo>
                    <a:pt x="838317" y="352671"/>
                    <a:pt x="835025" y="353429"/>
                    <a:pt x="831850" y="354487"/>
                  </a:cubicBezTo>
                  <a:lnTo>
                    <a:pt x="827088" y="356074"/>
                  </a:lnTo>
                  <a:cubicBezTo>
                    <a:pt x="825500" y="357662"/>
                    <a:pt x="823762" y="359112"/>
                    <a:pt x="822325" y="360837"/>
                  </a:cubicBezTo>
                  <a:cubicBezTo>
                    <a:pt x="821104" y="362303"/>
                    <a:pt x="820586" y="364343"/>
                    <a:pt x="819150" y="365599"/>
                  </a:cubicBezTo>
                  <a:cubicBezTo>
                    <a:pt x="816380" y="368023"/>
                    <a:pt x="807628" y="373492"/>
                    <a:pt x="803275" y="375124"/>
                  </a:cubicBezTo>
                  <a:cubicBezTo>
                    <a:pt x="801232" y="375890"/>
                    <a:pt x="799042" y="376183"/>
                    <a:pt x="796925" y="376712"/>
                  </a:cubicBezTo>
                  <a:cubicBezTo>
                    <a:pt x="795867" y="378299"/>
                    <a:pt x="794603" y="379768"/>
                    <a:pt x="793750" y="381474"/>
                  </a:cubicBezTo>
                  <a:cubicBezTo>
                    <a:pt x="793002" y="382971"/>
                    <a:pt x="793470" y="385192"/>
                    <a:pt x="792163" y="386237"/>
                  </a:cubicBezTo>
                  <a:cubicBezTo>
                    <a:pt x="790459" y="387600"/>
                    <a:pt x="787930" y="387295"/>
                    <a:pt x="785813" y="387824"/>
                  </a:cubicBezTo>
                  <a:cubicBezTo>
                    <a:pt x="785284" y="392057"/>
                    <a:pt x="786672" y="397029"/>
                    <a:pt x="784225" y="400524"/>
                  </a:cubicBezTo>
                  <a:cubicBezTo>
                    <a:pt x="782914" y="402397"/>
                    <a:pt x="769296" y="404780"/>
                    <a:pt x="766763" y="405287"/>
                  </a:cubicBezTo>
                  <a:cubicBezTo>
                    <a:pt x="749422" y="416847"/>
                    <a:pt x="776158" y="399796"/>
                    <a:pt x="755650" y="410049"/>
                  </a:cubicBezTo>
                  <a:cubicBezTo>
                    <a:pt x="733802" y="420972"/>
                    <a:pt x="754538" y="413593"/>
                    <a:pt x="741363" y="417987"/>
                  </a:cubicBezTo>
                  <a:cubicBezTo>
                    <a:pt x="739246" y="420104"/>
                    <a:pt x="737901" y="423549"/>
                    <a:pt x="735013" y="424337"/>
                  </a:cubicBezTo>
                  <a:cubicBezTo>
                    <a:pt x="732295" y="425078"/>
                    <a:pt x="721376" y="422118"/>
                    <a:pt x="717550" y="421162"/>
                  </a:cubicBezTo>
                  <a:cubicBezTo>
                    <a:pt x="712788" y="421691"/>
                    <a:pt x="707999" y="422020"/>
                    <a:pt x="703263" y="422749"/>
                  </a:cubicBezTo>
                  <a:cubicBezTo>
                    <a:pt x="701107" y="423081"/>
                    <a:pt x="699089" y="424182"/>
                    <a:pt x="696913" y="424337"/>
                  </a:cubicBezTo>
                  <a:cubicBezTo>
                    <a:pt x="684234" y="425243"/>
                    <a:pt x="671513" y="425395"/>
                    <a:pt x="658813" y="425924"/>
                  </a:cubicBezTo>
                  <a:cubicBezTo>
                    <a:pt x="658284" y="431216"/>
                    <a:pt x="658789" y="436716"/>
                    <a:pt x="657225" y="441799"/>
                  </a:cubicBezTo>
                  <a:cubicBezTo>
                    <a:pt x="656565" y="443945"/>
                    <a:pt x="654153" y="445084"/>
                    <a:pt x="652463" y="446562"/>
                  </a:cubicBezTo>
                  <a:cubicBezTo>
                    <a:pt x="642717" y="455090"/>
                    <a:pt x="646650" y="452609"/>
                    <a:pt x="633413" y="454499"/>
                  </a:cubicBezTo>
                  <a:cubicBezTo>
                    <a:pt x="622256" y="471237"/>
                    <a:pt x="639833" y="447183"/>
                    <a:pt x="623888" y="460849"/>
                  </a:cubicBezTo>
                  <a:cubicBezTo>
                    <a:pt x="604350" y="477595"/>
                    <a:pt x="632282" y="462209"/>
                    <a:pt x="612775" y="471962"/>
                  </a:cubicBezTo>
                  <a:cubicBezTo>
                    <a:pt x="610129" y="471433"/>
                    <a:pt x="607515" y="470709"/>
                    <a:pt x="604838" y="470374"/>
                  </a:cubicBezTo>
                  <a:cubicBezTo>
                    <a:pt x="594308" y="469058"/>
                    <a:pt x="572990" y="467828"/>
                    <a:pt x="563563" y="467199"/>
                  </a:cubicBezTo>
                  <a:cubicBezTo>
                    <a:pt x="561975" y="466670"/>
                    <a:pt x="560424" y="466018"/>
                    <a:pt x="558800" y="465612"/>
                  </a:cubicBezTo>
                  <a:cubicBezTo>
                    <a:pt x="556182" y="464958"/>
                    <a:pt x="553329" y="465120"/>
                    <a:pt x="550863" y="464024"/>
                  </a:cubicBezTo>
                  <a:cubicBezTo>
                    <a:pt x="548445" y="462949"/>
                    <a:pt x="546879" y="460445"/>
                    <a:pt x="544513" y="459262"/>
                  </a:cubicBezTo>
                  <a:cubicBezTo>
                    <a:pt x="541520" y="457765"/>
                    <a:pt x="534988" y="456087"/>
                    <a:pt x="534988" y="456087"/>
                  </a:cubicBezTo>
                  <a:cubicBezTo>
                    <a:pt x="533930" y="454499"/>
                    <a:pt x="532565" y="453078"/>
                    <a:pt x="531813" y="451324"/>
                  </a:cubicBezTo>
                  <a:cubicBezTo>
                    <a:pt x="530953" y="449319"/>
                    <a:pt x="532407" y="444974"/>
                    <a:pt x="530225" y="444974"/>
                  </a:cubicBezTo>
                  <a:cubicBezTo>
                    <a:pt x="526409" y="444974"/>
                    <a:pt x="524113" y="449617"/>
                    <a:pt x="520700" y="451324"/>
                  </a:cubicBezTo>
                  <a:cubicBezTo>
                    <a:pt x="518749" y="452300"/>
                    <a:pt x="516467" y="452383"/>
                    <a:pt x="514350" y="452912"/>
                  </a:cubicBezTo>
                  <a:cubicBezTo>
                    <a:pt x="510405" y="456857"/>
                    <a:pt x="507367" y="462478"/>
                    <a:pt x="500063" y="456087"/>
                  </a:cubicBezTo>
                  <a:cubicBezTo>
                    <a:pt x="497544" y="453883"/>
                    <a:pt x="496888" y="446562"/>
                    <a:pt x="496888" y="446562"/>
                  </a:cubicBezTo>
                  <a:cubicBezTo>
                    <a:pt x="494242" y="447091"/>
                    <a:pt x="491634" y="447867"/>
                    <a:pt x="488950" y="448149"/>
                  </a:cubicBezTo>
                  <a:cubicBezTo>
                    <a:pt x="481564" y="448927"/>
                    <a:pt x="474039" y="448446"/>
                    <a:pt x="466725" y="449737"/>
                  </a:cubicBezTo>
                  <a:cubicBezTo>
                    <a:pt x="464846" y="450069"/>
                    <a:pt x="463706" y="452137"/>
                    <a:pt x="461963" y="452912"/>
                  </a:cubicBezTo>
                  <a:cubicBezTo>
                    <a:pt x="455370" y="455842"/>
                    <a:pt x="451292" y="456316"/>
                    <a:pt x="444500" y="457674"/>
                  </a:cubicBezTo>
                  <a:cubicBezTo>
                    <a:pt x="437621" y="457145"/>
                    <a:pt x="430575" y="457685"/>
                    <a:pt x="423863" y="456087"/>
                  </a:cubicBezTo>
                  <a:cubicBezTo>
                    <a:pt x="418306" y="454764"/>
                    <a:pt x="409633" y="449105"/>
                    <a:pt x="404813" y="444974"/>
                  </a:cubicBezTo>
                  <a:cubicBezTo>
                    <a:pt x="403108" y="443513"/>
                    <a:pt x="401775" y="441649"/>
                    <a:pt x="400050" y="440212"/>
                  </a:cubicBezTo>
                  <a:cubicBezTo>
                    <a:pt x="398584" y="438991"/>
                    <a:pt x="396875" y="438095"/>
                    <a:pt x="395288" y="437037"/>
                  </a:cubicBezTo>
                  <a:cubicBezTo>
                    <a:pt x="386160" y="440078"/>
                    <a:pt x="394005" y="438253"/>
                    <a:pt x="379413" y="437037"/>
                  </a:cubicBezTo>
                  <a:cubicBezTo>
                    <a:pt x="370433" y="436289"/>
                    <a:pt x="361421" y="435978"/>
                    <a:pt x="352425" y="435449"/>
                  </a:cubicBezTo>
                  <a:cubicBezTo>
                    <a:pt x="351896" y="432803"/>
                    <a:pt x="352045" y="429925"/>
                    <a:pt x="350838" y="427512"/>
                  </a:cubicBezTo>
                  <a:cubicBezTo>
                    <a:pt x="348730" y="423295"/>
                    <a:pt x="345345" y="422170"/>
                    <a:pt x="341313" y="421162"/>
                  </a:cubicBezTo>
                  <a:cubicBezTo>
                    <a:pt x="338695" y="420508"/>
                    <a:pt x="336021" y="420103"/>
                    <a:pt x="333375" y="419574"/>
                  </a:cubicBezTo>
                  <a:cubicBezTo>
                    <a:pt x="332317" y="417457"/>
                    <a:pt x="331575" y="415150"/>
                    <a:pt x="330200" y="413224"/>
                  </a:cubicBezTo>
                  <a:cubicBezTo>
                    <a:pt x="328895" y="411397"/>
                    <a:pt x="326683" y="410330"/>
                    <a:pt x="325438" y="408462"/>
                  </a:cubicBezTo>
                  <a:cubicBezTo>
                    <a:pt x="319303" y="399260"/>
                    <a:pt x="329738" y="407624"/>
                    <a:pt x="319088" y="400524"/>
                  </a:cubicBezTo>
                  <a:cubicBezTo>
                    <a:pt x="316706" y="391000"/>
                    <a:pt x="316441" y="394171"/>
                    <a:pt x="320675" y="381474"/>
                  </a:cubicBezTo>
                  <a:cubicBezTo>
                    <a:pt x="320949" y="380652"/>
                    <a:pt x="324470" y="370500"/>
                    <a:pt x="323850" y="370362"/>
                  </a:cubicBezTo>
                  <a:cubicBezTo>
                    <a:pt x="318582" y="369191"/>
                    <a:pt x="313267" y="372479"/>
                    <a:pt x="307975" y="373537"/>
                  </a:cubicBezTo>
                  <a:cubicBezTo>
                    <a:pt x="307446" y="375124"/>
                    <a:pt x="307571" y="377116"/>
                    <a:pt x="306388" y="378299"/>
                  </a:cubicBezTo>
                  <a:cubicBezTo>
                    <a:pt x="305205" y="379482"/>
                    <a:pt x="303289" y="379712"/>
                    <a:pt x="301625" y="379887"/>
                  </a:cubicBezTo>
                  <a:cubicBezTo>
                    <a:pt x="293188" y="380775"/>
                    <a:pt x="284692" y="380945"/>
                    <a:pt x="276225" y="381474"/>
                  </a:cubicBezTo>
                  <a:cubicBezTo>
                    <a:pt x="274108" y="382532"/>
                    <a:pt x="271930" y="383475"/>
                    <a:pt x="269875" y="384649"/>
                  </a:cubicBezTo>
                  <a:cubicBezTo>
                    <a:pt x="268219" y="385596"/>
                    <a:pt x="267006" y="387587"/>
                    <a:pt x="265113" y="387824"/>
                  </a:cubicBezTo>
                  <a:cubicBezTo>
                    <a:pt x="262435" y="388159"/>
                    <a:pt x="259821" y="386766"/>
                    <a:pt x="257175" y="386237"/>
                  </a:cubicBezTo>
                  <a:cubicBezTo>
                    <a:pt x="256635" y="385517"/>
                    <a:pt x="251617" y="376315"/>
                    <a:pt x="247650" y="378299"/>
                  </a:cubicBezTo>
                  <a:cubicBezTo>
                    <a:pt x="246153" y="379047"/>
                    <a:pt x="247516" y="382232"/>
                    <a:pt x="246063" y="383062"/>
                  </a:cubicBezTo>
                  <a:cubicBezTo>
                    <a:pt x="243268" y="384659"/>
                    <a:pt x="239737" y="384294"/>
                    <a:pt x="236538" y="384649"/>
                  </a:cubicBezTo>
                  <a:cubicBezTo>
                    <a:pt x="230205" y="385353"/>
                    <a:pt x="223838" y="385708"/>
                    <a:pt x="217488" y="386237"/>
                  </a:cubicBezTo>
                  <a:cubicBezTo>
                    <a:pt x="209825" y="397731"/>
                    <a:pt x="214551" y="397469"/>
                    <a:pt x="204788" y="392587"/>
                  </a:cubicBezTo>
                  <a:cubicBezTo>
                    <a:pt x="191258" y="395968"/>
                    <a:pt x="204508" y="390625"/>
                    <a:pt x="196850" y="402112"/>
                  </a:cubicBezTo>
                  <a:cubicBezTo>
                    <a:pt x="194971" y="404931"/>
                    <a:pt x="191309" y="406066"/>
                    <a:pt x="188913" y="408462"/>
                  </a:cubicBezTo>
                  <a:cubicBezTo>
                    <a:pt x="187327" y="410048"/>
                    <a:pt x="181380" y="420878"/>
                    <a:pt x="180975" y="421162"/>
                  </a:cubicBezTo>
                  <a:cubicBezTo>
                    <a:pt x="177819" y="423371"/>
                    <a:pt x="173567" y="423279"/>
                    <a:pt x="169863" y="424337"/>
                  </a:cubicBezTo>
                  <a:cubicBezTo>
                    <a:pt x="163513" y="422749"/>
                    <a:pt x="156756" y="422317"/>
                    <a:pt x="150813" y="419574"/>
                  </a:cubicBezTo>
                  <a:cubicBezTo>
                    <a:pt x="149294" y="418873"/>
                    <a:pt x="150270" y="416119"/>
                    <a:pt x="149225" y="414812"/>
                  </a:cubicBezTo>
                  <a:cubicBezTo>
                    <a:pt x="148033" y="413322"/>
                    <a:pt x="146169" y="412490"/>
                    <a:pt x="144463" y="411637"/>
                  </a:cubicBezTo>
                  <a:cubicBezTo>
                    <a:pt x="138740" y="408775"/>
                    <a:pt x="128383" y="408918"/>
                    <a:pt x="123825" y="408462"/>
                  </a:cubicBezTo>
                  <a:cubicBezTo>
                    <a:pt x="123296" y="405816"/>
                    <a:pt x="123735" y="402769"/>
                    <a:pt x="122238" y="400524"/>
                  </a:cubicBezTo>
                  <a:cubicBezTo>
                    <a:pt x="121310" y="399132"/>
                    <a:pt x="119013" y="399596"/>
                    <a:pt x="117475" y="398937"/>
                  </a:cubicBezTo>
                  <a:cubicBezTo>
                    <a:pt x="115300" y="398005"/>
                    <a:pt x="113242" y="396820"/>
                    <a:pt x="111125" y="395762"/>
                  </a:cubicBezTo>
                  <a:cubicBezTo>
                    <a:pt x="110596" y="393645"/>
                    <a:pt x="110935" y="391088"/>
                    <a:pt x="109538" y="389412"/>
                  </a:cubicBezTo>
                  <a:cubicBezTo>
                    <a:pt x="108023" y="387594"/>
                    <a:pt x="105243" y="387411"/>
                    <a:pt x="103188" y="386237"/>
                  </a:cubicBezTo>
                  <a:cubicBezTo>
                    <a:pt x="101531" y="385290"/>
                    <a:pt x="100013" y="384120"/>
                    <a:pt x="98425" y="383062"/>
                  </a:cubicBezTo>
                  <a:cubicBezTo>
                    <a:pt x="94192" y="383591"/>
                    <a:pt x="88502" y="381410"/>
                    <a:pt x="85725" y="384649"/>
                  </a:cubicBezTo>
                  <a:cubicBezTo>
                    <a:pt x="70235" y="402720"/>
                    <a:pt x="108807" y="386704"/>
                    <a:pt x="82550" y="400524"/>
                  </a:cubicBezTo>
                  <a:cubicBezTo>
                    <a:pt x="74985" y="404506"/>
                    <a:pt x="66675" y="406874"/>
                    <a:pt x="58738" y="410049"/>
                  </a:cubicBezTo>
                  <a:cubicBezTo>
                    <a:pt x="57150" y="409520"/>
                    <a:pt x="55158" y="409645"/>
                    <a:pt x="53975" y="408462"/>
                  </a:cubicBezTo>
                  <a:cubicBezTo>
                    <a:pt x="52302" y="406789"/>
                    <a:pt x="51974" y="404167"/>
                    <a:pt x="50800" y="402112"/>
                  </a:cubicBezTo>
                  <a:cubicBezTo>
                    <a:pt x="47543" y="396413"/>
                    <a:pt x="48236" y="397756"/>
                    <a:pt x="42863" y="394174"/>
                  </a:cubicBezTo>
                  <a:cubicBezTo>
                    <a:pt x="42334" y="391528"/>
                    <a:pt x="42772" y="388482"/>
                    <a:pt x="41275" y="386237"/>
                  </a:cubicBezTo>
                  <a:cubicBezTo>
                    <a:pt x="40347" y="384845"/>
                    <a:pt x="38175" y="384841"/>
                    <a:pt x="36513" y="384649"/>
                  </a:cubicBezTo>
                  <a:cubicBezTo>
                    <a:pt x="24377" y="383249"/>
                    <a:pt x="12171" y="382532"/>
                    <a:pt x="0" y="381474"/>
                  </a:cubicBezTo>
                  <a:cubicBezTo>
                    <a:pt x="529" y="371420"/>
                    <a:pt x="816" y="361350"/>
                    <a:pt x="1588" y="351312"/>
                  </a:cubicBezTo>
                  <a:cubicBezTo>
                    <a:pt x="2815" y="335364"/>
                    <a:pt x="4472" y="345389"/>
                    <a:pt x="1588" y="333849"/>
                  </a:cubicBezTo>
                  <a:cubicBezTo>
                    <a:pt x="3175" y="330674"/>
                    <a:pt x="3548" y="326503"/>
                    <a:pt x="6350" y="324324"/>
                  </a:cubicBezTo>
                  <a:cubicBezTo>
                    <a:pt x="8891" y="322348"/>
                    <a:pt x="13362" y="324748"/>
                    <a:pt x="15875" y="322737"/>
                  </a:cubicBezTo>
                  <a:cubicBezTo>
                    <a:pt x="17182" y="321692"/>
                    <a:pt x="15595" y="319019"/>
                    <a:pt x="14288" y="317974"/>
                  </a:cubicBezTo>
                  <a:cubicBezTo>
                    <a:pt x="12584" y="316611"/>
                    <a:pt x="10055" y="316916"/>
                    <a:pt x="7938" y="316387"/>
                  </a:cubicBezTo>
                  <a:cubicBezTo>
                    <a:pt x="6350" y="315329"/>
                    <a:pt x="4367" y="314702"/>
                    <a:pt x="3175" y="313212"/>
                  </a:cubicBezTo>
                  <a:cubicBezTo>
                    <a:pt x="-1166" y="307785"/>
                    <a:pt x="4560" y="297742"/>
                    <a:pt x="6350" y="294162"/>
                  </a:cubicBezTo>
                  <a:cubicBezTo>
                    <a:pt x="7408" y="292045"/>
                    <a:pt x="7229" y="288386"/>
                    <a:pt x="9525" y="287812"/>
                  </a:cubicBezTo>
                  <a:cubicBezTo>
                    <a:pt x="18780" y="285498"/>
                    <a:pt x="28575" y="286753"/>
                    <a:pt x="38100" y="286224"/>
                  </a:cubicBezTo>
                  <a:cubicBezTo>
                    <a:pt x="41275" y="286753"/>
                    <a:pt x="44542" y="286887"/>
                    <a:pt x="47625" y="287812"/>
                  </a:cubicBezTo>
                  <a:cubicBezTo>
                    <a:pt x="49892" y="288492"/>
                    <a:pt x="51800" y="290055"/>
                    <a:pt x="53975" y="290987"/>
                  </a:cubicBezTo>
                  <a:cubicBezTo>
                    <a:pt x="55513" y="291646"/>
                    <a:pt x="57150" y="292045"/>
                    <a:pt x="58738" y="292574"/>
                  </a:cubicBezTo>
                  <a:cubicBezTo>
                    <a:pt x="59796" y="294162"/>
                    <a:pt x="61060" y="295630"/>
                    <a:pt x="61913" y="297337"/>
                  </a:cubicBezTo>
                  <a:cubicBezTo>
                    <a:pt x="62661" y="298834"/>
                    <a:pt x="62455" y="300793"/>
                    <a:pt x="63500" y="302099"/>
                  </a:cubicBezTo>
                  <a:cubicBezTo>
                    <a:pt x="64692" y="303589"/>
                    <a:pt x="66675" y="304216"/>
                    <a:pt x="68263" y="305274"/>
                  </a:cubicBezTo>
                  <a:cubicBezTo>
                    <a:pt x="68792" y="307391"/>
                    <a:pt x="69251" y="309526"/>
                    <a:pt x="69850" y="311624"/>
                  </a:cubicBezTo>
                  <a:cubicBezTo>
                    <a:pt x="70310" y="313233"/>
                    <a:pt x="71075" y="314753"/>
                    <a:pt x="71438" y="316387"/>
                  </a:cubicBezTo>
                  <a:cubicBezTo>
                    <a:pt x="72136" y="319529"/>
                    <a:pt x="71718" y="322971"/>
                    <a:pt x="73025" y="325912"/>
                  </a:cubicBezTo>
                  <a:cubicBezTo>
                    <a:pt x="75092" y="330564"/>
                    <a:pt x="78549" y="330928"/>
                    <a:pt x="82550" y="332262"/>
                  </a:cubicBezTo>
                  <a:cubicBezTo>
                    <a:pt x="85725" y="331733"/>
                    <a:pt x="89196" y="332114"/>
                    <a:pt x="92075" y="330674"/>
                  </a:cubicBezTo>
                  <a:cubicBezTo>
                    <a:pt x="93781" y="329821"/>
                    <a:pt x="95150" y="327817"/>
                    <a:pt x="95250" y="325912"/>
                  </a:cubicBezTo>
                  <a:cubicBezTo>
                    <a:pt x="95696" y="317441"/>
                    <a:pt x="94192" y="308979"/>
                    <a:pt x="93663" y="300512"/>
                  </a:cubicBezTo>
                  <a:cubicBezTo>
                    <a:pt x="94721" y="298924"/>
                    <a:pt x="95891" y="297406"/>
                    <a:pt x="96838" y="295749"/>
                  </a:cubicBezTo>
                  <a:cubicBezTo>
                    <a:pt x="98012" y="293694"/>
                    <a:pt x="99678" y="291742"/>
                    <a:pt x="100013" y="289399"/>
                  </a:cubicBezTo>
                  <a:cubicBezTo>
                    <a:pt x="100250" y="287743"/>
                    <a:pt x="96754" y="284725"/>
                    <a:pt x="98425" y="284637"/>
                  </a:cubicBezTo>
                  <a:cubicBezTo>
                    <a:pt x="109046" y="284078"/>
                    <a:pt x="119592" y="286754"/>
                    <a:pt x="130175" y="287812"/>
                  </a:cubicBezTo>
                  <a:cubicBezTo>
                    <a:pt x="132292" y="288870"/>
                    <a:pt x="134219" y="290455"/>
                    <a:pt x="136525" y="290987"/>
                  </a:cubicBezTo>
                  <a:cubicBezTo>
                    <a:pt x="141194" y="292064"/>
                    <a:pt x="146364" y="290794"/>
                    <a:pt x="150813" y="292574"/>
                  </a:cubicBezTo>
                  <a:cubicBezTo>
                    <a:pt x="152367" y="293196"/>
                    <a:pt x="151217" y="296154"/>
                    <a:pt x="152400" y="297337"/>
                  </a:cubicBezTo>
                  <a:cubicBezTo>
                    <a:pt x="154073" y="299010"/>
                    <a:pt x="156633" y="299454"/>
                    <a:pt x="158750" y="300512"/>
                  </a:cubicBezTo>
                  <a:cubicBezTo>
                    <a:pt x="161560" y="311748"/>
                    <a:pt x="159329" y="302108"/>
                    <a:pt x="161925" y="316387"/>
                  </a:cubicBezTo>
                  <a:cubicBezTo>
                    <a:pt x="162408" y="319042"/>
                    <a:pt x="161786" y="322251"/>
                    <a:pt x="163513" y="324324"/>
                  </a:cubicBezTo>
                  <a:cubicBezTo>
                    <a:pt x="164910" y="326000"/>
                    <a:pt x="167746" y="325383"/>
                    <a:pt x="169863" y="325912"/>
                  </a:cubicBezTo>
                  <a:cubicBezTo>
                    <a:pt x="171980" y="325383"/>
                    <a:pt x="174208" y="325184"/>
                    <a:pt x="176213" y="324324"/>
                  </a:cubicBezTo>
                  <a:cubicBezTo>
                    <a:pt x="188932" y="318872"/>
                    <a:pt x="170860" y="322897"/>
                    <a:pt x="188913" y="317974"/>
                  </a:cubicBezTo>
                  <a:cubicBezTo>
                    <a:pt x="192018" y="317127"/>
                    <a:pt x="195263" y="316916"/>
                    <a:pt x="198438" y="316387"/>
                  </a:cubicBezTo>
                  <a:cubicBezTo>
                    <a:pt x="200781" y="312873"/>
                    <a:pt x="202708" y="309307"/>
                    <a:pt x="206375" y="306862"/>
                  </a:cubicBezTo>
                  <a:cubicBezTo>
                    <a:pt x="207768" y="305934"/>
                    <a:pt x="209600" y="305933"/>
                    <a:pt x="211138" y="305274"/>
                  </a:cubicBezTo>
                  <a:cubicBezTo>
                    <a:pt x="213313" y="304342"/>
                    <a:pt x="215371" y="303157"/>
                    <a:pt x="217488" y="302099"/>
                  </a:cubicBezTo>
                  <a:cubicBezTo>
                    <a:pt x="220812" y="295452"/>
                    <a:pt x="221141" y="293684"/>
                    <a:pt x="227013" y="287812"/>
                  </a:cubicBezTo>
                  <a:cubicBezTo>
                    <a:pt x="228362" y="286463"/>
                    <a:pt x="230157" y="285648"/>
                    <a:pt x="231775" y="284637"/>
                  </a:cubicBezTo>
                  <a:cubicBezTo>
                    <a:pt x="234392" y="283001"/>
                    <a:pt x="236953" y="281254"/>
                    <a:pt x="239713" y="279874"/>
                  </a:cubicBezTo>
                  <a:cubicBezTo>
                    <a:pt x="241210" y="279126"/>
                    <a:pt x="242872" y="278768"/>
                    <a:pt x="244475" y="278287"/>
                  </a:cubicBezTo>
                  <a:cubicBezTo>
                    <a:pt x="262614" y="272846"/>
                    <a:pt x="249580" y="277115"/>
                    <a:pt x="260350" y="273524"/>
                  </a:cubicBezTo>
                  <a:cubicBezTo>
                    <a:pt x="264054" y="274053"/>
                    <a:pt x="267913" y="273929"/>
                    <a:pt x="271463" y="275112"/>
                  </a:cubicBezTo>
                  <a:cubicBezTo>
                    <a:pt x="274390" y="276088"/>
                    <a:pt x="276339" y="279491"/>
                    <a:pt x="279400" y="279874"/>
                  </a:cubicBezTo>
                  <a:cubicBezTo>
                    <a:pt x="285200" y="280599"/>
                    <a:pt x="291042" y="278816"/>
                    <a:pt x="296863" y="278287"/>
                  </a:cubicBezTo>
                  <a:cubicBezTo>
                    <a:pt x="298980" y="277229"/>
                    <a:pt x="301158" y="276286"/>
                    <a:pt x="303213" y="275112"/>
                  </a:cubicBezTo>
                  <a:cubicBezTo>
                    <a:pt x="304869" y="274165"/>
                    <a:pt x="306189" y="272607"/>
                    <a:pt x="307975" y="271937"/>
                  </a:cubicBezTo>
                  <a:cubicBezTo>
                    <a:pt x="310502" y="270989"/>
                    <a:pt x="313267" y="270878"/>
                    <a:pt x="315913" y="270349"/>
                  </a:cubicBezTo>
                  <a:cubicBezTo>
                    <a:pt x="317500" y="271407"/>
                    <a:pt x="318769" y="273437"/>
                    <a:pt x="320675" y="273524"/>
                  </a:cubicBezTo>
                  <a:cubicBezTo>
                    <a:pt x="330733" y="273981"/>
                    <a:pt x="341070" y="274379"/>
                    <a:pt x="350838" y="271937"/>
                  </a:cubicBezTo>
                  <a:cubicBezTo>
                    <a:pt x="352955" y="271408"/>
                    <a:pt x="351566" y="267592"/>
                    <a:pt x="352425" y="265587"/>
                  </a:cubicBezTo>
                  <a:cubicBezTo>
                    <a:pt x="354157" y="261545"/>
                    <a:pt x="356514" y="259573"/>
                    <a:pt x="360363" y="257649"/>
                  </a:cubicBezTo>
                  <a:cubicBezTo>
                    <a:pt x="361860" y="256901"/>
                    <a:pt x="363538" y="256591"/>
                    <a:pt x="365125" y="256062"/>
                  </a:cubicBezTo>
                  <a:cubicBezTo>
                    <a:pt x="366713" y="258179"/>
                    <a:pt x="368486" y="260168"/>
                    <a:pt x="369888" y="262412"/>
                  </a:cubicBezTo>
                  <a:cubicBezTo>
                    <a:pt x="373773" y="268628"/>
                    <a:pt x="371865" y="268276"/>
                    <a:pt x="376238" y="273524"/>
                  </a:cubicBezTo>
                  <a:cubicBezTo>
                    <a:pt x="377675" y="275249"/>
                    <a:pt x="379563" y="276562"/>
                    <a:pt x="381000" y="278287"/>
                  </a:cubicBezTo>
                  <a:cubicBezTo>
                    <a:pt x="384659" y="282679"/>
                    <a:pt x="383722" y="284334"/>
                    <a:pt x="388938" y="287812"/>
                  </a:cubicBezTo>
                  <a:cubicBezTo>
                    <a:pt x="392325" y="290070"/>
                    <a:pt x="405867" y="290920"/>
                    <a:pt x="406400" y="290987"/>
                  </a:cubicBezTo>
                  <a:cubicBezTo>
                    <a:pt x="407988" y="290458"/>
                    <a:pt x="409710" y="290229"/>
                    <a:pt x="411163" y="289399"/>
                  </a:cubicBezTo>
                  <a:cubicBezTo>
                    <a:pt x="424620" y="281709"/>
                    <a:pt x="411355" y="286691"/>
                    <a:pt x="422275" y="283049"/>
                  </a:cubicBezTo>
                  <a:cubicBezTo>
                    <a:pt x="429321" y="276004"/>
                    <a:pt x="430762" y="277021"/>
                    <a:pt x="425450" y="262412"/>
                  </a:cubicBezTo>
                  <a:cubicBezTo>
                    <a:pt x="424878" y="260839"/>
                    <a:pt x="422185" y="261572"/>
                    <a:pt x="420688" y="260824"/>
                  </a:cubicBezTo>
                  <a:cubicBezTo>
                    <a:pt x="418981" y="259971"/>
                    <a:pt x="417513" y="258707"/>
                    <a:pt x="415925" y="257649"/>
                  </a:cubicBezTo>
                  <a:cubicBezTo>
                    <a:pt x="412661" y="258465"/>
                    <a:pt x="404662" y="261429"/>
                    <a:pt x="401638" y="257649"/>
                  </a:cubicBezTo>
                  <a:cubicBezTo>
                    <a:pt x="400275" y="255945"/>
                    <a:pt x="402015" y="253114"/>
                    <a:pt x="403225" y="251299"/>
                  </a:cubicBezTo>
                  <a:cubicBezTo>
                    <a:pt x="404283" y="249711"/>
                    <a:pt x="406400" y="249182"/>
                    <a:pt x="407988" y="248124"/>
                  </a:cubicBezTo>
                  <a:cubicBezTo>
                    <a:pt x="412229" y="235400"/>
                    <a:pt x="414831" y="231604"/>
                    <a:pt x="409575" y="214787"/>
                  </a:cubicBezTo>
                  <a:cubicBezTo>
                    <a:pt x="408924" y="212704"/>
                    <a:pt x="405342" y="213728"/>
                    <a:pt x="403225" y="213199"/>
                  </a:cubicBezTo>
                  <a:cubicBezTo>
                    <a:pt x="402696" y="211612"/>
                    <a:pt x="402098" y="210046"/>
                    <a:pt x="401638" y="208437"/>
                  </a:cubicBezTo>
                  <a:cubicBezTo>
                    <a:pt x="401039" y="206339"/>
                    <a:pt x="401260" y="203902"/>
                    <a:pt x="400050" y="202087"/>
                  </a:cubicBezTo>
                  <a:cubicBezTo>
                    <a:pt x="398992" y="200500"/>
                    <a:pt x="396754" y="200133"/>
                    <a:pt x="395288" y="198912"/>
                  </a:cubicBezTo>
                  <a:cubicBezTo>
                    <a:pt x="393563" y="197475"/>
                    <a:pt x="391872" y="195945"/>
                    <a:pt x="390525" y="194149"/>
                  </a:cubicBezTo>
                  <a:cubicBezTo>
                    <a:pt x="386027" y="188152"/>
                    <a:pt x="386128" y="187308"/>
                    <a:pt x="384175" y="181449"/>
                  </a:cubicBezTo>
                  <a:cubicBezTo>
                    <a:pt x="385233" y="176687"/>
                    <a:pt x="384552" y="171159"/>
                    <a:pt x="387350" y="167162"/>
                  </a:cubicBezTo>
                  <a:cubicBezTo>
                    <a:pt x="388897" y="164951"/>
                    <a:pt x="392670" y="166228"/>
                    <a:pt x="395288" y="165574"/>
                  </a:cubicBezTo>
                  <a:cubicBezTo>
                    <a:pt x="396911" y="165168"/>
                    <a:pt x="398463" y="164516"/>
                    <a:pt x="400050" y="163987"/>
                  </a:cubicBezTo>
                  <a:cubicBezTo>
                    <a:pt x="403676" y="160361"/>
                    <a:pt x="408571" y="154462"/>
                    <a:pt x="414338" y="154462"/>
                  </a:cubicBezTo>
                  <a:cubicBezTo>
                    <a:pt x="422432" y="154462"/>
                    <a:pt x="438150" y="159224"/>
                    <a:pt x="438150" y="159224"/>
                  </a:cubicBezTo>
                  <a:cubicBezTo>
                    <a:pt x="449291" y="150869"/>
                    <a:pt x="441369" y="159094"/>
                    <a:pt x="446088" y="144937"/>
                  </a:cubicBezTo>
                  <a:cubicBezTo>
                    <a:pt x="447402" y="140994"/>
                    <a:pt x="451568" y="138361"/>
                    <a:pt x="454025" y="135412"/>
                  </a:cubicBezTo>
                  <a:cubicBezTo>
                    <a:pt x="455246" y="133946"/>
                    <a:pt x="456142" y="132237"/>
                    <a:pt x="457200" y="130649"/>
                  </a:cubicBezTo>
                  <a:cubicBezTo>
                    <a:pt x="458258" y="121653"/>
                    <a:pt x="455574" y="111343"/>
                    <a:pt x="460375" y="103662"/>
                  </a:cubicBezTo>
                  <a:cubicBezTo>
                    <a:pt x="463272" y="99026"/>
                    <a:pt x="475999" y="106956"/>
                    <a:pt x="479425" y="108424"/>
                  </a:cubicBezTo>
                  <a:cubicBezTo>
                    <a:pt x="480963" y="109083"/>
                    <a:pt x="482600" y="109483"/>
                    <a:pt x="484188" y="110012"/>
                  </a:cubicBezTo>
                  <a:cubicBezTo>
                    <a:pt x="490009" y="109483"/>
                    <a:pt x="496309" y="110798"/>
                    <a:pt x="501650" y="108424"/>
                  </a:cubicBezTo>
                  <a:cubicBezTo>
                    <a:pt x="503393" y="107649"/>
                    <a:pt x="498548" y="105568"/>
                    <a:pt x="498475" y="103662"/>
                  </a:cubicBezTo>
                  <a:cubicBezTo>
                    <a:pt x="498007" y="91488"/>
                    <a:pt x="499163" y="79298"/>
                    <a:pt x="500063" y="67149"/>
                  </a:cubicBezTo>
                  <a:cubicBezTo>
                    <a:pt x="500488" y="61416"/>
                    <a:pt x="510646" y="62916"/>
                    <a:pt x="514350" y="62387"/>
                  </a:cubicBezTo>
                  <a:close/>
                </a:path>
              </a:pathLst>
            </a:custGeom>
            <a:solidFill>
              <a:srgbClr val="003399"/>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09" name="Forma libre: forma 29">
              <a:extLst>
                <a:ext uri="{FF2B5EF4-FFF2-40B4-BE49-F238E27FC236}">
                  <a16:creationId xmlns:a16="http://schemas.microsoft.com/office/drawing/2014/main" id="{0C51A357-429F-4FC8-969A-7EC78ADE2100}"/>
                </a:ext>
              </a:extLst>
            </p:cNvPr>
            <p:cNvSpPr/>
            <p:nvPr/>
          </p:nvSpPr>
          <p:spPr>
            <a:xfrm>
              <a:off x="7248777" y="3941566"/>
              <a:ext cx="792509" cy="449262"/>
            </a:xfrm>
            <a:custGeom>
              <a:avLst/>
              <a:gdLst>
                <a:gd name="connsiteX0" fmla="*/ 251167 w 792509"/>
                <a:gd name="connsiteY0" fmla="*/ 4762 h 449262"/>
                <a:gd name="connsiteX1" fmla="*/ 249580 w 792509"/>
                <a:gd name="connsiteY1" fmla="*/ 12700 h 449262"/>
                <a:gd name="connsiteX2" fmla="*/ 247992 w 792509"/>
                <a:gd name="connsiteY2" fmla="*/ 19050 h 449262"/>
                <a:gd name="connsiteX3" fmla="*/ 240055 w 792509"/>
                <a:gd name="connsiteY3" fmla="*/ 41275 h 449262"/>
                <a:gd name="connsiteX4" fmla="*/ 233705 w 792509"/>
                <a:gd name="connsiteY4" fmla="*/ 44450 h 449262"/>
                <a:gd name="connsiteX5" fmla="*/ 214655 w 792509"/>
                <a:gd name="connsiteY5" fmla="*/ 50800 h 449262"/>
                <a:gd name="connsiteX6" fmla="*/ 206717 w 792509"/>
                <a:gd name="connsiteY6" fmla="*/ 53975 h 449262"/>
                <a:gd name="connsiteX7" fmla="*/ 186080 w 792509"/>
                <a:gd name="connsiteY7" fmla="*/ 66675 h 449262"/>
                <a:gd name="connsiteX8" fmla="*/ 179730 w 792509"/>
                <a:gd name="connsiteY8" fmla="*/ 68262 h 449262"/>
                <a:gd name="connsiteX9" fmla="*/ 167030 w 792509"/>
                <a:gd name="connsiteY9" fmla="*/ 71437 h 449262"/>
                <a:gd name="connsiteX10" fmla="*/ 163855 w 792509"/>
                <a:gd name="connsiteY10" fmla="*/ 76200 h 449262"/>
                <a:gd name="connsiteX11" fmla="*/ 159092 w 792509"/>
                <a:gd name="connsiteY11" fmla="*/ 82550 h 449262"/>
                <a:gd name="connsiteX12" fmla="*/ 154330 w 792509"/>
                <a:gd name="connsiteY12" fmla="*/ 90487 h 449262"/>
                <a:gd name="connsiteX13" fmla="*/ 133692 w 792509"/>
                <a:gd name="connsiteY13" fmla="*/ 95250 h 449262"/>
                <a:gd name="connsiteX14" fmla="*/ 128930 w 792509"/>
                <a:gd name="connsiteY14" fmla="*/ 100012 h 449262"/>
                <a:gd name="connsiteX15" fmla="*/ 127342 w 792509"/>
                <a:gd name="connsiteY15" fmla="*/ 104775 h 449262"/>
                <a:gd name="connsiteX16" fmla="*/ 120992 w 792509"/>
                <a:gd name="connsiteY16" fmla="*/ 111125 h 449262"/>
                <a:gd name="connsiteX17" fmla="*/ 111467 w 792509"/>
                <a:gd name="connsiteY17" fmla="*/ 120650 h 449262"/>
                <a:gd name="connsiteX18" fmla="*/ 101942 w 792509"/>
                <a:gd name="connsiteY18" fmla="*/ 117475 h 449262"/>
                <a:gd name="connsiteX19" fmla="*/ 87655 w 792509"/>
                <a:gd name="connsiteY19" fmla="*/ 114300 h 449262"/>
                <a:gd name="connsiteX20" fmla="*/ 62255 w 792509"/>
                <a:gd name="connsiteY20" fmla="*/ 117475 h 449262"/>
                <a:gd name="connsiteX21" fmla="*/ 51142 w 792509"/>
                <a:gd name="connsiteY21" fmla="*/ 128587 h 449262"/>
                <a:gd name="connsiteX22" fmla="*/ 40030 w 792509"/>
                <a:gd name="connsiteY22" fmla="*/ 142875 h 449262"/>
                <a:gd name="connsiteX23" fmla="*/ 33680 w 792509"/>
                <a:gd name="connsiteY23" fmla="*/ 149225 h 449262"/>
                <a:gd name="connsiteX24" fmla="*/ 24155 w 792509"/>
                <a:gd name="connsiteY24" fmla="*/ 157162 h 449262"/>
                <a:gd name="connsiteX25" fmla="*/ 22567 w 792509"/>
                <a:gd name="connsiteY25" fmla="*/ 152400 h 449262"/>
                <a:gd name="connsiteX26" fmla="*/ 6692 w 792509"/>
                <a:gd name="connsiteY26" fmla="*/ 147637 h 449262"/>
                <a:gd name="connsiteX27" fmla="*/ 342 w 792509"/>
                <a:gd name="connsiteY27" fmla="*/ 149225 h 449262"/>
                <a:gd name="connsiteX28" fmla="*/ 1930 w 792509"/>
                <a:gd name="connsiteY28" fmla="*/ 153987 h 449262"/>
                <a:gd name="connsiteX29" fmla="*/ 11455 w 792509"/>
                <a:gd name="connsiteY29" fmla="*/ 160337 h 449262"/>
                <a:gd name="connsiteX30" fmla="*/ 13042 w 792509"/>
                <a:gd name="connsiteY30" fmla="*/ 166687 h 449262"/>
                <a:gd name="connsiteX31" fmla="*/ 8280 w 792509"/>
                <a:gd name="connsiteY31" fmla="*/ 174625 h 449262"/>
                <a:gd name="connsiteX32" fmla="*/ 20980 w 792509"/>
                <a:gd name="connsiteY32" fmla="*/ 184150 h 449262"/>
                <a:gd name="connsiteX33" fmla="*/ 30505 w 792509"/>
                <a:gd name="connsiteY33" fmla="*/ 195262 h 449262"/>
                <a:gd name="connsiteX34" fmla="*/ 35267 w 792509"/>
                <a:gd name="connsiteY34" fmla="*/ 209550 h 449262"/>
                <a:gd name="connsiteX35" fmla="*/ 47967 w 792509"/>
                <a:gd name="connsiteY35" fmla="*/ 214312 h 449262"/>
                <a:gd name="connsiteX36" fmla="*/ 49555 w 792509"/>
                <a:gd name="connsiteY36" fmla="*/ 230187 h 449262"/>
                <a:gd name="connsiteX37" fmla="*/ 44792 w 792509"/>
                <a:gd name="connsiteY37" fmla="*/ 233362 h 449262"/>
                <a:gd name="connsiteX38" fmla="*/ 41617 w 792509"/>
                <a:gd name="connsiteY38" fmla="*/ 238125 h 449262"/>
                <a:gd name="connsiteX39" fmla="*/ 44792 w 792509"/>
                <a:gd name="connsiteY39" fmla="*/ 247650 h 449262"/>
                <a:gd name="connsiteX40" fmla="*/ 46380 w 792509"/>
                <a:gd name="connsiteY40" fmla="*/ 288925 h 449262"/>
                <a:gd name="connsiteX41" fmla="*/ 49555 w 792509"/>
                <a:gd name="connsiteY41" fmla="*/ 298450 h 449262"/>
                <a:gd name="connsiteX42" fmla="*/ 62255 w 792509"/>
                <a:gd name="connsiteY42" fmla="*/ 304800 h 449262"/>
                <a:gd name="connsiteX43" fmla="*/ 71780 w 792509"/>
                <a:gd name="connsiteY43" fmla="*/ 315912 h 449262"/>
                <a:gd name="connsiteX44" fmla="*/ 73367 w 792509"/>
                <a:gd name="connsiteY44" fmla="*/ 320675 h 449262"/>
                <a:gd name="connsiteX45" fmla="*/ 78130 w 792509"/>
                <a:gd name="connsiteY45" fmla="*/ 323850 h 449262"/>
                <a:gd name="connsiteX46" fmla="*/ 113055 w 792509"/>
                <a:gd name="connsiteY46" fmla="*/ 328612 h 449262"/>
                <a:gd name="connsiteX47" fmla="*/ 119405 w 792509"/>
                <a:gd name="connsiteY47" fmla="*/ 344487 h 449262"/>
                <a:gd name="connsiteX48" fmla="*/ 125755 w 792509"/>
                <a:gd name="connsiteY48" fmla="*/ 346075 h 449262"/>
                <a:gd name="connsiteX49" fmla="*/ 130517 w 792509"/>
                <a:gd name="connsiteY49" fmla="*/ 350837 h 449262"/>
                <a:gd name="connsiteX50" fmla="*/ 143217 w 792509"/>
                <a:gd name="connsiteY50" fmla="*/ 366712 h 449262"/>
                <a:gd name="connsiteX51" fmla="*/ 149567 w 792509"/>
                <a:gd name="connsiteY51" fmla="*/ 369887 h 449262"/>
                <a:gd name="connsiteX52" fmla="*/ 154330 w 792509"/>
                <a:gd name="connsiteY52" fmla="*/ 371475 h 449262"/>
                <a:gd name="connsiteX53" fmla="*/ 167030 w 792509"/>
                <a:gd name="connsiteY53" fmla="*/ 374650 h 449262"/>
                <a:gd name="connsiteX54" fmla="*/ 170205 w 792509"/>
                <a:gd name="connsiteY54" fmla="*/ 379412 h 449262"/>
                <a:gd name="connsiteX55" fmla="*/ 176555 w 792509"/>
                <a:gd name="connsiteY55" fmla="*/ 381000 h 449262"/>
                <a:gd name="connsiteX56" fmla="*/ 182905 w 792509"/>
                <a:gd name="connsiteY56" fmla="*/ 384175 h 449262"/>
                <a:gd name="connsiteX57" fmla="*/ 187667 w 792509"/>
                <a:gd name="connsiteY57" fmla="*/ 388937 h 449262"/>
                <a:gd name="connsiteX58" fmla="*/ 192430 w 792509"/>
                <a:gd name="connsiteY58" fmla="*/ 392112 h 449262"/>
                <a:gd name="connsiteX59" fmla="*/ 197192 w 792509"/>
                <a:gd name="connsiteY59" fmla="*/ 398462 h 449262"/>
                <a:gd name="connsiteX60" fmla="*/ 198780 w 792509"/>
                <a:gd name="connsiteY60" fmla="*/ 403225 h 449262"/>
                <a:gd name="connsiteX61" fmla="*/ 208305 w 792509"/>
                <a:gd name="connsiteY61" fmla="*/ 406400 h 449262"/>
                <a:gd name="connsiteX62" fmla="*/ 217830 w 792509"/>
                <a:gd name="connsiteY62" fmla="*/ 412750 h 449262"/>
                <a:gd name="connsiteX63" fmla="*/ 232117 w 792509"/>
                <a:gd name="connsiteY63" fmla="*/ 428625 h 449262"/>
                <a:gd name="connsiteX64" fmla="*/ 233705 w 792509"/>
                <a:gd name="connsiteY64" fmla="*/ 433387 h 449262"/>
                <a:gd name="connsiteX65" fmla="*/ 238467 w 792509"/>
                <a:gd name="connsiteY65" fmla="*/ 436562 h 449262"/>
                <a:gd name="connsiteX66" fmla="*/ 246405 w 792509"/>
                <a:gd name="connsiteY66" fmla="*/ 442912 h 449262"/>
                <a:gd name="connsiteX67" fmla="*/ 249580 w 792509"/>
                <a:gd name="connsiteY67" fmla="*/ 447675 h 449262"/>
                <a:gd name="connsiteX68" fmla="*/ 257517 w 792509"/>
                <a:gd name="connsiteY68" fmla="*/ 449262 h 449262"/>
                <a:gd name="connsiteX69" fmla="*/ 287680 w 792509"/>
                <a:gd name="connsiteY69" fmla="*/ 447675 h 449262"/>
                <a:gd name="connsiteX70" fmla="*/ 294030 w 792509"/>
                <a:gd name="connsiteY70" fmla="*/ 442912 h 449262"/>
                <a:gd name="connsiteX71" fmla="*/ 301967 w 792509"/>
                <a:gd name="connsiteY71" fmla="*/ 439737 h 449262"/>
                <a:gd name="connsiteX72" fmla="*/ 316255 w 792509"/>
                <a:gd name="connsiteY72" fmla="*/ 441325 h 449262"/>
                <a:gd name="connsiteX73" fmla="*/ 325780 w 792509"/>
                <a:gd name="connsiteY73" fmla="*/ 449262 h 449262"/>
                <a:gd name="connsiteX74" fmla="*/ 325780 w 792509"/>
                <a:gd name="connsiteY74" fmla="*/ 414337 h 449262"/>
                <a:gd name="connsiteX75" fmla="*/ 332130 w 792509"/>
                <a:gd name="connsiteY75" fmla="*/ 409575 h 449262"/>
                <a:gd name="connsiteX76" fmla="*/ 348005 w 792509"/>
                <a:gd name="connsiteY76" fmla="*/ 396875 h 449262"/>
                <a:gd name="connsiteX77" fmla="*/ 351180 w 792509"/>
                <a:gd name="connsiteY77" fmla="*/ 379412 h 449262"/>
                <a:gd name="connsiteX78" fmla="*/ 357530 w 792509"/>
                <a:gd name="connsiteY78" fmla="*/ 358775 h 449262"/>
                <a:gd name="connsiteX79" fmla="*/ 371817 w 792509"/>
                <a:gd name="connsiteY79" fmla="*/ 361950 h 449262"/>
                <a:gd name="connsiteX80" fmla="*/ 384517 w 792509"/>
                <a:gd name="connsiteY80" fmla="*/ 368300 h 449262"/>
                <a:gd name="connsiteX81" fmla="*/ 397217 w 792509"/>
                <a:gd name="connsiteY81" fmla="*/ 373062 h 449262"/>
                <a:gd name="connsiteX82" fmla="*/ 401980 w 792509"/>
                <a:gd name="connsiteY82" fmla="*/ 376237 h 449262"/>
                <a:gd name="connsiteX83" fmla="*/ 417855 w 792509"/>
                <a:gd name="connsiteY83" fmla="*/ 377825 h 449262"/>
                <a:gd name="connsiteX84" fmla="*/ 428967 w 792509"/>
                <a:gd name="connsiteY84" fmla="*/ 388937 h 449262"/>
                <a:gd name="connsiteX85" fmla="*/ 449605 w 792509"/>
                <a:gd name="connsiteY85" fmla="*/ 390525 h 449262"/>
                <a:gd name="connsiteX86" fmla="*/ 468655 w 792509"/>
                <a:gd name="connsiteY86" fmla="*/ 388937 h 449262"/>
                <a:gd name="connsiteX87" fmla="*/ 475005 w 792509"/>
                <a:gd name="connsiteY87" fmla="*/ 396875 h 449262"/>
                <a:gd name="connsiteX88" fmla="*/ 481355 w 792509"/>
                <a:gd name="connsiteY88" fmla="*/ 404812 h 449262"/>
                <a:gd name="connsiteX89" fmla="*/ 482942 w 792509"/>
                <a:gd name="connsiteY89" fmla="*/ 409575 h 449262"/>
                <a:gd name="connsiteX90" fmla="*/ 500405 w 792509"/>
                <a:gd name="connsiteY90" fmla="*/ 409575 h 449262"/>
                <a:gd name="connsiteX91" fmla="*/ 505167 w 792509"/>
                <a:gd name="connsiteY91" fmla="*/ 403225 h 449262"/>
                <a:gd name="connsiteX92" fmla="*/ 509930 w 792509"/>
                <a:gd name="connsiteY92" fmla="*/ 401637 h 449262"/>
                <a:gd name="connsiteX93" fmla="*/ 519455 w 792509"/>
                <a:gd name="connsiteY93" fmla="*/ 400050 h 449262"/>
                <a:gd name="connsiteX94" fmla="*/ 522630 w 792509"/>
                <a:gd name="connsiteY94" fmla="*/ 395287 h 449262"/>
                <a:gd name="connsiteX95" fmla="*/ 525805 w 792509"/>
                <a:gd name="connsiteY95" fmla="*/ 384175 h 449262"/>
                <a:gd name="connsiteX96" fmla="*/ 530567 w 792509"/>
                <a:gd name="connsiteY96" fmla="*/ 382587 h 449262"/>
                <a:gd name="connsiteX97" fmla="*/ 538505 w 792509"/>
                <a:gd name="connsiteY97" fmla="*/ 388937 h 449262"/>
                <a:gd name="connsiteX98" fmla="*/ 543267 w 792509"/>
                <a:gd name="connsiteY98" fmla="*/ 392112 h 449262"/>
                <a:gd name="connsiteX99" fmla="*/ 552792 w 792509"/>
                <a:gd name="connsiteY99" fmla="*/ 398462 h 449262"/>
                <a:gd name="connsiteX100" fmla="*/ 573430 w 792509"/>
                <a:gd name="connsiteY100" fmla="*/ 396875 h 449262"/>
                <a:gd name="connsiteX101" fmla="*/ 584542 w 792509"/>
                <a:gd name="connsiteY101" fmla="*/ 393700 h 449262"/>
                <a:gd name="connsiteX102" fmla="*/ 589305 w 792509"/>
                <a:gd name="connsiteY102" fmla="*/ 379412 h 449262"/>
                <a:gd name="connsiteX103" fmla="*/ 600417 w 792509"/>
                <a:gd name="connsiteY103" fmla="*/ 373062 h 449262"/>
                <a:gd name="connsiteX104" fmla="*/ 613117 w 792509"/>
                <a:gd name="connsiteY104" fmla="*/ 366712 h 449262"/>
                <a:gd name="connsiteX105" fmla="*/ 655980 w 792509"/>
                <a:gd name="connsiteY105" fmla="*/ 366712 h 449262"/>
                <a:gd name="connsiteX106" fmla="*/ 660742 w 792509"/>
                <a:gd name="connsiteY106" fmla="*/ 363537 h 449262"/>
                <a:gd name="connsiteX107" fmla="*/ 676617 w 792509"/>
                <a:gd name="connsiteY107" fmla="*/ 358775 h 449262"/>
                <a:gd name="connsiteX108" fmla="*/ 682967 w 792509"/>
                <a:gd name="connsiteY108" fmla="*/ 354012 h 449262"/>
                <a:gd name="connsiteX109" fmla="*/ 692492 w 792509"/>
                <a:gd name="connsiteY109" fmla="*/ 349250 h 449262"/>
                <a:gd name="connsiteX110" fmla="*/ 694080 w 792509"/>
                <a:gd name="connsiteY110" fmla="*/ 342900 h 449262"/>
                <a:gd name="connsiteX111" fmla="*/ 697255 w 792509"/>
                <a:gd name="connsiteY111" fmla="*/ 328612 h 449262"/>
                <a:gd name="connsiteX112" fmla="*/ 702017 w 792509"/>
                <a:gd name="connsiteY112" fmla="*/ 325437 h 449262"/>
                <a:gd name="connsiteX113" fmla="*/ 708367 w 792509"/>
                <a:gd name="connsiteY113" fmla="*/ 315912 h 449262"/>
                <a:gd name="connsiteX114" fmla="*/ 711542 w 792509"/>
                <a:gd name="connsiteY114" fmla="*/ 304800 h 449262"/>
                <a:gd name="connsiteX115" fmla="*/ 717892 w 792509"/>
                <a:gd name="connsiteY115" fmla="*/ 303212 h 449262"/>
                <a:gd name="connsiteX116" fmla="*/ 725830 w 792509"/>
                <a:gd name="connsiteY116" fmla="*/ 273050 h 449262"/>
                <a:gd name="connsiteX117" fmla="*/ 738530 w 792509"/>
                <a:gd name="connsiteY117" fmla="*/ 252412 h 449262"/>
                <a:gd name="connsiteX118" fmla="*/ 746467 w 792509"/>
                <a:gd name="connsiteY118" fmla="*/ 250825 h 449262"/>
                <a:gd name="connsiteX119" fmla="*/ 751230 w 792509"/>
                <a:gd name="connsiteY119" fmla="*/ 247650 h 449262"/>
                <a:gd name="connsiteX120" fmla="*/ 763930 w 792509"/>
                <a:gd name="connsiteY120" fmla="*/ 244475 h 449262"/>
                <a:gd name="connsiteX121" fmla="*/ 779805 w 792509"/>
                <a:gd name="connsiteY121" fmla="*/ 230187 h 449262"/>
                <a:gd name="connsiteX122" fmla="*/ 786155 w 792509"/>
                <a:gd name="connsiteY122" fmla="*/ 228600 h 449262"/>
                <a:gd name="connsiteX123" fmla="*/ 790917 w 792509"/>
                <a:gd name="connsiteY123" fmla="*/ 223837 h 449262"/>
                <a:gd name="connsiteX124" fmla="*/ 792505 w 792509"/>
                <a:gd name="connsiteY124" fmla="*/ 219075 h 449262"/>
                <a:gd name="connsiteX125" fmla="*/ 790917 w 792509"/>
                <a:gd name="connsiteY125" fmla="*/ 206375 h 449262"/>
                <a:gd name="connsiteX126" fmla="*/ 784567 w 792509"/>
                <a:gd name="connsiteY126" fmla="*/ 201612 h 449262"/>
                <a:gd name="connsiteX127" fmla="*/ 778217 w 792509"/>
                <a:gd name="connsiteY127" fmla="*/ 200025 h 449262"/>
                <a:gd name="connsiteX128" fmla="*/ 767105 w 792509"/>
                <a:gd name="connsiteY128" fmla="*/ 196850 h 449262"/>
                <a:gd name="connsiteX129" fmla="*/ 763930 w 792509"/>
                <a:gd name="connsiteY129" fmla="*/ 190500 h 449262"/>
                <a:gd name="connsiteX130" fmla="*/ 760755 w 792509"/>
                <a:gd name="connsiteY130" fmla="*/ 182562 h 449262"/>
                <a:gd name="connsiteX131" fmla="*/ 755992 w 792509"/>
                <a:gd name="connsiteY131" fmla="*/ 179387 h 449262"/>
                <a:gd name="connsiteX132" fmla="*/ 748055 w 792509"/>
                <a:gd name="connsiteY132" fmla="*/ 163512 h 449262"/>
                <a:gd name="connsiteX133" fmla="*/ 743292 w 792509"/>
                <a:gd name="connsiteY133" fmla="*/ 161925 h 449262"/>
                <a:gd name="connsiteX134" fmla="*/ 735355 w 792509"/>
                <a:gd name="connsiteY134" fmla="*/ 157162 h 449262"/>
                <a:gd name="connsiteX135" fmla="*/ 719480 w 792509"/>
                <a:gd name="connsiteY135" fmla="*/ 153987 h 449262"/>
                <a:gd name="connsiteX136" fmla="*/ 714717 w 792509"/>
                <a:gd name="connsiteY136" fmla="*/ 152400 h 449262"/>
                <a:gd name="connsiteX137" fmla="*/ 702017 w 792509"/>
                <a:gd name="connsiteY137" fmla="*/ 149225 h 449262"/>
                <a:gd name="connsiteX138" fmla="*/ 692492 w 792509"/>
                <a:gd name="connsiteY138" fmla="*/ 141287 h 449262"/>
                <a:gd name="connsiteX139" fmla="*/ 673442 w 792509"/>
                <a:gd name="connsiteY139" fmla="*/ 146050 h 449262"/>
                <a:gd name="connsiteX140" fmla="*/ 668680 w 792509"/>
                <a:gd name="connsiteY140" fmla="*/ 150812 h 449262"/>
                <a:gd name="connsiteX141" fmla="*/ 667092 w 792509"/>
                <a:gd name="connsiteY141" fmla="*/ 157162 h 449262"/>
                <a:gd name="connsiteX142" fmla="*/ 660742 w 792509"/>
                <a:gd name="connsiteY142" fmla="*/ 158750 h 449262"/>
                <a:gd name="connsiteX143" fmla="*/ 651217 w 792509"/>
                <a:gd name="connsiteY143" fmla="*/ 153987 h 449262"/>
                <a:gd name="connsiteX144" fmla="*/ 648042 w 792509"/>
                <a:gd name="connsiteY144" fmla="*/ 149225 h 449262"/>
                <a:gd name="connsiteX145" fmla="*/ 641692 w 792509"/>
                <a:gd name="connsiteY145" fmla="*/ 136525 h 449262"/>
                <a:gd name="connsiteX146" fmla="*/ 638517 w 792509"/>
                <a:gd name="connsiteY146" fmla="*/ 130175 h 449262"/>
                <a:gd name="connsiteX147" fmla="*/ 633755 w 792509"/>
                <a:gd name="connsiteY147" fmla="*/ 127000 h 449262"/>
                <a:gd name="connsiteX148" fmla="*/ 638517 w 792509"/>
                <a:gd name="connsiteY148" fmla="*/ 125412 h 449262"/>
                <a:gd name="connsiteX149" fmla="*/ 648042 w 792509"/>
                <a:gd name="connsiteY149" fmla="*/ 119062 h 449262"/>
                <a:gd name="connsiteX150" fmla="*/ 646455 w 792509"/>
                <a:gd name="connsiteY150" fmla="*/ 106362 h 449262"/>
                <a:gd name="connsiteX151" fmla="*/ 608355 w 792509"/>
                <a:gd name="connsiteY151" fmla="*/ 107950 h 449262"/>
                <a:gd name="connsiteX152" fmla="*/ 602005 w 792509"/>
                <a:gd name="connsiteY152" fmla="*/ 106362 h 449262"/>
                <a:gd name="connsiteX153" fmla="*/ 586130 w 792509"/>
                <a:gd name="connsiteY153" fmla="*/ 100012 h 449262"/>
                <a:gd name="connsiteX154" fmla="*/ 581367 w 792509"/>
                <a:gd name="connsiteY154" fmla="*/ 95250 h 449262"/>
                <a:gd name="connsiteX155" fmla="*/ 576605 w 792509"/>
                <a:gd name="connsiteY155" fmla="*/ 93662 h 449262"/>
                <a:gd name="connsiteX156" fmla="*/ 573430 w 792509"/>
                <a:gd name="connsiteY156" fmla="*/ 88900 h 449262"/>
                <a:gd name="connsiteX157" fmla="*/ 551205 w 792509"/>
                <a:gd name="connsiteY157" fmla="*/ 95250 h 449262"/>
                <a:gd name="connsiteX158" fmla="*/ 552792 w 792509"/>
                <a:gd name="connsiteY158" fmla="*/ 107950 h 449262"/>
                <a:gd name="connsiteX159" fmla="*/ 555967 w 792509"/>
                <a:gd name="connsiteY159" fmla="*/ 114300 h 449262"/>
                <a:gd name="connsiteX160" fmla="*/ 557555 w 792509"/>
                <a:gd name="connsiteY160" fmla="*/ 119062 h 449262"/>
                <a:gd name="connsiteX161" fmla="*/ 554380 w 792509"/>
                <a:gd name="connsiteY161" fmla="*/ 131762 h 449262"/>
                <a:gd name="connsiteX162" fmla="*/ 549617 w 792509"/>
                <a:gd name="connsiteY162" fmla="*/ 134937 h 449262"/>
                <a:gd name="connsiteX163" fmla="*/ 544855 w 792509"/>
                <a:gd name="connsiteY163" fmla="*/ 139700 h 449262"/>
                <a:gd name="connsiteX164" fmla="*/ 540092 w 792509"/>
                <a:gd name="connsiteY164" fmla="*/ 141287 h 449262"/>
                <a:gd name="connsiteX165" fmla="*/ 530567 w 792509"/>
                <a:gd name="connsiteY165" fmla="*/ 146050 h 449262"/>
                <a:gd name="connsiteX166" fmla="*/ 517867 w 792509"/>
                <a:gd name="connsiteY166" fmla="*/ 141287 h 449262"/>
                <a:gd name="connsiteX167" fmla="*/ 516280 w 792509"/>
                <a:gd name="connsiteY167" fmla="*/ 131762 h 449262"/>
                <a:gd name="connsiteX168" fmla="*/ 509930 w 792509"/>
                <a:gd name="connsiteY168" fmla="*/ 125412 h 449262"/>
                <a:gd name="connsiteX169" fmla="*/ 506755 w 792509"/>
                <a:gd name="connsiteY169" fmla="*/ 120650 h 449262"/>
                <a:gd name="connsiteX170" fmla="*/ 490880 w 792509"/>
                <a:gd name="connsiteY170" fmla="*/ 114300 h 449262"/>
                <a:gd name="connsiteX171" fmla="*/ 476592 w 792509"/>
                <a:gd name="connsiteY171" fmla="*/ 109537 h 449262"/>
                <a:gd name="connsiteX172" fmla="*/ 473417 w 792509"/>
                <a:gd name="connsiteY172" fmla="*/ 104775 h 449262"/>
                <a:gd name="connsiteX173" fmla="*/ 478180 w 792509"/>
                <a:gd name="connsiteY173" fmla="*/ 87312 h 449262"/>
                <a:gd name="connsiteX174" fmla="*/ 484530 w 792509"/>
                <a:gd name="connsiteY174" fmla="*/ 85725 h 449262"/>
                <a:gd name="connsiteX175" fmla="*/ 489292 w 792509"/>
                <a:gd name="connsiteY175" fmla="*/ 82550 h 449262"/>
                <a:gd name="connsiteX176" fmla="*/ 494055 w 792509"/>
                <a:gd name="connsiteY176" fmla="*/ 80962 h 449262"/>
                <a:gd name="connsiteX177" fmla="*/ 501992 w 792509"/>
                <a:gd name="connsiteY177" fmla="*/ 71437 h 449262"/>
                <a:gd name="connsiteX178" fmla="*/ 497230 w 792509"/>
                <a:gd name="connsiteY178" fmla="*/ 66675 h 449262"/>
                <a:gd name="connsiteX179" fmla="*/ 492467 w 792509"/>
                <a:gd name="connsiteY179" fmla="*/ 65087 h 449262"/>
                <a:gd name="connsiteX180" fmla="*/ 481355 w 792509"/>
                <a:gd name="connsiteY180" fmla="*/ 60325 h 449262"/>
                <a:gd name="connsiteX181" fmla="*/ 473417 w 792509"/>
                <a:gd name="connsiteY181" fmla="*/ 58737 h 449262"/>
                <a:gd name="connsiteX182" fmla="*/ 449605 w 792509"/>
                <a:gd name="connsiteY182" fmla="*/ 52387 h 449262"/>
                <a:gd name="connsiteX183" fmla="*/ 448017 w 792509"/>
                <a:gd name="connsiteY183" fmla="*/ 58737 h 449262"/>
                <a:gd name="connsiteX184" fmla="*/ 446430 w 792509"/>
                <a:gd name="connsiteY184" fmla="*/ 68262 h 449262"/>
                <a:gd name="connsiteX185" fmla="*/ 444842 w 792509"/>
                <a:gd name="connsiteY185" fmla="*/ 63500 h 449262"/>
                <a:gd name="connsiteX186" fmla="*/ 435317 w 792509"/>
                <a:gd name="connsiteY186" fmla="*/ 53975 h 449262"/>
                <a:gd name="connsiteX187" fmla="*/ 422617 w 792509"/>
                <a:gd name="connsiteY187" fmla="*/ 50800 h 449262"/>
                <a:gd name="connsiteX188" fmla="*/ 417855 w 792509"/>
                <a:gd name="connsiteY188" fmla="*/ 47625 h 449262"/>
                <a:gd name="connsiteX189" fmla="*/ 374992 w 792509"/>
                <a:gd name="connsiteY189" fmla="*/ 53975 h 449262"/>
                <a:gd name="connsiteX190" fmla="*/ 373405 w 792509"/>
                <a:gd name="connsiteY190" fmla="*/ 47625 h 449262"/>
                <a:gd name="connsiteX191" fmla="*/ 371817 w 792509"/>
                <a:gd name="connsiteY191" fmla="*/ 33337 h 449262"/>
                <a:gd name="connsiteX192" fmla="*/ 363880 w 792509"/>
                <a:gd name="connsiteY192" fmla="*/ 23812 h 449262"/>
                <a:gd name="connsiteX193" fmla="*/ 360705 w 792509"/>
                <a:gd name="connsiteY193" fmla="*/ 17462 h 449262"/>
                <a:gd name="connsiteX194" fmla="*/ 351180 w 792509"/>
                <a:gd name="connsiteY194" fmla="*/ 4762 h 449262"/>
                <a:gd name="connsiteX195" fmla="*/ 346417 w 792509"/>
                <a:gd name="connsiteY195" fmla="*/ 3175 h 449262"/>
                <a:gd name="connsiteX196" fmla="*/ 335305 w 792509"/>
                <a:gd name="connsiteY196" fmla="*/ 0 h 449262"/>
                <a:gd name="connsiteX197" fmla="*/ 328955 w 792509"/>
                <a:gd name="connsiteY197" fmla="*/ 6350 h 449262"/>
                <a:gd name="connsiteX198" fmla="*/ 325780 w 792509"/>
                <a:gd name="connsiteY198" fmla="*/ 15875 h 449262"/>
                <a:gd name="connsiteX199" fmla="*/ 317842 w 792509"/>
                <a:gd name="connsiteY199" fmla="*/ 26987 h 449262"/>
                <a:gd name="connsiteX200" fmla="*/ 311492 w 792509"/>
                <a:gd name="connsiteY200" fmla="*/ 28575 h 449262"/>
                <a:gd name="connsiteX201" fmla="*/ 306730 w 792509"/>
                <a:gd name="connsiteY201" fmla="*/ 30162 h 449262"/>
                <a:gd name="connsiteX202" fmla="*/ 287680 w 792509"/>
                <a:gd name="connsiteY202" fmla="*/ 28575 h 449262"/>
                <a:gd name="connsiteX203" fmla="*/ 284505 w 792509"/>
                <a:gd name="connsiteY203" fmla="*/ 22225 h 449262"/>
                <a:gd name="connsiteX204" fmla="*/ 279742 w 792509"/>
                <a:gd name="connsiteY204" fmla="*/ 12700 h 449262"/>
                <a:gd name="connsiteX205" fmla="*/ 274980 w 792509"/>
                <a:gd name="connsiteY205" fmla="*/ 3175 h 449262"/>
                <a:gd name="connsiteX206" fmla="*/ 270217 w 792509"/>
                <a:gd name="connsiteY206" fmla="*/ 0 h 449262"/>
                <a:gd name="connsiteX207" fmla="*/ 251167 w 792509"/>
                <a:gd name="connsiteY207" fmla="*/ 4762 h 449262"/>
                <a:gd name="connsiteX0" fmla="*/ 251167 w 792509"/>
                <a:gd name="connsiteY0" fmla="*/ 4762 h 449262"/>
                <a:gd name="connsiteX1" fmla="*/ 249580 w 792509"/>
                <a:gd name="connsiteY1" fmla="*/ 12700 h 449262"/>
                <a:gd name="connsiteX2" fmla="*/ 247992 w 792509"/>
                <a:gd name="connsiteY2" fmla="*/ 19050 h 449262"/>
                <a:gd name="connsiteX3" fmla="*/ 240055 w 792509"/>
                <a:gd name="connsiteY3" fmla="*/ 41275 h 449262"/>
                <a:gd name="connsiteX4" fmla="*/ 233705 w 792509"/>
                <a:gd name="connsiteY4" fmla="*/ 44450 h 449262"/>
                <a:gd name="connsiteX5" fmla="*/ 214655 w 792509"/>
                <a:gd name="connsiteY5" fmla="*/ 50800 h 449262"/>
                <a:gd name="connsiteX6" fmla="*/ 206717 w 792509"/>
                <a:gd name="connsiteY6" fmla="*/ 53975 h 449262"/>
                <a:gd name="connsiteX7" fmla="*/ 186080 w 792509"/>
                <a:gd name="connsiteY7" fmla="*/ 66675 h 449262"/>
                <a:gd name="connsiteX8" fmla="*/ 179730 w 792509"/>
                <a:gd name="connsiteY8" fmla="*/ 68262 h 449262"/>
                <a:gd name="connsiteX9" fmla="*/ 167030 w 792509"/>
                <a:gd name="connsiteY9" fmla="*/ 71437 h 449262"/>
                <a:gd name="connsiteX10" fmla="*/ 163855 w 792509"/>
                <a:gd name="connsiteY10" fmla="*/ 76200 h 449262"/>
                <a:gd name="connsiteX11" fmla="*/ 159092 w 792509"/>
                <a:gd name="connsiteY11" fmla="*/ 82550 h 449262"/>
                <a:gd name="connsiteX12" fmla="*/ 154330 w 792509"/>
                <a:gd name="connsiteY12" fmla="*/ 90487 h 449262"/>
                <a:gd name="connsiteX13" fmla="*/ 133692 w 792509"/>
                <a:gd name="connsiteY13" fmla="*/ 95250 h 449262"/>
                <a:gd name="connsiteX14" fmla="*/ 128930 w 792509"/>
                <a:gd name="connsiteY14" fmla="*/ 100012 h 449262"/>
                <a:gd name="connsiteX15" fmla="*/ 127342 w 792509"/>
                <a:gd name="connsiteY15" fmla="*/ 104775 h 449262"/>
                <a:gd name="connsiteX16" fmla="*/ 120992 w 792509"/>
                <a:gd name="connsiteY16" fmla="*/ 111125 h 449262"/>
                <a:gd name="connsiteX17" fmla="*/ 111467 w 792509"/>
                <a:gd name="connsiteY17" fmla="*/ 120650 h 449262"/>
                <a:gd name="connsiteX18" fmla="*/ 101942 w 792509"/>
                <a:gd name="connsiteY18" fmla="*/ 117475 h 449262"/>
                <a:gd name="connsiteX19" fmla="*/ 87655 w 792509"/>
                <a:gd name="connsiteY19" fmla="*/ 114300 h 449262"/>
                <a:gd name="connsiteX20" fmla="*/ 62255 w 792509"/>
                <a:gd name="connsiteY20" fmla="*/ 117475 h 449262"/>
                <a:gd name="connsiteX21" fmla="*/ 51142 w 792509"/>
                <a:gd name="connsiteY21" fmla="*/ 128587 h 449262"/>
                <a:gd name="connsiteX22" fmla="*/ 40030 w 792509"/>
                <a:gd name="connsiteY22" fmla="*/ 142875 h 449262"/>
                <a:gd name="connsiteX23" fmla="*/ 33680 w 792509"/>
                <a:gd name="connsiteY23" fmla="*/ 149225 h 449262"/>
                <a:gd name="connsiteX24" fmla="*/ 24155 w 792509"/>
                <a:gd name="connsiteY24" fmla="*/ 157162 h 449262"/>
                <a:gd name="connsiteX25" fmla="*/ 22567 w 792509"/>
                <a:gd name="connsiteY25" fmla="*/ 152400 h 449262"/>
                <a:gd name="connsiteX26" fmla="*/ 6692 w 792509"/>
                <a:gd name="connsiteY26" fmla="*/ 147637 h 449262"/>
                <a:gd name="connsiteX27" fmla="*/ 342 w 792509"/>
                <a:gd name="connsiteY27" fmla="*/ 149225 h 449262"/>
                <a:gd name="connsiteX28" fmla="*/ 1930 w 792509"/>
                <a:gd name="connsiteY28" fmla="*/ 153987 h 449262"/>
                <a:gd name="connsiteX29" fmla="*/ 11455 w 792509"/>
                <a:gd name="connsiteY29" fmla="*/ 160337 h 449262"/>
                <a:gd name="connsiteX30" fmla="*/ 13042 w 792509"/>
                <a:gd name="connsiteY30" fmla="*/ 166687 h 449262"/>
                <a:gd name="connsiteX31" fmla="*/ 8280 w 792509"/>
                <a:gd name="connsiteY31" fmla="*/ 174625 h 449262"/>
                <a:gd name="connsiteX32" fmla="*/ 20980 w 792509"/>
                <a:gd name="connsiteY32" fmla="*/ 184150 h 449262"/>
                <a:gd name="connsiteX33" fmla="*/ 30505 w 792509"/>
                <a:gd name="connsiteY33" fmla="*/ 195262 h 449262"/>
                <a:gd name="connsiteX34" fmla="*/ 35267 w 792509"/>
                <a:gd name="connsiteY34" fmla="*/ 209550 h 449262"/>
                <a:gd name="connsiteX35" fmla="*/ 47967 w 792509"/>
                <a:gd name="connsiteY35" fmla="*/ 214312 h 449262"/>
                <a:gd name="connsiteX36" fmla="*/ 49555 w 792509"/>
                <a:gd name="connsiteY36" fmla="*/ 230187 h 449262"/>
                <a:gd name="connsiteX37" fmla="*/ 44792 w 792509"/>
                <a:gd name="connsiteY37" fmla="*/ 233362 h 449262"/>
                <a:gd name="connsiteX38" fmla="*/ 41617 w 792509"/>
                <a:gd name="connsiteY38" fmla="*/ 238125 h 449262"/>
                <a:gd name="connsiteX39" fmla="*/ 44792 w 792509"/>
                <a:gd name="connsiteY39" fmla="*/ 247650 h 449262"/>
                <a:gd name="connsiteX40" fmla="*/ 46380 w 792509"/>
                <a:gd name="connsiteY40" fmla="*/ 288925 h 449262"/>
                <a:gd name="connsiteX41" fmla="*/ 49555 w 792509"/>
                <a:gd name="connsiteY41" fmla="*/ 298450 h 449262"/>
                <a:gd name="connsiteX42" fmla="*/ 62255 w 792509"/>
                <a:gd name="connsiteY42" fmla="*/ 304800 h 449262"/>
                <a:gd name="connsiteX43" fmla="*/ 71780 w 792509"/>
                <a:gd name="connsiteY43" fmla="*/ 315912 h 449262"/>
                <a:gd name="connsiteX44" fmla="*/ 73367 w 792509"/>
                <a:gd name="connsiteY44" fmla="*/ 320675 h 449262"/>
                <a:gd name="connsiteX45" fmla="*/ 78130 w 792509"/>
                <a:gd name="connsiteY45" fmla="*/ 323850 h 449262"/>
                <a:gd name="connsiteX46" fmla="*/ 113055 w 792509"/>
                <a:gd name="connsiteY46" fmla="*/ 328612 h 449262"/>
                <a:gd name="connsiteX47" fmla="*/ 119405 w 792509"/>
                <a:gd name="connsiteY47" fmla="*/ 344487 h 449262"/>
                <a:gd name="connsiteX48" fmla="*/ 125755 w 792509"/>
                <a:gd name="connsiteY48" fmla="*/ 346075 h 449262"/>
                <a:gd name="connsiteX49" fmla="*/ 130517 w 792509"/>
                <a:gd name="connsiteY49" fmla="*/ 350837 h 449262"/>
                <a:gd name="connsiteX50" fmla="*/ 143217 w 792509"/>
                <a:gd name="connsiteY50" fmla="*/ 366712 h 449262"/>
                <a:gd name="connsiteX51" fmla="*/ 149567 w 792509"/>
                <a:gd name="connsiteY51" fmla="*/ 369887 h 449262"/>
                <a:gd name="connsiteX52" fmla="*/ 154330 w 792509"/>
                <a:gd name="connsiteY52" fmla="*/ 371475 h 449262"/>
                <a:gd name="connsiteX53" fmla="*/ 167030 w 792509"/>
                <a:gd name="connsiteY53" fmla="*/ 374650 h 449262"/>
                <a:gd name="connsiteX54" fmla="*/ 170205 w 792509"/>
                <a:gd name="connsiteY54" fmla="*/ 379412 h 449262"/>
                <a:gd name="connsiteX55" fmla="*/ 176555 w 792509"/>
                <a:gd name="connsiteY55" fmla="*/ 381000 h 449262"/>
                <a:gd name="connsiteX56" fmla="*/ 182905 w 792509"/>
                <a:gd name="connsiteY56" fmla="*/ 384175 h 449262"/>
                <a:gd name="connsiteX57" fmla="*/ 187667 w 792509"/>
                <a:gd name="connsiteY57" fmla="*/ 388937 h 449262"/>
                <a:gd name="connsiteX58" fmla="*/ 192430 w 792509"/>
                <a:gd name="connsiteY58" fmla="*/ 392112 h 449262"/>
                <a:gd name="connsiteX59" fmla="*/ 197192 w 792509"/>
                <a:gd name="connsiteY59" fmla="*/ 398462 h 449262"/>
                <a:gd name="connsiteX60" fmla="*/ 198780 w 792509"/>
                <a:gd name="connsiteY60" fmla="*/ 403225 h 449262"/>
                <a:gd name="connsiteX61" fmla="*/ 208305 w 792509"/>
                <a:gd name="connsiteY61" fmla="*/ 406400 h 449262"/>
                <a:gd name="connsiteX62" fmla="*/ 217830 w 792509"/>
                <a:gd name="connsiteY62" fmla="*/ 412750 h 449262"/>
                <a:gd name="connsiteX63" fmla="*/ 232117 w 792509"/>
                <a:gd name="connsiteY63" fmla="*/ 428625 h 449262"/>
                <a:gd name="connsiteX64" fmla="*/ 233705 w 792509"/>
                <a:gd name="connsiteY64" fmla="*/ 433387 h 449262"/>
                <a:gd name="connsiteX65" fmla="*/ 238467 w 792509"/>
                <a:gd name="connsiteY65" fmla="*/ 436562 h 449262"/>
                <a:gd name="connsiteX66" fmla="*/ 246405 w 792509"/>
                <a:gd name="connsiteY66" fmla="*/ 442912 h 449262"/>
                <a:gd name="connsiteX67" fmla="*/ 249580 w 792509"/>
                <a:gd name="connsiteY67" fmla="*/ 447675 h 449262"/>
                <a:gd name="connsiteX68" fmla="*/ 257517 w 792509"/>
                <a:gd name="connsiteY68" fmla="*/ 449262 h 449262"/>
                <a:gd name="connsiteX69" fmla="*/ 287680 w 792509"/>
                <a:gd name="connsiteY69" fmla="*/ 447675 h 449262"/>
                <a:gd name="connsiteX70" fmla="*/ 294030 w 792509"/>
                <a:gd name="connsiteY70" fmla="*/ 442912 h 449262"/>
                <a:gd name="connsiteX71" fmla="*/ 301967 w 792509"/>
                <a:gd name="connsiteY71" fmla="*/ 439737 h 449262"/>
                <a:gd name="connsiteX72" fmla="*/ 316255 w 792509"/>
                <a:gd name="connsiteY72" fmla="*/ 441325 h 449262"/>
                <a:gd name="connsiteX73" fmla="*/ 325780 w 792509"/>
                <a:gd name="connsiteY73" fmla="*/ 414337 h 449262"/>
                <a:gd name="connsiteX74" fmla="*/ 332130 w 792509"/>
                <a:gd name="connsiteY74" fmla="*/ 409575 h 449262"/>
                <a:gd name="connsiteX75" fmla="*/ 348005 w 792509"/>
                <a:gd name="connsiteY75" fmla="*/ 396875 h 449262"/>
                <a:gd name="connsiteX76" fmla="*/ 351180 w 792509"/>
                <a:gd name="connsiteY76" fmla="*/ 379412 h 449262"/>
                <a:gd name="connsiteX77" fmla="*/ 357530 w 792509"/>
                <a:gd name="connsiteY77" fmla="*/ 358775 h 449262"/>
                <a:gd name="connsiteX78" fmla="*/ 371817 w 792509"/>
                <a:gd name="connsiteY78" fmla="*/ 361950 h 449262"/>
                <a:gd name="connsiteX79" fmla="*/ 384517 w 792509"/>
                <a:gd name="connsiteY79" fmla="*/ 368300 h 449262"/>
                <a:gd name="connsiteX80" fmla="*/ 397217 w 792509"/>
                <a:gd name="connsiteY80" fmla="*/ 373062 h 449262"/>
                <a:gd name="connsiteX81" fmla="*/ 401980 w 792509"/>
                <a:gd name="connsiteY81" fmla="*/ 376237 h 449262"/>
                <a:gd name="connsiteX82" fmla="*/ 417855 w 792509"/>
                <a:gd name="connsiteY82" fmla="*/ 377825 h 449262"/>
                <a:gd name="connsiteX83" fmla="*/ 428967 w 792509"/>
                <a:gd name="connsiteY83" fmla="*/ 388937 h 449262"/>
                <a:gd name="connsiteX84" fmla="*/ 449605 w 792509"/>
                <a:gd name="connsiteY84" fmla="*/ 390525 h 449262"/>
                <a:gd name="connsiteX85" fmla="*/ 468655 w 792509"/>
                <a:gd name="connsiteY85" fmla="*/ 388937 h 449262"/>
                <a:gd name="connsiteX86" fmla="*/ 475005 w 792509"/>
                <a:gd name="connsiteY86" fmla="*/ 396875 h 449262"/>
                <a:gd name="connsiteX87" fmla="*/ 481355 w 792509"/>
                <a:gd name="connsiteY87" fmla="*/ 404812 h 449262"/>
                <a:gd name="connsiteX88" fmla="*/ 482942 w 792509"/>
                <a:gd name="connsiteY88" fmla="*/ 409575 h 449262"/>
                <a:gd name="connsiteX89" fmla="*/ 500405 w 792509"/>
                <a:gd name="connsiteY89" fmla="*/ 409575 h 449262"/>
                <a:gd name="connsiteX90" fmla="*/ 505167 w 792509"/>
                <a:gd name="connsiteY90" fmla="*/ 403225 h 449262"/>
                <a:gd name="connsiteX91" fmla="*/ 509930 w 792509"/>
                <a:gd name="connsiteY91" fmla="*/ 401637 h 449262"/>
                <a:gd name="connsiteX92" fmla="*/ 519455 w 792509"/>
                <a:gd name="connsiteY92" fmla="*/ 400050 h 449262"/>
                <a:gd name="connsiteX93" fmla="*/ 522630 w 792509"/>
                <a:gd name="connsiteY93" fmla="*/ 395287 h 449262"/>
                <a:gd name="connsiteX94" fmla="*/ 525805 w 792509"/>
                <a:gd name="connsiteY94" fmla="*/ 384175 h 449262"/>
                <a:gd name="connsiteX95" fmla="*/ 530567 w 792509"/>
                <a:gd name="connsiteY95" fmla="*/ 382587 h 449262"/>
                <a:gd name="connsiteX96" fmla="*/ 538505 w 792509"/>
                <a:gd name="connsiteY96" fmla="*/ 388937 h 449262"/>
                <a:gd name="connsiteX97" fmla="*/ 543267 w 792509"/>
                <a:gd name="connsiteY97" fmla="*/ 392112 h 449262"/>
                <a:gd name="connsiteX98" fmla="*/ 552792 w 792509"/>
                <a:gd name="connsiteY98" fmla="*/ 398462 h 449262"/>
                <a:gd name="connsiteX99" fmla="*/ 573430 w 792509"/>
                <a:gd name="connsiteY99" fmla="*/ 396875 h 449262"/>
                <a:gd name="connsiteX100" fmla="*/ 584542 w 792509"/>
                <a:gd name="connsiteY100" fmla="*/ 393700 h 449262"/>
                <a:gd name="connsiteX101" fmla="*/ 589305 w 792509"/>
                <a:gd name="connsiteY101" fmla="*/ 379412 h 449262"/>
                <a:gd name="connsiteX102" fmla="*/ 600417 w 792509"/>
                <a:gd name="connsiteY102" fmla="*/ 373062 h 449262"/>
                <a:gd name="connsiteX103" fmla="*/ 613117 w 792509"/>
                <a:gd name="connsiteY103" fmla="*/ 366712 h 449262"/>
                <a:gd name="connsiteX104" fmla="*/ 655980 w 792509"/>
                <a:gd name="connsiteY104" fmla="*/ 366712 h 449262"/>
                <a:gd name="connsiteX105" fmla="*/ 660742 w 792509"/>
                <a:gd name="connsiteY105" fmla="*/ 363537 h 449262"/>
                <a:gd name="connsiteX106" fmla="*/ 676617 w 792509"/>
                <a:gd name="connsiteY106" fmla="*/ 358775 h 449262"/>
                <a:gd name="connsiteX107" fmla="*/ 682967 w 792509"/>
                <a:gd name="connsiteY107" fmla="*/ 354012 h 449262"/>
                <a:gd name="connsiteX108" fmla="*/ 692492 w 792509"/>
                <a:gd name="connsiteY108" fmla="*/ 349250 h 449262"/>
                <a:gd name="connsiteX109" fmla="*/ 694080 w 792509"/>
                <a:gd name="connsiteY109" fmla="*/ 342900 h 449262"/>
                <a:gd name="connsiteX110" fmla="*/ 697255 w 792509"/>
                <a:gd name="connsiteY110" fmla="*/ 328612 h 449262"/>
                <a:gd name="connsiteX111" fmla="*/ 702017 w 792509"/>
                <a:gd name="connsiteY111" fmla="*/ 325437 h 449262"/>
                <a:gd name="connsiteX112" fmla="*/ 708367 w 792509"/>
                <a:gd name="connsiteY112" fmla="*/ 315912 h 449262"/>
                <a:gd name="connsiteX113" fmla="*/ 711542 w 792509"/>
                <a:gd name="connsiteY113" fmla="*/ 304800 h 449262"/>
                <a:gd name="connsiteX114" fmla="*/ 717892 w 792509"/>
                <a:gd name="connsiteY114" fmla="*/ 303212 h 449262"/>
                <a:gd name="connsiteX115" fmla="*/ 725830 w 792509"/>
                <a:gd name="connsiteY115" fmla="*/ 273050 h 449262"/>
                <a:gd name="connsiteX116" fmla="*/ 738530 w 792509"/>
                <a:gd name="connsiteY116" fmla="*/ 252412 h 449262"/>
                <a:gd name="connsiteX117" fmla="*/ 746467 w 792509"/>
                <a:gd name="connsiteY117" fmla="*/ 250825 h 449262"/>
                <a:gd name="connsiteX118" fmla="*/ 751230 w 792509"/>
                <a:gd name="connsiteY118" fmla="*/ 247650 h 449262"/>
                <a:gd name="connsiteX119" fmla="*/ 763930 w 792509"/>
                <a:gd name="connsiteY119" fmla="*/ 244475 h 449262"/>
                <a:gd name="connsiteX120" fmla="*/ 779805 w 792509"/>
                <a:gd name="connsiteY120" fmla="*/ 230187 h 449262"/>
                <a:gd name="connsiteX121" fmla="*/ 786155 w 792509"/>
                <a:gd name="connsiteY121" fmla="*/ 228600 h 449262"/>
                <a:gd name="connsiteX122" fmla="*/ 790917 w 792509"/>
                <a:gd name="connsiteY122" fmla="*/ 223837 h 449262"/>
                <a:gd name="connsiteX123" fmla="*/ 792505 w 792509"/>
                <a:gd name="connsiteY123" fmla="*/ 219075 h 449262"/>
                <a:gd name="connsiteX124" fmla="*/ 790917 w 792509"/>
                <a:gd name="connsiteY124" fmla="*/ 206375 h 449262"/>
                <a:gd name="connsiteX125" fmla="*/ 784567 w 792509"/>
                <a:gd name="connsiteY125" fmla="*/ 201612 h 449262"/>
                <a:gd name="connsiteX126" fmla="*/ 778217 w 792509"/>
                <a:gd name="connsiteY126" fmla="*/ 200025 h 449262"/>
                <a:gd name="connsiteX127" fmla="*/ 767105 w 792509"/>
                <a:gd name="connsiteY127" fmla="*/ 196850 h 449262"/>
                <a:gd name="connsiteX128" fmla="*/ 763930 w 792509"/>
                <a:gd name="connsiteY128" fmla="*/ 190500 h 449262"/>
                <a:gd name="connsiteX129" fmla="*/ 760755 w 792509"/>
                <a:gd name="connsiteY129" fmla="*/ 182562 h 449262"/>
                <a:gd name="connsiteX130" fmla="*/ 755992 w 792509"/>
                <a:gd name="connsiteY130" fmla="*/ 179387 h 449262"/>
                <a:gd name="connsiteX131" fmla="*/ 748055 w 792509"/>
                <a:gd name="connsiteY131" fmla="*/ 163512 h 449262"/>
                <a:gd name="connsiteX132" fmla="*/ 743292 w 792509"/>
                <a:gd name="connsiteY132" fmla="*/ 161925 h 449262"/>
                <a:gd name="connsiteX133" fmla="*/ 735355 w 792509"/>
                <a:gd name="connsiteY133" fmla="*/ 157162 h 449262"/>
                <a:gd name="connsiteX134" fmla="*/ 719480 w 792509"/>
                <a:gd name="connsiteY134" fmla="*/ 153987 h 449262"/>
                <a:gd name="connsiteX135" fmla="*/ 714717 w 792509"/>
                <a:gd name="connsiteY135" fmla="*/ 152400 h 449262"/>
                <a:gd name="connsiteX136" fmla="*/ 702017 w 792509"/>
                <a:gd name="connsiteY136" fmla="*/ 149225 h 449262"/>
                <a:gd name="connsiteX137" fmla="*/ 692492 w 792509"/>
                <a:gd name="connsiteY137" fmla="*/ 141287 h 449262"/>
                <a:gd name="connsiteX138" fmla="*/ 673442 w 792509"/>
                <a:gd name="connsiteY138" fmla="*/ 146050 h 449262"/>
                <a:gd name="connsiteX139" fmla="*/ 668680 w 792509"/>
                <a:gd name="connsiteY139" fmla="*/ 150812 h 449262"/>
                <a:gd name="connsiteX140" fmla="*/ 667092 w 792509"/>
                <a:gd name="connsiteY140" fmla="*/ 157162 h 449262"/>
                <a:gd name="connsiteX141" fmla="*/ 660742 w 792509"/>
                <a:gd name="connsiteY141" fmla="*/ 158750 h 449262"/>
                <a:gd name="connsiteX142" fmla="*/ 651217 w 792509"/>
                <a:gd name="connsiteY142" fmla="*/ 153987 h 449262"/>
                <a:gd name="connsiteX143" fmla="*/ 648042 w 792509"/>
                <a:gd name="connsiteY143" fmla="*/ 149225 h 449262"/>
                <a:gd name="connsiteX144" fmla="*/ 641692 w 792509"/>
                <a:gd name="connsiteY144" fmla="*/ 136525 h 449262"/>
                <a:gd name="connsiteX145" fmla="*/ 638517 w 792509"/>
                <a:gd name="connsiteY145" fmla="*/ 130175 h 449262"/>
                <a:gd name="connsiteX146" fmla="*/ 633755 w 792509"/>
                <a:gd name="connsiteY146" fmla="*/ 127000 h 449262"/>
                <a:gd name="connsiteX147" fmla="*/ 638517 w 792509"/>
                <a:gd name="connsiteY147" fmla="*/ 125412 h 449262"/>
                <a:gd name="connsiteX148" fmla="*/ 648042 w 792509"/>
                <a:gd name="connsiteY148" fmla="*/ 119062 h 449262"/>
                <a:gd name="connsiteX149" fmla="*/ 646455 w 792509"/>
                <a:gd name="connsiteY149" fmla="*/ 106362 h 449262"/>
                <a:gd name="connsiteX150" fmla="*/ 608355 w 792509"/>
                <a:gd name="connsiteY150" fmla="*/ 107950 h 449262"/>
                <a:gd name="connsiteX151" fmla="*/ 602005 w 792509"/>
                <a:gd name="connsiteY151" fmla="*/ 106362 h 449262"/>
                <a:gd name="connsiteX152" fmla="*/ 586130 w 792509"/>
                <a:gd name="connsiteY152" fmla="*/ 100012 h 449262"/>
                <a:gd name="connsiteX153" fmla="*/ 581367 w 792509"/>
                <a:gd name="connsiteY153" fmla="*/ 95250 h 449262"/>
                <a:gd name="connsiteX154" fmla="*/ 576605 w 792509"/>
                <a:gd name="connsiteY154" fmla="*/ 93662 h 449262"/>
                <a:gd name="connsiteX155" fmla="*/ 573430 w 792509"/>
                <a:gd name="connsiteY155" fmla="*/ 88900 h 449262"/>
                <a:gd name="connsiteX156" fmla="*/ 551205 w 792509"/>
                <a:gd name="connsiteY156" fmla="*/ 95250 h 449262"/>
                <a:gd name="connsiteX157" fmla="*/ 552792 w 792509"/>
                <a:gd name="connsiteY157" fmla="*/ 107950 h 449262"/>
                <a:gd name="connsiteX158" fmla="*/ 555967 w 792509"/>
                <a:gd name="connsiteY158" fmla="*/ 114300 h 449262"/>
                <a:gd name="connsiteX159" fmla="*/ 557555 w 792509"/>
                <a:gd name="connsiteY159" fmla="*/ 119062 h 449262"/>
                <a:gd name="connsiteX160" fmla="*/ 554380 w 792509"/>
                <a:gd name="connsiteY160" fmla="*/ 131762 h 449262"/>
                <a:gd name="connsiteX161" fmla="*/ 549617 w 792509"/>
                <a:gd name="connsiteY161" fmla="*/ 134937 h 449262"/>
                <a:gd name="connsiteX162" fmla="*/ 544855 w 792509"/>
                <a:gd name="connsiteY162" fmla="*/ 139700 h 449262"/>
                <a:gd name="connsiteX163" fmla="*/ 540092 w 792509"/>
                <a:gd name="connsiteY163" fmla="*/ 141287 h 449262"/>
                <a:gd name="connsiteX164" fmla="*/ 530567 w 792509"/>
                <a:gd name="connsiteY164" fmla="*/ 146050 h 449262"/>
                <a:gd name="connsiteX165" fmla="*/ 517867 w 792509"/>
                <a:gd name="connsiteY165" fmla="*/ 141287 h 449262"/>
                <a:gd name="connsiteX166" fmla="*/ 516280 w 792509"/>
                <a:gd name="connsiteY166" fmla="*/ 131762 h 449262"/>
                <a:gd name="connsiteX167" fmla="*/ 509930 w 792509"/>
                <a:gd name="connsiteY167" fmla="*/ 125412 h 449262"/>
                <a:gd name="connsiteX168" fmla="*/ 506755 w 792509"/>
                <a:gd name="connsiteY168" fmla="*/ 120650 h 449262"/>
                <a:gd name="connsiteX169" fmla="*/ 490880 w 792509"/>
                <a:gd name="connsiteY169" fmla="*/ 114300 h 449262"/>
                <a:gd name="connsiteX170" fmla="*/ 476592 w 792509"/>
                <a:gd name="connsiteY170" fmla="*/ 109537 h 449262"/>
                <a:gd name="connsiteX171" fmla="*/ 473417 w 792509"/>
                <a:gd name="connsiteY171" fmla="*/ 104775 h 449262"/>
                <a:gd name="connsiteX172" fmla="*/ 478180 w 792509"/>
                <a:gd name="connsiteY172" fmla="*/ 87312 h 449262"/>
                <a:gd name="connsiteX173" fmla="*/ 484530 w 792509"/>
                <a:gd name="connsiteY173" fmla="*/ 85725 h 449262"/>
                <a:gd name="connsiteX174" fmla="*/ 489292 w 792509"/>
                <a:gd name="connsiteY174" fmla="*/ 82550 h 449262"/>
                <a:gd name="connsiteX175" fmla="*/ 494055 w 792509"/>
                <a:gd name="connsiteY175" fmla="*/ 80962 h 449262"/>
                <a:gd name="connsiteX176" fmla="*/ 501992 w 792509"/>
                <a:gd name="connsiteY176" fmla="*/ 71437 h 449262"/>
                <a:gd name="connsiteX177" fmla="*/ 497230 w 792509"/>
                <a:gd name="connsiteY177" fmla="*/ 66675 h 449262"/>
                <a:gd name="connsiteX178" fmla="*/ 492467 w 792509"/>
                <a:gd name="connsiteY178" fmla="*/ 65087 h 449262"/>
                <a:gd name="connsiteX179" fmla="*/ 481355 w 792509"/>
                <a:gd name="connsiteY179" fmla="*/ 60325 h 449262"/>
                <a:gd name="connsiteX180" fmla="*/ 473417 w 792509"/>
                <a:gd name="connsiteY180" fmla="*/ 58737 h 449262"/>
                <a:gd name="connsiteX181" fmla="*/ 449605 w 792509"/>
                <a:gd name="connsiteY181" fmla="*/ 52387 h 449262"/>
                <a:gd name="connsiteX182" fmla="*/ 448017 w 792509"/>
                <a:gd name="connsiteY182" fmla="*/ 58737 h 449262"/>
                <a:gd name="connsiteX183" fmla="*/ 446430 w 792509"/>
                <a:gd name="connsiteY183" fmla="*/ 68262 h 449262"/>
                <a:gd name="connsiteX184" fmla="*/ 444842 w 792509"/>
                <a:gd name="connsiteY184" fmla="*/ 63500 h 449262"/>
                <a:gd name="connsiteX185" fmla="*/ 435317 w 792509"/>
                <a:gd name="connsiteY185" fmla="*/ 53975 h 449262"/>
                <a:gd name="connsiteX186" fmla="*/ 422617 w 792509"/>
                <a:gd name="connsiteY186" fmla="*/ 50800 h 449262"/>
                <a:gd name="connsiteX187" fmla="*/ 417855 w 792509"/>
                <a:gd name="connsiteY187" fmla="*/ 47625 h 449262"/>
                <a:gd name="connsiteX188" fmla="*/ 374992 w 792509"/>
                <a:gd name="connsiteY188" fmla="*/ 53975 h 449262"/>
                <a:gd name="connsiteX189" fmla="*/ 373405 w 792509"/>
                <a:gd name="connsiteY189" fmla="*/ 47625 h 449262"/>
                <a:gd name="connsiteX190" fmla="*/ 371817 w 792509"/>
                <a:gd name="connsiteY190" fmla="*/ 33337 h 449262"/>
                <a:gd name="connsiteX191" fmla="*/ 363880 w 792509"/>
                <a:gd name="connsiteY191" fmla="*/ 23812 h 449262"/>
                <a:gd name="connsiteX192" fmla="*/ 360705 w 792509"/>
                <a:gd name="connsiteY192" fmla="*/ 17462 h 449262"/>
                <a:gd name="connsiteX193" fmla="*/ 351180 w 792509"/>
                <a:gd name="connsiteY193" fmla="*/ 4762 h 449262"/>
                <a:gd name="connsiteX194" fmla="*/ 346417 w 792509"/>
                <a:gd name="connsiteY194" fmla="*/ 3175 h 449262"/>
                <a:gd name="connsiteX195" fmla="*/ 335305 w 792509"/>
                <a:gd name="connsiteY195" fmla="*/ 0 h 449262"/>
                <a:gd name="connsiteX196" fmla="*/ 328955 w 792509"/>
                <a:gd name="connsiteY196" fmla="*/ 6350 h 449262"/>
                <a:gd name="connsiteX197" fmla="*/ 325780 w 792509"/>
                <a:gd name="connsiteY197" fmla="*/ 15875 h 449262"/>
                <a:gd name="connsiteX198" fmla="*/ 317842 w 792509"/>
                <a:gd name="connsiteY198" fmla="*/ 26987 h 449262"/>
                <a:gd name="connsiteX199" fmla="*/ 311492 w 792509"/>
                <a:gd name="connsiteY199" fmla="*/ 28575 h 449262"/>
                <a:gd name="connsiteX200" fmla="*/ 306730 w 792509"/>
                <a:gd name="connsiteY200" fmla="*/ 30162 h 449262"/>
                <a:gd name="connsiteX201" fmla="*/ 287680 w 792509"/>
                <a:gd name="connsiteY201" fmla="*/ 28575 h 449262"/>
                <a:gd name="connsiteX202" fmla="*/ 284505 w 792509"/>
                <a:gd name="connsiteY202" fmla="*/ 22225 h 449262"/>
                <a:gd name="connsiteX203" fmla="*/ 279742 w 792509"/>
                <a:gd name="connsiteY203" fmla="*/ 12700 h 449262"/>
                <a:gd name="connsiteX204" fmla="*/ 274980 w 792509"/>
                <a:gd name="connsiteY204" fmla="*/ 3175 h 449262"/>
                <a:gd name="connsiteX205" fmla="*/ 270217 w 792509"/>
                <a:gd name="connsiteY205" fmla="*/ 0 h 449262"/>
                <a:gd name="connsiteX206" fmla="*/ 251167 w 792509"/>
                <a:gd name="connsiteY206" fmla="*/ 4762 h 449262"/>
                <a:gd name="connsiteX0" fmla="*/ 251167 w 792509"/>
                <a:gd name="connsiteY0" fmla="*/ 4762 h 449262"/>
                <a:gd name="connsiteX1" fmla="*/ 249580 w 792509"/>
                <a:gd name="connsiteY1" fmla="*/ 12700 h 449262"/>
                <a:gd name="connsiteX2" fmla="*/ 247992 w 792509"/>
                <a:gd name="connsiteY2" fmla="*/ 19050 h 449262"/>
                <a:gd name="connsiteX3" fmla="*/ 240055 w 792509"/>
                <a:gd name="connsiteY3" fmla="*/ 41275 h 449262"/>
                <a:gd name="connsiteX4" fmla="*/ 233705 w 792509"/>
                <a:gd name="connsiteY4" fmla="*/ 44450 h 449262"/>
                <a:gd name="connsiteX5" fmla="*/ 214655 w 792509"/>
                <a:gd name="connsiteY5" fmla="*/ 50800 h 449262"/>
                <a:gd name="connsiteX6" fmla="*/ 206717 w 792509"/>
                <a:gd name="connsiteY6" fmla="*/ 53975 h 449262"/>
                <a:gd name="connsiteX7" fmla="*/ 186080 w 792509"/>
                <a:gd name="connsiteY7" fmla="*/ 66675 h 449262"/>
                <a:gd name="connsiteX8" fmla="*/ 179730 w 792509"/>
                <a:gd name="connsiteY8" fmla="*/ 68262 h 449262"/>
                <a:gd name="connsiteX9" fmla="*/ 167030 w 792509"/>
                <a:gd name="connsiteY9" fmla="*/ 71437 h 449262"/>
                <a:gd name="connsiteX10" fmla="*/ 163855 w 792509"/>
                <a:gd name="connsiteY10" fmla="*/ 76200 h 449262"/>
                <a:gd name="connsiteX11" fmla="*/ 159092 w 792509"/>
                <a:gd name="connsiteY11" fmla="*/ 82550 h 449262"/>
                <a:gd name="connsiteX12" fmla="*/ 154330 w 792509"/>
                <a:gd name="connsiteY12" fmla="*/ 90487 h 449262"/>
                <a:gd name="connsiteX13" fmla="*/ 133692 w 792509"/>
                <a:gd name="connsiteY13" fmla="*/ 95250 h 449262"/>
                <a:gd name="connsiteX14" fmla="*/ 128930 w 792509"/>
                <a:gd name="connsiteY14" fmla="*/ 100012 h 449262"/>
                <a:gd name="connsiteX15" fmla="*/ 127342 w 792509"/>
                <a:gd name="connsiteY15" fmla="*/ 104775 h 449262"/>
                <a:gd name="connsiteX16" fmla="*/ 120992 w 792509"/>
                <a:gd name="connsiteY16" fmla="*/ 111125 h 449262"/>
                <a:gd name="connsiteX17" fmla="*/ 111467 w 792509"/>
                <a:gd name="connsiteY17" fmla="*/ 120650 h 449262"/>
                <a:gd name="connsiteX18" fmla="*/ 101942 w 792509"/>
                <a:gd name="connsiteY18" fmla="*/ 117475 h 449262"/>
                <a:gd name="connsiteX19" fmla="*/ 87655 w 792509"/>
                <a:gd name="connsiteY19" fmla="*/ 114300 h 449262"/>
                <a:gd name="connsiteX20" fmla="*/ 62255 w 792509"/>
                <a:gd name="connsiteY20" fmla="*/ 117475 h 449262"/>
                <a:gd name="connsiteX21" fmla="*/ 51142 w 792509"/>
                <a:gd name="connsiteY21" fmla="*/ 128587 h 449262"/>
                <a:gd name="connsiteX22" fmla="*/ 40030 w 792509"/>
                <a:gd name="connsiteY22" fmla="*/ 142875 h 449262"/>
                <a:gd name="connsiteX23" fmla="*/ 33680 w 792509"/>
                <a:gd name="connsiteY23" fmla="*/ 149225 h 449262"/>
                <a:gd name="connsiteX24" fmla="*/ 24155 w 792509"/>
                <a:gd name="connsiteY24" fmla="*/ 157162 h 449262"/>
                <a:gd name="connsiteX25" fmla="*/ 22567 w 792509"/>
                <a:gd name="connsiteY25" fmla="*/ 152400 h 449262"/>
                <a:gd name="connsiteX26" fmla="*/ 6692 w 792509"/>
                <a:gd name="connsiteY26" fmla="*/ 147637 h 449262"/>
                <a:gd name="connsiteX27" fmla="*/ 342 w 792509"/>
                <a:gd name="connsiteY27" fmla="*/ 149225 h 449262"/>
                <a:gd name="connsiteX28" fmla="*/ 1930 w 792509"/>
                <a:gd name="connsiteY28" fmla="*/ 153987 h 449262"/>
                <a:gd name="connsiteX29" fmla="*/ 11455 w 792509"/>
                <a:gd name="connsiteY29" fmla="*/ 160337 h 449262"/>
                <a:gd name="connsiteX30" fmla="*/ 13042 w 792509"/>
                <a:gd name="connsiteY30" fmla="*/ 166687 h 449262"/>
                <a:gd name="connsiteX31" fmla="*/ 8280 w 792509"/>
                <a:gd name="connsiteY31" fmla="*/ 174625 h 449262"/>
                <a:gd name="connsiteX32" fmla="*/ 20980 w 792509"/>
                <a:gd name="connsiteY32" fmla="*/ 184150 h 449262"/>
                <a:gd name="connsiteX33" fmla="*/ 30505 w 792509"/>
                <a:gd name="connsiteY33" fmla="*/ 195262 h 449262"/>
                <a:gd name="connsiteX34" fmla="*/ 35267 w 792509"/>
                <a:gd name="connsiteY34" fmla="*/ 209550 h 449262"/>
                <a:gd name="connsiteX35" fmla="*/ 47967 w 792509"/>
                <a:gd name="connsiteY35" fmla="*/ 214312 h 449262"/>
                <a:gd name="connsiteX36" fmla="*/ 49555 w 792509"/>
                <a:gd name="connsiteY36" fmla="*/ 230187 h 449262"/>
                <a:gd name="connsiteX37" fmla="*/ 44792 w 792509"/>
                <a:gd name="connsiteY37" fmla="*/ 233362 h 449262"/>
                <a:gd name="connsiteX38" fmla="*/ 41617 w 792509"/>
                <a:gd name="connsiteY38" fmla="*/ 238125 h 449262"/>
                <a:gd name="connsiteX39" fmla="*/ 44792 w 792509"/>
                <a:gd name="connsiteY39" fmla="*/ 247650 h 449262"/>
                <a:gd name="connsiteX40" fmla="*/ 46380 w 792509"/>
                <a:gd name="connsiteY40" fmla="*/ 288925 h 449262"/>
                <a:gd name="connsiteX41" fmla="*/ 49555 w 792509"/>
                <a:gd name="connsiteY41" fmla="*/ 298450 h 449262"/>
                <a:gd name="connsiteX42" fmla="*/ 62255 w 792509"/>
                <a:gd name="connsiteY42" fmla="*/ 304800 h 449262"/>
                <a:gd name="connsiteX43" fmla="*/ 71780 w 792509"/>
                <a:gd name="connsiteY43" fmla="*/ 315912 h 449262"/>
                <a:gd name="connsiteX44" fmla="*/ 73367 w 792509"/>
                <a:gd name="connsiteY44" fmla="*/ 320675 h 449262"/>
                <a:gd name="connsiteX45" fmla="*/ 78130 w 792509"/>
                <a:gd name="connsiteY45" fmla="*/ 323850 h 449262"/>
                <a:gd name="connsiteX46" fmla="*/ 113055 w 792509"/>
                <a:gd name="connsiteY46" fmla="*/ 328612 h 449262"/>
                <a:gd name="connsiteX47" fmla="*/ 119405 w 792509"/>
                <a:gd name="connsiteY47" fmla="*/ 344487 h 449262"/>
                <a:gd name="connsiteX48" fmla="*/ 125755 w 792509"/>
                <a:gd name="connsiteY48" fmla="*/ 346075 h 449262"/>
                <a:gd name="connsiteX49" fmla="*/ 130517 w 792509"/>
                <a:gd name="connsiteY49" fmla="*/ 350837 h 449262"/>
                <a:gd name="connsiteX50" fmla="*/ 143217 w 792509"/>
                <a:gd name="connsiteY50" fmla="*/ 366712 h 449262"/>
                <a:gd name="connsiteX51" fmla="*/ 149567 w 792509"/>
                <a:gd name="connsiteY51" fmla="*/ 369887 h 449262"/>
                <a:gd name="connsiteX52" fmla="*/ 154330 w 792509"/>
                <a:gd name="connsiteY52" fmla="*/ 371475 h 449262"/>
                <a:gd name="connsiteX53" fmla="*/ 167030 w 792509"/>
                <a:gd name="connsiteY53" fmla="*/ 374650 h 449262"/>
                <a:gd name="connsiteX54" fmla="*/ 170205 w 792509"/>
                <a:gd name="connsiteY54" fmla="*/ 379412 h 449262"/>
                <a:gd name="connsiteX55" fmla="*/ 176555 w 792509"/>
                <a:gd name="connsiteY55" fmla="*/ 381000 h 449262"/>
                <a:gd name="connsiteX56" fmla="*/ 182905 w 792509"/>
                <a:gd name="connsiteY56" fmla="*/ 384175 h 449262"/>
                <a:gd name="connsiteX57" fmla="*/ 187667 w 792509"/>
                <a:gd name="connsiteY57" fmla="*/ 388937 h 449262"/>
                <a:gd name="connsiteX58" fmla="*/ 192430 w 792509"/>
                <a:gd name="connsiteY58" fmla="*/ 392112 h 449262"/>
                <a:gd name="connsiteX59" fmla="*/ 197192 w 792509"/>
                <a:gd name="connsiteY59" fmla="*/ 398462 h 449262"/>
                <a:gd name="connsiteX60" fmla="*/ 198780 w 792509"/>
                <a:gd name="connsiteY60" fmla="*/ 403225 h 449262"/>
                <a:gd name="connsiteX61" fmla="*/ 208305 w 792509"/>
                <a:gd name="connsiteY61" fmla="*/ 406400 h 449262"/>
                <a:gd name="connsiteX62" fmla="*/ 217830 w 792509"/>
                <a:gd name="connsiteY62" fmla="*/ 412750 h 449262"/>
                <a:gd name="connsiteX63" fmla="*/ 232117 w 792509"/>
                <a:gd name="connsiteY63" fmla="*/ 428625 h 449262"/>
                <a:gd name="connsiteX64" fmla="*/ 233705 w 792509"/>
                <a:gd name="connsiteY64" fmla="*/ 433387 h 449262"/>
                <a:gd name="connsiteX65" fmla="*/ 238467 w 792509"/>
                <a:gd name="connsiteY65" fmla="*/ 436562 h 449262"/>
                <a:gd name="connsiteX66" fmla="*/ 246405 w 792509"/>
                <a:gd name="connsiteY66" fmla="*/ 442912 h 449262"/>
                <a:gd name="connsiteX67" fmla="*/ 249580 w 792509"/>
                <a:gd name="connsiteY67" fmla="*/ 447675 h 449262"/>
                <a:gd name="connsiteX68" fmla="*/ 257517 w 792509"/>
                <a:gd name="connsiteY68" fmla="*/ 449262 h 449262"/>
                <a:gd name="connsiteX69" fmla="*/ 287680 w 792509"/>
                <a:gd name="connsiteY69" fmla="*/ 447675 h 449262"/>
                <a:gd name="connsiteX70" fmla="*/ 294030 w 792509"/>
                <a:gd name="connsiteY70" fmla="*/ 442912 h 449262"/>
                <a:gd name="connsiteX71" fmla="*/ 301967 w 792509"/>
                <a:gd name="connsiteY71" fmla="*/ 439737 h 449262"/>
                <a:gd name="connsiteX72" fmla="*/ 316255 w 792509"/>
                <a:gd name="connsiteY72" fmla="*/ 441325 h 449262"/>
                <a:gd name="connsiteX73" fmla="*/ 325780 w 792509"/>
                <a:gd name="connsiteY73" fmla="*/ 414337 h 449262"/>
                <a:gd name="connsiteX74" fmla="*/ 332130 w 792509"/>
                <a:gd name="connsiteY74" fmla="*/ 409575 h 449262"/>
                <a:gd name="connsiteX75" fmla="*/ 348005 w 792509"/>
                <a:gd name="connsiteY75" fmla="*/ 396875 h 449262"/>
                <a:gd name="connsiteX76" fmla="*/ 351180 w 792509"/>
                <a:gd name="connsiteY76" fmla="*/ 379412 h 449262"/>
                <a:gd name="connsiteX77" fmla="*/ 357530 w 792509"/>
                <a:gd name="connsiteY77" fmla="*/ 358775 h 449262"/>
                <a:gd name="connsiteX78" fmla="*/ 371817 w 792509"/>
                <a:gd name="connsiteY78" fmla="*/ 361950 h 449262"/>
                <a:gd name="connsiteX79" fmla="*/ 384517 w 792509"/>
                <a:gd name="connsiteY79" fmla="*/ 368300 h 449262"/>
                <a:gd name="connsiteX80" fmla="*/ 397217 w 792509"/>
                <a:gd name="connsiteY80" fmla="*/ 373062 h 449262"/>
                <a:gd name="connsiteX81" fmla="*/ 401980 w 792509"/>
                <a:gd name="connsiteY81" fmla="*/ 376237 h 449262"/>
                <a:gd name="connsiteX82" fmla="*/ 417855 w 792509"/>
                <a:gd name="connsiteY82" fmla="*/ 377825 h 449262"/>
                <a:gd name="connsiteX83" fmla="*/ 428967 w 792509"/>
                <a:gd name="connsiteY83" fmla="*/ 388937 h 449262"/>
                <a:gd name="connsiteX84" fmla="*/ 449605 w 792509"/>
                <a:gd name="connsiteY84" fmla="*/ 390525 h 449262"/>
                <a:gd name="connsiteX85" fmla="*/ 468655 w 792509"/>
                <a:gd name="connsiteY85" fmla="*/ 388937 h 449262"/>
                <a:gd name="connsiteX86" fmla="*/ 475005 w 792509"/>
                <a:gd name="connsiteY86" fmla="*/ 396875 h 449262"/>
                <a:gd name="connsiteX87" fmla="*/ 481355 w 792509"/>
                <a:gd name="connsiteY87" fmla="*/ 404812 h 449262"/>
                <a:gd name="connsiteX88" fmla="*/ 482942 w 792509"/>
                <a:gd name="connsiteY88" fmla="*/ 409575 h 449262"/>
                <a:gd name="connsiteX89" fmla="*/ 500405 w 792509"/>
                <a:gd name="connsiteY89" fmla="*/ 409575 h 449262"/>
                <a:gd name="connsiteX90" fmla="*/ 505167 w 792509"/>
                <a:gd name="connsiteY90" fmla="*/ 403225 h 449262"/>
                <a:gd name="connsiteX91" fmla="*/ 509930 w 792509"/>
                <a:gd name="connsiteY91" fmla="*/ 401637 h 449262"/>
                <a:gd name="connsiteX92" fmla="*/ 519455 w 792509"/>
                <a:gd name="connsiteY92" fmla="*/ 400050 h 449262"/>
                <a:gd name="connsiteX93" fmla="*/ 522630 w 792509"/>
                <a:gd name="connsiteY93" fmla="*/ 395287 h 449262"/>
                <a:gd name="connsiteX94" fmla="*/ 525805 w 792509"/>
                <a:gd name="connsiteY94" fmla="*/ 384175 h 449262"/>
                <a:gd name="connsiteX95" fmla="*/ 530567 w 792509"/>
                <a:gd name="connsiteY95" fmla="*/ 382587 h 449262"/>
                <a:gd name="connsiteX96" fmla="*/ 538505 w 792509"/>
                <a:gd name="connsiteY96" fmla="*/ 388937 h 449262"/>
                <a:gd name="connsiteX97" fmla="*/ 543267 w 792509"/>
                <a:gd name="connsiteY97" fmla="*/ 392112 h 449262"/>
                <a:gd name="connsiteX98" fmla="*/ 552792 w 792509"/>
                <a:gd name="connsiteY98" fmla="*/ 398462 h 449262"/>
                <a:gd name="connsiteX99" fmla="*/ 573430 w 792509"/>
                <a:gd name="connsiteY99" fmla="*/ 396875 h 449262"/>
                <a:gd name="connsiteX100" fmla="*/ 584542 w 792509"/>
                <a:gd name="connsiteY100" fmla="*/ 393700 h 449262"/>
                <a:gd name="connsiteX101" fmla="*/ 589305 w 792509"/>
                <a:gd name="connsiteY101" fmla="*/ 379412 h 449262"/>
                <a:gd name="connsiteX102" fmla="*/ 600417 w 792509"/>
                <a:gd name="connsiteY102" fmla="*/ 373062 h 449262"/>
                <a:gd name="connsiteX103" fmla="*/ 613117 w 792509"/>
                <a:gd name="connsiteY103" fmla="*/ 366712 h 449262"/>
                <a:gd name="connsiteX104" fmla="*/ 655980 w 792509"/>
                <a:gd name="connsiteY104" fmla="*/ 366712 h 449262"/>
                <a:gd name="connsiteX105" fmla="*/ 660742 w 792509"/>
                <a:gd name="connsiteY105" fmla="*/ 363537 h 449262"/>
                <a:gd name="connsiteX106" fmla="*/ 676617 w 792509"/>
                <a:gd name="connsiteY106" fmla="*/ 358775 h 449262"/>
                <a:gd name="connsiteX107" fmla="*/ 682967 w 792509"/>
                <a:gd name="connsiteY107" fmla="*/ 354012 h 449262"/>
                <a:gd name="connsiteX108" fmla="*/ 692492 w 792509"/>
                <a:gd name="connsiteY108" fmla="*/ 349250 h 449262"/>
                <a:gd name="connsiteX109" fmla="*/ 694080 w 792509"/>
                <a:gd name="connsiteY109" fmla="*/ 342900 h 449262"/>
                <a:gd name="connsiteX110" fmla="*/ 697255 w 792509"/>
                <a:gd name="connsiteY110" fmla="*/ 328612 h 449262"/>
                <a:gd name="connsiteX111" fmla="*/ 702017 w 792509"/>
                <a:gd name="connsiteY111" fmla="*/ 325437 h 449262"/>
                <a:gd name="connsiteX112" fmla="*/ 708367 w 792509"/>
                <a:gd name="connsiteY112" fmla="*/ 315912 h 449262"/>
                <a:gd name="connsiteX113" fmla="*/ 711542 w 792509"/>
                <a:gd name="connsiteY113" fmla="*/ 304800 h 449262"/>
                <a:gd name="connsiteX114" fmla="*/ 717892 w 792509"/>
                <a:gd name="connsiteY114" fmla="*/ 303212 h 449262"/>
                <a:gd name="connsiteX115" fmla="*/ 725830 w 792509"/>
                <a:gd name="connsiteY115" fmla="*/ 273050 h 449262"/>
                <a:gd name="connsiteX116" fmla="*/ 738530 w 792509"/>
                <a:gd name="connsiteY116" fmla="*/ 252412 h 449262"/>
                <a:gd name="connsiteX117" fmla="*/ 746467 w 792509"/>
                <a:gd name="connsiteY117" fmla="*/ 250825 h 449262"/>
                <a:gd name="connsiteX118" fmla="*/ 756310 w 792509"/>
                <a:gd name="connsiteY118" fmla="*/ 255270 h 449262"/>
                <a:gd name="connsiteX119" fmla="*/ 763930 w 792509"/>
                <a:gd name="connsiteY119" fmla="*/ 244475 h 449262"/>
                <a:gd name="connsiteX120" fmla="*/ 779805 w 792509"/>
                <a:gd name="connsiteY120" fmla="*/ 230187 h 449262"/>
                <a:gd name="connsiteX121" fmla="*/ 786155 w 792509"/>
                <a:gd name="connsiteY121" fmla="*/ 228600 h 449262"/>
                <a:gd name="connsiteX122" fmla="*/ 790917 w 792509"/>
                <a:gd name="connsiteY122" fmla="*/ 223837 h 449262"/>
                <a:gd name="connsiteX123" fmla="*/ 792505 w 792509"/>
                <a:gd name="connsiteY123" fmla="*/ 219075 h 449262"/>
                <a:gd name="connsiteX124" fmla="*/ 790917 w 792509"/>
                <a:gd name="connsiteY124" fmla="*/ 206375 h 449262"/>
                <a:gd name="connsiteX125" fmla="*/ 784567 w 792509"/>
                <a:gd name="connsiteY125" fmla="*/ 201612 h 449262"/>
                <a:gd name="connsiteX126" fmla="*/ 778217 w 792509"/>
                <a:gd name="connsiteY126" fmla="*/ 200025 h 449262"/>
                <a:gd name="connsiteX127" fmla="*/ 767105 w 792509"/>
                <a:gd name="connsiteY127" fmla="*/ 196850 h 449262"/>
                <a:gd name="connsiteX128" fmla="*/ 763930 w 792509"/>
                <a:gd name="connsiteY128" fmla="*/ 190500 h 449262"/>
                <a:gd name="connsiteX129" fmla="*/ 760755 w 792509"/>
                <a:gd name="connsiteY129" fmla="*/ 182562 h 449262"/>
                <a:gd name="connsiteX130" fmla="*/ 755992 w 792509"/>
                <a:gd name="connsiteY130" fmla="*/ 179387 h 449262"/>
                <a:gd name="connsiteX131" fmla="*/ 748055 w 792509"/>
                <a:gd name="connsiteY131" fmla="*/ 163512 h 449262"/>
                <a:gd name="connsiteX132" fmla="*/ 743292 w 792509"/>
                <a:gd name="connsiteY132" fmla="*/ 161925 h 449262"/>
                <a:gd name="connsiteX133" fmla="*/ 735355 w 792509"/>
                <a:gd name="connsiteY133" fmla="*/ 157162 h 449262"/>
                <a:gd name="connsiteX134" fmla="*/ 719480 w 792509"/>
                <a:gd name="connsiteY134" fmla="*/ 153987 h 449262"/>
                <a:gd name="connsiteX135" fmla="*/ 714717 w 792509"/>
                <a:gd name="connsiteY135" fmla="*/ 152400 h 449262"/>
                <a:gd name="connsiteX136" fmla="*/ 702017 w 792509"/>
                <a:gd name="connsiteY136" fmla="*/ 149225 h 449262"/>
                <a:gd name="connsiteX137" fmla="*/ 692492 w 792509"/>
                <a:gd name="connsiteY137" fmla="*/ 141287 h 449262"/>
                <a:gd name="connsiteX138" fmla="*/ 673442 w 792509"/>
                <a:gd name="connsiteY138" fmla="*/ 146050 h 449262"/>
                <a:gd name="connsiteX139" fmla="*/ 668680 w 792509"/>
                <a:gd name="connsiteY139" fmla="*/ 150812 h 449262"/>
                <a:gd name="connsiteX140" fmla="*/ 667092 w 792509"/>
                <a:gd name="connsiteY140" fmla="*/ 157162 h 449262"/>
                <a:gd name="connsiteX141" fmla="*/ 660742 w 792509"/>
                <a:gd name="connsiteY141" fmla="*/ 158750 h 449262"/>
                <a:gd name="connsiteX142" fmla="*/ 651217 w 792509"/>
                <a:gd name="connsiteY142" fmla="*/ 153987 h 449262"/>
                <a:gd name="connsiteX143" fmla="*/ 648042 w 792509"/>
                <a:gd name="connsiteY143" fmla="*/ 149225 h 449262"/>
                <a:gd name="connsiteX144" fmla="*/ 641692 w 792509"/>
                <a:gd name="connsiteY144" fmla="*/ 136525 h 449262"/>
                <a:gd name="connsiteX145" fmla="*/ 638517 w 792509"/>
                <a:gd name="connsiteY145" fmla="*/ 130175 h 449262"/>
                <a:gd name="connsiteX146" fmla="*/ 633755 w 792509"/>
                <a:gd name="connsiteY146" fmla="*/ 127000 h 449262"/>
                <a:gd name="connsiteX147" fmla="*/ 638517 w 792509"/>
                <a:gd name="connsiteY147" fmla="*/ 125412 h 449262"/>
                <a:gd name="connsiteX148" fmla="*/ 648042 w 792509"/>
                <a:gd name="connsiteY148" fmla="*/ 119062 h 449262"/>
                <a:gd name="connsiteX149" fmla="*/ 646455 w 792509"/>
                <a:gd name="connsiteY149" fmla="*/ 106362 h 449262"/>
                <a:gd name="connsiteX150" fmla="*/ 608355 w 792509"/>
                <a:gd name="connsiteY150" fmla="*/ 107950 h 449262"/>
                <a:gd name="connsiteX151" fmla="*/ 602005 w 792509"/>
                <a:gd name="connsiteY151" fmla="*/ 106362 h 449262"/>
                <a:gd name="connsiteX152" fmla="*/ 586130 w 792509"/>
                <a:gd name="connsiteY152" fmla="*/ 100012 h 449262"/>
                <a:gd name="connsiteX153" fmla="*/ 581367 w 792509"/>
                <a:gd name="connsiteY153" fmla="*/ 95250 h 449262"/>
                <a:gd name="connsiteX154" fmla="*/ 576605 w 792509"/>
                <a:gd name="connsiteY154" fmla="*/ 93662 h 449262"/>
                <a:gd name="connsiteX155" fmla="*/ 573430 w 792509"/>
                <a:gd name="connsiteY155" fmla="*/ 88900 h 449262"/>
                <a:gd name="connsiteX156" fmla="*/ 551205 w 792509"/>
                <a:gd name="connsiteY156" fmla="*/ 95250 h 449262"/>
                <a:gd name="connsiteX157" fmla="*/ 552792 w 792509"/>
                <a:gd name="connsiteY157" fmla="*/ 107950 h 449262"/>
                <a:gd name="connsiteX158" fmla="*/ 555967 w 792509"/>
                <a:gd name="connsiteY158" fmla="*/ 114300 h 449262"/>
                <a:gd name="connsiteX159" fmla="*/ 557555 w 792509"/>
                <a:gd name="connsiteY159" fmla="*/ 119062 h 449262"/>
                <a:gd name="connsiteX160" fmla="*/ 554380 w 792509"/>
                <a:gd name="connsiteY160" fmla="*/ 131762 h 449262"/>
                <a:gd name="connsiteX161" fmla="*/ 549617 w 792509"/>
                <a:gd name="connsiteY161" fmla="*/ 134937 h 449262"/>
                <a:gd name="connsiteX162" fmla="*/ 544855 w 792509"/>
                <a:gd name="connsiteY162" fmla="*/ 139700 h 449262"/>
                <a:gd name="connsiteX163" fmla="*/ 540092 w 792509"/>
                <a:gd name="connsiteY163" fmla="*/ 141287 h 449262"/>
                <a:gd name="connsiteX164" fmla="*/ 530567 w 792509"/>
                <a:gd name="connsiteY164" fmla="*/ 146050 h 449262"/>
                <a:gd name="connsiteX165" fmla="*/ 517867 w 792509"/>
                <a:gd name="connsiteY165" fmla="*/ 141287 h 449262"/>
                <a:gd name="connsiteX166" fmla="*/ 516280 w 792509"/>
                <a:gd name="connsiteY166" fmla="*/ 131762 h 449262"/>
                <a:gd name="connsiteX167" fmla="*/ 509930 w 792509"/>
                <a:gd name="connsiteY167" fmla="*/ 125412 h 449262"/>
                <a:gd name="connsiteX168" fmla="*/ 506755 w 792509"/>
                <a:gd name="connsiteY168" fmla="*/ 120650 h 449262"/>
                <a:gd name="connsiteX169" fmla="*/ 490880 w 792509"/>
                <a:gd name="connsiteY169" fmla="*/ 114300 h 449262"/>
                <a:gd name="connsiteX170" fmla="*/ 476592 w 792509"/>
                <a:gd name="connsiteY170" fmla="*/ 109537 h 449262"/>
                <a:gd name="connsiteX171" fmla="*/ 473417 w 792509"/>
                <a:gd name="connsiteY171" fmla="*/ 104775 h 449262"/>
                <a:gd name="connsiteX172" fmla="*/ 478180 w 792509"/>
                <a:gd name="connsiteY172" fmla="*/ 87312 h 449262"/>
                <a:gd name="connsiteX173" fmla="*/ 484530 w 792509"/>
                <a:gd name="connsiteY173" fmla="*/ 85725 h 449262"/>
                <a:gd name="connsiteX174" fmla="*/ 489292 w 792509"/>
                <a:gd name="connsiteY174" fmla="*/ 82550 h 449262"/>
                <a:gd name="connsiteX175" fmla="*/ 494055 w 792509"/>
                <a:gd name="connsiteY175" fmla="*/ 80962 h 449262"/>
                <a:gd name="connsiteX176" fmla="*/ 501992 w 792509"/>
                <a:gd name="connsiteY176" fmla="*/ 71437 h 449262"/>
                <a:gd name="connsiteX177" fmla="*/ 497230 w 792509"/>
                <a:gd name="connsiteY177" fmla="*/ 66675 h 449262"/>
                <a:gd name="connsiteX178" fmla="*/ 492467 w 792509"/>
                <a:gd name="connsiteY178" fmla="*/ 65087 h 449262"/>
                <a:gd name="connsiteX179" fmla="*/ 481355 w 792509"/>
                <a:gd name="connsiteY179" fmla="*/ 60325 h 449262"/>
                <a:gd name="connsiteX180" fmla="*/ 473417 w 792509"/>
                <a:gd name="connsiteY180" fmla="*/ 58737 h 449262"/>
                <a:gd name="connsiteX181" fmla="*/ 449605 w 792509"/>
                <a:gd name="connsiteY181" fmla="*/ 52387 h 449262"/>
                <a:gd name="connsiteX182" fmla="*/ 448017 w 792509"/>
                <a:gd name="connsiteY182" fmla="*/ 58737 h 449262"/>
                <a:gd name="connsiteX183" fmla="*/ 446430 w 792509"/>
                <a:gd name="connsiteY183" fmla="*/ 68262 h 449262"/>
                <a:gd name="connsiteX184" fmla="*/ 444842 w 792509"/>
                <a:gd name="connsiteY184" fmla="*/ 63500 h 449262"/>
                <a:gd name="connsiteX185" fmla="*/ 435317 w 792509"/>
                <a:gd name="connsiteY185" fmla="*/ 53975 h 449262"/>
                <a:gd name="connsiteX186" fmla="*/ 422617 w 792509"/>
                <a:gd name="connsiteY186" fmla="*/ 50800 h 449262"/>
                <a:gd name="connsiteX187" fmla="*/ 417855 w 792509"/>
                <a:gd name="connsiteY187" fmla="*/ 47625 h 449262"/>
                <a:gd name="connsiteX188" fmla="*/ 374992 w 792509"/>
                <a:gd name="connsiteY188" fmla="*/ 53975 h 449262"/>
                <a:gd name="connsiteX189" fmla="*/ 373405 w 792509"/>
                <a:gd name="connsiteY189" fmla="*/ 47625 h 449262"/>
                <a:gd name="connsiteX190" fmla="*/ 371817 w 792509"/>
                <a:gd name="connsiteY190" fmla="*/ 33337 h 449262"/>
                <a:gd name="connsiteX191" fmla="*/ 363880 w 792509"/>
                <a:gd name="connsiteY191" fmla="*/ 23812 h 449262"/>
                <a:gd name="connsiteX192" fmla="*/ 360705 w 792509"/>
                <a:gd name="connsiteY192" fmla="*/ 17462 h 449262"/>
                <a:gd name="connsiteX193" fmla="*/ 351180 w 792509"/>
                <a:gd name="connsiteY193" fmla="*/ 4762 h 449262"/>
                <a:gd name="connsiteX194" fmla="*/ 346417 w 792509"/>
                <a:gd name="connsiteY194" fmla="*/ 3175 h 449262"/>
                <a:gd name="connsiteX195" fmla="*/ 335305 w 792509"/>
                <a:gd name="connsiteY195" fmla="*/ 0 h 449262"/>
                <a:gd name="connsiteX196" fmla="*/ 328955 w 792509"/>
                <a:gd name="connsiteY196" fmla="*/ 6350 h 449262"/>
                <a:gd name="connsiteX197" fmla="*/ 325780 w 792509"/>
                <a:gd name="connsiteY197" fmla="*/ 15875 h 449262"/>
                <a:gd name="connsiteX198" fmla="*/ 317842 w 792509"/>
                <a:gd name="connsiteY198" fmla="*/ 26987 h 449262"/>
                <a:gd name="connsiteX199" fmla="*/ 311492 w 792509"/>
                <a:gd name="connsiteY199" fmla="*/ 28575 h 449262"/>
                <a:gd name="connsiteX200" fmla="*/ 306730 w 792509"/>
                <a:gd name="connsiteY200" fmla="*/ 30162 h 449262"/>
                <a:gd name="connsiteX201" fmla="*/ 287680 w 792509"/>
                <a:gd name="connsiteY201" fmla="*/ 28575 h 449262"/>
                <a:gd name="connsiteX202" fmla="*/ 284505 w 792509"/>
                <a:gd name="connsiteY202" fmla="*/ 22225 h 449262"/>
                <a:gd name="connsiteX203" fmla="*/ 279742 w 792509"/>
                <a:gd name="connsiteY203" fmla="*/ 12700 h 449262"/>
                <a:gd name="connsiteX204" fmla="*/ 274980 w 792509"/>
                <a:gd name="connsiteY204" fmla="*/ 3175 h 449262"/>
                <a:gd name="connsiteX205" fmla="*/ 270217 w 792509"/>
                <a:gd name="connsiteY205" fmla="*/ 0 h 449262"/>
                <a:gd name="connsiteX206" fmla="*/ 251167 w 792509"/>
                <a:gd name="connsiteY206" fmla="*/ 4762 h 449262"/>
                <a:gd name="connsiteX0" fmla="*/ 251167 w 792509"/>
                <a:gd name="connsiteY0" fmla="*/ 4762 h 449262"/>
                <a:gd name="connsiteX1" fmla="*/ 249580 w 792509"/>
                <a:gd name="connsiteY1" fmla="*/ 12700 h 449262"/>
                <a:gd name="connsiteX2" fmla="*/ 247992 w 792509"/>
                <a:gd name="connsiteY2" fmla="*/ 19050 h 449262"/>
                <a:gd name="connsiteX3" fmla="*/ 240055 w 792509"/>
                <a:gd name="connsiteY3" fmla="*/ 41275 h 449262"/>
                <a:gd name="connsiteX4" fmla="*/ 233705 w 792509"/>
                <a:gd name="connsiteY4" fmla="*/ 44450 h 449262"/>
                <a:gd name="connsiteX5" fmla="*/ 214655 w 792509"/>
                <a:gd name="connsiteY5" fmla="*/ 50800 h 449262"/>
                <a:gd name="connsiteX6" fmla="*/ 206717 w 792509"/>
                <a:gd name="connsiteY6" fmla="*/ 53975 h 449262"/>
                <a:gd name="connsiteX7" fmla="*/ 186080 w 792509"/>
                <a:gd name="connsiteY7" fmla="*/ 66675 h 449262"/>
                <a:gd name="connsiteX8" fmla="*/ 179730 w 792509"/>
                <a:gd name="connsiteY8" fmla="*/ 68262 h 449262"/>
                <a:gd name="connsiteX9" fmla="*/ 167030 w 792509"/>
                <a:gd name="connsiteY9" fmla="*/ 71437 h 449262"/>
                <a:gd name="connsiteX10" fmla="*/ 163855 w 792509"/>
                <a:gd name="connsiteY10" fmla="*/ 76200 h 449262"/>
                <a:gd name="connsiteX11" fmla="*/ 159092 w 792509"/>
                <a:gd name="connsiteY11" fmla="*/ 82550 h 449262"/>
                <a:gd name="connsiteX12" fmla="*/ 154330 w 792509"/>
                <a:gd name="connsiteY12" fmla="*/ 90487 h 449262"/>
                <a:gd name="connsiteX13" fmla="*/ 133692 w 792509"/>
                <a:gd name="connsiteY13" fmla="*/ 95250 h 449262"/>
                <a:gd name="connsiteX14" fmla="*/ 128930 w 792509"/>
                <a:gd name="connsiteY14" fmla="*/ 100012 h 449262"/>
                <a:gd name="connsiteX15" fmla="*/ 127342 w 792509"/>
                <a:gd name="connsiteY15" fmla="*/ 104775 h 449262"/>
                <a:gd name="connsiteX16" fmla="*/ 120992 w 792509"/>
                <a:gd name="connsiteY16" fmla="*/ 111125 h 449262"/>
                <a:gd name="connsiteX17" fmla="*/ 111467 w 792509"/>
                <a:gd name="connsiteY17" fmla="*/ 120650 h 449262"/>
                <a:gd name="connsiteX18" fmla="*/ 101942 w 792509"/>
                <a:gd name="connsiteY18" fmla="*/ 117475 h 449262"/>
                <a:gd name="connsiteX19" fmla="*/ 87655 w 792509"/>
                <a:gd name="connsiteY19" fmla="*/ 114300 h 449262"/>
                <a:gd name="connsiteX20" fmla="*/ 62255 w 792509"/>
                <a:gd name="connsiteY20" fmla="*/ 117475 h 449262"/>
                <a:gd name="connsiteX21" fmla="*/ 51142 w 792509"/>
                <a:gd name="connsiteY21" fmla="*/ 128587 h 449262"/>
                <a:gd name="connsiteX22" fmla="*/ 40030 w 792509"/>
                <a:gd name="connsiteY22" fmla="*/ 142875 h 449262"/>
                <a:gd name="connsiteX23" fmla="*/ 33680 w 792509"/>
                <a:gd name="connsiteY23" fmla="*/ 149225 h 449262"/>
                <a:gd name="connsiteX24" fmla="*/ 24155 w 792509"/>
                <a:gd name="connsiteY24" fmla="*/ 157162 h 449262"/>
                <a:gd name="connsiteX25" fmla="*/ 22567 w 792509"/>
                <a:gd name="connsiteY25" fmla="*/ 152400 h 449262"/>
                <a:gd name="connsiteX26" fmla="*/ 6692 w 792509"/>
                <a:gd name="connsiteY26" fmla="*/ 147637 h 449262"/>
                <a:gd name="connsiteX27" fmla="*/ 342 w 792509"/>
                <a:gd name="connsiteY27" fmla="*/ 149225 h 449262"/>
                <a:gd name="connsiteX28" fmla="*/ 1930 w 792509"/>
                <a:gd name="connsiteY28" fmla="*/ 153987 h 449262"/>
                <a:gd name="connsiteX29" fmla="*/ 11455 w 792509"/>
                <a:gd name="connsiteY29" fmla="*/ 160337 h 449262"/>
                <a:gd name="connsiteX30" fmla="*/ 13042 w 792509"/>
                <a:gd name="connsiteY30" fmla="*/ 166687 h 449262"/>
                <a:gd name="connsiteX31" fmla="*/ 8280 w 792509"/>
                <a:gd name="connsiteY31" fmla="*/ 174625 h 449262"/>
                <a:gd name="connsiteX32" fmla="*/ 20980 w 792509"/>
                <a:gd name="connsiteY32" fmla="*/ 184150 h 449262"/>
                <a:gd name="connsiteX33" fmla="*/ 30505 w 792509"/>
                <a:gd name="connsiteY33" fmla="*/ 195262 h 449262"/>
                <a:gd name="connsiteX34" fmla="*/ 35267 w 792509"/>
                <a:gd name="connsiteY34" fmla="*/ 209550 h 449262"/>
                <a:gd name="connsiteX35" fmla="*/ 47967 w 792509"/>
                <a:gd name="connsiteY35" fmla="*/ 214312 h 449262"/>
                <a:gd name="connsiteX36" fmla="*/ 49555 w 792509"/>
                <a:gd name="connsiteY36" fmla="*/ 230187 h 449262"/>
                <a:gd name="connsiteX37" fmla="*/ 44792 w 792509"/>
                <a:gd name="connsiteY37" fmla="*/ 233362 h 449262"/>
                <a:gd name="connsiteX38" fmla="*/ 41617 w 792509"/>
                <a:gd name="connsiteY38" fmla="*/ 238125 h 449262"/>
                <a:gd name="connsiteX39" fmla="*/ 44792 w 792509"/>
                <a:gd name="connsiteY39" fmla="*/ 247650 h 449262"/>
                <a:gd name="connsiteX40" fmla="*/ 46380 w 792509"/>
                <a:gd name="connsiteY40" fmla="*/ 288925 h 449262"/>
                <a:gd name="connsiteX41" fmla="*/ 49555 w 792509"/>
                <a:gd name="connsiteY41" fmla="*/ 298450 h 449262"/>
                <a:gd name="connsiteX42" fmla="*/ 62255 w 792509"/>
                <a:gd name="connsiteY42" fmla="*/ 304800 h 449262"/>
                <a:gd name="connsiteX43" fmla="*/ 71780 w 792509"/>
                <a:gd name="connsiteY43" fmla="*/ 315912 h 449262"/>
                <a:gd name="connsiteX44" fmla="*/ 73367 w 792509"/>
                <a:gd name="connsiteY44" fmla="*/ 320675 h 449262"/>
                <a:gd name="connsiteX45" fmla="*/ 78130 w 792509"/>
                <a:gd name="connsiteY45" fmla="*/ 323850 h 449262"/>
                <a:gd name="connsiteX46" fmla="*/ 113055 w 792509"/>
                <a:gd name="connsiteY46" fmla="*/ 328612 h 449262"/>
                <a:gd name="connsiteX47" fmla="*/ 119405 w 792509"/>
                <a:gd name="connsiteY47" fmla="*/ 344487 h 449262"/>
                <a:gd name="connsiteX48" fmla="*/ 125755 w 792509"/>
                <a:gd name="connsiteY48" fmla="*/ 346075 h 449262"/>
                <a:gd name="connsiteX49" fmla="*/ 130517 w 792509"/>
                <a:gd name="connsiteY49" fmla="*/ 350837 h 449262"/>
                <a:gd name="connsiteX50" fmla="*/ 143217 w 792509"/>
                <a:gd name="connsiteY50" fmla="*/ 366712 h 449262"/>
                <a:gd name="connsiteX51" fmla="*/ 149567 w 792509"/>
                <a:gd name="connsiteY51" fmla="*/ 369887 h 449262"/>
                <a:gd name="connsiteX52" fmla="*/ 154330 w 792509"/>
                <a:gd name="connsiteY52" fmla="*/ 371475 h 449262"/>
                <a:gd name="connsiteX53" fmla="*/ 167030 w 792509"/>
                <a:gd name="connsiteY53" fmla="*/ 374650 h 449262"/>
                <a:gd name="connsiteX54" fmla="*/ 170205 w 792509"/>
                <a:gd name="connsiteY54" fmla="*/ 379412 h 449262"/>
                <a:gd name="connsiteX55" fmla="*/ 176555 w 792509"/>
                <a:gd name="connsiteY55" fmla="*/ 381000 h 449262"/>
                <a:gd name="connsiteX56" fmla="*/ 182905 w 792509"/>
                <a:gd name="connsiteY56" fmla="*/ 384175 h 449262"/>
                <a:gd name="connsiteX57" fmla="*/ 187667 w 792509"/>
                <a:gd name="connsiteY57" fmla="*/ 388937 h 449262"/>
                <a:gd name="connsiteX58" fmla="*/ 192430 w 792509"/>
                <a:gd name="connsiteY58" fmla="*/ 392112 h 449262"/>
                <a:gd name="connsiteX59" fmla="*/ 197192 w 792509"/>
                <a:gd name="connsiteY59" fmla="*/ 398462 h 449262"/>
                <a:gd name="connsiteX60" fmla="*/ 198780 w 792509"/>
                <a:gd name="connsiteY60" fmla="*/ 403225 h 449262"/>
                <a:gd name="connsiteX61" fmla="*/ 208305 w 792509"/>
                <a:gd name="connsiteY61" fmla="*/ 406400 h 449262"/>
                <a:gd name="connsiteX62" fmla="*/ 217830 w 792509"/>
                <a:gd name="connsiteY62" fmla="*/ 412750 h 449262"/>
                <a:gd name="connsiteX63" fmla="*/ 232117 w 792509"/>
                <a:gd name="connsiteY63" fmla="*/ 428625 h 449262"/>
                <a:gd name="connsiteX64" fmla="*/ 233705 w 792509"/>
                <a:gd name="connsiteY64" fmla="*/ 433387 h 449262"/>
                <a:gd name="connsiteX65" fmla="*/ 238467 w 792509"/>
                <a:gd name="connsiteY65" fmla="*/ 436562 h 449262"/>
                <a:gd name="connsiteX66" fmla="*/ 246405 w 792509"/>
                <a:gd name="connsiteY66" fmla="*/ 442912 h 449262"/>
                <a:gd name="connsiteX67" fmla="*/ 249580 w 792509"/>
                <a:gd name="connsiteY67" fmla="*/ 447675 h 449262"/>
                <a:gd name="connsiteX68" fmla="*/ 257517 w 792509"/>
                <a:gd name="connsiteY68" fmla="*/ 449262 h 449262"/>
                <a:gd name="connsiteX69" fmla="*/ 287680 w 792509"/>
                <a:gd name="connsiteY69" fmla="*/ 447675 h 449262"/>
                <a:gd name="connsiteX70" fmla="*/ 294030 w 792509"/>
                <a:gd name="connsiteY70" fmla="*/ 442912 h 449262"/>
                <a:gd name="connsiteX71" fmla="*/ 301967 w 792509"/>
                <a:gd name="connsiteY71" fmla="*/ 439737 h 449262"/>
                <a:gd name="connsiteX72" fmla="*/ 316255 w 792509"/>
                <a:gd name="connsiteY72" fmla="*/ 441325 h 449262"/>
                <a:gd name="connsiteX73" fmla="*/ 325780 w 792509"/>
                <a:gd name="connsiteY73" fmla="*/ 414337 h 449262"/>
                <a:gd name="connsiteX74" fmla="*/ 332130 w 792509"/>
                <a:gd name="connsiteY74" fmla="*/ 409575 h 449262"/>
                <a:gd name="connsiteX75" fmla="*/ 348005 w 792509"/>
                <a:gd name="connsiteY75" fmla="*/ 396875 h 449262"/>
                <a:gd name="connsiteX76" fmla="*/ 351180 w 792509"/>
                <a:gd name="connsiteY76" fmla="*/ 379412 h 449262"/>
                <a:gd name="connsiteX77" fmla="*/ 357530 w 792509"/>
                <a:gd name="connsiteY77" fmla="*/ 358775 h 449262"/>
                <a:gd name="connsiteX78" fmla="*/ 371817 w 792509"/>
                <a:gd name="connsiteY78" fmla="*/ 361950 h 449262"/>
                <a:gd name="connsiteX79" fmla="*/ 384517 w 792509"/>
                <a:gd name="connsiteY79" fmla="*/ 368300 h 449262"/>
                <a:gd name="connsiteX80" fmla="*/ 397217 w 792509"/>
                <a:gd name="connsiteY80" fmla="*/ 373062 h 449262"/>
                <a:gd name="connsiteX81" fmla="*/ 401980 w 792509"/>
                <a:gd name="connsiteY81" fmla="*/ 376237 h 449262"/>
                <a:gd name="connsiteX82" fmla="*/ 417855 w 792509"/>
                <a:gd name="connsiteY82" fmla="*/ 377825 h 449262"/>
                <a:gd name="connsiteX83" fmla="*/ 428967 w 792509"/>
                <a:gd name="connsiteY83" fmla="*/ 388937 h 449262"/>
                <a:gd name="connsiteX84" fmla="*/ 449605 w 792509"/>
                <a:gd name="connsiteY84" fmla="*/ 390525 h 449262"/>
                <a:gd name="connsiteX85" fmla="*/ 468655 w 792509"/>
                <a:gd name="connsiteY85" fmla="*/ 388937 h 449262"/>
                <a:gd name="connsiteX86" fmla="*/ 475005 w 792509"/>
                <a:gd name="connsiteY86" fmla="*/ 396875 h 449262"/>
                <a:gd name="connsiteX87" fmla="*/ 481355 w 792509"/>
                <a:gd name="connsiteY87" fmla="*/ 404812 h 449262"/>
                <a:gd name="connsiteX88" fmla="*/ 482942 w 792509"/>
                <a:gd name="connsiteY88" fmla="*/ 409575 h 449262"/>
                <a:gd name="connsiteX89" fmla="*/ 500405 w 792509"/>
                <a:gd name="connsiteY89" fmla="*/ 409575 h 449262"/>
                <a:gd name="connsiteX90" fmla="*/ 505167 w 792509"/>
                <a:gd name="connsiteY90" fmla="*/ 403225 h 449262"/>
                <a:gd name="connsiteX91" fmla="*/ 509930 w 792509"/>
                <a:gd name="connsiteY91" fmla="*/ 401637 h 449262"/>
                <a:gd name="connsiteX92" fmla="*/ 519455 w 792509"/>
                <a:gd name="connsiteY92" fmla="*/ 400050 h 449262"/>
                <a:gd name="connsiteX93" fmla="*/ 522630 w 792509"/>
                <a:gd name="connsiteY93" fmla="*/ 395287 h 449262"/>
                <a:gd name="connsiteX94" fmla="*/ 525805 w 792509"/>
                <a:gd name="connsiteY94" fmla="*/ 384175 h 449262"/>
                <a:gd name="connsiteX95" fmla="*/ 530567 w 792509"/>
                <a:gd name="connsiteY95" fmla="*/ 382587 h 449262"/>
                <a:gd name="connsiteX96" fmla="*/ 538505 w 792509"/>
                <a:gd name="connsiteY96" fmla="*/ 388937 h 449262"/>
                <a:gd name="connsiteX97" fmla="*/ 543267 w 792509"/>
                <a:gd name="connsiteY97" fmla="*/ 392112 h 449262"/>
                <a:gd name="connsiteX98" fmla="*/ 552792 w 792509"/>
                <a:gd name="connsiteY98" fmla="*/ 398462 h 449262"/>
                <a:gd name="connsiteX99" fmla="*/ 573430 w 792509"/>
                <a:gd name="connsiteY99" fmla="*/ 396875 h 449262"/>
                <a:gd name="connsiteX100" fmla="*/ 584542 w 792509"/>
                <a:gd name="connsiteY100" fmla="*/ 393700 h 449262"/>
                <a:gd name="connsiteX101" fmla="*/ 589305 w 792509"/>
                <a:gd name="connsiteY101" fmla="*/ 379412 h 449262"/>
                <a:gd name="connsiteX102" fmla="*/ 600417 w 792509"/>
                <a:gd name="connsiteY102" fmla="*/ 373062 h 449262"/>
                <a:gd name="connsiteX103" fmla="*/ 613117 w 792509"/>
                <a:gd name="connsiteY103" fmla="*/ 366712 h 449262"/>
                <a:gd name="connsiteX104" fmla="*/ 655980 w 792509"/>
                <a:gd name="connsiteY104" fmla="*/ 366712 h 449262"/>
                <a:gd name="connsiteX105" fmla="*/ 660742 w 792509"/>
                <a:gd name="connsiteY105" fmla="*/ 363537 h 449262"/>
                <a:gd name="connsiteX106" fmla="*/ 676617 w 792509"/>
                <a:gd name="connsiteY106" fmla="*/ 358775 h 449262"/>
                <a:gd name="connsiteX107" fmla="*/ 682967 w 792509"/>
                <a:gd name="connsiteY107" fmla="*/ 354012 h 449262"/>
                <a:gd name="connsiteX108" fmla="*/ 692492 w 792509"/>
                <a:gd name="connsiteY108" fmla="*/ 349250 h 449262"/>
                <a:gd name="connsiteX109" fmla="*/ 694080 w 792509"/>
                <a:gd name="connsiteY109" fmla="*/ 342900 h 449262"/>
                <a:gd name="connsiteX110" fmla="*/ 697255 w 792509"/>
                <a:gd name="connsiteY110" fmla="*/ 328612 h 449262"/>
                <a:gd name="connsiteX111" fmla="*/ 702017 w 792509"/>
                <a:gd name="connsiteY111" fmla="*/ 325437 h 449262"/>
                <a:gd name="connsiteX112" fmla="*/ 708367 w 792509"/>
                <a:gd name="connsiteY112" fmla="*/ 315912 h 449262"/>
                <a:gd name="connsiteX113" fmla="*/ 711542 w 792509"/>
                <a:gd name="connsiteY113" fmla="*/ 304800 h 449262"/>
                <a:gd name="connsiteX114" fmla="*/ 717892 w 792509"/>
                <a:gd name="connsiteY114" fmla="*/ 303212 h 449262"/>
                <a:gd name="connsiteX115" fmla="*/ 725830 w 792509"/>
                <a:gd name="connsiteY115" fmla="*/ 273050 h 449262"/>
                <a:gd name="connsiteX116" fmla="*/ 746150 w 792509"/>
                <a:gd name="connsiteY116" fmla="*/ 265112 h 449262"/>
                <a:gd name="connsiteX117" fmla="*/ 746467 w 792509"/>
                <a:gd name="connsiteY117" fmla="*/ 250825 h 449262"/>
                <a:gd name="connsiteX118" fmla="*/ 756310 w 792509"/>
                <a:gd name="connsiteY118" fmla="*/ 255270 h 449262"/>
                <a:gd name="connsiteX119" fmla="*/ 763930 w 792509"/>
                <a:gd name="connsiteY119" fmla="*/ 244475 h 449262"/>
                <a:gd name="connsiteX120" fmla="*/ 779805 w 792509"/>
                <a:gd name="connsiteY120" fmla="*/ 230187 h 449262"/>
                <a:gd name="connsiteX121" fmla="*/ 786155 w 792509"/>
                <a:gd name="connsiteY121" fmla="*/ 228600 h 449262"/>
                <a:gd name="connsiteX122" fmla="*/ 790917 w 792509"/>
                <a:gd name="connsiteY122" fmla="*/ 223837 h 449262"/>
                <a:gd name="connsiteX123" fmla="*/ 792505 w 792509"/>
                <a:gd name="connsiteY123" fmla="*/ 219075 h 449262"/>
                <a:gd name="connsiteX124" fmla="*/ 790917 w 792509"/>
                <a:gd name="connsiteY124" fmla="*/ 206375 h 449262"/>
                <a:gd name="connsiteX125" fmla="*/ 784567 w 792509"/>
                <a:gd name="connsiteY125" fmla="*/ 201612 h 449262"/>
                <a:gd name="connsiteX126" fmla="*/ 778217 w 792509"/>
                <a:gd name="connsiteY126" fmla="*/ 200025 h 449262"/>
                <a:gd name="connsiteX127" fmla="*/ 767105 w 792509"/>
                <a:gd name="connsiteY127" fmla="*/ 196850 h 449262"/>
                <a:gd name="connsiteX128" fmla="*/ 763930 w 792509"/>
                <a:gd name="connsiteY128" fmla="*/ 190500 h 449262"/>
                <a:gd name="connsiteX129" fmla="*/ 760755 w 792509"/>
                <a:gd name="connsiteY129" fmla="*/ 182562 h 449262"/>
                <a:gd name="connsiteX130" fmla="*/ 755992 w 792509"/>
                <a:gd name="connsiteY130" fmla="*/ 179387 h 449262"/>
                <a:gd name="connsiteX131" fmla="*/ 748055 w 792509"/>
                <a:gd name="connsiteY131" fmla="*/ 163512 h 449262"/>
                <a:gd name="connsiteX132" fmla="*/ 743292 w 792509"/>
                <a:gd name="connsiteY132" fmla="*/ 161925 h 449262"/>
                <a:gd name="connsiteX133" fmla="*/ 735355 w 792509"/>
                <a:gd name="connsiteY133" fmla="*/ 157162 h 449262"/>
                <a:gd name="connsiteX134" fmla="*/ 719480 w 792509"/>
                <a:gd name="connsiteY134" fmla="*/ 153987 h 449262"/>
                <a:gd name="connsiteX135" fmla="*/ 714717 w 792509"/>
                <a:gd name="connsiteY135" fmla="*/ 152400 h 449262"/>
                <a:gd name="connsiteX136" fmla="*/ 702017 w 792509"/>
                <a:gd name="connsiteY136" fmla="*/ 149225 h 449262"/>
                <a:gd name="connsiteX137" fmla="*/ 692492 w 792509"/>
                <a:gd name="connsiteY137" fmla="*/ 141287 h 449262"/>
                <a:gd name="connsiteX138" fmla="*/ 673442 w 792509"/>
                <a:gd name="connsiteY138" fmla="*/ 146050 h 449262"/>
                <a:gd name="connsiteX139" fmla="*/ 668680 w 792509"/>
                <a:gd name="connsiteY139" fmla="*/ 150812 h 449262"/>
                <a:gd name="connsiteX140" fmla="*/ 667092 w 792509"/>
                <a:gd name="connsiteY140" fmla="*/ 157162 h 449262"/>
                <a:gd name="connsiteX141" fmla="*/ 660742 w 792509"/>
                <a:gd name="connsiteY141" fmla="*/ 158750 h 449262"/>
                <a:gd name="connsiteX142" fmla="*/ 651217 w 792509"/>
                <a:gd name="connsiteY142" fmla="*/ 153987 h 449262"/>
                <a:gd name="connsiteX143" fmla="*/ 648042 w 792509"/>
                <a:gd name="connsiteY143" fmla="*/ 149225 h 449262"/>
                <a:gd name="connsiteX144" fmla="*/ 641692 w 792509"/>
                <a:gd name="connsiteY144" fmla="*/ 136525 h 449262"/>
                <a:gd name="connsiteX145" fmla="*/ 638517 w 792509"/>
                <a:gd name="connsiteY145" fmla="*/ 130175 h 449262"/>
                <a:gd name="connsiteX146" fmla="*/ 633755 w 792509"/>
                <a:gd name="connsiteY146" fmla="*/ 127000 h 449262"/>
                <a:gd name="connsiteX147" fmla="*/ 638517 w 792509"/>
                <a:gd name="connsiteY147" fmla="*/ 125412 h 449262"/>
                <a:gd name="connsiteX148" fmla="*/ 648042 w 792509"/>
                <a:gd name="connsiteY148" fmla="*/ 119062 h 449262"/>
                <a:gd name="connsiteX149" fmla="*/ 646455 w 792509"/>
                <a:gd name="connsiteY149" fmla="*/ 106362 h 449262"/>
                <a:gd name="connsiteX150" fmla="*/ 608355 w 792509"/>
                <a:gd name="connsiteY150" fmla="*/ 107950 h 449262"/>
                <a:gd name="connsiteX151" fmla="*/ 602005 w 792509"/>
                <a:gd name="connsiteY151" fmla="*/ 106362 h 449262"/>
                <a:gd name="connsiteX152" fmla="*/ 586130 w 792509"/>
                <a:gd name="connsiteY152" fmla="*/ 100012 h 449262"/>
                <a:gd name="connsiteX153" fmla="*/ 581367 w 792509"/>
                <a:gd name="connsiteY153" fmla="*/ 95250 h 449262"/>
                <a:gd name="connsiteX154" fmla="*/ 576605 w 792509"/>
                <a:gd name="connsiteY154" fmla="*/ 93662 h 449262"/>
                <a:gd name="connsiteX155" fmla="*/ 573430 w 792509"/>
                <a:gd name="connsiteY155" fmla="*/ 88900 h 449262"/>
                <a:gd name="connsiteX156" fmla="*/ 551205 w 792509"/>
                <a:gd name="connsiteY156" fmla="*/ 95250 h 449262"/>
                <a:gd name="connsiteX157" fmla="*/ 552792 w 792509"/>
                <a:gd name="connsiteY157" fmla="*/ 107950 h 449262"/>
                <a:gd name="connsiteX158" fmla="*/ 555967 w 792509"/>
                <a:gd name="connsiteY158" fmla="*/ 114300 h 449262"/>
                <a:gd name="connsiteX159" fmla="*/ 557555 w 792509"/>
                <a:gd name="connsiteY159" fmla="*/ 119062 h 449262"/>
                <a:gd name="connsiteX160" fmla="*/ 554380 w 792509"/>
                <a:gd name="connsiteY160" fmla="*/ 131762 h 449262"/>
                <a:gd name="connsiteX161" fmla="*/ 549617 w 792509"/>
                <a:gd name="connsiteY161" fmla="*/ 134937 h 449262"/>
                <a:gd name="connsiteX162" fmla="*/ 544855 w 792509"/>
                <a:gd name="connsiteY162" fmla="*/ 139700 h 449262"/>
                <a:gd name="connsiteX163" fmla="*/ 540092 w 792509"/>
                <a:gd name="connsiteY163" fmla="*/ 141287 h 449262"/>
                <a:gd name="connsiteX164" fmla="*/ 530567 w 792509"/>
                <a:gd name="connsiteY164" fmla="*/ 146050 h 449262"/>
                <a:gd name="connsiteX165" fmla="*/ 517867 w 792509"/>
                <a:gd name="connsiteY165" fmla="*/ 141287 h 449262"/>
                <a:gd name="connsiteX166" fmla="*/ 516280 w 792509"/>
                <a:gd name="connsiteY166" fmla="*/ 131762 h 449262"/>
                <a:gd name="connsiteX167" fmla="*/ 509930 w 792509"/>
                <a:gd name="connsiteY167" fmla="*/ 125412 h 449262"/>
                <a:gd name="connsiteX168" fmla="*/ 506755 w 792509"/>
                <a:gd name="connsiteY168" fmla="*/ 120650 h 449262"/>
                <a:gd name="connsiteX169" fmla="*/ 490880 w 792509"/>
                <a:gd name="connsiteY169" fmla="*/ 114300 h 449262"/>
                <a:gd name="connsiteX170" fmla="*/ 476592 w 792509"/>
                <a:gd name="connsiteY170" fmla="*/ 109537 h 449262"/>
                <a:gd name="connsiteX171" fmla="*/ 473417 w 792509"/>
                <a:gd name="connsiteY171" fmla="*/ 104775 h 449262"/>
                <a:gd name="connsiteX172" fmla="*/ 478180 w 792509"/>
                <a:gd name="connsiteY172" fmla="*/ 87312 h 449262"/>
                <a:gd name="connsiteX173" fmla="*/ 484530 w 792509"/>
                <a:gd name="connsiteY173" fmla="*/ 85725 h 449262"/>
                <a:gd name="connsiteX174" fmla="*/ 489292 w 792509"/>
                <a:gd name="connsiteY174" fmla="*/ 82550 h 449262"/>
                <a:gd name="connsiteX175" fmla="*/ 494055 w 792509"/>
                <a:gd name="connsiteY175" fmla="*/ 80962 h 449262"/>
                <a:gd name="connsiteX176" fmla="*/ 501992 w 792509"/>
                <a:gd name="connsiteY176" fmla="*/ 71437 h 449262"/>
                <a:gd name="connsiteX177" fmla="*/ 497230 w 792509"/>
                <a:gd name="connsiteY177" fmla="*/ 66675 h 449262"/>
                <a:gd name="connsiteX178" fmla="*/ 492467 w 792509"/>
                <a:gd name="connsiteY178" fmla="*/ 65087 h 449262"/>
                <a:gd name="connsiteX179" fmla="*/ 481355 w 792509"/>
                <a:gd name="connsiteY179" fmla="*/ 60325 h 449262"/>
                <a:gd name="connsiteX180" fmla="*/ 473417 w 792509"/>
                <a:gd name="connsiteY180" fmla="*/ 58737 h 449262"/>
                <a:gd name="connsiteX181" fmla="*/ 449605 w 792509"/>
                <a:gd name="connsiteY181" fmla="*/ 52387 h 449262"/>
                <a:gd name="connsiteX182" fmla="*/ 448017 w 792509"/>
                <a:gd name="connsiteY182" fmla="*/ 58737 h 449262"/>
                <a:gd name="connsiteX183" fmla="*/ 446430 w 792509"/>
                <a:gd name="connsiteY183" fmla="*/ 68262 h 449262"/>
                <a:gd name="connsiteX184" fmla="*/ 444842 w 792509"/>
                <a:gd name="connsiteY184" fmla="*/ 63500 h 449262"/>
                <a:gd name="connsiteX185" fmla="*/ 435317 w 792509"/>
                <a:gd name="connsiteY185" fmla="*/ 53975 h 449262"/>
                <a:gd name="connsiteX186" fmla="*/ 422617 w 792509"/>
                <a:gd name="connsiteY186" fmla="*/ 50800 h 449262"/>
                <a:gd name="connsiteX187" fmla="*/ 417855 w 792509"/>
                <a:gd name="connsiteY187" fmla="*/ 47625 h 449262"/>
                <a:gd name="connsiteX188" fmla="*/ 374992 w 792509"/>
                <a:gd name="connsiteY188" fmla="*/ 53975 h 449262"/>
                <a:gd name="connsiteX189" fmla="*/ 373405 w 792509"/>
                <a:gd name="connsiteY189" fmla="*/ 47625 h 449262"/>
                <a:gd name="connsiteX190" fmla="*/ 371817 w 792509"/>
                <a:gd name="connsiteY190" fmla="*/ 33337 h 449262"/>
                <a:gd name="connsiteX191" fmla="*/ 363880 w 792509"/>
                <a:gd name="connsiteY191" fmla="*/ 23812 h 449262"/>
                <a:gd name="connsiteX192" fmla="*/ 360705 w 792509"/>
                <a:gd name="connsiteY192" fmla="*/ 17462 h 449262"/>
                <a:gd name="connsiteX193" fmla="*/ 351180 w 792509"/>
                <a:gd name="connsiteY193" fmla="*/ 4762 h 449262"/>
                <a:gd name="connsiteX194" fmla="*/ 346417 w 792509"/>
                <a:gd name="connsiteY194" fmla="*/ 3175 h 449262"/>
                <a:gd name="connsiteX195" fmla="*/ 335305 w 792509"/>
                <a:gd name="connsiteY195" fmla="*/ 0 h 449262"/>
                <a:gd name="connsiteX196" fmla="*/ 328955 w 792509"/>
                <a:gd name="connsiteY196" fmla="*/ 6350 h 449262"/>
                <a:gd name="connsiteX197" fmla="*/ 325780 w 792509"/>
                <a:gd name="connsiteY197" fmla="*/ 15875 h 449262"/>
                <a:gd name="connsiteX198" fmla="*/ 317842 w 792509"/>
                <a:gd name="connsiteY198" fmla="*/ 26987 h 449262"/>
                <a:gd name="connsiteX199" fmla="*/ 311492 w 792509"/>
                <a:gd name="connsiteY199" fmla="*/ 28575 h 449262"/>
                <a:gd name="connsiteX200" fmla="*/ 306730 w 792509"/>
                <a:gd name="connsiteY200" fmla="*/ 30162 h 449262"/>
                <a:gd name="connsiteX201" fmla="*/ 287680 w 792509"/>
                <a:gd name="connsiteY201" fmla="*/ 28575 h 449262"/>
                <a:gd name="connsiteX202" fmla="*/ 284505 w 792509"/>
                <a:gd name="connsiteY202" fmla="*/ 22225 h 449262"/>
                <a:gd name="connsiteX203" fmla="*/ 279742 w 792509"/>
                <a:gd name="connsiteY203" fmla="*/ 12700 h 449262"/>
                <a:gd name="connsiteX204" fmla="*/ 274980 w 792509"/>
                <a:gd name="connsiteY204" fmla="*/ 3175 h 449262"/>
                <a:gd name="connsiteX205" fmla="*/ 270217 w 792509"/>
                <a:gd name="connsiteY205" fmla="*/ 0 h 449262"/>
                <a:gd name="connsiteX206" fmla="*/ 251167 w 792509"/>
                <a:gd name="connsiteY206" fmla="*/ 4762 h 449262"/>
                <a:gd name="connsiteX0" fmla="*/ 251167 w 792509"/>
                <a:gd name="connsiteY0" fmla="*/ 4762 h 449262"/>
                <a:gd name="connsiteX1" fmla="*/ 249580 w 792509"/>
                <a:gd name="connsiteY1" fmla="*/ 12700 h 449262"/>
                <a:gd name="connsiteX2" fmla="*/ 247992 w 792509"/>
                <a:gd name="connsiteY2" fmla="*/ 19050 h 449262"/>
                <a:gd name="connsiteX3" fmla="*/ 240055 w 792509"/>
                <a:gd name="connsiteY3" fmla="*/ 41275 h 449262"/>
                <a:gd name="connsiteX4" fmla="*/ 233705 w 792509"/>
                <a:gd name="connsiteY4" fmla="*/ 44450 h 449262"/>
                <a:gd name="connsiteX5" fmla="*/ 214655 w 792509"/>
                <a:gd name="connsiteY5" fmla="*/ 50800 h 449262"/>
                <a:gd name="connsiteX6" fmla="*/ 206717 w 792509"/>
                <a:gd name="connsiteY6" fmla="*/ 53975 h 449262"/>
                <a:gd name="connsiteX7" fmla="*/ 186080 w 792509"/>
                <a:gd name="connsiteY7" fmla="*/ 66675 h 449262"/>
                <a:gd name="connsiteX8" fmla="*/ 179730 w 792509"/>
                <a:gd name="connsiteY8" fmla="*/ 68262 h 449262"/>
                <a:gd name="connsiteX9" fmla="*/ 167030 w 792509"/>
                <a:gd name="connsiteY9" fmla="*/ 71437 h 449262"/>
                <a:gd name="connsiteX10" fmla="*/ 163855 w 792509"/>
                <a:gd name="connsiteY10" fmla="*/ 76200 h 449262"/>
                <a:gd name="connsiteX11" fmla="*/ 159092 w 792509"/>
                <a:gd name="connsiteY11" fmla="*/ 82550 h 449262"/>
                <a:gd name="connsiteX12" fmla="*/ 154330 w 792509"/>
                <a:gd name="connsiteY12" fmla="*/ 90487 h 449262"/>
                <a:gd name="connsiteX13" fmla="*/ 133692 w 792509"/>
                <a:gd name="connsiteY13" fmla="*/ 95250 h 449262"/>
                <a:gd name="connsiteX14" fmla="*/ 128930 w 792509"/>
                <a:gd name="connsiteY14" fmla="*/ 100012 h 449262"/>
                <a:gd name="connsiteX15" fmla="*/ 127342 w 792509"/>
                <a:gd name="connsiteY15" fmla="*/ 104775 h 449262"/>
                <a:gd name="connsiteX16" fmla="*/ 120992 w 792509"/>
                <a:gd name="connsiteY16" fmla="*/ 111125 h 449262"/>
                <a:gd name="connsiteX17" fmla="*/ 111467 w 792509"/>
                <a:gd name="connsiteY17" fmla="*/ 120650 h 449262"/>
                <a:gd name="connsiteX18" fmla="*/ 101942 w 792509"/>
                <a:gd name="connsiteY18" fmla="*/ 117475 h 449262"/>
                <a:gd name="connsiteX19" fmla="*/ 87655 w 792509"/>
                <a:gd name="connsiteY19" fmla="*/ 114300 h 449262"/>
                <a:gd name="connsiteX20" fmla="*/ 62255 w 792509"/>
                <a:gd name="connsiteY20" fmla="*/ 117475 h 449262"/>
                <a:gd name="connsiteX21" fmla="*/ 51142 w 792509"/>
                <a:gd name="connsiteY21" fmla="*/ 128587 h 449262"/>
                <a:gd name="connsiteX22" fmla="*/ 40030 w 792509"/>
                <a:gd name="connsiteY22" fmla="*/ 142875 h 449262"/>
                <a:gd name="connsiteX23" fmla="*/ 33680 w 792509"/>
                <a:gd name="connsiteY23" fmla="*/ 149225 h 449262"/>
                <a:gd name="connsiteX24" fmla="*/ 24155 w 792509"/>
                <a:gd name="connsiteY24" fmla="*/ 157162 h 449262"/>
                <a:gd name="connsiteX25" fmla="*/ 22567 w 792509"/>
                <a:gd name="connsiteY25" fmla="*/ 152400 h 449262"/>
                <a:gd name="connsiteX26" fmla="*/ 6692 w 792509"/>
                <a:gd name="connsiteY26" fmla="*/ 147637 h 449262"/>
                <a:gd name="connsiteX27" fmla="*/ 342 w 792509"/>
                <a:gd name="connsiteY27" fmla="*/ 149225 h 449262"/>
                <a:gd name="connsiteX28" fmla="*/ 1930 w 792509"/>
                <a:gd name="connsiteY28" fmla="*/ 153987 h 449262"/>
                <a:gd name="connsiteX29" fmla="*/ 11455 w 792509"/>
                <a:gd name="connsiteY29" fmla="*/ 160337 h 449262"/>
                <a:gd name="connsiteX30" fmla="*/ 13042 w 792509"/>
                <a:gd name="connsiteY30" fmla="*/ 166687 h 449262"/>
                <a:gd name="connsiteX31" fmla="*/ 8280 w 792509"/>
                <a:gd name="connsiteY31" fmla="*/ 174625 h 449262"/>
                <a:gd name="connsiteX32" fmla="*/ 20980 w 792509"/>
                <a:gd name="connsiteY32" fmla="*/ 184150 h 449262"/>
                <a:gd name="connsiteX33" fmla="*/ 30505 w 792509"/>
                <a:gd name="connsiteY33" fmla="*/ 195262 h 449262"/>
                <a:gd name="connsiteX34" fmla="*/ 35267 w 792509"/>
                <a:gd name="connsiteY34" fmla="*/ 209550 h 449262"/>
                <a:gd name="connsiteX35" fmla="*/ 47967 w 792509"/>
                <a:gd name="connsiteY35" fmla="*/ 214312 h 449262"/>
                <a:gd name="connsiteX36" fmla="*/ 49555 w 792509"/>
                <a:gd name="connsiteY36" fmla="*/ 230187 h 449262"/>
                <a:gd name="connsiteX37" fmla="*/ 44792 w 792509"/>
                <a:gd name="connsiteY37" fmla="*/ 233362 h 449262"/>
                <a:gd name="connsiteX38" fmla="*/ 41617 w 792509"/>
                <a:gd name="connsiteY38" fmla="*/ 238125 h 449262"/>
                <a:gd name="connsiteX39" fmla="*/ 44792 w 792509"/>
                <a:gd name="connsiteY39" fmla="*/ 247650 h 449262"/>
                <a:gd name="connsiteX40" fmla="*/ 46380 w 792509"/>
                <a:gd name="connsiteY40" fmla="*/ 288925 h 449262"/>
                <a:gd name="connsiteX41" fmla="*/ 49555 w 792509"/>
                <a:gd name="connsiteY41" fmla="*/ 298450 h 449262"/>
                <a:gd name="connsiteX42" fmla="*/ 62255 w 792509"/>
                <a:gd name="connsiteY42" fmla="*/ 304800 h 449262"/>
                <a:gd name="connsiteX43" fmla="*/ 71780 w 792509"/>
                <a:gd name="connsiteY43" fmla="*/ 315912 h 449262"/>
                <a:gd name="connsiteX44" fmla="*/ 73367 w 792509"/>
                <a:gd name="connsiteY44" fmla="*/ 320675 h 449262"/>
                <a:gd name="connsiteX45" fmla="*/ 78130 w 792509"/>
                <a:gd name="connsiteY45" fmla="*/ 323850 h 449262"/>
                <a:gd name="connsiteX46" fmla="*/ 113055 w 792509"/>
                <a:gd name="connsiteY46" fmla="*/ 328612 h 449262"/>
                <a:gd name="connsiteX47" fmla="*/ 119405 w 792509"/>
                <a:gd name="connsiteY47" fmla="*/ 344487 h 449262"/>
                <a:gd name="connsiteX48" fmla="*/ 125755 w 792509"/>
                <a:gd name="connsiteY48" fmla="*/ 346075 h 449262"/>
                <a:gd name="connsiteX49" fmla="*/ 130517 w 792509"/>
                <a:gd name="connsiteY49" fmla="*/ 350837 h 449262"/>
                <a:gd name="connsiteX50" fmla="*/ 143217 w 792509"/>
                <a:gd name="connsiteY50" fmla="*/ 366712 h 449262"/>
                <a:gd name="connsiteX51" fmla="*/ 149567 w 792509"/>
                <a:gd name="connsiteY51" fmla="*/ 369887 h 449262"/>
                <a:gd name="connsiteX52" fmla="*/ 154330 w 792509"/>
                <a:gd name="connsiteY52" fmla="*/ 371475 h 449262"/>
                <a:gd name="connsiteX53" fmla="*/ 167030 w 792509"/>
                <a:gd name="connsiteY53" fmla="*/ 374650 h 449262"/>
                <a:gd name="connsiteX54" fmla="*/ 170205 w 792509"/>
                <a:gd name="connsiteY54" fmla="*/ 379412 h 449262"/>
                <a:gd name="connsiteX55" fmla="*/ 176555 w 792509"/>
                <a:gd name="connsiteY55" fmla="*/ 381000 h 449262"/>
                <a:gd name="connsiteX56" fmla="*/ 182905 w 792509"/>
                <a:gd name="connsiteY56" fmla="*/ 384175 h 449262"/>
                <a:gd name="connsiteX57" fmla="*/ 187667 w 792509"/>
                <a:gd name="connsiteY57" fmla="*/ 388937 h 449262"/>
                <a:gd name="connsiteX58" fmla="*/ 192430 w 792509"/>
                <a:gd name="connsiteY58" fmla="*/ 392112 h 449262"/>
                <a:gd name="connsiteX59" fmla="*/ 197192 w 792509"/>
                <a:gd name="connsiteY59" fmla="*/ 398462 h 449262"/>
                <a:gd name="connsiteX60" fmla="*/ 198780 w 792509"/>
                <a:gd name="connsiteY60" fmla="*/ 403225 h 449262"/>
                <a:gd name="connsiteX61" fmla="*/ 208305 w 792509"/>
                <a:gd name="connsiteY61" fmla="*/ 406400 h 449262"/>
                <a:gd name="connsiteX62" fmla="*/ 217830 w 792509"/>
                <a:gd name="connsiteY62" fmla="*/ 412750 h 449262"/>
                <a:gd name="connsiteX63" fmla="*/ 232117 w 792509"/>
                <a:gd name="connsiteY63" fmla="*/ 428625 h 449262"/>
                <a:gd name="connsiteX64" fmla="*/ 233705 w 792509"/>
                <a:gd name="connsiteY64" fmla="*/ 433387 h 449262"/>
                <a:gd name="connsiteX65" fmla="*/ 238467 w 792509"/>
                <a:gd name="connsiteY65" fmla="*/ 436562 h 449262"/>
                <a:gd name="connsiteX66" fmla="*/ 246405 w 792509"/>
                <a:gd name="connsiteY66" fmla="*/ 442912 h 449262"/>
                <a:gd name="connsiteX67" fmla="*/ 249580 w 792509"/>
                <a:gd name="connsiteY67" fmla="*/ 447675 h 449262"/>
                <a:gd name="connsiteX68" fmla="*/ 257517 w 792509"/>
                <a:gd name="connsiteY68" fmla="*/ 449262 h 449262"/>
                <a:gd name="connsiteX69" fmla="*/ 287680 w 792509"/>
                <a:gd name="connsiteY69" fmla="*/ 447675 h 449262"/>
                <a:gd name="connsiteX70" fmla="*/ 294030 w 792509"/>
                <a:gd name="connsiteY70" fmla="*/ 442912 h 449262"/>
                <a:gd name="connsiteX71" fmla="*/ 301967 w 792509"/>
                <a:gd name="connsiteY71" fmla="*/ 439737 h 449262"/>
                <a:gd name="connsiteX72" fmla="*/ 316255 w 792509"/>
                <a:gd name="connsiteY72" fmla="*/ 441325 h 449262"/>
                <a:gd name="connsiteX73" fmla="*/ 325780 w 792509"/>
                <a:gd name="connsiteY73" fmla="*/ 414337 h 449262"/>
                <a:gd name="connsiteX74" fmla="*/ 332130 w 792509"/>
                <a:gd name="connsiteY74" fmla="*/ 409575 h 449262"/>
                <a:gd name="connsiteX75" fmla="*/ 348005 w 792509"/>
                <a:gd name="connsiteY75" fmla="*/ 396875 h 449262"/>
                <a:gd name="connsiteX76" fmla="*/ 351180 w 792509"/>
                <a:gd name="connsiteY76" fmla="*/ 379412 h 449262"/>
                <a:gd name="connsiteX77" fmla="*/ 357530 w 792509"/>
                <a:gd name="connsiteY77" fmla="*/ 358775 h 449262"/>
                <a:gd name="connsiteX78" fmla="*/ 371817 w 792509"/>
                <a:gd name="connsiteY78" fmla="*/ 361950 h 449262"/>
                <a:gd name="connsiteX79" fmla="*/ 384517 w 792509"/>
                <a:gd name="connsiteY79" fmla="*/ 368300 h 449262"/>
                <a:gd name="connsiteX80" fmla="*/ 397217 w 792509"/>
                <a:gd name="connsiteY80" fmla="*/ 373062 h 449262"/>
                <a:gd name="connsiteX81" fmla="*/ 401980 w 792509"/>
                <a:gd name="connsiteY81" fmla="*/ 376237 h 449262"/>
                <a:gd name="connsiteX82" fmla="*/ 417855 w 792509"/>
                <a:gd name="connsiteY82" fmla="*/ 377825 h 449262"/>
                <a:gd name="connsiteX83" fmla="*/ 428967 w 792509"/>
                <a:gd name="connsiteY83" fmla="*/ 388937 h 449262"/>
                <a:gd name="connsiteX84" fmla="*/ 449605 w 792509"/>
                <a:gd name="connsiteY84" fmla="*/ 390525 h 449262"/>
                <a:gd name="connsiteX85" fmla="*/ 468655 w 792509"/>
                <a:gd name="connsiteY85" fmla="*/ 388937 h 449262"/>
                <a:gd name="connsiteX86" fmla="*/ 475005 w 792509"/>
                <a:gd name="connsiteY86" fmla="*/ 396875 h 449262"/>
                <a:gd name="connsiteX87" fmla="*/ 481355 w 792509"/>
                <a:gd name="connsiteY87" fmla="*/ 404812 h 449262"/>
                <a:gd name="connsiteX88" fmla="*/ 482942 w 792509"/>
                <a:gd name="connsiteY88" fmla="*/ 409575 h 449262"/>
                <a:gd name="connsiteX89" fmla="*/ 500405 w 792509"/>
                <a:gd name="connsiteY89" fmla="*/ 409575 h 449262"/>
                <a:gd name="connsiteX90" fmla="*/ 505167 w 792509"/>
                <a:gd name="connsiteY90" fmla="*/ 403225 h 449262"/>
                <a:gd name="connsiteX91" fmla="*/ 509930 w 792509"/>
                <a:gd name="connsiteY91" fmla="*/ 401637 h 449262"/>
                <a:gd name="connsiteX92" fmla="*/ 519455 w 792509"/>
                <a:gd name="connsiteY92" fmla="*/ 400050 h 449262"/>
                <a:gd name="connsiteX93" fmla="*/ 522630 w 792509"/>
                <a:gd name="connsiteY93" fmla="*/ 395287 h 449262"/>
                <a:gd name="connsiteX94" fmla="*/ 525805 w 792509"/>
                <a:gd name="connsiteY94" fmla="*/ 384175 h 449262"/>
                <a:gd name="connsiteX95" fmla="*/ 530567 w 792509"/>
                <a:gd name="connsiteY95" fmla="*/ 382587 h 449262"/>
                <a:gd name="connsiteX96" fmla="*/ 538505 w 792509"/>
                <a:gd name="connsiteY96" fmla="*/ 388937 h 449262"/>
                <a:gd name="connsiteX97" fmla="*/ 543267 w 792509"/>
                <a:gd name="connsiteY97" fmla="*/ 392112 h 449262"/>
                <a:gd name="connsiteX98" fmla="*/ 552792 w 792509"/>
                <a:gd name="connsiteY98" fmla="*/ 398462 h 449262"/>
                <a:gd name="connsiteX99" fmla="*/ 573430 w 792509"/>
                <a:gd name="connsiteY99" fmla="*/ 396875 h 449262"/>
                <a:gd name="connsiteX100" fmla="*/ 584542 w 792509"/>
                <a:gd name="connsiteY100" fmla="*/ 393700 h 449262"/>
                <a:gd name="connsiteX101" fmla="*/ 589305 w 792509"/>
                <a:gd name="connsiteY101" fmla="*/ 379412 h 449262"/>
                <a:gd name="connsiteX102" fmla="*/ 600417 w 792509"/>
                <a:gd name="connsiteY102" fmla="*/ 373062 h 449262"/>
                <a:gd name="connsiteX103" fmla="*/ 613117 w 792509"/>
                <a:gd name="connsiteY103" fmla="*/ 366712 h 449262"/>
                <a:gd name="connsiteX104" fmla="*/ 655980 w 792509"/>
                <a:gd name="connsiteY104" fmla="*/ 366712 h 449262"/>
                <a:gd name="connsiteX105" fmla="*/ 660742 w 792509"/>
                <a:gd name="connsiteY105" fmla="*/ 363537 h 449262"/>
                <a:gd name="connsiteX106" fmla="*/ 676617 w 792509"/>
                <a:gd name="connsiteY106" fmla="*/ 358775 h 449262"/>
                <a:gd name="connsiteX107" fmla="*/ 682967 w 792509"/>
                <a:gd name="connsiteY107" fmla="*/ 354012 h 449262"/>
                <a:gd name="connsiteX108" fmla="*/ 692492 w 792509"/>
                <a:gd name="connsiteY108" fmla="*/ 349250 h 449262"/>
                <a:gd name="connsiteX109" fmla="*/ 694080 w 792509"/>
                <a:gd name="connsiteY109" fmla="*/ 342900 h 449262"/>
                <a:gd name="connsiteX110" fmla="*/ 697255 w 792509"/>
                <a:gd name="connsiteY110" fmla="*/ 328612 h 449262"/>
                <a:gd name="connsiteX111" fmla="*/ 702017 w 792509"/>
                <a:gd name="connsiteY111" fmla="*/ 325437 h 449262"/>
                <a:gd name="connsiteX112" fmla="*/ 708367 w 792509"/>
                <a:gd name="connsiteY112" fmla="*/ 315912 h 449262"/>
                <a:gd name="connsiteX113" fmla="*/ 711542 w 792509"/>
                <a:gd name="connsiteY113" fmla="*/ 304800 h 449262"/>
                <a:gd name="connsiteX114" fmla="*/ 717892 w 792509"/>
                <a:gd name="connsiteY114" fmla="*/ 303212 h 449262"/>
                <a:gd name="connsiteX115" fmla="*/ 725830 w 792509"/>
                <a:gd name="connsiteY115" fmla="*/ 273050 h 449262"/>
                <a:gd name="connsiteX116" fmla="*/ 746150 w 792509"/>
                <a:gd name="connsiteY116" fmla="*/ 265112 h 449262"/>
                <a:gd name="connsiteX117" fmla="*/ 746467 w 792509"/>
                <a:gd name="connsiteY117" fmla="*/ 250825 h 449262"/>
                <a:gd name="connsiteX118" fmla="*/ 756310 w 792509"/>
                <a:gd name="connsiteY118" fmla="*/ 255270 h 449262"/>
                <a:gd name="connsiteX119" fmla="*/ 763930 w 792509"/>
                <a:gd name="connsiteY119" fmla="*/ 244475 h 449262"/>
                <a:gd name="connsiteX120" fmla="*/ 779805 w 792509"/>
                <a:gd name="connsiteY120" fmla="*/ 230187 h 449262"/>
                <a:gd name="connsiteX121" fmla="*/ 786155 w 792509"/>
                <a:gd name="connsiteY121" fmla="*/ 228600 h 449262"/>
                <a:gd name="connsiteX122" fmla="*/ 790917 w 792509"/>
                <a:gd name="connsiteY122" fmla="*/ 223837 h 449262"/>
                <a:gd name="connsiteX123" fmla="*/ 792505 w 792509"/>
                <a:gd name="connsiteY123" fmla="*/ 219075 h 449262"/>
                <a:gd name="connsiteX124" fmla="*/ 790917 w 792509"/>
                <a:gd name="connsiteY124" fmla="*/ 206375 h 449262"/>
                <a:gd name="connsiteX125" fmla="*/ 784567 w 792509"/>
                <a:gd name="connsiteY125" fmla="*/ 201612 h 449262"/>
                <a:gd name="connsiteX126" fmla="*/ 778217 w 792509"/>
                <a:gd name="connsiteY126" fmla="*/ 200025 h 449262"/>
                <a:gd name="connsiteX127" fmla="*/ 767105 w 792509"/>
                <a:gd name="connsiteY127" fmla="*/ 196850 h 449262"/>
                <a:gd name="connsiteX128" fmla="*/ 763930 w 792509"/>
                <a:gd name="connsiteY128" fmla="*/ 190500 h 449262"/>
                <a:gd name="connsiteX129" fmla="*/ 760755 w 792509"/>
                <a:gd name="connsiteY129" fmla="*/ 182562 h 449262"/>
                <a:gd name="connsiteX130" fmla="*/ 755992 w 792509"/>
                <a:gd name="connsiteY130" fmla="*/ 179387 h 449262"/>
                <a:gd name="connsiteX131" fmla="*/ 748055 w 792509"/>
                <a:gd name="connsiteY131" fmla="*/ 163512 h 449262"/>
                <a:gd name="connsiteX132" fmla="*/ 743292 w 792509"/>
                <a:gd name="connsiteY132" fmla="*/ 161925 h 449262"/>
                <a:gd name="connsiteX133" fmla="*/ 735355 w 792509"/>
                <a:gd name="connsiteY133" fmla="*/ 157162 h 449262"/>
                <a:gd name="connsiteX134" fmla="*/ 719480 w 792509"/>
                <a:gd name="connsiteY134" fmla="*/ 153987 h 449262"/>
                <a:gd name="connsiteX135" fmla="*/ 714717 w 792509"/>
                <a:gd name="connsiteY135" fmla="*/ 152400 h 449262"/>
                <a:gd name="connsiteX136" fmla="*/ 702017 w 792509"/>
                <a:gd name="connsiteY136" fmla="*/ 149225 h 449262"/>
                <a:gd name="connsiteX137" fmla="*/ 692492 w 792509"/>
                <a:gd name="connsiteY137" fmla="*/ 141287 h 449262"/>
                <a:gd name="connsiteX138" fmla="*/ 673442 w 792509"/>
                <a:gd name="connsiteY138" fmla="*/ 146050 h 449262"/>
                <a:gd name="connsiteX139" fmla="*/ 668680 w 792509"/>
                <a:gd name="connsiteY139" fmla="*/ 150812 h 449262"/>
                <a:gd name="connsiteX140" fmla="*/ 667092 w 792509"/>
                <a:gd name="connsiteY140" fmla="*/ 157162 h 449262"/>
                <a:gd name="connsiteX141" fmla="*/ 660742 w 792509"/>
                <a:gd name="connsiteY141" fmla="*/ 158750 h 449262"/>
                <a:gd name="connsiteX142" fmla="*/ 651217 w 792509"/>
                <a:gd name="connsiteY142" fmla="*/ 153987 h 449262"/>
                <a:gd name="connsiteX143" fmla="*/ 648042 w 792509"/>
                <a:gd name="connsiteY143" fmla="*/ 149225 h 449262"/>
                <a:gd name="connsiteX144" fmla="*/ 641692 w 792509"/>
                <a:gd name="connsiteY144" fmla="*/ 136525 h 449262"/>
                <a:gd name="connsiteX145" fmla="*/ 638517 w 792509"/>
                <a:gd name="connsiteY145" fmla="*/ 130175 h 449262"/>
                <a:gd name="connsiteX146" fmla="*/ 633755 w 792509"/>
                <a:gd name="connsiteY146" fmla="*/ 127000 h 449262"/>
                <a:gd name="connsiteX147" fmla="*/ 638517 w 792509"/>
                <a:gd name="connsiteY147" fmla="*/ 125412 h 449262"/>
                <a:gd name="connsiteX148" fmla="*/ 648042 w 792509"/>
                <a:gd name="connsiteY148" fmla="*/ 119062 h 449262"/>
                <a:gd name="connsiteX149" fmla="*/ 646455 w 792509"/>
                <a:gd name="connsiteY149" fmla="*/ 106362 h 449262"/>
                <a:gd name="connsiteX150" fmla="*/ 608355 w 792509"/>
                <a:gd name="connsiteY150" fmla="*/ 107950 h 449262"/>
                <a:gd name="connsiteX151" fmla="*/ 602005 w 792509"/>
                <a:gd name="connsiteY151" fmla="*/ 106362 h 449262"/>
                <a:gd name="connsiteX152" fmla="*/ 586130 w 792509"/>
                <a:gd name="connsiteY152" fmla="*/ 100012 h 449262"/>
                <a:gd name="connsiteX153" fmla="*/ 581367 w 792509"/>
                <a:gd name="connsiteY153" fmla="*/ 95250 h 449262"/>
                <a:gd name="connsiteX154" fmla="*/ 576605 w 792509"/>
                <a:gd name="connsiteY154" fmla="*/ 93662 h 449262"/>
                <a:gd name="connsiteX155" fmla="*/ 573430 w 792509"/>
                <a:gd name="connsiteY155" fmla="*/ 88900 h 449262"/>
                <a:gd name="connsiteX156" fmla="*/ 551205 w 792509"/>
                <a:gd name="connsiteY156" fmla="*/ 95250 h 449262"/>
                <a:gd name="connsiteX157" fmla="*/ 552792 w 792509"/>
                <a:gd name="connsiteY157" fmla="*/ 107950 h 449262"/>
                <a:gd name="connsiteX158" fmla="*/ 555967 w 792509"/>
                <a:gd name="connsiteY158" fmla="*/ 114300 h 449262"/>
                <a:gd name="connsiteX159" fmla="*/ 557555 w 792509"/>
                <a:gd name="connsiteY159" fmla="*/ 119062 h 449262"/>
                <a:gd name="connsiteX160" fmla="*/ 554380 w 792509"/>
                <a:gd name="connsiteY160" fmla="*/ 131762 h 449262"/>
                <a:gd name="connsiteX161" fmla="*/ 549617 w 792509"/>
                <a:gd name="connsiteY161" fmla="*/ 134937 h 449262"/>
                <a:gd name="connsiteX162" fmla="*/ 544855 w 792509"/>
                <a:gd name="connsiteY162" fmla="*/ 139700 h 449262"/>
                <a:gd name="connsiteX163" fmla="*/ 540092 w 792509"/>
                <a:gd name="connsiteY163" fmla="*/ 141287 h 449262"/>
                <a:gd name="connsiteX164" fmla="*/ 530567 w 792509"/>
                <a:gd name="connsiteY164" fmla="*/ 146050 h 449262"/>
                <a:gd name="connsiteX165" fmla="*/ 517867 w 792509"/>
                <a:gd name="connsiteY165" fmla="*/ 141287 h 449262"/>
                <a:gd name="connsiteX166" fmla="*/ 516280 w 792509"/>
                <a:gd name="connsiteY166" fmla="*/ 131762 h 449262"/>
                <a:gd name="connsiteX167" fmla="*/ 509930 w 792509"/>
                <a:gd name="connsiteY167" fmla="*/ 125412 h 449262"/>
                <a:gd name="connsiteX168" fmla="*/ 506755 w 792509"/>
                <a:gd name="connsiteY168" fmla="*/ 120650 h 449262"/>
                <a:gd name="connsiteX169" fmla="*/ 490880 w 792509"/>
                <a:gd name="connsiteY169" fmla="*/ 114300 h 449262"/>
                <a:gd name="connsiteX170" fmla="*/ 476592 w 792509"/>
                <a:gd name="connsiteY170" fmla="*/ 109537 h 449262"/>
                <a:gd name="connsiteX171" fmla="*/ 473417 w 792509"/>
                <a:gd name="connsiteY171" fmla="*/ 104775 h 449262"/>
                <a:gd name="connsiteX172" fmla="*/ 478180 w 792509"/>
                <a:gd name="connsiteY172" fmla="*/ 87312 h 449262"/>
                <a:gd name="connsiteX173" fmla="*/ 484530 w 792509"/>
                <a:gd name="connsiteY173" fmla="*/ 85725 h 449262"/>
                <a:gd name="connsiteX174" fmla="*/ 489292 w 792509"/>
                <a:gd name="connsiteY174" fmla="*/ 82550 h 449262"/>
                <a:gd name="connsiteX175" fmla="*/ 494055 w 792509"/>
                <a:gd name="connsiteY175" fmla="*/ 80962 h 449262"/>
                <a:gd name="connsiteX176" fmla="*/ 501992 w 792509"/>
                <a:gd name="connsiteY176" fmla="*/ 71437 h 449262"/>
                <a:gd name="connsiteX177" fmla="*/ 497230 w 792509"/>
                <a:gd name="connsiteY177" fmla="*/ 66675 h 449262"/>
                <a:gd name="connsiteX178" fmla="*/ 492467 w 792509"/>
                <a:gd name="connsiteY178" fmla="*/ 65087 h 449262"/>
                <a:gd name="connsiteX179" fmla="*/ 481355 w 792509"/>
                <a:gd name="connsiteY179" fmla="*/ 60325 h 449262"/>
                <a:gd name="connsiteX180" fmla="*/ 473417 w 792509"/>
                <a:gd name="connsiteY180" fmla="*/ 58737 h 449262"/>
                <a:gd name="connsiteX181" fmla="*/ 449605 w 792509"/>
                <a:gd name="connsiteY181" fmla="*/ 52387 h 449262"/>
                <a:gd name="connsiteX182" fmla="*/ 448017 w 792509"/>
                <a:gd name="connsiteY182" fmla="*/ 58737 h 449262"/>
                <a:gd name="connsiteX183" fmla="*/ 446430 w 792509"/>
                <a:gd name="connsiteY183" fmla="*/ 68262 h 449262"/>
                <a:gd name="connsiteX184" fmla="*/ 444842 w 792509"/>
                <a:gd name="connsiteY184" fmla="*/ 63500 h 449262"/>
                <a:gd name="connsiteX185" fmla="*/ 435317 w 792509"/>
                <a:gd name="connsiteY185" fmla="*/ 53975 h 449262"/>
                <a:gd name="connsiteX186" fmla="*/ 422617 w 792509"/>
                <a:gd name="connsiteY186" fmla="*/ 50800 h 449262"/>
                <a:gd name="connsiteX187" fmla="*/ 417855 w 792509"/>
                <a:gd name="connsiteY187" fmla="*/ 47625 h 449262"/>
                <a:gd name="connsiteX188" fmla="*/ 374992 w 792509"/>
                <a:gd name="connsiteY188" fmla="*/ 53975 h 449262"/>
                <a:gd name="connsiteX189" fmla="*/ 373405 w 792509"/>
                <a:gd name="connsiteY189" fmla="*/ 47625 h 449262"/>
                <a:gd name="connsiteX190" fmla="*/ 371817 w 792509"/>
                <a:gd name="connsiteY190" fmla="*/ 33337 h 449262"/>
                <a:gd name="connsiteX191" fmla="*/ 363880 w 792509"/>
                <a:gd name="connsiteY191" fmla="*/ 23812 h 449262"/>
                <a:gd name="connsiteX192" fmla="*/ 360705 w 792509"/>
                <a:gd name="connsiteY192" fmla="*/ 17462 h 449262"/>
                <a:gd name="connsiteX193" fmla="*/ 351180 w 792509"/>
                <a:gd name="connsiteY193" fmla="*/ 4762 h 449262"/>
                <a:gd name="connsiteX194" fmla="*/ 346417 w 792509"/>
                <a:gd name="connsiteY194" fmla="*/ 3175 h 449262"/>
                <a:gd name="connsiteX195" fmla="*/ 335305 w 792509"/>
                <a:gd name="connsiteY195" fmla="*/ 0 h 449262"/>
                <a:gd name="connsiteX196" fmla="*/ 328955 w 792509"/>
                <a:gd name="connsiteY196" fmla="*/ 6350 h 449262"/>
                <a:gd name="connsiteX197" fmla="*/ 325780 w 792509"/>
                <a:gd name="connsiteY197" fmla="*/ 15875 h 449262"/>
                <a:gd name="connsiteX198" fmla="*/ 317842 w 792509"/>
                <a:gd name="connsiteY198" fmla="*/ 26987 h 449262"/>
                <a:gd name="connsiteX199" fmla="*/ 311492 w 792509"/>
                <a:gd name="connsiteY199" fmla="*/ 28575 h 449262"/>
                <a:gd name="connsiteX200" fmla="*/ 306730 w 792509"/>
                <a:gd name="connsiteY200" fmla="*/ 30162 h 449262"/>
                <a:gd name="connsiteX201" fmla="*/ 287680 w 792509"/>
                <a:gd name="connsiteY201" fmla="*/ 28575 h 449262"/>
                <a:gd name="connsiteX202" fmla="*/ 284505 w 792509"/>
                <a:gd name="connsiteY202" fmla="*/ 22225 h 449262"/>
                <a:gd name="connsiteX203" fmla="*/ 279742 w 792509"/>
                <a:gd name="connsiteY203" fmla="*/ 12700 h 449262"/>
                <a:gd name="connsiteX204" fmla="*/ 274980 w 792509"/>
                <a:gd name="connsiteY204" fmla="*/ 3175 h 449262"/>
                <a:gd name="connsiteX205" fmla="*/ 270217 w 792509"/>
                <a:gd name="connsiteY205" fmla="*/ 0 h 449262"/>
                <a:gd name="connsiteX206" fmla="*/ 251167 w 792509"/>
                <a:gd name="connsiteY206" fmla="*/ 4762 h 449262"/>
                <a:gd name="connsiteX0" fmla="*/ 251167 w 792509"/>
                <a:gd name="connsiteY0" fmla="*/ 4762 h 449262"/>
                <a:gd name="connsiteX1" fmla="*/ 249580 w 792509"/>
                <a:gd name="connsiteY1" fmla="*/ 12700 h 449262"/>
                <a:gd name="connsiteX2" fmla="*/ 247992 w 792509"/>
                <a:gd name="connsiteY2" fmla="*/ 19050 h 449262"/>
                <a:gd name="connsiteX3" fmla="*/ 240055 w 792509"/>
                <a:gd name="connsiteY3" fmla="*/ 41275 h 449262"/>
                <a:gd name="connsiteX4" fmla="*/ 233705 w 792509"/>
                <a:gd name="connsiteY4" fmla="*/ 44450 h 449262"/>
                <a:gd name="connsiteX5" fmla="*/ 214655 w 792509"/>
                <a:gd name="connsiteY5" fmla="*/ 50800 h 449262"/>
                <a:gd name="connsiteX6" fmla="*/ 206717 w 792509"/>
                <a:gd name="connsiteY6" fmla="*/ 53975 h 449262"/>
                <a:gd name="connsiteX7" fmla="*/ 186080 w 792509"/>
                <a:gd name="connsiteY7" fmla="*/ 66675 h 449262"/>
                <a:gd name="connsiteX8" fmla="*/ 179730 w 792509"/>
                <a:gd name="connsiteY8" fmla="*/ 68262 h 449262"/>
                <a:gd name="connsiteX9" fmla="*/ 167030 w 792509"/>
                <a:gd name="connsiteY9" fmla="*/ 71437 h 449262"/>
                <a:gd name="connsiteX10" fmla="*/ 163855 w 792509"/>
                <a:gd name="connsiteY10" fmla="*/ 76200 h 449262"/>
                <a:gd name="connsiteX11" fmla="*/ 159092 w 792509"/>
                <a:gd name="connsiteY11" fmla="*/ 82550 h 449262"/>
                <a:gd name="connsiteX12" fmla="*/ 154330 w 792509"/>
                <a:gd name="connsiteY12" fmla="*/ 90487 h 449262"/>
                <a:gd name="connsiteX13" fmla="*/ 133692 w 792509"/>
                <a:gd name="connsiteY13" fmla="*/ 95250 h 449262"/>
                <a:gd name="connsiteX14" fmla="*/ 128930 w 792509"/>
                <a:gd name="connsiteY14" fmla="*/ 100012 h 449262"/>
                <a:gd name="connsiteX15" fmla="*/ 127342 w 792509"/>
                <a:gd name="connsiteY15" fmla="*/ 104775 h 449262"/>
                <a:gd name="connsiteX16" fmla="*/ 120992 w 792509"/>
                <a:gd name="connsiteY16" fmla="*/ 111125 h 449262"/>
                <a:gd name="connsiteX17" fmla="*/ 111467 w 792509"/>
                <a:gd name="connsiteY17" fmla="*/ 120650 h 449262"/>
                <a:gd name="connsiteX18" fmla="*/ 101942 w 792509"/>
                <a:gd name="connsiteY18" fmla="*/ 117475 h 449262"/>
                <a:gd name="connsiteX19" fmla="*/ 87655 w 792509"/>
                <a:gd name="connsiteY19" fmla="*/ 114300 h 449262"/>
                <a:gd name="connsiteX20" fmla="*/ 62255 w 792509"/>
                <a:gd name="connsiteY20" fmla="*/ 117475 h 449262"/>
                <a:gd name="connsiteX21" fmla="*/ 51142 w 792509"/>
                <a:gd name="connsiteY21" fmla="*/ 128587 h 449262"/>
                <a:gd name="connsiteX22" fmla="*/ 40030 w 792509"/>
                <a:gd name="connsiteY22" fmla="*/ 142875 h 449262"/>
                <a:gd name="connsiteX23" fmla="*/ 33680 w 792509"/>
                <a:gd name="connsiteY23" fmla="*/ 149225 h 449262"/>
                <a:gd name="connsiteX24" fmla="*/ 24155 w 792509"/>
                <a:gd name="connsiteY24" fmla="*/ 157162 h 449262"/>
                <a:gd name="connsiteX25" fmla="*/ 22567 w 792509"/>
                <a:gd name="connsiteY25" fmla="*/ 152400 h 449262"/>
                <a:gd name="connsiteX26" fmla="*/ 6692 w 792509"/>
                <a:gd name="connsiteY26" fmla="*/ 147637 h 449262"/>
                <a:gd name="connsiteX27" fmla="*/ 342 w 792509"/>
                <a:gd name="connsiteY27" fmla="*/ 149225 h 449262"/>
                <a:gd name="connsiteX28" fmla="*/ 1930 w 792509"/>
                <a:gd name="connsiteY28" fmla="*/ 153987 h 449262"/>
                <a:gd name="connsiteX29" fmla="*/ 11455 w 792509"/>
                <a:gd name="connsiteY29" fmla="*/ 160337 h 449262"/>
                <a:gd name="connsiteX30" fmla="*/ 13042 w 792509"/>
                <a:gd name="connsiteY30" fmla="*/ 166687 h 449262"/>
                <a:gd name="connsiteX31" fmla="*/ 8280 w 792509"/>
                <a:gd name="connsiteY31" fmla="*/ 174625 h 449262"/>
                <a:gd name="connsiteX32" fmla="*/ 20980 w 792509"/>
                <a:gd name="connsiteY32" fmla="*/ 184150 h 449262"/>
                <a:gd name="connsiteX33" fmla="*/ 30505 w 792509"/>
                <a:gd name="connsiteY33" fmla="*/ 195262 h 449262"/>
                <a:gd name="connsiteX34" fmla="*/ 35267 w 792509"/>
                <a:gd name="connsiteY34" fmla="*/ 209550 h 449262"/>
                <a:gd name="connsiteX35" fmla="*/ 47967 w 792509"/>
                <a:gd name="connsiteY35" fmla="*/ 214312 h 449262"/>
                <a:gd name="connsiteX36" fmla="*/ 49555 w 792509"/>
                <a:gd name="connsiteY36" fmla="*/ 230187 h 449262"/>
                <a:gd name="connsiteX37" fmla="*/ 44792 w 792509"/>
                <a:gd name="connsiteY37" fmla="*/ 233362 h 449262"/>
                <a:gd name="connsiteX38" fmla="*/ 41617 w 792509"/>
                <a:gd name="connsiteY38" fmla="*/ 238125 h 449262"/>
                <a:gd name="connsiteX39" fmla="*/ 44792 w 792509"/>
                <a:gd name="connsiteY39" fmla="*/ 247650 h 449262"/>
                <a:gd name="connsiteX40" fmla="*/ 46380 w 792509"/>
                <a:gd name="connsiteY40" fmla="*/ 288925 h 449262"/>
                <a:gd name="connsiteX41" fmla="*/ 49555 w 792509"/>
                <a:gd name="connsiteY41" fmla="*/ 298450 h 449262"/>
                <a:gd name="connsiteX42" fmla="*/ 62255 w 792509"/>
                <a:gd name="connsiteY42" fmla="*/ 304800 h 449262"/>
                <a:gd name="connsiteX43" fmla="*/ 71780 w 792509"/>
                <a:gd name="connsiteY43" fmla="*/ 315912 h 449262"/>
                <a:gd name="connsiteX44" fmla="*/ 73367 w 792509"/>
                <a:gd name="connsiteY44" fmla="*/ 320675 h 449262"/>
                <a:gd name="connsiteX45" fmla="*/ 78130 w 792509"/>
                <a:gd name="connsiteY45" fmla="*/ 323850 h 449262"/>
                <a:gd name="connsiteX46" fmla="*/ 113055 w 792509"/>
                <a:gd name="connsiteY46" fmla="*/ 328612 h 449262"/>
                <a:gd name="connsiteX47" fmla="*/ 119405 w 792509"/>
                <a:gd name="connsiteY47" fmla="*/ 344487 h 449262"/>
                <a:gd name="connsiteX48" fmla="*/ 125755 w 792509"/>
                <a:gd name="connsiteY48" fmla="*/ 346075 h 449262"/>
                <a:gd name="connsiteX49" fmla="*/ 130517 w 792509"/>
                <a:gd name="connsiteY49" fmla="*/ 350837 h 449262"/>
                <a:gd name="connsiteX50" fmla="*/ 143217 w 792509"/>
                <a:gd name="connsiteY50" fmla="*/ 366712 h 449262"/>
                <a:gd name="connsiteX51" fmla="*/ 149567 w 792509"/>
                <a:gd name="connsiteY51" fmla="*/ 369887 h 449262"/>
                <a:gd name="connsiteX52" fmla="*/ 154330 w 792509"/>
                <a:gd name="connsiteY52" fmla="*/ 371475 h 449262"/>
                <a:gd name="connsiteX53" fmla="*/ 167030 w 792509"/>
                <a:gd name="connsiteY53" fmla="*/ 374650 h 449262"/>
                <a:gd name="connsiteX54" fmla="*/ 170205 w 792509"/>
                <a:gd name="connsiteY54" fmla="*/ 379412 h 449262"/>
                <a:gd name="connsiteX55" fmla="*/ 176555 w 792509"/>
                <a:gd name="connsiteY55" fmla="*/ 381000 h 449262"/>
                <a:gd name="connsiteX56" fmla="*/ 182905 w 792509"/>
                <a:gd name="connsiteY56" fmla="*/ 384175 h 449262"/>
                <a:gd name="connsiteX57" fmla="*/ 187667 w 792509"/>
                <a:gd name="connsiteY57" fmla="*/ 388937 h 449262"/>
                <a:gd name="connsiteX58" fmla="*/ 192430 w 792509"/>
                <a:gd name="connsiteY58" fmla="*/ 392112 h 449262"/>
                <a:gd name="connsiteX59" fmla="*/ 197192 w 792509"/>
                <a:gd name="connsiteY59" fmla="*/ 398462 h 449262"/>
                <a:gd name="connsiteX60" fmla="*/ 198780 w 792509"/>
                <a:gd name="connsiteY60" fmla="*/ 403225 h 449262"/>
                <a:gd name="connsiteX61" fmla="*/ 208305 w 792509"/>
                <a:gd name="connsiteY61" fmla="*/ 406400 h 449262"/>
                <a:gd name="connsiteX62" fmla="*/ 217830 w 792509"/>
                <a:gd name="connsiteY62" fmla="*/ 412750 h 449262"/>
                <a:gd name="connsiteX63" fmla="*/ 232117 w 792509"/>
                <a:gd name="connsiteY63" fmla="*/ 428625 h 449262"/>
                <a:gd name="connsiteX64" fmla="*/ 233705 w 792509"/>
                <a:gd name="connsiteY64" fmla="*/ 433387 h 449262"/>
                <a:gd name="connsiteX65" fmla="*/ 238467 w 792509"/>
                <a:gd name="connsiteY65" fmla="*/ 436562 h 449262"/>
                <a:gd name="connsiteX66" fmla="*/ 246405 w 792509"/>
                <a:gd name="connsiteY66" fmla="*/ 442912 h 449262"/>
                <a:gd name="connsiteX67" fmla="*/ 249580 w 792509"/>
                <a:gd name="connsiteY67" fmla="*/ 447675 h 449262"/>
                <a:gd name="connsiteX68" fmla="*/ 257517 w 792509"/>
                <a:gd name="connsiteY68" fmla="*/ 449262 h 449262"/>
                <a:gd name="connsiteX69" fmla="*/ 287680 w 792509"/>
                <a:gd name="connsiteY69" fmla="*/ 447675 h 449262"/>
                <a:gd name="connsiteX70" fmla="*/ 294030 w 792509"/>
                <a:gd name="connsiteY70" fmla="*/ 442912 h 449262"/>
                <a:gd name="connsiteX71" fmla="*/ 301967 w 792509"/>
                <a:gd name="connsiteY71" fmla="*/ 439737 h 449262"/>
                <a:gd name="connsiteX72" fmla="*/ 316255 w 792509"/>
                <a:gd name="connsiteY72" fmla="*/ 441325 h 449262"/>
                <a:gd name="connsiteX73" fmla="*/ 325780 w 792509"/>
                <a:gd name="connsiteY73" fmla="*/ 414337 h 449262"/>
                <a:gd name="connsiteX74" fmla="*/ 332130 w 792509"/>
                <a:gd name="connsiteY74" fmla="*/ 409575 h 449262"/>
                <a:gd name="connsiteX75" fmla="*/ 348005 w 792509"/>
                <a:gd name="connsiteY75" fmla="*/ 396875 h 449262"/>
                <a:gd name="connsiteX76" fmla="*/ 351180 w 792509"/>
                <a:gd name="connsiteY76" fmla="*/ 379412 h 449262"/>
                <a:gd name="connsiteX77" fmla="*/ 357530 w 792509"/>
                <a:gd name="connsiteY77" fmla="*/ 358775 h 449262"/>
                <a:gd name="connsiteX78" fmla="*/ 371817 w 792509"/>
                <a:gd name="connsiteY78" fmla="*/ 361950 h 449262"/>
                <a:gd name="connsiteX79" fmla="*/ 384517 w 792509"/>
                <a:gd name="connsiteY79" fmla="*/ 368300 h 449262"/>
                <a:gd name="connsiteX80" fmla="*/ 397217 w 792509"/>
                <a:gd name="connsiteY80" fmla="*/ 373062 h 449262"/>
                <a:gd name="connsiteX81" fmla="*/ 401980 w 792509"/>
                <a:gd name="connsiteY81" fmla="*/ 376237 h 449262"/>
                <a:gd name="connsiteX82" fmla="*/ 417855 w 792509"/>
                <a:gd name="connsiteY82" fmla="*/ 377825 h 449262"/>
                <a:gd name="connsiteX83" fmla="*/ 428967 w 792509"/>
                <a:gd name="connsiteY83" fmla="*/ 388937 h 449262"/>
                <a:gd name="connsiteX84" fmla="*/ 449605 w 792509"/>
                <a:gd name="connsiteY84" fmla="*/ 390525 h 449262"/>
                <a:gd name="connsiteX85" fmla="*/ 468655 w 792509"/>
                <a:gd name="connsiteY85" fmla="*/ 388937 h 449262"/>
                <a:gd name="connsiteX86" fmla="*/ 475005 w 792509"/>
                <a:gd name="connsiteY86" fmla="*/ 396875 h 449262"/>
                <a:gd name="connsiteX87" fmla="*/ 481355 w 792509"/>
                <a:gd name="connsiteY87" fmla="*/ 404812 h 449262"/>
                <a:gd name="connsiteX88" fmla="*/ 482942 w 792509"/>
                <a:gd name="connsiteY88" fmla="*/ 409575 h 449262"/>
                <a:gd name="connsiteX89" fmla="*/ 500405 w 792509"/>
                <a:gd name="connsiteY89" fmla="*/ 409575 h 449262"/>
                <a:gd name="connsiteX90" fmla="*/ 505167 w 792509"/>
                <a:gd name="connsiteY90" fmla="*/ 403225 h 449262"/>
                <a:gd name="connsiteX91" fmla="*/ 509930 w 792509"/>
                <a:gd name="connsiteY91" fmla="*/ 401637 h 449262"/>
                <a:gd name="connsiteX92" fmla="*/ 519455 w 792509"/>
                <a:gd name="connsiteY92" fmla="*/ 400050 h 449262"/>
                <a:gd name="connsiteX93" fmla="*/ 522630 w 792509"/>
                <a:gd name="connsiteY93" fmla="*/ 395287 h 449262"/>
                <a:gd name="connsiteX94" fmla="*/ 525805 w 792509"/>
                <a:gd name="connsiteY94" fmla="*/ 384175 h 449262"/>
                <a:gd name="connsiteX95" fmla="*/ 530567 w 792509"/>
                <a:gd name="connsiteY95" fmla="*/ 382587 h 449262"/>
                <a:gd name="connsiteX96" fmla="*/ 538505 w 792509"/>
                <a:gd name="connsiteY96" fmla="*/ 388937 h 449262"/>
                <a:gd name="connsiteX97" fmla="*/ 543267 w 792509"/>
                <a:gd name="connsiteY97" fmla="*/ 392112 h 449262"/>
                <a:gd name="connsiteX98" fmla="*/ 552792 w 792509"/>
                <a:gd name="connsiteY98" fmla="*/ 398462 h 449262"/>
                <a:gd name="connsiteX99" fmla="*/ 573430 w 792509"/>
                <a:gd name="connsiteY99" fmla="*/ 396875 h 449262"/>
                <a:gd name="connsiteX100" fmla="*/ 584542 w 792509"/>
                <a:gd name="connsiteY100" fmla="*/ 393700 h 449262"/>
                <a:gd name="connsiteX101" fmla="*/ 589305 w 792509"/>
                <a:gd name="connsiteY101" fmla="*/ 379412 h 449262"/>
                <a:gd name="connsiteX102" fmla="*/ 600417 w 792509"/>
                <a:gd name="connsiteY102" fmla="*/ 373062 h 449262"/>
                <a:gd name="connsiteX103" fmla="*/ 613117 w 792509"/>
                <a:gd name="connsiteY103" fmla="*/ 366712 h 449262"/>
                <a:gd name="connsiteX104" fmla="*/ 655980 w 792509"/>
                <a:gd name="connsiteY104" fmla="*/ 366712 h 449262"/>
                <a:gd name="connsiteX105" fmla="*/ 660742 w 792509"/>
                <a:gd name="connsiteY105" fmla="*/ 363537 h 449262"/>
                <a:gd name="connsiteX106" fmla="*/ 676617 w 792509"/>
                <a:gd name="connsiteY106" fmla="*/ 358775 h 449262"/>
                <a:gd name="connsiteX107" fmla="*/ 682967 w 792509"/>
                <a:gd name="connsiteY107" fmla="*/ 354012 h 449262"/>
                <a:gd name="connsiteX108" fmla="*/ 692492 w 792509"/>
                <a:gd name="connsiteY108" fmla="*/ 349250 h 449262"/>
                <a:gd name="connsiteX109" fmla="*/ 694080 w 792509"/>
                <a:gd name="connsiteY109" fmla="*/ 342900 h 449262"/>
                <a:gd name="connsiteX110" fmla="*/ 697255 w 792509"/>
                <a:gd name="connsiteY110" fmla="*/ 328612 h 449262"/>
                <a:gd name="connsiteX111" fmla="*/ 702017 w 792509"/>
                <a:gd name="connsiteY111" fmla="*/ 325437 h 449262"/>
                <a:gd name="connsiteX112" fmla="*/ 708367 w 792509"/>
                <a:gd name="connsiteY112" fmla="*/ 315912 h 449262"/>
                <a:gd name="connsiteX113" fmla="*/ 711542 w 792509"/>
                <a:gd name="connsiteY113" fmla="*/ 304800 h 449262"/>
                <a:gd name="connsiteX114" fmla="*/ 717892 w 792509"/>
                <a:gd name="connsiteY114" fmla="*/ 303212 h 449262"/>
                <a:gd name="connsiteX115" fmla="*/ 725830 w 792509"/>
                <a:gd name="connsiteY115" fmla="*/ 273050 h 449262"/>
                <a:gd name="connsiteX116" fmla="*/ 746150 w 792509"/>
                <a:gd name="connsiteY116" fmla="*/ 265112 h 449262"/>
                <a:gd name="connsiteX117" fmla="*/ 746467 w 792509"/>
                <a:gd name="connsiteY117" fmla="*/ 250825 h 449262"/>
                <a:gd name="connsiteX118" fmla="*/ 753770 w 792509"/>
                <a:gd name="connsiteY118" fmla="*/ 257810 h 449262"/>
                <a:gd name="connsiteX119" fmla="*/ 763930 w 792509"/>
                <a:gd name="connsiteY119" fmla="*/ 244475 h 449262"/>
                <a:gd name="connsiteX120" fmla="*/ 779805 w 792509"/>
                <a:gd name="connsiteY120" fmla="*/ 230187 h 449262"/>
                <a:gd name="connsiteX121" fmla="*/ 786155 w 792509"/>
                <a:gd name="connsiteY121" fmla="*/ 228600 h 449262"/>
                <a:gd name="connsiteX122" fmla="*/ 790917 w 792509"/>
                <a:gd name="connsiteY122" fmla="*/ 223837 h 449262"/>
                <a:gd name="connsiteX123" fmla="*/ 792505 w 792509"/>
                <a:gd name="connsiteY123" fmla="*/ 219075 h 449262"/>
                <a:gd name="connsiteX124" fmla="*/ 790917 w 792509"/>
                <a:gd name="connsiteY124" fmla="*/ 206375 h 449262"/>
                <a:gd name="connsiteX125" fmla="*/ 784567 w 792509"/>
                <a:gd name="connsiteY125" fmla="*/ 201612 h 449262"/>
                <a:gd name="connsiteX126" fmla="*/ 778217 w 792509"/>
                <a:gd name="connsiteY126" fmla="*/ 200025 h 449262"/>
                <a:gd name="connsiteX127" fmla="*/ 767105 w 792509"/>
                <a:gd name="connsiteY127" fmla="*/ 196850 h 449262"/>
                <a:gd name="connsiteX128" fmla="*/ 763930 w 792509"/>
                <a:gd name="connsiteY128" fmla="*/ 190500 h 449262"/>
                <a:gd name="connsiteX129" fmla="*/ 760755 w 792509"/>
                <a:gd name="connsiteY129" fmla="*/ 182562 h 449262"/>
                <a:gd name="connsiteX130" fmla="*/ 755992 w 792509"/>
                <a:gd name="connsiteY130" fmla="*/ 179387 h 449262"/>
                <a:gd name="connsiteX131" fmla="*/ 748055 w 792509"/>
                <a:gd name="connsiteY131" fmla="*/ 163512 h 449262"/>
                <a:gd name="connsiteX132" fmla="*/ 743292 w 792509"/>
                <a:gd name="connsiteY132" fmla="*/ 161925 h 449262"/>
                <a:gd name="connsiteX133" fmla="*/ 735355 w 792509"/>
                <a:gd name="connsiteY133" fmla="*/ 157162 h 449262"/>
                <a:gd name="connsiteX134" fmla="*/ 719480 w 792509"/>
                <a:gd name="connsiteY134" fmla="*/ 153987 h 449262"/>
                <a:gd name="connsiteX135" fmla="*/ 714717 w 792509"/>
                <a:gd name="connsiteY135" fmla="*/ 152400 h 449262"/>
                <a:gd name="connsiteX136" fmla="*/ 702017 w 792509"/>
                <a:gd name="connsiteY136" fmla="*/ 149225 h 449262"/>
                <a:gd name="connsiteX137" fmla="*/ 692492 w 792509"/>
                <a:gd name="connsiteY137" fmla="*/ 141287 h 449262"/>
                <a:gd name="connsiteX138" fmla="*/ 673442 w 792509"/>
                <a:gd name="connsiteY138" fmla="*/ 146050 h 449262"/>
                <a:gd name="connsiteX139" fmla="*/ 668680 w 792509"/>
                <a:gd name="connsiteY139" fmla="*/ 150812 h 449262"/>
                <a:gd name="connsiteX140" fmla="*/ 667092 w 792509"/>
                <a:gd name="connsiteY140" fmla="*/ 157162 h 449262"/>
                <a:gd name="connsiteX141" fmla="*/ 660742 w 792509"/>
                <a:gd name="connsiteY141" fmla="*/ 158750 h 449262"/>
                <a:gd name="connsiteX142" fmla="*/ 651217 w 792509"/>
                <a:gd name="connsiteY142" fmla="*/ 153987 h 449262"/>
                <a:gd name="connsiteX143" fmla="*/ 648042 w 792509"/>
                <a:gd name="connsiteY143" fmla="*/ 149225 h 449262"/>
                <a:gd name="connsiteX144" fmla="*/ 641692 w 792509"/>
                <a:gd name="connsiteY144" fmla="*/ 136525 h 449262"/>
                <a:gd name="connsiteX145" fmla="*/ 638517 w 792509"/>
                <a:gd name="connsiteY145" fmla="*/ 130175 h 449262"/>
                <a:gd name="connsiteX146" fmla="*/ 633755 w 792509"/>
                <a:gd name="connsiteY146" fmla="*/ 127000 h 449262"/>
                <a:gd name="connsiteX147" fmla="*/ 638517 w 792509"/>
                <a:gd name="connsiteY147" fmla="*/ 125412 h 449262"/>
                <a:gd name="connsiteX148" fmla="*/ 648042 w 792509"/>
                <a:gd name="connsiteY148" fmla="*/ 119062 h 449262"/>
                <a:gd name="connsiteX149" fmla="*/ 646455 w 792509"/>
                <a:gd name="connsiteY149" fmla="*/ 106362 h 449262"/>
                <a:gd name="connsiteX150" fmla="*/ 608355 w 792509"/>
                <a:gd name="connsiteY150" fmla="*/ 107950 h 449262"/>
                <a:gd name="connsiteX151" fmla="*/ 602005 w 792509"/>
                <a:gd name="connsiteY151" fmla="*/ 106362 h 449262"/>
                <a:gd name="connsiteX152" fmla="*/ 586130 w 792509"/>
                <a:gd name="connsiteY152" fmla="*/ 100012 h 449262"/>
                <a:gd name="connsiteX153" fmla="*/ 581367 w 792509"/>
                <a:gd name="connsiteY153" fmla="*/ 95250 h 449262"/>
                <a:gd name="connsiteX154" fmla="*/ 576605 w 792509"/>
                <a:gd name="connsiteY154" fmla="*/ 93662 h 449262"/>
                <a:gd name="connsiteX155" fmla="*/ 573430 w 792509"/>
                <a:gd name="connsiteY155" fmla="*/ 88900 h 449262"/>
                <a:gd name="connsiteX156" fmla="*/ 551205 w 792509"/>
                <a:gd name="connsiteY156" fmla="*/ 95250 h 449262"/>
                <a:gd name="connsiteX157" fmla="*/ 552792 w 792509"/>
                <a:gd name="connsiteY157" fmla="*/ 107950 h 449262"/>
                <a:gd name="connsiteX158" fmla="*/ 555967 w 792509"/>
                <a:gd name="connsiteY158" fmla="*/ 114300 h 449262"/>
                <a:gd name="connsiteX159" fmla="*/ 557555 w 792509"/>
                <a:gd name="connsiteY159" fmla="*/ 119062 h 449262"/>
                <a:gd name="connsiteX160" fmla="*/ 554380 w 792509"/>
                <a:gd name="connsiteY160" fmla="*/ 131762 h 449262"/>
                <a:gd name="connsiteX161" fmla="*/ 549617 w 792509"/>
                <a:gd name="connsiteY161" fmla="*/ 134937 h 449262"/>
                <a:gd name="connsiteX162" fmla="*/ 544855 w 792509"/>
                <a:gd name="connsiteY162" fmla="*/ 139700 h 449262"/>
                <a:gd name="connsiteX163" fmla="*/ 540092 w 792509"/>
                <a:gd name="connsiteY163" fmla="*/ 141287 h 449262"/>
                <a:gd name="connsiteX164" fmla="*/ 530567 w 792509"/>
                <a:gd name="connsiteY164" fmla="*/ 146050 h 449262"/>
                <a:gd name="connsiteX165" fmla="*/ 517867 w 792509"/>
                <a:gd name="connsiteY165" fmla="*/ 141287 h 449262"/>
                <a:gd name="connsiteX166" fmla="*/ 516280 w 792509"/>
                <a:gd name="connsiteY166" fmla="*/ 131762 h 449262"/>
                <a:gd name="connsiteX167" fmla="*/ 509930 w 792509"/>
                <a:gd name="connsiteY167" fmla="*/ 125412 h 449262"/>
                <a:gd name="connsiteX168" fmla="*/ 506755 w 792509"/>
                <a:gd name="connsiteY168" fmla="*/ 120650 h 449262"/>
                <a:gd name="connsiteX169" fmla="*/ 490880 w 792509"/>
                <a:gd name="connsiteY169" fmla="*/ 114300 h 449262"/>
                <a:gd name="connsiteX170" fmla="*/ 476592 w 792509"/>
                <a:gd name="connsiteY170" fmla="*/ 109537 h 449262"/>
                <a:gd name="connsiteX171" fmla="*/ 473417 w 792509"/>
                <a:gd name="connsiteY171" fmla="*/ 104775 h 449262"/>
                <a:gd name="connsiteX172" fmla="*/ 478180 w 792509"/>
                <a:gd name="connsiteY172" fmla="*/ 87312 h 449262"/>
                <a:gd name="connsiteX173" fmla="*/ 484530 w 792509"/>
                <a:gd name="connsiteY173" fmla="*/ 85725 h 449262"/>
                <a:gd name="connsiteX174" fmla="*/ 489292 w 792509"/>
                <a:gd name="connsiteY174" fmla="*/ 82550 h 449262"/>
                <a:gd name="connsiteX175" fmla="*/ 494055 w 792509"/>
                <a:gd name="connsiteY175" fmla="*/ 80962 h 449262"/>
                <a:gd name="connsiteX176" fmla="*/ 501992 w 792509"/>
                <a:gd name="connsiteY176" fmla="*/ 71437 h 449262"/>
                <a:gd name="connsiteX177" fmla="*/ 497230 w 792509"/>
                <a:gd name="connsiteY177" fmla="*/ 66675 h 449262"/>
                <a:gd name="connsiteX178" fmla="*/ 492467 w 792509"/>
                <a:gd name="connsiteY178" fmla="*/ 65087 h 449262"/>
                <a:gd name="connsiteX179" fmla="*/ 481355 w 792509"/>
                <a:gd name="connsiteY179" fmla="*/ 60325 h 449262"/>
                <a:gd name="connsiteX180" fmla="*/ 473417 w 792509"/>
                <a:gd name="connsiteY180" fmla="*/ 58737 h 449262"/>
                <a:gd name="connsiteX181" fmla="*/ 449605 w 792509"/>
                <a:gd name="connsiteY181" fmla="*/ 52387 h 449262"/>
                <a:gd name="connsiteX182" fmla="*/ 448017 w 792509"/>
                <a:gd name="connsiteY182" fmla="*/ 58737 h 449262"/>
                <a:gd name="connsiteX183" fmla="*/ 446430 w 792509"/>
                <a:gd name="connsiteY183" fmla="*/ 68262 h 449262"/>
                <a:gd name="connsiteX184" fmla="*/ 444842 w 792509"/>
                <a:gd name="connsiteY184" fmla="*/ 63500 h 449262"/>
                <a:gd name="connsiteX185" fmla="*/ 435317 w 792509"/>
                <a:gd name="connsiteY185" fmla="*/ 53975 h 449262"/>
                <a:gd name="connsiteX186" fmla="*/ 422617 w 792509"/>
                <a:gd name="connsiteY186" fmla="*/ 50800 h 449262"/>
                <a:gd name="connsiteX187" fmla="*/ 417855 w 792509"/>
                <a:gd name="connsiteY187" fmla="*/ 47625 h 449262"/>
                <a:gd name="connsiteX188" fmla="*/ 374992 w 792509"/>
                <a:gd name="connsiteY188" fmla="*/ 53975 h 449262"/>
                <a:gd name="connsiteX189" fmla="*/ 373405 w 792509"/>
                <a:gd name="connsiteY189" fmla="*/ 47625 h 449262"/>
                <a:gd name="connsiteX190" fmla="*/ 371817 w 792509"/>
                <a:gd name="connsiteY190" fmla="*/ 33337 h 449262"/>
                <a:gd name="connsiteX191" fmla="*/ 363880 w 792509"/>
                <a:gd name="connsiteY191" fmla="*/ 23812 h 449262"/>
                <a:gd name="connsiteX192" fmla="*/ 360705 w 792509"/>
                <a:gd name="connsiteY192" fmla="*/ 17462 h 449262"/>
                <a:gd name="connsiteX193" fmla="*/ 351180 w 792509"/>
                <a:gd name="connsiteY193" fmla="*/ 4762 h 449262"/>
                <a:gd name="connsiteX194" fmla="*/ 346417 w 792509"/>
                <a:gd name="connsiteY194" fmla="*/ 3175 h 449262"/>
                <a:gd name="connsiteX195" fmla="*/ 335305 w 792509"/>
                <a:gd name="connsiteY195" fmla="*/ 0 h 449262"/>
                <a:gd name="connsiteX196" fmla="*/ 328955 w 792509"/>
                <a:gd name="connsiteY196" fmla="*/ 6350 h 449262"/>
                <a:gd name="connsiteX197" fmla="*/ 325780 w 792509"/>
                <a:gd name="connsiteY197" fmla="*/ 15875 h 449262"/>
                <a:gd name="connsiteX198" fmla="*/ 317842 w 792509"/>
                <a:gd name="connsiteY198" fmla="*/ 26987 h 449262"/>
                <a:gd name="connsiteX199" fmla="*/ 311492 w 792509"/>
                <a:gd name="connsiteY199" fmla="*/ 28575 h 449262"/>
                <a:gd name="connsiteX200" fmla="*/ 306730 w 792509"/>
                <a:gd name="connsiteY200" fmla="*/ 30162 h 449262"/>
                <a:gd name="connsiteX201" fmla="*/ 287680 w 792509"/>
                <a:gd name="connsiteY201" fmla="*/ 28575 h 449262"/>
                <a:gd name="connsiteX202" fmla="*/ 284505 w 792509"/>
                <a:gd name="connsiteY202" fmla="*/ 22225 h 449262"/>
                <a:gd name="connsiteX203" fmla="*/ 279742 w 792509"/>
                <a:gd name="connsiteY203" fmla="*/ 12700 h 449262"/>
                <a:gd name="connsiteX204" fmla="*/ 274980 w 792509"/>
                <a:gd name="connsiteY204" fmla="*/ 3175 h 449262"/>
                <a:gd name="connsiteX205" fmla="*/ 270217 w 792509"/>
                <a:gd name="connsiteY205" fmla="*/ 0 h 449262"/>
                <a:gd name="connsiteX206" fmla="*/ 251167 w 792509"/>
                <a:gd name="connsiteY206" fmla="*/ 4762 h 449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Lst>
              <a:rect l="l" t="t" r="r" b="b"/>
              <a:pathLst>
                <a:path w="792509" h="449262">
                  <a:moveTo>
                    <a:pt x="251167" y="4762"/>
                  </a:moveTo>
                  <a:cubicBezTo>
                    <a:pt x="247727" y="6879"/>
                    <a:pt x="250165" y="10066"/>
                    <a:pt x="249580" y="12700"/>
                  </a:cubicBezTo>
                  <a:cubicBezTo>
                    <a:pt x="249107" y="14830"/>
                    <a:pt x="248449" y="16917"/>
                    <a:pt x="247992" y="19050"/>
                  </a:cubicBezTo>
                  <a:cubicBezTo>
                    <a:pt x="246015" y="28276"/>
                    <a:pt x="247213" y="35139"/>
                    <a:pt x="240055" y="41275"/>
                  </a:cubicBezTo>
                  <a:cubicBezTo>
                    <a:pt x="238258" y="42815"/>
                    <a:pt x="235921" y="43619"/>
                    <a:pt x="233705" y="44450"/>
                  </a:cubicBezTo>
                  <a:cubicBezTo>
                    <a:pt x="227438" y="46800"/>
                    <a:pt x="220870" y="48314"/>
                    <a:pt x="214655" y="50800"/>
                  </a:cubicBezTo>
                  <a:cubicBezTo>
                    <a:pt x="212009" y="51858"/>
                    <a:pt x="209191" y="52561"/>
                    <a:pt x="206717" y="53975"/>
                  </a:cubicBezTo>
                  <a:cubicBezTo>
                    <a:pt x="200234" y="57680"/>
                    <a:pt x="193509" y="63890"/>
                    <a:pt x="186080" y="66675"/>
                  </a:cubicBezTo>
                  <a:cubicBezTo>
                    <a:pt x="184037" y="67441"/>
                    <a:pt x="181828" y="67663"/>
                    <a:pt x="179730" y="68262"/>
                  </a:cubicBezTo>
                  <a:cubicBezTo>
                    <a:pt x="168334" y="71518"/>
                    <a:pt x="183175" y="68209"/>
                    <a:pt x="167030" y="71437"/>
                  </a:cubicBezTo>
                  <a:cubicBezTo>
                    <a:pt x="165972" y="73025"/>
                    <a:pt x="164964" y="74647"/>
                    <a:pt x="163855" y="76200"/>
                  </a:cubicBezTo>
                  <a:cubicBezTo>
                    <a:pt x="162317" y="78353"/>
                    <a:pt x="160560" y="80348"/>
                    <a:pt x="159092" y="82550"/>
                  </a:cubicBezTo>
                  <a:cubicBezTo>
                    <a:pt x="157381" y="85117"/>
                    <a:pt x="157090" y="89107"/>
                    <a:pt x="154330" y="90487"/>
                  </a:cubicBezTo>
                  <a:cubicBezTo>
                    <a:pt x="148015" y="93644"/>
                    <a:pt x="140571" y="93662"/>
                    <a:pt x="133692" y="95250"/>
                  </a:cubicBezTo>
                  <a:cubicBezTo>
                    <a:pt x="132105" y="96837"/>
                    <a:pt x="130175" y="98144"/>
                    <a:pt x="128930" y="100012"/>
                  </a:cubicBezTo>
                  <a:cubicBezTo>
                    <a:pt x="128002" y="101405"/>
                    <a:pt x="128315" y="103413"/>
                    <a:pt x="127342" y="104775"/>
                  </a:cubicBezTo>
                  <a:cubicBezTo>
                    <a:pt x="125602" y="107211"/>
                    <a:pt x="122940" y="108852"/>
                    <a:pt x="120992" y="111125"/>
                  </a:cubicBezTo>
                  <a:cubicBezTo>
                    <a:pt x="112635" y="120874"/>
                    <a:pt x="124494" y="110878"/>
                    <a:pt x="111467" y="120650"/>
                  </a:cubicBezTo>
                  <a:cubicBezTo>
                    <a:pt x="108292" y="119592"/>
                    <a:pt x="105224" y="118132"/>
                    <a:pt x="101942" y="117475"/>
                  </a:cubicBezTo>
                  <a:cubicBezTo>
                    <a:pt x="91866" y="115459"/>
                    <a:pt x="96623" y="116541"/>
                    <a:pt x="87655" y="114300"/>
                  </a:cubicBezTo>
                  <a:cubicBezTo>
                    <a:pt x="79188" y="115358"/>
                    <a:pt x="70201" y="114366"/>
                    <a:pt x="62255" y="117475"/>
                  </a:cubicBezTo>
                  <a:cubicBezTo>
                    <a:pt x="57377" y="119384"/>
                    <a:pt x="54846" y="124883"/>
                    <a:pt x="51142" y="128587"/>
                  </a:cubicBezTo>
                  <a:cubicBezTo>
                    <a:pt x="39220" y="140509"/>
                    <a:pt x="55210" y="123900"/>
                    <a:pt x="40030" y="142875"/>
                  </a:cubicBezTo>
                  <a:cubicBezTo>
                    <a:pt x="38160" y="145212"/>
                    <a:pt x="35651" y="146972"/>
                    <a:pt x="33680" y="149225"/>
                  </a:cubicBezTo>
                  <a:cubicBezTo>
                    <a:pt x="26557" y="157365"/>
                    <a:pt x="32285" y="154453"/>
                    <a:pt x="24155" y="157162"/>
                  </a:cubicBezTo>
                  <a:cubicBezTo>
                    <a:pt x="23626" y="155575"/>
                    <a:pt x="23612" y="153707"/>
                    <a:pt x="22567" y="152400"/>
                  </a:cubicBezTo>
                  <a:cubicBezTo>
                    <a:pt x="18840" y="147742"/>
                    <a:pt x="11556" y="148332"/>
                    <a:pt x="6692" y="147637"/>
                  </a:cubicBezTo>
                  <a:cubicBezTo>
                    <a:pt x="4575" y="148166"/>
                    <a:pt x="1651" y="147479"/>
                    <a:pt x="342" y="149225"/>
                  </a:cubicBezTo>
                  <a:cubicBezTo>
                    <a:pt x="-662" y="150564"/>
                    <a:pt x="747" y="152804"/>
                    <a:pt x="1930" y="153987"/>
                  </a:cubicBezTo>
                  <a:cubicBezTo>
                    <a:pt x="4628" y="156685"/>
                    <a:pt x="11455" y="160337"/>
                    <a:pt x="11455" y="160337"/>
                  </a:cubicBezTo>
                  <a:cubicBezTo>
                    <a:pt x="11984" y="162454"/>
                    <a:pt x="13515" y="164557"/>
                    <a:pt x="13042" y="166687"/>
                  </a:cubicBezTo>
                  <a:cubicBezTo>
                    <a:pt x="12373" y="169699"/>
                    <a:pt x="7973" y="171555"/>
                    <a:pt x="8280" y="174625"/>
                  </a:cubicBezTo>
                  <a:cubicBezTo>
                    <a:pt x="9071" y="182535"/>
                    <a:pt x="15800" y="182855"/>
                    <a:pt x="20980" y="184150"/>
                  </a:cubicBezTo>
                  <a:cubicBezTo>
                    <a:pt x="23581" y="186751"/>
                    <a:pt x="29148" y="191869"/>
                    <a:pt x="30505" y="195262"/>
                  </a:cubicBezTo>
                  <a:cubicBezTo>
                    <a:pt x="32450" y="200125"/>
                    <a:pt x="30280" y="205988"/>
                    <a:pt x="35267" y="209550"/>
                  </a:cubicBezTo>
                  <a:cubicBezTo>
                    <a:pt x="36929" y="210737"/>
                    <a:pt x="45098" y="213356"/>
                    <a:pt x="47967" y="214312"/>
                  </a:cubicBezTo>
                  <a:cubicBezTo>
                    <a:pt x="52017" y="220388"/>
                    <a:pt x="53765" y="220716"/>
                    <a:pt x="49555" y="230187"/>
                  </a:cubicBezTo>
                  <a:cubicBezTo>
                    <a:pt x="48780" y="231931"/>
                    <a:pt x="46380" y="232304"/>
                    <a:pt x="44792" y="233362"/>
                  </a:cubicBezTo>
                  <a:cubicBezTo>
                    <a:pt x="43734" y="234950"/>
                    <a:pt x="41617" y="236217"/>
                    <a:pt x="41617" y="238125"/>
                  </a:cubicBezTo>
                  <a:cubicBezTo>
                    <a:pt x="41617" y="241472"/>
                    <a:pt x="44792" y="247650"/>
                    <a:pt x="44792" y="247650"/>
                  </a:cubicBezTo>
                  <a:cubicBezTo>
                    <a:pt x="45321" y="261408"/>
                    <a:pt x="45095" y="275217"/>
                    <a:pt x="46380" y="288925"/>
                  </a:cubicBezTo>
                  <a:cubicBezTo>
                    <a:pt x="46692" y="292257"/>
                    <a:pt x="47188" y="296083"/>
                    <a:pt x="49555" y="298450"/>
                  </a:cubicBezTo>
                  <a:cubicBezTo>
                    <a:pt x="52902" y="301797"/>
                    <a:pt x="58908" y="301453"/>
                    <a:pt x="62255" y="304800"/>
                  </a:cubicBezTo>
                  <a:cubicBezTo>
                    <a:pt x="69954" y="312499"/>
                    <a:pt x="66944" y="308659"/>
                    <a:pt x="71780" y="315912"/>
                  </a:cubicBezTo>
                  <a:cubicBezTo>
                    <a:pt x="72309" y="317500"/>
                    <a:pt x="72322" y="319368"/>
                    <a:pt x="73367" y="320675"/>
                  </a:cubicBezTo>
                  <a:cubicBezTo>
                    <a:pt x="74559" y="322165"/>
                    <a:pt x="76259" y="323476"/>
                    <a:pt x="78130" y="323850"/>
                  </a:cubicBezTo>
                  <a:cubicBezTo>
                    <a:pt x="89651" y="326154"/>
                    <a:pt x="101413" y="327025"/>
                    <a:pt x="113055" y="328612"/>
                  </a:cubicBezTo>
                  <a:cubicBezTo>
                    <a:pt x="113600" y="330519"/>
                    <a:pt x="115655" y="341987"/>
                    <a:pt x="119405" y="344487"/>
                  </a:cubicBezTo>
                  <a:cubicBezTo>
                    <a:pt x="121220" y="345697"/>
                    <a:pt x="123638" y="345546"/>
                    <a:pt x="125755" y="346075"/>
                  </a:cubicBezTo>
                  <a:cubicBezTo>
                    <a:pt x="127342" y="347662"/>
                    <a:pt x="129067" y="349123"/>
                    <a:pt x="130517" y="350837"/>
                  </a:cubicBezTo>
                  <a:cubicBezTo>
                    <a:pt x="134894" y="356010"/>
                    <a:pt x="137156" y="363681"/>
                    <a:pt x="143217" y="366712"/>
                  </a:cubicBezTo>
                  <a:cubicBezTo>
                    <a:pt x="145334" y="367770"/>
                    <a:pt x="147392" y="368955"/>
                    <a:pt x="149567" y="369887"/>
                  </a:cubicBezTo>
                  <a:cubicBezTo>
                    <a:pt x="151105" y="370546"/>
                    <a:pt x="152715" y="371035"/>
                    <a:pt x="154330" y="371475"/>
                  </a:cubicBezTo>
                  <a:cubicBezTo>
                    <a:pt x="158540" y="372623"/>
                    <a:pt x="167030" y="374650"/>
                    <a:pt x="167030" y="374650"/>
                  </a:cubicBezTo>
                  <a:cubicBezTo>
                    <a:pt x="168088" y="376237"/>
                    <a:pt x="168618" y="378354"/>
                    <a:pt x="170205" y="379412"/>
                  </a:cubicBezTo>
                  <a:cubicBezTo>
                    <a:pt x="172020" y="380622"/>
                    <a:pt x="174512" y="380234"/>
                    <a:pt x="176555" y="381000"/>
                  </a:cubicBezTo>
                  <a:cubicBezTo>
                    <a:pt x="178771" y="381831"/>
                    <a:pt x="180979" y="382800"/>
                    <a:pt x="182905" y="384175"/>
                  </a:cubicBezTo>
                  <a:cubicBezTo>
                    <a:pt x="184732" y="385480"/>
                    <a:pt x="185942" y="387500"/>
                    <a:pt x="187667" y="388937"/>
                  </a:cubicBezTo>
                  <a:cubicBezTo>
                    <a:pt x="189133" y="390158"/>
                    <a:pt x="190842" y="391054"/>
                    <a:pt x="192430" y="392112"/>
                  </a:cubicBezTo>
                  <a:cubicBezTo>
                    <a:pt x="194017" y="394229"/>
                    <a:pt x="195879" y="396165"/>
                    <a:pt x="197192" y="398462"/>
                  </a:cubicBezTo>
                  <a:cubicBezTo>
                    <a:pt x="198022" y="399915"/>
                    <a:pt x="197418" y="402252"/>
                    <a:pt x="198780" y="403225"/>
                  </a:cubicBezTo>
                  <a:cubicBezTo>
                    <a:pt x="201503" y="405170"/>
                    <a:pt x="205520" y="404544"/>
                    <a:pt x="208305" y="406400"/>
                  </a:cubicBezTo>
                  <a:lnTo>
                    <a:pt x="217830" y="412750"/>
                  </a:lnTo>
                  <a:cubicBezTo>
                    <a:pt x="228500" y="426976"/>
                    <a:pt x="222952" y="422514"/>
                    <a:pt x="232117" y="428625"/>
                  </a:cubicBezTo>
                  <a:cubicBezTo>
                    <a:pt x="232646" y="430212"/>
                    <a:pt x="232660" y="432080"/>
                    <a:pt x="233705" y="433387"/>
                  </a:cubicBezTo>
                  <a:cubicBezTo>
                    <a:pt x="234897" y="434877"/>
                    <a:pt x="236941" y="435417"/>
                    <a:pt x="238467" y="436562"/>
                  </a:cubicBezTo>
                  <a:cubicBezTo>
                    <a:pt x="241178" y="438595"/>
                    <a:pt x="244009" y="440516"/>
                    <a:pt x="246405" y="442912"/>
                  </a:cubicBezTo>
                  <a:cubicBezTo>
                    <a:pt x="247754" y="444261"/>
                    <a:pt x="247923" y="446728"/>
                    <a:pt x="249580" y="447675"/>
                  </a:cubicBezTo>
                  <a:cubicBezTo>
                    <a:pt x="251923" y="449014"/>
                    <a:pt x="254871" y="448733"/>
                    <a:pt x="257517" y="449262"/>
                  </a:cubicBezTo>
                  <a:cubicBezTo>
                    <a:pt x="267571" y="448733"/>
                    <a:pt x="277761" y="449400"/>
                    <a:pt x="287680" y="447675"/>
                  </a:cubicBezTo>
                  <a:cubicBezTo>
                    <a:pt x="290287" y="447222"/>
                    <a:pt x="291717" y="444197"/>
                    <a:pt x="294030" y="442912"/>
                  </a:cubicBezTo>
                  <a:cubicBezTo>
                    <a:pt x="296521" y="441528"/>
                    <a:pt x="299321" y="440795"/>
                    <a:pt x="301967" y="439737"/>
                  </a:cubicBezTo>
                  <a:cubicBezTo>
                    <a:pt x="306730" y="440266"/>
                    <a:pt x="312286" y="445558"/>
                    <a:pt x="316255" y="441325"/>
                  </a:cubicBezTo>
                  <a:cubicBezTo>
                    <a:pt x="320224" y="437092"/>
                    <a:pt x="323134" y="419629"/>
                    <a:pt x="325780" y="414337"/>
                  </a:cubicBezTo>
                  <a:cubicBezTo>
                    <a:pt x="328426" y="409045"/>
                    <a:pt x="330172" y="411355"/>
                    <a:pt x="332130" y="409575"/>
                  </a:cubicBezTo>
                  <a:cubicBezTo>
                    <a:pt x="346367" y="396632"/>
                    <a:pt x="337652" y="400325"/>
                    <a:pt x="348005" y="396875"/>
                  </a:cubicBezTo>
                  <a:cubicBezTo>
                    <a:pt x="351997" y="384893"/>
                    <a:pt x="346690" y="401859"/>
                    <a:pt x="351180" y="379412"/>
                  </a:cubicBezTo>
                  <a:cubicBezTo>
                    <a:pt x="352204" y="374295"/>
                    <a:pt x="355805" y="363951"/>
                    <a:pt x="357530" y="358775"/>
                  </a:cubicBezTo>
                  <a:cubicBezTo>
                    <a:pt x="362292" y="359833"/>
                    <a:pt x="367217" y="360326"/>
                    <a:pt x="371817" y="361950"/>
                  </a:cubicBezTo>
                  <a:cubicBezTo>
                    <a:pt x="376280" y="363525"/>
                    <a:pt x="380027" y="366804"/>
                    <a:pt x="384517" y="368300"/>
                  </a:cubicBezTo>
                  <a:cubicBezTo>
                    <a:pt x="388643" y="369675"/>
                    <a:pt x="393414" y="371161"/>
                    <a:pt x="397217" y="373062"/>
                  </a:cubicBezTo>
                  <a:cubicBezTo>
                    <a:pt x="398924" y="373915"/>
                    <a:pt x="400392" y="375179"/>
                    <a:pt x="401980" y="376237"/>
                  </a:cubicBezTo>
                  <a:cubicBezTo>
                    <a:pt x="408536" y="374052"/>
                    <a:pt x="409418" y="372763"/>
                    <a:pt x="417855" y="377825"/>
                  </a:cubicBezTo>
                  <a:cubicBezTo>
                    <a:pt x="425027" y="382128"/>
                    <a:pt x="419678" y="386751"/>
                    <a:pt x="428967" y="388937"/>
                  </a:cubicBezTo>
                  <a:cubicBezTo>
                    <a:pt x="435683" y="390517"/>
                    <a:pt x="442726" y="389996"/>
                    <a:pt x="449605" y="390525"/>
                  </a:cubicBezTo>
                  <a:cubicBezTo>
                    <a:pt x="462184" y="386332"/>
                    <a:pt x="455829" y="386800"/>
                    <a:pt x="468655" y="388937"/>
                  </a:cubicBezTo>
                  <a:cubicBezTo>
                    <a:pt x="478556" y="395538"/>
                    <a:pt x="469527" y="388111"/>
                    <a:pt x="475005" y="396875"/>
                  </a:cubicBezTo>
                  <a:cubicBezTo>
                    <a:pt x="476801" y="399748"/>
                    <a:pt x="479238" y="402166"/>
                    <a:pt x="481355" y="404812"/>
                  </a:cubicBezTo>
                  <a:cubicBezTo>
                    <a:pt x="481884" y="406400"/>
                    <a:pt x="481759" y="408392"/>
                    <a:pt x="482942" y="409575"/>
                  </a:cubicBezTo>
                  <a:cubicBezTo>
                    <a:pt x="488928" y="415561"/>
                    <a:pt x="493219" y="411628"/>
                    <a:pt x="500405" y="409575"/>
                  </a:cubicBezTo>
                  <a:cubicBezTo>
                    <a:pt x="501992" y="407458"/>
                    <a:pt x="503135" y="404919"/>
                    <a:pt x="505167" y="403225"/>
                  </a:cubicBezTo>
                  <a:cubicBezTo>
                    <a:pt x="506453" y="402154"/>
                    <a:pt x="508296" y="402000"/>
                    <a:pt x="509930" y="401637"/>
                  </a:cubicBezTo>
                  <a:cubicBezTo>
                    <a:pt x="513072" y="400939"/>
                    <a:pt x="516280" y="400579"/>
                    <a:pt x="519455" y="400050"/>
                  </a:cubicBezTo>
                  <a:cubicBezTo>
                    <a:pt x="520513" y="398462"/>
                    <a:pt x="521921" y="397059"/>
                    <a:pt x="522630" y="395287"/>
                  </a:cubicBezTo>
                  <a:cubicBezTo>
                    <a:pt x="524061" y="391710"/>
                    <a:pt x="523763" y="387442"/>
                    <a:pt x="525805" y="384175"/>
                  </a:cubicBezTo>
                  <a:cubicBezTo>
                    <a:pt x="526692" y="382756"/>
                    <a:pt x="528980" y="383116"/>
                    <a:pt x="530567" y="382587"/>
                  </a:cubicBezTo>
                  <a:cubicBezTo>
                    <a:pt x="539839" y="385678"/>
                    <a:pt x="531325" y="381757"/>
                    <a:pt x="538505" y="388937"/>
                  </a:cubicBezTo>
                  <a:cubicBezTo>
                    <a:pt x="539854" y="390286"/>
                    <a:pt x="541801" y="390891"/>
                    <a:pt x="543267" y="392112"/>
                  </a:cubicBezTo>
                  <a:cubicBezTo>
                    <a:pt x="551194" y="398718"/>
                    <a:pt x="544424" y="395673"/>
                    <a:pt x="552792" y="398462"/>
                  </a:cubicBezTo>
                  <a:cubicBezTo>
                    <a:pt x="559671" y="397933"/>
                    <a:pt x="566578" y="397681"/>
                    <a:pt x="573430" y="396875"/>
                  </a:cubicBezTo>
                  <a:cubicBezTo>
                    <a:pt x="576506" y="396513"/>
                    <a:pt x="581465" y="394725"/>
                    <a:pt x="584542" y="393700"/>
                  </a:cubicBezTo>
                  <a:cubicBezTo>
                    <a:pt x="586130" y="388937"/>
                    <a:pt x="585128" y="382197"/>
                    <a:pt x="589305" y="379412"/>
                  </a:cubicBezTo>
                  <a:cubicBezTo>
                    <a:pt x="600900" y="371681"/>
                    <a:pt x="586327" y="381113"/>
                    <a:pt x="600417" y="373062"/>
                  </a:cubicBezTo>
                  <a:cubicBezTo>
                    <a:pt x="611514" y="366721"/>
                    <a:pt x="597491" y="372963"/>
                    <a:pt x="613117" y="366712"/>
                  </a:cubicBezTo>
                  <a:cubicBezTo>
                    <a:pt x="630430" y="368155"/>
                    <a:pt x="637875" y="369730"/>
                    <a:pt x="655980" y="366712"/>
                  </a:cubicBezTo>
                  <a:cubicBezTo>
                    <a:pt x="657862" y="366398"/>
                    <a:pt x="658999" y="364312"/>
                    <a:pt x="660742" y="363537"/>
                  </a:cubicBezTo>
                  <a:cubicBezTo>
                    <a:pt x="665713" y="361327"/>
                    <a:pt x="671338" y="360094"/>
                    <a:pt x="676617" y="358775"/>
                  </a:cubicBezTo>
                  <a:cubicBezTo>
                    <a:pt x="678734" y="357187"/>
                    <a:pt x="680698" y="355373"/>
                    <a:pt x="682967" y="354012"/>
                  </a:cubicBezTo>
                  <a:cubicBezTo>
                    <a:pt x="686011" y="352186"/>
                    <a:pt x="689982" y="351760"/>
                    <a:pt x="692492" y="349250"/>
                  </a:cubicBezTo>
                  <a:cubicBezTo>
                    <a:pt x="694035" y="347707"/>
                    <a:pt x="693652" y="345039"/>
                    <a:pt x="694080" y="342900"/>
                  </a:cubicBezTo>
                  <a:cubicBezTo>
                    <a:pt x="694101" y="342793"/>
                    <a:pt x="695606" y="330673"/>
                    <a:pt x="697255" y="328612"/>
                  </a:cubicBezTo>
                  <a:cubicBezTo>
                    <a:pt x="698447" y="327122"/>
                    <a:pt x="700430" y="326495"/>
                    <a:pt x="702017" y="325437"/>
                  </a:cubicBezTo>
                  <a:cubicBezTo>
                    <a:pt x="704134" y="322262"/>
                    <a:pt x="707319" y="319581"/>
                    <a:pt x="708367" y="315912"/>
                  </a:cubicBezTo>
                  <a:cubicBezTo>
                    <a:pt x="709425" y="312208"/>
                    <a:pt x="709231" y="307882"/>
                    <a:pt x="711542" y="304800"/>
                  </a:cubicBezTo>
                  <a:cubicBezTo>
                    <a:pt x="712851" y="303055"/>
                    <a:pt x="715775" y="303741"/>
                    <a:pt x="717892" y="303212"/>
                  </a:cubicBezTo>
                  <a:cubicBezTo>
                    <a:pt x="732167" y="288937"/>
                    <a:pt x="721120" y="279400"/>
                    <a:pt x="725830" y="273050"/>
                  </a:cubicBezTo>
                  <a:cubicBezTo>
                    <a:pt x="730540" y="266700"/>
                    <a:pt x="740429" y="267973"/>
                    <a:pt x="746150" y="265112"/>
                  </a:cubicBezTo>
                  <a:cubicBezTo>
                    <a:pt x="748563" y="263905"/>
                    <a:pt x="743821" y="251354"/>
                    <a:pt x="746467" y="250825"/>
                  </a:cubicBezTo>
                  <a:cubicBezTo>
                    <a:pt x="748055" y="249767"/>
                    <a:pt x="751977" y="258462"/>
                    <a:pt x="753770" y="257810"/>
                  </a:cubicBezTo>
                  <a:cubicBezTo>
                    <a:pt x="757871" y="256319"/>
                    <a:pt x="759591" y="249079"/>
                    <a:pt x="763930" y="244475"/>
                  </a:cubicBezTo>
                  <a:cubicBezTo>
                    <a:pt x="768269" y="239871"/>
                    <a:pt x="774836" y="232672"/>
                    <a:pt x="779805" y="230187"/>
                  </a:cubicBezTo>
                  <a:cubicBezTo>
                    <a:pt x="781756" y="229211"/>
                    <a:pt x="784038" y="229129"/>
                    <a:pt x="786155" y="228600"/>
                  </a:cubicBezTo>
                  <a:cubicBezTo>
                    <a:pt x="787742" y="227012"/>
                    <a:pt x="789672" y="225705"/>
                    <a:pt x="790917" y="223837"/>
                  </a:cubicBezTo>
                  <a:cubicBezTo>
                    <a:pt x="791845" y="222445"/>
                    <a:pt x="792505" y="220748"/>
                    <a:pt x="792505" y="219075"/>
                  </a:cubicBezTo>
                  <a:cubicBezTo>
                    <a:pt x="792505" y="214809"/>
                    <a:pt x="792682" y="210259"/>
                    <a:pt x="790917" y="206375"/>
                  </a:cubicBezTo>
                  <a:cubicBezTo>
                    <a:pt x="789822" y="203966"/>
                    <a:pt x="786934" y="202795"/>
                    <a:pt x="784567" y="201612"/>
                  </a:cubicBezTo>
                  <a:cubicBezTo>
                    <a:pt x="782616" y="200636"/>
                    <a:pt x="780322" y="200599"/>
                    <a:pt x="778217" y="200025"/>
                  </a:cubicBezTo>
                  <a:cubicBezTo>
                    <a:pt x="774500" y="199011"/>
                    <a:pt x="770809" y="197908"/>
                    <a:pt x="767105" y="196850"/>
                  </a:cubicBezTo>
                  <a:cubicBezTo>
                    <a:pt x="766047" y="194733"/>
                    <a:pt x="764891" y="192663"/>
                    <a:pt x="763930" y="190500"/>
                  </a:cubicBezTo>
                  <a:cubicBezTo>
                    <a:pt x="762773" y="187896"/>
                    <a:pt x="762411" y="184881"/>
                    <a:pt x="760755" y="182562"/>
                  </a:cubicBezTo>
                  <a:cubicBezTo>
                    <a:pt x="759646" y="181009"/>
                    <a:pt x="757580" y="180445"/>
                    <a:pt x="755992" y="179387"/>
                  </a:cubicBezTo>
                  <a:cubicBezTo>
                    <a:pt x="754228" y="174978"/>
                    <a:pt x="751513" y="166970"/>
                    <a:pt x="748055" y="163512"/>
                  </a:cubicBezTo>
                  <a:cubicBezTo>
                    <a:pt x="746872" y="162329"/>
                    <a:pt x="744789" y="162673"/>
                    <a:pt x="743292" y="161925"/>
                  </a:cubicBezTo>
                  <a:cubicBezTo>
                    <a:pt x="740532" y="160545"/>
                    <a:pt x="738115" y="158542"/>
                    <a:pt x="735355" y="157162"/>
                  </a:cubicBezTo>
                  <a:cubicBezTo>
                    <a:pt x="730925" y="154947"/>
                    <a:pt x="723567" y="154571"/>
                    <a:pt x="719480" y="153987"/>
                  </a:cubicBezTo>
                  <a:cubicBezTo>
                    <a:pt x="717892" y="153458"/>
                    <a:pt x="716332" y="152840"/>
                    <a:pt x="714717" y="152400"/>
                  </a:cubicBezTo>
                  <a:cubicBezTo>
                    <a:pt x="710507" y="151252"/>
                    <a:pt x="702017" y="149225"/>
                    <a:pt x="702017" y="149225"/>
                  </a:cubicBezTo>
                  <a:cubicBezTo>
                    <a:pt x="701268" y="148476"/>
                    <a:pt x="694566" y="141149"/>
                    <a:pt x="692492" y="141287"/>
                  </a:cubicBezTo>
                  <a:cubicBezTo>
                    <a:pt x="685961" y="141723"/>
                    <a:pt x="673442" y="146050"/>
                    <a:pt x="673442" y="146050"/>
                  </a:cubicBezTo>
                  <a:cubicBezTo>
                    <a:pt x="671855" y="147637"/>
                    <a:pt x="669794" y="148863"/>
                    <a:pt x="668680" y="150812"/>
                  </a:cubicBezTo>
                  <a:cubicBezTo>
                    <a:pt x="667597" y="152706"/>
                    <a:pt x="668635" y="155619"/>
                    <a:pt x="667092" y="157162"/>
                  </a:cubicBezTo>
                  <a:cubicBezTo>
                    <a:pt x="665549" y="158705"/>
                    <a:pt x="662859" y="158221"/>
                    <a:pt x="660742" y="158750"/>
                  </a:cubicBezTo>
                  <a:cubicBezTo>
                    <a:pt x="656869" y="157459"/>
                    <a:pt x="654294" y="157064"/>
                    <a:pt x="651217" y="153987"/>
                  </a:cubicBezTo>
                  <a:cubicBezTo>
                    <a:pt x="649868" y="152638"/>
                    <a:pt x="649100" y="150812"/>
                    <a:pt x="648042" y="149225"/>
                  </a:cubicBezTo>
                  <a:cubicBezTo>
                    <a:pt x="645141" y="140518"/>
                    <a:pt x="647941" y="147772"/>
                    <a:pt x="641692" y="136525"/>
                  </a:cubicBezTo>
                  <a:cubicBezTo>
                    <a:pt x="640543" y="134456"/>
                    <a:pt x="640032" y="131993"/>
                    <a:pt x="638517" y="130175"/>
                  </a:cubicBezTo>
                  <a:cubicBezTo>
                    <a:pt x="637296" y="128709"/>
                    <a:pt x="635342" y="128058"/>
                    <a:pt x="633755" y="127000"/>
                  </a:cubicBezTo>
                  <a:cubicBezTo>
                    <a:pt x="635342" y="126471"/>
                    <a:pt x="637054" y="126225"/>
                    <a:pt x="638517" y="125412"/>
                  </a:cubicBezTo>
                  <a:cubicBezTo>
                    <a:pt x="641853" y="123559"/>
                    <a:pt x="648042" y="119062"/>
                    <a:pt x="648042" y="119062"/>
                  </a:cubicBezTo>
                  <a:cubicBezTo>
                    <a:pt x="647513" y="114829"/>
                    <a:pt x="650563" y="107512"/>
                    <a:pt x="646455" y="106362"/>
                  </a:cubicBezTo>
                  <a:cubicBezTo>
                    <a:pt x="634215" y="102935"/>
                    <a:pt x="621066" y="107950"/>
                    <a:pt x="608355" y="107950"/>
                  </a:cubicBezTo>
                  <a:cubicBezTo>
                    <a:pt x="606173" y="107950"/>
                    <a:pt x="604122" y="106891"/>
                    <a:pt x="602005" y="106362"/>
                  </a:cubicBezTo>
                  <a:cubicBezTo>
                    <a:pt x="591166" y="95526"/>
                    <a:pt x="605180" y="107632"/>
                    <a:pt x="586130" y="100012"/>
                  </a:cubicBezTo>
                  <a:cubicBezTo>
                    <a:pt x="584046" y="99178"/>
                    <a:pt x="583235" y="96495"/>
                    <a:pt x="581367" y="95250"/>
                  </a:cubicBezTo>
                  <a:cubicBezTo>
                    <a:pt x="579975" y="94322"/>
                    <a:pt x="578192" y="94191"/>
                    <a:pt x="576605" y="93662"/>
                  </a:cubicBezTo>
                  <a:cubicBezTo>
                    <a:pt x="575547" y="92075"/>
                    <a:pt x="575321" y="89152"/>
                    <a:pt x="573430" y="88900"/>
                  </a:cubicBezTo>
                  <a:cubicBezTo>
                    <a:pt x="552619" y="86125"/>
                    <a:pt x="554610" y="85030"/>
                    <a:pt x="551205" y="95250"/>
                  </a:cubicBezTo>
                  <a:cubicBezTo>
                    <a:pt x="551734" y="99483"/>
                    <a:pt x="551757" y="103811"/>
                    <a:pt x="552792" y="107950"/>
                  </a:cubicBezTo>
                  <a:cubicBezTo>
                    <a:pt x="553366" y="110246"/>
                    <a:pt x="555035" y="112125"/>
                    <a:pt x="555967" y="114300"/>
                  </a:cubicBezTo>
                  <a:cubicBezTo>
                    <a:pt x="556626" y="115838"/>
                    <a:pt x="557026" y="117475"/>
                    <a:pt x="557555" y="119062"/>
                  </a:cubicBezTo>
                  <a:cubicBezTo>
                    <a:pt x="556497" y="123295"/>
                    <a:pt x="556332" y="127859"/>
                    <a:pt x="554380" y="131762"/>
                  </a:cubicBezTo>
                  <a:cubicBezTo>
                    <a:pt x="553527" y="133469"/>
                    <a:pt x="551083" y="133715"/>
                    <a:pt x="549617" y="134937"/>
                  </a:cubicBezTo>
                  <a:cubicBezTo>
                    <a:pt x="547892" y="136374"/>
                    <a:pt x="546723" y="138455"/>
                    <a:pt x="544855" y="139700"/>
                  </a:cubicBezTo>
                  <a:cubicBezTo>
                    <a:pt x="543463" y="140628"/>
                    <a:pt x="541621" y="140607"/>
                    <a:pt x="540092" y="141287"/>
                  </a:cubicBezTo>
                  <a:cubicBezTo>
                    <a:pt x="536848" y="142729"/>
                    <a:pt x="533742" y="144462"/>
                    <a:pt x="530567" y="146050"/>
                  </a:cubicBezTo>
                  <a:cubicBezTo>
                    <a:pt x="528100" y="145556"/>
                    <a:pt x="519683" y="144920"/>
                    <a:pt x="517867" y="141287"/>
                  </a:cubicBezTo>
                  <a:cubicBezTo>
                    <a:pt x="516428" y="138408"/>
                    <a:pt x="517719" y="134641"/>
                    <a:pt x="516280" y="131762"/>
                  </a:cubicBezTo>
                  <a:cubicBezTo>
                    <a:pt x="514941" y="129085"/>
                    <a:pt x="511878" y="127685"/>
                    <a:pt x="509930" y="125412"/>
                  </a:cubicBezTo>
                  <a:cubicBezTo>
                    <a:pt x="508688" y="123964"/>
                    <a:pt x="508221" y="121871"/>
                    <a:pt x="506755" y="120650"/>
                  </a:cubicBezTo>
                  <a:cubicBezTo>
                    <a:pt x="503318" y="117786"/>
                    <a:pt x="494297" y="115667"/>
                    <a:pt x="490880" y="114300"/>
                  </a:cubicBezTo>
                  <a:cubicBezTo>
                    <a:pt x="480916" y="110315"/>
                    <a:pt x="485707" y="111816"/>
                    <a:pt x="476592" y="109537"/>
                  </a:cubicBezTo>
                  <a:cubicBezTo>
                    <a:pt x="475534" y="107950"/>
                    <a:pt x="473590" y="106675"/>
                    <a:pt x="473417" y="104775"/>
                  </a:cubicBezTo>
                  <a:cubicBezTo>
                    <a:pt x="473156" y="101899"/>
                    <a:pt x="473572" y="90384"/>
                    <a:pt x="478180" y="87312"/>
                  </a:cubicBezTo>
                  <a:cubicBezTo>
                    <a:pt x="479995" y="86102"/>
                    <a:pt x="482413" y="86254"/>
                    <a:pt x="484530" y="85725"/>
                  </a:cubicBezTo>
                  <a:cubicBezTo>
                    <a:pt x="486117" y="84667"/>
                    <a:pt x="487586" y="83403"/>
                    <a:pt x="489292" y="82550"/>
                  </a:cubicBezTo>
                  <a:cubicBezTo>
                    <a:pt x="490789" y="81801"/>
                    <a:pt x="492662" y="81890"/>
                    <a:pt x="494055" y="80962"/>
                  </a:cubicBezTo>
                  <a:cubicBezTo>
                    <a:pt x="497722" y="78517"/>
                    <a:pt x="499649" y="74951"/>
                    <a:pt x="501992" y="71437"/>
                  </a:cubicBezTo>
                  <a:cubicBezTo>
                    <a:pt x="500405" y="69850"/>
                    <a:pt x="499098" y="67920"/>
                    <a:pt x="497230" y="66675"/>
                  </a:cubicBezTo>
                  <a:cubicBezTo>
                    <a:pt x="495837" y="65747"/>
                    <a:pt x="494005" y="65746"/>
                    <a:pt x="492467" y="65087"/>
                  </a:cubicBezTo>
                  <a:cubicBezTo>
                    <a:pt x="486104" y="62360"/>
                    <a:pt x="487313" y="61815"/>
                    <a:pt x="481355" y="60325"/>
                  </a:cubicBezTo>
                  <a:cubicBezTo>
                    <a:pt x="478737" y="59671"/>
                    <a:pt x="476044" y="59355"/>
                    <a:pt x="473417" y="58737"/>
                  </a:cubicBezTo>
                  <a:cubicBezTo>
                    <a:pt x="455836" y="54600"/>
                    <a:pt x="459786" y="55782"/>
                    <a:pt x="449605" y="52387"/>
                  </a:cubicBezTo>
                  <a:cubicBezTo>
                    <a:pt x="449076" y="54504"/>
                    <a:pt x="448445" y="56598"/>
                    <a:pt x="448017" y="58737"/>
                  </a:cubicBezTo>
                  <a:cubicBezTo>
                    <a:pt x="447386" y="61893"/>
                    <a:pt x="448215" y="65584"/>
                    <a:pt x="446430" y="68262"/>
                  </a:cubicBezTo>
                  <a:cubicBezTo>
                    <a:pt x="445502" y="69654"/>
                    <a:pt x="445869" y="64821"/>
                    <a:pt x="444842" y="63500"/>
                  </a:cubicBezTo>
                  <a:cubicBezTo>
                    <a:pt x="442085" y="59956"/>
                    <a:pt x="439673" y="55064"/>
                    <a:pt x="435317" y="53975"/>
                  </a:cubicBezTo>
                  <a:lnTo>
                    <a:pt x="422617" y="50800"/>
                  </a:lnTo>
                  <a:cubicBezTo>
                    <a:pt x="421030" y="49742"/>
                    <a:pt x="419763" y="47625"/>
                    <a:pt x="417855" y="47625"/>
                  </a:cubicBezTo>
                  <a:cubicBezTo>
                    <a:pt x="388675" y="47625"/>
                    <a:pt x="391691" y="47296"/>
                    <a:pt x="374992" y="53975"/>
                  </a:cubicBezTo>
                  <a:cubicBezTo>
                    <a:pt x="374463" y="51858"/>
                    <a:pt x="373737" y="49781"/>
                    <a:pt x="373405" y="47625"/>
                  </a:cubicBezTo>
                  <a:cubicBezTo>
                    <a:pt x="372676" y="42889"/>
                    <a:pt x="372979" y="37986"/>
                    <a:pt x="371817" y="33337"/>
                  </a:cubicBezTo>
                  <a:cubicBezTo>
                    <a:pt x="370849" y="29463"/>
                    <a:pt x="365929" y="26680"/>
                    <a:pt x="363880" y="23812"/>
                  </a:cubicBezTo>
                  <a:cubicBezTo>
                    <a:pt x="362505" y="21886"/>
                    <a:pt x="361854" y="19531"/>
                    <a:pt x="360705" y="17462"/>
                  </a:cubicBezTo>
                  <a:cubicBezTo>
                    <a:pt x="358293" y="13120"/>
                    <a:pt x="355573" y="7690"/>
                    <a:pt x="351180" y="4762"/>
                  </a:cubicBezTo>
                  <a:cubicBezTo>
                    <a:pt x="349788" y="3834"/>
                    <a:pt x="348026" y="3635"/>
                    <a:pt x="346417" y="3175"/>
                  </a:cubicBezTo>
                  <a:cubicBezTo>
                    <a:pt x="332472" y="-809"/>
                    <a:pt x="346716" y="3803"/>
                    <a:pt x="335305" y="0"/>
                  </a:cubicBezTo>
                  <a:cubicBezTo>
                    <a:pt x="333188" y="2117"/>
                    <a:pt x="330495" y="3783"/>
                    <a:pt x="328955" y="6350"/>
                  </a:cubicBezTo>
                  <a:cubicBezTo>
                    <a:pt x="327233" y="9220"/>
                    <a:pt x="327023" y="12768"/>
                    <a:pt x="325780" y="15875"/>
                  </a:cubicBezTo>
                  <a:cubicBezTo>
                    <a:pt x="324191" y="19846"/>
                    <a:pt x="321821" y="24713"/>
                    <a:pt x="317842" y="26987"/>
                  </a:cubicBezTo>
                  <a:cubicBezTo>
                    <a:pt x="315948" y="28069"/>
                    <a:pt x="313590" y="27976"/>
                    <a:pt x="311492" y="28575"/>
                  </a:cubicBezTo>
                  <a:cubicBezTo>
                    <a:pt x="309883" y="29035"/>
                    <a:pt x="308317" y="29633"/>
                    <a:pt x="306730" y="30162"/>
                  </a:cubicBezTo>
                  <a:cubicBezTo>
                    <a:pt x="300380" y="29633"/>
                    <a:pt x="293681" y="30718"/>
                    <a:pt x="287680" y="28575"/>
                  </a:cubicBezTo>
                  <a:cubicBezTo>
                    <a:pt x="285451" y="27779"/>
                    <a:pt x="285437" y="24400"/>
                    <a:pt x="284505" y="22225"/>
                  </a:cubicBezTo>
                  <a:cubicBezTo>
                    <a:pt x="280562" y="13025"/>
                    <a:pt x="285842" y="21850"/>
                    <a:pt x="279742" y="12700"/>
                  </a:cubicBezTo>
                  <a:cubicBezTo>
                    <a:pt x="278451" y="8826"/>
                    <a:pt x="278058" y="6253"/>
                    <a:pt x="274980" y="3175"/>
                  </a:cubicBezTo>
                  <a:cubicBezTo>
                    <a:pt x="273631" y="1826"/>
                    <a:pt x="271805" y="1058"/>
                    <a:pt x="270217" y="0"/>
                  </a:cubicBezTo>
                  <a:cubicBezTo>
                    <a:pt x="254155" y="2007"/>
                    <a:pt x="254607" y="2645"/>
                    <a:pt x="251167" y="4762"/>
                  </a:cubicBezTo>
                  <a:close/>
                </a:path>
              </a:pathLst>
            </a:custGeom>
            <a:solidFill>
              <a:srgbClr val="003399"/>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10" name="Forma libre: forma 30">
              <a:extLst>
                <a:ext uri="{FF2B5EF4-FFF2-40B4-BE49-F238E27FC236}">
                  <a16:creationId xmlns:a16="http://schemas.microsoft.com/office/drawing/2014/main" id="{1F54C848-E849-4F45-B7CE-45A3F9BDB467}"/>
                </a:ext>
              </a:extLst>
            </p:cNvPr>
            <p:cNvSpPr/>
            <p:nvPr/>
          </p:nvSpPr>
          <p:spPr>
            <a:xfrm>
              <a:off x="7773339" y="4303144"/>
              <a:ext cx="781526" cy="547991"/>
            </a:xfrm>
            <a:custGeom>
              <a:avLst/>
              <a:gdLst>
                <a:gd name="connsiteX0" fmla="*/ 107066 w 771031"/>
                <a:gd name="connsiteY0" fmla="*/ 155643 h 547991"/>
                <a:gd name="connsiteX1" fmla="*/ 123278 w 771031"/>
                <a:gd name="connsiteY1" fmla="*/ 157264 h 547991"/>
                <a:gd name="connsiteX2" fmla="*/ 128142 w 771031"/>
                <a:gd name="connsiteY2" fmla="*/ 163749 h 547991"/>
                <a:gd name="connsiteX3" fmla="*/ 134627 w 771031"/>
                <a:gd name="connsiteY3" fmla="*/ 166991 h 547991"/>
                <a:gd name="connsiteX4" fmla="*/ 144355 w 771031"/>
                <a:gd name="connsiteY4" fmla="*/ 175098 h 547991"/>
                <a:gd name="connsiteX5" fmla="*/ 149219 w 771031"/>
                <a:gd name="connsiteY5" fmla="*/ 176719 h 547991"/>
                <a:gd name="connsiteX6" fmla="*/ 155704 w 771031"/>
                <a:gd name="connsiteY6" fmla="*/ 186447 h 547991"/>
                <a:gd name="connsiteX7" fmla="*/ 160568 w 771031"/>
                <a:gd name="connsiteY7" fmla="*/ 189689 h 547991"/>
                <a:gd name="connsiteX8" fmla="*/ 167053 w 771031"/>
                <a:gd name="connsiteY8" fmla="*/ 194553 h 547991"/>
                <a:gd name="connsiteX9" fmla="*/ 171917 w 771031"/>
                <a:gd name="connsiteY9" fmla="*/ 201038 h 547991"/>
                <a:gd name="connsiteX10" fmla="*/ 176780 w 771031"/>
                <a:gd name="connsiteY10" fmla="*/ 204281 h 547991"/>
                <a:gd name="connsiteX11" fmla="*/ 184887 w 771031"/>
                <a:gd name="connsiteY11" fmla="*/ 209145 h 547991"/>
                <a:gd name="connsiteX12" fmla="*/ 189751 w 771031"/>
                <a:gd name="connsiteY12" fmla="*/ 214008 h 547991"/>
                <a:gd name="connsiteX13" fmla="*/ 194615 w 771031"/>
                <a:gd name="connsiteY13" fmla="*/ 192932 h 547991"/>
                <a:gd name="connsiteX14" fmla="*/ 199478 w 771031"/>
                <a:gd name="connsiteY14" fmla="*/ 189689 h 547991"/>
                <a:gd name="connsiteX15" fmla="*/ 262708 w 771031"/>
                <a:gd name="connsiteY15" fmla="*/ 188068 h 547991"/>
                <a:gd name="connsiteX16" fmla="*/ 265951 w 771031"/>
                <a:gd name="connsiteY16" fmla="*/ 181583 h 547991"/>
                <a:gd name="connsiteX17" fmla="*/ 272436 w 771031"/>
                <a:gd name="connsiteY17" fmla="*/ 176719 h 547991"/>
                <a:gd name="connsiteX18" fmla="*/ 301619 w 771031"/>
                <a:gd name="connsiteY18" fmla="*/ 175098 h 547991"/>
                <a:gd name="connsiteX19" fmla="*/ 304861 w 771031"/>
                <a:gd name="connsiteY19" fmla="*/ 170234 h 547991"/>
                <a:gd name="connsiteX20" fmla="*/ 288649 w 771031"/>
                <a:gd name="connsiteY20" fmla="*/ 149157 h 547991"/>
                <a:gd name="connsiteX21" fmla="*/ 301619 w 771031"/>
                <a:gd name="connsiteY21" fmla="*/ 136187 h 547991"/>
                <a:gd name="connsiteX22" fmla="*/ 312968 w 771031"/>
                <a:gd name="connsiteY22" fmla="*/ 123217 h 547991"/>
                <a:gd name="connsiteX23" fmla="*/ 358363 w 771031"/>
                <a:gd name="connsiteY23" fmla="*/ 119974 h 547991"/>
                <a:gd name="connsiteX24" fmla="*/ 364849 w 771031"/>
                <a:gd name="connsiteY24" fmla="*/ 113489 h 547991"/>
                <a:gd name="connsiteX25" fmla="*/ 366470 w 771031"/>
                <a:gd name="connsiteY25" fmla="*/ 108625 h 547991"/>
                <a:gd name="connsiteX26" fmla="*/ 371334 w 771031"/>
                <a:gd name="connsiteY26" fmla="*/ 102140 h 547991"/>
                <a:gd name="connsiteX27" fmla="*/ 372955 w 771031"/>
                <a:gd name="connsiteY27" fmla="*/ 97277 h 547991"/>
                <a:gd name="connsiteX28" fmla="*/ 377819 w 771031"/>
                <a:gd name="connsiteY28" fmla="*/ 87549 h 547991"/>
                <a:gd name="connsiteX29" fmla="*/ 398895 w 771031"/>
                <a:gd name="connsiteY29" fmla="*/ 90791 h 547991"/>
                <a:gd name="connsiteX30" fmla="*/ 403759 w 771031"/>
                <a:gd name="connsiteY30" fmla="*/ 95655 h 547991"/>
                <a:gd name="connsiteX31" fmla="*/ 410244 w 771031"/>
                <a:gd name="connsiteY31" fmla="*/ 97277 h 547991"/>
                <a:gd name="connsiteX32" fmla="*/ 428078 w 771031"/>
                <a:gd name="connsiteY32" fmla="*/ 95655 h 547991"/>
                <a:gd name="connsiteX33" fmla="*/ 436185 w 771031"/>
                <a:gd name="connsiteY33" fmla="*/ 94034 h 547991"/>
                <a:gd name="connsiteX34" fmla="*/ 452397 w 771031"/>
                <a:gd name="connsiteY34" fmla="*/ 76200 h 547991"/>
                <a:gd name="connsiteX35" fmla="*/ 457261 w 771031"/>
                <a:gd name="connsiteY35" fmla="*/ 74579 h 547991"/>
                <a:gd name="connsiteX36" fmla="*/ 462125 w 771031"/>
                <a:gd name="connsiteY36" fmla="*/ 71336 h 547991"/>
                <a:gd name="connsiteX37" fmla="*/ 468610 w 771031"/>
                <a:gd name="connsiteY37" fmla="*/ 69715 h 547991"/>
                <a:gd name="connsiteX38" fmla="*/ 471853 w 771031"/>
                <a:gd name="connsiteY38" fmla="*/ 63230 h 547991"/>
                <a:gd name="connsiteX39" fmla="*/ 476717 w 771031"/>
                <a:gd name="connsiteY39" fmla="*/ 48638 h 547991"/>
                <a:gd name="connsiteX40" fmla="*/ 481580 w 771031"/>
                <a:gd name="connsiteY40" fmla="*/ 32425 h 547991"/>
                <a:gd name="connsiteX41" fmla="*/ 491308 w 771031"/>
                <a:gd name="connsiteY41" fmla="*/ 24319 h 547991"/>
                <a:gd name="connsiteX42" fmla="*/ 514006 w 771031"/>
                <a:gd name="connsiteY42" fmla="*/ 21077 h 547991"/>
                <a:gd name="connsiteX43" fmla="*/ 520491 w 771031"/>
                <a:gd name="connsiteY43" fmla="*/ 17834 h 547991"/>
                <a:gd name="connsiteX44" fmla="*/ 549674 w 771031"/>
                <a:gd name="connsiteY44" fmla="*/ 14591 h 547991"/>
                <a:gd name="connsiteX45" fmla="*/ 577236 w 771031"/>
                <a:gd name="connsiteY45" fmla="*/ 12970 h 547991"/>
                <a:gd name="connsiteX46" fmla="*/ 586963 w 771031"/>
                <a:gd name="connsiteY46" fmla="*/ 4864 h 547991"/>
                <a:gd name="connsiteX47" fmla="*/ 593449 w 771031"/>
                <a:gd name="connsiteY47" fmla="*/ 0 h 547991"/>
                <a:gd name="connsiteX48" fmla="*/ 598312 w 771031"/>
                <a:gd name="connsiteY48" fmla="*/ 1621 h 547991"/>
                <a:gd name="connsiteX49" fmla="*/ 604797 w 771031"/>
                <a:gd name="connsiteY49" fmla="*/ 3243 h 547991"/>
                <a:gd name="connsiteX50" fmla="*/ 609661 w 771031"/>
                <a:gd name="connsiteY50" fmla="*/ 8106 h 547991"/>
                <a:gd name="connsiteX51" fmla="*/ 614525 w 771031"/>
                <a:gd name="connsiteY51" fmla="*/ 11349 h 547991"/>
                <a:gd name="connsiteX52" fmla="*/ 621010 w 771031"/>
                <a:gd name="connsiteY52" fmla="*/ 16213 h 547991"/>
                <a:gd name="connsiteX53" fmla="*/ 629117 w 771031"/>
                <a:gd name="connsiteY53" fmla="*/ 27562 h 547991"/>
                <a:gd name="connsiteX54" fmla="*/ 633980 w 771031"/>
                <a:gd name="connsiteY54" fmla="*/ 34047 h 547991"/>
                <a:gd name="connsiteX55" fmla="*/ 643708 w 771031"/>
                <a:gd name="connsiteY55" fmla="*/ 37289 h 547991"/>
                <a:gd name="connsiteX56" fmla="*/ 659921 w 771031"/>
                <a:gd name="connsiteY56" fmla="*/ 30804 h 547991"/>
                <a:gd name="connsiteX57" fmla="*/ 672891 w 771031"/>
                <a:gd name="connsiteY57" fmla="*/ 24319 h 547991"/>
                <a:gd name="connsiteX58" fmla="*/ 692346 w 771031"/>
                <a:gd name="connsiteY58" fmla="*/ 21077 h 547991"/>
                <a:gd name="connsiteX59" fmla="*/ 713423 w 771031"/>
                <a:gd name="connsiteY59" fmla="*/ 27562 h 547991"/>
                <a:gd name="connsiteX60" fmla="*/ 726393 w 771031"/>
                <a:gd name="connsiteY60" fmla="*/ 43774 h 547991"/>
                <a:gd name="connsiteX61" fmla="*/ 736121 w 771031"/>
                <a:gd name="connsiteY61" fmla="*/ 51881 h 547991"/>
                <a:gd name="connsiteX62" fmla="*/ 742606 w 771031"/>
                <a:gd name="connsiteY62" fmla="*/ 58366 h 547991"/>
                <a:gd name="connsiteX63" fmla="*/ 755576 w 771031"/>
                <a:gd name="connsiteY63" fmla="*/ 56745 h 547991"/>
                <a:gd name="connsiteX64" fmla="*/ 760440 w 771031"/>
                <a:gd name="connsiteY64" fmla="*/ 55123 h 547991"/>
                <a:gd name="connsiteX65" fmla="*/ 768546 w 771031"/>
                <a:gd name="connsiteY65" fmla="*/ 59987 h 547991"/>
                <a:gd name="connsiteX66" fmla="*/ 770168 w 771031"/>
                <a:gd name="connsiteY66" fmla="*/ 64851 h 547991"/>
                <a:gd name="connsiteX67" fmla="*/ 768546 w 771031"/>
                <a:gd name="connsiteY67" fmla="*/ 103762 h 547991"/>
                <a:gd name="connsiteX68" fmla="*/ 755576 w 771031"/>
                <a:gd name="connsiteY68" fmla="*/ 105383 h 547991"/>
                <a:gd name="connsiteX69" fmla="*/ 742606 w 771031"/>
                <a:gd name="connsiteY69" fmla="*/ 108625 h 547991"/>
                <a:gd name="connsiteX70" fmla="*/ 739363 w 771031"/>
                <a:gd name="connsiteY70" fmla="*/ 113489 h 547991"/>
                <a:gd name="connsiteX71" fmla="*/ 729636 w 771031"/>
                <a:gd name="connsiteY71" fmla="*/ 119974 h 547991"/>
                <a:gd name="connsiteX72" fmla="*/ 728015 w 771031"/>
                <a:gd name="connsiteY72" fmla="*/ 126460 h 547991"/>
                <a:gd name="connsiteX73" fmla="*/ 718287 w 771031"/>
                <a:gd name="connsiteY73" fmla="*/ 134566 h 547991"/>
                <a:gd name="connsiteX74" fmla="*/ 711802 w 771031"/>
                <a:gd name="connsiteY74" fmla="*/ 142672 h 547991"/>
                <a:gd name="connsiteX75" fmla="*/ 710180 w 771031"/>
                <a:gd name="connsiteY75" fmla="*/ 150779 h 547991"/>
                <a:gd name="connsiteX76" fmla="*/ 705317 w 771031"/>
                <a:gd name="connsiteY76" fmla="*/ 157264 h 547991"/>
                <a:gd name="connsiteX77" fmla="*/ 702074 w 771031"/>
                <a:gd name="connsiteY77" fmla="*/ 162128 h 547991"/>
                <a:gd name="connsiteX78" fmla="*/ 697210 w 771031"/>
                <a:gd name="connsiteY78" fmla="*/ 173477 h 547991"/>
                <a:gd name="connsiteX79" fmla="*/ 695589 w 771031"/>
                <a:gd name="connsiteY79" fmla="*/ 178340 h 547991"/>
                <a:gd name="connsiteX80" fmla="*/ 693968 w 771031"/>
                <a:gd name="connsiteY80" fmla="*/ 197796 h 547991"/>
                <a:gd name="connsiteX81" fmla="*/ 687483 w 771031"/>
                <a:gd name="connsiteY81" fmla="*/ 201038 h 547991"/>
                <a:gd name="connsiteX82" fmla="*/ 684240 w 771031"/>
                <a:gd name="connsiteY82" fmla="*/ 205902 h 547991"/>
                <a:gd name="connsiteX83" fmla="*/ 682619 w 771031"/>
                <a:gd name="connsiteY83" fmla="*/ 220494 h 547991"/>
                <a:gd name="connsiteX84" fmla="*/ 677755 w 771031"/>
                <a:gd name="connsiteY84" fmla="*/ 231843 h 547991"/>
                <a:gd name="connsiteX85" fmla="*/ 676134 w 771031"/>
                <a:gd name="connsiteY85" fmla="*/ 238328 h 547991"/>
                <a:gd name="connsiteX86" fmla="*/ 671270 w 771031"/>
                <a:gd name="connsiteY86" fmla="*/ 261025 h 547991"/>
                <a:gd name="connsiteX87" fmla="*/ 669649 w 771031"/>
                <a:gd name="connsiteY87" fmla="*/ 270753 h 547991"/>
                <a:gd name="connsiteX88" fmla="*/ 664785 w 771031"/>
                <a:gd name="connsiteY88" fmla="*/ 273996 h 547991"/>
                <a:gd name="connsiteX89" fmla="*/ 659921 w 771031"/>
                <a:gd name="connsiteY89" fmla="*/ 304800 h 547991"/>
                <a:gd name="connsiteX90" fmla="*/ 658300 w 771031"/>
                <a:gd name="connsiteY90" fmla="*/ 309664 h 547991"/>
                <a:gd name="connsiteX91" fmla="*/ 659921 w 771031"/>
                <a:gd name="connsiteY91" fmla="*/ 317770 h 547991"/>
                <a:gd name="connsiteX92" fmla="*/ 648572 w 771031"/>
                <a:gd name="connsiteY92" fmla="*/ 324255 h 547991"/>
                <a:gd name="connsiteX93" fmla="*/ 642087 w 771031"/>
                <a:gd name="connsiteY93" fmla="*/ 348574 h 547991"/>
                <a:gd name="connsiteX94" fmla="*/ 632359 w 771031"/>
                <a:gd name="connsiteY94" fmla="*/ 353438 h 547991"/>
                <a:gd name="connsiteX95" fmla="*/ 630738 w 771031"/>
                <a:gd name="connsiteY95" fmla="*/ 376136 h 547991"/>
                <a:gd name="connsiteX96" fmla="*/ 619389 w 771031"/>
                <a:gd name="connsiteY96" fmla="*/ 387485 h 547991"/>
                <a:gd name="connsiteX97" fmla="*/ 617768 w 771031"/>
                <a:gd name="connsiteY97" fmla="*/ 403698 h 547991"/>
                <a:gd name="connsiteX98" fmla="*/ 616146 w 771031"/>
                <a:gd name="connsiteY98" fmla="*/ 408562 h 547991"/>
                <a:gd name="connsiteX99" fmla="*/ 614525 w 771031"/>
                <a:gd name="connsiteY99" fmla="*/ 418289 h 547991"/>
                <a:gd name="connsiteX100" fmla="*/ 604797 w 771031"/>
                <a:gd name="connsiteY100" fmla="*/ 421532 h 547991"/>
                <a:gd name="connsiteX101" fmla="*/ 601555 w 771031"/>
                <a:gd name="connsiteY101" fmla="*/ 416668 h 547991"/>
                <a:gd name="connsiteX102" fmla="*/ 582100 w 771031"/>
                <a:gd name="connsiteY102" fmla="*/ 418289 h 547991"/>
                <a:gd name="connsiteX103" fmla="*/ 577236 w 771031"/>
                <a:gd name="connsiteY103" fmla="*/ 423153 h 547991"/>
                <a:gd name="connsiteX104" fmla="*/ 575615 w 771031"/>
                <a:gd name="connsiteY104" fmla="*/ 428017 h 547991"/>
                <a:gd name="connsiteX105" fmla="*/ 573993 w 771031"/>
                <a:gd name="connsiteY105" fmla="*/ 442608 h 547991"/>
                <a:gd name="connsiteX106" fmla="*/ 569129 w 771031"/>
                <a:gd name="connsiteY106" fmla="*/ 444230 h 547991"/>
                <a:gd name="connsiteX107" fmla="*/ 561023 w 771031"/>
                <a:gd name="connsiteY107" fmla="*/ 445851 h 547991"/>
                <a:gd name="connsiteX108" fmla="*/ 541568 w 771031"/>
                <a:gd name="connsiteY108" fmla="*/ 440987 h 547991"/>
                <a:gd name="connsiteX109" fmla="*/ 530219 w 771031"/>
                <a:gd name="connsiteY109" fmla="*/ 442608 h 547991"/>
                <a:gd name="connsiteX110" fmla="*/ 518870 w 771031"/>
                <a:gd name="connsiteY110" fmla="*/ 458821 h 547991"/>
                <a:gd name="connsiteX111" fmla="*/ 512385 w 771031"/>
                <a:gd name="connsiteY111" fmla="*/ 457200 h 547991"/>
                <a:gd name="connsiteX112" fmla="*/ 504278 w 771031"/>
                <a:gd name="connsiteY112" fmla="*/ 455579 h 547991"/>
                <a:gd name="connsiteX113" fmla="*/ 499415 w 771031"/>
                <a:gd name="connsiteY113" fmla="*/ 453957 h 547991"/>
                <a:gd name="connsiteX114" fmla="*/ 489687 w 771031"/>
                <a:gd name="connsiteY114" fmla="*/ 452336 h 547991"/>
                <a:gd name="connsiteX115" fmla="*/ 483202 w 771031"/>
                <a:gd name="connsiteY115" fmla="*/ 455579 h 547991"/>
                <a:gd name="connsiteX116" fmla="*/ 479959 w 771031"/>
                <a:gd name="connsiteY116" fmla="*/ 460443 h 547991"/>
                <a:gd name="connsiteX117" fmla="*/ 455640 w 771031"/>
                <a:gd name="connsiteY117" fmla="*/ 458821 h 547991"/>
                <a:gd name="connsiteX118" fmla="*/ 444291 w 771031"/>
                <a:gd name="connsiteY118" fmla="*/ 455579 h 547991"/>
                <a:gd name="connsiteX119" fmla="*/ 434563 w 771031"/>
                <a:gd name="connsiteY119" fmla="*/ 453957 h 547991"/>
                <a:gd name="connsiteX120" fmla="*/ 428078 w 771031"/>
                <a:gd name="connsiteY120" fmla="*/ 455579 h 547991"/>
                <a:gd name="connsiteX121" fmla="*/ 426457 w 771031"/>
                <a:gd name="connsiteY121" fmla="*/ 468549 h 547991"/>
                <a:gd name="connsiteX122" fmla="*/ 424836 w 771031"/>
                <a:gd name="connsiteY122" fmla="*/ 473413 h 547991"/>
                <a:gd name="connsiteX123" fmla="*/ 418351 w 771031"/>
                <a:gd name="connsiteY123" fmla="*/ 479898 h 547991"/>
                <a:gd name="connsiteX124" fmla="*/ 395653 w 771031"/>
                <a:gd name="connsiteY124" fmla="*/ 492868 h 547991"/>
                <a:gd name="connsiteX125" fmla="*/ 372955 w 771031"/>
                <a:gd name="connsiteY125" fmla="*/ 494489 h 547991"/>
                <a:gd name="connsiteX126" fmla="*/ 361606 w 771031"/>
                <a:gd name="connsiteY126" fmla="*/ 497732 h 547991"/>
                <a:gd name="connsiteX127" fmla="*/ 358363 w 771031"/>
                <a:gd name="connsiteY127" fmla="*/ 502596 h 547991"/>
                <a:gd name="connsiteX128" fmla="*/ 329180 w 771031"/>
                <a:gd name="connsiteY128" fmla="*/ 504217 h 547991"/>
                <a:gd name="connsiteX129" fmla="*/ 319453 w 771031"/>
                <a:gd name="connsiteY129" fmla="*/ 513945 h 547991"/>
                <a:gd name="connsiteX130" fmla="*/ 304861 w 771031"/>
                <a:gd name="connsiteY130" fmla="*/ 522051 h 547991"/>
                <a:gd name="connsiteX131" fmla="*/ 298376 w 771031"/>
                <a:gd name="connsiteY131" fmla="*/ 526915 h 547991"/>
                <a:gd name="connsiteX132" fmla="*/ 293512 w 771031"/>
                <a:gd name="connsiteY132" fmla="*/ 536643 h 547991"/>
                <a:gd name="connsiteX133" fmla="*/ 295134 w 771031"/>
                <a:gd name="connsiteY133" fmla="*/ 541506 h 547991"/>
                <a:gd name="connsiteX134" fmla="*/ 293512 w 771031"/>
                <a:gd name="connsiteY134" fmla="*/ 546370 h 547991"/>
                <a:gd name="connsiteX135" fmla="*/ 287027 w 771031"/>
                <a:gd name="connsiteY135" fmla="*/ 547991 h 547991"/>
                <a:gd name="connsiteX136" fmla="*/ 259466 w 771031"/>
                <a:gd name="connsiteY136" fmla="*/ 546370 h 547991"/>
                <a:gd name="connsiteX137" fmla="*/ 248117 w 771031"/>
                <a:gd name="connsiteY137" fmla="*/ 543128 h 547991"/>
                <a:gd name="connsiteX138" fmla="*/ 243253 w 771031"/>
                <a:gd name="connsiteY138" fmla="*/ 541506 h 547991"/>
                <a:gd name="connsiteX139" fmla="*/ 204342 w 771031"/>
                <a:gd name="connsiteY139" fmla="*/ 539885 h 547991"/>
                <a:gd name="connsiteX140" fmla="*/ 197857 w 771031"/>
                <a:gd name="connsiteY140" fmla="*/ 528536 h 547991"/>
                <a:gd name="connsiteX141" fmla="*/ 189751 w 771031"/>
                <a:gd name="connsiteY141" fmla="*/ 517187 h 547991"/>
                <a:gd name="connsiteX142" fmla="*/ 184887 w 771031"/>
                <a:gd name="connsiteY142" fmla="*/ 513945 h 547991"/>
                <a:gd name="connsiteX143" fmla="*/ 170295 w 771031"/>
                <a:gd name="connsiteY143" fmla="*/ 512323 h 547991"/>
                <a:gd name="connsiteX144" fmla="*/ 141112 w 771031"/>
                <a:gd name="connsiteY144" fmla="*/ 512323 h 547991"/>
                <a:gd name="connsiteX145" fmla="*/ 139491 w 771031"/>
                <a:gd name="connsiteY145" fmla="*/ 507460 h 547991"/>
                <a:gd name="connsiteX146" fmla="*/ 141112 w 771031"/>
                <a:gd name="connsiteY146" fmla="*/ 502596 h 547991"/>
                <a:gd name="connsiteX147" fmla="*/ 134627 w 771031"/>
                <a:gd name="connsiteY147" fmla="*/ 499353 h 547991"/>
                <a:gd name="connsiteX148" fmla="*/ 128142 w 771031"/>
                <a:gd name="connsiteY148" fmla="*/ 492868 h 547991"/>
                <a:gd name="connsiteX149" fmla="*/ 118415 w 771031"/>
                <a:gd name="connsiteY149" fmla="*/ 488004 h 547991"/>
                <a:gd name="connsiteX150" fmla="*/ 107066 w 771031"/>
                <a:gd name="connsiteY150" fmla="*/ 478277 h 547991"/>
                <a:gd name="connsiteX151" fmla="*/ 97338 w 771031"/>
                <a:gd name="connsiteY151" fmla="*/ 475034 h 547991"/>
                <a:gd name="connsiteX152" fmla="*/ 94095 w 771031"/>
                <a:gd name="connsiteY152" fmla="*/ 470170 h 547991"/>
                <a:gd name="connsiteX153" fmla="*/ 89232 w 771031"/>
                <a:gd name="connsiteY153" fmla="*/ 457200 h 547991"/>
                <a:gd name="connsiteX154" fmla="*/ 77883 w 771031"/>
                <a:gd name="connsiteY154" fmla="*/ 447472 h 547991"/>
                <a:gd name="connsiteX155" fmla="*/ 73019 w 771031"/>
                <a:gd name="connsiteY155" fmla="*/ 445851 h 547991"/>
                <a:gd name="connsiteX156" fmla="*/ 66534 w 771031"/>
                <a:gd name="connsiteY156" fmla="*/ 442608 h 547991"/>
                <a:gd name="connsiteX157" fmla="*/ 60049 w 771031"/>
                <a:gd name="connsiteY157" fmla="*/ 440987 h 547991"/>
                <a:gd name="connsiteX158" fmla="*/ 45457 w 771031"/>
                <a:gd name="connsiteY158" fmla="*/ 437745 h 547991"/>
                <a:gd name="connsiteX159" fmla="*/ 40593 w 771031"/>
                <a:gd name="connsiteY159" fmla="*/ 429638 h 547991"/>
                <a:gd name="connsiteX160" fmla="*/ 37351 w 771031"/>
                <a:gd name="connsiteY160" fmla="*/ 419911 h 547991"/>
                <a:gd name="connsiteX161" fmla="*/ 35729 w 771031"/>
                <a:gd name="connsiteY161" fmla="*/ 415047 h 547991"/>
                <a:gd name="connsiteX162" fmla="*/ 30866 w 771031"/>
                <a:gd name="connsiteY162" fmla="*/ 410183 h 547991"/>
                <a:gd name="connsiteX163" fmla="*/ 24380 w 771031"/>
                <a:gd name="connsiteY163" fmla="*/ 405319 h 547991"/>
                <a:gd name="connsiteX164" fmla="*/ 14653 w 771031"/>
                <a:gd name="connsiteY164" fmla="*/ 398834 h 547991"/>
                <a:gd name="connsiteX165" fmla="*/ 13032 w 771031"/>
                <a:gd name="connsiteY165" fmla="*/ 393970 h 547991"/>
                <a:gd name="connsiteX166" fmla="*/ 11410 w 771031"/>
                <a:gd name="connsiteY166" fmla="*/ 377757 h 547991"/>
                <a:gd name="connsiteX167" fmla="*/ 6546 w 771031"/>
                <a:gd name="connsiteY167" fmla="*/ 372894 h 547991"/>
                <a:gd name="connsiteX168" fmla="*/ 4925 w 771031"/>
                <a:gd name="connsiteY168" fmla="*/ 366408 h 547991"/>
                <a:gd name="connsiteX169" fmla="*/ 61 w 771031"/>
                <a:gd name="connsiteY169" fmla="*/ 363166 h 547991"/>
                <a:gd name="connsiteX170" fmla="*/ 3304 w 771031"/>
                <a:gd name="connsiteY170" fmla="*/ 356681 h 547991"/>
                <a:gd name="connsiteX171" fmla="*/ 13032 w 771031"/>
                <a:gd name="connsiteY171" fmla="*/ 355060 h 547991"/>
                <a:gd name="connsiteX172" fmla="*/ 27623 w 771031"/>
                <a:gd name="connsiteY172" fmla="*/ 353438 h 547991"/>
                <a:gd name="connsiteX173" fmla="*/ 37351 w 771031"/>
                <a:gd name="connsiteY173" fmla="*/ 346953 h 547991"/>
                <a:gd name="connsiteX174" fmla="*/ 32487 w 771031"/>
                <a:gd name="connsiteY174" fmla="*/ 332362 h 547991"/>
                <a:gd name="connsiteX175" fmla="*/ 22759 w 771031"/>
                <a:gd name="connsiteY175" fmla="*/ 330740 h 547991"/>
                <a:gd name="connsiteX176" fmla="*/ 19517 w 771031"/>
                <a:gd name="connsiteY176" fmla="*/ 278860 h 547991"/>
                <a:gd name="connsiteX177" fmla="*/ 21138 w 771031"/>
                <a:gd name="connsiteY177" fmla="*/ 272374 h 547991"/>
                <a:gd name="connsiteX178" fmla="*/ 34108 w 771031"/>
                <a:gd name="connsiteY178" fmla="*/ 265889 h 547991"/>
                <a:gd name="connsiteX179" fmla="*/ 37351 w 771031"/>
                <a:gd name="connsiteY179" fmla="*/ 261025 h 547991"/>
                <a:gd name="connsiteX180" fmla="*/ 45457 w 771031"/>
                <a:gd name="connsiteY180" fmla="*/ 259404 h 547991"/>
                <a:gd name="connsiteX181" fmla="*/ 47078 w 771031"/>
                <a:gd name="connsiteY181" fmla="*/ 252919 h 547991"/>
                <a:gd name="connsiteX182" fmla="*/ 37351 w 771031"/>
                <a:gd name="connsiteY182" fmla="*/ 246434 h 547991"/>
                <a:gd name="connsiteX183" fmla="*/ 32487 w 771031"/>
                <a:gd name="connsiteY183" fmla="*/ 243191 h 547991"/>
                <a:gd name="connsiteX184" fmla="*/ 22759 w 771031"/>
                <a:gd name="connsiteY184" fmla="*/ 239949 h 547991"/>
                <a:gd name="connsiteX185" fmla="*/ 21138 w 771031"/>
                <a:gd name="connsiteY185" fmla="*/ 212387 h 547991"/>
                <a:gd name="connsiteX186" fmla="*/ 26002 w 771031"/>
                <a:gd name="connsiteY186" fmla="*/ 207523 h 547991"/>
                <a:gd name="connsiteX187" fmla="*/ 35729 w 771031"/>
                <a:gd name="connsiteY187" fmla="*/ 209145 h 547991"/>
                <a:gd name="connsiteX188" fmla="*/ 37351 w 771031"/>
                <a:gd name="connsiteY188" fmla="*/ 215630 h 547991"/>
                <a:gd name="connsiteX189" fmla="*/ 42215 w 771031"/>
                <a:gd name="connsiteY189" fmla="*/ 218872 h 547991"/>
                <a:gd name="connsiteX190" fmla="*/ 48700 w 771031"/>
                <a:gd name="connsiteY190" fmla="*/ 222115 h 547991"/>
                <a:gd name="connsiteX191" fmla="*/ 66534 w 771031"/>
                <a:gd name="connsiteY191" fmla="*/ 225357 h 547991"/>
                <a:gd name="connsiteX192" fmla="*/ 89232 w 771031"/>
                <a:gd name="connsiteY192" fmla="*/ 217251 h 547991"/>
                <a:gd name="connsiteX193" fmla="*/ 90853 w 771031"/>
                <a:gd name="connsiteY193" fmla="*/ 212387 h 547991"/>
                <a:gd name="connsiteX194" fmla="*/ 87610 w 771031"/>
                <a:gd name="connsiteY194" fmla="*/ 202660 h 547991"/>
                <a:gd name="connsiteX195" fmla="*/ 81125 w 771031"/>
                <a:gd name="connsiteY195" fmla="*/ 201038 h 547991"/>
                <a:gd name="connsiteX196" fmla="*/ 82746 w 771031"/>
                <a:gd name="connsiteY196" fmla="*/ 191311 h 547991"/>
                <a:gd name="connsiteX197" fmla="*/ 87610 w 771031"/>
                <a:gd name="connsiteY197" fmla="*/ 179962 h 547991"/>
                <a:gd name="connsiteX198" fmla="*/ 89232 w 771031"/>
                <a:gd name="connsiteY198" fmla="*/ 171855 h 547991"/>
                <a:gd name="connsiteX199" fmla="*/ 90853 w 771031"/>
                <a:gd name="connsiteY199" fmla="*/ 158885 h 547991"/>
                <a:gd name="connsiteX200" fmla="*/ 95717 w 771031"/>
                <a:gd name="connsiteY200" fmla="*/ 155643 h 547991"/>
                <a:gd name="connsiteX201" fmla="*/ 107066 w 771031"/>
                <a:gd name="connsiteY201" fmla="*/ 155643 h 547991"/>
                <a:gd name="connsiteX0" fmla="*/ 107066 w 771031"/>
                <a:gd name="connsiteY0" fmla="*/ 155643 h 547991"/>
                <a:gd name="connsiteX1" fmla="*/ 123278 w 771031"/>
                <a:gd name="connsiteY1" fmla="*/ 157264 h 547991"/>
                <a:gd name="connsiteX2" fmla="*/ 128142 w 771031"/>
                <a:gd name="connsiteY2" fmla="*/ 163749 h 547991"/>
                <a:gd name="connsiteX3" fmla="*/ 134627 w 771031"/>
                <a:gd name="connsiteY3" fmla="*/ 166991 h 547991"/>
                <a:gd name="connsiteX4" fmla="*/ 144355 w 771031"/>
                <a:gd name="connsiteY4" fmla="*/ 175098 h 547991"/>
                <a:gd name="connsiteX5" fmla="*/ 149219 w 771031"/>
                <a:gd name="connsiteY5" fmla="*/ 176719 h 547991"/>
                <a:gd name="connsiteX6" fmla="*/ 155704 w 771031"/>
                <a:gd name="connsiteY6" fmla="*/ 186447 h 547991"/>
                <a:gd name="connsiteX7" fmla="*/ 160568 w 771031"/>
                <a:gd name="connsiteY7" fmla="*/ 189689 h 547991"/>
                <a:gd name="connsiteX8" fmla="*/ 167053 w 771031"/>
                <a:gd name="connsiteY8" fmla="*/ 194553 h 547991"/>
                <a:gd name="connsiteX9" fmla="*/ 171917 w 771031"/>
                <a:gd name="connsiteY9" fmla="*/ 201038 h 547991"/>
                <a:gd name="connsiteX10" fmla="*/ 176780 w 771031"/>
                <a:gd name="connsiteY10" fmla="*/ 204281 h 547991"/>
                <a:gd name="connsiteX11" fmla="*/ 184887 w 771031"/>
                <a:gd name="connsiteY11" fmla="*/ 209145 h 547991"/>
                <a:gd name="connsiteX12" fmla="*/ 194615 w 771031"/>
                <a:gd name="connsiteY12" fmla="*/ 192932 h 547991"/>
                <a:gd name="connsiteX13" fmla="*/ 199478 w 771031"/>
                <a:gd name="connsiteY13" fmla="*/ 189689 h 547991"/>
                <a:gd name="connsiteX14" fmla="*/ 262708 w 771031"/>
                <a:gd name="connsiteY14" fmla="*/ 188068 h 547991"/>
                <a:gd name="connsiteX15" fmla="*/ 265951 w 771031"/>
                <a:gd name="connsiteY15" fmla="*/ 181583 h 547991"/>
                <a:gd name="connsiteX16" fmla="*/ 272436 w 771031"/>
                <a:gd name="connsiteY16" fmla="*/ 176719 h 547991"/>
                <a:gd name="connsiteX17" fmla="*/ 301619 w 771031"/>
                <a:gd name="connsiteY17" fmla="*/ 175098 h 547991"/>
                <a:gd name="connsiteX18" fmla="*/ 304861 w 771031"/>
                <a:gd name="connsiteY18" fmla="*/ 170234 h 547991"/>
                <a:gd name="connsiteX19" fmla="*/ 288649 w 771031"/>
                <a:gd name="connsiteY19" fmla="*/ 149157 h 547991"/>
                <a:gd name="connsiteX20" fmla="*/ 301619 w 771031"/>
                <a:gd name="connsiteY20" fmla="*/ 136187 h 547991"/>
                <a:gd name="connsiteX21" fmla="*/ 312968 w 771031"/>
                <a:gd name="connsiteY21" fmla="*/ 123217 h 547991"/>
                <a:gd name="connsiteX22" fmla="*/ 358363 w 771031"/>
                <a:gd name="connsiteY22" fmla="*/ 119974 h 547991"/>
                <a:gd name="connsiteX23" fmla="*/ 364849 w 771031"/>
                <a:gd name="connsiteY23" fmla="*/ 113489 h 547991"/>
                <a:gd name="connsiteX24" fmla="*/ 366470 w 771031"/>
                <a:gd name="connsiteY24" fmla="*/ 108625 h 547991"/>
                <a:gd name="connsiteX25" fmla="*/ 371334 w 771031"/>
                <a:gd name="connsiteY25" fmla="*/ 102140 h 547991"/>
                <a:gd name="connsiteX26" fmla="*/ 372955 w 771031"/>
                <a:gd name="connsiteY26" fmla="*/ 97277 h 547991"/>
                <a:gd name="connsiteX27" fmla="*/ 377819 w 771031"/>
                <a:gd name="connsiteY27" fmla="*/ 87549 h 547991"/>
                <a:gd name="connsiteX28" fmla="*/ 398895 w 771031"/>
                <a:gd name="connsiteY28" fmla="*/ 90791 h 547991"/>
                <a:gd name="connsiteX29" fmla="*/ 403759 w 771031"/>
                <a:gd name="connsiteY29" fmla="*/ 95655 h 547991"/>
                <a:gd name="connsiteX30" fmla="*/ 410244 w 771031"/>
                <a:gd name="connsiteY30" fmla="*/ 97277 h 547991"/>
                <a:gd name="connsiteX31" fmla="*/ 428078 w 771031"/>
                <a:gd name="connsiteY31" fmla="*/ 95655 h 547991"/>
                <a:gd name="connsiteX32" fmla="*/ 436185 w 771031"/>
                <a:gd name="connsiteY32" fmla="*/ 94034 h 547991"/>
                <a:gd name="connsiteX33" fmla="*/ 452397 w 771031"/>
                <a:gd name="connsiteY33" fmla="*/ 76200 h 547991"/>
                <a:gd name="connsiteX34" fmla="*/ 457261 w 771031"/>
                <a:gd name="connsiteY34" fmla="*/ 74579 h 547991"/>
                <a:gd name="connsiteX35" fmla="*/ 462125 w 771031"/>
                <a:gd name="connsiteY35" fmla="*/ 71336 h 547991"/>
                <a:gd name="connsiteX36" fmla="*/ 468610 w 771031"/>
                <a:gd name="connsiteY36" fmla="*/ 69715 h 547991"/>
                <a:gd name="connsiteX37" fmla="*/ 471853 w 771031"/>
                <a:gd name="connsiteY37" fmla="*/ 63230 h 547991"/>
                <a:gd name="connsiteX38" fmla="*/ 476717 w 771031"/>
                <a:gd name="connsiteY38" fmla="*/ 48638 h 547991"/>
                <a:gd name="connsiteX39" fmla="*/ 481580 w 771031"/>
                <a:gd name="connsiteY39" fmla="*/ 32425 h 547991"/>
                <a:gd name="connsiteX40" fmla="*/ 491308 w 771031"/>
                <a:gd name="connsiteY40" fmla="*/ 24319 h 547991"/>
                <a:gd name="connsiteX41" fmla="*/ 514006 w 771031"/>
                <a:gd name="connsiteY41" fmla="*/ 21077 h 547991"/>
                <a:gd name="connsiteX42" fmla="*/ 520491 w 771031"/>
                <a:gd name="connsiteY42" fmla="*/ 17834 h 547991"/>
                <a:gd name="connsiteX43" fmla="*/ 549674 w 771031"/>
                <a:gd name="connsiteY43" fmla="*/ 14591 h 547991"/>
                <a:gd name="connsiteX44" fmla="*/ 577236 w 771031"/>
                <a:gd name="connsiteY44" fmla="*/ 12970 h 547991"/>
                <a:gd name="connsiteX45" fmla="*/ 586963 w 771031"/>
                <a:gd name="connsiteY45" fmla="*/ 4864 h 547991"/>
                <a:gd name="connsiteX46" fmla="*/ 593449 w 771031"/>
                <a:gd name="connsiteY46" fmla="*/ 0 h 547991"/>
                <a:gd name="connsiteX47" fmla="*/ 598312 w 771031"/>
                <a:gd name="connsiteY47" fmla="*/ 1621 h 547991"/>
                <a:gd name="connsiteX48" fmla="*/ 604797 w 771031"/>
                <a:gd name="connsiteY48" fmla="*/ 3243 h 547991"/>
                <a:gd name="connsiteX49" fmla="*/ 609661 w 771031"/>
                <a:gd name="connsiteY49" fmla="*/ 8106 h 547991"/>
                <a:gd name="connsiteX50" fmla="*/ 614525 w 771031"/>
                <a:gd name="connsiteY50" fmla="*/ 11349 h 547991"/>
                <a:gd name="connsiteX51" fmla="*/ 621010 w 771031"/>
                <a:gd name="connsiteY51" fmla="*/ 16213 h 547991"/>
                <a:gd name="connsiteX52" fmla="*/ 629117 w 771031"/>
                <a:gd name="connsiteY52" fmla="*/ 27562 h 547991"/>
                <a:gd name="connsiteX53" fmla="*/ 633980 w 771031"/>
                <a:gd name="connsiteY53" fmla="*/ 34047 h 547991"/>
                <a:gd name="connsiteX54" fmla="*/ 643708 w 771031"/>
                <a:gd name="connsiteY54" fmla="*/ 37289 h 547991"/>
                <a:gd name="connsiteX55" fmla="*/ 659921 w 771031"/>
                <a:gd name="connsiteY55" fmla="*/ 30804 h 547991"/>
                <a:gd name="connsiteX56" fmla="*/ 672891 w 771031"/>
                <a:gd name="connsiteY56" fmla="*/ 24319 h 547991"/>
                <a:gd name="connsiteX57" fmla="*/ 692346 w 771031"/>
                <a:gd name="connsiteY57" fmla="*/ 21077 h 547991"/>
                <a:gd name="connsiteX58" fmla="*/ 713423 w 771031"/>
                <a:gd name="connsiteY58" fmla="*/ 27562 h 547991"/>
                <a:gd name="connsiteX59" fmla="*/ 726393 w 771031"/>
                <a:gd name="connsiteY59" fmla="*/ 43774 h 547991"/>
                <a:gd name="connsiteX60" fmla="*/ 736121 w 771031"/>
                <a:gd name="connsiteY60" fmla="*/ 51881 h 547991"/>
                <a:gd name="connsiteX61" fmla="*/ 742606 w 771031"/>
                <a:gd name="connsiteY61" fmla="*/ 58366 h 547991"/>
                <a:gd name="connsiteX62" fmla="*/ 755576 w 771031"/>
                <a:gd name="connsiteY62" fmla="*/ 56745 h 547991"/>
                <a:gd name="connsiteX63" fmla="*/ 760440 w 771031"/>
                <a:gd name="connsiteY63" fmla="*/ 55123 h 547991"/>
                <a:gd name="connsiteX64" fmla="*/ 768546 w 771031"/>
                <a:gd name="connsiteY64" fmla="*/ 59987 h 547991"/>
                <a:gd name="connsiteX65" fmla="*/ 770168 w 771031"/>
                <a:gd name="connsiteY65" fmla="*/ 64851 h 547991"/>
                <a:gd name="connsiteX66" fmla="*/ 768546 w 771031"/>
                <a:gd name="connsiteY66" fmla="*/ 103762 h 547991"/>
                <a:gd name="connsiteX67" fmla="*/ 755576 w 771031"/>
                <a:gd name="connsiteY67" fmla="*/ 105383 h 547991"/>
                <a:gd name="connsiteX68" fmla="*/ 742606 w 771031"/>
                <a:gd name="connsiteY68" fmla="*/ 108625 h 547991"/>
                <a:gd name="connsiteX69" fmla="*/ 739363 w 771031"/>
                <a:gd name="connsiteY69" fmla="*/ 113489 h 547991"/>
                <a:gd name="connsiteX70" fmla="*/ 729636 w 771031"/>
                <a:gd name="connsiteY70" fmla="*/ 119974 h 547991"/>
                <a:gd name="connsiteX71" fmla="*/ 728015 w 771031"/>
                <a:gd name="connsiteY71" fmla="*/ 126460 h 547991"/>
                <a:gd name="connsiteX72" fmla="*/ 718287 w 771031"/>
                <a:gd name="connsiteY72" fmla="*/ 134566 h 547991"/>
                <a:gd name="connsiteX73" fmla="*/ 711802 w 771031"/>
                <a:gd name="connsiteY73" fmla="*/ 142672 h 547991"/>
                <a:gd name="connsiteX74" fmla="*/ 710180 w 771031"/>
                <a:gd name="connsiteY74" fmla="*/ 150779 h 547991"/>
                <a:gd name="connsiteX75" fmla="*/ 705317 w 771031"/>
                <a:gd name="connsiteY75" fmla="*/ 157264 h 547991"/>
                <a:gd name="connsiteX76" fmla="*/ 702074 w 771031"/>
                <a:gd name="connsiteY76" fmla="*/ 162128 h 547991"/>
                <a:gd name="connsiteX77" fmla="*/ 697210 w 771031"/>
                <a:gd name="connsiteY77" fmla="*/ 173477 h 547991"/>
                <a:gd name="connsiteX78" fmla="*/ 695589 w 771031"/>
                <a:gd name="connsiteY78" fmla="*/ 178340 h 547991"/>
                <a:gd name="connsiteX79" fmla="*/ 693968 w 771031"/>
                <a:gd name="connsiteY79" fmla="*/ 197796 h 547991"/>
                <a:gd name="connsiteX80" fmla="*/ 687483 w 771031"/>
                <a:gd name="connsiteY80" fmla="*/ 201038 h 547991"/>
                <a:gd name="connsiteX81" fmla="*/ 684240 w 771031"/>
                <a:gd name="connsiteY81" fmla="*/ 205902 h 547991"/>
                <a:gd name="connsiteX82" fmla="*/ 682619 w 771031"/>
                <a:gd name="connsiteY82" fmla="*/ 220494 h 547991"/>
                <a:gd name="connsiteX83" fmla="*/ 677755 w 771031"/>
                <a:gd name="connsiteY83" fmla="*/ 231843 h 547991"/>
                <a:gd name="connsiteX84" fmla="*/ 676134 w 771031"/>
                <a:gd name="connsiteY84" fmla="*/ 238328 h 547991"/>
                <a:gd name="connsiteX85" fmla="*/ 671270 w 771031"/>
                <a:gd name="connsiteY85" fmla="*/ 261025 h 547991"/>
                <a:gd name="connsiteX86" fmla="*/ 669649 w 771031"/>
                <a:gd name="connsiteY86" fmla="*/ 270753 h 547991"/>
                <a:gd name="connsiteX87" fmla="*/ 664785 w 771031"/>
                <a:gd name="connsiteY87" fmla="*/ 273996 h 547991"/>
                <a:gd name="connsiteX88" fmla="*/ 659921 w 771031"/>
                <a:gd name="connsiteY88" fmla="*/ 304800 h 547991"/>
                <a:gd name="connsiteX89" fmla="*/ 658300 w 771031"/>
                <a:gd name="connsiteY89" fmla="*/ 309664 h 547991"/>
                <a:gd name="connsiteX90" fmla="*/ 659921 w 771031"/>
                <a:gd name="connsiteY90" fmla="*/ 317770 h 547991"/>
                <a:gd name="connsiteX91" fmla="*/ 648572 w 771031"/>
                <a:gd name="connsiteY91" fmla="*/ 324255 h 547991"/>
                <a:gd name="connsiteX92" fmla="*/ 642087 w 771031"/>
                <a:gd name="connsiteY92" fmla="*/ 348574 h 547991"/>
                <a:gd name="connsiteX93" fmla="*/ 632359 w 771031"/>
                <a:gd name="connsiteY93" fmla="*/ 353438 h 547991"/>
                <a:gd name="connsiteX94" fmla="*/ 630738 w 771031"/>
                <a:gd name="connsiteY94" fmla="*/ 376136 h 547991"/>
                <a:gd name="connsiteX95" fmla="*/ 619389 w 771031"/>
                <a:gd name="connsiteY95" fmla="*/ 387485 h 547991"/>
                <a:gd name="connsiteX96" fmla="*/ 617768 w 771031"/>
                <a:gd name="connsiteY96" fmla="*/ 403698 h 547991"/>
                <a:gd name="connsiteX97" fmla="*/ 616146 w 771031"/>
                <a:gd name="connsiteY97" fmla="*/ 408562 h 547991"/>
                <a:gd name="connsiteX98" fmla="*/ 614525 w 771031"/>
                <a:gd name="connsiteY98" fmla="*/ 418289 h 547991"/>
                <a:gd name="connsiteX99" fmla="*/ 604797 w 771031"/>
                <a:gd name="connsiteY99" fmla="*/ 421532 h 547991"/>
                <a:gd name="connsiteX100" fmla="*/ 601555 w 771031"/>
                <a:gd name="connsiteY100" fmla="*/ 416668 h 547991"/>
                <a:gd name="connsiteX101" fmla="*/ 582100 w 771031"/>
                <a:gd name="connsiteY101" fmla="*/ 418289 h 547991"/>
                <a:gd name="connsiteX102" fmla="*/ 577236 w 771031"/>
                <a:gd name="connsiteY102" fmla="*/ 423153 h 547991"/>
                <a:gd name="connsiteX103" fmla="*/ 575615 w 771031"/>
                <a:gd name="connsiteY103" fmla="*/ 428017 h 547991"/>
                <a:gd name="connsiteX104" fmla="*/ 573993 w 771031"/>
                <a:gd name="connsiteY104" fmla="*/ 442608 h 547991"/>
                <a:gd name="connsiteX105" fmla="*/ 569129 w 771031"/>
                <a:gd name="connsiteY105" fmla="*/ 444230 h 547991"/>
                <a:gd name="connsiteX106" fmla="*/ 561023 w 771031"/>
                <a:gd name="connsiteY106" fmla="*/ 445851 h 547991"/>
                <a:gd name="connsiteX107" fmla="*/ 541568 w 771031"/>
                <a:gd name="connsiteY107" fmla="*/ 440987 h 547991"/>
                <a:gd name="connsiteX108" fmla="*/ 530219 w 771031"/>
                <a:gd name="connsiteY108" fmla="*/ 442608 h 547991"/>
                <a:gd name="connsiteX109" fmla="*/ 518870 w 771031"/>
                <a:gd name="connsiteY109" fmla="*/ 458821 h 547991"/>
                <a:gd name="connsiteX110" fmla="*/ 512385 w 771031"/>
                <a:gd name="connsiteY110" fmla="*/ 457200 h 547991"/>
                <a:gd name="connsiteX111" fmla="*/ 504278 w 771031"/>
                <a:gd name="connsiteY111" fmla="*/ 455579 h 547991"/>
                <a:gd name="connsiteX112" fmla="*/ 499415 w 771031"/>
                <a:gd name="connsiteY112" fmla="*/ 453957 h 547991"/>
                <a:gd name="connsiteX113" fmla="*/ 489687 w 771031"/>
                <a:gd name="connsiteY113" fmla="*/ 452336 h 547991"/>
                <a:gd name="connsiteX114" fmla="*/ 483202 w 771031"/>
                <a:gd name="connsiteY114" fmla="*/ 455579 h 547991"/>
                <a:gd name="connsiteX115" fmla="*/ 479959 w 771031"/>
                <a:gd name="connsiteY115" fmla="*/ 460443 h 547991"/>
                <a:gd name="connsiteX116" fmla="*/ 455640 w 771031"/>
                <a:gd name="connsiteY116" fmla="*/ 458821 h 547991"/>
                <a:gd name="connsiteX117" fmla="*/ 444291 w 771031"/>
                <a:gd name="connsiteY117" fmla="*/ 455579 h 547991"/>
                <a:gd name="connsiteX118" fmla="*/ 434563 w 771031"/>
                <a:gd name="connsiteY118" fmla="*/ 453957 h 547991"/>
                <a:gd name="connsiteX119" fmla="*/ 428078 w 771031"/>
                <a:gd name="connsiteY119" fmla="*/ 455579 h 547991"/>
                <a:gd name="connsiteX120" fmla="*/ 426457 w 771031"/>
                <a:gd name="connsiteY120" fmla="*/ 468549 h 547991"/>
                <a:gd name="connsiteX121" fmla="*/ 424836 w 771031"/>
                <a:gd name="connsiteY121" fmla="*/ 473413 h 547991"/>
                <a:gd name="connsiteX122" fmla="*/ 418351 w 771031"/>
                <a:gd name="connsiteY122" fmla="*/ 479898 h 547991"/>
                <a:gd name="connsiteX123" fmla="*/ 395653 w 771031"/>
                <a:gd name="connsiteY123" fmla="*/ 492868 h 547991"/>
                <a:gd name="connsiteX124" fmla="*/ 372955 w 771031"/>
                <a:gd name="connsiteY124" fmla="*/ 494489 h 547991"/>
                <a:gd name="connsiteX125" fmla="*/ 361606 w 771031"/>
                <a:gd name="connsiteY125" fmla="*/ 497732 h 547991"/>
                <a:gd name="connsiteX126" fmla="*/ 358363 w 771031"/>
                <a:gd name="connsiteY126" fmla="*/ 502596 h 547991"/>
                <a:gd name="connsiteX127" fmla="*/ 329180 w 771031"/>
                <a:gd name="connsiteY127" fmla="*/ 504217 h 547991"/>
                <a:gd name="connsiteX128" fmla="*/ 319453 w 771031"/>
                <a:gd name="connsiteY128" fmla="*/ 513945 h 547991"/>
                <a:gd name="connsiteX129" fmla="*/ 304861 w 771031"/>
                <a:gd name="connsiteY129" fmla="*/ 522051 h 547991"/>
                <a:gd name="connsiteX130" fmla="*/ 298376 w 771031"/>
                <a:gd name="connsiteY130" fmla="*/ 526915 h 547991"/>
                <a:gd name="connsiteX131" fmla="*/ 293512 w 771031"/>
                <a:gd name="connsiteY131" fmla="*/ 536643 h 547991"/>
                <a:gd name="connsiteX132" fmla="*/ 295134 w 771031"/>
                <a:gd name="connsiteY132" fmla="*/ 541506 h 547991"/>
                <a:gd name="connsiteX133" fmla="*/ 293512 w 771031"/>
                <a:gd name="connsiteY133" fmla="*/ 546370 h 547991"/>
                <a:gd name="connsiteX134" fmla="*/ 287027 w 771031"/>
                <a:gd name="connsiteY134" fmla="*/ 547991 h 547991"/>
                <a:gd name="connsiteX135" fmla="*/ 259466 w 771031"/>
                <a:gd name="connsiteY135" fmla="*/ 546370 h 547991"/>
                <a:gd name="connsiteX136" fmla="*/ 248117 w 771031"/>
                <a:gd name="connsiteY136" fmla="*/ 543128 h 547991"/>
                <a:gd name="connsiteX137" fmla="*/ 243253 w 771031"/>
                <a:gd name="connsiteY137" fmla="*/ 541506 h 547991"/>
                <a:gd name="connsiteX138" fmla="*/ 204342 w 771031"/>
                <a:gd name="connsiteY138" fmla="*/ 539885 h 547991"/>
                <a:gd name="connsiteX139" fmla="*/ 197857 w 771031"/>
                <a:gd name="connsiteY139" fmla="*/ 528536 h 547991"/>
                <a:gd name="connsiteX140" fmla="*/ 189751 w 771031"/>
                <a:gd name="connsiteY140" fmla="*/ 517187 h 547991"/>
                <a:gd name="connsiteX141" fmla="*/ 184887 w 771031"/>
                <a:gd name="connsiteY141" fmla="*/ 513945 h 547991"/>
                <a:gd name="connsiteX142" fmla="*/ 170295 w 771031"/>
                <a:gd name="connsiteY142" fmla="*/ 512323 h 547991"/>
                <a:gd name="connsiteX143" fmla="*/ 141112 w 771031"/>
                <a:gd name="connsiteY143" fmla="*/ 512323 h 547991"/>
                <a:gd name="connsiteX144" fmla="*/ 139491 w 771031"/>
                <a:gd name="connsiteY144" fmla="*/ 507460 h 547991"/>
                <a:gd name="connsiteX145" fmla="*/ 141112 w 771031"/>
                <a:gd name="connsiteY145" fmla="*/ 502596 h 547991"/>
                <a:gd name="connsiteX146" fmla="*/ 134627 w 771031"/>
                <a:gd name="connsiteY146" fmla="*/ 499353 h 547991"/>
                <a:gd name="connsiteX147" fmla="*/ 128142 w 771031"/>
                <a:gd name="connsiteY147" fmla="*/ 492868 h 547991"/>
                <a:gd name="connsiteX148" fmla="*/ 118415 w 771031"/>
                <a:gd name="connsiteY148" fmla="*/ 488004 h 547991"/>
                <a:gd name="connsiteX149" fmla="*/ 107066 w 771031"/>
                <a:gd name="connsiteY149" fmla="*/ 478277 h 547991"/>
                <a:gd name="connsiteX150" fmla="*/ 97338 w 771031"/>
                <a:gd name="connsiteY150" fmla="*/ 475034 h 547991"/>
                <a:gd name="connsiteX151" fmla="*/ 94095 w 771031"/>
                <a:gd name="connsiteY151" fmla="*/ 470170 h 547991"/>
                <a:gd name="connsiteX152" fmla="*/ 89232 w 771031"/>
                <a:gd name="connsiteY152" fmla="*/ 457200 h 547991"/>
                <a:gd name="connsiteX153" fmla="*/ 77883 w 771031"/>
                <a:gd name="connsiteY153" fmla="*/ 447472 h 547991"/>
                <a:gd name="connsiteX154" fmla="*/ 73019 w 771031"/>
                <a:gd name="connsiteY154" fmla="*/ 445851 h 547991"/>
                <a:gd name="connsiteX155" fmla="*/ 66534 w 771031"/>
                <a:gd name="connsiteY155" fmla="*/ 442608 h 547991"/>
                <a:gd name="connsiteX156" fmla="*/ 60049 w 771031"/>
                <a:gd name="connsiteY156" fmla="*/ 440987 h 547991"/>
                <a:gd name="connsiteX157" fmla="*/ 45457 w 771031"/>
                <a:gd name="connsiteY157" fmla="*/ 437745 h 547991"/>
                <a:gd name="connsiteX158" fmla="*/ 40593 w 771031"/>
                <a:gd name="connsiteY158" fmla="*/ 429638 h 547991"/>
                <a:gd name="connsiteX159" fmla="*/ 37351 w 771031"/>
                <a:gd name="connsiteY159" fmla="*/ 419911 h 547991"/>
                <a:gd name="connsiteX160" fmla="*/ 35729 w 771031"/>
                <a:gd name="connsiteY160" fmla="*/ 415047 h 547991"/>
                <a:gd name="connsiteX161" fmla="*/ 30866 w 771031"/>
                <a:gd name="connsiteY161" fmla="*/ 410183 h 547991"/>
                <a:gd name="connsiteX162" fmla="*/ 24380 w 771031"/>
                <a:gd name="connsiteY162" fmla="*/ 405319 h 547991"/>
                <a:gd name="connsiteX163" fmla="*/ 14653 w 771031"/>
                <a:gd name="connsiteY163" fmla="*/ 398834 h 547991"/>
                <a:gd name="connsiteX164" fmla="*/ 13032 w 771031"/>
                <a:gd name="connsiteY164" fmla="*/ 393970 h 547991"/>
                <a:gd name="connsiteX165" fmla="*/ 11410 w 771031"/>
                <a:gd name="connsiteY165" fmla="*/ 377757 h 547991"/>
                <a:gd name="connsiteX166" fmla="*/ 6546 w 771031"/>
                <a:gd name="connsiteY166" fmla="*/ 372894 h 547991"/>
                <a:gd name="connsiteX167" fmla="*/ 4925 w 771031"/>
                <a:gd name="connsiteY167" fmla="*/ 366408 h 547991"/>
                <a:gd name="connsiteX168" fmla="*/ 61 w 771031"/>
                <a:gd name="connsiteY168" fmla="*/ 363166 h 547991"/>
                <a:gd name="connsiteX169" fmla="*/ 3304 w 771031"/>
                <a:gd name="connsiteY169" fmla="*/ 356681 h 547991"/>
                <a:gd name="connsiteX170" fmla="*/ 13032 w 771031"/>
                <a:gd name="connsiteY170" fmla="*/ 355060 h 547991"/>
                <a:gd name="connsiteX171" fmla="*/ 27623 w 771031"/>
                <a:gd name="connsiteY171" fmla="*/ 353438 h 547991"/>
                <a:gd name="connsiteX172" fmla="*/ 37351 w 771031"/>
                <a:gd name="connsiteY172" fmla="*/ 346953 h 547991"/>
                <a:gd name="connsiteX173" fmla="*/ 32487 w 771031"/>
                <a:gd name="connsiteY173" fmla="*/ 332362 h 547991"/>
                <a:gd name="connsiteX174" fmla="*/ 22759 w 771031"/>
                <a:gd name="connsiteY174" fmla="*/ 330740 h 547991"/>
                <a:gd name="connsiteX175" fmla="*/ 19517 w 771031"/>
                <a:gd name="connsiteY175" fmla="*/ 278860 h 547991"/>
                <a:gd name="connsiteX176" fmla="*/ 21138 w 771031"/>
                <a:gd name="connsiteY176" fmla="*/ 272374 h 547991"/>
                <a:gd name="connsiteX177" fmla="*/ 34108 w 771031"/>
                <a:gd name="connsiteY177" fmla="*/ 265889 h 547991"/>
                <a:gd name="connsiteX178" fmla="*/ 37351 w 771031"/>
                <a:gd name="connsiteY178" fmla="*/ 261025 h 547991"/>
                <a:gd name="connsiteX179" fmla="*/ 45457 w 771031"/>
                <a:gd name="connsiteY179" fmla="*/ 259404 h 547991"/>
                <a:gd name="connsiteX180" fmla="*/ 47078 w 771031"/>
                <a:gd name="connsiteY180" fmla="*/ 252919 h 547991"/>
                <a:gd name="connsiteX181" fmla="*/ 37351 w 771031"/>
                <a:gd name="connsiteY181" fmla="*/ 246434 h 547991"/>
                <a:gd name="connsiteX182" fmla="*/ 32487 w 771031"/>
                <a:gd name="connsiteY182" fmla="*/ 243191 h 547991"/>
                <a:gd name="connsiteX183" fmla="*/ 22759 w 771031"/>
                <a:gd name="connsiteY183" fmla="*/ 239949 h 547991"/>
                <a:gd name="connsiteX184" fmla="*/ 21138 w 771031"/>
                <a:gd name="connsiteY184" fmla="*/ 212387 h 547991"/>
                <a:gd name="connsiteX185" fmla="*/ 26002 w 771031"/>
                <a:gd name="connsiteY185" fmla="*/ 207523 h 547991"/>
                <a:gd name="connsiteX186" fmla="*/ 35729 w 771031"/>
                <a:gd name="connsiteY186" fmla="*/ 209145 h 547991"/>
                <a:gd name="connsiteX187" fmla="*/ 37351 w 771031"/>
                <a:gd name="connsiteY187" fmla="*/ 215630 h 547991"/>
                <a:gd name="connsiteX188" fmla="*/ 42215 w 771031"/>
                <a:gd name="connsiteY188" fmla="*/ 218872 h 547991"/>
                <a:gd name="connsiteX189" fmla="*/ 48700 w 771031"/>
                <a:gd name="connsiteY189" fmla="*/ 222115 h 547991"/>
                <a:gd name="connsiteX190" fmla="*/ 66534 w 771031"/>
                <a:gd name="connsiteY190" fmla="*/ 225357 h 547991"/>
                <a:gd name="connsiteX191" fmla="*/ 89232 w 771031"/>
                <a:gd name="connsiteY191" fmla="*/ 217251 h 547991"/>
                <a:gd name="connsiteX192" fmla="*/ 90853 w 771031"/>
                <a:gd name="connsiteY192" fmla="*/ 212387 h 547991"/>
                <a:gd name="connsiteX193" fmla="*/ 87610 w 771031"/>
                <a:gd name="connsiteY193" fmla="*/ 202660 h 547991"/>
                <a:gd name="connsiteX194" fmla="*/ 81125 w 771031"/>
                <a:gd name="connsiteY194" fmla="*/ 201038 h 547991"/>
                <a:gd name="connsiteX195" fmla="*/ 82746 w 771031"/>
                <a:gd name="connsiteY195" fmla="*/ 191311 h 547991"/>
                <a:gd name="connsiteX196" fmla="*/ 87610 w 771031"/>
                <a:gd name="connsiteY196" fmla="*/ 179962 h 547991"/>
                <a:gd name="connsiteX197" fmla="*/ 89232 w 771031"/>
                <a:gd name="connsiteY197" fmla="*/ 171855 h 547991"/>
                <a:gd name="connsiteX198" fmla="*/ 90853 w 771031"/>
                <a:gd name="connsiteY198" fmla="*/ 158885 h 547991"/>
                <a:gd name="connsiteX199" fmla="*/ 95717 w 771031"/>
                <a:gd name="connsiteY199" fmla="*/ 155643 h 547991"/>
                <a:gd name="connsiteX200" fmla="*/ 107066 w 771031"/>
                <a:gd name="connsiteY200" fmla="*/ 155643 h 547991"/>
                <a:gd name="connsiteX0" fmla="*/ 107066 w 781316"/>
                <a:gd name="connsiteY0" fmla="*/ 155643 h 547991"/>
                <a:gd name="connsiteX1" fmla="*/ 123278 w 781316"/>
                <a:gd name="connsiteY1" fmla="*/ 157264 h 547991"/>
                <a:gd name="connsiteX2" fmla="*/ 128142 w 781316"/>
                <a:gd name="connsiteY2" fmla="*/ 163749 h 547991"/>
                <a:gd name="connsiteX3" fmla="*/ 134627 w 781316"/>
                <a:gd name="connsiteY3" fmla="*/ 166991 h 547991"/>
                <a:gd name="connsiteX4" fmla="*/ 144355 w 781316"/>
                <a:gd name="connsiteY4" fmla="*/ 175098 h 547991"/>
                <a:gd name="connsiteX5" fmla="*/ 149219 w 781316"/>
                <a:gd name="connsiteY5" fmla="*/ 176719 h 547991"/>
                <a:gd name="connsiteX6" fmla="*/ 155704 w 781316"/>
                <a:gd name="connsiteY6" fmla="*/ 186447 h 547991"/>
                <a:gd name="connsiteX7" fmla="*/ 160568 w 781316"/>
                <a:gd name="connsiteY7" fmla="*/ 189689 h 547991"/>
                <a:gd name="connsiteX8" fmla="*/ 167053 w 781316"/>
                <a:gd name="connsiteY8" fmla="*/ 194553 h 547991"/>
                <a:gd name="connsiteX9" fmla="*/ 171917 w 781316"/>
                <a:gd name="connsiteY9" fmla="*/ 201038 h 547991"/>
                <a:gd name="connsiteX10" fmla="*/ 176780 w 781316"/>
                <a:gd name="connsiteY10" fmla="*/ 204281 h 547991"/>
                <a:gd name="connsiteX11" fmla="*/ 184887 w 781316"/>
                <a:gd name="connsiteY11" fmla="*/ 209145 h 547991"/>
                <a:gd name="connsiteX12" fmla="*/ 194615 w 781316"/>
                <a:gd name="connsiteY12" fmla="*/ 192932 h 547991"/>
                <a:gd name="connsiteX13" fmla="*/ 199478 w 781316"/>
                <a:gd name="connsiteY13" fmla="*/ 189689 h 547991"/>
                <a:gd name="connsiteX14" fmla="*/ 262708 w 781316"/>
                <a:gd name="connsiteY14" fmla="*/ 188068 h 547991"/>
                <a:gd name="connsiteX15" fmla="*/ 265951 w 781316"/>
                <a:gd name="connsiteY15" fmla="*/ 181583 h 547991"/>
                <a:gd name="connsiteX16" fmla="*/ 272436 w 781316"/>
                <a:gd name="connsiteY16" fmla="*/ 176719 h 547991"/>
                <a:gd name="connsiteX17" fmla="*/ 301619 w 781316"/>
                <a:gd name="connsiteY17" fmla="*/ 175098 h 547991"/>
                <a:gd name="connsiteX18" fmla="*/ 304861 w 781316"/>
                <a:gd name="connsiteY18" fmla="*/ 170234 h 547991"/>
                <a:gd name="connsiteX19" fmla="*/ 288649 w 781316"/>
                <a:gd name="connsiteY19" fmla="*/ 149157 h 547991"/>
                <a:gd name="connsiteX20" fmla="*/ 301619 w 781316"/>
                <a:gd name="connsiteY20" fmla="*/ 136187 h 547991"/>
                <a:gd name="connsiteX21" fmla="*/ 312968 w 781316"/>
                <a:gd name="connsiteY21" fmla="*/ 123217 h 547991"/>
                <a:gd name="connsiteX22" fmla="*/ 358363 w 781316"/>
                <a:gd name="connsiteY22" fmla="*/ 119974 h 547991"/>
                <a:gd name="connsiteX23" fmla="*/ 364849 w 781316"/>
                <a:gd name="connsiteY23" fmla="*/ 113489 h 547991"/>
                <a:gd name="connsiteX24" fmla="*/ 366470 w 781316"/>
                <a:gd name="connsiteY24" fmla="*/ 108625 h 547991"/>
                <a:gd name="connsiteX25" fmla="*/ 371334 w 781316"/>
                <a:gd name="connsiteY25" fmla="*/ 102140 h 547991"/>
                <a:gd name="connsiteX26" fmla="*/ 372955 w 781316"/>
                <a:gd name="connsiteY26" fmla="*/ 97277 h 547991"/>
                <a:gd name="connsiteX27" fmla="*/ 377819 w 781316"/>
                <a:gd name="connsiteY27" fmla="*/ 87549 h 547991"/>
                <a:gd name="connsiteX28" fmla="*/ 398895 w 781316"/>
                <a:gd name="connsiteY28" fmla="*/ 90791 h 547991"/>
                <a:gd name="connsiteX29" fmla="*/ 403759 w 781316"/>
                <a:gd name="connsiteY29" fmla="*/ 95655 h 547991"/>
                <a:gd name="connsiteX30" fmla="*/ 410244 w 781316"/>
                <a:gd name="connsiteY30" fmla="*/ 97277 h 547991"/>
                <a:gd name="connsiteX31" fmla="*/ 428078 w 781316"/>
                <a:gd name="connsiteY31" fmla="*/ 95655 h 547991"/>
                <a:gd name="connsiteX32" fmla="*/ 436185 w 781316"/>
                <a:gd name="connsiteY32" fmla="*/ 94034 h 547991"/>
                <a:gd name="connsiteX33" fmla="*/ 452397 w 781316"/>
                <a:gd name="connsiteY33" fmla="*/ 76200 h 547991"/>
                <a:gd name="connsiteX34" fmla="*/ 457261 w 781316"/>
                <a:gd name="connsiteY34" fmla="*/ 74579 h 547991"/>
                <a:gd name="connsiteX35" fmla="*/ 462125 w 781316"/>
                <a:gd name="connsiteY35" fmla="*/ 71336 h 547991"/>
                <a:gd name="connsiteX36" fmla="*/ 468610 w 781316"/>
                <a:gd name="connsiteY36" fmla="*/ 69715 h 547991"/>
                <a:gd name="connsiteX37" fmla="*/ 471853 w 781316"/>
                <a:gd name="connsiteY37" fmla="*/ 63230 h 547991"/>
                <a:gd name="connsiteX38" fmla="*/ 476717 w 781316"/>
                <a:gd name="connsiteY38" fmla="*/ 48638 h 547991"/>
                <a:gd name="connsiteX39" fmla="*/ 481580 w 781316"/>
                <a:gd name="connsiteY39" fmla="*/ 32425 h 547991"/>
                <a:gd name="connsiteX40" fmla="*/ 491308 w 781316"/>
                <a:gd name="connsiteY40" fmla="*/ 24319 h 547991"/>
                <a:gd name="connsiteX41" fmla="*/ 514006 w 781316"/>
                <a:gd name="connsiteY41" fmla="*/ 21077 h 547991"/>
                <a:gd name="connsiteX42" fmla="*/ 520491 w 781316"/>
                <a:gd name="connsiteY42" fmla="*/ 17834 h 547991"/>
                <a:gd name="connsiteX43" fmla="*/ 549674 w 781316"/>
                <a:gd name="connsiteY43" fmla="*/ 14591 h 547991"/>
                <a:gd name="connsiteX44" fmla="*/ 577236 w 781316"/>
                <a:gd name="connsiteY44" fmla="*/ 12970 h 547991"/>
                <a:gd name="connsiteX45" fmla="*/ 586963 w 781316"/>
                <a:gd name="connsiteY45" fmla="*/ 4864 h 547991"/>
                <a:gd name="connsiteX46" fmla="*/ 593449 w 781316"/>
                <a:gd name="connsiteY46" fmla="*/ 0 h 547991"/>
                <a:gd name="connsiteX47" fmla="*/ 598312 w 781316"/>
                <a:gd name="connsiteY47" fmla="*/ 1621 h 547991"/>
                <a:gd name="connsiteX48" fmla="*/ 604797 w 781316"/>
                <a:gd name="connsiteY48" fmla="*/ 3243 h 547991"/>
                <a:gd name="connsiteX49" fmla="*/ 609661 w 781316"/>
                <a:gd name="connsiteY49" fmla="*/ 8106 h 547991"/>
                <a:gd name="connsiteX50" fmla="*/ 614525 w 781316"/>
                <a:gd name="connsiteY50" fmla="*/ 11349 h 547991"/>
                <a:gd name="connsiteX51" fmla="*/ 621010 w 781316"/>
                <a:gd name="connsiteY51" fmla="*/ 16213 h 547991"/>
                <a:gd name="connsiteX52" fmla="*/ 629117 w 781316"/>
                <a:gd name="connsiteY52" fmla="*/ 27562 h 547991"/>
                <a:gd name="connsiteX53" fmla="*/ 633980 w 781316"/>
                <a:gd name="connsiteY53" fmla="*/ 34047 h 547991"/>
                <a:gd name="connsiteX54" fmla="*/ 643708 w 781316"/>
                <a:gd name="connsiteY54" fmla="*/ 37289 h 547991"/>
                <a:gd name="connsiteX55" fmla="*/ 659921 w 781316"/>
                <a:gd name="connsiteY55" fmla="*/ 30804 h 547991"/>
                <a:gd name="connsiteX56" fmla="*/ 672891 w 781316"/>
                <a:gd name="connsiteY56" fmla="*/ 24319 h 547991"/>
                <a:gd name="connsiteX57" fmla="*/ 692346 w 781316"/>
                <a:gd name="connsiteY57" fmla="*/ 21077 h 547991"/>
                <a:gd name="connsiteX58" fmla="*/ 713423 w 781316"/>
                <a:gd name="connsiteY58" fmla="*/ 27562 h 547991"/>
                <a:gd name="connsiteX59" fmla="*/ 726393 w 781316"/>
                <a:gd name="connsiteY59" fmla="*/ 43774 h 547991"/>
                <a:gd name="connsiteX60" fmla="*/ 736121 w 781316"/>
                <a:gd name="connsiteY60" fmla="*/ 51881 h 547991"/>
                <a:gd name="connsiteX61" fmla="*/ 742606 w 781316"/>
                <a:gd name="connsiteY61" fmla="*/ 58366 h 547991"/>
                <a:gd name="connsiteX62" fmla="*/ 755576 w 781316"/>
                <a:gd name="connsiteY62" fmla="*/ 56745 h 547991"/>
                <a:gd name="connsiteX63" fmla="*/ 760440 w 781316"/>
                <a:gd name="connsiteY63" fmla="*/ 55123 h 547991"/>
                <a:gd name="connsiteX64" fmla="*/ 768546 w 781316"/>
                <a:gd name="connsiteY64" fmla="*/ 59987 h 547991"/>
                <a:gd name="connsiteX65" fmla="*/ 770168 w 781316"/>
                <a:gd name="connsiteY65" fmla="*/ 64851 h 547991"/>
                <a:gd name="connsiteX66" fmla="*/ 781311 w 781316"/>
                <a:gd name="connsiteY66" fmla="*/ 68634 h 547991"/>
                <a:gd name="connsiteX67" fmla="*/ 768546 w 781316"/>
                <a:gd name="connsiteY67" fmla="*/ 103762 h 547991"/>
                <a:gd name="connsiteX68" fmla="*/ 755576 w 781316"/>
                <a:gd name="connsiteY68" fmla="*/ 105383 h 547991"/>
                <a:gd name="connsiteX69" fmla="*/ 742606 w 781316"/>
                <a:gd name="connsiteY69" fmla="*/ 108625 h 547991"/>
                <a:gd name="connsiteX70" fmla="*/ 739363 w 781316"/>
                <a:gd name="connsiteY70" fmla="*/ 113489 h 547991"/>
                <a:gd name="connsiteX71" fmla="*/ 729636 w 781316"/>
                <a:gd name="connsiteY71" fmla="*/ 119974 h 547991"/>
                <a:gd name="connsiteX72" fmla="*/ 728015 w 781316"/>
                <a:gd name="connsiteY72" fmla="*/ 126460 h 547991"/>
                <a:gd name="connsiteX73" fmla="*/ 718287 w 781316"/>
                <a:gd name="connsiteY73" fmla="*/ 134566 h 547991"/>
                <a:gd name="connsiteX74" fmla="*/ 711802 w 781316"/>
                <a:gd name="connsiteY74" fmla="*/ 142672 h 547991"/>
                <a:gd name="connsiteX75" fmla="*/ 710180 w 781316"/>
                <a:gd name="connsiteY75" fmla="*/ 150779 h 547991"/>
                <a:gd name="connsiteX76" fmla="*/ 705317 w 781316"/>
                <a:gd name="connsiteY76" fmla="*/ 157264 h 547991"/>
                <a:gd name="connsiteX77" fmla="*/ 702074 w 781316"/>
                <a:gd name="connsiteY77" fmla="*/ 162128 h 547991"/>
                <a:gd name="connsiteX78" fmla="*/ 697210 w 781316"/>
                <a:gd name="connsiteY78" fmla="*/ 173477 h 547991"/>
                <a:gd name="connsiteX79" fmla="*/ 695589 w 781316"/>
                <a:gd name="connsiteY79" fmla="*/ 178340 h 547991"/>
                <a:gd name="connsiteX80" fmla="*/ 693968 w 781316"/>
                <a:gd name="connsiteY80" fmla="*/ 197796 h 547991"/>
                <a:gd name="connsiteX81" fmla="*/ 687483 w 781316"/>
                <a:gd name="connsiteY81" fmla="*/ 201038 h 547991"/>
                <a:gd name="connsiteX82" fmla="*/ 684240 w 781316"/>
                <a:gd name="connsiteY82" fmla="*/ 205902 h 547991"/>
                <a:gd name="connsiteX83" fmla="*/ 682619 w 781316"/>
                <a:gd name="connsiteY83" fmla="*/ 220494 h 547991"/>
                <a:gd name="connsiteX84" fmla="*/ 677755 w 781316"/>
                <a:gd name="connsiteY84" fmla="*/ 231843 h 547991"/>
                <a:gd name="connsiteX85" fmla="*/ 676134 w 781316"/>
                <a:gd name="connsiteY85" fmla="*/ 238328 h 547991"/>
                <a:gd name="connsiteX86" fmla="*/ 671270 w 781316"/>
                <a:gd name="connsiteY86" fmla="*/ 261025 h 547991"/>
                <a:gd name="connsiteX87" fmla="*/ 669649 w 781316"/>
                <a:gd name="connsiteY87" fmla="*/ 270753 h 547991"/>
                <a:gd name="connsiteX88" fmla="*/ 664785 w 781316"/>
                <a:gd name="connsiteY88" fmla="*/ 273996 h 547991"/>
                <a:gd name="connsiteX89" fmla="*/ 659921 w 781316"/>
                <a:gd name="connsiteY89" fmla="*/ 304800 h 547991"/>
                <a:gd name="connsiteX90" fmla="*/ 658300 w 781316"/>
                <a:gd name="connsiteY90" fmla="*/ 309664 h 547991"/>
                <a:gd name="connsiteX91" fmla="*/ 659921 w 781316"/>
                <a:gd name="connsiteY91" fmla="*/ 317770 h 547991"/>
                <a:gd name="connsiteX92" fmla="*/ 648572 w 781316"/>
                <a:gd name="connsiteY92" fmla="*/ 324255 h 547991"/>
                <a:gd name="connsiteX93" fmla="*/ 642087 w 781316"/>
                <a:gd name="connsiteY93" fmla="*/ 348574 h 547991"/>
                <a:gd name="connsiteX94" fmla="*/ 632359 w 781316"/>
                <a:gd name="connsiteY94" fmla="*/ 353438 h 547991"/>
                <a:gd name="connsiteX95" fmla="*/ 630738 w 781316"/>
                <a:gd name="connsiteY95" fmla="*/ 376136 h 547991"/>
                <a:gd name="connsiteX96" fmla="*/ 619389 w 781316"/>
                <a:gd name="connsiteY96" fmla="*/ 387485 h 547991"/>
                <a:gd name="connsiteX97" fmla="*/ 617768 w 781316"/>
                <a:gd name="connsiteY97" fmla="*/ 403698 h 547991"/>
                <a:gd name="connsiteX98" fmla="*/ 616146 w 781316"/>
                <a:gd name="connsiteY98" fmla="*/ 408562 h 547991"/>
                <a:gd name="connsiteX99" fmla="*/ 614525 w 781316"/>
                <a:gd name="connsiteY99" fmla="*/ 418289 h 547991"/>
                <a:gd name="connsiteX100" fmla="*/ 604797 w 781316"/>
                <a:gd name="connsiteY100" fmla="*/ 421532 h 547991"/>
                <a:gd name="connsiteX101" fmla="*/ 601555 w 781316"/>
                <a:gd name="connsiteY101" fmla="*/ 416668 h 547991"/>
                <a:gd name="connsiteX102" fmla="*/ 582100 w 781316"/>
                <a:gd name="connsiteY102" fmla="*/ 418289 h 547991"/>
                <a:gd name="connsiteX103" fmla="*/ 577236 w 781316"/>
                <a:gd name="connsiteY103" fmla="*/ 423153 h 547991"/>
                <a:gd name="connsiteX104" fmla="*/ 575615 w 781316"/>
                <a:gd name="connsiteY104" fmla="*/ 428017 h 547991"/>
                <a:gd name="connsiteX105" fmla="*/ 573993 w 781316"/>
                <a:gd name="connsiteY105" fmla="*/ 442608 h 547991"/>
                <a:gd name="connsiteX106" fmla="*/ 569129 w 781316"/>
                <a:gd name="connsiteY106" fmla="*/ 444230 h 547991"/>
                <a:gd name="connsiteX107" fmla="*/ 561023 w 781316"/>
                <a:gd name="connsiteY107" fmla="*/ 445851 h 547991"/>
                <a:gd name="connsiteX108" fmla="*/ 541568 w 781316"/>
                <a:gd name="connsiteY108" fmla="*/ 440987 h 547991"/>
                <a:gd name="connsiteX109" fmla="*/ 530219 w 781316"/>
                <a:gd name="connsiteY109" fmla="*/ 442608 h 547991"/>
                <a:gd name="connsiteX110" fmla="*/ 518870 w 781316"/>
                <a:gd name="connsiteY110" fmla="*/ 458821 h 547991"/>
                <a:gd name="connsiteX111" fmla="*/ 512385 w 781316"/>
                <a:gd name="connsiteY111" fmla="*/ 457200 h 547991"/>
                <a:gd name="connsiteX112" fmla="*/ 504278 w 781316"/>
                <a:gd name="connsiteY112" fmla="*/ 455579 h 547991"/>
                <a:gd name="connsiteX113" fmla="*/ 499415 w 781316"/>
                <a:gd name="connsiteY113" fmla="*/ 453957 h 547991"/>
                <a:gd name="connsiteX114" fmla="*/ 489687 w 781316"/>
                <a:gd name="connsiteY114" fmla="*/ 452336 h 547991"/>
                <a:gd name="connsiteX115" fmla="*/ 483202 w 781316"/>
                <a:gd name="connsiteY115" fmla="*/ 455579 h 547991"/>
                <a:gd name="connsiteX116" fmla="*/ 479959 w 781316"/>
                <a:gd name="connsiteY116" fmla="*/ 460443 h 547991"/>
                <a:gd name="connsiteX117" fmla="*/ 455640 w 781316"/>
                <a:gd name="connsiteY117" fmla="*/ 458821 h 547991"/>
                <a:gd name="connsiteX118" fmla="*/ 444291 w 781316"/>
                <a:gd name="connsiteY118" fmla="*/ 455579 h 547991"/>
                <a:gd name="connsiteX119" fmla="*/ 434563 w 781316"/>
                <a:gd name="connsiteY119" fmla="*/ 453957 h 547991"/>
                <a:gd name="connsiteX120" fmla="*/ 428078 w 781316"/>
                <a:gd name="connsiteY120" fmla="*/ 455579 h 547991"/>
                <a:gd name="connsiteX121" fmla="*/ 426457 w 781316"/>
                <a:gd name="connsiteY121" fmla="*/ 468549 h 547991"/>
                <a:gd name="connsiteX122" fmla="*/ 424836 w 781316"/>
                <a:gd name="connsiteY122" fmla="*/ 473413 h 547991"/>
                <a:gd name="connsiteX123" fmla="*/ 418351 w 781316"/>
                <a:gd name="connsiteY123" fmla="*/ 479898 h 547991"/>
                <a:gd name="connsiteX124" fmla="*/ 395653 w 781316"/>
                <a:gd name="connsiteY124" fmla="*/ 492868 h 547991"/>
                <a:gd name="connsiteX125" fmla="*/ 372955 w 781316"/>
                <a:gd name="connsiteY125" fmla="*/ 494489 h 547991"/>
                <a:gd name="connsiteX126" fmla="*/ 361606 w 781316"/>
                <a:gd name="connsiteY126" fmla="*/ 497732 h 547991"/>
                <a:gd name="connsiteX127" fmla="*/ 358363 w 781316"/>
                <a:gd name="connsiteY127" fmla="*/ 502596 h 547991"/>
                <a:gd name="connsiteX128" fmla="*/ 329180 w 781316"/>
                <a:gd name="connsiteY128" fmla="*/ 504217 h 547991"/>
                <a:gd name="connsiteX129" fmla="*/ 319453 w 781316"/>
                <a:gd name="connsiteY129" fmla="*/ 513945 h 547991"/>
                <a:gd name="connsiteX130" fmla="*/ 304861 w 781316"/>
                <a:gd name="connsiteY130" fmla="*/ 522051 h 547991"/>
                <a:gd name="connsiteX131" fmla="*/ 298376 w 781316"/>
                <a:gd name="connsiteY131" fmla="*/ 526915 h 547991"/>
                <a:gd name="connsiteX132" fmla="*/ 293512 w 781316"/>
                <a:gd name="connsiteY132" fmla="*/ 536643 h 547991"/>
                <a:gd name="connsiteX133" fmla="*/ 295134 w 781316"/>
                <a:gd name="connsiteY133" fmla="*/ 541506 h 547991"/>
                <a:gd name="connsiteX134" fmla="*/ 293512 w 781316"/>
                <a:gd name="connsiteY134" fmla="*/ 546370 h 547991"/>
                <a:gd name="connsiteX135" fmla="*/ 287027 w 781316"/>
                <a:gd name="connsiteY135" fmla="*/ 547991 h 547991"/>
                <a:gd name="connsiteX136" fmla="*/ 259466 w 781316"/>
                <a:gd name="connsiteY136" fmla="*/ 546370 h 547991"/>
                <a:gd name="connsiteX137" fmla="*/ 248117 w 781316"/>
                <a:gd name="connsiteY137" fmla="*/ 543128 h 547991"/>
                <a:gd name="connsiteX138" fmla="*/ 243253 w 781316"/>
                <a:gd name="connsiteY138" fmla="*/ 541506 h 547991"/>
                <a:gd name="connsiteX139" fmla="*/ 204342 w 781316"/>
                <a:gd name="connsiteY139" fmla="*/ 539885 h 547991"/>
                <a:gd name="connsiteX140" fmla="*/ 197857 w 781316"/>
                <a:gd name="connsiteY140" fmla="*/ 528536 h 547991"/>
                <a:gd name="connsiteX141" fmla="*/ 189751 w 781316"/>
                <a:gd name="connsiteY141" fmla="*/ 517187 h 547991"/>
                <a:gd name="connsiteX142" fmla="*/ 184887 w 781316"/>
                <a:gd name="connsiteY142" fmla="*/ 513945 h 547991"/>
                <a:gd name="connsiteX143" fmla="*/ 170295 w 781316"/>
                <a:gd name="connsiteY143" fmla="*/ 512323 h 547991"/>
                <a:gd name="connsiteX144" fmla="*/ 141112 w 781316"/>
                <a:gd name="connsiteY144" fmla="*/ 512323 h 547991"/>
                <a:gd name="connsiteX145" fmla="*/ 139491 w 781316"/>
                <a:gd name="connsiteY145" fmla="*/ 507460 h 547991"/>
                <a:gd name="connsiteX146" fmla="*/ 141112 w 781316"/>
                <a:gd name="connsiteY146" fmla="*/ 502596 h 547991"/>
                <a:gd name="connsiteX147" fmla="*/ 134627 w 781316"/>
                <a:gd name="connsiteY147" fmla="*/ 499353 h 547991"/>
                <a:gd name="connsiteX148" fmla="*/ 128142 w 781316"/>
                <a:gd name="connsiteY148" fmla="*/ 492868 h 547991"/>
                <a:gd name="connsiteX149" fmla="*/ 118415 w 781316"/>
                <a:gd name="connsiteY149" fmla="*/ 488004 h 547991"/>
                <a:gd name="connsiteX150" fmla="*/ 107066 w 781316"/>
                <a:gd name="connsiteY150" fmla="*/ 478277 h 547991"/>
                <a:gd name="connsiteX151" fmla="*/ 97338 w 781316"/>
                <a:gd name="connsiteY151" fmla="*/ 475034 h 547991"/>
                <a:gd name="connsiteX152" fmla="*/ 94095 w 781316"/>
                <a:gd name="connsiteY152" fmla="*/ 470170 h 547991"/>
                <a:gd name="connsiteX153" fmla="*/ 89232 w 781316"/>
                <a:gd name="connsiteY153" fmla="*/ 457200 h 547991"/>
                <a:gd name="connsiteX154" fmla="*/ 77883 w 781316"/>
                <a:gd name="connsiteY154" fmla="*/ 447472 h 547991"/>
                <a:gd name="connsiteX155" fmla="*/ 73019 w 781316"/>
                <a:gd name="connsiteY155" fmla="*/ 445851 h 547991"/>
                <a:gd name="connsiteX156" fmla="*/ 66534 w 781316"/>
                <a:gd name="connsiteY156" fmla="*/ 442608 h 547991"/>
                <a:gd name="connsiteX157" fmla="*/ 60049 w 781316"/>
                <a:gd name="connsiteY157" fmla="*/ 440987 h 547991"/>
                <a:gd name="connsiteX158" fmla="*/ 45457 w 781316"/>
                <a:gd name="connsiteY158" fmla="*/ 437745 h 547991"/>
                <a:gd name="connsiteX159" fmla="*/ 40593 w 781316"/>
                <a:gd name="connsiteY159" fmla="*/ 429638 h 547991"/>
                <a:gd name="connsiteX160" fmla="*/ 37351 w 781316"/>
                <a:gd name="connsiteY160" fmla="*/ 419911 h 547991"/>
                <a:gd name="connsiteX161" fmla="*/ 35729 w 781316"/>
                <a:gd name="connsiteY161" fmla="*/ 415047 h 547991"/>
                <a:gd name="connsiteX162" fmla="*/ 30866 w 781316"/>
                <a:gd name="connsiteY162" fmla="*/ 410183 h 547991"/>
                <a:gd name="connsiteX163" fmla="*/ 24380 w 781316"/>
                <a:gd name="connsiteY163" fmla="*/ 405319 h 547991"/>
                <a:gd name="connsiteX164" fmla="*/ 14653 w 781316"/>
                <a:gd name="connsiteY164" fmla="*/ 398834 h 547991"/>
                <a:gd name="connsiteX165" fmla="*/ 13032 w 781316"/>
                <a:gd name="connsiteY165" fmla="*/ 393970 h 547991"/>
                <a:gd name="connsiteX166" fmla="*/ 11410 w 781316"/>
                <a:gd name="connsiteY166" fmla="*/ 377757 h 547991"/>
                <a:gd name="connsiteX167" fmla="*/ 6546 w 781316"/>
                <a:gd name="connsiteY167" fmla="*/ 372894 h 547991"/>
                <a:gd name="connsiteX168" fmla="*/ 4925 w 781316"/>
                <a:gd name="connsiteY168" fmla="*/ 366408 h 547991"/>
                <a:gd name="connsiteX169" fmla="*/ 61 w 781316"/>
                <a:gd name="connsiteY169" fmla="*/ 363166 h 547991"/>
                <a:gd name="connsiteX170" fmla="*/ 3304 w 781316"/>
                <a:gd name="connsiteY170" fmla="*/ 356681 h 547991"/>
                <a:gd name="connsiteX171" fmla="*/ 13032 w 781316"/>
                <a:gd name="connsiteY171" fmla="*/ 355060 h 547991"/>
                <a:gd name="connsiteX172" fmla="*/ 27623 w 781316"/>
                <a:gd name="connsiteY172" fmla="*/ 353438 h 547991"/>
                <a:gd name="connsiteX173" fmla="*/ 37351 w 781316"/>
                <a:gd name="connsiteY173" fmla="*/ 346953 h 547991"/>
                <a:gd name="connsiteX174" fmla="*/ 32487 w 781316"/>
                <a:gd name="connsiteY174" fmla="*/ 332362 h 547991"/>
                <a:gd name="connsiteX175" fmla="*/ 22759 w 781316"/>
                <a:gd name="connsiteY175" fmla="*/ 330740 h 547991"/>
                <a:gd name="connsiteX176" fmla="*/ 19517 w 781316"/>
                <a:gd name="connsiteY176" fmla="*/ 278860 h 547991"/>
                <a:gd name="connsiteX177" fmla="*/ 21138 w 781316"/>
                <a:gd name="connsiteY177" fmla="*/ 272374 h 547991"/>
                <a:gd name="connsiteX178" fmla="*/ 34108 w 781316"/>
                <a:gd name="connsiteY178" fmla="*/ 265889 h 547991"/>
                <a:gd name="connsiteX179" fmla="*/ 37351 w 781316"/>
                <a:gd name="connsiteY179" fmla="*/ 261025 h 547991"/>
                <a:gd name="connsiteX180" fmla="*/ 45457 w 781316"/>
                <a:gd name="connsiteY180" fmla="*/ 259404 h 547991"/>
                <a:gd name="connsiteX181" fmla="*/ 47078 w 781316"/>
                <a:gd name="connsiteY181" fmla="*/ 252919 h 547991"/>
                <a:gd name="connsiteX182" fmla="*/ 37351 w 781316"/>
                <a:gd name="connsiteY182" fmla="*/ 246434 h 547991"/>
                <a:gd name="connsiteX183" fmla="*/ 32487 w 781316"/>
                <a:gd name="connsiteY183" fmla="*/ 243191 h 547991"/>
                <a:gd name="connsiteX184" fmla="*/ 22759 w 781316"/>
                <a:gd name="connsiteY184" fmla="*/ 239949 h 547991"/>
                <a:gd name="connsiteX185" fmla="*/ 21138 w 781316"/>
                <a:gd name="connsiteY185" fmla="*/ 212387 h 547991"/>
                <a:gd name="connsiteX186" fmla="*/ 26002 w 781316"/>
                <a:gd name="connsiteY186" fmla="*/ 207523 h 547991"/>
                <a:gd name="connsiteX187" fmla="*/ 35729 w 781316"/>
                <a:gd name="connsiteY187" fmla="*/ 209145 h 547991"/>
                <a:gd name="connsiteX188" fmla="*/ 37351 w 781316"/>
                <a:gd name="connsiteY188" fmla="*/ 215630 h 547991"/>
                <a:gd name="connsiteX189" fmla="*/ 42215 w 781316"/>
                <a:gd name="connsiteY189" fmla="*/ 218872 h 547991"/>
                <a:gd name="connsiteX190" fmla="*/ 48700 w 781316"/>
                <a:gd name="connsiteY190" fmla="*/ 222115 h 547991"/>
                <a:gd name="connsiteX191" fmla="*/ 66534 w 781316"/>
                <a:gd name="connsiteY191" fmla="*/ 225357 h 547991"/>
                <a:gd name="connsiteX192" fmla="*/ 89232 w 781316"/>
                <a:gd name="connsiteY192" fmla="*/ 217251 h 547991"/>
                <a:gd name="connsiteX193" fmla="*/ 90853 w 781316"/>
                <a:gd name="connsiteY193" fmla="*/ 212387 h 547991"/>
                <a:gd name="connsiteX194" fmla="*/ 87610 w 781316"/>
                <a:gd name="connsiteY194" fmla="*/ 202660 h 547991"/>
                <a:gd name="connsiteX195" fmla="*/ 81125 w 781316"/>
                <a:gd name="connsiteY195" fmla="*/ 201038 h 547991"/>
                <a:gd name="connsiteX196" fmla="*/ 82746 w 781316"/>
                <a:gd name="connsiteY196" fmla="*/ 191311 h 547991"/>
                <a:gd name="connsiteX197" fmla="*/ 87610 w 781316"/>
                <a:gd name="connsiteY197" fmla="*/ 179962 h 547991"/>
                <a:gd name="connsiteX198" fmla="*/ 89232 w 781316"/>
                <a:gd name="connsiteY198" fmla="*/ 171855 h 547991"/>
                <a:gd name="connsiteX199" fmla="*/ 90853 w 781316"/>
                <a:gd name="connsiteY199" fmla="*/ 158885 h 547991"/>
                <a:gd name="connsiteX200" fmla="*/ 95717 w 781316"/>
                <a:gd name="connsiteY200" fmla="*/ 155643 h 547991"/>
                <a:gd name="connsiteX201" fmla="*/ 107066 w 781316"/>
                <a:gd name="connsiteY201" fmla="*/ 155643 h 547991"/>
                <a:gd name="connsiteX0" fmla="*/ 107066 w 781526"/>
                <a:gd name="connsiteY0" fmla="*/ 155643 h 547991"/>
                <a:gd name="connsiteX1" fmla="*/ 123278 w 781526"/>
                <a:gd name="connsiteY1" fmla="*/ 157264 h 547991"/>
                <a:gd name="connsiteX2" fmla="*/ 128142 w 781526"/>
                <a:gd name="connsiteY2" fmla="*/ 163749 h 547991"/>
                <a:gd name="connsiteX3" fmla="*/ 134627 w 781526"/>
                <a:gd name="connsiteY3" fmla="*/ 166991 h 547991"/>
                <a:gd name="connsiteX4" fmla="*/ 144355 w 781526"/>
                <a:gd name="connsiteY4" fmla="*/ 175098 h 547991"/>
                <a:gd name="connsiteX5" fmla="*/ 149219 w 781526"/>
                <a:gd name="connsiteY5" fmla="*/ 176719 h 547991"/>
                <a:gd name="connsiteX6" fmla="*/ 155704 w 781526"/>
                <a:gd name="connsiteY6" fmla="*/ 186447 h 547991"/>
                <a:gd name="connsiteX7" fmla="*/ 160568 w 781526"/>
                <a:gd name="connsiteY7" fmla="*/ 189689 h 547991"/>
                <a:gd name="connsiteX8" fmla="*/ 167053 w 781526"/>
                <a:gd name="connsiteY8" fmla="*/ 194553 h 547991"/>
                <a:gd name="connsiteX9" fmla="*/ 171917 w 781526"/>
                <a:gd name="connsiteY9" fmla="*/ 201038 h 547991"/>
                <a:gd name="connsiteX10" fmla="*/ 176780 w 781526"/>
                <a:gd name="connsiteY10" fmla="*/ 204281 h 547991"/>
                <a:gd name="connsiteX11" fmla="*/ 184887 w 781526"/>
                <a:gd name="connsiteY11" fmla="*/ 209145 h 547991"/>
                <a:gd name="connsiteX12" fmla="*/ 194615 w 781526"/>
                <a:gd name="connsiteY12" fmla="*/ 192932 h 547991"/>
                <a:gd name="connsiteX13" fmla="*/ 199478 w 781526"/>
                <a:gd name="connsiteY13" fmla="*/ 189689 h 547991"/>
                <a:gd name="connsiteX14" fmla="*/ 262708 w 781526"/>
                <a:gd name="connsiteY14" fmla="*/ 188068 h 547991"/>
                <a:gd name="connsiteX15" fmla="*/ 265951 w 781526"/>
                <a:gd name="connsiteY15" fmla="*/ 181583 h 547991"/>
                <a:gd name="connsiteX16" fmla="*/ 272436 w 781526"/>
                <a:gd name="connsiteY16" fmla="*/ 176719 h 547991"/>
                <a:gd name="connsiteX17" fmla="*/ 301619 w 781526"/>
                <a:gd name="connsiteY17" fmla="*/ 175098 h 547991"/>
                <a:gd name="connsiteX18" fmla="*/ 304861 w 781526"/>
                <a:gd name="connsiteY18" fmla="*/ 170234 h 547991"/>
                <a:gd name="connsiteX19" fmla="*/ 288649 w 781526"/>
                <a:gd name="connsiteY19" fmla="*/ 149157 h 547991"/>
                <a:gd name="connsiteX20" fmla="*/ 301619 w 781526"/>
                <a:gd name="connsiteY20" fmla="*/ 136187 h 547991"/>
                <a:gd name="connsiteX21" fmla="*/ 312968 w 781526"/>
                <a:gd name="connsiteY21" fmla="*/ 123217 h 547991"/>
                <a:gd name="connsiteX22" fmla="*/ 358363 w 781526"/>
                <a:gd name="connsiteY22" fmla="*/ 119974 h 547991"/>
                <a:gd name="connsiteX23" fmla="*/ 364849 w 781526"/>
                <a:gd name="connsiteY23" fmla="*/ 113489 h 547991"/>
                <a:gd name="connsiteX24" fmla="*/ 366470 w 781526"/>
                <a:gd name="connsiteY24" fmla="*/ 108625 h 547991"/>
                <a:gd name="connsiteX25" fmla="*/ 371334 w 781526"/>
                <a:gd name="connsiteY25" fmla="*/ 102140 h 547991"/>
                <a:gd name="connsiteX26" fmla="*/ 372955 w 781526"/>
                <a:gd name="connsiteY26" fmla="*/ 97277 h 547991"/>
                <a:gd name="connsiteX27" fmla="*/ 377819 w 781526"/>
                <a:gd name="connsiteY27" fmla="*/ 87549 h 547991"/>
                <a:gd name="connsiteX28" fmla="*/ 398895 w 781526"/>
                <a:gd name="connsiteY28" fmla="*/ 90791 h 547991"/>
                <a:gd name="connsiteX29" fmla="*/ 403759 w 781526"/>
                <a:gd name="connsiteY29" fmla="*/ 95655 h 547991"/>
                <a:gd name="connsiteX30" fmla="*/ 410244 w 781526"/>
                <a:gd name="connsiteY30" fmla="*/ 97277 h 547991"/>
                <a:gd name="connsiteX31" fmla="*/ 428078 w 781526"/>
                <a:gd name="connsiteY31" fmla="*/ 95655 h 547991"/>
                <a:gd name="connsiteX32" fmla="*/ 436185 w 781526"/>
                <a:gd name="connsiteY32" fmla="*/ 94034 h 547991"/>
                <a:gd name="connsiteX33" fmla="*/ 452397 w 781526"/>
                <a:gd name="connsiteY33" fmla="*/ 76200 h 547991"/>
                <a:gd name="connsiteX34" fmla="*/ 457261 w 781526"/>
                <a:gd name="connsiteY34" fmla="*/ 74579 h 547991"/>
                <a:gd name="connsiteX35" fmla="*/ 462125 w 781526"/>
                <a:gd name="connsiteY35" fmla="*/ 71336 h 547991"/>
                <a:gd name="connsiteX36" fmla="*/ 468610 w 781526"/>
                <a:gd name="connsiteY36" fmla="*/ 69715 h 547991"/>
                <a:gd name="connsiteX37" fmla="*/ 471853 w 781526"/>
                <a:gd name="connsiteY37" fmla="*/ 63230 h 547991"/>
                <a:gd name="connsiteX38" fmla="*/ 476717 w 781526"/>
                <a:gd name="connsiteY38" fmla="*/ 48638 h 547991"/>
                <a:gd name="connsiteX39" fmla="*/ 481580 w 781526"/>
                <a:gd name="connsiteY39" fmla="*/ 32425 h 547991"/>
                <a:gd name="connsiteX40" fmla="*/ 491308 w 781526"/>
                <a:gd name="connsiteY40" fmla="*/ 24319 h 547991"/>
                <a:gd name="connsiteX41" fmla="*/ 514006 w 781526"/>
                <a:gd name="connsiteY41" fmla="*/ 21077 h 547991"/>
                <a:gd name="connsiteX42" fmla="*/ 520491 w 781526"/>
                <a:gd name="connsiteY42" fmla="*/ 17834 h 547991"/>
                <a:gd name="connsiteX43" fmla="*/ 549674 w 781526"/>
                <a:gd name="connsiteY43" fmla="*/ 14591 h 547991"/>
                <a:gd name="connsiteX44" fmla="*/ 577236 w 781526"/>
                <a:gd name="connsiteY44" fmla="*/ 12970 h 547991"/>
                <a:gd name="connsiteX45" fmla="*/ 586963 w 781526"/>
                <a:gd name="connsiteY45" fmla="*/ 4864 h 547991"/>
                <a:gd name="connsiteX46" fmla="*/ 593449 w 781526"/>
                <a:gd name="connsiteY46" fmla="*/ 0 h 547991"/>
                <a:gd name="connsiteX47" fmla="*/ 598312 w 781526"/>
                <a:gd name="connsiteY47" fmla="*/ 1621 h 547991"/>
                <a:gd name="connsiteX48" fmla="*/ 604797 w 781526"/>
                <a:gd name="connsiteY48" fmla="*/ 3243 h 547991"/>
                <a:gd name="connsiteX49" fmla="*/ 609661 w 781526"/>
                <a:gd name="connsiteY49" fmla="*/ 8106 h 547991"/>
                <a:gd name="connsiteX50" fmla="*/ 614525 w 781526"/>
                <a:gd name="connsiteY50" fmla="*/ 11349 h 547991"/>
                <a:gd name="connsiteX51" fmla="*/ 621010 w 781526"/>
                <a:gd name="connsiteY51" fmla="*/ 16213 h 547991"/>
                <a:gd name="connsiteX52" fmla="*/ 629117 w 781526"/>
                <a:gd name="connsiteY52" fmla="*/ 27562 h 547991"/>
                <a:gd name="connsiteX53" fmla="*/ 633980 w 781526"/>
                <a:gd name="connsiteY53" fmla="*/ 34047 h 547991"/>
                <a:gd name="connsiteX54" fmla="*/ 643708 w 781526"/>
                <a:gd name="connsiteY54" fmla="*/ 37289 h 547991"/>
                <a:gd name="connsiteX55" fmla="*/ 659921 w 781526"/>
                <a:gd name="connsiteY55" fmla="*/ 30804 h 547991"/>
                <a:gd name="connsiteX56" fmla="*/ 672891 w 781526"/>
                <a:gd name="connsiteY56" fmla="*/ 24319 h 547991"/>
                <a:gd name="connsiteX57" fmla="*/ 692346 w 781526"/>
                <a:gd name="connsiteY57" fmla="*/ 21077 h 547991"/>
                <a:gd name="connsiteX58" fmla="*/ 713423 w 781526"/>
                <a:gd name="connsiteY58" fmla="*/ 27562 h 547991"/>
                <a:gd name="connsiteX59" fmla="*/ 726393 w 781526"/>
                <a:gd name="connsiteY59" fmla="*/ 43774 h 547991"/>
                <a:gd name="connsiteX60" fmla="*/ 736121 w 781526"/>
                <a:gd name="connsiteY60" fmla="*/ 51881 h 547991"/>
                <a:gd name="connsiteX61" fmla="*/ 742606 w 781526"/>
                <a:gd name="connsiteY61" fmla="*/ 58366 h 547991"/>
                <a:gd name="connsiteX62" fmla="*/ 755576 w 781526"/>
                <a:gd name="connsiteY62" fmla="*/ 56745 h 547991"/>
                <a:gd name="connsiteX63" fmla="*/ 760440 w 781526"/>
                <a:gd name="connsiteY63" fmla="*/ 55123 h 547991"/>
                <a:gd name="connsiteX64" fmla="*/ 768546 w 781526"/>
                <a:gd name="connsiteY64" fmla="*/ 59987 h 547991"/>
                <a:gd name="connsiteX65" fmla="*/ 779844 w 781526"/>
                <a:gd name="connsiteY65" fmla="*/ 60013 h 547991"/>
                <a:gd name="connsiteX66" fmla="*/ 781311 w 781526"/>
                <a:gd name="connsiteY66" fmla="*/ 68634 h 547991"/>
                <a:gd name="connsiteX67" fmla="*/ 768546 w 781526"/>
                <a:gd name="connsiteY67" fmla="*/ 103762 h 547991"/>
                <a:gd name="connsiteX68" fmla="*/ 755576 w 781526"/>
                <a:gd name="connsiteY68" fmla="*/ 105383 h 547991"/>
                <a:gd name="connsiteX69" fmla="*/ 742606 w 781526"/>
                <a:gd name="connsiteY69" fmla="*/ 108625 h 547991"/>
                <a:gd name="connsiteX70" fmla="*/ 739363 w 781526"/>
                <a:gd name="connsiteY70" fmla="*/ 113489 h 547991"/>
                <a:gd name="connsiteX71" fmla="*/ 729636 w 781526"/>
                <a:gd name="connsiteY71" fmla="*/ 119974 h 547991"/>
                <a:gd name="connsiteX72" fmla="*/ 728015 w 781526"/>
                <a:gd name="connsiteY72" fmla="*/ 126460 h 547991"/>
                <a:gd name="connsiteX73" fmla="*/ 718287 w 781526"/>
                <a:gd name="connsiteY73" fmla="*/ 134566 h 547991"/>
                <a:gd name="connsiteX74" fmla="*/ 711802 w 781526"/>
                <a:gd name="connsiteY74" fmla="*/ 142672 h 547991"/>
                <a:gd name="connsiteX75" fmla="*/ 710180 w 781526"/>
                <a:gd name="connsiteY75" fmla="*/ 150779 h 547991"/>
                <a:gd name="connsiteX76" fmla="*/ 705317 w 781526"/>
                <a:gd name="connsiteY76" fmla="*/ 157264 h 547991"/>
                <a:gd name="connsiteX77" fmla="*/ 702074 w 781526"/>
                <a:gd name="connsiteY77" fmla="*/ 162128 h 547991"/>
                <a:gd name="connsiteX78" fmla="*/ 697210 w 781526"/>
                <a:gd name="connsiteY78" fmla="*/ 173477 h 547991"/>
                <a:gd name="connsiteX79" fmla="*/ 695589 w 781526"/>
                <a:gd name="connsiteY79" fmla="*/ 178340 h 547991"/>
                <a:gd name="connsiteX80" fmla="*/ 693968 w 781526"/>
                <a:gd name="connsiteY80" fmla="*/ 197796 h 547991"/>
                <a:gd name="connsiteX81" fmla="*/ 687483 w 781526"/>
                <a:gd name="connsiteY81" fmla="*/ 201038 h 547991"/>
                <a:gd name="connsiteX82" fmla="*/ 684240 w 781526"/>
                <a:gd name="connsiteY82" fmla="*/ 205902 h 547991"/>
                <a:gd name="connsiteX83" fmla="*/ 682619 w 781526"/>
                <a:gd name="connsiteY83" fmla="*/ 220494 h 547991"/>
                <a:gd name="connsiteX84" fmla="*/ 677755 w 781526"/>
                <a:gd name="connsiteY84" fmla="*/ 231843 h 547991"/>
                <a:gd name="connsiteX85" fmla="*/ 676134 w 781526"/>
                <a:gd name="connsiteY85" fmla="*/ 238328 h 547991"/>
                <a:gd name="connsiteX86" fmla="*/ 671270 w 781526"/>
                <a:gd name="connsiteY86" fmla="*/ 261025 h 547991"/>
                <a:gd name="connsiteX87" fmla="*/ 669649 w 781526"/>
                <a:gd name="connsiteY87" fmla="*/ 270753 h 547991"/>
                <a:gd name="connsiteX88" fmla="*/ 664785 w 781526"/>
                <a:gd name="connsiteY88" fmla="*/ 273996 h 547991"/>
                <a:gd name="connsiteX89" fmla="*/ 659921 w 781526"/>
                <a:gd name="connsiteY89" fmla="*/ 304800 h 547991"/>
                <a:gd name="connsiteX90" fmla="*/ 658300 w 781526"/>
                <a:gd name="connsiteY90" fmla="*/ 309664 h 547991"/>
                <a:gd name="connsiteX91" fmla="*/ 659921 w 781526"/>
                <a:gd name="connsiteY91" fmla="*/ 317770 h 547991"/>
                <a:gd name="connsiteX92" fmla="*/ 648572 w 781526"/>
                <a:gd name="connsiteY92" fmla="*/ 324255 h 547991"/>
                <a:gd name="connsiteX93" fmla="*/ 642087 w 781526"/>
                <a:gd name="connsiteY93" fmla="*/ 348574 h 547991"/>
                <a:gd name="connsiteX94" fmla="*/ 632359 w 781526"/>
                <a:gd name="connsiteY94" fmla="*/ 353438 h 547991"/>
                <a:gd name="connsiteX95" fmla="*/ 630738 w 781526"/>
                <a:gd name="connsiteY95" fmla="*/ 376136 h 547991"/>
                <a:gd name="connsiteX96" fmla="*/ 619389 w 781526"/>
                <a:gd name="connsiteY96" fmla="*/ 387485 h 547991"/>
                <a:gd name="connsiteX97" fmla="*/ 617768 w 781526"/>
                <a:gd name="connsiteY97" fmla="*/ 403698 h 547991"/>
                <a:gd name="connsiteX98" fmla="*/ 616146 w 781526"/>
                <a:gd name="connsiteY98" fmla="*/ 408562 h 547991"/>
                <a:gd name="connsiteX99" fmla="*/ 614525 w 781526"/>
                <a:gd name="connsiteY99" fmla="*/ 418289 h 547991"/>
                <a:gd name="connsiteX100" fmla="*/ 604797 w 781526"/>
                <a:gd name="connsiteY100" fmla="*/ 421532 h 547991"/>
                <a:gd name="connsiteX101" fmla="*/ 601555 w 781526"/>
                <a:gd name="connsiteY101" fmla="*/ 416668 h 547991"/>
                <a:gd name="connsiteX102" fmla="*/ 582100 w 781526"/>
                <a:gd name="connsiteY102" fmla="*/ 418289 h 547991"/>
                <a:gd name="connsiteX103" fmla="*/ 577236 w 781526"/>
                <a:gd name="connsiteY103" fmla="*/ 423153 h 547991"/>
                <a:gd name="connsiteX104" fmla="*/ 575615 w 781526"/>
                <a:gd name="connsiteY104" fmla="*/ 428017 h 547991"/>
                <a:gd name="connsiteX105" fmla="*/ 573993 w 781526"/>
                <a:gd name="connsiteY105" fmla="*/ 442608 h 547991"/>
                <a:gd name="connsiteX106" fmla="*/ 569129 w 781526"/>
                <a:gd name="connsiteY106" fmla="*/ 444230 h 547991"/>
                <a:gd name="connsiteX107" fmla="*/ 561023 w 781526"/>
                <a:gd name="connsiteY107" fmla="*/ 445851 h 547991"/>
                <a:gd name="connsiteX108" fmla="*/ 541568 w 781526"/>
                <a:gd name="connsiteY108" fmla="*/ 440987 h 547991"/>
                <a:gd name="connsiteX109" fmla="*/ 530219 w 781526"/>
                <a:gd name="connsiteY109" fmla="*/ 442608 h 547991"/>
                <a:gd name="connsiteX110" fmla="*/ 518870 w 781526"/>
                <a:gd name="connsiteY110" fmla="*/ 458821 h 547991"/>
                <a:gd name="connsiteX111" fmla="*/ 512385 w 781526"/>
                <a:gd name="connsiteY111" fmla="*/ 457200 h 547991"/>
                <a:gd name="connsiteX112" fmla="*/ 504278 w 781526"/>
                <a:gd name="connsiteY112" fmla="*/ 455579 h 547991"/>
                <a:gd name="connsiteX113" fmla="*/ 499415 w 781526"/>
                <a:gd name="connsiteY113" fmla="*/ 453957 h 547991"/>
                <a:gd name="connsiteX114" fmla="*/ 489687 w 781526"/>
                <a:gd name="connsiteY114" fmla="*/ 452336 h 547991"/>
                <a:gd name="connsiteX115" fmla="*/ 483202 w 781526"/>
                <a:gd name="connsiteY115" fmla="*/ 455579 h 547991"/>
                <a:gd name="connsiteX116" fmla="*/ 479959 w 781526"/>
                <a:gd name="connsiteY116" fmla="*/ 460443 h 547991"/>
                <a:gd name="connsiteX117" fmla="*/ 455640 w 781526"/>
                <a:gd name="connsiteY117" fmla="*/ 458821 h 547991"/>
                <a:gd name="connsiteX118" fmla="*/ 444291 w 781526"/>
                <a:gd name="connsiteY118" fmla="*/ 455579 h 547991"/>
                <a:gd name="connsiteX119" fmla="*/ 434563 w 781526"/>
                <a:gd name="connsiteY119" fmla="*/ 453957 h 547991"/>
                <a:gd name="connsiteX120" fmla="*/ 428078 w 781526"/>
                <a:gd name="connsiteY120" fmla="*/ 455579 h 547991"/>
                <a:gd name="connsiteX121" fmla="*/ 426457 w 781526"/>
                <a:gd name="connsiteY121" fmla="*/ 468549 h 547991"/>
                <a:gd name="connsiteX122" fmla="*/ 424836 w 781526"/>
                <a:gd name="connsiteY122" fmla="*/ 473413 h 547991"/>
                <a:gd name="connsiteX123" fmla="*/ 418351 w 781526"/>
                <a:gd name="connsiteY123" fmla="*/ 479898 h 547991"/>
                <a:gd name="connsiteX124" fmla="*/ 395653 w 781526"/>
                <a:gd name="connsiteY124" fmla="*/ 492868 h 547991"/>
                <a:gd name="connsiteX125" fmla="*/ 372955 w 781526"/>
                <a:gd name="connsiteY125" fmla="*/ 494489 h 547991"/>
                <a:gd name="connsiteX126" fmla="*/ 361606 w 781526"/>
                <a:gd name="connsiteY126" fmla="*/ 497732 h 547991"/>
                <a:gd name="connsiteX127" fmla="*/ 358363 w 781526"/>
                <a:gd name="connsiteY127" fmla="*/ 502596 h 547991"/>
                <a:gd name="connsiteX128" fmla="*/ 329180 w 781526"/>
                <a:gd name="connsiteY128" fmla="*/ 504217 h 547991"/>
                <a:gd name="connsiteX129" fmla="*/ 319453 w 781526"/>
                <a:gd name="connsiteY129" fmla="*/ 513945 h 547991"/>
                <a:gd name="connsiteX130" fmla="*/ 304861 w 781526"/>
                <a:gd name="connsiteY130" fmla="*/ 522051 h 547991"/>
                <a:gd name="connsiteX131" fmla="*/ 298376 w 781526"/>
                <a:gd name="connsiteY131" fmla="*/ 526915 h 547991"/>
                <a:gd name="connsiteX132" fmla="*/ 293512 w 781526"/>
                <a:gd name="connsiteY132" fmla="*/ 536643 h 547991"/>
                <a:gd name="connsiteX133" fmla="*/ 295134 w 781526"/>
                <a:gd name="connsiteY133" fmla="*/ 541506 h 547991"/>
                <a:gd name="connsiteX134" fmla="*/ 293512 w 781526"/>
                <a:gd name="connsiteY134" fmla="*/ 546370 h 547991"/>
                <a:gd name="connsiteX135" fmla="*/ 287027 w 781526"/>
                <a:gd name="connsiteY135" fmla="*/ 547991 h 547991"/>
                <a:gd name="connsiteX136" fmla="*/ 259466 w 781526"/>
                <a:gd name="connsiteY136" fmla="*/ 546370 h 547991"/>
                <a:gd name="connsiteX137" fmla="*/ 248117 w 781526"/>
                <a:gd name="connsiteY137" fmla="*/ 543128 h 547991"/>
                <a:gd name="connsiteX138" fmla="*/ 243253 w 781526"/>
                <a:gd name="connsiteY138" fmla="*/ 541506 h 547991"/>
                <a:gd name="connsiteX139" fmla="*/ 204342 w 781526"/>
                <a:gd name="connsiteY139" fmla="*/ 539885 h 547991"/>
                <a:gd name="connsiteX140" fmla="*/ 197857 w 781526"/>
                <a:gd name="connsiteY140" fmla="*/ 528536 h 547991"/>
                <a:gd name="connsiteX141" fmla="*/ 189751 w 781526"/>
                <a:gd name="connsiteY141" fmla="*/ 517187 h 547991"/>
                <a:gd name="connsiteX142" fmla="*/ 184887 w 781526"/>
                <a:gd name="connsiteY142" fmla="*/ 513945 h 547991"/>
                <a:gd name="connsiteX143" fmla="*/ 170295 w 781526"/>
                <a:gd name="connsiteY143" fmla="*/ 512323 h 547991"/>
                <a:gd name="connsiteX144" fmla="*/ 141112 w 781526"/>
                <a:gd name="connsiteY144" fmla="*/ 512323 h 547991"/>
                <a:gd name="connsiteX145" fmla="*/ 139491 w 781526"/>
                <a:gd name="connsiteY145" fmla="*/ 507460 h 547991"/>
                <a:gd name="connsiteX146" fmla="*/ 141112 w 781526"/>
                <a:gd name="connsiteY146" fmla="*/ 502596 h 547991"/>
                <a:gd name="connsiteX147" fmla="*/ 134627 w 781526"/>
                <a:gd name="connsiteY147" fmla="*/ 499353 h 547991"/>
                <a:gd name="connsiteX148" fmla="*/ 128142 w 781526"/>
                <a:gd name="connsiteY148" fmla="*/ 492868 h 547991"/>
                <a:gd name="connsiteX149" fmla="*/ 118415 w 781526"/>
                <a:gd name="connsiteY149" fmla="*/ 488004 h 547991"/>
                <a:gd name="connsiteX150" fmla="*/ 107066 w 781526"/>
                <a:gd name="connsiteY150" fmla="*/ 478277 h 547991"/>
                <a:gd name="connsiteX151" fmla="*/ 97338 w 781526"/>
                <a:gd name="connsiteY151" fmla="*/ 475034 h 547991"/>
                <a:gd name="connsiteX152" fmla="*/ 94095 w 781526"/>
                <a:gd name="connsiteY152" fmla="*/ 470170 h 547991"/>
                <a:gd name="connsiteX153" fmla="*/ 89232 w 781526"/>
                <a:gd name="connsiteY153" fmla="*/ 457200 h 547991"/>
                <a:gd name="connsiteX154" fmla="*/ 77883 w 781526"/>
                <a:gd name="connsiteY154" fmla="*/ 447472 h 547991"/>
                <a:gd name="connsiteX155" fmla="*/ 73019 w 781526"/>
                <a:gd name="connsiteY155" fmla="*/ 445851 h 547991"/>
                <a:gd name="connsiteX156" fmla="*/ 66534 w 781526"/>
                <a:gd name="connsiteY156" fmla="*/ 442608 h 547991"/>
                <a:gd name="connsiteX157" fmla="*/ 60049 w 781526"/>
                <a:gd name="connsiteY157" fmla="*/ 440987 h 547991"/>
                <a:gd name="connsiteX158" fmla="*/ 45457 w 781526"/>
                <a:gd name="connsiteY158" fmla="*/ 437745 h 547991"/>
                <a:gd name="connsiteX159" fmla="*/ 40593 w 781526"/>
                <a:gd name="connsiteY159" fmla="*/ 429638 h 547991"/>
                <a:gd name="connsiteX160" fmla="*/ 37351 w 781526"/>
                <a:gd name="connsiteY160" fmla="*/ 419911 h 547991"/>
                <a:gd name="connsiteX161" fmla="*/ 35729 w 781526"/>
                <a:gd name="connsiteY161" fmla="*/ 415047 h 547991"/>
                <a:gd name="connsiteX162" fmla="*/ 30866 w 781526"/>
                <a:gd name="connsiteY162" fmla="*/ 410183 h 547991"/>
                <a:gd name="connsiteX163" fmla="*/ 24380 w 781526"/>
                <a:gd name="connsiteY163" fmla="*/ 405319 h 547991"/>
                <a:gd name="connsiteX164" fmla="*/ 14653 w 781526"/>
                <a:gd name="connsiteY164" fmla="*/ 398834 h 547991"/>
                <a:gd name="connsiteX165" fmla="*/ 13032 w 781526"/>
                <a:gd name="connsiteY165" fmla="*/ 393970 h 547991"/>
                <a:gd name="connsiteX166" fmla="*/ 11410 w 781526"/>
                <a:gd name="connsiteY166" fmla="*/ 377757 h 547991"/>
                <a:gd name="connsiteX167" fmla="*/ 6546 w 781526"/>
                <a:gd name="connsiteY167" fmla="*/ 372894 h 547991"/>
                <a:gd name="connsiteX168" fmla="*/ 4925 w 781526"/>
                <a:gd name="connsiteY168" fmla="*/ 366408 h 547991"/>
                <a:gd name="connsiteX169" fmla="*/ 61 w 781526"/>
                <a:gd name="connsiteY169" fmla="*/ 363166 h 547991"/>
                <a:gd name="connsiteX170" fmla="*/ 3304 w 781526"/>
                <a:gd name="connsiteY170" fmla="*/ 356681 h 547991"/>
                <a:gd name="connsiteX171" fmla="*/ 13032 w 781526"/>
                <a:gd name="connsiteY171" fmla="*/ 355060 h 547991"/>
                <a:gd name="connsiteX172" fmla="*/ 27623 w 781526"/>
                <a:gd name="connsiteY172" fmla="*/ 353438 h 547991"/>
                <a:gd name="connsiteX173" fmla="*/ 37351 w 781526"/>
                <a:gd name="connsiteY173" fmla="*/ 346953 h 547991"/>
                <a:gd name="connsiteX174" fmla="*/ 32487 w 781526"/>
                <a:gd name="connsiteY174" fmla="*/ 332362 h 547991"/>
                <a:gd name="connsiteX175" fmla="*/ 22759 w 781526"/>
                <a:gd name="connsiteY175" fmla="*/ 330740 h 547991"/>
                <a:gd name="connsiteX176" fmla="*/ 19517 w 781526"/>
                <a:gd name="connsiteY176" fmla="*/ 278860 h 547991"/>
                <a:gd name="connsiteX177" fmla="*/ 21138 w 781526"/>
                <a:gd name="connsiteY177" fmla="*/ 272374 h 547991"/>
                <a:gd name="connsiteX178" fmla="*/ 34108 w 781526"/>
                <a:gd name="connsiteY178" fmla="*/ 265889 h 547991"/>
                <a:gd name="connsiteX179" fmla="*/ 37351 w 781526"/>
                <a:gd name="connsiteY179" fmla="*/ 261025 h 547991"/>
                <a:gd name="connsiteX180" fmla="*/ 45457 w 781526"/>
                <a:gd name="connsiteY180" fmla="*/ 259404 h 547991"/>
                <a:gd name="connsiteX181" fmla="*/ 47078 w 781526"/>
                <a:gd name="connsiteY181" fmla="*/ 252919 h 547991"/>
                <a:gd name="connsiteX182" fmla="*/ 37351 w 781526"/>
                <a:gd name="connsiteY182" fmla="*/ 246434 h 547991"/>
                <a:gd name="connsiteX183" fmla="*/ 32487 w 781526"/>
                <a:gd name="connsiteY183" fmla="*/ 243191 h 547991"/>
                <a:gd name="connsiteX184" fmla="*/ 22759 w 781526"/>
                <a:gd name="connsiteY184" fmla="*/ 239949 h 547991"/>
                <a:gd name="connsiteX185" fmla="*/ 21138 w 781526"/>
                <a:gd name="connsiteY185" fmla="*/ 212387 h 547991"/>
                <a:gd name="connsiteX186" fmla="*/ 26002 w 781526"/>
                <a:gd name="connsiteY186" fmla="*/ 207523 h 547991"/>
                <a:gd name="connsiteX187" fmla="*/ 35729 w 781526"/>
                <a:gd name="connsiteY187" fmla="*/ 209145 h 547991"/>
                <a:gd name="connsiteX188" fmla="*/ 37351 w 781526"/>
                <a:gd name="connsiteY188" fmla="*/ 215630 h 547991"/>
                <a:gd name="connsiteX189" fmla="*/ 42215 w 781526"/>
                <a:gd name="connsiteY189" fmla="*/ 218872 h 547991"/>
                <a:gd name="connsiteX190" fmla="*/ 48700 w 781526"/>
                <a:gd name="connsiteY190" fmla="*/ 222115 h 547991"/>
                <a:gd name="connsiteX191" fmla="*/ 66534 w 781526"/>
                <a:gd name="connsiteY191" fmla="*/ 225357 h 547991"/>
                <a:gd name="connsiteX192" fmla="*/ 89232 w 781526"/>
                <a:gd name="connsiteY192" fmla="*/ 217251 h 547991"/>
                <a:gd name="connsiteX193" fmla="*/ 90853 w 781526"/>
                <a:gd name="connsiteY193" fmla="*/ 212387 h 547991"/>
                <a:gd name="connsiteX194" fmla="*/ 87610 w 781526"/>
                <a:gd name="connsiteY194" fmla="*/ 202660 h 547991"/>
                <a:gd name="connsiteX195" fmla="*/ 81125 w 781526"/>
                <a:gd name="connsiteY195" fmla="*/ 201038 h 547991"/>
                <a:gd name="connsiteX196" fmla="*/ 82746 w 781526"/>
                <a:gd name="connsiteY196" fmla="*/ 191311 h 547991"/>
                <a:gd name="connsiteX197" fmla="*/ 87610 w 781526"/>
                <a:gd name="connsiteY197" fmla="*/ 179962 h 547991"/>
                <a:gd name="connsiteX198" fmla="*/ 89232 w 781526"/>
                <a:gd name="connsiteY198" fmla="*/ 171855 h 547991"/>
                <a:gd name="connsiteX199" fmla="*/ 90853 w 781526"/>
                <a:gd name="connsiteY199" fmla="*/ 158885 h 547991"/>
                <a:gd name="connsiteX200" fmla="*/ 95717 w 781526"/>
                <a:gd name="connsiteY200" fmla="*/ 155643 h 547991"/>
                <a:gd name="connsiteX201" fmla="*/ 107066 w 781526"/>
                <a:gd name="connsiteY201" fmla="*/ 155643 h 547991"/>
                <a:gd name="connsiteX0" fmla="*/ 107066 w 781526"/>
                <a:gd name="connsiteY0" fmla="*/ 155643 h 547991"/>
                <a:gd name="connsiteX1" fmla="*/ 123278 w 781526"/>
                <a:gd name="connsiteY1" fmla="*/ 157264 h 547991"/>
                <a:gd name="connsiteX2" fmla="*/ 128142 w 781526"/>
                <a:gd name="connsiteY2" fmla="*/ 163749 h 547991"/>
                <a:gd name="connsiteX3" fmla="*/ 134627 w 781526"/>
                <a:gd name="connsiteY3" fmla="*/ 166991 h 547991"/>
                <a:gd name="connsiteX4" fmla="*/ 144355 w 781526"/>
                <a:gd name="connsiteY4" fmla="*/ 175098 h 547991"/>
                <a:gd name="connsiteX5" fmla="*/ 149219 w 781526"/>
                <a:gd name="connsiteY5" fmla="*/ 176719 h 547991"/>
                <a:gd name="connsiteX6" fmla="*/ 155704 w 781526"/>
                <a:gd name="connsiteY6" fmla="*/ 186447 h 547991"/>
                <a:gd name="connsiteX7" fmla="*/ 160568 w 781526"/>
                <a:gd name="connsiteY7" fmla="*/ 189689 h 547991"/>
                <a:gd name="connsiteX8" fmla="*/ 167053 w 781526"/>
                <a:gd name="connsiteY8" fmla="*/ 194553 h 547991"/>
                <a:gd name="connsiteX9" fmla="*/ 171917 w 781526"/>
                <a:gd name="connsiteY9" fmla="*/ 201038 h 547991"/>
                <a:gd name="connsiteX10" fmla="*/ 176780 w 781526"/>
                <a:gd name="connsiteY10" fmla="*/ 204281 h 547991"/>
                <a:gd name="connsiteX11" fmla="*/ 184887 w 781526"/>
                <a:gd name="connsiteY11" fmla="*/ 209145 h 547991"/>
                <a:gd name="connsiteX12" fmla="*/ 194615 w 781526"/>
                <a:gd name="connsiteY12" fmla="*/ 192932 h 547991"/>
                <a:gd name="connsiteX13" fmla="*/ 199478 w 781526"/>
                <a:gd name="connsiteY13" fmla="*/ 189689 h 547991"/>
                <a:gd name="connsiteX14" fmla="*/ 262708 w 781526"/>
                <a:gd name="connsiteY14" fmla="*/ 188068 h 547991"/>
                <a:gd name="connsiteX15" fmla="*/ 265951 w 781526"/>
                <a:gd name="connsiteY15" fmla="*/ 181583 h 547991"/>
                <a:gd name="connsiteX16" fmla="*/ 272436 w 781526"/>
                <a:gd name="connsiteY16" fmla="*/ 176719 h 547991"/>
                <a:gd name="connsiteX17" fmla="*/ 301619 w 781526"/>
                <a:gd name="connsiteY17" fmla="*/ 175098 h 547991"/>
                <a:gd name="connsiteX18" fmla="*/ 304861 w 781526"/>
                <a:gd name="connsiteY18" fmla="*/ 170234 h 547991"/>
                <a:gd name="connsiteX19" fmla="*/ 288649 w 781526"/>
                <a:gd name="connsiteY19" fmla="*/ 149157 h 547991"/>
                <a:gd name="connsiteX20" fmla="*/ 301619 w 781526"/>
                <a:gd name="connsiteY20" fmla="*/ 136187 h 547991"/>
                <a:gd name="connsiteX21" fmla="*/ 312968 w 781526"/>
                <a:gd name="connsiteY21" fmla="*/ 123217 h 547991"/>
                <a:gd name="connsiteX22" fmla="*/ 358363 w 781526"/>
                <a:gd name="connsiteY22" fmla="*/ 119974 h 547991"/>
                <a:gd name="connsiteX23" fmla="*/ 364849 w 781526"/>
                <a:gd name="connsiteY23" fmla="*/ 113489 h 547991"/>
                <a:gd name="connsiteX24" fmla="*/ 366470 w 781526"/>
                <a:gd name="connsiteY24" fmla="*/ 108625 h 547991"/>
                <a:gd name="connsiteX25" fmla="*/ 371334 w 781526"/>
                <a:gd name="connsiteY25" fmla="*/ 102140 h 547991"/>
                <a:gd name="connsiteX26" fmla="*/ 372955 w 781526"/>
                <a:gd name="connsiteY26" fmla="*/ 97277 h 547991"/>
                <a:gd name="connsiteX27" fmla="*/ 377819 w 781526"/>
                <a:gd name="connsiteY27" fmla="*/ 87549 h 547991"/>
                <a:gd name="connsiteX28" fmla="*/ 398895 w 781526"/>
                <a:gd name="connsiteY28" fmla="*/ 90791 h 547991"/>
                <a:gd name="connsiteX29" fmla="*/ 403759 w 781526"/>
                <a:gd name="connsiteY29" fmla="*/ 95655 h 547991"/>
                <a:gd name="connsiteX30" fmla="*/ 410244 w 781526"/>
                <a:gd name="connsiteY30" fmla="*/ 97277 h 547991"/>
                <a:gd name="connsiteX31" fmla="*/ 428078 w 781526"/>
                <a:gd name="connsiteY31" fmla="*/ 95655 h 547991"/>
                <a:gd name="connsiteX32" fmla="*/ 436185 w 781526"/>
                <a:gd name="connsiteY32" fmla="*/ 94034 h 547991"/>
                <a:gd name="connsiteX33" fmla="*/ 452397 w 781526"/>
                <a:gd name="connsiteY33" fmla="*/ 76200 h 547991"/>
                <a:gd name="connsiteX34" fmla="*/ 457261 w 781526"/>
                <a:gd name="connsiteY34" fmla="*/ 74579 h 547991"/>
                <a:gd name="connsiteX35" fmla="*/ 462125 w 781526"/>
                <a:gd name="connsiteY35" fmla="*/ 71336 h 547991"/>
                <a:gd name="connsiteX36" fmla="*/ 468610 w 781526"/>
                <a:gd name="connsiteY36" fmla="*/ 69715 h 547991"/>
                <a:gd name="connsiteX37" fmla="*/ 471853 w 781526"/>
                <a:gd name="connsiteY37" fmla="*/ 63230 h 547991"/>
                <a:gd name="connsiteX38" fmla="*/ 476717 w 781526"/>
                <a:gd name="connsiteY38" fmla="*/ 48638 h 547991"/>
                <a:gd name="connsiteX39" fmla="*/ 481580 w 781526"/>
                <a:gd name="connsiteY39" fmla="*/ 32425 h 547991"/>
                <a:gd name="connsiteX40" fmla="*/ 491308 w 781526"/>
                <a:gd name="connsiteY40" fmla="*/ 24319 h 547991"/>
                <a:gd name="connsiteX41" fmla="*/ 514006 w 781526"/>
                <a:gd name="connsiteY41" fmla="*/ 21077 h 547991"/>
                <a:gd name="connsiteX42" fmla="*/ 520491 w 781526"/>
                <a:gd name="connsiteY42" fmla="*/ 17834 h 547991"/>
                <a:gd name="connsiteX43" fmla="*/ 549674 w 781526"/>
                <a:gd name="connsiteY43" fmla="*/ 14591 h 547991"/>
                <a:gd name="connsiteX44" fmla="*/ 577236 w 781526"/>
                <a:gd name="connsiteY44" fmla="*/ 12970 h 547991"/>
                <a:gd name="connsiteX45" fmla="*/ 586963 w 781526"/>
                <a:gd name="connsiteY45" fmla="*/ 4864 h 547991"/>
                <a:gd name="connsiteX46" fmla="*/ 593449 w 781526"/>
                <a:gd name="connsiteY46" fmla="*/ 0 h 547991"/>
                <a:gd name="connsiteX47" fmla="*/ 598312 w 781526"/>
                <a:gd name="connsiteY47" fmla="*/ 1621 h 547991"/>
                <a:gd name="connsiteX48" fmla="*/ 604797 w 781526"/>
                <a:gd name="connsiteY48" fmla="*/ 3243 h 547991"/>
                <a:gd name="connsiteX49" fmla="*/ 609661 w 781526"/>
                <a:gd name="connsiteY49" fmla="*/ 8106 h 547991"/>
                <a:gd name="connsiteX50" fmla="*/ 614525 w 781526"/>
                <a:gd name="connsiteY50" fmla="*/ 11349 h 547991"/>
                <a:gd name="connsiteX51" fmla="*/ 621010 w 781526"/>
                <a:gd name="connsiteY51" fmla="*/ 16213 h 547991"/>
                <a:gd name="connsiteX52" fmla="*/ 629117 w 781526"/>
                <a:gd name="connsiteY52" fmla="*/ 27562 h 547991"/>
                <a:gd name="connsiteX53" fmla="*/ 633980 w 781526"/>
                <a:gd name="connsiteY53" fmla="*/ 34047 h 547991"/>
                <a:gd name="connsiteX54" fmla="*/ 643708 w 781526"/>
                <a:gd name="connsiteY54" fmla="*/ 37289 h 547991"/>
                <a:gd name="connsiteX55" fmla="*/ 659921 w 781526"/>
                <a:gd name="connsiteY55" fmla="*/ 30804 h 547991"/>
                <a:gd name="connsiteX56" fmla="*/ 672891 w 781526"/>
                <a:gd name="connsiteY56" fmla="*/ 24319 h 547991"/>
                <a:gd name="connsiteX57" fmla="*/ 692346 w 781526"/>
                <a:gd name="connsiteY57" fmla="*/ 21077 h 547991"/>
                <a:gd name="connsiteX58" fmla="*/ 713423 w 781526"/>
                <a:gd name="connsiteY58" fmla="*/ 27562 h 547991"/>
                <a:gd name="connsiteX59" fmla="*/ 726393 w 781526"/>
                <a:gd name="connsiteY59" fmla="*/ 43774 h 547991"/>
                <a:gd name="connsiteX60" fmla="*/ 736121 w 781526"/>
                <a:gd name="connsiteY60" fmla="*/ 51881 h 547991"/>
                <a:gd name="connsiteX61" fmla="*/ 742606 w 781526"/>
                <a:gd name="connsiteY61" fmla="*/ 58366 h 547991"/>
                <a:gd name="connsiteX62" fmla="*/ 755576 w 781526"/>
                <a:gd name="connsiteY62" fmla="*/ 56745 h 547991"/>
                <a:gd name="connsiteX63" fmla="*/ 760440 w 781526"/>
                <a:gd name="connsiteY63" fmla="*/ 55123 h 547991"/>
                <a:gd name="connsiteX64" fmla="*/ 768546 w 781526"/>
                <a:gd name="connsiteY64" fmla="*/ 59987 h 547991"/>
                <a:gd name="connsiteX65" fmla="*/ 779844 w 781526"/>
                <a:gd name="connsiteY65" fmla="*/ 60013 h 547991"/>
                <a:gd name="connsiteX66" fmla="*/ 781311 w 781526"/>
                <a:gd name="connsiteY66" fmla="*/ 68634 h 547991"/>
                <a:gd name="connsiteX67" fmla="*/ 768546 w 781526"/>
                <a:gd name="connsiteY67" fmla="*/ 103762 h 547991"/>
                <a:gd name="connsiteX68" fmla="*/ 755576 w 781526"/>
                <a:gd name="connsiteY68" fmla="*/ 105383 h 547991"/>
                <a:gd name="connsiteX69" fmla="*/ 742606 w 781526"/>
                <a:gd name="connsiteY69" fmla="*/ 108625 h 547991"/>
                <a:gd name="connsiteX70" fmla="*/ 739363 w 781526"/>
                <a:gd name="connsiteY70" fmla="*/ 113489 h 547991"/>
                <a:gd name="connsiteX71" fmla="*/ 729636 w 781526"/>
                <a:gd name="connsiteY71" fmla="*/ 119974 h 547991"/>
                <a:gd name="connsiteX72" fmla="*/ 728015 w 781526"/>
                <a:gd name="connsiteY72" fmla="*/ 126460 h 547991"/>
                <a:gd name="connsiteX73" fmla="*/ 718287 w 781526"/>
                <a:gd name="connsiteY73" fmla="*/ 134566 h 547991"/>
                <a:gd name="connsiteX74" fmla="*/ 711802 w 781526"/>
                <a:gd name="connsiteY74" fmla="*/ 142672 h 547991"/>
                <a:gd name="connsiteX75" fmla="*/ 710180 w 781526"/>
                <a:gd name="connsiteY75" fmla="*/ 150779 h 547991"/>
                <a:gd name="connsiteX76" fmla="*/ 705317 w 781526"/>
                <a:gd name="connsiteY76" fmla="*/ 157264 h 547991"/>
                <a:gd name="connsiteX77" fmla="*/ 702074 w 781526"/>
                <a:gd name="connsiteY77" fmla="*/ 162128 h 547991"/>
                <a:gd name="connsiteX78" fmla="*/ 697210 w 781526"/>
                <a:gd name="connsiteY78" fmla="*/ 173477 h 547991"/>
                <a:gd name="connsiteX79" fmla="*/ 695589 w 781526"/>
                <a:gd name="connsiteY79" fmla="*/ 178340 h 547991"/>
                <a:gd name="connsiteX80" fmla="*/ 693968 w 781526"/>
                <a:gd name="connsiteY80" fmla="*/ 197796 h 547991"/>
                <a:gd name="connsiteX81" fmla="*/ 687483 w 781526"/>
                <a:gd name="connsiteY81" fmla="*/ 201038 h 547991"/>
                <a:gd name="connsiteX82" fmla="*/ 684240 w 781526"/>
                <a:gd name="connsiteY82" fmla="*/ 205902 h 547991"/>
                <a:gd name="connsiteX83" fmla="*/ 682619 w 781526"/>
                <a:gd name="connsiteY83" fmla="*/ 220494 h 547991"/>
                <a:gd name="connsiteX84" fmla="*/ 677755 w 781526"/>
                <a:gd name="connsiteY84" fmla="*/ 231843 h 547991"/>
                <a:gd name="connsiteX85" fmla="*/ 676134 w 781526"/>
                <a:gd name="connsiteY85" fmla="*/ 238328 h 547991"/>
                <a:gd name="connsiteX86" fmla="*/ 671270 w 781526"/>
                <a:gd name="connsiteY86" fmla="*/ 261025 h 547991"/>
                <a:gd name="connsiteX87" fmla="*/ 669649 w 781526"/>
                <a:gd name="connsiteY87" fmla="*/ 270753 h 547991"/>
                <a:gd name="connsiteX88" fmla="*/ 664785 w 781526"/>
                <a:gd name="connsiteY88" fmla="*/ 273996 h 547991"/>
                <a:gd name="connsiteX89" fmla="*/ 659921 w 781526"/>
                <a:gd name="connsiteY89" fmla="*/ 304800 h 547991"/>
                <a:gd name="connsiteX90" fmla="*/ 658300 w 781526"/>
                <a:gd name="connsiteY90" fmla="*/ 309664 h 547991"/>
                <a:gd name="connsiteX91" fmla="*/ 659921 w 781526"/>
                <a:gd name="connsiteY91" fmla="*/ 317770 h 547991"/>
                <a:gd name="connsiteX92" fmla="*/ 648572 w 781526"/>
                <a:gd name="connsiteY92" fmla="*/ 324255 h 547991"/>
                <a:gd name="connsiteX93" fmla="*/ 642087 w 781526"/>
                <a:gd name="connsiteY93" fmla="*/ 348574 h 547991"/>
                <a:gd name="connsiteX94" fmla="*/ 632359 w 781526"/>
                <a:gd name="connsiteY94" fmla="*/ 353438 h 547991"/>
                <a:gd name="connsiteX95" fmla="*/ 630738 w 781526"/>
                <a:gd name="connsiteY95" fmla="*/ 376136 h 547991"/>
                <a:gd name="connsiteX96" fmla="*/ 619389 w 781526"/>
                <a:gd name="connsiteY96" fmla="*/ 387485 h 547991"/>
                <a:gd name="connsiteX97" fmla="*/ 617768 w 781526"/>
                <a:gd name="connsiteY97" fmla="*/ 403698 h 547991"/>
                <a:gd name="connsiteX98" fmla="*/ 616146 w 781526"/>
                <a:gd name="connsiteY98" fmla="*/ 408562 h 547991"/>
                <a:gd name="connsiteX99" fmla="*/ 614525 w 781526"/>
                <a:gd name="connsiteY99" fmla="*/ 418289 h 547991"/>
                <a:gd name="connsiteX100" fmla="*/ 604797 w 781526"/>
                <a:gd name="connsiteY100" fmla="*/ 421532 h 547991"/>
                <a:gd name="connsiteX101" fmla="*/ 601555 w 781526"/>
                <a:gd name="connsiteY101" fmla="*/ 416668 h 547991"/>
                <a:gd name="connsiteX102" fmla="*/ 582100 w 781526"/>
                <a:gd name="connsiteY102" fmla="*/ 418289 h 547991"/>
                <a:gd name="connsiteX103" fmla="*/ 577236 w 781526"/>
                <a:gd name="connsiteY103" fmla="*/ 423153 h 547991"/>
                <a:gd name="connsiteX104" fmla="*/ 575615 w 781526"/>
                <a:gd name="connsiteY104" fmla="*/ 428017 h 547991"/>
                <a:gd name="connsiteX105" fmla="*/ 573993 w 781526"/>
                <a:gd name="connsiteY105" fmla="*/ 442608 h 547991"/>
                <a:gd name="connsiteX106" fmla="*/ 569129 w 781526"/>
                <a:gd name="connsiteY106" fmla="*/ 444230 h 547991"/>
                <a:gd name="connsiteX107" fmla="*/ 561023 w 781526"/>
                <a:gd name="connsiteY107" fmla="*/ 445851 h 547991"/>
                <a:gd name="connsiteX108" fmla="*/ 541568 w 781526"/>
                <a:gd name="connsiteY108" fmla="*/ 440987 h 547991"/>
                <a:gd name="connsiteX109" fmla="*/ 530219 w 781526"/>
                <a:gd name="connsiteY109" fmla="*/ 442608 h 547991"/>
                <a:gd name="connsiteX110" fmla="*/ 518870 w 781526"/>
                <a:gd name="connsiteY110" fmla="*/ 458821 h 547991"/>
                <a:gd name="connsiteX111" fmla="*/ 512385 w 781526"/>
                <a:gd name="connsiteY111" fmla="*/ 457200 h 547991"/>
                <a:gd name="connsiteX112" fmla="*/ 504278 w 781526"/>
                <a:gd name="connsiteY112" fmla="*/ 455579 h 547991"/>
                <a:gd name="connsiteX113" fmla="*/ 499415 w 781526"/>
                <a:gd name="connsiteY113" fmla="*/ 453957 h 547991"/>
                <a:gd name="connsiteX114" fmla="*/ 489687 w 781526"/>
                <a:gd name="connsiteY114" fmla="*/ 452336 h 547991"/>
                <a:gd name="connsiteX115" fmla="*/ 483202 w 781526"/>
                <a:gd name="connsiteY115" fmla="*/ 455579 h 547991"/>
                <a:gd name="connsiteX116" fmla="*/ 479959 w 781526"/>
                <a:gd name="connsiteY116" fmla="*/ 460443 h 547991"/>
                <a:gd name="connsiteX117" fmla="*/ 455640 w 781526"/>
                <a:gd name="connsiteY117" fmla="*/ 458821 h 547991"/>
                <a:gd name="connsiteX118" fmla="*/ 444291 w 781526"/>
                <a:gd name="connsiteY118" fmla="*/ 455579 h 547991"/>
                <a:gd name="connsiteX119" fmla="*/ 434563 w 781526"/>
                <a:gd name="connsiteY119" fmla="*/ 453957 h 547991"/>
                <a:gd name="connsiteX120" fmla="*/ 428078 w 781526"/>
                <a:gd name="connsiteY120" fmla="*/ 455579 h 547991"/>
                <a:gd name="connsiteX121" fmla="*/ 426457 w 781526"/>
                <a:gd name="connsiteY121" fmla="*/ 468549 h 547991"/>
                <a:gd name="connsiteX122" fmla="*/ 424836 w 781526"/>
                <a:gd name="connsiteY122" fmla="*/ 473413 h 547991"/>
                <a:gd name="connsiteX123" fmla="*/ 418351 w 781526"/>
                <a:gd name="connsiteY123" fmla="*/ 479898 h 547991"/>
                <a:gd name="connsiteX124" fmla="*/ 395653 w 781526"/>
                <a:gd name="connsiteY124" fmla="*/ 492868 h 547991"/>
                <a:gd name="connsiteX125" fmla="*/ 372955 w 781526"/>
                <a:gd name="connsiteY125" fmla="*/ 494489 h 547991"/>
                <a:gd name="connsiteX126" fmla="*/ 361606 w 781526"/>
                <a:gd name="connsiteY126" fmla="*/ 497732 h 547991"/>
                <a:gd name="connsiteX127" fmla="*/ 358363 w 781526"/>
                <a:gd name="connsiteY127" fmla="*/ 502596 h 547991"/>
                <a:gd name="connsiteX128" fmla="*/ 329180 w 781526"/>
                <a:gd name="connsiteY128" fmla="*/ 504217 h 547991"/>
                <a:gd name="connsiteX129" fmla="*/ 319453 w 781526"/>
                <a:gd name="connsiteY129" fmla="*/ 513945 h 547991"/>
                <a:gd name="connsiteX130" fmla="*/ 304861 w 781526"/>
                <a:gd name="connsiteY130" fmla="*/ 522051 h 547991"/>
                <a:gd name="connsiteX131" fmla="*/ 298376 w 781526"/>
                <a:gd name="connsiteY131" fmla="*/ 526915 h 547991"/>
                <a:gd name="connsiteX132" fmla="*/ 293512 w 781526"/>
                <a:gd name="connsiteY132" fmla="*/ 536643 h 547991"/>
                <a:gd name="connsiteX133" fmla="*/ 295134 w 781526"/>
                <a:gd name="connsiteY133" fmla="*/ 541506 h 547991"/>
                <a:gd name="connsiteX134" fmla="*/ 293512 w 781526"/>
                <a:gd name="connsiteY134" fmla="*/ 546370 h 547991"/>
                <a:gd name="connsiteX135" fmla="*/ 287027 w 781526"/>
                <a:gd name="connsiteY135" fmla="*/ 547991 h 547991"/>
                <a:gd name="connsiteX136" fmla="*/ 259466 w 781526"/>
                <a:gd name="connsiteY136" fmla="*/ 546370 h 547991"/>
                <a:gd name="connsiteX137" fmla="*/ 248117 w 781526"/>
                <a:gd name="connsiteY137" fmla="*/ 543128 h 547991"/>
                <a:gd name="connsiteX138" fmla="*/ 243253 w 781526"/>
                <a:gd name="connsiteY138" fmla="*/ 541506 h 547991"/>
                <a:gd name="connsiteX139" fmla="*/ 204342 w 781526"/>
                <a:gd name="connsiteY139" fmla="*/ 539885 h 547991"/>
                <a:gd name="connsiteX140" fmla="*/ 197857 w 781526"/>
                <a:gd name="connsiteY140" fmla="*/ 528536 h 547991"/>
                <a:gd name="connsiteX141" fmla="*/ 189751 w 781526"/>
                <a:gd name="connsiteY141" fmla="*/ 517187 h 547991"/>
                <a:gd name="connsiteX142" fmla="*/ 184887 w 781526"/>
                <a:gd name="connsiteY142" fmla="*/ 513945 h 547991"/>
                <a:gd name="connsiteX143" fmla="*/ 170295 w 781526"/>
                <a:gd name="connsiteY143" fmla="*/ 512323 h 547991"/>
                <a:gd name="connsiteX144" fmla="*/ 141112 w 781526"/>
                <a:gd name="connsiteY144" fmla="*/ 512323 h 547991"/>
                <a:gd name="connsiteX145" fmla="*/ 139491 w 781526"/>
                <a:gd name="connsiteY145" fmla="*/ 507460 h 547991"/>
                <a:gd name="connsiteX146" fmla="*/ 141112 w 781526"/>
                <a:gd name="connsiteY146" fmla="*/ 502596 h 547991"/>
                <a:gd name="connsiteX147" fmla="*/ 134627 w 781526"/>
                <a:gd name="connsiteY147" fmla="*/ 499353 h 547991"/>
                <a:gd name="connsiteX148" fmla="*/ 128142 w 781526"/>
                <a:gd name="connsiteY148" fmla="*/ 492868 h 547991"/>
                <a:gd name="connsiteX149" fmla="*/ 118415 w 781526"/>
                <a:gd name="connsiteY149" fmla="*/ 488004 h 547991"/>
                <a:gd name="connsiteX150" fmla="*/ 107066 w 781526"/>
                <a:gd name="connsiteY150" fmla="*/ 478277 h 547991"/>
                <a:gd name="connsiteX151" fmla="*/ 97338 w 781526"/>
                <a:gd name="connsiteY151" fmla="*/ 475034 h 547991"/>
                <a:gd name="connsiteX152" fmla="*/ 94095 w 781526"/>
                <a:gd name="connsiteY152" fmla="*/ 470170 h 547991"/>
                <a:gd name="connsiteX153" fmla="*/ 89232 w 781526"/>
                <a:gd name="connsiteY153" fmla="*/ 457200 h 547991"/>
                <a:gd name="connsiteX154" fmla="*/ 77883 w 781526"/>
                <a:gd name="connsiteY154" fmla="*/ 447472 h 547991"/>
                <a:gd name="connsiteX155" fmla="*/ 73019 w 781526"/>
                <a:gd name="connsiteY155" fmla="*/ 445851 h 547991"/>
                <a:gd name="connsiteX156" fmla="*/ 60049 w 781526"/>
                <a:gd name="connsiteY156" fmla="*/ 440987 h 547991"/>
                <a:gd name="connsiteX157" fmla="*/ 45457 w 781526"/>
                <a:gd name="connsiteY157" fmla="*/ 437745 h 547991"/>
                <a:gd name="connsiteX158" fmla="*/ 40593 w 781526"/>
                <a:gd name="connsiteY158" fmla="*/ 429638 h 547991"/>
                <a:gd name="connsiteX159" fmla="*/ 37351 w 781526"/>
                <a:gd name="connsiteY159" fmla="*/ 419911 h 547991"/>
                <a:gd name="connsiteX160" fmla="*/ 35729 w 781526"/>
                <a:gd name="connsiteY160" fmla="*/ 415047 h 547991"/>
                <a:gd name="connsiteX161" fmla="*/ 30866 w 781526"/>
                <a:gd name="connsiteY161" fmla="*/ 410183 h 547991"/>
                <a:gd name="connsiteX162" fmla="*/ 24380 w 781526"/>
                <a:gd name="connsiteY162" fmla="*/ 405319 h 547991"/>
                <a:gd name="connsiteX163" fmla="*/ 14653 w 781526"/>
                <a:gd name="connsiteY163" fmla="*/ 398834 h 547991"/>
                <a:gd name="connsiteX164" fmla="*/ 13032 w 781526"/>
                <a:gd name="connsiteY164" fmla="*/ 393970 h 547991"/>
                <a:gd name="connsiteX165" fmla="*/ 11410 w 781526"/>
                <a:gd name="connsiteY165" fmla="*/ 377757 h 547991"/>
                <a:gd name="connsiteX166" fmla="*/ 6546 w 781526"/>
                <a:gd name="connsiteY166" fmla="*/ 372894 h 547991"/>
                <a:gd name="connsiteX167" fmla="*/ 4925 w 781526"/>
                <a:gd name="connsiteY167" fmla="*/ 366408 h 547991"/>
                <a:gd name="connsiteX168" fmla="*/ 61 w 781526"/>
                <a:gd name="connsiteY168" fmla="*/ 363166 h 547991"/>
                <a:gd name="connsiteX169" fmla="*/ 3304 w 781526"/>
                <a:gd name="connsiteY169" fmla="*/ 356681 h 547991"/>
                <a:gd name="connsiteX170" fmla="*/ 13032 w 781526"/>
                <a:gd name="connsiteY170" fmla="*/ 355060 h 547991"/>
                <a:gd name="connsiteX171" fmla="*/ 27623 w 781526"/>
                <a:gd name="connsiteY171" fmla="*/ 353438 h 547991"/>
                <a:gd name="connsiteX172" fmla="*/ 37351 w 781526"/>
                <a:gd name="connsiteY172" fmla="*/ 346953 h 547991"/>
                <a:gd name="connsiteX173" fmla="*/ 32487 w 781526"/>
                <a:gd name="connsiteY173" fmla="*/ 332362 h 547991"/>
                <a:gd name="connsiteX174" fmla="*/ 22759 w 781526"/>
                <a:gd name="connsiteY174" fmla="*/ 330740 h 547991"/>
                <a:gd name="connsiteX175" fmla="*/ 19517 w 781526"/>
                <a:gd name="connsiteY175" fmla="*/ 278860 h 547991"/>
                <a:gd name="connsiteX176" fmla="*/ 21138 w 781526"/>
                <a:gd name="connsiteY176" fmla="*/ 272374 h 547991"/>
                <a:gd name="connsiteX177" fmla="*/ 34108 w 781526"/>
                <a:gd name="connsiteY177" fmla="*/ 265889 h 547991"/>
                <a:gd name="connsiteX178" fmla="*/ 37351 w 781526"/>
                <a:gd name="connsiteY178" fmla="*/ 261025 h 547991"/>
                <a:gd name="connsiteX179" fmla="*/ 45457 w 781526"/>
                <a:gd name="connsiteY179" fmla="*/ 259404 h 547991"/>
                <a:gd name="connsiteX180" fmla="*/ 47078 w 781526"/>
                <a:gd name="connsiteY180" fmla="*/ 252919 h 547991"/>
                <a:gd name="connsiteX181" fmla="*/ 37351 w 781526"/>
                <a:gd name="connsiteY181" fmla="*/ 246434 h 547991"/>
                <a:gd name="connsiteX182" fmla="*/ 32487 w 781526"/>
                <a:gd name="connsiteY182" fmla="*/ 243191 h 547991"/>
                <a:gd name="connsiteX183" fmla="*/ 22759 w 781526"/>
                <a:gd name="connsiteY183" fmla="*/ 239949 h 547991"/>
                <a:gd name="connsiteX184" fmla="*/ 21138 w 781526"/>
                <a:gd name="connsiteY184" fmla="*/ 212387 h 547991"/>
                <a:gd name="connsiteX185" fmla="*/ 26002 w 781526"/>
                <a:gd name="connsiteY185" fmla="*/ 207523 h 547991"/>
                <a:gd name="connsiteX186" fmla="*/ 35729 w 781526"/>
                <a:gd name="connsiteY186" fmla="*/ 209145 h 547991"/>
                <a:gd name="connsiteX187" fmla="*/ 37351 w 781526"/>
                <a:gd name="connsiteY187" fmla="*/ 215630 h 547991"/>
                <a:gd name="connsiteX188" fmla="*/ 42215 w 781526"/>
                <a:gd name="connsiteY188" fmla="*/ 218872 h 547991"/>
                <a:gd name="connsiteX189" fmla="*/ 48700 w 781526"/>
                <a:gd name="connsiteY189" fmla="*/ 222115 h 547991"/>
                <a:gd name="connsiteX190" fmla="*/ 66534 w 781526"/>
                <a:gd name="connsiteY190" fmla="*/ 225357 h 547991"/>
                <a:gd name="connsiteX191" fmla="*/ 89232 w 781526"/>
                <a:gd name="connsiteY191" fmla="*/ 217251 h 547991"/>
                <a:gd name="connsiteX192" fmla="*/ 90853 w 781526"/>
                <a:gd name="connsiteY192" fmla="*/ 212387 h 547991"/>
                <a:gd name="connsiteX193" fmla="*/ 87610 w 781526"/>
                <a:gd name="connsiteY193" fmla="*/ 202660 h 547991"/>
                <a:gd name="connsiteX194" fmla="*/ 81125 w 781526"/>
                <a:gd name="connsiteY194" fmla="*/ 201038 h 547991"/>
                <a:gd name="connsiteX195" fmla="*/ 82746 w 781526"/>
                <a:gd name="connsiteY195" fmla="*/ 191311 h 547991"/>
                <a:gd name="connsiteX196" fmla="*/ 87610 w 781526"/>
                <a:gd name="connsiteY196" fmla="*/ 179962 h 547991"/>
                <a:gd name="connsiteX197" fmla="*/ 89232 w 781526"/>
                <a:gd name="connsiteY197" fmla="*/ 171855 h 547991"/>
                <a:gd name="connsiteX198" fmla="*/ 90853 w 781526"/>
                <a:gd name="connsiteY198" fmla="*/ 158885 h 547991"/>
                <a:gd name="connsiteX199" fmla="*/ 95717 w 781526"/>
                <a:gd name="connsiteY199" fmla="*/ 155643 h 547991"/>
                <a:gd name="connsiteX200" fmla="*/ 107066 w 781526"/>
                <a:gd name="connsiteY200" fmla="*/ 155643 h 547991"/>
                <a:gd name="connsiteX0" fmla="*/ 107066 w 781526"/>
                <a:gd name="connsiteY0" fmla="*/ 155643 h 547991"/>
                <a:gd name="connsiteX1" fmla="*/ 123278 w 781526"/>
                <a:gd name="connsiteY1" fmla="*/ 157264 h 547991"/>
                <a:gd name="connsiteX2" fmla="*/ 128142 w 781526"/>
                <a:gd name="connsiteY2" fmla="*/ 163749 h 547991"/>
                <a:gd name="connsiteX3" fmla="*/ 134627 w 781526"/>
                <a:gd name="connsiteY3" fmla="*/ 166991 h 547991"/>
                <a:gd name="connsiteX4" fmla="*/ 144355 w 781526"/>
                <a:gd name="connsiteY4" fmla="*/ 175098 h 547991"/>
                <a:gd name="connsiteX5" fmla="*/ 149219 w 781526"/>
                <a:gd name="connsiteY5" fmla="*/ 176719 h 547991"/>
                <a:gd name="connsiteX6" fmla="*/ 155704 w 781526"/>
                <a:gd name="connsiteY6" fmla="*/ 186447 h 547991"/>
                <a:gd name="connsiteX7" fmla="*/ 160568 w 781526"/>
                <a:gd name="connsiteY7" fmla="*/ 189689 h 547991"/>
                <a:gd name="connsiteX8" fmla="*/ 167053 w 781526"/>
                <a:gd name="connsiteY8" fmla="*/ 194553 h 547991"/>
                <a:gd name="connsiteX9" fmla="*/ 171917 w 781526"/>
                <a:gd name="connsiteY9" fmla="*/ 201038 h 547991"/>
                <a:gd name="connsiteX10" fmla="*/ 176780 w 781526"/>
                <a:gd name="connsiteY10" fmla="*/ 204281 h 547991"/>
                <a:gd name="connsiteX11" fmla="*/ 184887 w 781526"/>
                <a:gd name="connsiteY11" fmla="*/ 209145 h 547991"/>
                <a:gd name="connsiteX12" fmla="*/ 194615 w 781526"/>
                <a:gd name="connsiteY12" fmla="*/ 192932 h 547991"/>
                <a:gd name="connsiteX13" fmla="*/ 199478 w 781526"/>
                <a:gd name="connsiteY13" fmla="*/ 189689 h 547991"/>
                <a:gd name="connsiteX14" fmla="*/ 262708 w 781526"/>
                <a:gd name="connsiteY14" fmla="*/ 188068 h 547991"/>
                <a:gd name="connsiteX15" fmla="*/ 265951 w 781526"/>
                <a:gd name="connsiteY15" fmla="*/ 181583 h 547991"/>
                <a:gd name="connsiteX16" fmla="*/ 272436 w 781526"/>
                <a:gd name="connsiteY16" fmla="*/ 176719 h 547991"/>
                <a:gd name="connsiteX17" fmla="*/ 301619 w 781526"/>
                <a:gd name="connsiteY17" fmla="*/ 175098 h 547991"/>
                <a:gd name="connsiteX18" fmla="*/ 304861 w 781526"/>
                <a:gd name="connsiteY18" fmla="*/ 170234 h 547991"/>
                <a:gd name="connsiteX19" fmla="*/ 288649 w 781526"/>
                <a:gd name="connsiteY19" fmla="*/ 149157 h 547991"/>
                <a:gd name="connsiteX20" fmla="*/ 301619 w 781526"/>
                <a:gd name="connsiteY20" fmla="*/ 136187 h 547991"/>
                <a:gd name="connsiteX21" fmla="*/ 312968 w 781526"/>
                <a:gd name="connsiteY21" fmla="*/ 123217 h 547991"/>
                <a:gd name="connsiteX22" fmla="*/ 358363 w 781526"/>
                <a:gd name="connsiteY22" fmla="*/ 119974 h 547991"/>
                <a:gd name="connsiteX23" fmla="*/ 364849 w 781526"/>
                <a:gd name="connsiteY23" fmla="*/ 113489 h 547991"/>
                <a:gd name="connsiteX24" fmla="*/ 366470 w 781526"/>
                <a:gd name="connsiteY24" fmla="*/ 108625 h 547991"/>
                <a:gd name="connsiteX25" fmla="*/ 371334 w 781526"/>
                <a:gd name="connsiteY25" fmla="*/ 102140 h 547991"/>
                <a:gd name="connsiteX26" fmla="*/ 372955 w 781526"/>
                <a:gd name="connsiteY26" fmla="*/ 97277 h 547991"/>
                <a:gd name="connsiteX27" fmla="*/ 377819 w 781526"/>
                <a:gd name="connsiteY27" fmla="*/ 87549 h 547991"/>
                <a:gd name="connsiteX28" fmla="*/ 398895 w 781526"/>
                <a:gd name="connsiteY28" fmla="*/ 90791 h 547991"/>
                <a:gd name="connsiteX29" fmla="*/ 403759 w 781526"/>
                <a:gd name="connsiteY29" fmla="*/ 95655 h 547991"/>
                <a:gd name="connsiteX30" fmla="*/ 410244 w 781526"/>
                <a:gd name="connsiteY30" fmla="*/ 97277 h 547991"/>
                <a:gd name="connsiteX31" fmla="*/ 428078 w 781526"/>
                <a:gd name="connsiteY31" fmla="*/ 95655 h 547991"/>
                <a:gd name="connsiteX32" fmla="*/ 436185 w 781526"/>
                <a:gd name="connsiteY32" fmla="*/ 94034 h 547991"/>
                <a:gd name="connsiteX33" fmla="*/ 452397 w 781526"/>
                <a:gd name="connsiteY33" fmla="*/ 76200 h 547991"/>
                <a:gd name="connsiteX34" fmla="*/ 457261 w 781526"/>
                <a:gd name="connsiteY34" fmla="*/ 74579 h 547991"/>
                <a:gd name="connsiteX35" fmla="*/ 462125 w 781526"/>
                <a:gd name="connsiteY35" fmla="*/ 71336 h 547991"/>
                <a:gd name="connsiteX36" fmla="*/ 468610 w 781526"/>
                <a:gd name="connsiteY36" fmla="*/ 69715 h 547991"/>
                <a:gd name="connsiteX37" fmla="*/ 471853 w 781526"/>
                <a:gd name="connsiteY37" fmla="*/ 63230 h 547991"/>
                <a:gd name="connsiteX38" fmla="*/ 476717 w 781526"/>
                <a:gd name="connsiteY38" fmla="*/ 48638 h 547991"/>
                <a:gd name="connsiteX39" fmla="*/ 481580 w 781526"/>
                <a:gd name="connsiteY39" fmla="*/ 32425 h 547991"/>
                <a:gd name="connsiteX40" fmla="*/ 491308 w 781526"/>
                <a:gd name="connsiteY40" fmla="*/ 24319 h 547991"/>
                <a:gd name="connsiteX41" fmla="*/ 514006 w 781526"/>
                <a:gd name="connsiteY41" fmla="*/ 21077 h 547991"/>
                <a:gd name="connsiteX42" fmla="*/ 520491 w 781526"/>
                <a:gd name="connsiteY42" fmla="*/ 17834 h 547991"/>
                <a:gd name="connsiteX43" fmla="*/ 549674 w 781526"/>
                <a:gd name="connsiteY43" fmla="*/ 14591 h 547991"/>
                <a:gd name="connsiteX44" fmla="*/ 577236 w 781526"/>
                <a:gd name="connsiteY44" fmla="*/ 12970 h 547991"/>
                <a:gd name="connsiteX45" fmla="*/ 586963 w 781526"/>
                <a:gd name="connsiteY45" fmla="*/ 4864 h 547991"/>
                <a:gd name="connsiteX46" fmla="*/ 593449 w 781526"/>
                <a:gd name="connsiteY46" fmla="*/ 0 h 547991"/>
                <a:gd name="connsiteX47" fmla="*/ 598312 w 781526"/>
                <a:gd name="connsiteY47" fmla="*/ 1621 h 547991"/>
                <a:gd name="connsiteX48" fmla="*/ 604797 w 781526"/>
                <a:gd name="connsiteY48" fmla="*/ 3243 h 547991"/>
                <a:gd name="connsiteX49" fmla="*/ 609661 w 781526"/>
                <a:gd name="connsiteY49" fmla="*/ 8106 h 547991"/>
                <a:gd name="connsiteX50" fmla="*/ 614525 w 781526"/>
                <a:gd name="connsiteY50" fmla="*/ 11349 h 547991"/>
                <a:gd name="connsiteX51" fmla="*/ 621010 w 781526"/>
                <a:gd name="connsiteY51" fmla="*/ 16213 h 547991"/>
                <a:gd name="connsiteX52" fmla="*/ 629117 w 781526"/>
                <a:gd name="connsiteY52" fmla="*/ 27562 h 547991"/>
                <a:gd name="connsiteX53" fmla="*/ 633980 w 781526"/>
                <a:gd name="connsiteY53" fmla="*/ 34047 h 547991"/>
                <a:gd name="connsiteX54" fmla="*/ 643708 w 781526"/>
                <a:gd name="connsiteY54" fmla="*/ 37289 h 547991"/>
                <a:gd name="connsiteX55" fmla="*/ 659921 w 781526"/>
                <a:gd name="connsiteY55" fmla="*/ 30804 h 547991"/>
                <a:gd name="connsiteX56" fmla="*/ 672891 w 781526"/>
                <a:gd name="connsiteY56" fmla="*/ 24319 h 547991"/>
                <a:gd name="connsiteX57" fmla="*/ 692346 w 781526"/>
                <a:gd name="connsiteY57" fmla="*/ 21077 h 547991"/>
                <a:gd name="connsiteX58" fmla="*/ 713423 w 781526"/>
                <a:gd name="connsiteY58" fmla="*/ 27562 h 547991"/>
                <a:gd name="connsiteX59" fmla="*/ 726393 w 781526"/>
                <a:gd name="connsiteY59" fmla="*/ 43774 h 547991"/>
                <a:gd name="connsiteX60" fmla="*/ 736121 w 781526"/>
                <a:gd name="connsiteY60" fmla="*/ 51881 h 547991"/>
                <a:gd name="connsiteX61" fmla="*/ 742606 w 781526"/>
                <a:gd name="connsiteY61" fmla="*/ 58366 h 547991"/>
                <a:gd name="connsiteX62" fmla="*/ 755576 w 781526"/>
                <a:gd name="connsiteY62" fmla="*/ 56745 h 547991"/>
                <a:gd name="connsiteX63" fmla="*/ 760440 w 781526"/>
                <a:gd name="connsiteY63" fmla="*/ 55123 h 547991"/>
                <a:gd name="connsiteX64" fmla="*/ 768546 w 781526"/>
                <a:gd name="connsiteY64" fmla="*/ 59987 h 547991"/>
                <a:gd name="connsiteX65" fmla="*/ 779844 w 781526"/>
                <a:gd name="connsiteY65" fmla="*/ 60013 h 547991"/>
                <a:gd name="connsiteX66" fmla="*/ 781311 w 781526"/>
                <a:gd name="connsiteY66" fmla="*/ 68634 h 547991"/>
                <a:gd name="connsiteX67" fmla="*/ 768546 w 781526"/>
                <a:gd name="connsiteY67" fmla="*/ 103762 h 547991"/>
                <a:gd name="connsiteX68" fmla="*/ 755576 w 781526"/>
                <a:gd name="connsiteY68" fmla="*/ 105383 h 547991"/>
                <a:gd name="connsiteX69" fmla="*/ 742606 w 781526"/>
                <a:gd name="connsiteY69" fmla="*/ 108625 h 547991"/>
                <a:gd name="connsiteX70" fmla="*/ 739363 w 781526"/>
                <a:gd name="connsiteY70" fmla="*/ 113489 h 547991"/>
                <a:gd name="connsiteX71" fmla="*/ 729636 w 781526"/>
                <a:gd name="connsiteY71" fmla="*/ 119974 h 547991"/>
                <a:gd name="connsiteX72" fmla="*/ 728015 w 781526"/>
                <a:gd name="connsiteY72" fmla="*/ 126460 h 547991"/>
                <a:gd name="connsiteX73" fmla="*/ 718287 w 781526"/>
                <a:gd name="connsiteY73" fmla="*/ 134566 h 547991"/>
                <a:gd name="connsiteX74" fmla="*/ 711802 w 781526"/>
                <a:gd name="connsiteY74" fmla="*/ 142672 h 547991"/>
                <a:gd name="connsiteX75" fmla="*/ 710180 w 781526"/>
                <a:gd name="connsiteY75" fmla="*/ 150779 h 547991"/>
                <a:gd name="connsiteX76" fmla="*/ 705317 w 781526"/>
                <a:gd name="connsiteY76" fmla="*/ 157264 h 547991"/>
                <a:gd name="connsiteX77" fmla="*/ 702074 w 781526"/>
                <a:gd name="connsiteY77" fmla="*/ 162128 h 547991"/>
                <a:gd name="connsiteX78" fmla="*/ 697210 w 781526"/>
                <a:gd name="connsiteY78" fmla="*/ 173477 h 547991"/>
                <a:gd name="connsiteX79" fmla="*/ 695589 w 781526"/>
                <a:gd name="connsiteY79" fmla="*/ 178340 h 547991"/>
                <a:gd name="connsiteX80" fmla="*/ 693968 w 781526"/>
                <a:gd name="connsiteY80" fmla="*/ 197796 h 547991"/>
                <a:gd name="connsiteX81" fmla="*/ 687483 w 781526"/>
                <a:gd name="connsiteY81" fmla="*/ 201038 h 547991"/>
                <a:gd name="connsiteX82" fmla="*/ 684240 w 781526"/>
                <a:gd name="connsiteY82" fmla="*/ 205902 h 547991"/>
                <a:gd name="connsiteX83" fmla="*/ 682619 w 781526"/>
                <a:gd name="connsiteY83" fmla="*/ 220494 h 547991"/>
                <a:gd name="connsiteX84" fmla="*/ 677755 w 781526"/>
                <a:gd name="connsiteY84" fmla="*/ 231843 h 547991"/>
                <a:gd name="connsiteX85" fmla="*/ 676134 w 781526"/>
                <a:gd name="connsiteY85" fmla="*/ 238328 h 547991"/>
                <a:gd name="connsiteX86" fmla="*/ 671270 w 781526"/>
                <a:gd name="connsiteY86" fmla="*/ 261025 h 547991"/>
                <a:gd name="connsiteX87" fmla="*/ 669649 w 781526"/>
                <a:gd name="connsiteY87" fmla="*/ 270753 h 547991"/>
                <a:gd name="connsiteX88" fmla="*/ 664785 w 781526"/>
                <a:gd name="connsiteY88" fmla="*/ 273996 h 547991"/>
                <a:gd name="connsiteX89" fmla="*/ 659921 w 781526"/>
                <a:gd name="connsiteY89" fmla="*/ 304800 h 547991"/>
                <a:gd name="connsiteX90" fmla="*/ 658300 w 781526"/>
                <a:gd name="connsiteY90" fmla="*/ 309664 h 547991"/>
                <a:gd name="connsiteX91" fmla="*/ 659921 w 781526"/>
                <a:gd name="connsiteY91" fmla="*/ 317770 h 547991"/>
                <a:gd name="connsiteX92" fmla="*/ 648572 w 781526"/>
                <a:gd name="connsiteY92" fmla="*/ 324255 h 547991"/>
                <a:gd name="connsiteX93" fmla="*/ 642087 w 781526"/>
                <a:gd name="connsiteY93" fmla="*/ 348574 h 547991"/>
                <a:gd name="connsiteX94" fmla="*/ 632359 w 781526"/>
                <a:gd name="connsiteY94" fmla="*/ 353438 h 547991"/>
                <a:gd name="connsiteX95" fmla="*/ 630738 w 781526"/>
                <a:gd name="connsiteY95" fmla="*/ 376136 h 547991"/>
                <a:gd name="connsiteX96" fmla="*/ 619389 w 781526"/>
                <a:gd name="connsiteY96" fmla="*/ 387485 h 547991"/>
                <a:gd name="connsiteX97" fmla="*/ 617768 w 781526"/>
                <a:gd name="connsiteY97" fmla="*/ 403698 h 547991"/>
                <a:gd name="connsiteX98" fmla="*/ 616146 w 781526"/>
                <a:gd name="connsiteY98" fmla="*/ 408562 h 547991"/>
                <a:gd name="connsiteX99" fmla="*/ 614525 w 781526"/>
                <a:gd name="connsiteY99" fmla="*/ 418289 h 547991"/>
                <a:gd name="connsiteX100" fmla="*/ 604797 w 781526"/>
                <a:gd name="connsiteY100" fmla="*/ 421532 h 547991"/>
                <a:gd name="connsiteX101" fmla="*/ 601555 w 781526"/>
                <a:gd name="connsiteY101" fmla="*/ 416668 h 547991"/>
                <a:gd name="connsiteX102" fmla="*/ 582100 w 781526"/>
                <a:gd name="connsiteY102" fmla="*/ 418289 h 547991"/>
                <a:gd name="connsiteX103" fmla="*/ 577236 w 781526"/>
                <a:gd name="connsiteY103" fmla="*/ 423153 h 547991"/>
                <a:gd name="connsiteX104" fmla="*/ 575615 w 781526"/>
                <a:gd name="connsiteY104" fmla="*/ 428017 h 547991"/>
                <a:gd name="connsiteX105" fmla="*/ 573993 w 781526"/>
                <a:gd name="connsiteY105" fmla="*/ 442608 h 547991"/>
                <a:gd name="connsiteX106" fmla="*/ 569129 w 781526"/>
                <a:gd name="connsiteY106" fmla="*/ 444230 h 547991"/>
                <a:gd name="connsiteX107" fmla="*/ 561023 w 781526"/>
                <a:gd name="connsiteY107" fmla="*/ 445851 h 547991"/>
                <a:gd name="connsiteX108" fmla="*/ 541568 w 781526"/>
                <a:gd name="connsiteY108" fmla="*/ 440987 h 547991"/>
                <a:gd name="connsiteX109" fmla="*/ 530219 w 781526"/>
                <a:gd name="connsiteY109" fmla="*/ 442608 h 547991"/>
                <a:gd name="connsiteX110" fmla="*/ 518870 w 781526"/>
                <a:gd name="connsiteY110" fmla="*/ 458821 h 547991"/>
                <a:gd name="connsiteX111" fmla="*/ 512385 w 781526"/>
                <a:gd name="connsiteY111" fmla="*/ 457200 h 547991"/>
                <a:gd name="connsiteX112" fmla="*/ 504278 w 781526"/>
                <a:gd name="connsiteY112" fmla="*/ 455579 h 547991"/>
                <a:gd name="connsiteX113" fmla="*/ 499415 w 781526"/>
                <a:gd name="connsiteY113" fmla="*/ 453957 h 547991"/>
                <a:gd name="connsiteX114" fmla="*/ 489687 w 781526"/>
                <a:gd name="connsiteY114" fmla="*/ 452336 h 547991"/>
                <a:gd name="connsiteX115" fmla="*/ 483202 w 781526"/>
                <a:gd name="connsiteY115" fmla="*/ 455579 h 547991"/>
                <a:gd name="connsiteX116" fmla="*/ 479959 w 781526"/>
                <a:gd name="connsiteY116" fmla="*/ 460443 h 547991"/>
                <a:gd name="connsiteX117" fmla="*/ 455640 w 781526"/>
                <a:gd name="connsiteY117" fmla="*/ 458821 h 547991"/>
                <a:gd name="connsiteX118" fmla="*/ 444291 w 781526"/>
                <a:gd name="connsiteY118" fmla="*/ 455579 h 547991"/>
                <a:gd name="connsiteX119" fmla="*/ 434563 w 781526"/>
                <a:gd name="connsiteY119" fmla="*/ 453957 h 547991"/>
                <a:gd name="connsiteX120" fmla="*/ 428078 w 781526"/>
                <a:gd name="connsiteY120" fmla="*/ 455579 h 547991"/>
                <a:gd name="connsiteX121" fmla="*/ 426457 w 781526"/>
                <a:gd name="connsiteY121" fmla="*/ 468549 h 547991"/>
                <a:gd name="connsiteX122" fmla="*/ 424836 w 781526"/>
                <a:gd name="connsiteY122" fmla="*/ 473413 h 547991"/>
                <a:gd name="connsiteX123" fmla="*/ 418351 w 781526"/>
                <a:gd name="connsiteY123" fmla="*/ 479898 h 547991"/>
                <a:gd name="connsiteX124" fmla="*/ 395653 w 781526"/>
                <a:gd name="connsiteY124" fmla="*/ 492868 h 547991"/>
                <a:gd name="connsiteX125" fmla="*/ 372955 w 781526"/>
                <a:gd name="connsiteY125" fmla="*/ 494489 h 547991"/>
                <a:gd name="connsiteX126" fmla="*/ 361606 w 781526"/>
                <a:gd name="connsiteY126" fmla="*/ 497732 h 547991"/>
                <a:gd name="connsiteX127" fmla="*/ 358363 w 781526"/>
                <a:gd name="connsiteY127" fmla="*/ 502596 h 547991"/>
                <a:gd name="connsiteX128" fmla="*/ 329180 w 781526"/>
                <a:gd name="connsiteY128" fmla="*/ 504217 h 547991"/>
                <a:gd name="connsiteX129" fmla="*/ 319453 w 781526"/>
                <a:gd name="connsiteY129" fmla="*/ 513945 h 547991"/>
                <a:gd name="connsiteX130" fmla="*/ 304861 w 781526"/>
                <a:gd name="connsiteY130" fmla="*/ 522051 h 547991"/>
                <a:gd name="connsiteX131" fmla="*/ 298376 w 781526"/>
                <a:gd name="connsiteY131" fmla="*/ 526915 h 547991"/>
                <a:gd name="connsiteX132" fmla="*/ 293512 w 781526"/>
                <a:gd name="connsiteY132" fmla="*/ 536643 h 547991"/>
                <a:gd name="connsiteX133" fmla="*/ 295134 w 781526"/>
                <a:gd name="connsiteY133" fmla="*/ 541506 h 547991"/>
                <a:gd name="connsiteX134" fmla="*/ 293512 w 781526"/>
                <a:gd name="connsiteY134" fmla="*/ 546370 h 547991"/>
                <a:gd name="connsiteX135" fmla="*/ 287027 w 781526"/>
                <a:gd name="connsiteY135" fmla="*/ 547991 h 547991"/>
                <a:gd name="connsiteX136" fmla="*/ 259466 w 781526"/>
                <a:gd name="connsiteY136" fmla="*/ 546370 h 547991"/>
                <a:gd name="connsiteX137" fmla="*/ 248117 w 781526"/>
                <a:gd name="connsiteY137" fmla="*/ 543128 h 547991"/>
                <a:gd name="connsiteX138" fmla="*/ 243253 w 781526"/>
                <a:gd name="connsiteY138" fmla="*/ 541506 h 547991"/>
                <a:gd name="connsiteX139" fmla="*/ 204342 w 781526"/>
                <a:gd name="connsiteY139" fmla="*/ 539885 h 547991"/>
                <a:gd name="connsiteX140" fmla="*/ 197857 w 781526"/>
                <a:gd name="connsiteY140" fmla="*/ 528536 h 547991"/>
                <a:gd name="connsiteX141" fmla="*/ 189751 w 781526"/>
                <a:gd name="connsiteY141" fmla="*/ 517187 h 547991"/>
                <a:gd name="connsiteX142" fmla="*/ 184887 w 781526"/>
                <a:gd name="connsiteY142" fmla="*/ 513945 h 547991"/>
                <a:gd name="connsiteX143" fmla="*/ 170295 w 781526"/>
                <a:gd name="connsiteY143" fmla="*/ 512323 h 547991"/>
                <a:gd name="connsiteX144" fmla="*/ 141112 w 781526"/>
                <a:gd name="connsiteY144" fmla="*/ 512323 h 547991"/>
                <a:gd name="connsiteX145" fmla="*/ 139491 w 781526"/>
                <a:gd name="connsiteY145" fmla="*/ 507460 h 547991"/>
                <a:gd name="connsiteX146" fmla="*/ 141112 w 781526"/>
                <a:gd name="connsiteY146" fmla="*/ 502596 h 547991"/>
                <a:gd name="connsiteX147" fmla="*/ 134627 w 781526"/>
                <a:gd name="connsiteY147" fmla="*/ 499353 h 547991"/>
                <a:gd name="connsiteX148" fmla="*/ 128142 w 781526"/>
                <a:gd name="connsiteY148" fmla="*/ 492868 h 547991"/>
                <a:gd name="connsiteX149" fmla="*/ 118415 w 781526"/>
                <a:gd name="connsiteY149" fmla="*/ 488004 h 547991"/>
                <a:gd name="connsiteX150" fmla="*/ 107066 w 781526"/>
                <a:gd name="connsiteY150" fmla="*/ 478277 h 547991"/>
                <a:gd name="connsiteX151" fmla="*/ 97338 w 781526"/>
                <a:gd name="connsiteY151" fmla="*/ 475034 h 547991"/>
                <a:gd name="connsiteX152" fmla="*/ 94095 w 781526"/>
                <a:gd name="connsiteY152" fmla="*/ 470170 h 547991"/>
                <a:gd name="connsiteX153" fmla="*/ 89232 w 781526"/>
                <a:gd name="connsiteY153" fmla="*/ 457200 h 547991"/>
                <a:gd name="connsiteX154" fmla="*/ 77883 w 781526"/>
                <a:gd name="connsiteY154" fmla="*/ 447472 h 547991"/>
                <a:gd name="connsiteX155" fmla="*/ 60049 w 781526"/>
                <a:gd name="connsiteY155" fmla="*/ 440987 h 547991"/>
                <a:gd name="connsiteX156" fmla="*/ 45457 w 781526"/>
                <a:gd name="connsiteY156" fmla="*/ 437745 h 547991"/>
                <a:gd name="connsiteX157" fmla="*/ 40593 w 781526"/>
                <a:gd name="connsiteY157" fmla="*/ 429638 h 547991"/>
                <a:gd name="connsiteX158" fmla="*/ 37351 w 781526"/>
                <a:gd name="connsiteY158" fmla="*/ 419911 h 547991"/>
                <a:gd name="connsiteX159" fmla="*/ 35729 w 781526"/>
                <a:gd name="connsiteY159" fmla="*/ 415047 h 547991"/>
                <a:gd name="connsiteX160" fmla="*/ 30866 w 781526"/>
                <a:gd name="connsiteY160" fmla="*/ 410183 h 547991"/>
                <a:gd name="connsiteX161" fmla="*/ 24380 w 781526"/>
                <a:gd name="connsiteY161" fmla="*/ 405319 h 547991"/>
                <a:gd name="connsiteX162" fmla="*/ 14653 w 781526"/>
                <a:gd name="connsiteY162" fmla="*/ 398834 h 547991"/>
                <a:gd name="connsiteX163" fmla="*/ 13032 w 781526"/>
                <a:gd name="connsiteY163" fmla="*/ 393970 h 547991"/>
                <a:gd name="connsiteX164" fmla="*/ 11410 w 781526"/>
                <a:gd name="connsiteY164" fmla="*/ 377757 h 547991"/>
                <a:gd name="connsiteX165" fmla="*/ 6546 w 781526"/>
                <a:gd name="connsiteY165" fmla="*/ 372894 h 547991"/>
                <a:gd name="connsiteX166" fmla="*/ 4925 w 781526"/>
                <a:gd name="connsiteY166" fmla="*/ 366408 h 547991"/>
                <a:gd name="connsiteX167" fmla="*/ 61 w 781526"/>
                <a:gd name="connsiteY167" fmla="*/ 363166 h 547991"/>
                <a:gd name="connsiteX168" fmla="*/ 3304 w 781526"/>
                <a:gd name="connsiteY168" fmla="*/ 356681 h 547991"/>
                <a:gd name="connsiteX169" fmla="*/ 13032 w 781526"/>
                <a:gd name="connsiteY169" fmla="*/ 355060 h 547991"/>
                <a:gd name="connsiteX170" fmla="*/ 27623 w 781526"/>
                <a:gd name="connsiteY170" fmla="*/ 353438 h 547991"/>
                <a:gd name="connsiteX171" fmla="*/ 37351 w 781526"/>
                <a:gd name="connsiteY171" fmla="*/ 346953 h 547991"/>
                <a:gd name="connsiteX172" fmla="*/ 32487 w 781526"/>
                <a:gd name="connsiteY172" fmla="*/ 332362 h 547991"/>
                <a:gd name="connsiteX173" fmla="*/ 22759 w 781526"/>
                <a:gd name="connsiteY173" fmla="*/ 330740 h 547991"/>
                <a:gd name="connsiteX174" fmla="*/ 19517 w 781526"/>
                <a:gd name="connsiteY174" fmla="*/ 278860 h 547991"/>
                <a:gd name="connsiteX175" fmla="*/ 21138 w 781526"/>
                <a:gd name="connsiteY175" fmla="*/ 272374 h 547991"/>
                <a:gd name="connsiteX176" fmla="*/ 34108 w 781526"/>
                <a:gd name="connsiteY176" fmla="*/ 265889 h 547991"/>
                <a:gd name="connsiteX177" fmla="*/ 37351 w 781526"/>
                <a:gd name="connsiteY177" fmla="*/ 261025 h 547991"/>
                <a:gd name="connsiteX178" fmla="*/ 45457 w 781526"/>
                <a:gd name="connsiteY178" fmla="*/ 259404 h 547991"/>
                <a:gd name="connsiteX179" fmla="*/ 47078 w 781526"/>
                <a:gd name="connsiteY179" fmla="*/ 252919 h 547991"/>
                <a:gd name="connsiteX180" fmla="*/ 37351 w 781526"/>
                <a:gd name="connsiteY180" fmla="*/ 246434 h 547991"/>
                <a:gd name="connsiteX181" fmla="*/ 32487 w 781526"/>
                <a:gd name="connsiteY181" fmla="*/ 243191 h 547991"/>
                <a:gd name="connsiteX182" fmla="*/ 22759 w 781526"/>
                <a:gd name="connsiteY182" fmla="*/ 239949 h 547991"/>
                <a:gd name="connsiteX183" fmla="*/ 21138 w 781526"/>
                <a:gd name="connsiteY183" fmla="*/ 212387 h 547991"/>
                <a:gd name="connsiteX184" fmla="*/ 26002 w 781526"/>
                <a:gd name="connsiteY184" fmla="*/ 207523 h 547991"/>
                <a:gd name="connsiteX185" fmla="*/ 35729 w 781526"/>
                <a:gd name="connsiteY185" fmla="*/ 209145 h 547991"/>
                <a:gd name="connsiteX186" fmla="*/ 37351 w 781526"/>
                <a:gd name="connsiteY186" fmla="*/ 215630 h 547991"/>
                <a:gd name="connsiteX187" fmla="*/ 42215 w 781526"/>
                <a:gd name="connsiteY187" fmla="*/ 218872 h 547991"/>
                <a:gd name="connsiteX188" fmla="*/ 48700 w 781526"/>
                <a:gd name="connsiteY188" fmla="*/ 222115 h 547991"/>
                <a:gd name="connsiteX189" fmla="*/ 66534 w 781526"/>
                <a:gd name="connsiteY189" fmla="*/ 225357 h 547991"/>
                <a:gd name="connsiteX190" fmla="*/ 89232 w 781526"/>
                <a:gd name="connsiteY190" fmla="*/ 217251 h 547991"/>
                <a:gd name="connsiteX191" fmla="*/ 90853 w 781526"/>
                <a:gd name="connsiteY191" fmla="*/ 212387 h 547991"/>
                <a:gd name="connsiteX192" fmla="*/ 87610 w 781526"/>
                <a:gd name="connsiteY192" fmla="*/ 202660 h 547991"/>
                <a:gd name="connsiteX193" fmla="*/ 81125 w 781526"/>
                <a:gd name="connsiteY193" fmla="*/ 201038 h 547991"/>
                <a:gd name="connsiteX194" fmla="*/ 82746 w 781526"/>
                <a:gd name="connsiteY194" fmla="*/ 191311 h 547991"/>
                <a:gd name="connsiteX195" fmla="*/ 87610 w 781526"/>
                <a:gd name="connsiteY195" fmla="*/ 179962 h 547991"/>
                <a:gd name="connsiteX196" fmla="*/ 89232 w 781526"/>
                <a:gd name="connsiteY196" fmla="*/ 171855 h 547991"/>
                <a:gd name="connsiteX197" fmla="*/ 90853 w 781526"/>
                <a:gd name="connsiteY197" fmla="*/ 158885 h 547991"/>
                <a:gd name="connsiteX198" fmla="*/ 95717 w 781526"/>
                <a:gd name="connsiteY198" fmla="*/ 155643 h 547991"/>
                <a:gd name="connsiteX199" fmla="*/ 107066 w 781526"/>
                <a:gd name="connsiteY199" fmla="*/ 155643 h 547991"/>
                <a:gd name="connsiteX0" fmla="*/ 107066 w 781526"/>
                <a:gd name="connsiteY0" fmla="*/ 155643 h 547991"/>
                <a:gd name="connsiteX1" fmla="*/ 123278 w 781526"/>
                <a:gd name="connsiteY1" fmla="*/ 157264 h 547991"/>
                <a:gd name="connsiteX2" fmla="*/ 128142 w 781526"/>
                <a:gd name="connsiteY2" fmla="*/ 163749 h 547991"/>
                <a:gd name="connsiteX3" fmla="*/ 134627 w 781526"/>
                <a:gd name="connsiteY3" fmla="*/ 166991 h 547991"/>
                <a:gd name="connsiteX4" fmla="*/ 144355 w 781526"/>
                <a:gd name="connsiteY4" fmla="*/ 175098 h 547991"/>
                <a:gd name="connsiteX5" fmla="*/ 149219 w 781526"/>
                <a:gd name="connsiteY5" fmla="*/ 176719 h 547991"/>
                <a:gd name="connsiteX6" fmla="*/ 155704 w 781526"/>
                <a:gd name="connsiteY6" fmla="*/ 186447 h 547991"/>
                <a:gd name="connsiteX7" fmla="*/ 160568 w 781526"/>
                <a:gd name="connsiteY7" fmla="*/ 189689 h 547991"/>
                <a:gd name="connsiteX8" fmla="*/ 167053 w 781526"/>
                <a:gd name="connsiteY8" fmla="*/ 194553 h 547991"/>
                <a:gd name="connsiteX9" fmla="*/ 171917 w 781526"/>
                <a:gd name="connsiteY9" fmla="*/ 201038 h 547991"/>
                <a:gd name="connsiteX10" fmla="*/ 176780 w 781526"/>
                <a:gd name="connsiteY10" fmla="*/ 204281 h 547991"/>
                <a:gd name="connsiteX11" fmla="*/ 184887 w 781526"/>
                <a:gd name="connsiteY11" fmla="*/ 209145 h 547991"/>
                <a:gd name="connsiteX12" fmla="*/ 194615 w 781526"/>
                <a:gd name="connsiteY12" fmla="*/ 192932 h 547991"/>
                <a:gd name="connsiteX13" fmla="*/ 199478 w 781526"/>
                <a:gd name="connsiteY13" fmla="*/ 189689 h 547991"/>
                <a:gd name="connsiteX14" fmla="*/ 262708 w 781526"/>
                <a:gd name="connsiteY14" fmla="*/ 188068 h 547991"/>
                <a:gd name="connsiteX15" fmla="*/ 265951 w 781526"/>
                <a:gd name="connsiteY15" fmla="*/ 181583 h 547991"/>
                <a:gd name="connsiteX16" fmla="*/ 272436 w 781526"/>
                <a:gd name="connsiteY16" fmla="*/ 176719 h 547991"/>
                <a:gd name="connsiteX17" fmla="*/ 301619 w 781526"/>
                <a:gd name="connsiteY17" fmla="*/ 175098 h 547991"/>
                <a:gd name="connsiteX18" fmla="*/ 304861 w 781526"/>
                <a:gd name="connsiteY18" fmla="*/ 170234 h 547991"/>
                <a:gd name="connsiteX19" fmla="*/ 288649 w 781526"/>
                <a:gd name="connsiteY19" fmla="*/ 149157 h 547991"/>
                <a:gd name="connsiteX20" fmla="*/ 301619 w 781526"/>
                <a:gd name="connsiteY20" fmla="*/ 136187 h 547991"/>
                <a:gd name="connsiteX21" fmla="*/ 312968 w 781526"/>
                <a:gd name="connsiteY21" fmla="*/ 123217 h 547991"/>
                <a:gd name="connsiteX22" fmla="*/ 358363 w 781526"/>
                <a:gd name="connsiteY22" fmla="*/ 119974 h 547991"/>
                <a:gd name="connsiteX23" fmla="*/ 364849 w 781526"/>
                <a:gd name="connsiteY23" fmla="*/ 113489 h 547991"/>
                <a:gd name="connsiteX24" fmla="*/ 366470 w 781526"/>
                <a:gd name="connsiteY24" fmla="*/ 108625 h 547991"/>
                <a:gd name="connsiteX25" fmla="*/ 371334 w 781526"/>
                <a:gd name="connsiteY25" fmla="*/ 102140 h 547991"/>
                <a:gd name="connsiteX26" fmla="*/ 372955 w 781526"/>
                <a:gd name="connsiteY26" fmla="*/ 97277 h 547991"/>
                <a:gd name="connsiteX27" fmla="*/ 377819 w 781526"/>
                <a:gd name="connsiteY27" fmla="*/ 87549 h 547991"/>
                <a:gd name="connsiteX28" fmla="*/ 398895 w 781526"/>
                <a:gd name="connsiteY28" fmla="*/ 90791 h 547991"/>
                <a:gd name="connsiteX29" fmla="*/ 403759 w 781526"/>
                <a:gd name="connsiteY29" fmla="*/ 95655 h 547991"/>
                <a:gd name="connsiteX30" fmla="*/ 410244 w 781526"/>
                <a:gd name="connsiteY30" fmla="*/ 97277 h 547991"/>
                <a:gd name="connsiteX31" fmla="*/ 428078 w 781526"/>
                <a:gd name="connsiteY31" fmla="*/ 95655 h 547991"/>
                <a:gd name="connsiteX32" fmla="*/ 436185 w 781526"/>
                <a:gd name="connsiteY32" fmla="*/ 94034 h 547991"/>
                <a:gd name="connsiteX33" fmla="*/ 452397 w 781526"/>
                <a:gd name="connsiteY33" fmla="*/ 76200 h 547991"/>
                <a:gd name="connsiteX34" fmla="*/ 457261 w 781526"/>
                <a:gd name="connsiteY34" fmla="*/ 74579 h 547991"/>
                <a:gd name="connsiteX35" fmla="*/ 462125 w 781526"/>
                <a:gd name="connsiteY35" fmla="*/ 71336 h 547991"/>
                <a:gd name="connsiteX36" fmla="*/ 468610 w 781526"/>
                <a:gd name="connsiteY36" fmla="*/ 69715 h 547991"/>
                <a:gd name="connsiteX37" fmla="*/ 471853 w 781526"/>
                <a:gd name="connsiteY37" fmla="*/ 63230 h 547991"/>
                <a:gd name="connsiteX38" fmla="*/ 476717 w 781526"/>
                <a:gd name="connsiteY38" fmla="*/ 48638 h 547991"/>
                <a:gd name="connsiteX39" fmla="*/ 481580 w 781526"/>
                <a:gd name="connsiteY39" fmla="*/ 32425 h 547991"/>
                <a:gd name="connsiteX40" fmla="*/ 491308 w 781526"/>
                <a:gd name="connsiteY40" fmla="*/ 24319 h 547991"/>
                <a:gd name="connsiteX41" fmla="*/ 514006 w 781526"/>
                <a:gd name="connsiteY41" fmla="*/ 21077 h 547991"/>
                <a:gd name="connsiteX42" fmla="*/ 520491 w 781526"/>
                <a:gd name="connsiteY42" fmla="*/ 17834 h 547991"/>
                <a:gd name="connsiteX43" fmla="*/ 549674 w 781526"/>
                <a:gd name="connsiteY43" fmla="*/ 14591 h 547991"/>
                <a:gd name="connsiteX44" fmla="*/ 577236 w 781526"/>
                <a:gd name="connsiteY44" fmla="*/ 12970 h 547991"/>
                <a:gd name="connsiteX45" fmla="*/ 586963 w 781526"/>
                <a:gd name="connsiteY45" fmla="*/ 4864 h 547991"/>
                <a:gd name="connsiteX46" fmla="*/ 593449 w 781526"/>
                <a:gd name="connsiteY46" fmla="*/ 0 h 547991"/>
                <a:gd name="connsiteX47" fmla="*/ 598312 w 781526"/>
                <a:gd name="connsiteY47" fmla="*/ 1621 h 547991"/>
                <a:gd name="connsiteX48" fmla="*/ 604797 w 781526"/>
                <a:gd name="connsiteY48" fmla="*/ 3243 h 547991"/>
                <a:gd name="connsiteX49" fmla="*/ 609661 w 781526"/>
                <a:gd name="connsiteY49" fmla="*/ 8106 h 547991"/>
                <a:gd name="connsiteX50" fmla="*/ 614525 w 781526"/>
                <a:gd name="connsiteY50" fmla="*/ 11349 h 547991"/>
                <a:gd name="connsiteX51" fmla="*/ 621010 w 781526"/>
                <a:gd name="connsiteY51" fmla="*/ 16213 h 547991"/>
                <a:gd name="connsiteX52" fmla="*/ 629117 w 781526"/>
                <a:gd name="connsiteY52" fmla="*/ 27562 h 547991"/>
                <a:gd name="connsiteX53" fmla="*/ 633980 w 781526"/>
                <a:gd name="connsiteY53" fmla="*/ 34047 h 547991"/>
                <a:gd name="connsiteX54" fmla="*/ 643708 w 781526"/>
                <a:gd name="connsiteY54" fmla="*/ 37289 h 547991"/>
                <a:gd name="connsiteX55" fmla="*/ 659921 w 781526"/>
                <a:gd name="connsiteY55" fmla="*/ 30804 h 547991"/>
                <a:gd name="connsiteX56" fmla="*/ 672891 w 781526"/>
                <a:gd name="connsiteY56" fmla="*/ 24319 h 547991"/>
                <a:gd name="connsiteX57" fmla="*/ 692346 w 781526"/>
                <a:gd name="connsiteY57" fmla="*/ 21077 h 547991"/>
                <a:gd name="connsiteX58" fmla="*/ 713423 w 781526"/>
                <a:gd name="connsiteY58" fmla="*/ 27562 h 547991"/>
                <a:gd name="connsiteX59" fmla="*/ 726393 w 781526"/>
                <a:gd name="connsiteY59" fmla="*/ 43774 h 547991"/>
                <a:gd name="connsiteX60" fmla="*/ 736121 w 781526"/>
                <a:gd name="connsiteY60" fmla="*/ 51881 h 547991"/>
                <a:gd name="connsiteX61" fmla="*/ 742606 w 781526"/>
                <a:gd name="connsiteY61" fmla="*/ 58366 h 547991"/>
                <a:gd name="connsiteX62" fmla="*/ 755576 w 781526"/>
                <a:gd name="connsiteY62" fmla="*/ 56745 h 547991"/>
                <a:gd name="connsiteX63" fmla="*/ 760440 w 781526"/>
                <a:gd name="connsiteY63" fmla="*/ 55123 h 547991"/>
                <a:gd name="connsiteX64" fmla="*/ 768546 w 781526"/>
                <a:gd name="connsiteY64" fmla="*/ 59987 h 547991"/>
                <a:gd name="connsiteX65" fmla="*/ 779844 w 781526"/>
                <a:gd name="connsiteY65" fmla="*/ 60013 h 547991"/>
                <a:gd name="connsiteX66" fmla="*/ 781311 w 781526"/>
                <a:gd name="connsiteY66" fmla="*/ 68634 h 547991"/>
                <a:gd name="connsiteX67" fmla="*/ 768546 w 781526"/>
                <a:gd name="connsiteY67" fmla="*/ 103762 h 547991"/>
                <a:gd name="connsiteX68" fmla="*/ 755576 w 781526"/>
                <a:gd name="connsiteY68" fmla="*/ 105383 h 547991"/>
                <a:gd name="connsiteX69" fmla="*/ 742606 w 781526"/>
                <a:gd name="connsiteY69" fmla="*/ 108625 h 547991"/>
                <a:gd name="connsiteX70" fmla="*/ 739363 w 781526"/>
                <a:gd name="connsiteY70" fmla="*/ 113489 h 547991"/>
                <a:gd name="connsiteX71" fmla="*/ 729636 w 781526"/>
                <a:gd name="connsiteY71" fmla="*/ 119974 h 547991"/>
                <a:gd name="connsiteX72" fmla="*/ 728015 w 781526"/>
                <a:gd name="connsiteY72" fmla="*/ 126460 h 547991"/>
                <a:gd name="connsiteX73" fmla="*/ 718287 w 781526"/>
                <a:gd name="connsiteY73" fmla="*/ 134566 h 547991"/>
                <a:gd name="connsiteX74" fmla="*/ 711802 w 781526"/>
                <a:gd name="connsiteY74" fmla="*/ 142672 h 547991"/>
                <a:gd name="connsiteX75" fmla="*/ 710180 w 781526"/>
                <a:gd name="connsiteY75" fmla="*/ 150779 h 547991"/>
                <a:gd name="connsiteX76" fmla="*/ 705317 w 781526"/>
                <a:gd name="connsiteY76" fmla="*/ 157264 h 547991"/>
                <a:gd name="connsiteX77" fmla="*/ 702074 w 781526"/>
                <a:gd name="connsiteY77" fmla="*/ 162128 h 547991"/>
                <a:gd name="connsiteX78" fmla="*/ 697210 w 781526"/>
                <a:gd name="connsiteY78" fmla="*/ 173477 h 547991"/>
                <a:gd name="connsiteX79" fmla="*/ 695589 w 781526"/>
                <a:gd name="connsiteY79" fmla="*/ 178340 h 547991"/>
                <a:gd name="connsiteX80" fmla="*/ 693968 w 781526"/>
                <a:gd name="connsiteY80" fmla="*/ 197796 h 547991"/>
                <a:gd name="connsiteX81" fmla="*/ 687483 w 781526"/>
                <a:gd name="connsiteY81" fmla="*/ 201038 h 547991"/>
                <a:gd name="connsiteX82" fmla="*/ 684240 w 781526"/>
                <a:gd name="connsiteY82" fmla="*/ 205902 h 547991"/>
                <a:gd name="connsiteX83" fmla="*/ 682619 w 781526"/>
                <a:gd name="connsiteY83" fmla="*/ 220494 h 547991"/>
                <a:gd name="connsiteX84" fmla="*/ 677755 w 781526"/>
                <a:gd name="connsiteY84" fmla="*/ 231843 h 547991"/>
                <a:gd name="connsiteX85" fmla="*/ 676134 w 781526"/>
                <a:gd name="connsiteY85" fmla="*/ 238328 h 547991"/>
                <a:gd name="connsiteX86" fmla="*/ 671270 w 781526"/>
                <a:gd name="connsiteY86" fmla="*/ 261025 h 547991"/>
                <a:gd name="connsiteX87" fmla="*/ 669649 w 781526"/>
                <a:gd name="connsiteY87" fmla="*/ 270753 h 547991"/>
                <a:gd name="connsiteX88" fmla="*/ 664785 w 781526"/>
                <a:gd name="connsiteY88" fmla="*/ 273996 h 547991"/>
                <a:gd name="connsiteX89" fmla="*/ 659921 w 781526"/>
                <a:gd name="connsiteY89" fmla="*/ 304800 h 547991"/>
                <a:gd name="connsiteX90" fmla="*/ 658300 w 781526"/>
                <a:gd name="connsiteY90" fmla="*/ 309664 h 547991"/>
                <a:gd name="connsiteX91" fmla="*/ 659921 w 781526"/>
                <a:gd name="connsiteY91" fmla="*/ 317770 h 547991"/>
                <a:gd name="connsiteX92" fmla="*/ 648572 w 781526"/>
                <a:gd name="connsiteY92" fmla="*/ 324255 h 547991"/>
                <a:gd name="connsiteX93" fmla="*/ 642087 w 781526"/>
                <a:gd name="connsiteY93" fmla="*/ 348574 h 547991"/>
                <a:gd name="connsiteX94" fmla="*/ 632359 w 781526"/>
                <a:gd name="connsiteY94" fmla="*/ 353438 h 547991"/>
                <a:gd name="connsiteX95" fmla="*/ 630738 w 781526"/>
                <a:gd name="connsiteY95" fmla="*/ 376136 h 547991"/>
                <a:gd name="connsiteX96" fmla="*/ 619389 w 781526"/>
                <a:gd name="connsiteY96" fmla="*/ 387485 h 547991"/>
                <a:gd name="connsiteX97" fmla="*/ 617768 w 781526"/>
                <a:gd name="connsiteY97" fmla="*/ 403698 h 547991"/>
                <a:gd name="connsiteX98" fmla="*/ 616146 w 781526"/>
                <a:gd name="connsiteY98" fmla="*/ 408562 h 547991"/>
                <a:gd name="connsiteX99" fmla="*/ 614525 w 781526"/>
                <a:gd name="connsiteY99" fmla="*/ 418289 h 547991"/>
                <a:gd name="connsiteX100" fmla="*/ 604797 w 781526"/>
                <a:gd name="connsiteY100" fmla="*/ 421532 h 547991"/>
                <a:gd name="connsiteX101" fmla="*/ 601555 w 781526"/>
                <a:gd name="connsiteY101" fmla="*/ 416668 h 547991"/>
                <a:gd name="connsiteX102" fmla="*/ 582100 w 781526"/>
                <a:gd name="connsiteY102" fmla="*/ 418289 h 547991"/>
                <a:gd name="connsiteX103" fmla="*/ 577236 w 781526"/>
                <a:gd name="connsiteY103" fmla="*/ 423153 h 547991"/>
                <a:gd name="connsiteX104" fmla="*/ 575615 w 781526"/>
                <a:gd name="connsiteY104" fmla="*/ 428017 h 547991"/>
                <a:gd name="connsiteX105" fmla="*/ 573993 w 781526"/>
                <a:gd name="connsiteY105" fmla="*/ 442608 h 547991"/>
                <a:gd name="connsiteX106" fmla="*/ 569129 w 781526"/>
                <a:gd name="connsiteY106" fmla="*/ 444230 h 547991"/>
                <a:gd name="connsiteX107" fmla="*/ 561023 w 781526"/>
                <a:gd name="connsiteY107" fmla="*/ 445851 h 547991"/>
                <a:gd name="connsiteX108" fmla="*/ 541568 w 781526"/>
                <a:gd name="connsiteY108" fmla="*/ 440987 h 547991"/>
                <a:gd name="connsiteX109" fmla="*/ 530219 w 781526"/>
                <a:gd name="connsiteY109" fmla="*/ 442608 h 547991"/>
                <a:gd name="connsiteX110" fmla="*/ 518870 w 781526"/>
                <a:gd name="connsiteY110" fmla="*/ 458821 h 547991"/>
                <a:gd name="connsiteX111" fmla="*/ 512385 w 781526"/>
                <a:gd name="connsiteY111" fmla="*/ 457200 h 547991"/>
                <a:gd name="connsiteX112" fmla="*/ 504278 w 781526"/>
                <a:gd name="connsiteY112" fmla="*/ 455579 h 547991"/>
                <a:gd name="connsiteX113" fmla="*/ 499415 w 781526"/>
                <a:gd name="connsiteY113" fmla="*/ 453957 h 547991"/>
                <a:gd name="connsiteX114" fmla="*/ 489687 w 781526"/>
                <a:gd name="connsiteY114" fmla="*/ 452336 h 547991"/>
                <a:gd name="connsiteX115" fmla="*/ 483202 w 781526"/>
                <a:gd name="connsiteY115" fmla="*/ 455579 h 547991"/>
                <a:gd name="connsiteX116" fmla="*/ 479959 w 781526"/>
                <a:gd name="connsiteY116" fmla="*/ 460443 h 547991"/>
                <a:gd name="connsiteX117" fmla="*/ 455640 w 781526"/>
                <a:gd name="connsiteY117" fmla="*/ 458821 h 547991"/>
                <a:gd name="connsiteX118" fmla="*/ 444291 w 781526"/>
                <a:gd name="connsiteY118" fmla="*/ 455579 h 547991"/>
                <a:gd name="connsiteX119" fmla="*/ 434563 w 781526"/>
                <a:gd name="connsiteY119" fmla="*/ 453957 h 547991"/>
                <a:gd name="connsiteX120" fmla="*/ 428078 w 781526"/>
                <a:gd name="connsiteY120" fmla="*/ 455579 h 547991"/>
                <a:gd name="connsiteX121" fmla="*/ 426457 w 781526"/>
                <a:gd name="connsiteY121" fmla="*/ 468549 h 547991"/>
                <a:gd name="connsiteX122" fmla="*/ 424836 w 781526"/>
                <a:gd name="connsiteY122" fmla="*/ 473413 h 547991"/>
                <a:gd name="connsiteX123" fmla="*/ 418351 w 781526"/>
                <a:gd name="connsiteY123" fmla="*/ 479898 h 547991"/>
                <a:gd name="connsiteX124" fmla="*/ 395653 w 781526"/>
                <a:gd name="connsiteY124" fmla="*/ 492868 h 547991"/>
                <a:gd name="connsiteX125" fmla="*/ 372955 w 781526"/>
                <a:gd name="connsiteY125" fmla="*/ 494489 h 547991"/>
                <a:gd name="connsiteX126" fmla="*/ 361606 w 781526"/>
                <a:gd name="connsiteY126" fmla="*/ 497732 h 547991"/>
                <a:gd name="connsiteX127" fmla="*/ 358363 w 781526"/>
                <a:gd name="connsiteY127" fmla="*/ 502596 h 547991"/>
                <a:gd name="connsiteX128" fmla="*/ 329180 w 781526"/>
                <a:gd name="connsiteY128" fmla="*/ 504217 h 547991"/>
                <a:gd name="connsiteX129" fmla="*/ 319453 w 781526"/>
                <a:gd name="connsiteY129" fmla="*/ 513945 h 547991"/>
                <a:gd name="connsiteX130" fmla="*/ 304861 w 781526"/>
                <a:gd name="connsiteY130" fmla="*/ 522051 h 547991"/>
                <a:gd name="connsiteX131" fmla="*/ 298376 w 781526"/>
                <a:gd name="connsiteY131" fmla="*/ 526915 h 547991"/>
                <a:gd name="connsiteX132" fmla="*/ 293512 w 781526"/>
                <a:gd name="connsiteY132" fmla="*/ 536643 h 547991"/>
                <a:gd name="connsiteX133" fmla="*/ 295134 w 781526"/>
                <a:gd name="connsiteY133" fmla="*/ 541506 h 547991"/>
                <a:gd name="connsiteX134" fmla="*/ 293512 w 781526"/>
                <a:gd name="connsiteY134" fmla="*/ 546370 h 547991"/>
                <a:gd name="connsiteX135" fmla="*/ 287027 w 781526"/>
                <a:gd name="connsiteY135" fmla="*/ 547991 h 547991"/>
                <a:gd name="connsiteX136" fmla="*/ 259466 w 781526"/>
                <a:gd name="connsiteY136" fmla="*/ 546370 h 547991"/>
                <a:gd name="connsiteX137" fmla="*/ 248117 w 781526"/>
                <a:gd name="connsiteY137" fmla="*/ 543128 h 547991"/>
                <a:gd name="connsiteX138" fmla="*/ 243253 w 781526"/>
                <a:gd name="connsiteY138" fmla="*/ 541506 h 547991"/>
                <a:gd name="connsiteX139" fmla="*/ 204342 w 781526"/>
                <a:gd name="connsiteY139" fmla="*/ 539885 h 547991"/>
                <a:gd name="connsiteX140" fmla="*/ 197857 w 781526"/>
                <a:gd name="connsiteY140" fmla="*/ 528536 h 547991"/>
                <a:gd name="connsiteX141" fmla="*/ 189751 w 781526"/>
                <a:gd name="connsiteY141" fmla="*/ 517187 h 547991"/>
                <a:gd name="connsiteX142" fmla="*/ 184887 w 781526"/>
                <a:gd name="connsiteY142" fmla="*/ 513945 h 547991"/>
                <a:gd name="connsiteX143" fmla="*/ 170295 w 781526"/>
                <a:gd name="connsiteY143" fmla="*/ 512323 h 547991"/>
                <a:gd name="connsiteX144" fmla="*/ 141112 w 781526"/>
                <a:gd name="connsiteY144" fmla="*/ 512323 h 547991"/>
                <a:gd name="connsiteX145" fmla="*/ 139491 w 781526"/>
                <a:gd name="connsiteY145" fmla="*/ 507460 h 547991"/>
                <a:gd name="connsiteX146" fmla="*/ 141112 w 781526"/>
                <a:gd name="connsiteY146" fmla="*/ 502596 h 547991"/>
                <a:gd name="connsiteX147" fmla="*/ 134627 w 781526"/>
                <a:gd name="connsiteY147" fmla="*/ 499353 h 547991"/>
                <a:gd name="connsiteX148" fmla="*/ 128142 w 781526"/>
                <a:gd name="connsiteY148" fmla="*/ 492868 h 547991"/>
                <a:gd name="connsiteX149" fmla="*/ 118415 w 781526"/>
                <a:gd name="connsiteY149" fmla="*/ 488004 h 547991"/>
                <a:gd name="connsiteX150" fmla="*/ 107066 w 781526"/>
                <a:gd name="connsiteY150" fmla="*/ 478277 h 547991"/>
                <a:gd name="connsiteX151" fmla="*/ 97338 w 781526"/>
                <a:gd name="connsiteY151" fmla="*/ 475034 h 547991"/>
                <a:gd name="connsiteX152" fmla="*/ 94095 w 781526"/>
                <a:gd name="connsiteY152" fmla="*/ 470170 h 547991"/>
                <a:gd name="connsiteX153" fmla="*/ 89232 w 781526"/>
                <a:gd name="connsiteY153" fmla="*/ 457200 h 547991"/>
                <a:gd name="connsiteX154" fmla="*/ 60049 w 781526"/>
                <a:gd name="connsiteY154" fmla="*/ 440987 h 547991"/>
                <a:gd name="connsiteX155" fmla="*/ 45457 w 781526"/>
                <a:gd name="connsiteY155" fmla="*/ 437745 h 547991"/>
                <a:gd name="connsiteX156" fmla="*/ 40593 w 781526"/>
                <a:gd name="connsiteY156" fmla="*/ 429638 h 547991"/>
                <a:gd name="connsiteX157" fmla="*/ 37351 w 781526"/>
                <a:gd name="connsiteY157" fmla="*/ 419911 h 547991"/>
                <a:gd name="connsiteX158" fmla="*/ 35729 w 781526"/>
                <a:gd name="connsiteY158" fmla="*/ 415047 h 547991"/>
                <a:gd name="connsiteX159" fmla="*/ 30866 w 781526"/>
                <a:gd name="connsiteY159" fmla="*/ 410183 h 547991"/>
                <a:gd name="connsiteX160" fmla="*/ 24380 w 781526"/>
                <a:gd name="connsiteY160" fmla="*/ 405319 h 547991"/>
                <a:gd name="connsiteX161" fmla="*/ 14653 w 781526"/>
                <a:gd name="connsiteY161" fmla="*/ 398834 h 547991"/>
                <a:gd name="connsiteX162" fmla="*/ 13032 w 781526"/>
                <a:gd name="connsiteY162" fmla="*/ 393970 h 547991"/>
                <a:gd name="connsiteX163" fmla="*/ 11410 w 781526"/>
                <a:gd name="connsiteY163" fmla="*/ 377757 h 547991"/>
                <a:gd name="connsiteX164" fmla="*/ 6546 w 781526"/>
                <a:gd name="connsiteY164" fmla="*/ 372894 h 547991"/>
                <a:gd name="connsiteX165" fmla="*/ 4925 w 781526"/>
                <a:gd name="connsiteY165" fmla="*/ 366408 h 547991"/>
                <a:gd name="connsiteX166" fmla="*/ 61 w 781526"/>
                <a:gd name="connsiteY166" fmla="*/ 363166 h 547991"/>
                <a:gd name="connsiteX167" fmla="*/ 3304 w 781526"/>
                <a:gd name="connsiteY167" fmla="*/ 356681 h 547991"/>
                <a:gd name="connsiteX168" fmla="*/ 13032 w 781526"/>
                <a:gd name="connsiteY168" fmla="*/ 355060 h 547991"/>
                <a:gd name="connsiteX169" fmla="*/ 27623 w 781526"/>
                <a:gd name="connsiteY169" fmla="*/ 353438 h 547991"/>
                <a:gd name="connsiteX170" fmla="*/ 37351 w 781526"/>
                <a:gd name="connsiteY170" fmla="*/ 346953 h 547991"/>
                <a:gd name="connsiteX171" fmla="*/ 32487 w 781526"/>
                <a:gd name="connsiteY171" fmla="*/ 332362 h 547991"/>
                <a:gd name="connsiteX172" fmla="*/ 22759 w 781526"/>
                <a:gd name="connsiteY172" fmla="*/ 330740 h 547991"/>
                <a:gd name="connsiteX173" fmla="*/ 19517 w 781526"/>
                <a:gd name="connsiteY173" fmla="*/ 278860 h 547991"/>
                <a:gd name="connsiteX174" fmla="*/ 21138 w 781526"/>
                <a:gd name="connsiteY174" fmla="*/ 272374 h 547991"/>
                <a:gd name="connsiteX175" fmla="*/ 34108 w 781526"/>
                <a:gd name="connsiteY175" fmla="*/ 265889 h 547991"/>
                <a:gd name="connsiteX176" fmla="*/ 37351 w 781526"/>
                <a:gd name="connsiteY176" fmla="*/ 261025 h 547991"/>
                <a:gd name="connsiteX177" fmla="*/ 45457 w 781526"/>
                <a:gd name="connsiteY177" fmla="*/ 259404 h 547991"/>
                <a:gd name="connsiteX178" fmla="*/ 47078 w 781526"/>
                <a:gd name="connsiteY178" fmla="*/ 252919 h 547991"/>
                <a:gd name="connsiteX179" fmla="*/ 37351 w 781526"/>
                <a:gd name="connsiteY179" fmla="*/ 246434 h 547991"/>
                <a:gd name="connsiteX180" fmla="*/ 32487 w 781526"/>
                <a:gd name="connsiteY180" fmla="*/ 243191 h 547991"/>
                <a:gd name="connsiteX181" fmla="*/ 22759 w 781526"/>
                <a:gd name="connsiteY181" fmla="*/ 239949 h 547991"/>
                <a:gd name="connsiteX182" fmla="*/ 21138 w 781526"/>
                <a:gd name="connsiteY182" fmla="*/ 212387 h 547991"/>
                <a:gd name="connsiteX183" fmla="*/ 26002 w 781526"/>
                <a:gd name="connsiteY183" fmla="*/ 207523 h 547991"/>
                <a:gd name="connsiteX184" fmla="*/ 35729 w 781526"/>
                <a:gd name="connsiteY184" fmla="*/ 209145 h 547991"/>
                <a:gd name="connsiteX185" fmla="*/ 37351 w 781526"/>
                <a:gd name="connsiteY185" fmla="*/ 215630 h 547991"/>
                <a:gd name="connsiteX186" fmla="*/ 42215 w 781526"/>
                <a:gd name="connsiteY186" fmla="*/ 218872 h 547991"/>
                <a:gd name="connsiteX187" fmla="*/ 48700 w 781526"/>
                <a:gd name="connsiteY187" fmla="*/ 222115 h 547991"/>
                <a:gd name="connsiteX188" fmla="*/ 66534 w 781526"/>
                <a:gd name="connsiteY188" fmla="*/ 225357 h 547991"/>
                <a:gd name="connsiteX189" fmla="*/ 89232 w 781526"/>
                <a:gd name="connsiteY189" fmla="*/ 217251 h 547991"/>
                <a:gd name="connsiteX190" fmla="*/ 90853 w 781526"/>
                <a:gd name="connsiteY190" fmla="*/ 212387 h 547991"/>
                <a:gd name="connsiteX191" fmla="*/ 87610 w 781526"/>
                <a:gd name="connsiteY191" fmla="*/ 202660 h 547991"/>
                <a:gd name="connsiteX192" fmla="*/ 81125 w 781526"/>
                <a:gd name="connsiteY192" fmla="*/ 201038 h 547991"/>
                <a:gd name="connsiteX193" fmla="*/ 82746 w 781526"/>
                <a:gd name="connsiteY193" fmla="*/ 191311 h 547991"/>
                <a:gd name="connsiteX194" fmla="*/ 87610 w 781526"/>
                <a:gd name="connsiteY194" fmla="*/ 179962 h 547991"/>
                <a:gd name="connsiteX195" fmla="*/ 89232 w 781526"/>
                <a:gd name="connsiteY195" fmla="*/ 171855 h 547991"/>
                <a:gd name="connsiteX196" fmla="*/ 90853 w 781526"/>
                <a:gd name="connsiteY196" fmla="*/ 158885 h 547991"/>
                <a:gd name="connsiteX197" fmla="*/ 95717 w 781526"/>
                <a:gd name="connsiteY197" fmla="*/ 155643 h 547991"/>
                <a:gd name="connsiteX198" fmla="*/ 107066 w 781526"/>
                <a:gd name="connsiteY198" fmla="*/ 155643 h 547991"/>
                <a:gd name="connsiteX0" fmla="*/ 107066 w 781526"/>
                <a:gd name="connsiteY0" fmla="*/ 155643 h 547991"/>
                <a:gd name="connsiteX1" fmla="*/ 123278 w 781526"/>
                <a:gd name="connsiteY1" fmla="*/ 157264 h 547991"/>
                <a:gd name="connsiteX2" fmla="*/ 128142 w 781526"/>
                <a:gd name="connsiteY2" fmla="*/ 163749 h 547991"/>
                <a:gd name="connsiteX3" fmla="*/ 134627 w 781526"/>
                <a:gd name="connsiteY3" fmla="*/ 166991 h 547991"/>
                <a:gd name="connsiteX4" fmla="*/ 144355 w 781526"/>
                <a:gd name="connsiteY4" fmla="*/ 175098 h 547991"/>
                <a:gd name="connsiteX5" fmla="*/ 149219 w 781526"/>
                <a:gd name="connsiteY5" fmla="*/ 176719 h 547991"/>
                <a:gd name="connsiteX6" fmla="*/ 155704 w 781526"/>
                <a:gd name="connsiteY6" fmla="*/ 186447 h 547991"/>
                <a:gd name="connsiteX7" fmla="*/ 160568 w 781526"/>
                <a:gd name="connsiteY7" fmla="*/ 189689 h 547991"/>
                <a:gd name="connsiteX8" fmla="*/ 167053 w 781526"/>
                <a:gd name="connsiteY8" fmla="*/ 194553 h 547991"/>
                <a:gd name="connsiteX9" fmla="*/ 171917 w 781526"/>
                <a:gd name="connsiteY9" fmla="*/ 201038 h 547991"/>
                <a:gd name="connsiteX10" fmla="*/ 176780 w 781526"/>
                <a:gd name="connsiteY10" fmla="*/ 204281 h 547991"/>
                <a:gd name="connsiteX11" fmla="*/ 184887 w 781526"/>
                <a:gd name="connsiteY11" fmla="*/ 209145 h 547991"/>
                <a:gd name="connsiteX12" fmla="*/ 194615 w 781526"/>
                <a:gd name="connsiteY12" fmla="*/ 192932 h 547991"/>
                <a:gd name="connsiteX13" fmla="*/ 199478 w 781526"/>
                <a:gd name="connsiteY13" fmla="*/ 189689 h 547991"/>
                <a:gd name="connsiteX14" fmla="*/ 262708 w 781526"/>
                <a:gd name="connsiteY14" fmla="*/ 188068 h 547991"/>
                <a:gd name="connsiteX15" fmla="*/ 265951 w 781526"/>
                <a:gd name="connsiteY15" fmla="*/ 181583 h 547991"/>
                <a:gd name="connsiteX16" fmla="*/ 272436 w 781526"/>
                <a:gd name="connsiteY16" fmla="*/ 176719 h 547991"/>
                <a:gd name="connsiteX17" fmla="*/ 301619 w 781526"/>
                <a:gd name="connsiteY17" fmla="*/ 175098 h 547991"/>
                <a:gd name="connsiteX18" fmla="*/ 304861 w 781526"/>
                <a:gd name="connsiteY18" fmla="*/ 170234 h 547991"/>
                <a:gd name="connsiteX19" fmla="*/ 288649 w 781526"/>
                <a:gd name="connsiteY19" fmla="*/ 149157 h 547991"/>
                <a:gd name="connsiteX20" fmla="*/ 301619 w 781526"/>
                <a:gd name="connsiteY20" fmla="*/ 136187 h 547991"/>
                <a:gd name="connsiteX21" fmla="*/ 312968 w 781526"/>
                <a:gd name="connsiteY21" fmla="*/ 123217 h 547991"/>
                <a:gd name="connsiteX22" fmla="*/ 358363 w 781526"/>
                <a:gd name="connsiteY22" fmla="*/ 119974 h 547991"/>
                <a:gd name="connsiteX23" fmla="*/ 364849 w 781526"/>
                <a:gd name="connsiteY23" fmla="*/ 113489 h 547991"/>
                <a:gd name="connsiteX24" fmla="*/ 366470 w 781526"/>
                <a:gd name="connsiteY24" fmla="*/ 108625 h 547991"/>
                <a:gd name="connsiteX25" fmla="*/ 371334 w 781526"/>
                <a:gd name="connsiteY25" fmla="*/ 102140 h 547991"/>
                <a:gd name="connsiteX26" fmla="*/ 372955 w 781526"/>
                <a:gd name="connsiteY26" fmla="*/ 97277 h 547991"/>
                <a:gd name="connsiteX27" fmla="*/ 377819 w 781526"/>
                <a:gd name="connsiteY27" fmla="*/ 87549 h 547991"/>
                <a:gd name="connsiteX28" fmla="*/ 398895 w 781526"/>
                <a:gd name="connsiteY28" fmla="*/ 90791 h 547991"/>
                <a:gd name="connsiteX29" fmla="*/ 403759 w 781526"/>
                <a:gd name="connsiteY29" fmla="*/ 95655 h 547991"/>
                <a:gd name="connsiteX30" fmla="*/ 410244 w 781526"/>
                <a:gd name="connsiteY30" fmla="*/ 97277 h 547991"/>
                <a:gd name="connsiteX31" fmla="*/ 428078 w 781526"/>
                <a:gd name="connsiteY31" fmla="*/ 95655 h 547991"/>
                <a:gd name="connsiteX32" fmla="*/ 436185 w 781526"/>
                <a:gd name="connsiteY32" fmla="*/ 94034 h 547991"/>
                <a:gd name="connsiteX33" fmla="*/ 452397 w 781526"/>
                <a:gd name="connsiteY33" fmla="*/ 76200 h 547991"/>
                <a:gd name="connsiteX34" fmla="*/ 457261 w 781526"/>
                <a:gd name="connsiteY34" fmla="*/ 74579 h 547991"/>
                <a:gd name="connsiteX35" fmla="*/ 462125 w 781526"/>
                <a:gd name="connsiteY35" fmla="*/ 71336 h 547991"/>
                <a:gd name="connsiteX36" fmla="*/ 468610 w 781526"/>
                <a:gd name="connsiteY36" fmla="*/ 69715 h 547991"/>
                <a:gd name="connsiteX37" fmla="*/ 471853 w 781526"/>
                <a:gd name="connsiteY37" fmla="*/ 63230 h 547991"/>
                <a:gd name="connsiteX38" fmla="*/ 476717 w 781526"/>
                <a:gd name="connsiteY38" fmla="*/ 48638 h 547991"/>
                <a:gd name="connsiteX39" fmla="*/ 481580 w 781526"/>
                <a:gd name="connsiteY39" fmla="*/ 32425 h 547991"/>
                <a:gd name="connsiteX40" fmla="*/ 491308 w 781526"/>
                <a:gd name="connsiteY40" fmla="*/ 24319 h 547991"/>
                <a:gd name="connsiteX41" fmla="*/ 514006 w 781526"/>
                <a:gd name="connsiteY41" fmla="*/ 21077 h 547991"/>
                <a:gd name="connsiteX42" fmla="*/ 520491 w 781526"/>
                <a:gd name="connsiteY42" fmla="*/ 17834 h 547991"/>
                <a:gd name="connsiteX43" fmla="*/ 549674 w 781526"/>
                <a:gd name="connsiteY43" fmla="*/ 14591 h 547991"/>
                <a:gd name="connsiteX44" fmla="*/ 577236 w 781526"/>
                <a:gd name="connsiteY44" fmla="*/ 12970 h 547991"/>
                <a:gd name="connsiteX45" fmla="*/ 586963 w 781526"/>
                <a:gd name="connsiteY45" fmla="*/ 4864 h 547991"/>
                <a:gd name="connsiteX46" fmla="*/ 593449 w 781526"/>
                <a:gd name="connsiteY46" fmla="*/ 0 h 547991"/>
                <a:gd name="connsiteX47" fmla="*/ 598312 w 781526"/>
                <a:gd name="connsiteY47" fmla="*/ 1621 h 547991"/>
                <a:gd name="connsiteX48" fmla="*/ 604797 w 781526"/>
                <a:gd name="connsiteY48" fmla="*/ 3243 h 547991"/>
                <a:gd name="connsiteX49" fmla="*/ 609661 w 781526"/>
                <a:gd name="connsiteY49" fmla="*/ 8106 h 547991"/>
                <a:gd name="connsiteX50" fmla="*/ 614525 w 781526"/>
                <a:gd name="connsiteY50" fmla="*/ 11349 h 547991"/>
                <a:gd name="connsiteX51" fmla="*/ 621010 w 781526"/>
                <a:gd name="connsiteY51" fmla="*/ 16213 h 547991"/>
                <a:gd name="connsiteX52" fmla="*/ 629117 w 781526"/>
                <a:gd name="connsiteY52" fmla="*/ 27562 h 547991"/>
                <a:gd name="connsiteX53" fmla="*/ 633980 w 781526"/>
                <a:gd name="connsiteY53" fmla="*/ 34047 h 547991"/>
                <a:gd name="connsiteX54" fmla="*/ 643708 w 781526"/>
                <a:gd name="connsiteY54" fmla="*/ 37289 h 547991"/>
                <a:gd name="connsiteX55" fmla="*/ 659921 w 781526"/>
                <a:gd name="connsiteY55" fmla="*/ 30804 h 547991"/>
                <a:gd name="connsiteX56" fmla="*/ 672891 w 781526"/>
                <a:gd name="connsiteY56" fmla="*/ 24319 h 547991"/>
                <a:gd name="connsiteX57" fmla="*/ 692346 w 781526"/>
                <a:gd name="connsiteY57" fmla="*/ 21077 h 547991"/>
                <a:gd name="connsiteX58" fmla="*/ 713423 w 781526"/>
                <a:gd name="connsiteY58" fmla="*/ 27562 h 547991"/>
                <a:gd name="connsiteX59" fmla="*/ 726393 w 781526"/>
                <a:gd name="connsiteY59" fmla="*/ 43774 h 547991"/>
                <a:gd name="connsiteX60" fmla="*/ 736121 w 781526"/>
                <a:gd name="connsiteY60" fmla="*/ 51881 h 547991"/>
                <a:gd name="connsiteX61" fmla="*/ 742606 w 781526"/>
                <a:gd name="connsiteY61" fmla="*/ 58366 h 547991"/>
                <a:gd name="connsiteX62" fmla="*/ 755576 w 781526"/>
                <a:gd name="connsiteY62" fmla="*/ 56745 h 547991"/>
                <a:gd name="connsiteX63" fmla="*/ 760440 w 781526"/>
                <a:gd name="connsiteY63" fmla="*/ 55123 h 547991"/>
                <a:gd name="connsiteX64" fmla="*/ 768546 w 781526"/>
                <a:gd name="connsiteY64" fmla="*/ 59987 h 547991"/>
                <a:gd name="connsiteX65" fmla="*/ 779844 w 781526"/>
                <a:gd name="connsiteY65" fmla="*/ 60013 h 547991"/>
                <a:gd name="connsiteX66" fmla="*/ 781311 w 781526"/>
                <a:gd name="connsiteY66" fmla="*/ 68634 h 547991"/>
                <a:gd name="connsiteX67" fmla="*/ 768546 w 781526"/>
                <a:gd name="connsiteY67" fmla="*/ 103762 h 547991"/>
                <a:gd name="connsiteX68" fmla="*/ 755576 w 781526"/>
                <a:gd name="connsiteY68" fmla="*/ 105383 h 547991"/>
                <a:gd name="connsiteX69" fmla="*/ 742606 w 781526"/>
                <a:gd name="connsiteY69" fmla="*/ 108625 h 547991"/>
                <a:gd name="connsiteX70" fmla="*/ 739363 w 781526"/>
                <a:gd name="connsiteY70" fmla="*/ 113489 h 547991"/>
                <a:gd name="connsiteX71" fmla="*/ 729636 w 781526"/>
                <a:gd name="connsiteY71" fmla="*/ 119974 h 547991"/>
                <a:gd name="connsiteX72" fmla="*/ 728015 w 781526"/>
                <a:gd name="connsiteY72" fmla="*/ 126460 h 547991"/>
                <a:gd name="connsiteX73" fmla="*/ 718287 w 781526"/>
                <a:gd name="connsiteY73" fmla="*/ 134566 h 547991"/>
                <a:gd name="connsiteX74" fmla="*/ 711802 w 781526"/>
                <a:gd name="connsiteY74" fmla="*/ 142672 h 547991"/>
                <a:gd name="connsiteX75" fmla="*/ 710180 w 781526"/>
                <a:gd name="connsiteY75" fmla="*/ 150779 h 547991"/>
                <a:gd name="connsiteX76" fmla="*/ 705317 w 781526"/>
                <a:gd name="connsiteY76" fmla="*/ 157264 h 547991"/>
                <a:gd name="connsiteX77" fmla="*/ 702074 w 781526"/>
                <a:gd name="connsiteY77" fmla="*/ 162128 h 547991"/>
                <a:gd name="connsiteX78" fmla="*/ 697210 w 781526"/>
                <a:gd name="connsiteY78" fmla="*/ 173477 h 547991"/>
                <a:gd name="connsiteX79" fmla="*/ 695589 w 781526"/>
                <a:gd name="connsiteY79" fmla="*/ 178340 h 547991"/>
                <a:gd name="connsiteX80" fmla="*/ 693968 w 781526"/>
                <a:gd name="connsiteY80" fmla="*/ 197796 h 547991"/>
                <a:gd name="connsiteX81" fmla="*/ 687483 w 781526"/>
                <a:gd name="connsiteY81" fmla="*/ 201038 h 547991"/>
                <a:gd name="connsiteX82" fmla="*/ 684240 w 781526"/>
                <a:gd name="connsiteY82" fmla="*/ 205902 h 547991"/>
                <a:gd name="connsiteX83" fmla="*/ 682619 w 781526"/>
                <a:gd name="connsiteY83" fmla="*/ 220494 h 547991"/>
                <a:gd name="connsiteX84" fmla="*/ 677755 w 781526"/>
                <a:gd name="connsiteY84" fmla="*/ 231843 h 547991"/>
                <a:gd name="connsiteX85" fmla="*/ 676134 w 781526"/>
                <a:gd name="connsiteY85" fmla="*/ 238328 h 547991"/>
                <a:gd name="connsiteX86" fmla="*/ 671270 w 781526"/>
                <a:gd name="connsiteY86" fmla="*/ 261025 h 547991"/>
                <a:gd name="connsiteX87" fmla="*/ 669649 w 781526"/>
                <a:gd name="connsiteY87" fmla="*/ 270753 h 547991"/>
                <a:gd name="connsiteX88" fmla="*/ 664785 w 781526"/>
                <a:gd name="connsiteY88" fmla="*/ 273996 h 547991"/>
                <a:gd name="connsiteX89" fmla="*/ 659921 w 781526"/>
                <a:gd name="connsiteY89" fmla="*/ 304800 h 547991"/>
                <a:gd name="connsiteX90" fmla="*/ 658300 w 781526"/>
                <a:gd name="connsiteY90" fmla="*/ 309664 h 547991"/>
                <a:gd name="connsiteX91" fmla="*/ 659921 w 781526"/>
                <a:gd name="connsiteY91" fmla="*/ 317770 h 547991"/>
                <a:gd name="connsiteX92" fmla="*/ 648572 w 781526"/>
                <a:gd name="connsiteY92" fmla="*/ 324255 h 547991"/>
                <a:gd name="connsiteX93" fmla="*/ 642087 w 781526"/>
                <a:gd name="connsiteY93" fmla="*/ 348574 h 547991"/>
                <a:gd name="connsiteX94" fmla="*/ 632359 w 781526"/>
                <a:gd name="connsiteY94" fmla="*/ 353438 h 547991"/>
                <a:gd name="connsiteX95" fmla="*/ 630738 w 781526"/>
                <a:gd name="connsiteY95" fmla="*/ 376136 h 547991"/>
                <a:gd name="connsiteX96" fmla="*/ 619389 w 781526"/>
                <a:gd name="connsiteY96" fmla="*/ 387485 h 547991"/>
                <a:gd name="connsiteX97" fmla="*/ 617768 w 781526"/>
                <a:gd name="connsiteY97" fmla="*/ 403698 h 547991"/>
                <a:gd name="connsiteX98" fmla="*/ 616146 w 781526"/>
                <a:gd name="connsiteY98" fmla="*/ 408562 h 547991"/>
                <a:gd name="connsiteX99" fmla="*/ 614525 w 781526"/>
                <a:gd name="connsiteY99" fmla="*/ 418289 h 547991"/>
                <a:gd name="connsiteX100" fmla="*/ 604797 w 781526"/>
                <a:gd name="connsiteY100" fmla="*/ 421532 h 547991"/>
                <a:gd name="connsiteX101" fmla="*/ 601555 w 781526"/>
                <a:gd name="connsiteY101" fmla="*/ 416668 h 547991"/>
                <a:gd name="connsiteX102" fmla="*/ 582100 w 781526"/>
                <a:gd name="connsiteY102" fmla="*/ 418289 h 547991"/>
                <a:gd name="connsiteX103" fmla="*/ 577236 w 781526"/>
                <a:gd name="connsiteY103" fmla="*/ 423153 h 547991"/>
                <a:gd name="connsiteX104" fmla="*/ 575615 w 781526"/>
                <a:gd name="connsiteY104" fmla="*/ 428017 h 547991"/>
                <a:gd name="connsiteX105" fmla="*/ 573993 w 781526"/>
                <a:gd name="connsiteY105" fmla="*/ 442608 h 547991"/>
                <a:gd name="connsiteX106" fmla="*/ 569129 w 781526"/>
                <a:gd name="connsiteY106" fmla="*/ 444230 h 547991"/>
                <a:gd name="connsiteX107" fmla="*/ 561023 w 781526"/>
                <a:gd name="connsiteY107" fmla="*/ 445851 h 547991"/>
                <a:gd name="connsiteX108" fmla="*/ 541568 w 781526"/>
                <a:gd name="connsiteY108" fmla="*/ 440987 h 547991"/>
                <a:gd name="connsiteX109" fmla="*/ 530219 w 781526"/>
                <a:gd name="connsiteY109" fmla="*/ 442608 h 547991"/>
                <a:gd name="connsiteX110" fmla="*/ 518870 w 781526"/>
                <a:gd name="connsiteY110" fmla="*/ 458821 h 547991"/>
                <a:gd name="connsiteX111" fmla="*/ 512385 w 781526"/>
                <a:gd name="connsiteY111" fmla="*/ 457200 h 547991"/>
                <a:gd name="connsiteX112" fmla="*/ 504278 w 781526"/>
                <a:gd name="connsiteY112" fmla="*/ 455579 h 547991"/>
                <a:gd name="connsiteX113" fmla="*/ 499415 w 781526"/>
                <a:gd name="connsiteY113" fmla="*/ 453957 h 547991"/>
                <a:gd name="connsiteX114" fmla="*/ 489687 w 781526"/>
                <a:gd name="connsiteY114" fmla="*/ 452336 h 547991"/>
                <a:gd name="connsiteX115" fmla="*/ 483202 w 781526"/>
                <a:gd name="connsiteY115" fmla="*/ 455579 h 547991"/>
                <a:gd name="connsiteX116" fmla="*/ 479959 w 781526"/>
                <a:gd name="connsiteY116" fmla="*/ 460443 h 547991"/>
                <a:gd name="connsiteX117" fmla="*/ 455640 w 781526"/>
                <a:gd name="connsiteY117" fmla="*/ 458821 h 547991"/>
                <a:gd name="connsiteX118" fmla="*/ 444291 w 781526"/>
                <a:gd name="connsiteY118" fmla="*/ 455579 h 547991"/>
                <a:gd name="connsiteX119" fmla="*/ 434563 w 781526"/>
                <a:gd name="connsiteY119" fmla="*/ 453957 h 547991"/>
                <a:gd name="connsiteX120" fmla="*/ 428078 w 781526"/>
                <a:gd name="connsiteY120" fmla="*/ 455579 h 547991"/>
                <a:gd name="connsiteX121" fmla="*/ 426457 w 781526"/>
                <a:gd name="connsiteY121" fmla="*/ 468549 h 547991"/>
                <a:gd name="connsiteX122" fmla="*/ 424836 w 781526"/>
                <a:gd name="connsiteY122" fmla="*/ 473413 h 547991"/>
                <a:gd name="connsiteX123" fmla="*/ 418351 w 781526"/>
                <a:gd name="connsiteY123" fmla="*/ 479898 h 547991"/>
                <a:gd name="connsiteX124" fmla="*/ 395653 w 781526"/>
                <a:gd name="connsiteY124" fmla="*/ 492868 h 547991"/>
                <a:gd name="connsiteX125" fmla="*/ 372955 w 781526"/>
                <a:gd name="connsiteY125" fmla="*/ 494489 h 547991"/>
                <a:gd name="connsiteX126" fmla="*/ 361606 w 781526"/>
                <a:gd name="connsiteY126" fmla="*/ 497732 h 547991"/>
                <a:gd name="connsiteX127" fmla="*/ 358363 w 781526"/>
                <a:gd name="connsiteY127" fmla="*/ 502596 h 547991"/>
                <a:gd name="connsiteX128" fmla="*/ 329180 w 781526"/>
                <a:gd name="connsiteY128" fmla="*/ 504217 h 547991"/>
                <a:gd name="connsiteX129" fmla="*/ 319453 w 781526"/>
                <a:gd name="connsiteY129" fmla="*/ 513945 h 547991"/>
                <a:gd name="connsiteX130" fmla="*/ 304861 w 781526"/>
                <a:gd name="connsiteY130" fmla="*/ 522051 h 547991"/>
                <a:gd name="connsiteX131" fmla="*/ 298376 w 781526"/>
                <a:gd name="connsiteY131" fmla="*/ 526915 h 547991"/>
                <a:gd name="connsiteX132" fmla="*/ 293512 w 781526"/>
                <a:gd name="connsiteY132" fmla="*/ 536643 h 547991"/>
                <a:gd name="connsiteX133" fmla="*/ 295134 w 781526"/>
                <a:gd name="connsiteY133" fmla="*/ 541506 h 547991"/>
                <a:gd name="connsiteX134" fmla="*/ 293512 w 781526"/>
                <a:gd name="connsiteY134" fmla="*/ 546370 h 547991"/>
                <a:gd name="connsiteX135" fmla="*/ 287027 w 781526"/>
                <a:gd name="connsiteY135" fmla="*/ 547991 h 547991"/>
                <a:gd name="connsiteX136" fmla="*/ 259466 w 781526"/>
                <a:gd name="connsiteY136" fmla="*/ 546370 h 547991"/>
                <a:gd name="connsiteX137" fmla="*/ 248117 w 781526"/>
                <a:gd name="connsiteY137" fmla="*/ 543128 h 547991"/>
                <a:gd name="connsiteX138" fmla="*/ 243253 w 781526"/>
                <a:gd name="connsiteY138" fmla="*/ 541506 h 547991"/>
                <a:gd name="connsiteX139" fmla="*/ 204342 w 781526"/>
                <a:gd name="connsiteY139" fmla="*/ 539885 h 547991"/>
                <a:gd name="connsiteX140" fmla="*/ 197857 w 781526"/>
                <a:gd name="connsiteY140" fmla="*/ 528536 h 547991"/>
                <a:gd name="connsiteX141" fmla="*/ 189751 w 781526"/>
                <a:gd name="connsiteY141" fmla="*/ 517187 h 547991"/>
                <a:gd name="connsiteX142" fmla="*/ 184887 w 781526"/>
                <a:gd name="connsiteY142" fmla="*/ 513945 h 547991"/>
                <a:gd name="connsiteX143" fmla="*/ 170295 w 781526"/>
                <a:gd name="connsiteY143" fmla="*/ 512323 h 547991"/>
                <a:gd name="connsiteX144" fmla="*/ 141112 w 781526"/>
                <a:gd name="connsiteY144" fmla="*/ 512323 h 547991"/>
                <a:gd name="connsiteX145" fmla="*/ 139491 w 781526"/>
                <a:gd name="connsiteY145" fmla="*/ 507460 h 547991"/>
                <a:gd name="connsiteX146" fmla="*/ 141112 w 781526"/>
                <a:gd name="connsiteY146" fmla="*/ 502596 h 547991"/>
                <a:gd name="connsiteX147" fmla="*/ 134627 w 781526"/>
                <a:gd name="connsiteY147" fmla="*/ 499353 h 547991"/>
                <a:gd name="connsiteX148" fmla="*/ 128142 w 781526"/>
                <a:gd name="connsiteY148" fmla="*/ 492868 h 547991"/>
                <a:gd name="connsiteX149" fmla="*/ 118415 w 781526"/>
                <a:gd name="connsiteY149" fmla="*/ 488004 h 547991"/>
                <a:gd name="connsiteX150" fmla="*/ 107066 w 781526"/>
                <a:gd name="connsiteY150" fmla="*/ 478277 h 547991"/>
                <a:gd name="connsiteX151" fmla="*/ 97338 w 781526"/>
                <a:gd name="connsiteY151" fmla="*/ 475034 h 547991"/>
                <a:gd name="connsiteX152" fmla="*/ 94095 w 781526"/>
                <a:gd name="connsiteY152" fmla="*/ 470170 h 547991"/>
                <a:gd name="connsiteX153" fmla="*/ 79072 w 781526"/>
                <a:gd name="connsiteY153" fmla="*/ 462280 h 547991"/>
                <a:gd name="connsiteX154" fmla="*/ 60049 w 781526"/>
                <a:gd name="connsiteY154" fmla="*/ 440987 h 547991"/>
                <a:gd name="connsiteX155" fmla="*/ 45457 w 781526"/>
                <a:gd name="connsiteY155" fmla="*/ 437745 h 547991"/>
                <a:gd name="connsiteX156" fmla="*/ 40593 w 781526"/>
                <a:gd name="connsiteY156" fmla="*/ 429638 h 547991"/>
                <a:gd name="connsiteX157" fmla="*/ 37351 w 781526"/>
                <a:gd name="connsiteY157" fmla="*/ 419911 h 547991"/>
                <a:gd name="connsiteX158" fmla="*/ 35729 w 781526"/>
                <a:gd name="connsiteY158" fmla="*/ 415047 h 547991"/>
                <a:gd name="connsiteX159" fmla="*/ 30866 w 781526"/>
                <a:gd name="connsiteY159" fmla="*/ 410183 h 547991"/>
                <a:gd name="connsiteX160" fmla="*/ 24380 w 781526"/>
                <a:gd name="connsiteY160" fmla="*/ 405319 h 547991"/>
                <a:gd name="connsiteX161" fmla="*/ 14653 w 781526"/>
                <a:gd name="connsiteY161" fmla="*/ 398834 h 547991"/>
                <a:gd name="connsiteX162" fmla="*/ 13032 w 781526"/>
                <a:gd name="connsiteY162" fmla="*/ 393970 h 547991"/>
                <a:gd name="connsiteX163" fmla="*/ 11410 w 781526"/>
                <a:gd name="connsiteY163" fmla="*/ 377757 h 547991"/>
                <a:gd name="connsiteX164" fmla="*/ 6546 w 781526"/>
                <a:gd name="connsiteY164" fmla="*/ 372894 h 547991"/>
                <a:gd name="connsiteX165" fmla="*/ 4925 w 781526"/>
                <a:gd name="connsiteY165" fmla="*/ 366408 h 547991"/>
                <a:gd name="connsiteX166" fmla="*/ 61 w 781526"/>
                <a:gd name="connsiteY166" fmla="*/ 363166 h 547991"/>
                <a:gd name="connsiteX167" fmla="*/ 3304 w 781526"/>
                <a:gd name="connsiteY167" fmla="*/ 356681 h 547991"/>
                <a:gd name="connsiteX168" fmla="*/ 13032 w 781526"/>
                <a:gd name="connsiteY168" fmla="*/ 355060 h 547991"/>
                <a:gd name="connsiteX169" fmla="*/ 27623 w 781526"/>
                <a:gd name="connsiteY169" fmla="*/ 353438 h 547991"/>
                <a:gd name="connsiteX170" fmla="*/ 37351 w 781526"/>
                <a:gd name="connsiteY170" fmla="*/ 346953 h 547991"/>
                <a:gd name="connsiteX171" fmla="*/ 32487 w 781526"/>
                <a:gd name="connsiteY171" fmla="*/ 332362 h 547991"/>
                <a:gd name="connsiteX172" fmla="*/ 22759 w 781526"/>
                <a:gd name="connsiteY172" fmla="*/ 330740 h 547991"/>
                <a:gd name="connsiteX173" fmla="*/ 19517 w 781526"/>
                <a:gd name="connsiteY173" fmla="*/ 278860 h 547991"/>
                <a:gd name="connsiteX174" fmla="*/ 21138 w 781526"/>
                <a:gd name="connsiteY174" fmla="*/ 272374 h 547991"/>
                <a:gd name="connsiteX175" fmla="*/ 34108 w 781526"/>
                <a:gd name="connsiteY175" fmla="*/ 265889 h 547991"/>
                <a:gd name="connsiteX176" fmla="*/ 37351 w 781526"/>
                <a:gd name="connsiteY176" fmla="*/ 261025 h 547991"/>
                <a:gd name="connsiteX177" fmla="*/ 45457 w 781526"/>
                <a:gd name="connsiteY177" fmla="*/ 259404 h 547991"/>
                <a:gd name="connsiteX178" fmla="*/ 47078 w 781526"/>
                <a:gd name="connsiteY178" fmla="*/ 252919 h 547991"/>
                <a:gd name="connsiteX179" fmla="*/ 37351 w 781526"/>
                <a:gd name="connsiteY179" fmla="*/ 246434 h 547991"/>
                <a:gd name="connsiteX180" fmla="*/ 32487 w 781526"/>
                <a:gd name="connsiteY180" fmla="*/ 243191 h 547991"/>
                <a:gd name="connsiteX181" fmla="*/ 22759 w 781526"/>
                <a:gd name="connsiteY181" fmla="*/ 239949 h 547991"/>
                <a:gd name="connsiteX182" fmla="*/ 21138 w 781526"/>
                <a:gd name="connsiteY182" fmla="*/ 212387 h 547991"/>
                <a:gd name="connsiteX183" fmla="*/ 26002 w 781526"/>
                <a:gd name="connsiteY183" fmla="*/ 207523 h 547991"/>
                <a:gd name="connsiteX184" fmla="*/ 35729 w 781526"/>
                <a:gd name="connsiteY184" fmla="*/ 209145 h 547991"/>
                <a:gd name="connsiteX185" fmla="*/ 37351 w 781526"/>
                <a:gd name="connsiteY185" fmla="*/ 215630 h 547991"/>
                <a:gd name="connsiteX186" fmla="*/ 42215 w 781526"/>
                <a:gd name="connsiteY186" fmla="*/ 218872 h 547991"/>
                <a:gd name="connsiteX187" fmla="*/ 48700 w 781526"/>
                <a:gd name="connsiteY187" fmla="*/ 222115 h 547991"/>
                <a:gd name="connsiteX188" fmla="*/ 66534 w 781526"/>
                <a:gd name="connsiteY188" fmla="*/ 225357 h 547991"/>
                <a:gd name="connsiteX189" fmla="*/ 89232 w 781526"/>
                <a:gd name="connsiteY189" fmla="*/ 217251 h 547991"/>
                <a:gd name="connsiteX190" fmla="*/ 90853 w 781526"/>
                <a:gd name="connsiteY190" fmla="*/ 212387 h 547991"/>
                <a:gd name="connsiteX191" fmla="*/ 87610 w 781526"/>
                <a:gd name="connsiteY191" fmla="*/ 202660 h 547991"/>
                <a:gd name="connsiteX192" fmla="*/ 81125 w 781526"/>
                <a:gd name="connsiteY192" fmla="*/ 201038 h 547991"/>
                <a:gd name="connsiteX193" fmla="*/ 82746 w 781526"/>
                <a:gd name="connsiteY193" fmla="*/ 191311 h 547991"/>
                <a:gd name="connsiteX194" fmla="*/ 87610 w 781526"/>
                <a:gd name="connsiteY194" fmla="*/ 179962 h 547991"/>
                <a:gd name="connsiteX195" fmla="*/ 89232 w 781526"/>
                <a:gd name="connsiteY195" fmla="*/ 171855 h 547991"/>
                <a:gd name="connsiteX196" fmla="*/ 90853 w 781526"/>
                <a:gd name="connsiteY196" fmla="*/ 158885 h 547991"/>
                <a:gd name="connsiteX197" fmla="*/ 95717 w 781526"/>
                <a:gd name="connsiteY197" fmla="*/ 155643 h 547991"/>
                <a:gd name="connsiteX198" fmla="*/ 107066 w 781526"/>
                <a:gd name="connsiteY198" fmla="*/ 155643 h 547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Lst>
              <a:rect l="l" t="t" r="r" b="b"/>
              <a:pathLst>
                <a:path w="781526" h="547991">
                  <a:moveTo>
                    <a:pt x="107066" y="155643"/>
                  </a:moveTo>
                  <a:cubicBezTo>
                    <a:pt x="111659" y="155913"/>
                    <a:pt x="118209" y="155314"/>
                    <a:pt x="123278" y="157264"/>
                  </a:cubicBezTo>
                  <a:cubicBezTo>
                    <a:pt x="125800" y="158234"/>
                    <a:pt x="126090" y="161991"/>
                    <a:pt x="128142" y="163749"/>
                  </a:cubicBezTo>
                  <a:cubicBezTo>
                    <a:pt x="129977" y="165322"/>
                    <a:pt x="132529" y="165792"/>
                    <a:pt x="134627" y="166991"/>
                  </a:cubicBezTo>
                  <a:cubicBezTo>
                    <a:pt x="153193" y="177600"/>
                    <a:pt x="124236" y="161686"/>
                    <a:pt x="144355" y="175098"/>
                  </a:cubicBezTo>
                  <a:cubicBezTo>
                    <a:pt x="145777" y="176046"/>
                    <a:pt x="147598" y="176179"/>
                    <a:pt x="149219" y="176719"/>
                  </a:cubicBezTo>
                  <a:cubicBezTo>
                    <a:pt x="151381" y="179962"/>
                    <a:pt x="153138" y="183514"/>
                    <a:pt x="155704" y="186447"/>
                  </a:cubicBezTo>
                  <a:cubicBezTo>
                    <a:pt x="156987" y="187913"/>
                    <a:pt x="158982" y="188557"/>
                    <a:pt x="160568" y="189689"/>
                  </a:cubicBezTo>
                  <a:cubicBezTo>
                    <a:pt x="162767" y="191260"/>
                    <a:pt x="165142" y="192642"/>
                    <a:pt x="167053" y="194553"/>
                  </a:cubicBezTo>
                  <a:cubicBezTo>
                    <a:pt x="168964" y="196464"/>
                    <a:pt x="170006" y="199127"/>
                    <a:pt x="171917" y="201038"/>
                  </a:cubicBezTo>
                  <a:cubicBezTo>
                    <a:pt x="173295" y="202416"/>
                    <a:pt x="175128" y="203248"/>
                    <a:pt x="176780" y="204281"/>
                  </a:cubicBezTo>
                  <a:cubicBezTo>
                    <a:pt x="179452" y="205951"/>
                    <a:pt x="181915" y="211036"/>
                    <a:pt x="184887" y="209145"/>
                  </a:cubicBezTo>
                  <a:cubicBezTo>
                    <a:pt x="187859" y="207254"/>
                    <a:pt x="192183" y="196175"/>
                    <a:pt x="194615" y="192932"/>
                  </a:cubicBezTo>
                  <a:cubicBezTo>
                    <a:pt x="197047" y="189689"/>
                    <a:pt x="197857" y="190770"/>
                    <a:pt x="199478" y="189689"/>
                  </a:cubicBezTo>
                  <a:cubicBezTo>
                    <a:pt x="223630" y="192105"/>
                    <a:pt x="232522" y="193911"/>
                    <a:pt x="262708" y="188068"/>
                  </a:cubicBezTo>
                  <a:cubicBezTo>
                    <a:pt x="265081" y="187609"/>
                    <a:pt x="264378" y="183418"/>
                    <a:pt x="265951" y="181583"/>
                  </a:cubicBezTo>
                  <a:cubicBezTo>
                    <a:pt x="267710" y="179531"/>
                    <a:pt x="269777" y="177202"/>
                    <a:pt x="272436" y="176719"/>
                  </a:cubicBezTo>
                  <a:cubicBezTo>
                    <a:pt x="282022" y="174976"/>
                    <a:pt x="291891" y="175638"/>
                    <a:pt x="301619" y="175098"/>
                  </a:cubicBezTo>
                  <a:cubicBezTo>
                    <a:pt x="302700" y="173477"/>
                    <a:pt x="304861" y="172182"/>
                    <a:pt x="304861" y="170234"/>
                  </a:cubicBezTo>
                  <a:cubicBezTo>
                    <a:pt x="304861" y="153070"/>
                    <a:pt x="301913" y="155790"/>
                    <a:pt x="288649" y="149157"/>
                  </a:cubicBezTo>
                  <a:cubicBezTo>
                    <a:pt x="292972" y="144834"/>
                    <a:pt x="297950" y="141078"/>
                    <a:pt x="301619" y="136187"/>
                  </a:cubicBezTo>
                  <a:cubicBezTo>
                    <a:pt x="303055" y="134273"/>
                    <a:pt x="310526" y="123675"/>
                    <a:pt x="312968" y="123217"/>
                  </a:cubicBezTo>
                  <a:cubicBezTo>
                    <a:pt x="327878" y="120421"/>
                    <a:pt x="343231" y="121055"/>
                    <a:pt x="358363" y="119974"/>
                  </a:cubicBezTo>
                  <a:cubicBezTo>
                    <a:pt x="360525" y="117812"/>
                    <a:pt x="363072" y="115977"/>
                    <a:pt x="364849" y="113489"/>
                  </a:cubicBezTo>
                  <a:cubicBezTo>
                    <a:pt x="365842" y="112098"/>
                    <a:pt x="365622" y="110109"/>
                    <a:pt x="366470" y="108625"/>
                  </a:cubicBezTo>
                  <a:cubicBezTo>
                    <a:pt x="367811" y="106279"/>
                    <a:pt x="369713" y="104302"/>
                    <a:pt x="371334" y="102140"/>
                  </a:cubicBezTo>
                  <a:cubicBezTo>
                    <a:pt x="371874" y="100519"/>
                    <a:pt x="372191" y="98805"/>
                    <a:pt x="372955" y="97277"/>
                  </a:cubicBezTo>
                  <a:cubicBezTo>
                    <a:pt x="379242" y="84701"/>
                    <a:pt x="373741" y="99779"/>
                    <a:pt x="377819" y="87549"/>
                  </a:cubicBezTo>
                  <a:cubicBezTo>
                    <a:pt x="384844" y="88630"/>
                    <a:pt x="392111" y="88671"/>
                    <a:pt x="398895" y="90791"/>
                  </a:cubicBezTo>
                  <a:cubicBezTo>
                    <a:pt x="401084" y="91475"/>
                    <a:pt x="401768" y="94517"/>
                    <a:pt x="403759" y="95655"/>
                  </a:cubicBezTo>
                  <a:cubicBezTo>
                    <a:pt x="405694" y="96761"/>
                    <a:pt x="408082" y="96736"/>
                    <a:pt x="410244" y="97277"/>
                  </a:cubicBezTo>
                  <a:cubicBezTo>
                    <a:pt x="416189" y="96736"/>
                    <a:pt x="422155" y="96395"/>
                    <a:pt x="428078" y="95655"/>
                  </a:cubicBezTo>
                  <a:cubicBezTo>
                    <a:pt x="430813" y="95313"/>
                    <a:pt x="434068" y="95798"/>
                    <a:pt x="436185" y="94034"/>
                  </a:cubicBezTo>
                  <a:cubicBezTo>
                    <a:pt x="449947" y="82567"/>
                    <a:pt x="442023" y="81388"/>
                    <a:pt x="452397" y="76200"/>
                  </a:cubicBezTo>
                  <a:cubicBezTo>
                    <a:pt x="453926" y="75436"/>
                    <a:pt x="455640" y="75119"/>
                    <a:pt x="457261" y="74579"/>
                  </a:cubicBezTo>
                  <a:cubicBezTo>
                    <a:pt x="458882" y="73498"/>
                    <a:pt x="460334" y="72104"/>
                    <a:pt x="462125" y="71336"/>
                  </a:cubicBezTo>
                  <a:cubicBezTo>
                    <a:pt x="464173" y="70458"/>
                    <a:pt x="466898" y="71141"/>
                    <a:pt x="468610" y="69715"/>
                  </a:cubicBezTo>
                  <a:cubicBezTo>
                    <a:pt x="470467" y="68168"/>
                    <a:pt x="470871" y="65439"/>
                    <a:pt x="471853" y="63230"/>
                  </a:cubicBezTo>
                  <a:cubicBezTo>
                    <a:pt x="474444" y="57399"/>
                    <a:pt x="475520" y="54620"/>
                    <a:pt x="476717" y="48638"/>
                  </a:cubicBezTo>
                  <a:cubicBezTo>
                    <a:pt x="478228" y="41085"/>
                    <a:pt x="477242" y="38499"/>
                    <a:pt x="481580" y="32425"/>
                  </a:cubicBezTo>
                  <a:cubicBezTo>
                    <a:pt x="482726" y="30821"/>
                    <a:pt x="488868" y="24893"/>
                    <a:pt x="491308" y="24319"/>
                  </a:cubicBezTo>
                  <a:cubicBezTo>
                    <a:pt x="498748" y="22569"/>
                    <a:pt x="514006" y="21077"/>
                    <a:pt x="514006" y="21077"/>
                  </a:cubicBezTo>
                  <a:cubicBezTo>
                    <a:pt x="516168" y="19996"/>
                    <a:pt x="518270" y="18786"/>
                    <a:pt x="520491" y="17834"/>
                  </a:cubicBezTo>
                  <a:cubicBezTo>
                    <a:pt x="529727" y="13876"/>
                    <a:pt x="539509" y="15226"/>
                    <a:pt x="549674" y="14591"/>
                  </a:cubicBezTo>
                  <a:lnTo>
                    <a:pt x="577236" y="12970"/>
                  </a:lnTo>
                  <a:cubicBezTo>
                    <a:pt x="587987" y="5804"/>
                    <a:pt x="576040" y="14227"/>
                    <a:pt x="586963" y="4864"/>
                  </a:cubicBezTo>
                  <a:cubicBezTo>
                    <a:pt x="589015" y="3105"/>
                    <a:pt x="591287" y="1621"/>
                    <a:pt x="593449" y="0"/>
                  </a:cubicBezTo>
                  <a:cubicBezTo>
                    <a:pt x="595070" y="540"/>
                    <a:pt x="596669" y="1151"/>
                    <a:pt x="598312" y="1621"/>
                  </a:cubicBezTo>
                  <a:cubicBezTo>
                    <a:pt x="600454" y="2233"/>
                    <a:pt x="602862" y="2137"/>
                    <a:pt x="604797" y="3243"/>
                  </a:cubicBezTo>
                  <a:cubicBezTo>
                    <a:pt x="606788" y="4380"/>
                    <a:pt x="607900" y="6638"/>
                    <a:pt x="609661" y="8106"/>
                  </a:cubicBezTo>
                  <a:cubicBezTo>
                    <a:pt x="611158" y="9353"/>
                    <a:pt x="612939" y="10216"/>
                    <a:pt x="614525" y="11349"/>
                  </a:cubicBezTo>
                  <a:cubicBezTo>
                    <a:pt x="616724" y="12920"/>
                    <a:pt x="618848" y="14592"/>
                    <a:pt x="621010" y="16213"/>
                  </a:cubicBezTo>
                  <a:cubicBezTo>
                    <a:pt x="623930" y="24970"/>
                    <a:pt x="620831" y="18092"/>
                    <a:pt x="629117" y="27562"/>
                  </a:cubicBezTo>
                  <a:cubicBezTo>
                    <a:pt x="630896" y="29595"/>
                    <a:pt x="631732" y="32548"/>
                    <a:pt x="633980" y="34047"/>
                  </a:cubicBezTo>
                  <a:cubicBezTo>
                    <a:pt x="636824" y="35943"/>
                    <a:pt x="640465" y="36208"/>
                    <a:pt x="643708" y="37289"/>
                  </a:cubicBezTo>
                  <a:cubicBezTo>
                    <a:pt x="650945" y="34877"/>
                    <a:pt x="650690" y="35112"/>
                    <a:pt x="659921" y="30804"/>
                  </a:cubicBezTo>
                  <a:cubicBezTo>
                    <a:pt x="664301" y="28760"/>
                    <a:pt x="668202" y="25491"/>
                    <a:pt x="672891" y="24319"/>
                  </a:cubicBezTo>
                  <a:cubicBezTo>
                    <a:pt x="683603" y="21641"/>
                    <a:pt x="677165" y="22974"/>
                    <a:pt x="692346" y="21077"/>
                  </a:cubicBezTo>
                  <a:cubicBezTo>
                    <a:pt x="698616" y="22470"/>
                    <a:pt x="707663" y="23242"/>
                    <a:pt x="713423" y="27562"/>
                  </a:cubicBezTo>
                  <a:cubicBezTo>
                    <a:pt x="726259" y="37189"/>
                    <a:pt x="713630" y="31011"/>
                    <a:pt x="726393" y="43774"/>
                  </a:cubicBezTo>
                  <a:cubicBezTo>
                    <a:pt x="743258" y="60639"/>
                    <a:pt x="720321" y="38337"/>
                    <a:pt x="736121" y="51881"/>
                  </a:cubicBezTo>
                  <a:cubicBezTo>
                    <a:pt x="738442" y="53871"/>
                    <a:pt x="740444" y="56204"/>
                    <a:pt x="742606" y="58366"/>
                  </a:cubicBezTo>
                  <a:cubicBezTo>
                    <a:pt x="746929" y="57826"/>
                    <a:pt x="751289" y="57525"/>
                    <a:pt x="755576" y="56745"/>
                  </a:cubicBezTo>
                  <a:cubicBezTo>
                    <a:pt x="757258" y="56439"/>
                    <a:pt x="758782" y="54709"/>
                    <a:pt x="760440" y="55123"/>
                  </a:cubicBezTo>
                  <a:cubicBezTo>
                    <a:pt x="763497" y="55887"/>
                    <a:pt x="765844" y="58366"/>
                    <a:pt x="768546" y="59987"/>
                  </a:cubicBezTo>
                  <a:cubicBezTo>
                    <a:pt x="769087" y="61608"/>
                    <a:pt x="777717" y="58572"/>
                    <a:pt x="779844" y="60013"/>
                  </a:cubicBezTo>
                  <a:cubicBezTo>
                    <a:pt x="781972" y="61454"/>
                    <a:pt x="781581" y="62149"/>
                    <a:pt x="781311" y="68634"/>
                  </a:cubicBezTo>
                  <a:cubicBezTo>
                    <a:pt x="781041" y="75119"/>
                    <a:pt x="772835" y="97637"/>
                    <a:pt x="768546" y="103762"/>
                  </a:cubicBezTo>
                  <a:cubicBezTo>
                    <a:pt x="764257" y="109887"/>
                    <a:pt x="759882" y="104721"/>
                    <a:pt x="755576" y="105383"/>
                  </a:cubicBezTo>
                  <a:cubicBezTo>
                    <a:pt x="748310" y="106501"/>
                    <a:pt x="748524" y="106653"/>
                    <a:pt x="742606" y="108625"/>
                  </a:cubicBezTo>
                  <a:cubicBezTo>
                    <a:pt x="741525" y="110246"/>
                    <a:pt x="740830" y="112206"/>
                    <a:pt x="739363" y="113489"/>
                  </a:cubicBezTo>
                  <a:cubicBezTo>
                    <a:pt x="736430" y="116055"/>
                    <a:pt x="729636" y="119974"/>
                    <a:pt x="729636" y="119974"/>
                  </a:cubicBezTo>
                  <a:cubicBezTo>
                    <a:pt x="729096" y="122136"/>
                    <a:pt x="729121" y="124525"/>
                    <a:pt x="728015" y="126460"/>
                  </a:cubicBezTo>
                  <a:cubicBezTo>
                    <a:pt x="724477" y="132652"/>
                    <a:pt x="722760" y="130093"/>
                    <a:pt x="718287" y="134566"/>
                  </a:cubicBezTo>
                  <a:cubicBezTo>
                    <a:pt x="715840" y="137013"/>
                    <a:pt x="713964" y="139970"/>
                    <a:pt x="711802" y="142672"/>
                  </a:cubicBezTo>
                  <a:cubicBezTo>
                    <a:pt x="711261" y="145374"/>
                    <a:pt x="711299" y="148261"/>
                    <a:pt x="710180" y="150779"/>
                  </a:cubicBezTo>
                  <a:cubicBezTo>
                    <a:pt x="709083" y="153248"/>
                    <a:pt x="706887" y="155065"/>
                    <a:pt x="705317" y="157264"/>
                  </a:cubicBezTo>
                  <a:cubicBezTo>
                    <a:pt x="704184" y="158850"/>
                    <a:pt x="703155" y="160507"/>
                    <a:pt x="702074" y="162128"/>
                  </a:cubicBezTo>
                  <a:cubicBezTo>
                    <a:pt x="698273" y="173532"/>
                    <a:pt x="703220" y="159454"/>
                    <a:pt x="697210" y="173477"/>
                  </a:cubicBezTo>
                  <a:cubicBezTo>
                    <a:pt x="696537" y="175048"/>
                    <a:pt x="696129" y="176719"/>
                    <a:pt x="695589" y="178340"/>
                  </a:cubicBezTo>
                  <a:cubicBezTo>
                    <a:pt x="695049" y="184825"/>
                    <a:pt x="696157" y="191667"/>
                    <a:pt x="693968" y="197796"/>
                  </a:cubicBezTo>
                  <a:cubicBezTo>
                    <a:pt x="693155" y="200072"/>
                    <a:pt x="689340" y="199491"/>
                    <a:pt x="687483" y="201038"/>
                  </a:cubicBezTo>
                  <a:cubicBezTo>
                    <a:pt x="685986" y="202285"/>
                    <a:pt x="685321" y="204281"/>
                    <a:pt x="684240" y="205902"/>
                  </a:cubicBezTo>
                  <a:cubicBezTo>
                    <a:pt x="683700" y="210766"/>
                    <a:pt x="683424" y="215667"/>
                    <a:pt x="682619" y="220494"/>
                  </a:cubicBezTo>
                  <a:cubicBezTo>
                    <a:pt x="681815" y="225316"/>
                    <a:pt x="679522" y="227130"/>
                    <a:pt x="677755" y="231843"/>
                  </a:cubicBezTo>
                  <a:cubicBezTo>
                    <a:pt x="676973" y="233929"/>
                    <a:pt x="676571" y="236143"/>
                    <a:pt x="676134" y="238328"/>
                  </a:cubicBezTo>
                  <a:cubicBezTo>
                    <a:pt x="671699" y="260502"/>
                    <a:pt x="675052" y="249678"/>
                    <a:pt x="671270" y="261025"/>
                  </a:cubicBezTo>
                  <a:cubicBezTo>
                    <a:pt x="670730" y="264268"/>
                    <a:pt x="671119" y="267813"/>
                    <a:pt x="669649" y="270753"/>
                  </a:cubicBezTo>
                  <a:cubicBezTo>
                    <a:pt x="668778" y="272496"/>
                    <a:pt x="665320" y="272122"/>
                    <a:pt x="664785" y="273996"/>
                  </a:cubicBezTo>
                  <a:cubicBezTo>
                    <a:pt x="661929" y="283991"/>
                    <a:pt x="661781" y="294572"/>
                    <a:pt x="659921" y="304800"/>
                  </a:cubicBezTo>
                  <a:cubicBezTo>
                    <a:pt x="659615" y="306481"/>
                    <a:pt x="658840" y="308043"/>
                    <a:pt x="658300" y="309664"/>
                  </a:cubicBezTo>
                  <a:cubicBezTo>
                    <a:pt x="658840" y="312366"/>
                    <a:pt x="660678" y="315121"/>
                    <a:pt x="659921" y="317770"/>
                  </a:cubicBezTo>
                  <a:cubicBezTo>
                    <a:pt x="659539" y="319108"/>
                    <a:pt x="648748" y="324167"/>
                    <a:pt x="648572" y="324255"/>
                  </a:cubicBezTo>
                  <a:cubicBezTo>
                    <a:pt x="647550" y="336516"/>
                    <a:pt x="651275" y="342449"/>
                    <a:pt x="642087" y="348574"/>
                  </a:cubicBezTo>
                  <a:cubicBezTo>
                    <a:pt x="639070" y="350585"/>
                    <a:pt x="635602" y="351817"/>
                    <a:pt x="632359" y="353438"/>
                  </a:cubicBezTo>
                  <a:cubicBezTo>
                    <a:pt x="631819" y="361004"/>
                    <a:pt x="633438" y="369048"/>
                    <a:pt x="630738" y="376136"/>
                  </a:cubicBezTo>
                  <a:cubicBezTo>
                    <a:pt x="628833" y="381135"/>
                    <a:pt x="619389" y="387485"/>
                    <a:pt x="619389" y="387485"/>
                  </a:cubicBezTo>
                  <a:cubicBezTo>
                    <a:pt x="618849" y="392889"/>
                    <a:pt x="618594" y="398330"/>
                    <a:pt x="617768" y="403698"/>
                  </a:cubicBezTo>
                  <a:cubicBezTo>
                    <a:pt x="617508" y="405387"/>
                    <a:pt x="616517" y="406894"/>
                    <a:pt x="616146" y="408562"/>
                  </a:cubicBezTo>
                  <a:cubicBezTo>
                    <a:pt x="615433" y="411771"/>
                    <a:pt x="616690" y="415815"/>
                    <a:pt x="614525" y="418289"/>
                  </a:cubicBezTo>
                  <a:cubicBezTo>
                    <a:pt x="612274" y="420861"/>
                    <a:pt x="604797" y="421532"/>
                    <a:pt x="604797" y="421532"/>
                  </a:cubicBezTo>
                  <a:cubicBezTo>
                    <a:pt x="603716" y="419911"/>
                    <a:pt x="603076" y="417885"/>
                    <a:pt x="601555" y="416668"/>
                  </a:cubicBezTo>
                  <a:cubicBezTo>
                    <a:pt x="596344" y="412499"/>
                    <a:pt x="585592" y="417513"/>
                    <a:pt x="582100" y="418289"/>
                  </a:cubicBezTo>
                  <a:cubicBezTo>
                    <a:pt x="580479" y="419910"/>
                    <a:pt x="578508" y="421245"/>
                    <a:pt x="577236" y="423153"/>
                  </a:cubicBezTo>
                  <a:cubicBezTo>
                    <a:pt x="576288" y="424575"/>
                    <a:pt x="575896" y="426331"/>
                    <a:pt x="575615" y="428017"/>
                  </a:cubicBezTo>
                  <a:cubicBezTo>
                    <a:pt x="574810" y="432844"/>
                    <a:pt x="575811" y="438064"/>
                    <a:pt x="573993" y="442608"/>
                  </a:cubicBezTo>
                  <a:cubicBezTo>
                    <a:pt x="573358" y="444195"/>
                    <a:pt x="570787" y="443815"/>
                    <a:pt x="569129" y="444230"/>
                  </a:cubicBezTo>
                  <a:cubicBezTo>
                    <a:pt x="566456" y="444898"/>
                    <a:pt x="563725" y="445311"/>
                    <a:pt x="561023" y="445851"/>
                  </a:cubicBezTo>
                  <a:cubicBezTo>
                    <a:pt x="554986" y="443838"/>
                    <a:pt x="548119" y="440987"/>
                    <a:pt x="541568" y="440987"/>
                  </a:cubicBezTo>
                  <a:cubicBezTo>
                    <a:pt x="537747" y="440987"/>
                    <a:pt x="534002" y="442068"/>
                    <a:pt x="530219" y="442608"/>
                  </a:cubicBezTo>
                  <a:cubicBezTo>
                    <a:pt x="522863" y="457322"/>
                    <a:pt x="527756" y="452898"/>
                    <a:pt x="518870" y="458821"/>
                  </a:cubicBezTo>
                  <a:cubicBezTo>
                    <a:pt x="516708" y="458281"/>
                    <a:pt x="514560" y="457683"/>
                    <a:pt x="512385" y="457200"/>
                  </a:cubicBezTo>
                  <a:cubicBezTo>
                    <a:pt x="509695" y="456602"/>
                    <a:pt x="506952" y="456247"/>
                    <a:pt x="504278" y="455579"/>
                  </a:cubicBezTo>
                  <a:cubicBezTo>
                    <a:pt x="502620" y="455164"/>
                    <a:pt x="501083" y="454328"/>
                    <a:pt x="499415" y="453957"/>
                  </a:cubicBezTo>
                  <a:cubicBezTo>
                    <a:pt x="496206" y="453244"/>
                    <a:pt x="492930" y="452876"/>
                    <a:pt x="489687" y="452336"/>
                  </a:cubicBezTo>
                  <a:cubicBezTo>
                    <a:pt x="487525" y="453417"/>
                    <a:pt x="485059" y="454032"/>
                    <a:pt x="483202" y="455579"/>
                  </a:cubicBezTo>
                  <a:cubicBezTo>
                    <a:pt x="481705" y="456827"/>
                    <a:pt x="481894" y="460215"/>
                    <a:pt x="479959" y="460443"/>
                  </a:cubicBezTo>
                  <a:cubicBezTo>
                    <a:pt x="471890" y="461392"/>
                    <a:pt x="463746" y="459362"/>
                    <a:pt x="455640" y="458821"/>
                  </a:cubicBezTo>
                  <a:cubicBezTo>
                    <a:pt x="451003" y="457276"/>
                    <a:pt x="449382" y="456597"/>
                    <a:pt x="444291" y="455579"/>
                  </a:cubicBezTo>
                  <a:cubicBezTo>
                    <a:pt x="441067" y="454934"/>
                    <a:pt x="437806" y="454498"/>
                    <a:pt x="434563" y="453957"/>
                  </a:cubicBezTo>
                  <a:cubicBezTo>
                    <a:pt x="432401" y="454498"/>
                    <a:pt x="429160" y="453631"/>
                    <a:pt x="428078" y="455579"/>
                  </a:cubicBezTo>
                  <a:cubicBezTo>
                    <a:pt x="425962" y="459388"/>
                    <a:pt x="427236" y="464262"/>
                    <a:pt x="426457" y="468549"/>
                  </a:cubicBezTo>
                  <a:cubicBezTo>
                    <a:pt x="426151" y="470230"/>
                    <a:pt x="425829" y="472022"/>
                    <a:pt x="424836" y="473413"/>
                  </a:cubicBezTo>
                  <a:cubicBezTo>
                    <a:pt x="423059" y="475901"/>
                    <a:pt x="420700" y="477941"/>
                    <a:pt x="418351" y="479898"/>
                  </a:cubicBezTo>
                  <a:cubicBezTo>
                    <a:pt x="410866" y="486135"/>
                    <a:pt x="405308" y="491420"/>
                    <a:pt x="395653" y="492868"/>
                  </a:cubicBezTo>
                  <a:cubicBezTo>
                    <a:pt x="388152" y="493993"/>
                    <a:pt x="380521" y="493949"/>
                    <a:pt x="372955" y="494489"/>
                  </a:cubicBezTo>
                  <a:cubicBezTo>
                    <a:pt x="372534" y="494594"/>
                    <a:pt x="362661" y="496888"/>
                    <a:pt x="361606" y="497732"/>
                  </a:cubicBezTo>
                  <a:cubicBezTo>
                    <a:pt x="360084" y="498949"/>
                    <a:pt x="360274" y="502214"/>
                    <a:pt x="358363" y="502596"/>
                  </a:cubicBezTo>
                  <a:cubicBezTo>
                    <a:pt x="348810" y="504507"/>
                    <a:pt x="338908" y="503677"/>
                    <a:pt x="329180" y="504217"/>
                  </a:cubicBezTo>
                  <a:cubicBezTo>
                    <a:pt x="315590" y="511013"/>
                    <a:pt x="328719" y="502826"/>
                    <a:pt x="319453" y="513945"/>
                  </a:cubicBezTo>
                  <a:cubicBezTo>
                    <a:pt x="317552" y="516227"/>
                    <a:pt x="305206" y="521844"/>
                    <a:pt x="304861" y="522051"/>
                  </a:cubicBezTo>
                  <a:cubicBezTo>
                    <a:pt x="302544" y="523441"/>
                    <a:pt x="300538" y="525294"/>
                    <a:pt x="298376" y="526915"/>
                  </a:cubicBezTo>
                  <a:cubicBezTo>
                    <a:pt x="296738" y="529373"/>
                    <a:pt x="293512" y="533289"/>
                    <a:pt x="293512" y="536643"/>
                  </a:cubicBezTo>
                  <a:cubicBezTo>
                    <a:pt x="293512" y="538352"/>
                    <a:pt x="294593" y="539885"/>
                    <a:pt x="295134" y="541506"/>
                  </a:cubicBezTo>
                  <a:cubicBezTo>
                    <a:pt x="294593" y="543127"/>
                    <a:pt x="294847" y="545302"/>
                    <a:pt x="293512" y="546370"/>
                  </a:cubicBezTo>
                  <a:cubicBezTo>
                    <a:pt x="291772" y="547762"/>
                    <a:pt x="289255" y="547991"/>
                    <a:pt x="287027" y="547991"/>
                  </a:cubicBezTo>
                  <a:cubicBezTo>
                    <a:pt x="277824" y="547991"/>
                    <a:pt x="268653" y="546910"/>
                    <a:pt x="259466" y="546370"/>
                  </a:cubicBezTo>
                  <a:lnTo>
                    <a:pt x="248117" y="543128"/>
                  </a:lnTo>
                  <a:cubicBezTo>
                    <a:pt x="246480" y="542637"/>
                    <a:pt x="244957" y="541632"/>
                    <a:pt x="243253" y="541506"/>
                  </a:cubicBezTo>
                  <a:cubicBezTo>
                    <a:pt x="230307" y="540547"/>
                    <a:pt x="217312" y="540425"/>
                    <a:pt x="204342" y="539885"/>
                  </a:cubicBezTo>
                  <a:cubicBezTo>
                    <a:pt x="194546" y="520289"/>
                    <a:pt x="207023" y="544577"/>
                    <a:pt x="197857" y="528536"/>
                  </a:cubicBezTo>
                  <a:cubicBezTo>
                    <a:pt x="193685" y="521234"/>
                    <a:pt x="196234" y="522589"/>
                    <a:pt x="189751" y="517187"/>
                  </a:cubicBezTo>
                  <a:cubicBezTo>
                    <a:pt x="188254" y="515940"/>
                    <a:pt x="186777" y="514418"/>
                    <a:pt x="184887" y="513945"/>
                  </a:cubicBezTo>
                  <a:cubicBezTo>
                    <a:pt x="180139" y="512758"/>
                    <a:pt x="175159" y="512864"/>
                    <a:pt x="170295" y="512323"/>
                  </a:cubicBezTo>
                  <a:cubicBezTo>
                    <a:pt x="161833" y="513264"/>
                    <a:pt x="149574" y="515708"/>
                    <a:pt x="141112" y="512323"/>
                  </a:cubicBezTo>
                  <a:cubicBezTo>
                    <a:pt x="139526" y="511688"/>
                    <a:pt x="140031" y="509081"/>
                    <a:pt x="139491" y="507460"/>
                  </a:cubicBezTo>
                  <a:cubicBezTo>
                    <a:pt x="140031" y="505839"/>
                    <a:pt x="141991" y="504061"/>
                    <a:pt x="141112" y="502596"/>
                  </a:cubicBezTo>
                  <a:cubicBezTo>
                    <a:pt x="139869" y="500524"/>
                    <a:pt x="136560" y="500803"/>
                    <a:pt x="134627" y="499353"/>
                  </a:cubicBezTo>
                  <a:cubicBezTo>
                    <a:pt x="132181" y="497519"/>
                    <a:pt x="130463" y="494858"/>
                    <a:pt x="128142" y="492868"/>
                  </a:cubicBezTo>
                  <a:cubicBezTo>
                    <a:pt x="124141" y="489439"/>
                    <a:pt x="123123" y="489573"/>
                    <a:pt x="118415" y="488004"/>
                  </a:cubicBezTo>
                  <a:cubicBezTo>
                    <a:pt x="115202" y="484791"/>
                    <a:pt x="111509" y="480252"/>
                    <a:pt x="107066" y="478277"/>
                  </a:cubicBezTo>
                  <a:cubicBezTo>
                    <a:pt x="103943" y="476889"/>
                    <a:pt x="100581" y="476115"/>
                    <a:pt x="97338" y="475034"/>
                  </a:cubicBezTo>
                  <a:cubicBezTo>
                    <a:pt x="96257" y="473413"/>
                    <a:pt x="97139" y="472296"/>
                    <a:pt x="94095" y="470170"/>
                  </a:cubicBezTo>
                  <a:cubicBezTo>
                    <a:pt x="91051" y="468044"/>
                    <a:pt x="84746" y="467144"/>
                    <a:pt x="79072" y="462280"/>
                  </a:cubicBezTo>
                  <a:cubicBezTo>
                    <a:pt x="73398" y="457416"/>
                    <a:pt x="65651" y="445076"/>
                    <a:pt x="60049" y="440987"/>
                  </a:cubicBezTo>
                  <a:cubicBezTo>
                    <a:pt x="54447" y="436898"/>
                    <a:pt x="61272" y="441698"/>
                    <a:pt x="45457" y="437745"/>
                  </a:cubicBezTo>
                  <a:cubicBezTo>
                    <a:pt x="43836" y="435043"/>
                    <a:pt x="41897" y="432507"/>
                    <a:pt x="40593" y="429638"/>
                  </a:cubicBezTo>
                  <a:cubicBezTo>
                    <a:pt x="39179" y="426527"/>
                    <a:pt x="38432" y="423153"/>
                    <a:pt x="37351" y="419911"/>
                  </a:cubicBezTo>
                  <a:cubicBezTo>
                    <a:pt x="36810" y="418290"/>
                    <a:pt x="36937" y="416256"/>
                    <a:pt x="35729" y="415047"/>
                  </a:cubicBezTo>
                  <a:cubicBezTo>
                    <a:pt x="34108" y="413426"/>
                    <a:pt x="32607" y="411675"/>
                    <a:pt x="30866" y="410183"/>
                  </a:cubicBezTo>
                  <a:cubicBezTo>
                    <a:pt x="28814" y="408424"/>
                    <a:pt x="26594" y="406869"/>
                    <a:pt x="24380" y="405319"/>
                  </a:cubicBezTo>
                  <a:cubicBezTo>
                    <a:pt x="21188" y="403084"/>
                    <a:pt x="14653" y="398834"/>
                    <a:pt x="14653" y="398834"/>
                  </a:cubicBezTo>
                  <a:cubicBezTo>
                    <a:pt x="14113" y="397213"/>
                    <a:pt x="13292" y="395659"/>
                    <a:pt x="13032" y="393970"/>
                  </a:cubicBezTo>
                  <a:cubicBezTo>
                    <a:pt x="12206" y="388602"/>
                    <a:pt x="13008" y="382948"/>
                    <a:pt x="11410" y="377757"/>
                  </a:cubicBezTo>
                  <a:cubicBezTo>
                    <a:pt x="10736" y="375566"/>
                    <a:pt x="8167" y="374515"/>
                    <a:pt x="6546" y="372894"/>
                  </a:cubicBezTo>
                  <a:cubicBezTo>
                    <a:pt x="6006" y="370732"/>
                    <a:pt x="6161" y="368262"/>
                    <a:pt x="4925" y="366408"/>
                  </a:cubicBezTo>
                  <a:cubicBezTo>
                    <a:pt x="3844" y="364787"/>
                    <a:pt x="381" y="365088"/>
                    <a:pt x="61" y="363166"/>
                  </a:cubicBezTo>
                  <a:cubicBezTo>
                    <a:pt x="-336" y="360782"/>
                    <a:pt x="1254" y="357962"/>
                    <a:pt x="3304" y="356681"/>
                  </a:cubicBezTo>
                  <a:cubicBezTo>
                    <a:pt x="6092" y="354939"/>
                    <a:pt x="9773" y="355495"/>
                    <a:pt x="13032" y="355060"/>
                  </a:cubicBezTo>
                  <a:cubicBezTo>
                    <a:pt x="17883" y="354413"/>
                    <a:pt x="22759" y="353979"/>
                    <a:pt x="27623" y="353438"/>
                  </a:cubicBezTo>
                  <a:cubicBezTo>
                    <a:pt x="30866" y="351276"/>
                    <a:pt x="37992" y="350797"/>
                    <a:pt x="37351" y="346953"/>
                  </a:cubicBezTo>
                  <a:cubicBezTo>
                    <a:pt x="36963" y="344628"/>
                    <a:pt x="36631" y="334434"/>
                    <a:pt x="32487" y="332362"/>
                  </a:cubicBezTo>
                  <a:cubicBezTo>
                    <a:pt x="29547" y="330892"/>
                    <a:pt x="26002" y="331281"/>
                    <a:pt x="22759" y="330740"/>
                  </a:cubicBezTo>
                  <a:cubicBezTo>
                    <a:pt x="21678" y="313447"/>
                    <a:pt x="19998" y="296180"/>
                    <a:pt x="19517" y="278860"/>
                  </a:cubicBezTo>
                  <a:cubicBezTo>
                    <a:pt x="19455" y="276632"/>
                    <a:pt x="19902" y="274228"/>
                    <a:pt x="21138" y="272374"/>
                  </a:cubicBezTo>
                  <a:cubicBezTo>
                    <a:pt x="22903" y="269727"/>
                    <a:pt x="32439" y="266557"/>
                    <a:pt x="34108" y="265889"/>
                  </a:cubicBezTo>
                  <a:cubicBezTo>
                    <a:pt x="35189" y="264268"/>
                    <a:pt x="35659" y="261992"/>
                    <a:pt x="37351" y="261025"/>
                  </a:cubicBezTo>
                  <a:cubicBezTo>
                    <a:pt x="39743" y="259658"/>
                    <a:pt x="43340" y="261168"/>
                    <a:pt x="45457" y="259404"/>
                  </a:cubicBezTo>
                  <a:cubicBezTo>
                    <a:pt x="47169" y="257978"/>
                    <a:pt x="46538" y="255081"/>
                    <a:pt x="47078" y="252919"/>
                  </a:cubicBezTo>
                  <a:cubicBezTo>
                    <a:pt x="41380" y="244370"/>
                    <a:pt x="47122" y="250622"/>
                    <a:pt x="37351" y="246434"/>
                  </a:cubicBezTo>
                  <a:cubicBezTo>
                    <a:pt x="35560" y="245666"/>
                    <a:pt x="34268" y="243982"/>
                    <a:pt x="32487" y="243191"/>
                  </a:cubicBezTo>
                  <a:cubicBezTo>
                    <a:pt x="29364" y="241803"/>
                    <a:pt x="22759" y="239949"/>
                    <a:pt x="22759" y="239949"/>
                  </a:cubicBezTo>
                  <a:cubicBezTo>
                    <a:pt x="16077" y="229923"/>
                    <a:pt x="16394" y="232551"/>
                    <a:pt x="21138" y="212387"/>
                  </a:cubicBezTo>
                  <a:cubicBezTo>
                    <a:pt x="21663" y="210155"/>
                    <a:pt x="24381" y="209144"/>
                    <a:pt x="26002" y="207523"/>
                  </a:cubicBezTo>
                  <a:cubicBezTo>
                    <a:pt x="29244" y="208064"/>
                    <a:pt x="33054" y="207234"/>
                    <a:pt x="35729" y="209145"/>
                  </a:cubicBezTo>
                  <a:cubicBezTo>
                    <a:pt x="37542" y="210440"/>
                    <a:pt x="36115" y="213776"/>
                    <a:pt x="37351" y="215630"/>
                  </a:cubicBezTo>
                  <a:cubicBezTo>
                    <a:pt x="38432" y="217251"/>
                    <a:pt x="40523" y="217905"/>
                    <a:pt x="42215" y="218872"/>
                  </a:cubicBezTo>
                  <a:cubicBezTo>
                    <a:pt x="44313" y="220071"/>
                    <a:pt x="46437" y="221266"/>
                    <a:pt x="48700" y="222115"/>
                  </a:cubicBezTo>
                  <a:cubicBezTo>
                    <a:pt x="53403" y="223879"/>
                    <a:pt x="62394" y="224766"/>
                    <a:pt x="66534" y="225357"/>
                  </a:cubicBezTo>
                  <a:cubicBezTo>
                    <a:pt x="80143" y="223996"/>
                    <a:pt x="82083" y="227258"/>
                    <a:pt x="89232" y="217251"/>
                  </a:cubicBezTo>
                  <a:cubicBezTo>
                    <a:pt x="90225" y="215860"/>
                    <a:pt x="90313" y="214008"/>
                    <a:pt x="90853" y="212387"/>
                  </a:cubicBezTo>
                  <a:cubicBezTo>
                    <a:pt x="89772" y="209145"/>
                    <a:pt x="89834" y="205255"/>
                    <a:pt x="87610" y="202660"/>
                  </a:cubicBezTo>
                  <a:cubicBezTo>
                    <a:pt x="86160" y="200968"/>
                    <a:pt x="82003" y="203086"/>
                    <a:pt x="81125" y="201038"/>
                  </a:cubicBezTo>
                  <a:cubicBezTo>
                    <a:pt x="79830" y="198017"/>
                    <a:pt x="81801" y="194459"/>
                    <a:pt x="82746" y="191311"/>
                  </a:cubicBezTo>
                  <a:cubicBezTo>
                    <a:pt x="89711" y="168095"/>
                    <a:pt x="83134" y="197864"/>
                    <a:pt x="87610" y="179962"/>
                  </a:cubicBezTo>
                  <a:cubicBezTo>
                    <a:pt x="88278" y="177288"/>
                    <a:pt x="88813" y="174579"/>
                    <a:pt x="89232" y="171855"/>
                  </a:cubicBezTo>
                  <a:cubicBezTo>
                    <a:pt x="89895" y="167549"/>
                    <a:pt x="89235" y="162930"/>
                    <a:pt x="90853" y="158885"/>
                  </a:cubicBezTo>
                  <a:cubicBezTo>
                    <a:pt x="91577" y="157076"/>
                    <a:pt x="93788" y="155919"/>
                    <a:pt x="95717" y="155643"/>
                  </a:cubicBezTo>
                  <a:cubicBezTo>
                    <a:pt x="101602" y="154802"/>
                    <a:pt x="102473" y="155373"/>
                    <a:pt x="107066" y="155643"/>
                  </a:cubicBezTo>
                  <a:close/>
                </a:path>
              </a:pathLst>
            </a:custGeom>
            <a:solidFill>
              <a:srgbClr val="003399"/>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grpSp>
          <p:nvGrpSpPr>
            <p:cNvPr id="311" name="Grupo 37">
              <a:extLst>
                <a:ext uri="{FF2B5EF4-FFF2-40B4-BE49-F238E27FC236}">
                  <a16:creationId xmlns:a16="http://schemas.microsoft.com/office/drawing/2014/main" id="{53EBF617-412B-4B6F-9D9E-6E701D936356}"/>
                </a:ext>
              </a:extLst>
            </p:cNvPr>
            <p:cNvGrpSpPr/>
            <p:nvPr/>
          </p:nvGrpSpPr>
          <p:grpSpPr>
            <a:xfrm>
              <a:off x="4491692" y="4989070"/>
              <a:ext cx="1731923" cy="1421209"/>
              <a:chOff x="1766948" y="5392492"/>
              <a:chExt cx="1731923" cy="1421209"/>
            </a:xfrm>
            <a:solidFill>
              <a:srgbClr val="003399"/>
            </a:solidFill>
          </p:grpSpPr>
          <p:sp>
            <p:nvSpPr>
              <p:cNvPr id="858" name="Forma libre: forma 31">
                <a:extLst>
                  <a:ext uri="{FF2B5EF4-FFF2-40B4-BE49-F238E27FC236}">
                    <a16:creationId xmlns:a16="http://schemas.microsoft.com/office/drawing/2014/main" id="{EE6C7215-9D3D-4777-9BDC-6AD66C50BE88}"/>
                  </a:ext>
                </a:extLst>
              </p:cNvPr>
              <p:cNvSpPr/>
              <p:nvPr/>
            </p:nvSpPr>
            <p:spPr>
              <a:xfrm>
                <a:off x="1766948" y="5392492"/>
                <a:ext cx="1620550" cy="1421209"/>
              </a:xfrm>
              <a:custGeom>
                <a:avLst/>
                <a:gdLst>
                  <a:gd name="connsiteX0" fmla="*/ 198928 w 1620550"/>
                  <a:gd name="connsiteY0" fmla="*/ 5310 h 1421209"/>
                  <a:gd name="connsiteX1" fmla="*/ 177197 w 1620550"/>
                  <a:gd name="connsiteY1" fmla="*/ 10325 h 1421209"/>
                  <a:gd name="connsiteX2" fmla="*/ 175525 w 1620550"/>
                  <a:gd name="connsiteY2" fmla="*/ 15340 h 1421209"/>
                  <a:gd name="connsiteX3" fmla="*/ 177197 w 1620550"/>
                  <a:gd name="connsiteY3" fmla="*/ 20355 h 1421209"/>
                  <a:gd name="connsiteX4" fmla="*/ 172182 w 1620550"/>
                  <a:gd name="connsiteY4" fmla="*/ 23698 h 1421209"/>
                  <a:gd name="connsiteX5" fmla="*/ 152122 w 1620550"/>
                  <a:gd name="connsiteY5" fmla="*/ 25370 h 1421209"/>
                  <a:gd name="connsiteX6" fmla="*/ 155465 w 1620550"/>
                  <a:gd name="connsiteY6" fmla="*/ 35400 h 1421209"/>
                  <a:gd name="connsiteX7" fmla="*/ 157137 w 1620550"/>
                  <a:gd name="connsiteY7" fmla="*/ 42086 h 1421209"/>
                  <a:gd name="connsiteX8" fmla="*/ 148779 w 1620550"/>
                  <a:gd name="connsiteY8" fmla="*/ 47101 h 1421209"/>
                  <a:gd name="connsiteX9" fmla="*/ 145435 w 1620550"/>
                  <a:gd name="connsiteY9" fmla="*/ 50445 h 1421209"/>
                  <a:gd name="connsiteX10" fmla="*/ 135405 w 1620550"/>
                  <a:gd name="connsiteY10" fmla="*/ 53788 h 1421209"/>
                  <a:gd name="connsiteX11" fmla="*/ 133734 w 1620550"/>
                  <a:gd name="connsiteY11" fmla="*/ 58803 h 1421209"/>
                  <a:gd name="connsiteX12" fmla="*/ 115345 w 1620550"/>
                  <a:gd name="connsiteY12" fmla="*/ 63818 h 1421209"/>
                  <a:gd name="connsiteX13" fmla="*/ 81912 w 1620550"/>
                  <a:gd name="connsiteY13" fmla="*/ 62146 h 1421209"/>
                  <a:gd name="connsiteX14" fmla="*/ 73554 w 1620550"/>
                  <a:gd name="connsiteY14" fmla="*/ 53788 h 1421209"/>
                  <a:gd name="connsiteX15" fmla="*/ 66867 w 1620550"/>
                  <a:gd name="connsiteY15" fmla="*/ 50445 h 1421209"/>
                  <a:gd name="connsiteX16" fmla="*/ 55165 w 1620550"/>
                  <a:gd name="connsiteY16" fmla="*/ 52116 h 1421209"/>
                  <a:gd name="connsiteX17" fmla="*/ 55165 w 1620550"/>
                  <a:gd name="connsiteY17" fmla="*/ 62146 h 1421209"/>
                  <a:gd name="connsiteX18" fmla="*/ 30090 w 1620550"/>
                  <a:gd name="connsiteY18" fmla="*/ 65490 h 1421209"/>
                  <a:gd name="connsiteX19" fmla="*/ 16717 w 1620550"/>
                  <a:gd name="connsiteY19" fmla="*/ 75520 h 1421209"/>
                  <a:gd name="connsiteX20" fmla="*/ 11702 w 1620550"/>
                  <a:gd name="connsiteY20" fmla="*/ 80535 h 1421209"/>
                  <a:gd name="connsiteX21" fmla="*/ 8359 w 1620550"/>
                  <a:gd name="connsiteY21" fmla="*/ 88893 h 1421209"/>
                  <a:gd name="connsiteX22" fmla="*/ 6687 w 1620550"/>
                  <a:gd name="connsiteY22" fmla="*/ 98923 h 1421209"/>
                  <a:gd name="connsiteX23" fmla="*/ 0 w 1620550"/>
                  <a:gd name="connsiteY23" fmla="*/ 107281 h 1421209"/>
                  <a:gd name="connsiteX24" fmla="*/ 15045 w 1620550"/>
                  <a:gd name="connsiteY24" fmla="*/ 115640 h 1421209"/>
                  <a:gd name="connsiteX25" fmla="*/ 13374 w 1620550"/>
                  <a:gd name="connsiteY25" fmla="*/ 123998 h 1421209"/>
                  <a:gd name="connsiteX26" fmla="*/ 16717 w 1620550"/>
                  <a:gd name="connsiteY26" fmla="*/ 130685 h 1421209"/>
                  <a:gd name="connsiteX27" fmla="*/ 11702 w 1620550"/>
                  <a:gd name="connsiteY27" fmla="*/ 135700 h 1421209"/>
                  <a:gd name="connsiteX28" fmla="*/ 8359 w 1620550"/>
                  <a:gd name="connsiteY28" fmla="*/ 140715 h 1421209"/>
                  <a:gd name="connsiteX29" fmla="*/ 33434 w 1620550"/>
                  <a:gd name="connsiteY29" fmla="*/ 142386 h 1421209"/>
                  <a:gd name="connsiteX30" fmla="*/ 36777 w 1620550"/>
                  <a:gd name="connsiteY30" fmla="*/ 147401 h 1421209"/>
                  <a:gd name="connsiteX31" fmla="*/ 20060 w 1620550"/>
                  <a:gd name="connsiteY31" fmla="*/ 150745 h 1421209"/>
                  <a:gd name="connsiteX32" fmla="*/ 18389 w 1620550"/>
                  <a:gd name="connsiteY32" fmla="*/ 174148 h 1421209"/>
                  <a:gd name="connsiteX33" fmla="*/ 23404 w 1620550"/>
                  <a:gd name="connsiteY33" fmla="*/ 175820 h 1421209"/>
                  <a:gd name="connsiteX34" fmla="*/ 31762 w 1620550"/>
                  <a:gd name="connsiteY34" fmla="*/ 174148 h 1421209"/>
                  <a:gd name="connsiteX35" fmla="*/ 33434 w 1620550"/>
                  <a:gd name="connsiteY35" fmla="*/ 169133 h 1421209"/>
                  <a:gd name="connsiteX36" fmla="*/ 38449 w 1620550"/>
                  <a:gd name="connsiteY36" fmla="*/ 167461 h 1421209"/>
                  <a:gd name="connsiteX37" fmla="*/ 48479 w 1620550"/>
                  <a:gd name="connsiteY37" fmla="*/ 169133 h 1421209"/>
                  <a:gd name="connsiteX38" fmla="*/ 50150 w 1620550"/>
                  <a:gd name="connsiteY38" fmla="*/ 180835 h 1421209"/>
                  <a:gd name="connsiteX39" fmla="*/ 45135 w 1620550"/>
                  <a:gd name="connsiteY39" fmla="*/ 182506 h 1421209"/>
                  <a:gd name="connsiteX40" fmla="*/ 41792 w 1620550"/>
                  <a:gd name="connsiteY40" fmla="*/ 187521 h 1421209"/>
                  <a:gd name="connsiteX41" fmla="*/ 40120 w 1620550"/>
                  <a:gd name="connsiteY41" fmla="*/ 197551 h 1421209"/>
                  <a:gd name="connsiteX42" fmla="*/ 38449 w 1620550"/>
                  <a:gd name="connsiteY42" fmla="*/ 205909 h 1421209"/>
                  <a:gd name="connsiteX43" fmla="*/ 35105 w 1620550"/>
                  <a:gd name="connsiteY43" fmla="*/ 212596 h 1421209"/>
                  <a:gd name="connsiteX44" fmla="*/ 33434 w 1620550"/>
                  <a:gd name="connsiteY44" fmla="*/ 217611 h 1421209"/>
                  <a:gd name="connsiteX45" fmla="*/ 41792 w 1620550"/>
                  <a:gd name="connsiteY45" fmla="*/ 220954 h 1421209"/>
                  <a:gd name="connsiteX46" fmla="*/ 58509 w 1620550"/>
                  <a:gd name="connsiteY46" fmla="*/ 222626 h 1421209"/>
                  <a:gd name="connsiteX47" fmla="*/ 30090 w 1620550"/>
                  <a:gd name="connsiteY47" fmla="*/ 232656 h 1421209"/>
                  <a:gd name="connsiteX48" fmla="*/ 28419 w 1620550"/>
                  <a:gd name="connsiteY48" fmla="*/ 237671 h 1421209"/>
                  <a:gd name="connsiteX49" fmla="*/ 40120 w 1620550"/>
                  <a:gd name="connsiteY49" fmla="*/ 239343 h 1421209"/>
                  <a:gd name="connsiteX50" fmla="*/ 31762 w 1620550"/>
                  <a:gd name="connsiteY50" fmla="*/ 242686 h 1421209"/>
                  <a:gd name="connsiteX51" fmla="*/ 26747 w 1620550"/>
                  <a:gd name="connsiteY51" fmla="*/ 249373 h 1421209"/>
                  <a:gd name="connsiteX52" fmla="*/ 15045 w 1620550"/>
                  <a:gd name="connsiteY52" fmla="*/ 257731 h 1421209"/>
                  <a:gd name="connsiteX53" fmla="*/ 15045 w 1620550"/>
                  <a:gd name="connsiteY53" fmla="*/ 291164 h 1421209"/>
                  <a:gd name="connsiteX54" fmla="*/ 25075 w 1620550"/>
                  <a:gd name="connsiteY54" fmla="*/ 287821 h 1421209"/>
                  <a:gd name="connsiteX55" fmla="*/ 33434 w 1620550"/>
                  <a:gd name="connsiteY55" fmla="*/ 279463 h 1421209"/>
                  <a:gd name="connsiteX56" fmla="*/ 43464 w 1620550"/>
                  <a:gd name="connsiteY56" fmla="*/ 271104 h 1421209"/>
                  <a:gd name="connsiteX57" fmla="*/ 51822 w 1620550"/>
                  <a:gd name="connsiteY57" fmla="*/ 269433 h 1421209"/>
                  <a:gd name="connsiteX58" fmla="*/ 83584 w 1620550"/>
                  <a:gd name="connsiteY58" fmla="*/ 267761 h 1421209"/>
                  <a:gd name="connsiteX59" fmla="*/ 91942 w 1620550"/>
                  <a:gd name="connsiteY59" fmla="*/ 269433 h 1421209"/>
                  <a:gd name="connsiteX60" fmla="*/ 98629 w 1620550"/>
                  <a:gd name="connsiteY60" fmla="*/ 272776 h 1421209"/>
                  <a:gd name="connsiteX61" fmla="*/ 103644 w 1620550"/>
                  <a:gd name="connsiteY61" fmla="*/ 274448 h 1421209"/>
                  <a:gd name="connsiteX62" fmla="*/ 108659 w 1620550"/>
                  <a:gd name="connsiteY62" fmla="*/ 279463 h 1421209"/>
                  <a:gd name="connsiteX63" fmla="*/ 112002 w 1620550"/>
                  <a:gd name="connsiteY63" fmla="*/ 299523 h 1421209"/>
                  <a:gd name="connsiteX64" fmla="*/ 100300 w 1620550"/>
                  <a:gd name="connsiteY64" fmla="*/ 307881 h 1421209"/>
                  <a:gd name="connsiteX65" fmla="*/ 96957 w 1620550"/>
                  <a:gd name="connsiteY65" fmla="*/ 321254 h 1421209"/>
                  <a:gd name="connsiteX66" fmla="*/ 95285 w 1620550"/>
                  <a:gd name="connsiteY66" fmla="*/ 326269 h 1421209"/>
                  <a:gd name="connsiteX67" fmla="*/ 98629 w 1620550"/>
                  <a:gd name="connsiteY67" fmla="*/ 331284 h 1421209"/>
                  <a:gd name="connsiteX68" fmla="*/ 118689 w 1620550"/>
                  <a:gd name="connsiteY68" fmla="*/ 334628 h 1421209"/>
                  <a:gd name="connsiteX69" fmla="*/ 147107 w 1620550"/>
                  <a:gd name="connsiteY69" fmla="*/ 332956 h 1421209"/>
                  <a:gd name="connsiteX70" fmla="*/ 158808 w 1620550"/>
                  <a:gd name="connsiteY70" fmla="*/ 329613 h 1421209"/>
                  <a:gd name="connsiteX71" fmla="*/ 168838 w 1620550"/>
                  <a:gd name="connsiteY71" fmla="*/ 332956 h 1421209"/>
                  <a:gd name="connsiteX72" fmla="*/ 177197 w 1620550"/>
                  <a:gd name="connsiteY72" fmla="*/ 342986 h 1421209"/>
                  <a:gd name="connsiteX73" fmla="*/ 183883 w 1620550"/>
                  <a:gd name="connsiteY73" fmla="*/ 346329 h 1421209"/>
                  <a:gd name="connsiteX74" fmla="*/ 192242 w 1620550"/>
                  <a:gd name="connsiteY74" fmla="*/ 348001 h 1421209"/>
                  <a:gd name="connsiteX75" fmla="*/ 217317 w 1620550"/>
                  <a:gd name="connsiteY75" fmla="*/ 341314 h 1421209"/>
                  <a:gd name="connsiteX76" fmla="*/ 222332 w 1620550"/>
                  <a:gd name="connsiteY76" fmla="*/ 334628 h 1421209"/>
                  <a:gd name="connsiteX77" fmla="*/ 232362 w 1620550"/>
                  <a:gd name="connsiteY77" fmla="*/ 331284 h 1421209"/>
                  <a:gd name="connsiteX78" fmla="*/ 239048 w 1620550"/>
                  <a:gd name="connsiteY78" fmla="*/ 334628 h 1421209"/>
                  <a:gd name="connsiteX79" fmla="*/ 244063 w 1620550"/>
                  <a:gd name="connsiteY79" fmla="*/ 339643 h 1421209"/>
                  <a:gd name="connsiteX80" fmla="*/ 250750 w 1620550"/>
                  <a:gd name="connsiteY80" fmla="*/ 341314 h 1421209"/>
                  <a:gd name="connsiteX81" fmla="*/ 260780 w 1620550"/>
                  <a:gd name="connsiteY81" fmla="*/ 348001 h 1421209"/>
                  <a:gd name="connsiteX82" fmla="*/ 269138 w 1620550"/>
                  <a:gd name="connsiteY82" fmla="*/ 356359 h 1421209"/>
                  <a:gd name="connsiteX83" fmla="*/ 270810 w 1620550"/>
                  <a:gd name="connsiteY83" fmla="*/ 368061 h 1421209"/>
                  <a:gd name="connsiteX84" fmla="*/ 290870 w 1620550"/>
                  <a:gd name="connsiteY84" fmla="*/ 366389 h 1421209"/>
                  <a:gd name="connsiteX85" fmla="*/ 305915 w 1620550"/>
                  <a:gd name="connsiteY85" fmla="*/ 368061 h 1421209"/>
                  <a:gd name="connsiteX86" fmla="*/ 304243 w 1620550"/>
                  <a:gd name="connsiteY86" fmla="*/ 388121 h 1421209"/>
                  <a:gd name="connsiteX87" fmla="*/ 307587 w 1620550"/>
                  <a:gd name="connsiteY87" fmla="*/ 403166 h 1421209"/>
                  <a:gd name="connsiteX88" fmla="*/ 320960 w 1620550"/>
                  <a:gd name="connsiteY88" fmla="*/ 414867 h 1421209"/>
                  <a:gd name="connsiteX89" fmla="*/ 329318 w 1620550"/>
                  <a:gd name="connsiteY89" fmla="*/ 424897 h 1421209"/>
                  <a:gd name="connsiteX90" fmla="*/ 336005 w 1620550"/>
                  <a:gd name="connsiteY90" fmla="*/ 428241 h 1421209"/>
                  <a:gd name="connsiteX91" fmla="*/ 334333 w 1620550"/>
                  <a:gd name="connsiteY91" fmla="*/ 458331 h 1421209"/>
                  <a:gd name="connsiteX92" fmla="*/ 307587 w 1620550"/>
                  <a:gd name="connsiteY92" fmla="*/ 478391 h 1421209"/>
                  <a:gd name="connsiteX93" fmla="*/ 292542 w 1620550"/>
                  <a:gd name="connsiteY93" fmla="*/ 483406 h 1421209"/>
                  <a:gd name="connsiteX94" fmla="*/ 287527 w 1620550"/>
                  <a:gd name="connsiteY94" fmla="*/ 486749 h 1421209"/>
                  <a:gd name="connsiteX95" fmla="*/ 265795 w 1620550"/>
                  <a:gd name="connsiteY95" fmla="*/ 488421 h 1421209"/>
                  <a:gd name="connsiteX96" fmla="*/ 257437 w 1620550"/>
                  <a:gd name="connsiteY96" fmla="*/ 495107 h 1421209"/>
                  <a:gd name="connsiteX97" fmla="*/ 249078 w 1620550"/>
                  <a:gd name="connsiteY97" fmla="*/ 503466 h 1421209"/>
                  <a:gd name="connsiteX98" fmla="*/ 247407 w 1620550"/>
                  <a:gd name="connsiteY98" fmla="*/ 508481 h 1421209"/>
                  <a:gd name="connsiteX99" fmla="*/ 239048 w 1620550"/>
                  <a:gd name="connsiteY99" fmla="*/ 515167 h 1421209"/>
                  <a:gd name="connsiteX100" fmla="*/ 237377 w 1620550"/>
                  <a:gd name="connsiteY100" fmla="*/ 536899 h 1421209"/>
                  <a:gd name="connsiteX101" fmla="*/ 239048 w 1620550"/>
                  <a:gd name="connsiteY101" fmla="*/ 543586 h 1421209"/>
                  <a:gd name="connsiteX102" fmla="*/ 237377 w 1620550"/>
                  <a:gd name="connsiteY102" fmla="*/ 595407 h 1421209"/>
                  <a:gd name="connsiteX103" fmla="*/ 230690 w 1620550"/>
                  <a:gd name="connsiteY103" fmla="*/ 610452 h 1421209"/>
                  <a:gd name="connsiteX104" fmla="*/ 227347 w 1620550"/>
                  <a:gd name="connsiteY104" fmla="*/ 618810 h 1421209"/>
                  <a:gd name="connsiteX105" fmla="*/ 224003 w 1620550"/>
                  <a:gd name="connsiteY105" fmla="*/ 625497 h 1421209"/>
                  <a:gd name="connsiteX106" fmla="*/ 222332 w 1620550"/>
                  <a:gd name="connsiteY106" fmla="*/ 633855 h 1421209"/>
                  <a:gd name="connsiteX107" fmla="*/ 213973 w 1620550"/>
                  <a:gd name="connsiteY107" fmla="*/ 642214 h 1421209"/>
                  <a:gd name="connsiteX108" fmla="*/ 205615 w 1620550"/>
                  <a:gd name="connsiteY108" fmla="*/ 648900 h 1421209"/>
                  <a:gd name="connsiteX109" fmla="*/ 190570 w 1620550"/>
                  <a:gd name="connsiteY109" fmla="*/ 652244 h 1421209"/>
                  <a:gd name="connsiteX110" fmla="*/ 192242 w 1620550"/>
                  <a:gd name="connsiteY110" fmla="*/ 662274 h 1421209"/>
                  <a:gd name="connsiteX111" fmla="*/ 193913 w 1620550"/>
                  <a:gd name="connsiteY111" fmla="*/ 667289 h 1421209"/>
                  <a:gd name="connsiteX112" fmla="*/ 190570 w 1620550"/>
                  <a:gd name="connsiteY112" fmla="*/ 695707 h 1421209"/>
                  <a:gd name="connsiteX113" fmla="*/ 187227 w 1620550"/>
                  <a:gd name="connsiteY113" fmla="*/ 704065 h 1421209"/>
                  <a:gd name="connsiteX114" fmla="*/ 185555 w 1620550"/>
                  <a:gd name="connsiteY114" fmla="*/ 712424 h 1421209"/>
                  <a:gd name="connsiteX115" fmla="*/ 180540 w 1620550"/>
                  <a:gd name="connsiteY115" fmla="*/ 717439 h 1421209"/>
                  <a:gd name="connsiteX116" fmla="*/ 175525 w 1620550"/>
                  <a:gd name="connsiteY116" fmla="*/ 725797 h 1421209"/>
                  <a:gd name="connsiteX117" fmla="*/ 170510 w 1620550"/>
                  <a:gd name="connsiteY117" fmla="*/ 727469 h 1421209"/>
                  <a:gd name="connsiteX118" fmla="*/ 165495 w 1620550"/>
                  <a:gd name="connsiteY118" fmla="*/ 730812 h 1421209"/>
                  <a:gd name="connsiteX119" fmla="*/ 147107 w 1620550"/>
                  <a:gd name="connsiteY119" fmla="*/ 734155 h 1421209"/>
                  <a:gd name="connsiteX120" fmla="*/ 137077 w 1620550"/>
                  <a:gd name="connsiteY120" fmla="*/ 739170 h 1421209"/>
                  <a:gd name="connsiteX121" fmla="*/ 128719 w 1620550"/>
                  <a:gd name="connsiteY121" fmla="*/ 742513 h 1421209"/>
                  <a:gd name="connsiteX122" fmla="*/ 122032 w 1620550"/>
                  <a:gd name="connsiteY122" fmla="*/ 745857 h 1421209"/>
                  <a:gd name="connsiteX123" fmla="*/ 95285 w 1620550"/>
                  <a:gd name="connsiteY123" fmla="*/ 749200 h 1421209"/>
                  <a:gd name="connsiteX124" fmla="*/ 100300 w 1620550"/>
                  <a:gd name="connsiteY124" fmla="*/ 750872 h 1421209"/>
                  <a:gd name="connsiteX125" fmla="*/ 103644 w 1620550"/>
                  <a:gd name="connsiteY125" fmla="*/ 755887 h 1421209"/>
                  <a:gd name="connsiteX126" fmla="*/ 106987 w 1620550"/>
                  <a:gd name="connsiteY126" fmla="*/ 770932 h 1421209"/>
                  <a:gd name="connsiteX127" fmla="*/ 110330 w 1620550"/>
                  <a:gd name="connsiteY127" fmla="*/ 779290 h 1421209"/>
                  <a:gd name="connsiteX128" fmla="*/ 112002 w 1620550"/>
                  <a:gd name="connsiteY128" fmla="*/ 787648 h 1421209"/>
                  <a:gd name="connsiteX129" fmla="*/ 113674 w 1620550"/>
                  <a:gd name="connsiteY129" fmla="*/ 821082 h 1421209"/>
                  <a:gd name="connsiteX130" fmla="*/ 117017 w 1620550"/>
                  <a:gd name="connsiteY130" fmla="*/ 827768 h 1421209"/>
                  <a:gd name="connsiteX131" fmla="*/ 125375 w 1620550"/>
                  <a:gd name="connsiteY131" fmla="*/ 831112 h 1421209"/>
                  <a:gd name="connsiteX132" fmla="*/ 140420 w 1620550"/>
                  <a:gd name="connsiteY132" fmla="*/ 832783 h 1421209"/>
                  <a:gd name="connsiteX133" fmla="*/ 155465 w 1620550"/>
                  <a:gd name="connsiteY133" fmla="*/ 837798 h 1421209"/>
                  <a:gd name="connsiteX134" fmla="*/ 153793 w 1620550"/>
                  <a:gd name="connsiteY134" fmla="*/ 864545 h 1421209"/>
                  <a:gd name="connsiteX135" fmla="*/ 147107 w 1620550"/>
                  <a:gd name="connsiteY135" fmla="*/ 871232 h 1421209"/>
                  <a:gd name="connsiteX136" fmla="*/ 143764 w 1620550"/>
                  <a:gd name="connsiteY136" fmla="*/ 876247 h 1421209"/>
                  <a:gd name="connsiteX137" fmla="*/ 133734 w 1620550"/>
                  <a:gd name="connsiteY137" fmla="*/ 886277 h 1421209"/>
                  <a:gd name="connsiteX138" fmla="*/ 128719 w 1620550"/>
                  <a:gd name="connsiteY138" fmla="*/ 891292 h 1421209"/>
                  <a:gd name="connsiteX139" fmla="*/ 108659 w 1620550"/>
                  <a:gd name="connsiteY139" fmla="*/ 904665 h 1421209"/>
                  <a:gd name="connsiteX140" fmla="*/ 100300 w 1620550"/>
                  <a:gd name="connsiteY140" fmla="*/ 913023 h 1421209"/>
                  <a:gd name="connsiteX141" fmla="*/ 86927 w 1620550"/>
                  <a:gd name="connsiteY141" fmla="*/ 928068 h 1421209"/>
                  <a:gd name="connsiteX142" fmla="*/ 86927 w 1620550"/>
                  <a:gd name="connsiteY142" fmla="*/ 981561 h 1421209"/>
                  <a:gd name="connsiteX143" fmla="*/ 96957 w 1620550"/>
                  <a:gd name="connsiteY143" fmla="*/ 991591 h 1421209"/>
                  <a:gd name="connsiteX144" fmla="*/ 108659 w 1620550"/>
                  <a:gd name="connsiteY144" fmla="*/ 993263 h 1421209"/>
                  <a:gd name="connsiteX145" fmla="*/ 115345 w 1620550"/>
                  <a:gd name="connsiteY145" fmla="*/ 1038398 h 1421209"/>
                  <a:gd name="connsiteX146" fmla="*/ 93614 w 1620550"/>
                  <a:gd name="connsiteY146" fmla="*/ 1035055 h 1421209"/>
                  <a:gd name="connsiteX147" fmla="*/ 63524 w 1620550"/>
                  <a:gd name="connsiteY147" fmla="*/ 1036726 h 1421209"/>
                  <a:gd name="connsiteX148" fmla="*/ 56837 w 1620550"/>
                  <a:gd name="connsiteY148" fmla="*/ 1045085 h 1421209"/>
                  <a:gd name="connsiteX149" fmla="*/ 48479 w 1620550"/>
                  <a:gd name="connsiteY149" fmla="*/ 1051771 h 1421209"/>
                  <a:gd name="connsiteX150" fmla="*/ 43464 w 1620550"/>
                  <a:gd name="connsiteY150" fmla="*/ 1058458 h 1421209"/>
                  <a:gd name="connsiteX151" fmla="*/ 40120 w 1620550"/>
                  <a:gd name="connsiteY151" fmla="*/ 1061801 h 1421209"/>
                  <a:gd name="connsiteX152" fmla="*/ 35105 w 1620550"/>
                  <a:gd name="connsiteY152" fmla="*/ 1070160 h 1421209"/>
                  <a:gd name="connsiteX153" fmla="*/ 33434 w 1620550"/>
                  <a:gd name="connsiteY153" fmla="*/ 1075175 h 1421209"/>
                  <a:gd name="connsiteX154" fmla="*/ 28419 w 1620550"/>
                  <a:gd name="connsiteY154" fmla="*/ 1091891 h 1421209"/>
                  <a:gd name="connsiteX155" fmla="*/ 25075 w 1620550"/>
                  <a:gd name="connsiteY155" fmla="*/ 1098578 h 1421209"/>
                  <a:gd name="connsiteX156" fmla="*/ 20060 w 1620550"/>
                  <a:gd name="connsiteY156" fmla="*/ 1111951 h 1421209"/>
                  <a:gd name="connsiteX157" fmla="*/ 21732 w 1620550"/>
                  <a:gd name="connsiteY157" fmla="*/ 1163773 h 1421209"/>
                  <a:gd name="connsiteX158" fmla="*/ 41792 w 1620550"/>
                  <a:gd name="connsiteY158" fmla="*/ 1162101 h 1421209"/>
                  <a:gd name="connsiteX159" fmla="*/ 68539 w 1620550"/>
                  <a:gd name="connsiteY159" fmla="*/ 1163773 h 1421209"/>
                  <a:gd name="connsiteX160" fmla="*/ 81912 w 1620550"/>
                  <a:gd name="connsiteY160" fmla="*/ 1173803 h 1421209"/>
                  <a:gd name="connsiteX161" fmla="*/ 86927 w 1620550"/>
                  <a:gd name="connsiteY161" fmla="*/ 1177146 h 1421209"/>
                  <a:gd name="connsiteX162" fmla="*/ 93614 w 1620550"/>
                  <a:gd name="connsiteY162" fmla="*/ 1185504 h 1421209"/>
                  <a:gd name="connsiteX163" fmla="*/ 96957 w 1620550"/>
                  <a:gd name="connsiteY163" fmla="*/ 1195534 h 1421209"/>
                  <a:gd name="connsiteX164" fmla="*/ 98629 w 1620550"/>
                  <a:gd name="connsiteY164" fmla="*/ 1200549 h 1421209"/>
                  <a:gd name="connsiteX165" fmla="*/ 108659 w 1620550"/>
                  <a:gd name="connsiteY165" fmla="*/ 1212251 h 1421209"/>
                  <a:gd name="connsiteX166" fmla="*/ 113674 w 1620550"/>
                  <a:gd name="connsiteY166" fmla="*/ 1213923 h 1421209"/>
                  <a:gd name="connsiteX167" fmla="*/ 122032 w 1620550"/>
                  <a:gd name="connsiteY167" fmla="*/ 1217266 h 1421209"/>
                  <a:gd name="connsiteX168" fmla="*/ 135405 w 1620550"/>
                  <a:gd name="connsiteY168" fmla="*/ 1227296 h 1421209"/>
                  <a:gd name="connsiteX169" fmla="*/ 140420 w 1620550"/>
                  <a:gd name="connsiteY169" fmla="*/ 1230639 h 1421209"/>
                  <a:gd name="connsiteX170" fmla="*/ 145435 w 1620550"/>
                  <a:gd name="connsiteY170" fmla="*/ 1232311 h 1421209"/>
                  <a:gd name="connsiteX171" fmla="*/ 148779 w 1620550"/>
                  <a:gd name="connsiteY171" fmla="*/ 1237326 h 1421209"/>
                  <a:gd name="connsiteX172" fmla="*/ 153793 w 1620550"/>
                  <a:gd name="connsiteY172" fmla="*/ 1244013 h 1421209"/>
                  <a:gd name="connsiteX173" fmla="*/ 158808 w 1620550"/>
                  <a:gd name="connsiteY173" fmla="*/ 1255714 h 1421209"/>
                  <a:gd name="connsiteX174" fmla="*/ 152122 w 1620550"/>
                  <a:gd name="connsiteY174" fmla="*/ 1259058 h 1421209"/>
                  <a:gd name="connsiteX175" fmla="*/ 143764 w 1620550"/>
                  <a:gd name="connsiteY175" fmla="*/ 1260729 h 1421209"/>
                  <a:gd name="connsiteX176" fmla="*/ 145435 w 1620550"/>
                  <a:gd name="connsiteY176" fmla="*/ 1274103 h 1421209"/>
                  <a:gd name="connsiteX177" fmla="*/ 152122 w 1620550"/>
                  <a:gd name="connsiteY177" fmla="*/ 1290819 h 1421209"/>
                  <a:gd name="connsiteX178" fmla="*/ 155465 w 1620550"/>
                  <a:gd name="connsiteY178" fmla="*/ 1295834 h 1421209"/>
                  <a:gd name="connsiteX179" fmla="*/ 160480 w 1620550"/>
                  <a:gd name="connsiteY179" fmla="*/ 1297506 h 1421209"/>
                  <a:gd name="connsiteX180" fmla="*/ 163823 w 1620550"/>
                  <a:gd name="connsiteY180" fmla="*/ 1302521 h 1421209"/>
                  <a:gd name="connsiteX181" fmla="*/ 168838 w 1620550"/>
                  <a:gd name="connsiteY181" fmla="*/ 1305864 h 1421209"/>
                  <a:gd name="connsiteX182" fmla="*/ 177197 w 1620550"/>
                  <a:gd name="connsiteY182" fmla="*/ 1312551 h 1421209"/>
                  <a:gd name="connsiteX183" fmla="*/ 180540 w 1620550"/>
                  <a:gd name="connsiteY183" fmla="*/ 1317566 h 1421209"/>
                  <a:gd name="connsiteX184" fmla="*/ 168838 w 1620550"/>
                  <a:gd name="connsiteY184" fmla="*/ 1329267 h 1421209"/>
                  <a:gd name="connsiteX185" fmla="*/ 170510 w 1620550"/>
                  <a:gd name="connsiteY185" fmla="*/ 1349327 h 1421209"/>
                  <a:gd name="connsiteX186" fmla="*/ 175525 w 1620550"/>
                  <a:gd name="connsiteY186" fmla="*/ 1356014 h 1421209"/>
                  <a:gd name="connsiteX187" fmla="*/ 177197 w 1620550"/>
                  <a:gd name="connsiteY187" fmla="*/ 1371059 h 1421209"/>
                  <a:gd name="connsiteX188" fmla="*/ 178868 w 1620550"/>
                  <a:gd name="connsiteY188" fmla="*/ 1381089 h 1421209"/>
                  <a:gd name="connsiteX189" fmla="*/ 182212 w 1620550"/>
                  <a:gd name="connsiteY189" fmla="*/ 1397806 h 1421209"/>
                  <a:gd name="connsiteX190" fmla="*/ 188898 w 1620550"/>
                  <a:gd name="connsiteY190" fmla="*/ 1401149 h 1421209"/>
                  <a:gd name="connsiteX191" fmla="*/ 193913 w 1620550"/>
                  <a:gd name="connsiteY191" fmla="*/ 1399477 h 1421209"/>
                  <a:gd name="connsiteX192" fmla="*/ 200600 w 1620550"/>
                  <a:gd name="connsiteY192" fmla="*/ 1389447 h 1421209"/>
                  <a:gd name="connsiteX193" fmla="*/ 208958 w 1620550"/>
                  <a:gd name="connsiteY193" fmla="*/ 1392791 h 1421209"/>
                  <a:gd name="connsiteX194" fmla="*/ 210630 w 1620550"/>
                  <a:gd name="connsiteY194" fmla="*/ 1397806 h 1421209"/>
                  <a:gd name="connsiteX195" fmla="*/ 213973 w 1620550"/>
                  <a:gd name="connsiteY195" fmla="*/ 1402821 h 1421209"/>
                  <a:gd name="connsiteX196" fmla="*/ 215645 w 1620550"/>
                  <a:gd name="connsiteY196" fmla="*/ 1412851 h 1421209"/>
                  <a:gd name="connsiteX197" fmla="*/ 222332 w 1620550"/>
                  <a:gd name="connsiteY197" fmla="*/ 1416194 h 1421209"/>
                  <a:gd name="connsiteX198" fmla="*/ 234033 w 1620550"/>
                  <a:gd name="connsiteY198" fmla="*/ 1419537 h 1421209"/>
                  <a:gd name="connsiteX199" fmla="*/ 239048 w 1620550"/>
                  <a:gd name="connsiteY199" fmla="*/ 1421209 h 1421209"/>
                  <a:gd name="connsiteX200" fmla="*/ 269138 w 1620550"/>
                  <a:gd name="connsiteY200" fmla="*/ 1419537 h 1421209"/>
                  <a:gd name="connsiteX201" fmla="*/ 270810 w 1620550"/>
                  <a:gd name="connsiteY201" fmla="*/ 1414522 h 1421209"/>
                  <a:gd name="connsiteX202" fmla="*/ 277497 w 1620550"/>
                  <a:gd name="connsiteY202" fmla="*/ 1412851 h 1421209"/>
                  <a:gd name="connsiteX203" fmla="*/ 285855 w 1620550"/>
                  <a:gd name="connsiteY203" fmla="*/ 1411179 h 1421209"/>
                  <a:gd name="connsiteX204" fmla="*/ 287527 w 1620550"/>
                  <a:gd name="connsiteY204" fmla="*/ 1406164 h 1421209"/>
                  <a:gd name="connsiteX205" fmla="*/ 289198 w 1620550"/>
                  <a:gd name="connsiteY205" fmla="*/ 1396134 h 1421209"/>
                  <a:gd name="connsiteX206" fmla="*/ 294213 w 1620550"/>
                  <a:gd name="connsiteY206" fmla="*/ 1389447 h 1421209"/>
                  <a:gd name="connsiteX207" fmla="*/ 300900 w 1620550"/>
                  <a:gd name="connsiteY207" fmla="*/ 1379417 h 1421209"/>
                  <a:gd name="connsiteX208" fmla="*/ 307587 w 1620550"/>
                  <a:gd name="connsiteY208" fmla="*/ 1366044 h 1421209"/>
                  <a:gd name="connsiteX209" fmla="*/ 314273 w 1620550"/>
                  <a:gd name="connsiteY209" fmla="*/ 1361029 h 1421209"/>
                  <a:gd name="connsiteX210" fmla="*/ 317617 w 1620550"/>
                  <a:gd name="connsiteY210" fmla="*/ 1357686 h 1421209"/>
                  <a:gd name="connsiteX211" fmla="*/ 339348 w 1620550"/>
                  <a:gd name="connsiteY211" fmla="*/ 1354342 h 1421209"/>
                  <a:gd name="connsiteX212" fmla="*/ 356065 w 1620550"/>
                  <a:gd name="connsiteY212" fmla="*/ 1357686 h 1421209"/>
                  <a:gd name="connsiteX213" fmla="*/ 361080 w 1620550"/>
                  <a:gd name="connsiteY213" fmla="*/ 1359357 h 1421209"/>
                  <a:gd name="connsiteX214" fmla="*/ 364423 w 1620550"/>
                  <a:gd name="connsiteY214" fmla="*/ 1362701 h 1421209"/>
                  <a:gd name="connsiteX215" fmla="*/ 374453 w 1620550"/>
                  <a:gd name="connsiteY215" fmla="*/ 1367716 h 1421209"/>
                  <a:gd name="connsiteX216" fmla="*/ 377796 w 1620550"/>
                  <a:gd name="connsiteY216" fmla="*/ 1374402 h 1421209"/>
                  <a:gd name="connsiteX217" fmla="*/ 381140 w 1620550"/>
                  <a:gd name="connsiteY217" fmla="*/ 1377746 h 1421209"/>
                  <a:gd name="connsiteX218" fmla="*/ 386155 w 1620550"/>
                  <a:gd name="connsiteY218" fmla="*/ 1374402 h 1421209"/>
                  <a:gd name="connsiteX219" fmla="*/ 396185 w 1620550"/>
                  <a:gd name="connsiteY219" fmla="*/ 1361029 h 1421209"/>
                  <a:gd name="connsiteX220" fmla="*/ 414573 w 1620550"/>
                  <a:gd name="connsiteY220" fmla="*/ 1356014 h 1421209"/>
                  <a:gd name="connsiteX221" fmla="*/ 416245 w 1620550"/>
                  <a:gd name="connsiteY221" fmla="*/ 1349327 h 1421209"/>
                  <a:gd name="connsiteX222" fmla="*/ 419588 w 1620550"/>
                  <a:gd name="connsiteY222" fmla="*/ 1334282 h 1421209"/>
                  <a:gd name="connsiteX223" fmla="*/ 424603 w 1620550"/>
                  <a:gd name="connsiteY223" fmla="*/ 1330939 h 1421209"/>
                  <a:gd name="connsiteX224" fmla="*/ 444663 w 1620550"/>
                  <a:gd name="connsiteY224" fmla="*/ 1332611 h 1421209"/>
                  <a:gd name="connsiteX225" fmla="*/ 466395 w 1620550"/>
                  <a:gd name="connsiteY225" fmla="*/ 1339297 h 1421209"/>
                  <a:gd name="connsiteX226" fmla="*/ 509858 w 1620550"/>
                  <a:gd name="connsiteY226" fmla="*/ 1340969 h 1421209"/>
                  <a:gd name="connsiteX227" fmla="*/ 523231 w 1620550"/>
                  <a:gd name="connsiteY227" fmla="*/ 1345984 h 1421209"/>
                  <a:gd name="connsiteX228" fmla="*/ 531589 w 1620550"/>
                  <a:gd name="connsiteY228" fmla="*/ 1357686 h 1421209"/>
                  <a:gd name="connsiteX229" fmla="*/ 534933 w 1620550"/>
                  <a:gd name="connsiteY229" fmla="*/ 1364372 h 1421209"/>
                  <a:gd name="connsiteX230" fmla="*/ 539948 w 1620550"/>
                  <a:gd name="connsiteY230" fmla="*/ 1366044 h 1421209"/>
                  <a:gd name="connsiteX231" fmla="*/ 565023 w 1620550"/>
                  <a:gd name="connsiteY231" fmla="*/ 1369387 h 1421209"/>
                  <a:gd name="connsiteX232" fmla="*/ 568366 w 1620550"/>
                  <a:gd name="connsiteY232" fmla="*/ 1372731 h 1421209"/>
                  <a:gd name="connsiteX233" fmla="*/ 571709 w 1620550"/>
                  <a:gd name="connsiteY233" fmla="*/ 1366044 h 1421209"/>
                  <a:gd name="connsiteX234" fmla="*/ 600128 w 1620550"/>
                  <a:gd name="connsiteY234" fmla="*/ 1357686 h 1421209"/>
                  <a:gd name="connsiteX235" fmla="*/ 626874 w 1620550"/>
                  <a:gd name="connsiteY235" fmla="*/ 1361029 h 1421209"/>
                  <a:gd name="connsiteX236" fmla="*/ 633561 w 1620550"/>
                  <a:gd name="connsiteY236" fmla="*/ 1364372 h 1421209"/>
                  <a:gd name="connsiteX237" fmla="*/ 638576 w 1620550"/>
                  <a:gd name="connsiteY237" fmla="*/ 1366044 h 1421209"/>
                  <a:gd name="connsiteX238" fmla="*/ 643591 w 1620550"/>
                  <a:gd name="connsiteY238" fmla="*/ 1372731 h 1421209"/>
                  <a:gd name="connsiteX239" fmla="*/ 650278 w 1620550"/>
                  <a:gd name="connsiteY239" fmla="*/ 1382761 h 1421209"/>
                  <a:gd name="connsiteX240" fmla="*/ 660308 w 1620550"/>
                  <a:gd name="connsiteY240" fmla="*/ 1386104 h 1421209"/>
                  <a:gd name="connsiteX241" fmla="*/ 672009 w 1620550"/>
                  <a:gd name="connsiteY241" fmla="*/ 1389447 h 1421209"/>
                  <a:gd name="connsiteX242" fmla="*/ 687054 w 1620550"/>
                  <a:gd name="connsiteY242" fmla="*/ 1382761 h 1421209"/>
                  <a:gd name="connsiteX243" fmla="*/ 690398 w 1620550"/>
                  <a:gd name="connsiteY243" fmla="*/ 1374402 h 1421209"/>
                  <a:gd name="connsiteX244" fmla="*/ 695413 w 1620550"/>
                  <a:gd name="connsiteY244" fmla="*/ 1371059 h 1421209"/>
                  <a:gd name="connsiteX245" fmla="*/ 707114 w 1620550"/>
                  <a:gd name="connsiteY245" fmla="*/ 1366044 h 1421209"/>
                  <a:gd name="connsiteX246" fmla="*/ 715472 w 1620550"/>
                  <a:gd name="connsiteY246" fmla="*/ 1364372 h 1421209"/>
                  <a:gd name="connsiteX247" fmla="*/ 735532 w 1620550"/>
                  <a:gd name="connsiteY247" fmla="*/ 1371059 h 1421209"/>
                  <a:gd name="connsiteX248" fmla="*/ 737204 w 1620550"/>
                  <a:gd name="connsiteY248" fmla="*/ 1376074 h 1421209"/>
                  <a:gd name="connsiteX249" fmla="*/ 742219 w 1620550"/>
                  <a:gd name="connsiteY249" fmla="*/ 1387776 h 1421209"/>
                  <a:gd name="connsiteX250" fmla="*/ 748906 w 1620550"/>
                  <a:gd name="connsiteY250" fmla="*/ 1389447 h 1421209"/>
                  <a:gd name="connsiteX251" fmla="*/ 762279 w 1620550"/>
                  <a:gd name="connsiteY251" fmla="*/ 1384432 h 1421209"/>
                  <a:gd name="connsiteX252" fmla="*/ 772309 w 1620550"/>
                  <a:gd name="connsiteY252" fmla="*/ 1381089 h 1421209"/>
                  <a:gd name="connsiteX253" fmla="*/ 784011 w 1620550"/>
                  <a:gd name="connsiteY253" fmla="*/ 1371059 h 1421209"/>
                  <a:gd name="connsiteX254" fmla="*/ 797384 w 1620550"/>
                  <a:gd name="connsiteY254" fmla="*/ 1357686 h 1421209"/>
                  <a:gd name="connsiteX255" fmla="*/ 802399 w 1620550"/>
                  <a:gd name="connsiteY255" fmla="*/ 1352671 h 1421209"/>
                  <a:gd name="connsiteX256" fmla="*/ 810757 w 1620550"/>
                  <a:gd name="connsiteY256" fmla="*/ 1350999 h 1421209"/>
                  <a:gd name="connsiteX257" fmla="*/ 812429 w 1620550"/>
                  <a:gd name="connsiteY257" fmla="*/ 1344312 h 1421209"/>
                  <a:gd name="connsiteX258" fmla="*/ 807414 w 1620550"/>
                  <a:gd name="connsiteY258" fmla="*/ 1325924 h 1421209"/>
                  <a:gd name="connsiteX259" fmla="*/ 809086 w 1620550"/>
                  <a:gd name="connsiteY259" fmla="*/ 1314222 h 1421209"/>
                  <a:gd name="connsiteX260" fmla="*/ 812429 w 1620550"/>
                  <a:gd name="connsiteY260" fmla="*/ 1309207 h 1421209"/>
                  <a:gd name="connsiteX261" fmla="*/ 820787 w 1620550"/>
                  <a:gd name="connsiteY261" fmla="*/ 1299177 h 1421209"/>
                  <a:gd name="connsiteX262" fmla="*/ 827474 w 1620550"/>
                  <a:gd name="connsiteY262" fmla="*/ 1294162 h 1421209"/>
                  <a:gd name="connsiteX263" fmla="*/ 869266 w 1620550"/>
                  <a:gd name="connsiteY263" fmla="*/ 1292491 h 1421209"/>
                  <a:gd name="connsiteX264" fmla="*/ 870937 w 1620550"/>
                  <a:gd name="connsiteY264" fmla="*/ 1277446 h 1421209"/>
                  <a:gd name="connsiteX265" fmla="*/ 880967 w 1620550"/>
                  <a:gd name="connsiteY265" fmla="*/ 1270759 h 1421209"/>
                  <a:gd name="connsiteX266" fmla="*/ 885982 w 1620550"/>
                  <a:gd name="connsiteY266" fmla="*/ 1269088 h 1421209"/>
                  <a:gd name="connsiteX267" fmla="*/ 932789 w 1620550"/>
                  <a:gd name="connsiteY267" fmla="*/ 1270759 h 1421209"/>
                  <a:gd name="connsiteX268" fmla="*/ 942819 w 1620550"/>
                  <a:gd name="connsiteY268" fmla="*/ 1272431 h 1421209"/>
                  <a:gd name="connsiteX269" fmla="*/ 949505 w 1620550"/>
                  <a:gd name="connsiteY269" fmla="*/ 1275774 h 1421209"/>
                  <a:gd name="connsiteX270" fmla="*/ 954520 w 1620550"/>
                  <a:gd name="connsiteY270" fmla="*/ 1277446 h 1421209"/>
                  <a:gd name="connsiteX271" fmla="*/ 964550 w 1620550"/>
                  <a:gd name="connsiteY271" fmla="*/ 1274103 h 1421209"/>
                  <a:gd name="connsiteX272" fmla="*/ 971237 w 1620550"/>
                  <a:gd name="connsiteY272" fmla="*/ 1264073 h 1421209"/>
                  <a:gd name="connsiteX273" fmla="*/ 964550 w 1620550"/>
                  <a:gd name="connsiteY273" fmla="*/ 1249028 h 1421209"/>
                  <a:gd name="connsiteX274" fmla="*/ 966222 w 1620550"/>
                  <a:gd name="connsiteY274" fmla="*/ 1233983 h 1421209"/>
                  <a:gd name="connsiteX275" fmla="*/ 974580 w 1620550"/>
                  <a:gd name="connsiteY275" fmla="*/ 1215594 h 1421209"/>
                  <a:gd name="connsiteX276" fmla="*/ 977924 w 1620550"/>
                  <a:gd name="connsiteY276" fmla="*/ 1212251 h 1421209"/>
                  <a:gd name="connsiteX277" fmla="*/ 982939 w 1620550"/>
                  <a:gd name="connsiteY277" fmla="*/ 1205564 h 1421209"/>
                  <a:gd name="connsiteX278" fmla="*/ 991297 w 1620550"/>
                  <a:gd name="connsiteY278" fmla="*/ 1195534 h 1421209"/>
                  <a:gd name="connsiteX279" fmla="*/ 1001327 w 1620550"/>
                  <a:gd name="connsiteY279" fmla="*/ 1185504 h 1421209"/>
                  <a:gd name="connsiteX280" fmla="*/ 1002999 w 1620550"/>
                  <a:gd name="connsiteY280" fmla="*/ 1180489 h 1421209"/>
                  <a:gd name="connsiteX281" fmla="*/ 1006342 w 1620550"/>
                  <a:gd name="connsiteY281" fmla="*/ 1175474 h 1421209"/>
                  <a:gd name="connsiteX282" fmla="*/ 1008014 w 1620550"/>
                  <a:gd name="connsiteY282" fmla="*/ 1168788 h 1421209"/>
                  <a:gd name="connsiteX283" fmla="*/ 1016372 w 1620550"/>
                  <a:gd name="connsiteY283" fmla="*/ 1157086 h 1421209"/>
                  <a:gd name="connsiteX284" fmla="*/ 1023059 w 1620550"/>
                  <a:gd name="connsiteY284" fmla="*/ 1143713 h 1421209"/>
                  <a:gd name="connsiteX285" fmla="*/ 1024730 w 1620550"/>
                  <a:gd name="connsiteY285" fmla="*/ 1138698 h 1421209"/>
                  <a:gd name="connsiteX286" fmla="*/ 1028074 w 1620550"/>
                  <a:gd name="connsiteY286" fmla="*/ 1135354 h 1421209"/>
                  <a:gd name="connsiteX287" fmla="*/ 1033089 w 1620550"/>
                  <a:gd name="connsiteY287" fmla="*/ 1128668 h 1421209"/>
                  <a:gd name="connsiteX288" fmla="*/ 1043119 w 1620550"/>
                  <a:gd name="connsiteY288" fmla="*/ 1116966 h 1421209"/>
                  <a:gd name="connsiteX289" fmla="*/ 1061507 w 1620550"/>
                  <a:gd name="connsiteY289" fmla="*/ 1111951 h 1421209"/>
                  <a:gd name="connsiteX290" fmla="*/ 1069865 w 1620550"/>
                  <a:gd name="connsiteY290" fmla="*/ 1108608 h 1421209"/>
                  <a:gd name="connsiteX291" fmla="*/ 1089925 w 1620550"/>
                  <a:gd name="connsiteY291" fmla="*/ 1105264 h 1421209"/>
                  <a:gd name="connsiteX292" fmla="*/ 1094940 w 1620550"/>
                  <a:gd name="connsiteY292" fmla="*/ 1101921 h 1421209"/>
                  <a:gd name="connsiteX293" fmla="*/ 1111657 w 1620550"/>
                  <a:gd name="connsiteY293" fmla="*/ 1098578 h 1421209"/>
                  <a:gd name="connsiteX294" fmla="*/ 1126702 w 1620550"/>
                  <a:gd name="connsiteY294" fmla="*/ 1090220 h 1421209"/>
                  <a:gd name="connsiteX295" fmla="*/ 1131717 w 1620550"/>
                  <a:gd name="connsiteY295" fmla="*/ 1086876 h 1421209"/>
                  <a:gd name="connsiteX296" fmla="*/ 1133388 w 1620550"/>
                  <a:gd name="connsiteY296" fmla="*/ 1078518 h 1421209"/>
                  <a:gd name="connsiteX297" fmla="*/ 1126702 w 1620550"/>
                  <a:gd name="connsiteY297" fmla="*/ 1070160 h 1421209"/>
                  <a:gd name="connsiteX298" fmla="*/ 1118343 w 1620550"/>
                  <a:gd name="connsiteY298" fmla="*/ 1065145 h 1421209"/>
                  <a:gd name="connsiteX299" fmla="*/ 1109985 w 1620550"/>
                  <a:gd name="connsiteY299" fmla="*/ 1056786 h 1421209"/>
                  <a:gd name="connsiteX300" fmla="*/ 1103298 w 1620550"/>
                  <a:gd name="connsiteY300" fmla="*/ 1048428 h 1421209"/>
                  <a:gd name="connsiteX301" fmla="*/ 1099955 w 1620550"/>
                  <a:gd name="connsiteY301" fmla="*/ 1043413 h 1421209"/>
                  <a:gd name="connsiteX302" fmla="*/ 1094940 w 1620550"/>
                  <a:gd name="connsiteY302" fmla="*/ 1040070 h 1421209"/>
                  <a:gd name="connsiteX303" fmla="*/ 1091597 w 1620550"/>
                  <a:gd name="connsiteY303" fmla="*/ 1033383 h 1421209"/>
                  <a:gd name="connsiteX304" fmla="*/ 1088253 w 1620550"/>
                  <a:gd name="connsiteY304" fmla="*/ 1030040 h 1421209"/>
                  <a:gd name="connsiteX305" fmla="*/ 1083238 w 1620550"/>
                  <a:gd name="connsiteY305" fmla="*/ 1018338 h 1421209"/>
                  <a:gd name="connsiteX306" fmla="*/ 1081567 w 1620550"/>
                  <a:gd name="connsiteY306" fmla="*/ 989920 h 1421209"/>
                  <a:gd name="connsiteX307" fmla="*/ 1079895 w 1620550"/>
                  <a:gd name="connsiteY307" fmla="*/ 984905 h 1421209"/>
                  <a:gd name="connsiteX308" fmla="*/ 1074880 w 1620550"/>
                  <a:gd name="connsiteY308" fmla="*/ 979890 h 1421209"/>
                  <a:gd name="connsiteX309" fmla="*/ 1069865 w 1620550"/>
                  <a:gd name="connsiteY309" fmla="*/ 964845 h 1421209"/>
                  <a:gd name="connsiteX310" fmla="*/ 1074880 w 1620550"/>
                  <a:gd name="connsiteY310" fmla="*/ 929740 h 1421209"/>
                  <a:gd name="connsiteX311" fmla="*/ 1084910 w 1620550"/>
                  <a:gd name="connsiteY311" fmla="*/ 919710 h 1421209"/>
                  <a:gd name="connsiteX312" fmla="*/ 1091597 w 1620550"/>
                  <a:gd name="connsiteY312" fmla="*/ 911352 h 1421209"/>
                  <a:gd name="connsiteX313" fmla="*/ 1098283 w 1620550"/>
                  <a:gd name="connsiteY313" fmla="*/ 906337 h 1421209"/>
                  <a:gd name="connsiteX314" fmla="*/ 1111657 w 1620550"/>
                  <a:gd name="connsiteY314" fmla="*/ 892963 h 1421209"/>
                  <a:gd name="connsiteX315" fmla="*/ 1116672 w 1620550"/>
                  <a:gd name="connsiteY315" fmla="*/ 887948 h 1421209"/>
                  <a:gd name="connsiteX316" fmla="*/ 1121687 w 1620550"/>
                  <a:gd name="connsiteY316" fmla="*/ 881262 h 1421209"/>
                  <a:gd name="connsiteX317" fmla="*/ 1125030 w 1620550"/>
                  <a:gd name="connsiteY317" fmla="*/ 877918 h 1421209"/>
                  <a:gd name="connsiteX318" fmla="*/ 1131717 w 1620550"/>
                  <a:gd name="connsiteY318" fmla="*/ 869560 h 1421209"/>
                  <a:gd name="connsiteX319" fmla="*/ 1136732 w 1620550"/>
                  <a:gd name="connsiteY319" fmla="*/ 864545 h 1421209"/>
                  <a:gd name="connsiteX320" fmla="*/ 1145090 w 1620550"/>
                  <a:gd name="connsiteY320" fmla="*/ 849500 h 1421209"/>
                  <a:gd name="connsiteX321" fmla="*/ 1150105 w 1620550"/>
                  <a:gd name="connsiteY321" fmla="*/ 841142 h 1421209"/>
                  <a:gd name="connsiteX322" fmla="*/ 1153448 w 1620550"/>
                  <a:gd name="connsiteY322" fmla="*/ 831112 h 1421209"/>
                  <a:gd name="connsiteX323" fmla="*/ 1156792 w 1620550"/>
                  <a:gd name="connsiteY323" fmla="*/ 827768 h 1421209"/>
                  <a:gd name="connsiteX324" fmla="*/ 1160135 w 1620550"/>
                  <a:gd name="connsiteY324" fmla="*/ 822753 h 1421209"/>
                  <a:gd name="connsiteX325" fmla="*/ 1173508 w 1620550"/>
                  <a:gd name="connsiteY325" fmla="*/ 814395 h 1421209"/>
                  <a:gd name="connsiteX326" fmla="*/ 1181867 w 1620550"/>
                  <a:gd name="connsiteY326" fmla="*/ 806037 h 1421209"/>
                  <a:gd name="connsiteX327" fmla="*/ 1185210 w 1620550"/>
                  <a:gd name="connsiteY327" fmla="*/ 799350 h 1421209"/>
                  <a:gd name="connsiteX328" fmla="*/ 1205270 w 1620550"/>
                  <a:gd name="connsiteY328" fmla="*/ 785977 h 1421209"/>
                  <a:gd name="connsiteX329" fmla="*/ 1213628 w 1620550"/>
                  <a:gd name="connsiteY329" fmla="*/ 779290 h 1421209"/>
                  <a:gd name="connsiteX330" fmla="*/ 1225330 w 1620550"/>
                  <a:gd name="connsiteY330" fmla="*/ 770932 h 1421209"/>
                  <a:gd name="connsiteX331" fmla="*/ 1228673 w 1620550"/>
                  <a:gd name="connsiteY331" fmla="*/ 765917 h 1421209"/>
                  <a:gd name="connsiteX332" fmla="*/ 1243718 w 1620550"/>
                  <a:gd name="connsiteY332" fmla="*/ 764245 h 1421209"/>
                  <a:gd name="connsiteX333" fmla="*/ 1250405 w 1620550"/>
                  <a:gd name="connsiteY333" fmla="*/ 762573 h 1421209"/>
                  <a:gd name="connsiteX334" fmla="*/ 1255420 w 1620550"/>
                  <a:gd name="connsiteY334" fmla="*/ 757558 h 1421209"/>
                  <a:gd name="connsiteX335" fmla="*/ 1263778 w 1620550"/>
                  <a:gd name="connsiteY335" fmla="*/ 752543 h 1421209"/>
                  <a:gd name="connsiteX336" fmla="*/ 1260435 w 1620550"/>
                  <a:gd name="connsiteY336" fmla="*/ 735827 h 1421209"/>
                  <a:gd name="connsiteX337" fmla="*/ 1257091 w 1620550"/>
                  <a:gd name="connsiteY337" fmla="*/ 732484 h 1421209"/>
                  <a:gd name="connsiteX338" fmla="*/ 1255420 w 1620550"/>
                  <a:gd name="connsiteY338" fmla="*/ 727469 h 1421209"/>
                  <a:gd name="connsiteX339" fmla="*/ 1262106 w 1620550"/>
                  <a:gd name="connsiteY339" fmla="*/ 710752 h 1421209"/>
                  <a:gd name="connsiteX340" fmla="*/ 1272136 w 1620550"/>
                  <a:gd name="connsiteY340" fmla="*/ 705737 h 1421209"/>
                  <a:gd name="connsiteX341" fmla="*/ 1280495 w 1620550"/>
                  <a:gd name="connsiteY341" fmla="*/ 700722 h 1421209"/>
                  <a:gd name="connsiteX342" fmla="*/ 1287181 w 1620550"/>
                  <a:gd name="connsiteY342" fmla="*/ 697379 h 1421209"/>
                  <a:gd name="connsiteX343" fmla="*/ 1292196 w 1620550"/>
                  <a:gd name="connsiteY343" fmla="*/ 694035 h 1421209"/>
                  <a:gd name="connsiteX344" fmla="*/ 1298883 w 1620550"/>
                  <a:gd name="connsiteY344" fmla="*/ 692364 h 1421209"/>
                  <a:gd name="connsiteX345" fmla="*/ 1308913 w 1620550"/>
                  <a:gd name="connsiteY345" fmla="*/ 687349 h 1421209"/>
                  <a:gd name="connsiteX346" fmla="*/ 1323958 w 1620550"/>
                  <a:gd name="connsiteY346" fmla="*/ 682334 h 1421209"/>
                  <a:gd name="connsiteX347" fmla="*/ 1330645 w 1620550"/>
                  <a:gd name="connsiteY347" fmla="*/ 678990 h 1421209"/>
                  <a:gd name="connsiteX348" fmla="*/ 1355720 w 1620550"/>
                  <a:gd name="connsiteY348" fmla="*/ 675647 h 1421209"/>
                  <a:gd name="connsiteX349" fmla="*/ 1359063 w 1620550"/>
                  <a:gd name="connsiteY349" fmla="*/ 670632 h 1421209"/>
                  <a:gd name="connsiteX350" fmla="*/ 1372436 w 1620550"/>
                  <a:gd name="connsiteY350" fmla="*/ 667289 h 1421209"/>
                  <a:gd name="connsiteX351" fmla="*/ 1449333 w 1620550"/>
                  <a:gd name="connsiteY351" fmla="*/ 663945 h 1421209"/>
                  <a:gd name="connsiteX352" fmla="*/ 1464378 w 1620550"/>
                  <a:gd name="connsiteY352" fmla="*/ 645557 h 1421209"/>
                  <a:gd name="connsiteX353" fmla="*/ 1474408 w 1620550"/>
                  <a:gd name="connsiteY353" fmla="*/ 635527 h 1421209"/>
                  <a:gd name="connsiteX354" fmla="*/ 1487781 w 1620550"/>
                  <a:gd name="connsiteY354" fmla="*/ 625497 h 1421209"/>
                  <a:gd name="connsiteX355" fmla="*/ 1494468 w 1620550"/>
                  <a:gd name="connsiteY355" fmla="*/ 623825 h 1421209"/>
                  <a:gd name="connsiteX356" fmla="*/ 1509513 w 1620550"/>
                  <a:gd name="connsiteY356" fmla="*/ 620482 h 1421209"/>
                  <a:gd name="connsiteX357" fmla="*/ 1517871 w 1620550"/>
                  <a:gd name="connsiteY357" fmla="*/ 617139 h 1421209"/>
                  <a:gd name="connsiteX358" fmla="*/ 1524558 w 1620550"/>
                  <a:gd name="connsiteY358" fmla="*/ 613795 h 1421209"/>
                  <a:gd name="connsiteX359" fmla="*/ 1539603 w 1620550"/>
                  <a:gd name="connsiteY359" fmla="*/ 612124 h 1421209"/>
                  <a:gd name="connsiteX360" fmla="*/ 1557991 w 1620550"/>
                  <a:gd name="connsiteY360" fmla="*/ 602094 h 1421209"/>
                  <a:gd name="connsiteX361" fmla="*/ 1573036 w 1620550"/>
                  <a:gd name="connsiteY361" fmla="*/ 597079 h 1421209"/>
                  <a:gd name="connsiteX362" fmla="*/ 1576379 w 1620550"/>
                  <a:gd name="connsiteY362" fmla="*/ 592064 h 1421209"/>
                  <a:gd name="connsiteX363" fmla="*/ 1588081 w 1620550"/>
                  <a:gd name="connsiteY363" fmla="*/ 587049 h 1421209"/>
                  <a:gd name="connsiteX364" fmla="*/ 1591424 w 1620550"/>
                  <a:gd name="connsiteY364" fmla="*/ 583705 h 1421209"/>
                  <a:gd name="connsiteX365" fmla="*/ 1598111 w 1620550"/>
                  <a:gd name="connsiteY365" fmla="*/ 580362 h 1421209"/>
                  <a:gd name="connsiteX366" fmla="*/ 1608141 w 1620550"/>
                  <a:gd name="connsiteY366" fmla="*/ 572004 h 1421209"/>
                  <a:gd name="connsiteX367" fmla="*/ 1614828 w 1620550"/>
                  <a:gd name="connsiteY367" fmla="*/ 560302 h 1421209"/>
                  <a:gd name="connsiteX368" fmla="*/ 1608141 w 1620550"/>
                  <a:gd name="connsiteY368" fmla="*/ 546929 h 1421209"/>
                  <a:gd name="connsiteX369" fmla="*/ 1599783 w 1620550"/>
                  <a:gd name="connsiteY369" fmla="*/ 535227 h 1421209"/>
                  <a:gd name="connsiteX370" fmla="*/ 1598111 w 1620550"/>
                  <a:gd name="connsiteY370" fmla="*/ 530212 h 1421209"/>
                  <a:gd name="connsiteX371" fmla="*/ 1596439 w 1620550"/>
                  <a:gd name="connsiteY371" fmla="*/ 518511 h 1421209"/>
                  <a:gd name="connsiteX372" fmla="*/ 1601454 w 1620550"/>
                  <a:gd name="connsiteY372" fmla="*/ 516839 h 1421209"/>
                  <a:gd name="connsiteX373" fmla="*/ 1604798 w 1620550"/>
                  <a:gd name="connsiteY373" fmla="*/ 513496 h 1421209"/>
                  <a:gd name="connsiteX374" fmla="*/ 1616499 w 1620550"/>
                  <a:gd name="connsiteY374" fmla="*/ 510152 h 1421209"/>
                  <a:gd name="connsiteX375" fmla="*/ 1618171 w 1620550"/>
                  <a:gd name="connsiteY375" fmla="*/ 495107 h 1421209"/>
                  <a:gd name="connsiteX376" fmla="*/ 1613156 w 1620550"/>
                  <a:gd name="connsiteY376" fmla="*/ 491764 h 1421209"/>
                  <a:gd name="connsiteX377" fmla="*/ 1611484 w 1620550"/>
                  <a:gd name="connsiteY377" fmla="*/ 486749 h 1421209"/>
                  <a:gd name="connsiteX378" fmla="*/ 1608141 w 1620550"/>
                  <a:gd name="connsiteY378" fmla="*/ 481734 h 1421209"/>
                  <a:gd name="connsiteX379" fmla="*/ 1606469 w 1620550"/>
                  <a:gd name="connsiteY379" fmla="*/ 473376 h 1421209"/>
                  <a:gd name="connsiteX380" fmla="*/ 1604798 w 1620550"/>
                  <a:gd name="connsiteY380" fmla="*/ 468361 h 1421209"/>
                  <a:gd name="connsiteX381" fmla="*/ 1599783 w 1620550"/>
                  <a:gd name="connsiteY381" fmla="*/ 466689 h 1421209"/>
                  <a:gd name="connsiteX382" fmla="*/ 1586409 w 1620550"/>
                  <a:gd name="connsiteY382" fmla="*/ 461674 h 1421209"/>
                  <a:gd name="connsiteX383" fmla="*/ 1561334 w 1620550"/>
                  <a:gd name="connsiteY383" fmla="*/ 463346 h 1421209"/>
                  <a:gd name="connsiteX384" fmla="*/ 1547961 w 1620550"/>
                  <a:gd name="connsiteY384" fmla="*/ 465017 h 1421209"/>
                  <a:gd name="connsiteX385" fmla="*/ 1539603 w 1620550"/>
                  <a:gd name="connsiteY385" fmla="*/ 470032 h 1421209"/>
                  <a:gd name="connsiteX386" fmla="*/ 1529573 w 1620550"/>
                  <a:gd name="connsiteY386" fmla="*/ 485077 h 1421209"/>
                  <a:gd name="connsiteX387" fmla="*/ 1524558 w 1620550"/>
                  <a:gd name="connsiteY387" fmla="*/ 486749 h 1421209"/>
                  <a:gd name="connsiteX388" fmla="*/ 1504498 w 1620550"/>
                  <a:gd name="connsiteY388" fmla="*/ 480062 h 1421209"/>
                  <a:gd name="connsiteX389" fmla="*/ 1489453 w 1620550"/>
                  <a:gd name="connsiteY389" fmla="*/ 468361 h 1421209"/>
                  <a:gd name="connsiteX390" fmla="*/ 1474408 w 1620550"/>
                  <a:gd name="connsiteY390" fmla="*/ 466689 h 1421209"/>
                  <a:gd name="connsiteX391" fmla="*/ 1462706 w 1620550"/>
                  <a:gd name="connsiteY391" fmla="*/ 468361 h 1421209"/>
                  <a:gd name="connsiteX392" fmla="*/ 1452676 w 1620550"/>
                  <a:gd name="connsiteY392" fmla="*/ 471704 h 1421209"/>
                  <a:gd name="connsiteX393" fmla="*/ 1442646 w 1620550"/>
                  <a:gd name="connsiteY393" fmla="*/ 470032 h 1421209"/>
                  <a:gd name="connsiteX394" fmla="*/ 1435959 w 1620550"/>
                  <a:gd name="connsiteY394" fmla="*/ 463346 h 1421209"/>
                  <a:gd name="connsiteX395" fmla="*/ 1432616 w 1620550"/>
                  <a:gd name="connsiteY395" fmla="*/ 458331 h 1421209"/>
                  <a:gd name="connsiteX396" fmla="*/ 1427601 w 1620550"/>
                  <a:gd name="connsiteY396" fmla="*/ 454987 h 1421209"/>
                  <a:gd name="connsiteX397" fmla="*/ 1422586 w 1620550"/>
                  <a:gd name="connsiteY397" fmla="*/ 448301 h 1421209"/>
                  <a:gd name="connsiteX398" fmla="*/ 1412556 w 1620550"/>
                  <a:gd name="connsiteY398" fmla="*/ 439942 h 1421209"/>
                  <a:gd name="connsiteX399" fmla="*/ 1404198 w 1620550"/>
                  <a:gd name="connsiteY399" fmla="*/ 446629 h 1421209"/>
                  <a:gd name="connsiteX400" fmla="*/ 1390825 w 1620550"/>
                  <a:gd name="connsiteY400" fmla="*/ 453316 h 1421209"/>
                  <a:gd name="connsiteX401" fmla="*/ 1387481 w 1620550"/>
                  <a:gd name="connsiteY401" fmla="*/ 438271 h 1421209"/>
                  <a:gd name="connsiteX402" fmla="*/ 1385810 w 1620550"/>
                  <a:gd name="connsiteY402" fmla="*/ 433256 h 1421209"/>
                  <a:gd name="connsiteX403" fmla="*/ 1384138 w 1620550"/>
                  <a:gd name="connsiteY403" fmla="*/ 411524 h 1421209"/>
                  <a:gd name="connsiteX404" fmla="*/ 1379123 w 1620550"/>
                  <a:gd name="connsiteY404" fmla="*/ 408181 h 1421209"/>
                  <a:gd name="connsiteX405" fmla="*/ 1370765 w 1620550"/>
                  <a:gd name="connsiteY405" fmla="*/ 406509 h 1421209"/>
                  <a:gd name="connsiteX406" fmla="*/ 1364078 w 1620550"/>
                  <a:gd name="connsiteY406" fmla="*/ 404837 h 1421209"/>
                  <a:gd name="connsiteX407" fmla="*/ 1340675 w 1620550"/>
                  <a:gd name="connsiteY407" fmla="*/ 394807 h 1421209"/>
                  <a:gd name="connsiteX408" fmla="*/ 1327301 w 1620550"/>
                  <a:gd name="connsiteY408" fmla="*/ 384777 h 1421209"/>
                  <a:gd name="connsiteX409" fmla="*/ 1320615 w 1620550"/>
                  <a:gd name="connsiteY409" fmla="*/ 379762 h 1421209"/>
                  <a:gd name="connsiteX410" fmla="*/ 1310585 w 1620550"/>
                  <a:gd name="connsiteY410" fmla="*/ 373076 h 1421209"/>
                  <a:gd name="connsiteX411" fmla="*/ 1305570 w 1620550"/>
                  <a:gd name="connsiteY411" fmla="*/ 369732 h 1421209"/>
                  <a:gd name="connsiteX412" fmla="*/ 1297211 w 1620550"/>
                  <a:gd name="connsiteY412" fmla="*/ 368061 h 1421209"/>
                  <a:gd name="connsiteX413" fmla="*/ 1290525 w 1620550"/>
                  <a:gd name="connsiteY413" fmla="*/ 369732 h 1421209"/>
                  <a:gd name="connsiteX414" fmla="*/ 1282166 w 1620550"/>
                  <a:gd name="connsiteY414" fmla="*/ 398151 h 1421209"/>
                  <a:gd name="connsiteX415" fmla="*/ 1272136 w 1620550"/>
                  <a:gd name="connsiteY415" fmla="*/ 394807 h 1421209"/>
                  <a:gd name="connsiteX416" fmla="*/ 1267121 w 1620550"/>
                  <a:gd name="connsiteY416" fmla="*/ 391464 h 1421209"/>
                  <a:gd name="connsiteX417" fmla="*/ 1255420 w 1620550"/>
                  <a:gd name="connsiteY417" fmla="*/ 388121 h 1421209"/>
                  <a:gd name="connsiteX418" fmla="*/ 1220315 w 1620550"/>
                  <a:gd name="connsiteY418" fmla="*/ 386449 h 1421209"/>
                  <a:gd name="connsiteX419" fmla="*/ 1218643 w 1620550"/>
                  <a:gd name="connsiteY419" fmla="*/ 381434 h 1421209"/>
                  <a:gd name="connsiteX420" fmla="*/ 1211957 w 1620550"/>
                  <a:gd name="connsiteY420" fmla="*/ 379762 h 1421209"/>
                  <a:gd name="connsiteX421" fmla="*/ 1175180 w 1620550"/>
                  <a:gd name="connsiteY421" fmla="*/ 378091 h 1421209"/>
                  <a:gd name="connsiteX422" fmla="*/ 1173508 w 1620550"/>
                  <a:gd name="connsiteY422" fmla="*/ 373076 h 1421209"/>
                  <a:gd name="connsiteX423" fmla="*/ 1171837 w 1620550"/>
                  <a:gd name="connsiteY423" fmla="*/ 366389 h 1421209"/>
                  <a:gd name="connsiteX424" fmla="*/ 1163478 w 1620550"/>
                  <a:gd name="connsiteY424" fmla="*/ 361374 h 1421209"/>
                  <a:gd name="connsiteX425" fmla="*/ 1128373 w 1620550"/>
                  <a:gd name="connsiteY425" fmla="*/ 359703 h 1421209"/>
                  <a:gd name="connsiteX426" fmla="*/ 1120015 w 1620550"/>
                  <a:gd name="connsiteY426" fmla="*/ 356359 h 1421209"/>
                  <a:gd name="connsiteX427" fmla="*/ 1113328 w 1620550"/>
                  <a:gd name="connsiteY427" fmla="*/ 346329 h 1421209"/>
                  <a:gd name="connsiteX428" fmla="*/ 1108313 w 1620550"/>
                  <a:gd name="connsiteY428" fmla="*/ 339643 h 1421209"/>
                  <a:gd name="connsiteX429" fmla="*/ 1104970 w 1620550"/>
                  <a:gd name="connsiteY429" fmla="*/ 334628 h 1421209"/>
                  <a:gd name="connsiteX430" fmla="*/ 1098283 w 1620550"/>
                  <a:gd name="connsiteY430" fmla="*/ 327941 h 1421209"/>
                  <a:gd name="connsiteX431" fmla="*/ 1096612 w 1620550"/>
                  <a:gd name="connsiteY431" fmla="*/ 322926 h 1421209"/>
                  <a:gd name="connsiteX432" fmla="*/ 1091597 w 1620550"/>
                  <a:gd name="connsiteY432" fmla="*/ 321254 h 1421209"/>
                  <a:gd name="connsiteX433" fmla="*/ 1084910 w 1620550"/>
                  <a:gd name="connsiteY433" fmla="*/ 317911 h 1421209"/>
                  <a:gd name="connsiteX434" fmla="*/ 1064850 w 1620550"/>
                  <a:gd name="connsiteY434" fmla="*/ 314568 h 1421209"/>
                  <a:gd name="connsiteX435" fmla="*/ 1058164 w 1620550"/>
                  <a:gd name="connsiteY435" fmla="*/ 311224 h 1421209"/>
                  <a:gd name="connsiteX436" fmla="*/ 1054820 w 1620550"/>
                  <a:gd name="connsiteY436" fmla="*/ 307881 h 1421209"/>
                  <a:gd name="connsiteX437" fmla="*/ 1049805 w 1620550"/>
                  <a:gd name="connsiteY437" fmla="*/ 304538 h 1421209"/>
                  <a:gd name="connsiteX438" fmla="*/ 1046462 w 1620550"/>
                  <a:gd name="connsiteY438" fmla="*/ 301194 h 1421209"/>
                  <a:gd name="connsiteX439" fmla="*/ 1039775 w 1620550"/>
                  <a:gd name="connsiteY439" fmla="*/ 299523 h 1421209"/>
                  <a:gd name="connsiteX440" fmla="*/ 1029745 w 1620550"/>
                  <a:gd name="connsiteY440" fmla="*/ 296179 h 1421209"/>
                  <a:gd name="connsiteX441" fmla="*/ 1016372 w 1620550"/>
                  <a:gd name="connsiteY441" fmla="*/ 287821 h 1421209"/>
                  <a:gd name="connsiteX442" fmla="*/ 1013029 w 1620550"/>
                  <a:gd name="connsiteY442" fmla="*/ 282806 h 1421209"/>
                  <a:gd name="connsiteX443" fmla="*/ 1014700 w 1620550"/>
                  <a:gd name="connsiteY443" fmla="*/ 276119 h 1421209"/>
                  <a:gd name="connsiteX444" fmla="*/ 1016372 w 1620550"/>
                  <a:gd name="connsiteY444" fmla="*/ 271104 h 1421209"/>
                  <a:gd name="connsiteX445" fmla="*/ 1029745 w 1620550"/>
                  <a:gd name="connsiteY445" fmla="*/ 264418 h 1421209"/>
                  <a:gd name="connsiteX446" fmla="*/ 1031417 w 1620550"/>
                  <a:gd name="connsiteY446" fmla="*/ 257731 h 1421209"/>
                  <a:gd name="connsiteX447" fmla="*/ 1024730 w 1620550"/>
                  <a:gd name="connsiteY447" fmla="*/ 256059 h 1421209"/>
                  <a:gd name="connsiteX448" fmla="*/ 1016372 w 1620550"/>
                  <a:gd name="connsiteY448" fmla="*/ 251044 h 1421209"/>
                  <a:gd name="connsiteX449" fmla="*/ 1008014 w 1620550"/>
                  <a:gd name="connsiteY449" fmla="*/ 247701 h 1421209"/>
                  <a:gd name="connsiteX450" fmla="*/ 1002999 w 1620550"/>
                  <a:gd name="connsiteY450" fmla="*/ 244358 h 1421209"/>
                  <a:gd name="connsiteX451" fmla="*/ 997984 w 1620550"/>
                  <a:gd name="connsiteY451" fmla="*/ 242686 h 1421209"/>
                  <a:gd name="connsiteX452" fmla="*/ 989625 w 1620550"/>
                  <a:gd name="connsiteY452" fmla="*/ 235999 h 1421209"/>
                  <a:gd name="connsiteX453" fmla="*/ 984610 w 1620550"/>
                  <a:gd name="connsiteY453" fmla="*/ 234328 h 1421209"/>
                  <a:gd name="connsiteX454" fmla="*/ 966222 w 1620550"/>
                  <a:gd name="connsiteY454" fmla="*/ 227641 h 1421209"/>
                  <a:gd name="connsiteX455" fmla="*/ 944490 w 1620550"/>
                  <a:gd name="connsiteY455" fmla="*/ 229313 h 1421209"/>
                  <a:gd name="connsiteX456" fmla="*/ 902699 w 1620550"/>
                  <a:gd name="connsiteY456" fmla="*/ 227641 h 1421209"/>
                  <a:gd name="connsiteX457" fmla="*/ 897684 w 1620550"/>
                  <a:gd name="connsiteY457" fmla="*/ 225969 h 1421209"/>
                  <a:gd name="connsiteX458" fmla="*/ 885982 w 1620550"/>
                  <a:gd name="connsiteY458" fmla="*/ 215939 h 1421209"/>
                  <a:gd name="connsiteX459" fmla="*/ 874281 w 1620550"/>
                  <a:gd name="connsiteY459" fmla="*/ 207581 h 1421209"/>
                  <a:gd name="connsiteX460" fmla="*/ 869266 w 1620550"/>
                  <a:gd name="connsiteY460" fmla="*/ 204238 h 1421209"/>
                  <a:gd name="connsiteX461" fmla="*/ 860907 w 1620550"/>
                  <a:gd name="connsiteY461" fmla="*/ 197551 h 1421209"/>
                  <a:gd name="connsiteX462" fmla="*/ 854221 w 1620550"/>
                  <a:gd name="connsiteY462" fmla="*/ 195879 h 1421209"/>
                  <a:gd name="connsiteX463" fmla="*/ 842519 w 1620550"/>
                  <a:gd name="connsiteY463" fmla="*/ 192536 h 1421209"/>
                  <a:gd name="connsiteX464" fmla="*/ 815772 w 1620550"/>
                  <a:gd name="connsiteY464" fmla="*/ 194208 h 1421209"/>
                  <a:gd name="connsiteX465" fmla="*/ 805742 w 1620550"/>
                  <a:gd name="connsiteY465" fmla="*/ 195879 h 1421209"/>
                  <a:gd name="connsiteX466" fmla="*/ 789026 w 1620550"/>
                  <a:gd name="connsiteY466" fmla="*/ 197551 h 1421209"/>
                  <a:gd name="connsiteX467" fmla="*/ 782339 w 1620550"/>
                  <a:gd name="connsiteY467" fmla="*/ 194208 h 1421209"/>
                  <a:gd name="connsiteX468" fmla="*/ 780667 w 1620550"/>
                  <a:gd name="connsiteY468" fmla="*/ 189193 h 1421209"/>
                  <a:gd name="connsiteX469" fmla="*/ 775652 w 1620550"/>
                  <a:gd name="connsiteY469" fmla="*/ 175820 h 1421209"/>
                  <a:gd name="connsiteX470" fmla="*/ 768966 w 1620550"/>
                  <a:gd name="connsiteY470" fmla="*/ 170805 h 1421209"/>
                  <a:gd name="connsiteX471" fmla="*/ 765622 w 1620550"/>
                  <a:gd name="connsiteY471" fmla="*/ 167461 h 1421209"/>
                  <a:gd name="connsiteX472" fmla="*/ 753921 w 1620550"/>
                  <a:gd name="connsiteY472" fmla="*/ 162446 h 1421209"/>
                  <a:gd name="connsiteX473" fmla="*/ 735532 w 1620550"/>
                  <a:gd name="connsiteY473" fmla="*/ 164118 h 1421209"/>
                  <a:gd name="connsiteX474" fmla="*/ 722159 w 1620550"/>
                  <a:gd name="connsiteY474" fmla="*/ 170805 h 1421209"/>
                  <a:gd name="connsiteX475" fmla="*/ 720487 w 1620550"/>
                  <a:gd name="connsiteY475" fmla="*/ 165790 h 1421209"/>
                  <a:gd name="connsiteX476" fmla="*/ 715472 w 1620550"/>
                  <a:gd name="connsiteY476" fmla="*/ 164118 h 1421209"/>
                  <a:gd name="connsiteX477" fmla="*/ 693741 w 1620550"/>
                  <a:gd name="connsiteY477" fmla="*/ 165790 h 1421209"/>
                  <a:gd name="connsiteX478" fmla="*/ 683711 w 1620550"/>
                  <a:gd name="connsiteY478" fmla="*/ 169133 h 1421209"/>
                  <a:gd name="connsiteX479" fmla="*/ 678696 w 1620550"/>
                  <a:gd name="connsiteY479" fmla="*/ 170805 h 1421209"/>
                  <a:gd name="connsiteX480" fmla="*/ 631889 w 1620550"/>
                  <a:gd name="connsiteY480" fmla="*/ 167461 h 1421209"/>
                  <a:gd name="connsiteX481" fmla="*/ 620188 w 1620550"/>
                  <a:gd name="connsiteY481" fmla="*/ 164118 h 1421209"/>
                  <a:gd name="connsiteX482" fmla="*/ 610158 w 1620550"/>
                  <a:gd name="connsiteY482" fmla="*/ 159103 h 1421209"/>
                  <a:gd name="connsiteX483" fmla="*/ 603471 w 1620550"/>
                  <a:gd name="connsiteY483" fmla="*/ 157431 h 1421209"/>
                  <a:gd name="connsiteX484" fmla="*/ 598456 w 1620550"/>
                  <a:gd name="connsiteY484" fmla="*/ 155760 h 1421209"/>
                  <a:gd name="connsiteX485" fmla="*/ 593441 w 1620550"/>
                  <a:gd name="connsiteY485" fmla="*/ 152416 h 1421209"/>
                  <a:gd name="connsiteX486" fmla="*/ 570038 w 1620550"/>
                  <a:gd name="connsiteY486" fmla="*/ 147401 h 1421209"/>
                  <a:gd name="connsiteX487" fmla="*/ 561679 w 1620550"/>
                  <a:gd name="connsiteY487" fmla="*/ 140715 h 1421209"/>
                  <a:gd name="connsiteX488" fmla="*/ 556664 w 1620550"/>
                  <a:gd name="connsiteY488" fmla="*/ 137371 h 1421209"/>
                  <a:gd name="connsiteX489" fmla="*/ 541619 w 1620550"/>
                  <a:gd name="connsiteY489" fmla="*/ 127341 h 1421209"/>
                  <a:gd name="connsiteX490" fmla="*/ 529918 w 1620550"/>
                  <a:gd name="connsiteY490" fmla="*/ 120655 h 1421209"/>
                  <a:gd name="connsiteX491" fmla="*/ 518216 w 1620550"/>
                  <a:gd name="connsiteY491" fmla="*/ 113968 h 1421209"/>
                  <a:gd name="connsiteX492" fmla="*/ 511530 w 1620550"/>
                  <a:gd name="connsiteY492" fmla="*/ 110625 h 1421209"/>
                  <a:gd name="connsiteX493" fmla="*/ 493141 w 1620550"/>
                  <a:gd name="connsiteY493" fmla="*/ 107281 h 1421209"/>
                  <a:gd name="connsiteX494" fmla="*/ 484783 w 1620550"/>
                  <a:gd name="connsiteY494" fmla="*/ 105610 h 1421209"/>
                  <a:gd name="connsiteX495" fmla="*/ 478096 w 1620550"/>
                  <a:gd name="connsiteY495" fmla="*/ 100595 h 1421209"/>
                  <a:gd name="connsiteX496" fmla="*/ 474753 w 1620550"/>
                  <a:gd name="connsiteY496" fmla="*/ 90565 h 1421209"/>
                  <a:gd name="connsiteX497" fmla="*/ 471410 w 1620550"/>
                  <a:gd name="connsiteY497" fmla="*/ 87221 h 1421209"/>
                  <a:gd name="connsiteX498" fmla="*/ 397856 w 1620550"/>
                  <a:gd name="connsiteY498" fmla="*/ 85550 h 1421209"/>
                  <a:gd name="connsiteX499" fmla="*/ 386155 w 1620550"/>
                  <a:gd name="connsiteY499" fmla="*/ 78863 h 1421209"/>
                  <a:gd name="connsiteX500" fmla="*/ 374453 w 1620550"/>
                  <a:gd name="connsiteY500" fmla="*/ 77191 h 1421209"/>
                  <a:gd name="connsiteX501" fmla="*/ 356065 w 1620550"/>
                  <a:gd name="connsiteY501" fmla="*/ 72176 h 1421209"/>
                  <a:gd name="connsiteX502" fmla="*/ 349378 w 1620550"/>
                  <a:gd name="connsiteY502" fmla="*/ 70505 h 1421209"/>
                  <a:gd name="connsiteX503" fmla="*/ 339348 w 1620550"/>
                  <a:gd name="connsiteY503" fmla="*/ 65490 h 1421209"/>
                  <a:gd name="connsiteX504" fmla="*/ 322632 w 1620550"/>
                  <a:gd name="connsiteY504" fmla="*/ 60475 h 1421209"/>
                  <a:gd name="connsiteX505" fmla="*/ 312602 w 1620550"/>
                  <a:gd name="connsiteY505" fmla="*/ 65490 h 1421209"/>
                  <a:gd name="connsiteX506" fmla="*/ 307587 w 1620550"/>
                  <a:gd name="connsiteY506" fmla="*/ 67161 h 1421209"/>
                  <a:gd name="connsiteX507" fmla="*/ 299228 w 1620550"/>
                  <a:gd name="connsiteY507" fmla="*/ 70505 h 1421209"/>
                  <a:gd name="connsiteX508" fmla="*/ 295885 w 1620550"/>
                  <a:gd name="connsiteY508" fmla="*/ 65490 h 1421209"/>
                  <a:gd name="connsiteX509" fmla="*/ 282512 w 1620550"/>
                  <a:gd name="connsiteY509" fmla="*/ 55460 h 1421209"/>
                  <a:gd name="connsiteX510" fmla="*/ 277497 w 1620550"/>
                  <a:gd name="connsiteY510" fmla="*/ 53788 h 1421209"/>
                  <a:gd name="connsiteX511" fmla="*/ 269138 w 1620550"/>
                  <a:gd name="connsiteY511" fmla="*/ 42086 h 1421209"/>
                  <a:gd name="connsiteX512" fmla="*/ 267467 w 1620550"/>
                  <a:gd name="connsiteY512" fmla="*/ 33728 h 1421209"/>
                  <a:gd name="connsiteX513" fmla="*/ 262452 w 1620550"/>
                  <a:gd name="connsiteY513" fmla="*/ 28713 h 1421209"/>
                  <a:gd name="connsiteX514" fmla="*/ 252422 w 1620550"/>
                  <a:gd name="connsiteY514" fmla="*/ 25370 h 1421209"/>
                  <a:gd name="connsiteX515" fmla="*/ 239048 w 1620550"/>
                  <a:gd name="connsiteY515" fmla="*/ 15340 h 1421209"/>
                  <a:gd name="connsiteX516" fmla="*/ 234033 w 1620550"/>
                  <a:gd name="connsiteY516" fmla="*/ 10325 h 1421209"/>
                  <a:gd name="connsiteX517" fmla="*/ 220660 w 1620550"/>
                  <a:gd name="connsiteY517" fmla="*/ 5310 h 1421209"/>
                  <a:gd name="connsiteX518" fmla="*/ 215645 w 1620550"/>
                  <a:gd name="connsiteY518" fmla="*/ 1967 h 1421209"/>
                  <a:gd name="connsiteX519" fmla="*/ 192242 w 1620550"/>
                  <a:gd name="connsiteY519" fmla="*/ 1967 h 1421209"/>
                  <a:gd name="connsiteX520" fmla="*/ 198928 w 1620550"/>
                  <a:gd name="connsiteY520" fmla="*/ 5310 h 1421209"/>
                  <a:gd name="connsiteX0" fmla="*/ 198928 w 1620550"/>
                  <a:gd name="connsiteY0" fmla="*/ 5310 h 1421209"/>
                  <a:gd name="connsiteX1" fmla="*/ 177197 w 1620550"/>
                  <a:gd name="connsiteY1" fmla="*/ 10325 h 1421209"/>
                  <a:gd name="connsiteX2" fmla="*/ 175525 w 1620550"/>
                  <a:gd name="connsiteY2" fmla="*/ 15340 h 1421209"/>
                  <a:gd name="connsiteX3" fmla="*/ 177197 w 1620550"/>
                  <a:gd name="connsiteY3" fmla="*/ 20355 h 1421209"/>
                  <a:gd name="connsiteX4" fmla="*/ 172182 w 1620550"/>
                  <a:gd name="connsiteY4" fmla="*/ 23698 h 1421209"/>
                  <a:gd name="connsiteX5" fmla="*/ 152122 w 1620550"/>
                  <a:gd name="connsiteY5" fmla="*/ 25370 h 1421209"/>
                  <a:gd name="connsiteX6" fmla="*/ 155465 w 1620550"/>
                  <a:gd name="connsiteY6" fmla="*/ 35400 h 1421209"/>
                  <a:gd name="connsiteX7" fmla="*/ 157137 w 1620550"/>
                  <a:gd name="connsiteY7" fmla="*/ 42086 h 1421209"/>
                  <a:gd name="connsiteX8" fmla="*/ 148779 w 1620550"/>
                  <a:gd name="connsiteY8" fmla="*/ 47101 h 1421209"/>
                  <a:gd name="connsiteX9" fmla="*/ 145435 w 1620550"/>
                  <a:gd name="connsiteY9" fmla="*/ 50445 h 1421209"/>
                  <a:gd name="connsiteX10" fmla="*/ 135405 w 1620550"/>
                  <a:gd name="connsiteY10" fmla="*/ 53788 h 1421209"/>
                  <a:gd name="connsiteX11" fmla="*/ 133734 w 1620550"/>
                  <a:gd name="connsiteY11" fmla="*/ 58803 h 1421209"/>
                  <a:gd name="connsiteX12" fmla="*/ 115345 w 1620550"/>
                  <a:gd name="connsiteY12" fmla="*/ 63818 h 1421209"/>
                  <a:gd name="connsiteX13" fmla="*/ 81912 w 1620550"/>
                  <a:gd name="connsiteY13" fmla="*/ 62146 h 1421209"/>
                  <a:gd name="connsiteX14" fmla="*/ 73554 w 1620550"/>
                  <a:gd name="connsiteY14" fmla="*/ 53788 h 1421209"/>
                  <a:gd name="connsiteX15" fmla="*/ 66867 w 1620550"/>
                  <a:gd name="connsiteY15" fmla="*/ 50445 h 1421209"/>
                  <a:gd name="connsiteX16" fmla="*/ 55165 w 1620550"/>
                  <a:gd name="connsiteY16" fmla="*/ 52116 h 1421209"/>
                  <a:gd name="connsiteX17" fmla="*/ 55165 w 1620550"/>
                  <a:gd name="connsiteY17" fmla="*/ 62146 h 1421209"/>
                  <a:gd name="connsiteX18" fmla="*/ 30090 w 1620550"/>
                  <a:gd name="connsiteY18" fmla="*/ 65490 h 1421209"/>
                  <a:gd name="connsiteX19" fmla="*/ 16717 w 1620550"/>
                  <a:gd name="connsiteY19" fmla="*/ 75520 h 1421209"/>
                  <a:gd name="connsiteX20" fmla="*/ 11702 w 1620550"/>
                  <a:gd name="connsiteY20" fmla="*/ 80535 h 1421209"/>
                  <a:gd name="connsiteX21" fmla="*/ 8359 w 1620550"/>
                  <a:gd name="connsiteY21" fmla="*/ 88893 h 1421209"/>
                  <a:gd name="connsiteX22" fmla="*/ 6687 w 1620550"/>
                  <a:gd name="connsiteY22" fmla="*/ 98923 h 1421209"/>
                  <a:gd name="connsiteX23" fmla="*/ 0 w 1620550"/>
                  <a:gd name="connsiteY23" fmla="*/ 107281 h 1421209"/>
                  <a:gd name="connsiteX24" fmla="*/ 15045 w 1620550"/>
                  <a:gd name="connsiteY24" fmla="*/ 115640 h 1421209"/>
                  <a:gd name="connsiteX25" fmla="*/ 13374 w 1620550"/>
                  <a:gd name="connsiteY25" fmla="*/ 123998 h 1421209"/>
                  <a:gd name="connsiteX26" fmla="*/ 16717 w 1620550"/>
                  <a:gd name="connsiteY26" fmla="*/ 130685 h 1421209"/>
                  <a:gd name="connsiteX27" fmla="*/ 11702 w 1620550"/>
                  <a:gd name="connsiteY27" fmla="*/ 135700 h 1421209"/>
                  <a:gd name="connsiteX28" fmla="*/ 8359 w 1620550"/>
                  <a:gd name="connsiteY28" fmla="*/ 140715 h 1421209"/>
                  <a:gd name="connsiteX29" fmla="*/ 33434 w 1620550"/>
                  <a:gd name="connsiteY29" fmla="*/ 142386 h 1421209"/>
                  <a:gd name="connsiteX30" fmla="*/ 36777 w 1620550"/>
                  <a:gd name="connsiteY30" fmla="*/ 147401 h 1421209"/>
                  <a:gd name="connsiteX31" fmla="*/ 20060 w 1620550"/>
                  <a:gd name="connsiteY31" fmla="*/ 150745 h 1421209"/>
                  <a:gd name="connsiteX32" fmla="*/ 18389 w 1620550"/>
                  <a:gd name="connsiteY32" fmla="*/ 174148 h 1421209"/>
                  <a:gd name="connsiteX33" fmla="*/ 23404 w 1620550"/>
                  <a:gd name="connsiteY33" fmla="*/ 175820 h 1421209"/>
                  <a:gd name="connsiteX34" fmla="*/ 31762 w 1620550"/>
                  <a:gd name="connsiteY34" fmla="*/ 174148 h 1421209"/>
                  <a:gd name="connsiteX35" fmla="*/ 33434 w 1620550"/>
                  <a:gd name="connsiteY35" fmla="*/ 169133 h 1421209"/>
                  <a:gd name="connsiteX36" fmla="*/ 38449 w 1620550"/>
                  <a:gd name="connsiteY36" fmla="*/ 167461 h 1421209"/>
                  <a:gd name="connsiteX37" fmla="*/ 48479 w 1620550"/>
                  <a:gd name="connsiteY37" fmla="*/ 169133 h 1421209"/>
                  <a:gd name="connsiteX38" fmla="*/ 50150 w 1620550"/>
                  <a:gd name="connsiteY38" fmla="*/ 180835 h 1421209"/>
                  <a:gd name="connsiteX39" fmla="*/ 45135 w 1620550"/>
                  <a:gd name="connsiteY39" fmla="*/ 182506 h 1421209"/>
                  <a:gd name="connsiteX40" fmla="*/ 41792 w 1620550"/>
                  <a:gd name="connsiteY40" fmla="*/ 187521 h 1421209"/>
                  <a:gd name="connsiteX41" fmla="*/ 40120 w 1620550"/>
                  <a:gd name="connsiteY41" fmla="*/ 197551 h 1421209"/>
                  <a:gd name="connsiteX42" fmla="*/ 38449 w 1620550"/>
                  <a:gd name="connsiteY42" fmla="*/ 205909 h 1421209"/>
                  <a:gd name="connsiteX43" fmla="*/ 35105 w 1620550"/>
                  <a:gd name="connsiteY43" fmla="*/ 212596 h 1421209"/>
                  <a:gd name="connsiteX44" fmla="*/ 33434 w 1620550"/>
                  <a:gd name="connsiteY44" fmla="*/ 217611 h 1421209"/>
                  <a:gd name="connsiteX45" fmla="*/ 41792 w 1620550"/>
                  <a:gd name="connsiteY45" fmla="*/ 220954 h 1421209"/>
                  <a:gd name="connsiteX46" fmla="*/ 58509 w 1620550"/>
                  <a:gd name="connsiteY46" fmla="*/ 222626 h 1421209"/>
                  <a:gd name="connsiteX47" fmla="*/ 30090 w 1620550"/>
                  <a:gd name="connsiteY47" fmla="*/ 232656 h 1421209"/>
                  <a:gd name="connsiteX48" fmla="*/ 28419 w 1620550"/>
                  <a:gd name="connsiteY48" fmla="*/ 237671 h 1421209"/>
                  <a:gd name="connsiteX49" fmla="*/ 40120 w 1620550"/>
                  <a:gd name="connsiteY49" fmla="*/ 239343 h 1421209"/>
                  <a:gd name="connsiteX50" fmla="*/ 31762 w 1620550"/>
                  <a:gd name="connsiteY50" fmla="*/ 242686 h 1421209"/>
                  <a:gd name="connsiteX51" fmla="*/ 26747 w 1620550"/>
                  <a:gd name="connsiteY51" fmla="*/ 249373 h 1421209"/>
                  <a:gd name="connsiteX52" fmla="*/ 15045 w 1620550"/>
                  <a:gd name="connsiteY52" fmla="*/ 257731 h 1421209"/>
                  <a:gd name="connsiteX53" fmla="*/ 15045 w 1620550"/>
                  <a:gd name="connsiteY53" fmla="*/ 291164 h 1421209"/>
                  <a:gd name="connsiteX54" fmla="*/ 25075 w 1620550"/>
                  <a:gd name="connsiteY54" fmla="*/ 287821 h 1421209"/>
                  <a:gd name="connsiteX55" fmla="*/ 33434 w 1620550"/>
                  <a:gd name="connsiteY55" fmla="*/ 279463 h 1421209"/>
                  <a:gd name="connsiteX56" fmla="*/ 43464 w 1620550"/>
                  <a:gd name="connsiteY56" fmla="*/ 271104 h 1421209"/>
                  <a:gd name="connsiteX57" fmla="*/ 51822 w 1620550"/>
                  <a:gd name="connsiteY57" fmla="*/ 269433 h 1421209"/>
                  <a:gd name="connsiteX58" fmla="*/ 83584 w 1620550"/>
                  <a:gd name="connsiteY58" fmla="*/ 267761 h 1421209"/>
                  <a:gd name="connsiteX59" fmla="*/ 91942 w 1620550"/>
                  <a:gd name="connsiteY59" fmla="*/ 269433 h 1421209"/>
                  <a:gd name="connsiteX60" fmla="*/ 98629 w 1620550"/>
                  <a:gd name="connsiteY60" fmla="*/ 272776 h 1421209"/>
                  <a:gd name="connsiteX61" fmla="*/ 103644 w 1620550"/>
                  <a:gd name="connsiteY61" fmla="*/ 274448 h 1421209"/>
                  <a:gd name="connsiteX62" fmla="*/ 108659 w 1620550"/>
                  <a:gd name="connsiteY62" fmla="*/ 279463 h 1421209"/>
                  <a:gd name="connsiteX63" fmla="*/ 112002 w 1620550"/>
                  <a:gd name="connsiteY63" fmla="*/ 299523 h 1421209"/>
                  <a:gd name="connsiteX64" fmla="*/ 100300 w 1620550"/>
                  <a:gd name="connsiteY64" fmla="*/ 307881 h 1421209"/>
                  <a:gd name="connsiteX65" fmla="*/ 96957 w 1620550"/>
                  <a:gd name="connsiteY65" fmla="*/ 321254 h 1421209"/>
                  <a:gd name="connsiteX66" fmla="*/ 95285 w 1620550"/>
                  <a:gd name="connsiteY66" fmla="*/ 326269 h 1421209"/>
                  <a:gd name="connsiteX67" fmla="*/ 98629 w 1620550"/>
                  <a:gd name="connsiteY67" fmla="*/ 331284 h 1421209"/>
                  <a:gd name="connsiteX68" fmla="*/ 118689 w 1620550"/>
                  <a:gd name="connsiteY68" fmla="*/ 334628 h 1421209"/>
                  <a:gd name="connsiteX69" fmla="*/ 147107 w 1620550"/>
                  <a:gd name="connsiteY69" fmla="*/ 332956 h 1421209"/>
                  <a:gd name="connsiteX70" fmla="*/ 158808 w 1620550"/>
                  <a:gd name="connsiteY70" fmla="*/ 329613 h 1421209"/>
                  <a:gd name="connsiteX71" fmla="*/ 168838 w 1620550"/>
                  <a:gd name="connsiteY71" fmla="*/ 332956 h 1421209"/>
                  <a:gd name="connsiteX72" fmla="*/ 177197 w 1620550"/>
                  <a:gd name="connsiteY72" fmla="*/ 342986 h 1421209"/>
                  <a:gd name="connsiteX73" fmla="*/ 183883 w 1620550"/>
                  <a:gd name="connsiteY73" fmla="*/ 346329 h 1421209"/>
                  <a:gd name="connsiteX74" fmla="*/ 192242 w 1620550"/>
                  <a:gd name="connsiteY74" fmla="*/ 348001 h 1421209"/>
                  <a:gd name="connsiteX75" fmla="*/ 217317 w 1620550"/>
                  <a:gd name="connsiteY75" fmla="*/ 341314 h 1421209"/>
                  <a:gd name="connsiteX76" fmla="*/ 222332 w 1620550"/>
                  <a:gd name="connsiteY76" fmla="*/ 334628 h 1421209"/>
                  <a:gd name="connsiteX77" fmla="*/ 232362 w 1620550"/>
                  <a:gd name="connsiteY77" fmla="*/ 331284 h 1421209"/>
                  <a:gd name="connsiteX78" fmla="*/ 239048 w 1620550"/>
                  <a:gd name="connsiteY78" fmla="*/ 334628 h 1421209"/>
                  <a:gd name="connsiteX79" fmla="*/ 244063 w 1620550"/>
                  <a:gd name="connsiteY79" fmla="*/ 339643 h 1421209"/>
                  <a:gd name="connsiteX80" fmla="*/ 250750 w 1620550"/>
                  <a:gd name="connsiteY80" fmla="*/ 341314 h 1421209"/>
                  <a:gd name="connsiteX81" fmla="*/ 260780 w 1620550"/>
                  <a:gd name="connsiteY81" fmla="*/ 348001 h 1421209"/>
                  <a:gd name="connsiteX82" fmla="*/ 269138 w 1620550"/>
                  <a:gd name="connsiteY82" fmla="*/ 356359 h 1421209"/>
                  <a:gd name="connsiteX83" fmla="*/ 270810 w 1620550"/>
                  <a:gd name="connsiteY83" fmla="*/ 368061 h 1421209"/>
                  <a:gd name="connsiteX84" fmla="*/ 290870 w 1620550"/>
                  <a:gd name="connsiteY84" fmla="*/ 366389 h 1421209"/>
                  <a:gd name="connsiteX85" fmla="*/ 305915 w 1620550"/>
                  <a:gd name="connsiteY85" fmla="*/ 368061 h 1421209"/>
                  <a:gd name="connsiteX86" fmla="*/ 304243 w 1620550"/>
                  <a:gd name="connsiteY86" fmla="*/ 388121 h 1421209"/>
                  <a:gd name="connsiteX87" fmla="*/ 307587 w 1620550"/>
                  <a:gd name="connsiteY87" fmla="*/ 403166 h 1421209"/>
                  <a:gd name="connsiteX88" fmla="*/ 320960 w 1620550"/>
                  <a:gd name="connsiteY88" fmla="*/ 414867 h 1421209"/>
                  <a:gd name="connsiteX89" fmla="*/ 329318 w 1620550"/>
                  <a:gd name="connsiteY89" fmla="*/ 424897 h 1421209"/>
                  <a:gd name="connsiteX90" fmla="*/ 336005 w 1620550"/>
                  <a:gd name="connsiteY90" fmla="*/ 428241 h 1421209"/>
                  <a:gd name="connsiteX91" fmla="*/ 334333 w 1620550"/>
                  <a:gd name="connsiteY91" fmla="*/ 458331 h 1421209"/>
                  <a:gd name="connsiteX92" fmla="*/ 307587 w 1620550"/>
                  <a:gd name="connsiteY92" fmla="*/ 478391 h 1421209"/>
                  <a:gd name="connsiteX93" fmla="*/ 292542 w 1620550"/>
                  <a:gd name="connsiteY93" fmla="*/ 483406 h 1421209"/>
                  <a:gd name="connsiteX94" fmla="*/ 287527 w 1620550"/>
                  <a:gd name="connsiteY94" fmla="*/ 486749 h 1421209"/>
                  <a:gd name="connsiteX95" fmla="*/ 265795 w 1620550"/>
                  <a:gd name="connsiteY95" fmla="*/ 488421 h 1421209"/>
                  <a:gd name="connsiteX96" fmla="*/ 257437 w 1620550"/>
                  <a:gd name="connsiteY96" fmla="*/ 495107 h 1421209"/>
                  <a:gd name="connsiteX97" fmla="*/ 249078 w 1620550"/>
                  <a:gd name="connsiteY97" fmla="*/ 503466 h 1421209"/>
                  <a:gd name="connsiteX98" fmla="*/ 247407 w 1620550"/>
                  <a:gd name="connsiteY98" fmla="*/ 508481 h 1421209"/>
                  <a:gd name="connsiteX99" fmla="*/ 239048 w 1620550"/>
                  <a:gd name="connsiteY99" fmla="*/ 515167 h 1421209"/>
                  <a:gd name="connsiteX100" fmla="*/ 237377 w 1620550"/>
                  <a:gd name="connsiteY100" fmla="*/ 536899 h 1421209"/>
                  <a:gd name="connsiteX101" fmla="*/ 239048 w 1620550"/>
                  <a:gd name="connsiteY101" fmla="*/ 543586 h 1421209"/>
                  <a:gd name="connsiteX102" fmla="*/ 237377 w 1620550"/>
                  <a:gd name="connsiteY102" fmla="*/ 595407 h 1421209"/>
                  <a:gd name="connsiteX103" fmla="*/ 230690 w 1620550"/>
                  <a:gd name="connsiteY103" fmla="*/ 610452 h 1421209"/>
                  <a:gd name="connsiteX104" fmla="*/ 227347 w 1620550"/>
                  <a:gd name="connsiteY104" fmla="*/ 618810 h 1421209"/>
                  <a:gd name="connsiteX105" fmla="*/ 224003 w 1620550"/>
                  <a:gd name="connsiteY105" fmla="*/ 625497 h 1421209"/>
                  <a:gd name="connsiteX106" fmla="*/ 222332 w 1620550"/>
                  <a:gd name="connsiteY106" fmla="*/ 633855 h 1421209"/>
                  <a:gd name="connsiteX107" fmla="*/ 213973 w 1620550"/>
                  <a:gd name="connsiteY107" fmla="*/ 642214 h 1421209"/>
                  <a:gd name="connsiteX108" fmla="*/ 205615 w 1620550"/>
                  <a:gd name="connsiteY108" fmla="*/ 648900 h 1421209"/>
                  <a:gd name="connsiteX109" fmla="*/ 190570 w 1620550"/>
                  <a:gd name="connsiteY109" fmla="*/ 652244 h 1421209"/>
                  <a:gd name="connsiteX110" fmla="*/ 192242 w 1620550"/>
                  <a:gd name="connsiteY110" fmla="*/ 662274 h 1421209"/>
                  <a:gd name="connsiteX111" fmla="*/ 193913 w 1620550"/>
                  <a:gd name="connsiteY111" fmla="*/ 667289 h 1421209"/>
                  <a:gd name="connsiteX112" fmla="*/ 190570 w 1620550"/>
                  <a:gd name="connsiteY112" fmla="*/ 695707 h 1421209"/>
                  <a:gd name="connsiteX113" fmla="*/ 187227 w 1620550"/>
                  <a:gd name="connsiteY113" fmla="*/ 704065 h 1421209"/>
                  <a:gd name="connsiteX114" fmla="*/ 185555 w 1620550"/>
                  <a:gd name="connsiteY114" fmla="*/ 712424 h 1421209"/>
                  <a:gd name="connsiteX115" fmla="*/ 180540 w 1620550"/>
                  <a:gd name="connsiteY115" fmla="*/ 717439 h 1421209"/>
                  <a:gd name="connsiteX116" fmla="*/ 175525 w 1620550"/>
                  <a:gd name="connsiteY116" fmla="*/ 725797 h 1421209"/>
                  <a:gd name="connsiteX117" fmla="*/ 170510 w 1620550"/>
                  <a:gd name="connsiteY117" fmla="*/ 727469 h 1421209"/>
                  <a:gd name="connsiteX118" fmla="*/ 165495 w 1620550"/>
                  <a:gd name="connsiteY118" fmla="*/ 730812 h 1421209"/>
                  <a:gd name="connsiteX119" fmla="*/ 147107 w 1620550"/>
                  <a:gd name="connsiteY119" fmla="*/ 734155 h 1421209"/>
                  <a:gd name="connsiteX120" fmla="*/ 137077 w 1620550"/>
                  <a:gd name="connsiteY120" fmla="*/ 739170 h 1421209"/>
                  <a:gd name="connsiteX121" fmla="*/ 128719 w 1620550"/>
                  <a:gd name="connsiteY121" fmla="*/ 742513 h 1421209"/>
                  <a:gd name="connsiteX122" fmla="*/ 122032 w 1620550"/>
                  <a:gd name="connsiteY122" fmla="*/ 745857 h 1421209"/>
                  <a:gd name="connsiteX123" fmla="*/ 98628 w 1620550"/>
                  <a:gd name="connsiteY123" fmla="*/ 745856 h 1421209"/>
                  <a:gd name="connsiteX124" fmla="*/ 100300 w 1620550"/>
                  <a:gd name="connsiteY124" fmla="*/ 750872 h 1421209"/>
                  <a:gd name="connsiteX125" fmla="*/ 103644 w 1620550"/>
                  <a:gd name="connsiteY125" fmla="*/ 755887 h 1421209"/>
                  <a:gd name="connsiteX126" fmla="*/ 106987 w 1620550"/>
                  <a:gd name="connsiteY126" fmla="*/ 770932 h 1421209"/>
                  <a:gd name="connsiteX127" fmla="*/ 110330 w 1620550"/>
                  <a:gd name="connsiteY127" fmla="*/ 779290 h 1421209"/>
                  <a:gd name="connsiteX128" fmla="*/ 112002 w 1620550"/>
                  <a:gd name="connsiteY128" fmla="*/ 787648 h 1421209"/>
                  <a:gd name="connsiteX129" fmla="*/ 113674 w 1620550"/>
                  <a:gd name="connsiteY129" fmla="*/ 821082 h 1421209"/>
                  <a:gd name="connsiteX130" fmla="*/ 117017 w 1620550"/>
                  <a:gd name="connsiteY130" fmla="*/ 827768 h 1421209"/>
                  <a:gd name="connsiteX131" fmla="*/ 125375 w 1620550"/>
                  <a:gd name="connsiteY131" fmla="*/ 831112 h 1421209"/>
                  <a:gd name="connsiteX132" fmla="*/ 140420 w 1620550"/>
                  <a:gd name="connsiteY132" fmla="*/ 832783 h 1421209"/>
                  <a:gd name="connsiteX133" fmla="*/ 155465 w 1620550"/>
                  <a:gd name="connsiteY133" fmla="*/ 837798 h 1421209"/>
                  <a:gd name="connsiteX134" fmla="*/ 153793 w 1620550"/>
                  <a:gd name="connsiteY134" fmla="*/ 864545 h 1421209"/>
                  <a:gd name="connsiteX135" fmla="*/ 147107 w 1620550"/>
                  <a:gd name="connsiteY135" fmla="*/ 871232 h 1421209"/>
                  <a:gd name="connsiteX136" fmla="*/ 143764 w 1620550"/>
                  <a:gd name="connsiteY136" fmla="*/ 876247 h 1421209"/>
                  <a:gd name="connsiteX137" fmla="*/ 133734 w 1620550"/>
                  <a:gd name="connsiteY137" fmla="*/ 886277 h 1421209"/>
                  <a:gd name="connsiteX138" fmla="*/ 128719 w 1620550"/>
                  <a:gd name="connsiteY138" fmla="*/ 891292 h 1421209"/>
                  <a:gd name="connsiteX139" fmla="*/ 108659 w 1620550"/>
                  <a:gd name="connsiteY139" fmla="*/ 904665 h 1421209"/>
                  <a:gd name="connsiteX140" fmla="*/ 100300 w 1620550"/>
                  <a:gd name="connsiteY140" fmla="*/ 913023 h 1421209"/>
                  <a:gd name="connsiteX141" fmla="*/ 86927 w 1620550"/>
                  <a:gd name="connsiteY141" fmla="*/ 928068 h 1421209"/>
                  <a:gd name="connsiteX142" fmla="*/ 86927 w 1620550"/>
                  <a:gd name="connsiteY142" fmla="*/ 981561 h 1421209"/>
                  <a:gd name="connsiteX143" fmla="*/ 96957 w 1620550"/>
                  <a:gd name="connsiteY143" fmla="*/ 991591 h 1421209"/>
                  <a:gd name="connsiteX144" fmla="*/ 108659 w 1620550"/>
                  <a:gd name="connsiteY144" fmla="*/ 993263 h 1421209"/>
                  <a:gd name="connsiteX145" fmla="*/ 115345 w 1620550"/>
                  <a:gd name="connsiteY145" fmla="*/ 1038398 h 1421209"/>
                  <a:gd name="connsiteX146" fmla="*/ 93614 w 1620550"/>
                  <a:gd name="connsiteY146" fmla="*/ 1035055 h 1421209"/>
                  <a:gd name="connsiteX147" fmla="*/ 63524 w 1620550"/>
                  <a:gd name="connsiteY147" fmla="*/ 1036726 h 1421209"/>
                  <a:gd name="connsiteX148" fmla="*/ 56837 w 1620550"/>
                  <a:gd name="connsiteY148" fmla="*/ 1045085 h 1421209"/>
                  <a:gd name="connsiteX149" fmla="*/ 48479 w 1620550"/>
                  <a:gd name="connsiteY149" fmla="*/ 1051771 h 1421209"/>
                  <a:gd name="connsiteX150" fmla="*/ 43464 w 1620550"/>
                  <a:gd name="connsiteY150" fmla="*/ 1058458 h 1421209"/>
                  <a:gd name="connsiteX151" fmla="*/ 40120 w 1620550"/>
                  <a:gd name="connsiteY151" fmla="*/ 1061801 h 1421209"/>
                  <a:gd name="connsiteX152" fmla="*/ 35105 w 1620550"/>
                  <a:gd name="connsiteY152" fmla="*/ 1070160 h 1421209"/>
                  <a:gd name="connsiteX153" fmla="*/ 33434 w 1620550"/>
                  <a:gd name="connsiteY153" fmla="*/ 1075175 h 1421209"/>
                  <a:gd name="connsiteX154" fmla="*/ 28419 w 1620550"/>
                  <a:gd name="connsiteY154" fmla="*/ 1091891 h 1421209"/>
                  <a:gd name="connsiteX155" fmla="*/ 25075 w 1620550"/>
                  <a:gd name="connsiteY155" fmla="*/ 1098578 h 1421209"/>
                  <a:gd name="connsiteX156" fmla="*/ 20060 w 1620550"/>
                  <a:gd name="connsiteY156" fmla="*/ 1111951 h 1421209"/>
                  <a:gd name="connsiteX157" fmla="*/ 21732 w 1620550"/>
                  <a:gd name="connsiteY157" fmla="*/ 1163773 h 1421209"/>
                  <a:gd name="connsiteX158" fmla="*/ 41792 w 1620550"/>
                  <a:gd name="connsiteY158" fmla="*/ 1162101 h 1421209"/>
                  <a:gd name="connsiteX159" fmla="*/ 68539 w 1620550"/>
                  <a:gd name="connsiteY159" fmla="*/ 1163773 h 1421209"/>
                  <a:gd name="connsiteX160" fmla="*/ 81912 w 1620550"/>
                  <a:gd name="connsiteY160" fmla="*/ 1173803 h 1421209"/>
                  <a:gd name="connsiteX161" fmla="*/ 86927 w 1620550"/>
                  <a:gd name="connsiteY161" fmla="*/ 1177146 h 1421209"/>
                  <a:gd name="connsiteX162" fmla="*/ 93614 w 1620550"/>
                  <a:gd name="connsiteY162" fmla="*/ 1185504 h 1421209"/>
                  <a:gd name="connsiteX163" fmla="*/ 96957 w 1620550"/>
                  <a:gd name="connsiteY163" fmla="*/ 1195534 h 1421209"/>
                  <a:gd name="connsiteX164" fmla="*/ 98629 w 1620550"/>
                  <a:gd name="connsiteY164" fmla="*/ 1200549 h 1421209"/>
                  <a:gd name="connsiteX165" fmla="*/ 108659 w 1620550"/>
                  <a:gd name="connsiteY165" fmla="*/ 1212251 h 1421209"/>
                  <a:gd name="connsiteX166" fmla="*/ 113674 w 1620550"/>
                  <a:gd name="connsiteY166" fmla="*/ 1213923 h 1421209"/>
                  <a:gd name="connsiteX167" fmla="*/ 122032 w 1620550"/>
                  <a:gd name="connsiteY167" fmla="*/ 1217266 h 1421209"/>
                  <a:gd name="connsiteX168" fmla="*/ 135405 w 1620550"/>
                  <a:gd name="connsiteY168" fmla="*/ 1227296 h 1421209"/>
                  <a:gd name="connsiteX169" fmla="*/ 140420 w 1620550"/>
                  <a:gd name="connsiteY169" fmla="*/ 1230639 h 1421209"/>
                  <a:gd name="connsiteX170" fmla="*/ 145435 w 1620550"/>
                  <a:gd name="connsiteY170" fmla="*/ 1232311 h 1421209"/>
                  <a:gd name="connsiteX171" fmla="*/ 148779 w 1620550"/>
                  <a:gd name="connsiteY171" fmla="*/ 1237326 h 1421209"/>
                  <a:gd name="connsiteX172" fmla="*/ 153793 w 1620550"/>
                  <a:gd name="connsiteY172" fmla="*/ 1244013 h 1421209"/>
                  <a:gd name="connsiteX173" fmla="*/ 158808 w 1620550"/>
                  <a:gd name="connsiteY173" fmla="*/ 1255714 h 1421209"/>
                  <a:gd name="connsiteX174" fmla="*/ 152122 w 1620550"/>
                  <a:gd name="connsiteY174" fmla="*/ 1259058 h 1421209"/>
                  <a:gd name="connsiteX175" fmla="*/ 143764 w 1620550"/>
                  <a:gd name="connsiteY175" fmla="*/ 1260729 h 1421209"/>
                  <a:gd name="connsiteX176" fmla="*/ 145435 w 1620550"/>
                  <a:gd name="connsiteY176" fmla="*/ 1274103 h 1421209"/>
                  <a:gd name="connsiteX177" fmla="*/ 152122 w 1620550"/>
                  <a:gd name="connsiteY177" fmla="*/ 1290819 h 1421209"/>
                  <a:gd name="connsiteX178" fmla="*/ 155465 w 1620550"/>
                  <a:gd name="connsiteY178" fmla="*/ 1295834 h 1421209"/>
                  <a:gd name="connsiteX179" fmla="*/ 160480 w 1620550"/>
                  <a:gd name="connsiteY179" fmla="*/ 1297506 h 1421209"/>
                  <a:gd name="connsiteX180" fmla="*/ 163823 w 1620550"/>
                  <a:gd name="connsiteY180" fmla="*/ 1302521 h 1421209"/>
                  <a:gd name="connsiteX181" fmla="*/ 168838 w 1620550"/>
                  <a:gd name="connsiteY181" fmla="*/ 1305864 h 1421209"/>
                  <a:gd name="connsiteX182" fmla="*/ 177197 w 1620550"/>
                  <a:gd name="connsiteY182" fmla="*/ 1312551 h 1421209"/>
                  <a:gd name="connsiteX183" fmla="*/ 180540 w 1620550"/>
                  <a:gd name="connsiteY183" fmla="*/ 1317566 h 1421209"/>
                  <a:gd name="connsiteX184" fmla="*/ 168838 w 1620550"/>
                  <a:gd name="connsiteY184" fmla="*/ 1329267 h 1421209"/>
                  <a:gd name="connsiteX185" fmla="*/ 170510 w 1620550"/>
                  <a:gd name="connsiteY185" fmla="*/ 1349327 h 1421209"/>
                  <a:gd name="connsiteX186" fmla="*/ 175525 w 1620550"/>
                  <a:gd name="connsiteY186" fmla="*/ 1356014 h 1421209"/>
                  <a:gd name="connsiteX187" fmla="*/ 177197 w 1620550"/>
                  <a:gd name="connsiteY187" fmla="*/ 1371059 h 1421209"/>
                  <a:gd name="connsiteX188" fmla="*/ 178868 w 1620550"/>
                  <a:gd name="connsiteY188" fmla="*/ 1381089 h 1421209"/>
                  <a:gd name="connsiteX189" fmla="*/ 182212 w 1620550"/>
                  <a:gd name="connsiteY189" fmla="*/ 1397806 h 1421209"/>
                  <a:gd name="connsiteX190" fmla="*/ 188898 w 1620550"/>
                  <a:gd name="connsiteY190" fmla="*/ 1401149 h 1421209"/>
                  <a:gd name="connsiteX191" fmla="*/ 193913 w 1620550"/>
                  <a:gd name="connsiteY191" fmla="*/ 1399477 h 1421209"/>
                  <a:gd name="connsiteX192" fmla="*/ 200600 w 1620550"/>
                  <a:gd name="connsiteY192" fmla="*/ 1389447 h 1421209"/>
                  <a:gd name="connsiteX193" fmla="*/ 208958 w 1620550"/>
                  <a:gd name="connsiteY193" fmla="*/ 1392791 h 1421209"/>
                  <a:gd name="connsiteX194" fmla="*/ 210630 w 1620550"/>
                  <a:gd name="connsiteY194" fmla="*/ 1397806 h 1421209"/>
                  <a:gd name="connsiteX195" fmla="*/ 213973 w 1620550"/>
                  <a:gd name="connsiteY195" fmla="*/ 1402821 h 1421209"/>
                  <a:gd name="connsiteX196" fmla="*/ 215645 w 1620550"/>
                  <a:gd name="connsiteY196" fmla="*/ 1412851 h 1421209"/>
                  <a:gd name="connsiteX197" fmla="*/ 222332 w 1620550"/>
                  <a:gd name="connsiteY197" fmla="*/ 1416194 h 1421209"/>
                  <a:gd name="connsiteX198" fmla="*/ 234033 w 1620550"/>
                  <a:gd name="connsiteY198" fmla="*/ 1419537 h 1421209"/>
                  <a:gd name="connsiteX199" fmla="*/ 239048 w 1620550"/>
                  <a:gd name="connsiteY199" fmla="*/ 1421209 h 1421209"/>
                  <a:gd name="connsiteX200" fmla="*/ 269138 w 1620550"/>
                  <a:gd name="connsiteY200" fmla="*/ 1419537 h 1421209"/>
                  <a:gd name="connsiteX201" fmla="*/ 270810 w 1620550"/>
                  <a:gd name="connsiteY201" fmla="*/ 1414522 h 1421209"/>
                  <a:gd name="connsiteX202" fmla="*/ 277497 w 1620550"/>
                  <a:gd name="connsiteY202" fmla="*/ 1412851 h 1421209"/>
                  <a:gd name="connsiteX203" fmla="*/ 285855 w 1620550"/>
                  <a:gd name="connsiteY203" fmla="*/ 1411179 h 1421209"/>
                  <a:gd name="connsiteX204" fmla="*/ 287527 w 1620550"/>
                  <a:gd name="connsiteY204" fmla="*/ 1406164 h 1421209"/>
                  <a:gd name="connsiteX205" fmla="*/ 289198 w 1620550"/>
                  <a:gd name="connsiteY205" fmla="*/ 1396134 h 1421209"/>
                  <a:gd name="connsiteX206" fmla="*/ 294213 w 1620550"/>
                  <a:gd name="connsiteY206" fmla="*/ 1389447 h 1421209"/>
                  <a:gd name="connsiteX207" fmla="*/ 300900 w 1620550"/>
                  <a:gd name="connsiteY207" fmla="*/ 1379417 h 1421209"/>
                  <a:gd name="connsiteX208" fmla="*/ 307587 w 1620550"/>
                  <a:gd name="connsiteY208" fmla="*/ 1366044 h 1421209"/>
                  <a:gd name="connsiteX209" fmla="*/ 314273 w 1620550"/>
                  <a:gd name="connsiteY209" fmla="*/ 1361029 h 1421209"/>
                  <a:gd name="connsiteX210" fmla="*/ 317617 w 1620550"/>
                  <a:gd name="connsiteY210" fmla="*/ 1357686 h 1421209"/>
                  <a:gd name="connsiteX211" fmla="*/ 339348 w 1620550"/>
                  <a:gd name="connsiteY211" fmla="*/ 1354342 h 1421209"/>
                  <a:gd name="connsiteX212" fmla="*/ 356065 w 1620550"/>
                  <a:gd name="connsiteY212" fmla="*/ 1357686 h 1421209"/>
                  <a:gd name="connsiteX213" fmla="*/ 361080 w 1620550"/>
                  <a:gd name="connsiteY213" fmla="*/ 1359357 h 1421209"/>
                  <a:gd name="connsiteX214" fmla="*/ 364423 w 1620550"/>
                  <a:gd name="connsiteY214" fmla="*/ 1362701 h 1421209"/>
                  <a:gd name="connsiteX215" fmla="*/ 374453 w 1620550"/>
                  <a:gd name="connsiteY215" fmla="*/ 1367716 h 1421209"/>
                  <a:gd name="connsiteX216" fmla="*/ 377796 w 1620550"/>
                  <a:gd name="connsiteY216" fmla="*/ 1374402 h 1421209"/>
                  <a:gd name="connsiteX217" fmla="*/ 381140 w 1620550"/>
                  <a:gd name="connsiteY217" fmla="*/ 1377746 h 1421209"/>
                  <a:gd name="connsiteX218" fmla="*/ 386155 w 1620550"/>
                  <a:gd name="connsiteY218" fmla="*/ 1374402 h 1421209"/>
                  <a:gd name="connsiteX219" fmla="*/ 396185 w 1620550"/>
                  <a:gd name="connsiteY219" fmla="*/ 1361029 h 1421209"/>
                  <a:gd name="connsiteX220" fmla="*/ 414573 w 1620550"/>
                  <a:gd name="connsiteY220" fmla="*/ 1356014 h 1421209"/>
                  <a:gd name="connsiteX221" fmla="*/ 416245 w 1620550"/>
                  <a:gd name="connsiteY221" fmla="*/ 1349327 h 1421209"/>
                  <a:gd name="connsiteX222" fmla="*/ 419588 w 1620550"/>
                  <a:gd name="connsiteY222" fmla="*/ 1334282 h 1421209"/>
                  <a:gd name="connsiteX223" fmla="*/ 424603 w 1620550"/>
                  <a:gd name="connsiteY223" fmla="*/ 1330939 h 1421209"/>
                  <a:gd name="connsiteX224" fmla="*/ 444663 w 1620550"/>
                  <a:gd name="connsiteY224" fmla="*/ 1332611 h 1421209"/>
                  <a:gd name="connsiteX225" fmla="*/ 466395 w 1620550"/>
                  <a:gd name="connsiteY225" fmla="*/ 1339297 h 1421209"/>
                  <a:gd name="connsiteX226" fmla="*/ 509858 w 1620550"/>
                  <a:gd name="connsiteY226" fmla="*/ 1340969 h 1421209"/>
                  <a:gd name="connsiteX227" fmla="*/ 523231 w 1620550"/>
                  <a:gd name="connsiteY227" fmla="*/ 1345984 h 1421209"/>
                  <a:gd name="connsiteX228" fmla="*/ 531589 w 1620550"/>
                  <a:gd name="connsiteY228" fmla="*/ 1357686 h 1421209"/>
                  <a:gd name="connsiteX229" fmla="*/ 534933 w 1620550"/>
                  <a:gd name="connsiteY229" fmla="*/ 1364372 h 1421209"/>
                  <a:gd name="connsiteX230" fmla="*/ 539948 w 1620550"/>
                  <a:gd name="connsiteY230" fmla="*/ 1366044 h 1421209"/>
                  <a:gd name="connsiteX231" fmla="*/ 565023 w 1620550"/>
                  <a:gd name="connsiteY231" fmla="*/ 1369387 h 1421209"/>
                  <a:gd name="connsiteX232" fmla="*/ 568366 w 1620550"/>
                  <a:gd name="connsiteY232" fmla="*/ 1372731 h 1421209"/>
                  <a:gd name="connsiteX233" fmla="*/ 571709 w 1620550"/>
                  <a:gd name="connsiteY233" fmla="*/ 1366044 h 1421209"/>
                  <a:gd name="connsiteX234" fmla="*/ 600128 w 1620550"/>
                  <a:gd name="connsiteY234" fmla="*/ 1357686 h 1421209"/>
                  <a:gd name="connsiteX235" fmla="*/ 626874 w 1620550"/>
                  <a:gd name="connsiteY235" fmla="*/ 1361029 h 1421209"/>
                  <a:gd name="connsiteX236" fmla="*/ 633561 w 1620550"/>
                  <a:gd name="connsiteY236" fmla="*/ 1364372 h 1421209"/>
                  <a:gd name="connsiteX237" fmla="*/ 638576 w 1620550"/>
                  <a:gd name="connsiteY237" fmla="*/ 1366044 h 1421209"/>
                  <a:gd name="connsiteX238" fmla="*/ 643591 w 1620550"/>
                  <a:gd name="connsiteY238" fmla="*/ 1372731 h 1421209"/>
                  <a:gd name="connsiteX239" fmla="*/ 650278 w 1620550"/>
                  <a:gd name="connsiteY239" fmla="*/ 1382761 h 1421209"/>
                  <a:gd name="connsiteX240" fmla="*/ 660308 w 1620550"/>
                  <a:gd name="connsiteY240" fmla="*/ 1386104 h 1421209"/>
                  <a:gd name="connsiteX241" fmla="*/ 672009 w 1620550"/>
                  <a:gd name="connsiteY241" fmla="*/ 1389447 h 1421209"/>
                  <a:gd name="connsiteX242" fmla="*/ 687054 w 1620550"/>
                  <a:gd name="connsiteY242" fmla="*/ 1382761 h 1421209"/>
                  <a:gd name="connsiteX243" fmla="*/ 690398 w 1620550"/>
                  <a:gd name="connsiteY243" fmla="*/ 1374402 h 1421209"/>
                  <a:gd name="connsiteX244" fmla="*/ 695413 w 1620550"/>
                  <a:gd name="connsiteY244" fmla="*/ 1371059 h 1421209"/>
                  <a:gd name="connsiteX245" fmla="*/ 707114 w 1620550"/>
                  <a:gd name="connsiteY245" fmla="*/ 1366044 h 1421209"/>
                  <a:gd name="connsiteX246" fmla="*/ 715472 w 1620550"/>
                  <a:gd name="connsiteY246" fmla="*/ 1364372 h 1421209"/>
                  <a:gd name="connsiteX247" fmla="*/ 735532 w 1620550"/>
                  <a:gd name="connsiteY247" fmla="*/ 1371059 h 1421209"/>
                  <a:gd name="connsiteX248" fmla="*/ 737204 w 1620550"/>
                  <a:gd name="connsiteY248" fmla="*/ 1376074 h 1421209"/>
                  <a:gd name="connsiteX249" fmla="*/ 742219 w 1620550"/>
                  <a:gd name="connsiteY249" fmla="*/ 1387776 h 1421209"/>
                  <a:gd name="connsiteX250" fmla="*/ 748906 w 1620550"/>
                  <a:gd name="connsiteY250" fmla="*/ 1389447 h 1421209"/>
                  <a:gd name="connsiteX251" fmla="*/ 762279 w 1620550"/>
                  <a:gd name="connsiteY251" fmla="*/ 1384432 h 1421209"/>
                  <a:gd name="connsiteX252" fmla="*/ 772309 w 1620550"/>
                  <a:gd name="connsiteY252" fmla="*/ 1381089 h 1421209"/>
                  <a:gd name="connsiteX253" fmla="*/ 784011 w 1620550"/>
                  <a:gd name="connsiteY253" fmla="*/ 1371059 h 1421209"/>
                  <a:gd name="connsiteX254" fmla="*/ 797384 w 1620550"/>
                  <a:gd name="connsiteY254" fmla="*/ 1357686 h 1421209"/>
                  <a:gd name="connsiteX255" fmla="*/ 802399 w 1620550"/>
                  <a:gd name="connsiteY255" fmla="*/ 1352671 h 1421209"/>
                  <a:gd name="connsiteX256" fmla="*/ 810757 w 1620550"/>
                  <a:gd name="connsiteY256" fmla="*/ 1350999 h 1421209"/>
                  <a:gd name="connsiteX257" fmla="*/ 812429 w 1620550"/>
                  <a:gd name="connsiteY257" fmla="*/ 1344312 h 1421209"/>
                  <a:gd name="connsiteX258" fmla="*/ 807414 w 1620550"/>
                  <a:gd name="connsiteY258" fmla="*/ 1325924 h 1421209"/>
                  <a:gd name="connsiteX259" fmla="*/ 809086 w 1620550"/>
                  <a:gd name="connsiteY259" fmla="*/ 1314222 h 1421209"/>
                  <a:gd name="connsiteX260" fmla="*/ 812429 w 1620550"/>
                  <a:gd name="connsiteY260" fmla="*/ 1309207 h 1421209"/>
                  <a:gd name="connsiteX261" fmla="*/ 820787 w 1620550"/>
                  <a:gd name="connsiteY261" fmla="*/ 1299177 h 1421209"/>
                  <a:gd name="connsiteX262" fmla="*/ 827474 w 1620550"/>
                  <a:gd name="connsiteY262" fmla="*/ 1294162 h 1421209"/>
                  <a:gd name="connsiteX263" fmla="*/ 869266 w 1620550"/>
                  <a:gd name="connsiteY263" fmla="*/ 1292491 h 1421209"/>
                  <a:gd name="connsiteX264" fmla="*/ 870937 w 1620550"/>
                  <a:gd name="connsiteY264" fmla="*/ 1277446 h 1421209"/>
                  <a:gd name="connsiteX265" fmla="*/ 880967 w 1620550"/>
                  <a:gd name="connsiteY265" fmla="*/ 1270759 h 1421209"/>
                  <a:gd name="connsiteX266" fmla="*/ 885982 w 1620550"/>
                  <a:gd name="connsiteY266" fmla="*/ 1269088 h 1421209"/>
                  <a:gd name="connsiteX267" fmla="*/ 932789 w 1620550"/>
                  <a:gd name="connsiteY267" fmla="*/ 1270759 h 1421209"/>
                  <a:gd name="connsiteX268" fmla="*/ 942819 w 1620550"/>
                  <a:gd name="connsiteY268" fmla="*/ 1272431 h 1421209"/>
                  <a:gd name="connsiteX269" fmla="*/ 949505 w 1620550"/>
                  <a:gd name="connsiteY269" fmla="*/ 1275774 h 1421209"/>
                  <a:gd name="connsiteX270" fmla="*/ 954520 w 1620550"/>
                  <a:gd name="connsiteY270" fmla="*/ 1277446 h 1421209"/>
                  <a:gd name="connsiteX271" fmla="*/ 964550 w 1620550"/>
                  <a:gd name="connsiteY271" fmla="*/ 1274103 h 1421209"/>
                  <a:gd name="connsiteX272" fmla="*/ 971237 w 1620550"/>
                  <a:gd name="connsiteY272" fmla="*/ 1264073 h 1421209"/>
                  <a:gd name="connsiteX273" fmla="*/ 964550 w 1620550"/>
                  <a:gd name="connsiteY273" fmla="*/ 1249028 h 1421209"/>
                  <a:gd name="connsiteX274" fmla="*/ 966222 w 1620550"/>
                  <a:gd name="connsiteY274" fmla="*/ 1233983 h 1421209"/>
                  <a:gd name="connsiteX275" fmla="*/ 974580 w 1620550"/>
                  <a:gd name="connsiteY275" fmla="*/ 1215594 h 1421209"/>
                  <a:gd name="connsiteX276" fmla="*/ 977924 w 1620550"/>
                  <a:gd name="connsiteY276" fmla="*/ 1212251 h 1421209"/>
                  <a:gd name="connsiteX277" fmla="*/ 982939 w 1620550"/>
                  <a:gd name="connsiteY277" fmla="*/ 1205564 h 1421209"/>
                  <a:gd name="connsiteX278" fmla="*/ 991297 w 1620550"/>
                  <a:gd name="connsiteY278" fmla="*/ 1195534 h 1421209"/>
                  <a:gd name="connsiteX279" fmla="*/ 1001327 w 1620550"/>
                  <a:gd name="connsiteY279" fmla="*/ 1185504 h 1421209"/>
                  <a:gd name="connsiteX280" fmla="*/ 1002999 w 1620550"/>
                  <a:gd name="connsiteY280" fmla="*/ 1180489 h 1421209"/>
                  <a:gd name="connsiteX281" fmla="*/ 1006342 w 1620550"/>
                  <a:gd name="connsiteY281" fmla="*/ 1175474 h 1421209"/>
                  <a:gd name="connsiteX282" fmla="*/ 1008014 w 1620550"/>
                  <a:gd name="connsiteY282" fmla="*/ 1168788 h 1421209"/>
                  <a:gd name="connsiteX283" fmla="*/ 1016372 w 1620550"/>
                  <a:gd name="connsiteY283" fmla="*/ 1157086 h 1421209"/>
                  <a:gd name="connsiteX284" fmla="*/ 1023059 w 1620550"/>
                  <a:gd name="connsiteY284" fmla="*/ 1143713 h 1421209"/>
                  <a:gd name="connsiteX285" fmla="*/ 1024730 w 1620550"/>
                  <a:gd name="connsiteY285" fmla="*/ 1138698 h 1421209"/>
                  <a:gd name="connsiteX286" fmla="*/ 1028074 w 1620550"/>
                  <a:gd name="connsiteY286" fmla="*/ 1135354 h 1421209"/>
                  <a:gd name="connsiteX287" fmla="*/ 1033089 w 1620550"/>
                  <a:gd name="connsiteY287" fmla="*/ 1128668 h 1421209"/>
                  <a:gd name="connsiteX288" fmla="*/ 1043119 w 1620550"/>
                  <a:gd name="connsiteY288" fmla="*/ 1116966 h 1421209"/>
                  <a:gd name="connsiteX289" fmla="*/ 1061507 w 1620550"/>
                  <a:gd name="connsiteY289" fmla="*/ 1111951 h 1421209"/>
                  <a:gd name="connsiteX290" fmla="*/ 1069865 w 1620550"/>
                  <a:gd name="connsiteY290" fmla="*/ 1108608 h 1421209"/>
                  <a:gd name="connsiteX291" fmla="*/ 1089925 w 1620550"/>
                  <a:gd name="connsiteY291" fmla="*/ 1105264 h 1421209"/>
                  <a:gd name="connsiteX292" fmla="*/ 1094940 w 1620550"/>
                  <a:gd name="connsiteY292" fmla="*/ 1101921 h 1421209"/>
                  <a:gd name="connsiteX293" fmla="*/ 1111657 w 1620550"/>
                  <a:gd name="connsiteY293" fmla="*/ 1098578 h 1421209"/>
                  <a:gd name="connsiteX294" fmla="*/ 1126702 w 1620550"/>
                  <a:gd name="connsiteY294" fmla="*/ 1090220 h 1421209"/>
                  <a:gd name="connsiteX295" fmla="*/ 1131717 w 1620550"/>
                  <a:gd name="connsiteY295" fmla="*/ 1086876 h 1421209"/>
                  <a:gd name="connsiteX296" fmla="*/ 1133388 w 1620550"/>
                  <a:gd name="connsiteY296" fmla="*/ 1078518 h 1421209"/>
                  <a:gd name="connsiteX297" fmla="*/ 1126702 w 1620550"/>
                  <a:gd name="connsiteY297" fmla="*/ 1070160 h 1421209"/>
                  <a:gd name="connsiteX298" fmla="*/ 1118343 w 1620550"/>
                  <a:gd name="connsiteY298" fmla="*/ 1065145 h 1421209"/>
                  <a:gd name="connsiteX299" fmla="*/ 1109985 w 1620550"/>
                  <a:gd name="connsiteY299" fmla="*/ 1056786 h 1421209"/>
                  <a:gd name="connsiteX300" fmla="*/ 1103298 w 1620550"/>
                  <a:gd name="connsiteY300" fmla="*/ 1048428 h 1421209"/>
                  <a:gd name="connsiteX301" fmla="*/ 1099955 w 1620550"/>
                  <a:gd name="connsiteY301" fmla="*/ 1043413 h 1421209"/>
                  <a:gd name="connsiteX302" fmla="*/ 1094940 w 1620550"/>
                  <a:gd name="connsiteY302" fmla="*/ 1040070 h 1421209"/>
                  <a:gd name="connsiteX303" fmla="*/ 1091597 w 1620550"/>
                  <a:gd name="connsiteY303" fmla="*/ 1033383 h 1421209"/>
                  <a:gd name="connsiteX304" fmla="*/ 1088253 w 1620550"/>
                  <a:gd name="connsiteY304" fmla="*/ 1030040 h 1421209"/>
                  <a:gd name="connsiteX305" fmla="*/ 1083238 w 1620550"/>
                  <a:gd name="connsiteY305" fmla="*/ 1018338 h 1421209"/>
                  <a:gd name="connsiteX306" fmla="*/ 1081567 w 1620550"/>
                  <a:gd name="connsiteY306" fmla="*/ 989920 h 1421209"/>
                  <a:gd name="connsiteX307" fmla="*/ 1079895 w 1620550"/>
                  <a:gd name="connsiteY307" fmla="*/ 984905 h 1421209"/>
                  <a:gd name="connsiteX308" fmla="*/ 1074880 w 1620550"/>
                  <a:gd name="connsiteY308" fmla="*/ 979890 h 1421209"/>
                  <a:gd name="connsiteX309" fmla="*/ 1069865 w 1620550"/>
                  <a:gd name="connsiteY309" fmla="*/ 964845 h 1421209"/>
                  <a:gd name="connsiteX310" fmla="*/ 1074880 w 1620550"/>
                  <a:gd name="connsiteY310" fmla="*/ 929740 h 1421209"/>
                  <a:gd name="connsiteX311" fmla="*/ 1084910 w 1620550"/>
                  <a:gd name="connsiteY311" fmla="*/ 919710 h 1421209"/>
                  <a:gd name="connsiteX312" fmla="*/ 1091597 w 1620550"/>
                  <a:gd name="connsiteY312" fmla="*/ 911352 h 1421209"/>
                  <a:gd name="connsiteX313" fmla="*/ 1098283 w 1620550"/>
                  <a:gd name="connsiteY313" fmla="*/ 906337 h 1421209"/>
                  <a:gd name="connsiteX314" fmla="*/ 1111657 w 1620550"/>
                  <a:gd name="connsiteY314" fmla="*/ 892963 h 1421209"/>
                  <a:gd name="connsiteX315" fmla="*/ 1116672 w 1620550"/>
                  <a:gd name="connsiteY315" fmla="*/ 887948 h 1421209"/>
                  <a:gd name="connsiteX316" fmla="*/ 1121687 w 1620550"/>
                  <a:gd name="connsiteY316" fmla="*/ 881262 h 1421209"/>
                  <a:gd name="connsiteX317" fmla="*/ 1125030 w 1620550"/>
                  <a:gd name="connsiteY317" fmla="*/ 877918 h 1421209"/>
                  <a:gd name="connsiteX318" fmla="*/ 1131717 w 1620550"/>
                  <a:gd name="connsiteY318" fmla="*/ 869560 h 1421209"/>
                  <a:gd name="connsiteX319" fmla="*/ 1136732 w 1620550"/>
                  <a:gd name="connsiteY319" fmla="*/ 864545 h 1421209"/>
                  <a:gd name="connsiteX320" fmla="*/ 1145090 w 1620550"/>
                  <a:gd name="connsiteY320" fmla="*/ 849500 h 1421209"/>
                  <a:gd name="connsiteX321" fmla="*/ 1150105 w 1620550"/>
                  <a:gd name="connsiteY321" fmla="*/ 841142 h 1421209"/>
                  <a:gd name="connsiteX322" fmla="*/ 1153448 w 1620550"/>
                  <a:gd name="connsiteY322" fmla="*/ 831112 h 1421209"/>
                  <a:gd name="connsiteX323" fmla="*/ 1156792 w 1620550"/>
                  <a:gd name="connsiteY323" fmla="*/ 827768 h 1421209"/>
                  <a:gd name="connsiteX324" fmla="*/ 1160135 w 1620550"/>
                  <a:gd name="connsiteY324" fmla="*/ 822753 h 1421209"/>
                  <a:gd name="connsiteX325" fmla="*/ 1173508 w 1620550"/>
                  <a:gd name="connsiteY325" fmla="*/ 814395 h 1421209"/>
                  <a:gd name="connsiteX326" fmla="*/ 1181867 w 1620550"/>
                  <a:gd name="connsiteY326" fmla="*/ 806037 h 1421209"/>
                  <a:gd name="connsiteX327" fmla="*/ 1185210 w 1620550"/>
                  <a:gd name="connsiteY327" fmla="*/ 799350 h 1421209"/>
                  <a:gd name="connsiteX328" fmla="*/ 1205270 w 1620550"/>
                  <a:gd name="connsiteY328" fmla="*/ 785977 h 1421209"/>
                  <a:gd name="connsiteX329" fmla="*/ 1213628 w 1620550"/>
                  <a:gd name="connsiteY329" fmla="*/ 779290 h 1421209"/>
                  <a:gd name="connsiteX330" fmla="*/ 1225330 w 1620550"/>
                  <a:gd name="connsiteY330" fmla="*/ 770932 h 1421209"/>
                  <a:gd name="connsiteX331" fmla="*/ 1228673 w 1620550"/>
                  <a:gd name="connsiteY331" fmla="*/ 765917 h 1421209"/>
                  <a:gd name="connsiteX332" fmla="*/ 1243718 w 1620550"/>
                  <a:gd name="connsiteY332" fmla="*/ 764245 h 1421209"/>
                  <a:gd name="connsiteX333" fmla="*/ 1250405 w 1620550"/>
                  <a:gd name="connsiteY333" fmla="*/ 762573 h 1421209"/>
                  <a:gd name="connsiteX334" fmla="*/ 1255420 w 1620550"/>
                  <a:gd name="connsiteY334" fmla="*/ 757558 h 1421209"/>
                  <a:gd name="connsiteX335" fmla="*/ 1263778 w 1620550"/>
                  <a:gd name="connsiteY335" fmla="*/ 752543 h 1421209"/>
                  <a:gd name="connsiteX336" fmla="*/ 1260435 w 1620550"/>
                  <a:gd name="connsiteY336" fmla="*/ 735827 h 1421209"/>
                  <a:gd name="connsiteX337" fmla="*/ 1257091 w 1620550"/>
                  <a:gd name="connsiteY337" fmla="*/ 732484 h 1421209"/>
                  <a:gd name="connsiteX338" fmla="*/ 1255420 w 1620550"/>
                  <a:gd name="connsiteY338" fmla="*/ 727469 h 1421209"/>
                  <a:gd name="connsiteX339" fmla="*/ 1262106 w 1620550"/>
                  <a:gd name="connsiteY339" fmla="*/ 710752 h 1421209"/>
                  <a:gd name="connsiteX340" fmla="*/ 1272136 w 1620550"/>
                  <a:gd name="connsiteY340" fmla="*/ 705737 h 1421209"/>
                  <a:gd name="connsiteX341" fmla="*/ 1280495 w 1620550"/>
                  <a:gd name="connsiteY341" fmla="*/ 700722 h 1421209"/>
                  <a:gd name="connsiteX342" fmla="*/ 1287181 w 1620550"/>
                  <a:gd name="connsiteY342" fmla="*/ 697379 h 1421209"/>
                  <a:gd name="connsiteX343" fmla="*/ 1292196 w 1620550"/>
                  <a:gd name="connsiteY343" fmla="*/ 694035 h 1421209"/>
                  <a:gd name="connsiteX344" fmla="*/ 1298883 w 1620550"/>
                  <a:gd name="connsiteY344" fmla="*/ 692364 h 1421209"/>
                  <a:gd name="connsiteX345" fmla="*/ 1308913 w 1620550"/>
                  <a:gd name="connsiteY345" fmla="*/ 687349 h 1421209"/>
                  <a:gd name="connsiteX346" fmla="*/ 1323958 w 1620550"/>
                  <a:gd name="connsiteY346" fmla="*/ 682334 h 1421209"/>
                  <a:gd name="connsiteX347" fmla="*/ 1330645 w 1620550"/>
                  <a:gd name="connsiteY347" fmla="*/ 678990 h 1421209"/>
                  <a:gd name="connsiteX348" fmla="*/ 1355720 w 1620550"/>
                  <a:gd name="connsiteY348" fmla="*/ 675647 h 1421209"/>
                  <a:gd name="connsiteX349" fmla="*/ 1359063 w 1620550"/>
                  <a:gd name="connsiteY349" fmla="*/ 670632 h 1421209"/>
                  <a:gd name="connsiteX350" fmla="*/ 1372436 w 1620550"/>
                  <a:gd name="connsiteY350" fmla="*/ 667289 h 1421209"/>
                  <a:gd name="connsiteX351" fmla="*/ 1449333 w 1620550"/>
                  <a:gd name="connsiteY351" fmla="*/ 663945 h 1421209"/>
                  <a:gd name="connsiteX352" fmla="*/ 1464378 w 1620550"/>
                  <a:gd name="connsiteY352" fmla="*/ 645557 h 1421209"/>
                  <a:gd name="connsiteX353" fmla="*/ 1474408 w 1620550"/>
                  <a:gd name="connsiteY353" fmla="*/ 635527 h 1421209"/>
                  <a:gd name="connsiteX354" fmla="*/ 1487781 w 1620550"/>
                  <a:gd name="connsiteY354" fmla="*/ 625497 h 1421209"/>
                  <a:gd name="connsiteX355" fmla="*/ 1494468 w 1620550"/>
                  <a:gd name="connsiteY355" fmla="*/ 623825 h 1421209"/>
                  <a:gd name="connsiteX356" fmla="*/ 1509513 w 1620550"/>
                  <a:gd name="connsiteY356" fmla="*/ 620482 h 1421209"/>
                  <a:gd name="connsiteX357" fmla="*/ 1517871 w 1620550"/>
                  <a:gd name="connsiteY357" fmla="*/ 617139 h 1421209"/>
                  <a:gd name="connsiteX358" fmla="*/ 1524558 w 1620550"/>
                  <a:gd name="connsiteY358" fmla="*/ 613795 h 1421209"/>
                  <a:gd name="connsiteX359" fmla="*/ 1539603 w 1620550"/>
                  <a:gd name="connsiteY359" fmla="*/ 612124 h 1421209"/>
                  <a:gd name="connsiteX360" fmla="*/ 1557991 w 1620550"/>
                  <a:gd name="connsiteY360" fmla="*/ 602094 h 1421209"/>
                  <a:gd name="connsiteX361" fmla="*/ 1573036 w 1620550"/>
                  <a:gd name="connsiteY361" fmla="*/ 597079 h 1421209"/>
                  <a:gd name="connsiteX362" fmla="*/ 1576379 w 1620550"/>
                  <a:gd name="connsiteY362" fmla="*/ 592064 h 1421209"/>
                  <a:gd name="connsiteX363" fmla="*/ 1588081 w 1620550"/>
                  <a:gd name="connsiteY363" fmla="*/ 587049 h 1421209"/>
                  <a:gd name="connsiteX364" fmla="*/ 1591424 w 1620550"/>
                  <a:gd name="connsiteY364" fmla="*/ 583705 h 1421209"/>
                  <a:gd name="connsiteX365" fmla="*/ 1598111 w 1620550"/>
                  <a:gd name="connsiteY365" fmla="*/ 580362 h 1421209"/>
                  <a:gd name="connsiteX366" fmla="*/ 1608141 w 1620550"/>
                  <a:gd name="connsiteY366" fmla="*/ 572004 h 1421209"/>
                  <a:gd name="connsiteX367" fmla="*/ 1614828 w 1620550"/>
                  <a:gd name="connsiteY367" fmla="*/ 560302 h 1421209"/>
                  <a:gd name="connsiteX368" fmla="*/ 1608141 w 1620550"/>
                  <a:gd name="connsiteY368" fmla="*/ 546929 h 1421209"/>
                  <a:gd name="connsiteX369" fmla="*/ 1599783 w 1620550"/>
                  <a:gd name="connsiteY369" fmla="*/ 535227 h 1421209"/>
                  <a:gd name="connsiteX370" fmla="*/ 1598111 w 1620550"/>
                  <a:gd name="connsiteY370" fmla="*/ 530212 h 1421209"/>
                  <a:gd name="connsiteX371" fmla="*/ 1596439 w 1620550"/>
                  <a:gd name="connsiteY371" fmla="*/ 518511 h 1421209"/>
                  <a:gd name="connsiteX372" fmla="*/ 1601454 w 1620550"/>
                  <a:gd name="connsiteY372" fmla="*/ 516839 h 1421209"/>
                  <a:gd name="connsiteX373" fmla="*/ 1604798 w 1620550"/>
                  <a:gd name="connsiteY373" fmla="*/ 513496 h 1421209"/>
                  <a:gd name="connsiteX374" fmla="*/ 1616499 w 1620550"/>
                  <a:gd name="connsiteY374" fmla="*/ 510152 h 1421209"/>
                  <a:gd name="connsiteX375" fmla="*/ 1618171 w 1620550"/>
                  <a:gd name="connsiteY375" fmla="*/ 495107 h 1421209"/>
                  <a:gd name="connsiteX376" fmla="*/ 1613156 w 1620550"/>
                  <a:gd name="connsiteY376" fmla="*/ 491764 h 1421209"/>
                  <a:gd name="connsiteX377" fmla="*/ 1611484 w 1620550"/>
                  <a:gd name="connsiteY377" fmla="*/ 486749 h 1421209"/>
                  <a:gd name="connsiteX378" fmla="*/ 1608141 w 1620550"/>
                  <a:gd name="connsiteY378" fmla="*/ 481734 h 1421209"/>
                  <a:gd name="connsiteX379" fmla="*/ 1606469 w 1620550"/>
                  <a:gd name="connsiteY379" fmla="*/ 473376 h 1421209"/>
                  <a:gd name="connsiteX380" fmla="*/ 1604798 w 1620550"/>
                  <a:gd name="connsiteY380" fmla="*/ 468361 h 1421209"/>
                  <a:gd name="connsiteX381" fmla="*/ 1599783 w 1620550"/>
                  <a:gd name="connsiteY381" fmla="*/ 466689 h 1421209"/>
                  <a:gd name="connsiteX382" fmla="*/ 1586409 w 1620550"/>
                  <a:gd name="connsiteY382" fmla="*/ 461674 h 1421209"/>
                  <a:gd name="connsiteX383" fmla="*/ 1561334 w 1620550"/>
                  <a:gd name="connsiteY383" fmla="*/ 463346 h 1421209"/>
                  <a:gd name="connsiteX384" fmla="*/ 1547961 w 1620550"/>
                  <a:gd name="connsiteY384" fmla="*/ 465017 h 1421209"/>
                  <a:gd name="connsiteX385" fmla="*/ 1539603 w 1620550"/>
                  <a:gd name="connsiteY385" fmla="*/ 470032 h 1421209"/>
                  <a:gd name="connsiteX386" fmla="*/ 1529573 w 1620550"/>
                  <a:gd name="connsiteY386" fmla="*/ 485077 h 1421209"/>
                  <a:gd name="connsiteX387" fmla="*/ 1524558 w 1620550"/>
                  <a:gd name="connsiteY387" fmla="*/ 486749 h 1421209"/>
                  <a:gd name="connsiteX388" fmla="*/ 1504498 w 1620550"/>
                  <a:gd name="connsiteY388" fmla="*/ 480062 h 1421209"/>
                  <a:gd name="connsiteX389" fmla="*/ 1489453 w 1620550"/>
                  <a:gd name="connsiteY389" fmla="*/ 468361 h 1421209"/>
                  <a:gd name="connsiteX390" fmla="*/ 1474408 w 1620550"/>
                  <a:gd name="connsiteY390" fmla="*/ 466689 h 1421209"/>
                  <a:gd name="connsiteX391" fmla="*/ 1462706 w 1620550"/>
                  <a:gd name="connsiteY391" fmla="*/ 468361 h 1421209"/>
                  <a:gd name="connsiteX392" fmla="*/ 1452676 w 1620550"/>
                  <a:gd name="connsiteY392" fmla="*/ 471704 h 1421209"/>
                  <a:gd name="connsiteX393" fmla="*/ 1442646 w 1620550"/>
                  <a:gd name="connsiteY393" fmla="*/ 470032 h 1421209"/>
                  <a:gd name="connsiteX394" fmla="*/ 1435959 w 1620550"/>
                  <a:gd name="connsiteY394" fmla="*/ 463346 h 1421209"/>
                  <a:gd name="connsiteX395" fmla="*/ 1432616 w 1620550"/>
                  <a:gd name="connsiteY395" fmla="*/ 458331 h 1421209"/>
                  <a:gd name="connsiteX396" fmla="*/ 1427601 w 1620550"/>
                  <a:gd name="connsiteY396" fmla="*/ 454987 h 1421209"/>
                  <a:gd name="connsiteX397" fmla="*/ 1422586 w 1620550"/>
                  <a:gd name="connsiteY397" fmla="*/ 448301 h 1421209"/>
                  <a:gd name="connsiteX398" fmla="*/ 1412556 w 1620550"/>
                  <a:gd name="connsiteY398" fmla="*/ 439942 h 1421209"/>
                  <a:gd name="connsiteX399" fmla="*/ 1404198 w 1620550"/>
                  <a:gd name="connsiteY399" fmla="*/ 446629 h 1421209"/>
                  <a:gd name="connsiteX400" fmla="*/ 1390825 w 1620550"/>
                  <a:gd name="connsiteY400" fmla="*/ 453316 h 1421209"/>
                  <a:gd name="connsiteX401" fmla="*/ 1387481 w 1620550"/>
                  <a:gd name="connsiteY401" fmla="*/ 438271 h 1421209"/>
                  <a:gd name="connsiteX402" fmla="*/ 1385810 w 1620550"/>
                  <a:gd name="connsiteY402" fmla="*/ 433256 h 1421209"/>
                  <a:gd name="connsiteX403" fmla="*/ 1384138 w 1620550"/>
                  <a:gd name="connsiteY403" fmla="*/ 411524 h 1421209"/>
                  <a:gd name="connsiteX404" fmla="*/ 1379123 w 1620550"/>
                  <a:gd name="connsiteY404" fmla="*/ 408181 h 1421209"/>
                  <a:gd name="connsiteX405" fmla="*/ 1370765 w 1620550"/>
                  <a:gd name="connsiteY405" fmla="*/ 406509 h 1421209"/>
                  <a:gd name="connsiteX406" fmla="*/ 1364078 w 1620550"/>
                  <a:gd name="connsiteY406" fmla="*/ 404837 h 1421209"/>
                  <a:gd name="connsiteX407" fmla="*/ 1340675 w 1620550"/>
                  <a:gd name="connsiteY407" fmla="*/ 394807 h 1421209"/>
                  <a:gd name="connsiteX408" fmla="*/ 1327301 w 1620550"/>
                  <a:gd name="connsiteY408" fmla="*/ 384777 h 1421209"/>
                  <a:gd name="connsiteX409" fmla="*/ 1320615 w 1620550"/>
                  <a:gd name="connsiteY409" fmla="*/ 379762 h 1421209"/>
                  <a:gd name="connsiteX410" fmla="*/ 1310585 w 1620550"/>
                  <a:gd name="connsiteY410" fmla="*/ 373076 h 1421209"/>
                  <a:gd name="connsiteX411" fmla="*/ 1305570 w 1620550"/>
                  <a:gd name="connsiteY411" fmla="*/ 369732 h 1421209"/>
                  <a:gd name="connsiteX412" fmla="*/ 1297211 w 1620550"/>
                  <a:gd name="connsiteY412" fmla="*/ 368061 h 1421209"/>
                  <a:gd name="connsiteX413" fmla="*/ 1290525 w 1620550"/>
                  <a:gd name="connsiteY413" fmla="*/ 369732 h 1421209"/>
                  <a:gd name="connsiteX414" fmla="*/ 1282166 w 1620550"/>
                  <a:gd name="connsiteY414" fmla="*/ 398151 h 1421209"/>
                  <a:gd name="connsiteX415" fmla="*/ 1272136 w 1620550"/>
                  <a:gd name="connsiteY415" fmla="*/ 394807 h 1421209"/>
                  <a:gd name="connsiteX416" fmla="*/ 1267121 w 1620550"/>
                  <a:gd name="connsiteY416" fmla="*/ 391464 h 1421209"/>
                  <a:gd name="connsiteX417" fmla="*/ 1255420 w 1620550"/>
                  <a:gd name="connsiteY417" fmla="*/ 388121 h 1421209"/>
                  <a:gd name="connsiteX418" fmla="*/ 1220315 w 1620550"/>
                  <a:gd name="connsiteY418" fmla="*/ 386449 h 1421209"/>
                  <a:gd name="connsiteX419" fmla="*/ 1218643 w 1620550"/>
                  <a:gd name="connsiteY419" fmla="*/ 381434 h 1421209"/>
                  <a:gd name="connsiteX420" fmla="*/ 1211957 w 1620550"/>
                  <a:gd name="connsiteY420" fmla="*/ 379762 h 1421209"/>
                  <a:gd name="connsiteX421" fmla="*/ 1175180 w 1620550"/>
                  <a:gd name="connsiteY421" fmla="*/ 378091 h 1421209"/>
                  <a:gd name="connsiteX422" fmla="*/ 1173508 w 1620550"/>
                  <a:gd name="connsiteY422" fmla="*/ 373076 h 1421209"/>
                  <a:gd name="connsiteX423" fmla="*/ 1171837 w 1620550"/>
                  <a:gd name="connsiteY423" fmla="*/ 366389 h 1421209"/>
                  <a:gd name="connsiteX424" fmla="*/ 1163478 w 1620550"/>
                  <a:gd name="connsiteY424" fmla="*/ 361374 h 1421209"/>
                  <a:gd name="connsiteX425" fmla="*/ 1128373 w 1620550"/>
                  <a:gd name="connsiteY425" fmla="*/ 359703 h 1421209"/>
                  <a:gd name="connsiteX426" fmla="*/ 1120015 w 1620550"/>
                  <a:gd name="connsiteY426" fmla="*/ 356359 h 1421209"/>
                  <a:gd name="connsiteX427" fmla="*/ 1113328 w 1620550"/>
                  <a:gd name="connsiteY427" fmla="*/ 346329 h 1421209"/>
                  <a:gd name="connsiteX428" fmla="*/ 1108313 w 1620550"/>
                  <a:gd name="connsiteY428" fmla="*/ 339643 h 1421209"/>
                  <a:gd name="connsiteX429" fmla="*/ 1104970 w 1620550"/>
                  <a:gd name="connsiteY429" fmla="*/ 334628 h 1421209"/>
                  <a:gd name="connsiteX430" fmla="*/ 1098283 w 1620550"/>
                  <a:gd name="connsiteY430" fmla="*/ 327941 h 1421209"/>
                  <a:gd name="connsiteX431" fmla="*/ 1096612 w 1620550"/>
                  <a:gd name="connsiteY431" fmla="*/ 322926 h 1421209"/>
                  <a:gd name="connsiteX432" fmla="*/ 1091597 w 1620550"/>
                  <a:gd name="connsiteY432" fmla="*/ 321254 h 1421209"/>
                  <a:gd name="connsiteX433" fmla="*/ 1084910 w 1620550"/>
                  <a:gd name="connsiteY433" fmla="*/ 317911 h 1421209"/>
                  <a:gd name="connsiteX434" fmla="*/ 1064850 w 1620550"/>
                  <a:gd name="connsiteY434" fmla="*/ 314568 h 1421209"/>
                  <a:gd name="connsiteX435" fmla="*/ 1058164 w 1620550"/>
                  <a:gd name="connsiteY435" fmla="*/ 311224 h 1421209"/>
                  <a:gd name="connsiteX436" fmla="*/ 1054820 w 1620550"/>
                  <a:gd name="connsiteY436" fmla="*/ 307881 h 1421209"/>
                  <a:gd name="connsiteX437" fmla="*/ 1049805 w 1620550"/>
                  <a:gd name="connsiteY437" fmla="*/ 304538 h 1421209"/>
                  <a:gd name="connsiteX438" fmla="*/ 1046462 w 1620550"/>
                  <a:gd name="connsiteY438" fmla="*/ 301194 h 1421209"/>
                  <a:gd name="connsiteX439" fmla="*/ 1039775 w 1620550"/>
                  <a:gd name="connsiteY439" fmla="*/ 299523 h 1421209"/>
                  <a:gd name="connsiteX440" fmla="*/ 1029745 w 1620550"/>
                  <a:gd name="connsiteY440" fmla="*/ 296179 h 1421209"/>
                  <a:gd name="connsiteX441" fmla="*/ 1016372 w 1620550"/>
                  <a:gd name="connsiteY441" fmla="*/ 287821 h 1421209"/>
                  <a:gd name="connsiteX442" fmla="*/ 1013029 w 1620550"/>
                  <a:gd name="connsiteY442" fmla="*/ 282806 h 1421209"/>
                  <a:gd name="connsiteX443" fmla="*/ 1014700 w 1620550"/>
                  <a:gd name="connsiteY443" fmla="*/ 276119 h 1421209"/>
                  <a:gd name="connsiteX444" fmla="*/ 1016372 w 1620550"/>
                  <a:gd name="connsiteY444" fmla="*/ 271104 h 1421209"/>
                  <a:gd name="connsiteX445" fmla="*/ 1029745 w 1620550"/>
                  <a:gd name="connsiteY445" fmla="*/ 264418 h 1421209"/>
                  <a:gd name="connsiteX446" fmla="*/ 1031417 w 1620550"/>
                  <a:gd name="connsiteY446" fmla="*/ 257731 h 1421209"/>
                  <a:gd name="connsiteX447" fmla="*/ 1024730 w 1620550"/>
                  <a:gd name="connsiteY447" fmla="*/ 256059 h 1421209"/>
                  <a:gd name="connsiteX448" fmla="*/ 1016372 w 1620550"/>
                  <a:gd name="connsiteY448" fmla="*/ 251044 h 1421209"/>
                  <a:gd name="connsiteX449" fmla="*/ 1008014 w 1620550"/>
                  <a:gd name="connsiteY449" fmla="*/ 247701 h 1421209"/>
                  <a:gd name="connsiteX450" fmla="*/ 1002999 w 1620550"/>
                  <a:gd name="connsiteY450" fmla="*/ 244358 h 1421209"/>
                  <a:gd name="connsiteX451" fmla="*/ 997984 w 1620550"/>
                  <a:gd name="connsiteY451" fmla="*/ 242686 h 1421209"/>
                  <a:gd name="connsiteX452" fmla="*/ 989625 w 1620550"/>
                  <a:gd name="connsiteY452" fmla="*/ 235999 h 1421209"/>
                  <a:gd name="connsiteX453" fmla="*/ 984610 w 1620550"/>
                  <a:gd name="connsiteY453" fmla="*/ 234328 h 1421209"/>
                  <a:gd name="connsiteX454" fmla="*/ 966222 w 1620550"/>
                  <a:gd name="connsiteY454" fmla="*/ 227641 h 1421209"/>
                  <a:gd name="connsiteX455" fmla="*/ 944490 w 1620550"/>
                  <a:gd name="connsiteY455" fmla="*/ 229313 h 1421209"/>
                  <a:gd name="connsiteX456" fmla="*/ 902699 w 1620550"/>
                  <a:gd name="connsiteY456" fmla="*/ 227641 h 1421209"/>
                  <a:gd name="connsiteX457" fmla="*/ 897684 w 1620550"/>
                  <a:gd name="connsiteY457" fmla="*/ 225969 h 1421209"/>
                  <a:gd name="connsiteX458" fmla="*/ 885982 w 1620550"/>
                  <a:gd name="connsiteY458" fmla="*/ 215939 h 1421209"/>
                  <a:gd name="connsiteX459" fmla="*/ 874281 w 1620550"/>
                  <a:gd name="connsiteY459" fmla="*/ 207581 h 1421209"/>
                  <a:gd name="connsiteX460" fmla="*/ 869266 w 1620550"/>
                  <a:gd name="connsiteY460" fmla="*/ 204238 h 1421209"/>
                  <a:gd name="connsiteX461" fmla="*/ 860907 w 1620550"/>
                  <a:gd name="connsiteY461" fmla="*/ 197551 h 1421209"/>
                  <a:gd name="connsiteX462" fmla="*/ 854221 w 1620550"/>
                  <a:gd name="connsiteY462" fmla="*/ 195879 h 1421209"/>
                  <a:gd name="connsiteX463" fmla="*/ 842519 w 1620550"/>
                  <a:gd name="connsiteY463" fmla="*/ 192536 h 1421209"/>
                  <a:gd name="connsiteX464" fmla="*/ 815772 w 1620550"/>
                  <a:gd name="connsiteY464" fmla="*/ 194208 h 1421209"/>
                  <a:gd name="connsiteX465" fmla="*/ 805742 w 1620550"/>
                  <a:gd name="connsiteY465" fmla="*/ 195879 h 1421209"/>
                  <a:gd name="connsiteX466" fmla="*/ 789026 w 1620550"/>
                  <a:gd name="connsiteY466" fmla="*/ 197551 h 1421209"/>
                  <a:gd name="connsiteX467" fmla="*/ 782339 w 1620550"/>
                  <a:gd name="connsiteY467" fmla="*/ 194208 h 1421209"/>
                  <a:gd name="connsiteX468" fmla="*/ 780667 w 1620550"/>
                  <a:gd name="connsiteY468" fmla="*/ 189193 h 1421209"/>
                  <a:gd name="connsiteX469" fmla="*/ 775652 w 1620550"/>
                  <a:gd name="connsiteY469" fmla="*/ 175820 h 1421209"/>
                  <a:gd name="connsiteX470" fmla="*/ 768966 w 1620550"/>
                  <a:gd name="connsiteY470" fmla="*/ 170805 h 1421209"/>
                  <a:gd name="connsiteX471" fmla="*/ 765622 w 1620550"/>
                  <a:gd name="connsiteY471" fmla="*/ 167461 h 1421209"/>
                  <a:gd name="connsiteX472" fmla="*/ 753921 w 1620550"/>
                  <a:gd name="connsiteY472" fmla="*/ 162446 h 1421209"/>
                  <a:gd name="connsiteX473" fmla="*/ 735532 w 1620550"/>
                  <a:gd name="connsiteY473" fmla="*/ 164118 h 1421209"/>
                  <a:gd name="connsiteX474" fmla="*/ 722159 w 1620550"/>
                  <a:gd name="connsiteY474" fmla="*/ 170805 h 1421209"/>
                  <a:gd name="connsiteX475" fmla="*/ 720487 w 1620550"/>
                  <a:gd name="connsiteY475" fmla="*/ 165790 h 1421209"/>
                  <a:gd name="connsiteX476" fmla="*/ 715472 w 1620550"/>
                  <a:gd name="connsiteY476" fmla="*/ 164118 h 1421209"/>
                  <a:gd name="connsiteX477" fmla="*/ 693741 w 1620550"/>
                  <a:gd name="connsiteY477" fmla="*/ 165790 h 1421209"/>
                  <a:gd name="connsiteX478" fmla="*/ 683711 w 1620550"/>
                  <a:gd name="connsiteY478" fmla="*/ 169133 h 1421209"/>
                  <a:gd name="connsiteX479" fmla="*/ 678696 w 1620550"/>
                  <a:gd name="connsiteY479" fmla="*/ 170805 h 1421209"/>
                  <a:gd name="connsiteX480" fmla="*/ 631889 w 1620550"/>
                  <a:gd name="connsiteY480" fmla="*/ 167461 h 1421209"/>
                  <a:gd name="connsiteX481" fmla="*/ 620188 w 1620550"/>
                  <a:gd name="connsiteY481" fmla="*/ 164118 h 1421209"/>
                  <a:gd name="connsiteX482" fmla="*/ 610158 w 1620550"/>
                  <a:gd name="connsiteY482" fmla="*/ 159103 h 1421209"/>
                  <a:gd name="connsiteX483" fmla="*/ 603471 w 1620550"/>
                  <a:gd name="connsiteY483" fmla="*/ 157431 h 1421209"/>
                  <a:gd name="connsiteX484" fmla="*/ 598456 w 1620550"/>
                  <a:gd name="connsiteY484" fmla="*/ 155760 h 1421209"/>
                  <a:gd name="connsiteX485" fmla="*/ 593441 w 1620550"/>
                  <a:gd name="connsiteY485" fmla="*/ 152416 h 1421209"/>
                  <a:gd name="connsiteX486" fmla="*/ 570038 w 1620550"/>
                  <a:gd name="connsiteY486" fmla="*/ 147401 h 1421209"/>
                  <a:gd name="connsiteX487" fmla="*/ 561679 w 1620550"/>
                  <a:gd name="connsiteY487" fmla="*/ 140715 h 1421209"/>
                  <a:gd name="connsiteX488" fmla="*/ 556664 w 1620550"/>
                  <a:gd name="connsiteY488" fmla="*/ 137371 h 1421209"/>
                  <a:gd name="connsiteX489" fmla="*/ 541619 w 1620550"/>
                  <a:gd name="connsiteY489" fmla="*/ 127341 h 1421209"/>
                  <a:gd name="connsiteX490" fmla="*/ 529918 w 1620550"/>
                  <a:gd name="connsiteY490" fmla="*/ 120655 h 1421209"/>
                  <a:gd name="connsiteX491" fmla="*/ 518216 w 1620550"/>
                  <a:gd name="connsiteY491" fmla="*/ 113968 h 1421209"/>
                  <a:gd name="connsiteX492" fmla="*/ 511530 w 1620550"/>
                  <a:gd name="connsiteY492" fmla="*/ 110625 h 1421209"/>
                  <a:gd name="connsiteX493" fmla="*/ 493141 w 1620550"/>
                  <a:gd name="connsiteY493" fmla="*/ 107281 h 1421209"/>
                  <a:gd name="connsiteX494" fmla="*/ 484783 w 1620550"/>
                  <a:gd name="connsiteY494" fmla="*/ 105610 h 1421209"/>
                  <a:gd name="connsiteX495" fmla="*/ 478096 w 1620550"/>
                  <a:gd name="connsiteY495" fmla="*/ 100595 h 1421209"/>
                  <a:gd name="connsiteX496" fmla="*/ 474753 w 1620550"/>
                  <a:gd name="connsiteY496" fmla="*/ 90565 h 1421209"/>
                  <a:gd name="connsiteX497" fmla="*/ 471410 w 1620550"/>
                  <a:gd name="connsiteY497" fmla="*/ 87221 h 1421209"/>
                  <a:gd name="connsiteX498" fmla="*/ 397856 w 1620550"/>
                  <a:gd name="connsiteY498" fmla="*/ 85550 h 1421209"/>
                  <a:gd name="connsiteX499" fmla="*/ 386155 w 1620550"/>
                  <a:gd name="connsiteY499" fmla="*/ 78863 h 1421209"/>
                  <a:gd name="connsiteX500" fmla="*/ 374453 w 1620550"/>
                  <a:gd name="connsiteY500" fmla="*/ 77191 h 1421209"/>
                  <a:gd name="connsiteX501" fmla="*/ 356065 w 1620550"/>
                  <a:gd name="connsiteY501" fmla="*/ 72176 h 1421209"/>
                  <a:gd name="connsiteX502" fmla="*/ 349378 w 1620550"/>
                  <a:gd name="connsiteY502" fmla="*/ 70505 h 1421209"/>
                  <a:gd name="connsiteX503" fmla="*/ 339348 w 1620550"/>
                  <a:gd name="connsiteY503" fmla="*/ 65490 h 1421209"/>
                  <a:gd name="connsiteX504" fmla="*/ 322632 w 1620550"/>
                  <a:gd name="connsiteY504" fmla="*/ 60475 h 1421209"/>
                  <a:gd name="connsiteX505" fmla="*/ 312602 w 1620550"/>
                  <a:gd name="connsiteY505" fmla="*/ 65490 h 1421209"/>
                  <a:gd name="connsiteX506" fmla="*/ 307587 w 1620550"/>
                  <a:gd name="connsiteY506" fmla="*/ 67161 h 1421209"/>
                  <a:gd name="connsiteX507" fmla="*/ 299228 w 1620550"/>
                  <a:gd name="connsiteY507" fmla="*/ 70505 h 1421209"/>
                  <a:gd name="connsiteX508" fmla="*/ 295885 w 1620550"/>
                  <a:gd name="connsiteY508" fmla="*/ 65490 h 1421209"/>
                  <a:gd name="connsiteX509" fmla="*/ 282512 w 1620550"/>
                  <a:gd name="connsiteY509" fmla="*/ 55460 h 1421209"/>
                  <a:gd name="connsiteX510" fmla="*/ 277497 w 1620550"/>
                  <a:gd name="connsiteY510" fmla="*/ 53788 h 1421209"/>
                  <a:gd name="connsiteX511" fmla="*/ 269138 w 1620550"/>
                  <a:gd name="connsiteY511" fmla="*/ 42086 h 1421209"/>
                  <a:gd name="connsiteX512" fmla="*/ 267467 w 1620550"/>
                  <a:gd name="connsiteY512" fmla="*/ 33728 h 1421209"/>
                  <a:gd name="connsiteX513" fmla="*/ 262452 w 1620550"/>
                  <a:gd name="connsiteY513" fmla="*/ 28713 h 1421209"/>
                  <a:gd name="connsiteX514" fmla="*/ 252422 w 1620550"/>
                  <a:gd name="connsiteY514" fmla="*/ 25370 h 1421209"/>
                  <a:gd name="connsiteX515" fmla="*/ 239048 w 1620550"/>
                  <a:gd name="connsiteY515" fmla="*/ 15340 h 1421209"/>
                  <a:gd name="connsiteX516" fmla="*/ 234033 w 1620550"/>
                  <a:gd name="connsiteY516" fmla="*/ 10325 h 1421209"/>
                  <a:gd name="connsiteX517" fmla="*/ 220660 w 1620550"/>
                  <a:gd name="connsiteY517" fmla="*/ 5310 h 1421209"/>
                  <a:gd name="connsiteX518" fmla="*/ 215645 w 1620550"/>
                  <a:gd name="connsiteY518" fmla="*/ 1967 h 1421209"/>
                  <a:gd name="connsiteX519" fmla="*/ 192242 w 1620550"/>
                  <a:gd name="connsiteY519" fmla="*/ 1967 h 1421209"/>
                  <a:gd name="connsiteX520" fmla="*/ 198928 w 1620550"/>
                  <a:gd name="connsiteY520" fmla="*/ 5310 h 1421209"/>
                  <a:gd name="connsiteX0" fmla="*/ 198928 w 1620550"/>
                  <a:gd name="connsiteY0" fmla="*/ 5310 h 1421209"/>
                  <a:gd name="connsiteX1" fmla="*/ 177197 w 1620550"/>
                  <a:gd name="connsiteY1" fmla="*/ 10325 h 1421209"/>
                  <a:gd name="connsiteX2" fmla="*/ 175525 w 1620550"/>
                  <a:gd name="connsiteY2" fmla="*/ 15340 h 1421209"/>
                  <a:gd name="connsiteX3" fmla="*/ 177197 w 1620550"/>
                  <a:gd name="connsiteY3" fmla="*/ 20355 h 1421209"/>
                  <a:gd name="connsiteX4" fmla="*/ 172182 w 1620550"/>
                  <a:gd name="connsiteY4" fmla="*/ 23698 h 1421209"/>
                  <a:gd name="connsiteX5" fmla="*/ 152122 w 1620550"/>
                  <a:gd name="connsiteY5" fmla="*/ 25370 h 1421209"/>
                  <a:gd name="connsiteX6" fmla="*/ 155465 w 1620550"/>
                  <a:gd name="connsiteY6" fmla="*/ 35400 h 1421209"/>
                  <a:gd name="connsiteX7" fmla="*/ 157137 w 1620550"/>
                  <a:gd name="connsiteY7" fmla="*/ 42086 h 1421209"/>
                  <a:gd name="connsiteX8" fmla="*/ 148779 w 1620550"/>
                  <a:gd name="connsiteY8" fmla="*/ 47101 h 1421209"/>
                  <a:gd name="connsiteX9" fmla="*/ 145435 w 1620550"/>
                  <a:gd name="connsiteY9" fmla="*/ 50445 h 1421209"/>
                  <a:gd name="connsiteX10" fmla="*/ 135405 w 1620550"/>
                  <a:gd name="connsiteY10" fmla="*/ 53788 h 1421209"/>
                  <a:gd name="connsiteX11" fmla="*/ 133734 w 1620550"/>
                  <a:gd name="connsiteY11" fmla="*/ 58803 h 1421209"/>
                  <a:gd name="connsiteX12" fmla="*/ 115345 w 1620550"/>
                  <a:gd name="connsiteY12" fmla="*/ 63818 h 1421209"/>
                  <a:gd name="connsiteX13" fmla="*/ 81912 w 1620550"/>
                  <a:gd name="connsiteY13" fmla="*/ 62146 h 1421209"/>
                  <a:gd name="connsiteX14" fmla="*/ 73554 w 1620550"/>
                  <a:gd name="connsiteY14" fmla="*/ 53788 h 1421209"/>
                  <a:gd name="connsiteX15" fmla="*/ 66867 w 1620550"/>
                  <a:gd name="connsiteY15" fmla="*/ 50445 h 1421209"/>
                  <a:gd name="connsiteX16" fmla="*/ 55165 w 1620550"/>
                  <a:gd name="connsiteY16" fmla="*/ 52116 h 1421209"/>
                  <a:gd name="connsiteX17" fmla="*/ 55165 w 1620550"/>
                  <a:gd name="connsiteY17" fmla="*/ 62146 h 1421209"/>
                  <a:gd name="connsiteX18" fmla="*/ 30090 w 1620550"/>
                  <a:gd name="connsiteY18" fmla="*/ 65490 h 1421209"/>
                  <a:gd name="connsiteX19" fmla="*/ 16717 w 1620550"/>
                  <a:gd name="connsiteY19" fmla="*/ 75520 h 1421209"/>
                  <a:gd name="connsiteX20" fmla="*/ 11702 w 1620550"/>
                  <a:gd name="connsiteY20" fmla="*/ 80535 h 1421209"/>
                  <a:gd name="connsiteX21" fmla="*/ 8359 w 1620550"/>
                  <a:gd name="connsiteY21" fmla="*/ 88893 h 1421209"/>
                  <a:gd name="connsiteX22" fmla="*/ 6687 w 1620550"/>
                  <a:gd name="connsiteY22" fmla="*/ 98923 h 1421209"/>
                  <a:gd name="connsiteX23" fmla="*/ 0 w 1620550"/>
                  <a:gd name="connsiteY23" fmla="*/ 107281 h 1421209"/>
                  <a:gd name="connsiteX24" fmla="*/ 15045 w 1620550"/>
                  <a:gd name="connsiteY24" fmla="*/ 115640 h 1421209"/>
                  <a:gd name="connsiteX25" fmla="*/ 13374 w 1620550"/>
                  <a:gd name="connsiteY25" fmla="*/ 123998 h 1421209"/>
                  <a:gd name="connsiteX26" fmla="*/ 16717 w 1620550"/>
                  <a:gd name="connsiteY26" fmla="*/ 130685 h 1421209"/>
                  <a:gd name="connsiteX27" fmla="*/ 11702 w 1620550"/>
                  <a:gd name="connsiteY27" fmla="*/ 135700 h 1421209"/>
                  <a:gd name="connsiteX28" fmla="*/ 8359 w 1620550"/>
                  <a:gd name="connsiteY28" fmla="*/ 140715 h 1421209"/>
                  <a:gd name="connsiteX29" fmla="*/ 33434 w 1620550"/>
                  <a:gd name="connsiteY29" fmla="*/ 142386 h 1421209"/>
                  <a:gd name="connsiteX30" fmla="*/ 36777 w 1620550"/>
                  <a:gd name="connsiteY30" fmla="*/ 147401 h 1421209"/>
                  <a:gd name="connsiteX31" fmla="*/ 20060 w 1620550"/>
                  <a:gd name="connsiteY31" fmla="*/ 150745 h 1421209"/>
                  <a:gd name="connsiteX32" fmla="*/ 18389 w 1620550"/>
                  <a:gd name="connsiteY32" fmla="*/ 174148 h 1421209"/>
                  <a:gd name="connsiteX33" fmla="*/ 23404 w 1620550"/>
                  <a:gd name="connsiteY33" fmla="*/ 175820 h 1421209"/>
                  <a:gd name="connsiteX34" fmla="*/ 31762 w 1620550"/>
                  <a:gd name="connsiteY34" fmla="*/ 174148 h 1421209"/>
                  <a:gd name="connsiteX35" fmla="*/ 33434 w 1620550"/>
                  <a:gd name="connsiteY35" fmla="*/ 169133 h 1421209"/>
                  <a:gd name="connsiteX36" fmla="*/ 38449 w 1620550"/>
                  <a:gd name="connsiteY36" fmla="*/ 167461 h 1421209"/>
                  <a:gd name="connsiteX37" fmla="*/ 48479 w 1620550"/>
                  <a:gd name="connsiteY37" fmla="*/ 169133 h 1421209"/>
                  <a:gd name="connsiteX38" fmla="*/ 50150 w 1620550"/>
                  <a:gd name="connsiteY38" fmla="*/ 180835 h 1421209"/>
                  <a:gd name="connsiteX39" fmla="*/ 45135 w 1620550"/>
                  <a:gd name="connsiteY39" fmla="*/ 182506 h 1421209"/>
                  <a:gd name="connsiteX40" fmla="*/ 41792 w 1620550"/>
                  <a:gd name="connsiteY40" fmla="*/ 187521 h 1421209"/>
                  <a:gd name="connsiteX41" fmla="*/ 40120 w 1620550"/>
                  <a:gd name="connsiteY41" fmla="*/ 197551 h 1421209"/>
                  <a:gd name="connsiteX42" fmla="*/ 38449 w 1620550"/>
                  <a:gd name="connsiteY42" fmla="*/ 205909 h 1421209"/>
                  <a:gd name="connsiteX43" fmla="*/ 35105 w 1620550"/>
                  <a:gd name="connsiteY43" fmla="*/ 212596 h 1421209"/>
                  <a:gd name="connsiteX44" fmla="*/ 33434 w 1620550"/>
                  <a:gd name="connsiteY44" fmla="*/ 217611 h 1421209"/>
                  <a:gd name="connsiteX45" fmla="*/ 41792 w 1620550"/>
                  <a:gd name="connsiteY45" fmla="*/ 220954 h 1421209"/>
                  <a:gd name="connsiteX46" fmla="*/ 58509 w 1620550"/>
                  <a:gd name="connsiteY46" fmla="*/ 222626 h 1421209"/>
                  <a:gd name="connsiteX47" fmla="*/ 30090 w 1620550"/>
                  <a:gd name="connsiteY47" fmla="*/ 232656 h 1421209"/>
                  <a:gd name="connsiteX48" fmla="*/ 28419 w 1620550"/>
                  <a:gd name="connsiteY48" fmla="*/ 237671 h 1421209"/>
                  <a:gd name="connsiteX49" fmla="*/ 40120 w 1620550"/>
                  <a:gd name="connsiteY49" fmla="*/ 239343 h 1421209"/>
                  <a:gd name="connsiteX50" fmla="*/ 31762 w 1620550"/>
                  <a:gd name="connsiteY50" fmla="*/ 242686 h 1421209"/>
                  <a:gd name="connsiteX51" fmla="*/ 26747 w 1620550"/>
                  <a:gd name="connsiteY51" fmla="*/ 249373 h 1421209"/>
                  <a:gd name="connsiteX52" fmla="*/ 15045 w 1620550"/>
                  <a:gd name="connsiteY52" fmla="*/ 257731 h 1421209"/>
                  <a:gd name="connsiteX53" fmla="*/ 15045 w 1620550"/>
                  <a:gd name="connsiteY53" fmla="*/ 291164 h 1421209"/>
                  <a:gd name="connsiteX54" fmla="*/ 25075 w 1620550"/>
                  <a:gd name="connsiteY54" fmla="*/ 287821 h 1421209"/>
                  <a:gd name="connsiteX55" fmla="*/ 33434 w 1620550"/>
                  <a:gd name="connsiteY55" fmla="*/ 279463 h 1421209"/>
                  <a:gd name="connsiteX56" fmla="*/ 43464 w 1620550"/>
                  <a:gd name="connsiteY56" fmla="*/ 271104 h 1421209"/>
                  <a:gd name="connsiteX57" fmla="*/ 51822 w 1620550"/>
                  <a:gd name="connsiteY57" fmla="*/ 269433 h 1421209"/>
                  <a:gd name="connsiteX58" fmla="*/ 83584 w 1620550"/>
                  <a:gd name="connsiteY58" fmla="*/ 267761 h 1421209"/>
                  <a:gd name="connsiteX59" fmla="*/ 91942 w 1620550"/>
                  <a:gd name="connsiteY59" fmla="*/ 269433 h 1421209"/>
                  <a:gd name="connsiteX60" fmla="*/ 98629 w 1620550"/>
                  <a:gd name="connsiteY60" fmla="*/ 272776 h 1421209"/>
                  <a:gd name="connsiteX61" fmla="*/ 103644 w 1620550"/>
                  <a:gd name="connsiteY61" fmla="*/ 274448 h 1421209"/>
                  <a:gd name="connsiteX62" fmla="*/ 108659 w 1620550"/>
                  <a:gd name="connsiteY62" fmla="*/ 279463 h 1421209"/>
                  <a:gd name="connsiteX63" fmla="*/ 112002 w 1620550"/>
                  <a:gd name="connsiteY63" fmla="*/ 299523 h 1421209"/>
                  <a:gd name="connsiteX64" fmla="*/ 100300 w 1620550"/>
                  <a:gd name="connsiteY64" fmla="*/ 307881 h 1421209"/>
                  <a:gd name="connsiteX65" fmla="*/ 96957 w 1620550"/>
                  <a:gd name="connsiteY65" fmla="*/ 321254 h 1421209"/>
                  <a:gd name="connsiteX66" fmla="*/ 95285 w 1620550"/>
                  <a:gd name="connsiteY66" fmla="*/ 326269 h 1421209"/>
                  <a:gd name="connsiteX67" fmla="*/ 98629 w 1620550"/>
                  <a:gd name="connsiteY67" fmla="*/ 331284 h 1421209"/>
                  <a:gd name="connsiteX68" fmla="*/ 118689 w 1620550"/>
                  <a:gd name="connsiteY68" fmla="*/ 334628 h 1421209"/>
                  <a:gd name="connsiteX69" fmla="*/ 147107 w 1620550"/>
                  <a:gd name="connsiteY69" fmla="*/ 332956 h 1421209"/>
                  <a:gd name="connsiteX70" fmla="*/ 158808 w 1620550"/>
                  <a:gd name="connsiteY70" fmla="*/ 329613 h 1421209"/>
                  <a:gd name="connsiteX71" fmla="*/ 168838 w 1620550"/>
                  <a:gd name="connsiteY71" fmla="*/ 332956 h 1421209"/>
                  <a:gd name="connsiteX72" fmla="*/ 177197 w 1620550"/>
                  <a:gd name="connsiteY72" fmla="*/ 342986 h 1421209"/>
                  <a:gd name="connsiteX73" fmla="*/ 183883 w 1620550"/>
                  <a:gd name="connsiteY73" fmla="*/ 346329 h 1421209"/>
                  <a:gd name="connsiteX74" fmla="*/ 192242 w 1620550"/>
                  <a:gd name="connsiteY74" fmla="*/ 348001 h 1421209"/>
                  <a:gd name="connsiteX75" fmla="*/ 217317 w 1620550"/>
                  <a:gd name="connsiteY75" fmla="*/ 341314 h 1421209"/>
                  <a:gd name="connsiteX76" fmla="*/ 222332 w 1620550"/>
                  <a:gd name="connsiteY76" fmla="*/ 334628 h 1421209"/>
                  <a:gd name="connsiteX77" fmla="*/ 232362 w 1620550"/>
                  <a:gd name="connsiteY77" fmla="*/ 331284 h 1421209"/>
                  <a:gd name="connsiteX78" fmla="*/ 239048 w 1620550"/>
                  <a:gd name="connsiteY78" fmla="*/ 334628 h 1421209"/>
                  <a:gd name="connsiteX79" fmla="*/ 244063 w 1620550"/>
                  <a:gd name="connsiteY79" fmla="*/ 339643 h 1421209"/>
                  <a:gd name="connsiteX80" fmla="*/ 250750 w 1620550"/>
                  <a:gd name="connsiteY80" fmla="*/ 341314 h 1421209"/>
                  <a:gd name="connsiteX81" fmla="*/ 260780 w 1620550"/>
                  <a:gd name="connsiteY81" fmla="*/ 348001 h 1421209"/>
                  <a:gd name="connsiteX82" fmla="*/ 269138 w 1620550"/>
                  <a:gd name="connsiteY82" fmla="*/ 356359 h 1421209"/>
                  <a:gd name="connsiteX83" fmla="*/ 270810 w 1620550"/>
                  <a:gd name="connsiteY83" fmla="*/ 368061 h 1421209"/>
                  <a:gd name="connsiteX84" fmla="*/ 290870 w 1620550"/>
                  <a:gd name="connsiteY84" fmla="*/ 366389 h 1421209"/>
                  <a:gd name="connsiteX85" fmla="*/ 305915 w 1620550"/>
                  <a:gd name="connsiteY85" fmla="*/ 368061 h 1421209"/>
                  <a:gd name="connsiteX86" fmla="*/ 304243 w 1620550"/>
                  <a:gd name="connsiteY86" fmla="*/ 388121 h 1421209"/>
                  <a:gd name="connsiteX87" fmla="*/ 307587 w 1620550"/>
                  <a:gd name="connsiteY87" fmla="*/ 403166 h 1421209"/>
                  <a:gd name="connsiteX88" fmla="*/ 320960 w 1620550"/>
                  <a:gd name="connsiteY88" fmla="*/ 414867 h 1421209"/>
                  <a:gd name="connsiteX89" fmla="*/ 329318 w 1620550"/>
                  <a:gd name="connsiteY89" fmla="*/ 424897 h 1421209"/>
                  <a:gd name="connsiteX90" fmla="*/ 336005 w 1620550"/>
                  <a:gd name="connsiteY90" fmla="*/ 428241 h 1421209"/>
                  <a:gd name="connsiteX91" fmla="*/ 334333 w 1620550"/>
                  <a:gd name="connsiteY91" fmla="*/ 458331 h 1421209"/>
                  <a:gd name="connsiteX92" fmla="*/ 307587 w 1620550"/>
                  <a:gd name="connsiteY92" fmla="*/ 478391 h 1421209"/>
                  <a:gd name="connsiteX93" fmla="*/ 292542 w 1620550"/>
                  <a:gd name="connsiteY93" fmla="*/ 483406 h 1421209"/>
                  <a:gd name="connsiteX94" fmla="*/ 287527 w 1620550"/>
                  <a:gd name="connsiteY94" fmla="*/ 486749 h 1421209"/>
                  <a:gd name="connsiteX95" fmla="*/ 265795 w 1620550"/>
                  <a:gd name="connsiteY95" fmla="*/ 488421 h 1421209"/>
                  <a:gd name="connsiteX96" fmla="*/ 257437 w 1620550"/>
                  <a:gd name="connsiteY96" fmla="*/ 495107 h 1421209"/>
                  <a:gd name="connsiteX97" fmla="*/ 249078 w 1620550"/>
                  <a:gd name="connsiteY97" fmla="*/ 503466 h 1421209"/>
                  <a:gd name="connsiteX98" fmla="*/ 247407 w 1620550"/>
                  <a:gd name="connsiteY98" fmla="*/ 508481 h 1421209"/>
                  <a:gd name="connsiteX99" fmla="*/ 239048 w 1620550"/>
                  <a:gd name="connsiteY99" fmla="*/ 515167 h 1421209"/>
                  <a:gd name="connsiteX100" fmla="*/ 237377 w 1620550"/>
                  <a:gd name="connsiteY100" fmla="*/ 536899 h 1421209"/>
                  <a:gd name="connsiteX101" fmla="*/ 239048 w 1620550"/>
                  <a:gd name="connsiteY101" fmla="*/ 543586 h 1421209"/>
                  <a:gd name="connsiteX102" fmla="*/ 237377 w 1620550"/>
                  <a:gd name="connsiteY102" fmla="*/ 595407 h 1421209"/>
                  <a:gd name="connsiteX103" fmla="*/ 230690 w 1620550"/>
                  <a:gd name="connsiteY103" fmla="*/ 610452 h 1421209"/>
                  <a:gd name="connsiteX104" fmla="*/ 227347 w 1620550"/>
                  <a:gd name="connsiteY104" fmla="*/ 618810 h 1421209"/>
                  <a:gd name="connsiteX105" fmla="*/ 224003 w 1620550"/>
                  <a:gd name="connsiteY105" fmla="*/ 625497 h 1421209"/>
                  <a:gd name="connsiteX106" fmla="*/ 222332 w 1620550"/>
                  <a:gd name="connsiteY106" fmla="*/ 633855 h 1421209"/>
                  <a:gd name="connsiteX107" fmla="*/ 213973 w 1620550"/>
                  <a:gd name="connsiteY107" fmla="*/ 642214 h 1421209"/>
                  <a:gd name="connsiteX108" fmla="*/ 205615 w 1620550"/>
                  <a:gd name="connsiteY108" fmla="*/ 648900 h 1421209"/>
                  <a:gd name="connsiteX109" fmla="*/ 190570 w 1620550"/>
                  <a:gd name="connsiteY109" fmla="*/ 652244 h 1421209"/>
                  <a:gd name="connsiteX110" fmla="*/ 192242 w 1620550"/>
                  <a:gd name="connsiteY110" fmla="*/ 662274 h 1421209"/>
                  <a:gd name="connsiteX111" fmla="*/ 193913 w 1620550"/>
                  <a:gd name="connsiteY111" fmla="*/ 667289 h 1421209"/>
                  <a:gd name="connsiteX112" fmla="*/ 190570 w 1620550"/>
                  <a:gd name="connsiteY112" fmla="*/ 695707 h 1421209"/>
                  <a:gd name="connsiteX113" fmla="*/ 187227 w 1620550"/>
                  <a:gd name="connsiteY113" fmla="*/ 704065 h 1421209"/>
                  <a:gd name="connsiteX114" fmla="*/ 185555 w 1620550"/>
                  <a:gd name="connsiteY114" fmla="*/ 712424 h 1421209"/>
                  <a:gd name="connsiteX115" fmla="*/ 180540 w 1620550"/>
                  <a:gd name="connsiteY115" fmla="*/ 717439 h 1421209"/>
                  <a:gd name="connsiteX116" fmla="*/ 175525 w 1620550"/>
                  <a:gd name="connsiteY116" fmla="*/ 725797 h 1421209"/>
                  <a:gd name="connsiteX117" fmla="*/ 170510 w 1620550"/>
                  <a:gd name="connsiteY117" fmla="*/ 727469 h 1421209"/>
                  <a:gd name="connsiteX118" fmla="*/ 165495 w 1620550"/>
                  <a:gd name="connsiteY118" fmla="*/ 730812 h 1421209"/>
                  <a:gd name="connsiteX119" fmla="*/ 147107 w 1620550"/>
                  <a:gd name="connsiteY119" fmla="*/ 734155 h 1421209"/>
                  <a:gd name="connsiteX120" fmla="*/ 137077 w 1620550"/>
                  <a:gd name="connsiteY120" fmla="*/ 739170 h 1421209"/>
                  <a:gd name="connsiteX121" fmla="*/ 128719 w 1620550"/>
                  <a:gd name="connsiteY121" fmla="*/ 742513 h 1421209"/>
                  <a:gd name="connsiteX122" fmla="*/ 122032 w 1620550"/>
                  <a:gd name="connsiteY122" fmla="*/ 745857 h 1421209"/>
                  <a:gd name="connsiteX123" fmla="*/ 98628 w 1620550"/>
                  <a:gd name="connsiteY123" fmla="*/ 745856 h 1421209"/>
                  <a:gd name="connsiteX124" fmla="*/ 103644 w 1620550"/>
                  <a:gd name="connsiteY124" fmla="*/ 755887 h 1421209"/>
                  <a:gd name="connsiteX125" fmla="*/ 106987 w 1620550"/>
                  <a:gd name="connsiteY125" fmla="*/ 770932 h 1421209"/>
                  <a:gd name="connsiteX126" fmla="*/ 110330 w 1620550"/>
                  <a:gd name="connsiteY126" fmla="*/ 779290 h 1421209"/>
                  <a:gd name="connsiteX127" fmla="*/ 112002 w 1620550"/>
                  <a:gd name="connsiteY127" fmla="*/ 787648 h 1421209"/>
                  <a:gd name="connsiteX128" fmla="*/ 113674 w 1620550"/>
                  <a:gd name="connsiteY128" fmla="*/ 821082 h 1421209"/>
                  <a:gd name="connsiteX129" fmla="*/ 117017 w 1620550"/>
                  <a:gd name="connsiteY129" fmla="*/ 827768 h 1421209"/>
                  <a:gd name="connsiteX130" fmla="*/ 125375 w 1620550"/>
                  <a:gd name="connsiteY130" fmla="*/ 831112 h 1421209"/>
                  <a:gd name="connsiteX131" fmla="*/ 140420 w 1620550"/>
                  <a:gd name="connsiteY131" fmla="*/ 832783 h 1421209"/>
                  <a:gd name="connsiteX132" fmla="*/ 155465 w 1620550"/>
                  <a:gd name="connsiteY132" fmla="*/ 837798 h 1421209"/>
                  <a:gd name="connsiteX133" fmla="*/ 153793 w 1620550"/>
                  <a:gd name="connsiteY133" fmla="*/ 864545 h 1421209"/>
                  <a:gd name="connsiteX134" fmla="*/ 147107 w 1620550"/>
                  <a:gd name="connsiteY134" fmla="*/ 871232 h 1421209"/>
                  <a:gd name="connsiteX135" fmla="*/ 143764 w 1620550"/>
                  <a:gd name="connsiteY135" fmla="*/ 876247 h 1421209"/>
                  <a:gd name="connsiteX136" fmla="*/ 133734 w 1620550"/>
                  <a:gd name="connsiteY136" fmla="*/ 886277 h 1421209"/>
                  <a:gd name="connsiteX137" fmla="*/ 128719 w 1620550"/>
                  <a:gd name="connsiteY137" fmla="*/ 891292 h 1421209"/>
                  <a:gd name="connsiteX138" fmla="*/ 108659 w 1620550"/>
                  <a:gd name="connsiteY138" fmla="*/ 904665 h 1421209"/>
                  <a:gd name="connsiteX139" fmla="*/ 100300 w 1620550"/>
                  <a:gd name="connsiteY139" fmla="*/ 913023 h 1421209"/>
                  <a:gd name="connsiteX140" fmla="*/ 86927 w 1620550"/>
                  <a:gd name="connsiteY140" fmla="*/ 928068 h 1421209"/>
                  <a:gd name="connsiteX141" fmla="*/ 86927 w 1620550"/>
                  <a:gd name="connsiteY141" fmla="*/ 981561 h 1421209"/>
                  <a:gd name="connsiteX142" fmla="*/ 96957 w 1620550"/>
                  <a:gd name="connsiteY142" fmla="*/ 991591 h 1421209"/>
                  <a:gd name="connsiteX143" fmla="*/ 108659 w 1620550"/>
                  <a:gd name="connsiteY143" fmla="*/ 993263 h 1421209"/>
                  <a:gd name="connsiteX144" fmla="*/ 115345 w 1620550"/>
                  <a:gd name="connsiteY144" fmla="*/ 1038398 h 1421209"/>
                  <a:gd name="connsiteX145" fmla="*/ 93614 w 1620550"/>
                  <a:gd name="connsiteY145" fmla="*/ 1035055 h 1421209"/>
                  <a:gd name="connsiteX146" fmla="*/ 63524 w 1620550"/>
                  <a:gd name="connsiteY146" fmla="*/ 1036726 h 1421209"/>
                  <a:gd name="connsiteX147" fmla="*/ 56837 w 1620550"/>
                  <a:gd name="connsiteY147" fmla="*/ 1045085 h 1421209"/>
                  <a:gd name="connsiteX148" fmla="*/ 48479 w 1620550"/>
                  <a:gd name="connsiteY148" fmla="*/ 1051771 h 1421209"/>
                  <a:gd name="connsiteX149" fmla="*/ 43464 w 1620550"/>
                  <a:gd name="connsiteY149" fmla="*/ 1058458 h 1421209"/>
                  <a:gd name="connsiteX150" fmla="*/ 40120 w 1620550"/>
                  <a:gd name="connsiteY150" fmla="*/ 1061801 h 1421209"/>
                  <a:gd name="connsiteX151" fmla="*/ 35105 w 1620550"/>
                  <a:gd name="connsiteY151" fmla="*/ 1070160 h 1421209"/>
                  <a:gd name="connsiteX152" fmla="*/ 33434 w 1620550"/>
                  <a:gd name="connsiteY152" fmla="*/ 1075175 h 1421209"/>
                  <a:gd name="connsiteX153" fmla="*/ 28419 w 1620550"/>
                  <a:gd name="connsiteY153" fmla="*/ 1091891 h 1421209"/>
                  <a:gd name="connsiteX154" fmla="*/ 25075 w 1620550"/>
                  <a:gd name="connsiteY154" fmla="*/ 1098578 h 1421209"/>
                  <a:gd name="connsiteX155" fmla="*/ 20060 w 1620550"/>
                  <a:gd name="connsiteY155" fmla="*/ 1111951 h 1421209"/>
                  <a:gd name="connsiteX156" fmla="*/ 21732 w 1620550"/>
                  <a:gd name="connsiteY156" fmla="*/ 1163773 h 1421209"/>
                  <a:gd name="connsiteX157" fmla="*/ 41792 w 1620550"/>
                  <a:gd name="connsiteY157" fmla="*/ 1162101 h 1421209"/>
                  <a:gd name="connsiteX158" fmla="*/ 68539 w 1620550"/>
                  <a:gd name="connsiteY158" fmla="*/ 1163773 h 1421209"/>
                  <a:gd name="connsiteX159" fmla="*/ 81912 w 1620550"/>
                  <a:gd name="connsiteY159" fmla="*/ 1173803 h 1421209"/>
                  <a:gd name="connsiteX160" fmla="*/ 86927 w 1620550"/>
                  <a:gd name="connsiteY160" fmla="*/ 1177146 h 1421209"/>
                  <a:gd name="connsiteX161" fmla="*/ 93614 w 1620550"/>
                  <a:gd name="connsiteY161" fmla="*/ 1185504 h 1421209"/>
                  <a:gd name="connsiteX162" fmla="*/ 96957 w 1620550"/>
                  <a:gd name="connsiteY162" fmla="*/ 1195534 h 1421209"/>
                  <a:gd name="connsiteX163" fmla="*/ 98629 w 1620550"/>
                  <a:gd name="connsiteY163" fmla="*/ 1200549 h 1421209"/>
                  <a:gd name="connsiteX164" fmla="*/ 108659 w 1620550"/>
                  <a:gd name="connsiteY164" fmla="*/ 1212251 h 1421209"/>
                  <a:gd name="connsiteX165" fmla="*/ 113674 w 1620550"/>
                  <a:gd name="connsiteY165" fmla="*/ 1213923 h 1421209"/>
                  <a:gd name="connsiteX166" fmla="*/ 122032 w 1620550"/>
                  <a:gd name="connsiteY166" fmla="*/ 1217266 h 1421209"/>
                  <a:gd name="connsiteX167" fmla="*/ 135405 w 1620550"/>
                  <a:gd name="connsiteY167" fmla="*/ 1227296 h 1421209"/>
                  <a:gd name="connsiteX168" fmla="*/ 140420 w 1620550"/>
                  <a:gd name="connsiteY168" fmla="*/ 1230639 h 1421209"/>
                  <a:gd name="connsiteX169" fmla="*/ 145435 w 1620550"/>
                  <a:gd name="connsiteY169" fmla="*/ 1232311 h 1421209"/>
                  <a:gd name="connsiteX170" fmla="*/ 148779 w 1620550"/>
                  <a:gd name="connsiteY170" fmla="*/ 1237326 h 1421209"/>
                  <a:gd name="connsiteX171" fmla="*/ 153793 w 1620550"/>
                  <a:gd name="connsiteY171" fmla="*/ 1244013 h 1421209"/>
                  <a:gd name="connsiteX172" fmla="*/ 158808 w 1620550"/>
                  <a:gd name="connsiteY172" fmla="*/ 1255714 h 1421209"/>
                  <a:gd name="connsiteX173" fmla="*/ 152122 w 1620550"/>
                  <a:gd name="connsiteY173" fmla="*/ 1259058 h 1421209"/>
                  <a:gd name="connsiteX174" fmla="*/ 143764 w 1620550"/>
                  <a:gd name="connsiteY174" fmla="*/ 1260729 h 1421209"/>
                  <a:gd name="connsiteX175" fmla="*/ 145435 w 1620550"/>
                  <a:gd name="connsiteY175" fmla="*/ 1274103 h 1421209"/>
                  <a:gd name="connsiteX176" fmla="*/ 152122 w 1620550"/>
                  <a:gd name="connsiteY176" fmla="*/ 1290819 h 1421209"/>
                  <a:gd name="connsiteX177" fmla="*/ 155465 w 1620550"/>
                  <a:gd name="connsiteY177" fmla="*/ 1295834 h 1421209"/>
                  <a:gd name="connsiteX178" fmla="*/ 160480 w 1620550"/>
                  <a:gd name="connsiteY178" fmla="*/ 1297506 h 1421209"/>
                  <a:gd name="connsiteX179" fmla="*/ 163823 w 1620550"/>
                  <a:gd name="connsiteY179" fmla="*/ 1302521 h 1421209"/>
                  <a:gd name="connsiteX180" fmla="*/ 168838 w 1620550"/>
                  <a:gd name="connsiteY180" fmla="*/ 1305864 h 1421209"/>
                  <a:gd name="connsiteX181" fmla="*/ 177197 w 1620550"/>
                  <a:gd name="connsiteY181" fmla="*/ 1312551 h 1421209"/>
                  <a:gd name="connsiteX182" fmla="*/ 180540 w 1620550"/>
                  <a:gd name="connsiteY182" fmla="*/ 1317566 h 1421209"/>
                  <a:gd name="connsiteX183" fmla="*/ 168838 w 1620550"/>
                  <a:gd name="connsiteY183" fmla="*/ 1329267 h 1421209"/>
                  <a:gd name="connsiteX184" fmla="*/ 170510 w 1620550"/>
                  <a:gd name="connsiteY184" fmla="*/ 1349327 h 1421209"/>
                  <a:gd name="connsiteX185" fmla="*/ 175525 w 1620550"/>
                  <a:gd name="connsiteY185" fmla="*/ 1356014 h 1421209"/>
                  <a:gd name="connsiteX186" fmla="*/ 177197 w 1620550"/>
                  <a:gd name="connsiteY186" fmla="*/ 1371059 h 1421209"/>
                  <a:gd name="connsiteX187" fmla="*/ 178868 w 1620550"/>
                  <a:gd name="connsiteY187" fmla="*/ 1381089 h 1421209"/>
                  <a:gd name="connsiteX188" fmla="*/ 182212 w 1620550"/>
                  <a:gd name="connsiteY188" fmla="*/ 1397806 h 1421209"/>
                  <a:gd name="connsiteX189" fmla="*/ 188898 w 1620550"/>
                  <a:gd name="connsiteY189" fmla="*/ 1401149 h 1421209"/>
                  <a:gd name="connsiteX190" fmla="*/ 193913 w 1620550"/>
                  <a:gd name="connsiteY190" fmla="*/ 1399477 h 1421209"/>
                  <a:gd name="connsiteX191" fmla="*/ 200600 w 1620550"/>
                  <a:gd name="connsiteY191" fmla="*/ 1389447 h 1421209"/>
                  <a:gd name="connsiteX192" fmla="*/ 208958 w 1620550"/>
                  <a:gd name="connsiteY192" fmla="*/ 1392791 h 1421209"/>
                  <a:gd name="connsiteX193" fmla="*/ 210630 w 1620550"/>
                  <a:gd name="connsiteY193" fmla="*/ 1397806 h 1421209"/>
                  <a:gd name="connsiteX194" fmla="*/ 213973 w 1620550"/>
                  <a:gd name="connsiteY194" fmla="*/ 1402821 h 1421209"/>
                  <a:gd name="connsiteX195" fmla="*/ 215645 w 1620550"/>
                  <a:gd name="connsiteY195" fmla="*/ 1412851 h 1421209"/>
                  <a:gd name="connsiteX196" fmla="*/ 222332 w 1620550"/>
                  <a:gd name="connsiteY196" fmla="*/ 1416194 h 1421209"/>
                  <a:gd name="connsiteX197" fmla="*/ 234033 w 1620550"/>
                  <a:gd name="connsiteY197" fmla="*/ 1419537 h 1421209"/>
                  <a:gd name="connsiteX198" fmla="*/ 239048 w 1620550"/>
                  <a:gd name="connsiteY198" fmla="*/ 1421209 h 1421209"/>
                  <a:gd name="connsiteX199" fmla="*/ 269138 w 1620550"/>
                  <a:gd name="connsiteY199" fmla="*/ 1419537 h 1421209"/>
                  <a:gd name="connsiteX200" fmla="*/ 270810 w 1620550"/>
                  <a:gd name="connsiteY200" fmla="*/ 1414522 h 1421209"/>
                  <a:gd name="connsiteX201" fmla="*/ 277497 w 1620550"/>
                  <a:gd name="connsiteY201" fmla="*/ 1412851 h 1421209"/>
                  <a:gd name="connsiteX202" fmla="*/ 285855 w 1620550"/>
                  <a:gd name="connsiteY202" fmla="*/ 1411179 h 1421209"/>
                  <a:gd name="connsiteX203" fmla="*/ 287527 w 1620550"/>
                  <a:gd name="connsiteY203" fmla="*/ 1406164 h 1421209"/>
                  <a:gd name="connsiteX204" fmla="*/ 289198 w 1620550"/>
                  <a:gd name="connsiteY204" fmla="*/ 1396134 h 1421209"/>
                  <a:gd name="connsiteX205" fmla="*/ 294213 w 1620550"/>
                  <a:gd name="connsiteY205" fmla="*/ 1389447 h 1421209"/>
                  <a:gd name="connsiteX206" fmla="*/ 300900 w 1620550"/>
                  <a:gd name="connsiteY206" fmla="*/ 1379417 h 1421209"/>
                  <a:gd name="connsiteX207" fmla="*/ 307587 w 1620550"/>
                  <a:gd name="connsiteY207" fmla="*/ 1366044 h 1421209"/>
                  <a:gd name="connsiteX208" fmla="*/ 314273 w 1620550"/>
                  <a:gd name="connsiteY208" fmla="*/ 1361029 h 1421209"/>
                  <a:gd name="connsiteX209" fmla="*/ 317617 w 1620550"/>
                  <a:gd name="connsiteY209" fmla="*/ 1357686 h 1421209"/>
                  <a:gd name="connsiteX210" fmla="*/ 339348 w 1620550"/>
                  <a:gd name="connsiteY210" fmla="*/ 1354342 h 1421209"/>
                  <a:gd name="connsiteX211" fmla="*/ 356065 w 1620550"/>
                  <a:gd name="connsiteY211" fmla="*/ 1357686 h 1421209"/>
                  <a:gd name="connsiteX212" fmla="*/ 361080 w 1620550"/>
                  <a:gd name="connsiteY212" fmla="*/ 1359357 h 1421209"/>
                  <a:gd name="connsiteX213" fmla="*/ 364423 w 1620550"/>
                  <a:gd name="connsiteY213" fmla="*/ 1362701 h 1421209"/>
                  <a:gd name="connsiteX214" fmla="*/ 374453 w 1620550"/>
                  <a:gd name="connsiteY214" fmla="*/ 1367716 h 1421209"/>
                  <a:gd name="connsiteX215" fmla="*/ 377796 w 1620550"/>
                  <a:gd name="connsiteY215" fmla="*/ 1374402 h 1421209"/>
                  <a:gd name="connsiteX216" fmla="*/ 381140 w 1620550"/>
                  <a:gd name="connsiteY216" fmla="*/ 1377746 h 1421209"/>
                  <a:gd name="connsiteX217" fmla="*/ 386155 w 1620550"/>
                  <a:gd name="connsiteY217" fmla="*/ 1374402 h 1421209"/>
                  <a:gd name="connsiteX218" fmla="*/ 396185 w 1620550"/>
                  <a:gd name="connsiteY218" fmla="*/ 1361029 h 1421209"/>
                  <a:gd name="connsiteX219" fmla="*/ 414573 w 1620550"/>
                  <a:gd name="connsiteY219" fmla="*/ 1356014 h 1421209"/>
                  <a:gd name="connsiteX220" fmla="*/ 416245 w 1620550"/>
                  <a:gd name="connsiteY220" fmla="*/ 1349327 h 1421209"/>
                  <a:gd name="connsiteX221" fmla="*/ 419588 w 1620550"/>
                  <a:gd name="connsiteY221" fmla="*/ 1334282 h 1421209"/>
                  <a:gd name="connsiteX222" fmla="*/ 424603 w 1620550"/>
                  <a:gd name="connsiteY222" fmla="*/ 1330939 h 1421209"/>
                  <a:gd name="connsiteX223" fmla="*/ 444663 w 1620550"/>
                  <a:gd name="connsiteY223" fmla="*/ 1332611 h 1421209"/>
                  <a:gd name="connsiteX224" fmla="*/ 466395 w 1620550"/>
                  <a:gd name="connsiteY224" fmla="*/ 1339297 h 1421209"/>
                  <a:gd name="connsiteX225" fmla="*/ 509858 w 1620550"/>
                  <a:gd name="connsiteY225" fmla="*/ 1340969 h 1421209"/>
                  <a:gd name="connsiteX226" fmla="*/ 523231 w 1620550"/>
                  <a:gd name="connsiteY226" fmla="*/ 1345984 h 1421209"/>
                  <a:gd name="connsiteX227" fmla="*/ 531589 w 1620550"/>
                  <a:gd name="connsiteY227" fmla="*/ 1357686 h 1421209"/>
                  <a:gd name="connsiteX228" fmla="*/ 534933 w 1620550"/>
                  <a:gd name="connsiteY228" fmla="*/ 1364372 h 1421209"/>
                  <a:gd name="connsiteX229" fmla="*/ 539948 w 1620550"/>
                  <a:gd name="connsiteY229" fmla="*/ 1366044 h 1421209"/>
                  <a:gd name="connsiteX230" fmla="*/ 565023 w 1620550"/>
                  <a:gd name="connsiteY230" fmla="*/ 1369387 h 1421209"/>
                  <a:gd name="connsiteX231" fmla="*/ 568366 w 1620550"/>
                  <a:gd name="connsiteY231" fmla="*/ 1372731 h 1421209"/>
                  <a:gd name="connsiteX232" fmla="*/ 571709 w 1620550"/>
                  <a:gd name="connsiteY232" fmla="*/ 1366044 h 1421209"/>
                  <a:gd name="connsiteX233" fmla="*/ 600128 w 1620550"/>
                  <a:gd name="connsiteY233" fmla="*/ 1357686 h 1421209"/>
                  <a:gd name="connsiteX234" fmla="*/ 626874 w 1620550"/>
                  <a:gd name="connsiteY234" fmla="*/ 1361029 h 1421209"/>
                  <a:gd name="connsiteX235" fmla="*/ 633561 w 1620550"/>
                  <a:gd name="connsiteY235" fmla="*/ 1364372 h 1421209"/>
                  <a:gd name="connsiteX236" fmla="*/ 638576 w 1620550"/>
                  <a:gd name="connsiteY236" fmla="*/ 1366044 h 1421209"/>
                  <a:gd name="connsiteX237" fmla="*/ 643591 w 1620550"/>
                  <a:gd name="connsiteY237" fmla="*/ 1372731 h 1421209"/>
                  <a:gd name="connsiteX238" fmla="*/ 650278 w 1620550"/>
                  <a:gd name="connsiteY238" fmla="*/ 1382761 h 1421209"/>
                  <a:gd name="connsiteX239" fmla="*/ 660308 w 1620550"/>
                  <a:gd name="connsiteY239" fmla="*/ 1386104 h 1421209"/>
                  <a:gd name="connsiteX240" fmla="*/ 672009 w 1620550"/>
                  <a:gd name="connsiteY240" fmla="*/ 1389447 h 1421209"/>
                  <a:gd name="connsiteX241" fmla="*/ 687054 w 1620550"/>
                  <a:gd name="connsiteY241" fmla="*/ 1382761 h 1421209"/>
                  <a:gd name="connsiteX242" fmla="*/ 690398 w 1620550"/>
                  <a:gd name="connsiteY242" fmla="*/ 1374402 h 1421209"/>
                  <a:gd name="connsiteX243" fmla="*/ 695413 w 1620550"/>
                  <a:gd name="connsiteY243" fmla="*/ 1371059 h 1421209"/>
                  <a:gd name="connsiteX244" fmla="*/ 707114 w 1620550"/>
                  <a:gd name="connsiteY244" fmla="*/ 1366044 h 1421209"/>
                  <a:gd name="connsiteX245" fmla="*/ 715472 w 1620550"/>
                  <a:gd name="connsiteY245" fmla="*/ 1364372 h 1421209"/>
                  <a:gd name="connsiteX246" fmla="*/ 735532 w 1620550"/>
                  <a:gd name="connsiteY246" fmla="*/ 1371059 h 1421209"/>
                  <a:gd name="connsiteX247" fmla="*/ 737204 w 1620550"/>
                  <a:gd name="connsiteY247" fmla="*/ 1376074 h 1421209"/>
                  <a:gd name="connsiteX248" fmla="*/ 742219 w 1620550"/>
                  <a:gd name="connsiteY248" fmla="*/ 1387776 h 1421209"/>
                  <a:gd name="connsiteX249" fmla="*/ 748906 w 1620550"/>
                  <a:gd name="connsiteY249" fmla="*/ 1389447 h 1421209"/>
                  <a:gd name="connsiteX250" fmla="*/ 762279 w 1620550"/>
                  <a:gd name="connsiteY250" fmla="*/ 1384432 h 1421209"/>
                  <a:gd name="connsiteX251" fmla="*/ 772309 w 1620550"/>
                  <a:gd name="connsiteY251" fmla="*/ 1381089 h 1421209"/>
                  <a:gd name="connsiteX252" fmla="*/ 784011 w 1620550"/>
                  <a:gd name="connsiteY252" fmla="*/ 1371059 h 1421209"/>
                  <a:gd name="connsiteX253" fmla="*/ 797384 w 1620550"/>
                  <a:gd name="connsiteY253" fmla="*/ 1357686 h 1421209"/>
                  <a:gd name="connsiteX254" fmla="*/ 802399 w 1620550"/>
                  <a:gd name="connsiteY254" fmla="*/ 1352671 h 1421209"/>
                  <a:gd name="connsiteX255" fmla="*/ 810757 w 1620550"/>
                  <a:gd name="connsiteY255" fmla="*/ 1350999 h 1421209"/>
                  <a:gd name="connsiteX256" fmla="*/ 812429 w 1620550"/>
                  <a:gd name="connsiteY256" fmla="*/ 1344312 h 1421209"/>
                  <a:gd name="connsiteX257" fmla="*/ 807414 w 1620550"/>
                  <a:gd name="connsiteY257" fmla="*/ 1325924 h 1421209"/>
                  <a:gd name="connsiteX258" fmla="*/ 809086 w 1620550"/>
                  <a:gd name="connsiteY258" fmla="*/ 1314222 h 1421209"/>
                  <a:gd name="connsiteX259" fmla="*/ 812429 w 1620550"/>
                  <a:gd name="connsiteY259" fmla="*/ 1309207 h 1421209"/>
                  <a:gd name="connsiteX260" fmla="*/ 820787 w 1620550"/>
                  <a:gd name="connsiteY260" fmla="*/ 1299177 h 1421209"/>
                  <a:gd name="connsiteX261" fmla="*/ 827474 w 1620550"/>
                  <a:gd name="connsiteY261" fmla="*/ 1294162 h 1421209"/>
                  <a:gd name="connsiteX262" fmla="*/ 869266 w 1620550"/>
                  <a:gd name="connsiteY262" fmla="*/ 1292491 h 1421209"/>
                  <a:gd name="connsiteX263" fmla="*/ 870937 w 1620550"/>
                  <a:gd name="connsiteY263" fmla="*/ 1277446 h 1421209"/>
                  <a:gd name="connsiteX264" fmla="*/ 880967 w 1620550"/>
                  <a:gd name="connsiteY264" fmla="*/ 1270759 h 1421209"/>
                  <a:gd name="connsiteX265" fmla="*/ 885982 w 1620550"/>
                  <a:gd name="connsiteY265" fmla="*/ 1269088 h 1421209"/>
                  <a:gd name="connsiteX266" fmla="*/ 932789 w 1620550"/>
                  <a:gd name="connsiteY266" fmla="*/ 1270759 h 1421209"/>
                  <a:gd name="connsiteX267" fmla="*/ 942819 w 1620550"/>
                  <a:gd name="connsiteY267" fmla="*/ 1272431 h 1421209"/>
                  <a:gd name="connsiteX268" fmla="*/ 949505 w 1620550"/>
                  <a:gd name="connsiteY268" fmla="*/ 1275774 h 1421209"/>
                  <a:gd name="connsiteX269" fmla="*/ 954520 w 1620550"/>
                  <a:gd name="connsiteY269" fmla="*/ 1277446 h 1421209"/>
                  <a:gd name="connsiteX270" fmla="*/ 964550 w 1620550"/>
                  <a:gd name="connsiteY270" fmla="*/ 1274103 h 1421209"/>
                  <a:gd name="connsiteX271" fmla="*/ 971237 w 1620550"/>
                  <a:gd name="connsiteY271" fmla="*/ 1264073 h 1421209"/>
                  <a:gd name="connsiteX272" fmla="*/ 964550 w 1620550"/>
                  <a:gd name="connsiteY272" fmla="*/ 1249028 h 1421209"/>
                  <a:gd name="connsiteX273" fmla="*/ 966222 w 1620550"/>
                  <a:gd name="connsiteY273" fmla="*/ 1233983 h 1421209"/>
                  <a:gd name="connsiteX274" fmla="*/ 974580 w 1620550"/>
                  <a:gd name="connsiteY274" fmla="*/ 1215594 h 1421209"/>
                  <a:gd name="connsiteX275" fmla="*/ 977924 w 1620550"/>
                  <a:gd name="connsiteY275" fmla="*/ 1212251 h 1421209"/>
                  <a:gd name="connsiteX276" fmla="*/ 982939 w 1620550"/>
                  <a:gd name="connsiteY276" fmla="*/ 1205564 h 1421209"/>
                  <a:gd name="connsiteX277" fmla="*/ 991297 w 1620550"/>
                  <a:gd name="connsiteY277" fmla="*/ 1195534 h 1421209"/>
                  <a:gd name="connsiteX278" fmla="*/ 1001327 w 1620550"/>
                  <a:gd name="connsiteY278" fmla="*/ 1185504 h 1421209"/>
                  <a:gd name="connsiteX279" fmla="*/ 1002999 w 1620550"/>
                  <a:gd name="connsiteY279" fmla="*/ 1180489 h 1421209"/>
                  <a:gd name="connsiteX280" fmla="*/ 1006342 w 1620550"/>
                  <a:gd name="connsiteY280" fmla="*/ 1175474 h 1421209"/>
                  <a:gd name="connsiteX281" fmla="*/ 1008014 w 1620550"/>
                  <a:gd name="connsiteY281" fmla="*/ 1168788 h 1421209"/>
                  <a:gd name="connsiteX282" fmla="*/ 1016372 w 1620550"/>
                  <a:gd name="connsiteY282" fmla="*/ 1157086 h 1421209"/>
                  <a:gd name="connsiteX283" fmla="*/ 1023059 w 1620550"/>
                  <a:gd name="connsiteY283" fmla="*/ 1143713 h 1421209"/>
                  <a:gd name="connsiteX284" fmla="*/ 1024730 w 1620550"/>
                  <a:gd name="connsiteY284" fmla="*/ 1138698 h 1421209"/>
                  <a:gd name="connsiteX285" fmla="*/ 1028074 w 1620550"/>
                  <a:gd name="connsiteY285" fmla="*/ 1135354 h 1421209"/>
                  <a:gd name="connsiteX286" fmla="*/ 1033089 w 1620550"/>
                  <a:gd name="connsiteY286" fmla="*/ 1128668 h 1421209"/>
                  <a:gd name="connsiteX287" fmla="*/ 1043119 w 1620550"/>
                  <a:gd name="connsiteY287" fmla="*/ 1116966 h 1421209"/>
                  <a:gd name="connsiteX288" fmla="*/ 1061507 w 1620550"/>
                  <a:gd name="connsiteY288" fmla="*/ 1111951 h 1421209"/>
                  <a:gd name="connsiteX289" fmla="*/ 1069865 w 1620550"/>
                  <a:gd name="connsiteY289" fmla="*/ 1108608 h 1421209"/>
                  <a:gd name="connsiteX290" fmla="*/ 1089925 w 1620550"/>
                  <a:gd name="connsiteY290" fmla="*/ 1105264 h 1421209"/>
                  <a:gd name="connsiteX291" fmla="*/ 1094940 w 1620550"/>
                  <a:gd name="connsiteY291" fmla="*/ 1101921 h 1421209"/>
                  <a:gd name="connsiteX292" fmla="*/ 1111657 w 1620550"/>
                  <a:gd name="connsiteY292" fmla="*/ 1098578 h 1421209"/>
                  <a:gd name="connsiteX293" fmla="*/ 1126702 w 1620550"/>
                  <a:gd name="connsiteY293" fmla="*/ 1090220 h 1421209"/>
                  <a:gd name="connsiteX294" fmla="*/ 1131717 w 1620550"/>
                  <a:gd name="connsiteY294" fmla="*/ 1086876 h 1421209"/>
                  <a:gd name="connsiteX295" fmla="*/ 1133388 w 1620550"/>
                  <a:gd name="connsiteY295" fmla="*/ 1078518 h 1421209"/>
                  <a:gd name="connsiteX296" fmla="*/ 1126702 w 1620550"/>
                  <a:gd name="connsiteY296" fmla="*/ 1070160 h 1421209"/>
                  <a:gd name="connsiteX297" fmla="*/ 1118343 w 1620550"/>
                  <a:gd name="connsiteY297" fmla="*/ 1065145 h 1421209"/>
                  <a:gd name="connsiteX298" fmla="*/ 1109985 w 1620550"/>
                  <a:gd name="connsiteY298" fmla="*/ 1056786 h 1421209"/>
                  <a:gd name="connsiteX299" fmla="*/ 1103298 w 1620550"/>
                  <a:gd name="connsiteY299" fmla="*/ 1048428 h 1421209"/>
                  <a:gd name="connsiteX300" fmla="*/ 1099955 w 1620550"/>
                  <a:gd name="connsiteY300" fmla="*/ 1043413 h 1421209"/>
                  <a:gd name="connsiteX301" fmla="*/ 1094940 w 1620550"/>
                  <a:gd name="connsiteY301" fmla="*/ 1040070 h 1421209"/>
                  <a:gd name="connsiteX302" fmla="*/ 1091597 w 1620550"/>
                  <a:gd name="connsiteY302" fmla="*/ 1033383 h 1421209"/>
                  <a:gd name="connsiteX303" fmla="*/ 1088253 w 1620550"/>
                  <a:gd name="connsiteY303" fmla="*/ 1030040 h 1421209"/>
                  <a:gd name="connsiteX304" fmla="*/ 1083238 w 1620550"/>
                  <a:gd name="connsiteY304" fmla="*/ 1018338 h 1421209"/>
                  <a:gd name="connsiteX305" fmla="*/ 1081567 w 1620550"/>
                  <a:gd name="connsiteY305" fmla="*/ 989920 h 1421209"/>
                  <a:gd name="connsiteX306" fmla="*/ 1079895 w 1620550"/>
                  <a:gd name="connsiteY306" fmla="*/ 984905 h 1421209"/>
                  <a:gd name="connsiteX307" fmla="*/ 1074880 w 1620550"/>
                  <a:gd name="connsiteY307" fmla="*/ 979890 h 1421209"/>
                  <a:gd name="connsiteX308" fmla="*/ 1069865 w 1620550"/>
                  <a:gd name="connsiteY308" fmla="*/ 964845 h 1421209"/>
                  <a:gd name="connsiteX309" fmla="*/ 1074880 w 1620550"/>
                  <a:gd name="connsiteY309" fmla="*/ 929740 h 1421209"/>
                  <a:gd name="connsiteX310" fmla="*/ 1084910 w 1620550"/>
                  <a:gd name="connsiteY310" fmla="*/ 919710 h 1421209"/>
                  <a:gd name="connsiteX311" fmla="*/ 1091597 w 1620550"/>
                  <a:gd name="connsiteY311" fmla="*/ 911352 h 1421209"/>
                  <a:gd name="connsiteX312" fmla="*/ 1098283 w 1620550"/>
                  <a:gd name="connsiteY312" fmla="*/ 906337 h 1421209"/>
                  <a:gd name="connsiteX313" fmla="*/ 1111657 w 1620550"/>
                  <a:gd name="connsiteY313" fmla="*/ 892963 h 1421209"/>
                  <a:gd name="connsiteX314" fmla="*/ 1116672 w 1620550"/>
                  <a:gd name="connsiteY314" fmla="*/ 887948 h 1421209"/>
                  <a:gd name="connsiteX315" fmla="*/ 1121687 w 1620550"/>
                  <a:gd name="connsiteY315" fmla="*/ 881262 h 1421209"/>
                  <a:gd name="connsiteX316" fmla="*/ 1125030 w 1620550"/>
                  <a:gd name="connsiteY316" fmla="*/ 877918 h 1421209"/>
                  <a:gd name="connsiteX317" fmla="*/ 1131717 w 1620550"/>
                  <a:gd name="connsiteY317" fmla="*/ 869560 h 1421209"/>
                  <a:gd name="connsiteX318" fmla="*/ 1136732 w 1620550"/>
                  <a:gd name="connsiteY318" fmla="*/ 864545 h 1421209"/>
                  <a:gd name="connsiteX319" fmla="*/ 1145090 w 1620550"/>
                  <a:gd name="connsiteY319" fmla="*/ 849500 h 1421209"/>
                  <a:gd name="connsiteX320" fmla="*/ 1150105 w 1620550"/>
                  <a:gd name="connsiteY320" fmla="*/ 841142 h 1421209"/>
                  <a:gd name="connsiteX321" fmla="*/ 1153448 w 1620550"/>
                  <a:gd name="connsiteY321" fmla="*/ 831112 h 1421209"/>
                  <a:gd name="connsiteX322" fmla="*/ 1156792 w 1620550"/>
                  <a:gd name="connsiteY322" fmla="*/ 827768 h 1421209"/>
                  <a:gd name="connsiteX323" fmla="*/ 1160135 w 1620550"/>
                  <a:gd name="connsiteY323" fmla="*/ 822753 h 1421209"/>
                  <a:gd name="connsiteX324" fmla="*/ 1173508 w 1620550"/>
                  <a:gd name="connsiteY324" fmla="*/ 814395 h 1421209"/>
                  <a:gd name="connsiteX325" fmla="*/ 1181867 w 1620550"/>
                  <a:gd name="connsiteY325" fmla="*/ 806037 h 1421209"/>
                  <a:gd name="connsiteX326" fmla="*/ 1185210 w 1620550"/>
                  <a:gd name="connsiteY326" fmla="*/ 799350 h 1421209"/>
                  <a:gd name="connsiteX327" fmla="*/ 1205270 w 1620550"/>
                  <a:gd name="connsiteY327" fmla="*/ 785977 h 1421209"/>
                  <a:gd name="connsiteX328" fmla="*/ 1213628 w 1620550"/>
                  <a:gd name="connsiteY328" fmla="*/ 779290 h 1421209"/>
                  <a:gd name="connsiteX329" fmla="*/ 1225330 w 1620550"/>
                  <a:gd name="connsiteY329" fmla="*/ 770932 h 1421209"/>
                  <a:gd name="connsiteX330" fmla="*/ 1228673 w 1620550"/>
                  <a:gd name="connsiteY330" fmla="*/ 765917 h 1421209"/>
                  <a:gd name="connsiteX331" fmla="*/ 1243718 w 1620550"/>
                  <a:gd name="connsiteY331" fmla="*/ 764245 h 1421209"/>
                  <a:gd name="connsiteX332" fmla="*/ 1250405 w 1620550"/>
                  <a:gd name="connsiteY332" fmla="*/ 762573 h 1421209"/>
                  <a:gd name="connsiteX333" fmla="*/ 1255420 w 1620550"/>
                  <a:gd name="connsiteY333" fmla="*/ 757558 h 1421209"/>
                  <a:gd name="connsiteX334" fmla="*/ 1263778 w 1620550"/>
                  <a:gd name="connsiteY334" fmla="*/ 752543 h 1421209"/>
                  <a:gd name="connsiteX335" fmla="*/ 1260435 w 1620550"/>
                  <a:gd name="connsiteY335" fmla="*/ 735827 h 1421209"/>
                  <a:gd name="connsiteX336" fmla="*/ 1257091 w 1620550"/>
                  <a:gd name="connsiteY336" fmla="*/ 732484 h 1421209"/>
                  <a:gd name="connsiteX337" fmla="*/ 1255420 w 1620550"/>
                  <a:gd name="connsiteY337" fmla="*/ 727469 h 1421209"/>
                  <a:gd name="connsiteX338" fmla="*/ 1262106 w 1620550"/>
                  <a:gd name="connsiteY338" fmla="*/ 710752 h 1421209"/>
                  <a:gd name="connsiteX339" fmla="*/ 1272136 w 1620550"/>
                  <a:gd name="connsiteY339" fmla="*/ 705737 h 1421209"/>
                  <a:gd name="connsiteX340" fmla="*/ 1280495 w 1620550"/>
                  <a:gd name="connsiteY340" fmla="*/ 700722 h 1421209"/>
                  <a:gd name="connsiteX341" fmla="*/ 1287181 w 1620550"/>
                  <a:gd name="connsiteY341" fmla="*/ 697379 h 1421209"/>
                  <a:gd name="connsiteX342" fmla="*/ 1292196 w 1620550"/>
                  <a:gd name="connsiteY342" fmla="*/ 694035 h 1421209"/>
                  <a:gd name="connsiteX343" fmla="*/ 1298883 w 1620550"/>
                  <a:gd name="connsiteY343" fmla="*/ 692364 h 1421209"/>
                  <a:gd name="connsiteX344" fmla="*/ 1308913 w 1620550"/>
                  <a:gd name="connsiteY344" fmla="*/ 687349 h 1421209"/>
                  <a:gd name="connsiteX345" fmla="*/ 1323958 w 1620550"/>
                  <a:gd name="connsiteY345" fmla="*/ 682334 h 1421209"/>
                  <a:gd name="connsiteX346" fmla="*/ 1330645 w 1620550"/>
                  <a:gd name="connsiteY346" fmla="*/ 678990 h 1421209"/>
                  <a:gd name="connsiteX347" fmla="*/ 1355720 w 1620550"/>
                  <a:gd name="connsiteY347" fmla="*/ 675647 h 1421209"/>
                  <a:gd name="connsiteX348" fmla="*/ 1359063 w 1620550"/>
                  <a:gd name="connsiteY348" fmla="*/ 670632 h 1421209"/>
                  <a:gd name="connsiteX349" fmla="*/ 1372436 w 1620550"/>
                  <a:gd name="connsiteY349" fmla="*/ 667289 h 1421209"/>
                  <a:gd name="connsiteX350" fmla="*/ 1449333 w 1620550"/>
                  <a:gd name="connsiteY350" fmla="*/ 663945 h 1421209"/>
                  <a:gd name="connsiteX351" fmla="*/ 1464378 w 1620550"/>
                  <a:gd name="connsiteY351" fmla="*/ 645557 h 1421209"/>
                  <a:gd name="connsiteX352" fmla="*/ 1474408 w 1620550"/>
                  <a:gd name="connsiteY352" fmla="*/ 635527 h 1421209"/>
                  <a:gd name="connsiteX353" fmla="*/ 1487781 w 1620550"/>
                  <a:gd name="connsiteY353" fmla="*/ 625497 h 1421209"/>
                  <a:gd name="connsiteX354" fmla="*/ 1494468 w 1620550"/>
                  <a:gd name="connsiteY354" fmla="*/ 623825 h 1421209"/>
                  <a:gd name="connsiteX355" fmla="*/ 1509513 w 1620550"/>
                  <a:gd name="connsiteY355" fmla="*/ 620482 h 1421209"/>
                  <a:gd name="connsiteX356" fmla="*/ 1517871 w 1620550"/>
                  <a:gd name="connsiteY356" fmla="*/ 617139 h 1421209"/>
                  <a:gd name="connsiteX357" fmla="*/ 1524558 w 1620550"/>
                  <a:gd name="connsiteY357" fmla="*/ 613795 h 1421209"/>
                  <a:gd name="connsiteX358" fmla="*/ 1539603 w 1620550"/>
                  <a:gd name="connsiteY358" fmla="*/ 612124 h 1421209"/>
                  <a:gd name="connsiteX359" fmla="*/ 1557991 w 1620550"/>
                  <a:gd name="connsiteY359" fmla="*/ 602094 h 1421209"/>
                  <a:gd name="connsiteX360" fmla="*/ 1573036 w 1620550"/>
                  <a:gd name="connsiteY360" fmla="*/ 597079 h 1421209"/>
                  <a:gd name="connsiteX361" fmla="*/ 1576379 w 1620550"/>
                  <a:gd name="connsiteY361" fmla="*/ 592064 h 1421209"/>
                  <a:gd name="connsiteX362" fmla="*/ 1588081 w 1620550"/>
                  <a:gd name="connsiteY362" fmla="*/ 587049 h 1421209"/>
                  <a:gd name="connsiteX363" fmla="*/ 1591424 w 1620550"/>
                  <a:gd name="connsiteY363" fmla="*/ 583705 h 1421209"/>
                  <a:gd name="connsiteX364" fmla="*/ 1598111 w 1620550"/>
                  <a:gd name="connsiteY364" fmla="*/ 580362 h 1421209"/>
                  <a:gd name="connsiteX365" fmla="*/ 1608141 w 1620550"/>
                  <a:gd name="connsiteY365" fmla="*/ 572004 h 1421209"/>
                  <a:gd name="connsiteX366" fmla="*/ 1614828 w 1620550"/>
                  <a:gd name="connsiteY366" fmla="*/ 560302 h 1421209"/>
                  <a:gd name="connsiteX367" fmla="*/ 1608141 w 1620550"/>
                  <a:gd name="connsiteY367" fmla="*/ 546929 h 1421209"/>
                  <a:gd name="connsiteX368" fmla="*/ 1599783 w 1620550"/>
                  <a:gd name="connsiteY368" fmla="*/ 535227 h 1421209"/>
                  <a:gd name="connsiteX369" fmla="*/ 1598111 w 1620550"/>
                  <a:gd name="connsiteY369" fmla="*/ 530212 h 1421209"/>
                  <a:gd name="connsiteX370" fmla="*/ 1596439 w 1620550"/>
                  <a:gd name="connsiteY370" fmla="*/ 518511 h 1421209"/>
                  <a:gd name="connsiteX371" fmla="*/ 1601454 w 1620550"/>
                  <a:gd name="connsiteY371" fmla="*/ 516839 h 1421209"/>
                  <a:gd name="connsiteX372" fmla="*/ 1604798 w 1620550"/>
                  <a:gd name="connsiteY372" fmla="*/ 513496 h 1421209"/>
                  <a:gd name="connsiteX373" fmla="*/ 1616499 w 1620550"/>
                  <a:gd name="connsiteY373" fmla="*/ 510152 h 1421209"/>
                  <a:gd name="connsiteX374" fmla="*/ 1618171 w 1620550"/>
                  <a:gd name="connsiteY374" fmla="*/ 495107 h 1421209"/>
                  <a:gd name="connsiteX375" fmla="*/ 1613156 w 1620550"/>
                  <a:gd name="connsiteY375" fmla="*/ 491764 h 1421209"/>
                  <a:gd name="connsiteX376" fmla="*/ 1611484 w 1620550"/>
                  <a:gd name="connsiteY376" fmla="*/ 486749 h 1421209"/>
                  <a:gd name="connsiteX377" fmla="*/ 1608141 w 1620550"/>
                  <a:gd name="connsiteY377" fmla="*/ 481734 h 1421209"/>
                  <a:gd name="connsiteX378" fmla="*/ 1606469 w 1620550"/>
                  <a:gd name="connsiteY378" fmla="*/ 473376 h 1421209"/>
                  <a:gd name="connsiteX379" fmla="*/ 1604798 w 1620550"/>
                  <a:gd name="connsiteY379" fmla="*/ 468361 h 1421209"/>
                  <a:gd name="connsiteX380" fmla="*/ 1599783 w 1620550"/>
                  <a:gd name="connsiteY380" fmla="*/ 466689 h 1421209"/>
                  <a:gd name="connsiteX381" fmla="*/ 1586409 w 1620550"/>
                  <a:gd name="connsiteY381" fmla="*/ 461674 h 1421209"/>
                  <a:gd name="connsiteX382" fmla="*/ 1561334 w 1620550"/>
                  <a:gd name="connsiteY382" fmla="*/ 463346 h 1421209"/>
                  <a:gd name="connsiteX383" fmla="*/ 1547961 w 1620550"/>
                  <a:gd name="connsiteY383" fmla="*/ 465017 h 1421209"/>
                  <a:gd name="connsiteX384" fmla="*/ 1539603 w 1620550"/>
                  <a:gd name="connsiteY384" fmla="*/ 470032 h 1421209"/>
                  <a:gd name="connsiteX385" fmla="*/ 1529573 w 1620550"/>
                  <a:gd name="connsiteY385" fmla="*/ 485077 h 1421209"/>
                  <a:gd name="connsiteX386" fmla="*/ 1524558 w 1620550"/>
                  <a:gd name="connsiteY386" fmla="*/ 486749 h 1421209"/>
                  <a:gd name="connsiteX387" fmla="*/ 1504498 w 1620550"/>
                  <a:gd name="connsiteY387" fmla="*/ 480062 h 1421209"/>
                  <a:gd name="connsiteX388" fmla="*/ 1489453 w 1620550"/>
                  <a:gd name="connsiteY388" fmla="*/ 468361 h 1421209"/>
                  <a:gd name="connsiteX389" fmla="*/ 1474408 w 1620550"/>
                  <a:gd name="connsiteY389" fmla="*/ 466689 h 1421209"/>
                  <a:gd name="connsiteX390" fmla="*/ 1462706 w 1620550"/>
                  <a:gd name="connsiteY390" fmla="*/ 468361 h 1421209"/>
                  <a:gd name="connsiteX391" fmla="*/ 1452676 w 1620550"/>
                  <a:gd name="connsiteY391" fmla="*/ 471704 h 1421209"/>
                  <a:gd name="connsiteX392" fmla="*/ 1442646 w 1620550"/>
                  <a:gd name="connsiteY392" fmla="*/ 470032 h 1421209"/>
                  <a:gd name="connsiteX393" fmla="*/ 1435959 w 1620550"/>
                  <a:gd name="connsiteY393" fmla="*/ 463346 h 1421209"/>
                  <a:gd name="connsiteX394" fmla="*/ 1432616 w 1620550"/>
                  <a:gd name="connsiteY394" fmla="*/ 458331 h 1421209"/>
                  <a:gd name="connsiteX395" fmla="*/ 1427601 w 1620550"/>
                  <a:gd name="connsiteY395" fmla="*/ 454987 h 1421209"/>
                  <a:gd name="connsiteX396" fmla="*/ 1422586 w 1620550"/>
                  <a:gd name="connsiteY396" fmla="*/ 448301 h 1421209"/>
                  <a:gd name="connsiteX397" fmla="*/ 1412556 w 1620550"/>
                  <a:gd name="connsiteY397" fmla="*/ 439942 h 1421209"/>
                  <a:gd name="connsiteX398" fmla="*/ 1404198 w 1620550"/>
                  <a:gd name="connsiteY398" fmla="*/ 446629 h 1421209"/>
                  <a:gd name="connsiteX399" fmla="*/ 1390825 w 1620550"/>
                  <a:gd name="connsiteY399" fmla="*/ 453316 h 1421209"/>
                  <a:gd name="connsiteX400" fmla="*/ 1387481 w 1620550"/>
                  <a:gd name="connsiteY400" fmla="*/ 438271 h 1421209"/>
                  <a:gd name="connsiteX401" fmla="*/ 1385810 w 1620550"/>
                  <a:gd name="connsiteY401" fmla="*/ 433256 h 1421209"/>
                  <a:gd name="connsiteX402" fmla="*/ 1384138 w 1620550"/>
                  <a:gd name="connsiteY402" fmla="*/ 411524 h 1421209"/>
                  <a:gd name="connsiteX403" fmla="*/ 1379123 w 1620550"/>
                  <a:gd name="connsiteY403" fmla="*/ 408181 h 1421209"/>
                  <a:gd name="connsiteX404" fmla="*/ 1370765 w 1620550"/>
                  <a:gd name="connsiteY404" fmla="*/ 406509 h 1421209"/>
                  <a:gd name="connsiteX405" fmla="*/ 1364078 w 1620550"/>
                  <a:gd name="connsiteY405" fmla="*/ 404837 h 1421209"/>
                  <a:gd name="connsiteX406" fmla="*/ 1340675 w 1620550"/>
                  <a:gd name="connsiteY406" fmla="*/ 394807 h 1421209"/>
                  <a:gd name="connsiteX407" fmla="*/ 1327301 w 1620550"/>
                  <a:gd name="connsiteY407" fmla="*/ 384777 h 1421209"/>
                  <a:gd name="connsiteX408" fmla="*/ 1320615 w 1620550"/>
                  <a:gd name="connsiteY408" fmla="*/ 379762 h 1421209"/>
                  <a:gd name="connsiteX409" fmla="*/ 1310585 w 1620550"/>
                  <a:gd name="connsiteY409" fmla="*/ 373076 h 1421209"/>
                  <a:gd name="connsiteX410" fmla="*/ 1305570 w 1620550"/>
                  <a:gd name="connsiteY410" fmla="*/ 369732 h 1421209"/>
                  <a:gd name="connsiteX411" fmla="*/ 1297211 w 1620550"/>
                  <a:gd name="connsiteY411" fmla="*/ 368061 h 1421209"/>
                  <a:gd name="connsiteX412" fmla="*/ 1290525 w 1620550"/>
                  <a:gd name="connsiteY412" fmla="*/ 369732 h 1421209"/>
                  <a:gd name="connsiteX413" fmla="*/ 1282166 w 1620550"/>
                  <a:gd name="connsiteY413" fmla="*/ 398151 h 1421209"/>
                  <a:gd name="connsiteX414" fmla="*/ 1272136 w 1620550"/>
                  <a:gd name="connsiteY414" fmla="*/ 394807 h 1421209"/>
                  <a:gd name="connsiteX415" fmla="*/ 1267121 w 1620550"/>
                  <a:gd name="connsiteY415" fmla="*/ 391464 h 1421209"/>
                  <a:gd name="connsiteX416" fmla="*/ 1255420 w 1620550"/>
                  <a:gd name="connsiteY416" fmla="*/ 388121 h 1421209"/>
                  <a:gd name="connsiteX417" fmla="*/ 1220315 w 1620550"/>
                  <a:gd name="connsiteY417" fmla="*/ 386449 h 1421209"/>
                  <a:gd name="connsiteX418" fmla="*/ 1218643 w 1620550"/>
                  <a:gd name="connsiteY418" fmla="*/ 381434 h 1421209"/>
                  <a:gd name="connsiteX419" fmla="*/ 1211957 w 1620550"/>
                  <a:gd name="connsiteY419" fmla="*/ 379762 h 1421209"/>
                  <a:gd name="connsiteX420" fmla="*/ 1175180 w 1620550"/>
                  <a:gd name="connsiteY420" fmla="*/ 378091 h 1421209"/>
                  <a:gd name="connsiteX421" fmla="*/ 1173508 w 1620550"/>
                  <a:gd name="connsiteY421" fmla="*/ 373076 h 1421209"/>
                  <a:gd name="connsiteX422" fmla="*/ 1171837 w 1620550"/>
                  <a:gd name="connsiteY422" fmla="*/ 366389 h 1421209"/>
                  <a:gd name="connsiteX423" fmla="*/ 1163478 w 1620550"/>
                  <a:gd name="connsiteY423" fmla="*/ 361374 h 1421209"/>
                  <a:gd name="connsiteX424" fmla="*/ 1128373 w 1620550"/>
                  <a:gd name="connsiteY424" fmla="*/ 359703 h 1421209"/>
                  <a:gd name="connsiteX425" fmla="*/ 1120015 w 1620550"/>
                  <a:gd name="connsiteY425" fmla="*/ 356359 h 1421209"/>
                  <a:gd name="connsiteX426" fmla="*/ 1113328 w 1620550"/>
                  <a:gd name="connsiteY426" fmla="*/ 346329 h 1421209"/>
                  <a:gd name="connsiteX427" fmla="*/ 1108313 w 1620550"/>
                  <a:gd name="connsiteY427" fmla="*/ 339643 h 1421209"/>
                  <a:gd name="connsiteX428" fmla="*/ 1104970 w 1620550"/>
                  <a:gd name="connsiteY428" fmla="*/ 334628 h 1421209"/>
                  <a:gd name="connsiteX429" fmla="*/ 1098283 w 1620550"/>
                  <a:gd name="connsiteY429" fmla="*/ 327941 h 1421209"/>
                  <a:gd name="connsiteX430" fmla="*/ 1096612 w 1620550"/>
                  <a:gd name="connsiteY430" fmla="*/ 322926 h 1421209"/>
                  <a:gd name="connsiteX431" fmla="*/ 1091597 w 1620550"/>
                  <a:gd name="connsiteY431" fmla="*/ 321254 h 1421209"/>
                  <a:gd name="connsiteX432" fmla="*/ 1084910 w 1620550"/>
                  <a:gd name="connsiteY432" fmla="*/ 317911 h 1421209"/>
                  <a:gd name="connsiteX433" fmla="*/ 1064850 w 1620550"/>
                  <a:gd name="connsiteY433" fmla="*/ 314568 h 1421209"/>
                  <a:gd name="connsiteX434" fmla="*/ 1058164 w 1620550"/>
                  <a:gd name="connsiteY434" fmla="*/ 311224 h 1421209"/>
                  <a:gd name="connsiteX435" fmla="*/ 1054820 w 1620550"/>
                  <a:gd name="connsiteY435" fmla="*/ 307881 h 1421209"/>
                  <a:gd name="connsiteX436" fmla="*/ 1049805 w 1620550"/>
                  <a:gd name="connsiteY436" fmla="*/ 304538 h 1421209"/>
                  <a:gd name="connsiteX437" fmla="*/ 1046462 w 1620550"/>
                  <a:gd name="connsiteY437" fmla="*/ 301194 h 1421209"/>
                  <a:gd name="connsiteX438" fmla="*/ 1039775 w 1620550"/>
                  <a:gd name="connsiteY438" fmla="*/ 299523 h 1421209"/>
                  <a:gd name="connsiteX439" fmla="*/ 1029745 w 1620550"/>
                  <a:gd name="connsiteY439" fmla="*/ 296179 h 1421209"/>
                  <a:gd name="connsiteX440" fmla="*/ 1016372 w 1620550"/>
                  <a:gd name="connsiteY440" fmla="*/ 287821 h 1421209"/>
                  <a:gd name="connsiteX441" fmla="*/ 1013029 w 1620550"/>
                  <a:gd name="connsiteY441" fmla="*/ 282806 h 1421209"/>
                  <a:gd name="connsiteX442" fmla="*/ 1014700 w 1620550"/>
                  <a:gd name="connsiteY442" fmla="*/ 276119 h 1421209"/>
                  <a:gd name="connsiteX443" fmla="*/ 1016372 w 1620550"/>
                  <a:gd name="connsiteY443" fmla="*/ 271104 h 1421209"/>
                  <a:gd name="connsiteX444" fmla="*/ 1029745 w 1620550"/>
                  <a:gd name="connsiteY444" fmla="*/ 264418 h 1421209"/>
                  <a:gd name="connsiteX445" fmla="*/ 1031417 w 1620550"/>
                  <a:gd name="connsiteY445" fmla="*/ 257731 h 1421209"/>
                  <a:gd name="connsiteX446" fmla="*/ 1024730 w 1620550"/>
                  <a:gd name="connsiteY446" fmla="*/ 256059 h 1421209"/>
                  <a:gd name="connsiteX447" fmla="*/ 1016372 w 1620550"/>
                  <a:gd name="connsiteY447" fmla="*/ 251044 h 1421209"/>
                  <a:gd name="connsiteX448" fmla="*/ 1008014 w 1620550"/>
                  <a:gd name="connsiteY448" fmla="*/ 247701 h 1421209"/>
                  <a:gd name="connsiteX449" fmla="*/ 1002999 w 1620550"/>
                  <a:gd name="connsiteY449" fmla="*/ 244358 h 1421209"/>
                  <a:gd name="connsiteX450" fmla="*/ 997984 w 1620550"/>
                  <a:gd name="connsiteY450" fmla="*/ 242686 h 1421209"/>
                  <a:gd name="connsiteX451" fmla="*/ 989625 w 1620550"/>
                  <a:gd name="connsiteY451" fmla="*/ 235999 h 1421209"/>
                  <a:gd name="connsiteX452" fmla="*/ 984610 w 1620550"/>
                  <a:gd name="connsiteY452" fmla="*/ 234328 h 1421209"/>
                  <a:gd name="connsiteX453" fmla="*/ 966222 w 1620550"/>
                  <a:gd name="connsiteY453" fmla="*/ 227641 h 1421209"/>
                  <a:gd name="connsiteX454" fmla="*/ 944490 w 1620550"/>
                  <a:gd name="connsiteY454" fmla="*/ 229313 h 1421209"/>
                  <a:gd name="connsiteX455" fmla="*/ 902699 w 1620550"/>
                  <a:gd name="connsiteY455" fmla="*/ 227641 h 1421209"/>
                  <a:gd name="connsiteX456" fmla="*/ 897684 w 1620550"/>
                  <a:gd name="connsiteY456" fmla="*/ 225969 h 1421209"/>
                  <a:gd name="connsiteX457" fmla="*/ 885982 w 1620550"/>
                  <a:gd name="connsiteY457" fmla="*/ 215939 h 1421209"/>
                  <a:gd name="connsiteX458" fmla="*/ 874281 w 1620550"/>
                  <a:gd name="connsiteY458" fmla="*/ 207581 h 1421209"/>
                  <a:gd name="connsiteX459" fmla="*/ 869266 w 1620550"/>
                  <a:gd name="connsiteY459" fmla="*/ 204238 h 1421209"/>
                  <a:gd name="connsiteX460" fmla="*/ 860907 w 1620550"/>
                  <a:gd name="connsiteY460" fmla="*/ 197551 h 1421209"/>
                  <a:gd name="connsiteX461" fmla="*/ 854221 w 1620550"/>
                  <a:gd name="connsiteY461" fmla="*/ 195879 h 1421209"/>
                  <a:gd name="connsiteX462" fmla="*/ 842519 w 1620550"/>
                  <a:gd name="connsiteY462" fmla="*/ 192536 h 1421209"/>
                  <a:gd name="connsiteX463" fmla="*/ 815772 w 1620550"/>
                  <a:gd name="connsiteY463" fmla="*/ 194208 h 1421209"/>
                  <a:gd name="connsiteX464" fmla="*/ 805742 w 1620550"/>
                  <a:gd name="connsiteY464" fmla="*/ 195879 h 1421209"/>
                  <a:gd name="connsiteX465" fmla="*/ 789026 w 1620550"/>
                  <a:gd name="connsiteY465" fmla="*/ 197551 h 1421209"/>
                  <a:gd name="connsiteX466" fmla="*/ 782339 w 1620550"/>
                  <a:gd name="connsiteY466" fmla="*/ 194208 h 1421209"/>
                  <a:gd name="connsiteX467" fmla="*/ 780667 w 1620550"/>
                  <a:gd name="connsiteY467" fmla="*/ 189193 h 1421209"/>
                  <a:gd name="connsiteX468" fmla="*/ 775652 w 1620550"/>
                  <a:gd name="connsiteY468" fmla="*/ 175820 h 1421209"/>
                  <a:gd name="connsiteX469" fmla="*/ 768966 w 1620550"/>
                  <a:gd name="connsiteY469" fmla="*/ 170805 h 1421209"/>
                  <a:gd name="connsiteX470" fmla="*/ 765622 w 1620550"/>
                  <a:gd name="connsiteY470" fmla="*/ 167461 h 1421209"/>
                  <a:gd name="connsiteX471" fmla="*/ 753921 w 1620550"/>
                  <a:gd name="connsiteY471" fmla="*/ 162446 h 1421209"/>
                  <a:gd name="connsiteX472" fmla="*/ 735532 w 1620550"/>
                  <a:gd name="connsiteY472" fmla="*/ 164118 h 1421209"/>
                  <a:gd name="connsiteX473" fmla="*/ 722159 w 1620550"/>
                  <a:gd name="connsiteY473" fmla="*/ 170805 h 1421209"/>
                  <a:gd name="connsiteX474" fmla="*/ 720487 w 1620550"/>
                  <a:gd name="connsiteY474" fmla="*/ 165790 h 1421209"/>
                  <a:gd name="connsiteX475" fmla="*/ 715472 w 1620550"/>
                  <a:gd name="connsiteY475" fmla="*/ 164118 h 1421209"/>
                  <a:gd name="connsiteX476" fmla="*/ 693741 w 1620550"/>
                  <a:gd name="connsiteY476" fmla="*/ 165790 h 1421209"/>
                  <a:gd name="connsiteX477" fmla="*/ 683711 w 1620550"/>
                  <a:gd name="connsiteY477" fmla="*/ 169133 h 1421209"/>
                  <a:gd name="connsiteX478" fmla="*/ 678696 w 1620550"/>
                  <a:gd name="connsiteY478" fmla="*/ 170805 h 1421209"/>
                  <a:gd name="connsiteX479" fmla="*/ 631889 w 1620550"/>
                  <a:gd name="connsiteY479" fmla="*/ 167461 h 1421209"/>
                  <a:gd name="connsiteX480" fmla="*/ 620188 w 1620550"/>
                  <a:gd name="connsiteY480" fmla="*/ 164118 h 1421209"/>
                  <a:gd name="connsiteX481" fmla="*/ 610158 w 1620550"/>
                  <a:gd name="connsiteY481" fmla="*/ 159103 h 1421209"/>
                  <a:gd name="connsiteX482" fmla="*/ 603471 w 1620550"/>
                  <a:gd name="connsiteY482" fmla="*/ 157431 h 1421209"/>
                  <a:gd name="connsiteX483" fmla="*/ 598456 w 1620550"/>
                  <a:gd name="connsiteY483" fmla="*/ 155760 h 1421209"/>
                  <a:gd name="connsiteX484" fmla="*/ 593441 w 1620550"/>
                  <a:gd name="connsiteY484" fmla="*/ 152416 h 1421209"/>
                  <a:gd name="connsiteX485" fmla="*/ 570038 w 1620550"/>
                  <a:gd name="connsiteY485" fmla="*/ 147401 h 1421209"/>
                  <a:gd name="connsiteX486" fmla="*/ 561679 w 1620550"/>
                  <a:gd name="connsiteY486" fmla="*/ 140715 h 1421209"/>
                  <a:gd name="connsiteX487" fmla="*/ 556664 w 1620550"/>
                  <a:gd name="connsiteY487" fmla="*/ 137371 h 1421209"/>
                  <a:gd name="connsiteX488" fmla="*/ 541619 w 1620550"/>
                  <a:gd name="connsiteY488" fmla="*/ 127341 h 1421209"/>
                  <a:gd name="connsiteX489" fmla="*/ 529918 w 1620550"/>
                  <a:gd name="connsiteY489" fmla="*/ 120655 h 1421209"/>
                  <a:gd name="connsiteX490" fmla="*/ 518216 w 1620550"/>
                  <a:gd name="connsiteY490" fmla="*/ 113968 h 1421209"/>
                  <a:gd name="connsiteX491" fmla="*/ 511530 w 1620550"/>
                  <a:gd name="connsiteY491" fmla="*/ 110625 h 1421209"/>
                  <a:gd name="connsiteX492" fmla="*/ 493141 w 1620550"/>
                  <a:gd name="connsiteY492" fmla="*/ 107281 h 1421209"/>
                  <a:gd name="connsiteX493" fmla="*/ 484783 w 1620550"/>
                  <a:gd name="connsiteY493" fmla="*/ 105610 h 1421209"/>
                  <a:gd name="connsiteX494" fmla="*/ 478096 w 1620550"/>
                  <a:gd name="connsiteY494" fmla="*/ 100595 h 1421209"/>
                  <a:gd name="connsiteX495" fmla="*/ 474753 w 1620550"/>
                  <a:gd name="connsiteY495" fmla="*/ 90565 h 1421209"/>
                  <a:gd name="connsiteX496" fmla="*/ 471410 w 1620550"/>
                  <a:gd name="connsiteY496" fmla="*/ 87221 h 1421209"/>
                  <a:gd name="connsiteX497" fmla="*/ 397856 w 1620550"/>
                  <a:gd name="connsiteY497" fmla="*/ 85550 h 1421209"/>
                  <a:gd name="connsiteX498" fmla="*/ 386155 w 1620550"/>
                  <a:gd name="connsiteY498" fmla="*/ 78863 h 1421209"/>
                  <a:gd name="connsiteX499" fmla="*/ 374453 w 1620550"/>
                  <a:gd name="connsiteY499" fmla="*/ 77191 h 1421209"/>
                  <a:gd name="connsiteX500" fmla="*/ 356065 w 1620550"/>
                  <a:gd name="connsiteY500" fmla="*/ 72176 h 1421209"/>
                  <a:gd name="connsiteX501" fmla="*/ 349378 w 1620550"/>
                  <a:gd name="connsiteY501" fmla="*/ 70505 h 1421209"/>
                  <a:gd name="connsiteX502" fmla="*/ 339348 w 1620550"/>
                  <a:gd name="connsiteY502" fmla="*/ 65490 h 1421209"/>
                  <a:gd name="connsiteX503" fmla="*/ 322632 w 1620550"/>
                  <a:gd name="connsiteY503" fmla="*/ 60475 h 1421209"/>
                  <a:gd name="connsiteX504" fmla="*/ 312602 w 1620550"/>
                  <a:gd name="connsiteY504" fmla="*/ 65490 h 1421209"/>
                  <a:gd name="connsiteX505" fmla="*/ 307587 w 1620550"/>
                  <a:gd name="connsiteY505" fmla="*/ 67161 h 1421209"/>
                  <a:gd name="connsiteX506" fmla="*/ 299228 w 1620550"/>
                  <a:gd name="connsiteY506" fmla="*/ 70505 h 1421209"/>
                  <a:gd name="connsiteX507" fmla="*/ 295885 w 1620550"/>
                  <a:gd name="connsiteY507" fmla="*/ 65490 h 1421209"/>
                  <a:gd name="connsiteX508" fmla="*/ 282512 w 1620550"/>
                  <a:gd name="connsiteY508" fmla="*/ 55460 h 1421209"/>
                  <a:gd name="connsiteX509" fmla="*/ 277497 w 1620550"/>
                  <a:gd name="connsiteY509" fmla="*/ 53788 h 1421209"/>
                  <a:gd name="connsiteX510" fmla="*/ 269138 w 1620550"/>
                  <a:gd name="connsiteY510" fmla="*/ 42086 h 1421209"/>
                  <a:gd name="connsiteX511" fmla="*/ 267467 w 1620550"/>
                  <a:gd name="connsiteY511" fmla="*/ 33728 h 1421209"/>
                  <a:gd name="connsiteX512" fmla="*/ 262452 w 1620550"/>
                  <a:gd name="connsiteY512" fmla="*/ 28713 h 1421209"/>
                  <a:gd name="connsiteX513" fmla="*/ 252422 w 1620550"/>
                  <a:gd name="connsiteY513" fmla="*/ 25370 h 1421209"/>
                  <a:gd name="connsiteX514" fmla="*/ 239048 w 1620550"/>
                  <a:gd name="connsiteY514" fmla="*/ 15340 h 1421209"/>
                  <a:gd name="connsiteX515" fmla="*/ 234033 w 1620550"/>
                  <a:gd name="connsiteY515" fmla="*/ 10325 h 1421209"/>
                  <a:gd name="connsiteX516" fmla="*/ 220660 w 1620550"/>
                  <a:gd name="connsiteY516" fmla="*/ 5310 h 1421209"/>
                  <a:gd name="connsiteX517" fmla="*/ 215645 w 1620550"/>
                  <a:gd name="connsiteY517" fmla="*/ 1967 h 1421209"/>
                  <a:gd name="connsiteX518" fmla="*/ 192242 w 1620550"/>
                  <a:gd name="connsiteY518" fmla="*/ 1967 h 1421209"/>
                  <a:gd name="connsiteX519" fmla="*/ 198928 w 1620550"/>
                  <a:gd name="connsiteY519" fmla="*/ 5310 h 1421209"/>
                  <a:gd name="connsiteX0" fmla="*/ 198928 w 1620550"/>
                  <a:gd name="connsiteY0" fmla="*/ 5310 h 1421209"/>
                  <a:gd name="connsiteX1" fmla="*/ 177197 w 1620550"/>
                  <a:gd name="connsiteY1" fmla="*/ 10325 h 1421209"/>
                  <a:gd name="connsiteX2" fmla="*/ 175525 w 1620550"/>
                  <a:gd name="connsiteY2" fmla="*/ 15340 h 1421209"/>
                  <a:gd name="connsiteX3" fmla="*/ 177197 w 1620550"/>
                  <a:gd name="connsiteY3" fmla="*/ 20355 h 1421209"/>
                  <a:gd name="connsiteX4" fmla="*/ 172182 w 1620550"/>
                  <a:gd name="connsiteY4" fmla="*/ 23698 h 1421209"/>
                  <a:gd name="connsiteX5" fmla="*/ 152122 w 1620550"/>
                  <a:gd name="connsiteY5" fmla="*/ 25370 h 1421209"/>
                  <a:gd name="connsiteX6" fmla="*/ 155465 w 1620550"/>
                  <a:gd name="connsiteY6" fmla="*/ 35400 h 1421209"/>
                  <a:gd name="connsiteX7" fmla="*/ 157137 w 1620550"/>
                  <a:gd name="connsiteY7" fmla="*/ 42086 h 1421209"/>
                  <a:gd name="connsiteX8" fmla="*/ 148779 w 1620550"/>
                  <a:gd name="connsiteY8" fmla="*/ 47101 h 1421209"/>
                  <a:gd name="connsiteX9" fmla="*/ 145435 w 1620550"/>
                  <a:gd name="connsiteY9" fmla="*/ 50445 h 1421209"/>
                  <a:gd name="connsiteX10" fmla="*/ 135405 w 1620550"/>
                  <a:gd name="connsiteY10" fmla="*/ 53788 h 1421209"/>
                  <a:gd name="connsiteX11" fmla="*/ 133734 w 1620550"/>
                  <a:gd name="connsiteY11" fmla="*/ 58803 h 1421209"/>
                  <a:gd name="connsiteX12" fmla="*/ 115345 w 1620550"/>
                  <a:gd name="connsiteY12" fmla="*/ 63818 h 1421209"/>
                  <a:gd name="connsiteX13" fmla="*/ 81912 w 1620550"/>
                  <a:gd name="connsiteY13" fmla="*/ 62146 h 1421209"/>
                  <a:gd name="connsiteX14" fmla="*/ 73554 w 1620550"/>
                  <a:gd name="connsiteY14" fmla="*/ 53788 h 1421209"/>
                  <a:gd name="connsiteX15" fmla="*/ 66867 w 1620550"/>
                  <a:gd name="connsiteY15" fmla="*/ 50445 h 1421209"/>
                  <a:gd name="connsiteX16" fmla="*/ 55165 w 1620550"/>
                  <a:gd name="connsiteY16" fmla="*/ 52116 h 1421209"/>
                  <a:gd name="connsiteX17" fmla="*/ 55165 w 1620550"/>
                  <a:gd name="connsiteY17" fmla="*/ 62146 h 1421209"/>
                  <a:gd name="connsiteX18" fmla="*/ 30090 w 1620550"/>
                  <a:gd name="connsiteY18" fmla="*/ 65490 h 1421209"/>
                  <a:gd name="connsiteX19" fmla="*/ 16717 w 1620550"/>
                  <a:gd name="connsiteY19" fmla="*/ 75520 h 1421209"/>
                  <a:gd name="connsiteX20" fmla="*/ 11702 w 1620550"/>
                  <a:gd name="connsiteY20" fmla="*/ 80535 h 1421209"/>
                  <a:gd name="connsiteX21" fmla="*/ 8359 w 1620550"/>
                  <a:gd name="connsiteY21" fmla="*/ 88893 h 1421209"/>
                  <a:gd name="connsiteX22" fmla="*/ 6687 w 1620550"/>
                  <a:gd name="connsiteY22" fmla="*/ 98923 h 1421209"/>
                  <a:gd name="connsiteX23" fmla="*/ 0 w 1620550"/>
                  <a:gd name="connsiteY23" fmla="*/ 107281 h 1421209"/>
                  <a:gd name="connsiteX24" fmla="*/ 15045 w 1620550"/>
                  <a:gd name="connsiteY24" fmla="*/ 115640 h 1421209"/>
                  <a:gd name="connsiteX25" fmla="*/ 13374 w 1620550"/>
                  <a:gd name="connsiteY25" fmla="*/ 123998 h 1421209"/>
                  <a:gd name="connsiteX26" fmla="*/ 16717 w 1620550"/>
                  <a:gd name="connsiteY26" fmla="*/ 130685 h 1421209"/>
                  <a:gd name="connsiteX27" fmla="*/ 11702 w 1620550"/>
                  <a:gd name="connsiteY27" fmla="*/ 135700 h 1421209"/>
                  <a:gd name="connsiteX28" fmla="*/ 8359 w 1620550"/>
                  <a:gd name="connsiteY28" fmla="*/ 140715 h 1421209"/>
                  <a:gd name="connsiteX29" fmla="*/ 33434 w 1620550"/>
                  <a:gd name="connsiteY29" fmla="*/ 142386 h 1421209"/>
                  <a:gd name="connsiteX30" fmla="*/ 36777 w 1620550"/>
                  <a:gd name="connsiteY30" fmla="*/ 147401 h 1421209"/>
                  <a:gd name="connsiteX31" fmla="*/ 20060 w 1620550"/>
                  <a:gd name="connsiteY31" fmla="*/ 150745 h 1421209"/>
                  <a:gd name="connsiteX32" fmla="*/ 18389 w 1620550"/>
                  <a:gd name="connsiteY32" fmla="*/ 174148 h 1421209"/>
                  <a:gd name="connsiteX33" fmla="*/ 23404 w 1620550"/>
                  <a:gd name="connsiteY33" fmla="*/ 175820 h 1421209"/>
                  <a:gd name="connsiteX34" fmla="*/ 31762 w 1620550"/>
                  <a:gd name="connsiteY34" fmla="*/ 174148 h 1421209"/>
                  <a:gd name="connsiteX35" fmla="*/ 33434 w 1620550"/>
                  <a:gd name="connsiteY35" fmla="*/ 169133 h 1421209"/>
                  <a:gd name="connsiteX36" fmla="*/ 38449 w 1620550"/>
                  <a:gd name="connsiteY36" fmla="*/ 167461 h 1421209"/>
                  <a:gd name="connsiteX37" fmla="*/ 48479 w 1620550"/>
                  <a:gd name="connsiteY37" fmla="*/ 169133 h 1421209"/>
                  <a:gd name="connsiteX38" fmla="*/ 50150 w 1620550"/>
                  <a:gd name="connsiteY38" fmla="*/ 180835 h 1421209"/>
                  <a:gd name="connsiteX39" fmla="*/ 45135 w 1620550"/>
                  <a:gd name="connsiteY39" fmla="*/ 182506 h 1421209"/>
                  <a:gd name="connsiteX40" fmla="*/ 41792 w 1620550"/>
                  <a:gd name="connsiteY40" fmla="*/ 187521 h 1421209"/>
                  <a:gd name="connsiteX41" fmla="*/ 40120 w 1620550"/>
                  <a:gd name="connsiteY41" fmla="*/ 197551 h 1421209"/>
                  <a:gd name="connsiteX42" fmla="*/ 38449 w 1620550"/>
                  <a:gd name="connsiteY42" fmla="*/ 205909 h 1421209"/>
                  <a:gd name="connsiteX43" fmla="*/ 35105 w 1620550"/>
                  <a:gd name="connsiteY43" fmla="*/ 212596 h 1421209"/>
                  <a:gd name="connsiteX44" fmla="*/ 33434 w 1620550"/>
                  <a:gd name="connsiteY44" fmla="*/ 217611 h 1421209"/>
                  <a:gd name="connsiteX45" fmla="*/ 41792 w 1620550"/>
                  <a:gd name="connsiteY45" fmla="*/ 220954 h 1421209"/>
                  <a:gd name="connsiteX46" fmla="*/ 58509 w 1620550"/>
                  <a:gd name="connsiteY46" fmla="*/ 222626 h 1421209"/>
                  <a:gd name="connsiteX47" fmla="*/ 30090 w 1620550"/>
                  <a:gd name="connsiteY47" fmla="*/ 232656 h 1421209"/>
                  <a:gd name="connsiteX48" fmla="*/ 28419 w 1620550"/>
                  <a:gd name="connsiteY48" fmla="*/ 237671 h 1421209"/>
                  <a:gd name="connsiteX49" fmla="*/ 40120 w 1620550"/>
                  <a:gd name="connsiteY49" fmla="*/ 239343 h 1421209"/>
                  <a:gd name="connsiteX50" fmla="*/ 31762 w 1620550"/>
                  <a:gd name="connsiteY50" fmla="*/ 242686 h 1421209"/>
                  <a:gd name="connsiteX51" fmla="*/ 26747 w 1620550"/>
                  <a:gd name="connsiteY51" fmla="*/ 249373 h 1421209"/>
                  <a:gd name="connsiteX52" fmla="*/ 15045 w 1620550"/>
                  <a:gd name="connsiteY52" fmla="*/ 257731 h 1421209"/>
                  <a:gd name="connsiteX53" fmla="*/ 15045 w 1620550"/>
                  <a:gd name="connsiteY53" fmla="*/ 291164 h 1421209"/>
                  <a:gd name="connsiteX54" fmla="*/ 25075 w 1620550"/>
                  <a:gd name="connsiteY54" fmla="*/ 287821 h 1421209"/>
                  <a:gd name="connsiteX55" fmla="*/ 33434 w 1620550"/>
                  <a:gd name="connsiteY55" fmla="*/ 279463 h 1421209"/>
                  <a:gd name="connsiteX56" fmla="*/ 43464 w 1620550"/>
                  <a:gd name="connsiteY56" fmla="*/ 271104 h 1421209"/>
                  <a:gd name="connsiteX57" fmla="*/ 61347 w 1620550"/>
                  <a:gd name="connsiteY57" fmla="*/ 276577 h 1421209"/>
                  <a:gd name="connsiteX58" fmla="*/ 83584 w 1620550"/>
                  <a:gd name="connsiteY58" fmla="*/ 267761 h 1421209"/>
                  <a:gd name="connsiteX59" fmla="*/ 91942 w 1620550"/>
                  <a:gd name="connsiteY59" fmla="*/ 269433 h 1421209"/>
                  <a:gd name="connsiteX60" fmla="*/ 98629 w 1620550"/>
                  <a:gd name="connsiteY60" fmla="*/ 272776 h 1421209"/>
                  <a:gd name="connsiteX61" fmla="*/ 103644 w 1620550"/>
                  <a:gd name="connsiteY61" fmla="*/ 274448 h 1421209"/>
                  <a:gd name="connsiteX62" fmla="*/ 108659 w 1620550"/>
                  <a:gd name="connsiteY62" fmla="*/ 279463 h 1421209"/>
                  <a:gd name="connsiteX63" fmla="*/ 112002 w 1620550"/>
                  <a:gd name="connsiteY63" fmla="*/ 299523 h 1421209"/>
                  <a:gd name="connsiteX64" fmla="*/ 100300 w 1620550"/>
                  <a:gd name="connsiteY64" fmla="*/ 307881 h 1421209"/>
                  <a:gd name="connsiteX65" fmla="*/ 96957 w 1620550"/>
                  <a:gd name="connsiteY65" fmla="*/ 321254 h 1421209"/>
                  <a:gd name="connsiteX66" fmla="*/ 95285 w 1620550"/>
                  <a:gd name="connsiteY66" fmla="*/ 326269 h 1421209"/>
                  <a:gd name="connsiteX67" fmla="*/ 98629 w 1620550"/>
                  <a:gd name="connsiteY67" fmla="*/ 331284 h 1421209"/>
                  <a:gd name="connsiteX68" fmla="*/ 118689 w 1620550"/>
                  <a:gd name="connsiteY68" fmla="*/ 334628 h 1421209"/>
                  <a:gd name="connsiteX69" fmla="*/ 147107 w 1620550"/>
                  <a:gd name="connsiteY69" fmla="*/ 332956 h 1421209"/>
                  <a:gd name="connsiteX70" fmla="*/ 158808 w 1620550"/>
                  <a:gd name="connsiteY70" fmla="*/ 329613 h 1421209"/>
                  <a:gd name="connsiteX71" fmla="*/ 168838 w 1620550"/>
                  <a:gd name="connsiteY71" fmla="*/ 332956 h 1421209"/>
                  <a:gd name="connsiteX72" fmla="*/ 177197 w 1620550"/>
                  <a:gd name="connsiteY72" fmla="*/ 342986 h 1421209"/>
                  <a:gd name="connsiteX73" fmla="*/ 183883 w 1620550"/>
                  <a:gd name="connsiteY73" fmla="*/ 346329 h 1421209"/>
                  <a:gd name="connsiteX74" fmla="*/ 192242 w 1620550"/>
                  <a:gd name="connsiteY74" fmla="*/ 348001 h 1421209"/>
                  <a:gd name="connsiteX75" fmla="*/ 217317 w 1620550"/>
                  <a:gd name="connsiteY75" fmla="*/ 341314 h 1421209"/>
                  <a:gd name="connsiteX76" fmla="*/ 222332 w 1620550"/>
                  <a:gd name="connsiteY76" fmla="*/ 334628 h 1421209"/>
                  <a:gd name="connsiteX77" fmla="*/ 232362 w 1620550"/>
                  <a:gd name="connsiteY77" fmla="*/ 331284 h 1421209"/>
                  <a:gd name="connsiteX78" fmla="*/ 239048 w 1620550"/>
                  <a:gd name="connsiteY78" fmla="*/ 334628 h 1421209"/>
                  <a:gd name="connsiteX79" fmla="*/ 244063 w 1620550"/>
                  <a:gd name="connsiteY79" fmla="*/ 339643 h 1421209"/>
                  <a:gd name="connsiteX80" fmla="*/ 250750 w 1620550"/>
                  <a:gd name="connsiteY80" fmla="*/ 341314 h 1421209"/>
                  <a:gd name="connsiteX81" fmla="*/ 260780 w 1620550"/>
                  <a:gd name="connsiteY81" fmla="*/ 348001 h 1421209"/>
                  <a:gd name="connsiteX82" fmla="*/ 269138 w 1620550"/>
                  <a:gd name="connsiteY82" fmla="*/ 356359 h 1421209"/>
                  <a:gd name="connsiteX83" fmla="*/ 270810 w 1620550"/>
                  <a:gd name="connsiteY83" fmla="*/ 368061 h 1421209"/>
                  <a:gd name="connsiteX84" fmla="*/ 290870 w 1620550"/>
                  <a:gd name="connsiteY84" fmla="*/ 366389 h 1421209"/>
                  <a:gd name="connsiteX85" fmla="*/ 305915 w 1620550"/>
                  <a:gd name="connsiteY85" fmla="*/ 368061 h 1421209"/>
                  <a:gd name="connsiteX86" fmla="*/ 304243 w 1620550"/>
                  <a:gd name="connsiteY86" fmla="*/ 388121 h 1421209"/>
                  <a:gd name="connsiteX87" fmla="*/ 307587 w 1620550"/>
                  <a:gd name="connsiteY87" fmla="*/ 403166 h 1421209"/>
                  <a:gd name="connsiteX88" fmla="*/ 320960 w 1620550"/>
                  <a:gd name="connsiteY88" fmla="*/ 414867 h 1421209"/>
                  <a:gd name="connsiteX89" fmla="*/ 329318 w 1620550"/>
                  <a:gd name="connsiteY89" fmla="*/ 424897 h 1421209"/>
                  <a:gd name="connsiteX90" fmla="*/ 336005 w 1620550"/>
                  <a:gd name="connsiteY90" fmla="*/ 428241 h 1421209"/>
                  <a:gd name="connsiteX91" fmla="*/ 334333 w 1620550"/>
                  <a:gd name="connsiteY91" fmla="*/ 458331 h 1421209"/>
                  <a:gd name="connsiteX92" fmla="*/ 307587 w 1620550"/>
                  <a:gd name="connsiteY92" fmla="*/ 478391 h 1421209"/>
                  <a:gd name="connsiteX93" fmla="*/ 292542 w 1620550"/>
                  <a:gd name="connsiteY93" fmla="*/ 483406 h 1421209"/>
                  <a:gd name="connsiteX94" fmla="*/ 287527 w 1620550"/>
                  <a:gd name="connsiteY94" fmla="*/ 486749 h 1421209"/>
                  <a:gd name="connsiteX95" fmla="*/ 265795 w 1620550"/>
                  <a:gd name="connsiteY95" fmla="*/ 488421 h 1421209"/>
                  <a:gd name="connsiteX96" fmla="*/ 257437 w 1620550"/>
                  <a:gd name="connsiteY96" fmla="*/ 495107 h 1421209"/>
                  <a:gd name="connsiteX97" fmla="*/ 249078 w 1620550"/>
                  <a:gd name="connsiteY97" fmla="*/ 503466 h 1421209"/>
                  <a:gd name="connsiteX98" fmla="*/ 247407 w 1620550"/>
                  <a:gd name="connsiteY98" fmla="*/ 508481 h 1421209"/>
                  <a:gd name="connsiteX99" fmla="*/ 239048 w 1620550"/>
                  <a:gd name="connsiteY99" fmla="*/ 515167 h 1421209"/>
                  <a:gd name="connsiteX100" fmla="*/ 237377 w 1620550"/>
                  <a:gd name="connsiteY100" fmla="*/ 536899 h 1421209"/>
                  <a:gd name="connsiteX101" fmla="*/ 239048 w 1620550"/>
                  <a:gd name="connsiteY101" fmla="*/ 543586 h 1421209"/>
                  <a:gd name="connsiteX102" fmla="*/ 237377 w 1620550"/>
                  <a:gd name="connsiteY102" fmla="*/ 595407 h 1421209"/>
                  <a:gd name="connsiteX103" fmla="*/ 230690 w 1620550"/>
                  <a:gd name="connsiteY103" fmla="*/ 610452 h 1421209"/>
                  <a:gd name="connsiteX104" fmla="*/ 227347 w 1620550"/>
                  <a:gd name="connsiteY104" fmla="*/ 618810 h 1421209"/>
                  <a:gd name="connsiteX105" fmla="*/ 224003 w 1620550"/>
                  <a:gd name="connsiteY105" fmla="*/ 625497 h 1421209"/>
                  <a:gd name="connsiteX106" fmla="*/ 222332 w 1620550"/>
                  <a:gd name="connsiteY106" fmla="*/ 633855 h 1421209"/>
                  <a:gd name="connsiteX107" fmla="*/ 213973 w 1620550"/>
                  <a:gd name="connsiteY107" fmla="*/ 642214 h 1421209"/>
                  <a:gd name="connsiteX108" fmla="*/ 205615 w 1620550"/>
                  <a:gd name="connsiteY108" fmla="*/ 648900 h 1421209"/>
                  <a:gd name="connsiteX109" fmla="*/ 190570 w 1620550"/>
                  <a:gd name="connsiteY109" fmla="*/ 652244 h 1421209"/>
                  <a:gd name="connsiteX110" fmla="*/ 192242 w 1620550"/>
                  <a:gd name="connsiteY110" fmla="*/ 662274 h 1421209"/>
                  <a:gd name="connsiteX111" fmla="*/ 193913 w 1620550"/>
                  <a:gd name="connsiteY111" fmla="*/ 667289 h 1421209"/>
                  <a:gd name="connsiteX112" fmla="*/ 190570 w 1620550"/>
                  <a:gd name="connsiteY112" fmla="*/ 695707 h 1421209"/>
                  <a:gd name="connsiteX113" fmla="*/ 187227 w 1620550"/>
                  <a:gd name="connsiteY113" fmla="*/ 704065 h 1421209"/>
                  <a:gd name="connsiteX114" fmla="*/ 185555 w 1620550"/>
                  <a:gd name="connsiteY114" fmla="*/ 712424 h 1421209"/>
                  <a:gd name="connsiteX115" fmla="*/ 180540 w 1620550"/>
                  <a:gd name="connsiteY115" fmla="*/ 717439 h 1421209"/>
                  <a:gd name="connsiteX116" fmla="*/ 175525 w 1620550"/>
                  <a:gd name="connsiteY116" fmla="*/ 725797 h 1421209"/>
                  <a:gd name="connsiteX117" fmla="*/ 170510 w 1620550"/>
                  <a:gd name="connsiteY117" fmla="*/ 727469 h 1421209"/>
                  <a:gd name="connsiteX118" fmla="*/ 165495 w 1620550"/>
                  <a:gd name="connsiteY118" fmla="*/ 730812 h 1421209"/>
                  <a:gd name="connsiteX119" fmla="*/ 147107 w 1620550"/>
                  <a:gd name="connsiteY119" fmla="*/ 734155 h 1421209"/>
                  <a:gd name="connsiteX120" fmla="*/ 137077 w 1620550"/>
                  <a:gd name="connsiteY120" fmla="*/ 739170 h 1421209"/>
                  <a:gd name="connsiteX121" fmla="*/ 128719 w 1620550"/>
                  <a:gd name="connsiteY121" fmla="*/ 742513 h 1421209"/>
                  <a:gd name="connsiteX122" fmla="*/ 122032 w 1620550"/>
                  <a:gd name="connsiteY122" fmla="*/ 745857 h 1421209"/>
                  <a:gd name="connsiteX123" fmla="*/ 98628 w 1620550"/>
                  <a:gd name="connsiteY123" fmla="*/ 745856 h 1421209"/>
                  <a:gd name="connsiteX124" fmla="*/ 103644 w 1620550"/>
                  <a:gd name="connsiteY124" fmla="*/ 755887 h 1421209"/>
                  <a:gd name="connsiteX125" fmla="*/ 106987 w 1620550"/>
                  <a:gd name="connsiteY125" fmla="*/ 770932 h 1421209"/>
                  <a:gd name="connsiteX126" fmla="*/ 110330 w 1620550"/>
                  <a:gd name="connsiteY126" fmla="*/ 779290 h 1421209"/>
                  <a:gd name="connsiteX127" fmla="*/ 112002 w 1620550"/>
                  <a:gd name="connsiteY127" fmla="*/ 787648 h 1421209"/>
                  <a:gd name="connsiteX128" fmla="*/ 113674 w 1620550"/>
                  <a:gd name="connsiteY128" fmla="*/ 821082 h 1421209"/>
                  <a:gd name="connsiteX129" fmla="*/ 117017 w 1620550"/>
                  <a:gd name="connsiteY129" fmla="*/ 827768 h 1421209"/>
                  <a:gd name="connsiteX130" fmla="*/ 125375 w 1620550"/>
                  <a:gd name="connsiteY130" fmla="*/ 831112 h 1421209"/>
                  <a:gd name="connsiteX131" fmla="*/ 140420 w 1620550"/>
                  <a:gd name="connsiteY131" fmla="*/ 832783 h 1421209"/>
                  <a:gd name="connsiteX132" fmla="*/ 155465 w 1620550"/>
                  <a:gd name="connsiteY132" fmla="*/ 837798 h 1421209"/>
                  <a:gd name="connsiteX133" fmla="*/ 153793 w 1620550"/>
                  <a:gd name="connsiteY133" fmla="*/ 864545 h 1421209"/>
                  <a:gd name="connsiteX134" fmla="*/ 147107 w 1620550"/>
                  <a:gd name="connsiteY134" fmla="*/ 871232 h 1421209"/>
                  <a:gd name="connsiteX135" fmla="*/ 143764 w 1620550"/>
                  <a:gd name="connsiteY135" fmla="*/ 876247 h 1421209"/>
                  <a:gd name="connsiteX136" fmla="*/ 133734 w 1620550"/>
                  <a:gd name="connsiteY136" fmla="*/ 886277 h 1421209"/>
                  <a:gd name="connsiteX137" fmla="*/ 128719 w 1620550"/>
                  <a:gd name="connsiteY137" fmla="*/ 891292 h 1421209"/>
                  <a:gd name="connsiteX138" fmla="*/ 108659 w 1620550"/>
                  <a:gd name="connsiteY138" fmla="*/ 904665 h 1421209"/>
                  <a:gd name="connsiteX139" fmla="*/ 100300 w 1620550"/>
                  <a:gd name="connsiteY139" fmla="*/ 913023 h 1421209"/>
                  <a:gd name="connsiteX140" fmla="*/ 86927 w 1620550"/>
                  <a:gd name="connsiteY140" fmla="*/ 928068 h 1421209"/>
                  <a:gd name="connsiteX141" fmla="*/ 86927 w 1620550"/>
                  <a:gd name="connsiteY141" fmla="*/ 981561 h 1421209"/>
                  <a:gd name="connsiteX142" fmla="*/ 96957 w 1620550"/>
                  <a:gd name="connsiteY142" fmla="*/ 991591 h 1421209"/>
                  <a:gd name="connsiteX143" fmla="*/ 108659 w 1620550"/>
                  <a:gd name="connsiteY143" fmla="*/ 993263 h 1421209"/>
                  <a:gd name="connsiteX144" fmla="*/ 115345 w 1620550"/>
                  <a:gd name="connsiteY144" fmla="*/ 1038398 h 1421209"/>
                  <a:gd name="connsiteX145" fmla="*/ 93614 w 1620550"/>
                  <a:gd name="connsiteY145" fmla="*/ 1035055 h 1421209"/>
                  <a:gd name="connsiteX146" fmla="*/ 63524 w 1620550"/>
                  <a:gd name="connsiteY146" fmla="*/ 1036726 h 1421209"/>
                  <a:gd name="connsiteX147" fmla="*/ 56837 w 1620550"/>
                  <a:gd name="connsiteY147" fmla="*/ 1045085 h 1421209"/>
                  <a:gd name="connsiteX148" fmla="*/ 48479 w 1620550"/>
                  <a:gd name="connsiteY148" fmla="*/ 1051771 h 1421209"/>
                  <a:gd name="connsiteX149" fmla="*/ 43464 w 1620550"/>
                  <a:gd name="connsiteY149" fmla="*/ 1058458 h 1421209"/>
                  <a:gd name="connsiteX150" fmla="*/ 40120 w 1620550"/>
                  <a:gd name="connsiteY150" fmla="*/ 1061801 h 1421209"/>
                  <a:gd name="connsiteX151" fmla="*/ 35105 w 1620550"/>
                  <a:gd name="connsiteY151" fmla="*/ 1070160 h 1421209"/>
                  <a:gd name="connsiteX152" fmla="*/ 33434 w 1620550"/>
                  <a:gd name="connsiteY152" fmla="*/ 1075175 h 1421209"/>
                  <a:gd name="connsiteX153" fmla="*/ 28419 w 1620550"/>
                  <a:gd name="connsiteY153" fmla="*/ 1091891 h 1421209"/>
                  <a:gd name="connsiteX154" fmla="*/ 25075 w 1620550"/>
                  <a:gd name="connsiteY154" fmla="*/ 1098578 h 1421209"/>
                  <a:gd name="connsiteX155" fmla="*/ 20060 w 1620550"/>
                  <a:gd name="connsiteY155" fmla="*/ 1111951 h 1421209"/>
                  <a:gd name="connsiteX156" fmla="*/ 21732 w 1620550"/>
                  <a:gd name="connsiteY156" fmla="*/ 1163773 h 1421209"/>
                  <a:gd name="connsiteX157" fmla="*/ 41792 w 1620550"/>
                  <a:gd name="connsiteY157" fmla="*/ 1162101 h 1421209"/>
                  <a:gd name="connsiteX158" fmla="*/ 68539 w 1620550"/>
                  <a:gd name="connsiteY158" fmla="*/ 1163773 h 1421209"/>
                  <a:gd name="connsiteX159" fmla="*/ 81912 w 1620550"/>
                  <a:gd name="connsiteY159" fmla="*/ 1173803 h 1421209"/>
                  <a:gd name="connsiteX160" fmla="*/ 86927 w 1620550"/>
                  <a:gd name="connsiteY160" fmla="*/ 1177146 h 1421209"/>
                  <a:gd name="connsiteX161" fmla="*/ 93614 w 1620550"/>
                  <a:gd name="connsiteY161" fmla="*/ 1185504 h 1421209"/>
                  <a:gd name="connsiteX162" fmla="*/ 96957 w 1620550"/>
                  <a:gd name="connsiteY162" fmla="*/ 1195534 h 1421209"/>
                  <a:gd name="connsiteX163" fmla="*/ 98629 w 1620550"/>
                  <a:gd name="connsiteY163" fmla="*/ 1200549 h 1421209"/>
                  <a:gd name="connsiteX164" fmla="*/ 108659 w 1620550"/>
                  <a:gd name="connsiteY164" fmla="*/ 1212251 h 1421209"/>
                  <a:gd name="connsiteX165" fmla="*/ 113674 w 1620550"/>
                  <a:gd name="connsiteY165" fmla="*/ 1213923 h 1421209"/>
                  <a:gd name="connsiteX166" fmla="*/ 122032 w 1620550"/>
                  <a:gd name="connsiteY166" fmla="*/ 1217266 h 1421209"/>
                  <a:gd name="connsiteX167" fmla="*/ 135405 w 1620550"/>
                  <a:gd name="connsiteY167" fmla="*/ 1227296 h 1421209"/>
                  <a:gd name="connsiteX168" fmla="*/ 140420 w 1620550"/>
                  <a:gd name="connsiteY168" fmla="*/ 1230639 h 1421209"/>
                  <a:gd name="connsiteX169" fmla="*/ 145435 w 1620550"/>
                  <a:gd name="connsiteY169" fmla="*/ 1232311 h 1421209"/>
                  <a:gd name="connsiteX170" fmla="*/ 148779 w 1620550"/>
                  <a:gd name="connsiteY170" fmla="*/ 1237326 h 1421209"/>
                  <a:gd name="connsiteX171" fmla="*/ 153793 w 1620550"/>
                  <a:gd name="connsiteY171" fmla="*/ 1244013 h 1421209"/>
                  <a:gd name="connsiteX172" fmla="*/ 158808 w 1620550"/>
                  <a:gd name="connsiteY172" fmla="*/ 1255714 h 1421209"/>
                  <a:gd name="connsiteX173" fmla="*/ 152122 w 1620550"/>
                  <a:gd name="connsiteY173" fmla="*/ 1259058 h 1421209"/>
                  <a:gd name="connsiteX174" fmla="*/ 143764 w 1620550"/>
                  <a:gd name="connsiteY174" fmla="*/ 1260729 h 1421209"/>
                  <a:gd name="connsiteX175" fmla="*/ 145435 w 1620550"/>
                  <a:gd name="connsiteY175" fmla="*/ 1274103 h 1421209"/>
                  <a:gd name="connsiteX176" fmla="*/ 152122 w 1620550"/>
                  <a:gd name="connsiteY176" fmla="*/ 1290819 h 1421209"/>
                  <a:gd name="connsiteX177" fmla="*/ 155465 w 1620550"/>
                  <a:gd name="connsiteY177" fmla="*/ 1295834 h 1421209"/>
                  <a:gd name="connsiteX178" fmla="*/ 160480 w 1620550"/>
                  <a:gd name="connsiteY178" fmla="*/ 1297506 h 1421209"/>
                  <a:gd name="connsiteX179" fmla="*/ 163823 w 1620550"/>
                  <a:gd name="connsiteY179" fmla="*/ 1302521 h 1421209"/>
                  <a:gd name="connsiteX180" fmla="*/ 168838 w 1620550"/>
                  <a:gd name="connsiteY180" fmla="*/ 1305864 h 1421209"/>
                  <a:gd name="connsiteX181" fmla="*/ 177197 w 1620550"/>
                  <a:gd name="connsiteY181" fmla="*/ 1312551 h 1421209"/>
                  <a:gd name="connsiteX182" fmla="*/ 180540 w 1620550"/>
                  <a:gd name="connsiteY182" fmla="*/ 1317566 h 1421209"/>
                  <a:gd name="connsiteX183" fmla="*/ 168838 w 1620550"/>
                  <a:gd name="connsiteY183" fmla="*/ 1329267 h 1421209"/>
                  <a:gd name="connsiteX184" fmla="*/ 170510 w 1620550"/>
                  <a:gd name="connsiteY184" fmla="*/ 1349327 h 1421209"/>
                  <a:gd name="connsiteX185" fmla="*/ 175525 w 1620550"/>
                  <a:gd name="connsiteY185" fmla="*/ 1356014 h 1421209"/>
                  <a:gd name="connsiteX186" fmla="*/ 177197 w 1620550"/>
                  <a:gd name="connsiteY186" fmla="*/ 1371059 h 1421209"/>
                  <a:gd name="connsiteX187" fmla="*/ 178868 w 1620550"/>
                  <a:gd name="connsiteY187" fmla="*/ 1381089 h 1421209"/>
                  <a:gd name="connsiteX188" fmla="*/ 182212 w 1620550"/>
                  <a:gd name="connsiteY188" fmla="*/ 1397806 h 1421209"/>
                  <a:gd name="connsiteX189" fmla="*/ 188898 w 1620550"/>
                  <a:gd name="connsiteY189" fmla="*/ 1401149 h 1421209"/>
                  <a:gd name="connsiteX190" fmla="*/ 193913 w 1620550"/>
                  <a:gd name="connsiteY190" fmla="*/ 1399477 h 1421209"/>
                  <a:gd name="connsiteX191" fmla="*/ 200600 w 1620550"/>
                  <a:gd name="connsiteY191" fmla="*/ 1389447 h 1421209"/>
                  <a:gd name="connsiteX192" fmla="*/ 208958 w 1620550"/>
                  <a:gd name="connsiteY192" fmla="*/ 1392791 h 1421209"/>
                  <a:gd name="connsiteX193" fmla="*/ 210630 w 1620550"/>
                  <a:gd name="connsiteY193" fmla="*/ 1397806 h 1421209"/>
                  <a:gd name="connsiteX194" fmla="*/ 213973 w 1620550"/>
                  <a:gd name="connsiteY194" fmla="*/ 1402821 h 1421209"/>
                  <a:gd name="connsiteX195" fmla="*/ 215645 w 1620550"/>
                  <a:gd name="connsiteY195" fmla="*/ 1412851 h 1421209"/>
                  <a:gd name="connsiteX196" fmla="*/ 222332 w 1620550"/>
                  <a:gd name="connsiteY196" fmla="*/ 1416194 h 1421209"/>
                  <a:gd name="connsiteX197" fmla="*/ 234033 w 1620550"/>
                  <a:gd name="connsiteY197" fmla="*/ 1419537 h 1421209"/>
                  <a:gd name="connsiteX198" fmla="*/ 239048 w 1620550"/>
                  <a:gd name="connsiteY198" fmla="*/ 1421209 h 1421209"/>
                  <a:gd name="connsiteX199" fmla="*/ 269138 w 1620550"/>
                  <a:gd name="connsiteY199" fmla="*/ 1419537 h 1421209"/>
                  <a:gd name="connsiteX200" fmla="*/ 270810 w 1620550"/>
                  <a:gd name="connsiteY200" fmla="*/ 1414522 h 1421209"/>
                  <a:gd name="connsiteX201" fmla="*/ 277497 w 1620550"/>
                  <a:gd name="connsiteY201" fmla="*/ 1412851 h 1421209"/>
                  <a:gd name="connsiteX202" fmla="*/ 285855 w 1620550"/>
                  <a:gd name="connsiteY202" fmla="*/ 1411179 h 1421209"/>
                  <a:gd name="connsiteX203" fmla="*/ 287527 w 1620550"/>
                  <a:gd name="connsiteY203" fmla="*/ 1406164 h 1421209"/>
                  <a:gd name="connsiteX204" fmla="*/ 289198 w 1620550"/>
                  <a:gd name="connsiteY204" fmla="*/ 1396134 h 1421209"/>
                  <a:gd name="connsiteX205" fmla="*/ 294213 w 1620550"/>
                  <a:gd name="connsiteY205" fmla="*/ 1389447 h 1421209"/>
                  <a:gd name="connsiteX206" fmla="*/ 300900 w 1620550"/>
                  <a:gd name="connsiteY206" fmla="*/ 1379417 h 1421209"/>
                  <a:gd name="connsiteX207" fmla="*/ 307587 w 1620550"/>
                  <a:gd name="connsiteY207" fmla="*/ 1366044 h 1421209"/>
                  <a:gd name="connsiteX208" fmla="*/ 314273 w 1620550"/>
                  <a:gd name="connsiteY208" fmla="*/ 1361029 h 1421209"/>
                  <a:gd name="connsiteX209" fmla="*/ 317617 w 1620550"/>
                  <a:gd name="connsiteY209" fmla="*/ 1357686 h 1421209"/>
                  <a:gd name="connsiteX210" fmla="*/ 339348 w 1620550"/>
                  <a:gd name="connsiteY210" fmla="*/ 1354342 h 1421209"/>
                  <a:gd name="connsiteX211" fmla="*/ 356065 w 1620550"/>
                  <a:gd name="connsiteY211" fmla="*/ 1357686 h 1421209"/>
                  <a:gd name="connsiteX212" fmla="*/ 361080 w 1620550"/>
                  <a:gd name="connsiteY212" fmla="*/ 1359357 h 1421209"/>
                  <a:gd name="connsiteX213" fmla="*/ 364423 w 1620550"/>
                  <a:gd name="connsiteY213" fmla="*/ 1362701 h 1421209"/>
                  <a:gd name="connsiteX214" fmla="*/ 374453 w 1620550"/>
                  <a:gd name="connsiteY214" fmla="*/ 1367716 h 1421209"/>
                  <a:gd name="connsiteX215" fmla="*/ 377796 w 1620550"/>
                  <a:gd name="connsiteY215" fmla="*/ 1374402 h 1421209"/>
                  <a:gd name="connsiteX216" fmla="*/ 381140 w 1620550"/>
                  <a:gd name="connsiteY216" fmla="*/ 1377746 h 1421209"/>
                  <a:gd name="connsiteX217" fmla="*/ 386155 w 1620550"/>
                  <a:gd name="connsiteY217" fmla="*/ 1374402 h 1421209"/>
                  <a:gd name="connsiteX218" fmla="*/ 396185 w 1620550"/>
                  <a:gd name="connsiteY218" fmla="*/ 1361029 h 1421209"/>
                  <a:gd name="connsiteX219" fmla="*/ 414573 w 1620550"/>
                  <a:gd name="connsiteY219" fmla="*/ 1356014 h 1421209"/>
                  <a:gd name="connsiteX220" fmla="*/ 416245 w 1620550"/>
                  <a:gd name="connsiteY220" fmla="*/ 1349327 h 1421209"/>
                  <a:gd name="connsiteX221" fmla="*/ 419588 w 1620550"/>
                  <a:gd name="connsiteY221" fmla="*/ 1334282 h 1421209"/>
                  <a:gd name="connsiteX222" fmla="*/ 424603 w 1620550"/>
                  <a:gd name="connsiteY222" fmla="*/ 1330939 h 1421209"/>
                  <a:gd name="connsiteX223" fmla="*/ 444663 w 1620550"/>
                  <a:gd name="connsiteY223" fmla="*/ 1332611 h 1421209"/>
                  <a:gd name="connsiteX224" fmla="*/ 466395 w 1620550"/>
                  <a:gd name="connsiteY224" fmla="*/ 1339297 h 1421209"/>
                  <a:gd name="connsiteX225" fmla="*/ 509858 w 1620550"/>
                  <a:gd name="connsiteY225" fmla="*/ 1340969 h 1421209"/>
                  <a:gd name="connsiteX226" fmla="*/ 523231 w 1620550"/>
                  <a:gd name="connsiteY226" fmla="*/ 1345984 h 1421209"/>
                  <a:gd name="connsiteX227" fmla="*/ 531589 w 1620550"/>
                  <a:gd name="connsiteY227" fmla="*/ 1357686 h 1421209"/>
                  <a:gd name="connsiteX228" fmla="*/ 534933 w 1620550"/>
                  <a:gd name="connsiteY228" fmla="*/ 1364372 h 1421209"/>
                  <a:gd name="connsiteX229" fmla="*/ 539948 w 1620550"/>
                  <a:gd name="connsiteY229" fmla="*/ 1366044 h 1421209"/>
                  <a:gd name="connsiteX230" fmla="*/ 565023 w 1620550"/>
                  <a:gd name="connsiteY230" fmla="*/ 1369387 h 1421209"/>
                  <a:gd name="connsiteX231" fmla="*/ 568366 w 1620550"/>
                  <a:gd name="connsiteY231" fmla="*/ 1372731 h 1421209"/>
                  <a:gd name="connsiteX232" fmla="*/ 571709 w 1620550"/>
                  <a:gd name="connsiteY232" fmla="*/ 1366044 h 1421209"/>
                  <a:gd name="connsiteX233" fmla="*/ 600128 w 1620550"/>
                  <a:gd name="connsiteY233" fmla="*/ 1357686 h 1421209"/>
                  <a:gd name="connsiteX234" fmla="*/ 626874 w 1620550"/>
                  <a:gd name="connsiteY234" fmla="*/ 1361029 h 1421209"/>
                  <a:gd name="connsiteX235" fmla="*/ 633561 w 1620550"/>
                  <a:gd name="connsiteY235" fmla="*/ 1364372 h 1421209"/>
                  <a:gd name="connsiteX236" fmla="*/ 638576 w 1620550"/>
                  <a:gd name="connsiteY236" fmla="*/ 1366044 h 1421209"/>
                  <a:gd name="connsiteX237" fmla="*/ 643591 w 1620550"/>
                  <a:gd name="connsiteY237" fmla="*/ 1372731 h 1421209"/>
                  <a:gd name="connsiteX238" fmla="*/ 650278 w 1620550"/>
                  <a:gd name="connsiteY238" fmla="*/ 1382761 h 1421209"/>
                  <a:gd name="connsiteX239" fmla="*/ 660308 w 1620550"/>
                  <a:gd name="connsiteY239" fmla="*/ 1386104 h 1421209"/>
                  <a:gd name="connsiteX240" fmla="*/ 672009 w 1620550"/>
                  <a:gd name="connsiteY240" fmla="*/ 1389447 h 1421209"/>
                  <a:gd name="connsiteX241" fmla="*/ 687054 w 1620550"/>
                  <a:gd name="connsiteY241" fmla="*/ 1382761 h 1421209"/>
                  <a:gd name="connsiteX242" fmla="*/ 690398 w 1620550"/>
                  <a:gd name="connsiteY242" fmla="*/ 1374402 h 1421209"/>
                  <a:gd name="connsiteX243" fmla="*/ 695413 w 1620550"/>
                  <a:gd name="connsiteY243" fmla="*/ 1371059 h 1421209"/>
                  <a:gd name="connsiteX244" fmla="*/ 707114 w 1620550"/>
                  <a:gd name="connsiteY244" fmla="*/ 1366044 h 1421209"/>
                  <a:gd name="connsiteX245" fmla="*/ 715472 w 1620550"/>
                  <a:gd name="connsiteY245" fmla="*/ 1364372 h 1421209"/>
                  <a:gd name="connsiteX246" fmla="*/ 735532 w 1620550"/>
                  <a:gd name="connsiteY246" fmla="*/ 1371059 h 1421209"/>
                  <a:gd name="connsiteX247" fmla="*/ 737204 w 1620550"/>
                  <a:gd name="connsiteY247" fmla="*/ 1376074 h 1421209"/>
                  <a:gd name="connsiteX248" fmla="*/ 742219 w 1620550"/>
                  <a:gd name="connsiteY248" fmla="*/ 1387776 h 1421209"/>
                  <a:gd name="connsiteX249" fmla="*/ 748906 w 1620550"/>
                  <a:gd name="connsiteY249" fmla="*/ 1389447 h 1421209"/>
                  <a:gd name="connsiteX250" fmla="*/ 762279 w 1620550"/>
                  <a:gd name="connsiteY250" fmla="*/ 1384432 h 1421209"/>
                  <a:gd name="connsiteX251" fmla="*/ 772309 w 1620550"/>
                  <a:gd name="connsiteY251" fmla="*/ 1381089 h 1421209"/>
                  <a:gd name="connsiteX252" fmla="*/ 784011 w 1620550"/>
                  <a:gd name="connsiteY252" fmla="*/ 1371059 h 1421209"/>
                  <a:gd name="connsiteX253" fmla="*/ 797384 w 1620550"/>
                  <a:gd name="connsiteY253" fmla="*/ 1357686 h 1421209"/>
                  <a:gd name="connsiteX254" fmla="*/ 802399 w 1620550"/>
                  <a:gd name="connsiteY254" fmla="*/ 1352671 h 1421209"/>
                  <a:gd name="connsiteX255" fmla="*/ 810757 w 1620550"/>
                  <a:gd name="connsiteY255" fmla="*/ 1350999 h 1421209"/>
                  <a:gd name="connsiteX256" fmla="*/ 812429 w 1620550"/>
                  <a:gd name="connsiteY256" fmla="*/ 1344312 h 1421209"/>
                  <a:gd name="connsiteX257" fmla="*/ 807414 w 1620550"/>
                  <a:gd name="connsiteY257" fmla="*/ 1325924 h 1421209"/>
                  <a:gd name="connsiteX258" fmla="*/ 809086 w 1620550"/>
                  <a:gd name="connsiteY258" fmla="*/ 1314222 h 1421209"/>
                  <a:gd name="connsiteX259" fmla="*/ 812429 w 1620550"/>
                  <a:gd name="connsiteY259" fmla="*/ 1309207 h 1421209"/>
                  <a:gd name="connsiteX260" fmla="*/ 820787 w 1620550"/>
                  <a:gd name="connsiteY260" fmla="*/ 1299177 h 1421209"/>
                  <a:gd name="connsiteX261" fmla="*/ 827474 w 1620550"/>
                  <a:gd name="connsiteY261" fmla="*/ 1294162 h 1421209"/>
                  <a:gd name="connsiteX262" fmla="*/ 869266 w 1620550"/>
                  <a:gd name="connsiteY262" fmla="*/ 1292491 h 1421209"/>
                  <a:gd name="connsiteX263" fmla="*/ 870937 w 1620550"/>
                  <a:gd name="connsiteY263" fmla="*/ 1277446 h 1421209"/>
                  <a:gd name="connsiteX264" fmla="*/ 880967 w 1620550"/>
                  <a:gd name="connsiteY264" fmla="*/ 1270759 h 1421209"/>
                  <a:gd name="connsiteX265" fmla="*/ 885982 w 1620550"/>
                  <a:gd name="connsiteY265" fmla="*/ 1269088 h 1421209"/>
                  <a:gd name="connsiteX266" fmla="*/ 932789 w 1620550"/>
                  <a:gd name="connsiteY266" fmla="*/ 1270759 h 1421209"/>
                  <a:gd name="connsiteX267" fmla="*/ 942819 w 1620550"/>
                  <a:gd name="connsiteY267" fmla="*/ 1272431 h 1421209"/>
                  <a:gd name="connsiteX268" fmla="*/ 949505 w 1620550"/>
                  <a:gd name="connsiteY268" fmla="*/ 1275774 h 1421209"/>
                  <a:gd name="connsiteX269" fmla="*/ 954520 w 1620550"/>
                  <a:gd name="connsiteY269" fmla="*/ 1277446 h 1421209"/>
                  <a:gd name="connsiteX270" fmla="*/ 964550 w 1620550"/>
                  <a:gd name="connsiteY270" fmla="*/ 1274103 h 1421209"/>
                  <a:gd name="connsiteX271" fmla="*/ 971237 w 1620550"/>
                  <a:gd name="connsiteY271" fmla="*/ 1264073 h 1421209"/>
                  <a:gd name="connsiteX272" fmla="*/ 964550 w 1620550"/>
                  <a:gd name="connsiteY272" fmla="*/ 1249028 h 1421209"/>
                  <a:gd name="connsiteX273" fmla="*/ 966222 w 1620550"/>
                  <a:gd name="connsiteY273" fmla="*/ 1233983 h 1421209"/>
                  <a:gd name="connsiteX274" fmla="*/ 974580 w 1620550"/>
                  <a:gd name="connsiteY274" fmla="*/ 1215594 h 1421209"/>
                  <a:gd name="connsiteX275" fmla="*/ 977924 w 1620550"/>
                  <a:gd name="connsiteY275" fmla="*/ 1212251 h 1421209"/>
                  <a:gd name="connsiteX276" fmla="*/ 982939 w 1620550"/>
                  <a:gd name="connsiteY276" fmla="*/ 1205564 h 1421209"/>
                  <a:gd name="connsiteX277" fmla="*/ 991297 w 1620550"/>
                  <a:gd name="connsiteY277" fmla="*/ 1195534 h 1421209"/>
                  <a:gd name="connsiteX278" fmla="*/ 1001327 w 1620550"/>
                  <a:gd name="connsiteY278" fmla="*/ 1185504 h 1421209"/>
                  <a:gd name="connsiteX279" fmla="*/ 1002999 w 1620550"/>
                  <a:gd name="connsiteY279" fmla="*/ 1180489 h 1421209"/>
                  <a:gd name="connsiteX280" fmla="*/ 1006342 w 1620550"/>
                  <a:gd name="connsiteY280" fmla="*/ 1175474 h 1421209"/>
                  <a:gd name="connsiteX281" fmla="*/ 1008014 w 1620550"/>
                  <a:gd name="connsiteY281" fmla="*/ 1168788 h 1421209"/>
                  <a:gd name="connsiteX282" fmla="*/ 1016372 w 1620550"/>
                  <a:gd name="connsiteY282" fmla="*/ 1157086 h 1421209"/>
                  <a:gd name="connsiteX283" fmla="*/ 1023059 w 1620550"/>
                  <a:gd name="connsiteY283" fmla="*/ 1143713 h 1421209"/>
                  <a:gd name="connsiteX284" fmla="*/ 1024730 w 1620550"/>
                  <a:gd name="connsiteY284" fmla="*/ 1138698 h 1421209"/>
                  <a:gd name="connsiteX285" fmla="*/ 1028074 w 1620550"/>
                  <a:gd name="connsiteY285" fmla="*/ 1135354 h 1421209"/>
                  <a:gd name="connsiteX286" fmla="*/ 1033089 w 1620550"/>
                  <a:gd name="connsiteY286" fmla="*/ 1128668 h 1421209"/>
                  <a:gd name="connsiteX287" fmla="*/ 1043119 w 1620550"/>
                  <a:gd name="connsiteY287" fmla="*/ 1116966 h 1421209"/>
                  <a:gd name="connsiteX288" fmla="*/ 1061507 w 1620550"/>
                  <a:gd name="connsiteY288" fmla="*/ 1111951 h 1421209"/>
                  <a:gd name="connsiteX289" fmla="*/ 1069865 w 1620550"/>
                  <a:gd name="connsiteY289" fmla="*/ 1108608 h 1421209"/>
                  <a:gd name="connsiteX290" fmla="*/ 1089925 w 1620550"/>
                  <a:gd name="connsiteY290" fmla="*/ 1105264 h 1421209"/>
                  <a:gd name="connsiteX291" fmla="*/ 1094940 w 1620550"/>
                  <a:gd name="connsiteY291" fmla="*/ 1101921 h 1421209"/>
                  <a:gd name="connsiteX292" fmla="*/ 1111657 w 1620550"/>
                  <a:gd name="connsiteY292" fmla="*/ 1098578 h 1421209"/>
                  <a:gd name="connsiteX293" fmla="*/ 1126702 w 1620550"/>
                  <a:gd name="connsiteY293" fmla="*/ 1090220 h 1421209"/>
                  <a:gd name="connsiteX294" fmla="*/ 1131717 w 1620550"/>
                  <a:gd name="connsiteY294" fmla="*/ 1086876 h 1421209"/>
                  <a:gd name="connsiteX295" fmla="*/ 1133388 w 1620550"/>
                  <a:gd name="connsiteY295" fmla="*/ 1078518 h 1421209"/>
                  <a:gd name="connsiteX296" fmla="*/ 1126702 w 1620550"/>
                  <a:gd name="connsiteY296" fmla="*/ 1070160 h 1421209"/>
                  <a:gd name="connsiteX297" fmla="*/ 1118343 w 1620550"/>
                  <a:gd name="connsiteY297" fmla="*/ 1065145 h 1421209"/>
                  <a:gd name="connsiteX298" fmla="*/ 1109985 w 1620550"/>
                  <a:gd name="connsiteY298" fmla="*/ 1056786 h 1421209"/>
                  <a:gd name="connsiteX299" fmla="*/ 1103298 w 1620550"/>
                  <a:gd name="connsiteY299" fmla="*/ 1048428 h 1421209"/>
                  <a:gd name="connsiteX300" fmla="*/ 1099955 w 1620550"/>
                  <a:gd name="connsiteY300" fmla="*/ 1043413 h 1421209"/>
                  <a:gd name="connsiteX301" fmla="*/ 1094940 w 1620550"/>
                  <a:gd name="connsiteY301" fmla="*/ 1040070 h 1421209"/>
                  <a:gd name="connsiteX302" fmla="*/ 1091597 w 1620550"/>
                  <a:gd name="connsiteY302" fmla="*/ 1033383 h 1421209"/>
                  <a:gd name="connsiteX303" fmla="*/ 1088253 w 1620550"/>
                  <a:gd name="connsiteY303" fmla="*/ 1030040 h 1421209"/>
                  <a:gd name="connsiteX304" fmla="*/ 1083238 w 1620550"/>
                  <a:gd name="connsiteY304" fmla="*/ 1018338 h 1421209"/>
                  <a:gd name="connsiteX305" fmla="*/ 1081567 w 1620550"/>
                  <a:gd name="connsiteY305" fmla="*/ 989920 h 1421209"/>
                  <a:gd name="connsiteX306" fmla="*/ 1079895 w 1620550"/>
                  <a:gd name="connsiteY306" fmla="*/ 984905 h 1421209"/>
                  <a:gd name="connsiteX307" fmla="*/ 1074880 w 1620550"/>
                  <a:gd name="connsiteY307" fmla="*/ 979890 h 1421209"/>
                  <a:gd name="connsiteX308" fmla="*/ 1069865 w 1620550"/>
                  <a:gd name="connsiteY308" fmla="*/ 964845 h 1421209"/>
                  <a:gd name="connsiteX309" fmla="*/ 1074880 w 1620550"/>
                  <a:gd name="connsiteY309" fmla="*/ 929740 h 1421209"/>
                  <a:gd name="connsiteX310" fmla="*/ 1084910 w 1620550"/>
                  <a:gd name="connsiteY310" fmla="*/ 919710 h 1421209"/>
                  <a:gd name="connsiteX311" fmla="*/ 1091597 w 1620550"/>
                  <a:gd name="connsiteY311" fmla="*/ 911352 h 1421209"/>
                  <a:gd name="connsiteX312" fmla="*/ 1098283 w 1620550"/>
                  <a:gd name="connsiteY312" fmla="*/ 906337 h 1421209"/>
                  <a:gd name="connsiteX313" fmla="*/ 1111657 w 1620550"/>
                  <a:gd name="connsiteY313" fmla="*/ 892963 h 1421209"/>
                  <a:gd name="connsiteX314" fmla="*/ 1116672 w 1620550"/>
                  <a:gd name="connsiteY314" fmla="*/ 887948 h 1421209"/>
                  <a:gd name="connsiteX315" fmla="*/ 1121687 w 1620550"/>
                  <a:gd name="connsiteY315" fmla="*/ 881262 h 1421209"/>
                  <a:gd name="connsiteX316" fmla="*/ 1125030 w 1620550"/>
                  <a:gd name="connsiteY316" fmla="*/ 877918 h 1421209"/>
                  <a:gd name="connsiteX317" fmla="*/ 1131717 w 1620550"/>
                  <a:gd name="connsiteY317" fmla="*/ 869560 h 1421209"/>
                  <a:gd name="connsiteX318" fmla="*/ 1136732 w 1620550"/>
                  <a:gd name="connsiteY318" fmla="*/ 864545 h 1421209"/>
                  <a:gd name="connsiteX319" fmla="*/ 1145090 w 1620550"/>
                  <a:gd name="connsiteY319" fmla="*/ 849500 h 1421209"/>
                  <a:gd name="connsiteX320" fmla="*/ 1150105 w 1620550"/>
                  <a:gd name="connsiteY320" fmla="*/ 841142 h 1421209"/>
                  <a:gd name="connsiteX321" fmla="*/ 1153448 w 1620550"/>
                  <a:gd name="connsiteY321" fmla="*/ 831112 h 1421209"/>
                  <a:gd name="connsiteX322" fmla="*/ 1156792 w 1620550"/>
                  <a:gd name="connsiteY322" fmla="*/ 827768 h 1421209"/>
                  <a:gd name="connsiteX323" fmla="*/ 1160135 w 1620550"/>
                  <a:gd name="connsiteY323" fmla="*/ 822753 h 1421209"/>
                  <a:gd name="connsiteX324" fmla="*/ 1173508 w 1620550"/>
                  <a:gd name="connsiteY324" fmla="*/ 814395 h 1421209"/>
                  <a:gd name="connsiteX325" fmla="*/ 1181867 w 1620550"/>
                  <a:gd name="connsiteY325" fmla="*/ 806037 h 1421209"/>
                  <a:gd name="connsiteX326" fmla="*/ 1185210 w 1620550"/>
                  <a:gd name="connsiteY326" fmla="*/ 799350 h 1421209"/>
                  <a:gd name="connsiteX327" fmla="*/ 1205270 w 1620550"/>
                  <a:gd name="connsiteY327" fmla="*/ 785977 h 1421209"/>
                  <a:gd name="connsiteX328" fmla="*/ 1213628 w 1620550"/>
                  <a:gd name="connsiteY328" fmla="*/ 779290 h 1421209"/>
                  <a:gd name="connsiteX329" fmla="*/ 1225330 w 1620550"/>
                  <a:gd name="connsiteY329" fmla="*/ 770932 h 1421209"/>
                  <a:gd name="connsiteX330" fmla="*/ 1228673 w 1620550"/>
                  <a:gd name="connsiteY330" fmla="*/ 765917 h 1421209"/>
                  <a:gd name="connsiteX331" fmla="*/ 1243718 w 1620550"/>
                  <a:gd name="connsiteY331" fmla="*/ 764245 h 1421209"/>
                  <a:gd name="connsiteX332" fmla="*/ 1250405 w 1620550"/>
                  <a:gd name="connsiteY332" fmla="*/ 762573 h 1421209"/>
                  <a:gd name="connsiteX333" fmla="*/ 1255420 w 1620550"/>
                  <a:gd name="connsiteY333" fmla="*/ 757558 h 1421209"/>
                  <a:gd name="connsiteX334" fmla="*/ 1263778 w 1620550"/>
                  <a:gd name="connsiteY334" fmla="*/ 752543 h 1421209"/>
                  <a:gd name="connsiteX335" fmla="*/ 1260435 w 1620550"/>
                  <a:gd name="connsiteY335" fmla="*/ 735827 h 1421209"/>
                  <a:gd name="connsiteX336" fmla="*/ 1257091 w 1620550"/>
                  <a:gd name="connsiteY336" fmla="*/ 732484 h 1421209"/>
                  <a:gd name="connsiteX337" fmla="*/ 1255420 w 1620550"/>
                  <a:gd name="connsiteY337" fmla="*/ 727469 h 1421209"/>
                  <a:gd name="connsiteX338" fmla="*/ 1262106 w 1620550"/>
                  <a:gd name="connsiteY338" fmla="*/ 710752 h 1421209"/>
                  <a:gd name="connsiteX339" fmla="*/ 1272136 w 1620550"/>
                  <a:gd name="connsiteY339" fmla="*/ 705737 h 1421209"/>
                  <a:gd name="connsiteX340" fmla="*/ 1280495 w 1620550"/>
                  <a:gd name="connsiteY340" fmla="*/ 700722 h 1421209"/>
                  <a:gd name="connsiteX341" fmla="*/ 1287181 w 1620550"/>
                  <a:gd name="connsiteY341" fmla="*/ 697379 h 1421209"/>
                  <a:gd name="connsiteX342" fmla="*/ 1292196 w 1620550"/>
                  <a:gd name="connsiteY342" fmla="*/ 694035 h 1421209"/>
                  <a:gd name="connsiteX343" fmla="*/ 1298883 w 1620550"/>
                  <a:gd name="connsiteY343" fmla="*/ 692364 h 1421209"/>
                  <a:gd name="connsiteX344" fmla="*/ 1308913 w 1620550"/>
                  <a:gd name="connsiteY344" fmla="*/ 687349 h 1421209"/>
                  <a:gd name="connsiteX345" fmla="*/ 1323958 w 1620550"/>
                  <a:gd name="connsiteY345" fmla="*/ 682334 h 1421209"/>
                  <a:gd name="connsiteX346" fmla="*/ 1330645 w 1620550"/>
                  <a:gd name="connsiteY346" fmla="*/ 678990 h 1421209"/>
                  <a:gd name="connsiteX347" fmla="*/ 1355720 w 1620550"/>
                  <a:gd name="connsiteY347" fmla="*/ 675647 h 1421209"/>
                  <a:gd name="connsiteX348" fmla="*/ 1359063 w 1620550"/>
                  <a:gd name="connsiteY348" fmla="*/ 670632 h 1421209"/>
                  <a:gd name="connsiteX349" fmla="*/ 1372436 w 1620550"/>
                  <a:gd name="connsiteY349" fmla="*/ 667289 h 1421209"/>
                  <a:gd name="connsiteX350" fmla="*/ 1449333 w 1620550"/>
                  <a:gd name="connsiteY350" fmla="*/ 663945 h 1421209"/>
                  <a:gd name="connsiteX351" fmla="*/ 1464378 w 1620550"/>
                  <a:gd name="connsiteY351" fmla="*/ 645557 h 1421209"/>
                  <a:gd name="connsiteX352" fmla="*/ 1474408 w 1620550"/>
                  <a:gd name="connsiteY352" fmla="*/ 635527 h 1421209"/>
                  <a:gd name="connsiteX353" fmla="*/ 1487781 w 1620550"/>
                  <a:gd name="connsiteY353" fmla="*/ 625497 h 1421209"/>
                  <a:gd name="connsiteX354" fmla="*/ 1494468 w 1620550"/>
                  <a:gd name="connsiteY354" fmla="*/ 623825 h 1421209"/>
                  <a:gd name="connsiteX355" fmla="*/ 1509513 w 1620550"/>
                  <a:gd name="connsiteY355" fmla="*/ 620482 h 1421209"/>
                  <a:gd name="connsiteX356" fmla="*/ 1517871 w 1620550"/>
                  <a:gd name="connsiteY356" fmla="*/ 617139 h 1421209"/>
                  <a:gd name="connsiteX357" fmla="*/ 1524558 w 1620550"/>
                  <a:gd name="connsiteY357" fmla="*/ 613795 h 1421209"/>
                  <a:gd name="connsiteX358" fmla="*/ 1539603 w 1620550"/>
                  <a:gd name="connsiteY358" fmla="*/ 612124 h 1421209"/>
                  <a:gd name="connsiteX359" fmla="*/ 1557991 w 1620550"/>
                  <a:gd name="connsiteY359" fmla="*/ 602094 h 1421209"/>
                  <a:gd name="connsiteX360" fmla="*/ 1573036 w 1620550"/>
                  <a:gd name="connsiteY360" fmla="*/ 597079 h 1421209"/>
                  <a:gd name="connsiteX361" fmla="*/ 1576379 w 1620550"/>
                  <a:gd name="connsiteY361" fmla="*/ 592064 h 1421209"/>
                  <a:gd name="connsiteX362" fmla="*/ 1588081 w 1620550"/>
                  <a:gd name="connsiteY362" fmla="*/ 587049 h 1421209"/>
                  <a:gd name="connsiteX363" fmla="*/ 1591424 w 1620550"/>
                  <a:gd name="connsiteY363" fmla="*/ 583705 h 1421209"/>
                  <a:gd name="connsiteX364" fmla="*/ 1598111 w 1620550"/>
                  <a:gd name="connsiteY364" fmla="*/ 580362 h 1421209"/>
                  <a:gd name="connsiteX365" fmla="*/ 1608141 w 1620550"/>
                  <a:gd name="connsiteY365" fmla="*/ 572004 h 1421209"/>
                  <a:gd name="connsiteX366" fmla="*/ 1614828 w 1620550"/>
                  <a:gd name="connsiteY366" fmla="*/ 560302 h 1421209"/>
                  <a:gd name="connsiteX367" fmla="*/ 1608141 w 1620550"/>
                  <a:gd name="connsiteY367" fmla="*/ 546929 h 1421209"/>
                  <a:gd name="connsiteX368" fmla="*/ 1599783 w 1620550"/>
                  <a:gd name="connsiteY368" fmla="*/ 535227 h 1421209"/>
                  <a:gd name="connsiteX369" fmla="*/ 1598111 w 1620550"/>
                  <a:gd name="connsiteY369" fmla="*/ 530212 h 1421209"/>
                  <a:gd name="connsiteX370" fmla="*/ 1596439 w 1620550"/>
                  <a:gd name="connsiteY370" fmla="*/ 518511 h 1421209"/>
                  <a:gd name="connsiteX371" fmla="*/ 1601454 w 1620550"/>
                  <a:gd name="connsiteY371" fmla="*/ 516839 h 1421209"/>
                  <a:gd name="connsiteX372" fmla="*/ 1604798 w 1620550"/>
                  <a:gd name="connsiteY372" fmla="*/ 513496 h 1421209"/>
                  <a:gd name="connsiteX373" fmla="*/ 1616499 w 1620550"/>
                  <a:gd name="connsiteY373" fmla="*/ 510152 h 1421209"/>
                  <a:gd name="connsiteX374" fmla="*/ 1618171 w 1620550"/>
                  <a:gd name="connsiteY374" fmla="*/ 495107 h 1421209"/>
                  <a:gd name="connsiteX375" fmla="*/ 1613156 w 1620550"/>
                  <a:gd name="connsiteY375" fmla="*/ 491764 h 1421209"/>
                  <a:gd name="connsiteX376" fmla="*/ 1611484 w 1620550"/>
                  <a:gd name="connsiteY376" fmla="*/ 486749 h 1421209"/>
                  <a:gd name="connsiteX377" fmla="*/ 1608141 w 1620550"/>
                  <a:gd name="connsiteY377" fmla="*/ 481734 h 1421209"/>
                  <a:gd name="connsiteX378" fmla="*/ 1606469 w 1620550"/>
                  <a:gd name="connsiteY378" fmla="*/ 473376 h 1421209"/>
                  <a:gd name="connsiteX379" fmla="*/ 1604798 w 1620550"/>
                  <a:gd name="connsiteY379" fmla="*/ 468361 h 1421209"/>
                  <a:gd name="connsiteX380" fmla="*/ 1599783 w 1620550"/>
                  <a:gd name="connsiteY380" fmla="*/ 466689 h 1421209"/>
                  <a:gd name="connsiteX381" fmla="*/ 1586409 w 1620550"/>
                  <a:gd name="connsiteY381" fmla="*/ 461674 h 1421209"/>
                  <a:gd name="connsiteX382" fmla="*/ 1561334 w 1620550"/>
                  <a:gd name="connsiteY382" fmla="*/ 463346 h 1421209"/>
                  <a:gd name="connsiteX383" fmla="*/ 1547961 w 1620550"/>
                  <a:gd name="connsiteY383" fmla="*/ 465017 h 1421209"/>
                  <a:gd name="connsiteX384" fmla="*/ 1539603 w 1620550"/>
                  <a:gd name="connsiteY384" fmla="*/ 470032 h 1421209"/>
                  <a:gd name="connsiteX385" fmla="*/ 1529573 w 1620550"/>
                  <a:gd name="connsiteY385" fmla="*/ 485077 h 1421209"/>
                  <a:gd name="connsiteX386" fmla="*/ 1524558 w 1620550"/>
                  <a:gd name="connsiteY386" fmla="*/ 486749 h 1421209"/>
                  <a:gd name="connsiteX387" fmla="*/ 1504498 w 1620550"/>
                  <a:gd name="connsiteY387" fmla="*/ 480062 h 1421209"/>
                  <a:gd name="connsiteX388" fmla="*/ 1489453 w 1620550"/>
                  <a:gd name="connsiteY388" fmla="*/ 468361 h 1421209"/>
                  <a:gd name="connsiteX389" fmla="*/ 1474408 w 1620550"/>
                  <a:gd name="connsiteY389" fmla="*/ 466689 h 1421209"/>
                  <a:gd name="connsiteX390" fmla="*/ 1462706 w 1620550"/>
                  <a:gd name="connsiteY390" fmla="*/ 468361 h 1421209"/>
                  <a:gd name="connsiteX391" fmla="*/ 1452676 w 1620550"/>
                  <a:gd name="connsiteY391" fmla="*/ 471704 h 1421209"/>
                  <a:gd name="connsiteX392" fmla="*/ 1442646 w 1620550"/>
                  <a:gd name="connsiteY392" fmla="*/ 470032 h 1421209"/>
                  <a:gd name="connsiteX393" fmla="*/ 1435959 w 1620550"/>
                  <a:gd name="connsiteY393" fmla="*/ 463346 h 1421209"/>
                  <a:gd name="connsiteX394" fmla="*/ 1432616 w 1620550"/>
                  <a:gd name="connsiteY394" fmla="*/ 458331 h 1421209"/>
                  <a:gd name="connsiteX395" fmla="*/ 1427601 w 1620550"/>
                  <a:gd name="connsiteY395" fmla="*/ 454987 h 1421209"/>
                  <a:gd name="connsiteX396" fmla="*/ 1422586 w 1620550"/>
                  <a:gd name="connsiteY396" fmla="*/ 448301 h 1421209"/>
                  <a:gd name="connsiteX397" fmla="*/ 1412556 w 1620550"/>
                  <a:gd name="connsiteY397" fmla="*/ 439942 h 1421209"/>
                  <a:gd name="connsiteX398" fmla="*/ 1404198 w 1620550"/>
                  <a:gd name="connsiteY398" fmla="*/ 446629 h 1421209"/>
                  <a:gd name="connsiteX399" fmla="*/ 1390825 w 1620550"/>
                  <a:gd name="connsiteY399" fmla="*/ 453316 h 1421209"/>
                  <a:gd name="connsiteX400" fmla="*/ 1387481 w 1620550"/>
                  <a:gd name="connsiteY400" fmla="*/ 438271 h 1421209"/>
                  <a:gd name="connsiteX401" fmla="*/ 1385810 w 1620550"/>
                  <a:gd name="connsiteY401" fmla="*/ 433256 h 1421209"/>
                  <a:gd name="connsiteX402" fmla="*/ 1384138 w 1620550"/>
                  <a:gd name="connsiteY402" fmla="*/ 411524 h 1421209"/>
                  <a:gd name="connsiteX403" fmla="*/ 1379123 w 1620550"/>
                  <a:gd name="connsiteY403" fmla="*/ 408181 h 1421209"/>
                  <a:gd name="connsiteX404" fmla="*/ 1370765 w 1620550"/>
                  <a:gd name="connsiteY404" fmla="*/ 406509 h 1421209"/>
                  <a:gd name="connsiteX405" fmla="*/ 1364078 w 1620550"/>
                  <a:gd name="connsiteY405" fmla="*/ 404837 h 1421209"/>
                  <a:gd name="connsiteX406" fmla="*/ 1340675 w 1620550"/>
                  <a:gd name="connsiteY406" fmla="*/ 394807 h 1421209"/>
                  <a:gd name="connsiteX407" fmla="*/ 1327301 w 1620550"/>
                  <a:gd name="connsiteY407" fmla="*/ 384777 h 1421209"/>
                  <a:gd name="connsiteX408" fmla="*/ 1320615 w 1620550"/>
                  <a:gd name="connsiteY408" fmla="*/ 379762 h 1421209"/>
                  <a:gd name="connsiteX409" fmla="*/ 1310585 w 1620550"/>
                  <a:gd name="connsiteY409" fmla="*/ 373076 h 1421209"/>
                  <a:gd name="connsiteX410" fmla="*/ 1305570 w 1620550"/>
                  <a:gd name="connsiteY410" fmla="*/ 369732 h 1421209"/>
                  <a:gd name="connsiteX411" fmla="*/ 1297211 w 1620550"/>
                  <a:gd name="connsiteY411" fmla="*/ 368061 h 1421209"/>
                  <a:gd name="connsiteX412" fmla="*/ 1290525 w 1620550"/>
                  <a:gd name="connsiteY412" fmla="*/ 369732 h 1421209"/>
                  <a:gd name="connsiteX413" fmla="*/ 1282166 w 1620550"/>
                  <a:gd name="connsiteY413" fmla="*/ 398151 h 1421209"/>
                  <a:gd name="connsiteX414" fmla="*/ 1272136 w 1620550"/>
                  <a:gd name="connsiteY414" fmla="*/ 394807 h 1421209"/>
                  <a:gd name="connsiteX415" fmla="*/ 1267121 w 1620550"/>
                  <a:gd name="connsiteY415" fmla="*/ 391464 h 1421209"/>
                  <a:gd name="connsiteX416" fmla="*/ 1255420 w 1620550"/>
                  <a:gd name="connsiteY416" fmla="*/ 388121 h 1421209"/>
                  <a:gd name="connsiteX417" fmla="*/ 1220315 w 1620550"/>
                  <a:gd name="connsiteY417" fmla="*/ 386449 h 1421209"/>
                  <a:gd name="connsiteX418" fmla="*/ 1218643 w 1620550"/>
                  <a:gd name="connsiteY418" fmla="*/ 381434 h 1421209"/>
                  <a:gd name="connsiteX419" fmla="*/ 1211957 w 1620550"/>
                  <a:gd name="connsiteY419" fmla="*/ 379762 h 1421209"/>
                  <a:gd name="connsiteX420" fmla="*/ 1175180 w 1620550"/>
                  <a:gd name="connsiteY420" fmla="*/ 378091 h 1421209"/>
                  <a:gd name="connsiteX421" fmla="*/ 1173508 w 1620550"/>
                  <a:gd name="connsiteY421" fmla="*/ 373076 h 1421209"/>
                  <a:gd name="connsiteX422" fmla="*/ 1171837 w 1620550"/>
                  <a:gd name="connsiteY422" fmla="*/ 366389 h 1421209"/>
                  <a:gd name="connsiteX423" fmla="*/ 1163478 w 1620550"/>
                  <a:gd name="connsiteY423" fmla="*/ 361374 h 1421209"/>
                  <a:gd name="connsiteX424" fmla="*/ 1128373 w 1620550"/>
                  <a:gd name="connsiteY424" fmla="*/ 359703 h 1421209"/>
                  <a:gd name="connsiteX425" fmla="*/ 1120015 w 1620550"/>
                  <a:gd name="connsiteY425" fmla="*/ 356359 h 1421209"/>
                  <a:gd name="connsiteX426" fmla="*/ 1113328 w 1620550"/>
                  <a:gd name="connsiteY426" fmla="*/ 346329 h 1421209"/>
                  <a:gd name="connsiteX427" fmla="*/ 1108313 w 1620550"/>
                  <a:gd name="connsiteY427" fmla="*/ 339643 h 1421209"/>
                  <a:gd name="connsiteX428" fmla="*/ 1104970 w 1620550"/>
                  <a:gd name="connsiteY428" fmla="*/ 334628 h 1421209"/>
                  <a:gd name="connsiteX429" fmla="*/ 1098283 w 1620550"/>
                  <a:gd name="connsiteY429" fmla="*/ 327941 h 1421209"/>
                  <a:gd name="connsiteX430" fmla="*/ 1096612 w 1620550"/>
                  <a:gd name="connsiteY430" fmla="*/ 322926 h 1421209"/>
                  <a:gd name="connsiteX431" fmla="*/ 1091597 w 1620550"/>
                  <a:gd name="connsiteY431" fmla="*/ 321254 h 1421209"/>
                  <a:gd name="connsiteX432" fmla="*/ 1084910 w 1620550"/>
                  <a:gd name="connsiteY432" fmla="*/ 317911 h 1421209"/>
                  <a:gd name="connsiteX433" fmla="*/ 1064850 w 1620550"/>
                  <a:gd name="connsiteY433" fmla="*/ 314568 h 1421209"/>
                  <a:gd name="connsiteX434" fmla="*/ 1058164 w 1620550"/>
                  <a:gd name="connsiteY434" fmla="*/ 311224 h 1421209"/>
                  <a:gd name="connsiteX435" fmla="*/ 1054820 w 1620550"/>
                  <a:gd name="connsiteY435" fmla="*/ 307881 h 1421209"/>
                  <a:gd name="connsiteX436" fmla="*/ 1049805 w 1620550"/>
                  <a:gd name="connsiteY436" fmla="*/ 304538 h 1421209"/>
                  <a:gd name="connsiteX437" fmla="*/ 1046462 w 1620550"/>
                  <a:gd name="connsiteY437" fmla="*/ 301194 h 1421209"/>
                  <a:gd name="connsiteX438" fmla="*/ 1039775 w 1620550"/>
                  <a:gd name="connsiteY438" fmla="*/ 299523 h 1421209"/>
                  <a:gd name="connsiteX439" fmla="*/ 1029745 w 1620550"/>
                  <a:gd name="connsiteY439" fmla="*/ 296179 h 1421209"/>
                  <a:gd name="connsiteX440" fmla="*/ 1016372 w 1620550"/>
                  <a:gd name="connsiteY440" fmla="*/ 287821 h 1421209"/>
                  <a:gd name="connsiteX441" fmla="*/ 1013029 w 1620550"/>
                  <a:gd name="connsiteY441" fmla="*/ 282806 h 1421209"/>
                  <a:gd name="connsiteX442" fmla="*/ 1014700 w 1620550"/>
                  <a:gd name="connsiteY442" fmla="*/ 276119 h 1421209"/>
                  <a:gd name="connsiteX443" fmla="*/ 1016372 w 1620550"/>
                  <a:gd name="connsiteY443" fmla="*/ 271104 h 1421209"/>
                  <a:gd name="connsiteX444" fmla="*/ 1029745 w 1620550"/>
                  <a:gd name="connsiteY444" fmla="*/ 264418 h 1421209"/>
                  <a:gd name="connsiteX445" fmla="*/ 1031417 w 1620550"/>
                  <a:gd name="connsiteY445" fmla="*/ 257731 h 1421209"/>
                  <a:gd name="connsiteX446" fmla="*/ 1024730 w 1620550"/>
                  <a:gd name="connsiteY446" fmla="*/ 256059 h 1421209"/>
                  <a:gd name="connsiteX447" fmla="*/ 1016372 w 1620550"/>
                  <a:gd name="connsiteY447" fmla="*/ 251044 h 1421209"/>
                  <a:gd name="connsiteX448" fmla="*/ 1008014 w 1620550"/>
                  <a:gd name="connsiteY448" fmla="*/ 247701 h 1421209"/>
                  <a:gd name="connsiteX449" fmla="*/ 1002999 w 1620550"/>
                  <a:gd name="connsiteY449" fmla="*/ 244358 h 1421209"/>
                  <a:gd name="connsiteX450" fmla="*/ 997984 w 1620550"/>
                  <a:gd name="connsiteY450" fmla="*/ 242686 h 1421209"/>
                  <a:gd name="connsiteX451" fmla="*/ 989625 w 1620550"/>
                  <a:gd name="connsiteY451" fmla="*/ 235999 h 1421209"/>
                  <a:gd name="connsiteX452" fmla="*/ 984610 w 1620550"/>
                  <a:gd name="connsiteY452" fmla="*/ 234328 h 1421209"/>
                  <a:gd name="connsiteX453" fmla="*/ 966222 w 1620550"/>
                  <a:gd name="connsiteY453" fmla="*/ 227641 h 1421209"/>
                  <a:gd name="connsiteX454" fmla="*/ 944490 w 1620550"/>
                  <a:gd name="connsiteY454" fmla="*/ 229313 h 1421209"/>
                  <a:gd name="connsiteX455" fmla="*/ 902699 w 1620550"/>
                  <a:gd name="connsiteY455" fmla="*/ 227641 h 1421209"/>
                  <a:gd name="connsiteX456" fmla="*/ 897684 w 1620550"/>
                  <a:gd name="connsiteY456" fmla="*/ 225969 h 1421209"/>
                  <a:gd name="connsiteX457" fmla="*/ 885982 w 1620550"/>
                  <a:gd name="connsiteY457" fmla="*/ 215939 h 1421209"/>
                  <a:gd name="connsiteX458" fmla="*/ 874281 w 1620550"/>
                  <a:gd name="connsiteY458" fmla="*/ 207581 h 1421209"/>
                  <a:gd name="connsiteX459" fmla="*/ 869266 w 1620550"/>
                  <a:gd name="connsiteY459" fmla="*/ 204238 h 1421209"/>
                  <a:gd name="connsiteX460" fmla="*/ 860907 w 1620550"/>
                  <a:gd name="connsiteY460" fmla="*/ 197551 h 1421209"/>
                  <a:gd name="connsiteX461" fmla="*/ 854221 w 1620550"/>
                  <a:gd name="connsiteY461" fmla="*/ 195879 h 1421209"/>
                  <a:gd name="connsiteX462" fmla="*/ 842519 w 1620550"/>
                  <a:gd name="connsiteY462" fmla="*/ 192536 h 1421209"/>
                  <a:gd name="connsiteX463" fmla="*/ 815772 w 1620550"/>
                  <a:gd name="connsiteY463" fmla="*/ 194208 h 1421209"/>
                  <a:gd name="connsiteX464" fmla="*/ 805742 w 1620550"/>
                  <a:gd name="connsiteY464" fmla="*/ 195879 h 1421209"/>
                  <a:gd name="connsiteX465" fmla="*/ 789026 w 1620550"/>
                  <a:gd name="connsiteY465" fmla="*/ 197551 h 1421209"/>
                  <a:gd name="connsiteX466" fmla="*/ 782339 w 1620550"/>
                  <a:gd name="connsiteY466" fmla="*/ 194208 h 1421209"/>
                  <a:gd name="connsiteX467" fmla="*/ 780667 w 1620550"/>
                  <a:gd name="connsiteY467" fmla="*/ 189193 h 1421209"/>
                  <a:gd name="connsiteX468" fmla="*/ 775652 w 1620550"/>
                  <a:gd name="connsiteY468" fmla="*/ 175820 h 1421209"/>
                  <a:gd name="connsiteX469" fmla="*/ 768966 w 1620550"/>
                  <a:gd name="connsiteY469" fmla="*/ 170805 h 1421209"/>
                  <a:gd name="connsiteX470" fmla="*/ 765622 w 1620550"/>
                  <a:gd name="connsiteY470" fmla="*/ 167461 h 1421209"/>
                  <a:gd name="connsiteX471" fmla="*/ 753921 w 1620550"/>
                  <a:gd name="connsiteY471" fmla="*/ 162446 h 1421209"/>
                  <a:gd name="connsiteX472" fmla="*/ 735532 w 1620550"/>
                  <a:gd name="connsiteY472" fmla="*/ 164118 h 1421209"/>
                  <a:gd name="connsiteX473" fmla="*/ 722159 w 1620550"/>
                  <a:gd name="connsiteY473" fmla="*/ 170805 h 1421209"/>
                  <a:gd name="connsiteX474" fmla="*/ 720487 w 1620550"/>
                  <a:gd name="connsiteY474" fmla="*/ 165790 h 1421209"/>
                  <a:gd name="connsiteX475" fmla="*/ 715472 w 1620550"/>
                  <a:gd name="connsiteY475" fmla="*/ 164118 h 1421209"/>
                  <a:gd name="connsiteX476" fmla="*/ 693741 w 1620550"/>
                  <a:gd name="connsiteY476" fmla="*/ 165790 h 1421209"/>
                  <a:gd name="connsiteX477" fmla="*/ 683711 w 1620550"/>
                  <a:gd name="connsiteY477" fmla="*/ 169133 h 1421209"/>
                  <a:gd name="connsiteX478" fmla="*/ 678696 w 1620550"/>
                  <a:gd name="connsiteY478" fmla="*/ 170805 h 1421209"/>
                  <a:gd name="connsiteX479" fmla="*/ 631889 w 1620550"/>
                  <a:gd name="connsiteY479" fmla="*/ 167461 h 1421209"/>
                  <a:gd name="connsiteX480" fmla="*/ 620188 w 1620550"/>
                  <a:gd name="connsiteY480" fmla="*/ 164118 h 1421209"/>
                  <a:gd name="connsiteX481" fmla="*/ 610158 w 1620550"/>
                  <a:gd name="connsiteY481" fmla="*/ 159103 h 1421209"/>
                  <a:gd name="connsiteX482" fmla="*/ 603471 w 1620550"/>
                  <a:gd name="connsiteY482" fmla="*/ 157431 h 1421209"/>
                  <a:gd name="connsiteX483" fmla="*/ 598456 w 1620550"/>
                  <a:gd name="connsiteY483" fmla="*/ 155760 h 1421209"/>
                  <a:gd name="connsiteX484" fmla="*/ 593441 w 1620550"/>
                  <a:gd name="connsiteY484" fmla="*/ 152416 h 1421209"/>
                  <a:gd name="connsiteX485" fmla="*/ 570038 w 1620550"/>
                  <a:gd name="connsiteY485" fmla="*/ 147401 h 1421209"/>
                  <a:gd name="connsiteX486" fmla="*/ 561679 w 1620550"/>
                  <a:gd name="connsiteY486" fmla="*/ 140715 h 1421209"/>
                  <a:gd name="connsiteX487" fmla="*/ 556664 w 1620550"/>
                  <a:gd name="connsiteY487" fmla="*/ 137371 h 1421209"/>
                  <a:gd name="connsiteX488" fmla="*/ 541619 w 1620550"/>
                  <a:gd name="connsiteY488" fmla="*/ 127341 h 1421209"/>
                  <a:gd name="connsiteX489" fmla="*/ 529918 w 1620550"/>
                  <a:gd name="connsiteY489" fmla="*/ 120655 h 1421209"/>
                  <a:gd name="connsiteX490" fmla="*/ 518216 w 1620550"/>
                  <a:gd name="connsiteY490" fmla="*/ 113968 h 1421209"/>
                  <a:gd name="connsiteX491" fmla="*/ 511530 w 1620550"/>
                  <a:gd name="connsiteY491" fmla="*/ 110625 h 1421209"/>
                  <a:gd name="connsiteX492" fmla="*/ 493141 w 1620550"/>
                  <a:gd name="connsiteY492" fmla="*/ 107281 h 1421209"/>
                  <a:gd name="connsiteX493" fmla="*/ 484783 w 1620550"/>
                  <a:gd name="connsiteY493" fmla="*/ 105610 h 1421209"/>
                  <a:gd name="connsiteX494" fmla="*/ 478096 w 1620550"/>
                  <a:gd name="connsiteY494" fmla="*/ 100595 h 1421209"/>
                  <a:gd name="connsiteX495" fmla="*/ 474753 w 1620550"/>
                  <a:gd name="connsiteY495" fmla="*/ 90565 h 1421209"/>
                  <a:gd name="connsiteX496" fmla="*/ 471410 w 1620550"/>
                  <a:gd name="connsiteY496" fmla="*/ 87221 h 1421209"/>
                  <a:gd name="connsiteX497" fmla="*/ 397856 w 1620550"/>
                  <a:gd name="connsiteY497" fmla="*/ 85550 h 1421209"/>
                  <a:gd name="connsiteX498" fmla="*/ 386155 w 1620550"/>
                  <a:gd name="connsiteY498" fmla="*/ 78863 h 1421209"/>
                  <a:gd name="connsiteX499" fmla="*/ 374453 w 1620550"/>
                  <a:gd name="connsiteY499" fmla="*/ 77191 h 1421209"/>
                  <a:gd name="connsiteX500" fmla="*/ 356065 w 1620550"/>
                  <a:gd name="connsiteY500" fmla="*/ 72176 h 1421209"/>
                  <a:gd name="connsiteX501" fmla="*/ 349378 w 1620550"/>
                  <a:gd name="connsiteY501" fmla="*/ 70505 h 1421209"/>
                  <a:gd name="connsiteX502" fmla="*/ 339348 w 1620550"/>
                  <a:gd name="connsiteY502" fmla="*/ 65490 h 1421209"/>
                  <a:gd name="connsiteX503" fmla="*/ 322632 w 1620550"/>
                  <a:gd name="connsiteY503" fmla="*/ 60475 h 1421209"/>
                  <a:gd name="connsiteX504" fmla="*/ 312602 w 1620550"/>
                  <a:gd name="connsiteY504" fmla="*/ 65490 h 1421209"/>
                  <a:gd name="connsiteX505" fmla="*/ 307587 w 1620550"/>
                  <a:gd name="connsiteY505" fmla="*/ 67161 h 1421209"/>
                  <a:gd name="connsiteX506" fmla="*/ 299228 w 1620550"/>
                  <a:gd name="connsiteY506" fmla="*/ 70505 h 1421209"/>
                  <a:gd name="connsiteX507" fmla="*/ 295885 w 1620550"/>
                  <a:gd name="connsiteY507" fmla="*/ 65490 h 1421209"/>
                  <a:gd name="connsiteX508" fmla="*/ 282512 w 1620550"/>
                  <a:gd name="connsiteY508" fmla="*/ 55460 h 1421209"/>
                  <a:gd name="connsiteX509" fmla="*/ 277497 w 1620550"/>
                  <a:gd name="connsiteY509" fmla="*/ 53788 h 1421209"/>
                  <a:gd name="connsiteX510" fmla="*/ 269138 w 1620550"/>
                  <a:gd name="connsiteY510" fmla="*/ 42086 h 1421209"/>
                  <a:gd name="connsiteX511" fmla="*/ 267467 w 1620550"/>
                  <a:gd name="connsiteY511" fmla="*/ 33728 h 1421209"/>
                  <a:gd name="connsiteX512" fmla="*/ 262452 w 1620550"/>
                  <a:gd name="connsiteY512" fmla="*/ 28713 h 1421209"/>
                  <a:gd name="connsiteX513" fmla="*/ 252422 w 1620550"/>
                  <a:gd name="connsiteY513" fmla="*/ 25370 h 1421209"/>
                  <a:gd name="connsiteX514" fmla="*/ 239048 w 1620550"/>
                  <a:gd name="connsiteY514" fmla="*/ 15340 h 1421209"/>
                  <a:gd name="connsiteX515" fmla="*/ 234033 w 1620550"/>
                  <a:gd name="connsiteY515" fmla="*/ 10325 h 1421209"/>
                  <a:gd name="connsiteX516" fmla="*/ 220660 w 1620550"/>
                  <a:gd name="connsiteY516" fmla="*/ 5310 h 1421209"/>
                  <a:gd name="connsiteX517" fmla="*/ 215645 w 1620550"/>
                  <a:gd name="connsiteY517" fmla="*/ 1967 h 1421209"/>
                  <a:gd name="connsiteX518" fmla="*/ 192242 w 1620550"/>
                  <a:gd name="connsiteY518" fmla="*/ 1967 h 1421209"/>
                  <a:gd name="connsiteX519" fmla="*/ 198928 w 1620550"/>
                  <a:gd name="connsiteY519" fmla="*/ 5310 h 1421209"/>
                  <a:gd name="connsiteX0" fmla="*/ 198928 w 1620550"/>
                  <a:gd name="connsiteY0" fmla="*/ 5310 h 1421209"/>
                  <a:gd name="connsiteX1" fmla="*/ 177197 w 1620550"/>
                  <a:gd name="connsiteY1" fmla="*/ 10325 h 1421209"/>
                  <a:gd name="connsiteX2" fmla="*/ 175525 w 1620550"/>
                  <a:gd name="connsiteY2" fmla="*/ 15340 h 1421209"/>
                  <a:gd name="connsiteX3" fmla="*/ 177197 w 1620550"/>
                  <a:gd name="connsiteY3" fmla="*/ 20355 h 1421209"/>
                  <a:gd name="connsiteX4" fmla="*/ 172182 w 1620550"/>
                  <a:gd name="connsiteY4" fmla="*/ 23698 h 1421209"/>
                  <a:gd name="connsiteX5" fmla="*/ 152122 w 1620550"/>
                  <a:gd name="connsiteY5" fmla="*/ 25370 h 1421209"/>
                  <a:gd name="connsiteX6" fmla="*/ 155465 w 1620550"/>
                  <a:gd name="connsiteY6" fmla="*/ 35400 h 1421209"/>
                  <a:gd name="connsiteX7" fmla="*/ 157137 w 1620550"/>
                  <a:gd name="connsiteY7" fmla="*/ 42086 h 1421209"/>
                  <a:gd name="connsiteX8" fmla="*/ 148779 w 1620550"/>
                  <a:gd name="connsiteY8" fmla="*/ 47101 h 1421209"/>
                  <a:gd name="connsiteX9" fmla="*/ 145435 w 1620550"/>
                  <a:gd name="connsiteY9" fmla="*/ 50445 h 1421209"/>
                  <a:gd name="connsiteX10" fmla="*/ 135405 w 1620550"/>
                  <a:gd name="connsiteY10" fmla="*/ 53788 h 1421209"/>
                  <a:gd name="connsiteX11" fmla="*/ 133734 w 1620550"/>
                  <a:gd name="connsiteY11" fmla="*/ 58803 h 1421209"/>
                  <a:gd name="connsiteX12" fmla="*/ 115345 w 1620550"/>
                  <a:gd name="connsiteY12" fmla="*/ 63818 h 1421209"/>
                  <a:gd name="connsiteX13" fmla="*/ 81912 w 1620550"/>
                  <a:gd name="connsiteY13" fmla="*/ 62146 h 1421209"/>
                  <a:gd name="connsiteX14" fmla="*/ 73554 w 1620550"/>
                  <a:gd name="connsiteY14" fmla="*/ 53788 h 1421209"/>
                  <a:gd name="connsiteX15" fmla="*/ 66867 w 1620550"/>
                  <a:gd name="connsiteY15" fmla="*/ 50445 h 1421209"/>
                  <a:gd name="connsiteX16" fmla="*/ 55165 w 1620550"/>
                  <a:gd name="connsiteY16" fmla="*/ 52116 h 1421209"/>
                  <a:gd name="connsiteX17" fmla="*/ 55165 w 1620550"/>
                  <a:gd name="connsiteY17" fmla="*/ 62146 h 1421209"/>
                  <a:gd name="connsiteX18" fmla="*/ 30090 w 1620550"/>
                  <a:gd name="connsiteY18" fmla="*/ 65490 h 1421209"/>
                  <a:gd name="connsiteX19" fmla="*/ 16717 w 1620550"/>
                  <a:gd name="connsiteY19" fmla="*/ 75520 h 1421209"/>
                  <a:gd name="connsiteX20" fmla="*/ 11702 w 1620550"/>
                  <a:gd name="connsiteY20" fmla="*/ 80535 h 1421209"/>
                  <a:gd name="connsiteX21" fmla="*/ 8359 w 1620550"/>
                  <a:gd name="connsiteY21" fmla="*/ 88893 h 1421209"/>
                  <a:gd name="connsiteX22" fmla="*/ 6687 w 1620550"/>
                  <a:gd name="connsiteY22" fmla="*/ 98923 h 1421209"/>
                  <a:gd name="connsiteX23" fmla="*/ 0 w 1620550"/>
                  <a:gd name="connsiteY23" fmla="*/ 107281 h 1421209"/>
                  <a:gd name="connsiteX24" fmla="*/ 15045 w 1620550"/>
                  <a:gd name="connsiteY24" fmla="*/ 115640 h 1421209"/>
                  <a:gd name="connsiteX25" fmla="*/ 13374 w 1620550"/>
                  <a:gd name="connsiteY25" fmla="*/ 123998 h 1421209"/>
                  <a:gd name="connsiteX26" fmla="*/ 16717 w 1620550"/>
                  <a:gd name="connsiteY26" fmla="*/ 130685 h 1421209"/>
                  <a:gd name="connsiteX27" fmla="*/ 11702 w 1620550"/>
                  <a:gd name="connsiteY27" fmla="*/ 135700 h 1421209"/>
                  <a:gd name="connsiteX28" fmla="*/ 8359 w 1620550"/>
                  <a:gd name="connsiteY28" fmla="*/ 140715 h 1421209"/>
                  <a:gd name="connsiteX29" fmla="*/ 33434 w 1620550"/>
                  <a:gd name="connsiteY29" fmla="*/ 142386 h 1421209"/>
                  <a:gd name="connsiteX30" fmla="*/ 36777 w 1620550"/>
                  <a:gd name="connsiteY30" fmla="*/ 147401 h 1421209"/>
                  <a:gd name="connsiteX31" fmla="*/ 20060 w 1620550"/>
                  <a:gd name="connsiteY31" fmla="*/ 150745 h 1421209"/>
                  <a:gd name="connsiteX32" fmla="*/ 18389 w 1620550"/>
                  <a:gd name="connsiteY32" fmla="*/ 174148 h 1421209"/>
                  <a:gd name="connsiteX33" fmla="*/ 23404 w 1620550"/>
                  <a:gd name="connsiteY33" fmla="*/ 175820 h 1421209"/>
                  <a:gd name="connsiteX34" fmla="*/ 31762 w 1620550"/>
                  <a:gd name="connsiteY34" fmla="*/ 174148 h 1421209"/>
                  <a:gd name="connsiteX35" fmla="*/ 33434 w 1620550"/>
                  <a:gd name="connsiteY35" fmla="*/ 169133 h 1421209"/>
                  <a:gd name="connsiteX36" fmla="*/ 38449 w 1620550"/>
                  <a:gd name="connsiteY36" fmla="*/ 167461 h 1421209"/>
                  <a:gd name="connsiteX37" fmla="*/ 48479 w 1620550"/>
                  <a:gd name="connsiteY37" fmla="*/ 169133 h 1421209"/>
                  <a:gd name="connsiteX38" fmla="*/ 50150 w 1620550"/>
                  <a:gd name="connsiteY38" fmla="*/ 180835 h 1421209"/>
                  <a:gd name="connsiteX39" fmla="*/ 45135 w 1620550"/>
                  <a:gd name="connsiteY39" fmla="*/ 182506 h 1421209"/>
                  <a:gd name="connsiteX40" fmla="*/ 41792 w 1620550"/>
                  <a:gd name="connsiteY40" fmla="*/ 187521 h 1421209"/>
                  <a:gd name="connsiteX41" fmla="*/ 40120 w 1620550"/>
                  <a:gd name="connsiteY41" fmla="*/ 197551 h 1421209"/>
                  <a:gd name="connsiteX42" fmla="*/ 38449 w 1620550"/>
                  <a:gd name="connsiteY42" fmla="*/ 205909 h 1421209"/>
                  <a:gd name="connsiteX43" fmla="*/ 35105 w 1620550"/>
                  <a:gd name="connsiteY43" fmla="*/ 212596 h 1421209"/>
                  <a:gd name="connsiteX44" fmla="*/ 33434 w 1620550"/>
                  <a:gd name="connsiteY44" fmla="*/ 217611 h 1421209"/>
                  <a:gd name="connsiteX45" fmla="*/ 41792 w 1620550"/>
                  <a:gd name="connsiteY45" fmla="*/ 220954 h 1421209"/>
                  <a:gd name="connsiteX46" fmla="*/ 58509 w 1620550"/>
                  <a:gd name="connsiteY46" fmla="*/ 222626 h 1421209"/>
                  <a:gd name="connsiteX47" fmla="*/ 30090 w 1620550"/>
                  <a:gd name="connsiteY47" fmla="*/ 232656 h 1421209"/>
                  <a:gd name="connsiteX48" fmla="*/ 28419 w 1620550"/>
                  <a:gd name="connsiteY48" fmla="*/ 237671 h 1421209"/>
                  <a:gd name="connsiteX49" fmla="*/ 40120 w 1620550"/>
                  <a:gd name="connsiteY49" fmla="*/ 239343 h 1421209"/>
                  <a:gd name="connsiteX50" fmla="*/ 31762 w 1620550"/>
                  <a:gd name="connsiteY50" fmla="*/ 242686 h 1421209"/>
                  <a:gd name="connsiteX51" fmla="*/ 26747 w 1620550"/>
                  <a:gd name="connsiteY51" fmla="*/ 249373 h 1421209"/>
                  <a:gd name="connsiteX52" fmla="*/ 15045 w 1620550"/>
                  <a:gd name="connsiteY52" fmla="*/ 257731 h 1421209"/>
                  <a:gd name="connsiteX53" fmla="*/ 15045 w 1620550"/>
                  <a:gd name="connsiteY53" fmla="*/ 291164 h 1421209"/>
                  <a:gd name="connsiteX54" fmla="*/ 25075 w 1620550"/>
                  <a:gd name="connsiteY54" fmla="*/ 287821 h 1421209"/>
                  <a:gd name="connsiteX55" fmla="*/ 33434 w 1620550"/>
                  <a:gd name="connsiteY55" fmla="*/ 279463 h 1421209"/>
                  <a:gd name="connsiteX56" fmla="*/ 50607 w 1620550"/>
                  <a:gd name="connsiteY56" fmla="*/ 280629 h 1421209"/>
                  <a:gd name="connsiteX57" fmla="*/ 61347 w 1620550"/>
                  <a:gd name="connsiteY57" fmla="*/ 276577 h 1421209"/>
                  <a:gd name="connsiteX58" fmla="*/ 83584 w 1620550"/>
                  <a:gd name="connsiteY58" fmla="*/ 267761 h 1421209"/>
                  <a:gd name="connsiteX59" fmla="*/ 91942 w 1620550"/>
                  <a:gd name="connsiteY59" fmla="*/ 269433 h 1421209"/>
                  <a:gd name="connsiteX60" fmla="*/ 98629 w 1620550"/>
                  <a:gd name="connsiteY60" fmla="*/ 272776 h 1421209"/>
                  <a:gd name="connsiteX61" fmla="*/ 103644 w 1620550"/>
                  <a:gd name="connsiteY61" fmla="*/ 274448 h 1421209"/>
                  <a:gd name="connsiteX62" fmla="*/ 108659 w 1620550"/>
                  <a:gd name="connsiteY62" fmla="*/ 279463 h 1421209"/>
                  <a:gd name="connsiteX63" fmla="*/ 112002 w 1620550"/>
                  <a:gd name="connsiteY63" fmla="*/ 299523 h 1421209"/>
                  <a:gd name="connsiteX64" fmla="*/ 100300 w 1620550"/>
                  <a:gd name="connsiteY64" fmla="*/ 307881 h 1421209"/>
                  <a:gd name="connsiteX65" fmla="*/ 96957 w 1620550"/>
                  <a:gd name="connsiteY65" fmla="*/ 321254 h 1421209"/>
                  <a:gd name="connsiteX66" fmla="*/ 95285 w 1620550"/>
                  <a:gd name="connsiteY66" fmla="*/ 326269 h 1421209"/>
                  <a:gd name="connsiteX67" fmla="*/ 98629 w 1620550"/>
                  <a:gd name="connsiteY67" fmla="*/ 331284 h 1421209"/>
                  <a:gd name="connsiteX68" fmla="*/ 118689 w 1620550"/>
                  <a:gd name="connsiteY68" fmla="*/ 334628 h 1421209"/>
                  <a:gd name="connsiteX69" fmla="*/ 147107 w 1620550"/>
                  <a:gd name="connsiteY69" fmla="*/ 332956 h 1421209"/>
                  <a:gd name="connsiteX70" fmla="*/ 158808 w 1620550"/>
                  <a:gd name="connsiteY70" fmla="*/ 329613 h 1421209"/>
                  <a:gd name="connsiteX71" fmla="*/ 168838 w 1620550"/>
                  <a:gd name="connsiteY71" fmla="*/ 332956 h 1421209"/>
                  <a:gd name="connsiteX72" fmla="*/ 177197 w 1620550"/>
                  <a:gd name="connsiteY72" fmla="*/ 342986 h 1421209"/>
                  <a:gd name="connsiteX73" fmla="*/ 183883 w 1620550"/>
                  <a:gd name="connsiteY73" fmla="*/ 346329 h 1421209"/>
                  <a:gd name="connsiteX74" fmla="*/ 192242 w 1620550"/>
                  <a:gd name="connsiteY74" fmla="*/ 348001 h 1421209"/>
                  <a:gd name="connsiteX75" fmla="*/ 217317 w 1620550"/>
                  <a:gd name="connsiteY75" fmla="*/ 341314 h 1421209"/>
                  <a:gd name="connsiteX76" fmla="*/ 222332 w 1620550"/>
                  <a:gd name="connsiteY76" fmla="*/ 334628 h 1421209"/>
                  <a:gd name="connsiteX77" fmla="*/ 232362 w 1620550"/>
                  <a:gd name="connsiteY77" fmla="*/ 331284 h 1421209"/>
                  <a:gd name="connsiteX78" fmla="*/ 239048 w 1620550"/>
                  <a:gd name="connsiteY78" fmla="*/ 334628 h 1421209"/>
                  <a:gd name="connsiteX79" fmla="*/ 244063 w 1620550"/>
                  <a:gd name="connsiteY79" fmla="*/ 339643 h 1421209"/>
                  <a:gd name="connsiteX80" fmla="*/ 250750 w 1620550"/>
                  <a:gd name="connsiteY80" fmla="*/ 341314 h 1421209"/>
                  <a:gd name="connsiteX81" fmla="*/ 260780 w 1620550"/>
                  <a:gd name="connsiteY81" fmla="*/ 348001 h 1421209"/>
                  <a:gd name="connsiteX82" fmla="*/ 269138 w 1620550"/>
                  <a:gd name="connsiteY82" fmla="*/ 356359 h 1421209"/>
                  <a:gd name="connsiteX83" fmla="*/ 270810 w 1620550"/>
                  <a:gd name="connsiteY83" fmla="*/ 368061 h 1421209"/>
                  <a:gd name="connsiteX84" fmla="*/ 290870 w 1620550"/>
                  <a:gd name="connsiteY84" fmla="*/ 366389 h 1421209"/>
                  <a:gd name="connsiteX85" fmla="*/ 305915 w 1620550"/>
                  <a:gd name="connsiteY85" fmla="*/ 368061 h 1421209"/>
                  <a:gd name="connsiteX86" fmla="*/ 304243 w 1620550"/>
                  <a:gd name="connsiteY86" fmla="*/ 388121 h 1421209"/>
                  <a:gd name="connsiteX87" fmla="*/ 307587 w 1620550"/>
                  <a:gd name="connsiteY87" fmla="*/ 403166 h 1421209"/>
                  <a:gd name="connsiteX88" fmla="*/ 320960 w 1620550"/>
                  <a:gd name="connsiteY88" fmla="*/ 414867 h 1421209"/>
                  <a:gd name="connsiteX89" fmla="*/ 329318 w 1620550"/>
                  <a:gd name="connsiteY89" fmla="*/ 424897 h 1421209"/>
                  <a:gd name="connsiteX90" fmla="*/ 336005 w 1620550"/>
                  <a:gd name="connsiteY90" fmla="*/ 428241 h 1421209"/>
                  <a:gd name="connsiteX91" fmla="*/ 334333 w 1620550"/>
                  <a:gd name="connsiteY91" fmla="*/ 458331 h 1421209"/>
                  <a:gd name="connsiteX92" fmla="*/ 307587 w 1620550"/>
                  <a:gd name="connsiteY92" fmla="*/ 478391 h 1421209"/>
                  <a:gd name="connsiteX93" fmla="*/ 292542 w 1620550"/>
                  <a:gd name="connsiteY93" fmla="*/ 483406 h 1421209"/>
                  <a:gd name="connsiteX94" fmla="*/ 287527 w 1620550"/>
                  <a:gd name="connsiteY94" fmla="*/ 486749 h 1421209"/>
                  <a:gd name="connsiteX95" fmla="*/ 265795 w 1620550"/>
                  <a:gd name="connsiteY95" fmla="*/ 488421 h 1421209"/>
                  <a:gd name="connsiteX96" fmla="*/ 257437 w 1620550"/>
                  <a:gd name="connsiteY96" fmla="*/ 495107 h 1421209"/>
                  <a:gd name="connsiteX97" fmla="*/ 249078 w 1620550"/>
                  <a:gd name="connsiteY97" fmla="*/ 503466 h 1421209"/>
                  <a:gd name="connsiteX98" fmla="*/ 247407 w 1620550"/>
                  <a:gd name="connsiteY98" fmla="*/ 508481 h 1421209"/>
                  <a:gd name="connsiteX99" fmla="*/ 239048 w 1620550"/>
                  <a:gd name="connsiteY99" fmla="*/ 515167 h 1421209"/>
                  <a:gd name="connsiteX100" fmla="*/ 237377 w 1620550"/>
                  <a:gd name="connsiteY100" fmla="*/ 536899 h 1421209"/>
                  <a:gd name="connsiteX101" fmla="*/ 239048 w 1620550"/>
                  <a:gd name="connsiteY101" fmla="*/ 543586 h 1421209"/>
                  <a:gd name="connsiteX102" fmla="*/ 237377 w 1620550"/>
                  <a:gd name="connsiteY102" fmla="*/ 595407 h 1421209"/>
                  <a:gd name="connsiteX103" fmla="*/ 230690 w 1620550"/>
                  <a:gd name="connsiteY103" fmla="*/ 610452 h 1421209"/>
                  <a:gd name="connsiteX104" fmla="*/ 227347 w 1620550"/>
                  <a:gd name="connsiteY104" fmla="*/ 618810 h 1421209"/>
                  <a:gd name="connsiteX105" fmla="*/ 224003 w 1620550"/>
                  <a:gd name="connsiteY105" fmla="*/ 625497 h 1421209"/>
                  <a:gd name="connsiteX106" fmla="*/ 222332 w 1620550"/>
                  <a:gd name="connsiteY106" fmla="*/ 633855 h 1421209"/>
                  <a:gd name="connsiteX107" fmla="*/ 213973 w 1620550"/>
                  <a:gd name="connsiteY107" fmla="*/ 642214 h 1421209"/>
                  <a:gd name="connsiteX108" fmla="*/ 205615 w 1620550"/>
                  <a:gd name="connsiteY108" fmla="*/ 648900 h 1421209"/>
                  <a:gd name="connsiteX109" fmla="*/ 190570 w 1620550"/>
                  <a:gd name="connsiteY109" fmla="*/ 652244 h 1421209"/>
                  <a:gd name="connsiteX110" fmla="*/ 192242 w 1620550"/>
                  <a:gd name="connsiteY110" fmla="*/ 662274 h 1421209"/>
                  <a:gd name="connsiteX111" fmla="*/ 193913 w 1620550"/>
                  <a:gd name="connsiteY111" fmla="*/ 667289 h 1421209"/>
                  <a:gd name="connsiteX112" fmla="*/ 190570 w 1620550"/>
                  <a:gd name="connsiteY112" fmla="*/ 695707 h 1421209"/>
                  <a:gd name="connsiteX113" fmla="*/ 187227 w 1620550"/>
                  <a:gd name="connsiteY113" fmla="*/ 704065 h 1421209"/>
                  <a:gd name="connsiteX114" fmla="*/ 185555 w 1620550"/>
                  <a:gd name="connsiteY114" fmla="*/ 712424 h 1421209"/>
                  <a:gd name="connsiteX115" fmla="*/ 180540 w 1620550"/>
                  <a:gd name="connsiteY115" fmla="*/ 717439 h 1421209"/>
                  <a:gd name="connsiteX116" fmla="*/ 175525 w 1620550"/>
                  <a:gd name="connsiteY116" fmla="*/ 725797 h 1421209"/>
                  <a:gd name="connsiteX117" fmla="*/ 170510 w 1620550"/>
                  <a:gd name="connsiteY117" fmla="*/ 727469 h 1421209"/>
                  <a:gd name="connsiteX118" fmla="*/ 165495 w 1620550"/>
                  <a:gd name="connsiteY118" fmla="*/ 730812 h 1421209"/>
                  <a:gd name="connsiteX119" fmla="*/ 147107 w 1620550"/>
                  <a:gd name="connsiteY119" fmla="*/ 734155 h 1421209"/>
                  <a:gd name="connsiteX120" fmla="*/ 137077 w 1620550"/>
                  <a:gd name="connsiteY120" fmla="*/ 739170 h 1421209"/>
                  <a:gd name="connsiteX121" fmla="*/ 128719 w 1620550"/>
                  <a:gd name="connsiteY121" fmla="*/ 742513 h 1421209"/>
                  <a:gd name="connsiteX122" fmla="*/ 122032 w 1620550"/>
                  <a:gd name="connsiteY122" fmla="*/ 745857 h 1421209"/>
                  <a:gd name="connsiteX123" fmla="*/ 98628 w 1620550"/>
                  <a:gd name="connsiteY123" fmla="*/ 745856 h 1421209"/>
                  <a:gd name="connsiteX124" fmla="*/ 103644 w 1620550"/>
                  <a:gd name="connsiteY124" fmla="*/ 755887 h 1421209"/>
                  <a:gd name="connsiteX125" fmla="*/ 106987 w 1620550"/>
                  <a:gd name="connsiteY125" fmla="*/ 770932 h 1421209"/>
                  <a:gd name="connsiteX126" fmla="*/ 110330 w 1620550"/>
                  <a:gd name="connsiteY126" fmla="*/ 779290 h 1421209"/>
                  <a:gd name="connsiteX127" fmla="*/ 112002 w 1620550"/>
                  <a:gd name="connsiteY127" fmla="*/ 787648 h 1421209"/>
                  <a:gd name="connsiteX128" fmla="*/ 113674 w 1620550"/>
                  <a:gd name="connsiteY128" fmla="*/ 821082 h 1421209"/>
                  <a:gd name="connsiteX129" fmla="*/ 117017 w 1620550"/>
                  <a:gd name="connsiteY129" fmla="*/ 827768 h 1421209"/>
                  <a:gd name="connsiteX130" fmla="*/ 125375 w 1620550"/>
                  <a:gd name="connsiteY130" fmla="*/ 831112 h 1421209"/>
                  <a:gd name="connsiteX131" fmla="*/ 140420 w 1620550"/>
                  <a:gd name="connsiteY131" fmla="*/ 832783 h 1421209"/>
                  <a:gd name="connsiteX132" fmla="*/ 155465 w 1620550"/>
                  <a:gd name="connsiteY132" fmla="*/ 837798 h 1421209"/>
                  <a:gd name="connsiteX133" fmla="*/ 153793 w 1620550"/>
                  <a:gd name="connsiteY133" fmla="*/ 864545 h 1421209"/>
                  <a:gd name="connsiteX134" fmla="*/ 147107 w 1620550"/>
                  <a:gd name="connsiteY134" fmla="*/ 871232 h 1421209"/>
                  <a:gd name="connsiteX135" fmla="*/ 143764 w 1620550"/>
                  <a:gd name="connsiteY135" fmla="*/ 876247 h 1421209"/>
                  <a:gd name="connsiteX136" fmla="*/ 133734 w 1620550"/>
                  <a:gd name="connsiteY136" fmla="*/ 886277 h 1421209"/>
                  <a:gd name="connsiteX137" fmla="*/ 128719 w 1620550"/>
                  <a:gd name="connsiteY137" fmla="*/ 891292 h 1421209"/>
                  <a:gd name="connsiteX138" fmla="*/ 108659 w 1620550"/>
                  <a:gd name="connsiteY138" fmla="*/ 904665 h 1421209"/>
                  <a:gd name="connsiteX139" fmla="*/ 100300 w 1620550"/>
                  <a:gd name="connsiteY139" fmla="*/ 913023 h 1421209"/>
                  <a:gd name="connsiteX140" fmla="*/ 86927 w 1620550"/>
                  <a:gd name="connsiteY140" fmla="*/ 928068 h 1421209"/>
                  <a:gd name="connsiteX141" fmla="*/ 86927 w 1620550"/>
                  <a:gd name="connsiteY141" fmla="*/ 981561 h 1421209"/>
                  <a:gd name="connsiteX142" fmla="*/ 96957 w 1620550"/>
                  <a:gd name="connsiteY142" fmla="*/ 991591 h 1421209"/>
                  <a:gd name="connsiteX143" fmla="*/ 108659 w 1620550"/>
                  <a:gd name="connsiteY143" fmla="*/ 993263 h 1421209"/>
                  <a:gd name="connsiteX144" fmla="*/ 115345 w 1620550"/>
                  <a:gd name="connsiteY144" fmla="*/ 1038398 h 1421209"/>
                  <a:gd name="connsiteX145" fmla="*/ 93614 w 1620550"/>
                  <a:gd name="connsiteY145" fmla="*/ 1035055 h 1421209"/>
                  <a:gd name="connsiteX146" fmla="*/ 63524 w 1620550"/>
                  <a:gd name="connsiteY146" fmla="*/ 1036726 h 1421209"/>
                  <a:gd name="connsiteX147" fmla="*/ 56837 w 1620550"/>
                  <a:gd name="connsiteY147" fmla="*/ 1045085 h 1421209"/>
                  <a:gd name="connsiteX148" fmla="*/ 48479 w 1620550"/>
                  <a:gd name="connsiteY148" fmla="*/ 1051771 h 1421209"/>
                  <a:gd name="connsiteX149" fmla="*/ 43464 w 1620550"/>
                  <a:gd name="connsiteY149" fmla="*/ 1058458 h 1421209"/>
                  <a:gd name="connsiteX150" fmla="*/ 40120 w 1620550"/>
                  <a:gd name="connsiteY150" fmla="*/ 1061801 h 1421209"/>
                  <a:gd name="connsiteX151" fmla="*/ 35105 w 1620550"/>
                  <a:gd name="connsiteY151" fmla="*/ 1070160 h 1421209"/>
                  <a:gd name="connsiteX152" fmla="*/ 33434 w 1620550"/>
                  <a:gd name="connsiteY152" fmla="*/ 1075175 h 1421209"/>
                  <a:gd name="connsiteX153" fmla="*/ 28419 w 1620550"/>
                  <a:gd name="connsiteY153" fmla="*/ 1091891 h 1421209"/>
                  <a:gd name="connsiteX154" fmla="*/ 25075 w 1620550"/>
                  <a:gd name="connsiteY154" fmla="*/ 1098578 h 1421209"/>
                  <a:gd name="connsiteX155" fmla="*/ 20060 w 1620550"/>
                  <a:gd name="connsiteY155" fmla="*/ 1111951 h 1421209"/>
                  <a:gd name="connsiteX156" fmla="*/ 21732 w 1620550"/>
                  <a:gd name="connsiteY156" fmla="*/ 1163773 h 1421209"/>
                  <a:gd name="connsiteX157" fmla="*/ 41792 w 1620550"/>
                  <a:gd name="connsiteY157" fmla="*/ 1162101 h 1421209"/>
                  <a:gd name="connsiteX158" fmla="*/ 68539 w 1620550"/>
                  <a:gd name="connsiteY158" fmla="*/ 1163773 h 1421209"/>
                  <a:gd name="connsiteX159" fmla="*/ 81912 w 1620550"/>
                  <a:gd name="connsiteY159" fmla="*/ 1173803 h 1421209"/>
                  <a:gd name="connsiteX160" fmla="*/ 86927 w 1620550"/>
                  <a:gd name="connsiteY160" fmla="*/ 1177146 h 1421209"/>
                  <a:gd name="connsiteX161" fmla="*/ 93614 w 1620550"/>
                  <a:gd name="connsiteY161" fmla="*/ 1185504 h 1421209"/>
                  <a:gd name="connsiteX162" fmla="*/ 96957 w 1620550"/>
                  <a:gd name="connsiteY162" fmla="*/ 1195534 h 1421209"/>
                  <a:gd name="connsiteX163" fmla="*/ 98629 w 1620550"/>
                  <a:gd name="connsiteY163" fmla="*/ 1200549 h 1421209"/>
                  <a:gd name="connsiteX164" fmla="*/ 108659 w 1620550"/>
                  <a:gd name="connsiteY164" fmla="*/ 1212251 h 1421209"/>
                  <a:gd name="connsiteX165" fmla="*/ 113674 w 1620550"/>
                  <a:gd name="connsiteY165" fmla="*/ 1213923 h 1421209"/>
                  <a:gd name="connsiteX166" fmla="*/ 122032 w 1620550"/>
                  <a:gd name="connsiteY166" fmla="*/ 1217266 h 1421209"/>
                  <a:gd name="connsiteX167" fmla="*/ 135405 w 1620550"/>
                  <a:gd name="connsiteY167" fmla="*/ 1227296 h 1421209"/>
                  <a:gd name="connsiteX168" fmla="*/ 140420 w 1620550"/>
                  <a:gd name="connsiteY168" fmla="*/ 1230639 h 1421209"/>
                  <a:gd name="connsiteX169" fmla="*/ 145435 w 1620550"/>
                  <a:gd name="connsiteY169" fmla="*/ 1232311 h 1421209"/>
                  <a:gd name="connsiteX170" fmla="*/ 148779 w 1620550"/>
                  <a:gd name="connsiteY170" fmla="*/ 1237326 h 1421209"/>
                  <a:gd name="connsiteX171" fmla="*/ 153793 w 1620550"/>
                  <a:gd name="connsiteY171" fmla="*/ 1244013 h 1421209"/>
                  <a:gd name="connsiteX172" fmla="*/ 158808 w 1620550"/>
                  <a:gd name="connsiteY172" fmla="*/ 1255714 h 1421209"/>
                  <a:gd name="connsiteX173" fmla="*/ 152122 w 1620550"/>
                  <a:gd name="connsiteY173" fmla="*/ 1259058 h 1421209"/>
                  <a:gd name="connsiteX174" fmla="*/ 143764 w 1620550"/>
                  <a:gd name="connsiteY174" fmla="*/ 1260729 h 1421209"/>
                  <a:gd name="connsiteX175" fmla="*/ 145435 w 1620550"/>
                  <a:gd name="connsiteY175" fmla="*/ 1274103 h 1421209"/>
                  <a:gd name="connsiteX176" fmla="*/ 152122 w 1620550"/>
                  <a:gd name="connsiteY176" fmla="*/ 1290819 h 1421209"/>
                  <a:gd name="connsiteX177" fmla="*/ 155465 w 1620550"/>
                  <a:gd name="connsiteY177" fmla="*/ 1295834 h 1421209"/>
                  <a:gd name="connsiteX178" fmla="*/ 160480 w 1620550"/>
                  <a:gd name="connsiteY178" fmla="*/ 1297506 h 1421209"/>
                  <a:gd name="connsiteX179" fmla="*/ 163823 w 1620550"/>
                  <a:gd name="connsiteY179" fmla="*/ 1302521 h 1421209"/>
                  <a:gd name="connsiteX180" fmla="*/ 168838 w 1620550"/>
                  <a:gd name="connsiteY180" fmla="*/ 1305864 h 1421209"/>
                  <a:gd name="connsiteX181" fmla="*/ 177197 w 1620550"/>
                  <a:gd name="connsiteY181" fmla="*/ 1312551 h 1421209"/>
                  <a:gd name="connsiteX182" fmla="*/ 180540 w 1620550"/>
                  <a:gd name="connsiteY182" fmla="*/ 1317566 h 1421209"/>
                  <a:gd name="connsiteX183" fmla="*/ 168838 w 1620550"/>
                  <a:gd name="connsiteY183" fmla="*/ 1329267 h 1421209"/>
                  <a:gd name="connsiteX184" fmla="*/ 170510 w 1620550"/>
                  <a:gd name="connsiteY184" fmla="*/ 1349327 h 1421209"/>
                  <a:gd name="connsiteX185" fmla="*/ 175525 w 1620550"/>
                  <a:gd name="connsiteY185" fmla="*/ 1356014 h 1421209"/>
                  <a:gd name="connsiteX186" fmla="*/ 177197 w 1620550"/>
                  <a:gd name="connsiteY186" fmla="*/ 1371059 h 1421209"/>
                  <a:gd name="connsiteX187" fmla="*/ 178868 w 1620550"/>
                  <a:gd name="connsiteY187" fmla="*/ 1381089 h 1421209"/>
                  <a:gd name="connsiteX188" fmla="*/ 182212 w 1620550"/>
                  <a:gd name="connsiteY188" fmla="*/ 1397806 h 1421209"/>
                  <a:gd name="connsiteX189" fmla="*/ 188898 w 1620550"/>
                  <a:gd name="connsiteY189" fmla="*/ 1401149 h 1421209"/>
                  <a:gd name="connsiteX190" fmla="*/ 193913 w 1620550"/>
                  <a:gd name="connsiteY190" fmla="*/ 1399477 h 1421209"/>
                  <a:gd name="connsiteX191" fmla="*/ 200600 w 1620550"/>
                  <a:gd name="connsiteY191" fmla="*/ 1389447 h 1421209"/>
                  <a:gd name="connsiteX192" fmla="*/ 208958 w 1620550"/>
                  <a:gd name="connsiteY192" fmla="*/ 1392791 h 1421209"/>
                  <a:gd name="connsiteX193" fmla="*/ 210630 w 1620550"/>
                  <a:gd name="connsiteY193" fmla="*/ 1397806 h 1421209"/>
                  <a:gd name="connsiteX194" fmla="*/ 213973 w 1620550"/>
                  <a:gd name="connsiteY194" fmla="*/ 1402821 h 1421209"/>
                  <a:gd name="connsiteX195" fmla="*/ 215645 w 1620550"/>
                  <a:gd name="connsiteY195" fmla="*/ 1412851 h 1421209"/>
                  <a:gd name="connsiteX196" fmla="*/ 222332 w 1620550"/>
                  <a:gd name="connsiteY196" fmla="*/ 1416194 h 1421209"/>
                  <a:gd name="connsiteX197" fmla="*/ 234033 w 1620550"/>
                  <a:gd name="connsiteY197" fmla="*/ 1419537 h 1421209"/>
                  <a:gd name="connsiteX198" fmla="*/ 239048 w 1620550"/>
                  <a:gd name="connsiteY198" fmla="*/ 1421209 h 1421209"/>
                  <a:gd name="connsiteX199" fmla="*/ 269138 w 1620550"/>
                  <a:gd name="connsiteY199" fmla="*/ 1419537 h 1421209"/>
                  <a:gd name="connsiteX200" fmla="*/ 270810 w 1620550"/>
                  <a:gd name="connsiteY200" fmla="*/ 1414522 h 1421209"/>
                  <a:gd name="connsiteX201" fmla="*/ 277497 w 1620550"/>
                  <a:gd name="connsiteY201" fmla="*/ 1412851 h 1421209"/>
                  <a:gd name="connsiteX202" fmla="*/ 285855 w 1620550"/>
                  <a:gd name="connsiteY202" fmla="*/ 1411179 h 1421209"/>
                  <a:gd name="connsiteX203" fmla="*/ 287527 w 1620550"/>
                  <a:gd name="connsiteY203" fmla="*/ 1406164 h 1421209"/>
                  <a:gd name="connsiteX204" fmla="*/ 289198 w 1620550"/>
                  <a:gd name="connsiteY204" fmla="*/ 1396134 h 1421209"/>
                  <a:gd name="connsiteX205" fmla="*/ 294213 w 1620550"/>
                  <a:gd name="connsiteY205" fmla="*/ 1389447 h 1421209"/>
                  <a:gd name="connsiteX206" fmla="*/ 300900 w 1620550"/>
                  <a:gd name="connsiteY206" fmla="*/ 1379417 h 1421209"/>
                  <a:gd name="connsiteX207" fmla="*/ 307587 w 1620550"/>
                  <a:gd name="connsiteY207" fmla="*/ 1366044 h 1421209"/>
                  <a:gd name="connsiteX208" fmla="*/ 314273 w 1620550"/>
                  <a:gd name="connsiteY208" fmla="*/ 1361029 h 1421209"/>
                  <a:gd name="connsiteX209" fmla="*/ 317617 w 1620550"/>
                  <a:gd name="connsiteY209" fmla="*/ 1357686 h 1421209"/>
                  <a:gd name="connsiteX210" fmla="*/ 339348 w 1620550"/>
                  <a:gd name="connsiteY210" fmla="*/ 1354342 h 1421209"/>
                  <a:gd name="connsiteX211" fmla="*/ 356065 w 1620550"/>
                  <a:gd name="connsiteY211" fmla="*/ 1357686 h 1421209"/>
                  <a:gd name="connsiteX212" fmla="*/ 361080 w 1620550"/>
                  <a:gd name="connsiteY212" fmla="*/ 1359357 h 1421209"/>
                  <a:gd name="connsiteX213" fmla="*/ 364423 w 1620550"/>
                  <a:gd name="connsiteY213" fmla="*/ 1362701 h 1421209"/>
                  <a:gd name="connsiteX214" fmla="*/ 374453 w 1620550"/>
                  <a:gd name="connsiteY214" fmla="*/ 1367716 h 1421209"/>
                  <a:gd name="connsiteX215" fmla="*/ 377796 w 1620550"/>
                  <a:gd name="connsiteY215" fmla="*/ 1374402 h 1421209"/>
                  <a:gd name="connsiteX216" fmla="*/ 381140 w 1620550"/>
                  <a:gd name="connsiteY216" fmla="*/ 1377746 h 1421209"/>
                  <a:gd name="connsiteX217" fmla="*/ 386155 w 1620550"/>
                  <a:gd name="connsiteY217" fmla="*/ 1374402 h 1421209"/>
                  <a:gd name="connsiteX218" fmla="*/ 396185 w 1620550"/>
                  <a:gd name="connsiteY218" fmla="*/ 1361029 h 1421209"/>
                  <a:gd name="connsiteX219" fmla="*/ 414573 w 1620550"/>
                  <a:gd name="connsiteY219" fmla="*/ 1356014 h 1421209"/>
                  <a:gd name="connsiteX220" fmla="*/ 416245 w 1620550"/>
                  <a:gd name="connsiteY220" fmla="*/ 1349327 h 1421209"/>
                  <a:gd name="connsiteX221" fmla="*/ 419588 w 1620550"/>
                  <a:gd name="connsiteY221" fmla="*/ 1334282 h 1421209"/>
                  <a:gd name="connsiteX222" fmla="*/ 424603 w 1620550"/>
                  <a:gd name="connsiteY222" fmla="*/ 1330939 h 1421209"/>
                  <a:gd name="connsiteX223" fmla="*/ 444663 w 1620550"/>
                  <a:gd name="connsiteY223" fmla="*/ 1332611 h 1421209"/>
                  <a:gd name="connsiteX224" fmla="*/ 466395 w 1620550"/>
                  <a:gd name="connsiteY224" fmla="*/ 1339297 h 1421209"/>
                  <a:gd name="connsiteX225" fmla="*/ 509858 w 1620550"/>
                  <a:gd name="connsiteY225" fmla="*/ 1340969 h 1421209"/>
                  <a:gd name="connsiteX226" fmla="*/ 523231 w 1620550"/>
                  <a:gd name="connsiteY226" fmla="*/ 1345984 h 1421209"/>
                  <a:gd name="connsiteX227" fmla="*/ 531589 w 1620550"/>
                  <a:gd name="connsiteY227" fmla="*/ 1357686 h 1421209"/>
                  <a:gd name="connsiteX228" fmla="*/ 534933 w 1620550"/>
                  <a:gd name="connsiteY228" fmla="*/ 1364372 h 1421209"/>
                  <a:gd name="connsiteX229" fmla="*/ 539948 w 1620550"/>
                  <a:gd name="connsiteY229" fmla="*/ 1366044 h 1421209"/>
                  <a:gd name="connsiteX230" fmla="*/ 565023 w 1620550"/>
                  <a:gd name="connsiteY230" fmla="*/ 1369387 h 1421209"/>
                  <a:gd name="connsiteX231" fmla="*/ 568366 w 1620550"/>
                  <a:gd name="connsiteY231" fmla="*/ 1372731 h 1421209"/>
                  <a:gd name="connsiteX232" fmla="*/ 571709 w 1620550"/>
                  <a:gd name="connsiteY232" fmla="*/ 1366044 h 1421209"/>
                  <a:gd name="connsiteX233" fmla="*/ 600128 w 1620550"/>
                  <a:gd name="connsiteY233" fmla="*/ 1357686 h 1421209"/>
                  <a:gd name="connsiteX234" fmla="*/ 626874 w 1620550"/>
                  <a:gd name="connsiteY234" fmla="*/ 1361029 h 1421209"/>
                  <a:gd name="connsiteX235" fmla="*/ 633561 w 1620550"/>
                  <a:gd name="connsiteY235" fmla="*/ 1364372 h 1421209"/>
                  <a:gd name="connsiteX236" fmla="*/ 638576 w 1620550"/>
                  <a:gd name="connsiteY236" fmla="*/ 1366044 h 1421209"/>
                  <a:gd name="connsiteX237" fmla="*/ 643591 w 1620550"/>
                  <a:gd name="connsiteY237" fmla="*/ 1372731 h 1421209"/>
                  <a:gd name="connsiteX238" fmla="*/ 650278 w 1620550"/>
                  <a:gd name="connsiteY238" fmla="*/ 1382761 h 1421209"/>
                  <a:gd name="connsiteX239" fmla="*/ 660308 w 1620550"/>
                  <a:gd name="connsiteY239" fmla="*/ 1386104 h 1421209"/>
                  <a:gd name="connsiteX240" fmla="*/ 672009 w 1620550"/>
                  <a:gd name="connsiteY240" fmla="*/ 1389447 h 1421209"/>
                  <a:gd name="connsiteX241" fmla="*/ 687054 w 1620550"/>
                  <a:gd name="connsiteY241" fmla="*/ 1382761 h 1421209"/>
                  <a:gd name="connsiteX242" fmla="*/ 690398 w 1620550"/>
                  <a:gd name="connsiteY242" fmla="*/ 1374402 h 1421209"/>
                  <a:gd name="connsiteX243" fmla="*/ 695413 w 1620550"/>
                  <a:gd name="connsiteY243" fmla="*/ 1371059 h 1421209"/>
                  <a:gd name="connsiteX244" fmla="*/ 707114 w 1620550"/>
                  <a:gd name="connsiteY244" fmla="*/ 1366044 h 1421209"/>
                  <a:gd name="connsiteX245" fmla="*/ 715472 w 1620550"/>
                  <a:gd name="connsiteY245" fmla="*/ 1364372 h 1421209"/>
                  <a:gd name="connsiteX246" fmla="*/ 735532 w 1620550"/>
                  <a:gd name="connsiteY246" fmla="*/ 1371059 h 1421209"/>
                  <a:gd name="connsiteX247" fmla="*/ 737204 w 1620550"/>
                  <a:gd name="connsiteY247" fmla="*/ 1376074 h 1421209"/>
                  <a:gd name="connsiteX248" fmla="*/ 742219 w 1620550"/>
                  <a:gd name="connsiteY248" fmla="*/ 1387776 h 1421209"/>
                  <a:gd name="connsiteX249" fmla="*/ 748906 w 1620550"/>
                  <a:gd name="connsiteY249" fmla="*/ 1389447 h 1421209"/>
                  <a:gd name="connsiteX250" fmla="*/ 762279 w 1620550"/>
                  <a:gd name="connsiteY250" fmla="*/ 1384432 h 1421209"/>
                  <a:gd name="connsiteX251" fmla="*/ 772309 w 1620550"/>
                  <a:gd name="connsiteY251" fmla="*/ 1381089 h 1421209"/>
                  <a:gd name="connsiteX252" fmla="*/ 784011 w 1620550"/>
                  <a:gd name="connsiteY252" fmla="*/ 1371059 h 1421209"/>
                  <a:gd name="connsiteX253" fmla="*/ 797384 w 1620550"/>
                  <a:gd name="connsiteY253" fmla="*/ 1357686 h 1421209"/>
                  <a:gd name="connsiteX254" fmla="*/ 802399 w 1620550"/>
                  <a:gd name="connsiteY254" fmla="*/ 1352671 h 1421209"/>
                  <a:gd name="connsiteX255" fmla="*/ 810757 w 1620550"/>
                  <a:gd name="connsiteY255" fmla="*/ 1350999 h 1421209"/>
                  <a:gd name="connsiteX256" fmla="*/ 812429 w 1620550"/>
                  <a:gd name="connsiteY256" fmla="*/ 1344312 h 1421209"/>
                  <a:gd name="connsiteX257" fmla="*/ 807414 w 1620550"/>
                  <a:gd name="connsiteY257" fmla="*/ 1325924 h 1421209"/>
                  <a:gd name="connsiteX258" fmla="*/ 809086 w 1620550"/>
                  <a:gd name="connsiteY258" fmla="*/ 1314222 h 1421209"/>
                  <a:gd name="connsiteX259" fmla="*/ 812429 w 1620550"/>
                  <a:gd name="connsiteY259" fmla="*/ 1309207 h 1421209"/>
                  <a:gd name="connsiteX260" fmla="*/ 820787 w 1620550"/>
                  <a:gd name="connsiteY260" fmla="*/ 1299177 h 1421209"/>
                  <a:gd name="connsiteX261" fmla="*/ 827474 w 1620550"/>
                  <a:gd name="connsiteY261" fmla="*/ 1294162 h 1421209"/>
                  <a:gd name="connsiteX262" fmla="*/ 869266 w 1620550"/>
                  <a:gd name="connsiteY262" fmla="*/ 1292491 h 1421209"/>
                  <a:gd name="connsiteX263" fmla="*/ 870937 w 1620550"/>
                  <a:gd name="connsiteY263" fmla="*/ 1277446 h 1421209"/>
                  <a:gd name="connsiteX264" fmla="*/ 880967 w 1620550"/>
                  <a:gd name="connsiteY264" fmla="*/ 1270759 h 1421209"/>
                  <a:gd name="connsiteX265" fmla="*/ 885982 w 1620550"/>
                  <a:gd name="connsiteY265" fmla="*/ 1269088 h 1421209"/>
                  <a:gd name="connsiteX266" fmla="*/ 932789 w 1620550"/>
                  <a:gd name="connsiteY266" fmla="*/ 1270759 h 1421209"/>
                  <a:gd name="connsiteX267" fmla="*/ 942819 w 1620550"/>
                  <a:gd name="connsiteY267" fmla="*/ 1272431 h 1421209"/>
                  <a:gd name="connsiteX268" fmla="*/ 949505 w 1620550"/>
                  <a:gd name="connsiteY268" fmla="*/ 1275774 h 1421209"/>
                  <a:gd name="connsiteX269" fmla="*/ 954520 w 1620550"/>
                  <a:gd name="connsiteY269" fmla="*/ 1277446 h 1421209"/>
                  <a:gd name="connsiteX270" fmla="*/ 964550 w 1620550"/>
                  <a:gd name="connsiteY270" fmla="*/ 1274103 h 1421209"/>
                  <a:gd name="connsiteX271" fmla="*/ 971237 w 1620550"/>
                  <a:gd name="connsiteY271" fmla="*/ 1264073 h 1421209"/>
                  <a:gd name="connsiteX272" fmla="*/ 964550 w 1620550"/>
                  <a:gd name="connsiteY272" fmla="*/ 1249028 h 1421209"/>
                  <a:gd name="connsiteX273" fmla="*/ 966222 w 1620550"/>
                  <a:gd name="connsiteY273" fmla="*/ 1233983 h 1421209"/>
                  <a:gd name="connsiteX274" fmla="*/ 974580 w 1620550"/>
                  <a:gd name="connsiteY274" fmla="*/ 1215594 h 1421209"/>
                  <a:gd name="connsiteX275" fmla="*/ 977924 w 1620550"/>
                  <a:gd name="connsiteY275" fmla="*/ 1212251 h 1421209"/>
                  <a:gd name="connsiteX276" fmla="*/ 982939 w 1620550"/>
                  <a:gd name="connsiteY276" fmla="*/ 1205564 h 1421209"/>
                  <a:gd name="connsiteX277" fmla="*/ 991297 w 1620550"/>
                  <a:gd name="connsiteY277" fmla="*/ 1195534 h 1421209"/>
                  <a:gd name="connsiteX278" fmla="*/ 1001327 w 1620550"/>
                  <a:gd name="connsiteY278" fmla="*/ 1185504 h 1421209"/>
                  <a:gd name="connsiteX279" fmla="*/ 1002999 w 1620550"/>
                  <a:gd name="connsiteY279" fmla="*/ 1180489 h 1421209"/>
                  <a:gd name="connsiteX280" fmla="*/ 1006342 w 1620550"/>
                  <a:gd name="connsiteY280" fmla="*/ 1175474 h 1421209"/>
                  <a:gd name="connsiteX281" fmla="*/ 1008014 w 1620550"/>
                  <a:gd name="connsiteY281" fmla="*/ 1168788 h 1421209"/>
                  <a:gd name="connsiteX282" fmla="*/ 1016372 w 1620550"/>
                  <a:gd name="connsiteY282" fmla="*/ 1157086 h 1421209"/>
                  <a:gd name="connsiteX283" fmla="*/ 1023059 w 1620550"/>
                  <a:gd name="connsiteY283" fmla="*/ 1143713 h 1421209"/>
                  <a:gd name="connsiteX284" fmla="*/ 1024730 w 1620550"/>
                  <a:gd name="connsiteY284" fmla="*/ 1138698 h 1421209"/>
                  <a:gd name="connsiteX285" fmla="*/ 1028074 w 1620550"/>
                  <a:gd name="connsiteY285" fmla="*/ 1135354 h 1421209"/>
                  <a:gd name="connsiteX286" fmla="*/ 1033089 w 1620550"/>
                  <a:gd name="connsiteY286" fmla="*/ 1128668 h 1421209"/>
                  <a:gd name="connsiteX287" fmla="*/ 1043119 w 1620550"/>
                  <a:gd name="connsiteY287" fmla="*/ 1116966 h 1421209"/>
                  <a:gd name="connsiteX288" fmla="*/ 1061507 w 1620550"/>
                  <a:gd name="connsiteY288" fmla="*/ 1111951 h 1421209"/>
                  <a:gd name="connsiteX289" fmla="*/ 1069865 w 1620550"/>
                  <a:gd name="connsiteY289" fmla="*/ 1108608 h 1421209"/>
                  <a:gd name="connsiteX290" fmla="*/ 1089925 w 1620550"/>
                  <a:gd name="connsiteY290" fmla="*/ 1105264 h 1421209"/>
                  <a:gd name="connsiteX291" fmla="*/ 1094940 w 1620550"/>
                  <a:gd name="connsiteY291" fmla="*/ 1101921 h 1421209"/>
                  <a:gd name="connsiteX292" fmla="*/ 1111657 w 1620550"/>
                  <a:gd name="connsiteY292" fmla="*/ 1098578 h 1421209"/>
                  <a:gd name="connsiteX293" fmla="*/ 1126702 w 1620550"/>
                  <a:gd name="connsiteY293" fmla="*/ 1090220 h 1421209"/>
                  <a:gd name="connsiteX294" fmla="*/ 1131717 w 1620550"/>
                  <a:gd name="connsiteY294" fmla="*/ 1086876 h 1421209"/>
                  <a:gd name="connsiteX295" fmla="*/ 1133388 w 1620550"/>
                  <a:gd name="connsiteY295" fmla="*/ 1078518 h 1421209"/>
                  <a:gd name="connsiteX296" fmla="*/ 1126702 w 1620550"/>
                  <a:gd name="connsiteY296" fmla="*/ 1070160 h 1421209"/>
                  <a:gd name="connsiteX297" fmla="*/ 1118343 w 1620550"/>
                  <a:gd name="connsiteY297" fmla="*/ 1065145 h 1421209"/>
                  <a:gd name="connsiteX298" fmla="*/ 1109985 w 1620550"/>
                  <a:gd name="connsiteY298" fmla="*/ 1056786 h 1421209"/>
                  <a:gd name="connsiteX299" fmla="*/ 1103298 w 1620550"/>
                  <a:gd name="connsiteY299" fmla="*/ 1048428 h 1421209"/>
                  <a:gd name="connsiteX300" fmla="*/ 1099955 w 1620550"/>
                  <a:gd name="connsiteY300" fmla="*/ 1043413 h 1421209"/>
                  <a:gd name="connsiteX301" fmla="*/ 1094940 w 1620550"/>
                  <a:gd name="connsiteY301" fmla="*/ 1040070 h 1421209"/>
                  <a:gd name="connsiteX302" fmla="*/ 1091597 w 1620550"/>
                  <a:gd name="connsiteY302" fmla="*/ 1033383 h 1421209"/>
                  <a:gd name="connsiteX303" fmla="*/ 1088253 w 1620550"/>
                  <a:gd name="connsiteY303" fmla="*/ 1030040 h 1421209"/>
                  <a:gd name="connsiteX304" fmla="*/ 1083238 w 1620550"/>
                  <a:gd name="connsiteY304" fmla="*/ 1018338 h 1421209"/>
                  <a:gd name="connsiteX305" fmla="*/ 1081567 w 1620550"/>
                  <a:gd name="connsiteY305" fmla="*/ 989920 h 1421209"/>
                  <a:gd name="connsiteX306" fmla="*/ 1079895 w 1620550"/>
                  <a:gd name="connsiteY306" fmla="*/ 984905 h 1421209"/>
                  <a:gd name="connsiteX307" fmla="*/ 1074880 w 1620550"/>
                  <a:gd name="connsiteY307" fmla="*/ 979890 h 1421209"/>
                  <a:gd name="connsiteX308" fmla="*/ 1069865 w 1620550"/>
                  <a:gd name="connsiteY308" fmla="*/ 964845 h 1421209"/>
                  <a:gd name="connsiteX309" fmla="*/ 1074880 w 1620550"/>
                  <a:gd name="connsiteY309" fmla="*/ 929740 h 1421209"/>
                  <a:gd name="connsiteX310" fmla="*/ 1084910 w 1620550"/>
                  <a:gd name="connsiteY310" fmla="*/ 919710 h 1421209"/>
                  <a:gd name="connsiteX311" fmla="*/ 1091597 w 1620550"/>
                  <a:gd name="connsiteY311" fmla="*/ 911352 h 1421209"/>
                  <a:gd name="connsiteX312" fmla="*/ 1098283 w 1620550"/>
                  <a:gd name="connsiteY312" fmla="*/ 906337 h 1421209"/>
                  <a:gd name="connsiteX313" fmla="*/ 1111657 w 1620550"/>
                  <a:gd name="connsiteY313" fmla="*/ 892963 h 1421209"/>
                  <a:gd name="connsiteX314" fmla="*/ 1116672 w 1620550"/>
                  <a:gd name="connsiteY314" fmla="*/ 887948 h 1421209"/>
                  <a:gd name="connsiteX315" fmla="*/ 1121687 w 1620550"/>
                  <a:gd name="connsiteY315" fmla="*/ 881262 h 1421209"/>
                  <a:gd name="connsiteX316" fmla="*/ 1125030 w 1620550"/>
                  <a:gd name="connsiteY316" fmla="*/ 877918 h 1421209"/>
                  <a:gd name="connsiteX317" fmla="*/ 1131717 w 1620550"/>
                  <a:gd name="connsiteY317" fmla="*/ 869560 h 1421209"/>
                  <a:gd name="connsiteX318" fmla="*/ 1136732 w 1620550"/>
                  <a:gd name="connsiteY318" fmla="*/ 864545 h 1421209"/>
                  <a:gd name="connsiteX319" fmla="*/ 1145090 w 1620550"/>
                  <a:gd name="connsiteY319" fmla="*/ 849500 h 1421209"/>
                  <a:gd name="connsiteX320" fmla="*/ 1150105 w 1620550"/>
                  <a:gd name="connsiteY320" fmla="*/ 841142 h 1421209"/>
                  <a:gd name="connsiteX321" fmla="*/ 1153448 w 1620550"/>
                  <a:gd name="connsiteY321" fmla="*/ 831112 h 1421209"/>
                  <a:gd name="connsiteX322" fmla="*/ 1156792 w 1620550"/>
                  <a:gd name="connsiteY322" fmla="*/ 827768 h 1421209"/>
                  <a:gd name="connsiteX323" fmla="*/ 1160135 w 1620550"/>
                  <a:gd name="connsiteY323" fmla="*/ 822753 h 1421209"/>
                  <a:gd name="connsiteX324" fmla="*/ 1173508 w 1620550"/>
                  <a:gd name="connsiteY324" fmla="*/ 814395 h 1421209"/>
                  <a:gd name="connsiteX325" fmla="*/ 1181867 w 1620550"/>
                  <a:gd name="connsiteY325" fmla="*/ 806037 h 1421209"/>
                  <a:gd name="connsiteX326" fmla="*/ 1185210 w 1620550"/>
                  <a:gd name="connsiteY326" fmla="*/ 799350 h 1421209"/>
                  <a:gd name="connsiteX327" fmla="*/ 1205270 w 1620550"/>
                  <a:gd name="connsiteY327" fmla="*/ 785977 h 1421209"/>
                  <a:gd name="connsiteX328" fmla="*/ 1213628 w 1620550"/>
                  <a:gd name="connsiteY328" fmla="*/ 779290 h 1421209"/>
                  <a:gd name="connsiteX329" fmla="*/ 1225330 w 1620550"/>
                  <a:gd name="connsiteY329" fmla="*/ 770932 h 1421209"/>
                  <a:gd name="connsiteX330" fmla="*/ 1228673 w 1620550"/>
                  <a:gd name="connsiteY330" fmla="*/ 765917 h 1421209"/>
                  <a:gd name="connsiteX331" fmla="*/ 1243718 w 1620550"/>
                  <a:gd name="connsiteY331" fmla="*/ 764245 h 1421209"/>
                  <a:gd name="connsiteX332" fmla="*/ 1250405 w 1620550"/>
                  <a:gd name="connsiteY332" fmla="*/ 762573 h 1421209"/>
                  <a:gd name="connsiteX333" fmla="*/ 1255420 w 1620550"/>
                  <a:gd name="connsiteY333" fmla="*/ 757558 h 1421209"/>
                  <a:gd name="connsiteX334" fmla="*/ 1263778 w 1620550"/>
                  <a:gd name="connsiteY334" fmla="*/ 752543 h 1421209"/>
                  <a:gd name="connsiteX335" fmla="*/ 1260435 w 1620550"/>
                  <a:gd name="connsiteY335" fmla="*/ 735827 h 1421209"/>
                  <a:gd name="connsiteX336" fmla="*/ 1257091 w 1620550"/>
                  <a:gd name="connsiteY336" fmla="*/ 732484 h 1421209"/>
                  <a:gd name="connsiteX337" fmla="*/ 1255420 w 1620550"/>
                  <a:gd name="connsiteY337" fmla="*/ 727469 h 1421209"/>
                  <a:gd name="connsiteX338" fmla="*/ 1262106 w 1620550"/>
                  <a:gd name="connsiteY338" fmla="*/ 710752 h 1421209"/>
                  <a:gd name="connsiteX339" fmla="*/ 1272136 w 1620550"/>
                  <a:gd name="connsiteY339" fmla="*/ 705737 h 1421209"/>
                  <a:gd name="connsiteX340" fmla="*/ 1280495 w 1620550"/>
                  <a:gd name="connsiteY340" fmla="*/ 700722 h 1421209"/>
                  <a:gd name="connsiteX341" fmla="*/ 1287181 w 1620550"/>
                  <a:gd name="connsiteY341" fmla="*/ 697379 h 1421209"/>
                  <a:gd name="connsiteX342" fmla="*/ 1292196 w 1620550"/>
                  <a:gd name="connsiteY342" fmla="*/ 694035 h 1421209"/>
                  <a:gd name="connsiteX343" fmla="*/ 1298883 w 1620550"/>
                  <a:gd name="connsiteY343" fmla="*/ 692364 h 1421209"/>
                  <a:gd name="connsiteX344" fmla="*/ 1308913 w 1620550"/>
                  <a:gd name="connsiteY344" fmla="*/ 687349 h 1421209"/>
                  <a:gd name="connsiteX345" fmla="*/ 1323958 w 1620550"/>
                  <a:gd name="connsiteY345" fmla="*/ 682334 h 1421209"/>
                  <a:gd name="connsiteX346" fmla="*/ 1330645 w 1620550"/>
                  <a:gd name="connsiteY346" fmla="*/ 678990 h 1421209"/>
                  <a:gd name="connsiteX347" fmla="*/ 1355720 w 1620550"/>
                  <a:gd name="connsiteY347" fmla="*/ 675647 h 1421209"/>
                  <a:gd name="connsiteX348" fmla="*/ 1359063 w 1620550"/>
                  <a:gd name="connsiteY348" fmla="*/ 670632 h 1421209"/>
                  <a:gd name="connsiteX349" fmla="*/ 1372436 w 1620550"/>
                  <a:gd name="connsiteY349" fmla="*/ 667289 h 1421209"/>
                  <a:gd name="connsiteX350" fmla="*/ 1449333 w 1620550"/>
                  <a:gd name="connsiteY350" fmla="*/ 663945 h 1421209"/>
                  <a:gd name="connsiteX351" fmla="*/ 1464378 w 1620550"/>
                  <a:gd name="connsiteY351" fmla="*/ 645557 h 1421209"/>
                  <a:gd name="connsiteX352" fmla="*/ 1474408 w 1620550"/>
                  <a:gd name="connsiteY352" fmla="*/ 635527 h 1421209"/>
                  <a:gd name="connsiteX353" fmla="*/ 1487781 w 1620550"/>
                  <a:gd name="connsiteY353" fmla="*/ 625497 h 1421209"/>
                  <a:gd name="connsiteX354" fmla="*/ 1494468 w 1620550"/>
                  <a:gd name="connsiteY354" fmla="*/ 623825 h 1421209"/>
                  <a:gd name="connsiteX355" fmla="*/ 1509513 w 1620550"/>
                  <a:gd name="connsiteY355" fmla="*/ 620482 h 1421209"/>
                  <a:gd name="connsiteX356" fmla="*/ 1517871 w 1620550"/>
                  <a:gd name="connsiteY356" fmla="*/ 617139 h 1421209"/>
                  <a:gd name="connsiteX357" fmla="*/ 1524558 w 1620550"/>
                  <a:gd name="connsiteY357" fmla="*/ 613795 h 1421209"/>
                  <a:gd name="connsiteX358" fmla="*/ 1539603 w 1620550"/>
                  <a:gd name="connsiteY358" fmla="*/ 612124 h 1421209"/>
                  <a:gd name="connsiteX359" fmla="*/ 1557991 w 1620550"/>
                  <a:gd name="connsiteY359" fmla="*/ 602094 h 1421209"/>
                  <a:gd name="connsiteX360" fmla="*/ 1573036 w 1620550"/>
                  <a:gd name="connsiteY360" fmla="*/ 597079 h 1421209"/>
                  <a:gd name="connsiteX361" fmla="*/ 1576379 w 1620550"/>
                  <a:gd name="connsiteY361" fmla="*/ 592064 h 1421209"/>
                  <a:gd name="connsiteX362" fmla="*/ 1588081 w 1620550"/>
                  <a:gd name="connsiteY362" fmla="*/ 587049 h 1421209"/>
                  <a:gd name="connsiteX363" fmla="*/ 1591424 w 1620550"/>
                  <a:gd name="connsiteY363" fmla="*/ 583705 h 1421209"/>
                  <a:gd name="connsiteX364" fmla="*/ 1598111 w 1620550"/>
                  <a:gd name="connsiteY364" fmla="*/ 580362 h 1421209"/>
                  <a:gd name="connsiteX365" fmla="*/ 1608141 w 1620550"/>
                  <a:gd name="connsiteY365" fmla="*/ 572004 h 1421209"/>
                  <a:gd name="connsiteX366" fmla="*/ 1614828 w 1620550"/>
                  <a:gd name="connsiteY366" fmla="*/ 560302 h 1421209"/>
                  <a:gd name="connsiteX367" fmla="*/ 1608141 w 1620550"/>
                  <a:gd name="connsiteY367" fmla="*/ 546929 h 1421209"/>
                  <a:gd name="connsiteX368" fmla="*/ 1599783 w 1620550"/>
                  <a:gd name="connsiteY368" fmla="*/ 535227 h 1421209"/>
                  <a:gd name="connsiteX369" fmla="*/ 1598111 w 1620550"/>
                  <a:gd name="connsiteY369" fmla="*/ 530212 h 1421209"/>
                  <a:gd name="connsiteX370" fmla="*/ 1596439 w 1620550"/>
                  <a:gd name="connsiteY370" fmla="*/ 518511 h 1421209"/>
                  <a:gd name="connsiteX371" fmla="*/ 1601454 w 1620550"/>
                  <a:gd name="connsiteY371" fmla="*/ 516839 h 1421209"/>
                  <a:gd name="connsiteX372" fmla="*/ 1604798 w 1620550"/>
                  <a:gd name="connsiteY372" fmla="*/ 513496 h 1421209"/>
                  <a:gd name="connsiteX373" fmla="*/ 1616499 w 1620550"/>
                  <a:gd name="connsiteY373" fmla="*/ 510152 h 1421209"/>
                  <a:gd name="connsiteX374" fmla="*/ 1618171 w 1620550"/>
                  <a:gd name="connsiteY374" fmla="*/ 495107 h 1421209"/>
                  <a:gd name="connsiteX375" fmla="*/ 1613156 w 1620550"/>
                  <a:gd name="connsiteY375" fmla="*/ 491764 h 1421209"/>
                  <a:gd name="connsiteX376" fmla="*/ 1611484 w 1620550"/>
                  <a:gd name="connsiteY376" fmla="*/ 486749 h 1421209"/>
                  <a:gd name="connsiteX377" fmla="*/ 1608141 w 1620550"/>
                  <a:gd name="connsiteY377" fmla="*/ 481734 h 1421209"/>
                  <a:gd name="connsiteX378" fmla="*/ 1606469 w 1620550"/>
                  <a:gd name="connsiteY378" fmla="*/ 473376 h 1421209"/>
                  <a:gd name="connsiteX379" fmla="*/ 1604798 w 1620550"/>
                  <a:gd name="connsiteY379" fmla="*/ 468361 h 1421209"/>
                  <a:gd name="connsiteX380" fmla="*/ 1599783 w 1620550"/>
                  <a:gd name="connsiteY380" fmla="*/ 466689 h 1421209"/>
                  <a:gd name="connsiteX381" fmla="*/ 1586409 w 1620550"/>
                  <a:gd name="connsiteY381" fmla="*/ 461674 h 1421209"/>
                  <a:gd name="connsiteX382" fmla="*/ 1561334 w 1620550"/>
                  <a:gd name="connsiteY382" fmla="*/ 463346 h 1421209"/>
                  <a:gd name="connsiteX383" fmla="*/ 1547961 w 1620550"/>
                  <a:gd name="connsiteY383" fmla="*/ 465017 h 1421209"/>
                  <a:gd name="connsiteX384" fmla="*/ 1539603 w 1620550"/>
                  <a:gd name="connsiteY384" fmla="*/ 470032 h 1421209"/>
                  <a:gd name="connsiteX385" fmla="*/ 1529573 w 1620550"/>
                  <a:gd name="connsiteY385" fmla="*/ 485077 h 1421209"/>
                  <a:gd name="connsiteX386" fmla="*/ 1524558 w 1620550"/>
                  <a:gd name="connsiteY386" fmla="*/ 486749 h 1421209"/>
                  <a:gd name="connsiteX387" fmla="*/ 1504498 w 1620550"/>
                  <a:gd name="connsiteY387" fmla="*/ 480062 h 1421209"/>
                  <a:gd name="connsiteX388" fmla="*/ 1489453 w 1620550"/>
                  <a:gd name="connsiteY388" fmla="*/ 468361 h 1421209"/>
                  <a:gd name="connsiteX389" fmla="*/ 1474408 w 1620550"/>
                  <a:gd name="connsiteY389" fmla="*/ 466689 h 1421209"/>
                  <a:gd name="connsiteX390" fmla="*/ 1462706 w 1620550"/>
                  <a:gd name="connsiteY390" fmla="*/ 468361 h 1421209"/>
                  <a:gd name="connsiteX391" fmla="*/ 1452676 w 1620550"/>
                  <a:gd name="connsiteY391" fmla="*/ 471704 h 1421209"/>
                  <a:gd name="connsiteX392" fmla="*/ 1442646 w 1620550"/>
                  <a:gd name="connsiteY392" fmla="*/ 470032 h 1421209"/>
                  <a:gd name="connsiteX393" fmla="*/ 1435959 w 1620550"/>
                  <a:gd name="connsiteY393" fmla="*/ 463346 h 1421209"/>
                  <a:gd name="connsiteX394" fmla="*/ 1432616 w 1620550"/>
                  <a:gd name="connsiteY394" fmla="*/ 458331 h 1421209"/>
                  <a:gd name="connsiteX395" fmla="*/ 1427601 w 1620550"/>
                  <a:gd name="connsiteY395" fmla="*/ 454987 h 1421209"/>
                  <a:gd name="connsiteX396" fmla="*/ 1422586 w 1620550"/>
                  <a:gd name="connsiteY396" fmla="*/ 448301 h 1421209"/>
                  <a:gd name="connsiteX397" fmla="*/ 1412556 w 1620550"/>
                  <a:gd name="connsiteY397" fmla="*/ 439942 h 1421209"/>
                  <a:gd name="connsiteX398" fmla="*/ 1404198 w 1620550"/>
                  <a:gd name="connsiteY398" fmla="*/ 446629 h 1421209"/>
                  <a:gd name="connsiteX399" fmla="*/ 1390825 w 1620550"/>
                  <a:gd name="connsiteY399" fmla="*/ 453316 h 1421209"/>
                  <a:gd name="connsiteX400" fmla="*/ 1387481 w 1620550"/>
                  <a:gd name="connsiteY400" fmla="*/ 438271 h 1421209"/>
                  <a:gd name="connsiteX401" fmla="*/ 1385810 w 1620550"/>
                  <a:gd name="connsiteY401" fmla="*/ 433256 h 1421209"/>
                  <a:gd name="connsiteX402" fmla="*/ 1384138 w 1620550"/>
                  <a:gd name="connsiteY402" fmla="*/ 411524 h 1421209"/>
                  <a:gd name="connsiteX403" fmla="*/ 1379123 w 1620550"/>
                  <a:gd name="connsiteY403" fmla="*/ 408181 h 1421209"/>
                  <a:gd name="connsiteX404" fmla="*/ 1370765 w 1620550"/>
                  <a:gd name="connsiteY404" fmla="*/ 406509 h 1421209"/>
                  <a:gd name="connsiteX405" fmla="*/ 1364078 w 1620550"/>
                  <a:gd name="connsiteY405" fmla="*/ 404837 h 1421209"/>
                  <a:gd name="connsiteX406" fmla="*/ 1340675 w 1620550"/>
                  <a:gd name="connsiteY406" fmla="*/ 394807 h 1421209"/>
                  <a:gd name="connsiteX407" fmla="*/ 1327301 w 1620550"/>
                  <a:gd name="connsiteY407" fmla="*/ 384777 h 1421209"/>
                  <a:gd name="connsiteX408" fmla="*/ 1320615 w 1620550"/>
                  <a:gd name="connsiteY408" fmla="*/ 379762 h 1421209"/>
                  <a:gd name="connsiteX409" fmla="*/ 1310585 w 1620550"/>
                  <a:gd name="connsiteY409" fmla="*/ 373076 h 1421209"/>
                  <a:gd name="connsiteX410" fmla="*/ 1305570 w 1620550"/>
                  <a:gd name="connsiteY410" fmla="*/ 369732 h 1421209"/>
                  <a:gd name="connsiteX411" fmla="*/ 1297211 w 1620550"/>
                  <a:gd name="connsiteY411" fmla="*/ 368061 h 1421209"/>
                  <a:gd name="connsiteX412" fmla="*/ 1290525 w 1620550"/>
                  <a:gd name="connsiteY412" fmla="*/ 369732 h 1421209"/>
                  <a:gd name="connsiteX413" fmla="*/ 1282166 w 1620550"/>
                  <a:gd name="connsiteY413" fmla="*/ 398151 h 1421209"/>
                  <a:gd name="connsiteX414" fmla="*/ 1272136 w 1620550"/>
                  <a:gd name="connsiteY414" fmla="*/ 394807 h 1421209"/>
                  <a:gd name="connsiteX415" fmla="*/ 1267121 w 1620550"/>
                  <a:gd name="connsiteY415" fmla="*/ 391464 h 1421209"/>
                  <a:gd name="connsiteX416" fmla="*/ 1255420 w 1620550"/>
                  <a:gd name="connsiteY416" fmla="*/ 388121 h 1421209"/>
                  <a:gd name="connsiteX417" fmla="*/ 1220315 w 1620550"/>
                  <a:gd name="connsiteY417" fmla="*/ 386449 h 1421209"/>
                  <a:gd name="connsiteX418" fmla="*/ 1218643 w 1620550"/>
                  <a:gd name="connsiteY418" fmla="*/ 381434 h 1421209"/>
                  <a:gd name="connsiteX419" fmla="*/ 1211957 w 1620550"/>
                  <a:gd name="connsiteY419" fmla="*/ 379762 h 1421209"/>
                  <a:gd name="connsiteX420" fmla="*/ 1175180 w 1620550"/>
                  <a:gd name="connsiteY420" fmla="*/ 378091 h 1421209"/>
                  <a:gd name="connsiteX421" fmla="*/ 1173508 w 1620550"/>
                  <a:gd name="connsiteY421" fmla="*/ 373076 h 1421209"/>
                  <a:gd name="connsiteX422" fmla="*/ 1171837 w 1620550"/>
                  <a:gd name="connsiteY422" fmla="*/ 366389 h 1421209"/>
                  <a:gd name="connsiteX423" fmla="*/ 1163478 w 1620550"/>
                  <a:gd name="connsiteY423" fmla="*/ 361374 h 1421209"/>
                  <a:gd name="connsiteX424" fmla="*/ 1128373 w 1620550"/>
                  <a:gd name="connsiteY424" fmla="*/ 359703 h 1421209"/>
                  <a:gd name="connsiteX425" fmla="*/ 1120015 w 1620550"/>
                  <a:gd name="connsiteY425" fmla="*/ 356359 h 1421209"/>
                  <a:gd name="connsiteX426" fmla="*/ 1113328 w 1620550"/>
                  <a:gd name="connsiteY426" fmla="*/ 346329 h 1421209"/>
                  <a:gd name="connsiteX427" fmla="*/ 1108313 w 1620550"/>
                  <a:gd name="connsiteY427" fmla="*/ 339643 h 1421209"/>
                  <a:gd name="connsiteX428" fmla="*/ 1104970 w 1620550"/>
                  <a:gd name="connsiteY428" fmla="*/ 334628 h 1421209"/>
                  <a:gd name="connsiteX429" fmla="*/ 1098283 w 1620550"/>
                  <a:gd name="connsiteY429" fmla="*/ 327941 h 1421209"/>
                  <a:gd name="connsiteX430" fmla="*/ 1096612 w 1620550"/>
                  <a:gd name="connsiteY430" fmla="*/ 322926 h 1421209"/>
                  <a:gd name="connsiteX431" fmla="*/ 1091597 w 1620550"/>
                  <a:gd name="connsiteY431" fmla="*/ 321254 h 1421209"/>
                  <a:gd name="connsiteX432" fmla="*/ 1084910 w 1620550"/>
                  <a:gd name="connsiteY432" fmla="*/ 317911 h 1421209"/>
                  <a:gd name="connsiteX433" fmla="*/ 1064850 w 1620550"/>
                  <a:gd name="connsiteY433" fmla="*/ 314568 h 1421209"/>
                  <a:gd name="connsiteX434" fmla="*/ 1058164 w 1620550"/>
                  <a:gd name="connsiteY434" fmla="*/ 311224 h 1421209"/>
                  <a:gd name="connsiteX435" fmla="*/ 1054820 w 1620550"/>
                  <a:gd name="connsiteY435" fmla="*/ 307881 h 1421209"/>
                  <a:gd name="connsiteX436" fmla="*/ 1049805 w 1620550"/>
                  <a:gd name="connsiteY436" fmla="*/ 304538 h 1421209"/>
                  <a:gd name="connsiteX437" fmla="*/ 1046462 w 1620550"/>
                  <a:gd name="connsiteY437" fmla="*/ 301194 h 1421209"/>
                  <a:gd name="connsiteX438" fmla="*/ 1039775 w 1620550"/>
                  <a:gd name="connsiteY438" fmla="*/ 299523 h 1421209"/>
                  <a:gd name="connsiteX439" fmla="*/ 1029745 w 1620550"/>
                  <a:gd name="connsiteY439" fmla="*/ 296179 h 1421209"/>
                  <a:gd name="connsiteX440" fmla="*/ 1016372 w 1620550"/>
                  <a:gd name="connsiteY440" fmla="*/ 287821 h 1421209"/>
                  <a:gd name="connsiteX441" fmla="*/ 1013029 w 1620550"/>
                  <a:gd name="connsiteY441" fmla="*/ 282806 h 1421209"/>
                  <a:gd name="connsiteX442" fmla="*/ 1014700 w 1620550"/>
                  <a:gd name="connsiteY442" fmla="*/ 276119 h 1421209"/>
                  <a:gd name="connsiteX443" fmla="*/ 1016372 w 1620550"/>
                  <a:gd name="connsiteY443" fmla="*/ 271104 h 1421209"/>
                  <a:gd name="connsiteX444" fmla="*/ 1029745 w 1620550"/>
                  <a:gd name="connsiteY444" fmla="*/ 264418 h 1421209"/>
                  <a:gd name="connsiteX445" fmla="*/ 1031417 w 1620550"/>
                  <a:gd name="connsiteY445" fmla="*/ 257731 h 1421209"/>
                  <a:gd name="connsiteX446" fmla="*/ 1024730 w 1620550"/>
                  <a:gd name="connsiteY446" fmla="*/ 256059 h 1421209"/>
                  <a:gd name="connsiteX447" fmla="*/ 1016372 w 1620550"/>
                  <a:gd name="connsiteY447" fmla="*/ 251044 h 1421209"/>
                  <a:gd name="connsiteX448" fmla="*/ 1008014 w 1620550"/>
                  <a:gd name="connsiteY448" fmla="*/ 247701 h 1421209"/>
                  <a:gd name="connsiteX449" fmla="*/ 1002999 w 1620550"/>
                  <a:gd name="connsiteY449" fmla="*/ 244358 h 1421209"/>
                  <a:gd name="connsiteX450" fmla="*/ 997984 w 1620550"/>
                  <a:gd name="connsiteY450" fmla="*/ 242686 h 1421209"/>
                  <a:gd name="connsiteX451" fmla="*/ 989625 w 1620550"/>
                  <a:gd name="connsiteY451" fmla="*/ 235999 h 1421209"/>
                  <a:gd name="connsiteX452" fmla="*/ 984610 w 1620550"/>
                  <a:gd name="connsiteY452" fmla="*/ 234328 h 1421209"/>
                  <a:gd name="connsiteX453" fmla="*/ 966222 w 1620550"/>
                  <a:gd name="connsiteY453" fmla="*/ 227641 h 1421209"/>
                  <a:gd name="connsiteX454" fmla="*/ 944490 w 1620550"/>
                  <a:gd name="connsiteY454" fmla="*/ 229313 h 1421209"/>
                  <a:gd name="connsiteX455" fmla="*/ 902699 w 1620550"/>
                  <a:gd name="connsiteY455" fmla="*/ 227641 h 1421209"/>
                  <a:gd name="connsiteX456" fmla="*/ 897684 w 1620550"/>
                  <a:gd name="connsiteY456" fmla="*/ 225969 h 1421209"/>
                  <a:gd name="connsiteX457" fmla="*/ 885982 w 1620550"/>
                  <a:gd name="connsiteY457" fmla="*/ 215939 h 1421209"/>
                  <a:gd name="connsiteX458" fmla="*/ 874281 w 1620550"/>
                  <a:gd name="connsiteY458" fmla="*/ 207581 h 1421209"/>
                  <a:gd name="connsiteX459" fmla="*/ 869266 w 1620550"/>
                  <a:gd name="connsiteY459" fmla="*/ 204238 h 1421209"/>
                  <a:gd name="connsiteX460" fmla="*/ 860907 w 1620550"/>
                  <a:gd name="connsiteY460" fmla="*/ 197551 h 1421209"/>
                  <a:gd name="connsiteX461" fmla="*/ 854221 w 1620550"/>
                  <a:gd name="connsiteY461" fmla="*/ 195879 h 1421209"/>
                  <a:gd name="connsiteX462" fmla="*/ 842519 w 1620550"/>
                  <a:gd name="connsiteY462" fmla="*/ 192536 h 1421209"/>
                  <a:gd name="connsiteX463" fmla="*/ 815772 w 1620550"/>
                  <a:gd name="connsiteY463" fmla="*/ 194208 h 1421209"/>
                  <a:gd name="connsiteX464" fmla="*/ 805742 w 1620550"/>
                  <a:gd name="connsiteY464" fmla="*/ 195879 h 1421209"/>
                  <a:gd name="connsiteX465" fmla="*/ 789026 w 1620550"/>
                  <a:gd name="connsiteY465" fmla="*/ 197551 h 1421209"/>
                  <a:gd name="connsiteX466" fmla="*/ 782339 w 1620550"/>
                  <a:gd name="connsiteY466" fmla="*/ 194208 h 1421209"/>
                  <a:gd name="connsiteX467" fmla="*/ 780667 w 1620550"/>
                  <a:gd name="connsiteY467" fmla="*/ 189193 h 1421209"/>
                  <a:gd name="connsiteX468" fmla="*/ 775652 w 1620550"/>
                  <a:gd name="connsiteY468" fmla="*/ 175820 h 1421209"/>
                  <a:gd name="connsiteX469" fmla="*/ 768966 w 1620550"/>
                  <a:gd name="connsiteY469" fmla="*/ 170805 h 1421209"/>
                  <a:gd name="connsiteX470" fmla="*/ 765622 w 1620550"/>
                  <a:gd name="connsiteY470" fmla="*/ 167461 h 1421209"/>
                  <a:gd name="connsiteX471" fmla="*/ 753921 w 1620550"/>
                  <a:gd name="connsiteY471" fmla="*/ 162446 h 1421209"/>
                  <a:gd name="connsiteX472" fmla="*/ 735532 w 1620550"/>
                  <a:gd name="connsiteY472" fmla="*/ 164118 h 1421209"/>
                  <a:gd name="connsiteX473" fmla="*/ 722159 w 1620550"/>
                  <a:gd name="connsiteY473" fmla="*/ 170805 h 1421209"/>
                  <a:gd name="connsiteX474" fmla="*/ 720487 w 1620550"/>
                  <a:gd name="connsiteY474" fmla="*/ 165790 h 1421209"/>
                  <a:gd name="connsiteX475" fmla="*/ 715472 w 1620550"/>
                  <a:gd name="connsiteY475" fmla="*/ 164118 h 1421209"/>
                  <a:gd name="connsiteX476" fmla="*/ 693741 w 1620550"/>
                  <a:gd name="connsiteY476" fmla="*/ 165790 h 1421209"/>
                  <a:gd name="connsiteX477" fmla="*/ 683711 w 1620550"/>
                  <a:gd name="connsiteY477" fmla="*/ 169133 h 1421209"/>
                  <a:gd name="connsiteX478" fmla="*/ 678696 w 1620550"/>
                  <a:gd name="connsiteY478" fmla="*/ 170805 h 1421209"/>
                  <a:gd name="connsiteX479" fmla="*/ 631889 w 1620550"/>
                  <a:gd name="connsiteY479" fmla="*/ 167461 h 1421209"/>
                  <a:gd name="connsiteX480" fmla="*/ 620188 w 1620550"/>
                  <a:gd name="connsiteY480" fmla="*/ 164118 h 1421209"/>
                  <a:gd name="connsiteX481" fmla="*/ 610158 w 1620550"/>
                  <a:gd name="connsiteY481" fmla="*/ 159103 h 1421209"/>
                  <a:gd name="connsiteX482" fmla="*/ 603471 w 1620550"/>
                  <a:gd name="connsiteY482" fmla="*/ 157431 h 1421209"/>
                  <a:gd name="connsiteX483" fmla="*/ 598456 w 1620550"/>
                  <a:gd name="connsiteY483" fmla="*/ 155760 h 1421209"/>
                  <a:gd name="connsiteX484" fmla="*/ 593441 w 1620550"/>
                  <a:gd name="connsiteY484" fmla="*/ 152416 h 1421209"/>
                  <a:gd name="connsiteX485" fmla="*/ 570038 w 1620550"/>
                  <a:gd name="connsiteY485" fmla="*/ 147401 h 1421209"/>
                  <a:gd name="connsiteX486" fmla="*/ 561679 w 1620550"/>
                  <a:gd name="connsiteY486" fmla="*/ 140715 h 1421209"/>
                  <a:gd name="connsiteX487" fmla="*/ 556664 w 1620550"/>
                  <a:gd name="connsiteY487" fmla="*/ 137371 h 1421209"/>
                  <a:gd name="connsiteX488" fmla="*/ 541619 w 1620550"/>
                  <a:gd name="connsiteY488" fmla="*/ 127341 h 1421209"/>
                  <a:gd name="connsiteX489" fmla="*/ 529918 w 1620550"/>
                  <a:gd name="connsiteY489" fmla="*/ 120655 h 1421209"/>
                  <a:gd name="connsiteX490" fmla="*/ 518216 w 1620550"/>
                  <a:gd name="connsiteY490" fmla="*/ 113968 h 1421209"/>
                  <a:gd name="connsiteX491" fmla="*/ 511530 w 1620550"/>
                  <a:gd name="connsiteY491" fmla="*/ 110625 h 1421209"/>
                  <a:gd name="connsiteX492" fmla="*/ 493141 w 1620550"/>
                  <a:gd name="connsiteY492" fmla="*/ 107281 h 1421209"/>
                  <a:gd name="connsiteX493" fmla="*/ 484783 w 1620550"/>
                  <a:gd name="connsiteY493" fmla="*/ 105610 h 1421209"/>
                  <a:gd name="connsiteX494" fmla="*/ 478096 w 1620550"/>
                  <a:gd name="connsiteY494" fmla="*/ 100595 h 1421209"/>
                  <a:gd name="connsiteX495" fmla="*/ 474753 w 1620550"/>
                  <a:gd name="connsiteY495" fmla="*/ 90565 h 1421209"/>
                  <a:gd name="connsiteX496" fmla="*/ 471410 w 1620550"/>
                  <a:gd name="connsiteY496" fmla="*/ 87221 h 1421209"/>
                  <a:gd name="connsiteX497" fmla="*/ 397856 w 1620550"/>
                  <a:gd name="connsiteY497" fmla="*/ 85550 h 1421209"/>
                  <a:gd name="connsiteX498" fmla="*/ 386155 w 1620550"/>
                  <a:gd name="connsiteY498" fmla="*/ 78863 h 1421209"/>
                  <a:gd name="connsiteX499" fmla="*/ 374453 w 1620550"/>
                  <a:gd name="connsiteY499" fmla="*/ 77191 h 1421209"/>
                  <a:gd name="connsiteX500" fmla="*/ 356065 w 1620550"/>
                  <a:gd name="connsiteY500" fmla="*/ 72176 h 1421209"/>
                  <a:gd name="connsiteX501" fmla="*/ 349378 w 1620550"/>
                  <a:gd name="connsiteY501" fmla="*/ 70505 h 1421209"/>
                  <a:gd name="connsiteX502" fmla="*/ 339348 w 1620550"/>
                  <a:gd name="connsiteY502" fmla="*/ 65490 h 1421209"/>
                  <a:gd name="connsiteX503" fmla="*/ 322632 w 1620550"/>
                  <a:gd name="connsiteY503" fmla="*/ 60475 h 1421209"/>
                  <a:gd name="connsiteX504" fmla="*/ 312602 w 1620550"/>
                  <a:gd name="connsiteY504" fmla="*/ 65490 h 1421209"/>
                  <a:gd name="connsiteX505" fmla="*/ 307587 w 1620550"/>
                  <a:gd name="connsiteY505" fmla="*/ 67161 h 1421209"/>
                  <a:gd name="connsiteX506" fmla="*/ 299228 w 1620550"/>
                  <a:gd name="connsiteY506" fmla="*/ 70505 h 1421209"/>
                  <a:gd name="connsiteX507" fmla="*/ 295885 w 1620550"/>
                  <a:gd name="connsiteY507" fmla="*/ 65490 h 1421209"/>
                  <a:gd name="connsiteX508" fmla="*/ 282512 w 1620550"/>
                  <a:gd name="connsiteY508" fmla="*/ 55460 h 1421209"/>
                  <a:gd name="connsiteX509" fmla="*/ 277497 w 1620550"/>
                  <a:gd name="connsiteY509" fmla="*/ 53788 h 1421209"/>
                  <a:gd name="connsiteX510" fmla="*/ 269138 w 1620550"/>
                  <a:gd name="connsiteY510" fmla="*/ 42086 h 1421209"/>
                  <a:gd name="connsiteX511" fmla="*/ 267467 w 1620550"/>
                  <a:gd name="connsiteY511" fmla="*/ 33728 h 1421209"/>
                  <a:gd name="connsiteX512" fmla="*/ 262452 w 1620550"/>
                  <a:gd name="connsiteY512" fmla="*/ 28713 h 1421209"/>
                  <a:gd name="connsiteX513" fmla="*/ 252422 w 1620550"/>
                  <a:gd name="connsiteY513" fmla="*/ 25370 h 1421209"/>
                  <a:gd name="connsiteX514" fmla="*/ 239048 w 1620550"/>
                  <a:gd name="connsiteY514" fmla="*/ 15340 h 1421209"/>
                  <a:gd name="connsiteX515" fmla="*/ 234033 w 1620550"/>
                  <a:gd name="connsiteY515" fmla="*/ 10325 h 1421209"/>
                  <a:gd name="connsiteX516" fmla="*/ 220660 w 1620550"/>
                  <a:gd name="connsiteY516" fmla="*/ 5310 h 1421209"/>
                  <a:gd name="connsiteX517" fmla="*/ 215645 w 1620550"/>
                  <a:gd name="connsiteY517" fmla="*/ 1967 h 1421209"/>
                  <a:gd name="connsiteX518" fmla="*/ 192242 w 1620550"/>
                  <a:gd name="connsiteY518" fmla="*/ 1967 h 1421209"/>
                  <a:gd name="connsiteX519" fmla="*/ 198928 w 1620550"/>
                  <a:gd name="connsiteY519" fmla="*/ 5310 h 1421209"/>
                  <a:gd name="connsiteX0" fmla="*/ 198928 w 1620550"/>
                  <a:gd name="connsiteY0" fmla="*/ 5310 h 1421209"/>
                  <a:gd name="connsiteX1" fmla="*/ 177197 w 1620550"/>
                  <a:gd name="connsiteY1" fmla="*/ 10325 h 1421209"/>
                  <a:gd name="connsiteX2" fmla="*/ 175525 w 1620550"/>
                  <a:gd name="connsiteY2" fmla="*/ 15340 h 1421209"/>
                  <a:gd name="connsiteX3" fmla="*/ 177197 w 1620550"/>
                  <a:gd name="connsiteY3" fmla="*/ 20355 h 1421209"/>
                  <a:gd name="connsiteX4" fmla="*/ 172182 w 1620550"/>
                  <a:gd name="connsiteY4" fmla="*/ 23698 h 1421209"/>
                  <a:gd name="connsiteX5" fmla="*/ 152122 w 1620550"/>
                  <a:gd name="connsiteY5" fmla="*/ 25370 h 1421209"/>
                  <a:gd name="connsiteX6" fmla="*/ 155465 w 1620550"/>
                  <a:gd name="connsiteY6" fmla="*/ 35400 h 1421209"/>
                  <a:gd name="connsiteX7" fmla="*/ 157137 w 1620550"/>
                  <a:gd name="connsiteY7" fmla="*/ 42086 h 1421209"/>
                  <a:gd name="connsiteX8" fmla="*/ 148779 w 1620550"/>
                  <a:gd name="connsiteY8" fmla="*/ 47101 h 1421209"/>
                  <a:gd name="connsiteX9" fmla="*/ 145435 w 1620550"/>
                  <a:gd name="connsiteY9" fmla="*/ 50445 h 1421209"/>
                  <a:gd name="connsiteX10" fmla="*/ 135405 w 1620550"/>
                  <a:gd name="connsiteY10" fmla="*/ 53788 h 1421209"/>
                  <a:gd name="connsiteX11" fmla="*/ 133734 w 1620550"/>
                  <a:gd name="connsiteY11" fmla="*/ 58803 h 1421209"/>
                  <a:gd name="connsiteX12" fmla="*/ 115345 w 1620550"/>
                  <a:gd name="connsiteY12" fmla="*/ 63818 h 1421209"/>
                  <a:gd name="connsiteX13" fmla="*/ 81912 w 1620550"/>
                  <a:gd name="connsiteY13" fmla="*/ 62146 h 1421209"/>
                  <a:gd name="connsiteX14" fmla="*/ 73554 w 1620550"/>
                  <a:gd name="connsiteY14" fmla="*/ 53788 h 1421209"/>
                  <a:gd name="connsiteX15" fmla="*/ 66867 w 1620550"/>
                  <a:gd name="connsiteY15" fmla="*/ 50445 h 1421209"/>
                  <a:gd name="connsiteX16" fmla="*/ 55165 w 1620550"/>
                  <a:gd name="connsiteY16" fmla="*/ 52116 h 1421209"/>
                  <a:gd name="connsiteX17" fmla="*/ 55165 w 1620550"/>
                  <a:gd name="connsiteY17" fmla="*/ 62146 h 1421209"/>
                  <a:gd name="connsiteX18" fmla="*/ 30090 w 1620550"/>
                  <a:gd name="connsiteY18" fmla="*/ 65490 h 1421209"/>
                  <a:gd name="connsiteX19" fmla="*/ 16717 w 1620550"/>
                  <a:gd name="connsiteY19" fmla="*/ 75520 h 1421209"/>
                  <a:gd name="connsiteX20" fmla="*/ 11702 w 1620550"/>
                  <a:gd name="connsiteY20" fmla="*/ 80535 h 1421209"/>
                  <a:gd name="connsiteX21" fmla="*/ 8359 w 1620550"/>
                  <a:gd name="connsiteY21" fmla="*/ 88893 h 1421209"/>
                  <a:gd name="connsiteX22" fmla="*/ 6687 w 1620550"/>
                  <a:gd name="connsiteY22" fmla="*/ 98923 h 1421209"/>
                  <a:gd name="connsiteX23" fmla="*/ 0 w 1620550"/>
                  <a:gd name="connsiteY23" fmla="*/ 107281 h 1421209"/>
                  <a:gd name="connsiteX24" fmla="*/ 15045 w 1620550"/>
                  <a:gd name="connsiteY24" fmla="*/ 115640 h 1421209"/>
                  <a:gd name="connsiteX25" fmla="*/ 13374 w 1620550"/>
                  <a:gd name="connsiteY25" fmla="*/ 123998 h 1421209"/>
                  <a:gd name="connsiteX26" fmla="*/ 16717 w 1620550"/>
                  <a:gd name="connsiteY26" fmla="*/ 130685 h 1421209"/>
                  <a:gd name="connsiteX27" fmla="*/ 11702 w 1620550"/>
                  <a:gd name="connsiteY27" fmla="*/ 135700 h 1421209"/>
                  <a:gd name="connsiteX28" fmla="*/ 8359 w 1620550"/>
                  <a:gd name="connsiteY28" fmla="*/ 140715 h 1421209"/>
                  <a:gd name="connsiteX29" fmla="*/ 33434 w 1620550"/>
                  <a:gd name="connsiteY29" fmla="*/ 142386 h 1421209"/>
                  <a:gd name="connsiteX30" fmla="*/ 36777 w 1620550"/>
                  <a:gd name="connsiteY30" fmla="*/ 147401 h 1421209"/>
                  <a:gd name="connsiteX31" fmla="*/ 20060 w 1620550"/>
                  <a:gd name="connsiteY31" fmla="*/ 150745 h 1421209"/>
                  <a:gd name="connsiteX32" fmla="*/ 18389 w 1620550"/>
                  <a:gd name="connsiteY32" fmla="*/ 174148 h 1421209"/>
                  <a:gd name="connsiteX33" fmla="*/ 23404 w 1620550"/>
                  <a:gd name="connsiteY33" fmla="*/ 175820 h 1421209"/>
                  <a:gd name="connsiteX34" fmla="*/ 31762 w 1620550"/>
                  <a:gd name="connsiteY34" fmla="*/ 174148 h 1421209"/>
                  <a:gd name="connsiteX35" fmla="*/ 33434 w 1620550"/>
                  <a:gd name="connsiteY35" fmla="*/ 169133 h 1421209"/>
                  <a:gd name="connsiteX36" fmla="*/ 38449 w 1620550"/>
                  <a:gd name="connsiteY36" fmla="*/ 167461 h 1421209"/>
                  <a:gd name="connsiteX37" fmla="*/ 48479 w 1620550"/>
                  <a:gd name="connsiteY37" fmla="*/ 169133 h 1421209"/>
                  <a:gd name="connsiteX38" fmla="*/ 50150 w 1620550"/>
                  <a:gd name="connsiteY38" fmla="*/ 180835 h 1421209"/>
                  <a:gd name="connsiteX39" fmla="*/ 45135 w 1620550"/>
                  <a:gd name="connsiteY39" fmla="*/ 182506 h 1421209"/>
                  <a:gd name="connsiteX40" fmla="*/ 41792 w 1620550"/>
                  <a:gd name="connsiteY40" fmla="*/ 187521 h 1421209"/>
                  <a:gd name="connsiteX41" fmla="*/ 40120 w 1620550"/>
                  <a:gd name="connsiteY41" fmla="*/ 197551 h 1421209"/>
                  <a:gd name="connsiteX42" fmla="*/ 38449 w 1620550"/>
                  <a:gd name="connsiteY42" fmla="*/ 205909 h 1421209"/>
                  <a:gd name="connsiteX43" fmla="*/ 35105 w 1620550"/>
                  <a:gd name="connsiteY43" fmla="*/ 212596 h 1421209"/>
                  <a:gd name="connsiteX44" fmla="*/ 33434 w 1620550"/>
                  <a:gd name="connsiteY44" fmla="*/ 217611 h 1421209"/>
                  <a:gd name="connsiteX45" fmla="*/ 41792 w 1620550"/>
                  <a:gd name="connsiteY45" fmla="*/ 220954 h 1421209"/>
                  <a:gd name="connsiteX46" fmla="*/ 58509 w 1620550"/>
                  <a:gd name="connsiteY46" fmla="*/ 222626 h 1421209"/>
                  <a:gd name="connsiteX47" fmla="*/ 30090 w 1620550"/>
                  <a:gd name="connsiteY47" fmla="*/ 232656 h 1421209"/>
                  <a:gd name="connsiteX48" fmla="*/ 28419 w 1620550"/>
                  <a:gd name="connsiteY48" fmla="*/ 237671 h 1421209"/>
                  <a:gd name="connsiteX49" fmla="*/ 40120 w 1620550"/>
                  <a:gd name="connsiteY49" fmla="*/ 239343 h 1421209"/>
                  <a:gd name="connsiteX50" fmla="*/ 31762 w 1620550"/>
                  <a:gd name="connsiteY50" fmla="*/ 242686 h 1421209"/>
                  <a:gd name="connsiteX51" fmla="*/ 26747 w 1620550"/>
                  <a:gd name="connsiteY51" fmla="*/ 249373 h 1421209"/>
                  <a:gd name="connsiteX52" fmla="*/ 15045 w 1620550"/>
                  <a:gd name="connsiteY52" fmla="*/ 257731 h 1421209"/>
                  <a:gd name="connsiteX53" fmla="*/ 15045 w 1620550"/>
                  <a:gd name="connsiteY53" fmla="*/ 291164 h 1421209"/>
                  <a:gd name="connsiteX54" fmla="*/ 25075 w 1620550"/>
                  <a:gd name="connsiteY54" fmla="*/ 287821 h 1421209"/>
                  <a:gd name="connsiteX55" fmla="*/ 33434 w 1620550"/>
                  <a:gd name="connsiteY55" fmla="*/ 279463 h 1421209"/>
                  <a:gd name="connsiteX56" fmla="*/ 50607 w 1620550"/>
                  <a:gd name="connsiteY56" fmla="*/ 294917 h 1421209"/>
                  <a:gd name="connsiteX57" fmla="*/ 61347 w 1620550"/>
                  <a:gd name="connsiteY57" fmla="*/ 276577 h 1421209"/>
                  <a:gd name="connsiteX58" fmla="*/ 83584 w 1620550"/>
                  <a:gd name="connsiteY58" fmla="*/ 267761 h 1421209"/>
                  <a:gd name="connsiteX59" fmla="*/ 91942 w 1620550"/>
                  <a:gd name="connsiteY59" fmla="*/ 269433 h 1421209"/>
                  <a:gd name="connsiteX60" fmla="*/ 98629 w 1620550"/>
                  <a:gd name="connsiteY60" fmla="*/ 272776 h 1421209"/>
                  <a:gd name="connsiteX61" fmla="*/ 103644 w 1620550"/>
                  <a:gd name="connsiteY61" fmla="*/ 274448 h 1421209"/>
                  <a:gd name="connsiteX62" fmla="*/ 108659 w 1620550"/>
                  <a:gd name="connsiteY62" fmla="*/ 279463 h 1421209"/>
                  <a:gd name="connsiteX63" fmla="*/ 112002 w 1620550"/>
                  <a:gd name="connsiteY63" fmla="*/ 299523 h 1421209"/>
                  <a:gd name="connsiteX64" fmla="*/ 100300 w 1620550"/>
                  <a:gd name="connsiteY64" fmla="*/ 307881 h 1421209"/>
                  <a:gd name="connsiteX65" fmla="*/ 96957 w 1620550"/>
                  <a:gd name="connsiteY65" fmla="*/ 321254 h 1421209"/>
                  <a:gd name="connsiteX66" fmla="*/ 95285 w 1620550"/>
                  <a:gd name="connsiteY66" fmla="*/ 326269 h 1421209"/>
                  <a:gd name="connsiteX67" fmla="*/ 98629 w 1620550"/>
                  <a:gd name="connsiteY67" fmla="*/ 331284 h 1421209"/>
                  <a:gd name="connsiteX68" fmla="*/ 118689 w 1620550"/>
                  <a:gd name="connsiteY68" fmla="*/ 334628 h 1421209"/>
                  <a:gd name="connsiteX69" fmla="*/ 147107 w 1620550"/>
                  <a:gd name="connsiteY69" fmla="*/ 332956 h 1421209"/>
                  <a:gd name="connsiteX70" fmla="*/ 158808 w 1620550"/>
                  <a:gd name="connsiteY70" fmla="*/ 329613 h 1421209"/>
                  <a:gd name="connsiteX71" fmla="*/ 168838 w 1620550"/>
                  <a:gd name="connsiteY71" fmla="*/ 332956 h 1421209"/>
                  <a:gd name="connsiteX72" fmla="*/ 177197 w 1620550"/>
                  <a:gd name="connsiteY72" fmla="*/ 342986 h 1421209"/>
                  <a:gd name="connsiteX73" fmla="*/ 183883 w 1620550"/>
                  <a:gd name="connsiteY73" fmla="*/ 346329 h 1421209"/>
                  <a:gd name="connsiteX74" fmla="*/ 192242 w 1620550"/>
                  <a:gd name="connsiteY74" fmla="*/ 348001 h 1421209"/>
                  <a:gd name="connsiteX75" fmla="*/ 217317 w 1620550"/>
                  <a:gd name="connsiteY75" fmla="*/ 341314 h 1421209"/>
                  <a:gd name="connsiteX76" fmla="*/ 222332 w 1620550"/>
                  <a:gd name="connsiteY76" fmla="*/ 334628 h 1421209"/>
                  <a:gd name="connsiteX77" fmla="*/ 232362 w 1620550"/>
                  <a:gd name="connsiteY77" fmla="*/ 331284 h 1421209"/>
                  <a:gd name="connsiteX78" fmla="*/ 239048 w 1620550"/>
                  <a:gd name="connsiteY78" fmla="*/ 334628 h 1421209"/>
                  <a:gd name="connsiteX79" fmla="*/ 244063 w 1620550"/>
                  <a:gd name="connsiteY79" fmla="*/ 339643 h 1421209"/>
                  <a:gd name="connsiteX80" fmla="*/ 250750 w 1620550"/>
                  <a:gd name="connsiteY80" fmla="*/ 341314 h 1421209"/>
                  <a:gd name="connsiteX81" fmla="*/ 260780 w 1620550"/>
                  <a:gd name="connsiteY81" fmla="*/ 348001 h 1421209"/>
                  <a:gd name="connsiteX82" fmla="*/ 269138 w 1620550"/>
                  <a:gd name="connsiteY82" fmla="*/ 356359 h 1421209"/>
                  <a:gd name="connsiteX83" fmla="*/ 270810 w 1620550"/>
                  <a:gd name="connsiteY83" fmla="*/ 368061 h 1421209"/>
                  <a:gd name="connsiteX84" fmla="*/ 290870 w 1620550"/>
                  <a:gd name="connsiteY84" fmla="*/ 366389 h 1421209"/>
                  <a:gd name="connsiteX85" fmla="*/ 305915 w 1620550"/>
                  <a:gd name="connsiteY85" fmla="*/ 368061 h 1421209"/>
                  <a:gd name="connsiteX86" fmla="*/ 304243 w 1620550"/>
                  <a:gd name="connsiteY86" fmla="*/ 388121 h 1421209"/>
                  <a:gd name="connsiteX87" fmla="*/ 307587 w 1620550"/>
                  <a:gd name="connsiteY87" fmla="*/ 403166 h 1421209"/>
                  <a:gd name="connsiteX88" fmla="*/ 320960 w 1620550"/>
                  <a:gd name="connsiteY88" fmla="*/ 414867 h 1421209"/>
                  <a:gd name="connsiteX89" fmla="*/ 329318 w 1620550"/>
                  <a:gd name="connsiteY89" fmla="*/ 424897 h 1421209"/>
                  <a:gd name="connsiteX90" fmla="*/ 336005 w 1620550"/>
                  <a:gd name="connsiteY90" fmla="*/ 428241 h 1421209"/>
                  <a:gd name="connsiteX91" fmla="*/ 334333 w 1620550"/>
                  <a:gd name="connsiteY91" fmla="*/ 458331 h 1421209"/>
                  <a:gd name="connsiteX92" fmla="*/ 307587 w 1620550"/>
                  <a:gd name="connsiteY92" fmla="*/ 478391 h 1421209"/>
                  <a:gd name="connsiteX93" fmla="*/ 292542 w 1620550"/>
                  <a:gd name="connsiteY93" fmla="*/ 483406 h 1421209"/>
                  <a:gd name="connsiteX94" fmla="*/ 287527 w 1620550"/>
                  <a:gd name="connsiteY94" fmla="*/ 486749 h 1421209"/>
                  <a:gd name="connsiteX95" fmla="*/ 265795 w 1620550"/>
                  <a:gd name="connsiteY95" fmla="*/ 488421 h 1421209"/>
                  <a:gd name="connsiteX96" fmla="*/ 257437 w 1620550"/>
                  <a:gd name="connsiteY96" fmla="*/ 495107 h 1421209"/>
                  <a:gd name="connsiteX97" fmla="*/ 249078 w 1620550"/>
                  <a:gd name="connsiteY97" fmla="*/ 503466 h 1421209"/>
                  <a:gd name="connsiteX98" fmla="*/ 247407 w 1620550"/>
                  <a:gd name="connsiteY98" fmla="*/ 508481 h 1421209"/>
                  <a:gd name="connsiteX99" fmla="*/ 239048 w 1620550"/>
                  <a:gd name="connsiteY99" fmla="*/ 515167 h 1421209"/>
                  <a:gd name="connsiteX100" fmla="*/ 237377 w 1620550"/>
                  <a:gd name="connsiteY100" fmla="*/ 536899 h 1421209"/>
                  <a:gd name="connsiteX101" fmla="*/ 239048 w 1620550"/>
                  <a:gd name="connsiteY101" fmla="*/ 543586 h 1421209"/>
                  <a:gd name="connsiteX102" fmla="*/ 237377 w 1620550"/>
                  <a:gd name="connsiteY102" fmla="*/ 595407 h 1421209"/>
                  <a:gd name="connsiteX103" fmla="*/ 230690 w 1620550"/>
                  <a:gd name="connsiteY103" fmla="*/ 610452 h 1421209"/>
                  <a:gd name="connsiteX104" fmla="*/ 227347 w 1620550"/>
                  <a:gd name="connsiteY104" fmla="*/ 618810 h 1421209"/>
                  <a:gd name="connsiteX105" fmla="*/ 224003 w 1620550"/>
                  <a:gd name="connsiteY105" fmla="*/ 625497 h 1421209"/>
                  <a:gd name="connsiteX106" fmla="*/ 222332 w 1620550"/>
                  <a:gd name="connsiteY106" fmla="*/ 633855 h 1421209"/>
                  <a:gd name="connsiteX107" fmla="*/ 213973 w 1620550"/>
                  <a:gd name="connsiteY107" fmla="*/ 642214 h 1421209"/>
                  <a:gd name="connsiteX108" fmla="*/ 205615 w 1620550"/>
                  <a:gd name="connsiteY108" fmla="*/ 648900 h 1421209"/>
                  <a:gd name="connsiteX109" fmla="*/ 190570 w 1620550"/>
                  <a:gd name="connsiteY109" fmla="*/ 652244 h 1421209"/>
                  <a:gd name="connsiteX110" fmla="*/ 192242 w 1620550"/>
                  <a:gd name="connsiteY110" fmla="*/ 662274 h 1421209"/>
                  <a:gd name="connsiteX111" fmla="*/ 193913 w 1620550"/>
                  <a:gd name="connsiteY111" fmla="*/ 667289 h 1421209"/>
                  <a:gd name="connsiteX112" fmla="*/ 190570 w 1620550"/>
                  <a:gd name="connsiteY112" fmla="*/ 695707 h 1421209"/>
                  <a:gd name="connsiteX113" fmla="*/ 187227 w 1620550"/>
                  <a:gd name="connsiteY113" fmla="*/ 704065 h 1421209"/>
                  <a:gd name="connsiteX114" fmla="*/ 185555 w 1620550"/>
                  <a:gd name="connsiteY114" fmla="*/ 712424 h 1421209"/>
                  <a:gd name="connsiteX115" fmla="*/ 180540 w 1620550"/>
                  <a:gd name="connsiteY115" fmla="*/ 717439 h 1421209"/>
                  <a:gd name="connsiteX116" fmla="*/ 175525 w 1620550"/>
                  <a:gd name="connsiteY116" fmla="*/ 725797 h 1421209"/>
                  <a:gd name="connsiteX117" fmla="*/ 170510 w 1620550"/>
                  <a:gd name="connsiteY117" fmla="*/ 727469 h 1421209"/>
                  <a:gd name="connsiteX118" fmla="*/ 165495 w 1620550"/>
                  <a:gd name="connsiteY118" fmla="*/ 730812 h 1421209"/>
                  <a:gd name="connsiteX119" fmla="*/ 147107 w 1620550"/>
                  <a:gd name="connsiteY119" fmla="*/ 734155 h 1421209"/>
                  <a:gd name="connsiteX120" fmla="*/ 137077 w 1620550"/>
                  <a:gd name="connsiteY120" fmla="*/ 739170 h 1421209"/>
                  <a:gd name="connsiteX121" fmla="*/ 128719 w 1620550"/>
                  <a:gd name="connsiteY121" fmla="*/ 742513 h 1421209"/>
                  <a:gd name="connsiteX122" fmla="*/ 122032 w 1620550"/>
                  <a:gd name="connsiteY122" fmla="*/ 745857 h 1421209"/>
                  <a:gd name="connsiteX123" fmla="*/ 98628 w 1620550"/>
                  <a:gd name="connsiteY123" fmla="*/ 745856 h 1421209"/>
                  <a:gd name="connsiteX124" fmla="*/ 103644 w 1620550"/>
                  <a:gd name="connsiteY124" fmla="*/ 755887 h 1421209"/>
                  <a:gd name="connsiteX125" fmla="*/ 106987 w 1620550"/>
                  <a:gd name="connsiteY125" fmla="*/ 770932 h 1421209"/>
                  <a:gd name="connsiteX126" fmla="*/ 110330 w 1620550"/>
                  <a:gd name="connsiteY126" fmla="*/ 779290 h 1421209"/>
                  <a:gd name="connsiteX127" fmla="*/ 112002 w 1620550"/>
                  <a:gd name="connsiteY127" fmla="*/ 787648 h 1421209"/>
                  <a:gd name="connsiteX128" fmla="*/ 113674 w 1620550"/>
                  <a:gd name="connsiteY128" fmla="*/ 821082 h 1421209"/>
                  <a:gd name="connsiteX129" fmla="*/ 117017 w 1620550"/>
                  <a:gd name="connsiteY129" fmla="*/ 827768 h 1421209"/>
                  <a:gd name="connsiteX130" fmla="*/ 125375 w 1620550"/>
                  <a:gd name="connsiteY130" fmla="*/ 831112 h 1421209"/>
                  <a:gd name="connsiteX131" fmla="*/ 140420 w 1620550"/>
                  <a:gd name="connsiteY131" fmla="*/ 832783 h 1421209"/>
                  <a:gd name="connsiteX132" fmla="*/ 155465 w 1620550"/>
                  <a:gd name="connsiteY132" fmla="*/ 837798 h 1421209"/>
                  <a:gd name="connsiteX133" fmla="*/ 153793 w 1620550"/>
                  <a:gd name="connsiteY133" fmla="*/ 864545 h 1421209"/>
                  <a:gd name="connsiteX134" fmla="*/ 147107 w 1620550"/>
                  <a:gd name="connsiteY134" fmla="*/ 871232 h 1421209"/>
                  <a:gd name="connsiteX135" fmla="*/ 143764 w 1620550"/>
                  <a:gd name="connsiteY135" fmla="*/ 876247 h 1421209"/>
                  <a:gd name="connsiteX136" fmla="*/ 133734 w 1620550"/>
                  <a:gd name="connsiteY136" fmla="*/ 886277 h 1421209"/>
                  <a:gd name="connsiteX137" fmla="*/ 128719 w 1620550"/>
                  <a:gd name="connsiteY137" fmla="*/ 891292 h 1421209"/>
                  <a:gd name="connsiteX138" fmla="*/ 108659 w 1620550"/>
                  <a:gd name="connsiteY138" fmla="*/ 904665 h 1421209"/>
                  <a:gd name="connsiteX139" fmla="*/ 100300 w 1620550"/>
                  <a:gd name="connsiteY139" fmla="*/ 913023 h 1421209"/>
                  <a:gd name="connsiteX140" fmla="*/ 86927 w 1620550"/>
                  <a:gd name="connsiteY140" fmla="*/ 928068 h 1421209"/>
                  <a:gd name="connsiteX141" fmla="*/ 86927 w 1620550"/>
                  <a:gd name="connsiteY141" fmla="*/ 981561 h 1421209"/>
                  <a:gd name="connsiteX142" fmla="*/ 96957 w 1620550"/>
                  <a:gd name="connsiteY142" fmla="*/ 991591 h 1421209"/>
                  <a:gd name="connsiteX143" fmla="*/ 108659 w 1620550"/>
                  <a:gd name="connsiteY143" fmla="*/ 993263 h 1421209"/>
                  <a:gd name="connsiteX144" fmla="*/ 115345 w 1620550"/>
                  <a:gd name="connsiteY144" fmla="*/ 1038398 h 1421209"/>
                  <a:gd name="connsiteX145" fmla="*/ 93614 w 1620550"/>
                  <a:gd name="connsiteY145" fmla="*/ 1035055 h 1421209"/>
                  <a:gd name="connsiteX146" fmla="*/ 63524 w 1620550"/>
                  <a:gd name="connsiteY146" fmla="*/ 1036726 h 1421209"/>
                  <a:gd name="connsiteX147" fmla="*/ 56837 w 1620550"/>
                  <a:gd name="connsiteY147" fmla="*/ 1045085 h 1421209"/>
                  <a:gd name="connsiteX148" fmla="*/ 48479 w 1620550"/>
                  <a:gd name="connsiteY148" fmla="*/ 1051771 h 1421209"/>
                  <a:gd name="connsiteX149" fmla="*/ 43464 w 1620550"/>
                  <a:gd name="connsiteY149" fmla="*/ 1058458 h 1421209"/>
                  <a:gd name="connsiteX150" fmla="*/ 40120 w 1620550"/>
                  <a:gd name="connsiteY150" fmla="*/ 1061801 h 1421209"/>
                  <a:gd name="connsiteX151" fmla="*/ 35105 w 1620550"/>
                  <a:gd name="connsiteY151" fmla="*/ 1070160 h 1421209"/>
                  <a:gd name="connsiteX152" fmla="*/ 33434 w 1620550"/>
                  <a:gd name="connsiteY152" fmla="*/ 1075175 h 1421209"/>
                  <a:gd name="connsiteX153" fmla="*/ 28419 w 1620550"/>
                  <a:gd name="connsiteY153" fmla="*/ 1091891 h 1421209"/>
                  <a:gd name="connsiteX154" fmla="*/ 25075 w 1620550"/>
                  <a:gd name="connsiteY154" fmla="*/ 1098578 h 1421209"/>
                  <a:gd name="connsiteX155" fmla="*/ 20060 w 1620550"/>
                  <a:gd name="connsiteY155" fmla="*/ 1111951 h 1421209"/>
                  <a:gd name="connsiteX156" fmla="*/ 21732 w 1620550"/>
                  <a:gd name="connsiteY156" fmla="*/ 1163773 h 1421209"/>
                  <a:gd name="connsiteX157" fmla="*/ 41792 w 1620550"/>
                  <a:gd name="connsiteY157" fmla="*/ 1162101 h 1421209"/>
                  <a:gd name="connsiteX158" fmla="*/ 68539 w 1620550"/>
                  <a:gd name="connsiteY158" fmla="*/ 1163773 h 1421209"/>
                  <a:gd name="connsiteX159" fmla="*/ 81912 w 1620550"/>
                  <a:gd name="connsiteY159" fmla="*/ 1173803 h 1421209"/>
                  <a:gd name="connsiteX160" fmla="*/ 86927 w 1620550"/>
                  <a:gd name="connsiteY160" fmla="*/ 1177146 h 1421209"/>
                  <a:gd name="connsiteX161" fmla="*/ 93614 w 1620550"/>
                  <a:gd name="connsiteY161" fmla="*/ 1185504 h 1421209"/>
                  <a:gd name="connsiteX162" fmla="*/ 96957 w 1620550"/>
                  <a:gd name="connsiteY162" fmla="*/ 1195534 h 1421209"/>
                  <a:gd name="connsiteX163" fmla="*/ 98629 w 1620550"/>
                  <a:gd name="connsiteY163" fmla="*/ 1200549 h 1421209"/>
                  <a:gd name="connsiteX164" fmla="*/ 108659 w 1620550"/>
                  <a:gd name="connsiteY164" fmla="*/ 1212251 h 1421209"/>
                  <a:gd name="connsiteX165" fmla="*/ 113674 w 1620550"/>
                  <a:gd name="connsiteY165" fmla="*/ 1213923 h 1421209"/>
                  <a:gd name="connsiteX166" fmla="*/ 122032 w 1620550"/>
                  <a:gd name="connsiteY166" fmla="*/ 1217266 h 1421209"/>
                  <a:gd name="connsiteX167" fmla="*/ 135405 w 1620550"/>
                  <a:gd name="connsiteY167" fmla="*/ 1227296 h 1421209"/>
                  <a:gd name="connsiteX168" fmla="*/ 140420 w 1620550"/>
                  <a:gd name="connsiteY168" fmla="*/ 1230639 h 1421209"/>
                  <a:gd name="connsiteX169" fmla="*/ 145435 w 1620550"/>
                  <a:gd name="connsiteY169" fmla="*/ 1232311 h 1421209"/>
                  <a:gd name="connsiteX170" fmla="*/ 148779 w 1620550"/>
                  <a:gd name="connsiteY170" fmla="*/ 1237326 h 1421209"/>
                  <a:gd name="connsiteX171" fmla="*/ 153793 w 1620550"/>
                  <a:gd name="connsiteY171" fmla="*/ 1244013 h 1421209"/>
                  <a:gd name="connsiteX172" fmla="*/ 158808 w 1620550"/>
                  <a:gd name="connsiteY172" fmla="*/ 1255714 h 1421209"/>
                  <a:gd name="connsiteX173" fmla="*/ 152122 w 1620550"/>
                  <a:gd name="connsiteY173" fmla="*/ 1259058 h 1421209"/>
                  <a:gd name="connsiteX174" fmla="*/ 143764 w 1620550"/>
                  <a:gd name="connsiteY174" fmla="*/ 1260729 h 1421209"/>
                  <a:gd name="connsiteX175" fmla="*/ 145435 w 1620550"/>
                  <a:gd name="connsiteY175" fmla="*/ 1274103 h 1421209"/>
                  <a:gd name="connsiteX176" fmla="*/ 152122 w 1620550"/>
                  <a:gd name="connsiteY176" fmla="*/ 1290819 h 1421209"/>
                  <a:gd name="connsiteX177" fmla="*/ 155465 w 1620550"/>
                  <a:gd name="connsiteY177" fmla="*/ 1295834 h 1421209"/>
                  <a:gd name="connsiteX178" fmla="*/ 160480 w 1620550"/>
                  <a:gd name="connsiteY178" fmla="*/ 1297506 h 1421209"/>
                  <a:gd name="connsiteX179" fmla="*/ 163823 w 1620550"/>
                  <a:gd name="connsiteY179" fmla="*/ 1302521 h 1421209"/>
                  <a:gd name="connsiteX180" fmla="*/ 168838 w 1620550"/>
                  <a:gd name="connsiteY180" fmla="*/ 1305864 h 1421209"/>
                  <a:gd name="connsiteX181" fmla="*/ 177197 w 1620550"/>
                  <a:gd name="connsiteY181" fmla="*/ 1312551 h 1421209"/>
                  <a:gd name="connsiteX182" fmla="*/ 180540 w 1620550"/>
                  <a:gd name="connsiteY182" fmla="*/ 1317566 h 1421209"/>
                  <a:gd name="connsiteX183" fmla="*/ 168838 w 1620550"/>
                  <a:gd name="connsiteY183" fmla="*/ 1329267 h 1421209"/>
                  <a:gd name="connsiteX184" fmla="*/ 170510 w 1620550"/>
                  <a:gd name="connsiteY184" fmla="*/ 1349327 h 1421209"/>
                  <a:gd name="connsiteX185" fmla="*/ 175525 w 1620550"/>
                  <a:gd name="connsiteY185" fmla="*/ 1356014 h 1421209"/>
                  <a:gd name="connsiteX186" fmla="*/ 177197 w 1620550"/>
                  <a:gd name="connsiteY186" fmla="*/ 1371059 h 1421209"/>
                  <a:gd name="connsiteX187" fmla="*/ 178868 w 1620550"/>
                  <a:gd name="connsiteY187" fmla="*/ 1381089 h 1421209"/>
                  <a:gd name="connsiteX188" fmla="*/ 182212 w 1620550"/>
                  <a:gd name="connsiteY188" fmla="*/ 1397806 h 1421209"/>
                  <a:gd name="connsiteX189" fmla="*/ 188898 w 1620550"/>
                  <a:gd name="connsiteY189" fmla="*/ 1401149 h 1421209"/>
                  <a:gd name="connsiteX190" fmla="*/ 193913 w 1620550"/>
                  <a:gd name="connsiteY190" fmla="*/ 1399477 h 1421209"/>
                  <a:gd name="connsiteX191" fmla="*/ 200600 w 1620550"/>
                  <a:gd name="connsiteY191" fmla="*/ 1389447 h 1421209"/>
                  <a:gd name="connsiteX192" fmla="*/ 208958 w 1620550"/>
                  <a:gd name="connsiteY192" fmla="*/ 1392791 h 1421209"/>
                  <a:gd name="connsiteX193" fmla="*/ 210630 w 1620550"/>
                  <a:gd name="connsiteY193" fmla="*/ 1397806 h 1421209"/>
                  <a:gd name="connsiteX194" fmla="*/ 213973 w 1620550"/>
                  <a:gd name="connsiteY194" fmla="*/ 1402821 h 1421209"/>
                  <a:gd name="connsiteX195" fmla="*/ 215645 w 1620550"/>
                  <a:gd name="connsiteY195" fmla="*/ 1412851 h 1421209"/>
                  <a:gd name="connsiteX196" fmla="*/ 222332 w 1620550"/>
                  <a:gd name="connsiteY196" fmla="*/ 1416194 h 1421209"/>
                  <a:gd name="connsiteX197" fmla="*/ 234033 w 1620550"/>
                  <a:gd name="connsiteY197" fmla="*/ 1419537 h 1421209"/>
                  <a:gd name="connsiteX198" fmla="*/ 239048 w 1620550"/>
                  <a:gd name="connsiteY198" fmla="*/ 1421209 h 1421209"/>
                  <a:gd name="connsiteX199" fmla="*/ 269138 w 1620550"/>
                  <a:gd name="connsiteY199" fmla="*/ 1419537 h 1421209"/>
                  <a:gd name="connsiteX200" fmla="*/ 270810 w 1620550"/>
                  <a:gd name="connsiteY200" fmla="*/ 1414522 h 1421209"/>
                  <a:gd name="connsiteX201" fmla="*/ 277497 w 1620550"/>
                  <a:gd name="connsiteY201" fmla="*/ 1412851 h 1421209"/>
                  <a:gd name="connsiteX202" fmla="*/ 285855 w 1620550"/>
                  <a:gd name="connsiteY202" fmla="*/ 1411179 h 1421209"/>
                  <a:gd name="connsiteX203" fmla="*/ 287527 w 1620550"/>
                  <a:gd name="connsiteY203" fmla="*/ 1406164 h 1421209"/>
                  <a:gd name="connsiteX204" fmla="*/ 289198 w 1620550"/>
                  <a:gd name="connsiteY204" fmla="*/ 1396134 h 1421209"/>
                  <a:gd name="connsiteX205" fmla="*/ 294213 w 1620550"/>
                  <a:gd name="connsiteY205" fmla="*/ 1389447 h 1421209"/>
                  <a:gd name="connsiteX206" fmla="*/ 300900 w 1620550"/>
                  <a:gd name="connsiteY206" fmla="*/ 1379417 h 1421209"/>
                  <a:gd name="connsiteX207" fmla="*/ 307587 w 1620550"/>
                  <a:gd name="connsiteY207" fmla="*/ 1366044 h 1421209"/>
                  <a:gd name="connsiteX208" fmla="*/ 314273 w 1620550"/>
                  <a:gd name="connsiteY208" fmla="*/ 1361029 h 1421209"/>
                  <a:gd name="connsiteX209" fmla="*/ 317617 w 1620550"/>
                  <a:gd name="connsiteY209" fmla="*/ 1357686 h 1421209"/>
                  <a:gd name="connsiteX210" fmla="*/ 339348 w 1620550"/>
                  <a:gd name="connsiteY210" fmla="*/ 1354342 h 1421209"/>
                  <a:gd name="connsiteX211" fmla="*/ 356065 w 1620550"/>
                  <a:gd name="connsiteY211" fmla="*/ 1357686 h 1421209"/>
                  <a:gd name="connsiteX212" fmla="*/ 361080 w 1620550"/>
                  <a:gd name="connsiteY212" fmla="*/ 1359357 h 1421209"/>
                  <a:gd name="connsiteX213" fmla="*/ 364423 w 1620550"/>
                  <a:gd name="connsiteY213" fmla="*/ 1362701 h 1421209"/>
                  <a:gd name="connsiteX214" fmla="*/ 374453 w 1620550"/>
                  <a:gd name="connsiteY214" fmla="*/ 1367716 h 1421209"/>
                  <a:gd name="connsiteX215" fmla="*/ 377796 w 1620550"/>
                  <a:gd name="connsiteY215" fmla="*/ 1374402 h 1421209"/>
                  <a:gd name="connsiteX216" fmla="*/ 381140 w 1620550"/>
                  <a:gd name="connsiteY216" fmla="*/ 1377746 h 1421209"/>
                  <a:gd name="connsiteX217" fmla="*/ 386155 w 1620550"/>
                  <a:gd name="connsiteY217" fmla="*/ 1374402 h 1421209"/>
                  <a:gd name="connsiteX218" fmla="*/ 396185 w 1620550"/>
                  <a:gd name="connsiteY218" fmla="*/ 1361029 h 1421209"/>
                  <a:gd name="connsiteX219" fmla="*/ 414573 w 1620550"/>
                  <a:gd name="connsiteY219" fmla="*/ 1356014 h 1421209"/>
                  <a:gd name="connsiteX220" fmla="*/ 416245 w 1620550"/>
                  <a:gd name="connsiteY220" fmla="*/ 1349327 h 1421209"/>
                  <a:gd name="connsiteX221" fmla="*/ 419588 w 1620550"/>
                  <a:gd name="connsiteY221" fmla="*/ 1334282 h 1421209"/>
                  <a:gd name="connsiteX222" fmla="*/ 424603 w 1620550"/>
                  <a:gd name="connsiteY222" fmla="*/ 1330939 h 1421209"/>
                  <a:gd name="connsiteX223" fmla="*/ 444663 w 1620550"/>
                  <a:gd name="connsiteY223" fmla="*/ 1332611 h 1421209"/>
                  <a:gd name="connsiteX224" fmla="*/ 466395 w 1620550"/>
                  <a:gd name="connsiteY224" fmla="*/ 1339297 h 1421209"/>
                  <a:gd name="connsiteX225" fmla="*/ 509858 w 1620550"/>
                  <a:gd name="connsiteY225" fmla="*/ 1340969 h 1421209"/>
                  <a:gd name="connsiteX226" fmla="*/ 523231 w 1620550"/>
                  <a:gd name="connsiteY226" fmla="*/ 1345984 h 1421209"/>
                  <a:gd name="connsiteX227" fmla="*/ 531589 w 1620550"/>
                  <a:gd name="connsiteY227" fmla="*/ 1357686 h 1421209"/>
                  <a:gd name="connsiteX228" fmla="*/ 534933 w 1620550"/>
                  <a:gd name="connsiteY228" fmla="*/ 1364372 h 1421209"/>
                  <a:gd name="connsiteX229" fmla="*/ 539948 w 1620550"/>
                  <a:gd name="connsiteY229" fmla="*/ 1366044 h 1421209"/>
                  <a:gd name="connsiteX230" fmla="*/ 565023 w 1620550"/>
                  <a:gd name="connsiteY230" fmla="*/ 1369387 h 1421209"/>
                  <a:gd name="connsiteX231" fmla="*/ 568366 w 1620550"/>
                  <a:gd name="connsiteY231" fmla="*/ 1372731 h 1421209"/>
                  <a:gd name="connsiteX232" fmla="*/ 571709 w 1620550"/>
                  <a:gd name="connsiteY232" fmla="*/ 1366044 h 1421209"/>
                  <a:gd name="connsiteX233" fmla="*/ 600128 w 1620550"/>
                  <a:gd name="connsiteY233" fmla="*/ 1357686 h 1421209"/>
                  <a:gd name="connsiteX234" fmla="*/ 626874 w 1620550"/>
                  <a:gd name="connsiteY234" fmla="*/ 1361029 h 1421209"/>
                  <a:gd name="connsiteX235" fmla="*/ 633561 w 1620550"/>
                  <a:gd name="connsiteY235" fmla="*/ 1364372 h 1421209"/>
                  <a:gd name="connsiteX236" fmla="*/ 638576 w 1620550"/>
                  <a:gd name="connsiteY236" fmla="*/ 1366044 h 1421209"/>
                  <a:gd name="connsiteX237" fmla="*/ 643591 w 1620550"/>
                  <a:gd name="connsiteY237" fmla="*/ 1372731 h 1421209"/>
                  <a:gd name="connsiteX238" fmla="*/ 650278 w 1620550"/>
                  <a:gd name="connsiteY238" fmla="*/ 1382761 h 1421209"/>
                  <a:gd name="connsiteX239" fmla="*/ 660308 w 1620550"/>
                  <a:gd name="connsiteY239" fmla="*/ 1386104 h 1421209"/>
                  <a:gd name="connsiteX240" fmla="*/ 672009 w 1620550"/>
                  <a:gd name="connsiteY240" fmla="*/ 1389447 h 1421209"/>
                  <a:gd name="connsiteX241" fmla="*/ 687054 w 1620550"/>
                  <a:gd name="connsiteY241" fmla="*/ 1382761 h 1421209"/>
                  <a:gd name="connsiteX242" fmla="*/ 690398 w 1620550"/>
                  <a:gd name="connsiteY242" fmla="*/ 1374402 h 1421209"/>
                  <a:gd name="connsiteX243" fmla="*/ 695413 w 1620550"/>
                  <a:gd name="connsiteY243" fmla="*/ 1371059 h 1421209"/>
                  <a:gd name="connsiteX244" fmla="*/ 707114 w 1620550"/>
                  <a:gd name="connsiteY244" fmla="*/ 1366044 h 1421209"/>
                  <a:gd name="connsiteX245" fmla="*/ 715472 w 1620550"/>
                  <a:gd name="connsiteY245" fmla="*/ 1364372 h 1421209"/>
                  <a:gd name="connsiteX246" fmla="*/ 735532 w 1620550"/>
                  <a:gd name="connsiteY246" fmla="*/ 1371059 h 1421209"/>
                  <a:gd name="connsiteX247" fmla="*/ 737204 w 1620550"/>
                  <a:gd name="connsiteY247" fmla="*/ 1376074 h 1421209"/>
                  <a:gd name="connsiteX248" fmla="*/ 742219 w 1620550"/>
                  <a:gd name="connsiteY248" fmla="*/ 1387776 h 1421209"/>
                  <a:gd name="connsiteX249" fmla="*/ 748906 w 1620550"/>
                  <a:gd name="connsiteY249" fmla="*/ 1389447 h 1421209"/>
                  <a:gd name="connsiteX250" fmla="*/ 762279 w 1620550"/>
                  <a:gd name="connsiteY250" fmla="*/ 1384432 h 1421209"/>
                  <a:gd name="connsiteX251" fmla="*/ 772309 w 1620550"/>
                  <a:gd name="connsiteY251" fmla="*/ 1381089 h 1421209"/>
                  <a:gd name="connsiteX252" fmla="*/ 784011 w 1620550"/>
                  <a:gd name="connsiteY252" fmla="*/ 1371059 h 1421209"/>
                  <a:gd name="connsiteX253" fmla="*/ 797384 w 1620550"/>
                  <a:gd name="connsiteY253" fmla="*/ 1357686 h 1421209"/>
                  <a:gd name="connsiteX254" fmla="*/ 802399 w 1620550"/>
                  <a:gd name="connsiteY254" fmla="*/ 1352671 h 1421209"/>
                  <a:gd name="connsiteX255" fmla="*/ 810757 w 1620550"/>
                  <a:gd name="connsiteY255" fmla="*/ 1350999 h 1421209"/>
                  <a:gd name="connsiteX256" fmla="*/ 812429 w 1620550"/>
                  <a:gd name="connsiteY256" fmla="*/ 1344312 h 1421209"/>
                  <a:gd name="connsiteX257" fmla="*/ 807414 w 1620550"/>
                  <a:gd name="connsiteY257" fmla="*/ 1325924 h 1421209"/>
                  <a:gd name="connsiteX258" fmla="*/ 809086 w 1620550"/>
                  <a:gd name="connsiteY258" fmla="*/ 1314222 h 1421209"/>
                  <a:gd name="connsiteX259" fmla="*/ 812429 w 1620550"/>
                  <a:gd name="connsiteY259" fmla="*/ 1309207 h 1421209"/>
                  <a:gd name="connsiteX260" fmla="*/ 820787 w 1620550"/>
                  <a:gd name="connsiteY260" fmla="*/ 1299177 h 1421209"/>
                  <a:gd name="connsiteX261" fmla="*/ 827474 w 1620550"/>
                  <a:gd name="connsiteY261" fmla="*/ 1294162 h 1421209"/>
                  <a:gd name="connsiteX262" fmla="*/ 869266 w 1620550"/>
                  <a:gd name="connsiteY262" fmla="*/ 1292491 h 1421209"/>
                  <a:gd name="connsiteX263" fmla="*/ 870937 w 1620550"/>
                  <a:gd name="connsiteY263" fmla="*/ 1277446 h 1421209"/>
                  <a:gd name="connsiteX264" fmla="*/ 880967 w 1620550"/>
                  <a:gd name="connsiteY264" fmla="*/ 1270759 h 1421209"/>
                  <a:gd name="connsiteX265" fmla="*/ 885982 w 1620550"/>
                  <a:gd name="connsiteY265" fmla="*/ 1269088 h 1421209"/>
                  <a:gd name="connsiteX266" fmla="*/ 932789 w 1620550"/>
                  <a:gd name="connsiteY266" fmla="*/ 1270759 h 1421209"/>
                  <a:gd name="connsiteX267" fmla="*/ 942819 w 1620550"/>
                  <a:gd name="connsiteY267" fmla="*/ 1272431 h 1421209"/>
                  <a:gd name="connsiteX268" fmla="*/ 949505 w 1620550"/>
                  <a:gd name="connsiteY268" fmla="*/ 1275774 h 1421209"/>
                  <a:gd name="connsiteX269" fmla="*/ 954520 w 1620550"/>
                  <a:gd name="connsiteY269" fmla="*/ 1277446 h 1421209"/>
                  <a:gd name="connsiteX270" fmla="*/ 964550 w 1620550"/>
                  <a:gd name="connsiteY270" fmla="*/ 1274103 h 1421209"/>
                  <a:gd name="connsiteX271" fmla="*/ 971237 w 1620550"/>
                  <a:gd name="connsiteY271" fmla="*/ 1264073 h 1421209"/>
                  <a:gd name="connsiteX272" fmla="*/ 964550 w 1620550"/>
                  <a:gd name="connsiteY272" fmla="*/ 1249028 h 1421209"/>
                  <a:gd name="connsiteX273" fmla="*/ 966222 w 1620550"/>
                  <a:gd name="connsiteY273" fmla="*/ 1233983 h 1421209"/>
                  <a:gd name="connsiteX274" fmla="*/ 974580 w 1620550"/>
                  <a:gd name="connsiteY274" fmla="*/ 1215594 h 1421209"/>
                  <a:gd name="connsiteX275" fmla="*/ 977924 w 1620550"/>
                  <a:gd name="connsiteY275" fmla="*/ 1212251 h 1421209"/>
                  <a:gd name="connsiteX276" fmla="*/ 982939 w 1620550"/>
                  <a:gd name="connsiteY276" fmla="*/ 1205564 h 1421209"/>
                  <a:gd name="connsiteX277" fmla="*/ 991297 w 1620550"/>
                  <a:gd name="connsiteY277" fmla="*/ 1195534 h 1421209"/>
                  <a:gd name="connsiteX278" fmla="*/ 1001327 w 1620550"/>
                  <a:gd name="connsiteY278" fmla="*/ 1185504 h 1421209"/>
                  <a:gd name="connsiteX279" fmla="*/ 1002999 w 1620550"/>
                  <a:gd name="connsiteY279" fmla="*/ 1180489 h 1421209"/>
                  <a:gd name="connsiteX280" fmla="*/ 1006342 w 1620550"/>
                  <a:gd name="connsiteY280" fmla="*/ 1175474 h 1421209"/>
                  <a:gd name="connsiteX281" fmla="*/ 1008014 w 1620550"/>
                  <a:gd name="connsiteY281" fmla="*/ 1168788 h 1421209"/>
                  <a:gd name="connsiteX282" fmla="*/ 1016372 w 1620550"/>
                  <a:gd name="connsiteY282" fmla="*/ 1157086 h 1421209"/>
                  <a:gd name="connsiteX283" fmla="*/ 1023059 w 1620550"/>
                  <a:gd name="connsiteY283" fmla="*/ 1143713 h 1421209"/>
                  <a:gd name="connsiteX284" fmla="*/ 1024730 w 1620550"/>
                  <a:gd name="connsiteY284" fmla="*/ 1138698 h 1421209"/>
                  <a:gd name="connsiteX285" fmla="*/ 1028074 w 1620550"/>
                  <a:gd name="connsiteY285" fmla="*/ 1135354 h 1421209"/>
                  <a:gd name="connsiteX286" fmla="*/ 1033089 w 1620550"/>
                  <a:gd name="connsiteY286" fmla="*/ 1128668 h 1421209"/>
                  <a:gd name="connsiteX287" fmla="*/ 1043119 w 1620550"/>
                  <a:gd name="connsiteY287" fmla="*/ 1116966 h 1421209"/>
                  <a:gd name="connsiteX288" fmla="*/ 1061507 w 1620550"/>
                  <a:gd name="connsiteY288" fmla="*/ 1111951 h 1421209"/>
                  <a:gd name="connsiteX289" fmla="*/ 1069865 w 1620550"/>
                  <a:gd name="connsiteY289" fmla="*/ 1108608 h 1421209"/>
                  <a:gd name="connsiteX290" fmla="*/ 1089925 w 1620550"/>
                  <a:gd name="connsiteY290" fmla="*/ 1105264 h 1421209"/>
                  <a:gd name="connsiteX291" fmla="*/ 1094940 w 1620550"/>
                  <a:gd name="connsiteY291" fmla="*/ 1101921 h 1421209"/>
                  <a:gd name="connsiteX292" fmla="*/ 1111657 w 1620550"/>
                  <a:gd name="connsiteY292" fmla="*/ 1098578 h 1421209"/>
                  <a:gd name="connsiteX293" fmla="*/ 1126702 w 1620550"/>
                  <a:gd name="connsiteY293" fmla="*/ 1090220 h 1421209"/>
                  <a:gd name="connsiteX294" fmla="*/ 1131717 w 1620550"/>
                  <a:gd name="connsiteY294" fmla="*/ 1086876 h 1421209"/>
                  <a:gd name="connsiteX295" fmla="*/ 1133388 w 1620550"/>
                  <a:gd name="connsiteY295" fmla="*/ 1078518 h 1421209"/>
                  <a:gd name="connsiteX296" fmla="*/ 1126702 w 1620550"/>
                  <a:gd name="connsiteY296" fmla="*/ 1070160 h 1421209"/>
                  <a:gd name="connsiteX297" fmla="*/ 1118343 w 1620550"/>
                  <a:gd name="connsiteY297" fmla="*/ 1065145 h 1421209"/>
                  <a:gd name="connsiteX298" fmla="*/ 1109985 w 1620550"/>
                  <a:gd name="connsiteY298" fmla="*/ 1056786 h 1421209"/>
                  <a:gd name="connsiteX299" fmla="*/ 1103298 w 1620550"/>
                  <a:gd name="connsiteY299" fmla="*/ 1048428 h 1421209"/>
                  <a:gd name="connsiteX300" fmla="*/ 1099955 w 1620550"/>
                  <a:gd name="connsiteY300" fmla="*/ 1043413 h 1421209"/>
                  <a:gd name="connsiteX301" fmla="*/ 1094940 w 1620550"/>
                  <a:gd name="connsiteY301" fmla="*/ 1040070 h 1421209"/>
                  <a:gd name="connsiteX302" fmla="*/ 1091597 w 1620550"/>
                  <a:gd name="connsiteY302" fmla="*/ 1033383 h 1421209"/>
                  <a:gd name="connsiteX303" fmla="*/ 1088253 w 1620550"/>
                  <a:gd name="connsiteY303" fmla="*/ 1030040 h 1421209"/>
                  <a:gd name="connsiteX304" fmla="*/ 1083238 w 1620550"/>
                  <a:gd name="connsiteY304" fmla="*/ 1018338 h 1421209"/>
                  <a:gd name="connsiteX305" fmla="*/ 1081567 w 1620550"/>
                  <a:gd name="connsiteY305" fmla="*/ 989920 h 1421209"/>
                  <a:gd name="connsiteX306" fmla="*/ 1079895 w 1620550"/>
                  <a:gd name="connsiteY306" fmla="*/ 984905 h 1421209"/>
                  <a:gd name="connsiteX307" fmla="*/ 1074880 w 1620550"/>
                  <a:gd name="connsiteY307" fmla="*/ 979890 h 1421209"/>
                  <a:gd name="connsiteX308" fmla="*/ 1069865 w 1620550"/>
                  <a:gd name="connsiteY308" fmla="*/ 964845 h 1421209"/>
                  <a:gd name="connsiteX309" fmla="*/ 1074880 w 1620550"/>
                  <a:gd name="connsiteY309" fmla="*/ 929740 h 1421209"/>
                  <a:gd name="connsiteX310" fmla="*/ 1084910 w 1620550"/>
                  <a:gd name="connsiteY310" fmla="*/ 919710 h 1421209"/>
                  <a:gd name="connsiteX311" fmla="*/ 1091597 w 1620550"/>
                  <a:gd name="connsiteY311" fmla="*/ 911352 h 1421209"/>
                  <a:gd name="connsiteX312" fmla="*/ 1098283 w 1620550"/>
                  <a:gd name="connsiteY312" fmla="*/ 906337 h 1421209"/>
                  <a:gd name="connsiteX313" fmla="*/ 1111657 w 1620550"/>
                  <a:gd name="connsiteY313" fmla="*/ 892963 h 1421209"/>
                  <a:gd name="connsiteX314" fmla="*/ 1116672 w 1620550"/>
                  <a:gd name="connsiteY314" fmla="*/ 887948 h 1421209"/>
                  <a:gd name="connsiteX315" fmla="*/ 1121687 w 1620550"/>
                  <a:gd name="connsiteY315" fmla="*/ 881262 h 1421209"/>
                  <a:gd name="connsiteX316" fmla="*/ 1125030 w 1620550"/>
                  <a:gd name="connsiteY316" fmla="*/ 877918 h 1421209"/>
                  <a:gd name="connsiteX317" fmla="*/ 1131717 w 1620550"/>
                  <a:gd name="connsiteY317" fmla="*/ 869560 h 1421209"/>
                  <a:gd name="connsiteX318" fmla="*/ 1136732 w 1620550"/>
                  <a:gd name="connsiteY318" fmla="*/ 864545 h 1421209"/>
                  <a:gd name="connsiteX319" fmla="*/ 1145090 w 1620550"/>
                  <a:gd name="connsiteY319" fmla="*/ 849500 h 1421209"/>
                  <a:gd name="connsiteX320" fmla="*/ 1150105 w 1620550"/>
                  <a:gd name="connsiteY320" fmla="*/ 841142 h 1421209"/>
                  <a:gd name="connsiteX321" fmla="*/ 1153448 w 1620550"/>
                  <a:gd name="connsiteY321" fmla="*/ 831112 h 1421209"/>
                  <a:gd name="connsiteX322" fmla="*/ 1156792 w 1620550"/>
                  <a:gd name="connsiteY322" fmla="*/ 827768 h 1421209"/>
                  <a:gd name="connsiteX323" fmla="*/ 1160135 w 1620550"/>
                  <a:gd name="connsiteY323" fmla="*/ 822753 h 1421209"/>
                  <a:gd name="connsiteX324" fmla="*/ 1173508 w 1620550"/>
                  <a:gd name="connsiteY324" fmla="*/ 814395 h 1421209"/>
                  <a:gd name="connsiteX325" fmla="*/ 1181867 w 1620550"/>
                  <a:gd name="connsiteY325" fmla="*/ 806037 h 1421209"/>
                  <a:gd name="connsiteX326" fmla="*/ 1185210 w 1620550"/>
                  <a:gd name="connsiteY326" fmla="*/ 799350 h 1421209"/>
                  <a:gd name="connsiteX327" fmla="*/ 1205270 w 1620550"/>
                  <a:gd name="connsiteY327" fmla="*/ 785977 h 1421209"/>
                  <a:gd name="connsiteX328" fmla="*/ 1213628 w 1620550"/>
                  <a:gd name="connsiteY328" fmla="*/ 779290 h 1421209"/>
                  <a:gd name="connsiteX329" fmla="*/ 1225330 w 1620550"/>
                  <a:gd name="connsiteY329" fmla="*/ 770932 h 1421209"/>
                  <a:gd name="connsiteX330" fmla="*/ 1228673 w 1620550"/>
                  <a:gd name="connsiteY330" fmla="*/ 765917 h 1421209"/>
                  <a:gd name="connsiteX331" fmla="*/ 1243718 w 1620550"/>
                  <a:gd name="connsiteY331" fmla="*/ 764245 h 1421209"/>
                  <a:gd name="connsiteX332" fmla="*/ 1250405 w 1620550"/>
                  <a:gd name="connsiteY332" fmla="*/ 762573 h 1421209"/>
                  <a:gd name="connsiteX333" fmla="*/ 1255420 w 1620550"/>
                  <a:gd name="connsiteY333" fmla="*/ 757558 h 1421209"/>
                  <a:gd name="connsiteX334" fmla="*/ 1263778 w 1620550"/>
                  <a:gd name="connsiteY334" fmla="*/ 752543 h 1421209"/>
                  <a:gd name="connsiteX335" fmla="*/ 1260435 w 1620550"/>
                  <a:gd name="connsiteY335" fmla="*/ 735827 h 1421209"/>
                  <a:gd name="connsiteX336" fmla="*/ 1257091 w 1620550"/>
                  <a:gd name="connsiteY336" fmla="*/ 732484 h 1421209"/>
                  <a:gd name="connsiteX337" fmla="*/ 1255420 w 1620550"/>
                  <a:gd name="connsiteY337" fmla="*/ 727469 h 1421209"/>
                  <a:gd name="connsiteX338" fmla="*/ 1262106 w 1620550"/>
                  <a:gd name="connsiteY338" fmla="*/ 710752 h 1421209"/>
                  <a:gd name="connsiteX339" fmla="*/ 1272136 w 1620550"/>
                  <a:gd name="connsiteY339" fmla="*/ 705737 h 1421209"/>
                  <a:gd name="connsiteX340" fmla="*/ 1280495 w 1620550"/>
                  <a:gd name="connsiteY340" fmla="*/ 700722 h 1421209"/>
                  <a:gd name="connsiteX341" fmla="*/ 1287181 w 1620550"/>
                  <a:gd name="connsiteY341" fmla="*/ 697379 h 1421209"/>
                  <a:gd name="connsiteX342" fmla="*/ 1292196 w 1620550"/>
                  <a:gd name="connsiteY342" fmla="*/ 694035 h 1421209"/>
                  <a:gd name="connsiteX343" fmla="*/ 1298883 w 1620550"/>
                  <a:gd name="connsiteY343" fmla="*/ 692364 h 1421209"/>
                  <a:gd name="connsiteX344" fmla="*/ 1308913 w 1620550"/>
                  <a:gd name="connsiteY344" fmla="*/ 687349 h 1421209"/>
                  <a:gd name="connsiteX345" fmla="*/ 1323958 w 1620550"/>
                  <a:gd name="connsiteY345" fmla="*/ 682334 h 1421209"/>
                  <a:gd name="connsiteX346" fmla="*/ 1330645 w 1620550"/>
                  <a:gd name="connsiteY346" fmla="*/ 678990 h 1421209"/>
                  <a:gd name="connsiteX347" fmla="*/ 1355720 w 1620550"/>
                  <a:gd name="connsiteY347" fmla="*/ 675647 h 1421209"/>
                  <a:gd name="connsiteX348" fmla="*/ 1359063 w 1620550"/>
                  <a:gd name="connsiteY348" fmla="*/ 670632 h 1421209"/>
                  <a:gd name="connsiteX349" fmla="*/ 1372436 w 1620550"/>
                  <a:gd name="connsiteY349" fmla="*/ 667289 h 1421209"/>
                  <a:gd name="connsiteX350" fmla="*/ 1449333 w 1620550"/>
                  <a:gd name="connsiteY350" fmla="*/ 663945 h 1421209"/>
                  <a:gd name="connsiteX351" fmla="*/ 1464378 w 1620550"/>
                  <a:gd name="connsiteY351" fmla="*/ 645557 h 1421209"/>
                  <a:gd name="connsiteX352" fmla="*/ 1474408 w 1620550"/>
                  <a:gd name="connsiteY352" fmla="*/ 635527 h 1421209"/>
                  <a:gd name="connsiteX353" fmla="*/ 1487781 w 1620550"/>
                  <a:gd name="connsiteY353" fmla="*/ 625497 h 1421209"/>
                  <a:gd name="connsiteX354" fmla="*/ 1494468 w 1620550"/>
                  <a:gd name="connsiteY354" fmla="*/ 623825 h 1421209"/>
                  <a:gd name="connsiteX355" fmla="*/ 1509513 w 1620550"/>
                  <a:gd name="connsiteY355" fmla="*/ 620482 h 1421209"/>
                  <a:gd name="connsiteX356" fmla="*/ 1517871 w 1620550"/>
                  <a:gd name="connsiteY356" fmla="*/ 617139 h 1421209"/>
                  <a:gd name="connsiteX357" fmla="*/ 1524558 w 1620550"/>
                  <a:gd name="connsiteY357" fmla="*/ 613795 h 1421209"/>
                  <a:gd name="connsiteX358" fmla="*/ 1539603 w 1620550"/>
                  <a:gd name="connsiteY358" fmla="*/ 612124 h 1421209"/>
                  <a:gd name="connsiteX359" fmla="*/ 1557991 w 1620550"/>
                  <a:gd name="connsiteY359" fmla="*/ 602094 h 1421209"/>
                  <a:gd name="connsiteX360" fmla="*/ 1573036 w 1620550"/>
                  <a:gd name="connsiteY360" fmla="*/ 597079 h 1421209"/>
                  <a:gd name="connsiteX361" fmla="*/ 1576379 w 1620550"/>
                  <a:gd name="connsiteY361" fmla="*/ 592064 h 1421209"/>
                  <a:gd name="connsiteX362" fmla="*/ 1588081 w 1620550"/>
                  <a:gd name="connsiteY362" fmla="*/ 587049 h 1421209"/>
                  <a:gd name="connsiteX363" fmla="*/ 1591424 w 1620550"/>
                  <a:gd name="connsiteY363" fmla="*/ 583705 h 1421209"/>
                  <a:gd name="connsiteX364" fmla="*/ 1598111 w 1620550"/>
                  <a:gd name="connsiteY364" fmla="*/ 580362 h 1421209"/>
                  <a:gd name="connsiteX365" fmla="*/ 1608141 w 1620550"/>
                  <a:gd name="connsiteY365" fmla="*/ 572004 h 1421209"/>
                  <a:gd name="connsiteX366" fmla="*/ 1614828 w 1620550"/>
                  <a:gd name="connsiteY366" fmla="*/ 560302 h 1421209"/>
                  <a:gd name="connsiteX367" fmla="*/ 1608141 w 1620550"/>
                  <a:gd name="connsiteY367" fmla="*/ 546929 h 1421209"/>
                  <a:gd name="connsiteX368" fmla="*/ 1599783 w 1620550"/>
                  <a:gd name="connsiteY368" fmla="*/ 535227 h 1421209"/>
                  <a:gd name="connsiteX369" fmla="*/ 1598111 w 1620550"/>
                  <a:gd name="connsiteY369" fmla="*/ 530212 h 1421209"/>
                  <a:gd name="connsiteX370" fmla="*/ 1596439 w 1620550"/>
                  <a:gd name="connsiteY370" fmla="*/ 518511 h 1421209"/>
                  <a:gd name="connsiteX371" fmla="*/ 1601454 w 1620550"/>
                  <a:gd name="connsiteY371" fmla="*/ 516839 h 1421209"/>
                  <a:gd name="connsiteX372" fmla="*/ 1604798 w 1620550"/>
                  <a:gd name="connsiteY372" fmla="*/ 513496 h 1421209"/>
                  <a:gd name="connsiteX373" fmla="*/ 1616499 w 1620550"/>
                  <a:gd name="connsiteY373" fmla="*/ 510152 h 1421209"/>
                  <a:gd name="connsiteX374" fmla="*/ 1618171 w 1620550"/>
                  <a:gd name="connsiteY374" fmla="*/ 495107 h 1421209"/>
                  <a:gd name="connsiteX375" fmla="*/ 1613156 w 1620550"/>
                  <a:gd name="connsiteY375" fmla="*/ 491764 h 1421209"/>
                  <a:gd name="connsiteX376" fmla="*/ 1611484 w 1620550"/>
                  <a:gd name="connsiteY376" fmla="*/ 486749 h 1421209"/>
                  <a:gd name="connsiteX377" fmla="*/ 1608141 w 1620550"/>
                  <a:gd name="connsiteY377" fmla="*/ 481734 h 1421209"/>
                  <a:gd name="connsiteX378" fmla="*/ 1606469 w 1620550"/>
                  <a:gd name="connsiteY378" fmla="*/ 473376 h 1421209"/>
                  <a:gd name="connsiteX379" fmla="*/ 1604798 w 1620550"/>
                  <a:gd name="connsiteY379" fmla="*/ 468361 h 1421209"/>
                  <a:gd name="connsiteX380" fmla="*/ 1599783 w 1620550"/>
                  <a:gd name="connsiteY380" fmla="*/ 466689 h 1421209"/>
                  <a:gd name="connsiteX381" fmla="*/ 1586409 w 1620550"/>
                  <a:gd name="connsiteY381" fmla="*/ 461674 h 1421209"/>
                  <a:gd name="connsiteX382" fmla="*/ 1561334 w 1620550"/>
                  <a:gd name="connsiteY382" fmla="*/ 463346 h 1421209"/>
                  <a:gd name="connsiteX383" fmla="*/ 1547961 w 1620550"/>
                  <a:gd name="connsiteY383" fmla="*/ 465017 h 1421209"/>
                  <a:gd name="connsiteX384" fmla="*/ 1539603 w 1620550"/>
                  <a:gd name="connsiteY384" fmla="*/ 470032 h 1421209"/>
                  <a:gd name="connsiteX385" fmla="*/ 1529573 w 1620550"/>
                  <a:gd name="connsiteY385" fmla="*/ 485077 h 1421209"/>
                  <a:gd name="connsiteX386" fmla="*/ 1524558 w 1620550"/>
                  <a:gd name="connsiteY386" fmla="*/ 486749 h 1421209"/>
                  <a:gd name="connsiteX387" fmla="*/ 1504498 w 1620550"/>
                  <a:gd name="connsiteY387" fmla="*/ 480062 h 1421209"/>
                  <a:gd name="connsiteX388" fmla="*/ 1489453 w 1620550"/>
                  <a:gd name="connsiteY388" fmla="*/ 468361 h 1421209"/>
                  <a:gd name="connsiteX389" fmla="*/ 1474408 w 1620550"/>
                  <a:gd name="connsiteY389" fmla="*/ 466689 h 1421209"/>
                  <a:gd name="connsiteX390" fmla="*/ 1462706 w 1620550"/>
                  <a:gd name="connsiteY390" fmla="*/ 468361 h 1421209"/>
                  <a:gd name="connsiteX391" fmla="*/ 1452676 w 1620550"/>
                  <a:gd name="connsiteY391" fmla="*/ 471704 h 1421209"/>
                  <a:gd name="connsiteX392" fmla="*/ 1442646 w 1620550"/>
                  <a:gd name="connsiteY392" fmla="*/ 470032 h 1421209"/>
                  <a:gd name="connsiteX393" fmla="*/ 1435959 w 1620550"/>
                  <a:gd name="connsiteY393" fmla="*/ 463346 h 1421209"/>
                  <a:gd name="connsiteX394" fmla="*/ 1432616 w 1620550"/>
                  <a:gd name="connsiteY394" fmla="*/ 458331 h 1421209"/>
                  <a:gd name="connsiteX395" fmla="*/ 1427601 w 1620550"/>
                  <a:gd name="connsiteY395" fmla="*/ 454987 h 1421209"/>
                  <a:gd name="connsiteX396" fmla="*/ 1422586 w 1620550"/>
                  <a:gd name="connsiteY396" fmla="*/ 448301 h 1421209"/>
                  <a:gd name="connsiteX397" fmla="*/ 1412556 w 1620550"/>
                  <a:gd name="connsiteY397" fmla="*/ 439942 h 1421209"/>
                  <a:gd name="connsiteX398" fmla="*/ 1404198 w 1620550"/>
                  <a:gd name="connsiteY398" fmla="*/ 446629 h 1421209"/>
                  <a:gd name="connsiteX399" fmla="*/ 1390825 w 1620550"/>
                  <a:gd name="connsiteY399" fmla="*/ 453316 h 1421209"/>
                  <a:gd name="connsiteX400" fmla="*/ 1387481 w 1620550"/>
                  <a:gd name="connsiteY400" fmla="*/ 438271 h 1421209"/>
                  <a:gd name="connsiteX401" fmla="*/ 1385810 w 1620550"/>
                  <a:gd name="connsiteY401" fmla="*/ 433256 h 1421209"/>
                  <a:gd name="connsiteX402" fmla="*/ 1384138 w 1620550"/>
                  <a:gd name="connsiteY402" fmla="*/ 411524 h 1421209"/>
                  <a:gd name="connsiteX403" fmla="*/ 1379123 w 1620550"/>
                  <a:gd name="connsiteY403" fmla="*/ 408181 h 1421209"/>
                  <a:gd name="connsiteX404" fmla="*/ 1370765 w 1620550"/>
                  <a:gd name="connsiteY404" fmla="*/ 406509 h 1421209"/>
                  <a:gd name="connsiteX405" fmla="*/ 1364078 w 1620550"/>
                  <a:gd name="connsiteY405" fmla="*/ 404837 h 1421209"/>
                  <a:gd name="connsiteX406" fmla="*/ 1340675 w 1620550"/>
                  <a:gd name="connsiteY406" fmla="*/ 394807 h 1421209"/>
                  <a:gd name="connsiteX407" fmla="*/ 1327301 w 1620550"/>
                  <a:gd name="connsiteY407" fmla="*/ 384777 h 1421209"/>
                  <a:gd name="connsiteX408" fmla="*/ 1320615 w 1620550"/>
                  <a:gd name="connsiteY408" fmla="*/ 379762 h 1421209"/>
                  <a:gd name="connsiteX409" fmla="*/ 1310585 w 1620550"/>
                  <a:gd name="connsiteY409" fmla="*/ 373076 h 1421209"/>
                  <a:gd name="connsiteX410" fmla="*/ 1305570 w 1620550"/>
                  <a:gd name="connsiteY410" fmla="*/ 369732 h 1421209"/>
                  <a:gd name="connsiteX411" fmla="*/ 1297211 w 1620550"/>
                  <a:gd name="connsiteY411" fmla="*/ 368061 h 1421209"/>
                  <a:gd name="connsiteX412" fmla="*/ 1290525 w 1620550"/>
                  <a:gd name="connsiteY412" fmla="*/ 369732 h 1421209"/>
                  <a:gd name="connsiteX413" fmla="*/ 1282166 w 1620550"/>
                  <a:gd name="connsiteY413" fmla="*/ 398151 h 1421209"/>
                  <a:gd name="connsiteX414" fmla="*/ 1272136 w 1620550"/>
                  <a:gd name="connsiteY414" fmla="*/ 394807 h 1421209"/>
                  <a:gd name="connsiteX415" fmla="*/ 1267121 w 1620550"/>
                  <a:gd name="connsiteY415" fmla="*/ 391464 h 1421209"/>
                  <a:gd name="connsiteX416" fmla="*/ 1255420 w 1620550"/>
                  <a:gd name="connsiteY416" fmla="*/ 388121 h 1421209"/>
                  <a:gd name="connsiteX417" fmla="*/ 1220315 w 1620550"/>
                  <a:gd name="connsiteY417" fmla="*/ 386449 h 1421209"/>
                  <a:gd name="connsiteX418" fmla="*/ 1218643 w 1620550"/>
                  <a:gd name="connsiteY418" fmla="*/ 381434 h 1421209"/>
                  <a:gd name="connsiteX419" fmla="*/ 1211957 w 1620550"/>
                  <a:gd name="connsiteY419" fmla="*/ 379762 h 1421209"/>
                  <a:gd name="connsiteX420" fmla="*/ 1175180 w 1620550"/>
                  <a:gd name="connsiteY420" fmla="*/ 378091 h 1421209"/>
                  <a:gd name="connsiteX421" fmla="*/ 1173508 w 1620550"/>
                  <a:gd name="connsiteY421" fmla="*/ 373076 h 1421209"/>
                  <a:gd name="connsiteX422" fmla="*/ 1171837 w 1620550"/>
                  <a:gd name="connsiteY422" fmla="*/ 366389 h 1421209"/>
                  <a:gd name="connsiteX423" fmla="*/ 1163478 w 1620550"/>
                  <a:gd name="connsiteY423" fmla="*/ 361374 h 1421209"/>
                  <a:gd name="connsiteX424" fmla="*/ 1128373 w 1620550"/>
                  <a:gd name="connsiteY424" fmla="*/ 359703 h 1421209"/>
                  <a:gd name="connsiteX425" fmla="*/ 1120015 w 1620550"/>
                  <a:gd name="connsiteY425" fmla="*/ 356359 h 1421209"/>
                  <a:gd name="connsiteX426" fmla="*/ 1113328 w 1620550"/>
                  <a:gd name="connsiteY426" fmla="*/ 346329 h 1421209"/>
                  <a:gd name="connsiteX427" fmla="*/ 1108313 w 1620550"/>
                  <a:gd name="connsiteY427" fmla="*/ 339643 h 1421209"/>
                  <a:gd name="connsiteX428" fmla="*/ 1104970 w 1620550"/>
                  <a:gd name="connsiteY428" fmla="*/ 334628 h 1421209"/>
                  <a:gd name="connsiteX429" fmla="*/ 1098283 w 1620550"/>
                  <a:gd name="connsiteY429" fmla="*/ 327941 h 1421209"/>
                  <a:gd name="connsiteX430" fmla="*/ 1096612 w 1620550"/>
                  <a:gd name="connsiteY430" fmla="*/ 322926 h 1421209"/>
                  <a:gd name="connsiteX431" fmla="*/ 1091597 w 1620550"/>
                  <a:gd name="connsiteY431" fmla="*/ 321254 h 1421209"/>
                  <a:gd name="connsiteX432" fmla="*/ 1084910 w 1620550"/>
                  <a:gd name="connsiteY432" fmla="*/ 317911 h 1421209"/>
                  <a:gd name="connsiteX433" fmla="*/ 1064850 w 1620550"/>
                  <a:gd name="connsiteY433" fmla="*/ 314568 h 1421209"/>
                  <a:gd name="connsiteX434" fmla="*/ 1058164 w 1620550"/>
                  <a:gd name="connsiteY434" fmla="*/ 311224 h 1421209"/>
                  <a:gd name="connsiteX435" fmla="*/ 1054820 w 1620550"/>
                  <a:gd name="connsiteY435" fmla="*/ 307881 h 1421209"/>
                  <a:gd name="connsiteX436" fmla="*/ 1049805 w 1620550"/>
                  <a:gd name="connsiteY436" fmla="*/ 304538 h 1421209"/>
                  <a:gd name="connsiteX437" fmla="*/ 1046462 w 1620550"/>
                  <a:gd name="connsiteY437" fmla="*/ 301194 h 1421209"/>
                  <a:gd name="connsiteX438" fmla="*/ 1039775 w 1620550"/>
                  <a:gd name="connsiteY438" fmla="*/ 299523 h 1421209"/>
                  <a:gd name="connsiteX439" fmla="*/ 1029745 w 1620550"/>
                  <a:gd name="connsiteY439" fmla="*/ 296179 h 1421209"/>
                  <a:gd name="connsiteX440" fmla="*/ 1016372 w 1620550"/>
                  <a:gd name="connsiteY440" fmla="*/ 287821 h 1421209"/>
                  <a:gd name="connsiteX441" fmla="*/ 1013029 w 1620550"/>
                  <a:gd name="connsiteY441" fmla="*/ 282806 h 1421209"/>
                  <a:gd name="connsiteX442" fmla="*/ 1014700 w 1620550"/>
                  <a:gd name="connsiteY442" fmla="*/ 276119 h 1421209"/>
                  <a:gd name="connsiteX443" fmla="*/ 1016372 w 1620550"/>
                  <a:gd name="connsiteY443" fmla="*/ 271104 h 1421209"/>
                  <a:gd name="connsiteX444" fmla="*/ 1029745 w 1620550"/>
                  <a:gd name="connsiteY444" fmla="*/ 264418 h 1421209"/>
                  <a:gd name="connsiteX445" fmla="*/ 1031417 w 1620550"/>
                  <a:gd name="connsiteY445" fmla="*/ 257731 h 1421209"/>
                  <a:gd name="connsiteX446" fmla="*/ 1024730 w 1620550"/>
                  <a:gd name="connsiteY446" fmla="*/ 256059 h 1421209"/>
                  <a:gd name="connsiteX447" fmla="*/ 1016372 w 1620550"/>
                  <a:gd name="connsiteY447" fmla="*/ 251044 h 1421209"/>
                  <a:gd name="connsiteX448" fmla="*/ 1008014 w 1620550"/>
                  <a:gd name="connsiteY448" fmla="*/ 247701 h 1421209"/>
                  <a:gd name="connsiteX449" fmla="*/ 1002999 w 1620550"/>
                  <a:gd name="connsiteY449" fmla="*/ 244358 h 1421209"/>
                  <a:gd name="connsiteX450" fmla="*/ 997984 w 1620550"/>
                  <a:gd name="connsiteY450" fmla="*/ 242686 h 1421209"/>
                  <a:gd name="connsiteX451" fmla="*/ 989625 w 1620550"/>
                  <a:gd name="connsiteY451" fmla="*/ 235999 h 1421209"/>
                  <a:gd name="connsiteX452" fmla="*/ 984610 w 1620550"/>
                  <a:gd name="connsiteY452" fmla="*/ 234328 h 1421209"/>
                  <a:gd name="connsiteX453" fmla="*/ 966222 w 1620550"/>
                  <a:gd name="connsiteY453" fmla="*/ 227641 h 1421209"/>
                  <a:gd name="connsiteX454" fmla="*/ 944490 w 1620550"/>
                  <a:gd name="connsiteY454" fmla="*/ 229313 h 1421209"/>
                  <a:gd name="connsiteX455" fmla="*/ 902699 w 1620550"/>
                  <a:gd name="connsiteY455" fmla="*/ 227641 h 1421209"/>
                  <a:gd name="connsiteX456" fmla="*/ 897684 w 1620550"/>
                  <a:gd name="connsiteY456" fmla="*/ 225969 h 1421209"/>
                  <a:gd name="connsiteX457" fmla="*/ 885982 w 1620550"/>
                  <a:gd name="connsiteY457" fmla="*/ 215939 h 1421209"/>
                  <a:gd name="connsiteX458" fmla="*/ 874281 w 1620550"/>
                  <a:gd name="connsiteY458" fmla="*/ 207581 h 1421209"/>
                  <a:gd name="connsiteX459" fmla="*/ 869266 w 1620550"/>
                  <a:gd name="connsiteY459" fmla="*/ 204238 h 1421209"/>
                  <a:gd name="connsiteX460" fmla="*/ 860907 w 1620550"/>
                  <a:gd name="connsiteY460" fmla="*/ 197551 h 1421209"/>
                  <a:gd name="connsiteX461" fmla="*/ 854221 w 1620550"/>
                  <a:gd name="connsiteY461" fmla="*/ 195879 h 1421209"/>
                  <a:gd name="connsiteX462" fmla="*/ 842519 w 1620550"/>
                  <a:gd name="connsiteY462" fmla="*/ 192536 h 1421209"/>
                  <a:gd name="connsiteX463" fmla="*/ 815772 w 1620550"/>
                  <a:gd name="connsiteY463" fmla="*/ 194208 h 1421209"/>
                  <a:gd name="connsiteX464" fmla="*/ 805742 w 1620550"/>
                  <a:gd name="connsiteY464" fmla="*/ 195879 h 1421209"/>
                  <a:gd name="connsiteX465" fmla="*/ 789026 w 1620550"/>
                  <a:gd name="connsiteY465" fmla="*/ 197551 h 1421209"/>
                  <a:gd name="connsiteX466" fmla="*/ 782339 w 1620550"/>
                  <a:gd name="connsiteY466" fmla="*/ 194208 h 1421209"/>
                  <a:gd name="connsiteX467" fmla="*/ 780667 w 1620550"/>
                  <a:gd name="connsiteY467" fmla="*/ 189193 h 1421209"/>
                  <a:gd name="connsiteX468" fmla="*/ 775652 w 1620550"/>
                  <a:gd name="connsiteY468" fmla="*/ 175820 h 1421209"/>
                  <a:gd name="connsiteX469" fmla="*/ 768966 w 1620550"/>
                  <a:gd name="connsiteY469" fmla="*/ 170805 h 1421209"/>
                  <a:gd name="connsiteX470" fmla="*/ 765622 w 1620550"/>
                  <a:gd name="connsiteY470" fmla="*/ 167461 h 1421209"/>
                  <a:gd name="connsiteX471" fmla="*/ 753921 w 1620550"/>
                  <a:gd name="connsiteY471" fmla="*/ 162446 h 1421209"/>
                  <a:gd name="connsiteX472" fmla="*/ 735532 w 1620550"/>
                  <a:gd name="connsiteY472" fmla="*/ 164118 h 1421209"/>
                  <a:gd name="connsiteX473" fmla="*/ 722159 w 1620550"/>
                  <a:gd name="connsiteY473" fmla="*/ 170805 h 1421209"/>
                  <a:gd name="connsiteX474" fmla="*/ 720487 w 1620550"/>
                  <a:gd name="connsiteY474" fmla="*/ 165790 h 1421209"/>
                  <a:gd name="connsiteX475" fmla="*/ 715472 w 1620550"/>
                  <a:gd name="connsiteY475" fmla="*/ 164118 h 1421209"/>
                  <a:gd name="connsiteX476" fmla="*/ 693741 w 1620550"/>
                  <a:gd name="connsiteY476" fmla="*/ 165790 h 1421209"/>
                  <a:gd name="connsiteX477" fmla="*/ 683711 w 1620550"/>
                  <a:gd name="connsiteY477" fmla="*/ 169133 h 1421209"/>
                  <a:gd name="connsiteX478" fmla="*/ 678696 w 1620550"/>
                  <a:gd name="connsiteY478" fmla="*/ 170805 h 1421209"/>
                  <a:gd name="connsiteX479" fmla="*/ 631889 w 1620550"/>
                  <a:gd name="connsiteY479" fmla="*/ 167461 h 1421209"/>
                  <a:gd name="connsiteX480" fmla="*/ 620188 w 1620550"/>
                  <a:gd name="connsiteY480" fmla="*/ 164118 h 1421209"/>
                  <a:gd name="connsiteX481" fmla="*/ 610158 w 1620550"/>
                  <a:gd name="connsiteY481" fmla="*/ 159103 h 1421209"/>
                  <a:gd name="connsiteX482" fmla="*/ 603471 w 1620550"/>
                  <a:gd name="connsiteY482" fmla="*/ 157431 h 1421209"/>
                  <a:gd name="connsiteX483" fmla="*/ 598456 w 1620550"/>
                  <a:gd name="connsiteY483" fmla="*/ 155760 h 1421209"/>
                  <a:gd name="connsiteX484" fmla="*/ 593441 w 1620550"/>
                  <a:gd name="connsiteY484" fmla="*/ 152416 h 1421209"/>
                  <a:gd name="connsiteX485" fmla="*/ 570038 w 1620550"/>
                  <a:gd name="connsiteY485" fmla="*/ 147401 h 1421209"/>
                  <a:gd name="connsiteX486" fmla="*/ 561679 w 1620550"/>
                  <a:gd name="connsiteY486" fmla="*/ 140715 h 1421209"/>
                  <a:gd name="connsiteX487" fmla="*/ 556664 w 1620550"/>
                  <a:gd name="connsiteY487" fmla="*/ 137371 h 1421209"/>
                  <a:gd name="connsiteX488" fmla="*/ 541619 w 1620550"/>
                  <a:gd name="connsiteY488" fmla="*/ 127341 h 1421209"/>
                  <a:gd name="connsiteX489" fmla="*/ 529918 w 1620550"/>
                  <a:gd name="connsiteY489" fmla="*/ 120655 h 1421209"/>
                  <a:gd name="connsiteX490" fmla="*/ 518216 w 1620550"/>
                  <a:gd name="connsiteY490" fmla="*/ 113968 h 1421209"/>
                  <a:gd name="connsiteX491" fmla="*/ 511530 w 1620550"/>
                  <a:gd name="connsiteY491" fmla="*/ 110625 h 1421209"/>
                  <a:gd name="connsiteX492" fmla="*/ 493141 w 1620550"/>
                  <a:gd name="connsiteY492" fmla="*/ 107281 h 1421209"/>
                  <a:gd name="connsiteX493" fmla="*/ 484783 w 1620550"/>
                  <a:gd name="connsiteY493" fmla="*/ 105610 h 1421209"/>
                  <a:gd name="connsiteX494" fmla="*/ 478096 w 1620550"/>
                  <a:gd name="connsiteY494" fmla="*/ 100595 h 1421209"/>
                  <a:gd name="connsiteX495" fmla="*/ 474753 w 1620550"/>
                  <a:gd name="connsiteY495" fmla="*/ 90565 h 1421209"/>
                  <a:gd name="connsiteX496" fmla="*/ 471410 w 1620550"/>
                  <a:gd name="connsiteY496" fmla="*/ 87221 h 1421209"/>
                  <a:gd name="connsiteX497" fmla="*/ 397856 w 1620550"/>
                  <a:gd name="connsiteY497" fmla="*/ 85550 h 1421209"/>
                  <a:gd name="connsiteX498" fmla="*/ 386155 w 1620550"/>
                  <a:gd name="connsiteY498" fmla="*/ 78863 h 1421209"/>
                  <a:gd name="connsiteX499" fmla="*/ 374453 w 1620550"/>
                  <a:gd name="connsiteY499" fmla="*/ 77191 h 1421209"/>
                  <a:gd name="connsiteX500" fmla="*/ 356065 w 1620550"/>
                  <a:gd name="connsiteY500" fmla="*/ 72176 h 1421209"/>
                  <a:gd name="connsiteX501" fmla="*/ 349378 w 1620550"/>
                  <a:gd name="connsiteY501" fmla="*/ 70505 h 1421209"/>
                  <a:gd name="connsiteX502" fmla="*/ 339348 w 1620550"/>
                  <a:gd name="connsiteY502" fmla="*/ 65490 h 1421209"/>
                  <a:gd name="connsiteX503" fmla="*/ 322632 w 1620550"/>
                  <a:gd name="connsiteY503" fmla="*/ 60475 h 1421209"/>
                  <a:gd name="connsiteX504" fmla="*/ 312602 w 1620550"/>
                  <a:gd name="connsiteY504" fmla="*/ 65490 h 1421209"/>
                  <a:gd name="connsiteX505" fmla="*/ 307587 w 1620550"/>
                  <a:gd name="connsiteY505" fmla="*/ 67161 h 1421209"/>
                  <a:gd name="connsiteX506" fmla="*/ 299228 w 1620550"/>
                  <a:gd name="connsiteY506" fmla="*/ 70505 h 1421209"/>
                  <a:gd name="connsiteX507" fmla="*/ 295885 w 1620550"/>
                  <a:gd name="connsiteY507" fmla="*/ 65490 h 1421209"/>
                  <a:gd name="connsiteX508" fmla="*/ 282512 w 1620550"/>
                  <a:gd name="connsiteY508" fmla="*/ 55460 h 1421209"/>
                  <a:gd name="connsiteX509" fmla="*/ 277497 w 1620550"/>
                  <a:gd name="connsiteY509" fmla="*/ 53788 h 1421209"/>
                  <a:gd name="connsiteX510" fmla="*/ 269138 w 1620550"/>
                  <a:gd name="connsiteY510" fmla="*/ 42086 h 1421209"/>
                  <a:gd name="connsiteX511" fmla="*/ 267467 w 1620550"/>
                  <a:gd name="connsiteY511" fmla="*/ 33728 h 1421209"/>
                  <a:gd name="connsiteX512" fmla="*/ 262452 w 1620550"/>
                  <a:gd name="connsiteY512" fmla="*/ 28713 h 1421209"/>
                  <a:gd name="connsiteX513" fmla="*/ 252422 w 1620550"/>
                  <a:gd name="connsiteY513" fmla="*/ 25370 h 1421209"/>
                  <a:gd name="connsiteX514" fmla="*/ 239048 w 1620550"/>
                  <a:gd name="connsiteY514" fmla="*/ 15340 h 1421209"/>
                  <a:gd name="connsiteX515" fmla="*/ 234033 w 1620550"/>
                  <a:gd name="connsiteY515" fmla="*/ 10325 h 1421209"/>
                  <a:gd name="connsiteX516" fmla="*/ 220660 w 1620550"/>
                  <a:gd name="connsiteY516" fmla="*/ 5310 h 1421209"/>
                  <a:gd name="connsiteX517" fmla="*/ 215645 w 1620550"/>
                  <a:gd name="connsiteY517" fmla="*/ 1967 h 1421209"/>
                  <a:gd name="connsiteX518" fmla="*/ 192242 w 1620550"/>
                  <a:gd name="connsiteY518" fmla="*/ 1967 h 1421209"/>
                  <a:gd name="connsiteX519" fmla="*/ 198928 w 1620550"/>
                  <a:gd name="connsiteY519" fmla="*/ 5310 h 1421209"/>
                  <a:gd name="connsiteX0" fmla="*/ 198928 w 1620550"/>
                  <a:gd name="connsiteY0" fmla="*/ 5310 h 1421209"/>
                  <a:gd name="connsiteX1" fmla="*/ 177197 w 1620550"/>
                  <a:gd name="connsiteY1" fmla="*/ 10325 h 1421209"/>
                  <a:gd name="connsiteX2" fmla="*/ 175525 w 1620550"/>
                  <a:gd name="connsiteY2" fmla="*/ 15340 h 1421209"/>
                  <a:gd name="connsiteX3" fmla="*/ 177197 w 1620550"/>
                  <a:gd name="connsiteY3" fmla="*/ 20355 h 1421209"/>
                  <a:gd name="connsiteX4" fmla="*/ 172182 w 1620550"/>
                  <a:gd name="connsiteY4" fmla="*/ 23698 h 1421209"/>
                  <a:gd name="connsiteX5" fmla="*/ 152122 w 1620550"/>
                  <a:gd name="connsiteY5" fmla="*/ 25370 h 1421209"/>
                  <a:gd name="connsiteX6" fmla="*/ 155465 w 1620550"/>
                  <a:gd name="connsiteY6" fmla="*/ 35400 h 1421209"/>
                  <a:gd name="connsiteX7" fmla="*/ 157137 w 1620550"/>
                  <a:gd name="connsiteY7" fmla="*/ 42086 h 1421209"/>
                  <a:gd name="connsiteX8" fmla="*/ 148779 w 1620550"/>
                  <a:gd name="connsiteY8" fmla="*/ 47101 h 1421209"/>
                  <a:gd name="connsiteX9" fmla="*/ 145435 w 1620550"/>
                  <a:gd name="connsiteY9" fmla="*/ 50445 h 1421209"/>
                  <a:gd name="connsiteX10" fmla="*/ 135405 w 1620550"/>
                  <a:gd name="connsiteY10" fmla="*/ 53788 h 1421209"/>
                  <a:gd name="connsiteX11" fmla="*/ 133734 w 1620550"/>
                  <a:gd name="connsiteY11" fmla="*/ 58803 h 1421209"/>
                  <a:gd name="connsiteX12" fmla="*/ 115345 w 1620550"/>
                  <a:gd name="connsiteY12" fmla="*/ 63818 h 1421209"/>
                  <a:gd name="connsiteX13" fmla="*/ 81912 w 1620550"/>
                  <a:gd name="connsiteY13" fmla="*/ 62146 h 1421209"/>
                  <a:gd name="connsiteX14" fmla="*/ 73554 w 1620550"/>
                  <a:gd name="connsiteY14" fmla="*/ 53788 h 1421209"/>
                  <a:gd name="connsiteX15" fmla="*/ 66867 w 1620550"/>
                  <a:gd name="connsiteY15" fmla="*/ 50445 h 1421209"/>
                  <a:gd name="connsiteX16" fmla="*/ 55165 w 1620550"/>
                  <a:gd name="connsiteY16" fmla="*/ 52116 h 1421209"/>
                  <a:gd name="connsiteX17" fmla="*/ 55165 w 1620550"/>
                  <a:gd name="connsiteY17" fmla="*/ 62146 h 1421209"/>
                  <a:gd name="connsiteX18" fmla="*/ 30090 w 1620550"/>
                  <a:gd name="connsiteY18" fmla="*/ 65490 h 1421209"/>
                  <a:gd name="connsiteX19" fmla="*/ 16717 w 1620550"/>
                  <a:gd name="connsiteY19" fmla="*/ 75520 h 1421209"/>
                  <a:gd name="connsiteX20" fmla="*/ 11702 w 1620550"/>
                  <a:gd name="connsiteY20" fmla="*/ 80535 h 1421209"/>
                  <a:gd name="connsiteX21" fmla="*/ 8359 w 1620550"/>
                  <a:gd name="connsiteY21" fmla="*/ 88893 h 1421209"/>
                  <a:gd name="connsiteX22" fmla="*/ 6687 w 1620550"/>
                  <a:gd name="connsiteY22" fmla="*/ 98923 h 1421209"/>
                  <a:gd name="connsiteX23" fmla="*/ 0 w 1620550"/>
                  <a:gd name="connsiteY23" fmla="*/ 107281 h 1421209"/>
                  <a:gd name="connsiteX24" fmla="*/ 15045 w 1620550"/>
                  <a:gd name="connsiteY24" fmla="*/ 115640 h 1421209"/>
                  <a:gd name="connsiteX25" fmla="*/ 13374 w 1620550"/>
                  <a:gd name="connsiteY25" fmla="*/ 123998 h 1421209"/>
                  <a:gd name="connsiteX26" fmla="*/ 16717 w 1620550"/>
                  <a:gd name="connsiteY26" fmla="*/ 130685 h 1421209"/>
                  <a:gd name="connsiteX27" fmla="*/ 11702 w 1620550"/>
                  <a:gd name="connsiteY27" fmla="*/ 135700 h 1421209"/>
                  <a:gd name="connsiteX28" fmla="*/ 8359 w 1620550"/>
                  <a:gd name="connsiteY28" fmla="*/ 140715 h 1421209"/>
                  <a:gd name="connsiteX29" fmla="*/ 33434 w 1620550"/>
                  <a:gd name="connsiteY29" fmla="*/ 142386 h 1421209"/>
                  <a:gd name="connsiteX30" fmla="*/ 36777 w 1620550"/>
                  <a:gd name="connsiteY30" fmla="*/ 147401 h 1421209"/>
                  <a:gd name="connsiteX31" fmla="*/ 20060 w 1620550"/>
                  <a:gd name="connsiteY31" fmla="*/ 150745 h 1421209"/>
                  <a:gd name="connsiteX32" fmla="*/ 18389 w 1620550"/>
                  <a:gd name="connsiteY32" fmla="*/ 174148 h 1421209"/>
                  <a:gd name="connsiteX33" fmla="*/ 23404 w 1620550"/>
                  <a:gd name="connsiteY33" fmla="*/ 175820 h 1421209"/>
                  <a:gd name="connsiteX34" fmla="*/ 31762 w 1620550"/>
                  <a:gd name="connsiteY34" fmla="*/ 174148 h 1421209"/>
                  <a:gd name="connsiteX35" fmla="*/ 33434 w 1620550"/>
                  <a:gd name="connsiteY35" fmla="*/ 169133 h 1421209"/>
                  <a:gd name="connsiteX36" fmla="*/ 38449 w 1620550"/>
                  <a:gd name="connsiteY36" fmla="*/ 167461 h 1421209"/>
                  <a:gd name="connsiteX37" fmla="*/ 48479 w 1620550"/>
                  <a:gd name="connsiteY37" fmla="*/ 169133 h 1421209"/>
                  <a:gd name="connsiteX38" fmla="*/ 50150 w 1620550"/>
                  <a:gd name="connsiteY38" fmla="*/ 180835 h 1421209"/>
                  <a:gd name="connsiteX39" fmla="*/ 45135 w 1620550"/>
                  <a:gd name="connsiteY39" fmla="*/ 182506 h 1421209"/>
                  <a:gd name="connsiteX40" fmla="*/ 41792 w 1620550"/>
                  <a:gd name="connsiteY40" fmla="*/ 187521 h 1421209"/>
                  <a:gd name="connsiteX41" fmla="*/ 40120 w 1620550"/>
                  <a:gd name="connsiteY41" fmla="*/ 197551 h 1421209"/>
                  <a:gd name="connsiteX42" fmla="*/ 38449 w 1620550"/>
                  <a:gd name="connsiteY42" fmla="*/ 205909 h 1421209"/>
                  <a:gd name="connsiteX43" fmla="*/ 35105 w 1620550"/>
                  <a:gd name="connsiteY43" fmla="*/ 212596 h 1421209"/>
                  <a:gd name="connsiteX44" fmla="*/ 33434 w 1620550"/>
                  <a:gd name="connsiteY44" fmla="*/ 217611 h 1421209"/>
                  <a:gd name="connsiteX45" fmla="*/ 41792 w 1620550"/>
                  <a:gd name="connsiteY45" fmla="*/ 220954 h 1421209"/>
                  <a:gd name="connsiteX46" fmla="*/ 58509 w 1620550"/>
                  <a:gd name="connsiteY46" fmla="*/ 222626 h 1421209"/>
                  <a:gd name="connsiteX47" fmla="*/ 30090 w 1620550"/>
                  <a:gd name="connsiteY47" fmla="*/ 232656 h 1421209"/>
                  <a:gd name="connsiteX48" fmla="*/ 28419 w 1620550"/>
                  <a:gd name="connsiteY48" fmla="*/ 237671 h 1421209"/>
                  <a:gd name="connsiteX49" fmla="*/ 40120 w 1620550"/>
                  <a:gd name="connsiteY49" fmla="*/ 239343 h 1421209"/>
                  <a:gd name="connsiteX50" fmla="*/ 31762 w 1620550"/>
                  <a:gd name="connsiteY50" fmla="*/ 242686 h 1421209"/>
                  <a:gd name="connsiteX51" fmla="*/ 26747 w 1620550"/>
                  <a:gd name="connsiteY51" fmla="*/ 249373 h 1421209"/>
                  <a:gd name="connsiteX52" fmla="*/ 15045 w 1620550"/>
                  <a:gd name="connsiteY52" fmla="*/ 257731 h 1421209"/>
                  <a:gd name="connsiteX53" fmla="*/ 15045 w 1620550"/>
                  <a:gd name="connsiteY53" fmla="*/ 291164 h 1421209"/>
                  <a:gd name="connsiteX54" fmla="*/ 25075 w 1620550"/>
                  <a:gd name="connsiteY54" fmla="*/ 287821 h 1421209"/>
                  <a:gd name="connsiteX55" fmla="*/ 33434 w 1620550"/>
                  <a:gd name="connsiteY55" fmla="*/ 279463 h 1421209"/>
                  <a:gd name="connsiteX56" fmla="*/ 45845 w 1620550"/>
                  <a:gd name="connsiteY56" fmla="*/ 283010 h 1421209"/>
                  <a:gd name="connsiteX57" fmla="*/ 61347 w 1620550"/>
                  <a:gd name="connsiteY57" fmla="*/ 276577 h 1421209"/>
                  <a:gd name="connsiteX58" fmla="*/ 83584 w 1620550"/>
                  <a:gd name="connsiteY58" fmla="*/ 267761 h 1421209"/>
                  <a:gd name="connsiteX59" fmla="*/ 91942 w 1620550"/>
                  <a:gd name="connsiteY59" fmla="*/ 269433 h 1421209"/>
                  <a:gd name="connsiteX60" fmla="*/ 98629 w 1620550"/>
                  <a:gd name="connsiteY60" fmla="*/ 272776 h 1421209"/>
                  <a:gd name="connsiteX61" fmla="*/ 103644 w 1620550"/>
                  <a:gd name="connsiteY61" fmla="*/ 274448 h 1421209"/>
                  <a:gd name="connsiteX62" fmla="*/ 108659 w 1620550"/>
                  <a:gd name="connsiteY62" fmla="*/ 279463 h 1421209"/>
                  <a:gd name="connsiteX63" fmla="*/ 112002 w 1620550"/>
                  <a:gd name="connsiteY63" fmla="*/ 299523 h 1421209"/>
                  <a:gd name="connsiteX64" fmla="*/ 100300 w 1620550"/>
                  <a:gd name="connsiteY64" fmla="*/ 307881 h 1421209"/>
                  <a:gd name="connsiteX65" fmla="*/ 96957 w 1620550"/>
                  <a:gd name="connsiteY65" fmla="*/ 321254 h 1421209"/>
                  <a:gd name="connsiteX66" fmla="*/ 95285 w 1620550"/>
                  <a:gd name="connsiteY66" fmla="*/ 326269 h 1421209"/>
                  <a:gd name="connsiteX67" fmla="*/ 98629 w 1620550"/>
                  <a:gd name="connsiteY67" fmla="*/ 331284 h 1421209"/>
                  <a:gd name="connsiteX68" fmla="*/ 118689 w 1620550"/>
                  <a:gd name="connsiteY68" fmla="*/ 334628 h 1421209"/>
                  <a:gd name="connsiteX69" fmla="*/ 147107 w 1620550"/>
                  <a:gd name="connsiteY69" fmla="*/ 332956 h 1421209"/>
                  <a:gd name="connsiteX70" fmla="*/ 158808 w 1620550"/>
                  <a:gd name="connsiteY70" fmla="*/ 329613 h 1421209"/>
                  <a:gd name="connsiteX71" fmla="*/ 168838 w 1620550"/>
                  <a:gd name="connsiteY71" fmla="*/ 332956 h 1421209"/>
                  <a:gd name="connsiteX72" fmla="*/ 177197 w 1620550"/>
                  <a:gd name="connsiteY72" fmla="*/ 342986 h 1421209"/>
                  <a:gd name="connsiteX73" fmla="*/ 183883 w 1620550"/>
                  <a:gd name="connsiteY73" fmla="*/ 346329 h 1421209"/>
                  <a:gd name="connsiteX74" fmla="*/ 192242 w 1620550"/>
                  <a:gd name="connsiteY74" fmla="*/ 348001 h 1421209"/>
                  <a:gd name="connsiteX75" fmla="*/ 217317 w 1620550"/>
                  <a:gd name="connsiteY75" fmla="*/ 341314 h 1421209"/>
                  <a:gd name="connsiteX76" fmla="*/ 222332 w 1620550"/>
                  <a:gd name="connsiteY76" fmla="*/ 334628 h 1421209"/>
                  <a:gd name="connsiteX77" fmla="*/ 232362 w 1620550"/>
                  <a:gd name="connsiteY77" fmla="*/ 331284 h 1421209"/>
                  <a:gd name="connsiteX78" fmla="*/ 239048 w 1620550"/>
                  <a:gd name="connsiteY78" fmla="*/ 334628 h 1421209"/>
                  <a:gd name="connsiteX79" fmla="*/ 244063 w 1620550"/>
                  <a:gd name="connsiteY79" fmla="*/ 339643 h 1421209"/>
                  <a:gd name="connsiteX80" fmla="*/ 250750 w 1620550"/>
                  <a:gd name="connsiteY80" fmla="*/ 341314 h 1421209"/>
                  <a:gd name="connsiteX81" fmla="*/ 260780 w 1620550"/>
                  <a:gd name="connsiteY81" fmla="*/ 348001 h 1421209"/>
                  <a:gd name="connsiteX82" fmla="*/ 269138 w 1620550"/>
                  <a:gd name="connsiteY82" fmla="*/ 356359 h 1421209"/>
                  <a:gd name="connsiteX83" fmla="*/ 270810 w 1620550"/>
                  <a:gd name="connsiteY83" fmla="*/ 368061 h 1421209"/>
                  <a:gd name="connsiteX84" fmla="*/ 290870 w 1620550"/>
                  <a:gd name="connsiteY84" fmla="*/ 366389 h 1421209"/>
                  <a:gd name="connsiteX85" fmla="*/ 305915 w 1620550"/>
                  <a:gd name="connsiteY85" fmla="*/ 368061 h 1421209"/>
                  <a:gd name="connsiteX86" fmla="*/ 304243 w 1620550"/>
                  <a:gd name="connsiteY86" fmla="*/ 388121 h 1421209"/>
                  <a:gd name="connsiteX87" fmla="*/ 307587 w 1620550"/>
                  <a:gd name="connsiteY87" fmla="*/ 403166 h 1421209"/>
                  <a:gd name="connsiteX88" fmla="*/ 320960 w 1620550"/>
                  <a:gd name="connsiteY88" fmla="*/ 414867 h 1421209"/>
                  <a:gd name="connsiteX89" fmla="*/ 329318 w 1620550"/>
                  <a:gd name="connsiteY89" fmla="*/ 424897 h 1421209"/>
                  <a:gd name="connsiteX90" fmla="*/ 336005 w 1620550"/>
                  <a:gd name="connsiteY90" fmla="*/ 428241 h 1421209"/>
                  <a:gd name="connsiteX91" fmla="*/ 334333 w 1620550"/>
                  <a:gd name="connsiteY91" fmla="*/ 458331 h 1421209"/>
                  <a:gd name="connsiteX92" fmla="*/ 307587 w 1620550"/>
                  <a:gd name="connsiteY92" fmla="*/ 478391 h 1421209"/>
                  <a:gd name="connsiteX93" fmla="*/ 292542 w 1620550"/>
                  <a:gd name="connsiteY93" fmla="*/ 483406 h 1421209"/>
                  <a:gd name="connsiteX94" fmla="*/ 287527 w 1620550"/>
                  <a:gd name="connsiteY94" fmla="*/ 486749 h 1421209"/>
                  <a:gd name="connsiteX95" fmla="*/ 265795 w 1620550"/>
                  <a:gd name="connsiteY95" fmla="*/ 488421 h 1421209"/>
                  <a:gd name="connsiteX96" fmla="*/ 257437 w 1620550"/>
                  <a:gd name="connsiteY96" fmla="*/ 495107 h 1421209"/>
                  <a:gd name="connsiteX97" fmla="*/ 249078 w 1620550"/>
                  <a:gd name="connsiteY97" fmla="*/ 503466 h 1421209"/>
                  <a:gd name="connsiteX98" fmla="*/ 247407 w 1620550"/>
                  <a:gd name="connsiteY98" fmla="*/ 508481 h 1421209"/>
                  <a:gd name="connsiteX99" fmla="*/ 239048 w 1620550"/>
                  <a:gd name="connsiteY99" fmla="*/ 515167 h 1421209"/>
                  <a:gd name="connsiteX100" fmla="*/ 237377 w 1620550"/>
                  <a:gd name="connsiteY100" fmla="*/ 536899 h 1421209"/>
                  <a:gd name="connsiteX101" fmla="*/ 239048 w 1620550"/>
                  <a:gd name="connsiteY101" fmla="*/ 543586 h 1421209"/>
                  <a:gd name="connsiteX102" fmla="*/ 237377 w 1620550"/>
                  <a:gd name="connsiteY102" fmla="*/ 595407 h 1421209"/>
                  <a:gd name="connsiteX103" fmla="*/ 230690 w 1620550"/>
                  <a:gd name="connsiteY103" fmla="*/ 610452 h 1421209"/>
                  <a:gd name="connsiteX104" fmla="*/ 227347 w 1620550"/>
                  <a:gd name="connsiteY104" fmla="*/ 618810 h 1421209"/>
                  <a:gd name="connsiteX105" fmla="*/ 224003 w 1620550"/>
                  <a:gd name="connsiteY105" fmla="*/ 625497 h 1421209"/>
                  <a:gd name="connsiteX106" fmla="*/ 222332 w 1620550"/>
                  <a:gd name="connsiteY106" fmla="*/ 633855 h 1421209"/>
                  <a:gd name="connsiteX107" fmla="*/ 213973 w 1620550"/>
                  <a:gd name="connsiteY107" fmla="*/ 642214 h 1421209"/>
                  <a:gd name="connsiteX108" fmla="*/ 205615 w 1620550"/>
                  <a:gd name="connsiteY108" fmla="*/ 648900 h 1421209"/>
                  <a:gd name="connsiteX109" fmla="*/ 190570 w 1620550"/>
                  <a:gd name="connsiteY109" fmla="*/ 652244 h 1421209"/>
                  <a:gd name="connsiteX110" fmla="*/ 192242 w 1620550"/>
                  <a:gd name="connsiteY110" fmla="*/ 662274 h 1421209"/>
                  <a:gd name="connsiteX111" fmla="*/ 193913 w 1620550"/>
                  <a:gd name="connsiteY111" fmla="*/ 667289 h 1421209"/>
                  <a:gd name="connsiteX112" fmla="*/ 190570 w 1620550"/>
                  <a:gd name="connsiteY112" fmla="*/ 695707 h 1421209"/>
                  <a:gd name="connsiteX113" fmla="*/ 187227 w 1620550"/>
                  <a:gd name="connsiteY113" fmla="*/ 704065 h 1421209"/>
                  <a:gd name="connsiteX114" fmla="*/ 185555 w 1620550"/>
                  <a:gd name="connsiteY114" fmla="*/ 712424 h 1421209"/>
                  <a:gd name="connsiteX115" fmla="*/ 180540 w 1620550"/>
                  <a:gd name="connsiteY115" fmla="*/ 717439 h 1421209"/>
                  <a:gd name="connsiteX116" fmla="*/ 175525 w 1620550"/>
                  <a:gd name="connsiteY116" fmla="*/ 725797 h 1421209"/>
                  <a:gd name="connsiteX117" fmla="*/ 170510 w 1620550"/>
                  <a:gd name="connsiteY117" fmla="*/ 727469 h 1421209"/>
                  <a:gd name="connsiteX118" fmla="*/ 165495 w 1620550"/>
                  <a:gd name="connsiteY118" fmla="*/ 730812 h 1421209"/>
                  <a:gd name="connsiteX119" fmla="*/ 147107 w 1620550"/>
                  <a:gd name="connsiteY119" fmla="*/ 734155 h 1421209"/>
                  <a:gd name="connsiteX120" fmla="*/ 137077 w 1620550"/>
                  <a:gd name="connsiteY120" fmla="*/ 739170 h 1421209"/>
                  <a:gd name="connsiteX121" fmla="*/ 128719 w 1620550"/>
                  <a:gd name="connsiteY121" fmla="*/ 742513 h 1421209"/>
                  <a:gd name="connsiteX122" fmla="*/ 122032 w 1620550"/>
                  <a:gd name="connsiteY122" fmla="*/ 745857 h 1421209"/>
                  <a:gd name="connsiteX123" fmla="*/ 98628 w 1620550"/>
                  <a:gd name="connsiteY123" fmla="*/ 745856 h 1421209"/>
                  <a:gd name="connsiteX124" fmla="*/ 103644 w 1620550"/>
                  <a:gd name="connsiteY124" fmla="*/ 755887 h 1421209"/>
                  <a:gd name="connsiteX125" fmla="*/ 106987 w 1620550"/>
                  <a:gd name="connsiteY125" fmla="*/ 770932 h 1421209"/>
                  <a:gd name="connsiteX126" fmla="*/ 110330 w 1620550"/>
                  <a:gd name="connsiteY126" fmla="*/ 779290 h 1421209"/>
                  <a:gd name="connsiteX127" fmla="*/ 112002 w 1620550"/>
                  <a:gd name="connsiteY127" fmla="*/ 787648 h 1421209"/>
                  <a:gd name="connsiteX128" fmla="*/ 113674 w 1620550"/>
                  <a:gd name="connsiteY128" fmla="*/ 821082 h 1421209"/>
                  <a:gd name="connsiteX129" fmla="*/ 117017 w 1620550"/>
                  <a:gd name="connsiteY129" fmla="*/ 827768 h 1421209"/>
                  <a:gd name="connsiteX130" fmla="*/ 125375 w 1620550"/>
                  <a:gd name="connsiteY130" fmla="*/ 831112 h 1421209"/>
                  <a:gd name="connsiteX131" fmla="*/ 140420 w 1620550"/>
                  <a:gd name="connsiteY131" fmla="*/ 832783 h 1421209"/>
                  <a:gd name="connsiteX132" fmla="*/ 155465 w 1620550"/>
                  <a:gd name="connsiteY132" fmla="*/ 837798 h 1421209"/>
                  <a:gd name="connsiteX133" fmla="*/ 153793 w 1620550"/>
                  <a:gd name="connsiteY133" fmla="*/ 864545 h 1421209"/>
                  <a:gd name="connsiteX134" fmla="*/ 147107 w 1620550"/>
                  <a:gd name="connsiteY134" fmla="*/ 871232 h 1421209"/>
                  <a:gd name="connsiteX135" fmla="*/ 143764 w 1620550"/>
                  <a:gd name="connsiteY135" fmla="*/ 876247 h 1421209"/>
                  <a:gd name="connsiteX136" fmla="*/ 133734 w 1620550"/>
                  <a:gd name="connsiteY136" fmla="*/ 886277 h 1421209"/>
                  <a:gd name="connsiteX137" fmla="*/ 128719 w 1620550"/>
                  <a:gd name="connsiteY137" fmla="*/ 891292 h 1421209"/>
                  <a:gd name="connsiteX138" fmla="*/ 108659 w 1620550"/>
                  <a:gd name="connsiteY138" fmla="*/ 904665 h 1421209"/>
                  <a:gd name="connsiteX139" fmla="*/ 100300 w 1620550"/>
                  <a:gd name="connsiteY139" fmla="*/ 913023 h 1421209"/>
                  <a:gd name="connsiteX140" fmla="*/ 86927 w 1620550"/>
                  <a:gd name="connsiteY140" fmla="*/ 928068 h 1421209"/>
                  <a:gd name="connsiteX141" fmla="*/ 86927 w 1620550"/>
                  <a:gd name="connsiteY141" fmla="*/ 981561 h 1421209"/>
                  <a:gd name="connsiteX142" fmla="*/ 96957 w 1620550"/>
                  <a:gd name="connsiteY142" fmla="*/ 991591 h 1421209"/>
                  <a:gd name="connsiteX143" fmla="*/ 108659 w 1620550"/>
                  <a:gd name="connsiteY143" fmla="*/ 993263 h 1421209"/>
                  <a:gd name="connsiteX144" fmla="*/ 115345 w 1620550"/>
                  <a:gd name="connsiteY144" fmla="*/ 1038398 h 1421209"/>
                  <a:gd name="connsiteX145" fmla="*/ 93614 w 1620550"/>
                  <a:gd name="connsiteY145" fmla="*/ 1035055 h 1421209"/>
                  <a:gd name="connsiteX146" fmla="*/ 63524 w 1620550"/>
                  <a:gd name="connsiteY146" fmla="*/ 1036726 h 1421209"/>
                  <a:gd name="connsiteX147" fmla="*/ 56837 w 1620550"/>
                  <a:gd name="connsiteY147" fmla="*/ 1045085 h 1421209"/>
                  <a:gd name="connsiteX148" fmla="*/ 48479 w 1620550"/>
                  <a:gd name="connsiteY148" fmla="*/ 1051771 h 1421209"/>
                  <a:gd name="connsiteX149" fmla="*/ 43464 w 1620550"/>
                  <a:gd name="connsiteY149" fmla="*/ 1058458 h 1421209"/>
                  <a:gd name="connsiteX150" fmla="*/ 40120 w 1620550"/>
                  <a:gd name="connsiteY150" fmla="*/ 1061801 h 1421209"/>
                  <a:gd name="connsiteX151" fmla="*/ 35105 w 1620550"/>
                  <a:gd name="connsiteY151" fmla="*/ 1070160 h 1421209"/>
                  <a:gd name="connsiteX152" fmla="*/ 33434 w 1620550"/>
                  <a:gd name="connsiteY152" fmla="*/ 1075175 h 1421209"/>
                  <a:gd name="connsiteX153" fmla="*/ 28419 w 1620550"/>
                  <a:gd name="connsiteY153" fmla="*/ 1091891 h 1421209"/>
                  <a:gd name="connsiteX154" fmla="*/ 25075 w 1620550"/>
                  <a:gd name="connsiteY154" fmla="*/ 1098578 h 1421209"/>
                  <a:gd name="connsiteX155" fmla="*/ 20060 w 1620550"/>
                  <a:gd name="connsiteY155" fmla="*/ 1111951 h 1421209"/>
                  <a:gd name="connsiteX156" fmla="*/ 21732 w 1620550"/>
                  <a:gd name="connsiteY156" fmla="*/ 1163773 h 1421209"/>
                  <a:gd name="connsiteX157" fmla="*/ 41792 w 1620550"/>
                  <a:gd name="connsiteY157" fmla="*/ 1162101 h 1421209"/>
                  <a:gd name="connsiteX158" fmla="*/ 68539 w 1620550"/>
                  <a:gd name="connsiteY158" fmla="*/ 1163773 h 1421209"/>
                  <a:gd name="connsiteX159" fmla="*/ 81912 w 1620550"/>
                  <a:gd name="connsiteY159" fmla="*/ 1173803 h 1421209"/>
                  <a:gd name="connsiteX160" fmla="*/ 86927 w 1620550"/>
                  <a:gd name="connsiteY160" fmla="*/ 1177146 h 1421209"/>
                  <a:gd name="connsiteX161" fmla="*/ 93614 w 1620550"/>
                  <a:gd name="connsiteY161" fmla="*/ 1185504 h 1421209"/>
                  <a:gd name="connsiteX162" fmla="*/ 96957 w 1620550"/>
                  <a:gd name="connsiteY162" fmla="*/ 1195534 h 1421209"/>
                  <a:gd name="connsiteX163" fmla="*/ 98629 w 1620550"/>
                  <a:gd name="connsiteY163" fmla="*/ 1200549 h 1421209"/>
                  <a:gd name="connsiteX164" fmla="*/ 108659 w 1620550"/>
                  <a:gd name="connsiteY164" fmla="*/ 1212251 h 1421209"/>
                  <a:gd name="connsiteX165" fmla="*/ 113674 w 1620550"/>
                  <a:gd name="connsiteY165" fmla="*/ 1213923 h 1421209"/>
                  <a:gd name="connsiteX166" fmla="*/ 122032 w 1620550"/>
                  <a:gd name="connsiteY166" fmla="*/ 1217266 h 1421209"/>
                  <a:gd name="connsiteX167" fmla="*/ 135405 w 1620550"/>
                  <a:gd name="connsiteY167" fmla="*/ 1227296 h 1421209"/>
                  <a:gd name="connsiteX168" fmla="*/ 140420 w 1620550"/>
                  <a:gd name="connsiteY168" fmla="*/ 1230639 h 1421209"/>
                  <a:gd name="connsiteX169" fmla="*/ 145435 w 1620550"/>
                  <a:gd name="connsiteY169" fmla="*/ 1232311 h 1421209"/>
                  <a:gd name="connsiteX170" fmla="*/ 148779 w 1620550"/>
                  <a:gd name="connsiteY170" fmla="*/ 1237326 h 1421209"/>
                  <a:gd name="connsiteX171" fmla="*/ 153793 w 1620550"/>
                  <a:gd name="connsiteY171" fmla="*/ 1244013 h 1421209"/>
                  <a:gd name="connsiteX172" fmla="*/ 158808 w 1620550"/>
                  <a:gd name="connsiteY172" fmla="*/ 1255714 h 1421209"/>
                  <a:gd name="connsiteX173" fmla="*/ 152122 w 1620550"/>
                  <a:gd name="connsiteY173" fmla="*/ 1259058 h 1421209"/>
                  <a:gd name="connsiteX174" fmla="*/ 143764 w 1620550"/>
                  <a:gd name="connsiteY174" fmla="*/ 1260729 h 1421209"/>
                  <a:gd name="connsiteX175" fmla="*/ 145435 w 1620550"/>
                  <a:gd name="connsiteY175" fmla="*/ 1274103 h 1421209"/>
                  <a:gd name="connsiteX176" fmla="*/ 152122 w 1620550"/>
                  <a:gd name="connsiteY176" fmla="*/ 1290819 h 1421209"/>
                  <a:gd name="connsiteX177" fmla="*/ 155465 w 1620550"/>
                  <a:gd name="connsiteY177" fmla="*/ 1295834 h 1421209"/>
                  <a:gd name="connsiteX178" fmla="*/ 160480 w 1620550"/>
                  <a:gd name="connsiteY178" fmla="*/ 1297506 h 1421209"/>
                  <a:gd name="connsiteX179" fmla="*/ 163823 w 1620550"/>
                  <a:gd name="connsiteY179" fmla="*/ 1302521 h 1421209"/>
                  <a:gd name="connsiteX180" fmla="*/ 168838 w 1620550"/>
                  <a:gd name="connsiteY180" fmla="*/ 1305864 h 1421209"/>
                  <a:gd name="connsiteX181" fmla="*/ 177197 w 1620550"/>
                  <a:gd name="connsiteY181" fmla="*/ 1312551 h 1421209"/>
                  <a:gd name="connsiteX182" fmla="*/ 180540 w 1620550"/>
                  <a:gd name="connsiteY182" fmla="*/ 1317566 h 1421209"/>
                  <a:gd name="connsiteX183" fmla="*/ 168838 w 1620550"/>
                  <a:gd name="connsiteY183" fmla="*/ 1329267 h 1421209"/>
                  <a:gd name="connsiteX184" fmla="*/ 170510 w 1620550"/>
                  <a:gd name="connsiteY184" fmla="*/ 1349327 h 1421209"/>
                  <a:gd name="connsiteX185" fmla="*/ 175525 w 1620550"/>
                  <a:gd name="connsiteY185" fmla="*/ 1356014 h 1421209"/>
                  <a:gd name="connsiteX186" fmla="*/ 177197 w 1620550"/>
                  <a:gd name="connsiteY186" fmla="*/ 1371059 h 1421209"/>
                  <a:gd name="connsiteX187" fmla="*/ 178868 w 1620550"/>
                  <a:gd name="connsiteY187" fmla="*/ 1381089 h 1421209"/>
                  <a:gd name="connsiteX188" fmla="*/ 182212 w 1620550"/>
                  <a:gd name="connsiteY188" fmla="*/ 1397806 h 1421209"/>
                  <a:gd name="connsiteX189" fmla="*/ 188898 w 1620550"/>
                  <a:gd name="connsiteY189" fmla="*/ 1401149 h 1421209"/>
                  <a:gd name="connsiteX190" fmla="*/ 193913 w 1620550"/>
                  <a:gd name="connsiteY190" fmla="*/ 1399477 h 1421209"/>
                  <a:gd name="connsiteX191" fmla="*/ 200600 w 1620550"/>
                  <a:gd name="connsiteY191" fmla="*/ 1389447 h 1421209"/>
                  <a:gd name="connsiteX192" fmla="*/ 208958 w 1620550"/>
                  <a:gd name="connsiteY192" fmla="*/ 1392791 h 1421209"/>
                  <a:gd name="connsiteX193" fmla="*/ 210630 w 1620550"/>
                  <a:gd name="connsiteY193" fmla="*/ 1397806 h 1421209"/>
                  <a:gd name="connsiteX194" fmla="*/ 213973 w 1620550"/>
                  <a:gd name="connsiteY194" fmla="*/ 1402821 h 1421209"/>
                  <a:gd name="connsiteX195" fmla="*/ 215645 w 1620550"/>
                  <a:gd name="connsiteY195" fmla="*/ 1412851 h 1421209"/>
                  <a:gd name="connsiteX196" fmla="*/ 222332 w 1620550"/>
                  <a:gd name="connsiteY196" fmla="*/ 1416194 h 1421209"/>
                  <a:gd name="connsiteX197" fmla="*/ 234033 w 1620550"/>
                  <a:gd name="connsiteY197" fmla="*/ 1419537 h 1421209"/>
                  <a:gd name="connsiteX198" fmla="*/ 239048 w 1620550"/>
                  <a:gd name="connsiteY198" fmla="*/ 1421209 h 1421209"/>
                  <a:gd name="connsiteX199" fmla="*/ 269138 w 1620550"/>
                  <a:gd name="connsiteY199" fmla="*/ 1419537 h 1421209"/>
                  <a:gd name="connsiteX200" fmla="*/ 270810 w 1620550"/>
                  <a:gd name="connsiteY200" fmla="*/ 1414522 h 1421209"/>
                  <a:gd name="connsiteX201" fmla="*/ 277497 w 1620550"/>
                  <a:gd name="connsiteY201" fmla="*/ 1412851 h 1421209"/>
                  <a:gd name="connsiteX202" fmla="*/ 285855 w 1620550"/>
                  <a:gd name="connsiteY202" fmla="*/ 1411179 h 1421209"/>
                  <a:gd name="connsiteX203" fmla="*/ 287527 w 1620550"/>
                  <a:gd name="connsiteY203" fmla="*/ 1406164 h 1421209"/>
                  <a:gd name="connsiteX204" fmla="*/ 289198 w 1620550"/>
                  <a:gd name="connsiteY204" fmla="*/ 1396134 h 1421209"/>
                  <a:gd name="connsiteX205" fmla="*/ 294213 w 1620550"/>
                  <a:gd name="connsiteY205" fmla="*/ 1389447 h 1421209"/>
                  <a:gd name="connsiteX206" fmla="*/ 300900 w 1620550"/>
                  <a:gd name="connsiteY206" fmla="*/ 1379417 h 1421209"/>
                  <a:gd name="connsiteX207" fmla="*/ 307587 w 1620550"/>
                  <a:gd name="connsiteY207" fmla="*/ 1366044 h 1421209"/>
                  <a:gd name="connsiteX208" fmla="*/ 314273 w 1620550"/>
                  <a:gd name="connsiteY208" fmla="*/ 1361029 h 1421209"/>
                  <a:gd name="connsiteX209" fmla="*/ 317617 w 1620550"/>
                  <a:gd name="connsiteY209" fmla="*/ 1357686 h 1421209"/>
                  <a:gd name="connsiteX210" fmla="*/ 339348 w 1620550"/>
                  <a:gd name="connsiteY210" fmla="*/ 1354342 h 1421209"/>
                  <a:gd name="connsiteX211" fmla="*/ 356065 w 1620550"/>
                  <a:gd name="connsiteY211" fmla="*/ 1357686 h 1421209"/>
                  <a:gd name="connsiteX212" fmla="*/ 361080 w 1620550"/>
                  <a:gd name="connsiteY212" fmla="*/ 1359357 h 1421209"/>
                  <a:gd name="connsiteX213" fmla="*/ 364423 w 1620550"/>
                  <a:gd name="connsiteY213" fmla="*/ 1362701 h 1421209"/>
                  <a:gd name="connsiteX214" fmla="*/ 374453 w 1620550"/>
                  <a:gd name="connsiteY214" fmla="*/ 1367716 h 1421209"/>
                  <a:gd name="connsiteX215" fmla="*/ 377796 w 1620550"/>
                  <a:gd name="connsiteY215" fmla="*/ 1374402 h 1421209"/>
                  <a:gd name="connsiteX216" fmla="*/ 381140 w 1620550"/>
                  <a:gd name="connsiteY216" fmla="*/ 1377746 h 1421209"/>
                  <a:gd name="connsiteX217" fmla="*/ 386155 w 1620550"/>
                  <a:gd name="connsiteY217" fmla="*/ 1374402 h 1421209"/>
                  <a:gd name="connsiteX218" fmla="*/ 396185 w 1620550"/>
                  <a:gd name="connsiteY218" fmla="*/ 1361029 h 1421209"/>
                  <a:gd name="connsiteX219" fmla="*/ 414573 w 1620550"/>
                  <a:gd name="connsiteY219" fmla="*/ 1356014 h 1421209"/>
                  <a:gd name="connsiteX220" fmla="*/ 416245 w 1620550"/>
                  <a:gd name="connsiteY220" fmla="*/ 1349327 h 1421209"/>
                  <a:gd name="connsiteX221" fmla="*/ 419588 w 1620550"/>
                  <a:gd name="connsiteY221" fmla="*/ 1334282 h 1421209"/>
                  <a:gd name="connsiteX222" fmla="*/ 424603 w 1620550"/>
                  <a:gd name="connsiteY222" fmla="*/ 1330939 h 1421209"/>
                  <a:gd name="connsiteX223" fmla="*/ 444663 w 1620550"/>
                  <a:gd name="connsiteY223" fmla="*/ 1332611 h 1421209"/>
                  <a:gd name="connsiteX224" fmla="*/ 466395 w 1620550"/>
                  <a:gd name="connsiteY224" fmla="*/ 1339297 h 1421209"/>
                  <a:gd name="connsiteX225" fmla="*/ 509858 w 1620550"/>
                  <a:gd name="connsiteY225" fmla="*/ 1340969 h 1421209"/>
                  <a:gd name="connsiteX226" fmla="*/ 523231 w 1620550"/>
                  <a:gd name="connsiteY226" fmla="*/ 1345984 h 1421209"/>
                  <a:gd name="connsiteX227" fmla="*/ 531589 w 1620550"/>
                  <a:gd name="connsiteY227" fmla="*/ 1357686 h 1421209"/>
                  <a:gd name="connsiteX228" fmla="*/ 534933 w 1620550"/>
                  <a:gd name="connsiteY228" fmla="*/ 1364372 h 1421209"/>
                  <a:gd name="connsiteX229" fmla="*/ 539948 w 1620550"/>
                  <a:gd name="connsiteY229" fmla="*/ 1366044 h 1421209"/>
                  <a:gd name="connsiteX230" fmla="*/ 565023 w 1620550"/>
                  <a:gd name="connsiteY230" fmla="*/ 1369387 h 1421209"/>
                  <a:gd name="connsiteX231" fmla="*/ 568366 w 1620550"/>
                  <a:gd name="connsiteY231" fmla="*/ 1372731 h 1421209"/>
                  <a:gd name="connsiteX232" fmla="*/ 571709 w 1620550"/>
                  <a:gd name="connsiteY232" fmla="*/ 1366044 h 1421209"/>
                  <a:gd name="connsiteX233" fmla="*/ 600128 w 1620550"/>
                  <a:gd name="connsiteY233" fmla="*/ 1357686 h 1421209"/>
                  <a:gd name="connsiteX234" fmla="*/ 626874 w 1620550"/>
                  <a:gd name="connsiteY234" fmla="*/ 1361029 h 1421209"/>
                  <a:gd name="connsiteX235" fmla="*/ 633561 w 1620550"/>
                  <a:gd name="connsiteY235" fmla="*/ 1364372 h 1421209"/>
                  <a:gd name="connsiteX236" fmla="*/ 638576 w 1620550"/>
                  <a:gd name="connsiteY236" fmla="*/ 1366044 h 1421209"/>
                  <a:gd name="connsiteX237" fmla="*/ 643591 w 1620550"/>
                  <a:gd name="connsiteY237" fmla="*/ 1372731 h 1421209"/>
                  <a:gd name="connsiteX238" fmla="*/ 650278 w 1620550"/>
                  <a:gd name="connsiteY238" fmla="*/ 1382761 h 1421209"/>
                  <a:gd name="connsiteX239" fmla="*/ 660308 w 1620550"/>
                  <a:gd name="connsiteY239" fmla="*/ 1386104 h 1421209"/>
                  <a:gd name="connsiteX240" fmla="*/ 672009 w 1620550"/>
                  <a:gd name="connsiteY240" fmla="*/ 1389447 h 1421209"/>
                  <a:gd name="connsiteX241" fmla="*/ 687054 w 1620550"/>
                  <a:gd name="connsiteY241" fmla="*/ 1382761 h 1421209"/>
                  <a:gd name="connsiteX242" fmla="*/ 690398 w 1620550"/>
                  <a:gd name="connsiteY242" fmla="*/ 1374402 h 1421209"/>
                  <a:gd name="connsiteX243" fmla="*/ 695413 w 1620550"/>
                  <a:gd name="connsiteY243" fmla="*/ 1371059 h 1421209"/>
                  <a:gd name="connsiteX244" fmla="*/ 707114 w 1620550"/>
                  <a:gd name="connsiteY244" fmla="*/ 1366044 h 1421209"/>
                  <a:gd name="connsiteX245" fmla="*/ 715472 w 1620550"/>
                  <a:gd name="connsiteY245" fmla="*/ 1364372 h 1421209"/>
                  <a:gd name="connsiteX246" fmla="*/ 735532 w 1620550"/>
                  <a:gd name="connsiteY246" fmla="*/ 1371059 h 1421209"/>
                  <a:gd name="connsiteX247" fmla="*/ 737204 w 1620550"/>
                  <a:gd name="connsiteY247" fmla="*/ 1376074 h 1421209"/>
                  <a:gd name="connsiteX248" fmla="*/ 742219 w 1620550"/>
                  <a:gd name="connsiteY248" fmla="*/ 1387776 h 1421209"/>
                  <a:gd name="connsiteX249" fmla="*/ 748906 w 1620550"/>
                  <a:gd name="connsiteY249" fmla="*/ 1389447 h 1421209"/>
                  <a:gd name="connsiteX250" fmla="*/ 762279 w 1620550"/>
                  <a:gd name="connsiteY250" fmla="*/ 1384432 h 1421209"/>
                  <a:gd name="connsiteX251" fmla="*/ 772309 w 1620550"/>
                  <a:gd name="connsiteY251" fmla="*/ 1381089 h 1421209"/>
                  <a:gd name="connsiteX252" fmla="*/ 784011 w 1620550"/>
                  <a:gd name="connsiteY252" fmla="*/ 1371059 h 1421209"/>
                  <a:gd name="connsiteX253" fmla="*/ 797384 w 1620550"/>
                  <a:gd name="connsiteY253" fmla="*/ 1357686 h 1421209"/>
                  <a:gd name="connsiteX254" fmla="*/ 802399 w 1620550"/>
                  <a:gd name="connsiteY254" fmla="*/ 1352671 h 1421209"/>
                  <a:gd name="connsiteX255" fmla="*/ 810757 w 1620550"/>
                  <a:gd name="connsiteY255" fmla="*/ 1350999 h 1421209"/>
                  <a:gd name="connsiteX256" fmla="*/ 812429 w 1620550"/>
                  <a:gd name="connsiteY256" fmla="*/ 1344312 h 1421209"/>
                  <a:gd name="connsiteX257" fmla="*/ 807414 w 1620550"/>
                  <a:gd name="connsiteY257" fmla="*/ 1325924 h 1421209"/>
                  <a:gd name="connsiteX258" fmla="*/ 809086 w 1620550"/>
                  <a:gd name="connsiteY258" fmla="*/ 1314222 h 1421209"/>
                  <a:gd name="connsiteX259" fmla="*/ 812429 w 1620550"/>
                  <a:gd name="connsiteY259" fmla="*/ 1309207 h 1421209"/>
                  <a:gd name="connsiteX260" fmla="*/ 820787 w 1620550"/>
                  <a:gd name="connsiteY260" fmla="*/ 1299177 h 1421209"/>
                  <a:gd name="connsiteX261" fmla="*/ 827474 w 1620550"/>
                  <a:gd name="connsiteY261" fmla="*/ 1294162 h 1421209"/>
                  <a:gd name="connsiteX262" fmla="*/ 869266 w 1620550"/>
                  <a:gd name="connsiteY262" fmla="*/ 1292491 h 1421209"/>
                  <a:gd name="connsiteX263" fmla="*/ 870937 w 1620550"/>
                  <a:gd name="connsiteY263" fmla="*/ 1277446 h 1421209"/>
                  <a:gd name="connsiteX264" fmla="*/ 880967 w 1620550"/>
                  <a:gd name="connsiteY264" fmla="*/ 1270759 h 1421209"/>
                  <a:gd name="connsiteX265" fmla="*/ 885982 w 1620550"/>
                  <a:gd name="connsiteY265" fmla="*/ 1269088 h 1421209"/>
                  <a:gd name="connsiteX266" fmla="*/ 932789 w 1620550"/>
                  <a:gd name="connsiteY266" fmla="*/ 1270759 h 1421209"/>
                  <a:gd name="connsiteX267" fmla="*/ 942819 w 1620550"/>
                  <a:gd name="connsiteY267" fmla="*/ 1272431 h 1421209"/>
                  <a:gd name="connsiteX268" fmla="*/ 949505 w 1620550"/>
                  <a:gd name="connsiteY268" fmla="*/ 1275774 h 1421209"/>
                  <a:gd name="connsiteX269" fmla="*/ 954520 w 1620550"/>
                  <a:gd name="connsiteY269" fmla="*/ 1277446 h 1421209"/>
                  <a:gd name="connsiteX270" fmla="*/ 964550 w 1620550"/>
                  <a:gd name="connsiteY270" fmla="*/ 1274103 h 1421209"/>
                  <a:gd name="connsiteX271" fmla="*/ 971237 w 1620550"/>
                  <a:gd name="connsiteY271" fmla="*/ 1264073 h 1421209"/>
                  <a:gd name="connsiteX272" fmla="*/ 964550 w 1620550"/>
                  <a:gd name="connsiteY272" fmla="*/ 1249028 h 1421209"/>
                  <a:gd name="connsiteX273" fmla="*/ 966222 w 1620550"/>
                  <a:gd name="connsiteY273" fmla="*/ 1233983 h 1421209"/>
                  <a:gd name="connsiteX274" fmla="*/ 974580 w 1620550"/>
                  <a:gd name="connsiteY274" fmla="*/ 1215594 h 1421209"/>
                  <a:gd name="connsiteX275" fmla="*/ 977924 w 1620550"/>
                  <a:gd name="connsiteY275" fmla="*/ 1212251 h 1421209"/>
                  <a:gd name="connsiteX276" fmla="*/ 982939 w 1620550"/>
                  <a:gd name="connsiteY276" fmla="*/ 1205564 h 1421209"/>
                  <a:gd name="connsiteX277" fmla="*/ 991297 w 1620550"/>
                  <a:gd name="connsiteY277" fmla="*/ 1195534 h 1421209"/>
                  <a:gd name="connsiteX278" fmla="*/ 1001327 w 1620550"/>
                  <a:gd name="connsiteY278" fmla="*/ 1185504 h 1421209"/>
                  <a:gd name="connsiteX279" fmla="*/ 1002999 w 1620550"/>
                  <a:gd name="connsiteY279" fmla="*/ 1180489 h 1421209"/>
                  <a:gd name="connsiteX280" fmla="*/ 1006342 w 1620550"/>
                  <a:gd name="connsiteY280" fmla="*/ 1175474 h 1421209"/>
                  <a:gd name="connsiteX281" fmla="*/ 1008014 w 1620550"/>
                  <a:gd name="connsiteY281" fmla="*/ 1168788 h 1421209"/>
                  <a:gd name="connsiteX282" fmla="*/ 1016372 w 1620550"/>
                  <a:gd name="connsiteY282" fmla="*/ 1157086 h 1421209"/>
                  <a:gd name="connsiteX283" fmla="*/ 1023059 w 1620550"/>
                  <a:gd name="connsiteY283" fmla="*/ 1143713 h 1421209"/>
                  <a:gd name="connsiteX284" fmla="*/ 1024730 w 1620550"/>
                  <a:gd name="connsiteY284" fmla="*/ 1138698 h 1421209"/>
                  <a:gd name="connsiteX285" fmla="*/ 1028074 w 1620550"/>
                  <a:gd name="connsiteY285" fmla="*/ 1135354 h 1421209"/>
                  <a:gd name="connsiteX286" fmla="*/ 1033089 w 1620550"/>
                  <a:gd name="connsiteY286" fmla="*/ 1128668 h 1421209"/>
                  <a:gd name="connsiteX287" fmla="*/ 1043119 w 1620550"/>
                  <a:gd name="connsiteY287" fmla="*/ 1116966 h 1421209"/>
                  <a:gd name="connsiteX288" fmla="*/ 1061507 w 1620550"/>
                  <a:gd name="connsiteY288" fmla="*/ 1111951 h 1421209"/>
                  <a:gd name="connsiteX289" fmla="*/ 1069865 w 1620550"/>
                  <a:gd name="connsiteY289" fmla="*/ 1108608 h 1421209"/>
                  <a:gd name="connsiteX290" fmla="*/ 1089925 w 1620550"/>
                  <a:gd name="connsiteY290" fmla="*/ 1105264 h 1421209"/>
                  <a:gd name="connsiteX291" fmla="*/ 1094940 w 1620550"/>
                  <a:gd name="connsiteY291" fmla="*/ 1101921 h 1421209"/>
                  <a:gd name="connsiteX292" fmla="*/ 1111657 w 1620550"/>
                  <a:gd name="connsiteY292" fmla="*/ 1098578 h 1421209"/>
                  <a:gd name="connsiteX293" fmla="*/ 1126702 w 1620550"/>
                  <a:gd name="connsiteY293" fmla="*/ 1090220 h 1421209"/>
                  <a:gd name="connsiteX294" fmla="*/ 1131717 w 1620550"/>
                  <a:gd name="connsiteY294" fmla="*/ 1086876 h 1421209"/>
                  <a:gd name="connsiteX295" fmla="*/ 1133388 w 1620550"/>
                  <a:gd name="connsiteY295" fmla="*/ 1078518 h 1421209"/>
                  <a:gd name="connsiteX296" fmla="*/ 1126702 w 1620550"/>
                  <a:gd name="connsiteY296" fmla="*/ 1070160 h 1421209"/>
                  <a:gd name="connsiteX297" fmla="*/ 1118343 w 1620550"/>
                  <a:gd name="connsiteY297" fmla="*/ 1065145 h 1421209"/>
                  <a:gd name="connsiteX298" fmla="*/ 1109985 w 1620550"/>
                  <a:gd name="connsiteY298" fmla="*/ 1056786 h 1421209"/>
                  <a:gd name="connsiteX299" fmla="*/ 1103298 w 1620550"/>
                  <a:gd name="connsiteY299" fmla="*/ 1048428 h 1421209"/>
                  <a:gd name="connsiteX300" fmla="*/ 1099955 w 1620550"/>
                  <a:gd name="connsiteY300" fmla="*/ 1043413 h 1421209"/>
                  <a:gd name="connsiteX301" fmla="*/ 1094940 w 1620550"/>
                  <a:gd name="connsiteY301" fmla="*/ 1040070 h 1421209"/>
                  <a:gd name="connsiteX302" fmla="*/ 1091597 w 1620550"/>
                  <a:gd name="connsiteY302" fmla="*/ 1033383 h 1421209"/>
                  <a:gd name="connsiteX303" fmla="*/ 1088253 w 1620550"/>
                  <a:gd name="connsiteY303" fmla="*/ 1030040 h 1421209"/>
                  <a:gd name="connsiteX304" fmla="*/ 1083238 w 1620550"/>
                  <a:gd name="connsiteY304" fmla="*/ 1018338 h 1421209"/>
                  <a:gd name="connsiteX305" fmla="*/ 1081567 w 1620550"/>
                  <a:gd name="connsiteY305" fmla="*/ 989920 h 1421209"/>
                  <a:gd name="connsiteX306" fmla="*/ 1079895 w 1620550"/>
                  <a:gd name="connsiteY306" fmla="*/ 984905 h 1421209"/>
                  <a:gd name="connsiteX307" fmla="*/ 1074880 w 1620550"/>
                  <a:gd name="connsiteY307" fmla="*/ 979890 h 1421209"/>
                  <a:gd name="connsiteX308" fmla="*/ 1069865 w 1620550"/>
                  <a:gd name="connsiteY308" fmla="*/ 964845 h 1421209"/>
                  <a:gd name="connsiteX309" fmla="*/ 1074880 w 1620550"/>
                  <a:gd name="connsiteY309" fmla="*/ 929740 h 1421209"/>
                  <a:gd name="connsiteX310" fmla="*/ 1084910 w 1620550"/>
                  <a:gd name="connsiteY310" fmla="*/ 919710 h 1421209"/>
                  <a:gd name="connsiteX311" fmla="*/ 1091597 w 1620550"/>
                  <a:gd name="connsiteY311" fmla="*/ 911352 h 1421209"/>
                  <a:gd name="connsiteX312" fmla="*/ 1098283 w 1620550"/>
                  <a:gd name="connsiteY312" fmla="*/ 906337 h 1421209"/>
                  <a:gd name="connsiteX313" fmla="*/ 1111657 w 1620550"/>
                  <a:gd name="connsiteY313" fmla="*/ 892963 h 1421209"/>
                  <a:gd name="connsiteX314" fmla="*/ 1116672 w 1620550"/>
                  <a:gd name="connsiteY314" fmla="*/ 887948 h 1421209"/>
                  <a:gd name="connsiteX315" fmla="*/ 1121687 w 1620550"/>
                  <a:gd name="connsiteY315" fmla="*/ 881262 h 1421209"/>
                  <a:gd name="connsiteX316" fmla="*/ 1125030 w 1620550"/>
                  <a:gd name="connsiteY316" fmla="*/ 877918 h 1421209"/>
                  <a:gd name="connsiteX317" fmla="*/ 1131717 w 1620550"/>
                  <a:gd name="connsiteY317" fmla="*/ 869560 h 1421209"/>
                  <a:gd name="connsiteX318" fmla="*/ 1136732 w 1620550"/>
                  <a:gd name="connsiteY318" fmla="*/ 864545 h 1421209"/>
                  <a:gd name="connsiteX319" fmla="*/ 1145090 w 1620550"/>
                  <a:gd name="connsiteY319" fmla="*/ 849500 h 1421209"/>
                  <a:gd name="connsiteX320" fmla="*/ 1150105 w 1620550"/>
                  <a:gd name="connsiteY320" fmla="*/ 841142 h 1421209"/>
                  <a:gd name="connsiteX321" fmla="*/ 1153448 w 1620550"/>
                  <a:gd name="connsiteY321" fmla="*/ 831112 h 1421209"/>
                  <a:gd name="connsiteX322" fmla="*/ 1156792 w 1620550"/>
                  <a:gd name="connsiteY322" fmla="*/ 827768 h 1421209"/>
                  <a:gd name="connsiteX323" fmla="*/ 1160135 w 1620550"/>
                  <a:gd name="connsiteY323" fmla="*/ 822753 h 1421209"/>
                  <a:gd name="connsiteX324" fmla="*/ 1173508 w 1620550"/>
                  <a:gd name="connsiteY324" fmla="*/ 814395 h 1421209"/>
                  <a:gd name="connsiteX325" fmla="*/ 1181867 w 1620550"/>
                  <a:gd name="connsiteY325" fmla="*/ 806037 h 1421209"/>
                  <a:gd name="connsiteX326" fmla="*/ 1185210 w 1620550"/>
                  <a:gd name="connsiteY326" fmla="*/ 799350 h 1421209"/>
                  <a:gd name="connsiteX327" fmla="*/ 1205270 w 1620550"/>
                  <a:gd name="connsiteY327" fmla="*/ 785977 h 1421209"/>
                  <a:gd name="connsiteX328" fmla="*/ 1213628 w 1620550"/>
                  <a:gd name="connsiteY328" fmla="*/ 779290 h 1421209"/>
                  <a:gd name="connsiteX329" fmla="*/ 1225330 w 1620550"/>
                  <a:gd name="connsiteY329" fmla="*/ 770932 h 1421209"/>
                  <a:gd name="connsiteX330" fmla="*/ 1228673 w 1620550"/>
                  <a:gd name="connsiteY330" fmla="*/ 765917 h 1421209"/>
                  <a:gd name="connsiteX331" fmla="*/ 1243718 w 1620550"/>
                  <a:gd name="connsiteY331" fmla="*/ 764245 h 1421209"/>
                  <a:gd name="connsiteX332" fmla="*/ 1250405 w 1620550"/>
                  <a:gd name="connsiteY332" fmla="*/ 762573 h 1421209"/>
                  <a:gd name="connsiteX333" fmla="*/ 1255420 w 1620550"/>
                  <a:gd name="connsiteY333" fmla="*/ 757558 h 1421209"/>
                  <a:gd name="connsiteX334" fmla="*/ 1263778 w 1620550"/>
                  <a:gd name="connsiteY334" fmla="*/ 752543 h 1421209"/>
                  <a:gd name="connsiteX335" fmla="*/ 1260435 w 1620550"/>
                  <a:gd name="connsiteY335" fmla="*/ 735827 h 1421209"/>
                  <a:gd name="connsiteX336" fmla="*/ 1257091 w 1620550"/>
                  <a:gd name="connsiteY336" fmla="*/ 732484 h 1421209"/>
                  <a:gd name="connsiteX337" fmla="*/ 1255420 w 1620550"/>
                  <a:gd name="connsiteY337" fmla="*/ 727469 h 1421209"/>
                  <a:gd name="connsiteX338" fmla="*/ 1262106 w 1620550"/>
                  <a:gd name="connsiteY338" fmla="*/ 710752 h 1421209"/>
                  <a:gd name="connsiteX339" fmla="*/ 1272136 w 1620550"/>
                  <a:gd name="connsiteY339" fmla="*/ 705737 h 1421209"/>
                  <a:gd name="connsiteX340" fmla="*/ 1280495 w 1620550"/>
                  <a:gd name="connsiteY340" fmla="*/ 700722 h 1421209"/>
                  <a:gd name="connsiteX341" fmla="*/ 1287181 w 1620550"/>
                  <a:gd name="connsiteY341" fmla="*/ 697379 h 1421209"/>
                  <a:gd name="connsiteX342" fmla="*/ 1292196 w 1620550"/>
                  <a:gd name="connsiteY342" fmla="*/ 694035 h 1421209"/>
                  <a:gd name="connsiteX343" fmla="*/ 1298883 w 1620550"/>
                  <a:gd name="connsiteY343" fmla="*/ 692364 h 1421209"/>
                  <a:gd name="connsiteX344" fmla="*/ 1308913 w 1620550"/>
                  <a:gd name="connsiteY344" fmla="*/ 687349 h 1421209"/>
                  <a:gd name="connsiteX345" fmla="*/ 1323958 w 1620550"/>
                  <a:gd name="connsiteY345" fmla="*/ 682334 h 1421209"/>
                  <a:gd name="connsiteX346" fmla="*/ 1330645 w 1620550"/>
                  <a:gd name="connsiteY346" fmla="*/ 678990 h 1421209"/>
                  <a:gd name="connsiteX347" fmla="*/ 1355720 w 1620550"/>
                  <a:gd name="connsiteY347" fmla="*/ 675647 h 1421209"/>
                  <a:gd name="connsiteX348" fmla="*/ 1359063 w 1620550"/>
                  <a:gd name="connsiteY348" fmla="*/ 670632 h 1421209"/>
                  <a:gd name="connsiteX349" fmla="*/ 1372436 w 1620550"/>
                  <a:gd name="connsiteY349" fmla="*/ 667289 h 1421209"/>
                  <a:gd name="connsiteX350" fmla="*/ 1449333 w 1620550"/>
                  <a:gd name="connsiteY350" fmla="*/ 663945 h 1421209"/>
                  <a:gd name="connsiteX351" fmla="*/ 1464378 w 1620550"/>
                  <a:gd name="connsiteY351" fmla="*/ 645557 h 1421209"/>
                  <a:gd name="connsiteX352" fmla="*/ 1474408 w 1620550"/>
                  <a:gd name="connsiteY352" fmla="*/ 635527 h 1421209"/>
                  <a:gd name="connsiteX353" fmla="*/ 1487781 w 1620550"/>
                  <a:gd name="connsiteY353" fmla="*/ 625497 h 1421209"/>
                  <a:gd name="connsiteX354" fmla="*/ 1494468 w 1620550"/>
                  <a:gd name="connsiteY354" fmla="*/ 623825 h 1421209"/>
                  <a:gd name="connsiteX355" fmla="*/ 1509513 w 1620550"/>
                  <a:gd name="connsiteY355" fmla="*/ 620482 h 1421209"/>
                  <a:gd name="connsiteX356" fmla="*/ 1517871 w 1620550"/>
                  <a:gd name="connsiteY356" fmla="*/ 617139 h 1421209"/>
                  <a:gd name="connsiteX357" fmla="*/ 1524558 w 1620550"/>
                  <a:gd name="connsiteY357" fmla="*/ 613795 h 1421209"/>
                  <a:gd name="connsiteX358" fmla="*/ 1539603 w 1620550"/>
                  <a:gd name="connsiteY358" fmla="*/ 612124 h 1421209"/>
                  <a:gd name="connsiteX359" fmla="*/ 1557991 w 1620550"/>
                  <a:gd name="connsiteY359" fmla="*/ 602094 h 1421209"/>
                  <a:gd name="connsiteX360" fmla="*/ 1573036 w 1620550"/>
                  <a:gd name="connsiteY360" fmla="*/ 597079 h 1421209"/>
                  <a:gd name="connsiteX361" fmla="*/ 1576379 w 1620550"/>
                  <a:gd name="connsiteY361" fmla="*/ 592064 h 1421209"/>
                  <a:gd name="connsiteX362" fmla="*/ 1588081 w 1620550"/>
                  <a:gd name="connsiteY362" fmla="*/ 587049 h 1421209"/>
                  <a:gd name="connsiteX363" fmla="*/ 1591424 w 1620550"/>
                  <a:gd name="connsiteY363" fmla="*/ 583705 h 1421209"/>
                  <a:gd name="connsiteX364" fmla="*/ 1598111 w 1620550"/>
                  <a:gd name="connsiteY364" fmla="*/ 580362 h 1421209"/>
                  <a:gd name="connsiteX365" fmla="*/ 1608141 w 1620550"/>
                  <a:gd name="connsiteY365" fmla="*/ 572004 h 1421209"/>
                  <a:gd name="connsiteX366" fmla="*/ 1614828 w 1620550"/>
                  <a:gd name="connsiteY366" fmla="*/ 560302 h 1421209"/>
                  <a:gd name="connsiteX367" fmla="*/ 1608141 w 1620550"/>
                  <a:gd name="connsiteY367" fmla="*/ 546929 h 1421209"/>
                  <a:gd name="connsiteX368" fmla="*/ 1599783 w 1620550"/>
                  <a:gd name="connsiteY368" fmla="*/ 535227 h 1421209"/>
                  <a:gd name="connsiteX369" fmla="*/ 1598111 w 1620550"/>
                  <a:gd name="connsiteY369" fmla="*/ 530212 h 1421209"/>
                  <a:gd name="connsiteX370" fmla="*/ 1596439 w 1620550"/>
                  <a:gd name="connsiteY370" fmla="*/ 518511 h 1421209"/>
                  <a:gd name="connsiteX371" fmla="*/ 1601454 w 1620550"/>
                  <a:gd name="connsiteY371" fmla="*/ 516839 h 1421209"/>
                  <a:gd name="connsiteX372" fmla="*/ 1604798 w 1620550"/>
                  <a:gd name="connsiteY372" fmla="*/ 513496 h 1421209"/>
                  <a:gd name="connsiteX373" fmla="*/ 1616499 w 1620550"/>
                  <a:gd name="connsiteY373" fmla="*/ 510152 h 1421209"/>
                  <a:gd name="connsiteX374" fmla="*/ 1618171 w 1620550"/>
                  <a:gd name="connsiteY374" fmla="*/ 495107 h 1421209"/>
                  <a:gd name="connsiteX375" fmla="*/ 1613156 w 1620550"/>
                  <a:gd name="connsiteY375" fmla="*/ 491764 h 1421209"/>
                  <a:gd name="connsiteX376" fmla="*/ 1611484 w 1620550"/>
                  <a:gd name="connsiteY376" fmla="*/ 486749 h 1421209"/>
                  <a:gd name="connsiteX377" fmla="*/ 1608141 w 1620550"/>
                  <a:gd name="connsiteY377" fmla="*/ 481734 h 1421209"/>
                  <a:gd name="connsiteX378" fmla="*/ 1606469 w 1620550"/>
                  <a:gd name="connsiteY378" fmla="*/ 473376 h 1421209"/>
                  <a:gd name="connsiteX379" fmla="*/ 1604798 w 1620550"/>
                  <a:gd name="connsiteY379" fmla="*/ 468361 h 1421209"/>
                  <a:gd name="connsiteX380" fmla="*/ 1599783 w 1620550"/>
                  <a:gd name="connsiteY380" fmla="*/ 466689 h 1421209"/>
                  <a:gd name="connsiteX381" fmla="*/ 1586409 w 1620550"/>
                  <a:gd name="connsiteY381" fmla="*/ 461674 h 1421209"/>
                  <a:gd name="connsiteX382" fmla="*/ 1561334 w 1620550"/>
                  <a:gd name="connsiteY382" fmla="*/ 463346 h 1421209"/>
                  <a:gd name="connsiteX383" fmla="*/ 1547961 w 1620550"/>
                  <a:gd name="connsiteY383" fmla="*/ 465017 h 1421209"/>
                  <a:gd name="connsiteX384" fmla="*/ 1539603 w 1620550"/>
                  <a:gd name="connsiteY384" fmla="*/ 470032 h 1421209"/>
                  <a:gd name="connsiteX385" fmla="*/ 1529573 w 1620550"/>
                  <a:gd name="connsiteY385" fmla="*/ 485077 h 1421209"/>
                  <a:gd name="connsiteX386" fmla="*/ 1524558 w 1620550"/>
                  <a:gd name="connsiteY386" fmla="*/ 486749 h 1421209"/>
                  <a:gd name="connsiteX387" fmla="*/ 1504498 w 1620550"/>
                  <a:gd name="connsiteY387" fmla="*/ 480062 h 1421209"/>
                  <a:gd name="connsiteX388" fmla="*/ 1489453 w 1620550"/>
                  <a:gd name="connsiteY388" fmla="*/ 468361 h 1421209"/>
                  <a:gd name="connsiteX389" fmla="*/ 1474408 w 1620550"/>
                  <a:gd name="connsiteY389" fmla="*/ 466689 h 1421209"/>
                  <a:gd name="connsiteX390" fmla="*/ 1462706 w 1620550"/>
                  <a:gd name="connsiteY390" fmla="*/ 468361 h 1421209"/>
                  <a:gd name="connsiteX391" fmla="*/ 1452676 w 1620550"/>
                  <a:gd name="connsiteY391" fmla="*/ 471704 h 1421209"/>
                  <a:gd name="connsiteX392" fmla="*/ 1442646 w 1620550"/>
                  <a:gd name="connsiteY392" fmla="*/ 470032 h 1421209"/>
                  <a:gd name="connsiteX393" fmla="*/ 1435959 w 1620550"/>
                  <a:gd name="connsiteY393" fmla="*/ 463346 h 1421209"/>
                  <a:gd name="connsiteX394" fmla="*/ 1432616 w 1620550"/>
                  <a:gd name="connsiteY394" fmla="*/ 458331 h 1421209"/>
                  <a:gd name="connsiteX395" fmla="*/ 1427601 w 1620550"/>
                  <a:gd name="connsiteY395" fmla="*/ 454987 h 1421209"/>
                  <a:gd name="connsiteX396" fmla="*/ 1422586 w 1620550"/>
                  <a:gd name="connsiteY396" fmla="*/ 448301 h 1421209"/>
                  <a:gd name="connsiteX397" fmla="*/ 1412556 w 1620550"/>
                  <a:gd name="connsiteY397" fmla="*/ 439942 h 1421209"/>
                  <a:gd name="connsiteX398" fmla="*/ 1404198 w 1620550"/>
                  <a:gd name="connsiteY398" fmla="*/ 446629 h 1421209"/>
                  <a:gd name="connsiteX399" fmla="*/ 1390825 w 1620550"/>
                  <a:gd name="connsiteY399" fmla="*/ 453316 h 1421209"/>
                  <a:gd name="connsiteX400" fmla="*/ 1387481 w 1620550"/>
                  <a:gd name="connsiteY400" fmla="*/ 438271 h 1421209"/>
                  <a:gd name="connsiteX401" fmla="*/ 1385810 w 1620550"/>
                  <a:gd name="connsiteY401" fmla="*/ 433256 h 1421209"/>
                  <a:gd name="connsiteX402" fmla="*/ 1384138 w 1620550"/>
                  <a:gd name="connsiteY402" fmla="*/ 411524 h 1421209"/>
                  <a:gd name="connsiteX403" fmla="*/ 1379123 w 1620550"/>
                  <a:gd name="connsiteY403" fmla="*/ 408181 h 1421209"/>
                  <a:gd name="connsiteX404" fmla="*/ 1370765 w 1620550"/>
                  <a:gd name="connsiteY404" fmla="*/ 406509 h 1421209"/>
                  <a:gd name="connsiteX405" fmla="*/ 1364078 w 1620550"/>
                  <a:gd name="connsiteY405" fmla="*/ 404837 h 1421209"/>
                  <a:gd name="connsiteX406" fmla="*/ 1340675 w 1620550"/>
                  <a:gd name="connsiteY406" fmla="*/ 394807 h 1421209"/>
                  <a:gd name="connsiteX407" fmla="*/ 1327301 w 1620550"/>
                  <a:gd name="connsiteY407" fmla="*/ 384777 h 1421209"/>
                  <a:gd name="connsiteX408" fmla="*/ 1320615 w 1620550"/>
                  <a:gd name="connsiteY408" fmla="*/ 379762 h 1421209"/>
                  <a:gd name="connsiteX409" fmla="*/ 1310585 w 1620550"/>
                  <a:gd name="connsiteY409" fmla="*/ 373076 h 1421209"/>
                  <a:gd name="connsiteX410" fmla="*/ 1305570 w 1620550"/>
                  <a:gd name="connsiteY410" fmla="*/ 369732 h 1421209"/>
                  <a:gd name="connsiteX411" fmla="*/ 1297211 w 1620550"/>
                  <a:gd name="connsiteY411" fmla="*/ 368061 h 1421209"/>
                  <a:gd name="connsiteX412" fmla="*/ 1290525 w 1620550"/>
                  <a:gd name="connsiteY412" fmla="*/ 369732 h 1421209"/>
                  <a:gd name="connsiteX413" fmla="*/ 1282166 w 1620550"/>
                  <a:gd name="connsiteY413" fmla="*/ 398151 h 1421209"/>
                  <a:gd name="connsiteX414" fmla="*/ 1272136 w 1620550"/>
                  <a:gd name="connsiteY414" fmla="*/ 394807 h 1421209"/>
                  <a:gd name="connsiteX415" fmla="*/ 1267121 w 1620550"/>
                  <a:gd name="connsiteY415" fmla="*/ 391464 h 1421209"/>
                  <a:gd name="connsiteX416" fmla="*/ 1255420 w 1620550"/>
                  <a:gd name="connsiteY416" fmla="*/ 388121 h 1421209"/>
                  <a:gd name="connsiteX417" fmla="*/ 1220315 w 1620550"/>
                  <a:gd name="connsiteY417" fmla="*/ 386449 h 1421209"/>
                  <a:gd name="connsiteX418" fmla="*/ 1218643 w 1620550"/>
                  <a:gd name="connsiteY418" fmla="*/ 381434 h 1421209"/>
                  <a:gd name="connsiteX419" fmla="*/ 1211957 w 1620550"/>
                  <a:gd name="connsiteY419" fmla="*/ 379762 h 1421209"/>
                  <a:gd name="connsiteX420" fmla="*/ 1175180 w 1620550"/>
                  <a:gd name="connsiteY420" fmla="*/ 378091 h 1421209"/>
                  <a:gd name="connsiteX421" fmla="*/ 1173508 w 1620550"/>
                  <a:gd name="connsiteY421" fmla="*/ 373076 h 1421209"/>
                  <a:gd name="connsiteX422" fmla="*/ 1171837 w 1620550"/>
                  <a:gd name="connsiteY422" fmla="*/ 366389 h 1421209"/>
                  <a:gd name="connsiteX423" fmla="*/ 1163478 w 1620550"/>
                  <a:gd name="connsiteY423" fmla="*/ 361374 h 1421209"/>
                  <a:gd name="connsiteX424" fmla="*/ 1128373 w 1620550"/>
                  <a:gd name="connsiteY424" fmla="*/ 359703 h 1421209"/>
                  <a:gd name="connsiteX425" fmla="*/ 1120015 w 1620550"/>
                  <a:gd name="connsiteY425" fmla="*/ 356359 h 1421209"/>
                  <a:gd name="connsiteX426" fmla="*/ 1113328 w 1620550"/>
                  <a:gd name="connsiteY426" fmla="*/ 346329 h 1421209"/>
                  <a:gd name="connsiteX427" fmla="*/ 1108313 w 1620550"/>
                  <a:gd name="connsiteY427" fmla="*/ 339643 h 1421209"/>
                  <a:gd name="connsiteX428" fmla="*/ 1104970 w 1620550"/>
                  <a:gd name="connsiteY428" fmla="*/ 334628 h 1421209"/>
                  <a:gd name="connsiteX429" fmla="*/ 1098283 w 1620550"/>
                  <a:gd name="connsiteY429" fmla="*/ 327941 h 1421209"/>
                  <a:gd name="connsiteX430" fmla="*/ 1096612 w 1620550"/>
                  <a:gd name="connsiteY430" fmla="*/ 322926 h 1421209"/>
                  <a:gd name="connsiteX431" fmla="*/ 1091597 w 1620550"/>
                  <a:gd name="connsiteY431" fmla="*/ 321254 h 1421209"/>
                  <a:gd name="connsiteX432" fmla="*/ 1084910 w 1620550"/>
                  <a:gd name="connsiteY432" fmla="*/ 317911 h 1421209"/>
                  <a:gd name="connsiteX433" fmla="*/ 1064850 w 1620550"/>
                  <a:gd name="connsiteY433" fmla="*/ 314568 h 1421209"/>
                  <a:gd name="connsiteX434" fmla="*/ 1058164 w 1620550"/>
                  <a:gd name="connsiteY434" fmla="*/ 311224 h 1421209"/>
                  <a:gd name="connsiteX435" fmla="*/ 1054820 w 1620550"/>
                  <a:gd name="connsiteY435" fmla="*/ 307881 h 1421209"/>
                  <a:gd name="connsiteX436" fmla="*/ 1049805 w 1620550"/>
                  <a:gd name="connsiteY436" fmla="*/ 304538 h 1421209"/>
                  <a:gd name="connsiteX437" fmla="*/ 1046462 w 1620550"/>
                  <a:gd name="connsiteY437" fmla="*/ 301194 h 1421209"/>
                  <a:gd name="connsiteX438" fmla="*/ 1039775 w 1620550"/>
                  <a:gd name="connsiteY438" fmla="*/ 299523 h 1421209"/>
                  <a:gd name="connsiteX439" fmla="*/ 1029745 w 1620550"/>
                  <a:gd name="connsiteY439" fmla="*/ 296179 h 1421209"/>
                  <a:gd name="connsiteX440" fmla="*/ 1016372 w 1620550"/>
                  <a:gd name="connsiteY440" fmla="*/ 287821 h 1421209"/>
                  <a:gd name="connsiteX441" fmla="*/ 1013029 w 1620550"/>
                  <a:gd name="connsiteY441" fmla="*/ 282806 h 1421209"/>
                  <a:gd name="connsiteX442" fmla="*/ 1014700 w 1620550"/>
                  <a:gd name="connsiteY442" fmla="*/ 276119 h 1421209"/>
                  <a:gd name="connsiteX443" fmla="*/ 1016372 w 1620550"/>
                  <a:gd name="connsiteY443" fmla="*/ 271104 h 1421209"/>
                  <a:gd name="connsiteX444" fmla="*/ 1029745 w 1620550"/>
                  <a:gd name="connsiteY444" fmla="*/ 264418 h 1421209"/>
                  <a:gd name="connsiteX445" fmla="*/ 1031417 w 1620550"/>
                  <a:gd name="connsiteY445" fmla="*/ 257731 h 1421209"/>
                  <a:gd name="connsiteX446" fmla="*/ 1024730 w 1620550"/>
                  <a:gd name="connsiteY446" fmla="*/ 256059 h 1421209"/>
                  <a:gd name="connsiteX447" fmla="*/ 1016372 w 1620550"/>
                  <a:gd name="connsiteY447" fmla="*/ 251044 h 1421209"/>
                  <a:gd name="connsiteX448" fmla="*/ 1008014 w 1620550"/>
                  <a:gd name="connsiteY448" fmla="*/ 247701 h 1421209"/>
                  <a:gd name="connsiteX449" fmla="*/ 1002999 w 1620550"/>
                  <a:gd name="connsiteY449" fmla="*/ 244358 h 1421209"/>
                  <a:gd name="connsiteX450" fmla="*/ 997984 w 1620550"/>
                  <a:gd name="connsiteY450" fmla="*/ 242686 h 1421209"/>
                  <a:gd name="connsiteX451" fmla="*/ 989625 w 1620550"/>
                  <a:gd name="connsiteY451" fmla="*/ 235999 h 1421209"/>
                  <a:gd name="connsiteX452" fmla="*/ 984610 w 1620550"/>
                  <a:gd name="connsiteY452" fmla="*/ 234328 h 1421209"/>
                  <a:gd name="connsiteX453" fmla="*/ 966222 w 1620550"/>
                  <a:gd name="connsiteY453" fmla="*/ 227641 h 1421209"/>
                  <a:gd name="connsiteX454" fmla="*/ 944490 w 1620550"/>
                  <a:gd name="connsiteY454" fmla="*/ 229313 h 1421209"/>
                  <a:gd name="connsiteX455" fmla="*/ 902699 w 1620550"/>
                  <a:gd name="connsiteY455" fmla="*/ 227641 h 1421209"/>
                  <a:gd name="connsiteX456" fmla="*/ 897684 w 1620550"/>
                  <a:gd name="connsiteY456" fmla="*/ 225969 h 1421209"/>
                  <a:gd name="connsiteX457" fmla="*/ 885982 w 1620550"/>
                  <a:gd name="connsiteY457" fmla="*/ 215939 h 1421209"/>
                  <a:gd name="connsiteX458" fmla="*/ 874281 w 1620550"/>
                  <a:gd name="connsiteY458" fmla="*/ 207581 h 1421209"/>
                  <a:gd name="connsiteX459" fmla="*/ 869266 w 1620550"/>
                  <a:gd name="connsiteY459" fmla="*/ 204238 h 1421209"/>
                  <a:gd name="connsiteX460" fmla="*/ 860907 w 1620550"/>
                  <a:gd name="connsiteY460" fmla="*/ 197551 h 1421209"/>
                  <a:gd name="connsiteX461" fmla="*/ 854221 w 1620550"/>
                  <a:gd name="connsiteY461" fmla="*/ 195879 h 1421209"/>
                  <a:gd name="connsiteX462" fmla="*/ 842519 w 1620550"/>
                  <a:gd name="connsiteY462" fmla="*/ 192536 h 1421209"/>
                  <a:gd name="connsiteX463" fmla="*/ 815772 w 1620550"/>
                  <a:gd name="connsiteY463" fmla="*/ 194208 h 1421209"/>
                  <a:gd name="connsiteX464" fmla="*/ 805742 w 1620550"/>
                  <a:gd name="connsiteY464" fmla="*/ 195879 h 1421209"/>
                  <a:gd name="connsiteX465" fmla="*/ 789026 w 1620550"/>
                  <a:gd name="connsiteY465" fmla="*/ 197551 h 1421209"/>
                  <a:gd name="connsiteX466" fmla="*/ 782339 w 1620550"/>
                  <a:gd name="connsiteY466" fmla="*/ 194208 h 1421209"/>
                  <a:gd name="connsiteX467" fmla="*/ 780667 w 1620550"/>
                  <a:gd name="connsiteY467" fmla="*/ 189193 h 1421209"/>
                  <a:gd name="connsiteX468" fmla="*/ 775652 w 1620550"/>
                  <a:gd name="connsiteY468" fmla="*/ 175820 h 1421209"/>
                  <a:gd name="connsiteX469" fmla="*/ 768966 w 1620550"/>
                  <a:gd name="connsiteY469" fmla="*/ 170805 h 1421209"/>
                  <a:gd name="connsiteX470" fmla="*/ 765622 w 1620550"/>
                  <a:gd name="connsiteY470" fmla="*/ 167461 h 1421209"/>
                  <a:gd name="connsiteX471" fmla="*/ 753921 w 1620550"/>
                  <a:gd name="connsiteY471" fmla="*/ 162446 h 1421209"/>
                  <a:gd name="connsiteX472" fmla="*/ 735532 w 1620550"/>
                  <a:gd name="connsiteY472" fmla="*/ 164118 h 1421209"/>
                  <a:gd name="connsiteX473" fmla="*/ 722159 w 1620550"/>
                  <a:gd name="connsiteY473" fmla="*/ 170805 h 1421209"/>
                  <a:gd name="connsiteX474" fmla="*/ 720487 w 1620550"/>
                  <a:gd name="connsiteY474" fmla="*/ 165790 h 1421209"/>
                  <a:gd name="connsiteX475" fmla="*/ 715472 w 1620550"/>
                  <a:gd name="connsiteY475" fmla="*/ 164118 h 1421209"/>
                  <a:gd name="connsiteX476" fmla="*/ 693741 w 1620550"/>
                  <a:gd name="connsiteY476" fmla="*/ 165790 h 1421209"/>
                  <a:gd name="connsiteX477" fmla="*/ 683711 w 1620550"/>
                  <a:gd name="connsiteY477" fmla="*/ 169133 h 1421209"/>
                  <a:gd name="connsiteX478" fmla="*/ 678696 w 1620550"/>
                  <a:gd name="connsiteY478" fmla="*/ 170805 h 1421209"/>
                  <a:gd name="connsiteX479" fmla="*/ 631889 w 1620550"/>
                  <a:gd name="connsiteY479" fmla="*/ 167461 h 1421209"/>
                  <a:gd name="connsiteX480" fmla="*/ 620188 w 1620550"/>
                  <a:gd name="connsiteY480" fmla="*/ 164118 h 1421209"/>
                  <a:gd name="connsiteX481" fmla="*/ 610158 w 1620550"/>
                  <a:gd name="connsiteY481" fmla="*/ 159103 h 1421209"/>
                  <a:gd name="connsiteX482" fmla="*/ 603471 w 1620550"/>
                  <a:gd name="connsiteY482" fmla="*/ 157431 h 1421209"/>
                  <a:gd name="connsiteX483" fmla="*/ 598456 w 1620550"/>
                  <a:gd name="connsiteY483" fmla="*/ 155760 h 1421209"/>
                  <a:gd name="connsiteX484" fmla="*/ 593441 w 1620550"/>
                  <a:gd name="connsiteY484" fmla="*/ 152416 h 1421209"/>
                  <a:gd name="connsiteX485" fmla="*/ 570038 w 1620550"/>
                  <a:gd name="connsiteY485" fmla="*/ 147401 h 1421209"/>
                  <a:gd name="connsiteX486" fmla="*/ 561679 w 1620550"/>
                  <a:gd name="connsiteY486" fmla="*/ 140715 h 1421209"/>
                  <a:gd name="connsiteX487" fmla="*/ 556664 w 1620550"/>
                  <a:gd name="connsiteY487" fmla="*/ 137371 h 1421209"/>
                  <a:gd name="connsiteX488" fmla="*/ 541619 w 1620550"/>
                  <a:gd name="connsiteY488" fmla="*/ 127341 h 1421209"/>
                  <a:gd name="connsiteX489" fmla="*/ 529918 w 1620550"/>
                  <a:gd name="connsiteY489" fmla="*/ 120655 h 1421209"/>
                  <a:gd name="connsiteX490" fmla="*/ 518216 w 1620550"/>
                  <a:gd name="connsiteY490" fmla="*/ 113968 h 1421209"/>
                  <a:gd name="connsiteX491" fmla="*/ 511530 w 1620550"/>
                  <a:gd name="connsiteY491" fmla="*/ 110625 h 1421209"/>
                  <a:gd name="connsiteX492" fmla="*/ 493141 w 1620550"/>
                  <a:gd name="connsiteY492" fmla="*/ 107281 h 1421209"/>
                  <a:gd name="connsiteX493" fmla="*/ 484783 w 1620550"/>
                  <a:gd name="connsiteY493" fmla="*/ 105610 h 1421209"/>
                  <a:gd name="connsiteX494" fmla="*/ 478096 w 1620550"/>
                  <a:gd name="connsiteY494" fmla="*/ 100595 h 1421209"/>
                  <a:gd name="connsiteX495" fmla="*/ 474753 w 1620550"/>
                  <a:gd name="connsiteY495" fmla="*/ 90565 h 1421209"/>
                  <a:gd name="connsiteX496" fmla="*/ 471410 w 1620550"/>
                  <a:gd name="connsiteY496" fmla="*/ 87221 h 1421209"/>
                  <a:gd name="connsiteX497" fmla="*/ 397856 w 1620550"/>
                  <a:gd name="connsiteY497" fmla="*/ 85550 h 1421209"/>
                  <a:gd name="connsiteX498" fmla="*/ 386155 w 1620550"/>
                  <a:gd name="connsiteY498" fmla="*/ 78863 h 1421209"/>
                  <a:gd name="connsiteX499" fmla="*/ 374453 w 1620550"/>
                  <a:gd name="connsiteY499" fmla="*/ 77191 h 1421209"/>
                  <a:gd name="connsiteX500" fmla="*/ 356065 w 1620550"/>
                  <a:gd name="connsiteY500" fmla="*/ 72176 h 1421209"/>
                  <a:gd name="connsiteX501" fmla="*/ 349378 w 1620550"/>
                  <a:gd name="connsiteY501" fmla="*/ 70505 h 1421209"/>
                  <a:gd name="connsiteX502" fmla="*/ 339348 w 1620550"/>
                  <a:gd name="connsiteY502" fmla="*/ 65490 h 1421209"/>
                  <a:gd name="connsiteX503" fmla="*/ 322632 w 1620550"/>
                  <a:gd name="connsiteY503" fmla="*/ 60475 h 1421209"/>
                  <a:gd name="connsiteX504" fmla="*/ 312602 w 1620550"/>
                  <a:gd name="connsiteY504" fmla="*/ 65490 h 1421209"/>
                  <a:gd name="connsiteX505" fmla="*/ 307587 w 1620550"/>
                  <a:gd name="connsiteY505" fmla="*/ 67161 h 1421209"/>
                  <a:gd name="connsiteX506" fmla="*/ 299228 w 1620550"/>
                  <a:gd name="connsiteY506" fmla="*/ 70505 h 1421209"/>
                  <a:gd name="connsiteX507" fmla="*/ 295885 w 1620550"/>
                  <a:gd name="connsiteY507" fmla="*/ 65490 h 1421209"/>
                  <a:gd name="connsiteX508" fmla="*/ 282512 w 1620550"/>
                  <a:gd name="connsiteY508" fmla="*/ 55460 h 1421209"/>
                  <a:gd name="connsiteX509" fmla="*/ 277497 w 1620550"/>
                  <a:gd name="connsiteY509" fmla="*/ 53788 h 1421209"/>
                  <a:gd name="connsiteX510" fmla="*/ 269138 w 1620550"/>
                  <a:gd name="connsiteY510" fmla="*/ 42086 h 1421209"/>
                  <a:gd name="connsiteX511" fmla="*/ 267467 w 1620550"/>
                  <a:gd name="connsiteY511" fmla="*/ 33728 h 1421209"/>
                  <a:gd name="connsiteX512" fmla="*/ 262452 w 1620550"/>
                  <a:gd name="connsiteY512" fmla="*/ 28713 h 1421209"/>
                  <a:gd name="connsiteX513" fmla="*/ 252422 w 1620550"/>
                  <a:gd name="connsiteY513" fmla="*/ 25370 h 1421209"/>
                  <a:gd name="connsiteX514" fmla="*/ 239048 w 1620550"/>
                  <a:gd name="connsiteY514" fmla="*/ 15340 h 1421209"/>
                  <a:gd name="connsiteX515" fmla="*/ 234033 w 1620550"/>
                  <a:gd name="connsiteY515" fmla="*/ 10325 h 1421209"/>
                  <a:gd name="connsiteX516" fmla="*/ 220660 w 1620550"/>
                  <a:gd name="connsiteY516" fmla="*/ 5310 h 1421209"/>
                  <a:gd name="connsiteX517" fmla="*/ 215645 w 1620550"/>
                  <a:gd name="connsiteY517" fmla="*/ 1967 h 1421209"/>
                  <a:gd name="connsiteX518" fmla="*/ 192242 w 1620550"/>
                  <a:gd name="connsiteY518" fmla="*/ 1967 h 1421209"/>
                  <a:gd name="connsiteX519" fmla="*/ 198928 w 1620550"/>
                  <a:gd name="connsiteY519" fmla="*/ 5310 h 1421209"/>
                  <a:gd name="connsiteX0" fmla="*/ 198928 w 1620550"/>
                  <a:gd name="connsiteY0" fmla="*/ 5310 h 1421209"/>
                  <a:gd name="connsiteX1" fmla="*/ 177197 w 1620550"/>
                  <a:gd name="connsiteY1" fmla="*/ 10325 h 1421209"/>
                  <a:gd name="connsiteX2" fmla="*/ 175525 w 1620550"/>
                  <a:gd name="connsiteY2" fmla="*/ 15340 h 1421209"/>
                  <a:gd name="connsiteX3" fmla="*/ 177197 w 1620550"/>
                  <a:gd name="connsiteY3" fmla="*/ 20355 h 1421209"/>
                  <a:gd name="connsiteX4" fmla="*/ 172182 w 1620550"/>
                  <a:gd name="connsiteY4" fmla="*/ 23698 h 1421209"/>
                  <a:gd name="connsiteX5" fmla="*/ 152122 w 1620550"/>
                  <a:gd name="connsiteY5" fmla="*/ 25370 h 1421209"/>
                  <a:gd name="connsiteX6" fmla="*/ 155465 w 1620550"/>
                  <a:gd name="connsiteY6" fmla="*/ 35400 h 1421209"/>
                  <a:gd name="connsiteX7" fmla="*/ 157137 w 1620550"/>
                  <a:gd name="connsiteY7" fmla="*/ 42086 h 1421209"/>
                  <a:gd name="connsiteX8" fmla="*/ 148779 w 1620550"/>
                  <a:gd name="connsiteY8" fmla="*/ 47101 h 1421209"/>
                  <a:gd name="connsiteX9" fmla="*/ 145435 w 1620550"/>
                  <a:gd name="connsiteY9" fmla="*/ 50445 h 1421209"/>
                  <a:gd name="connsiteX10" fmla="*/ 135405 w 1620550"/>
                  <a:gd name="connsiteY10" fmla="*/ 53788 h 1421209"/>
                  <a:gd name="connsiteX11" fmla="*/ 133734 w 1620550"/>
                  <a:gd name="connsiteY11" fmla="*/ 58803 h 1421209"/>
                  <a:gd name="connsiteX12" fmla="*/ 115345 w 1620550"/>
                  <a:gd name="connsiteY12" fmla="*/ 63818 h 1421209"/>
                  <a:gd name="connsiteX13" fmla="*/ 81912 w 1620550"/>
                  <a:gd name="connsiteY13" fmla="*/ 62146 h 1421209"/>
                  <a:gd name="connsiteX14" fmla="*/ 73554 w 1620550"/>
                  <a:gd name="connsiteY14" fmla="*/ 53788 h 1421209"/>
                  <a:gd name="connsiteX15" fmla="*/ 66867 w 1620550"/>
                  <a:gd name="connsiteY15" fmla="*/ 50445 h 1421209"/>
                  <a:gd name="connsiteX16" fmla="*/ 55165 w 1620550"/>
                  <a:gd name="connsiteY16" fmla="*/ 52116 h 1421209"/>
                  <a:gd name="connsiteX17" fmla="*/ 55165 w 1620550"/>
                  <a:gd name="connsiteY17" fmla="*/ 62146 h 1421209"/>
                  <a:gd name="connsiteX18" fmla="*/ 30090 w 1620550"/>
                  <a:gd name="connsiteY18" fmla="*/ 65490 h 1421209"/>
                  <a:gd name="connsiteX19" fmla="*/ 16717 w 1620550"/>
                  <a:gd name="connsiteY19" fmla="*/ 75520 h 1421209"/>
                  <a:gd name="connsiteX20" fmla="*/ 11702 w 1620550"/>
                  <a:gd name="connsiteY20" fmla="*/ 80535 h 1421209"/>
                  <a:gd name="connsiteX21" fmla="*/ 8359 w 1620550"/>
                  <a:gd name="connsiteY21" fmla="*/ 88893 h 1421209"/>
                  <a:gd name="connsiteX22" fmla="*/ 6687 w 1620550"/>
                  <a:gd name="connsiteY22" fmla="*/ 98923 h 1421209"/>
                  <a:gd name="connsiteX23" fmla="*/ 0 w 1620550"/>
                  <a:gd name="connsiteY23" fmla="*/ 107281 h 1421209"/>
                  <a:gd name="connsiteX24" fmla="*/ 15045 w 1620550"/>
                  <a:gd name="connsiteY24" fmla="*/ 115640 h 1421209"/>
                  <a:gd name="connsiteX25" fmla="*/ 13374 w 1620550"/>
                  <a:gd name="connsiteY25" fmla="*/ 123998 h 1421209"/>
                  <a:gd name="connsiteX26" fmla="*/ 16717 w 1620550"/>
                  <a:gd name="connsiteY26" fmla="*/ 130685 h 1421209"/>
                  <a:gd name="connsiteX27" fmla="*/ 11702 w 1620550"/>
                  <a:gd name="connsiteY27" fmla="*/ 135700 h 1421209"/>
                  <a:gd name="connsiteX28" fmla="*/ 8359 w 1620550"/>
                  <a:gd name="connsiteY28" fmla="*/ 140715 h 1421209"/>
                  <a:gd name="connsiteX29" fmla="*/ 33434 w 1620550"/>
                  <a:gd name="connsiteY29" fmla="*/ 142386 h 1421209"/>
                  <a:gd name="connsiteX30" fmla="*/ 36777 w 1620550"/>
                  <a:gd name="connsiteY30" fmla="*/ 147401 h 1421209"/>
                  <a:gd name="connsiteX31" fmla="*/ 20060 w 1620550"/>
                  <a:gd name="connsiteY31" fmla="*/ 150745 h 1421209"/>
                  <a:gd name="connsiteX32" fmla="*/ 18389 w 1620550"/>
                  <a:gd name="connsiteY32" fmla="*/ 174148 h 1421209"/>
                  <a:gd name="connsiteX33" fmla="*/ 23404 w 1620550"/>
                  <a:gd name="connsiteY33" fmla="*/ 175820 h 1421209"/>
                  <a:gd name="connsiteX34" fmla="*/ 31762 w 1620550"/>
                  <a:gd name="connsiteY34" fmla="*/ 174148 h 1421209"/>
                  <a:gd name="connsiteX35" fmla="*/ 33434 w 1620550"/>
                  <a:gd name="connsiteY35" fmla="*/ 169133 h 1421209"/>
                  <a:gd name="connsiteX36" fmla="*/ 38449 w 1620550"/>
                  <a:gd name="connsiteY36" fmla="*/ 167461 h 1421209"/>
                  <a:gd name="connsiteX37" fmla="*/ 48479 w 1620550"/>
                  <a:gd name="connsiteY37" fmla="*/ 169133 h 1421209"/>
                  <a:gd name="connsiteX38" fmla="*/ 50150 w 1620550"/>
                  <a:gd name="connsiteY38" fmla="*/ 180835 h 1421209"/>
                  <a:gd name="connsiteX39" fmla="*/ 45135 w 1620550"/>
                  <a:gd name="connsiteY39" fmla="*/ 182506 h 1421209"/>
                  <a:gd name="connsiteX40" fmla="*/ 41792 w 1620550"/>
                  <a:gd name="connsiteY40" fmla="*/ 187521 h 1421209"/>
                  <a:gd name="connsiteX41" fmla="*/ 40120 w 1620550"/>
                  <a:gd name="connsiteY41" fmla="*/ 197551 h 1421209"/>
                  <a:gd name="connsiteX42" fmla="*/ 38449 w 1620550"/>
                  <a:gd name="connsiteY42" fmla="*/ 205909 h 1421209"/>
                  <a:gd name="connsiteX43" fmla="*/ 35105 w 1620550"/>
                  <a:gd name="connsiteY43" fmla="*/ 212596 h 1421209"/>
                  <a:gd name="connsiteX44" fmla="*/ 33434 w 1620550"/>
                  <a:gd name="connsiteY44" fmla="*/ 217611 h 1421209"/>
                  <a:gd name="connsiteX45" fmla="*/ 41792 w 1620550"/>
                  <a:gd name="connsiteY45" fmla="*/ 220954 h 1421209"/>
                  <a:gd name="connsiteX46" fmla="*/ 58509 w 1620550"/>
                  <a:gd name="connsiteY46" fmla="*/ 222626 h 1421209"/>
                  <a:gd name="connsiteX47" fmla="*/ 30090 w 1620550"/>
                  <a:gd name="connsiteY47" fmla="*/ 232656 h 1421209"/>
                  <a:gd name="connsiteX48" fmla="*/ 28419 w 1620550"/>
                  <a:gd name="connsiteY48" fmla="*/ 237671 h 1421209"/>
                  <a:gd name="connsiteX49" fmla="*/ 40120 w 1620550"/>
                  <a:gd name="connsiteY49" fmla="*/ 239343 h 1421209"/>
                  <a:gd name="connsiteX50" fmla="*/ 31762 w 1620550"/>
                  <a:gd name="connsiteY50" fmla="*/ 242686 h 1421209"/>
                  <a:gd name="connsiteX51" fmla="*/ 26747 w 1620550"/>
                  <a:gd name="connsiteY51" fmla="*/ 249373 h 1421209"/>
                  <a:gd name="connsiteX52" fmla="*/ 15045 w 1620550"/>
                  <a:gd name="connsiteY52" fmla="*/ 257731 h 1421209"/>
                  <a:gd name="connsiteX53" fmla="*/ 15045 w 1620550"/>
                  <a:gd name="connsiteY53" fmla="*/ 291164 h 1421209"/>
                  <a:gd name="connsiteX54" fmla="*/ 25075 w 1620550"/>
                  <a:gd name="connsiteY54" fmla="*/ 287821 h 1421209"/>
                  <a:gd name="connsiteX55" fmla="*/ 38196 w 1620550"/>
                  <a:gd name="connsiteY55" fmla="*/ 286607 h 1421209"/>
                  <a:gd name="connsiteX56" fmla="*/ 45845 w 1620550"/>
                  <a:gd name="connsiteY56" fmla="*/ 283010 h 1421209"/>
                  <a:gd name="connsiteX57" fmla="*/ 61347 w 1620550"/>
                  <a:gd name="connsiteY57" fmla="*/ 276577 h 1421209"/>
                  <a:gd name="connsiteX58" fmla="*/ 83584 w 1620550"/>
                  <a:gd name="connsiteY58" fmla="*/ 267761 h 1421209"/>
                  <a:gd name="connsiteX59" fmla="*/ 91942 w 1620550"/>
                  <a:gd name="connsiteY59" fmla="*/ 269433 h 1421209"/>
                  <a:gd name="connsiteX60" fmla="*/ 98629 w 1620550"/>
                  <a:gd name="connsiteY60" fmla="*/ 272776 h 1421209"/>
                  <a:gd name="connsiteX61" fmla="*/ 103644 w 1620550"/>
                  <a:gd name="connsiteY61" fmla="*/ 274448 h 1421209"/>
                  <a:gd name="connsiteX62" fmla="*/ 108659 w 1620550"/>
                  <a:gd name="connsiteY62" fmla="*/ 279463 h 1421209"/>
                  <a:gd name="connsiteX63" fmla="*/ 112002 w 1620550"/>
                  <a:gd name="connsiteY63" fmla="*/ 299523 h 1421209"/>
                  <a:gd name="connsiteX64" fmla="*/ 100300 w 1620550"/>
                  <a:gd name="connsiteY64" fmla="*/ 307881 h 1421209"/>
                  <a:gd name="connsiteX65" fmla="*/ 96957 w 1620550"/>
                  <a:gd name="connsiteY65" fmla="*/ 321254 h 1421209"/>
                  <a:gd name="connsiteX66" fmla="*/ 95285 w 1620550"/>
                  <a:gd name="connsiteY66" fmla="*/ 326269 h 1421209"/>
                  <a:gd name="connsiteX67" fmla="*/ 98629 w 1620550"/>
                  <a:gd name="connsiteY67" fmla="*/ 331284 h 1421209"/>
                  <a:gd name="connsiteX68" fmla="*/ 118689 w 1620550"/>
                  <a:gd name="connsiteY68" fmla="*/ 334628 h 1421209"/>
                  <a:gd name="connsiteX69" fmla="*/ 147107 w 1620550"/>
                  <a:gd name="connsiteY69" fmla="*/ 332956 h 1421209"/>
                  <a:gd name="connsiteX70" fmla="*/ 158808 w 1620550"/>
                  <a:gd name="connsiteY70" fmla="*/ 329613 h 1421209"/>
                  <a:gd name="connsiteX71" fmla="*/ 168838 w 1620550"/>
                  <a:gd name="connsiteY71" fmla="*/ 332956 h 1421209"/>
                  <a:gd name="connsiteX72" fmla="*/ 177197 w 1620550"/>
                  <a:gd name="connsiteY72" fmla="*/ 342986 h 1421209"/>
                  <a:gd name="connsiteX73" fmla="*/ 183883 w 1620550"/>
                  <a:gd name="connsiteY73" fmla="*/ 346329 h 1421209"/>
                  <a:gd name="connsiteX74" fmla="*/ 192242 w 1620550"/>
                  <a:gd name="connsiteY74" fmla="*/ 348001 h 1421209"/>
                  <a:gd name="connsiteX75" fmla="*/ 217317 w 1620550"/>
                  <a:gd name="connsiteY75" fmla="*/ 341314 h 1421209"/>
                  <a:gd name="connsiteX76" fmla="*/ 222332 w 1620550"/>
                  <a:gd name="connsiteY76" fmla="*/ 334628 h 1421209"/>
                  <a:gd name="connsiteX77" fmla="*/ 232362 w 1620550"/>
                  <a:gd name="connsiteY77" fmla="*/ 331284 h 1421209"/>
                  <a:gd name="connsiteX78" fmla="*/ 239048 w 1620550"/>
                  <a:gd name="connsiteY78" fmla="*/ 334628 h 1421209"/>
                  <a:gd name="connsiteX79" fmla="*/ 244063 w 1620550"/>
                  <a:gd name="connsiteY79" fmla="*/ 339643 h 1421209"/>
                  <a:gd name="connsiteX80" fmla="*/ 250750 w 1620550"/>
                  <a:gd name="connsiteY80" fmla="*/ 341314 h 1421209"/>
                  <a:gd name="connsiteX81" fmla="*/ 260780 w 1620550"/>
                  <a:gd name="connsiteY81" fmla="*/ 348001 h 1421209"/>
                  <a:gd name="connsiteX82" fmla="*/ 269138 w 1620550"/>
                  <a:gd name="connsiteY82" fmla="*/ 356359 h 1421209"/>
                  <a:gd name="connsiteX83" fmla="*/ 270810 w 1620550"/>
                  <a:gd name="connsiteY83" fmla="*/ 368061 h 1421209"/>
                  <a:gd name="connsiteX84" fmla="*/ 290870 w 1620550"/>
                  <a:gd name="connsiteY84" fmla="*/ 366389 h 1421209"/>
                  <a:gd name="connsiteX85" fmla="*/ 305915 w 1620550"/>
                  <a:gd name="connsiteY85" fmla="*/ 368061 h 1421209"/>
                  <a:gd name="connsiteX86" fmla="*/ 304243 w 1620550"/>
                  <a:gd name="connsiteY86" fmla="*/ 388121 h 1421209"/>
                  <a:gd name="connsiteX87" fmla="*/ 307587 w 1620550"/>
                  <a:gd name="connsiteY87" fmla="*/ 403166 h 1421209"/>
                  <a:gd name="connsiteX88" fmla="*/ 320960 w 1620550"/>
                  <a:gd name="connsiteY88" fmla="*/ 414867 h 1421209"/>
                  <a:gd name="connsiteX89" fmla="*/ 329318 w 1620550"/>
                  <a:gd name="connsiteY89" fmla="*/ 424897 h 1421209"/>
                  <a:gd name="connsiteX90" fmla="*/ 336005 w 1620550"/>
                  <a:gd name="connsiteY90" fmla="*/ 428241 h 1421209"/>
                  <a:gd name="connsiteX91" fmla="*/ 334333 w 1620550"/>
                  <a:gd name="connsiteY91" fmla="*/ 458331 h 1421209"/>
                  <a:gd name="connsiteX92" fmla="*/ 307587 w 1620550"/>
                  <a:gd name="connsiteY92" fmla="*/ 478391 h 1421209"/>
                  <a:gd name="connsiteX93" fmla="*/ 292542 w 1620550"/>
                  <a:gd name="connsiteY93" fmla="*/ 483406 h 1421209"/>
                  <a:gd name="connsiteX94" fmla="*/ 287527 w 1620550"/>
                  <a:gd name="connsiteY94" fmla="*/ 486749 h 1421209"/>
                  <a:gd name="connsiteX95" fmla="*/ 265795 w 1620550"/>
                  <a:gd name="connsiteY95" fmla="*/ 488421 h 1421209"/>
                  <a:gd name="connsiteX96" fmla="*/ 257437 w 1620550"/>
                  <a:gd name="connsiteY96" fmla="*/ 495107 h 1421209"/>
                  <a:gd name="connsiteX97" fmla="*/ 249078 w 1620550"/>
                  <a:gd name="connsiteY97" fmla="*/ 503466 h 1421209"/>
                  <a:gd name="connsiteX98" fmla="*/ 247407 w 1620550"/>
                  <a:gd name="connsiteY98" fmla="*/ 508481 h 1421209"/>
                  <a:gd name="connsiteX99" fmla="*/ 239048 w 1620550"/>
                  <a:gd name="connsiteY99" fmla="*/ 515167 h 1421209"/>
                  <a:gd name="connsiteX100" fmla="*/ 237377 w 1620550"/>
                  <a:gd name="connsiteY100" fmla="*/ 536899 h 1421209"/>
                  <a:gd name="connsiteX101" fmla="*/ 239048 w 1620550"/>
                  <a:gd name="connsiteY101" fmla="*/ 543586 h 1421209"/>
                  <a:gd name="connsiteX102" fmla="*/ 237377 w 1620550"/>
                  <a:gd name="connsiteY102" fmla="*/ 595407 h 1421209"/>
                  <a:gd name="connsiteX103" fmla="*/ 230690 w 1620550"/>
                  <a:gd name="connsiteY103" fmla="*/ 610452 h 1421209"/>
                  <a:gd name="connsiteX104" fmla="*/ 227347 w 1620550"/>
                  <a:gd name="connsiteY104" fmla="*/ 618810 h 1421209"/>
                  <a:gd name="connsiteX105" fmla="*/ 224003 w 1620550"/>
                  <a:gd name="connsiteY105" fmla="*/ 625497 h 1421209"/>
                  <a:gd name="connsiteX106" fmla="*/ 222332 w 1620550"/>
                  <a:gd name="connsiteY106" fmla="*/ 633855 h 1421209"/>
                  <a:gd name="connsiteX107" fmla="*/ 213973 w 1620550"/>
                  <a:gd name="connsiteY107" fmla="*/ 642214 h 1421209"/>
                  <a:gd name="connsiteX108" fmla="*/ 205615 w 1620550"/>
                  <a:gd name="connsiteY108" fmla="*/ 648900 h 1421209"/>
                  <a:gd name="connsiteX109" fmla="*/ 190570 w 1620550"/>
                  <a:gd name="connsiteY109" fmla="*/ 652244 h 1421209"/>
                  <a:gd name="connsiteX110" fmla="*/ 192242 w 1620550"/>
                  <a:gd name="connsiteY110" fmla="*/ 662274 h 1421209"/>
                  <a:gd name="connsiteX111" fmla="*/ 193913 w 1620550"/>
                  <a:gd name="connsiteY111" fmla="*/ 667289 h 1421209"/>
                  <a:gd name="connsiteX112" fmla="*/ 190570 w 1620550"/>
                  <a:gd name="connsiteY112" fmla="*/ 695707 h 1421209"/>
                  <a:gd name="connsiteX113" fmla="*/ 187227 w 1620550"/>
                  <a:gd name="connsiteY113" fmla="*/ 704065 h 1421209"/>
                  <a:gd name="connsiteX114" fmla="*/ 185555 w 1620550"/>
                  <a:gd name="connsiteY114" fmla="*/ 712424 h 1421209"/>
                  <a:gd name="connsiteX115" fmla="*/ 180540 w 1620550"/>
                  <a:gd name="connsiteY115" fmla="*/ 717439 h 1421209"/>
                  <a:gd name="connsiteX116" fmla="*/ 175525 w 1620550"/>
                  <a:gd name="connsiteY116" fmla="*/ 725797 h 1421209"/>
                  <a:gd name="connsiteX117" fmla="*/ 170510 w 1620550"/>
                  <a:gd name="connsiteY117" fmla="*/ 727469 h 1421209"/>
                  <a:gd name="connsiteX118" fmla="*/ 165495 w 1620550"/>
                  <a:gd name="connsiteY118" fmla="*/ 730812 h 1421209"/>
                  <a:gd name="connsiteX119" fmla="*/ 147107 w 1620550"/>
                  <a:gd name="connsiteY119" fmla="*/ 734155 h 1421209"/>
                  <a:gd name="connsiteX120" fmla="*/ 137077 w 1620550"/>
                  <a:gd name="connsiteY120" fmla="*/ 739170 h 1421209"/>
                  <a:gd name="connsiteX121" fmla="*/ 128719 w 1620550"/>
                  <a:gd name="connsiteY121" fmla="*/ 742513 h 1421209"/>
                  <a:gd name="connsiteX122" fmla="*/ 122032 w 1620550"/>
                  <a:gd name="connsiteY122" fmla="*/ 745857 h 1421209"/>
                  <a:gd name="connsiteX123" fmla="*/ 98628 w 1620550"/>
                  <a:gd name="connsiteY123" fmla="*/ 745856 h 1421209"/>
                  <a:gd name="connsiteX124" fmla="*/ 103644 w 1620550"/>
                  <a:gd name="connsiteY124" fmla="*/ 755887 h 1421209"/>
                  <a:gd name="connsiteX125" fmla="*/ 106987 w 1620550"/>
                  <a:gd name="connsiteY125" fmla="*/ 770932 h 1421209"/>
                  <a:gd name="connsiteX126" fmla="*/ 110330 w 1620550"/>
                  <a:gd name="connsiteY126" fmla="*/ 779290 h 1421209"/>
                  <a:gd name="connsiteX127" fmla="*/ 112002 w 1620550"/>
                  <a:gd name="connsiteY127" fmla="*/ 787648 h 1421209"/>
                  <a:gd name="connsiteX128" fmla="*/ 113674 w 1620550"/>
                  <a:gd name="connsiteY128" fmla="*/ 821082 h 1421209"/>
                  <a:gd name="connsiteX129" fmla="*/ 117017 w 1620550"/>
                  <a:gd name="connsiteY129" fmla="*/ 827768 h 1421209"/>
                  <a:gd name="connsiteX130" fmla="*/ 125375 w 1620550"/>
                  <a:gd name="connsiteY130" fmla="*/ 831112 h 1421209"/>
                  <a:gd name="connsiteX131" fmla="*/ 140420 w 1620550"/>
                  <a:gd name="connsiteY131" fmla="*/ 832783 h 1421209"/>
                  <a:gd name="connsiteX132" fmla="*/ 155465 w 1620550"/>
                  <a:gd name="connsiteY132" fmla="*/ 837798 h 1421209"/>
                  <a:gd name="connsiteX133" fmla="*/ 153793 w 1620550"/>
                  <a:gd name="connsiteY133" fmla="*/ 864545 h 1421209"/>
                  <a:gd name="connsiteX134" fmla="*/ 147107 w 1620550"/>
                  <a:gd name="connsiteY134" fmla="*/ 871232 h 1421209"/>
                  <a:gd name="connsiteX135" fmla="*/ 143764 w 1620550"/>
                  <a:gd name="connsiteY135" fmla="*/ 876247 h 1421209"/>
                  <a:gd name="connsiteX136" fmla="*/ 133734 w 1620550"/>
                  <a:gd name="connsiteY136" fmla="*/ 886277 h 1421209"/>
                  <a:gd name="connsiteX137" fmla="*/ 128719 w 1620550"/>
                  <a:gd name="connsiteY137" fmla="*/ 891292 h 1421209"/>
                  <a:gd name="connsiteX138" fmla="*/ 108659 w 1620550"/>
                  <a:gd name="connsiteY138" fmla="*/ 904665 h 1421209"/>
                  <a:gd name="connsiteX139" fmla="*/ 100300 w 1620550"/>
                  <a:gd name="connsiteY139" fmla="*/ 913023 h 1421209"/>
                  <a:gd name="connsiteX140" fmla="*/ 86927 w 1620550"/>
                  <a:gd name="connsiteY140" fmla="*/ 928068 h 1421209"/>
                  <a:gd name="connsiteX141" fmla="*/ 86927 w 1620550"/>
                  <a:gd name="connsiteY141" fmla="*/ 981561 h 1421209"/>
                  <a:gd name="connsiteX142" fmla="*/ 96957 w 1620550"/>
                  <a:gd name="connsiteY142" fmla="*/ 991591 h 1421209"/>
                  <a:gd name="connsiteX143" fmla="*/ 108659 w 1620550"/>
                  <a:gd name="connsiteY143" fmla="*/ 993263 h 1421209"/>
                  <a:gd name="connsiteX144" fmla="*/ 115345 w 1620550"/>
                  <a:gd name="connsiteY144" fmla="*/ 1038398 h 1421209"/>
                  <a:gd name="connsiteX145" fmla="*/ 93614 w 1620550"/>
                  <a:gd name="connsiteY145" fmla="*/ 1035055 h 1421209"/>
                  <a:gd name="connsiteX146" fmla="*/ 63524 w 1620550"/>
                  <a:gd name="connsiteY146" fmla="*/ 1036726 h 1421209"/>
                  <a:gd name="connsiteX147" fmla="*/ 56837 w 1620550"/>
                  <a:gd name="connsiteY147" fmla="*/ 1045085 h 1421209"/>
                  <a:gd name="connsiteX148" fmla="*/ 48479 w 1620550"/>
                  <a:gd name="connsiteY148" fmla="*/ 1051771 h 1421209"/>
                  <a:gd name="connsiteX149" fmla="*/ 43464 w 1620550"/>
                  <a:gd name="connsiteY149" fmla="*/ 1058458 h 1421209"/>
                  <a:gd name="connsiteX150" fmla="*/ 40120 w 1620550"/>
                  <a:gd name="connsiteY150" fmla="*/ 1061801 h 1421209"/>
                  <a:gd name="connsiteX151" fmla="*/ 35105 w 1620550"/>
                  <a:gd name="connsiteY151" fmla="*/ 1070160 h 1421209"/>
                  <a:gd name="connsiteX152" fmla="*/ 33434 w 1620550"/>
                  <a:gd name="connsiteY152" fmla="*/ 1075175 h 1421209"/>
                  <a:gd name="connsiteX153" fmla="*/ 28419 w 1620550"/>
                  <a:gd name="connsiteY153" fmla="*/ 1091891 h 1421209"/>
                  <a:gd name="connsiteX154" fmla="*/ 25075 w 1620550"/>
                  <a:gd name="connsiteY154" fmla="*/ 1098578 h 1421209"/>
                  <a:gd name="connsiteX155" fmla="*/ 20060 w 1620550"/>
                  <a:gd name="connsiteY155" fmla="*/ 1111951 h 1421209"/>
                  <a:gd name="connsiteX156" fmla="*/ 21732 w 1620550"/>
                  <a:gd name="connsiteY156" fmla="*/ 1163773 h 1421209"/>
                  <a:gd name="connsiteX157" fmla="*/ 41792 w 1620550"/>
                  <a:gd name="connsiteY157" fmla="*/ 1162101 h 1421209"/>
                  <a:gd name="connsiteX158" fmla="*/ 68539 w 1620550"/>
                  <a:gd name="connsiteY158" fmla="*/ 1163773 h 1421209"/>
                  <a:gd name="connsiteX159" fmla="*/ 81912 w 1620550"/>
                  <a:gd name="connsiteY159" fmla="*/ 1173803 h 1421209"/>
                  <a:gd name="connsiteX160" fmla="*/ 86927 w 1620550"/>
                  <a:gd name="connsiteY160" fmla="*/ 1177146 h 1421209"/>
                  <a:gd name="connsiteX161" fmla="*/ 93614 w 1620550"/>
                  <a:gd name="connsiteY161" fmla="*/ 1185504 h 1421209"/>
                  <a:gd name="connsiteX162" fmla="*/ 96957 w 1620550"/>
                  <a:gd name="connsiteY162" fmla="*/ 1195534 h 1421209"/>
                  <a:gd name="connsiteX163" fmla="*/ 98629 w 1620550"/>
                  <a:gd name="connsiteY163" fmla="*/ 1200549 h 1421209"/>
                  <a:gd name="connsiteX164" fmla="*/ 108659 w 1620550"/>
                  <a:gd name="connsiteY164" fmla="*/ 1212251 h 1421209"/>
                  <a:gd name="connsiteX165" fmla="*/ 113674 w 1620550"/>
                  <a:gd name="connsiteY165" fmla="*/ 1213923 h 1421209"/>
                  <a:gd name="connsiteX166" fmla="*/ 122032 w 1620550"/>
                  <a:gd name="connsiteY166" fmla="*/ 1217266 h 1421209"/>
                  <a:gd name="connsiteX167" fmla="*/ 135405 w 1620550"/>
                  <a:gd name="connsiteY167" fmla="*/ 1227296 h 1421209"/>
                  <a:gd name="connsiteX168" fmla="*/ 140420 w 1620550"/>
                  <a:gd name="connsiteY168" fmla="*/ 1230639 h 1421209"/>
                  <a:gd name="connsiteX169" fmla="*/ 145435 w 1620550"/>
                  <a:gd name="connsiteY169" fmla="*/ 1232311 h 1421209"/>
                  <a:gd name="connsiteX170" fmla="*/ 148779 w 1620550"/>
                  <a:gd name="connsiteY170" fmla="*/ 1237326 h 1421209"/>
                  <a:gd name="connsiteX171" fmla="*/ 153793 w 1620550"/>
                  <a:gd name="connsiteY171" fmla="*/ 1244013 h 1421209"/>
                  <a:gd name="connsiteX172" fmla="*/ 158808 w 1620550"/>
                  <a:gd name="connsiteY172" fmla="*/ 1255714 h 1421209"/>
                  <a:gd name="connsiteX173" fmla="*/ 152122 w 1620550"/>
                  <a:gd name="connsiteY173" fmla="*/ 1259058 h 1421209"/>
                  <a:gd name="connsiteX174" fmla="*/ 143764 w 1620550"/>
                  <a:gd name="connsiteY174" fmla="*/ 1260729 h 1421209"/>
                  <a:gd name="connsiteX175" fmla="*/ 145435 w 1620550"/>
                  <a:gd name="connsiteY175" fmla="*/ 1274103 h 1421209"/>
                  <a:gd name="connsiteX176" fmla="*/ 152122 w 1620550"/>
                  <a:gd name="connsiteY176" fmla="*/ 1290819 h 1421209"/>
                  <a:gd name="connsiteX177" fmla="*/ 155465 w 1620550"/>
                  <a:gd name="connsiteY177" fmla="*/ 1295834 h 1421209"/>
                  <a:gd name="connsiteX178" fmla="*/ 160480 w 1620550"/>
                  <a:gd name="connsiteY178" fmla="*/ 1297506 h 1421209"/>
                  <a:gd name="connsiteX179" fmla="*/ 163823 w 1620550"/>
                  <a:gd name="connsiteY179" fmla="*/ 1302521 h 1421209"/>
                  <a:gd name="connsiteX180" fmla="*/ 168838 w 1620550"/>
                  <a:gd name="connsiteY180" fmla="*/ 1305864 h 1421209"/>
                  <a:gd name="connsiteX181" fmla="*/ 177197 w 1620550"/>
                  <a:gd name="connsiteY181" fmla="*/ 1312551 h 1421209"/>
                  <a:gd name="connsiteX182" fmla="*/ 180540 w 1620550"/>
                  <a:gd name="connsiteY182" fmla="*/ 1317566 h 1421209"/>
                  <a:gd name="connsiteX183" fmla="*/ 168838 w 1620550"/>
                  <a:gd name="connsiteY183" fmla="*/ 1329267 h 1421209"/>
                  <a:gd name="connsiteX184" fmla="*/ 170510 w 1620550"/>
                  <a:gd name="connsiteY184" fmla="*/ 1349327 h 1421209"/>
                  <a:gd name="connsiteX185" fmla="*/ 175525 w 1620550"/>
                  <a:gd name="connsiteY185" fmla="*/ 1356014 h 1421209"/>
                  <a:gd name="connsiteX186" fmla="*/ 177197 w 1620550"/>
                  <a:gd name="connsiteY186" fmla="*/ 1371059 h 1421209"/>
                  <a:gd name="connsiteX187" fmla="*/ 178868 w 1620550"/>
                  <a:gd name="connsiteY187" fmla="*/ 1381089 h 1421209"/>
                  <a:gd name="connsiteX188" fmla="*/ 182212 w 1620550"/>
                  <a:gd name="connsiteY188" fmla="*/ 1397806 h 1421209"/>
                  <a:gd name="connsiteX189" fmla="*/ 188898 w 1620550"/>
                  <a:gd name="connsiteY189" fmla="*/ 1401149 h 1421209"/>
                  <a:gd name="connsiteX190" fmla="*/ 193913 w 1620550"/>
                  <a:gd name="connsiteY190" fmla="*/ 1399477 h 1421209"/>
                  <a:gd name="connsiteX191" fmla="*/ 200600 w 1620550"/>
                  <a:gd name="connsiteY191" fmla="*/ 1389447 h 1421209"/>
                  <a:gd name="connsiteX192" fmla="*/ 208958 w 1620550"/>
                  <a:gd name="connsiteY192" fmla="*/ 1392791 h 1421209"/>
                  <a:gd name="connsiteX193" fmla="*/ 210630 w 1620550"/>
                  <a:gd name="connsiteY193" fmla="*/ 1397806 h 1421209"/>
                  <a:gd name="connsiteX194" fmla="*/ 213973 w 1620550"/>
                  <a:gd name="connsiteY194" fmla="*/ 1402821 h 1421209"/>
                  <a:gd name="connsiteX195" fmla="*/ 215645 w 1620550"/>
                  <a:gd name="connsiteY195" fmla="*/ 1412851 h 1421209"/>
                  <a:gd name="connsiteX196" fmla="*/ 222332 w 1620550"/>
                  <a:gd name="connsiteY196" fmla="*/ 1416194 h 1421209"/>
                  <a:gd name="connsiteX197" fmla="*/ 234033 w 1620550"/>
                  <a:gd name="connsiteY197" fmla="*/ 1419537 h 1421209"/>
                  <a:gd name="connsiteX198" fmla="*/ 239048 w 1620550"/>
                  <a:gd name="connsiteY198" fmla="*/ 1421209 h 1421209"/>
                  <a:gd name="connsiteX199" fmla="*/ 269138 w 1620550"/>
                  <a:gd name="connsiteY199" fmla="*/ 1419537 h 1421209"/>
                  <a:gd name="connsiteX200" fmla="*/ 270810 w 1620550"/>
                  <a:gd name="connsiteY200" fmla="*/ 1414522 h 1421209"/>
                  <a:gd name="connsiteX201" fmla="*/ 277497 w 1620550"/>
                  <a:gd name="connsiteY201" fmla="*/ 1412851 h 1421209"/>
                  <a:gd name="connsiteX202" fmla="*/ 285855 w 1620550"/>
                  <a:gd name="connsiteY202" fmla="*/ 1411179 h 1421209"/>
                  <a:gd name="connsiteX203" fmla="*/ 287527 w 1620550"/>
                  <a:gd name="connsiteY203" fmla="*/ 1406164 h 1421209"/>
                  <a:gd name="connsiteX204" fmla="*/ 289198 w 1620550"/>
                  <a:gd name="connsiteY204" fmla="*/ 1396134 h 1421209"/>
                  <a:gd name="connsiteX205" fmla="*/ 294213 w 1620550"/>
                  <a:gd name="connsiteY205" fmla="*/ 1389447 h 1421209"/>
                  <a:gd name="connsiteX206" fmla="*/ 300900 w 1620550"/>
                  <a:gd name="connsiteY206" fmla="*/ 1379417 h 1421209"/>
                  <a:gd name="connsiteX207" fmla="*/ 307587 w 1620550"/>
                  <a:gd name="connsiteY207" fmla="*/ 1366044 h 1421209"/>
                  <a:gd name="connsiteX208" fmla="*/ 314273 w 1620550"/>
                  <a:gd name="connsiteY208" fmla="*/ 1361029 h 1421209"/>
                  <a:gd name="connsiteX209" fmla="*/ 317617 w 1620550"/>
                  <a:gd name="connsiteY209" fmla="*/ 1357686 h 1421209"/>
                  <a:gd name="connsiteX210" fmla="*/ 339348 w 1620550"/>
                  <a:gd name="connsiteY210" fmla="*/ 1354342 h 1421209"/>
                  <a:gd name="connsiteX211" fmla="*/ 356065 w 1620550"/>
                  <a:gd name="connsiteY211" fmla="*/ 1357686 h 1421209"/>
                  <a:gd name="connsiteX212" fmla="*/ 361080 w 1620550"/>
                  <a:gd name="connsiteY212" fmla="*/ 1359357 h 1421209"/>
                  <a:gd name="connsiteX213" fmla="*/ 364423 w 1620550"/>
                  <a:gd name="connsiteY213" fmla="*/ 1362701 h 1421209"/>
                  <a:gd name="connsiteX214" fmla="*/ 374453 w 1620550"/>
                  <a:gd name="connsiteY214" fmla="*/ 1367716 h 1421209"/>
                  <a:gd name="connsiteX215" fmla="*/ 377796 w 1620550"/>
                  <a:gd name="connsiteY215" fmla="*/ 1374402 h 1421209"/>
                  <a:gd name="connsiteX216" fmla="*/ 381140 w 1620550"/>
                  <a:gd name="connsiteY216" fmla="*/ 1377746 h 1421209"/>
                  <a:gd name="connsiteX217" fmla="*/ 386155 w 1620550"/>
                  <a:gd name="connsiteY217" fmla="*/ 1374402 h 1421209"/>
                  <a:gd name="connsiteX218" fmla="*/ 396185 w 1620550"/>
                  <a:gd name="connsiteY218" fmla="*/ 1361029 h 1421209"/>
                  <a:gd name="connsiteX219" fmla="*/ 414573 w 1620550"/>
                  <a:gd name="connsiteY219" fmla="*/ 1356014 h 1421209"/>
                  <a:gd name="connsiteX220" fmla="*/ 416245 w 1620550"/>
                  <a:gd name="connsiteY220" fmla="*/ 1349327 h 1421209"/>
                  <a:gd name="connsiteX221" fmla="*/ 419588 w 1620550"/>
                  <a:gd name="connsiteY221" fmla="*/ 1334282 h 1421209"/>
                  <a:gd name="connsiteX222" fmla="*/ 424603 w 1620550"/>
                  <a:gd name="connsiteY222" fmla="*/ 1330939 h 1421209"/>
                  <a:gd name="connsiteX223" fmla="*/ 444663 w 1620550"/>
                  <a:gd name="connsiteY223" fmla="*/ 1332611 h 1421209"/>
                  <a:gd name="connsiteX224" fmla="*/ 466395 w 1620550"/>
                  <a:gd name="connsiteY224" fmla="*/ 1339297 h 1421209"/>
                  <a:gd name="connsiteX225" fmla="*/ 509858 w 1620550"/>
                  <a:gd name="connsiteY225" fmla="*/ 1340969 h 1421209"/>
                  <a:gd name="connsiteX226" fmla="*/ 523231 w 1620550"/>
                  <a:gd name="connsiteY226" fmla="*/ 1345984 h 1421209"/>
                  <a:gd name="connsiteX227" fmla="*/ 531589 w 1620550"/>
                  <a:gd name="connsiteY227" fmla="*/ 1357686 h 1421209"/>
                  <a:gd name="connsiteX228" fmla="*/ 534933 w 1620550"/>
                  <a:gd name="connsiteY228" fmla="*/ 1364372 h 1421209"/>
                  <a:gd name="connsiteX229" fmla="*/ 539948 w 1620550"/>
                  <a:gd name="connsiteY229" fmla="*/ 1366044 h 1421209"/>
                  <a:gd name="connsiteX230" fmla="*/ 565023 w 1620550"/>
                  <a:gd name="connsiteY230" fmla="*/ 1369387 h 1421209"/>
                  <a:gd name="connsiteX231" fmla="*/ 568366 w 1620550"/>
                  <a:gd name="connsiteY231" fmla="*/ 1372731 h 1421209"/>
                  <a:gd name="connsiteX232" fmla="*/ 571709 w 1620550"/>
                  <a:gd name="connsiteY232" fmla="*/ 1366044 h 1421209"/>
                  <a:gd name="connsiteX233" fmla="*/ 600128 w 1620550"/>
                  <a:gd name="connsiteY233" fmla="*/ 1357686 h 1421209"/>
                  <a:gd name="connsiteX234" fmla="*/ 626874 w 1620550"/>
                  <a:gd name="connsiteY234" fmla="*/ 1361029 h 1421209"/>
                  <a:gd name="connsiteX235" fmla="*/ 633561 w 1620550"/>
                  <a:gd name="connsiteY235" fmla="*/ 1364372 h 1421209"/>
                  <a:gd name="connsiteX236" fmla="*/ 638576 w 1620550"/>
                  <a:gd name="connsiteY236" fmla="*/ 1366044 h 1421209"/>
                  <a:gd name="connsiteX237" fmla="*/ 643591 w 1620550"/>
                  <a:gd name="connsiteY237" fmla="*/ 1372731 h 1421209"/>
                  <a:gd name="connsiteX238" fmla="*/ 650278 w 1620550"/>
                  <a:gd name="connsiteY238" fmla="*/ 1382761 h 1421209"/>
                  <a:gd name="connsiteX239" fmla="*/ 660308 w 1620550"/>
                  <a:gd name="connsiteY239" fmla="*/ 1386104 h 1421209"/>
                  <a:gd name="connsiteX240" fmla="*/ 672009 w 1620550"/>
                  <a:gd name="connsiteY240" fmla="*/ 1389447 h 1421209"/>
                  <a:gd name="connsiteX241" fmla="*/ 687054 w 1620550"/>
                  <a:gd name="connsiteY241" fmla="*/ 1382761 h 1421209"/>
                  <a:gd name="connsiteX242" fmla="*/ 690398 w 1620550"/>
                  <a:gd name="connsiteY242" fmla="*/ 1374402 h 1421209"/>
                  <a:gd name="connsiteX243" fmla="*/ 695413 w 1620550"/>
                  <a:gd name="connsiteY243" fmla="*/ 1371059 h 1421209"/>
                  <a:gd name="connsiteX244" fmla="*/ 707114 w 1620550"/>
                  <a:gd name="connsiteY244" fmla="*/ 1366044 h 1421209"/>
                  <a:gd name="connsiteX245" fmla="*/ 715472 w 1620550"/>
                  <a:gd name="connsiteY245" fmla="*/ 1364372 h 1421209"/>
                  <a:gd name="connsiteX246" fmla="*/ 735532 w 1620550"/>
                  <a:gd name="connsiteY246" fmla="*/ 1371059 h 1421209"/>
                  <a:gd name="connsiteX247" fmla="*/ 737204 w 1620550"/>
                  <a:gd name="connsiteY247" fmla="*/ 1376074 h 1421209"/>
                  <a:gd name="connsiteX248" fmla="*/ 742219 w 1620550"/>
                  <a:gd name="connsiteY248" fmla="*/ 1387776 h 1421209"/>
                  <a:gd name="connsiteX249" fmla="*/ 748906 w 1620550"/>
                  <a:gd name="connsiteY249" fmla="*/ 1389447 h 1421209"/>
                  <a:gd name="connsiteX250" fmla="*/ 762279 w 1620550"/>
                  <a:gd name="connsiteY250" fmla="*/ 1384432 h 1421209"/>
                  <a:gd name="connsiteX251" fmla="*/ 772309 w 1620550"/>
                  <a:gd name="connsiteY251" fmla="*/ 1381089 h 1421209"/>
                  <a:gd name="connsiteX252" fmla="*/ 784011 w 1620550"/>
                  <a:gd name="connsiteY252" fmla="*/ 1371059 h 1421209"/>
                  <a:gd name="connsiteX253" fmla="*/ 797384 w 1620550"/>
                  <a:gd name="connsiteY253" fmla="*/ 1357686 h 1421209"/>
                  <a:gd name="connsiteX254" fmla="*/ 802399 w 1620550"/>
                  <a:gd name="connsiteY254" fmla="*/ 1352671 h 1421209"/>
                  <a:gd name="connsiteX255" fmla="*/ 810757 w 1620550"/>
                  <a:gd name="connsiteY255" fmla="*/ 1350999 h 1421209"/>
                  <a:gd name="connsiteX256" fmla="*/ 812429 w 1620550"/>
                  <a:gd name="connsiteY256" fmla="*/ 1344312 h 1421209"/>
                  <a:gd name="connsiteX257" fmla="*/ 807414 w 1620550"/>
                  <a:gd name="connsiteY257" fmla="*/ 1325924 h 1421209"/>
                  <a:gd name="connsiteX258" fmla="*/ 809086 w 1620550"/>
                  <a:gd name="connsiteY258" fmla="*/ 1314222 h 1421209"/>
                  <a:gd name="connsiteX259" fmla="*/ 812429 w 1620550"/>
                  <a:gd name="connsiteY259" fmla="*/ 1309207 h 1421209"/>
                  <a:gd name="connsiteX260" fmla="*/ 820787 w 1620550"/>
                  <a:gd name="connsiteY260" fmla="*/ 1299177 h 1421209"/>
                  <a:gd name="connsiteX261" fmla="*/ 827474 w 1620550"/>
                  <a:gd name="connsiteY261" fmla="*/ 1294162 h 1421209"/>
                  <a:gd name="connsiteX262" fmla="*/ 869266 w 1620550"/>
                  <a:gd name="connsiteY262" fmla="*/ 1292491 h 1421209"/>
                  <a:gd name="connsiteX263" fmla="*/ 870937 w 1620550"/>
                  <a:gd name="connsiteY263" fmla="*/ 1277446 h 1421209"/>
                  <a:gd name="connsiteX264" fmla="*/ 880967 w 1620550"/>
                  <a:gd name="connsiteY264" fmla="*/ 1270759 h 1421209"/>
                  <a:gd name="connsiteX265" fmla="*/ 885982 w 1620550"/>
                  <a:gd name="connsiteY265" fmla="*/ 1269088 h 1421209"/>
                  <a:gd name="connsiteX266" fmla="*/ 932789 w 1620550"/>
                  <a:gd name="connsiteY266" fmla="*/ 1270759 h 1421209"/>
                  <a:gd name="connsiteX267" fmla="*/ 942819 w 1620550"/>
                  <a:gd name="connsiteY267" fmla="*/ 1272431 h 1421209"/>
                  <a:gd name="connsiteX268" fmla="*/ 949505 w 1620550"/>
                  <a:gd name="connsiteY268" fmla="*/ 1275774 h 1421209"/>
                  <a:gd name="connsiteX269" fmla="*/ 954520 w 1620550"/>
                  <a:gd name="connsiteY269" fmla="*/ 1277446 h 1421209"/>
                  <a:gd name="connsiteX270" fmla="*/ 964550 w 1620550"/>
                  <a:gd name="connsiteY270" fmla="*/ 1274103 h 1421209"/>
                  <a:gd name="connsiteX271" fmla="*/ 971237 w 1620550"/>
                  <a:gd name="connsiteY271" fmla="*/ 1264073 h 1421209"/>
                  <a:gd name="connsiteX272" fmla="*/ 964550 w 1620550"/>
                  <a:gd name="connsiteY272" fmla="*/ 1249028 h 1421209"/>
                  <a:gd name="connsiteX273" fmla="*/ 966222 w 1620550"/>
                  <a:gd name="connsiteY273" fmla="*/ 1233983 h 1421209"/>
                  <a:gd name="connsiteX274" fmla="*/ 974580 w 1620550"/>
                  <a:gd name="connsiteY274" fmla="*/ 1215594 h 1421209"/>
                  <a:gd name="connsiteX275" fmla="*/ 977924 w 1620550"/>
                  <a:gd name="connsiteY275" fmla="*/ 1212251 h 1421209"/>
                  <a:gd name="connsiteX276" fmla="*/ 982939 w 1620550"/>
                  <a:gd name="connsiteY276" fmla="*/ 1205564 h 1421209"/>
                  <a:gd name="connsiteX277" fmla="*/ 991297 w 1620550"/>
                  <a:gd name="connsiteY277" fmla="*/ 1195534 h 1421209"/>
                  <a:gd name="connsiteX278" fmla="*/ 1001327 w 1620550"/>
                  <a:gd name="connsiteY278" fmla="*/ 1185504 h 1421209"/>
                  <a:gd name="connsiteX279" fmla="*/ 1002999 w 1620550"/>
                  <a:gd name="connsiteY279" fmla="*/ 1180489 h 1421209"/>
                  <a:gd name="connsiteX280" fmla="*/ 1006342 w 1620550"/>
                  <a:gd name="connsiteY280" fmla="*/ 1175474 h 1421209"/>
                  <a:gd name="connsiteX281" fmla="*/ 1008014 w 1620550"/>
                  <a:gd name="connsiteY281" fmla="*/ 1168788 h 1421209"/>
                  <a:gd name="connsiteX282" fmla="*/ 1016372 w 1620550"/>
                  <a:gd name="connsiteY282" fmla="*/ 1157086 h 1421209"/>
                  <a:gd name="connsiteX283" fmla="*/ 1023059 w 1620550"/>
                  <a:gd name="connsiteY283" fmla="*/ 1143713 h 1421209"/>
                  <a:gd name="connsiteX284" fmla="*/ 1024730 w 1620550"/>
                  <a:gd name="connsiteY284" fmla="*/ 1138698 h 1421209"/>
                  <a:gd name="connsiteX285" fmla="*/ 1028074 w 1620550"/>
                  <a:gd name="connsiteY285" fmla="*/ 1135354 h 1421209"/>
                  <a:gd name="connsiteX286" fmla="*/ 1033089 w 1620550"/>
                  <a:gd name="connsiteY286" fmla="*/ 1128668 h 1421209"/>
                  <a:gd name="connsiteX287" fmla="*/ 1043119 w 1620550"/>
                  <a:gd name="connsiteY287" fmla="*/ 1116966 h 1421209"/>
                  <a:gd name="connsiteX288" fmla="*/ 1061507 w 1620550"/>
                  <a:gd name="connsiteY288" fmla="*/ 1111951 h 1421209"/>
                  <a:gd name="connsiteX289" fmla="*/ 1069865 w 1620550"/>
                  <a:gd name="connsiteY289" fmla="*/ 1108608 h 1421209"/>
                  <a:gd name="connsiteX290" fmla="*/ 1089925 w 1620550"/>
                  <a:gd name="connsiteY290" fmla="*/ 1105264 h 1421209"/>
                  <a:gd name="connsiteX291" fmla="*/ 1094940 w 1620550"/>
                  <a:gd name="connsiteY291" fmla="*/ 1101921 h 1421209"/>
                  <a:gd name="connsiteX292" fmla="*/ 1111657 w 1620550"/>
                  <a:gd name="connsiteY292" fmla="*/ 1098578 h 1421209"/>
                  <a:gd name="connsiteX293" fmla="*/ 1126702 w 1620550"/>
                  <a:gd name="connsiteY293" fmla="*/ 1090220 h 1421209"/>
                  <a:gd name="connsiteX294" fmla="*/ 1131717 w 1620550"/>
                  <a:gd name="connsiteY294" fmla="*/ 1086876 h 1421209"/>
                  <a:gd name="connsiteX295" fmla="*/ 1133388 w 1620550"/>
                  <a:gd name="connsiteY295" fmla="*/ 1078518 h 1421209"/>
                  <a:gd name="connsiteX296" fmla="*/ 1126702 w 1620550"/>
                  <a:gd name="connsiteY296" fmla="*/ 1070160 h 1421209"/>
                  <a:gd name="connsiteX297" fmla="*/ 1118343 w 1620550"/>
                  <a:gd name="connsiteY297" fmla="*/ 1065145 h 1421209"/>
                  <a:gd name="connsiteX298" fmla="*/ 1109985 w 1620550"/>
                  <a:gd name="connsiteY298" fmla="*/ 1056786 h 1421209"/>
                  <a:gd name="connsiteX299" fmla="*/ 1103298 w 1620550"/>
                  <a:gd name="connsiteY299" fmla="*/ 1048428 h 1421209"/>
                  <a:gd name="connsiteX300" fmla="*/ 1099955 w 1620550"/>
                  <a:gd name="connsiteY300" fmla="*/ 1043413 h 1421209"/>
                  <a:gd name="connsiteX301" fmla="*/ 1094940 w 1620550"/>
                  <a:gd name="connsiteY301" fmla="*/ 1040070 h 1421209"/>
                  <a:gd name="connsiteX302" fmla="*/ 1091597 w 1620550"/>
                  <a:gd name="connsiteY302" fmla="*/ 1033383 h 1421209"/>
                  <a:gd name="connsiteX303" fmla="*/ 1088253 w 1620550"/>
                  <a:gd name="connsiteY303" fmla="*/ 1030040 h 1421209"/>
                  <a:gd name="connsiteX304" fmla="*/ 1083238 w 1620550"/>
                  <a:gd name="connsiteY304" fmla="*/ 1018338 h 1421209"/>
                  <a:gd name="connsiteX305" fmla="*/ 1081567 w 1620550"/>
                  <a:gd name="connsiteY305" fmla="*/ 989920 h 1421209"/>
                  <a:gd name="connsiteX306" fmla="*/ 1079895 w 1620550"/>
                  <a:gd name="connsiteY306" fmla="*/ 984905 h 1421209"/>
                  <a:gd name="connsiteX307" fmla="*/ 1074880 w 1620550"/>
                  <a:gd name="connsiteY307" fmla="*/ 979890 h 1421209"/>
                  <a:gd name="connsiteX308" fmla="*/ 1069865 w 1620550"/>
                  <a:gd name="connsiteY308" fmla="*/ 964845 h 1421209"/>
                  <a:gd name="connsiteX309" fmla="*/ 1074880 w 1620550"/>
                  <a:gd name="connsiteY309" fmla="*/ 929740 h 1421209"/>
                  <a:gd name="connsiteX310" fmla="*/ 1084910 w 1620550"/>
                  <a:gd name="connsiteY310" fmla="*/ 919710 h 1421209"/>
                  <a:gd name="connsiteX311" fmla="*/ 1091597 w 1620550"/>
                  <a:gd name="connsiteY311" fmla="*/ 911352 h 1421209"/>
                  <a:gd name="connsiteX312" fmla="*/ 1098283 w 1620550"/>
                  <a:gd name="connsiteY312" fmla="*/ 906337 h 1421209"/>
                  <a:gd name="connsiteX313" fmla="*/ 1111657 w 1620550"/>
                  <a:gd name="connsiteY313" fmla="*/ 892963 h 1421209"/>
                  <a:gd name="connsiteX314" fmla="*/ 1116672 w 1620550"/>
                  <a:gd name="connsiteY314" fmla="*/ 887948 h 1421209"/>
                  <a:gd name="connsiteX315" fmla="*/ 1121687 w 1620550"/>
                  <a:gd name="connsiteY315" fmla="*/ 881262 h 1421209"/>
                  <a:gd name="connsiteX316" fmla="*/ 1125030 w 1620550"/>
                  <a:gd name="connsiteY316" fmla="*/ 877918 h 1421209"/>
                  <a:gd name="connsiteX317" fmla="*/ 1131717 w 1620550"/>
                  <a:gd name="connsiteY317" fmla="*/ 869560 h 1421209"/>
                  <a:gd name="connsiteX318" fmla="*/ 1136732 w 1620550"/>
                  <a:gd name="connsiteY318" fmla="*/ 864545 h 1421209"/>
                  <a:gd name="connsiteX319" fmla="*/ 1145090 w 1620550"/>
                  <a:gd name="connsiteY319" fmla="*/ 849500 h 1421209"/>
                  <a:gd name="connsiteX320" fmla="*/ 1150105 w 1620550"/>
                  <a:gd name="connsiteY320" fmla="*/ 841142 h 1421209"/>
                  <a:gd name="connsiteX321" fmla="*/ 1153448 w 1620550"/>
                  <a:gd name="connsiteY321" fmla="*/ 831112 h 1421209"/>
                  <a:gd name="connsiteX322" fmla="*/ 1156792 w 1620550"/>
                  <a:gd name="connsiteY322" fmla="*/ 827768 h 1421209"/>
                  <a:gd name="connsiteX323" fmla="*/ 1160135 w 1620550"/>
                  <a:gd name="connsiteY323" fmla="*/ 822753 h 1421209"/>
                  <a:gd name="connsiteX324" fmla="*/ 1173508 w 1620550"/>
                  <a:gd name="connsiteY324" fmla="*/ 814395 h 1421209"/>
                  <a:gd name="connsiteX325" fmla="*/ 1181867 w 1620550"/>
                  <a:gd name="connsiteY325" fmla="*/ 806037 h 1421209"/>
                  <a:gd name="connsiteX326" fmla="*/ 1185210 w 1620550"/>
                  <a:gd name="connsiteY326" fmla="*/ 799350 h 1421209"/>
                  <a:gd name="connsiteX327" fmla="*/ 1205270 w 1620550"/>
                  <a:gd name="connsiteY327" fmla="*/ 785977 h 1421209"/>
                  <a:gd name="connsiteX328" fmla="*/ 1213628 w 1620550"/>
                  <a:gd name="connsiteY328" fmla="*/ 779290 h 1421209"/>
                  <a:gd name="connsiteX329" fmla="*/ 1225330 w 1620550"/>
                  <a:gd name="connsiteY329" fmla="*/ 770932 h 1421209"/>
                  <a:gd name="connsiteX330" fmla="*/ 1228673 w 1620550"/>
                  <a:gd name="connsiteY330" fmla="*/ 765917 h 1421209"/>
                  <a:gd name="connsiteX331" fmla="*/ 1243718 w 1620550"/>
                  <a:gd name="connsiteY331" fmla="*/ 764245 h 1421209"/>
                  <a:gd name="connsiteX332" fmla="*/ 1250405 w 1620550"/>
                  <a:gd name="connsiteY332" fmla="*/ 762573 h 1421209"/>
                  <a:gd name="connsiteX333" fmla="*/ 1255420 w 1620550"/>
                  <a:gd name="connsiteY333" fmla="*/ 757558 h 1421209"/>
                  <a:gd name="connsiteX334" fmla="*/ 1263778 w 1620550"/>
                  <a:gd name="connsiteY334" fmla="*/ 752543 h 1421209"/>
                  <a:gd name="connsiteX335" fmla="*/ 1260435 w 1620550"/>
                  <a:gd name="connsiteY335" fmla="*/ 735827 h 1421209"/>
                  <a:gd name="connsiteX336" fmla="*/ 1257091 w 1620550"/>
                  <a:gd name="connsiteY336" fmla="*/ 732484 h 1421209"/>
                  <a:gd name="connsiteX337" fmla="*/ 1255420 w 1620550"/>
                  <a:gd name="connsiteY337" fmla="*/ 727469 h 1421209"/>
                  <a:gd name="connsiteX338" fmla="*/ 1262106 w 1620550"/>
                  <a:gd name="connsiteY338" fmla="*/ 710752 h 1421209"/>
                  <a:gd name="connsiteX339" fmla="*/ 1272136 w 1620550"/>
                  <a:gd name="connsiteY339" fmla="*/ 705737 h 1421209"/>
                  <a:gd name="connsiteX340" fmla="*/ 1280495 w 1620550"/>
                  <a:gd name="connsiteY340" fmla="*/ 700722 h 1421209"/>
                  <a:gd name="connsiteX341" fmla="*/ 1287181 w 1620550"/>
                  <a:gd name="connsiteY341" fmla="*/ 697379 h 1421209"/>
                  <a:gd name="connsiteX342" fmla="*/ 1292196 w 1620550"/>
                  <a:gd name="connsiteY342" fmla="*/ 694035 h 1421209"/>
                  <a:gd name="connsiteX343" fmla="*/ 1298883 w 1620550"/>
                  <a:gd name="connsiteY343" fmla="*/ 692364 h 1421209"/>
                  <a:gd name="connsiteX344" fmla="*/ 1308913 w 1620550"/>
                  <a:gd name="connsiteY344" fmla="*/ 687349 h 1421209"/>
                  <a:gd name="connsiteX345" fmla="*/ 1323958 w 1620550"/>
                  <a:gd name="connsiteY345" fmla="*/ 682334 h 1421209"/>
                  <a:gd name="connsiteX346" fmla="*/ 1330645 w 1620550"/>
                  <a:gd name="connsiteY346" fmla="*/ 678990 h 1421209"/>
                  <a:gd name="connsiteX347" fmla="*/ 1355720 w 1620550"/>
                  <a:gd name="connsiteY347" fmla="*/ 675647 h 1421209"/>
                  <a:gd name="connsiteX348" fmla="*/ 1359063 w 1620550"/>
                  <a:gd name="connsiteY348" fmla="*/ 670632 h 1421209"/>
                  <a:gd name="connsiteX349" fmla="*/ 1372436 w 1620550"/>
                  <a:gd name="connsiteY349" fmla="*/ 667289 h 1421209"/>
                  <a:gd name="connsiteX350" fmla="*/ 1449333 w 1620550"/>
                  <a:gd name="connsiteY350" fmla="*/ 663945 h 1421209"/>
                  <a:gd name="connsiteX351" fmla="*/ 1464378 w 1620550"/>
                  <a:gd name="connsiteY351" fmla="*/ 645557 h 1421209"/>
                  <a:gd name="connsiteX352" fmla="*/ 1474408 w 1620550"/>
                  <a:gd name="connsiteY352" fmla="*/ 635527 h 1421209"/>
                  <a:gd name="connsiteX353" fmla="*/ 1487781 w 1620550"/>
                  <a:gd name="connsiteY353" fmla="*/ 625497 h 1421209"/>
                  <a:gd name="connsiteX354" fmla="*/ 1494468 w 1620550"/>
                  <a:gd name="connsiteY354" fmla="*/ 623825 h 1421209"/>
                  <a:gd name="connsiteX355" fmla="*/ 1509513 w 1620550"/>
                  <a:gd name="connsiteY355" fmla="*/ 620482 h 1421209"/>
                  <a:gd name="connsiteX356" fmla="*/ 1517871 w 1620550"/>
                  <a:gd name="connsiteY356" fmla="*/ 617139 h 1421209"/>
                  <a:gd name="connsiteX357" fmla="*/ 1524558 w 1620550"/>
                  <a:gd name="connsiteY357" fmla="*/ 613795 h 1421209"/>
                  <a:gd name="connsiteX358" fmla="*/ 1539603 w 1620550"/>
                  <a:gd name="connsiteY358" fmla="*/ 612124 h 1421209"/>
                  <a:gd name="connsiteX359" fmla="*/ 1557991 w 1620550"/>
                  <a:gd name="connsiteY359" fmla="*/ 602094 h 1421209"/>
                  <a:gd name="connsiteX360" fmla="*/ 1573036 w 1620550"/>
                  <a:gd name="connsiteY360" fmla="*/ 597079 h 1421209"/>
                  <a:gd name="connsiteX361" fmla="*/ 1576379 w 1620550"/>
                  <a:gd name="connsiteY361" fmla="*/ 592064 h 1421209"/>
                  <a:gd name="connsiteX362" fmla="*/ 1588081 w 1620550"/>
                  <a:gd name="connsiteY362" fmla="*/ 587049 h 1421209"/>
                  <a:gd name="connsiteX363" fmla="*/ 1591424 w 1620550"/>
                  <a:gd name="connsiteY363" fmla="*/ 583705 h 1421209"/>
                  <a:gd name="connsiteX364" fmla="*/ 1598111 w 1620550"/>
                  <a:gd name="connsiteY364" fmla="*/ 580362 h 1421209"/>
                  <a:gd name="connsiteX365" fmla="*/ 1608141 w 1620550"/>
                  <a:gd name="connsiteY365" fmla="*/ 572004 h 1421209"/>
                  <a:gd name="connsiteX366" fmla="*/ 1614828 w 1620550"/>
                  <a:gd name="connsiteY366" fmla="*/ 560302 h 1421209"/>
                  <a:gd name="connsiteX367" fmla="*/ 1608141 w 1620550"/>
                  <a:gd name="connsiteY367" fmla="*/ 546929 h 1421209"/>
                  <a:gd name="connsiteX368" fmla="*/ 1599783 w 1620550"/>
                  <a:gd name="connsiteY368" fmla="*/ 535227 h 1421209"/>
                  <a:gd name="connsiteX369" fmla="*/ 1598111 w 1620550"/>
                  <a:gd name="connsiteY369" fmla="*/ 530212 h 1421209"/>
                  <a:gd name="connsiteX370" fmla="*/ 1596439 w 1620550"/>
                  <a:gd name="connsiteY370" fmla="*/ 518511 h 1421209"/>
                  <a:gd name="connsiteX371" fmla="*/ 1601454 w 1620550"/>
                  <a:gd name="connsiteY371" fmla="*/ 516839 h 1421209"/>
                  <a:gd name="connsiteX372" fmla="*/ 1604798 w 1620550"/>
                  <a:gd name="connsiteY372" fmla="*/ 513496 h 1421209"/>
                  <a:gd name="connsiteX373" fmla="*/ 1616499 w 1620550"/>
                  <a:gd name="connsiteY373" fmla="*/ 510152 h 1421209"/>
                  <a:gd name="connsiteX374" fmla="*/ 1618171 w 1620550"/>
                  <a:gd name="connsiteY374" fmla="*/ 495107 h 1421209"/>
                  <a:gd name="connsiteX375" fmla="*/ 1613156 w 1620550"/>
                  <a:gd name="connsiteY375" fmla="*/ 491764 h 1421209"/>
                  <a:gd name="connsiteX376" fmla="*/ 1611484 w 1620550"/>
                  <a:gd name="connsiteY376" fmla="*/ 486749 h 1421209"/>
                  <a:gd name="connsiteX377" fmla="*/ 1608141 w 1620550"/>
                  <a:gd name="connsiteY377" fmla="*/ 481734 h 1421209"/>
                  <a:gd name="connsiteX378" fmla="*/ 1606469 w 1620550"/>
                  <a:gd name="connsiteY378" fmla="*/ 473376 h 1421209"/>
                  <a:gd name="connsiteX379" fmla="*/ 1604798 w 1620550"/>
                  <a:gd name="connsiteY379" fmla="*/ 468361 h 1421209"/>
                  <a:gd name="connsiteX380" fmla="*/ 1599783 w 1620550"/>
                  <a:gd name="connsiteY380" fmla="*/ 466689 h 1421209"/>
                  <a:gd name="connsiteX381" fmla="*/ 1586409 w 1620550"/>
                  <a:gd name="connsiteY381" fmla="*/ 461674 h 1421209"/>
                  <a:gd name="connsiteX382" fmla="*/ 1561334 w 1620550"/>
                  <a:gd name="connsiteY382" fmla="*/ 463346 h 1421209"/>
                  <a:gd name="connsiteX383" fmla="*/ 1547961 w 1620550"/>
                  <a:gd name="connsiteY383" fmla="*/ 465017 h 1421209"/>
                  <a:gd name="connsiteX384" fmla="*/ 1539603 w 1620550"/>
                  <a:gd name="connsiteY384" fmla="*/ 470032 h 1421209"/>
                  <a:gd name="connsiteX385" fmla="*/ 1529573 w 1620550"/>
                  <a:gd name="connsiteY385" fmla="*/ 485077 h 1421209"/>
                  <a:gd name="connsiteX386" fmla="*/ 1524558 w 1620550"/>
                  <a:gd name="connsiteY386" fmla="*/ 486749 h 1421209"/>
                  <a:gd name="connsiteX387" fmla="*/ 1504498 w 1620550"/>
                  <a:gd name="connsiteY387" fmla="*/ 480062 h 1421209"/>
                  <a:gd name="connsiteX388" fmla="*/ 1489453 w 1620550"/>
                  <a:gd name="connsiteY388" fmla="*/ 468361 h 1421209"/>
                  <a:gd name="connsiteX389" fmla="*/ 1474408 w 1620550"/>
                  <a:gd name="connsiteY389" fmla="*/ 466689 h 1421209"/>
                  <a:gd name="connsiteX390" fmla="*/ 1462706 w 1620550"/>
                  <a:gd name="connsiteY390" fmla="*/ 468361 h 1421209"/>
                  <a:gd name="connsiteX391" fmla="*/ 1452676 w 1620550"/>
                  <a:gd name="connsiteY391" fmla="*/ 471704 h 1421209"/>
                  <a:gd name="connsiteX392" fmla="*/ 1442646 w 1620550"/>
                  <a:gd name="connsiteY392" fmla="*/ 470032 h 1421209"/>
                  <a:gd name="connsiteX393" fmla="*/ 1435959 w 1620550"/>
                  <a:gd name="connsiteY393" fmla="*/ 463346 h 1421209"/>
                  <a:gd name="connsiteX394" fmla="*/ 1432616 w 1620550"/>
                  <a:gd name="connsiteY394" fmla="*/ 458331 h 1421209"/>
                  <a:gd name="connsiteX395" fmla="*/ 1427601 w 1620550"/>
                  <a:gd name="connsiteY395" fmla="*/ 454987 h 1421209"/>
                  <a:gd name="connsiteX396" fmla="*/ 1422586 w 1620550"/>
                  <a:gd name="connsiteY396" fmla="*/ 448301 h 1421209"/>
                  <a:gd name="connsiteX397" fmla="*/ 1412556 w 1620550"/>
                  <a:gd name="connsiteY397" fmla="*/ 439942 h 1421209"/>
                  <a:gd name="connsiteX398" fmla="*/ 1404198 w 1620550"/>
                  <a:gd name="connsiteY398" fmla="*/ 446629 h 1421209"/>
                  <a:gd name="connsiteX399" fmla="*/ 1390825 w 1620550"/>
                  <a:gd name="connsiteY399" fmla="*/ 453316 h 1421209"/>
                  <a:gd name="connsiteX400" fmla="*/ 1387481 w 1620550"/>
                  <a:gd name="connsiteY400" fmla="*/ 438271 h 1421209"/>
                  <a:gd name="connsiteX401" fmla="*/ 1385810 w 1620550"/>
                  <a:gd name="connsiteY401" fmla="*/ 433256 h 1421209"/>
                  <a:gd name="connsiteX402" fmla="*/ 1384138 w 1620550"/>
                  <a:gd name="connsiteY402" fmla="*/ 411524 h 1421209"/>
                  <a:gd name="connsiteX403" fmla="*/ 1379123 w 1620550"/>
                  <a:gd name="connsiteY403" fmla="*/ 408181 h 1421209"/>
                  <a:gd name="connsiteX404" fmla="*/ 1370765 w 1620550"/>
                  <a:gd name="connsiteY404" fmla="*/ 406509 h 1421209"/>
                  <a:gd name="connsiteX405" fmla="*/ 1364078 w 1620550"/>
                  <a:gd name="connsiteY405" fmla="*/ 404837 h 1421209"/>
                  <a:gd name="connsiteX406" fmla="*/ 1340675 w 1620550"/>
                  <a:gd name="connsiteY406" fmla="*/ 394807 h 1421209"/>
                  <a:gd name="connsiteX407" fmla="*/ 1327301 w 1620550"/>
                  <a:gd name="connsiteY407" fmla="*/ 384777 h 1421209"/>
                  <a:gd name="connsiteX408" fmla="*/ 1320615 w 1620550"/>
                  <a:gd name="connsiteY408" fmla="*/ 379762 h 1421209"/>
                  <a:gd name="connsiteX409" fmla="*/ 1310585 w 1620550"/>
                  <a:gd name="connsiteY409" fmla="*/ 373076 h 1421209"/>
                  <a:gd name="connsiteX410" fmla="*/ 1305570 w 1620550"/>
                  <a:gd name="connsiteY410" fmla="*/ 369732 h 1421209"/>
                  <a:gd name="connsiteX411" fmla="*/ 1297211 w 1620550"/>
                  <a:gd name="connsiteY411" fmla="*/ 368061 h 1421209"/>
                  <a:gd name="connsiteX412" fmla="*/ 1290525 w 1620550"/>
                  <a:gd name="connsiteY412" fmla="*/ 369732 h 1421209"/>
                  <a:gd name="connsiteX413" fmla="*/ 1282166 w 1620550"/>
                  <a:gd name="connsiteY413" fmla="*/ 398151 h 1421209"/>
                  <a:gd name="connsiteX414" fmla="*/ 1272136 w 1620550"/>
                  <a:gd name="connsiteY414" fmla="*/ 394807 h 1421209"/>
                  <a:gd name="connsiteX415" fmla="*/ 1267121 w 1620550"/>
                  <a:gd name="connsiteY415" fmla="*/ 391464 h 1421209"/>
                  <a:gd name="connsiteX416" fmla="*/ 1255420 w 1620550"/>
                  <a:gd name="connsiteY416" fmla="*/ 388121 h 1421209"/>
                  <a:gd name="connsiteX417" fmla="*/ 1220315 w 1620550"/>
                  <a:gd name="connsiteY417" fmla="*/ 386449 h 1421209"/>
                  <a:gd name="connsiteX418" fmla="*/ 1218643 w 1620550"/>
                  <a:gd name="connsiteY418" fmla="*/ 381434 h 1421209"/>
                  <a:gd name="connsiteX419" fmla="*/ 1211957 w 1620550"/>
                  <a:gd name="connsiteY419" fmla="*/ 379762 h 1421209"/>
                  <a:gd name="connsiteX420" fmla="*/ 1175180 w 1620550"/>
                  <a:gd name="connsiteY420" fmla="*/ 378091 h 1421209"/>
                  <a:gd name="connsiteX421" fmla="*/ 1173508 w 1620550"/>
                  <a:gd name="connsiteY421" fmla="*/ 373076 h 1421209"/>
                  <a:gd name="connsiteX422" fmla="*/ 1171837 w 1620550"/>
                  <a:gd name="connsiteY422" fmla="*/ 366389 h 1421209"/>
                  <a:gd name="connsiteX423" fmla="*/ 1163478 w 1620550"/>
                  <a:gd name="connsiteY423" fmla="*/ 361374 h 1421209"/>
                  <a:gd name="connsiteX424" fmla="*/ 1128373 w 1620550"/>
                  <a:gd name="connsiteY424" fmla="*/ 359703 h 1421209"/>
                  <a:gd name="connsiteX425" fmla="*/ 1120015 w 1620550"/>
                  <a:gd name="connsiteY425" fmla="*/ 356359 h 1421209"/>
                  <a:gd name="connsiteX426" fmla="*/ 1113328 w 1620550"/>
                  <a:gd name="connsiteY426" fmla="*/ 346329 h 1421209"/>
                  <a:gd name="connsiteX427" fmla="*/ 1108313 w 1620550"/>
                  <a:gd name="connsiteY427" fmla="*/ 339643 h 1421209"/>
                  <a:gd name="connsiteX428" fmla="*/ 1104970 w 1620550"/>
                  <a:gd name="connsiteY428" fmla="*/ 334628 h 1421209"/>
                  <a:gd name="connsiteX429" fmla="*/ 1098283 w 1620550"/>
                  <a:gd name="connsiteY429" fmla="*/ 327941 h 1421209"/>
                  <a:gd name="connsiteX430" fmla="*/ 1096612 w 1620550"/>
                  <a:gd name="connsiteY430" fmla="*/ 322926 h 1421209"/>
                  <a:gd name="connsiteX431" fmla="*/ 1091597 w 1620550"/>
                  <a:gd name="connsiteY431" fmla="*/ 321254 h 1421209"/>
                  <a:gd name="connsiteX432" fmla="*/ 1084910 w 1620550"/>
                  <a:gd name="connsiteY432" fmla="*/ 317911 h 1421209"/>
                  <a:gd name="connsiteX433" fmla="*/ 1064850 w 1620550"/>
                  <a:gd name="connsiteY433" fmla="*/ 314568 h 1421209"/>
                  <a:gd name="connsiteX434" fmla="*/ 1058164 w 1620550"/>
                  <a:gd name="connsiteY434" fmla="*/ 311224 h 1421209"/>
                  <a:gd name="connsiteX435" fmla="*/ 1054820 w 1620550"/>
                  <a:gd name="connsiteY435" fmla="*/ 307881 h 1421209"/>
                  <a:gd name="connsiteX436" fmla="*/ 1049805 w 1620550"/>
                  <a:gd name="connsiteY436" fmla="*/ 304538 h 1421209"/>
                  <a:gd name="connsiteX437" fmla="*/ 1046462 w 1620550"/>
                  <a:gd name="connsiteY437" fmla="*/ 301194 h 1421209"/>
                  <a:gd name="connsiteX438" fmla="*/ 1039775 w 1620550"/>
                  <a:gd name="connsiteY438" fmla="*/ 299523 h 1421209"/>
                  <a:gd name="connsiteX439" fmla="*/ 1029745 w 1620550"/>
                  <a:gd name="connsiteY439" fmla="*/ 296179 h 1421209"/>
                  <a:gd name="connsiteX440" fmla="*/ 1016372 w 1620550"/>
                  <a:gd name="connsiteY440" fmla="*/ 287821 h 1421209"/>
                  <a:gd name="connsiteX441" fmla="*/ 1013029 w 1620550"/>
                  <a:gd name="connsiteY441" fmla="*/ 282806 h 1421209"/>
                  <a:gd name="connsiteX442" fmla="*/ 1014700 w 1620550"/>
                  <a:gd name="connsiteY442" fmla="*/ 276119 h 1421209"/>
                  <a:gd name="connsiteX443" fmla="*/ 1016372 w 1620550"/>
                  <a:gd name="connsiteY443" fmla="*/ 271104 h 1421209"/>
                  <a:gd name="connsiteX444" fmla="*/ 1029745 w 1620550"/>
                  <a:gd name="connsiteY444" fmla="*/ 264418 h 1421209"/>
                  <a:gd name="connsiteX445" fmla="*/ 1031417 w 1620550"/>
                  <a:gd name="connsiteY445" fmla="*/ 257731 h 1421209"/>
                  <a:gd name="connsiteX446" fmla="*/ 1024730 w 1620550"/>
                  <a:gd name="connsiteY446" fmla="*/ 256059 h 1421209"/>
                  <a:gd name="connsiteX447" fmla="*/ 1016372 w 1620550"/>
                  <a:gd name="connsiteY447" fmla="*/ 251044 h 1421209"/>
                  <a:gd name="connsiteX448" fmla="*/ 1008014 w 1620550"/>
                  <a:gd name="connsiteY448" fmla="*/ 247701 h 1421209"/>
                  <a:gd name="connsiteX449" fmla="*/ 1002999 w 1620550"/>
                  <a:gd name="connsiteY449" fmla="*/ 244358 h 1421209"/>
                  <a:gd name="connsiteX450" fmla="*/ 997984 w 1620550"/>
                  <a:gd name="connsiteY450" fmla="*/ 242686 h 1421209"/>
                  <a:gd name="connsiteX451" fmla="*/ 989625 w 1620550"/>
                  <a:gd name="connsiteY451" fmla="*/ 235999 h 1421209"/>
                  <a:gd name="connsiteX452" fmla="*/ 984610 w 1620550"/>
                  <a:gd name="connsiteY452" fmla="*/ 234328 h 1421209"/>
                  <a:gd name="connsiteX453" fmla="*/ 966222 w 1620550"/>
                  <a:gd name="connsiteY453" fmla="*/ 227641 h 1421209"/>
                  <a:gd name="connsiteX454" fmla="*/ 944490 w 1620550"/>
                  <a:gd name="connsiteY454" fmla="*/ 229313 h 1421209"/>
                  <a:gd name="connsiteX455" fmla="*/ 902699 w 1620550"/>
                  <a:gd name="connsiteY455" fmla="*/ 227641 h 1421209"/>
                  <a:gd name="connsiteX456" fmla="*/ 897684 w 1620550"/>
                  <a:gd name="connsiteY456" fmla="*/ 225969 h 1421209"/>
                  <a:gd name="connsiteX457" fmla="*/ 885982 w 1620550"/>
                  <a:gd name="connsiteY457" fmla="*/ 215939 h 1421209"/>
                  <a:gd name="connsiteX458" fmla="*/ 874281 w 1620550"/>
                  <a:gd name="connsiteY458" fmla="*/ 207581 h 1421209"/>
                  <a:gd name="connsiteX459" fmla="*/ 869266 w 1620550"/>
                  <a:gd name="connsiteY459" fmla="*/ 204238 h 1421209"/>
                  <a:gd name="connsiteX460" fmla="*/ 860907 w 1620550"/>
                  <a:gd name="connsiteY460" fmla="*/ 197551 h 1421209"/>
                  <a:gd name="connsiteX461" fmla="*/ 854221 w 1620550"/>
                  <a:gd name="connsiteY461" fmla="*/ 195879 h 1421209"/>
                  <a:gd name="connsiteX462" fmla="*/ 842519 w 1620550"/>
                  <a:gd name="connsiteY462" fmla="*/ 192536 h 1421209"/>
                  <a:gd name="connsiteX463" fmla="*/ 815772 w 1620550"/>
                  <a:gd name="connsiteY463" fmla="*/ 194208 h 1421209"/>
                  <a:gd name="connsiteX464" fmla="*/ 805742 w 1620550"/>
                  <a:gd name="connsiteY464" fmla="*/ 195879 h 1421209"/>
                  <a:gd name="connsiteX465" fmla="*/ 789026 w 1620550"/>
                  <a:gd name="connsiteY465" fmla="*/ 197551 h 1421209"/>
                  <a:gd name="connsiteX466" fmla="*/ 782339 w 1620550"/>
                  <a:gd name="connsiteY466" fmla="*/ 194208 h 1421209"/>
                  <a:gd name="connsiteX467" fmla="*/ 780667 w 1620550"/>
                  <a:gd name="connsiteY467" fmla="*/ 189193 h 1421209"/>
                  <a:gd name="connsiteX468" fmla="*/ 775652 w 1620550"/>
                  <a:gd name="connsiteY468" fmla="*/ 175820 h 1421209"/>
                  <a:gd name="connsiteX469" fmla="*/ 768966 w 1620550"/>
                  <a:gd name="connsiteY469" fmla="*/ 170805 h 1421209"/>
                  <a:gd name="connsiteX470" fmla="*/ 765622 w 1620550"/>
                  <a:gd name="connsiteY470" fmla="*/ 167461 h 1421209"/>
                  <a:gd name="connsiteX471" fmla="*/ 753921 w 1620550"/>
                  <a:gd name="connsiteY471" fmla="*/ 162446 h 1421209"/>
                  <a:gd name="connsiteX472" fmla="*/ 735532 w 1620550"/>
                  <a:gd name="connsiteY472" fmla="*/ 164118 h 1421209"/>
                  <a:gd name="connsiteX473" fmla="*/ 722159 w 1620550"/>
                  <a:gd name="connsiteY473" fmla="*/ 170805 h 1421209"/>
                  <a:gd name="connsiteX474" fmla="*/ 720487 w 1620550"/>
                  <a:gd name="connsiteY474" fmla="*/ 165790 h 1421209"/>
                  <a:gd name="connsiteX475" fmla="*/ 715472 w 1620550"/>
                  <a:gd name="connsiteY475" fmla="*/ 164118 h 1421209"/>
                  <a:gd name="connsiteX476" fmla="*/ 693741 w 1620550"/>
                  <a:gd name="connsiteY476" fmla="*/ 165790 h 1421209"/>
                  <a:gd name="connsiteX477" fmla="*/ 683711 w 1620550"/>
                  <a:gd name="connsiteY477" fmla="*/ 169133 h 1421209"/>
                  <a:gd name="connsiteX478" fmla="*/ 678696 w 1620550"/>
                  <a:gd name="connsiteY478" fmla="*/ 170805 h 1421209"/>
                  <a:gd name="connsiteX479" fmla="*/ 631889 w 1620550"/>
                  <a:gd name="connsiteY479" fmla="*/ 167461 h 1421209"/>
                  <a:gd name="connsiteX480" fmla="*/ 620188 w 1620550"/>
                  <a:gd name="connsiteY480" fmla="*/ 164118 h 1421209"/>
                  <a:gd name="connsiteX481" fmla="*/ 610158 w 1620550"/>
                  <a:gd name="connsiteY481" fmla="*/ 159103 h 1421209"/>
                  <a:gd name="connsiteX482" fmla="*/ 603471 w 1620550"/>
                  <a:gd name="connsiteY482" fmla="*/ 157431 h 1421209"/>
                  <a:gd name="connsiteX483" fmla="*/ 598456 w 1620550"/>
                  <a:gd name="connsiteY483" fmla="*/ 155760 h 1421209"/>
                  <a:gd name="connsiteX484" fmla="*/ 593441 w 1620550"/>
                  <a:gd name="connsiteY484" fmla="*/ 152416 h 1421209"/>
                  <a:gd name="connsiteX485" fmla="*/ 570038 w 1620550"/>
                  <a:gd name="connsiteY485" fmla="*/ 147401 h 1421209"/>
                  <a:gd name="connsiteX486" fmla="*/ 561679 w 1620550"/>
                  <a:gd name="connsiteY486" fmla="*/ 140715 h 1421209"/>
                  <a:gd name="connsiteX487" fmla="*/ 556664 w 1620550"/>
                  <a:gd name="connsiteY487" fmla="*/ 137371 h 1421209"/>
                  <a:gd name="connsiteX488" fmla="*/ 541619 w 1620550"/>
                  <a:gd name="connsiteY488" fmla="*/ 127341 h 1421209"/>
                  <a:gd name="connsiteX489" fmla="*/ 529918 w 1620550"/>
                  <a:gd name="connsiteY489" fmla="*/ 120655 h 1421209"/>
                  <a:gd name="connsiteX490" fmla="*/ 518216 w 1620550"/>
                  <a:gd name="connsiteY490" fmla="*/ 113968 h 1421209"/>
                  <a:gd name="connsiteX491" fmla="*/ 511530 w 1620550"/>
                  <a:gd name="connsiteY491" fmla="*/ 110625 h 1421209"/>
                  <a:gd name="connsiteX492" fmla="*/ 493141 w 1620550"/>
                  <a:gd name="connsiteY492" fmla="*/ 107281 h 1421209"/>
                  <a:gd name="connsiteX493" fmla="*/ 484783 w 1620550"/>
                  <a:gd name="connsiteY493" fmla="*/ 105610 h 1421209"/>
                  <a:gd name="connsiteX494" fmla="*/ 478096 w 1620550"/>
                  <a:gd name="connsiteY494" fmla="*/ 100595 h 1421209"/>
                  <a:gd name="connsiteX495" fmla="*/ 474753 w 1620550"/>
                  <a:gd name="connsiteY495" fmla="*/ 90565 h 1421209"/>
                  <a:gd name="connsiteX496" fmla="*/ 471410 w 1620550"/>
                  <a:gd name="connsiteY496" fmla="*/ 87221 h 1421209"/>
                  <a:gd name="connsiteX497" fmla="*/ 397856 w 1620550"/>
                  <a:gd name="connsiteY497" fmla="*/ 85550 h 1421209"/>
                  <a:gd name="connsiteX498" fmla="*/ 386155 w 1620550"/>
                  <a:gd name="connsiteY498" fmla="*/ 78863 h 1421209"/>
                  <a:gd name="connsiteX499" fmla="*/ 374453 w 1620550"/>
                  <a:gd name="connsiteY499" fmla="*/ 77191 h 1421209"/>
                  <a:gd name="connsiteX500" fmla="*/ 356065 w 1620550"/>
                  <a:gd name="connsiteY500" fmla="*/ 72176 h 1421209"/>
                  <a:gd name="connsiteX501" fmla="*/ 349378 w 1620550"/>
                  <a:gd name="connsiteY501" fmla="*/ 70505 h 1421209"/>
                  <a:gd name="connsiteX502" fmla="*/ 339348 w 1620550"/>
                  <a:gd name="connsiteY502" fmla="*/ 65490 h 1421209"/>
                  <a:gd name="connsiteX503" fmla="*/ 322632 w 1620550"/>
                  <a:gd name="connsiteY503" fmla="*/ 60475 h 1421209"/>
                  <a:gd name="connsiteX504" fmla="*/ 312602 w 1620550"/>
                  <a:gd name="connsiteY504" fmla="*/ 65490 h 1421209"/>
                  <a:gd name="connsiteX505" fmla="*/ 307587 w 1620550"/>
                  <a:gd name="connsiteY505" fmla="*/ 67161 h 1421209"/>
                  <a:gd name="connsiteX506" fmla="*/ 299228 w 1620550"/>
                  <a:gd name="connsiteY506" fmla="*/ 70505 h 1421209"/>
                  <a:gd name="connsiteX507" fmla="*/ 295885 w 1620550"/>
                  <a:gd name="connsiteY507" fmla="*/ 65490 h 1421209"/>
                  <a:gd name="connsiteX508" fmla="*/ 282512 w 1620550"/>
                  <a:gd name="connsiteY508" fmla="*/ 55460 h 1421209"/>
                  <a:gd name="connsiteX509" fmla="*/ 277497 w 1620550"/>
                  <a:gd name="connsiteY509" fmla="*/ 53788 h 1421209"/>
                  <a:gd name="connsiteX510" fmla="*/ 269138 w 1620550"/>
                  <a:gd name="connsiteY510" fmla="*/ 42086 h 1421209"/>
                  <a:gd name="connsiteX511" fmla="*/ 267467 w 1620550"/>
                  <a:gd name="connsiteY511" fmla="*/ 33728 h 1421209"/>
                  <a:gd name="connsiteX512" fmla="*/ 262452 w 1620550"/>
                  <a:gd name="connsiteY512" fmla="*/ 28713 h 1421209"/>
                  <a:gd name="connsiteX513" fmla="*/ 252422 w 1620550"/>
                  <a:gd name="connsiteY513" fmla="*/ 25370 h 1421209"/>
                  <a:gd name="connsiteX514" fmla="*/ 239048 w 1620550"/>
                  <a:gd name="connsiteY514" fmla="*/ 15340 h 1421209"/>
                  <a:gd name="connsiteX515" fmla="*/ 234033 w 1620550"/>
                  <a:gd name="connsiteY515" fmla="*/ 10325 h 1421209"/>
                  <a:gd name="connsiteX516" fmla="*/ 220660 w 1620550"/>
                  <a:gd name="connsiteY516" fmla="*/ 5310 h 1421209"/>
                  <a:gd name="connsiteX517" fmla="*/ 215645 w 1620550"/>
                  <a:gd name="connsiteY517" fmla="*/ 1967 h 1421209"/>
                  <a:gd name="connsiteX518" fmla="*/ 192242 w 1620550"/>
                  <a:gd name="connsiteY518" fmla="*/ 1967 h 1421209"/>
                  <a:gd name="connsiteX519" fmla="*/ 198928 w 1620550"/>
                  <a:gd name="connsiteY519" fmla="*/ 5310 h 1421209"/>
                  <a:gd name="connsiteX0" fmla="*/ 198928 w 1620550"/>
                  <a:gd name="connsiteY0" fmla="*/ 5310 h 1421209"/>
                  <a:gd name="connsiteX1" fmla="*/ 177197 w 1620550"/>
                  <a:gd name="connsiteY1" fmla="*/ 10325 h 1421209"/>
                  <a:gd name="connsiteX2" fmla="*/ 175525 w 1620550"/>
                  <a:gd name="connsiteY2" fmla="*/ 15340 h 1421209"/>
                  <a:gd name="connsiteX3" fmla="*/ 177197 w 1620550"/>
                  <a:gd name="connsiteY3" fmla="*/ 20355 h 1421209"/>
                  <a:gd name="connsiteX4" fmla="*/ 172182 w 1620550"/>
                  <a:gd name="connsiteY4" fmla="*/ 23698 h 1421209"/>
                  <a:gd name="connsiteX5" fmla="*/ 152122 w 1620550"/>
                  <a:gd name="connsiteY5" fmla="*/ 25370 h 1421209"/>
                  <a:gd name="connsiteX6" fmla="*/ 155465 w 1620550"/>
                  <a:gd name="connsiteY6" fmla="*/ 35400 h 1421209"/>
                  <a:gd name="connsiteX7" fmla="*/ 157137 w 1620550"/>
                  <a:gd name="connsiteY7" fmla="*/ 42086 h 1421209"/>
                  <a:gd name="connsiteX8" fmla="*/ 148779 w 1620550"/>
                  <a:gd name="connsiteY8" fmla="*/ 47101 h 1421209"/>
                  <a:gd name="connsiteX9" fmla="*/ 145435 w 1620550"/>
                  <a:gd name="connsiteY9" fmla="*/ 50445 h 1421209"/>
                  <a:gd name="connsiteX10" fmla="*/ 135405 w 1620550"/>
                  <a:gd name="connsiteY10" fmla="*/ 53788 h 1421209"/>
                  <a:gd name="connsiteX11" fmla="*/ 133734 w 1620550"/>
                  <a:gd name="connsiteY11" fmla="*/ 58803 h 1421209"/>
                  <a:gd name="connsiteX12" fmla="*/ 115345 w 1620550"/>
                  <a:gd name="connsiteY12" fmla="*/ 63818 h 1421209"/>
                  <a:gd name="connsiteX13" fmla="*/ 81912 w 1620550"/>
                  <a:gd name="connsiteY13" fmla="*/ 62146 h 1421209"/>
                  <a:gd name="connsiteX14" fmla="*/ 73554 w 1620550"/>
                  <a:gd name="connsiteY14" fmla="*/ 53788 h 1421209"/>
                  <a:gd name="connsiteX15" fmla="*/ 66867 w 1620550"/>
                  <a:gd name="connsiteY15" fmla="*/ 50445 h 1421209"/>
                  <a:gd name="connsiteX16" fmla="*/ 55165 w 1620550"/>
                  <a:gd name="connsiteY16" fmla="*/ 52116 h 1421209"/>
                  <a:gd name="connsiteX17" fmla="*/ 55165 w 1620550"/>
                  <a:gd name="connsiteY17" fmla="*/ 62146 h 1421209"/>
                  <a:gd name="connsiteX18" fmla="*/ 30090 w 1620550"/>
                  <a:gd name="connsiteY18" fmla="*/ 65490 h 1421209"/>
                  <a:gd name="connsiteX19" fmla="*/ 16717 w 1620550"/>
                  <a:gd name="connsiteY19" fmla="*/ 75520 h 1421209"/>
                  <a:gd name="connsiteX20" fmla="*/ 11702 w 1620550"/>
                  <a:gd name="connsiteY20" fmla="*/ 80535 h 1421209"/>
                  <a:gd name="connsiteX21" fmla="*/ 8359 w 1620550"/>
                  <a:gd name="connsiteY21" fmla="*/ 88893 h 1421209"/>
                  <a:gd name="connsiteX22" fmla="*/ 6687 w 1620550"/>
                  <a:gd name="connsiteY22" fmla="*/ 98923 h 1421209"/>
                  <a:gd name="connsiteX23" fmla="*/ 0 w 1620550"/>
                  <a:gd name="connsiteY23" fmla="*/ 107281 h 1421209"/>
                  <a:gd name="connsiteX24" fmla="*/ 15045 w 1620550"/>
                  <a:gd name="connsiteY24" fmla="*/ 115640 h 1421209"/>
                  <a:gd name="connsiteX25" fmla="*/ 13374 w 1620550"/>
                  <a:gd name="connsiteY25" fmla="*/ 123998 h 1421209"/>
                  <a:gd name="connsiteX26" fmla="*/ 16717 w 1620550"/>
                  <a:gd name="connsiteY26" fmla="*/ 130685 h 1421209"/>
                  <a:gd name="connsiteX27" fmla="*/ 11702 w 1620550"/>
                  <a:gd name="connsiteY27" fmla="*/ 135700 h 1421209"/>
                  <a:gd name="connsiteX28" fmla="*/ 8359 w 1620550"/>
                  <a:gd name="connsiteY28" fmla="*/ 140715 h 1421209"/>
                  <a:gd name="connsiteX29" fmla="*/ 33434 w 1620550"/>
                  <a:gd name="connsiteY29" fmla="*/ 142386 h 1421209"/>
                  <a:gd name="connsiteX30" fmla="*/ 36777 w 1620550"/>
                  <a:gd name="connsiteY30" fmla="*/ 147401 h 1421209"/>
                  <a:gd name="connsiteX31" fmla="*/ 20060 w 1620550"/>
                  <a:gd name="connsiteY31" fmla="*/ 150745 h 1421209"/>
                  <a:gd name="connsiteX32" fmla="*/ 18389 w 1620550"/>
                  <a:gd name="connsiteY32" fmla="*/ 174148 h 1421209"/>
                  <a:gd name="connsiteX33" fmla="*/ 23404 w 1620550"/>
                  <a:gd name="connsiteY33" fmla="*/ 175820 h 1421209"/>
                  <a:gd name="connsiteX34" fmla="*/ 31762 w 1620550"/>
                  <a:gd name="connsiteY34" fmla="*/ 174148 h 1421209"/>
                  <a:gd name="connsiteX35" fmla="*/ 33434 w 1620550"/>
                  <a:gd name="connsiteY35" fmla="*/ 169133 h 1421209"/>
                  <a:gd name="connsiteX36" fmla="*/ 38449 w 1620550"/>
                  <a:gd name="connsiteY36" fmla="*/ 167461 h 1421209"/>
                  <a:gd name="connsiteX37" fmla="*/ 48479 w 1620550"/>
                  <a:gd name="connsiteY37" fmla="*/ 169133 h 1421209"/>
                  <a:gd name="connsiteX38" fmla="*/ 50150 w 1620550"/>
                  <a:gd name="connsiteY38" fmla="*/ 180835 h 1421209"/>
                  <a:gd name="connsiteX39" fmla="*/ 45135 w 1620550"/>
                  <a:gd name="connsiteY39" fmla="*/ 182506 h 1421209"/>
                  <a:gd name="connsiteX40" fmla="*/ 41792 w 1620550"/>
                  <a:gd name="connsiteY40" fmla="*/ 187521 h 1421209"/>
                  <a:gd name="connsiteX41" fmla="*/ 40120 w 1620550"/>
                  <a:gd name="connsiteY41" fmla="*/ 197551 h 1421209"/>
                  <a:gd name="connsiteX42" fmla="*/ 38449 w 1620550"/>
                  <a:gd name="connsiteY42" fmla="*/ 205909 h 1421209"/>
                  <a:gd name="connsiteX43" fmla="*/ 35105 w 1620550"/>
                  <a:gd name="connsiteY43" fmla="*/ 212596 h 1421209"/>
                  <a:gd name="connsiteX44" fmla="*/ 33434 w 1620550"/>
                  <a:gd name="connsiteY44" fmla="*/ 217611 h 1421209"/>
                  <a:gd name="connsiteX45" fmla="*/ 41792 w 1620550"/>
                  <a:gd name="connsiteY45" fmla="*/ 220954 h 1421209"/>
                  <a:gd name="connsiteX46" fmla="*/ 58509 w 1620550"/>
                  <a:gd name="connsiteY46" fmla="*/ 222626 h 1421209"/>
                  <a:gd name="connsiteX47" fmla="*/ 30090 w 1620550"/>
                  <a:gd name="connsiteY47" fmla="*/ 232656 h 1421209"/>
                  <a:gd name="connsiteX48" fmla="*/ 28419 w 1620550"/>
                  <a:gd name="connsiteY48" fmla="*/ 237671 h 1421209"/>
                  <a:gd name="connsiteX49" fmla="*/ 40120 w 1620550"/>
                  <a:gd name="connsiteY49" fmla="*/ 239343 h 1421209"/>
                  <a:gd name="connsiteX50" fmla="*/ 31762 w 1620550"/>
                  <a:gd name="connsiteY50" fmla="*/ 242686 h 1421209"/>
                  <a:gd name="connsiteX51" fmla="*/ 26747 w 1620550"/>
                  <a:gd name="connsiteY51" fmla="*/ 249373 h 1421209"/>
                  <a:gd name="connsiteX52" fmla="*/ 15045 w 1620550"/>
                  <a:gd name="connsiteY52" fmla="*/ 257731 h 1421209"/>
                  <a:gd name="connsiteX53" fmla="*/ 15045 w 1620550"/>
                  <a:gd name="connsiteY53" fmla="*/ 291164 h 1421209"/>
                  <a:gd name="connsiteX54" fmla="*/ 25075 w 1620550"/>
                  <a:gd name="connsiteY54" fmla="*/ 287821 h 1421209"/>
                  <a:gd name="connsiteX55" fmla="*/ 38196 w 1620550"/>
                  <a:gd name="connsiteY55" fmla="*/ 286607 h 1421209"/>
                  <a:gd name="connsiteX56" fmla="*/ 45845 w 1620550"/>
                  <a:gd name="connsiteY56" fmla="*/ 283010 h 1421209"/>
                  <a:gd name="connsiteX57" fmla="*/ 61347 w 1620550"/>
                  <a:gd name="connsiteY57" fmla="*/ 276577 h 1421209"/>
                  <a:gd name="connsiteX58" fmla="*/ 83584 w 1620550"/>
                  <a:gd name="connsiteY58" fmla="*/ 267761 h 1421209"/>
                  <a:gd name="connsiteX59" fmla="*/ 91942 w 1620550"/>
                  <a:gd name="connsiteY59" fmla="*/ 269433 h 1421209"/>
                  <a:gd name="connsiteX60" fmla="*/ 98629 w 1620550"/>
                  <a:gd name="connsiteY60" fmla="*/ 272776 h 1421209"/>
                  <a:gd name="connsiteX61" fmla="*/ 103644 w 1620550"/>
                  <a:gd name="connsiteY61" fmla="*/ 274448 h 1421209"/>
                  <a:gd name="connsiteX62" fmla="*/ 108659 w 1620550"/>
                  <a:gd name="connsiteY62" fmla="*/ 279463 h 1421209"/>
                  <a:gd name="connsiteX63" fmla="*/ 112002 w 1620550"/>
                  <a:gd name="connsiteY63" fmla="*/ 299523 h 1421209"/>
                  <a:gd name="connsiteX64" fmla="*/ 100300 w 1620550"/>
                  <a:gd name="connsiteY64" fmla="*/ 307881 h 1421209"/>
                  <a:gd name="connsiteX65" fmla="*/ 96957 w 1620550"/>
                  <a:gd name="connsiteY65" fmla="*/ 321254 h 1421209"/>
                  <a:gd name="connsiteX66" fmla="*/ 95285 w 1620550"/>
                  <a:gd name="connsiteY66" fmla="*/ 326269 h 1421209"/>
                  <a:gd name="connsiteX67" fmla="*/ 98629 w 1620550"/>
                  <a:gd name="connsiteY67" fmla="*/ 331284 h 1421209"/>
                  <a:gd name="connsiteX68" fmla="*/ 118689 w 1620550"/>
                  <a:gd name="connsiteY68" fmla="*/ 334628 h 1421209"/>
                  <a:gd name="connsiteX69" fmla="*/ 147107 w 1620550"/>
                  <a:gd name="connsiteY69" fmla="*/ 332956 h 1421209"/>
                  <a:gd name="connsiteX70" fmla="*/ 158808 w 1620550"/>
                  <a:gd name="connsiteY70" fmla="*/ 329613 h 1421209"/>
                  <a:gd name="connsiteX71" fmla="*/ 168838 w 1620550"/>
                  <a:gd name="connsiteY71" fmla="*/ 332956 h 1421209"/>
                  <a:gd name="connsiteX72" fmla="*/ 177197 w 1620550"/>
                  <a:gd name="connsiteY72" fmla="*/ 342986 h 1421209"/>
                  <a:gd name="connsiteX73" fmla="*/ 183883 w 1620550"/>
                  <a:gd name="connsiteY73" fmla="*/ 346329 h 1421209"/>
                  <a:gd name="connsiteX74" fmla="*/ 189861 w 1620550"/>
                  <a:gd name="connsiteY74" fmla="*/ 357526 h 1421209"/>
                  <a:gd name="connsiteX75" fmla="*/ 217317 w 1620550"/>
                  <a:gd name="connsiteY75" fmla="*/ 341314 h 1421209"/>
                  <a:gd name="connsiteX76" fmla="*/ 222332 w 1620550"/>
                  <a:gd name="connsiteY76" fmla="*/ 334628 h 1421209"/>
                  <a:gd name="connsiteX77" fmla="*/ 232362 w 1620550"/>
                  <a:gd name="connsiteY77" fmla="*/ 331284 h 1421209"/>
                  <a:gd name="connsiteX78" fmla="*/ 239048 w 1620550"/>
                  <a:gd name="connsiteY78" fmla="*/ 334628 h 1421209"/>
                  <a:gd name="connsiteX79" fmla="*/ 244063 w 1620550"/>
                  <a:gd name="connsiteY79" fmla="*/ 339643 h 1421209"/>
                  <a:gd name="connsiteX80" fmla="*/ 250750 w 1620550"/>
                  <a:gd name="connsiteY80" fmla="*/ 341314 h 1421209"/>
                  <a:gd name="connsiteX81" fmla="*/ 260780 w 1620550"/>
                  <a:gd name="connsiteY81" fmla="*/ 348001 h 1421209"/>
                  <a:gd name="connsiteX82" fmla="*/ 269138 w 1620550"/>
                  <a:gd name="connsiteY82" fmla="*/ 356359 h 1421209"/>
                  <a:gd name="connsiteX83" fmla="*/ 270810 w 1620550"/>
                  <a:gd name="connsiteY83" fmla="*/ 368061 h 1421209"/>
                  <a:gd name="connsiteX84" fmla="*/ 290870 w 1620550"/>
                  <a:gd name="connsiteY84" fmla="*/ 366389 h 1421209"/>
                  <a:gd name="connsiteX85" fmla="*/ 305915 w 1620550"/>
                  <a:gd name="connsiteY85" fmla="*/ 368061 h 1421209"/>
                  <a:gd name="connsiteX86" fmla="*/ 304243 w 1620550"/>
                  <a:gd name="connsiteY86" fmla="*/ 388121 h 1421209"/>
                  <a:gd name="connsiteX87" fmla="*/ 307587 w 1620550"/>
                  <a:gd name="connsiteY87" fmla="*/ 403166 h 1421209"/>
                  <a:gd name="connsiteX88" fmla="*/ 320960 w 1620550"/>
                  <a:gd name="connsiteY88" fmla="*/ 414867 h 1421209"/>
                  <a:gd name="connsiteX89" fmla="*/ 329318 w 1620550"/>
                  <a:gd name="connsiteY89" fmla="*/ 424897 h 1421209"/>
                  <a:gd name="connsiteX90" fmla="*/ 336005 w 1620550"/>
                  <a:gd name="connsiteY90" fmla="*/ 428241 h 1421209"/>
                  <a:gd name="connsiteX91" fmla="*/ 334333 w 1620550"/>
                  <a:gd name="connsiteY91" fmla="*/ 458331 h 1421209"/>
                  <a:gd name="connsiteX92" fmla="*/ 307587 w 1620550"/>
                  <a:gd name="connsiteY92" fmla="*/ 478391 h 1421209"/>
                  <a:gd name="connsiteX93" fmla="*/ 292542 w 1620550"/>
                  <a:gd name="connsiteY93" fmla="*/ 483406 h 1421209"/>
                  <a:gd name="connsiteX94" fmla="*/ 287527 w 1620550"/>
                  <a:gd name="connsiteY94" fmla="*/ 486749 h 1421209"/>
                  <a:gd name="connsiteX95" fmla="*/ 265795 w 1620550"/>
                  <a:gd name="connsiteY95" fmla="*/ 488421 h 1421209"/>
                  <a:gd name="connsiteX96" fmla="*/ 257437 w 1620550"/>
                  <a:gd name="connsiteY96" fmla="*/ 495107 h 1421209"/>
                  <a:gd name="connsiteX97" fmla="*/ 249078 w 1620550"/>
                  <a:gd name="connsiteY97" fmla="*/ 503466 h 1421209"/>
                  <a:gd name="connsiteX98" fmla="*/ 247407 w 1620550"/>
                  <a:gd name="connsiteY98" fmla="*/ 508481 h 1421209"/>
                  <a:gd name="connsiteX99" fmla="*/ 239048 w 1620550"/>
                  <a:gd name="connsiteY99" fmla="*/ 515167 h 1421209"/>
                  <a:gd name="connsiteX100" fmla="*/ 237377 w 1620550"/>
                  <a:gd name="connsiteY100" fmla="*/ 536899 h 1421209"/>
                  <a:gd name="connsiteX101" fmla="*/ 239048 w 1620550"/>
                  <a:gd name="connsiteY101" fmla="*/ 543586 h 1421209"/>
                  <a:gd name="connsiteX102" fmla="*/ 237377 w 1620550"/>
                  <a:gd name="connsiteY102" fmla="*/ 595407 h 1421209"/>
                  <a:gd name="connsiteX103" fmla="*/ 230690 w 1620550"/>
                  <a:gd name="connsiteY103" fmla="*/ 610452 h 1421209"/>
                  <a:gd name="connsiteX104" fmla="*/ 227347 w 1620550"/>
                  <a:gd name="connsiteY104" fmla="*/ 618810 h 1421209"/>
                  <a:gd name="connsiteX105" fmla="*/ 224003 w 1620550"/>
                  <a:gd name="connsiteY105" fmla="*/ 625497 h 1421209"/>
                  <a:gd name="connsiteX106" fmla="*/ 222332 w 1620550"/>
                  <a:gd name="connsiteY106" fmla="*/ 633855 h 1421209"/>
                  <a:gd name="connsiteX107" fmla="*/ 213973 w 1620550"/>
                  <a:gd name="connsiteY107" fmla="*/ 642214 h 1421209"/>
                  <a:gd name="connsiteX108" fmla="*/ 205615 w 1620550"/>
                  <a:gd name="connsiteY108" fmla="*/ 648900 h 1421209"/>
                  <a:gd name="connsiteX109" fmla="*/ 190570 w 1620550"/>
                  <a:gd name="connsiteY109" fmla="*/ 652244 h 1421209"/>
                  <a:gd name="connsiteX110" fmla="*/ 192242 w 1620550"/>
                  <a:gd name="connsiteY110" fmla="*/ 662274 h 1421209"/>
                  <a:gd name="connsiteX111" fmla="*/ 193913 w 1620550"/>
                  <a:gd name="connsiteY111" fmla="*/ 667289 h 1421209"/>
                  <a:gd name="connsiteX112" fmla="*/ 190570 w 1620550"/>
                  <a:gd name="connsiteY112" fmla="*/ 695707 h 1421209"/>
                  <a:gd name="connsiteX113" fmla="*/ 187227 w 1620550"/>
                  <a:gd name="connsiteY113" fmla="*/ 704065 h 1421209"/>
                  <a:gd name="connsiteX114" fmla="*/ 185555 w 1620550"/>
                  <a:gd name="connsiteY114" fmla="*/ 712424 h 1421209"/>
                  <a:gd name="connsiteX115" fmla="*/ 180540 w 1620550"/>
                  <a:gd name="connsiteY115" fmla="*/ 717439 h 1421209"/>
                  <a:gd name="connsiteX116" fmla="*/ 175525 w 1620550"/>
                  <a:gd name="connsiteY116" fmla="*/ 725797 h 1421209"/>
                  <a:gd name="connsiteX117" fmla="*/ 170510 w 1620550"/>
                  <a:gd name="connsiteY117" fmla="*/ 727469 h 1421209"/>
                  <a:gd name="connsiteX118" fmla="*/ 165495 w 1620550"/>
                  <a:gd name="connsiteY118" fmla="*/ 730812 h 1421209"/>
                  <a:gd name="connsiteX119" fmla="*/ 147107 w 1620550"/>
                  <a:gd name="connsiteY119" fmla="*/ 734155 h 1421209"/>
                  <a:gd name="connsiteX120" fmla="*/ 137077 w 1620550"/>
                  <a:gd name="connsiteY120" fmla="*/ 739170 h 1421209"/>
                  <a:gd name="connsiteX121" fmla="*/ 128719 w 1620550"/>
                  <a:gd name="connsiteY121" fmla="*/ 742513 h 1421209"/>
                  <a:gd name="connsiteX122" fmla="*/ 122032 w 1620550"/>
                  <a:gd name="connsiteY122" fmla="*/ 745857 h 1421209"/>
                  <a:gd name="connsiteX123" fmla="*/ 98628 w 1620550"/>
                  <a:gd name="connsiteY123" fmla="*/ 745856 h 1421209"/>
                  <a:gd name="connsiteX124" fmla="*/ 103644 w 1620550"/>
                  <a:gd name="connsiteY124" fmla="*/ 755887 h 1421209"/>
                  <a:gd name="connsiteX125" fmla="*/ 106987 w 1620550"/>
                  <a:gd name="connsiteY125" fmla="*/ 770932 h 1421209"/>
                  <a:gd name="connsiteX126" fmla="*/ 110330 w 1620550"/>
                  <a:gd name="connsiteY126" fmla="*/ 779290 h 1421209"/>
                  <a:gd name="connsiteX127" fmla="*/ 112002 w 1620550"/>
                  <a:gd name="connsiteY127" fmla="*/ 787648 h 1421209"/>
                  <a:gd name="connsiteX128" fmla="*/ 113674 w 1620550"/>
                  <a:gd name="connsiteY128" fmla="*/ 821082 h 1421209"/>
                  <a:gd name="connsiteX129" fmla="*/ 117017 w 1620550"/>
                  <a:gd name="connsiteY129" fmla="*/ 827768 h 1421209"/>
                  <a:gd name="connsiteX130" fmla="*/ 125375 w 1620550"/>
                  <a:gd name="connsiteY130" fmla="*/ 831112 h 1421209"/>
                  <a:gd name="connsiteX131" fmla="*/ 140420 w 1620550"/>
                  <a:gd name="connsiteY131" fmla="*/ 832783 h 1421209"/>
                  <a:gd name="connsiteX132" fmla="*/ 155465 w 1620550"/>
                  <a:gd name="connsiteY132" fmla="*/ 837798 h 1421209"/>
                  <a:gd name="connsiteX133" fmla="*/ 153793 w 1620550"/>
                  <a:gd name="connsiteY133" fmla="*/ 864545 h 1421209"/>
                  <a:gd name="connsiteX134" fmla="*/ 147107 w 1620550"/>
                  <a:gd name="connsiteY134" fmla="*/ 871232 h 1421209"/>
                  <a:gd name="connsiteX135" fmla="*/ 143764 w 1620550"/>
                  <a:gd name="connsiteY135" fmla="*/ 876247 h 1421209"/>
                  <a:gd name="connsiteX136" fmla="*/ 133734 w 1620550"/>
                  <a:gd name="connsiteY136" fmla="*/ 886277 h 1421209"/>
                  <a:gd name="connsiteX137" fmla="*/ 128719 w 1620550"/>
                  <a:gd name="connsiteY137" fmla="*/ 891292 h 1421209"/>
                  <a:gd name="connsiteX138" fmla="*/ 108659 w 1620550"/>
                  <a:gd name="connsiteY138" fmla="*/ 904665 h 1421209"/>
                  <a:gd name="connsiteX139" fmla="*/ 100300 w 1620550"/>
                  <a:gd name="connsiteY139" fmla="*/ 913023 h 1421209"/>
                  <a:gd name="connsiteX140" fmla="*/ 86927 w 1620550"/>
                  <a:gd name="connsiteY140" fmla="*/ 928068 h 1421209"/>
                  <a:gd name="connsiteX141" fmla="*/ 86927 w 1620550"/>
                  <a:gd name="connsiteY141" fmla="*/ 981561 h 1421209"/>
                  <a:gd name="connsiteX142" fmla="*/ 96957 w 1620550"/>
                  <a:gd name="connsiteY142" fmla="*/ 991591 h 1421209"/>
                  <a:gd name="connsiteX143" fmla="*/ 108659 w 1620550"/>
                  <a:gd name="connsiteY143" fmla="*/ 993263 h 1421209"/>
                  <a:gd name="connsiteX144" fmla="*/ 115345 w 1620550"/>
                  <a:gd name="connsiteY144" fmla="*/ 1038398 h 1421209"/>
                  <a:gd name="connsiteX145" fmla="*/ 93614 w 1620550"/>
                  <a:gd name="connsiteY145" fmla="*/ 1035055 h 1421209"/>
                  <a:gd name="connsiteX146" fmla="*/ 63524 w 1620550"/>
                  <a:gd name="connsiteY146" fmla="*/ 1036726 h 1421209"/>
                  <a:gd name="connsiteX147" fmla="*/ 56837 w 1620550"/>
                  <a:gd name="connsiteY147" fmla="*/ 1045085 h 1421209"/>
                  <a:gd name="connsiteX148" fmla="*/ 48479 w 1620550"/>
                  <a:gd name="connsiteY148" fmla="*/ 1051771 h 1421209"/>
                  <a:gd name="connsiteX149" fmla="*/ 43464 w 1620550"/>
                  <a:gd name="connsiteY149" fmla="*/ 1058458 h 1421209"/>
                  <a:gd name="connsiteX150" fmla="*/ 40120 w 1620550"/>
                  <a:gd name="connsiteY150" fmla="*/ 1061801 h 1421209"/>
                  <a:gd name="connsiteX151" fmla="*/ 35105 w 1620550"/>
                  <a:gd name="connsiteY151" fmla="*/ 1070160 h 1421209"/>
                  <a:gd name="connsiteX152" fmla="*/ 33434 w 1620550"/>
                  <a:gd name="connsiteY152" fmla="*/ 1075175 h 1421209"/>
                  <a:gd name="connsiteX153" fmla="*/ 28419 w 1620550"/>
                  <a:gd name="connsiteY153" fmla="*/ 1091891 h 1421209"/>
                  <a:gd name="connsiteX154" fmla="*/ 25075 w 1620550"/>
                  <a:gd name="connsiteY154" fmla="*/ 1098578 h 1421209"/>
                  <a:gd name="connsiteX155" fmla="*/ 20060 w 1620550"/>
                  <a:gd name="connsiteY155" fmla="*/ 1111951 h 1421209"/>
                  <a:gd name="connsiteX156" fmla="*/ 21732 w 1620550"/>
                  <a:gd name="connsiteY156" fmla="*/ 1163773 h 1421209"/>
                  <a:gd name="connsiteX157" fmla="*/ 41792 w 1620550"/>
                  <a:gd name="connsiteY157" fmla="*/ 1162101 h 1421209"/>
                  <a:gd name="connsiteX158" fmla="*/ 68539 w 1620550"/>
                  <a:gd name="connsiteY158" fmla="*/ 1163773 h 1421209"/>
                  <a:gd name="connsiteX159" fmla="*/ 81912 w 1620550"/>
                  <a:gd name="connsiteY159" fmla="*/ 1173803 h 1421209"/>
                  <a:gd name="connsiteX160" fmla="*/ 86927 w 1620550"/>
                  <a:gd name="connsiteY160" fmla="*/ 1177146 h 1421209"/>
                  <a:gd name="connsiteX161" fmla="*/ 93614 w 1620550"/>
                  <a:gd name="connsiteY161" fmla="*/ 1185504 h 1421209"/>
                  <a:gd name="connsiteX162" fmla="*/ 96957 w 1620550"/>
                  <a:gd name="connsiteY162" fmla="*/ 1195534 h 1421209"/>
                  <a:gd name="connsiteX163" fmla="*/ 98629 w 1620550"/>
                  <a:gd name="connsiteY163" fmla="*/ 1200549 h 1421209"/>
                  <a:gd name="connsiteX164" fmla="*/ 108659 w 1620550"/>
                  <a:gd name="connsiteY164" fmla="*/ 1212251 h 1421209"/>
                  <a:gd name="connsiteX165" fmla="*/ 113674 w 1620550"/>
                  <a:gd name="connsiteY165" fmla="*/ 1213923 h 1421209"/>
                  <a:gd name="connsiteX166" fmla="*/ 122032 w 1620550"/>
                  <a:gd name="connsiteY166" fmla="*/ 1217266 h 1421209"/>
                  <a:gd name="connsiteX167" fmla="*/ 135405 w 1620550"/>
                  <a:gd name="connsiteY167" fmla="*/ 1227296 h 1421209"/>
                  <a:gd name="connsiteX168" fmla="*/ 140420 w 1620550"/>
                  <a:gd name="connsiteY168" fmla="*/ 1230639 h 1421209"/>
                  <a:gd name="connsiteX169" fmla="*/ 145435 w 1620550"/>
                  <a:gd name="connsiteY169" fmla="*/ 1232311 h 1421209"/>
                  <a:gd name="connsiteX170" fmla="*/ 148779 w 1620550"/>
                  <a:gd name="connsiteY170" fmla="*/ 1237326 h 1421209"/>
                  <a:gd name="connsiteX171" fmla="*/ 153793 w 1620550"/>
                  <a:gd name="connsiteY171" fmla="*/ 1244013 h 1421209"/>
                  <a:gd name="connsiteX172" fmla="*/ 158808 w 1620550"/>
                  <a:gd name="connsiteY172" fmla="*/ 1255714 h 1421209"/>
                  <a:gd name="connsiteX173" fmla="*/ 152122 w 1620550"/>
                  <a:gd name="connsiteY173" fmla="*/ 1259058 h 1421209"/>
                  <a:gd name="connsiteX174" fmla="*/ 143764 w 1620550"/>
                  <a:gd name="connsiteY174" fmla="*/ 1260729 h 1421209"/>
                  <a:gd name="connsiteX175" fmla="*/ 145435 w 1620550"/>
                  <a:gd name="connsiteY175" fmla="*/ 1274103 h 1421209"/>
                  <a:gd name="connsiteX176" fmla="*/ 152122 w 1620550"/>
                  <a:gd name="connsiteY176" fmla="*/ 1290819 h 1421209"/>
                  <a:gd name="connsiteX177" fmla="*/ 155465 w 1620550"/>
                  <a:gd name="connsiteY177" fmla="*/ 1295834 h 1421209"/>
                  <a:gd name="connsiteX178" fmla="*/ 160480 w 1620550"/>
                  <a:gd name="connsiteY178" fmla="*/ 1297506 h 1421209"/>
                  <a:gd name="connsiteX179" fmla="*/ 163823 w 1620550"/>
                  <a:gd name="connsiteY179" fmla="*/ 1302521 h 1421209"/>
                  <a:gd name="connsiteX180" fmla="*/ 168838 w 1620550"/>
                  <a:gd name="connsiteY180" fmla="*/ 1305864 h 1421209"/>
                  <a:gd name="connsiteX181" fmla="*/ 177197 w 1620550"/>
                  <a:gd name="connsiteY181" fmla="*/ 1312551 h 1421209"/>
                  <a:gd name="connsiteX182" fmla="*/ 180540 w 1620550"/>
                  <a:gd name="connsiteY182" fmla="*/ 1317566 h 1421209"/>
                  <a:gd name="connsiteX183" fmla="*/ 168838 w 1620550"/>
                  <a:gd name="connsiteY183" fmla="*/ 1329267 h 1421209"/>
                  <a:gd name="connsiteX184" fmla="*/ 170510 w 1620550"/>
                  <a:gd name="connsiteY184" fmla="*/ 1349327 h 1421209"/>
                  <a:gd name="connsiteX185" fmla="*/ 175525 w 1620550"/>
                  <a:gd name="connsiteY185" fmla="*/ 1356014 h 1421209"/>
                  <a:gd name="connsiteX186" fmla="*/ 177197 w 1620550"/>
                  <a:gd name="connsiteY186" fmla="*/ 1371059 h 1421209"/>
                  <a:gd name="connsiteX187" fmla="*/ 178868 w 1620550"/>
                  <a:gd name="connsiteY187" fmla="*/ 1381089 h 1421209"/>
                  <a:gd name="connsiteX188" fmla="*/ 182212 w 1620550"/>
                  <a:gd name="connsiteY188" fmla="*/ 1397806 h 1421209"/>
                  <a:gd name="connsiteX189" fmla="*/ 188898 w 1620550"/>
                  <a:gd name="connsiteY189" fmla="*/ 1401149 h 1421209"/>
                  <a:gd name="connsiteX190" fmla="*/ 193913 w 1620550"/>
                  <a:gd name="connsiteY190" fmla="*/ 1399477 h 1421209"/>
                  <a:gd name="connsiteX191" fmla="*/ 200600 w 1620550"/>
                  <a:gd name="connsiteY191" fmla="*/ 1389447 h 1421209"/>
                  <a:gd name="connsiteX192" fmla="*/ 208958 w 1620550"/>
                  <a:gd name="connsiteY192" fmla="*/ 1392791 h 1421209"/>
                  <a:gd name="connsiteX193" fmla="*/ 210630 w 1620550"/>
                  <a:gd name="connsiteY193" fmla="*/ 1397806 h 1421209"/>
                  <a:gd name="connsiteX194" fmla="*/ 213973 w 1620550"/>
                  <a:gd name="connsiteY194" fmla="*/ 1402821 h 1421209"/>
                  <a:gd name="connsiteX195" fmla="*/ 215645 w 1620550"/>
                  <a:gd name="connsiteY195" fmla="*/ 1412851 h 1421209"/>
                  <a:gd name="connsiteX196" fmla="*/ 222332 w 1620550"/>
                  <a:gd name="connsiteY196" fmla="*/ 1416194 h 1421209"/>
                  <a:gd name="connsiteX197" fmla="*/ 234033 w 1620550"/>
                  <a:gd name="connsiteY197" fmla="*/ 1419537 h 1421209"/>
                  <a:gd name="connsiteX198" fmla="*/ 239048 w 1620550"/>
                  <a:gd name="connsiteY198" fmla="*/ 1421209 h 1421209"/>
                  <a:gd name="connsiteX199" fmla="*/ 269138 w 1620550"/>
                  <a:gd name="connsiteY199" fmla="*/ 1419537 h 1421209"/>
                  <a:gd name="connsiteX200" fmla="*/ 270810 w 1620550"/>
                  <a:gd name="connsiteY200" fmla="*/ 1414522 h 1421209"/>
                  <a:gd name="connsiteX201" fmla="*/ 277497 w 1620550"/>
                  <a:gd name="connsiteY201" fmla="*/ 1412851 h 1421209"/>
                  <a:gd name="connsiteX202" fmla="*/ 285855 w 1620550"/>
                  <a:gd name="connsiteY202" fmla="*/ 1411179 h 1421209"/>
                  <a:gd name="connsiteX203" fmla="*/ 287527 w 1620550"/>
                  <a:gd name="connsiteY203" fmla="*/ 1406164 h 1421209"/>
                  <a:gd name="connsiteX204" fmla="*/ 289198 w 1620550"/>
                  <a:gd name="connsiteY204" fmla="*/ 1396134 h 1421209"/>
                  <a:gd name="connsiteX205" fmla="*/ 294213 w 1620550"/>
                  <a:gd name="connsiteY205" fmla="*/ 1389447 h 1421209"/>
                  <a:gd name="connsiteX206" fmla="*/ 300900 w 1620550"/>
                  <a:gd name="connsiteY206" fmla="*/ 1379417 h 1421209"/>
                  <a:gd name="connsiteX207" fmla="*/ 307587 w 1620550"/>
                  <a:gd name="connsiteY207" fmla="*/ 1366044 h 1421209"/>
                  <a:gd name="connsiteX208" fmla="*/ 314273 w 1620550"/>
                  <a:gd name="connsiteY208" fmla="*/ 1361029 h 1421209"/>
                  <a:gd name="connsiteX209" fmla="*/ 317617 w 1620550"/>
                  <a:gd name="connsiteY209" fmla="*/ 1357686 h 1421209"/>
                  <a:gd name="connsiteX210" fmla="*/ 339348 w 1620550"/>
                  <a:gd name="connsiteY210" fmla="*/ 1354342 h 1421209"/>
                  <a:gd name="connsiteX211" fmla="*/ 356065 w 1620550"/>
                  <a:gd name="connsiteY211" fmla="*/ 1357686 h 1421209"/>
                  <a:gd name="connsiteX212" fmla="*/ 361080 w 1620550"/>
                  <a:gd name="connsiteY212" fmla="*/ 1359357 h 1421209"/>
                  <a:gd name="connsiteX213" fmla="*/ 364423 w 1620550"/>
                  <a:gd name="connsiteY213" fmla="*/ 1362701 h 1421209"/>
                  <a:gd name="connsiteX214" fmla="*/ 374453 w 1620550"/>
                  <a:gd name="connsiteY214" fmla="*/ 1367716 h 1421209"/>
                  <a:gd name="connsiteX215" fmla="*/ 377796 w 1620550"/>
                  <a:gd name="connsiteY215" fmla="*/ 1374402 h 1421209"/>
                  <a:gd name="connsiteX216" fmla="*/ 381140 w 1620550"/>
                  <a:gd name="connsiteY216" fmla="*/ 1377746 h 1421209"/>
                  <a:gd name="connsiteX217" fmla="*/ 386155 w 1620550"/>
                  <a:gd name="connsiteY217" fmla="*/ 1374402 h 1421209"/>
                  <a:gd name="connsiteX218" fmla="*/ 396185 w 1620550"/>
                  <a:gd name="connsiteY218" fmla="*/ 1361029 h 1421209"/>
                  <a:gd name="connsiteX219" fmla="*/ 414573 w 1620550"/>
                  <a:gd name="connsiteY219" fmla="*/ 1356014 h 1421209"/>
                  <a:gd name="connsiteX220" fmla="*/ 416245 w 1620550"/>
                  <a:gd name="connsiteY220" fmla="*/ 1349327 h 1421209"/>
                  <a:gd name="connsiteX221" fmla="*/ 419588 w 1620550"/>
                  <a:gd name="connsiteY221" fmla="*/ 1334282 h 1421209"/>
                  <a:gd name="connsiteX222" fmla="*/ 424603 w 1620550"/>
                  <a:gd name="connsiteY222" fmla="*/ 1330939 h 1421209"/>
                  <a:gd name="connsiteX223" fmla="*/ 444663 w 1620550"/>
                  <a:gd name="connsiteY223" fmla="*/ 1332611 h 1421209"/>
                  <a:gd name="connsiteX224" fmla="*/ 466395 w 1620550"/>
                  <a:gd name="connsiteY224" fmla="*/ 1339297 h 1421209"/>
                  <a:gd name="connsiteX225" fmla="*/ 509858 w 1620550"/>
                  <a:gd name="connsiteY225" fmla="*/ 1340969 h 1421209"/>
                  <a:gd name="connsiteX226" fmla="*/ 523231 w 1620550"/>
                  <a:gd name="connsiteY226" fmla="*/ 1345984 h 1421209"/>
                  <a:gd name="connsiteX227" fmla="*/ 531589 w 1620550"/>
                  <a:gd name="connsiteY227" fmla="*/ 1357686 h 1421209"/>
                  <a:gd name="connsiteX228" fmla="*/ 534933 w 1620550"/>
                  <a:gd name="connsiteY228" fmla="*/ 1364372 h 1421209"/>
                  <a:gd name="connsiteX229" fmla="*/ 539948 w 1620550"/>
                  <a:gd name="connsiteY229" fmla="*/ 1366044 h 1421209"/>
                  <a:gd name="connsiteX230" fmla="*/ 565023 w 1620550"/>
                  <a:gd name="connsiteY230" fmla="*/ 1369387 h 1421209"/>
                  <a:gd name="connsiteX231" fmla="*/ 568366 w 1620550"/>
                  <a:gd name="connsiteY231" fmla="*/ 1372731 h 1421209"/>
                  <a:gd name="connsiteX232" fmla="*/ 571709 w 1620550"/>
                  <a:gd name="connsiteY232" fmla="*/ 1366044 h 1421209"/>
                  <a:gd name="connsiteX233" fmla="*/ 600128 w 1620550"/>
                  <a:gd name="connsiteY233" fmla="*/ 1357686 h 1421209"/>
                  <a:gd name="connsiteX234" fmla="*/ 626874 w 1620550"/>
                  <a:gd name="connsiteY234" fmla="*/ 1361029 h 1421209"/>
                  <a:gd name="connsiteX235" fmla="*/ 633561 w 1620550"/>
                  <a:gd name="connsiteY235" fmla="*/ 1364372 h 1421209"/>
                  <a:gd name="connsiteX236" fmla="*/ 638576 w 1620550"/>
                  <a:gd name="connsiteY236" fmla="*/ 1366044 h 1421209"/>
                  <a:gd name="connsiteX237" fmla="*/ 643591 w 1620550"/>
                  <a:gd name="connsiteY237" fmla="*/ 1372731 h 1421209"/>
                  <a:gd name="connsiteX238" fmla="*/ 650278 w 1620550"/>
                  <a:gd name="connsiteY238" fmla="*/ 1382761 h 1421209"/>
                  <a:gd name="connsiteX239" fmla="*/ 660308 w 1620550"/>
                  <a:gd name="connsiteY239" fmla="*/ 1386104 h 1421209"/>
                  <a:gd name="connsiteX240" fmla="*/ 672009 w 1620550"/>
                  <a:gd name="connsiteY240" fmla="*/ 1389447 h 1421209"/>
                  <a:gd name="connsiteX241" fmla="*/ 687054 w 1620550"/>
                  <a:gd name="connsiteY241" fmla="*/ 1382761 h 1421209"/>
                  <a:gd name="connsiteX242" fmla="*/ 690398 w 1620550"/>
                  <a:gd name="connsiteY242" fmla="*/ 1374402 h 1421209"/>
                  <a:gd name="connsiteX243" fmla="*/ 695413 w 1620550"/>
                  <a:gd name="connsiteY243" fmla="*/ 1371059 h 1421209"/>
                  <a:gd name="connsiteX244" fmla="*/ 707114 w 1620550"/>
                  <a:gd name="connsiteY244" fmla="*/ 1366044 h 1421209"/>
                  <a:gd name="connsiteX245" fmla="*/ 715472 w 1620550"/>
                  <a:gd name="connsiteY245" fmla="*/ 1364372 h 1421209"/>
                  <a:gd name="connsiteX246" fmla="*/ 735532 w 1620550"/>
                  <a:gd name="connsiteY246" fmla="*/ 1371059 h 1421209"/>
                  <a:gd name="connsiteX247" fmla="*/ 737204 w 1620550"/>
                  <a:gd name="connsiteY247" fmla="*/ 1376074 h 1421209"/>
                  <a:gd name="connsiteX248" fmla="*/ 742219 w 1620550"/>
                  <a:gd name="connsiteY248" fmla="*/ 1387776 h 1421209"/>
                  <a:gd name="connsiteX249" fmla="*/ 748906 w 1620550"/>
                  <a:gd name="connsiteY249" fmla="*/ 1389447 h 1421209"/>
                  <a:gd name="connsiteX250" fmla="*/ 762279 w 1620550"/>
                  <a:gd name="connsiteY250" fmla="*/ 1384432 h 1421209"/>
                  <a:gd name="connsiteX251" fmla="*/ 772309 w 1620550"/>
                  <a:gd name="connsiteY251" fmla="*/ 1381089 h 1421209"/>
                  <a:gd name="connsiteX252" fmla="*/ 784011 w 1620550"/>
                  <a:gd name="connsiteY252" fmla="*/ 1371059 h 1421209"/>
                  <a:gd name="connsiteX253" fmla="*/ 797384 w 1620550"/>
                  <a:gd name="connsiteY253" fmla="*/ 1357686 h 1421209"/>
                  <a:gd name="connsiteX254" fmla="*/ 802399 w 1620550"/>
                  <a:gd name="connsiteY254" fmla="*/ 1352671 h 1421209"/>
                  <a:gd name="connsiteX255" fmla="*/ 810757 w 1620550"/>
                  <a:gd name="connsiteY255" fmla="*/ 1350999 h 1421209"/>
                  <a:gd name="connsiteX256" fmla="*/ 812429 w 1620550"/>
                  <a:gd name="connsiteY256" fmla="*/ 1344312 h 1421209"/>
                  <a:gd name="connsiteX257" fmla="*/ 807414 w 1620550"/>
                  <a:gd name="connsiteY257" fmla="*/ 1325924 h 1421209"/>
                  <a:gd name="connsiteX258" fmla="*/ 809086 w 1620550"/>
                  <a:gd name="connsiteY258" fmla="*/ 1314222 h 1421209"/>
                  <a:gd name="connsiteX259" fmla="*/ 812429 w 1620550"/>
                  <a:gd name="connsiteY259" fmla="*/ 1309207 h 1421209"/>
                  <a:gd name="connsiteX260" fmla="*/ 820787 w 1620550"/>
                  <a:gd name="connsiteY260" fmla="*/ 1299177 h 1421209"/>
                  <a:gd name="connsiteX261" fmla="*/ 827474 w 1620550"/>
                  <a:gd name="connsiteY261" fmla="*/ 1294162 h 1421209"/>
                  <a:gd name="connsiteX262" fmla="*/ 869266 w 1620550"/>
                  <a:gd name="connsiteY262" fmla="*/ 1292491 h 1421209"/>
                  <a:gd name="connsiteX263" fmla="*/ 870937 w 1620550"/>
                  <a:gd name="connsiteY263" fmla="*/ 1277446 h 1421209"/>
                  <a:gd name="connsiteX264" fmla="*/ 880967 w 1620550"/>
                  <a:gd name="connsiteY264" fmla="*/ 1270759 h 1421209"/>
                  <a:gd name="connsiteX265" fmla="*/ 885982 w 1620550"/>
                  <a:gd name="connsiteY265" fmla="*/ 1269088 h 1421209"/>
                  <a:gd name="connsiteX266" fmla="*/ 932789 w 1620550"/>
                  <a:gd name="connsiteY266" fmla="*/ 1270759 h 1421209"/>
                  <a:gd name="connsiteX267" fmla="*/ 942819 w 1620550"/>
                  <a:gd name="connsiteY267" fmla="*/ 1272431 h 1421209"/>
                  <a:gd name="connsiteX268" fmla="*/ 949505 w 1620550"/>
                  <a:gd name="connsiteY268" fmla="*/ 1275774 h 1421209"/>
                  <a:gd name="connsiteX269" fmla="*/ 954520 w 1620550"/>
                  <a:gd name="connsiteY269" fmla="*/ 1277446 h 1421209"/>
                  <a:gd name="connsiteX270" fmla="*/ 964550 w 1620550"/>
                  <a:gd name="connsiteY270" fmla="*/ 1274103 h 1421209"/>
                  <a:gd name="connsiteX271" fmla="*/ 971237 w 1620550"/>
                  <a:gd name="connsiteY271" fmla="*/ 1264073 h 1421209"/>
                  <a:gd name="connsiteX272" fmla="*/ 964550 w 1620550"/>
                  <a:gd name="connsiteY272" fmla="*/ 1249028 h 1421209"/>
                  <a:gd name="connsiteX273" fmla="*/ 966222 w 1620550"/>
                  <a:gd name="connsiteY273" fmla="*/ 1233983 h 1421209"/>
                  <a:gd name="connsiteX274" fmla="*/ 974580 w 1620550"/>
                  <a:gd name="connsiteY274" fmla="*/ 1215594 h 1421209"/>
                  <a:gd name="connsiteX275" fmla="*/ 977924 w 1620550"/>
                  <a:gd name="connsiteY275" fmla="*/ 1212251 h 1421209"/>
                  <a:gd name="connsiteX276" fmla="*/ 982939 w 1620550"/>
                  <a:gd name="connsiteY276" fmla="*/ 1205564 h 1421209"/>
                  <a:gd name="connsiteX277" fmla="*/ 991297 w 1620550"/>
                  <a:gd name="connsiteY277" fmla="*/ 1195534 h 1421209"/>
                  <a:gd name="connsiteX278" fmla="*/ 1001327 w 1620550"/>
                  <a:gd name="connsiteY278" fmla="*/ 1185504 h 1421209"/>
                  <a:gd name="connsiteX279" fmla="*/ 1002999 w 1620550"/>
                  <a:gd name="connsiteY279" fmla="*/ 1180489 h 1421209"/>
                  <a:gd name="connsiteX280" fmla="*/ 1006342 w 1620550"/>
                  <a:gd name="connsiteY280" fmla="*/ 1175474 h 1421209"/>
                  <a:gd name="connsiteX281" fmla="*/ 1008014 w 1620550"/>
                  <a:gd name="connsiteY281" fmla="*/ 1168788 h 1421209"/>
                  <a:gd name="connsiteX282" fmla="*/ 1016372 w 1620550"/>
                  <a:gd name="connsiteY282" fmla="*/ 1157086 h 1421209"/>
                  <a:gd name="connsiteX283" fmla="*/ 1023059 w 1620550"/>
                  <a:gd name="connsiteY283" fmla="*/ 1143713 h 1421209"/>
                  <a:gd name="connsiteX284" fmla="*/ 1024730 w 1620550"/>
                  <a:gd name="connsiteY284" fmla="*/ 1138698 h 1421209"/>
                  <a:gd name="connsiteX285" fmla="*/ 1028074 w 1620550"/>
                  <a:gd name="connsiteY285" fmla="*/ 1135354 h 1421209"/>
                  <a:gd name="connsiteX286" fmla="*/ 1033089 w 1620550"/>
                  <a:gd name="connsiteY286" fmla="*/ 1128668 h 1421209"/>
                  <a:gd name="connsiteX287" fmla="*/ 1043119 w 1620550"/>
                  <a:gd name="connsiteY287" fmla="*/ 1116966 h 1421209"/>
                  <a:gd name="connsiteX288" fmla="*/ 1061507 w 1620550"/>
                  <a:gd name="connsiteY288" fmla="*/ 1111951 h 1421209"/>
                  <a:gd name="connsiteX289" fmla="*/ 1069865 w 1620550"/>
                  <a:gd name="connsiteY289" fmla="*/ 1108608 h 1421209"/>
                  <a:gd name="connsiteX290" fmla="*/ 1089925 w 1620550"/>
                  <a:gd name="connsiteY290" fmla="*/ 1105264 h 1421209"/>
                  <a:gd name="connsiteX291" fmla="*/ 1094940 w 1620550"/>
                  <a:gd name="connsiteY291" fmla="*/ 1101921 h 1421209"/>
                  <a:gd name="connsiteX292" fmla="*/ 1111657 w 1620550"/>
                  <a:gd name="connsiteY292" fmla="*/ 1098578 h 1421209"/>
                  <a:gd name="connsiteX293" fmla="*/ 1126702 w 1620550"/>
                  <a:gd name="connsiteY293" fmla="*/ 1090220 h 1421209"/>
                  <a:gd name="connsiteX294" fmla="*/ 1131717 w 1620550"/>
                  <a:gd name="connsiteY294" fmla="*/ 1086876 h 1421209"/>
                  <a:gd name="connsiteX295" fmla="*/ 1133388 w 1620550"/>
                  <a:gd name="connsiteY295" fmla="*/ 1078518 h 1421209"/>
                  <a:gd name="connsiteX296" fmla="*/ 1126702 w 1620550"/>
                  <a:gd name="connsiteY296" fmla="*/ 1070160 h 1421209"/>
                  <a:gd name="connsiteX297" fmla="*/ 1118343 w 1620550"/>
                  <a:gd name="connsiteY297" fmla="*/ 1065145 h 1421209"/>
                  <a:gd name="connsiteX298" fmla="*/ 1109985 w 1620550"/>
                  <a:gd name="connsiteY298" fmla="*/ 1056786 h 1421209"/>
                  <a:gd name="connsiteX299" fmla="*/ 1103298 w 1620550"/>
                  <a:gd name="connsiteY299" fmla="*/ 1048428 h 1421209"/>
                  <a:gd name="connsiteX300" fmla="*/ 1099955 w 1620550"/>
                  <a:gd name="connsiteY300" fmla="*/ 1043413 h 1421209"/>
                  <a:gd name="connsiteX301" fmla="*/ 1094940 w 1620550"/>
                  <a:gd name="connsiteY301" fmla="*/ 1040070 h 1421209"/>
                  <a:gd name="connsiteX302" fmla="*/ 1091597 w 1620550"/>
                  <a:gd name="connsiteY302" fmla="*/ 1033383 h 1421209"/>
                  <a:gd name="connsiteX303" fmla="*/ 1088253 w 1620550"/>
                  <a:gd name="connsiteY303" fmla="*/ 1030040 h 1421209"/>
                  <a:gd name="connsiteX304" fmla="*/ 1083238 w 1620550"/>
                  <a:gd name="connsiteY304" fmla="*/ 1018338 h 1421209"/>
                  <a:gd name="connsiteX305" fmla="*/ 1081567 w 1620550"/>
                  <a:gd name="connsiteY305" fmla="*/ 989920 h 1421209"/>
                  <a:gd name="connsiteX306" fmla="*/ 1079895 w 1620550"/>
                  <a:gd name="connsiteY306" fmla="*/ 984905 h 1421209"/>
                  <a:gd name="connsiteX307" fmla="*/ 1074880 w 1620550"/>
                  <a:gd name="connsiteY307" fmla="*/ 979890 h 1421209"/>
                  <a:gd name="connsiteX308" fmla="*/ 1069865 w 1620550"/>
                  <a:gd name="connsiteY308" fmla="*/ 964845 h 1421209"/>
                  <a:gd name="connsiteX309" fmla="*/ 1074880 w 1620550"/>
                  <a:gd name="connsiteY309" fmla="*/ 929740 h 1421209"/>
                  <a:gd name="connsiteX310" fmla="*/ 1084910 w 1620550"/>
                  <a:gd name="connsiteY310" fmla="*/ 919710 h 1421209"/>
                  <a:gd name="connsiteX311" fmla="*/ 1091597 w 1620550"/>
                  <a:gd name="connsiteY311" fmla="*/ 911352 h 1421209"/>
                  <a:gd name="connsiteX312" fmla="*/ 1098283 w 1620550"/>
                  <a:gd name="connsiteY312" fmla="*/ 906337 h 1421209"/>
                  <a:gd name="connsiteX313" fmla="*/ 1111657 w 1620550"/>
                  <a:gd name="connsiteY313" fmla="*/ 892963 h 1421209"/>
                  <a:gd name="connsiteX314" fmla="*/ 1116672 w 1620550"/>
                  <a:gd name="connsiteY314" fmla="*/ 887948 h 1421209"/>
                  <a:gd name="connsiteX315" fmla="*/ 1121687 w 1620550"/>
                  <a:gd name="connsiteY315" fmla="*/ 881262 h 1421209"/>
                  <a:gd name="connsiteX316" fmla="*/ 1125030 w 1620550"/>
                  <a:gd name="connsiteY316" fmla="*/ 877918 h 1421209"/>
                  <a:gd name="connsiteX317" fmla="*/ 1131717 w 1620550"/>
                  <a:gd name="connsiteY317" fmla="*/ 869560 h 1421209"/>
                  <a:gd name="connsiteX318" fmla="*/ 1136732 w 1620550"/>
                  <a:gd name="connsiteY318" fmla="*/ 864545 h 1421209"/>
                  <a:gd name="connsiteX319" fmla="*/ 1145090 w 1620550"/>
                  <a:gd name="connsiteY319" fmla="*/ 849500 h 1421209"/>
                  <a:gd name="connsiteX320" fmla="*/ 1150105 w 1620550"/>
                  <a:gd name="connsiteY320" fmla="*/ 841142 h 1421209"/>
                  <a:gd name="connsiteX321" fmla="*/ 1153448 w 1620550"/>
                  <a:gd name="connsiteY321" fmla="*/ 831112 h 1421209"/>
                  <a:gd name="connsiteX322" fmla="*/ 1156792 w 1620550"/>
                  <a:gd name="connsiteY322" fmla="*/ 827768 h 1421209"/>
                  <a:gd name="connsiteX323" fmla="*/ 1160135 w 1620550"/>
                  <a:gd name="connsiteY323" fmla="*/ 822753 h 1421209"/>
                  <a:gd name="connsiteX324" fmla="*/ 1173508 w 1620550"/>
                  <a:gd name="connsiteY324" fmla="*/ 814395 h 1421209"/>
                  <a:gd name="connsiteX325" fmla="*/ 1181867 w 1620550"/>
                  <a:gd name="connsiteY325" fmla="*/ 806037 h 1421209"/>
                  <a:gd name="connsiteX326" fmla="*/ 1185210 w 1620550"/>
                  <a:gd name="connsiteY326" fmla="*/ 799350 h 1421209"/>
                  <a:gd name="connsiteX327" fmla="*/ 1205270 w 1620550"/>
                  <a:gd name="connsiteY327" fmla="*/ 785977 h 1421209"/>
                  <a:gd name="connsiteX328" fmla="*/ 1213628 w 1620550"/>
                  <a:gd name="connsiteY328" fmla="*/ 779290 h 1421209"/>
                  <a:gd name="connsiteX329" fmla="*/ 1225330 w 1620550"/>
                  <a:gd name="connsiteY329" fmla="*/ 770932 h 1421209"/>
                  <a:gd name="connsiteX330" fmla="*/ 1228673 w 1620550"/>
                  <a:gd name="connsiteY330" fmla="*/ 765917 h 1421209"/>
                  <a:gd name="connsiteX331" fmla="*/ 1243718 w 1620550"/>
                  <a:gd name="connsiteY331" fmla="*/ 764245 h 1421209"/>
                  <a:gd name="connsiteX332" fmla="*/ 1250405 w 1620550"/>
                  <a:gd name="connsiteY332" fmla="*/ 762573 h 1421209"/>
                  <a:gd name="connsiteX333" fmla="*/ 1255420 w 1620550"/>
                  <a:gd name="connsiteY333" fmla="*/ 757558 h 1421209"/>
                  <a:gd name="connsiteX334" fmla="*/ 1263778 w 1620550"/>
                  <a:gd name="connsiteY334" fmla="*/ 752543 h 1421209"/>
                  <a:gd name="connsiteX335" fmla="*/ 1260435 w 1620550"/>
                  <a:gd name="connsiteY335" fmla="*/ 735827 h 1421209"/>
                  <a:gd name="connsiteX336" fmla="*/ 1257091 w 1620550"/>
                  <a:gd name="connsiteY336" fmla="*/ 732484 h 1421209"/>
                  <a:gd name="connsiteX337" fmla="*/ 1255420 w 1620550"/>
                  <a:gd name="connsiteY337" fmla="*/ 727469 h 1421209"/>
                  <a:gd name="connsiteX338" fmla="*/ 1262106 w 1620550"/>
                  <a:gd name="connsiteY338" fmla="*/ 710752 h 1421209"/>
                  <a:gd name="connsiteX339" fmla="*/ 1272136 w 1620550"/>
                  <a:gd name="connsiteY339" fmla="*/ 705737 h 1421209"/>
                  <a:gd name="connsiteX340" fmla="*/ 1280495 w 1620550"/>
                  <a:gd name="connsiteY340" fmla="*/ 700722 h 1421209"/>
                  <a:gd name="connsiteX341" fmla="*/ 1287181 w 1620550"/>
                  <a:gd name="connsiteY341" fmla="*/ 697379 h 1421209"/>
                  <a:gd name="connsiteX342" fmla="*/ 1292196 w 1620550"/>
                  <a:gd name="connsiteY342" fmla="*/ 694035 h 1421209"/>
                  <a:gd name="connsiteX343" fmla="*/ 1298883 w 1620550"/>
                  <a:gd name="connsiteY343" fmla="*/ 692364 h 1421209"/>
                  <a:gd name="connsiteX344" fmla="*/ 1308913 w 1620550"/>
                  <a:gd name="connsiteY344" fmla="*/ 687349 h 1421209"/>
                  <a:gd name="connsiteX345" fmla="*/ 1323958 w 1620550"/>
                  <a:gd name="connsiteY345" fmla="*/ 682334 h 1421209"/>
                  <a:gd name="connsiteX346" fmla="*/ 1330645 w 1620550"/>
                  <a:gd name="connsiteY346" fmla="*/ 678990 h 1421209"/>
                  <a:gd name="connsiteX347" fmla="*/ 1355720 w 1620550"/>
                  <a:gd name="connsiteY347" fmla="*/ 675647 h 1421209"/>
                  <a:gd name="connsiteX348" fmla="*/ 1359063 w 1620550"/>
                  <a:gd name="connsiteY348" fmla="*/ 670632 h 1421209"/>
                  <a:gd name="connsiteX349" fmla="*/ 1372436 w 1620550"/>
                  <a:gd name="connsiteY349" fmla="*/ 667289 h 1421209"/>
                  <a:gd name="connsiteX350" fmla="*/ 1449333 w 1620550"/>
                  <a:gd name="connsiteY350" fmla="*/ 663945 h 1421209"/>
                  <a:gd name="connsiteX351" fmla="*/ 1464378 w 1620550"/>
                  <a:gd name="connsiteY351" fmla="*/ 645557 h 1421209"/>
                  <a:gd name="connsiteX352" fmla="*/ 1474408 w 1620550"/>
                  <a:gd name="connsiteY352" fmla="*/ 635527 h 1421209"/>
                  <a:gd name="connsiteX353" fmla="*/ 1487781 w 1620550"/>
                  <a:gd name="connsiteY353" fmla="*/ 625497 h 1421209"/>
                  <a:gd name="connsiteX354" fmla="*/ 1494468 w 1620550"/>
                  <a:gd name="connsiteY354" fmla="*/ 623825 h 1421209"/>
                  <a:gd name="connsiteX355" fmla="*/ 1509513 w 1620550"/>
                  <a:gd name="connsiteY355" fmla="*/ 620482 h 1421209"/>
                  <a:gd name="connsiteX356" fmla="*/ 1517871 w 1620550"/>
                  <a:gd name="connsiteY356" fmla="*/ 617139 h 1421209"/>
                  <a:gd name="connsiteX357" fmla="*/ 1524558 w 1620550"/>
                  <a:gd name="connsiteY357" fmla="*/ 613795 h 1421209"/>
                  <a:gd name="connsiteX358" fmla="*/ 1539603 w 1620550"/>
                  <a:gd name="connsiteY358" fmla="*/ 612124 h 1421209"/>
                  <a:gd name="connsiteX359" fmla="*/ 1557991 w 1620550"/>
                  <a:gd name="connsiteY359" fmla="*/ 602094 h 1421209"/>
                  <a:gd name="connsiteX360" fmla="*/ 1573036 w 1620550"/>
                  <a:gd name="connsiteY360" fmla="*/ 597079 h 1421209"/>
                  <a:gd name="connsiteX361" fmla="*/ 1576379 w 1620550"/>
                  <a:gd name="connsiteY361" fmla="*/ 592064 h 1421209"/>
                  <a:gd name="connsiteX362" fmla="*/ 1588081 w 1620550"/>
                  <a:gd name="connsiteY362" fmla="*/ 587049 h 1421209"/>
                  <a:gd name="connsiteX363" fmla="*/ 1591424 w 1620550"/>
                  <a:gd name="connsiteY363" fmla="*/ 583705 h 1421209"/>
                  <a:gd name="connsiteX364" fmla="*/ 1598111 w 1620550"/>
                  <a:gd name="connsiteY364" fmla="*/ 580362 h 1421209"/>
                  <a:gd name="connsiteX365" fmla="*/ 1608141 w 1620550"/>
                  <a:gd name="connsiteY365" fmla="*/ 572004 h 1421209"/>
                  <a:gd name="connsiteX366" fmla="*/ 1614828 w 1620550"/>
                  <a:gd name="connsiteY366" fmla="*/ 560302 h 1421209"/>
                  <a:gd name="connsiteX367" fmla="*/ 1608141 w 1620550"/>
                  <a:gd name="connsiteY367" fmla="*/ 546929 h 1421209"/>
                  <a:gd name="connsiteX368" fmla="*/ 1599783 w 1620550"/>
                  <a:gd name="connsiteY368" fmla="*/ 535227 h 1421209"/>
                  <a:gd name="connsiteX369" fmla="*/ 1598111 w 1620550"/>
                  <a:gd name="connsiteY369" fmla="*/ 530212 h 1421209"/>
                  <a:gd name="connsiteX370" fmla="*/ 1596439 w 1620550"/>
                  <a:gd name="connsiteY370" fmla="*/ 518511 h 1421209"/>
                  <a:gd name="connsiteX371" fmla="*/ 1601454 w 1620550"/>
                  <a:gd name="connsiteY371" fmla="*/ 516839 h 1421209"/>
                  <a:gd name="connsiteX372" fmla="*/ 1604798 w 1620550"/>
                  <a:gd name="connsiteY372" fmla="*/ 513496 h 1421209"/>
                  <a:gd name="connsiteX373" fmla="*/ 1616499 w 1620550"/>
                  <a:gd name="connsiteY373" fmla="*/ 510152 h 1421209"/>
                  <a:gd name="connsiteX374" fmla="*/ 1618171 w 1620550"/>
                  <a:gd name="connsiteY374" fmla="*/ 495107 h 1421209"/>
                  <a:gd name="connsiteX375" fmla="*/ 1613156 w 1620550"/>
                  <a:gd name="connsiteY375" fmla="*/ 491764 h 1421209"/>
                  <a:gd name="connsiteX376" fmla="*/ 1611484 w 1620550"/>
                  <a:gd name="connsiteY376" fmla="*/ 486749 h 1421209"/>
                  <a:gd name="connsiteX377" fmla="*/ 1608141 w 1620550"/>
                  <a:gd name="connsiteY377" fmla="*/ 481734 h 1421209"/>
                  <a:gd name="connsiteX378" fmla="*/ 1606469 w 1620550"/>
                  <a:gd name="connsiteY378" fmla="*/ 473376 h 1421209"/>
                  <a:gd name="connsiteX379" fmla="*/ 1604798 w 1620550"/>
                  <a:gd name="connsiteY379" fmla="*/ 468361 h 1421209"/>
                  <a:gd name="connsiteX380" fmla="*/ 1599783 w 1620550"/>
                  <a:gd name="connsiteY380" fmla="*/ 466689 h 1421209"/>
                  <a:gd name="connsiteX381" fmla="*/ 1586409 w 1620550"/>
                  <a:gd name="connsiteY381" fmla="*/ 461674 h 1421209"/>
                  <a:gd name="connsiteX382" fmla="*/ 1561334 w 1620550"/>
                  <a:gd name="connsiteY382" fmla="*/ 463346 h 1421209"/>
                  <a:gd name="connsiteX383" fmla="*/ 1547961 w 1620550"/>
                  <a:gd name="connsiteY383" fmla="*/ 465017 h 1421209"/>
                  <a:gd name="connsiteX384" fmla="*/ 1539603 w 1620550"/>
                  <a:gd name="connsiteY384" fmla="*/ 470032 h 1421209"/>
                  <a:gd name="connsiteX385" fmla="*/ 1529573 w 1620550"/>
                  <a:gd name="connsiteY385" fmla="*/ 485077 h 1421209"/>
                  <a:gd name="connsiteX386" fmla="*/ 1524558 w 1620550"/>
                  <a:gd name="connsiteY386" fmla="*/ 486749 h 1421209"/>
                  <a:gd name="connsiteX387" fmla="*/ 1504498 w 1620550"/>
                  <a:gd name="connsiteY387" fmla="*/ 480062 h 1421209"/>
                  <a:gd name="connsiteX388" fmla="*/ 1489453 w 1620550"/>
                  <a:gd name="connsiteY388" fmla="*/ 468361 h 1421209"/>
                  <a:gd name="connsiteX389" fmla="*/ 1474408 w 1620550"/>
                  <a:gd name="connsiteY389" fmla="*/ 466689 h 1421209"/>
                  <a:gd name="connsiteX390" fmla="*/ 1462706 w 1620550"/>
                  <a:gd name="connsiteY390" fmla="*/ 468361 h 1421209"/>
                  <a:gd name="connsiteX391" fmla="*/ 1452676 w 1620550"/>
                  <a:gd name="connsiteY391" fmla="*/ 471704 h 1421209"/>
                  <a:gd name="connsiteX392" fmla="*/ 1442646 w 1620550"/>
                  <a:gd name="connsiteY392" fmla="*/ 470032 h 1421209"/>
                  <a:gd name="connsiteX393" fmla="*/ 1435959 w 1620550"/>
                  <a:gd name="connsiteY393" fmla="*/ 463346 h 1421209"/>
                  <a:gd name="connsiteX394" fmla="*/ 1432616 w 1620550"/>
                  <a:gd name="connsiteY394" fmla="*/ 458331 h 1421209"/>
                  <a:gd name="connsiteX395" fmla="*/ 1427601 w 1620550"/>
                  <a:gd name="connsiteY395" fmla="*/ 454987 h 1421209"/>
                  <a:gd name="connsiteX396" fmla="*/ 1422586 w 1620550"/>
                  <a:gd name="connsiteY396" fmla="*/ 448301 h 1421209"/>
                  <a:gd name="connsiteX397" fmla="*/ 1412556 w 1620550"/>
                  <a:gd name="connsiteY397" fmla="*/ 439942 h 1421209"/>
                  <a:gd name="connsiteX398" fmla="*/ 1404198 w 1620550"/>
                  <a:gd name="connsiteY398" fmla="*/ 446629 h 1421209"/>
                  <a:gd name="connsiteX399" fmla="*/ 1390825 w 1620550"/>
                  <a:gd name="connsiteY399" fmla="*/ 453316 h 1421209"/>
                  <a:gd name="connsiteX400" fmla="*/ 1387481 w 1620550"/>
                  <a:gd name="connsiteY400" fmla="*/ 438271 h 1421209"/>
                  <a:gd name="connsiteX401" fmla="*/ 1385810 w 1620550"/>
                  <a:gd name="connsiteY401" fmla="*/ 433256 h 1421209"/>
                  <a:gd name="connsiteX402" fmla="*/ 1384138 w 1620550"/>
                  <a:gd name="connsiteY402" fmla="*/ 411524 h 1421209"/>
                  <a:gd name="connsiteX403" fmla="*/ 1379123 w 1620550"/>
                  <a:gd name="connsiteY403" fmla="*/ 408181 h 1421209"/>
                  <a:gd name="connsiteX404" fmla="*/ 1370765 w 1620550"/>
                  <a:gd name="connsiteY404" fmla="*/ 406509 h 1421209"/>
                  <a:gd name="connsiteX405" fmla="*/ 1364078 w 1620550"/>
                  <a:gd name="connsiteY405" fmla="*/ 404837 h 1421209"/>
                  <a:gd name="connsiteX406" fmla="*/ 1340675 w 1620550"/>
                  <a:gd name="connsiteY406" fmla="*/ 394807 h 1421209"/>
                  <a:gd name="connsiteX407" fmla="*/ 1327301 w 1620550"/>
                  <a:gd name="connsiteY407" fmla="*/ 384777 h 1421209"/>
                  <a:gd name="connsiteX408" fmla="*/ 1320615 w 1620550"/>
                  <a:gd name="connsiteY408" fmla="*/ 379762 h 1421209"/>
                  <a:gd name="connsiteX409" fmla="*/ 1310585 w 1620550"/>
                  <a:gd name="connsiteY409" fmla="*/ 373076 h 1421209"/>
                  <a:gd name="connsiteX410" fmla="*/ 1305570 w 1620550"/>
                  <a:gd name="connsiteY410" fmla="*/ 369732 h 1421209"/>
                  <a:gd name="connsiteX411" fmla="*/ 1297211 w 1620550"/>
                  <a:gd name="connsiteY411" fmla="*/ 368061 h 1421209"/>
                  <a:gd name="connsiteX412" fmla="*/ 1290525 w 1620550"/>
                  <a:gd name="connsiteY412" fmla="*/ 369732 h 1421209"/>
                  <a:gd name="connsiteX413" fmla="*/ 1282166 w 1620550"/>
                  <a:gd name="connsiteY413" fmla="*/ 398151 h 1421209"/>
                  <a:gd name="connsiteX414" fmla="*/ 1272136 w 1620550"/>
                  <a:gd name="connsiteY414" fmla="*/ 394807 h 1421209"/>
                  <a:gd name="connsiteX415" fmla="*/ 1267121 w 1620550"/>
                  <a:gd name="connsiteY415" fmla="*/ 391464 h 1421209"/>
                  <a:gd name="connsiteX416" fmla="*/ 1255420 w 1620550"/>
                  <a:gd name="connsiteY416" fmla="*/ 388121 h 1421209"/>
                  <a:gd name="connsiteX417" fmla="*/ 1220315 w 1620550"/>
                  <a:gd name="connsiteY417" fmla="*/ 386449 h 1421209"/>
                  <a:gd name="connsiteX418" fmla="*/ 1218643 w 1620550"/>
                  <a:gd name="connsiteY418" fmla="*/ 381434 h 1421209"/>
                  <a:gd name="connsiteX419" fmla="*/ 1211957 w 1620550"/>
                  <a:gd name="connsiteY419" fmla="*/ 379762 h 1421209"/>
                  <a:gd name="connsiteX420" fmla="*/ 1175180 w 1620550"/>
                  <a:gd name="connsiteY420" fmla="*/ 378091 h 1421209"/>
                  <a:gd name="connsiteX421" fmla="*/ 1173508 w 1620550"/>
                  <a:gd name="connsiteY421" fmla="*/ 373076 h 1421209"/>
                  <a:gd name="connsiteX422" fmla="*/ 1171837 w 1620550"/>
                  <a:gd name="connsiteY422" fmla="*/ 366389 h 1421209"/>
                  <a:gd name="connsiteX423" fmla="*/ 1163478 w 1620550"/>
                  <a:gd name="connsiteY423" fmla="*/ 361374 h 1421209"/>
                  <a:gd name="connsiteX424" fmla="*/ 1128373 w 1620550"/>
                  <a:gd name="connsiteY424" fmla="*/ 359703 h 1421209"/>
                  <a:gd name="connsiteX425" fmla="*/ 1120015 w 1620550"/>
                  <a:gd name="connsiteY425" fmla="*/ 356359 h 1421209"/>
                  <a:gd name="connsiteX426" fmla="*/ 1113328 w 1620550"/>
                  <a:gd name="connsiteY426" fmla="*/ 346329 h 1421209"/>
                  <a:gd name="connsiteX427" fmla="*/ 1108313 w 1620550"/>
                  <a:gd name="connsiteY427" fmla="*/ 339643 h 1421209"/>
                  <a:gd name="connsiteX428" fmla="*/ 1104970 w 1620550"/>
                  <a:gd name="connsiteY428" fmla="*/ 334628 h 1421209"/>
                  <a:gd name="connsiteX429" fmla="*/ 1098283 w 1620550"/>
                  <a:gd name="connsiteY429" fmla="*/ 327941 h 1421209"/>
                  <a:gd name="connsiteX430" fmla="*/ 1096612 w 1620550"/>
                  <a:gd name="connsiteY430" fmla="*/ 322926 h 1421209"/>
                  <a:gd name="connsiteX431" fmla="*/ 1091597 w 1620550"/>
                  <a:gd name="connsiteY431" fmla="*/ 321254 h 1421209"/>
                  <a:gd name="connsiteX432" fmla="*/ 1084910 w 1620550"/>
                  <a:gd name="connsiteY432" fmla="*/ 317911 h 1421209"/>
                  <a:gd name="connsiteX433" fmla="*/ 1064850 w 1620550"/>
                  <a:gd name="connsiteY433" fmla="*/ 314568 h 1421209"/>
                  <a:gd name="connsiteX434" fmla="*/ 1058164 w 1620550"/>
                  <a:gd name="connsiteY434" fmla="*/ 311224 h 1421209"/>
                  <a:gd name="connsiteX435" fmla="*/ 1054820 w 1620550"/>
                  <a:gd name="connsiteY435" fmla="*/ 307881 h 1421209"/>
                  <a:gd name="connsiteX436" fmla="*/ 1049805 w 1620550"/>
                  <a:gd name="connsiteY436" fmla="*/ 304538 h 1421209"/>
                  <a:gd name="connsiteX437" fmla="*/ 1046462 w 1620550"/>
                  <a:gd name="connsiteY437" fmla="*/ 301194 h 1421209"/>
                  <a:gd name="connsiteX438" fmla="*/ 1039775 w 1620550"/>
                  <a:gd name="connsiteY438" fmla="*/ 299523 h 1421209"/>
                  <a:gd name="connsiteX439" fmla="*/ 1029745 w 1620550"/>
                  <a:gd name="connsiteY439" fmla="*/ 296179 h 1421209"/>
                  <a:gd name="connsiteX440" fmla="*/ 1016372 w 1620550"/>
                  <a:gd name="connsiteY440" fmla="*/ 287821 h 1421209"/>
                  <a:gd name="connsiteX441" fmla="*/ 1013029 w 1620550"/>
                  <a:gd name="connsiteY441" fmla="*/ 282806 h 1421209"/>
                  <a:gd name="connsiteX442" fmla="*/ 1014700 w 1620550"/>
                  <a:gd name="connsiteY442" fmla="*/ 276119 h 1421209"/>
                  <a:gd name="connsiteX443" fmla="*/ 1016372 w 1620550"/>
                  <a:gd name="connsiteY443" fmla="*/ 271104 h 1421209"/>
                  <a:gd name="connsiteX444" fmla="*/ 1029745 w 1620550"/>
                  <a:gd name="connsiteY444" fmla="*/ 264418 h 1421209"/>
                  <a:gd name="connsiteX445" fmla="*/ 1031417 w 1620550"/>
                  <a:gd name="connsiteY445" fmla="*/ 257731 h 1421209"/>
                  <a:gd name="connsiteX446" fmla="*/ 1024730 w 1620550"/>
                  <a:gd name="connsiteY446" fmla="*/ 256059 h 1421209"/>
                  <a:gd name="connsiteX447" fmla="*/ 1016372 w 1620550"/>
                  <a:gd name="connsiteY447" fmla="*/ 251044 h 1421209"/>
                  <a:gd name="connsiteX448" fmla="*/ 1008014 w 1620550"/>
                  <a:gd name="connsiteY448" fmla="*/ 247701 h 1421209"/>
                  <a:gd name="connsiteX449" fmla="*/ 1002999 w 1620550"/>
                  <a:gd name="connsiteY449" fmla="*/ 244358 h 1421209"/>
                  <a:gd name="connsiteX450" fmla="*/ 997984 w 1620550"/>
                  <a:gd name="connsiteY450" fmla="*/ 242686 h 1421209"/>
                  <a:gd name="connsiteX451" fmla="*/ 989625 w 1620550"/>
                  <a:gd name="connsiteY451" fmla="*/ 235999 h 1421209"/>
                  <a:gd name="connsiteX452" fmla="*/ 984610 w 1620550"/>
                  <a:gd name="connsiteY452" fmla="*/ 234328 h 1421209"/>
                  <a:gd name="connsiteX453" fmla="*/ 966222 w 1620550"/>
                  <a:gd name="connsiteY453" fmla="*/ 227641 h 1421209"/>
                  <a:gd name="connsiteX454" fmla="*/ 944490 w 1620550"/>
                  <a:gd name="connsiteY454" fmla="*/ 229313 h 1421209"/>
                  <a:gd name="connsiteX455" fmla="*/ 902699 w 1620550"/>
                  <a:gd name="connsiteY455" fmla="*/ 227641 h 1421209"/>
                  <a:gd name="connsiteX456" fmla="*/ 897684 w 1620550"/>
                  <a:gd name="connsiteY456" fmla="*/ 225969 h 1421209"/>
                  <a:gd name="connsiteX457" fmla="*/ 885982 w 1620550"/>
                  <a:gd name="connsiteY457" fmla="*/ 215939 h 1421209"/>
                  <a:gd name="connsiteX458" fmla="*/ 874281 w 1620550"/>
                  <a:gd name="connsiteY458" fmla="*/ 207581 h 1421209"/>
                  <a:gd name="connsiteX459" fmla="*/ 869266 w 1620550"/>
                  <a:gd name="connsiteY459" fmla="*/ 204238 h 1421209"/>
                  <a:gd name="connsiteX460" fmla="*/ 860907 w 1620550"/>
                  <a:gd name="connsiteY460" fmla="*/ 197551 h 1421209"/>
                  <a:gd name="connsiteX461" fmla="*/ 854221 w 1620550"/>
                  <a:gd name="connsiteY461" fmla="*/ 195879 h 1421209"/>
                  <a:gd name="connsiteX462" fmla="*/ 842519 w 1620550"/>
                  <a:gd name="connsiteY462" fmla="*/ 192536 h 1421209"/>
                  <a:gd name="connsiteX463" fmla="*/ 815772 w 1620550"/>
                  <a:gd name="connsiteY463" fmla="*/ 194208 h 1421209"/>
                  <a:gd name="connsiteX464" fmla="*/ 805742 w 1620550"/>
                  <a:gd name="connsiteY464" fmla="*/ 195879 h 1421209"/>
                  <a:gd name="connsiteX465" fmla="*/ 789026 w 1620550"/>
                  <a:gd name="connsiteY465" fmla="*/ 197551 h 1421209"/>
                  <a:gd name="connsiteX466" fmla="*/ 782339 w 1620550"/>
                  <a:gd name="connsiteY466" fmla="*/ 194208 h 1421209"/>
                  <a:gd name="connsiteX467" fmla="*/ 780667 w 1620550"/>
                  <a:gd name="connsiteY467" fmla="*/ 189193 h 1421209"/>
                  <a:gd name="connsiteX468" fmla="*/ 775652 w 1620550"/>
                  <a:gd name="connsiteY468" fmla="*/ 175820 h 1421209"/>
                  <a:gd name="connsiteX469" fmla="*/ 768966 w 1620550"/>
                  <a:gd name="connsiteY469" fmla="*/ 170805 h 1421209"/>
                  <a:gd name="connsiteX470" fmla="*/ 765622 w 1620550"/>
                  <a:gd name="connsiteY470" fmla="*/ 167461 h 1421209"/>
                  <a:gd name="connsiteX471" fmla="*/ 753921 w 1620550"/>
                  <a:gd name="connsiteY471" fmla="*/ 162446 h 1421209"/>
                  <a:gd name="connsiteX472" fmla="*/ 735532 w 1620550"/>
                  <a:gd name="connsiteY472" fmla="*/ 164118 h 1421209"/>
                  <a:gd name="connsiteX473" fmla="*/ 722159 w 1620550"/>
                  <a:gd name="connsiteY473" fmla="*/ 170805 h 1421209"/>
                  <a:gd name="connsiteX474" fmla="*/ 720487 w 1620550"/>
                  <a:gd name="connsiteY474" fmla="*/ 165790 h 1421209"/>
                  <a:gd name="connsiteX475" fmla="*/ 715472 w 1620550"/>
                  <a:gd name="connsiteY475" fmla="*/ 164118 h 1421209"/>
                  <a:gd name="connsiteX476" fmla="*/ 693741 w 1620550"/>
                  <a:gd name="connsiteY476" fmla="*/ 165790 h 1421209"/>
                  <a:gd name="connsiteX477" fmla="*/ 683711 w 1620550"/>
                  <a:gd name="connsiteY477" fmla="*/ 169133 h 1421209"/>
                  <a:gd name="connsiteX478" fmla="*/ 678696 w 1620550"/>
                  <a:gd name="connsiteY478" fmla="*/ 170805 h 1421209"/>
                  <a:gd name="connsiteX479" fmla="*/ 631889 w 1620550"/>
                  <a:gd name="connsiteY479" fmla="*/ 167461 h 1421209"/>
                  <a:gd name="connsiteX480" fmla="*/ 620188 w 1620550"/>
                  <a:gd name="connsiteY480" fmla="*/ 164118 h 1421209"/>
                  <a:gd name="connsiteX481" fmla="*/ 610158 w 1620550"/>
                  <a:gd name="connsiteY481" fmla="*/ 159103 h 1421209"/>
                  <a:gd name="connsiteX482" fmla="*/ 603471 w 1620550"/>
                  <a:gd name="connsiteY482" fmla="*/ 157431 h 1421209"/>
                  <a:gd name="connsiteX483" fmla="*/ 598456 w 1620550"/>
                  <a:gd name="connsiteY483" fmla="*/ 155760 h 1421209"/>
                  <a:gd name="connsiteX484" fmla="*/ 593441 w 1620550"/>
                  <a:gd name="connsiteY484" fmla="*/ 152416 h 1421209"/>
                  <a:gd name="connsiteX485" fmla="*/ 570038 w 1620550"/>
                  <a:gd name="connsiteY485" fmla="*/ 147401 h 1421209"/>
                  <a:gd name="connsiteX486" fmla="*/ 561679 w 1620550"/>
                  <a:gd name="connsiteY486" fmla="*/ 140715 h 1421209"/>
                  <a:gd name="connsiteX487" fmla="*/ 556664 w 1620550"/>
                  <a:gd name="connsiteY487" fmla="*/ 137371 h 1421209"/>
                  <a:gd name="connsiteX488" fmla="*/ 541619 w 1620550"/>
                  <a:gd name="connsiteY488" fmla="*/ 127341 h 1421209"/>
                  <a:gd name="connsiteX489" fmla="*/ 529918 w 1620550"/>
                  <a:gd name="connsiteY489" fmla="*/ 120655 h 1421209"/>
                  <a:gd name="connsiteX490" fmla="*/ 518216 w 1620550"/>
                  <a:gd name="connsiteY490" fmla="*/ 113968 h 1421209"/>
                  <a:gd name="connsiteX491" fmla="*/ 511530 w 1620550"/>
                  <a:gd name="connsiteY491" fmla="*/ 110625 h 1421209"/>
                  <a:gd name="connsiteX492" fmla="*/ 493141 w 1620550"/>
                  <a:gd name="connsiteY492" fmla="*/ 107281 h 1421209"/>
                  <a:gd name="connsiteX493" fmla="*/ 484783 w 1620550"/>
                  <a:gd name="connsiteY493" fmla="*/ 105610 h 1421209"/>
                  <a:gd name="connsiteX494" fmla="*/ 478096 w 1620550"/>
                  <a:gd name="connsiteY494" fmla="*/ 100595 h 1421209"/>
                  <a:gd name="connsiteX495" fmla="*/ 474753 w 1620550"/>
                  <a:gd name="connsiteY495" fmla="*/ 90565 h 1421209"/>
                  <a:gd name="connsiteX496" fmla="*/ 471410 w 1620550"/>
                  <a:gd name="connsiteY496" fmla="*/ 87221 h 1421209"/>
                  <a:gd name="connsiteX497" fmla="*/ 397856 w 1620550"/>
                  <a:gd name="connsiteY497" fmla="*/ 85550 h 1421209"/>
                  <a:gd name="connsiteX498" fmla="*/ 386155 w 1620550"/>
                  <a:gd name="connsiteY498" fmla="*/ 78863 h 1421209"/>
                  <a:gd name="connsiteX499" fmla="*/ 374453 w 1620550"/>
                  <a:gd name="connsiteY499" fmla="*/ 77191 h 1421209"/>
                  <a:gd name="connsiteX500" fmla="*/ 356065 w 1620550"/>
                  <a:gd name="connsiteY500" fmla="*/ 72176 h 1421209"/>
                  <a:gd name="connsiteX501" fmla="*/ 349378 w 1620550"/>
                  <a:gd name="connsiteY501" fmla="*/ 70505 h 1421209"/>
                  <a:gd name="connsiteX502" fmla="*/ 339348 w 1620550"/>
                  <a:gd name="connsiteY502" fmla="*/ 65490 h 1421209"/>
                  <a:gd name="connsiteX503" fmla="*/ 322632 w 1620550"/>
                  <a:gd name="connsiteY503" fmla="*/ 60475 h 1421209"/>
                  <a:gd name="connsiteX504" fmla="*/ 312602 w 1620550"/>
                  <a:gd name="connsiteY504" fmla="*/ 65490 h 1421209"/>
                  <a:gd name="connsiteX505" fmla="*/ 307587 w 1620550"/>
                  <a:gd name="connsiteY505" fmla="*/ 67161 h 1421209"/>
                  <a:gd name="connsiteX506" fmla="*/ 299228 w 1620550"/>
                  <a:gd name="connsiteY506" fmla="*/ 70505 h 1421209"/>
                  <a:gd name="connsiteX507" fmla="*/ 295885 w 1620550"/>
                  <a:gd name="connsiteY507" fmla="*/ 65490 h 1421209"/>
                  <a:gd name="connsiteX508" fmla="*/ 282512 w 1620550"/>
                  <a:gd name="connsiteY508" fmla="*/ 55460 h 1421209"/>
                  <a:gd name="connsiteX509" fmla="*/ 277497 w 1620550"/>
                  <a:gd name="connsiteY509" fmla="*/ 53788 h 1421209"/>
                  <a:gd name="connsiteX510" fmla="*/ 269138 w 1620550"/>
                  <a:gd name="connsiteY510" fmla="*/ 42086 h 1421209"/>
                  <a:gd name="connsiteX511" fmla="*/ 267467 w 1620550"/>
                  <a:gd name="connsiteY511" fmla="*/ 33728 h 1421209"/>
                  <a:gd name="connsiteX512" fmla="*/ 262452 w 1620550"/>
                  <a:gd name="connsiteY512" fmla="*/ 28713 h 1421209"/>
                  <a:gd name="connsiteX513" fmla="*/ 252422 w 1620550"/>
                  <a:gd name="connsiteY513" fmla="*/ 25370 h 1421209"/>
                  <a:gd name="connsiteX514" fmla="*/ 239048 w 1620550"/>
                  <a:gd name="connsiteY514" fmla="*/ 15340 h 1421209"/>
                  <a:gd name="connsiteX515" fmla="*/ 234033 w 1620550"/>
                  <a:gd name="connsiteY515" fmla="*/ 10325 h 1421209"/>
                  <a:gd name="connsiteX516" fmla="*/ 220660 w 1620550"/>
                  <a:gd name="connsiteY516" fmla="*/ 5310 h 1421209"/>
                  <a:gd name="connsiteX517" fmla="*/ 215645 w 1620550"/>
                  <a:gd name="connsiteY517" fmla="*/ 1967 h 1421209"/>
                  <a:gd name="connsiteX518" fmla="*/ 192242 w 1620550"/>
                  <a:gd name="connsiteY518" fmla="*/ 1967 h 1421209"/>
                  <a:gd name="connsiteX519" fmla="*/ 198928 w 1620550"/>
                  <a:gd name="connsiteY519" fmla="*/ 5310 h 1421209"/>
                  <a:gd name="connsiteX0" fmla="*/ 198928 w 1620550"/>
                  <a:gd name="connsiteY0" fmla="*/ 5310 h 1421209"/>
                  <a:gd name="connsiteX1" fmla="*/ 177197 w 1620550"/>
                  <a:gd name="connsiteY1" fmla="*/ 10325 h 1421209"/>
                  <a:gd name="connsiteX2" fmla="*/ 175525 w 1620550"/>
                  <a:gd name="connsiteY2" fmla="*/ 15340 h 1421209"/>
                  <a:gd name="connsiteX3" fmla="*/ 177197 w 1620550"/>
                  <a:gd name="connsiteY3" fmla="*/ 20355 h 1421209"/>
                  <a:gd name="connsiteX4" fmla="*/ 172182 w 1620550"/>
                  <a:gd name="connsiteY4" fmla="*/ 23698 h 1421209"/>
                  <a:gd name="connsiteX5" fmla="*/ 152122 w 1620550"/>
                  <a:gd name="connsiteY5" fmla="*/ 25370 h 1421209"/>
                  <a:gd name="connsiteX6" fmla="*/ 155465 w 1620550"/>
                  <a:gd name="connsiteY6" fmla="*/ 35400 h 1421209"/>
                  <a:gd name="connsiteX7" fmla="*/ 157137 w 1620550"/>
                  <a:gd name="connsiteY7" fmla="*/ 42086 h 1421209"/>
                  <a:gd name="connsiteX8" fmla="*/ 148779 w 1620550"/>
                  <a:gd name="connsiteY8" fmla="*/ 47101 h 1421209"/>
                  <a:gd name="connsiteX9" fmla="*/ 145435 w 1620550"/>
                  <a:gd name="connsiteY9" fmla="*/ 50445 h 1421209"/>
                  <a:gd name="connsiteX10" fmla="*/ 135405 w 1620550"/>
                  <a:gd name="connsiteY10" fmla="*/ 53788 h 1421209"/>
                  <a:gd name="connsiteX11" fmla="*/ 133734 w 1620550"/>
                  <a:gd name="connsiteY11" fmla="*/ 58803 h 1421209"/>
                  <a:gd name="connsiteX12" fmla="*/ 115345 w 1620550"/>
                  <a:gd name="connsiteY12" fmla="*/ 63818 h 1421209"/>
                  <a:gd name="connsiteX13" fmla="*/ 81912 w 1620550"/>
                  <a:gd name="connsiteY13" fmla="*/ 62146 h 1421209"/>
                  <a:gd name="connsiteX14" fmla="*/ 73554 w 1620550"/>
                  <a:gd name="connsiteY14" fmla="*/ 53788 h 1421209"/>
                  <a:gd name="connsiteX15" fmla="*/ 66867 w 1620550"/>
                  <a:gd name="connsiteY15" fmla="*/ 50445 h 1421209"/>
                  <a:gd name="connsiteX16" fmla="*/ 55165 w 1620550"/>
                  <a:gd name="connsiteY16" fmla="*/ 52116 h 1421209"/>
                  <a:gd name="connsiteX17" fmla="*/ 55165 w 1620550"/>
                  <a:gd name="connsiteY17" fmla="*/ 62146 h 1421209"/>
                  <a:gd name="connsiteX18" fmla="*/ 30090 w 1620550"/>
                  <a:gd name="connsiteY18" fmla="*/ 65490 h 1421209"/>
                  <a:gd name="connsiteX19" fmla="*/ 16717 w 1620550"/>
                  <a:gd name="connsiteY19" fmla="*/ 75520 h 1421209"/>
                  <a:gd name="connsiteX20" fmla="*/ 11702 w 1620550"/>
                  <a:gd name="connsiteY20" fmla="*/ 80535 h 1421209"/>
                  <a:gd name="connsiteX21" fmla="*/ 8359 w 1620550"/>
                  <a:gd name="connsiteY21" fmla="*/ 88893 h 1421209"/>
                  <a:gd name="connsiteX22" fmla="*/ 6687 w 1620550"/>
                  <a:gd name="connsiteY22" fmla="*/ 98923 h 1421209"/>
                  <a:gd name="connsiteX23" fmla="*/ 0 w 1620550"/>
                  <a:gd name="connsiteY23" fmla="*/ 107281 h 1421209"/>
                  <a:gd name="connsiteX24" fmla="*/ 15045 w 1620550"/>
                  <a:gd name="connsiteY24" fmla="*/ 115640 h 1421209"/>
                  <a:gd name="connsiteX25" fmla="*/ 13374 w 1620550"/>
                  <a:gd name="connsiteY25" fmla="*/ 123998 h 1421209"/>
                  <a:gd name="connsiteX26" fmla="*/ 16717 w 1620550"/>
                  <a:gd name="connsiteY26" fmla="*/ 130685 h 1421209"/>
                  <a:gd name="connsiteX27" fmla="*/ 11702 w 1620550"/>
                  <a:gd name="connsiteY27" fmla="*/ 135700 h 1421209"/>
                  <a:gd name="connsiteX28" fmla="*/ 8359 w 1620550"/>
                  <a:gd name="connsiteY28" fmla="*/ 140715 h 1421209"/>
                  <a:gd name="connsiteX29" fmla="*/ 33434 w 1620550"/>
                  <a:gd name="connsiteY29" fmla="*/ 142386 h 1421209"/>
                  <a:gd name="connsiteX30" fmla="*/ 36777 w 1620550"/>
                  <a:gd name="connsiteY30" fmla="*/ 147401 h 1421209"/>
                  <a:gd name="connsiteX31" fmla="*/ 20060 w 1620550"/>
                  <a:gd name="connsiteY31" fmla="*/ 150745 h 1421209"/>
                  <a:gd name="connsiteX32" fmla="*/ 18389 w 1620550"/>
                  <a:gd name="connsiteY32" fmla="*/ 174148 h 1421209"/>
                  <a:gd name="connsiteX33" fmla="*/ 23404 w 1620550"/>
                  <a:gd name="connsiteY33" fmla="*/ 175820 h 1421209"/>
                  <a:gd name="connsiteX34" fmla="*/ 31762 w 1620550"/>
                  <a:gd name="connsiteY34" fmla="*/ 174148 h 1421209"/>
                  <a:gd name="connsiteX35" fmla="*/ 33434 w 1620550"/>
                  <a:gd name="connsiteY35" fmla="*/ 169133 h 1421209"/>
                  <a:gd name="connsiteX36" fmla="*/ 38449 w 1620550"/>
                  <a:gd name="connsiteY36" fmla="*/ 167461 h 1421209"/>
                  <a:gd name="connsiteX37" fmla="*/ 48479 w 1620550"/>
                  <a:gd name="connsiteY37" fmla="*/ 169133 h 1421209"/>
                  <a:gd name="connsiteX38" fmla="*/ 50150 w 1620550"/>
                  <a:gd name="connsiteY38" fmla="*/ 180835 h 1421209"/>
                  <a:gd name="connsiteX39" fmla="*/ 45135 w 1620550"/>
                  <a:gd name="connsiteY39" fmla="*/ 182506 h 1421209"/>
                  <a:gd name="connsiteX40" fmla="*/ 41792 w 1620550"/>
                  <a:gd name="connsiteY40" fmla="*/ 187521 h 1421209"/>
                  <a:gd name="connsiteX41" fmla="*/ 40120 w 1620550"/>
                  <a:gd name="connsiteY41" fmla="*/ 197551 h 1421209"/>
                  <a:gd name="connsiteX42" fmla="*/ 38449 w 1620550"/>
                  <a:gd name="connsiteY42" fmla="*/ 205909 h 1421209"/>
                  <a:gd name="connsiteX43" fmla="*/ 35105 w 1620550"/>
                  <a:gd name="connsiteY43" fmla="*/ 212596 h 1421209"/>
                  <a:gd name="connsiteX44" fmla="*/ 33434 w 1620550"/>
                  <a:gd name="connsiteY44" fmla="*/ 217611 h 1421209"/>
                  <a:gd name="connsiteX45" fmla="*/ 41792 w 1620550"/>
                  <a:gd name="connsiteY45" fmla="*/ 220954 h 1421209"/>
                  <a:gd name="connsiteX46" fmla="*/ 58509 w 1620550"/>
                  <a:gd name="connsiteY46" fmla="*/ 222626 h 1421209"/>
                  <a:gd name="connsiteX47" fmla="*/ 30090 w 1620550"/>
                  <a:gd name="connsiteY47" fmla="*/ 232656 h 1421209"/>
                  <a:gd name="connsiteX48" fmla="*/ 28419 w 1620550"/>
                  <a:gd name="connsiteY48" fmla="*/ 237671 h 1421209"/>
                  <a:gd name="connsiteX49" fmla="*/ 40120 w 1620550"/>
                  <a:gd name="connsiteY49" fmla="*/ 239343 h 1421209"/>
                  <a:gd name="connsiteX50" fmla="*/ 31762 w 1620550"/>
                  <a:gd name="connsiteY50" fmla="*/ 242686 h 1421209"/>
                  <a:gd name="connsiteX51" fmla="*/ 26747 w 1620550"/>
                  <a:gd name="connsiteY51" fmla="*/ 249373 h 1421209"/>
                  <a:gd name="connsiteX52" fmla="*/ 15045 w 1620550"/>
                  <a:gd name="connsiteY52" fmla="*/ 257731 h 1421209"/>
                  <a:gd name="connsiteX53" fmla="*/ 15045 w 1620550"/>
                  <a:gd name="connsiteY53" fmla="*/ 291164 h 1421209"/>
                  <a:gd name="connsiteX54" fmla="*/ 25075 w 1620550"/>
                  <a:gd name="connsiteY54" fmla="*/ 287821 h 1421209"/>
                  <a:gd name="connsiteX55" fmla="*/ 38196 w 1620550"/>
                  <a:gd name="connsiteY55" fmla="*/ 286607 h 1421209"/>
                  <a:gd name="connsiteX56" fmla="*/ 45845 w 1620550"/>
                  <a:gd name="connsiteY56" fmla="*/ 283010 h 1421209"/>
                  <a:gd name="connsiteX57" fmla="*/ 61347 w 1620550"/>
                  <a:gd name="connsiteY57" fmla="*/ 276577 h 1421209"/>
                  <a:gd name="connsiteX58" fmla="*/ 83584 w 1620550"/>
                  <a:gd name="connsiteY58" fmla="*/ 267761 h 1421209"/>
                  <a:gd name="connsiteX59" fmla="*/ 91942 w 1620550"/>
                  <a:gd name="connsiteY59" fmla="*/ 269433 h 1421209"/>
                  <a:gd name="connsiteX60" fmla="*/ 98629 w 1620550"/>
                  <a:gd name="connsiteY60" fmla="*/ 272776 h 1421209"/>
                  <a:gd name="connsiteX61" fmla="*/ 103644 w 1620550"/>
                  <a:gd name="connsiteY61" fmla="*/ 274448 h 1421209"/>
                  <a:gd name="connsiteX62" fmla="*/ 108659 w 1620550"/>
                  <a:gd name="connsiteY62" fmla="*/ 279463 h 1421209"/>
                  <a:gd name="connsiteX63" fmla="*/ 112002 w 1620550"/>
                  <a:gd name="connsiteY63" fmla="*/ 299523 h 1421209"/>
                  <a:gd name="connsiteX64" fmla="*/ 100300 w 1620550"/>
                  <a:gd name="connsiteY64" fmla="*/ 307881 h 1421209"/>
                  <a:gd name="connsiteX65" fmla="*/ 96957 w 1620550"/>
                  <a:gd name="connsiteY65" fmla="*/ 321254 h 1421209"/>
                  <a:gd name="connsiteX66" fmla="*/ 95285 w 1620550"/>
                  <a:gd name="connsiteY66" fmla="*/ 326269 h 1421209"/>
                  <a:gd name="connsiteX67" fmla="*/ 98629 w 1620550"/>
                  <a:gd name="connsiteY67" fmla="*/ 331284 h 1421209"/>
                  <a:gd name="connsiteX68" fmla="*/ 118689 w 1620550"/>
                  <a:gd name="connsiteY68" fmla="*/ 334628 h 1421209"/>
                  <a:gd name="connsiteX69" fmla="*/ 147107 w 1620550"/>
                  <a:gd name="connsiteY69" fmla="*/ 332956 h 1421209"/>
                  <a:gd name="connsiteX70" fmla="*/ 158808 w 1620550"/>
                  <a:gd name="connsiteY70" fmla="*/ 329613 h 1421209"/>
                  <a:gd name="connsiteX71" fmla="*/ 168838 w 1620550"/>
                  <a:gd name="connsiteY71" fmla="*/ 332956 h 1421209"/>
                  <a:gd name="connsiteX72" fmla="*/ 177197 w 1620550"/>
                  <a:gd name="connsiteY72" fmla="*/ 342986 h 1421209"/>
                  <a:gd name="connsiteX73" fmla="*/ 183883 w 1620550"/>
                  <a:gd name="connsiteY73" fmla="*/ 346329 h 1421209"/>
                  <a:gd name="connsiteX74" fmla="*/ 189861 w 1620550"/>
                  <a:gd name="connsiteY74" fmla="*/ 357526 h 1421209"/>
                  <a:gd name="connsiteX75" fmla="*/ 217317 w 1620550"/>
                  <a:gd name="connsiteY75" fmla="*/ 341314 h 1421209"/>
                  <a:gd name="connsiteX76" fmla="*/ 222332 w 1620550"/>
                  <a:gd name="connsiteY76" fmla="*/ 348915 h 1421209"/>
                  <a:gd name="connsiteX77" fmla="*/ 232362 w 1620550"/>
                  <a:gd name="connsiteY77" fmla="*/ 331284 h 1421209"/>
                  <a:gd name="connsiteX78" fmla="*/ 239048 w 1620550"/>
                  <a:gd name="connsiteY78" fmla="*/ 334628 h 1421209"/>
                  <a:gd name="connsiteX79" fmla="*/ 244063 w 1620550"/>
                  <a:gd name="connsiteY79" fmla="*/ 339643 h 1421209"/>
                  <a:gd name="connsiteX80" fmla="*/ 250750 w 1620550"/>
                  <a:gd name="connsiteY80" fmla="*/ 341314 h 1421209"/>
                  <a:gd name="connsiteX81" fmla="*/ 260780 w 1620550"/>
                  <a:gd name="connsiteY81" fmla="*/ 348001 h 1421209"/>
                  <a:gd name="connsiteX82" fmla="*/ 269138 w 1620550"/>
                  <a:gd name="connsiteY82" fmla="*/ 356359 h 1421209"/>
                  <a:gd name="connsiteX83" fmla="*/ 270810 w 1620550"/>
                  <a:gd name="connsiteY83" fmla="*/ 368061 h 1421209"/>
                  <a:gd name="connsiteX84" fmla="*/ 290870 w 1620550"/>
                  <a:gd name="connsiteY84" fmla="*/ 366389 h 1421209"/>
                  <a:gd name="connsiteX85" fmla="*/ 305915 w 1620550"/>
                  <a:gd name="connsiteY85" fmla="*/ 368061 h 1421209"/>
                  <a:gd name="connsiteX86" fmla="*/ 304243 w 1620550"/>
                  <a:gd name="connsiteY86" fmla="*/ 388121 h 1421209"/>
                  <a:gd name="connsiteX87" fmla="*/ 307587 w 1620550"/>
                  <a:gd name="connsiteY87" fmla="*/ 403166 h 1421209"/>
                  <a:gd name="connsiteX88" fmla="*/ 320960 w 1620550"/>
                  <a:gd name="connsiteY88" fmla="*/ 414867 h 1421209"/>
                  <a:gd name="connsiteX89" fmla="*/ 329318 w 1620550"/>
                  <a:gd name="connsiteY89" fmla="*/ 424897 h 1421209"/>
                  <a:gd name="connsiteX90" fmla="*/ 336005 w 1620550"/>
                  <a:gd name="connsiteY90" fmla="*/ 428241 h 1421209"/>
                  <a:gd name="connsiteX91" fmla="*/ 334333 w 1620550"/>
                  <a:gd name="connsiteY91" fmla="*/ 458331 h 1421209"/>
                  <a:gd name="connsiteX92" fmla="*/ 307587 w 1620550"/>
                  <a:gd name="connsiteY92" fmla="*/ 478391 h 1421209"/>
                  <a:gd name="connsiteX93" fmla="*/ 292542 w 1620550"/>
                  <a:gd name="connsiteY93" fmla="*/ 483406 h 1421209"/>
                  <a:gd name="connsiteX94" fmla="*/ 287527 w 1620550"/>
                  <a:gd name="connsiteY94" fmla="*/ 486749 h 1421209"/>
                  <a:gd name="connsiteX95" fmla="*/ 265795 w 1620550"/>
                  <a:gd name="connsiteY95" fmla="*/ 488421 h 1421209"/>
                  <a:gd name="connsiteX96" fmla="*/ 257437 w 1620550"/>
                  <a:gd name="connsiteY96" fmla="*/ 495107 h 1421209"/>
                  <a:gd name="connsiteX97" fmla="*/ 249078 w 1620550"/>
                  <a:gd name="connsiteY97" fmla="*/ 503466 h 1421209"/>
                  <a:gd name="connsiteX98" fmla="*/ 247407 w 1620550"/>
                  <a:gd name="connsiteY98" fmla="*/ 508481 h 1421209"/>
                  <a:gd name="connsiteX99" fmla="*/ 239048 w 1620550"/>
                  <a:gd name="connsiteY99" fmla="*/ 515167 h 1421209"/>
                  <a:gd name="connsiteX100" fmla="*/ 237377 w 1620550"/>
                  <a:gd name="connsiteY100" fmla="*/ 536899 h 1421209"/>
                  <a:gd name="connsiteX101" fmla="*/ 239048 w 1620550"/>
                  <a:gd name="connsiteY101" fmla="*/ 543586 h 1421209"/>
                  <a:gd name="connsiteX102" fmla="*/ 237377 w 1620550"/>
                  <a:gd name="connsiteY102" fmla="*/ 595407 h 1421209"/>
                  <a:gd name="connsiteX103" fmla="*/ 230690 w 1620550"/>
                  <a:gd name="connsiteY103" fmla="*/ 610452 h 1421209"/>
                  <a:gd name="connsiteX104" fmla="*/ 227347 w 1620550"/>
                  <a:gd name="connsiteY104" fmla="*/ 618810 h 1421209"/>
                  <a:gd name="connsiteX105" fmla="*/ 224003 w 1620550"/>
                  <a:gd name="connsiteY105" fmla="*/ 625497 h 1421209"/>
                  <a:gd name="connsiteX106" fmla="*/ 222332 w 1620550"/>
                  <a:gd name="connsiteY106" fmla="*/ 633855 h 1421209"/>
                  <a:gd name="connsiteX107" fmla="*/ 213973 w 1620550"/>
                  <a:gd name="connsiteY107" fmla="*/ 642214 h 1421209"/>
                  <a:gd name="connsiteX108" fmla="*/ 205615 w 1620550"/>
                  <a:gd name="connsiteY108" fmla="*/ 648900 h 1421209"/>
                  <a:gd name="connsiteX109" fmla="*/ 190570 w 1620550"/>
                  <a:gd name="connsiteY109" fmla="*/ 652244 h 1421209"/>
                  <a:gd name="connsiteX110" fmla="*/ 192242 w 1620550"/>
                  <a:gd name="connsiteY110" fmla="*/ 662274 h 1421209"/>
                  <a:gd name="connsiteX111" fmla="*/ 193913 w 1620550"/>
                  <a:gd name="connsiteY111" fmla="*/ 667289 h 1421209"/>
                  <a:gd name="connsiteX112" fmla="*/ 190570 w 1620550"/>
                  <a:gd name="connsiteY112" fmla="*/ 695707 h 1421209"/>
                  <a:gd name="connsiteX113" fmla="*/ 187227 w 1620550"/>
                  <a:gd name="connsiteY113" fmla="*/ 704065 h 1421209"/>
                  <a:gd name="connsiteX114" fmla="*/ 185555 w 1620550"/>
                  <a:gd name="connsiteY114" fmla="*/ 712424 h 1421209"/>
                  <a:gd name="connsiteX115" fmla="*/ 180540 w 1620550"/>
                  <a:gd name="connsiteY115" fmla="*/ 717439 h 1421209"/>
                  <a:gd name="connsiteX116" fmla="*/ 175525 w 1620550"/>
                  <a:gd name="connsiteY116" fmla="*/ 725797 h 1421209"/>
                  <a:gd name="connsiteX117" fmla="*/ 170510 w 1620550"/>
                  <a:gd name="connsiteY117" fmla="*/ 727469 h 1421209"/>
                  <a:gd name="connsiteX118" fmla="*/ 165495 w 1620550"/>
                  <a:gd name="connsiteY118" fmla="*/ 730812 h 1421209"/>
                  <a:gd name="connsiteX119" fmla="*/ 147107 w 1620550"/>
                  <a:gd name="connsiteY119" fmla="*/ 734155 h 1421209"/>
                  <a:gd name="connsiteX120" fmla="*/ 137077 w 1620550"/>
                  <a:gd name="connsiteY120" fmla="*/ 739170 h 1421209"/>
                  <a:gd name="connsiteX121" fmla="*/ 128719 w 1620550"/>
                  <a:gd name="connsiteY121" fmla="*/ 742513 h 1421209"/>
                  <a:gd name="connsiteX122" fmla="*/ 122032 w 1620550"/>
                  <a:gd name="connsiteY122" fmla="*/ 745857 h 1421209"/>
                  <a:gd name="connsiteX123" fmla="*/ 98628 w 1620550"/>
                  <a:gd name="connsiteY123" fmla="*/ 745856 h 1421209"/>
                  <a:gd name="connsiteX124" fmla="*/ 103644 w 1620550"/>
                  <a:gd name="connsiteY124" fmla="*/ 755887 h 1421209"/>
                  <a:gd name="connsiteX125" fmla="*/ 106987 w 1620550"/>
                  <a:gd name="connsiteY125" fmla="*/ 770932 h 1421209"/>
                  <a:gd name="connsiteX126" fmla="*/ 110330 w 1620550"/>
                  <a:gd name="connsiteY126" fmla="*/ 779290 h 1421209"/>
                  <a:gd name="connsiteX127" fmla="*/ 112002 w 1620550"/>
                  <a:gd name="connsiteY127" fmla="*/ 787648 h 1421209"/>
                  <a:gd name="connsiteX128" fmla="*/ 113674 w 1620550"/>
                  <a:gd name="connsiteY128" fmla="*/ 821082 h 1421209"/>
                  <a:gd name="connsiteX129" fmla="*/ 117017 w 1620550"/>
                  <a:gd name="connsiteY129" fmla="*/ 827768 h 1421209"/>
                  <a:gd name="connsiteX130" fmla="*/ 125375 w 1620550"/>
                  <a:gd name="connsiteY130" fmla="*/ 831112 h 1421209"/>
                  <a:gd name="connsiteX131" fmla="*/ 140420 w 1620550"/>
                  <a:gd name="connsiteY131" fmla="*/ 832783 h 1421209"/>
                  <a:gd name="connsiteX132" fmla="*/ 155465 w 1620550"/>
                  <a:gd name="connsiteY132" fmla="*/ 837798 h 1421209"/>
                  <a:gd name="connsiteX133" fmla="*/ 153793 w 1620550"/>
                  <a:gd name="connsiteY133" fmla="*/ 864545 h 1421209"/>
                  <a:gd name="connsiteX134" fmla="*/ 147107 w 1620550"/>
                  <a:gd name="connsiteY134" fmla="*/ 871232 h 1421209"/>
                  <a:gd name="connsiteX135" fmla="*/ 143764 w 1620550"/>
                  <a:gd name="connsiteY135" fmla="*/ 876247 h 1421209"/>
                  <a:gd name="connsiteX136" fmla="*/ 133734 w 1620550"/>
                  <a:gd name="connsiteY136" fmla="*/ 886277 h 1421209"/>
                  <a:gd name="connsiteX137" fmla="*/ 128719 w 1620550"/>
                  <a:gd name="connsiteY137" fmla="*/ 891292 h 1421209"/>
                  <a:gd name="connsiteX138" fmla="*/ 108659 w 1620550"/>
                  <a:gd name="connsiteY138" fmla="*/ 904665 h 1421209"/>
                  <a:gd name="connsiteX139" fmla="*/ 100300 w 1620550"/>
                  <a:gd name="connsiteY139" fmla="*/ 913023 h 1421209"/>
                  <a:gd name="connsiteX140" fmla="*/ 86927 w 1620550"/>
                  <a:gd name="connsiteY140" fmla="*/ 928068 h 1421209"/>
                  <a:gd name="connsiteX141" fmla="*/ 86927 w 1620550"/>
                  <a:gd name="connsiteY141" fmla="*/ 981561 h 1421209"/>
                  <a:gd name="connsiteX142" fmla="*/ 96957 w 1620550"/>
                  <a:gd name="connsiteY142" fmla="*/ 991591 h 1421209"/>
                  <a:gd name="connsiteX143" fmla="*/ 108659 w 1620550"/>
                  <a:gd name="connsiteY143" fmla="*/ 993263 h 1421209"/>
                  <a:gd name="connsiteX144" fmla="*/ 115345 w 1620550"/>
                  <a:gd name="connsiteY144" fmla="*/ 1038398 h 1421209"/>
                  <a:gd name="connsiteX145" fmla="*/ 93614 w 1620550"/>
                  <a:gd name="connsiteY145" fmla="*/ 1035055 h 1421209"/>
                  <a:gd name="connsiteX146" fmla="*/ 63524 w 1620550"/>
                  <a:gd name="connsiteY146" fmla="*/ 1036726 h 1421209"/>
                  <a:gd name="connsiteX147" fmla="*/ 56837 w 1620550"/>
                  <a:gd name="connsiteY147" fmla="*/ 1045085 h 1421209"/>
                  <a:gd name="connsiteX148" fmla="*/ 48479 w 1620550"/>
                  <a:gd name="connsiteY148" fmla="*/ 1051771 h 1421209"/>
                  <a:gd name="connsiteX149" fmla="*/ 43464 w 1620550"/>
                  <a:gd name="connsiteY149" fmla="*/ 1058458 h 1421209"/>
                  <a:gd name="connsiteX150" fmla="*/ 40120 w 1620550"/>
                  <a:gd name="connsiteY150" fmla="*/ 1061801 h 1421209"/>
                  <a:gd name="connsiteX151" fmla="*/ 35105 w 1620550"/>
                  <a:gd name="connsiteY151" fmla="*/ 1070160 h 1421209"/>
                  <a:gd name="connsiteX152" fmla="*/ 33434 w 1620550"/>
                  <a:gd name="connsiteY152" fmla="*/ 1075175 h 1421209"/>
                  <a:gd name="connsiteX153" fmla="*/ 28419 w 1620550"/>
                  <a:gd name="connsiteY153" fmla="*/ 1091891 h 1421209"/>
                  <a:gd name="connsiteX154" fmla="*/ 25075 w 1620550"/>
                  <a:gd name="connsiteY154" fmla="*/ 1098578 h 1421209"/>
                  <a:gd name="connsiteX155" fmla="*/ 20060 w 1620550"/>
                  <a:gd name="connsiteY155" fmla="*/ 1111951 h 1421209"/>
                  <a:gd name="connsiteX156" fmla="*/ 21732 w 1620550"/>
                  <a:gd name="connsiteY156" fmla="*/ 1163773 h 1421209"/>
                  <a:gd name="connsiteX157" fmla="*/ 41792 w 1620550"/>
                  <a:gd name="connsiteY157" fmla="*/ 1162101 h 1421209"/>
                  <a:gd name="connsiteX158" fmla="*/ 68539 w 1620550"/>
                  <a:gd name="connsiteY158" fmla="*/ 1163773 h 1421209"/>
                  <a:gd name="connsiteX159" fmla="*/ 81912 w 1620550"/>
                  <a:gd name="connsiteY159" fmla="*/ 1173803 h 1421209"/>
                  <a:gd name="connsiteX160" fmla="*/ 86927 w 1620550"/>
                  <a:gd name="connsiteY160" fmla="*/ 1177146 h 1421209"/>
                  <a:gd name="connsiteX161" fmla="*/ 93614 w 1620550"/>
                  <a:gd name="connsiteY161" fmla="*/ 1185504 h 1421209"/>
                  <a:gd name="connsiteX162" fmla="*/ 96957 w 1620550"/>
                  <a:gd name="connsiteY162" fmla="*/ 1195534 h 1421209"/>
                  <a:gd name="connsiteX163" fmla="*/ 98629 w 1620550"/>
                  <a:gd name="connsiteY163" fmla="*/ 1200549 h 1421209"/>
                  <a:gd name="connsiteX164" fmla="*/ 108659 w 1620550"/>
                  <a:gd name="connsiteY164" fmla="*/ 1212251 h 1421209"/>
                  <a:gd name="connsiteX165" fmla="*/ 113674 w 1620550"/>
                  <a:gd name="connsiteY165" fmla="*/ 1213923 h 1421209"/>
                  <a:gd name="connsiteX166" fmla="*/ 122032 w 1620550"/>
                  <a:gd name="connsiteY166" fmla="*/ 1217266 h 1421209"/>
                  <a:gd name="connsiteX167" fmla="*/ 135405 w 1620550"/>
                  <a:gd name="connsiteY167" fmla="*/ 1227296 h 1421209"/>
                  <a:gd name="connsiteX168" fmla="*/ 140420 w 1620550"/>
                  <a:gd name="connsiteY168" fmla="*/ 1230639 h 1421209"/>
                  <a:gd name="connsiteX169" fmla="*/ 145435 w 1620550"/>
                  <a:gd name="connsiteY169" fmla="*/ 1232311 h 1421209"/>
                  <a:gd name="connsiteX170" fmla="*/ 148779 w 1620550"/>
                  <a:gd name="connsiteY170" fmla="*/ 1237326 h 1421209"/>
                  <a:gd name="connsiteX171" fmla="*/ 153793 w 1620550"/>
                  <a:gd name="connsiteY171" fmla="*/ 1244013 h 1421209"/>
                  <a:gd name="connsiteX172" fmla="*/ 158808 w 1620550"/>
                  <a:gd name="connsiteY172" fmla="*/ 1255714 h 1421209"/>
                  <a:gd name="connsiteX173" fmla="*/ 152122 w 1620550"/>
                  <a:gd name="connsiteY173" fmla="*/ 1259058 h 1421209"/>
                  <a:gd name="connsiteX174" fmla="*/ 143764 w 1620550"/>
                  <a:gd name="connsiteY174" fmla="*/ 1260729 h 1421209"/>
                  <a:gd name="connsiteX175" fmla="*/ 145435 w 1620550"/>
                  <a:gd name="connsiteY175" fmla="*/ 1274103 h 1421209"/>
                  <a:gd name="connsiteX176" fmla="*/ 152122 w 1620550"/>
                  <a:gd name="connsiteY176" fmla="*/ 1290819 h 1421209"/>
                  <a:gd name="connsiteX177" fmla="*/ 155465 w 1620550"/>
                  <a:gd name="connsiteY177" fmla="*/ 1295834 h 1421209"/>
                  <a:gd name="connsiteX178" fmla="*/ 160480 w 1620550"/>
                  <a:gd name="connsiteY178" fmla="*/ 1297506 h 1421209"/>
                  <a:gd name="connsiteX179" fmla="*/ 163823 w 1620550"/>
                  <a:gd name="connsiteY179" fmla="*/ 1302521 h 1421209"/>
                  <a:gd name="connsiteX180" fmla="*/ 168838 w 1620550"/>
                  <a:gd name="connsiteY180" fmla="*/ 1305864 h 1421209"/>
                  <a:gd name="connsiteX181" fmla="*/ 177197 w 1620550"/>
                  <a:gd name="connsiteY181" fmla="*/ 1312551 h 1421209"/>
                  <a:gd name="connsiteX182" fmla="*/ 180540 w 1620550"/>
                  <a:gd name="connsiteY182" fmla="*/ 1317566 h 1421209"/>
                  <a:gd name="connsiteX183" fmla="*/ 168838 w 1620550"/>
                  <a:gd name="connsiteY183" fmla="*/ 1329267 h 1421209"/>
                  <a:gd name="connsiteX184" fmla="*/ 170510 w 1620550"/>
                  <a:gd name="connsiteY184" fmla="*/ 1349327 h 1421209"/>
                  <a:gd name="connsiteX185" fmla="*/ 175525 w 1620550"/>
                  <a:gd name="connsiteY185" fmla="*/ 1356014 h 1421209"/>
                  <a:gd name="connsiteX186" fmla="*/ 177197 w 1620550"/>
                  <a:gd name="connsiteY186" fmla="*/ 1371059 h 1421209"/>
                  <a:gd name="connsiteX187" fmla="*/ 178868 w 1620550"/>
                  <a:gd name="connsiteY187" fmla="*/ 1381089 h 1421209"/>
                  <a:gd name="connsiteX188" fmla="*/ 182212 w 1620550"/>
                  <a:gd name="connsiteY188" fmla="*/ 1397806 h 1421209"/>
                  <a:gd name="connsiteX189" fmla="*/ 188898 w 1620550"/>
                  <a:gd name="connsiteY189" fmla="*/ 1401149 h 1421209"/>
                  <a:gd name="connsiteX190" fmla="*/ 193913 w 1620550"/>
                  <a:gd name="connsiteY190" fmla="*/ 1399477 h 1421209"/>
                  <a:gd name="connsiteX191" fmla="*/ 200600 w 1620550"/>
                  <a:gd name="connsiteY191" fmla="*/ 1389447 h 1421209"/>
                  <a:gd name="connsiteX192" fmla="*/ 208958 w 1620550"/>
                  <a:gd name="connsiteY192" fmla="*/ 1392791 h 1421209"/>
                  <a:gd name="connsiteX193" fmla="*/ 210630 w 1620550"/>
                  <a:gd name="connsiteY193" fmla="*/ 1397806 h 1421209"/>
                  <a:gd name="connsiteX194" fmla="*/ 213973 w 1620550"/>
                  <a:gd name="connsiteY194" fmla="*/ 1402821 h 1421209"/>
                  <a:gd name="connsiteX195" fmla="*/ 215645 w 1620550"/>
                  <a:gd name="connsiteY195" fmla="*/ 1412851 h 1421209"/>
                  <a:gd name="connsiteX196" fmla="*/ 222332 w 1620550"/>
                  <a:gd name="connsiteY196" fmla="*/ 1416194 h 1421209"/>
                  <a:gd name="connsiteX197" fmla="*/ 234033 w 1620550"/>
                  <a:gd name="connsiteY197" fmla="*/ 1419537 h 1421209"/>
                  <a:gd name="connsiteX198" fmla="*/ 239048 w 1620550"/>
                  <a:gd name="connsiteY198" fmla="*/ 1421209 h 1421209"/>
                  <a:gd name="connsiteX199" fmla="*/ 269138 w 1620550"/>
                  <a:gd name="connsiteY199" fmla="*/ 1419537 h 1421209"/>
                  <a:gd name="connsiteX200" fmla="*/ 270810 w 1620550"/>
                  <a:gd name="connsiteY200" fmla="*/ 1414522 h 1421209"/>
                  <a:gd name="connsiteX201" fmla="*/ 277497 w 1620550"/>
                  <a:gd name="connsiteY201" fmla="*/ 1412851 h 1421209"/>
                  <a:gd name="connsiteX202" fmla="*/ 285855 w 1620550"/>
                  <a:gd name="connsiteY202" fmla="*/ 1411179 h 1421209"/>
                  <a:gd name="connsiteX203" fmla="*/ 287527 w 1620550"/>
                  <a:gd name="connsiteY203" fmla="*/ 1406164 h 1421209"/>
                  <a:gd name="connsiteX204" fmla="*/ 289198 w 1620550"/>
                  <a:gd name="connsiteY204" fmla="*/ 1396134 h 1421209"/>
                  <a:gd name="connsiteX205" fmla="*/ 294213 w 1620550"/>
                  <a:gd name="connsiteY205" fmla="*/ 1389447 h 1421209"/>
                  <a:gd name="connsiteX206" fmla="*/ 300900 w 1620550"/>
                  <a:gd name="connsiteY206" fmla="*/ 1379417 h 1421209"/>
                  <a:gd name="connsiteX207" fmla="*/ 307587 w 1620550"/>
                  <a:gd name="connsiteY207" fmla="*/ 1366044 h 1421209"/>
                  <a:gd name="connsiteX208" fmla="*/ 314273 w 1620550"/>
                  <a:gd name="connsiteY208" fmla="*/ 1361029 h 1421209"/>
                  <a:gd name="connsiteX209" fmla="*/ 317617 w 1620550"/>
                  <a:gd name="connsiteY209" fmla="*/ 1357686 h 1421209"/>
                  <a:gd name="connsiteX210" fmla="*/ 339348 w 1620550"/>
                  <a:gd name="connsiteY210" fmla="*/ 1354342 h 1421209"/>
                  <a:gd name="connsiteX211" fmla="*/ 356065 w 1620550"/>
                  <a:gd name="connsiteY211" fmla="*/ 1357686 h 1421209"/>
                  <a:gd name="connsiteX212" fmla="*/ 361080 w 1620550"/>
                  <a:gd name="connsiteY212" fmla="*/ 1359357 h 1421209"/>
                  <a:gd name="connsiteX213" fmla="*/ 364423 w 1620550"/>
                  <a:gd name="connsiteY213" fmla="*/ 1362701 h 1421209"/>
                  <a:gd name="connsiteX214" fmla="*/ 374453 w 1620550"/>
                  <a:gd name="connsiteY214" fmla="*/ 1367716 h 1421209"/>
                  <a:gd name="connsiteX215" fmla="*/ 377796 w 1620550"/>
                  <a:gd name="connsiteY215" fmla="*/ 1374402 h 1421209"/>
                  <a:gd name="connsiteX216" fmla="*/ 381140 w 1620550"/>
                  <a:gd name="connsiteY216" fmla="*/ 1377746 h 1421209"/>
                  <a:gd name="connsiteX217" fmla="*/ 386155 w 1620550"/>
                  <a:gd name="connsiteY217" fmla="*/ 1374402 h 1421209"/>
                  <a:gd name="connsiteX218" fmla="*/ 396185 w 1620550"/>
                  <a:gd name="connsiteY218" fmla="*/ 1361029 h 1421209"/>
                  <a:gd name="connsiteX219" fmla="*/ 414573 w 1620550"/>
                  <a:gd name="connsiteY219" fmla="*/ 1356014 h 1421209"/>
                  <a:gd name="connsiteX220" fmla="*/ 416245 w 1620550"/>
                  <a:gd name="connsiteY220" fmla="*/ 1349327 h 1421209"/>
                  <a:gd name="connsiteX221" fmla="*/ 419588 w 1620550"/>
                  <a:gd name="connsiteY221" fmla="*/ 1334282 h 1421209"/>
                  <a:gd name="connsiteX222" fmla="*/ 424603 w 1620550"/>
                  <a:gd name="connsiteY222" fmla="*/ 1330939 h 1421209"/>
                  <a:gd name="connsiteX223" fmla="*/ 444663 w 1620550"/>
                  <a:gd name="connsiteY223" fmla="*/ 1332611 h 1421209"/>
                  <a:gd name="connsiteX224" fmla="*/ 466395 w 1620550"/>
                  <a:gd name="connsiteY224" fmla="*/ 1339297 h 1421209"/>
                  <a:gd name="connsiteX225" fmla="*/ 509858 w 1620550"/>
                  <a:gd name="connsiteY225" fmla="*/ 1340969 h 1421209"/>
                  <a:gd name="connsiteX226" fmla="*/ 523231 w 1620550"/>
                  <a:gd name="connsiteY226" fmla="*/ 1345984 h 1421209"/>
                  <a:gd name="connsiteX227" fmla="*/ 531589 w 1620550"/>
                  <a:gd name="connsiteY227" fmla="*/ 1357686 h 1421209"/>
                  <a:gd name="connsiteX228" fmla="*/ 534933 w 1620550"/>
                  <a:gd name="connsiteY228" fmla="*/ 1364372 h 1421209"/>
                  <a:gd name="connsiteX229" fmla="*/ 539948 w 1620550"/>
                  <a:gd name="connsiteY229" fmla="*/ 1366044 h 1421209"/>
                  <a:gd name="connsiteX230" fmla="*/ 565023 w 1620550"/>
                  <a:gd name="connsiteY230" fmla="*/ 1369387 h 1421209"/>
                  <a:gd name="connsiteX231" fmla="*/ 568366 w 1620550"/>
                  <a:gd name="connsiteY231" fmla="*/ 1372731 h 1421209"/>
                  <a:gd name="connsiteX232" fmla="*/ 571709 w 1620550"/>
                  <a:gd name="connsiteY232" fmla="*/ 1366044 h 1421209"/>
                  <a:gd name="connsiteX233" fmla="*/ 600128 w 1620550"/>
                  <a:gd name="connsiteY233" fmla="*/ 1357686 h 1421209"/>
                  <a:gd name="connsiteX234" fmla="*/ 626874 w 1620550"/>
                  <a:gd name="connsiteY234" fmla="*/ 1361029 h 1421209"/>
                  <a:gd name="connsiteX235" fmla="*/ 633561 w 1620550"/>
                  <a:gd name="connsiteY235" fmla="*/ 1364372 h 1421209"/>
                  <a:gd name="connsiteX236" fmla="*/ 638576 w 1620550"/>
                  <a:gd name="connsiteY236" fmla="*/ 1366044 h 1421209"/>
                  <a:gd name="connsiteX237" fmla="*/ 643591 w 1620550"/>
                  <a:gd name="connsiteY237" fmla="*/ 1372731 h 1421209"/>
                  <a:gd name="connsiteX238" fmla="*/ 650278 w 1620550"/>
                  <a:gd name="connsiteY238" fmla="*/ 1382761 h 1421209"/>
                  <a:gd name="connsiteX239" fmla="*/ 660308 w 1620550"/>
                  <a:gd name="connsiteY239" fmla="*/ 1386104 h 1421209"/>
                  <a:gd name="connsiteX240" fmla="*/ 672009 w 1620550"/>
                  <a:gd name="connsiteY240" fmla="*/ 1389447 h 1421209"/>
                  <a:gd name="connsiteX241" fmla="*/ 687054 w 1620550"/>
                  <a:gd name="connsiteY241" fmla="*/ 1382761 h 1421209"/>
                  <a:gd name="connsiteX242" fmla="*/ 690398 w 1620550"/>
                  <a:gd name="connsiteY242" fmla="*/ 1374402 h 1421209"/>
                  <a:gd name="connsiteX243" fmla="*/ 695413 w 1620550"/>
                  <a:gd name="connsiteY243" fmla="*/ 1371059 h 1421209"/>
                  <a:gd name="connsiteX244" fmla="*/ 707114 w 1620550"/>
                  <a:gd name="connsiteY244" fmla="*/ 1366044 h 1421209"/>
                  <a:gd name="connsiteX245" fmla="*/ 715472 w 1620550"/>
                  <a:gd name="connsiteY245" fmla="*/ 1364372 h 1421209"/>
                  <a:gd name="connsiteX246" fmla="*/ 735532 w 1620550"/>
                  <a:gd name="connsiteY246" fmla="*/ 1371059 h 1421209"/>
                  <a:gd name="connsiteX247" fmla="*/ 737204 w 1620550"/>
                  <a:gd name="connsiteY247" fmla="*/ 1376074 h 1421209"/>
                  <a:gd name="connsiteX248" fmla="*/ 742219 w 1620550"/>
                  <a:gd name="connsiteY248" fmla="*/ 1387776 h 1421209"/>
                  <a:gd name="connsiteX249" fmla="*/ 748906 w 1620550"/>
                  <a:gd name="connsiteY249" fmla="*/ 1389447 h 1421209"/>
                  <a:gd name="connsiteX250" fmla="*/ 762279 w 1620550"/>
                  <a:gd name="connsiteY250" fmla="*/ 1384432 h 1421209"/>
                  <a:gd name="connsiteX251" fmla="*/ 772309 w 1620550"/>
                  <a:gd name="connsiteY251" fmla="*/ 1381089 h 1421209"/>
                  <a:gd name="connsiteX252" fmla="*/ 784011 w 1620550"/>
                  <a:gd name="connsiteY252" fmla="*/ 1371059 h 1421209"/>
                  <a:gd name="connsiteX253" fmla="*/ 797384 w 1620550"/>
                  <a:gd name="connsiteY253" fmla="*/ 1357686 h 1421209"/>
                  <a:gd name="connsiteX254" fmla="*/ 802399 w 1620550"/>
                  <a:gd name="connsiteY254" fmla="*/ 1352671 h 1421209"/>
                  <a:gd name="connsiteX255" fmla="*/ 810757 w 1620550"/>
                  <a:gd name="connsiteY255" fmla="*/ 1350999 h 1421209"/>
                  <a:gd name="connsiteX256" fmla="*/ 812429 w 1620550"/>
                  <a:gd name="connsiteY256" fmla="*/ 1344312 h 1421209"/>
                  <a:gd name="connsiteX257" fmla="*/ 807414 w 1620550"/>
                  <a:gd name="connsiteY257" fmla="*/ 1325924 h 1421209"/>
                  <a:gd name="connsiteX258" fmla="*/ 809086 w 1620550"/>
                  <a:gd name="connsiteY258" fmla="*/ 1314222 h 1421209"/>
                  <a:gd name="connsiteX259" fmla="*/ 812429 w 1620550"/>
                  <a:gd name="connsiteY259" fmla="*/ 1309207 h 1421209"/>
                  <a:gd name="connsiteX260" fmla="*/ 820787 w 1620550"/>
                  <a:gd name="connsiteY260" fmla="*/ 1299177 h 1421209"/>
                  <a:gd name="connsiteX261" fmla="*/ 827474 w 1620550"/>
                  <a:gd name="connsiteY261" fmla="*/ 1294162 h 1421209"/>
                  <a:gd name="connsiteX262" fmla="*/ 869266 w 1620550"/>
                  <a:gd name="connsiteY262" fmla="*/ 1292491 h 1421209"/>
                  <a:gd name="connsiteX263" fmla="*/ 870937 w 1620550"/>
                  <a:gd name="connsiteY263" fmla="*/ 1277446 h 1421209"/>
                  <a:gd name="connsiteX264" fmla="*/ 880967 w 1620550"/>
                  <a:gd name="connsiteY264" fmla="*/ 1270759 h 1421209"/>
                  <a:gd name="connsiteX265" fmla="*/ 885982 w 1620550"/>
                  <a:gd name="connsiteY265" fmla="*/ 1269088 h 1421209"/>
                  <a:gd name="connsiteX266" fmla="*/ 932789 w 1620550"/>
                  <a:gd name="connsiteY266" fmla="*/ 1270759 h 1421209"/>
                  <a:gd name="connsiteX267" fmla="*/ 942819 w 1620550"/>
                  <a:gd name="connsiteY267" fmla="*/ 1272431 h 1421209"/>
                  <a:gd name="connsiteX268" fmla="*/ 949505 w 1620550"/>
                  <a:gd name="connsiteY268" fmla="*/ 1275774 h 1421209"/>
                  <a:gd name="connsiteX269" fmla="*/ 954520 w 1620550"/>
                  <a:gd name="connsiteY269" fmla="*/ 1277446 h 1421209"/>
                  <a:gd name="connsiteX270" fmla="*/ 964550 w 1620550"/>
                  <a:gd name="connsiteY270" fmla="*/ 1274103 h 1421209"/>
                  <a:gd name="connsiteX271" fmla="*/ 971237 w 1620550"/>
                  <a:gd name="connsiteY271" fmla="*/ 1264073 h 1421209"/>
                  <a:gd name="connsiteX272" fmla="*/ 964550 w 1620550"/>
                  <a:gd name="connsiteY272" fmla="*/ 1249028 h 1421209"/>
                  <a:gd name="connsiteX273" fmla="*/ 966222 w 1620550"/>
                  <a:gd name="connsiteY273" fmla="*/ 1233983 h 1421209"/>
                  <a:gd name="connsiteX274" fmla="*/ 974580 w 1620550"/>
                  <a:gd name="connsiteY274" fmla="*/ 1215594 h 1421209"/>
                  <a:gd name="connsiteX275" fmla="*/ 977924 w 1620550"/>
                  <a:gd name="connsiteY275" fmla="*/ 1212251 h 1421209"/>
                  <a:gd name="connsiteX276" fmla="*/ 982939 w 1620550"/>
                  <a:gd name="connsiteY276" fmla="*/ 1205564 h 1421209"/>
                  <a:gd name="connsiteX277" fmla="*/ 991297 w 1620550"/>
                  <a:gd name="connsiteY277" fmla="*/ 1195534 h 1421209"/>
                  <a:gd name="connsiteX278" fmla="*/ 1001327 w 1620550"/>
                  <a:gd name="connsiteY278" fmla="*/ 1185504 h 1421209"/>
                  <a:gd name="connsiteX279" fmla="*/ 1002999 w 1620550"/>
                  <a:gd name="connsiteY279" fmla="*/ 1180489 h 1421209"/>
                  <a:gd name="connsiteX280" fmla="*/ 1006342 w 1620550"/>
                  <a:gd name="connsiteY280" fmla="*/ 1175474 h 1421209"/>
                  <a:gd name="connsiteX281" fmla="*/ 1008014 w 1620550"/>
                  <a:gd name="connsiteY281" fmla="*/ 1168788 h 1421209"/>
                  <a:gd name="connsiteX282" fmla="*/ 1016372 w 1620550"/>
                  <a:gd name="connsiteY282" fmla="*/ 1157086 h 1421209"/>
                  <a:gd name="connsiteX283" fmla="*/ 1023059 w 1620550"/>
                  <a:gd name="connsiteY283" fmla="*/ 1143713 h 1421209"/>
                  <a:gd name="connsiteX284" fmla="*/ 1024730 w 1620550"/>
                  <a:gd name="connsiteY284" fmla="*/ 1138698 h 1421209"/>
                  <a:gd name="connsiteX285" fmla="*/ 1028074 w 1620550"/>
                  <a:gd name="connsiteY285" fmla="*/ 1135354 h 1421209"/>
                  <a:gd name="connsiteX286" fmla="*/ 1033089 w 1620550"/>
                  <a:gd name="connsiteY286" fmla="*/ 1128668 h 1421209"/>
                  <a:gd name="connsiteX287" fmla="*/ 1043119 w 1620550"/>
                  <a:gd name="connsiteY287" fmla="*/ 1116966 h 1421209"/>
                  <a:gd name="connsiteX288" fmla="*/ 1061507 w 1620550"/>
                  <a:gd name="connsiteY288" fmla="*/ 1111951 h 1421209"/>
                  <a:gd name="connsiteX289" fmla="*/ 1069865 w 1620550"/>
                  <a:gd name="connsiteY289" fmla="*/ 1108608 h 1421209"/>
                  <a:gd name="connsiteX290" fmla="*/ 1089925 w 1620550"/>
                  <a:gd name="connsiteY290" fmla="*/ 1105264 h 1421209"/>
                  <a:gd name="connsiteX291" fmla="*/ 1094940 w 1620550"/>
                  <a:gd name="connsiteY291" fmla="*/ 1101921 h 1421209"/>
                  <a:gd name="connsiteX292" fmla="*/ 1111657 w 1620550"/>
                  <a:gd name="connsiteY292" fmla="*/ 1098578 h 1421209"/>
                  <a:gd name="connsiteX293" fmla="*/ 1126702 w 1620550"/>
                  <a:gd name="connsiteY293" fmla="*/ 1090220 h 1421209"/>
                  <a:gd name="connsiteX294" fmla="*/ 1131717 w 1620550"/>
                  <a:gd name="connsiteY294" fmla="*/ 1086876 h 1421209"/>
                  <a:gd name="connsiteX295" fmla="*/ 1133388 w 1620550"/>
                  <a:gd name="connsiteY295" fmla="*/ 1078518 h 1421209"/>
                  <a:gd name="connsiteX296" fmla="*/ 1126702 w 1620550"/>
                  <a:gd name="connsiteY296" fmla="*/ 1070160 h 1421209"/>
                  <a:gd name="connsiteX297" fmla="*/ 1118343 w 1620550"/>
                  <a:gd name="connsiteY297" fmla="*/ 1065145 h 1421209"/>
                  <a:gd name="connsiteX298" fmla="*/ 1109985 w 1620550"/>
                  <a:gd name="connsiteY298" fmla="*/ 1056786 h 1421209"/>
                  <a:gd name="connsiteX299" fmla="*/ 1103298 w 1620550"/>
                  <a:gd name="connsiteY299" fmla="*/ 1048428 h 1421209"/>
                  <a:gd name="connsiteX300" fmla="*/ 1099955 w 1620550"/>
                  <a:gd name="connsiteY300" fmla="*/ 1043413 h 1421209"/>
                  <a:gd name="connsiteX301" fmla="*/ 1094940 w 1620550"/>
                  <a:gd name="connsiteY301" fmla="*/ 1040070 h 1421209"/>
                  <a:gd name="connsiteX302" fmla="*/ 1091597 w 1620550"/>
                  <a:gd name="connsiteY302" fmla="*/ 1033383 h 1421209"/>
                  <a:gd name="connsiteX303" fmla="*/ 1088253 w 1620550"/>
                  <a:gd name="connsiteY303" fmla="*/ 1030040 h 1421209"/>
                  <a:gd name="connsiteX304" fmla="*/ 1083238 w 1620550"/>
                  <a:gd name="connsiteY304" fmla="*/ 1018338 h 1421209"/>
                  <a:gd name="connsiteX305" fmla="*/ 1081567 w 1620550"/>
                  <a:gd name="connsiteY305" fmla="*/ 989920 h 1421209"/>
                  <a:gd name="connsiteX306" fmla="*/ 1079895 w 1620550"/>
                  <a:gd name="connsiteY306" fmla="*/ 984905 h 1421209"/>
                  <a:gd name="connsiteX307" fmla="*/ 1074880 w 1620550"/>
                  <a:gd name="connsiteY307" fmla="*/ 979890 h 1421209"/>
                  <a:gd name="connsiteX308" fmla="*/ 1069865 w 1620550"/>
                  <a:gd name="connsiteY308" fmla="*/ 964845 h 1421209"/>
                  <a:gd name="connsiteX309" fmla="*/ 1074880 w 1620550"/>
                  <a:gd name="connsiteY309" fmla="*/ 929740 h 1421209"/>
                  <a:gd name="connsiteX310" fmla="*/ 1084910 w 1620550"/>
                  <a:gd name="connsiteY310" fmla="*/ 919710 h 1421209"/>
                  <a:gd name="connsiteX311" fmla="*/ 1091597 w 1620550"/>
                  <a:gd name="connsiteY311" fmla="*/ 911352 h 1421209"/>
                  <a:gd name="connsiteX312" fmla="*/ 1098283 w 1620550"/>
                  <a:gd name="connsiteY312" fmla="*/ 906337 h 1421209"/>
                  <a:gd name="connsiteX313" fmla="*/ 1111657 w 1620550"/>
                  <a:gd name="connsiteY313" fmla="*/ 892963 h 1421209"/>
                  <a:gd name="connsiteX314" fmla="*/ 1116672 w 1620550"/>
                  <a:gd name="connsiteY314" fmla="*/ 887948 h 1421209"/>
                  <a:gd name="connsiteX315" fmla="*/ 1121687 w 1620550"/>
                  <a:gd name="connsiteY315" fmla="*/ 881262 h 1421209"/>
                  <a:gd name="connsiteX316" fmla="*/ 1125030 w 1620550"/>
                  <a:gd name="connsiteY316" fmla="*/ 877918 h 1421209"/>
                  <a:gd name="connsiteX317" fmla="*/ 1131717 w 1620550"/>
                  <a:gd name="connsiteY317" fmla="*/ 869560 h 1421209"/>
                  <a:gd name="connsiteX318" fmla="*/ 1136732 w 1620550"/>
                  <a:gd name="connsiteY318" fmla="*/ 864545 h 1421209"/>
                  <a:gd name="connsiteX319" fmla="*/ 1145090 w 1620550"/>
                  <a:gd name="connsiteY319" fmla="*/ 849500 h 1421209"/>
                  <a:gd name="connsiteX320" fmla="*/ 1150105 w 1620550"/>
                  <a:gd name="connsiteY320" fmla="*/ 841142 h 1421209"/>
                  <a:gd name="connsiteX321" fmla="*/ 1153448 w 1620550"/>
                  <a:gd name="connsiteY321" fmla="*/ 831112 h 1421209"/>
                  <a:gd name="connsiteX322" fmla="*/ 1156792 w 1620550"/>
                  <a:gd name="connsiteY322" fmla="*/ 827768 h 1421209"/>
                  <a:gd name="connsiteX323" fmla="*/ 1160135 w 1620550"/>
                  <a:gd name="connsiteY323" fmla="*/ 822753 h 1421209"/>
                  <a:gd name="connsiteX324" fmla="*/ 1173508 w 1620550"/>
                  <a:gd name="connsiteY324" fmla="*/ 814395 h 1421209"/>
                  <a:gd name="connsiteX325" fmla="*/ 1181867 w 1620550"/>
                  <a:gd name="connsiteY325" fmla="*/ 806037 h 1421209"/>
                  <a:gd name="connsiteX326" fmla="*/ 1185210 w 1620550"/>
                  <a:gd name="connsiteY326" fmla="*/ 799350 h 1421209"/>
                  <a:gd name="connsiteX327" fmla="*/ 1205270 w 1620550"/>
                  <a:gd name="connsiteY327" fmla="*/ 785977 h 1421209"/>
                  <a:gd name="connsiteX328" fmla="*/ 1213628 w 1620550"/>
                  <a:gd name="connsiteY328" fmla="*/ 779290 h 1421209"/>
                  <a:gd name="connsiteX329" fmla="*/ 1225330 w 1620550"/>
                  <a:gd name="connsiteY329" fmla="*/ 770932 h 1421209"/>
                  <a:gd name="connsiteX330" fmla="*/ 1228673 w 1620550"/>
                  <a:gd name="connsiteY330" fmla="*/ 765917 h 1421209"/>
                  <a:gd name="connsiteX331" fmla="*/ 1243718 w 1620550"/>
                  <a:gd name="connsiteY331" fmla="*/ 764245 h 1421209"/>
                  <a:gd name="connsiteX332" fmla="*/ 1250405 w 1620550"/>
                  <a:gd name="connsiteY332" fmla="*/ 762573 h 1421209"/>
                  <a:gd name="connsiteX333" fmla="*/ 1255420 w 1620550"/>
                  <a:gd name="connsiteY333" fmla="*/ 757558 h 1421209"/>
                  <a:gd name="connsiteX334" fmla="*/ 1263778 w 1620550"/>
                  <a:gd name="connsiteY334" fmla="*/ 752543 h 1421209"/>
                  <a:gd name="connsiteX335" fmla="*/ 1260435 w 1620550"/>
                  <a:gd name="connsiteY335" fmla="*/ 735827 h 1421209"/>
                  <a:gd name="connsiteX336" fmla="*/ 1257091 w 1620550"/>
                  <a:gd name="connsiteY336" fmla="*/ 732484 h 1421209"/>
                  <a:gd name="connsiteX337" fmla="*/ 1255420 w 1620550"/>
                  <a:gd name="connsiteY337" fmla="*/ 727469 h 1421209"/>
                  <a:gd name="connsiteX338" fmla="*/ 1262106 w 1620550"/>
                  <a:gd name="connsiteY338" fmla="*/ 710752 h 1421209"/>
                  <a:gd name="connsiteX339" fmla="*/ 1272136 w 1620550"/>
                  <a:gd name="connsiteY339" fmla="*/ 705737 h 1421209"/>
                  <a:gd name="connsiteX340" fmla="*/ 1280495 w 1620550"/>
                  <a:gd name="connsiteY340" fmla="*/ 700722 h 1421209"/>
                  <a:gd name="connsiteX341" fmla="*/ 1287181 w 1620550"/>
                  <a:gd name="connsiteY341" fmla="*/ 697379 h 1421209"/>
                  <a:gd name="connsiteX342" fmla="*/ 1292196 w 1620550"/>
                  <a:gd name="connsiteY342" fmla="*/ 694035 h 1421209"/>
                  <a:gd name="connsiteX343" fmla="*/ 1298883 w 1620550"/>
                  <a:gd name="connsiteY343" fmla="*/ 692364 h 1421209"/>
                  <a:gd name="connsiteX344" fmla="*/ 1308913 w 1620550"/>
                  <a:gd name="connsiteY344" fmla="*/ 687349 h 1421209"/>
                  <a:gd name="connsiteX345" fmla="*/ 1323958 w 1620550"/>
                  <a:gd name="connsiteY345" fmla="*/ 682334 h 1421209"/>
                  <a:gd name="connsiteX346" fmla="*/ 1330645 w 1620550"/>
                  <a:gd name="connsiteY346" fmla="*/ 678990 h 1421209"/>
                  <a:gd name="connsiteX347" fmla="*/ 1355720 w 1620550"/>
                  <a:gd name="connsiteY347" fmla="*/ 675647 h 1421209"/>
                  <a:gd name="connsiteX348" fmla="*/ 1359063 w 1620550"/>
                  <a:gd name="connsiteY348" fmla="*/ 670632 h 1421209"/>
                  <a:gd name="connsiteX349" fmla="*/ 1372436 w 1620550"/>
                  <a:gd name="connsiteY349" fmla="*/ 667289 h 1421209"/>
                  <a:gd name="connsiteX350" fmla="*/ 1449333 w 1620550"/>
                  <a:gd name="connsiteY350" fmla="*/ 663945 h 1421209"/>
                  <a:gd name="connsiteX351" fmla="*/ 1464378 w 1620550"/>
                  <a:gd name="connsiteY351" fmla="*/ 645557 h 1421209"/>
                  <a:gd name="connsiteX352" fmla="*/ 1474408 w 1620550"/>
                  <a:gd name="connsiteY352" fmla="*/ 635527 h 1421209"/>
                  <a:gd name="connsiteX353" fmla="*/ 1487781 w 1620550"/>
                  <a:gd name="connsiteY353" fmla="*/ 625497 h 1421209"/>
                  <a:gd name="connsiteX354" fmla="*/ 1494468 w 1620550"/>
                  <a:gd name="connsiteY354" fmla="*/ 623825 h 1421209"/>
                  <a:gd name="connsiteX355" fmla="*/ 1509513 w 1620550"/>
                  <a:gd name="connsiteY355" fmla="*/ 620482 h 1421209"/>
                  <a:gd name="connsiteX356" fmla="*/ 1517871 w 1620550"/>
                  <a:gd name="connsiteY356" fmla="*/ 617139 h 1421209"/>
                  <a:gd name="connsiteX357" fmla="*/ 1524558 w 1620550"/>
                  <a:gd name="connsiteY357" fmla="*/ 613795 h 1421209"/>
                  <a:gd name="connsiteX358" fmla="*/ 1539603 w 1620550"/>
                  <a:gd name="connsiteY358" fmla="*/ 612124 h 1421209"/>
                  <a:gd name="connsiteX359" fmla="*/ 1557991 w 1620550"/>
                  <a:gd name="connsiteY359" fmla="*/ 602094 h 1421209"/>
                  <a:gd name="connsiteX360" fmla="*/ 1573036 w 1620550"/>
                  <a:gd name="connsiteY360" fmla="*/ 597079 h 1421209"/>
                  <a:gd name="connsiteX361" fmla="*/ 1576379 w 1620550"/>
                  <a:gd name="connsiteY361" fmla="*/ 592064 h 1421209"/>
                  <a:gd name="connsiteX362" fmla="*/ 1588081 w 1620550"/>
                  <a:gd name="connsiteY362" fmla="*/ 587049 h 1421209"/>
                  <a:gd name="connsiteX363" fmla="*/ 1591424 w 1620550"/>
                  <a:gd name="connsiteY363" fmla="*/ 583705 h 1421209"/>
                  <a:gd name="connsiteX364" fmla="*/ 1598111 w 1620550"/>
                  <a:gd name="connsiteY364" fmla="*/ 580362 h 1421209"/>
                  <a:gd name="connsiteX365" fmla="*/ 1608141 w 1620550"/>
                  <a:gd name="connsiteY365" fmla="*/ 572004 h 1421209"/>
                  <a:gd name="connsiteX366" fmla="*/ 1614828 w 1620550"/>
                  <a:gd name="connsiteY366" fmla="*/ 560302 h 1421209"/>
                  <a:gd name="connsiteX367" fmla="*/ 1608141 w 1620550"/>
                  <a:gd name="connsiteY367" fmla="*/ 546929 h 1421209"/>
                  <a:gd name="connsiteX368" fmla="*/ 1599783 w 1620550"/>
                  <a:gd name="connsiteY368" fmla="*/ 535227 h 1421209"/>
                  <a:gd name="connsiteX369" fmla="*/ 1598111 w 1620550"/>
                  <a:gd name="connsiteY369" fmla="*/ 530212 h 1421209"/>
                  <a:gd name="connsiteX370" fmla="*/ 1596439 w 1620550"/>
                  <a:gd name="connsiteY370" fmla="*/ 518511 h 1421209"/>
                  <a:gd name="connsiteX371" fmla="*/ 1601454 w 1620550"/>
                  <a:gd name="connsiteY371" fmla="*/ 516839 h 1421209"/>
                  <a:gd name="connsiteX372" fmla="*/ 1604798 w 1620550"/>
                  <a:gd name="connsiteY372" fmla="*/ 513496 h 1421209"/>
                  <a:gd name="connsiteX373" fmla="*/ 1616499 w 1620550"/>
                  <a:gd name="connsiteY373" fmla="*/ 510152 h 1421209"/>
                  <a:gd name="connsiteX374" fmla="*/ 1618171 w 1620550"/>
                  <a:gd name="connsiteY374" fmla="*/ 495107 h 1421209"/>
                  <a:gd name="connsiteX375" fmla="*/ 1613156 w 1620550"/>
                  <a:gd name="connsiteY375" fmla="*/ 491764 h 1421209"/>
                  <a:gd name="connsiteX376" fmla="*/ 1611484 w 1620550"/>
                  <a:gd name="connsiteY376" fmla="*/ 486749 h 1421209"/>
                  <a:gd name="connsiteX377" fmla="*/ 1608141 w 1620550"/>
                  <a:gd name="connsiteY377" fmla="*/ 481734 h 1421209"/>
                  <a:gd name="connsiteX378" fmla="*/ 1606469 w 1620550"/>
                  <a:gd name="connsiteY378" fmla="*/ 473376 h 1421209"/>
                  <a:gd name="connsiteX379" fmla="*/ 1604798 w 1620550"/>
                  <a:gd name="connsiteY379" fmla="*/ 468361 h 1421209"/>
                  <a:gd name="connsiteX380" fmla="*/ 1599783 w 1620550"/>
                  <a:gd name="connsiteY380" fmla="*/ 466689 h 1421209"/>
                  <a:gd name="connsiteX381" fmla="*/ 1586409 w 1620550"/>
                  <a:gd name="connsiteY381" fmla="*/ 461674 h 1421209"/>
                  <a:gd name="connsiteX382" fmla="*/ 1561334 w 1620550"/>
                  <a:gd name="connsiteY382" fmla="*/ 463346 h 1421209"/>
                  <a:gd name="connsiteX383" fmla="*/ 1547961 w 1620550"/>
                  <a:gd name="connsiteY383" fmla="*/ 465017 h 1421209"/>
                  <a:gd name="connsiteX384" fmla="*/ 1539603 w 1620550"/>
                  <a:gd name="connsiteY384" fmla="*/ 470032 h 1421209"/>
                  <a:gd name="connsiteX385" fmla="*/ 1529573 w 1620550"/>
                  <a:gd name="connsiteY385" fmla="*/ 485077 h 1421209"/>
                  <a:gd name="connsiteX386" fmla="*/ 1524558 w 1620550"/>
                  <a:gd name="connsiteY386" fmla="*/ 486749 h 1421209"/>
                  <a:gd name="connsiteX387" fmla="*/ 1504498 w 1620550"/>
                  <a:gd name="connsiteY387" fmla="*/ 480062 h 1421209"/>
                  <a:gd name="connsiteX388" fmla="*/ 1489453 w 1620550"/>
                  <a:gd name="connsiteY388" fmla="*/ 468361 h 1421209"/>
                  <a:gd name="connsiteX389" fmla="*/ 1474408 w 1620550"/>
                  <a:gd name="connsiteY389" fmla="*/ 466689 h 1421209"/>
                  <a:gd name="connsiteX390" fmla="*/ 1462706 w 1620550"/>
                  <a:gd name="connsiteY390" fmla="*/ 468361 h 1421209"/>
                  <a:gd name="connsiteX391" fmla="*/ 1452676 w 1620550"/>
                  <a:gd name="connsiteY391" fmla="*/ 471704 h 1421209"/>
                  <a:gd name="connsiteX392" fmla="*/ 1442646 w 1620550"/>
                  <a:gd name="connsiteY392" fmla="*/ 470032 h 1421209"/>
                  <a:gd name="connsiteX393" fmla="*/ 1435959 w 1620550"/>
                  <a:gd name="connsiteY393" fmla="*/ 463346 h 1421209"/>
                  <a:gd name="connsiteX394" fmla="*/ 1432616 w 1620550"/>
                  <a:gd name="connsiteY394" fmla="*/ 458331 h 1421209"/>
                  <a:gd name="connsiteX395" fmla="*/ 1427601 w 1620550"/>
                  <a:gd name="connsiteY395" fmla="*/ 454987 h 1421209"/>
                  <a:gd name="connsiteX396" fmla="*/ 1422586 w 1620550"/>
                  <a:gd name="connsiteY396" fmla="*/ 448301 h 1421209"/>
                  <a:gd name="connsiteX397" fmla="*/ 1412556 w 1620550"/>
                  <a:gd name="connsiteY397" fmla="*/ 439942 h 1421209"/>
                  <a:gd name="connsiteX398" fmla="*/ 1404198 w 1620550"/>
                  <a:gd name="connsiteY398" fmla="*/ 446629 h 1421209"/>
                  <a:gd name="connsiteX399" fmla="*/ 1390825 w 1620550"/>
                  <a:gd name="connsiteY399" fmla="*/ 453316 h 1421209"/>
                  <a:gd name="connsiteX400" fmla="*/ 1387481 w 1620550"/>
                  <a:gd name="connsiteY400" fmla="*/ 438271 h 1421209"/>
                  <a:gd name="connsiteX401" fmla="*/ 1385810 w 1620550"/>
                  <a:gd name="connsiteY401" fmla="*/ 433256 h 1421209"/>
                  <a:gd name="connsiteX402" fmla="*/ 1384138 w 1620550"/>
                  <a:gd name="connsiteY402" fmla="*/ 411524 h 1421209"/>
                  <a:gd name="connsiteX403" fmla="*/ 1379123 w 1620550"/>
                  <a:gd name="connsiteY403" fmla="*/ 408181 h 1421209"/>
                  <a:gd name="connsiteX404" fmla="*/ 1370765 w 1620550"/>
                  <a:gd name="connsiteY404" fmla="*/ 406509 h 1421209"/>
                  <a:gd name="connsiteX405" fmla="*/ 1364078 w 1620550"/>
                  <a:gd name="connsiteY405" fmla="*/ 404837 h 1421209"/>
                  <a:gd name="connsiteX406" fmla="*/ 1340675 w 1620550"/>
                  <a:gd name="connsiteY406" fmla="*/ 394807 h 1421209"/>
                  <a:gd name="connsiteX407" fmla="*/ 1327301 w 1620550"/>
                  <a:gd name="connsiteY407" fmla="*/ 384777 h 1421209"/>
                  <a:gd name="connsiteX408" fmla="*/ 1320615 w 1620550"/>
                  <a:gd name="connsiteY408" fmla="*/ 379762 h 1421209"/>
                  <a:gd name="connsiteX409" fmla="*/ 1310585 w 1620550"/>
                  <a:gd name="connsiteY409" fmla="*/ 373076 h 1421209"/>
                  <a:gd name="connsiteX410" fmla="*/ 1305570 w 1620550"/>
                  <a:gd name="connsiteY410" fmla="*/ 369732 h 1421209"/>
                  <a:gd name="connsiteX411" fmla="*/ 1297211 w 1620550"/>
                  <a:gd name="connsiteY411" fmla="*/ 368061 h 1421209"/>
                  <a:gd name="connsiteX412" fmla="*/ 1290525 w 1620550"/>
                  <a:gd name="connsiteY412" fmla="*/ 369732 h 1421209"/>
                  <a:gd name="connsiteX413" fmla="*/ 1282166 w 1620550"/>
                  <a:gd name="connsiteY413" fmla="*/ 398151 h 1421209"/>
                  <a:gd name="connsiteX414" fmla="*/ 1272136 w 1620550"/>
                  <a:gd name="connsiteY414" fmla="*/ 394807 h 1421209"/>
                  <a:gd name="connsiteX415" fmla="*/ 1267121 w 1620550"/>
                  <a:gd name="connsiteY415" fmla="*/ 391464 h 1421209"/>
                  <a:gd name="connsiteX416" fmla="*/ 1255420 w 1620550"/>
                  <a:gd name="connsiteY416" fmla="*/ 388121 h 1421209"/>
                  <a:gd name="connsiteX417" fmla="*/ 1220315 w 1620550"/>
                  <a:gd name="connsiteY417" fmla="*/ 386449 h 1421209"/>
                  <a:gd name="connsiteX418" fmla="*/ 1218643 w 1620550"/>
                  <a:gd name="connsiteY418" fmla="*/ 381434 h 1421209"/>
                  <a:gd name="connsiteX419" fmla="*/ 1211957 w 1620550"/>
                  <a:gd name="connsiteY419" fmla="*/ 379762 h 1421209"/>
                  <a:gd name="connsiteX420" fmla="*/ 1175180 w 1620550"/>
                  <a:gd name="connsiteY420" fmla="*/ 378091 h 1421209"/>
                  <a:gd name="connsiteX421" fmla="*/ 1173508 w 1620550"/>
                  <a:gd name="connsiteY421" fmla="*/ 373076 h 1421209"/>
                  <a:gd name="connsiteX422" fmla="*/ 1171837 w 1620550"/>
                  <a:gd name="connsiteY422" fmla="*/ 366389 h 1421209"/>
                  <a:gd name="connsiteX423" fmla="*/ 1163478 w 1620550"/>
                  <a:gd name="connsiteY423" fmla="*/ 361374 h 1421209"/>
                  <a:gd name="connsiteX424" fmla="*/ 1128373 w 1620550"/>
                  <a:gd name="connsiteY424" fmla="*/ 359703 h 1421209"/>
                  <a:gd name="connsiteX425" fmla="*/ 1120015 w 1620550"/>
                  <a:gd name="connsiteY425" fmla="*/ 356359 h 1421209"/>
                  <a:gd name="connsiteX426" fmla="*/ 1113328 w 1620550"/>
                  <a:gd name="connsiteY426" fmla="*/ 346329 h 1421209"/>
                  <a:gd name="connsiteX427" fmla="*/ 1108313 w 1620550"/>
                  <a:gd name="connsiteY427" fmla="*/ 339643 h 1421209"/>
                  <a:gd name="connsiteX428" fmla="*/ 1104970 w 1620550"/>
                  <a:gd name="connsiteY428" fmla="*/ 334628 h 1421209"/>
                  <a:gd name="connsiteX429" fmla="*/ 1098283 w 1620550"/>
                  <a:gd name="connsiteY429" fmla="*/ 327941 h 1421209"/>
                  <a:gd name="connsiteX430" fmla="*/ 1096612 w 1620550"/>
                  <a:gd name="connsiteY430" fmla="*/ 322926 h 1421209"/>
                  <a:gd name="connsiteX431" fmla="*/ 1091597 w 1620550"/>
                  <a:gd name="connsiteY431" fmla="*/ 321254 h 1421209"/>
                  <a:gd name="connsiteX432" fmla="*/ 1084910 w 1620550"/>
                  <a:gd name="connsiteY432" fmla="*/ 317911 h 1421209"/>
                  <a:gd name="connsiteX433" fmla="*/ 1064850 w 1620550"/>
                  <a:gd name="connsiteY433" fmla="*/ 314568 h 1421209"/>
                  <a:gd name="connsiteX434" fmla="*/ 1058164 w 1620550"/>
                  <a:gd name="connsiteY434" fmla="*/ 311224 h 1421209"/>
                  <a:gd name="connsiteX435" fmla="*/ 1054820 w 1620550"/>
                  <a:gd name="connsiteY435" fmla="*/ 307881 h 1421209"/>
                  <a:gd name="connsiteX436" fmla="*/ 1049805 w 1620550"/>
                  <a:gd name="connsiteY436" fmla="*/ 304538 h 1421209"/>
                  <a:gd name="connsiteX437" fmla="*/ 1046462 w 1620550"/>
                  <a:gd name="connsiteY437" fmla="*/ 301194 h 1421209"/>
                  <a:gd name="connsiteX438" fmla="*/ 1039775 w 1620550"/>
                  <a:gd name="connsiteY438" fmla="*/ 299523 h 1421209"/>
                  <a:gd name="connsiteX439" fmla="*/ 1029745 w 1620550"/>
                  <a:gd name="connsiteY439" fmla="*/ 296179 h 1421209"/>
                  <a:gd name="connsiteX440" fmla="*/ 1016372 w 1620550"/>
                  <a:gd name="connsiteY440" fmla="*/ 287821 h 1421209"/>
                  <a:gd name="connsiteX441" fmla="*/ 1013029 w 1620550"/>
                  <a:gd name="connsiteY441" fmla="*/ 282806 h 1421209"/>
                  <a:gd name="connsiteX442" fmla="*/ 1014700 w 1620550"/>
                  <a:gd name="connsiteY442" fmla="*/ 276119 h 1421209"/>
                  <a:gd name="connsiteX443" fmla="*/ 1016372 w 1620550"/>
                  <a:gd name="connsiteY443" fmla="*/ 271104 h 1421209"/>
                  <a:gd name="connsiteX444" fmla="*/ 1029745 w 1620550"/>
                  <a:gd name="connsiteY444" fmla="*/ 264418 h 1421209"/>
                  <a:gd name="connsiteX445" fmla="*/ 1031417 w 1620550"/>
                  <a:gd name="connsiteY445" fmla="*/ 257731 h 1421209"/>
                  <a:gd name="connsiteX446" fmla="*/ 1024730 w 1620550"/>
                  <a:gd name="connsiteY446" fmla="*/ 256059 h 1421209"/>
                  <a:gd name="connsiteX447" fmla="*/ 1016372 w 1620550"/>
                  <a:gd name="connsiteY447" fmla="*/ 251044 h 1421209"/>
                  <a:gd name="connsiteX448" fmla="*/ 1008014 w 1620550"/>
                  <a:gd name="connsiteY448" fmla="*/ 247701 h 1421209"/>
                  <a:gd name="connsiteX449" fmla="*/ 1002999 w 1620550"/>
                  <a:gd name="connsiteY449" fmla="*/ 244358 h 1421209"/>
                  <a:gd name="connsiteX450" fmla="*/ 997984 w 1620550"/>
                  <a:gd name="connsiteY450" fmla="*/ 242686 h 1421209"/>
                  <a:gd name="connsiteX451" fmla="*/ 989625 w 1620550"/>
                  <a:gd name="connsiteY451" fmla="*/ 235999 h 1421209"/>
                  <a:gd name="connsiteX452" fmla="*/ 984610 w 1620550"/>
                  <a:gd name="connsiteY452" fmla="*/ 234328 h 1421209"/>
                  <a:gd name="connsiteX453" fmla="*/ 966222 w 1620550"/>
                  <a:gd name="connsiteY453" fmla="*/ 227641 h 1421209"/>
                  <a:gd name="connsiteX454" fmla="*/ 944490 w 1620550"/>
                  <a:gd name="connsiteY454" fmla="*/ 229313 h 1421209"/>
                  <a:gd name="connsiteX455" fmla="*/ 902699 w 1620550"/>
                  <a:gd name="connsiteY455" fmla="*/ 227641 h 1421209"/>
                  <a:gd name="connsiteX456" fmla="*/ 897684 w 1620550"/>
                  <a:gd name="connsiteY456" fmla="*/ 225969 h 1421209"/>
                  <a:gd name="connsiteX457" fmla="*/ 885982 w 1620550"/>
                  <a:gd name="connsiteY457" fmla="*/ 215939 h 1421209"/>
                  <a:gd name="connsiteX458" fmla="*/ 874281 w 1620550"/>
                  <a:gd name="connsiteY458" fmla="*/ 207581 h 1421209"/>
                  <a:gd name="connsiteX459" fmla="*/ 869266 w 1620550"/>
                  <a:gd name="connsiteY459" fmla="*/ 204238 h 1421209"/>
                  <a:gd name="connsiteX460" fmla="*/ 860907 w 1620550"/>
                  <a:gd name="connsiteY460" fmla="*/ 197551 h 1421209"/>
                  <a:gd name="connsiteX461" fmla="*/ 854221 w 1620550"/>
                  <a:gd name="connsiteY461" fmla="*/ 195879 h 1421209"/>
                  <a:gd name="connsiteX462" fmla="*/ 842519 w 1620550"/>
                  <a:gd name="connsiteY462" fmla="*/ 192536 h 1421209"/>
                  <a:gd name="connsiteX463" fmla="*/ 815772 w 1620550"/>
                  <a:gd name="connsiteY463" fmla="*/ 194208 h 1421209"/>
                  <a:gd name="connsiteX464" fmla="*/ 805742 w 1620550"/>
                  <a:gd name="connsiteY464" fmla="*/ 195879 h 1421209"/>
                  <a:gd name="connsiteX465" fmla="*/ 789026 w 1620550"/>
                  <a:gd name="connsiteY465" fmla="*/ 197551 h 1421209"/>
                  <a:gd name="connsiteX466" fmla="*/ 782339 w 1620550"/>
                  <a:gd name="connsiteY466" fmla="*/ 194208 h 1421209"/>
                  <a:gd name="connsiteX467" fmla="*/ 780667 w 1620550"/>
                  <a:gd name="connsiteY467" fmla="*/ 189193 h 1421209"/>
                  <a:gd name="connsiteX468" fmla="*/ 775652 w 1620550"/>
                  <a:gd name="connsiteY468" fmla="*/ 175820 h 1421209"/>
                  <a:gd name="connsiteX469" fmla="*/ 768966 w 1620550"/>
                  <a:gd name="connsiteY469" fmla="*/ 170805 h 1421209"/>
                  <a:gd name="connsiteX470" fmla="*/ 765622 w 1620550"/>
                  <a:gd name="connsiteY470" fmla="*/ 167461 h 1421209"/>
                  <a:gd name="connsiteX471" fmla="*/ 753921 w 1620550"/>
                  <a:gd name="connsiteY471" fmla="*/ 162446 h 1421209"/>
                  <a:gd name="connsiteX472" fmla="*/ 735532 w 1620550"/>
                  <a:gd name="connsiteY472" fmla="*/ 164118 h 1421209"/>
                  <a:gd name="connsiteX473" fmla="*/ 722159 w 1620550"/>
                  <a:gd name="connsiteY473" fmla="*/ 170805 h 1421209"/>
                  <a:gd name="connsiteX474" fmla="*/ 720487 w 1620550"/>
                  <a:gd name="connsiteY474" fmla="*/ 165790 h 1421209"/>
                  <a:gd name="connsiteX475" fmla="*/ 715472 w 1620550"/>
                  <a:gd name="connsiteY475" fmla="*/ 164118 h 1421209"/>
                  <a:gd name="connsiteX476" fmla="*/ 693741 w 1620550"/>
                  <a:gd name="connsiteY476" fmla="*/ 165790 h 1421209"/>
                  <a:gd name="connsiteX477" fmla="*/ 683711 w 1620550"/>
                  <a:gd name="connsiteY477" fmla="*/ 169133 h 1421209"/>
                  <a:gd name="connsiteX478" fmla="*/ 678696 w 1620550"/>
                  <a:gd name="connsiteY478" fmla="*/ 170805 h 1421209"/>
                  <a:gd name="connsiteX479" fmla="*/ 631889 w 1620550"/>
                  <a:gd name="connsiteY479" fmla="*/ 167461 h 1421209"/>
                  <a:gd name="connsiteX480" fmla="*/ 620188 w 1620550"/>
                  <a:gd name="connsiteY480" fmla="*/ 164118 h 1421209"/>
                  <a:gd name="connsiteX481" fmla="*/ 610158 w 1620550"/>
                  <a:gd name="connsiteY481" fmla="*/ 159103 h 1421209"/>
                  <a:gd name="connsiteX482" fmla="*/ 603471 w 1620550"/>
                  <a:gd name="connsiteY482" fmla="*/ 157431 h 1421209"/>
                  <a:gd name="connsiteX483" fmla="*/ 598456 w 1620550"/>
                  <a:gd name="connsiteY483" fmla="*/ 155760 h 1421209"/>
                  <a:gd name="connsiteX484" fmla="*/ 593441 w 1620550"/>
                  <a:gd name="connsiteY484" fmla="*/ 152416 h 1421209"/>
                  <a:gd name="connsiteX485" fmla="*/ 570038 w 1620550"/>
                  <a:gd name="connsiteY485" fmla="*/ 147401 h 1421209"/>
                  <a:gd name="connsiteX486" fmla="*/ 561679 w 1620550"/>
                  <a:gd name="connsiteY486" fmla="*/ 140715 h 1421209"/>
                  <a:gd name="connsiteX487" fmla="*/ 556664 w 1620550"/>
                  <a:gd name="connsiteY487" fmla="*/ 137371 h 1421209"/>
                  <a:gd name="connsiteX488" fmla="*/ 541619 w 1620550"/>
                  <a:gd name="connsiteY488" fmla="*/ 127341 h 1421209"/>
                  <a:gd name="connsiteX489" fmla="*/ 529918 w 1620550"/>
                  <a:gd name="connsiteY489" fmla="*/ 120655 h 1421209"/>
                  <a:gd name="connsiteX490" fmla="*/ 518216 w 1620550"/>
                  <a:gd name="connsiteY490" fmla="*/ 113968 h 1421209"/>
                  <a:gd name="connsiteX491" fmla="*/ 511530 w 1620550"/>
                  <a:gd name="connsiteY491" fmla="*/ 110625 h 1421209"/>
                  <a:gd name="connsiteX492" fmla="*/ 493141 w 1620550"/>
                  <a:gd name="connsiteY492" fmla="*/ 107281 h 1421209"/>
                  <a:gd name="connsiteX493" fmla="*/ 484783 w 1620550"/>
                  <a:gd name="connsiteY493" fmla="*/ 105610 h 1421209"/>
                  <a:gd name="connsiteX494" fmla="*/ 478096 w 1620550"/>
                  <a:gd name="connsiteY494" fmla="*/ 100595 h 1421209"/>
                  <a:gd name="connsiteX495" fmla="*/ 474753 w 1620550"/>
                  <a:gd name="connsiteY495" fmla="*/ 90565 h 1421209"/>
                  <a:gd name="connsiteX496" fmla="*/ 471410 w 1620550"/>
                  <a:gd name="connsiteY496" fmla="*/ 87221 h 1421209"/>
                  <a:gd name="connsiteX497" fmla="*/ 397856 w 1620550"/>
                  <a:gd name="connsiteY497" fmla="*/ 85550 h 1421209"/>
                  <a:gd name="connsiteX498" fmla="*/ 386155 w 1620550"/>
                  <a:gd name="connsiteY498" fmla="*/ 78863 h 1421209"/>
                  <a:gd name="connsiteX499" fmla="*/ 374453 w 1620550"/>
                  <a:gd name="connsiteY499" fmla="*/ 77191 h 1421209"/>
                  <a:gd name="connsiteX500" fmla="*/ 356065 w 1620550"/>
                  <a:gd name="connsiteY500" fmla="*/ 72176 h 1421209"/>
                  <a:gd name="connsiteX501" fmla="*/ 349378 w 1620550"/>
                  <a:gd name="connsiteY501" fmla="*/ 70505 h 1421209"/>
                  <a:gd name="connsiteX502" fmla="*/ 339348 w 1620550"/>
                  <a:gd name="connsiteY502" fmla="*/ 65490 h 1421209"/>
                  <a:gd name="connsiteX503" fmla="*/ 322632 w 1620550"/>
                  <a:gd name="connsiteY503" fmla="*/ 60475 h 1421209"/>
                  <a:gd name="connsiteX504" fmla="*/ 312602 w 1620550"/>
                  <a:gd name="connsiteY504" fmla="*/ 65490 h 1421209"/>
                  <a:gd name="connsiteX505" fmla="*/ 307587 w 1620550"/>
                  <a:gd name="connsiteY505" fmla="*/ 67161 h 1421209"/>
                  <a:gd name="connsiteX506" fmla="*/ 299228 w 1620550"/>
                  <a:gd name="connsiteY506" fmla="*/ 70505 h 1421209"/>
                  <a:gd name="connsiteX507" fmla="*/ 295885 w 1620550"/>
                  <a:gd name="connsiteY507" fmla="*/ 65490 h 1421209"/>
                  <a:gd name="connsiteX508" fmla="*/ 282512 w 1620550"/>
                  <a:gd name="connsiteY508" fmla="*/ 55460 h 1421209"/>
                  <a:gd name="connsiteX509" fmla="*/ 277497 w 1620550"/>
                  <a:gd name="connsiteY509" fmla="*/ 53788 h 1421209"/>
                  <a:gd name="connsiteX510" fmla="*/ 269138 w 1620550"/>
                  <a:gd name="connsiteY510" fmla="*/ 42086 h 1421209"/>
                  <a:gd name="connsiteX511" fmla="*/ 267467 w 1620550"/>
                  <a:gd name="connsiteY511" fmla="*/ 33728 h 1421209"/>
                  <a:gd name="connsiteX512" fmla="*/ 262452 w 1620550"/>
                  <a:gd name="connsiteY512" fmla="*/ 28713 h 1421209"/>
                  <a:gd name="connsiteX513" fmla="*/ 252422 w 1620550"/>
                  <a:gd name="connsiteY513" fmla="*/ 25370 h 1421209"/>
                  <a:gd name="connsiteX514" fmla="*/ 239048 w 1620550"/>
                  <a:gd name="connsiteY514" fmla="*/ 15340 h 1421209"/>
                  <a:gd name="connsiteX515" fmla="*/ 234033 w 1620550"/>
                  <a:gd name="connsiteY515" fmla="*/ 10325 h 1421209"/>
                  <a:gd name="connsiteX516" fmla="*/ 220660 w 1620550"/>
                  <a:gd name="connsiteY516" fmla="*/ 5310 h 1421209"/>
                  <a:gd name="connsiteX517" fmla="*/ 215645 w 1620550"/>
                  <a:gd name="connsiteY517" fmla="*/ 1967 h 1421209"/>
                  <a:gd name="connsiteX518" fmla="*/ 192242 w 1620550"/>
                  <a:gd name="connsiteY518" fmla="*/ 1967 h 1421209"/>
                  <a:gd name="connsiteX519" fmla="*/ 198928 w 1620550"/>
                  <a:gd name="connsiteY519" fmla="*/ 5310 h 1421209"/>
                  <a:gd name="connsiteX0" fmla="*/ 198928 w 1620550"/>
                  <a:gd name="connsiteY0" fmla="*/ 5310 h 1421209"/>
                  <a:gd name="connsiteX1" fmla="*/ 177197 w 1620550"/>
                  <a:gd name="connsiteY1" fmla="*/ 10325 h 1421209"/>
                  <a:gd name="connsiteX2" fmla="*/ 175525 w 1620550"/>
                  <a:gd name="connsiteY2" fmla="*/ 15340 h 1421209"/>
                  <a:gd name="connsiteX3" fmla="*/ 177197 w 1620550"/>
                  <a:gd name="connsiteY3" fmla="*/ 20355 h 1421209"/>
                  <a:gd name="connsiteX4" fmla="*/ 172182 w 1620550"/>
                  <a:gd name="connsiteY4" fmla="*/ 23698 h 1421209"/>
                  <a:gd name="connsiteX5" fmla="*/ 152122 w 1620550"/>
                  <a:gd name="connsiteY5" fmla="*/ 25370 h 1421209"/>
                  <a:gd name="connsiteX6" fmla="*/ 155465 w 1620550"/>
                  <a:gd name="connsiteY6" fmla="*/ 35400 h 1421209"/>
                  <a:gd name="connsiteX7" fmla="*/ 157137 w 1620550"/>
                  <a:gd name="connsiteY7" fmla="*/ 42086 h 1421209"/>
                  <a:gd name="connsiteX8" fmla="*/ 148779 w 1620550"/>
                  <a:gd name="connsiteY8" fmla="*/ 47101 h 1421209"/>
                  <a:gd name="connsiteX9" fmla="*/ 145435 w 1620550"/>
                  <a:gd name="connsiteY9" fmla="*/ 50445 h 1421209"/>
                  <a:gd name="connsiteX10" fmla="*/ 135405 w 1620550"/>
                  <a:gd name="connsiteY10" fmla="*/ 53788 h 1421209"/>
                  <a:gd name="connsiteX11" fmla="*/ 133734 w 1620550"/>
                  <a:gd name="connsiteY11" fmla="*/ 58803 h 1421209"/>
                  <a:gd name="connsiteX12" fmla="*/ 115345 w 1620550"/>
                  <a:gd name="connsiteY12" fmla="*/ 63818 h 1421209"/>
                  <a:gd name="connsiteX13" fmla="*/ 81912 w 1620550"/>
                  <a:gd name="connsiteY13" fmla="*/ 62146 h 1421209"/>
                  <a:gd name="connsiteX14" fmla="*/ 73554 w 1620550"/>
                  <a:gd name="connsiteY14" fmla="*/ 53788 h 1421209"/>
                  <a:gd name="connsiteX15" fmla="*/ 66867 w 1620550"/>
                  <a:gd name="connsiteY15" fmla="*/ 50445 h 1421209"/>
                  <a:gd name="connsiteX16" fmla="*/ 55165 w 1620550"/>
                  <a:gd name="connsiteY16" fmla="*/ 52116 h 1421209"/>
                  <a:gd name="connsiteX17" fmla="*/ 55165 w 1620550"/>
                  <a:gd name="connsiteY17" fmla="*/ 62146 h 1421209"/>
                  <a:gd name="connsiteX18" fmla="*/ 30090 w 1620550"/>
                  <a:gd name="connsiteY18" fmla="*/ 65490 h 1421209"/>
                  <a:gd name="connsiteX19" fmla="*/ 16717 w 1620550"/>
                  <a:gd name="connsiteY19" fmla="*/ 75520 h 1421209"/>
                  <a:gd name="connsiteX20" fmla="*/ 11702 w 1620550"/>
                  <a:gd name="connsiteY20" fmla="*/ 80535 h 1421209"/>
                  <a:gd name="connsiteX21" fmla="*/ 8359 w 1620550"/>
                  <a:gd name="connsiteY21" fmla="*/ 88893 h 1421209"/>
                  <a:gd name="connsiteX22" fmla="*/ 6687 w 1620550"/>
                  <a:gd name="connsiteY22" fmla="*/ 98923 h 1421209"/>
                  <a:gd name="connsiteX23" fmla="*/ 0 w 1620550"/>
                  <a:gd name="connsiteY23" fmla="*/ 107281 h 1421209"/>
                  <a:gd name="connsiteX24" fmla="*/ 15045 w 1620550"/>
                  <a:gd name="connsiteY24" fmla="*/ 115640 h 1421209"/>
                  <a:gd name="connsiteX25" fmla="*/ 13374 w 1620550"/>
                  <a:gd name="connsiteY25" fmla="*/ 123998 h 1421209"/>
                  <a:gd name="connsiteX26" fmla="*/ 16717 w 1620550"/>
                  <a:gd name="connsiteY26" fmla="*/ 130685 h 1421209"/>
                  <a:gd name="connsiteX27" fmla="*/ 11702 w 1620550"/>
                  <a:gd name="connsiteY27" fmla="*/ 135700 h 1421209"/>
                  <a:gd name="connsiteX28" fmla="*/ 8359 w 1620550"/>
                  <a:gd name="connsiteY28" fmla="*/ 140715 h 1421209"/>
                  <a:gd name="connsiteX29" fmla="*/ 33434 w 1620550"/>
                  <a:gd name="connsiteY29" fmla="*/ 142386 h 1421209"/>
                  <a:gd name="connsiteX30" fmla="*/ 36777 w 1620550"/>
                  <a:gd name="connsiteY30" fmla="*/ 147401 h 1421209"/>
                  <a:gd name="connsiteX31" fmla="*/ 20060 w 1620550"/>
                  <a:gd name="connsiteY31" fmla="*/ 150745 h 1421209"/>
                  <a:gd name="connsiteX32" fmla="*/ 18389 w 1620550"/>
                  <a:gd name="connsiteY32" fmla="*/ 174148 h 1421209"/>
                  <a:gd name="connsiteX33" fmla="*/ 23404 w 1620550"/>
                  <a:gd name="connsiteY33" fmla="*/ 175820 h 1421209"/>
                  <a:gd name="connsiteX34" fmla="*/ 31762 w 1620550"/>
                  <a:gd name="connsiteY34" fmla="*/ 174148 h 1421209"/>
                  <a:gd name="connsiteX35" fmla="*/ 33434 w 1620550"/>
                  <a:gd name="connsiteY35" fmla="*/ 169133 h 1421209"/>
                  <a:gd name="connsiteX36" fmla="*/ 38449 w 1620550"/>
                  <a:gd name="connsiteY36" fmla="*/ 167461 h 1421209"/>
                  <a:gd name="connsiteX37" fmla="*/ 48479 w 1620550"/>
                  <a:gd name="connsiteY37" fmla="*/ 169133 h 1421209"/>
                  <a:gd name="connsiteX38" fmla="*/ 50150 w 1620550"/>
                  <a:gd name="connsiteY38" fmla="*/ 180835 h 1421209"/>
                  <a:gd name="connsiteX39" fmla="*/ 45135 w 1620550"/>
                  <a:gd name="connsiteY39" fmla="*/ 182506 h 1421209"/>
                  <a:gd name="connsiteX40" fmla="*/ 41792 w 1620550"/>
                  <a:gd name="connsiteY40" fmla="*/ 187521 h 1421209"/>
                  <a:gd name="connsiteX41" fmla="*/ 40120 w 1620550"/>
                  <a:gd name="connsiteY41" fmla="*/ 197551 h 1421209"/>
                  <a:gd name="connsiteX42" fmla="*/ 38449 w 1620550"/>
                  <a:gd name="connsiteY42" fmla="*/ 205909 h 1421209"/>
                  <a:gd name="connsiteX43" fmla="*/ 35105 w 1620550"/>
                  <a:gd name="connsiteY43" fmla="*/ 212596 h 1421209"/>
                  <a:gd name="connsiteX44" fmla="*/ 33434 w 1620550"/>
                  <a:gd name="connsiteY44" fmla="*/ 217611 h 1421209"/>
                  <a:gd name="connsiteX45" fmla="*/ 41792 w 1620550"/>
                  <a:gd name="connsiteY45" fmla="*/ 220954 h 1421209"/>
                  <a:gd name="connsiteX46" fmla="*/ 58509 w 1620550"/>
                  <a:gd name="connsiteY46" fmla="*/ 222626 h 1421209"/>
                  <a:gd name="connsiteX47" fmla="*/ 30090 w 1620550"/>
                  <a:gd name="connsiteY47" fmla="*/ 232656 h 1421209"/>
                  <a:gd name="connsiteX48" fmla="*/ 28419 w 1620550"/>
                  <a:gd name="connsiteY48" fmla="*/ 237671 h 1421209"/>
                  <a:gd name="connsiteX49" fmla="*/ 40120 w 1620550"/>
                  <a:gd name="connsiteY49" fmla="*/ 239343 h 1421209"/>
                  <a:gd name="connsiteX50" fmla="*/ 31762 w 1620550"/>
                  <a:gd name="connsiteY50" fmla="*/ 242686 h 1421209"/>
                  <a:gd name="connsiteX51" fmla="*/ 26747 w 1620550"/>
                  <a:gd name="connsiteY51" fmla="*/ 249373 h 1421209"/>
                  <a:gd name="connsiteX52" fmla="*/ 15045 w 1620550"/>
                  <a:gd name="connsiteY52" fmla="*/ 257731 h 1421209"/>
                  <a:gd name="connsiteX53" fmla="*/ 15045 w 1620550"/>
                  <a:gd name="connsiteY53" fmla="*/ 291164 h 1421209"/>
                  <a:gd name="connsiteX54" fmla="*/ 25075 w 1620550"/>
                  <a:gd name="connsiteY54" fmla="*/ 287821 h 1421209"/>
                  <a:gd name="connsiteX55" fmla="*/ 38196 w 1620550"/>
                  <a:gd name="connsiteY55" fmla="*/ 286607 h 1421209"/>
                  <a:gd name="connsiteX56" fmla="*/ 45845 w 1620550"/>
                  <a:gd name="connsiteY56" fmla="*/ 283010 h 1421209"/>
                  <a:gd name="connsiteX57" fmla="*/ 61347 w 1620550"/>
                  <a:gd name="connsiteY57" fmla="*/ 276577 h 1421209"/>
                  <a:gd name="connsiteX58" fmla="*/ 83584 w 1620550"/>
                  <a:gd name="connsiteY58" fmla="*/ 267761 h 1421209"/>
                  <a:gd name="connsiteX59" fmla="*/ 91942 w 1620550"/>
                  <a:gd name="connsiteY59" fmla="*/ 269433 h 1421209"/>
                  <a:gd name="connsiteX60" fmla="*/ 98629 w 1620550"/>
                  <a:gd name="connsiteY60" fmla="*/ 272776 h 1421209"/>
                  <a:gd name="connsiteX61" fmla="*/ 103644 w 1620550"/>
                  <a:gd name="connsiteY61" fmla="*/ 274448 h 1421209"/>
                  <a:gd name="connsiteX62" fmla="*/ 108659 w 1620550"/>
                  <a:gd name="connsiteY62" fmla="*/ 279463 h 1421209"/>
                  <a:gd name="connsiteX63" fmla="*/ 112002 w 1620550"/>
                  <a:gd name="connsiteY63" fmla="*/ 299523 h 1421209"/>
                  <a:gd name="connsiteX64" fmla="*/ 100300 w 1620550"/>
                  <a:gd name="connsiteY64" fmla="*/ 307881 h 1421209"/>
                  <a:gd name="connsiteX65" fmla="*/ 96957 w 1620550"/>
                  <a:gd name="connsiteY65" fmla="*/ 321254 h 1421209"/>
                  <a:gd name="connsiteX66" fmla="*/ 95285 w 1620550"/>
                  <a:gd name="connsiteY66" fmla="*/ 326269 h 1421209"/>
                  <a:gd name="connsiteX67" fmla="*/ 98629 w 1620550"/>
                  <a:gd name="connsiteY67" fmla="*/ 331284 h 1421209"/>
                  <a:gd name="connsiteX68" fmla="*/ 118689 w 1620550"/>
                  <a:gd name="connsiteY68" fmla="*/ 334628 h 1421209"/>
                  <a:gd name="connsiteX69" fmla="*/ 147107 w 1620550"/>
                  <a:gd name="connsiteY69" fmla="*/ 332956 h 1421209"/>
                  <a:gd name="connsiteX70" fmla="*/ 158808 w 1620550"/>
                  <a:gd name="connsiteY70" fmla="*/ 329613 h 1421209"/>
                  <a:gd name="connsiteX71" fmla="*/ 168838 w 1620550"/>
                  <a:gd name="connsiteY71" fmla="*/ 332956 h 1421209"/>
                  <a:gd name="connsiteX72" fmla="*/ 177197 w 1620550"/>
                  <a:gd name="connsiteY72" fmla="*/ 342986 h 1421209"/>
                  <a:gd name="connsiteX73" fmla="*/ 183883 w 1620550"/>
                  <a:gd name="connsiteY73" fmla="*/ 346329 h 1421209"/>
                  <a:gd name="connsiteX74" fmla="*/ 189861 w 1620550"/>
                  <a:gd name="connsiteY74" fmla="*/ 357526 h 1421209"/>
                  <a:gd name="connsiteX75" fmla="*/ 217317 w 1620550"/>
                  <a:gd name="connsiteY75" fmla="*/ 341314 h 1421209"/>
                  <a:gd name="connsiteX76" fmla="*/ 222332 w 1620550"/>
                  <a:gd name="connsiteY76" fmla="*/ 348915 h 1421209"/>
                  <a:gd name="connsiteX77" fmla="*/ 232362 w 1620550"/>
                  <a:gd name="connsiteY77" fmla="*/ 331284 h 1421209"/>
                  <a:gd name="connsiteX78" fmla="*/ 239048 w 1620550"/>
                  <a:gd name="connsiteY78" fmla="*/ 334628 h 1421209"/>
                  <a:gd name="connsiteX79" fmla="*/ 244063 w 1620550"/>
                  <a:gd name="connsiteY79" fmla="*/ 339643 h 1421209"/>
                  <a:gd name="connsiteX80" fmla="*/ 250750 w 1620550"/>
                  <a:gd name="connsiteY80" fmla="*/ 341314 h 1421209"/>
                  <a:gd name="connsiteX81" fmla="*/ 260780 w 1620550"/>
                  <a:gd name="connsiteY81" fmla="*/ 348001 h 1421209"/>
                  <a:gd name="connsiteX82" fmla="*/ 269138 w 1620550"/>
                  <a:gd name="connsiteY82" fmla="*/ 356359 h 1421209"/>
                  <a:gd name="connsiteX83" fmla="*/ 270810 w 1620550"/>
                  <a:gd name="connsiteY83" fmla="*/ 368061 h 1421209"/>
                  <a:gd name="connsiteX84" fmla="*/ 290870 w 1620550"/>
                  <a:gd name="connsiteY84" fmla="*/ 366389 h 1421209"/>
                  <a:gd name="connsiteX85" fmla="*/ 305915 w 1620550"/>
                  <a:gd name="connsiteY85" fmla="*/ 368061 h 1421209"/>
                  <a:gd name="connsiteX86" fmla="*/ 304243 w 1620550"/>
                  <a:gd name="connsiteY86" fmla="*/ 388121 h 1421209"/>
                  <a:gd name="connsiteX87" fmla="*/ 307587 w 1620550"/>
                  <a:gd name="connsiteY87" fmla="*/ 403166 h 1421209"/>
                  <a:gd name="connsiteX88" fmla="*/ 320960 w 1620550"/>
                  <a:gd name="connsiteY88" fmla="*/ 414867 h 1421209"/>
                  <a:gd name="connsiteX89" fmla="*/ 329318 w 1620550"/>
                  <a:gd name="connsiteY89" fmla="*/ 424897 h 1421209"/>
                  <a:gd name="connsiteX90" fmla="*/ 336005 w 1620550"/>
                  <a:gd name="connsiteY90" fmla="*/ 428241 h 1421209"/>
                  <a:gd name="connsiteX91" fmla="*/ 334333 w 1620550"/>
                  <a:gd name="connsiteY91" fmla="*/ 458331 h 1421209"/>
                  <a:gd name="connsiteX92" fmla="*/ 307587 w 1620550"/>
                  <a:gd name="connsiteY92" fmla="*/ 478391 h 1421209"/>
                  <a:gd name="connsiteX93" fmla="*/ 292542 w 1620550"/>
                  <a:gd name="connsiteY93" fmla="*/ 483406 h 1421209"/>
                  <a:gd name="connsiteX94" fmla="*/ 287527 w 1620550"/>
                  <a:gd name="connsiteY94" fmla="*/ 486749 h 1421209"/>
                  <a:gd name="connsiteX95" fmla="*/ 265795 w 1620550"/>
                  <a:gd name="connsiteY95" fmla="*/ 488421 h 1421209"/>
                  <a:gd name="connsiteX96" fmla="*/ 257437 w 1620550"/>
                  <a:gd name="connsiteY96" fmla="*/ 495107 h 1421209"/>
                  <a:gd name="connsiteX97" fmla="*/ 249078 w 1620550"/>
                  <a:gd name="connsiteY97" fmla="*/ 503466 h 1421209"/>
                  <a:gd name="connsiteX98" fmla="*/ 247407 w 1620550"/>
                  <a:gd name="connsiteY98" fmla="*/ 508481 h 1421209"/>
                  <a:gd name="connsiteX99" fmla="*/ 239048 w 1620550"/>
                  <a:gd name="connsiteY99" fmla="*/ 515167 h 1421209"/>
                  <a:gd name="connsiteX100" fmla="*/ 237377 w 1620550"/>
                  <a:gd name="connsiteY100" fmla="*/ 536899 h 1421209"/>
                  <a:gd name="connsiteX101" fmla="*/ 239048 w 1620550"/>
                  <a:gd name="connsiteY101" fmla="*/ 543586 h 1421209"/>
                  <a:gd name="connsiteX102" fmla="*/ 237377 w 1620550"/>
                  <a:gd name="connsiteY102" fmla="*/ 595407 h 1421209"/>
                  <a:gd name="connsiteX103" fmla="*/ 230690 w 1620550"/>
                  <a:gd name="connsiteY103" fmla="*/ 610452 h 1421209"/>
                  <a:gd name="connsiteX104" fmla="*/ 227347 w 1620550"/>
                  <a:gd name="connsiteY104" fmla="*/ 618810 h 1421209"/>
                  <a:gd name="connsiteX105" fmla="*/ 224003 w 1620550"/>
                  <a:gd name="connsiteY105" fmla="*/ 625497 h 1421209"/>
                  <a:gd name="connsiteX106" fmla="*/ 222332 w 1620550"/>
                  <a:gd name="connsiteY106" fmla="*/ 633855 h 1421209"/>
                  <a:gd name="connsiteX107" fmla="*/ 213973 w 1620550"/>
                  <a:gd name="connsiteY107" fmla="*/ 642214 h 1421209"/>
                  <a:gd name="connsiteX108" fmla="*/ 205615 w 1620550"/>
                  <a:gd name="connsiteY108" fmla="*/ 648900 h 1421209"/>
                  <a:gd name="connsiteX109" fmla="*/ 190570 w 1620550"/>
                  <a:gd name="connsiteY109" fmla="*/ 652244 h 1421209"/>
                  <a:gd name="connsiteX110" fmla="*/ 192242 w 1620550"/>
                  <a:gd name="connsiteY110" fmla="*/ 662274 h 1421209"/>
                  <a:gd name="connsiteX111" fmla="*/ 193913 w 1620550"/>
                  <a:gd name="connsiteY111" fmla="*/ 667289 h 1421209"/>
                  <a:gd name="connsiteX112" fmla="*/ 190570 w 1620550"/>
                  <a:gd name="connsiteY112" fmla="*/ 695707 h 1421209"/>
                  <a:gd name="connsiteX113" fmla="*/ 187227 w 1620550"/>
                  <a:gd name="connsiteY113" fmla="*/ 704065 h 1421209"/>
                  <a:gd name="connsiteX114" fmla="*/ 185555 w 1620550"/>
                  <a:gd name="connsiteY114" fmla="*/ 712424 h 1421209"/>
                  <a:gd name="connsiteX115" fmla="*/ 180540 w 1620550"/>
                  <a:gd name="connsiteY115" fmla="*/ 717439 h 1421209"/>
                  <a:gd name="connsiteX116" fmla="*/ 175525 w 1620550"/>
                  <a:gd name="connsiteY116" fmla="*/ 725797 h 1421209"/>
                  <a:gd name="connsiteX117" fmla="*/ 170510 w 1620550"/>
                  <a:gd name="connsiteY117" fmla="*/ 727469 h 1421209"/>
                  <a:gd name="connsiteX118" fmla="*/ 165495 w 1620550"/>
                  <a:gd name="connsiteY118" fmla="*/ 730812 h 1421209"/>
                  <a:gd name="connsiteX119" fmla="*/ 147107 w 1620550"/>
                  <a:gd name="connsiteY119" fmla="*/ 734155 h 1421209"/>
                  <a:gd name="connsiteX120" fmla="*/ 137077 w 1620550"/>
                  <a:gd name="connsiteY120" fmla="*/ 739170 h 1421209"/>
                  <a:gd name="connsiteX121" fmla="*/ 128719 w 1620550"/>
                  <a:gd name="connsiteY121" fmla="*/ 742513 h 1421209"/>
                  <a:gd name="connsiteX122" fmla="*/ 122032 w 1620550"/>
                  <a:gd name="connsiteY122" fmla="*/ 745857 h 1421209"/>
                  <a:gd name="connsiteX123" fmla="*/ 98628 w 1620550"/>
                  <a:gd name="connsiteY123" fmla="*/ 745856 h 1421209"/>
                  <a:gd name="connsiteX124" fmla="*/ 103644 w 1620550"/>
                  <a:gd name="connsiteY124" fmla="*/ 755887 h 1421209"/>
                  <a:gd name="connsiteX125" fmla="*/ 106987 w 1620550"/>
                  <a:gd name="connsiteY125" fmla="*/ 770932 h 1421209"/>
                  <a:gd name="connsiteX126" fmla="*/ 110330 w 1620550"/>
                  <a:gd name="connsiteY126" fmla="*/ 779290 h 1421209"/>
                  <a:gd name="connsiteX127" fmla="*/ 112002 w 1620550"/>
                  <a:gd name="connsiteY127" fmla="*/ 787648 h 1421209"/>
                  <a:gd name="connsiteX128" fmla="*/ 113674 w 1620550"/>
                  <a:gd name="connsiteY128" fmla="*/ 821082 h 1421209"/>
                  <a:gd name="connsiteX129" fmla="*/ 117017 w 1620550"/>
                  <a:gd name="connsiteY129" fmla="*/ 827768 h 1421209"/>
                  <a:gd name="connsiteX130" fmla="*/ 125375 w 1620550"/>
                  <a:gd name="connsiteY130" fmla="*/ 831112 h 1421209"/>
                  <a:gd name="connsiteX131" fmla="*/ 140420 w 1620550"/>
                  <a:gd name="connsiteY131" fmla="*/ 832783 h 1421209"/>
                  <a:gd name="connsiteX132" fmla="*/ 155465 w 1620550"/>
                  <a:gd name="connsiteY132" fmla="*/ 837798 h 1421209"/>
                  <a:gd name="connsiteX133" fmla="*/ 153793 w 1620550"/>
                  <a:gd name="connsiteY133" fmla="*/ 864545 h 1421209"/>
                  <a:gd name="connsiteX134" fmla="*/ 147107 w 1620550"/>
                  <a:gd name="connsiteY134" fmla="*/ 871232 h 1421209"/>
                  <a:gd name="connsiteX135" fmla="*/ 143764 w 1620550"/>
                  <a:gd name="connsiteY135" fmla="*/ 876247 h 1421209"/>
                  <a:gd name="connsiteX136" fmla="*/ 133734 w 1620550"/>
                  <a:gd name="connsiteY136" fmla="*/ 886277 h 1421209"/>
                  <a:gd name="connsiteX137" fmla="*/ 128719 w 1620550"/>
                  <a:gd name="connsiteY137" fmla="*/ 891292 h 1421209"/>
                  <a:gd name="connsiteX138" fmla="*/ 108659 w 1620550"/>
                  <a:gd name="connsiteY138" fmla="*/ 904665 h 1421209"/>
                  <a:gd name="connsiteX139" fmla="*/ 100300 w 1620550"/>
                  <a:gd name="connsiteY139" fmla="*/ 913023 h 1421209"/>
                  <a:gd name="connsiteX140" fmla="*/ 86927 w 1620550"/>
                  <a:gd name="connsiteY140" fmla="*/ 928068 h 1421209"/>
                  <a:gd name="connsiteX141" fmla="*/ 86927 w 1620550"/>
                  <a:gd name="connsiteY141" fmla="*/ 981561 h 1421209"/>
                  <a:gd name="connsiteX142" fmla="*/ 96957 w 1620550"/>
                  <a:gd name="connsiteY142" fmla="*/ 991591 h 1421209"/>
                  <a:gd name="connsiteX143" fmla="*/ 108659 w 1620550"/>
                  <a:gd name="connsiteY143" fmla="*/ 993263 h 1421209"/>
                  <a:gd name="connsiteX144" fmla="*/ 115345 w 1620550"/>
                  <a:gd name="connsiteY144" fmla="*/ 1038398 h 1421209"/>
                  <a:gd name="connsiteX145" fmla="*/ 93614 w 1620550"/>
                  <a:gd name="connsiteY145" fmla="*/ 1035055 h 1421209"/>
                  <a:gd name="connsiteX146" fmla="*/ 63524 w 1620550"/>
                  <a:gd name="connsiteY146" fmla="*/ 1036726 h 1421209"/>
                  <a:gd name="connsiteX147" fmla="*/ 56837 w 1620550"/>
                  <a:gd name="connsiteY147" fmla="*/ 1045085 h 1421209"/>
                  <a:gd name="connsiteX148" fmla="*/ 48479 w 1620550"/>
                  <a:gd name="connsiteY148" fmla="*/ 1051771 h 1421209"/>
                  <a:gd name="connsiteX149" fmla="*/ 43464 w 1620550"/>
                  <a:gd name="connsiteY149" fmla="*/ 1058458 h 1421209"/>
                  <a:gd name="connsiteX150" fmla="*/ 40120 w 1620550"/>
                  <a:gd name="connsiteY150" fmla="*/ 1061801 h 1421209"/>
                  <a:gd name="connsiteX151" fmla="*/ 35105 w 1620550"/>
                  <a:gd name="connsiteY151" fmla="*/ 1070160 h 1421209"/>
                  <a:gd name="connsiteX152" fmla="*/ 33434 w 1620550"/>
                  <a:gd name="connsiteY152" fmla="*/ 1075175 h 1421209"/>
                  <a:gd name="connsiteX153" fmla="*/ 28419 w 1620550"/>
                  <a:gd name="connsiteY153" fmla="*/ 1091891 h 1421209"/>
                  <a:gd name="connsiteX154" fmla="*/ 25075 w 1620550"/>
                  <a:gd name="connsiteY154" fmla="*/ 1098578 h 1421209"/>
                  <a:gd name="connsiteX155" fmla="*/ 20060 w 1620550"/>
                  <a:gd name="connsiteY155" fmla="*/ 1111951 h 1421209"/>
                  <a:gd name="connsiteX156" fmla="*/ 21732 w 1620550"/>
                  <a:gd name="connsiteY156" fmla="*/ 1163773 h 1421209"/>
                  <a:gd name="connsiteX157" fmla="*/ 41792 w 1620550"/>
                  <a:gd name="connsiteY157" fmla="*/ 1162101 h 1421209"/>
                  <a:gd name="connsiteX158" fmla="*/ 68539 w 1620550"/>
                  <a:gd name="connsiteY158" fmla="*/ 1163773 h 1421209"/>
                  <a:gd name="connsiteX159" fmla="*/ 81912 w 1620550"/>
                  <a:gd name="connsiteY159" fmla="*/ 1173803 h 1421209"/>
                  <a:gd name="connsiteX160" fmla="*/ 86927 w 1620550"/>
                  <a:gd name="connsiteY160" fmla="*/ 1177146 h 1421209"/>
                  <a:gd name="connsiteX161" fmla="*/ 93614 w 1620550"/>
                  <a:gd name="connsiteY161" fmla="*/ 1185504 h 1421209"/>
                  <a:gd name="connsiteX162" fmla="*/ 96957 w 1620550"/>
                  <a:gd name="connsiteY162" fmla="*/ 1195534 h 1421209"/>
                  <a:gd name="connsiteX163" fmla="*/ 98629 w 1620550"/>
                  <a:gd name="connsiteY163" fmla="*/ 1200549 h 1421209"/>
                  <a:gd name="connsiteX164" fmla="*/ 108659 w 1620550"/>
                  <a:gd name="connsiteY164" fmla="*/ 1212251 h 1421209"/>
                  <a:gd name="connsiteX165" fmla="*/ 113674 w 1620550"/>
                  <a:gd name="connsiteY165" fmla="*/ 1213923 h 1421209"/>
                  <a:gd name="connsiteX166" fmla="*/ 122032 w 1620550"/>
                  <a:gd name="connsiteY166" fmla="*/ 1217266 h 1421209"/>
                  <a:gd name="connsiteX167" fmla="*/ 135405 w 1620550"/>
                  <a:gd name="connsiteY167" fmla="*/ 1227296 h 1421209"/>
                  <a:gd name="connsiteX168" fmla="*/ 140420 w 1620550"/>
                  <a:gd name="connsiteY168" fmla="*/ 1230639 h 1421209"/>
                  <a:gd name="connsiteX169" fmla="*/ 145435 w 1620550"/>
                  <a:gd name="connsiteY169" fmla="*/ 1232311 h 1421209"/>
                  <a:gd name="connsiteX170" fmla="*/ 148779 w 1620550"/>
                  <a:gd name="connsiteY170" fmla="*/ 1237326 h 1421209"/>
                  <a:gd name="connsiteX171" fmla="*/ 153793 w 1620550"/>
                  <a:gd name="connsiteY171" fmla="*/ 1244013 h 1421209"/>
                  <a:gd name="connsiteX172" fmla="*/ 158808 w 1620550"/>
                  <a:gd name="connsiteY172" fmla="*/ 1255714 h 1421209"/>
                  <a:gd name="connsiteX173" fmla="*/ 152122 w 1620550"/>
                  <a:gd name="connsiteY173" fmla="*/ 1259058 h 1421209"/>
                  <a:gd name="connsiteX174" fmla="*/ 143764 w 1620550"/>
                  <a:gd name="connsiteY174" fmla="*/ 1260729 h 1421209"/>
                  <a:gd name="connsiteX175" fmla="*/ 145435 w 1620550"/>
                  <a:gd name="connsiteY175" fmla="*/ 1274103 h 1421209"/>
                  <a:gd name="connsiteX176" fmla="*/ 152122 w 1620550"/>
                  <a:gd name="connsiteY176" fmla="*/ 1290819 h 1421209"/>
                  <a:gd name="connsiteX177" fmla="*/ 155465 w 1620550"/>
                  <a:gd name="connsiteY177" fmla="*/ 1295834 h 1421209"/>
                  <a:gd name="connsiteX178" fmla="*/ 160480 w 1620550"/>
                  <a:gd name="connsiteY178" fmla="*/ 1297506 h 1421209"/>
                  <a:gd name="connsiteX179" fmla="*/ 163823 w 1620550"/>
                  <a:gd name="connsiteY179" fmla="*/ 1302521 h 1421209"/>
                  <a:gd name="connsiteX180" fmla="*/ 168838 w 1620550"/>
                  <a:gd name="connsiteY180" fmla="*/ 1305864 h 1421209"/>
                  <a:gd name="connsiteX181" fmla="*/ 177197 w 1620550"/>
                  <a:gd name="connsiteY181" fmla="*/ 1312551 h 1421209"/>
                  <a:gd name="connsiteX182" fmla="*/ 180540 w 1620550"/>
                  <a:gd name="connsiteY182" fmla="*/ 1317566 h 1421209"/>
                  <a:gd name="connsiteX183" fmla="*/ 168838 w 1620550"/>
                  <a:gd name="connsiteY183" fmla="*/ 1329267 h 1421209"/>
                  <a:gd name="connsiteX184" fmla="*/ 170510 w 1620550"/>
                  <a:gd name="connsiteY184" fmla="*/ 1349327 h 1421209"/>
                  <a:gd name="connsiteX185" fmla="*/ 175525 w 1620550"/>
                  <a:gd name="connsiteY185" fmla="*/ 1356014 h 1421209"/>
                  <a:gd name="connsiteX186" fmla="*/ 177197 w 1620550"/>
                  <a:gd name="connsiteY186" fmla="*/ 1371059 h 1421209"/>
                  <a:gd name="connsiteX187" fmla="*/ 178868 w 1620550"/>
                  <a:gd name="connsiteY187" fmla="*/ 1381089 h 1421209"/>
                  <a:gd name="connsiteX188" fmla="*/ 182212 w 1620550"/>
                  <a:gd name="connsiteY188" fmla="*/ 1397806 h 1421209"/>
                  <a:gd name="connsiteX189" fmla="*/ 188898 w 1620550"/>
                  <a:gd name="connsiteY189" fmla="*/ 1401149 h 1421209"/>
                  <a:gd name="connsiteX190" fmla="*/ 193913 w 1620550"/>
                  <a:gd name="connsiteY190" fmla="*/ 1399477 h 1421209"/>
                  <a:gd name="connsiteX191" fmla="*/ 200600 w 1620550"/>
                  <a:gd name="connsiteY191" fmla="*/ 1389447 h 1421209"/>
                  <a:gd name="connsiteX192" fmla="*/ 208958 w 1620550"/>
                  <a:gd name="connsiteY192" fmla="*/ 1392791 h 1421209"/>
                  <a:gd name="connsiteX193" fmla="*/ 210630 w 1620550"/>
                  <a:gd name="connsiteY193" fmla="*/ 1397806 h 1421209"/>
                  <a:gd name="connsiteX194" fmla="*/ 213973 w 1620550"/>
                  <a:gd name="connsiteY194" fmla="*/ 1402821 h 1421209"/>
                  <a:gd name="connsiteX195" fmla="*/ 215645 w 1620550"/>
                  <a:gd name="connsiteY195" fmla="*/ 1412851 h 1421209"/>
                  <a:gd name="connsiteX196" fmla="*/ 222332 w 1620550"/>
                  <a:gd name="connsiteY196" fmla="*/ 1416194 h 1421209"/>
                  <a:gd name="connsiteX197" fmla="*/ 234033 w 1620550"/>
                  <a:gd name="connsiteY197" fmla="*/ 1419537 h 1421209"/>
                  <a:gd name="connsiteX198" fmla="*/ 239048 w 1620550"/>
                  <a:gd name="connsiteY198" fmla="*/ 1421209 h 1421209"/>
                  <a:gd name="connsiteX199" fmla="*/ 269138 w 1620550"/>
                  <a:gd name="connsiteY199" fmla="*/ 1419537 h 1421209"/>
                  <a:gd name="connsiteX200" fmla="*/ 270810 w 1620550"/>
                  <a:gd name="connsiteY200" fmla="*/ 1414522 h 1421209"/>
                  <a:gd name="connsiteX201" fmla="*/ 277497 w 1620550"/>
                  <a:gd name="connsiteY201" fmla="*/ 1412851 h 1421209"/>
                  <a:gd name="connsiteX202" fmla="*/ 285855 w 1620550"/>
                  <a:gd name="connsiteY202" fmla="*/ 1411179 h 1421209"/>
                  <a:gd name="connsiteX203" fmla="*/ 287527 w 1620550"/>
                  <a:gd name="connsiteY203" fmla="*/ 1406164 h 1421209"/>
                  <a:gd name="connsiteX204" fmla="*/ 289198 w 1620550"/>
                  <a:gd name="connsiteY204" fmla="*/ 1396134 h 1421209"/>
                  <a:gd name="connsiteX205" fmla="*/ 294213 w 1620550"/>
                  <a:gd name="connsiteY205" fmla="*/ 1389447 h 1421209"/>
                  <a:gd name="connsiteX206" fmla="*/ 300900 w 1620550"/>
                  <a:gd name="connsiteY206" fmla="*/ 1379417 h 1421209"/>
                  <a:gd name="connsiteX207" fmla="*/ 307587 w 1620550"/>
                  <a:gd name="connsiteY207" fmla="*/ 1366044 h 1421209"/>
                  <a:gd name="connsiteX208" fmla="*/ 314273 w 1620550"/>
                  <a:gd name="connsiteY208" fmla="*/ 1361029 h 1421209"/>
                  <a:gd name="connsiteX209" fmla="*/ 317617 w 1620550"/>
                  <a:gd name="connsiteY209" fmla="*/ 1357686 h 1421209"/>
                  <a:gd name="connsiteX210" fmla="*/ 339348 w 1620550"/>
                  <a:gd name="connsiteY210" fmla="*/ 1354342 h 1421209"/>
                  <a:gd name="connsiteX211" fmla="*/ 356065 w 1620550"/>
                  <a:gd name="connsiteY211" fmla="*/ 1357686 h 1421209"/>
                  <a:gd name="connsiteX212" fmla="*/ 361080 w 1620550"/>
                  <a:gd name="connsiteY212" fmla="*/ 1359357 h 1421209"/>
                  <a:gd name="connsiteX213" fmla="*/ 364423 w 1620550"/>
                  <a:gd name="connsiteY213" fmla="*/ 1362701 h 1421209"/>
                  <a:gd name="connsiteX214" fmla="*/ 374453 w 1620550"/>
                  <a:gd name="connsiteY214" fmla="*/ 1367716 h 1421209"/>
                  <a:gd name="connsiteX215" fmla="*/ 377796 w 1620550"/>
                  <a:gd name="connsiteY215" fmla="*/ 1374402 h 1421209"/>
                  <a:gd name="connsiteX216" fmla="*/ 381140 w 1620550"/>
                  <a:gd name="connsiteY216" fmla="*/ 1377746 h 1421209"/>
                  <a:gd name="connsiteX217" fmla="*/ 386155 w 1620550"/>
                  <a:gd name="connsiteY217" fmla="*/ 1374402 h 1421209"/>
                  <a:gd name="connsiteX218" fmla="*/ 396185 w 1620550"/>
                  <a:gd name="connsiteY218" fmla="*/ 1361029 h 1421209"/>
                  <a:gd name="connsiteX219" fmla="*/ 414573 w 1620550"/>
                  <a:gd name="connsiteY219" fmla="*/ 1356014 h 1421209"/>
                  <a:gd name="connsiteX220" fmla="*/ 416245 w 1620550"/>
                  <a:gd name="connsiteY220" fmla="*/ 1349327 h 1421209"/>
                  <a:gd name="connsiteX221" fmla="*/ 419588 w 1620550"/>
                  <a:gd name="connsiteY221" fmla="*/ 1334282 h 1421209"/>
                  <a:gd name="connsiteX222" fmla="*/ 424603 w 1620550"/>
                  <a:gd name="connsiteY222" fmla="*/ 1330939 h 1421209"/>
                  <a:gd name="connsiteX223" fmla="*/ 444663 w 1620550"/>
                  <a:gd name="connsiteY223" fmla="*/ 1332611 h 1421209"/>
                  <a:gd name="connsiteX224" fmla="*/ 466395 w 1620550"/>
                  <a:gd name="connsiteY224" fmla="*/ 1339297 h 1421209"/>
                  <a:gd name="connsiteX225" fmla="*/ 509858 w 1620550"/>
                  <a:gd name="connsiteY225" fmla="*/ 1340969 h 1421209"/>
                  <a:gd name="connsiteX226" fmla="*/ 523231 w 1620550"/>
                  <a:gd name="connsiteY226" fmla="*/ 1345984 h 1421209"/>
                  <a:gd name="connsiteX227" fmla="*/ 531589 w 1620550"/>
                  <a:gd name="connsiteY227" fmla="*/ 1357686 h 1421209"/>
                  <a:gd name="connsiteX228" fmla="*/ 534933 w 1620550"/>
                  <a:gd name="connsiteY228" fmla="*/ 1364372 h 1421209"/>
                  <a:gd name="connsiteX229" fmla="*/ 539948 w 1620550"/>
                  <a:gd name="connsiteY229" fmla="*/ 1366044 h 1421209"/>
                  <a:gd name="connsiteX230" fmla="*/ 565023 w 1620550"/>
                  <a:gd name="connsiteY230" fmla="*/ 1369387 h 1421209"/>
                  <a:gd name="connsiteX231" fmla="*/ 568366 w 1620550"/>
                  <a:gd name="connsiteY231" fmla="*/ 1372731 h 1421209"/>
                  <a:gd name="connsiteX232" fmla="*/ 571709 w 1620550"/>
                  <a:gd name="connsiteY232" fmla="*/ 1366044 h 1421209"/>
                  <a:gd name="connsiteX233" fmla="*/ 600128 w 1620550"/>
                  <a:gd name="connsiteY233" fmla="*/ 1357686 h 1421209"/>
                  <a:gd name="connsiteX234" fmla="*/ 626874 w 1620550"/>
                  <a:gd name="connsiteY234" fmla="*/ 1361029 h 1421209"/>
                  <a:gd name="connsiteX235" fmla="*/ 633561 w 1620550"/>
                  <a:gd name="connsiteY235" fmla="*/ 1364372 h 1421209"/>
                  <a:gd name="connsiteX236" fmla="*/ 638576 w 1620550"/>
                  <a:gd name="connsiteY236" fmla="*/ 1366044 h 1421209"/>
                  <a:gd name="connsiteX237" fmla="*/ 643591 w 1620550"/>
                  <a:gd name="connsiteY237" fmla="*/ 1372731 h 1421209"/>
                  <a:gd name="connsiteX238" fmla="*/ 650278 w 1620550"/>
                  <a:gd name="connsiteY238" fmla="*/ 1382761 h 1421209"/>
                  <a:gd name="connsiteX239" fmla="*/ 660308 w 1620550"/>
                  <a:gd name="connsiteY239" fmla="*/ 1386104 h 1421209"/>
                  <a:gd name="connsiteX240" fmla="*/ 672009 w 1620550"/>
                  <a:gd name="connsiteY240" fmla="*/ 1389447 h 1421209"/>
                  <a:gd name="connsiteX241" fmla="*/ 687054 w 1620550"/>
                  <a:gd name="connsiteY241" fmla="*/ 1382761 h 1421209"/>
                  <a:gd name="connsiteX242" fmla="*/ 690398 w 1620550"/>
                  <a:gd name="connsiteY242" fmla="*/ 1374402 h 1421209"/>
                  <a:gd name="connsiteX243" fmla="*/ 695413 w 1620550"/>
                  <a:gd name="connsiteY243" fmla="*/ 1371059 h 1421209"/>
                  <a:gd name="connsiteX244" fmla="*/ 707114 w 1620550"/>
                  <a:gd name="connsiteY244" fmla="*/ 1366044 h 1421209"/>
                  <a:gd name="connsiteX245" fmla="*/ 715472 w 1620550"/>
                  <a:gd name="connsiteY245" fmla="*/ 1364372 h 1421209"/>
                  <a:gd name="connsiteX246" fmla="*/ 735532 w 1620550"/>
                  <a:gd name="connsiteY246" fmla="*/ 1371059 h 1421209"/>
                  <a:gd name="connsiteX247" fmla="*/ 737204 w 1620550"/>
                  <a:gd name="connsiteY247" fmla="*/ 1376074 h 1421209"/>
                  <a:gd name="connsiteX248" fmla="*/ 742219 w 1620550"/>
                  <a:gd name="connsiteY248" fmla="*/ 1387776 h 1421209"/>
                  <a:gd name="connsiteX249" fmla="*/ 748906 w 1620550"/>
                  <a:gd name="connsiteY249" fmla="*/ 1389447 h 1421209"/>
                  <a:gd name="connsiteX250" fmla="*/ 762279 w 1620550"/>
                  <a:gd name="connsiteY250" fmla="*/ 1384432 h 1421209"/>
                  <a:gd name="connsiteX251" fmla="*/ 772309 w 1620550"/>
                  <a:gd name="connsiteY251" fmla="*/ 1381089 h 1421209"/>
                  <a:gd name="connsiteX252" fmla="*/ 784011 w 1620550"/>
                  <a:gd name="connsiteY252" fmla="*/ 1371059 h 1421209"/>
                  <a:gd name="connsiteX253" fmla="*/ 797384 w 1620550"/>
                  <a:gd name="connsiteY253" fmla="*/ 1357686 h 1421209"/>
                  <a:gd name="connsiteX254" fmla="*/ 802399 w 1620550"/>
                  <a:gd name="connsiteY254" fmla="*/ 1352671 h 1421209"/>
                  <a:gd name="connsiteX255" fmla="*/ 810757 w 1620550"/>
                  <a:gd name="connsiteY255" fmla="*/ 1350999 h 1421209"/>
                  <a:gd name="connsiteX256" fmla="*/ 812429 w 1620550"/>
                  <a:gd name="connsiteY256" fmla="*/ 1344312 h 1421209"/>
                  <a:gd name="connsiteX257" fmla="*/ 807414 w 1620550"/>
                  <a:gd name="connsiteY257" fmla="*/ 1325924 h 1421209"/>
                  <a:gd name="connsiteX258" fmla="*/ 809086 w 1620550"/>
                  <a:gd name="connsiteY258" fmla="*/ 1314222 h 1421209"/>
                  <a:gd name="connsiteX259" fmla="*/ 812429 w 1620550"/>
                  <a:gd name="connsiteY259" fmla="*/ 1309207 h 1421209"/>
                  <a:gd name="connsiteX260" fmla="*/ 820787 w 1620550"/>
                  <a:gd name="connsiteY260" fmla="*/ 1299177 h 1421209"/>
                  <a:gd name="connsiteX261" fmla="*/ 827474 w 1620550"/>
                  <a:gd name="connsiteY261" fmla="*/ 1294162 h 1421209"/>
                  <a:gd name="connsiteX262" fmla="*/ 869266 w 1620550"/>
                  <a:gd name="connsiteY262" fmla="*/ 1292491 h 1421209"/>
                  <a:gd name="connsiteX263" fmla="*/ 870937 w 1620550"/>
                  <a:gd name="connsiteY263" fmla="*/ 1277446 h 1421209"/>
                  <a:gd name="connsiteX264" fmla="*/ 880967 w 1620550"/>
                  <a:gd name="connsiteY264" fmla="*/ 1270759 h 1421209"/>
                  <a:gd name="connsiteX265" fmla="*/ 885982 w 1620550"/>
                  <a:gd name="connsiteY265" fmla="*/ 1269088 h 1421209"/>
                  <a:gd name="connsiteX266" fmla="*/ 932789 w 1620550"/>
                  <a:gd name="connsiteY266" fmla="*/ 1270759 h 1421209"/>
                  <a:gd name="connsiteX267" fmla="*/ 942819 w 1620550"/>
                  <a:gd name="connsiteY267" fmla="*/ 1272431 h 1421209"/>
                  <a:gd name="connsiteX268" fmla="*/ 949505 w 1620550"/>
                  <a:gd name="connsiteY268" fmla="*/ 1275774 h 1421209"/>
                  <a:gd name="connsiteX269" fmla="*/ 954520 w 1620550"/>
                  <a:gd name="connsiteY269" fmla="*/ 1277446 h 1421209"/>
                  <a:gd name="connsiteX270" fmla="*/ 964550 w 1620550"/>
                  <a:gd name="connsiteY270" fmla="*/ 1274103 h 1421209"/>
                  <a:gd name="connsiteX271" fmla="*/ 971237 w 1620550"/>
                  <a:gd name="connsiteY271" fmla="*/ 1264073 h 1421209"/>
                  <a:gd name="connsiteX272" fmla="*/ 964550 w 1620550"/>
                  <a:gd name="connsiteY272" fmla="*/ 1249028 h 1421209"/>
                  <a:gd name="connsiteX273" fmla="*/ 966222 w 1620550"/>
                  <a:gd name="connsiteY273" fmla="*/ 1233983 h 1421209"/>
                  <a:gd name="connsiteX274" fmla="*/ 974580 w 1620550"/>
                  <a:gd name="connsiteY274" fmla="*/ 1215594 h 1421209"/>
                  <a:gd name="connsiteX275" fmla="*/ 977924 w 1620550"/>
                  <a:gd name="connsiteY275" fmla="*/ 1212251 h 1421209"/>
                  <a:gd name="connsiteX276" fmla="*/ 982939 w 1620550"/>
                  <a:gd name="connsiteY276" fmla="*/ 1205564 h 1421209"/>
                  <a:gd name="connsiteX277" fmla="*/ 991297 w 1620550"/>
                  <a:gd name="connsiteY277" fmla="*/ 1195534 h 1421209"/>
                  <a:gd name="connsiteX278" fmla="*/ 1001327 w 1620550"/>
                  <a:gd name="connsiteY278" fmla="*/ 1185504 h 1421209"/>
                  <a:gd name="connsiteX279" fmla="*/ 1002999 w 1620550"/>
                  <a:gd name="connsiteY279" fmla="*/ 1180489 h 1421209"/>
                  <a:gd name="connsiteX280" fmla="*/ 1006342 w 1620550"/>
                  <a:gd name="connsiteY280" fmla="*/ 1175474 h 1421209"/>
                  <a:gd name="connsiteX281" fmla="*/ 1008014 w 1620550"/>
                  <a:gd name="connsiteY281" fmla="*/ 1168788 h 1421209"/>
                  <a:gd name="connsiteX282" fmla="*/ 1016372 w 1620550"/>
                  <a:gd name="connsiteY282" fmla="*/ 1157086 h 1421209"/>
                  <a:gd name="connsiteX283" fmla="*/ 1023059 w 1620550"/>
                  <a:gd name="connsiteY283" fmla="*/ 1143713 h 1421209"/>
                  <a:gd name="connsiteX284" fmla="*/ 1024730 w 1620550"/>
                  <a:gd name="connsiteY284" fmla="*/ 1138698 h 1421209"/>
                  <a:gd name="connsiteX285" fmla="*/ 1028074 w 1620550"/>
                  <a:gd name="connsiteY285" fmla="*/ 1135354 h 1421209"/>
                  <a:gd name="connsiteX286" fmla="*/ 1033089 w 1620550"/>
                  <a:gd name="connsiteY286" fmla="*/ 1128668 h 1421209"/>
                  <a:gd name="connsiteX287" fmla="*/ 1043119 w 1620550"/>
                  <a:gd name="connsiteY287" fmla="*/ 1116966 h 1421209"/>
                  <a:gd name="connsiteX288" fmla="*/ 1061507 w 1620550"/>
                  <a:gd name="connsiteY288" fmla="*/ 1111951 h 1421209"/>
                  <a:gd name="connsiteX289" fmla="*/ 1069865 w 1620550"/>
                  <a:gd name="connsiteY289" fmla="*/ 1108608 h 1421209"/>
                  <a:gd name="connsiteX290" fmla="*/ 1089925 w 1620550"/>
                  <a:gd name="connsiteY290" fmla="*/ 1105264 h 1421209"/>
                  <a:gd name="connsiteX291" fmla="*/ 1094940 w 1620550"/>
                  <a:gd name="connsiteY291" fmla="*/ 1101921 h 1421209"/>
                  <a:gd name="connsiteX292" fmla="*/ 1111657 w 1620550"/>
                  <a:gd name="connsiteY292" fmla="*/ 1098578 h 1421209"/>
                  <a:gd name="connsiteX293" fmla="*/ 1126702 w 1620550"/>
                  <a:gd name="connsiteY293" fmla="*/ 1090220 h 1421209"/>
                  <a:gd name="connsiteX294" fmla="*/ 1131717 w 1620550"/>
                  <a:gd name="connsiteY294" fmla="*/ 1086876 h 1421209"/>
                  <a:gd name="connsiteX295" fmla="*/ 1133388 w 1620550"/>
                  <a:gd name="connsiteY295" fmla="*/ 1078518 h 1421209"/>
                  <a:gd name="connsiteX296" fmla="*/ 1126702 w 1620550"/>
                  <a:gd name="connsiteY296" fmla="*/ 1070160 h 1421209"/>
                  <a:gd name="connsiteX297" fmla="*/ 1118343 w 1620550"/>
                  <a:gd name="connsiteY297" fmla="*/ 1065145 h 1421209"/>
                  <a:gd name="connsiteX298" fmla="*/ 1109985 w 1620550"/>
                  <a:gd name="connsiteY298" fmla="*/ 1056786 h 1421209"/>
                  <a:gd name="connsiteX299" fmla="*/ 1103298 w 1620550"/>
                  <a:gd name="connsiteY299" fmla="*/ 1048428 h 1421209"/>
                  <a:gd name="connsiteX300" fmla="*/ 1099955 w 1620550"/>
                  <a:gd name="connsiteY300" fmla="*/ 1043413 h 1421209"/>
                  <a:gd name="connsiteX301" fmla="*/ 1094940 w 1620550"/>
                  <a:gd name="connsiteY301" fmla="*/ 1040070 h 1421209"/>
                  <a:gd name="connsiteX302" fmla="*/ 1091597 w 1620550"/>
                  <a:gd name="connsiteY302" fmla="*/ 1033383 h 1421209"/>
                  <a:gd name="connsiteX303" fmla="*/ 1088253 w 1620550"/>
                  <a:gd name="connsiteY303" fmla="*/ 1030040 h 1421209"/>
                  <a:gd name="connsiteX304" fmla="*/ 1083238 w 1620550"/>
                  <a:gd name="connsiteY304" fmla="*/ 1018338 h 1421209"/>
                  <a:gd name="connsiteX305" fmla="*/ 1081567 w 1620550"/>
                  <a:gd name="connsiteY305" fmla="*/ 989920 h 1421209"/>
                  <a:gd name="connsiteX306" fmla="*/ 1079895 w 1620550"/>
                  <a:gd name="connsiteY306" fmla="*/ 984905 h 1421209"/>
                  <a:gd name="connsiteX307" fmla="*/ 1074880 w 1620550"/>
                  <a:gd name="connsiteY307" fmla="*/ 979890 h 1421209"/>
                  <a:gd name="connsiteX308" fmla="*/ 1069865 w 1620550"/>
                  <a:gd name="connsiteY308" fmla="*/ 964845 h 1421209"/>
                  <a:gd name="connsiteX309" fmla="*/ 1074880 w 1620550"/>
                  <a:gd name="connsiteY309" fmla="*/ 929740 h 1421209"/>
                  <a:gd name="connsiteX310" fmla="*/ 1084910 w 1620550"/>
                  <a:gd name="connsiteY310" fmla="*/ 919710 h 1421209"/>
                  <a:gd name="connsiteX311" fmla="*/ 1091597 w 1620550"/>
                  <a:gd name="connsiteY311" fmla="*/ 911352 h 1421209"/>
                  <a:gd name="connsiteX312" fmla="*/ 1098283 w 1620550"/>
                  <a:gd name="connsiteY312" fmla="*/ 906337 h 1421209"/>
                  <a:gd name="connsiteX313" fmla="*/ 1111657 w 1620550"/>
                  <a:gd name="connsiteY313" fmla="*/ 892963 h 1421209"/>
                  <a:gd name="connsiteX314" fmla="*/ 1116672 w 1620550"/>
                  <a:gd name="connsiteY314" fmla="*/ 887948 h 1421209"/>
                  <a:gd name="connsiteX315" fmla="*/ 1121687 w 1620550"/>
                  <a:gd name="connsiteY315" fmla="*/ 881262 h 1421209"/>
                  <a:gd name="connsiteX316" fmla="*/ 1125030 w 1620550"/>
                  <a:gd name="connsiteY316" fmla="*/ 877918 h 1421209"/>
                  <a:gd name="connsiteX317" fmla="*/ 1131717 w 1620550"/>
                  <a:gd name="connsiteY317" fmla="*/ 869560 h 1421209"/>
                  <a:gd name="connsiteX318" fmla="*/ 1136732 w 1620550"/>
                  <a:gd name="connsiteY318" fmla="*/ 864545 h 1421209"/>
                  <a:gd name="connsiteX319" fmla="*/ 1145090 w 1620550"/>
                  <a:gd name="connsiteY319" fmla="*/ 849500 h 1421209"/>
                  <a:gd name="connsiteX320" fmla="*/ 1150105 w 1620550"/>
                  <a:gd name="connsiteY320" fmla="*/ 841142 h 1421209"/>
                  <a:gd name="connsiteX321" fmla="*/ 1153448 w 1620550"/>
                  <a:gd name="connsiteY321" fmla="*/ 831112 h 1421209"/>
                  <a:gd name="connsiteX322" fmla="*/ 1156792 w 1620550"/>
                  <a:gd name="connsiteY322" fmla="*/ 827768 h 1421209"/>
                  <a:gd name="connsiteX323" fmla="*/ 1160135 w 1620550"/>
                  <a:gd name="connsiteY323" fmla="*/ 822753 h 1421209"/>
                  <a:gd name="connsiteX324" fmla="*/ 1173508 w 1620550"/>
                  <a:gd name="connsiteY324" fmla="*/ 814395 h 1421209"/>
                  <a:gd name="connsiteX325" fmla="*/ 1181867 w 1620550"/>
                  <a:gd name="connsiteY325" fmla="*/ 806037 h 1421209"/>
                  <a:gd name="connsiteX326" fmla="*/ 1185210 w 1620550"/>
                  <a:gd name="connsiteY326" fmla="*/ 799350 h 1421209"/>
                  <a:gd name="connsiteX327" fmla="*/ 1205270 w 1620550"/>
                  <a:gd name="connsiteY327" fmla="*/ 785977 h 1421209"/>
                  <a:gd name="connsiteX328" fmla="*/ 1213628 w 1620550"/>
                  <a:gd name="connsiteY328" fmla="*/ 779290 h 1421209"/>
                  <a:gd name="connsiteX329" fmla="*/ 1225330 w 1620550"/>
                  <a:gd name="connsiteY329" fmla="*/ 770932 h 1421209"/>
                  <a:gd name="connsiteX330" fmla="*/ 1228673 w 1620550"/>
                  <a:gd name="connsiteY330" fmla="*/ 765917 h 1421209"/>
                  <a:gd name="connsiteX331" fmla="*/ 1243718 w 1620550"/>
                  <a:gd name="connsiteY331" fmla="*/ 764245 h 1421209"/>
                  <a:gd name="connsiteX332" fmla="*/ 1250405 w 1620550"/>
                  <a:gd name="connsiteY332" fmla="*/ 762573 h 1421209"/>
                  <a:gd name="connsiteX333" fmla="*/ 1255420 w 1620550"/>
                  <a:gd name="connsiteY333" fmla="*/ 757558 h 1421209"/>
                  <a:gd name="connsiteX334" fmla="*/ 1263778 w 1620550"/>
                  <a:gd name="connsiteY334" fmla="*/ 752543 h 1421209"/>
                  <a:gd name="connsiteX335" fmla="*/ 1260435 w 1620550"/>
                  <a:gd name="connsiteY335" fmla="*/ 735827 h 1421209"/>
                  <a:gd name="connsiteX336" fmla="*/ 1257091 w 1620550"/>
                  <a:gd name="connsiteY336" fmla="*/ 732484 h 1421209"/>
                  <a:gd name="connsiteX337" fmla="*/ 1255420 w 1620550"/>
                  <a:gd name="connsiteY337" fmla="*/ 727469 h 1421209"/>
                  <a:gd name="connsiteX338" fmla="*/ 1262106 w 1620550"/>
                  <a:gd name="connsiteY338" fmla="*/ 710752 h 1421209"/>
                  <a:gd name="connsiteX339" fmla="*/ 1272136 w 1620550"/>
                  <a:gd name="connsiteY339" fmla="*/ 705737 h 1421209"/>
                  <a:gd name="connsiteX340" fmla="*/ 1280495 w 1620550"/>
                  <a:gd name="connsiteY340" fmla="*/ 700722 h 1421209"/>
                  <a:gd name="connsiteX341" fmla="*/ 1287181 w 1620550"/>
                  <a:gd name="connsiteY341" fmla="*/ 697379 h 1421209"/>
                  <a:gd name="connsiteX342" fmla="*/ 1292196 w 1620550"/>
                  <a:gd name="connsiteY342" fmla="*/ 694035 h 1421209"/>
                  <a:gd name="connsiteX343" fmla="*/ 1298883 w 1620550"/>
                  <a:gd name="connsiteY343" fmla="*/ 692364 h 1421209"/>
                  <a:gd name="connsiteX344" fmla="*/ 1308913 w 1620550"/>
                  <a:gd name="connsiteY344" fmla="*/ 687349 h 1421209"/>
                  <a:gd name="connsiteX345" fmla="*/ 1323958 w 1620550"/>
                  <a:gd name="connsiteY345" fmla="*/ 682334 h 1421209"/>
                  <a:gd name="connsiteX346" fmla="*/ 1330645 w 1620550"/>
                  <a:gd name="connsiteY346" fmla="*/ 678990 h 1421209"/>
                  <a:gd name="connsiteX347" fmla="*/ 1355720 w 1620550"/>
                  <a:gd name="connsiteY347" fmla="*/ 675647 h 1421209"/>
                  <a:gd name="connsiteX348" fmla="*/ 1359063 w 1620550"/>
                  <a:gd name="connsiteY348" fmla="*/ 670632 h 1421209"/>
                  <a:gd name="connsiteX349" fmla="*/ 1372436 w 1620550"/>
                  <a:gd name="connsiteY349" fmla="*/ 667289 h 1421209"/>
                  <a:gd name="connsiteX350" fmla="*/ 1449333 w 1620550"/>
                  <a:gd name="connsiteY350" fmla="*/ 663945 h 1421209"/>
                  <a:gd name="connsiteX351" fmla="*/ 1464378 w 1620550"/>
                  <a:gd name="connsiteY351" fmla="*/ 645557 h 1421209"/>
                  <a:gd name="connsiteX352" fmla="*/ 1474408 w 1620550"/>
                  <a:gd name="connsiteY352" fmla="*/ 635527 h 1421209"/>
                  <a:gd name="connsiteX353" fmla="*/ 1487781 w 1620550"/>
                  <a:gd name="connsiteY353" fmla="*/ 625497 h 1421209"/>
                  <a:gd name="connsiteX354" fmla="*/ 1494468 w 1620550"/>
                  <a:gd name="connsiteY354" fmla="*/ 623825 h 1421209"/>
                  <a:gd name="connsiteX355" fmla="*/ 1509513 w 1620550"/>
                  <a:gd name="connsiteY355" fmla="*/ 620482 h 1421209"/>
                  <a:gd name="connsiteX356" fmla="*/ 1517871 w 1620550"/>
                  <a:gd name="connsiteY356" fmla="*/ 617139 h 1421209"/>
                  <a:gd name="connsiteX357" fmla="*/ 1524558 w 1620550"/>
                  <a:gd name="connsiteY357" fmla="*/ 613795 h 1421209"/>
                  <a:gd name="connsiteX358" fmla="*/ 1539603 w 1620550"/>
                  <a:gd name="connsiteY358" fmla="*/ 612124 h 1421209"/>
                  <a:gd name="connsiteX359" fmla="*/ 1557991 w 1620550"/>
                  <a:gd name="connsiteY359" fmla="*/ 602094 h 1421209"/>
                  <a:gd name="connsiteX360" fmla="*/ 1573036 w 1620550"/>
                  <a:gd name="connsiteY360" fmla="*/ 597079 h 1421209"/>
                  <a:gd name="connsiteX361" fmla="*/ 1576379 w 1620550"/>
                  <a:gd name="connsiteY361" fmla="*/ 592064 h 1421209"/>
                  <a:gd name="connsiteX362" fmla="*/ 1588081 w 1620550"/>
                  <a:gd name="connsiteY362" fmla="*/ 587049 h 1421209"/>
                  <a:gd name="connsiteX363" fmla="*/ 1591424 w 1620550"/>
                  <a:gd name="connsiteY363" fmla="*/ 583705 h 1421209"/>
                  <a:gd name="connsiteX364" fmla="*/ 1598111 w 1620550"/>
                  <a:gd name="connsiteY364" fmla="*/ 580362 h 1421209"/>
                  <a:gd name="connsiteX365" fmla="*/ 1608141 w 1620550"/>
                  <a:gd name="connsiteY365" fmla="*/ 572004 h 1421209"/>
                  <a:gd name="connsiteX366" fmla="*/ 1614828 w 1620550"/>
                  <a:gd name="connsiteY366" fmla="*/ 560302 h 1421209"/>
                  <a:gd name="connsiteX367" fmla="*/ 1608141 w 1620550"/>
                  <a:gd name="connsiteY367" fmla="*/ 546929 h 1421209"/>
                  <a:gd name="connsiteX368" fmla="*/ 1599783 w 1620550"/>
                  <a:gd name="connsiteY368" fmla="*/ 535227 h 1421209"/>
                  <a:gd name="connsiteX369" fmla="*/ 1598111 w 1620550"/>
                  <a:gd name="connsiteY369" fmla="*/ 530212 h 1421209"/>
                  <a:gd name="connsiteX370" fmla="*/ 1596439 w 1620550"/>
                  <a:gd name="connsiteY370" fmla="*/ 518511 h 1421209"/>
                  <a:gd name="connsiteX371" fmla="*/ 1601454 w 1620550"/>
                  <a:gd name="connsiteY371" fmla="*/ 516839 h 1421209"/>
                  <a:gd name="connsiteX372" fmla="*/ 1604798 w 1620550"/>
                  <a:gd name="connsiteY372" fmla="*/ 513496 h 1421209"/>
                  <a:gd name="connsiteX373" fmla="*/ 1616499 w 1620550"/>
                  <a:gd name="connsiteY373" fmla="*/ 510152 h 1421209"/>
                  <a:gd name="connsiteX374" fmla="*/ 1618171 w 1620550"/>
                  <a:gd name="connsiteY374" fmla="*/ 495107 h 1421209"/>
                  <a:gd name="connsiteX375" fmla="*/ 1613156 w 1620550"/>
                  <a:gd name="connsiteY375" fmla="*/ 491764 h 1421209"/>
                  <a:gd name="connsiteX376" fmla="*/ 1611484 w 1620550"/>
                  <a:gd name="connsiteY376" fmla="*/ 486749 h 1421209"/>
                  <a:gd name="connsiteX377" fmla="*/ 1608141 w 1620550"/>
                  <a:gd name="connsiteY377" fmla="*/ 481734 h 1421209"/>
                  <a:gd name="connsiteX378" fmla="*/ 1606469 w 1620550"/>
                  <a:gd name="connsiteY378" fmla="*/ 473376 h 1421209"/>
                  <a:gd name="connsiteX379" fmla="*/ 1604798 w 1620550"/>
                  <a:gd name="connsiteY379" fmla="*/ 468361 h 1421209"/>
                  <a:gd name="connsiteX380" fmla="*/ 1599783 w 1620550"/>
                  <a:gd name="connsiteY380" fmla="*/ 466689 h 1421209"/>
                  <a:gd name="connsiteX381" fmla="*/ 1586409 w 1620550"/>
                  <a:gd name="connsiteY381" fmla="*/ 461674 h 1421209"/>
                  <a:gd name="connsiteX382" fmla="*/ 1561334 w 1620550"/>
                  <a:gd name="connsiteY382" fmla="*/ 463346 h 1421209"/>
                  <a:gd name="connsiteX383" fmla="*/ 1547961 w 1620550"/>
                  <a:gd name="connsiteY383" fmla="*/ 465017 h 1421209"/>
                  <a:gd name="connsiteX384" fmla="*/ 1539603 w 1620550"/>
                  <a:gd name="connsiteY384" fmla="*/ 470032 h 1421209"/>
                  <a:gd name="connsiteX385" fmla="*/ 1529573 w 1620550"/>
                  <a:gd name="connsiteY385" fmla="*/ 485077 h 1421209"/>
                  <a:gd name="connsiteX386" fmla="*/ 1524558 w 1620550"/>
                  <a:gd name="connsiteY386" fmla="*/ 486749 h 1421209"/>
                  <a:gd name="connsiteX387" fmla="*/ 1504498 w 1620550"/>
                  <a:gd name="connsiteY387" fmla="*/ 480062 h 1421209"/>
                  <a:gd name="connsiteX388" fmla="*/ 1489453 w 1620550"/>
                  <a:gd name="connsiteY388" fmla="*/ 468361 h 1421209"/>
                  <a:gd name="connsiteX389" fmla="*/ 1474408 w 1620550"/>
                  <a:gd name="connsiteY389" fmla="*/ 466689 h 1421209"/>
                  <a:gd name="connsiteX390" fmla="*/ 1462706 w 1620550"/>
                  <a:gd name="connsiteY390" fmla="*/ 468361 h 1421209"/>
                  <a:gd name="connsiteX391" fmla="*/ 1452676 w 1620550"/>
                  <a:gd name="connsiteY391" fmla="*/ 471704 h 1421209"/>
                  <a:gd name="connsiteX392" fmla="*/ 1442646 w 1620550"/>
                  <a:gd name="connsiteY392" fmla="*/ 470032 h 1421209"/>
                  <a:gd name="connsiteX393" fmla="*/ 1435959 w 1620550"/>
                  <a:gd name="connsiteY393" fmla="*/ 463346 h 1421209"/>
                  <a:gd name="connsiteX394" fmla="*/ 1432616 w 1620550"/>
                  <a:gd name="connsiteY394" fmla="*/ 458331 h 1421209"/>
                  <a:gd name="connsiteX395" fmla="*/ 1427601 w 1620550"/>
                  <a:gd name="connsiteY395" fmla="*/ 454987 h 1421209"/>
                  <a:gd name="connsiteX396" fmla="*/ 1422586 w 1620550"/>
                  <a:gd name="connsiteY396" fmla="*/ 448301 h 1421209"/>
                  <a:gd name="connsiteX397" fmla="*/ 1412556 w 1620550"/>
                  <a:gd name="connsiteY397" fmla="*/ 439942 h 1421209"/>
                  <a:gd name="connsiteX398" fmla="*/ 1404198 w 1620550"/>
                  <a:gd name="connsiteY398" fmla="*/ 446629 h 1421209"/>
                  <a:gd name="connsiteX399" fmla="*/ 1390825 w 1620550"/>
                  <a:gd name="connsiteY399" fmla="*/ 453316 h 1421209"/>
                  <a:gd name="connsiteX400" fmla="*/ 1387481 w 1620550"/>
                  <a:gd name="connsiteY400" fmla="*/ 438271 h 1421209"/>
                  <a:gd name="connsiteX401" fmla="*/ 1385810 w 1620550"/>
                  <a:gd name="connsiteY401" fmla="*/ 433256 h 1421209"/>
                  <a:gd name="connsiteX402" fmla="*/ 1384138 w 1620550"/>
                  <a:gd name="connsiteY402" fmla="*/ 411524 h 1421209"/>
                  <a:gd name="connsiteX403" fmla="*/ 1379123 w 1620550"/>
                  <a:gd name="connsiteY403" fmla="*/ 408181 h 1421209"/>
                  <a:gd name="connsiteX404" fmla="*/ 1370765 w 1620550"/>
                  <a:gd name="connsiteY404" fmla="*/ 406509 h 1421209"/>
                  <a:gd name="connsiteX405" fmla="*/ 1364078 w 1620550"/>
                  <a:gd name="connsiteY405" fmla="*/ 404837 h 1421209"/>
                  <a:gd name="connsiteX406" fmla="*/ 1340675 w 1620550"/>
                  <a:gd name="connsiteY406" fmla="*/ 394807 h 1421209"/>
                  <a:gd name="connsiteX407" fmla="*/ 1327301 w 1620550"/>
                  <a:gd name="connsiteY407" fmla="*/ 384777 h 1421209"/>
                  <a:gd name="connsiteX408" fmla="*/ 1320615 w 1620550"/>
                  <a:gd name="connsiteY408" fmla="*/ 379762 h 1421209"/>
                  <a:gd name="connsiteX409" fmla="*/ 1310585 w 1620550"/>
                  <a:gd name="connsiteY409" fmla="*/ 373076 h 1421209"/>
                  <a:gd name="connsiteX410" fmla="*/ 1305570 w 1620550"/>
                  <a:gd name="connsiteY410" fmla="*/ 369732 h 1421209"/>
                  <a:gd name="connsiteX411" fmla="*/ 1297211 w 1620550"/>
                  <a:gd name="connsiteY411" fmla="*/ 368061 h 1421209"/>
                  <a:gd name="connsiteX412" fmla="*/ 1290525 w 1620550"/>
                  <a:gd name="connsiteY412" fmla="*/ 369732 h 1421209"/>
                  <a:gd name="connsiteX413" fmla="*/ 1282166 w 1620550"/>
                  <a:gd name="connsiteY413" fmla="*/ 398151 h 1421209"/>
                  <a:gd name="connsiteX414" fmla="*/ 1272136 w 1620550"/>
                  <a:gd name="connsiteY414" fmla="*/ 394807 h 1421209"/>
                  <a:gd name="connsiteX415" fmla="*/ 1267121 w 1620550"/>
                  <a:gd name="connsiteY415" fmla="*/ 391464 h 1421209"/>
                  <a:gd name="connsiteX416" fmla="*/ 1255420 w 1620550"/>
                  <a:gd name="connsiteY416" fmla="*/ 388121 h 1421209"/>
                  <a:gd name="connsiteX417" fmla="*/ 1220315 w 1620550"/>
                  <a:gd name="connsiteY417" fmla="*/ 386449 h 1421209"/>
                  <a:gd name="connsiteX418" fmla="*/ 1218643 w 1620550"/>
                  <a:gd name="connsiteY418" fmla="*/ 381434 h 1421209"/>
                  <a:gd name="connsiteX419" fmla="*/ 1211957 w 1620550"/>
                  <a:gd name="connsiteY419" fmla="*/ 379762 h 1421209"/>
                  <a:gd name="connsiteX420" fmla="*/ 1175180 w 1620550"/>
                  <a:gd name="connsiteY420" fmla="*/ 378091 h 1421209"/>
                  <a:gd name="connsiteX421" fmla="*/ 1173508 w 1620550"/>
                  <a:gd name="connsiteY421" fmla="*/ 373076 h 1421209"/>
                  <a:gd name="connsiteX422" fmla="*/ 1171837 w 1620550"/>
                  <a:gd name="connsiteY422" fmla="*/ 366389 h 1421209"/>
                  <a:gd name="connsiteX423" fmla="*/ 1163478 w 1620550"/>
                  <a:gd name="connsiteY423" fmla="*/ 361374 h 1421209"/>
                  <a:gd name="connsiteX424" fmla="*/ 1128373 w 1620550"/>
                  <a:gd name="connsiteY424" fmla="*/ 359703 h 1421209"/>
                  <a:gd name="connsiteX425" fmla="*/ 1120015 w 1620550"/>
                  <a:gd name="connsiteY425" fmla="*/ 356359 h 1421209"/>
                  <a:gd name="connsiteX426" fmla="*/ 1113328 w 1620550"/>
                  <a:gd name="connsiteY426" fmla="*/ 346329 h 1421209"/>
                  <a:gd name="connsiteX427" fmla="*/ 1108313 w 1620550"/>
                  <a:gd name="connsiteY427" fmla="*/ 339643 h 1421209"/>
                  <a:gd name="connsiteX428" fmla="*/ 1104970 w 1620550"/>
                  <a:gd name="connsiteY428" fmla="*/ 334628 h 1421209"/>
                  <a:gd name="connsiteX429" fmla="*/ 1098283 w 1620550"/>
                  <a:gd name="connsiteY429" fmla="*/ 327941 h 1421209"/>
                  <a:gd name="connsiteX430" fmla="*/ 1096612 w 1620550"/>
                  <a:gd name="connsiteY430" fmla="*/ 322926 h 1421209"/>
                  <a:gd name="connsiteX431" fmla="*/ 1091597 w 1620550"/>
                  <a:gd name="connsiteY431" fmla="*/ 321254 h 1421209"/>
                  <a:gd name="connsiteX432" fmla="*/ 1084910 w 1620550"/>
                  <a:gd name="connsiteY432" fmla="*/ 317911 h 1421209"/>
                  <a:gd name="connsiteX433" fmla="*/ 1064850 w 1620550"/>
                  <a:gd name="connsiteY433" fmla="*/ 314568 h 1421209"/>
                  <a:gd name="connsiteX434" fmla="*/ 1058164 w 1620550"/>
                  <a:gd name="connsiteY434" fmla="*/ 311224 h 1421209"/>
                  <a:gd name="connsiteX435" fmla="*/ 1054820 w 1620550"/>
                  <a:gd name="connsiteY435" fmla="*/ 307881 h 1421209"/>
                  <a:gd name="connsiteX436" fmla="*/ 1049805 w 1620550"/>
                  <a:gd name="connsiteY436" fmla="*/ 304538 h 1421209"/>
                  <a:gd name="connsiteX437" fmla="*/ 1046462 w 1620550"/>
                  <a:gd name="connsiteY437" fmla="*/ 301194 h 1421209"/>
                  <a:gd name="connsiteX438" fmla="*/ 1039775 w 1620550"/>
                  <a:gd name="connsiteY438" fmla="*/ 299523 h 1421209"/>
                  <a:gd name="connsiteX439" fmla="*/ 1029745 w 1620550"/>
                  <a:gd name="connsiteY439" fmla="*/ 296179 h 1421209"/>
                  <a:gd name="connsiteX440" fmla="*/ 1016372 w 1620550"/>
                  <a:gd name="connsiteY440" fmla="*/ 287821 h 1421209"/>
                  <a:gd name="connsiteX441" fmla="*/ 1013029 w 1620550"/>
                  <a:gd name="connsiteY441" fmla="*/ 282806 h 1421209"/>
                  <a:gd name="connsiteX442" fmla="*/ 1014700 w 1620550"/>
                  <a:gd name="connsiteY442" fmla="*/ 276119 h 1421209"/>
                  <a:gd name="connsiteX443" fmla="*/ 1016372 w 1620550"/>
                  <a:gd name="connsiteY443" fmla="*/ 271104 h 1421209"/>
                  <a:gd name="connsiteX444" fmla="*/ 1029745 w 1620550"/>
                  <a:gd name="connsiteY444" fmla="*/ 264418 h 1421209"/>
                  <a:gd name="connsiteX445" fmla="*/ 1031417 w 1620550"/>
                  <a:gd name="connsiteY445" fmla="*/ 257731 h 1421209"/>
                  <a:gd name="connsiteX446" fmla="*/ 1024730 w 1620550"/>
                  <a:gd name="connsiteY446" fmla="*/ 256059 h 1421209"/>
                  <a:gd name="connsiteX447" fmla="*/ 1016372 w 1620550"/>
                  <a:gd name="connsiteY447" fmla="*/ 251044 h 1421209"/>
                  <a:gd name="connsiteX448" fmla="*/ 1008014 w 1620550"/>
                  <a:gd name="connsiteY448" fmla="*/ 247701 h 1421209"/>
                  <a:gd name="connsiteX449" fmla="*/ 1002999 w 1620550"/>
                  <a:gd name="connsiteY449" fmla="*/ 244358 h 1421209"/>
                  <a:gd name="connsiteX450" fmla="*/ 997984 w 1620550"/>
                  <a:gd name="connsiteY450" fmla="*/ 242686 h 1421209"/>
                  <a:gd name="connsiteX451" fmla="*/ 989625 w 1620550"/>
                  <a:gd name="connsiteY451" fmla="*/ 235999 h 1421209"/>
                  <a:gd name="connsiteX452" fmla="*/ 984610 w 1620550"/>
                  <a:gd name="connsiteY452" fmla="*/ 234328 h 1421209"/>
                  <a:gd name="connsiteX453" fmla="*/ 966222 w 1620550"/>
                  <a:gd name="connsiteY453" fmla="*/ 227641 h 1421209"/>
                  <a:gd name="connsiteX454" fmla="*/ 944490 w 1620550"/>
                  <a:gd name="connsiteY454" fmla="*/ 229313 h 1421209"/>
                  <a:gd name="connsiteX455" fmla="*/ 902699 w 1620550"/>
                  <a:gd name="connsiteY455" fmla="*/ 227641 h 1421209"/>
                  <a:gd name="connsiteX456" fmla="*/ 897684 w 1620550"/>
                  <a:gd name="connsiteY456" fmla="*/ 225969 h 1421209"/>
                  <a:gd name="connsiteX457" fmla="*/ 885982 w 1620550"/>
                  <a:gd name="connsiteY457" fmla="*/ 215939 h 1421209"/>
                  <a:gd name="connsiteX458" fmla="*/ 874281 w 1620550"/>
                  <a:gd name="connsiteY458" fmla="*/ 207581 h 1421209"/>
                  <a:gd name="connsiteX459" fmla="*/ 869266 w 1620550"/>
                  <a:gd name="connsiteY459" fmla="*/ 204238 h 1421209"/>
                  <a:gd name="connsiteX460" fmla="*/ 860907 w 1620550"/>
                  <a:gd name="connsiteY460" fmla="*/ 197551 h 1421209"/>
                  <a:gd name="connsiteX461" fmla="*/ 854221 w 1620550"/>
                  <a:gd name="connsiteY461" fmla="*/ 195879 h 1421209"/>
                  <a:gd name="connsiteX462" fmla="*/ 842519 w 1620550"/>
                  <a:gd name="connsiteY462" fmla="*/ 192536 h 1421209"/>
                  <a:gd name="connsiteX463" fmla="*/ 815772 w 1620550"/>
                  <a:gd name="connsiteY463" fmla="*/ 194208 h 1421209"/>
                  <a:gd name="connsiteX464" fmla="*/ 805742 w 1620550"/>
                  <a:gd name="connsiteY464" fmla="*/ 195879 h 1421209"/>
                  <a:gd name="connsiteX465" fmla="*/ 789026 w 1620550"/>
                  <a:gd name="connsiteY465" fmla="*/ 197551 h 1421209"/>
                  <a:gd name="connsiteX466" fmla="*/ 782339 w 1620550"/>
                  <a:gd name="connsiteY466" fmla="*/ 194208 h 1421209"/>
                  <a:gd name="connsiteX467" fmla="*/ 780667 w 1620550"/>
                  <a:gd name="connsiteY467" fmla="*/ 189193 h 1421209"/>
                  <a:gd name="connsiteX468" fmla="*/ 775652 w 1620550"/>
                  <a:gd name="connsiteY468" fmla="*/ 175820 h 1421209"/>
                  <a:gd name="connsiteX469" fmla="*/ 768966 w 1620550"/>
                  <a:gd name="connsiteY469" fmla="*/ 170805 h 1421209"/>
                  <a:gd name="connsiteX470" fmla="*/ 765622 w 1620550"/>
                  <a:gd name="connsiteY470" fmla="*/ 167461 h 1421209"/>
                  <a:gd name="connsiteX471" fmla="*/ 753921 w 1620550"/>
                  <a:gd name="connsiteY471" fmla="*/ 162446 h 1421209"/>
                  <a:gd name="connsiteX472" fmla="*/ 735532 w 1620550"/>
                  <a:gd name="connsiteY472" fmla="*/ 164118 h 1421209"/>
                  <a:gd name="connsiteX473" fmla="*/ 722159 w 1620550"/>
                  <a:gd name="connsiteY473" fmla="*/ 170805 h 1421209"/>
                  <a:gd name="connsiteX474" fmla="*/ 720487 w 1620550"/>
                  <a:gd name="connsiteY474" fmla="*/ 165790 h 1421209"/>
                  <a:gd name="connsiteX475" fmla="*/ 715472 w 1620550"/>
                  <a:gd name="connsiteY475" fmla="*/ 164118 h 1421209"/>
                  <a:gd name="connsiteX476" fmla="*/ 693741 w 1620550"/>
                  <a:gd name="connsiteY476" fmla="*/ 165790 h 1421209"/>
                  <a:gd name="connsiteX477" fmla="*/ 683711 w 1620550"/>
                  <a:gd name="connsiteY477" fmla="*/ 169133 h 1421209"/>
                  <a:gd name="connsiteX478" fmla="*/ 678696 w 1620550"/>
                  <a:gd name="connsiteY478" fmla="*/ 170805 h 1421209"/>
                  <a:gd name="connsiteX479" fmla="*/ 631889 w 1620550"/>
                  <a:gd name="connsiteY479" fmla="*/ 167461 h 1421209"/>
                  <a:gd name="connsiteX480" fmla="*/ 620188 w 1620550"/>
                  <a:gd name="connsiteY480" fmla="*/ 164118 h 1421209"/>
                  <a:gd name="connsiteX481" fmla="*/ 610158 w 1620550"/>
                  <a:gd name="connsiteY481" fmla="*/ 159103 h 1421209"/>
                  <a:gd name="connsiteX482" fmla="*/ 603471 w 1620550"/>
                  <a:gd name="connsiteY482" fmla="*/ 157431 h 1421209"/>
                  <a:gd name="connsiteX483" fmla="*/ 598456 w 1620550"/>
                  <a:gd name="connsiteY483" fmla="*/ 155760 h 1421209"/>
                  <a:gd name="connsiteX484" fmla="*/ 593441 w 1620550"/>
                  <a:gd name="connsiteY484" fmla="*/ 152416 h 1421209"/>
                  <a:gd name="connsiteX485" fmla="*/ 570038 w 1620550"/>
                  <a:gd name="connsiteY485" fmla="*/ 147401 h 1421209"/>
                  <a:gd name="connsiteX486" fmla="*/ 561679 w 1620550"/>
                  <a:gd name="connsiteY486" fmla="*/ 140715 h 1421209"/>
                  <a:gd name="connsiteX487" fmla="*/ 556664 w 1620550"/>
                  <a:gd name="connsiteY487" fmla="*/ 137371 h 1421209"/>
                  <a:gd name="connsiteX488" fmla="*/ 541619 w 1620550"/>
                  <a:gd name="connsiteY488" fmla="*/ 127341 h 1421209"/>
                  <a:gd name="connsiteX489" fmla="*/ 529918 w 1620550"/>
                  <a:gd name="connsiteY489" fmla="*/ 120655 h 1421209"/>
                  <a:gd name="connsiteX490" fmla="*/ 518216 w 1620550"/>
                  <a:gd name="connsiteY490" fmla="*/ 113968 h 1421209"/>
                  <a:gd name="connsiteX491" fmla="*/ 511530 w 1620550"/>
                  <a:gd name="connsiteY491" fmla="*/ 110625 h 1421209"/>
                  <a:gd name="connsiteX492" fmla="*/ 493141 w 1620550"/>
                  <a:gd name="connsiteY492" fmla="*/ 107281 h 1421209"/>
                  <a:gd name="connsiteX493" fmla="*/ 484783 w 1620550"/>
                  <a:gd name="connsiteY493" fmla="*/ 105610 h 1421209"/>
                  <a:gd name="connsiteX494" fmla="*/ 478096 w 1620550"/>
                  <a:gd name="connsiteY494" fmla="*/ 100595 h 1421209"/>
                  <a:gd name="connsiteX495" fmla="*/ 474753 w 1620550"/>
                  <a:gd name="connsiteY495" fmla="*/ 90565 h 1421209"/>
                  <a:gd name="connsiteX496" fmla="*/ 471410 w 1620550"/>
                  <a:gd name="connsiteY496" fmla="*/ 87221 h 1421209"/>
                  <a:gd name="connsiteX497" fmla="*/ 397856 w 1620550"/>
                  <a:gd name="connsiteY497" fmla="*/ 85550 h 1421209"/>
                  <a:gd name="connsiteX498" fmla="*/ 386155 w 1620550"/>
                  <a:gd name="connsiteY498" fmla="*/ 78863 h 1421209"/>
                  <a:gd name="connsiteX499" fmla="*/ 374453 w 1620550"/>
                  <a:gd name="connsiteY499" fmla="*/ 77191 h 1421209"/>
                  <a:gd name="connsiteX500" fmla="*/ 356065 w 1620550"/>
                  <a:gd name="connsiteY500" fmla="*/ 72176 h 1421209"/>
                  <a:gd name="connsiteX501" fmla="*/ 349378 w 1620550"/>
                  <a:gd name="connsiteY501" fmla="*/ 70505 h 1421209"/>
                  <a:gd name="connsiteX502" fmla="*/ 339348 w 1620550"/>
                  <a:gd name="connsiteY502" fmla="*/ 65490 h 1421209"/>
                  <a:gd name="connsiteX503" fmla="*/ 322632 w 1620550"/>
                  <a:gd name="connsiteY503" fmla="*/ 60475 h 1421209"/>
                  <a:gd name="connsiteX504" fmla="*/ 312602 w 1620550"/>
                  <a:gd name="connsiteY504" fmla="*/ 65490 h 1421209"/>
                  <a:gd name="connsiteX505" fmla="*/ 307587 w 1620550"/>
                  <a:gd name="connsiteY505" fmla="*/ 67161 h 1421209"/>
                  <a:gd name="connsiteX506" fmla="*/ 299228 w 1620550"/>
                  <a:gd name="connsiteY506" fmla="*/ 70505 h 1421209"/>
                  <a:gd name="connsiteX507" fmla="*/ 295885 w 1620550"/>
                  <a:gd name="connsiteY507" fmla="*/ 65490 h 1421209"/>
                  <a:gd name="connsiteX508" fmla="*/ 282512 w 1620550"/>
                  <a:gd name="connsiteY508" fmla="*/ 55460 h 1421209"/>
                  <a:gd name="connsiteX509" fmla="*/ 277497 w 1620550"/>
                  <a:gd name="connsiteY509" fmla="*/ 53788 h 1421209"/>
                  <a:gd name="connsiteX510" fmla="*/ 269138 w 1620550"/>
                  <a:gd name="connsiteY510" fmla="*/ 42086 h 1421209"/>
                  <a:gd name="connsiteX511" fmla="*/ 267467 w 1620550"/>
                  <a:gd name="connsiteY511" fmla="*/ 33728 h 1421209"/>
                  <a:gd name="connsiteX512" fmla="*/ 262452 w 1620550"/>
                  <a:gd name="connsiteY512" fmla="*/ 28713 h 1421209"/>
                  <a:gd name="connsiteX513" fmla="*/ 252422 w 1620550"/>
                  <a:gd name="connsiteY513" fmla="*/ 25370 h 1421209"/>
                  <a:gd name="connsiteX514" fmla="*/ 239048 w 1620550"/>
                  <a:gd name="connsiteY514" fmla="*/ 15340 h 1421209"/>
                  <a:gd name="connsiteX515" fmla="*/ 234033 w 1620550"/>
                  <a:gd name="connsiteY515" fmla="*/ 10325 h 1421209"/>
                  <a:gd name="connsiteX516" fmla="*/ 220660 w 1620550"/>
                  <a:gd name="connsiteY516" fmla="*/ 5310 h 1421209"/>
                  <a:gd name="connsiteX517" fmla="*/ 215645 w 1620550"/>
                  <a:gd name="connsiteY517" fmla="*/ 1967 h 1421209"/>
                  <a:gd name="connsiteX518" fmla="*/ 192242 w 1620550"/>
                  <a:gd name="connsiteY518" fmla="*/ 1967 h 1421209"/>
                  <a:gd name="connsiteX519" fmla="*/ 198928 w 1620550"/>
                  <a:gd name="connsiteY519" fmla="*/ 5310 h 1421209"/>
                  <a:gd name="connsiteX0" fmla="*/ 198928 w 1620550"/>
                  <a:gd name="connsiteY0" fmla="*/ 5310 h 1421209"/>
                  <a:gd name="connsiteX1" fmla="*/ 177197 w 1620550"/>
                  <a:gd name="connsiteY1" fmla="*/ 10325 h 1421209"/>
                  <a:gd name="connsiteX2" fmla="*/ 175525 w 1620550"/>
                  <a:gd name="connsiteY2" fmla="*/ 15340 h 1421209"/>
                  <a:gd name="connsiteX3" fmla="*/ 177197 w 1620550"/>
                  <a:gd name="connsiteY3" fmla="*/ 20355 h 1421209"/>
                  <a:gd name="connsiteX4" fmla="*/ 172182 w 1620550"/>
                  <a:gd name="connsiteY4" fmla="*/ 23698 h 1421209"/>
                  <a:gd name="connsiteX5" fmla="*/ 152122 w 1620550"/>
                  <a:gd name="connsiteY5" fmla="*/ 25370 h 1421209"/>
                  <a:gd name="connsiteX6" fmla="*/ 155465 w 1620550"/>
                  <a:gd name="connsiteY6" fmla="*/ 35400 h 1421209"/>
                  <a:gd name="connsiteX7" fmla="*/ 157137 w 1620550"/>
                  <a:gd name="connsiteY7" fmla="*/ 42086 h 1421209"/>
                  <a:gd name="connsiteX8" fmla="*/ 148779 w 1620550"/>
                  <a:gd name="connsiteY8" fmla="*/ 47101 h 1421209"/>
                  <a:gd name="connsiteX9" fmla="*/ 145435 w 1620550"/>
                  <a:gd name="connsiteY9" fmla="*/ 50445 h 1421209"/>
                  <a:gd name="connsiteX10" fmla="*/ 135405 w 1620550"/>
                  <a:gd name="connsiteY10" fmla="*/ 53788 h 1421209"/>
                  <a:gd name="connsiteX11" fmla="*/ 133734 w 1620550"/>
                  <a:gd name="connsiteY11" fmla="*/ 58803 h 1421209"/>
                  <a:gd name="connsiteX12" fmla="*/ 115345 w 1620550"/>
                  <a:gd name="connsiteY12" fmla="*/ 63818 h 1421209"/>
                  <a:gd name="connsiteX13" fmla="*/ 81912 w 1620550"/>
                  <a:gd name="connsiteY13" fmla="*/ 62146 h 1421209"/>
                  <a:gd name="connsiteX14" fmla="*/ 73554 w 1620550"/>
                  <a:gd name="connsiteY14" fmla="*/ 53788 h 1421209"/>
                  <a:gd name="connsiteX15" fmla="*/ 66867 w 1620550"/>
                  <a:gd name="connsiteY15" fmla="*/ 50445 h 1421209"/>
                  <a:gd name="connsiteX16" fmla="*/ 55165 w 1620550"/>
                  <a:gd name="connsiteY16" fmla="*/ 52116 h 1421209"/>
                  <a:gd name="connsiteX17" fmla="*/ 55165 w 1620550"/>
                  <a:gd name="connsiteY17" fmla="*/ 62146 h 1421209"/>
                  <a:gd name="connsiteX18" fmla="*/ 30090 w 1620550"/>
                  <a:gd name="connsiteY18" fmla="*/ 65490 h 1421209"/>
                  <a:gd name="connsiteX19" fmla="*/ 16717 w 1620550"/>
                  <a:gd name="connsiteY19" fmla="*/ 75520 h 1421209"/>
                  <a:gd name="connsiteX20" fmla="*/ 11702 w 1620550"/>
                  <a:gd name="connsiteY20" fmla="*/ 80535 h 1421209"/>
                  <a:gd name="connsiteX21" fmla="*/ 8359 w 1620550"/>
                  <a:gd name="connsiteY21" fmla="*/ 88893 h 1421209"/>
                  <a:gd name="connsiteX22" fmla="*/ 6687 w 1620550"/>
                  <a:gd name="connsiteY22" fmla="*/ 98923 h 1421209"/>
                  <a:gd name="connsiteX23" fmla="*/ 0 w 1620550"/>
                  <a:gd name="connsiteY23" fmla="*/ 107281 h 1421209"/>
                  <a:gd name="connsiteX24" fmla="*/ 15045 w 1620550"/>
                  <a:gd name="connsiteY24" fmla="*/ 115640 h 1421209"/>
                  <a:gd name="connsiteX25" fmla="*/ 13374 w 1620550"/>
                  <a:gd name="connsiteY25" fmla="*/ 123998 h 1421209"/>
                  <a:gd name="connsiteX26" fmla="*/ 16717 w 1620550"/>
                  <a:gd name="connsiteY26" fmla="*/ 130685 h 1421209"/>
                  <a:gd name="connsiteX27" fmla="*/ 11702 w 1620550"/>
                  <a:gd name="connsiteY27" fmla="*/ 135700 h 1421209"/>
                  <a:gd name="connsiteX28" fmla="*/ 8359 w 1620550"/>
                  <a:gd name="connsiteY28" fmla="*/ 140715 h 1421209"/>
                  <a:gd name="connsiteX29" fmla="*/ 33434 w 1620550"/>
                  <a:gd name="connsiteY29" fmla="*/ 142386 h 1421209"/>
                  <a:gd name="connsiteX30" fmla="*/ 36777 w 1620550"/>
                  <a:gd name="connsiteY30" fmla="*/ 147401 h 1421209"/>
                  <a:gd name="connsiteX31" fmla="*/ 20060 w 1620550"/>
                  <a:gd name="connsiteY31" fmla="*/ 150745 h 1421209"/>
                  <a:gd name="connsiteX32" fmla="*/ 18389 w 1620550"/>
                  <a:gd name="connsiteY32" fmla="*/ 174148 h 1421209"/>
                  <a:gd name="connsiteX33" fmla="*/ 23404 w 1620550"/>
                  <a:gd name="connsiteY33" fmla="*/ 175820 h 1421209"/>
                  <a:gd name="connsiteX34" fmla="*/ 31762 w 1620550"/>
                  <a:gd name="connsiteY34" fmla="*/ 174148 h 1421209"/>
                  <a:gd name="connsiteX35" fmla="*/ 33434 w 1620550"/>
                  <a:gd name="connsiteY35" fmla="*/ 169133 h 1421209"/>
                  <a:gd name="connsiteX36" fmla="*/ 38449 w 1620550"/>
                  <a:gd name="connsiteY36" fmla="*/ 167461 h 1421209"/>
                  <a:gd name="connsiteX37" fmla="*/ 48479 w 1620550"/>
                  <a:gd name="connsiteY37" fmla="*/ 169133 h 1421209"/>
                  <a:gd name="connsiteX38" fmla="*/ 50150 w 1620550"/>
                  <a:gd name="connsiteY38" fmla="*/ 180835 h 1421209"/>
                  <a:gd name="connsiteX39" fmla="*/ 45135 w 1620550"/>
                  <a:gd name="connsiteY39" fmla="*/ 182506 h 1421209"/>
                  <a:gd name="connsiteX40" fmla="*/ 41792 w 1620550"/>
                  <a:gd name="connsiteY40" fmla="*/ 187521 h 1421209"/>
                  <a:gd name="connsiteX41" fmla="*/ 40120 w 1620550"/>
                  <a:gd name="connsiteY41" fmla="*/ 197551 h 1421209"/>
                  <a:gd name="connsiteX42" fmla="*/ 38449 w 1620550"/>
                  <a:gd name="connsiteY42" fmla="*/ 205909 h 1421209"/>
                  <a:gd name="connsiteX43" fmla="*/ 35105 w 1620550"/>
                  <a:gd name="connsiteY43" fmla="*/ 212596 h 1421209"/>
                  <a:gd name="connsiteX44" fmla="*/ 33434 w 1620550"/>
                  <a:gd name="connsiteY44" fmla="*/ 217611 h 1421209"/>
                  <a:gd name="connsiteX45" fmla="*/ 41792 w 1620550"/>
                  <a:gd name="connsiteY45" fmla="*/ 220954 h 1421209"/>
                  <a:gd name="connsiteX46" fmla="*/ 58509 w 1620550"/>
                  <a:gd name="connsiteY46" fmla="*/ 222626 h 1421209"/>
                  <a:gd name="connsiteX47" fmla="*/ 30090 w 1620550"/>
                  <a:gd name="connsiteY47" fmla="*/ 232656 h 1421209"/>
                  <a:gd name="connsiteX48" fmla="*/ 28419 w 1620550"/>
                  <a:gd name="connsiteY48" fmla="*/ 237671 h 1421209"/>
                  <a:gd name="connsiteX49" fmla="*/ 40120 w 1620550"/>
                  <a:gd name="connsiteY49" fmla="*/ 239343 h 1421209"/>
                  <a:gd name="connsiteX50" fmla="*/ 31762 w 1620550"/>
                  <a:gd name="connsiteY50" fmla="*/ 242686 h 1421209"/>
                  <a:gd name="connsiteX51" fmla="*/ 26747 w 1620550"/>
                  <a:gd name="connsiteY51" fmla="*/ 249373 h 1421209"/>
                  <a:gd name="connsiteX52" fmla="*/ 15045 w 1620550"/>
                  <a:gd name="connsiteY52" fmla="*/ 257731 h 1421209"/>
                  <a:gd name="connsiteX53" fmla="*/ 15045 w 1620550"/>
                  <a:gd name="connsiteY53" fmla="*/ 291164 h 1421209"/>
                  <a:gd name="connsiteX54" fmla="*/ 25075 w 1620550"/>
                  <a:gd name="connsiteY54" fmla="*/ 287821 h 1421209"/>
                  <a:gd name="connsiteX55" fmla="*/ 38196 w 1620550"/>
                  <a:gd name="connsiteY55" fmla="*/ 286607 h 1421209"/>
                  <a:gd name="connsiteX56" fmla="*/ 45845 w 1620550"/>
                  <a:gd name="connsiteY56" fmla="*/ 283010 h 1421209"/>
                  <a:gd name="connsiteX57" fmla="*/ 61347 w 1620550"/>
                  <a:gd name="connsiteY57" fmla="*/ 276577 h 1421209"/>
                  <a:gd name="connsiteX58" fmla="*/ 83584 w 1620550"/>
                  <a:gd name="connsiteY58" fmla="*/ 267761 h 1421209"/>
                  <a:gd name="connsiteX59" fmla="*/ 91942 w 1620550"/>
                  <a:gd name="connsiteY59" fmla="*/ 269433 h 1421209"/>
                  <a:gd name="connsiteX60" fmla="*/ 98629 w 1620550"/>
                  <a:gd name="connsiteY60" fmla="*/ 272776 h 1421209"/>
                  <a:gd name="connsiteX61" fmla="*/ 103644 w 1620550"/>
                  <a:gd name="connsiteY61" fmla="*/ 274448 h 1421209"/>
                  <a:gd name="connsiteX62" fmla="*/ 108659 w 1620550"/>
                  <a:gd name="connsiteY62" fmla="*/ 279463 h 1421209"/>
                  <a:gd name="connsiteX63" fmla="*/ 112002 w 1620550"/>
                  <a:gd name="connsiteY63" fmla="*/ 299523 h 1421209"/>
                  <a:gd name="connsiteX64" fmla="*/ 100300 w 1620550"/>
                  <a:gd name="connsiteY64" fmla="*/ 307881 h 1421209"/>
                  <a:gd name="connsiteX65" fmla="*/ 96957 w 1620550"/>
                  <a:gd name="connsiteY65" fmla="*/ 321254 h 1421209"/>
                  <a:gd name="connsiteX66" fmla="*/ 95285 w 1620550"/>
                  <a:gd name="connsiteY66" fmla="*/ 326269 h 1421209"/>
                  <a:gd name="connsiteX67" fmla="*/ 98629 w 1620550"/>
                  <a:gd name="connsiteY67" fmla="*/ 331284 h 1421209"/>
                  <a:gd name="connsiteX68" fmla="*/ 118689 w 1620550"/>
                  <a:gd name="connsiteY68" fmla="*/ 334628 h 1421209"/>
                  <a:gd name="connsiteX69" fmla="*/ 147107 w 1620550"/>
                  <a:gd name="connsiteY69" fmla="*/ 332956 h 1421209"/>
                  <a:gd name="connsiteX70" fmla="*/ 158808 w 1620550"/>
                  <a:gd name="connsiteY70" fmla="*/ 329613 h 1421209"/>
                  <a:gd name="connsiteX71" fmla="*/ 168838 w 1620550"/>
                  <a:gd name="connsiteY71" fmla="*/ 332956 h 1421209"/>
                  <a:gd name="connsiteX72" fmla="*/ 177197 w 1620550"/>
                  <a:gd name="connsiteY72" fmla="*/ 342986 h 1421209"/>
                  <a:gd name="connsiteX73" fmla="*/ 183883 w 1620550"/>
                  <a:gd name="connsiteY73" fmla="*/ 346329 h 1421209"/>
                  <a:gd name="connsiteX74" fmla="*/ 189861 w 1620550"/>
                  <a:gd name="connsiteY74" fmla="*/ 357526 h 1421209"/>
                  <a:gd name="connsiteX75" fmla="*/ 217317 w 1620550"/>
                  <a:gd name="connsiteY75" fmla="*/ 341314 h 1421209"/>
                  <a:gd name="connsiteX76" fmla="*/ 227094 w 1620550"/>
                  <a:gd name="connsiteY76" fmla="*/ 353677 h 1421209"/>
                  <a:gd name="connsiteX77" fmla="*/ 232362 w 1620550"/>
                  <a:gd name="connsiteY77" fmla="*/ 331284 h 1421209"/>
                  <a:gd name="connsiteX78" fmla="*/ 239048 w 1620550"/>
                  <a:gd name="connsiteY78" fmla="*/ 334628 h 1421209"/>
                  <a:gd name="connsiteX79" fmla="*/ 244063 w 1620550"/>
                  <a:gd name="connsiteY79" fmla="*/ 339643 h 1421209"/>
                  <a:gd name="connsiteX80" fmla="*/ 250750 w 1620550"/>
                  <a:gd name="connsiteY80" fmla="*/ 341314 h 1421209"/>
                  <a:gd name="connsiteX81" fmla="*/ 260780 w 1620550"/>
                  <a:gd name="connsiteY81" fmla="*/ 348001 h 1421209"/>
                  <a:gd name="connsiteX82" fmla="*/ 269138 w 1620550"/>
                  <a:gd name="connsiteY82" fmla="*/ 356359 h 1421209"/>
                  <a:gd name="connsiteX83" fmla="*/ 270810 w 1620550"/>
                  <a:gd name="connsiteY83" fmla="*/ 368061 h 1421209"/>
                  <a:gd name="connsiteX84" fmla="*/ 290870 w 1620550"/>
                  <a:gd name="connsiteY84" fmla="*/ 366389 h 1421209"/>
                  <a:gd name="connsiteX85" fmla="*/ 305915 w 1620550"/>
                  <a:gd name="connsiteY85" fmla="*/ 368061 h 1421209"/>
                  <a:gd name="connsiteX86" fmla="*/ 304243 w 1620550"/>
                  <a:gd name="connsiteY86" fmla="*/ 388121 h 1421209"/>
                  <a:gd name="connsiteX87" fmla="*/ 307587 w 1620550"/>
                  <a:gd name="connsiteY87" fmla="*/ 403166 h 1421209"/>
                  <a:gd name="connsiteX88" fmla="*/ 320960 w 1620550"/>
                  <a:gd name="connsiteY88" fmla="*/ 414867 h 1421209"/>
                  <a:gd name="connsiteX89" fmla="*/ 329318 w 1620550"/>
                  <a:gd name="connsiteY89" fmla="*/ 424897 h 1421209"/>
                  <a:gd name="connsiteX90" fmla="*/ 336005 w 1620550"/>
                  <a:gd name="connsiteY90" fmla="*/ 428241 h 1421209"/>
                  <a:gd name="connsiteX91" fmla="*/ 334333 w 1620550"/>
                  <a:gd name="connsiteY91" fmla="*/ 458331 h 1421209"/>
                  <a:gd name="connsiteX92" fmla="*/ 307587 w 1620550"/>
                  <a:gd name="connsiteY92" fmla="*/ 478391 h 1421209"/>
                  <a:gd name="connsiteX93" fmla="*/ 292542 w 1620550"/>
                  <a:gd name="connsiteY93" fmla="*/ 483406 h 1421209"/>
                  <a:gd name="connsiteX94" fmla="*/ 287527 w 1620550"/>
                  <a:gd name="connsiteY94" fmla="*/ 486749 h 1421209"/>
                  <a:gd name="connsiteX95" fmla="*/ 265795 w 1620550"/>
                  <a:gd name="connsiteY95" fmla="*/ 488421 h 1421209"/>
                  <a:gd name="connsiteX96" fmla="*/ 257437 w 1620550"/>
                  <a:gd name="connsiteY96" fmla="*/ 495107 h 1421209"/>
                  <a:gd name="connsiteX97" fmla="*/ 249078 w 1620550"/>
                  <a:gd name="connsiteY97" fmla="*/ 503466 h 1421209"/>
                  <a:gd name="connsiteX98" fmla="*/ 247407 w 1620550"/>
                  <a:gd name="connsiteY98" fmla="*/ 508481 h 1421209"/>
                  <a:gd name="connsiteX99" fmla="*/ 239048 w 1620550"/>
                  <a:gd name="connsiteY99" fmla="*/ 515167 h 1421209"/>
                  <a:gd name="connsiteX100" fmla="*/ 237377 w 1620550"/>
                  <a:gd name="connsiteY100" fmla="*/ 536899 h 1421209"/>
                  <a:gd name="connsiteX101" fmla="*/ 239048 w 1620550"/>
                  <a:gd name="connsiteY101" fmla="*/ 543586 h 1421209"/>
                  <a:gd name="connsiteX102" fmla="*/ 237377 w 1620550"/>
                  <a:gd name="connsiteY102" fmla="*/ 595407 h 1421209"/>
                  <a:gd name="connsiteX103" fmla="*/ 230690 w 1620550"/>
                  <a:gd name="connsiteY103" fmla="*/ 610452 h 1421209"/>
                  <a:gd name="connsiteX104" fmla="*/ 227347 w 1620550"/>
                  <a:gd name="connsiteY104" fmla="*/ 618810 h 1421209"/>
                  <a:gd name="connsiteX105" fmla="*/ 224003 w 1620550"/>
                  <a:gd name="connsiteY105" fmla="*/ 625497 h 1421209"/>
                  <a:gd name="connsiteX106" fmla="*/ 222332 w 1620550"/>
                  <a:gd name="connsiteY106" fmla="*/ 633855 h 1421209"/>
                  <a:gd name="connsiteX107" fmla="*/ 213973 w 1620550"/>
                  <a:gd name="connsiteY107" fmla="*/ 642214 h 1421209"/>
                  <a:gd name="connsiteX108" fmla="*/ 205615 w 1620550"/>
                  <a:gd name="connsiteY108" fmla="*/ 648900 h 1421209"/>
                  <a:gd name="connsiteX109" fmla="*/ 190570 w 1620550"/>
                  <a:gd name="connsiteY109" fmla="*/ 652244 h 1421209"/>
                  <a:gd name="connsiteX110" fmla="*/ 192242 w 1620550"/>
                  <a:gd name="connsiteY110" fmla="*/ 662274 h 1421209"/>
                  <a:gd name="connsiteX111" fmla="*/ 193913 w 1620550"/>
                  <a:gd name="connsiteY111" fmla="*/ 667289 h 1421209"/>
                  <a:gd name="connsiteX112" fmla="*/ 190570 w 1620550"/>
                  <a:gd name="connsiteY112" fmla="*/ 695707 h 1421209"/>
                  <a:gd name="connsiteX113" fmla="*/ 187227 w 1620550"/>
                  <a:gd name="connsiteY113" fmla="*/ 704065 h 1421209"/>
                  <a:gd name="connsiteX114" fmla="*/ 185555 w 1620550"/>
                  <a:gd name="connsiteY114" fmla="*/ 712424 h 1421209"/>
                  <a:gd name="connsiteX115" fmla="*/ 180540 w 1620550"/>
                  <a:gd name="connsiteY115" fmla="*/ 717439 h 1421209"/>
                  <a:gd name="connsiteX116" fmla="*/ 175525 w 1620550"/>
                  <a:gd name="connsiteY116" fmla="*/ 725797 h 1421209"/>
                  <a:gd name="connsiteX117" fmla="*/ 170510 w 1620550"/>
                  <a:gd name="connsiteY117" fmla="*/ 727469 h 1421209"/>
                  <a:gd name="connsiteX118" fmla="*/ 165495 w 1620550"/>
                  <a:gd name="connsiteY118" fmla="*/ 730812 h 1421209"/>
                  <a:gd name="connsiteX119" fmla="*/ 147107 w 1620550"/>
                  <a:gd name="connsiteY119" fmla="*/ 734155 h 1421209"/>
                  <a:gd name="connsiteX120" fmla="*/ 137077 w 1620550"/>
                  <a:gd name="connsiteY120" fmla="*/ 739170 h 1421209"/>
                  <a:gd name="connsiteX121" fmla="*/ 128719 w 1620550"/>
                  <a:gd name="connsiteY121" fmla="*/ 742513 h 1421209"/>
                  <a:gd name="connsiteX122" fmla="*/ 122032 w 1620550"/>
                  <a:gd name="connsiteY122" fmla="*/ 745857 h 1421209"/>
                  <a:gd name="connsiteX123" fmla="*/ 98628 w 1620550"/>
                  <a:gd name="connsiteY123" fmla="*/ 745856 h 1421209"/>
                  <a:gd name="connsiteX124" fmla="*/ 103644 w 1620550"/>
                  <a:gd name="connsiteY124" fmla="*/ 755887 h 1421209"/>
                  <a:gd name="connsiteX125" fmla="*/ 106987 w 1620550"/>
                  <a:gd name="connsiteY125" fmla="*/ 770932 h 1421209"/>
                  <a:gd name="connsiteX126" fmla="*/ 110330 w 1620550"/>
                  <a:gd name="connsiteY126" fmla="*/ 779290 h 1421209"/>
                  <a:gd name="connsiteX127" fmla="*/ 112002 w 1620550"/>
                  <a:gd name="connsiteY127" fmla="*/ 787648 h 1421209"/>
                  <a:gd name="connsiteX128" fmla="*/ 113674 w 1620550"/>
                  <a:gd name="connsiteY128" fmla="*/ 821082 h 1421209"/>
                  <a:gd name="connsiteX129" fmla="*/ 117017 w 1620550"/>
                  <a:gd name="connsiteY129" fmla="*/ 827768 h 1421209"/>
                  <a:gd name="connsiteX130" fmla="*/ 125375 w 1620550"/>
                  <a:gd name="connsiteY130" fmla="*/ 831112 h 1421209"/>
                  <a:gd name="connsiteX131" fmla="*/ 140420 w 1620550"/>
                  <a:gd name="connsiteY131" fmla="*/ 832783 h 1421209"/>
                  <a:gd name="connsiteX132" fmla="*/ 155465 w 1620550"/>
                  <a:gd name="connsiteY132" fmla="*/ 837798 h 1421209"/>
                  <a:gd name="connsiteX133" fmla="*/ 153793 w 1620550"/>
                  <a:gd name="connsiteY133" fmla="*/ 864545 h 1421209"/>
                  <a:gd name="connsiteX134" fmla="*/ 147107 w 1620550"/>
                  <a:gd name="connsiteY134" fmla="*/ 871232 h 1421209"/>
                  <a:gd name="connsiteX135" fmla="*/ 143764 w 1620550"/>
                  <a:gd name="connsiteY135" fmla="*/ 876247 h 1421209"/>
                  <a:gd name="connsiteX136" fmla="*/ 133734 w 1620550"/>
                  <a:gd name="connsiteY136" fmla="*/ 886277 h 1421209"/>
                  <a:gd name="connsiteX137" fmla="*/ 128719 w 1620550"/>
                  <a:gd name="connsiteY137" fmla="*/ 891292 h 1421209"/>
                  <a:gd name="connsiteX138" fmla="*/ 108659 w 1620550"/>
                  <a:gd name="connsiteY138" fmla="*/ 904665 h 1421209"/>
                  <a:gd name="connsiteX139" fmla="*/ 100300 w 1620550"/>
                  <a:gd name="connsiteY139" fmla="*/ 913023 h 1421209"/>
                  <a:gd name="connsiteX140" fmla="*/ 86927 w 1620550"/>
                  <a:gd name="connsiteY140" fmla="*/ 928068 h 1421209"/>
                  <a:gd name="connsiteX141" fmla="*/ 86927 w 1620550"/>
                  <a:gd name="connsiteY141" fmla="*/ 981561 h 1421209"/>
                  <a:gd name="connsiteX142" fmla="*/ 96957 w 1620550"/>
                  <a:gd name="connsiteY142" fmla="*/ 991591 h 1421209"/>
                  <a:gd name="connsiteX143" fmla="*/ 108659 w 1620550"/>
                  <a:gd name="connsiteY143" fmla="*/ 993263 h 1421209"/>
                  <a:gd name="connsiteX144" fmla="*/ 115345 w 1620550"/>
                  <a:gd name="connsiteY144" fmla="*/ 1038398 h 1421209"/>
                  <a:gd name="connsiteX145" fmla="*/ 93614 w 1620550"/>
                  <a:gd name="connsiteY145" fmla="*/ 1035055 h 1421209"/>
                  <a:gd name="connsiteX146" fmla="*/ 63524 w 1620550"/>
                  <a:gd name="connsiteY146" fmla="*/ 1036726 h 1421209"/>
                  <a:gd name="connsiteX147" fmla="*/ 56837 w 1620550"/>
                  <a:gd name="connsiteY147" fmla="*/ 1045085 h 1421209"/>
                  <a:gd name="connsiteX148" fmla="*/ 48479 w 1620550"/>
                  <a:gd name="connsiteY148" fmla="*/ 1051771 h 1421209"/>
                  <a:gd name="connsiteX149" fmla="*/ 43464 w 1620550"/>
                  <a:gd name="connsiteY149" fmla="*/ 1058458 h 1421209"/>
                  <a:gd name="connsiteX150" fmla="*/ 40120 w 1620550"/>
                  <a:gd name="connsiteY150" fmla="*/ 1061801 h 1421209"/>
                  <a:gd name="connsiteX151" fmla="*/ 35105 w 1620550"/>
                  <a:gd name="connsiteY151" fmla="*/ 1070160 h 1421209"/>
                  <a:gd name="connsiteX152" fmla="*/ 33434 w 1620550"/>
                  <a:gd name="connsiteY152" fmla="*/ 1075175 h 1421209"/>
                  <a:gd name="connsiteX153" fmla="*/ 28419 w 1620550"/>
                  <a:gd name="connsiteY153" fmla="*/ 1091891 h 1421209"/>
                  <a:gd name="connsiteX154" fmla="*/ 25075 w 1620550"/>
                  <a:gd name="connsiteY154" fmla="*/ 1098578 h 1421209"/>
                  <a:gd name="connsiteX155" fmla="*/ 20060 w 1620550"/>
                  <a:gd name="connsiteY155" fmla="*/ 1111951 h 1421209"/>
                  <a:gd name="connsiteX156" fmla="*/ 21732 w 1620550"/>
                  <a:gd name="connsiteY156" fmla="*/ 1163773 h 1421209"/>
                  <a:gd name="connsiteX157" fmla="*/ 41792 w 1620550"/>
                  <a:gd name="connsiteY157" fmla="*/ 1162101 h 1421209"/>
                  <a:gd name="connsiteX158" fmla="*/ 68539 w 1620550"/>
                  <a:gd name="connsiteY158" fmla="*/ 1163773 h 1421209"/>
                  <a:gd name="connsiteX159" fmla="*/ 81912 w 1620550"/>
                  <a:gd name="connsiteY159" fmla="*/ 1173803 h 1421209"/>
                  <a:gd name="connsiteX160" fmla="*/ 86927 w 1620550"/>
                  <a:gd name="connsiteY160" fmla="*/ 1177146 h 1421209"/>
                  <a:gd name="connsiteX161" fmla="*/ 93614 w 1620550"/>
                  <a:gd name="connsiteY161" fmla="*/ 1185504 h 1421209"/>
                  <a:gd name="connsiteX162" fmla="*/ 96957 w 1620550"/>
                  <a:gd name="connsiteY162" fmla="*/ 1195534 h 1421209"/>
                  <a:gd name="connsiteX163" fmla="*/ 98629 w 1620550"/>
                  <a:gd name="connsiteY163" fmla="*/ 1200549 h 1421209"/>
                  <a:gd name="connsiteX164" fmla="*/ 108659 w 1620550"/>
                  <a:gd name="connsiteY164" fmla="*/ 1212251 h 1421209"/>
                  <a:gd name="connsiteX165" fmla="*/ 113674 w 1620550"/>
                  <a:gd name="connsiteY165" fmla="*/ 1213923 h 1421209"/>
                  <a:gd name="connsiteX166" fmla="*/ 122032 w 1620550"/>
                  <a:gd name="connsiteY166" fmla="*/ 1217266 h 1421209"/>
                  <a:gd name="connsiteX167" fmla="*/ 135405 w 1620550"/>
                  <a:gd name="connsiteY167" fmla="*/ 1227296 h 1421209"/>
                  <a:gd name="connsiteX168" fmla="*/ 140420 w 1620550"/>
                  <a:gd name="connsiteY168" fmla="*/ 1230639 h 1421209"/>
                  <a:gd name="connsiteX169" fmla="*/ 145435 w 1620550"/>
                  <a:gd name="connsiteY169" fmla="*/ 1232311 h 1421209"/>
                  <a:gd name="connsiteX170" fmla="*/ 148779 w 1620550"/>
                  <a:gd name="connsiteY170" fmla="*/ 1237326 h 1421209"/>
                  <a:gd name="connsiteX171" fmla="*/ 153793 w 1620550"/>
                  <a:gd name="connsiteY171" fmla="*/ 1244013 h 1421209"/>
                  <a:gd name="connsiteX172" fmla="*/ 158808 w 1620550"/>
                  <a:gd name="connsiteY172" fmla="*/ 1255714 h 1421209"/>
                  <a:gd name="connsiteX173" fmla="*/ 152122 w 1620550"/>
                  <a:gd name="connsiteY173" fmla="*/ 1259058 h 1421209"/>
                  <a:gd name="connsiteX174" fmla="*/ 143764 w 1620550"/>
                  <a:gd name="connsiteY174" fmla="*/ 1260729 h 1421209"/>
                  <a:gd name="connsiteX175" fmla="*/ 145435 w 1620550"/>
                  <a:gd name="connsiteY175" fmla="*/ 1274103 h 1421209"/>
                  <a:gd name="connsiteX176" fmla="*/ 152122 w 1620550"/>
                  <a:gd name="connsiteY176" fmla="*/ 1290819 h 1421209"/>
                  <a:gd name="connsiteX177" fmla="*/ 155465 w 1620550"/>
                  <a:gd name="connsiteY177" fmla="*/ 1295834 h 1421209"/>
                  <a:gd name="connsiteX178" fmla="*/ 160480 w 1620550"/>
                  <a:gd name="connsiteY178" fmla="*/ 1297506 h 1421209"/>
                  <a:gd name="connsiteX179" fmla="*/ 163823 w 1620550"/>
                  <a:gd name="connsiteY179" fmla="*/ 1302521 h 1421209"/>
                  <a:gd name="connsiteX180" fmla="*/ 168838 w 1620550"/>
                  <a:gd name="connsiteY180" fmla="*/ 1305864 h 1421209"/>
                  <a:gd name="connsiteX181" fmla="*/ 177197 w 1620550"/>
                  <a:gd name="connsiteY181" fmla="*/ 1312551 h 1421209"/>
                  <a:gd name="connsiteX182" fmla="*/ 180540 w 1620550"/>
                  <a:gd name="connsiteY182" fmla="*/ 1317566 h 1421209"/>
                  <a:gd name="connsiteX183" fmla="*/ 168838 w 1620550"/>
                  <a:gd name="connsiteY183" fmla="*/ 1329267 h 1421209"/>
                  <a:gd name="connsiteX184" fmla="*/ 170510 w 1620550"/>
                  <a:gd name="connsiteY184" fmla="*/ 1349327 h 1421209"/>
                  <a:gd name="connsiteX185" fmla="*/ 175525 w 1620550"/>
                  <a:gd name="connsiteY185" fmla="*/ 1356014 h 1421209"/>
                  <a:gd name="connsiteX186" fmla="*/ 177197 w 1620550"/>
                  <a:gd name="connsiteY186" fmla="*/ 1371059 h 1421209"/>
                  <a:gd name="connsiteX187" fmla="*/ 178868 w 1620550"/>
                  <a:gd name="connsiteY187" fmla="*/ 1381089 h 1421209"/>
                  <a:gd name="connsiteX188" fmla="*/ 182212 w 1620550"/>
                  <a:gd name="connsiteY188" fmla="*/ 1397806 h 1421209"/>
                  <a:gd name="connsiteX189" fmla="*/ 188898 w 1620550"/>
                  <a:gd name="connsiteY189" fmla="*/ 1401149 h 1421209"/>
                  <a:gd name="connsiteX190" fmla="*/ 193913 w 1620550"/>
                  <a:gd name="connsiteY190" fmla="*/ 1399477 h 1421209"/>
                  <a:gd name="connsiteX191" fmla="*/ 200600 w 1620550"/>
                  <a:gd name="connsiteY191" fmla="*/ 1389447 h 1421209"/>
                  <a:gd name="connsiteX192" fmla="*/ 208958 w 1620550"/>
                  <a:gd name="connsiteY192" fmla="*/ 1392791 h 1421209"/>
                  <a:gd name="connsiteX193" fmla="*/ 210630 w 1620550"/>
                  <a:gd name="connsiteY193" fmla="*/ 1397806 h 1421209"/>
                  <a:gd name="connsiteX194" fmla="*/ 213973 w 1620550"/>
                  <a:gd name="connsiteY194" fmla="*/ 1402821 h 1421209"/>
                  <a:gd name="connsiteX195" fmla="*/ 215645 w 1620550"/>
                  <a:gd name="connsiteY195" fmla="*/ 1412851 h 1421209"/>
                  <a:gd name="connsiteX196" fmla="*/ 222332 w 1620550"/>
                  <a:gd name="connsiteY196" fmla="*/ 1416194 h 1421209"/>
                  <a:gd name="connsiteX197" fmla="*/ 234033 w 1620550"/>
                  <a:gd name="connsiteY197" fmla="*/ 1419537 h 1421209"/>
                  <a:gd name="connsiteX198" fmla="*/ 239048 w 1620550"/>
                  <a:gd name="connsiteY198" fmla="*/ 1421209 h 1421209"/>
                  <a:gd name="connsiteX199" fmla="*/ 269138 w 1620550"/>
                  <a:gd name="connsiteY199" fmla="*/ 1419537 h 1421209"/>
                  <a:gd name="connsiteX200" fmla="*/ 270810 w 1620550"/>
                  <a:gd name="connsiteY200" fmla="*/ 1414522 h 1421209"/>
                  <a:gd name="connsiteX201" fmla="*/ 277497 w 1620550"/>
                  <a:gd name="connsiteY201" fmla="*/ 1412851 h 1421209"/>
                  <a:gd name="connsiteX202" fmla="*/ 285855 w 1620550"/>
                  <a:gd name="connsiteY202" fmla="*/ 1411179 h 1421209"/>
                  <a:gd name="connsiteX203" fmla="*/ 287527 w 1620550"/>
                  <a:gd name="connsiteY203" fmla="*/ 1406164 h 1421209"/>
                  <a:gd name="connsiteX204" fmla="*/ 289198 w 1620550"/>
                  <a:gd name="connsiteY204" fmla="*/ 1396134 h 1421209"/>
                  <a:gd name="connsiteX205" fmla="*/ 294213 w 1620550"/>
                  <a:gd name="connsiteY205" fmla="*/ 1389447 h 1421209"/>
                  <a:gd name="connsiteX206" fmla="*/ 300900 w 1620550"/>
                  <a:gd name="connsiteY206" fmla="*/ 1379417 h 1421209"/>
                  <a:gd name="connsiteX207" fmla="*/ 307587 w 1620550"/>
                  <a:gd name="connsiteY207" fmla="*/ 1366044 h 1421209"/>
                  <a:gd name="connsiteX208" fmla="*/ 314273 w 1620550"/>
                  <a:gd name="connsiteY208" fmla="*/ 1361029 h 1421209"/>
                  <a:gd name="connsiteX209" fmla="*/ 317617 w 1620550"/>
                  <a:gd name="connsiteY209" fmla="*/ 1357686 h 1421209"/>
                  <a:gd name="connsiteX210" fmla="*/ 339348 w 1620550"/>
                  <a:gd name="connsiteY210" fmla="*/ 1354342 h 1421209"/>
                  <a:gd name="connsiteX211" fmla="*/ 356065 w 1620550"/>
                  <a:gd name="connsiteY211" fmla="*/ 1357686 h 1421209"/>
                  <a:gd name="connsiteX212" fmla="*/ 361080 w 1620550"/>
                  <a:gd name="connsiteY212" fmla="*/ 1359357 h 1421209"/>
                  <a:gd name="connsiteX213" fmla="*/ 364423 w 1620550"/>
                  <a:gd name="connsiteY213" fmla="*/ 1362701 h 1421209"/>
                  <a:gd name="connsiteX214" fmla="*/ 374453 w 1620550"/>
                  <a:gd name="connsiteY214" fmla="*/ 1367716 h 1421209"/>
                  <a:gd name="connsiteX215" fmla="*/ 377796 w 1620550"/>
                  <a:gd name="connsiteY215" fmla="*/ 1374402 h 1421209"/>
                  <a:gd name="connsiteX216" fmla="*/ 381140 w 1620550"/>
                  <a:gd name="connsiteY216" fmla="*/ 1377746 h 1421209"/>
                  <a:gd name="connsiteX217" fmla="*/ 386155 w 1620550"/>
                  <a:gd name="connsiteY217" fmla="*/ 1374402 h 1421209"/>
                  <a:gd name="connsiteX218" fmla="*/ 396185 w 1620550"/>
                  <a:gd name="connsiteY218" fmla="*/ 1361029 h 1421209"/>
                  <a:gd name="connsiteX219" fmla="*/ 414573 w 1620550"/>
                  <a:gd name="connsiteY219" fmla="*/ 1356014 h 1421209"/>
                  <a:gd name="connsiteX220" fmla="*/ 416245 w 1620550"/>
                  <a:gd name="connsiteY220" fmla="*/ 1349327 h 1421209"/>
                  <a:gd name="connsiteX221" fmla="*/ 419588 w 1620550"/>
                  <a:gd name="connsiteY221" fmla="*/ 1334282 h 1421209"/>
                  <a:gd name="connsiteX222" fmla="*/ 424603 w 1620550"/>
                  <a:gd name="connsiteY222" fmla="*/ 1330939 h 1421209"/>
                  <a:gd name="connsiteX223" fmla="*/ 444663 w 1620550"/>
                  <a:gd name="connsiteY223" fmla="*/ 1332611 h 1421209"/>
                  <a:gd name="connsiteX224" fmla="*/ 466395 w 1620550"/>
                  <a:gd name="connsiteY224" fmla="*/ 1339297 h 1421209"/>
                  <a:gd name="connsiteX225" fmla="*/ 509858 w 1620550"/>
                  <a:gd name="connsiteY225" fmla="*/ 1340969 h 1421209"/>
                  <a:gd name="connsiteX226" fmla="*/ 523231 w 1620550"/>
                  <a:gd name="connsiteY226" fmla="*/ 1345984 h 1421209"/>
                  <a:gd name="connsiteX227" fmla="*/ 531589 w 1620550"/>
                  <a:gd name="connsiteY227" fmla="*/ 1357686 h 1421209"/>
                  <a:gd name="connsiteX228" fmla="*/ 534933 w 1620550"/>
                  <a:gd name="connsiteY228" fmla="*/ 1364372 h 1421209"/>
                  <a:gd name="connsiteX229" fmla="*/ 539948 w 1620550"/>
                  <a:gd name="connsiteY229" fmla="*/ 1366044 h 1421209"/>
                  <a:gd name="connsiteX230" fmla="*/ 565023 w 1620550"/>
                  <a:gd name="connsiteY230" fmla="*/ 1369387 h 1421209"/>
                  <a:gd name="connsiteX231" fmla="*/ 568366 w 1620550"/>
                  <a:gd name="connsiteY231" fmla="*/ 1372731 h 1421209"/>
                  <a:gd name="connsiteX232" fmla="*/ 571709 w 1620550"/>
                  <a:gd name="connsiteY232" fmla="*/ 1366044 h 1421209"/>
                  <a:gd name="connsiteX233" fmla="*/ 600128 w 1620550"/>
                  <a:gd name="connsiteY233" fmla="*/ 1357686 h 1421209"/>
                  <a:gd name="connsiteX234" fmla="*/ 626874 w 1620550"/>
                  <a:gd name="connsiteY234" fmla="*/ 1361029 h 1421209"/>
                  <a:gd name="connsiteX235" fmla="*/ 633561 w 1620550"/>
                  <a:gd name="connsiteY235" fmla="*/ 1364372 h 1421209"/>
                  <a:gd name="connsiteX236" fmla="*/ 638576 w 1620550"/>
                  <a:gd name="connsiteY236" fmla="*/ 1366044 h 1421209"/>
                  <a:gd name="connsiteX237" fmla="*/ 643591 w 1620550"/>
                  <a:gd name="connsiteY237" fmla="*/ 1372731 h 1421209"/>
                  <a:gd name="connsiteX238" fmla="*/ 650278 w 1620550"/>
                  <a:gd name="connsiteY238" fmla="*/ 1382761 h 1421209"/>
                  <a:gd name="connsiteX239" fmla="*/ 660308 w 1620550"/>
                  <a:gd name="connsiteY239" fmla="*/ 1386104 h 1421209"/>
                  <a:gd name="connsiteX240" fmla="*/ 672009 w 1620550"/>
                  <a:gd name="connsiteY240" fmla="*/ 1389447 h 1421209"/>
                  <a:gd name="connsiteX241" fmla="*/ 687054 w 1620550"/>
                  <a:gd name="connsiteY241" fmla="*/ 1382761 h 1421209"/>
                  <a:gd name="connsiteX242" fmla="*/ 690398 w 1620550"/>
                  <a:gd name="connsiteY242" fmla="*/ 1374402 h 1421209"/>
                  <a:gd name="connsiteX243" fmla="*/ 695413 w 1620550"/>
                  <a:gd name="connsiteY243" fmla="*/ 1371059 h 1421209"/>
                  <a:gd name="connsiteX244" fmla="*/ 707114 w 1620550"/>
                  <a:gd name="connsiteY244" fmla="*/ 1366044 h 1421209"/>
                  <a:gd name="connsiteX245" fmla="*/ 715472 w 1620550"/>
                  <a:gd name="connsiteY245" fmla="*/ 1364372 h 1421209"/>
                  <a:gd name="connsiteX246" fmla="*/ 735532 w 1620550"/>
                  <a:gd name="connsiteY246" fmla="*/ 1371059 h 1421209"/>
                  <a:gd name="connsiteX247" fmla="*/ 737204 w 1620550"/>
                  <a:gd name="connsiteY247" fmla="*/ 1376074 h 1421209"/>
                  <a:gd name="connsiteX248" fmla="*/ 742219 w 1620550"/>
                  <a:gd name="connsiteY248" fmla="*/ 1387776 h 1421209"/>
                  <a:gd name="connsiteX249" fmla="*/ 748906 w 1620550"/>
                  <a:gd name="connsiteY249" fmla="*/ 1389447 h 1421209"/>
                  <a:gd name="connsiteX250" fmla="*/ 762279 w 1620550"/>
                  <a:gd name="connsiteY250" fmla="*/ 1384432 h 1421209"/>
                  <a:gd name="connsiteX251" fmla="*/ 772309 w 1620550"/>
                  <a:gd name="connsiteY251" fmla="*/ 1381089 h 1421209"/>
                  <a:gd name="connsiteX252" fmla="*/ 784011 w 1620550"/>
                  <a:gd name="connsiteY252" fmla="*/ 1371059 h 1421209"/>
                  <a:gd name="connsiteX253" fmla="*/ 797384 w 1620550"/>
                  <a:gd name="connsiteY253" fmla="*/ 1357686 h 1421209"/>
                  <a:gd name="connsiteX254" fmla="*/ 802399 w 1620550"/>
                  <a:gd name="connsiteY254" fmla="*/ 1352671 h 1421209"/>
                  <a:gd name="connsiteX255" fmla="*/ 810757 w 1620550"/>
                  <a:gd name="connsiteY255" fmla="*/ 1350999 h 1421209"/>
                  <a:gd name="connsiteX256" fmla="*/ 812429 w 1620550"/>
                  <a:gd name="connsiteY256" fmla="*/ 1344312 h 1421209"/>
                  <a:gd name="connsiteX257" fmla="*/ 807414 w 1620550"/>
                  <a:gd name="connsiteY257" fmla="*/ 1325924 h 1421209"/>
                  <a:gd name="connsiteX258" fmla="*/ 809086 w 1620550"/>
                  <a:gd name="connsiteY258" fmla="*/ 1314222 h 1421209"/>
                  <a:gd name="connsiteX259" fmla="*/ 812429 w 1620550"/>
                  <a:gd name="connsiteY259" fmla="*/ 1309207 h 1421209"/>
                  <a:gd name="connsiteX260" fmla="*/ 820787 w 1620550"/>
                  <a:gd name="connsiteY260" fmla="*/ 1299177 h 1421209"/>
                  <a:gd name="connsiteX261" fmla="*/ 827474 w 1620550"/>
                  <a:gd name="connsiteY261" fmla="*/ 1294162 h 1421209"/>
                  <a:gd name="connsiteX262" fmla="*/ 869266 w 1620550"/>
                  <a:gd name="connsiteY262" fmla="*/ 1292491 h 1421209"/>
                  <a:gd name="connsiteX263" fmla="*/ 870937 w 1620550"/>
                  <a:gd name="connsiteY263" fmla="*/ 1277446 h 1421209"/>
                  <a:gd name="connsiteX264" fmla="*/ 880967 w 1620550"/>
                  <a:gd name="connsiteY264" fmla="*/ 1270759 h 1421209"/>
                  <a:gd name="connsiteX265" fmla="*/ 885982 w 1620550"/>
                  <a:gd name="connsiteY265" fmla="*/ 1269088 h 1421209"/>
                  <a:gd name="connsiteX266" fmla="*/ 932789 w 1620550"/>
                  <a:gd name="connsiteY266" fmla="*/ 1270759 h 1421209"/>
                  <a:gd name="connsiteX267" fmla="*/ 942819 w 1620550"/>
                  <a:gd name="connsiteY267" fmla="*/ 1272431 h 1421209"/>
                  <a:gd name="connsiteX268" fmla="*/ 949505 w 1620550"/>
                  <a:gd name="connsiteY268" fmla="*/ 1275774 h 1421209"/>
                  <a:gd name="connsiteX269" fmla="*/ 954520 w 1620550"/>
                  <a:gd name="connsiteY269" fmla="*/ 1277446 h 1421209"/>
                  <a:gd name="connsiteX270" fmla="*/ 964550 w 1620550"/>
                  <a:gd name="connsiteY270" fmla="*/ 1274103 h 1421209"/>
                  <a:gd name="connsiteX271" fmla="*/ 971237 w 1620550"/>
                  <a:gd name="connsiteY271" fmla="*/ 1264073 h 1421209"/>
                  <a:gd name="connsiteX272" fmla="*/ 964550 w 1620550"/>
                  <a:gd name="connsiteY272" fmla="*/ 1249028 h 1421209"/>
                  <a:gd name="connsiteX273" fmla="*/ 966222 w 1620550"/>
                  <a:gd name="connsiteY273" fmla="*/ 1233983 h 1421209"/>
                  <a:gd name="connsiteX274" fmla="*/ 974580 w 1620550"/>
                  <a:gd name="connsiteY274" fmla="*/ 1215594 h 1421209"/>
                  <a:gd name="connsiteX275" fmla="*/ 977924 w 1620550"/>
                  <a:gd name="connsiteY275" fmla="*/ 1212251 h 1421209"/>
                  <a:gd name="connsiteX276" fmla="*/ 982939 w 1620550"/>
                  <a:gd name="connsiteY276" fmla="*/ 1205564 h 1421209"/>
                  <a:gd name="connsiteX277" fmla="*/ 991297 w 1620550"/>
                  <a:gd name="connsiteY277" fmla="*/ 1195534 h 1421209"/>
                  <a:gd name="connsiteX278" fmla="*/ 1001327 w 1620550"/>
                  <a:gd name="connsiteY278" fmla="*/ 1185504 h 1421209"/>
                  <a:gd name="connsiteX279" fmla="*/ 1002999 w 1620550"/>
                  <a:gd name="connsiteY279" fmla="*/ 1180489 h 1421209"/>
                  <a:gd name="connsiteX280" fmla="*/ 1006342 w 1620550"/>
                  <a:gd name="connsiteY280" fmla="*/ 1175474 h 1421209"/>
                  <a:gd name="connsiteX281" fmla="*/ 1008014 w 1620550"/>
                  <a:gd name="connsiteY281" fmla="*/ 1168788 h 1421209"/>
                  <a:gd name="connsiteX282" fmla="*/ 1016372 w 1620550"/>
                  <a:gd name="connsiteY282" fmla="*/ 1157086 h 1421209"/>
                  <a:gd name="connsiteX283" fmla="*/ 1023059 w 1620550"/>
                  <a:gd name="connsiteY283" fmla="*/ 1143713 h 1421209"/>
                  <a:gd name="connsiteX284" fmla="*/ 1024730 w 1620550"/>
                  <a:gd name="connsiteY284" fmla="*/ 1138698 h 1421209"/>
                  <a:gd name="connsiteX285" fmla="*/ 1028074 w 1620550"/>
                  <a:gd name="connsiteY285" fmla="*/ 1135354 h 1421209"/>
                  <a:gd name="connsiteX286" fmla="*/ 1033089 w 1620550"/>
                  <a:gd name="connsiteY286" fmla="*/ 1128668 h 1421209"/>
                  <a:gd name="connsiteX287" fmla="*/ 1043119 w 1620550"/>
                  <a:gd name="connsiteY287" fmla="*/ 1116966 h 1421209"/>
                  <a:gd name="connsiteX288" fmla="*/ 1061507 w 1620550"/>
                  <a:gd name="connsiteY288" fmla="*/ 1111951 h 1421209"/>
                  <a:gd name="connsiteX289" fmla="*/ 1069865 w 1620550"/>
                  <a:gd name="connsiteY289" fmla="*/ 1108608 h 1421209"/>
                  <a:gd name="connsiteX290" fmla="*/ 1089925 w 1620550"/>
                  <a:gd name="connsiteY290" fmla="*/ 1105264 h 1421209"/>
                  <a:gd name="connsiteX291" fmla="*/ 1094940 w 1620550"/>
                  <a:gd name="connsiteY291" fmla="*/ 1101921 h 1421209"/>
                  <a:gd name="connsiteX292" fmla="*/ 1111657 w 1620550"/>
                  <a:gd name="connsiteY292" fmla="*/ 1098578 h 1421209"/>
                  <a:gd name="connsiteX293" fmla="*/ 1126702 w 1620550"/>
                  <a:gd name="connsiteY293" fmla="*/ 1090220 h 1421209"/>
                  <a:gd name="connsiteX294" fmla="*/ 1131717 w 1620550"/>
                  <a:gd name="connsiteY294" fmla="*/ 1086876 h 1421209"/>
                  <a:gd name="connsiteX295" fmla="*/ 1133388 w 1620550"/>
                  <a:gd name="connsiteY295" fmla="*/ 1078518 h 1421209"/>
                  <a:gd name="connsiteX296" fmla="*/ 1126702 w 1620550"/>
                  <a:gd name="connsiteY296" fmla="*/ 1070160 h 1421209"/>
                  <a:gd name="connsiteX297" fmla="*/ 1118343 w 1620550"/>
                  <a:gd name="connsiteY297" fmla="*/ 1065145 h 1421209"/>
                  <a:gd name="connsiteX298" fmla="*/ 1109985 w 1620550"/>
                  <a:gd name="connsiteY298" fmla="*/ 1056786 h 1421209"/>
                  <a:gd name="connsiteX299" fmla="*/ 1103298 w 1620550"/>
                  <a:gd name="connsiteY299" fmla="*/ 1048428 h 1421209"/>
                  <a:gd name="connsiteX300" fmla="*/ 1099955 w 1620550"/>
                  <a:gd name="connsiteY300" fmla="*/ 1043413 h 1421209"/>
                  <a:gd name="connsiteX301" fmla="*/ 1094940 w 1620550"/>
                  <a:gd name="connsiteY301" fmla="*/ 1040070 h 1421209"/>
                  <a:gd name="connsiteX302" fmla="*/ 1091597 w 1620550"/>
                  <a:gd name="connsiteY302" fmla="*/ 1033383 h 1421209"/>
                  <a:gd name="connsiteX303" fmla="*/ 1088253 w 1620550"/>
                  <a:gd name="connsiteY303" fmla="*/ 1030040 h 1421209"/>
                  <a:gd name="connsiteX304" fmla="*/ 1083238 w 1620550"/>
                  <a:gd name="connsiteY304" fmla="*/ 1018338 h 1421209"/>
                  <a:gd name="connsiteX305" fmla="*/ 1081567 w 1620550"/>
                  <a:gd name="connsiteY305" fmla="*/ 989920 h 1421209"/>
                  <a:gd name="connsiteX306" fmla="*/ 1079895 w 1620550"/>
                  <a:gd name="connsiteY306" fmla="*/ 984905 h 1421209"/>
                  <a:gd name="connsiteX307" fmla="*/ 1074880 w 1620550"/>
                  <a:gd name="connsiteY307" fmla="*/ 979890 h 1421209"/>
                  <a:gd name="connsiteX308" fmla="*/ 1069865 w 1620550"/>
                  <a:gd name="connsiteY308" fmla="*/ 964845 h 1421209"/>
                  <a:gd name="connsiteX309" fmla="*/ 1074880 w 1620550"/>
                  <a:gd name="connsiteY309" fmla="*/ 929740 h 1421209"/>
                  <a:gd name="connsiteX310" fmla="*/ 1084910 w 1620550"/>
                  <a:gd name="connsiteY310" fmla="*/ 919710 h 1421209"/>
                  <a:gd name="connsiteX311" fmla="*/ 1091597 w 1620550"/>
                  <a:gd name="connsiteY311" fmla="*/ 911352 h 1421209"/>
                  <a:gd name="connsiteX312" fmla="*/ 1098283 w 1620550"/>
                  <a:gd name="connsiteY312" fmla="*/ 906337 h 1421209"/>
                  <a:gd name="connsiteX313" fmla="*/ 1111657 w 1620550"/>
                  <a:gd name="connsiteY313" fmla="*/ 892963 h 1421209"/>
                  <a:gd name="connsiteX314" fmla="*/ 1116672 w 1620550"/>
                  <a:gd name="connsiteY314" fmla="*/ 887948 h 1421209"/>
                  <a:gd name="connsiteX315" fmla="*/ 1121687 w 1620550"/>
                  <a:gd name="connsiteY315" fmla="*/ 881262 h 1421209"/>
                  <a:gd name="connsiteX316" fmla="*/ 1125030 w 1620550"/>
                  <a:gd name="connsiteY316" fmla="*/ 877918 h 1421209"/>
                  <a:gd name="connsiteX317" fmla="*/ 1131717 w 1620550"/>
                  <a:gd name="connsiteY317" fmla="*/ 869560 h 1421209"/>
                  <a:gd name="connsiteX318" fmla="*/ 1136732 w 1620550"/>
                  <a:gd name="connsiteY318" fmla="*/ 864545 h 1421209"/>
                  <a:gd name="connsiteX319" fmla="*/ 1145090 w 1620550"/>
                  <a:gd name="connsiteY319" fmla="*/ 849500 h 1421209"/>
                  <a:gd name="connsiteX320" fmla="*/ 1150105 w 1620550"/>
                  <a:gd name="connsiteY320" fmla="*/ 841142 h 1421209"/>
                  <a:gd name="connsiteX321" fmla="*/ 1153448 w 1620550"/>
                  <a:gd name="connsiteY321" fmla="*/ 831112 h 1421209"/>
                  <a:gd name="connsiteX322" fmla="*/ 1156792 w 1620550"/>
                  <a:gd name="connsiteY322" fmla="*/ 827768 h 1421209"/>
                  <a:gd name="connsiteX323" fmla="*/ 1160135 w 1620550"/>
                  <a:gd name="connsiteY323" fmla="*/ 822753 h 1421209"/>
                  <a:gd name="connsiteX324" fmla="*/ 1173508 w 1620550"/>
                  <a:gd name="connsiteY324" fmla="*/ 814395 h 1421209"/>
                  <a:gd name="connsiteX325" fmla="*/ 1181867 w 1620550"/>
                  <a:gd name="connsiteY325" fmla="*/ 806037 h 1421209"/>
                  <a:gd name="connsiteX326" fmla="*/ 1185210 w 1620550"/>
                  <a:gd name="connsiteY326" fmla="*/ 799350 h 1421209"/>
                  <a:gd name="connsiteX327" fmla="*/ 1205270 w 1620550"/>
                  <a:gd name="connsiteY327" fmla="*/ 785977 h 1421209"/>
                  <a:gd name="connsiteX328" fmla="*/ 1213628 w 1620550"/>
                  <a:gd name="connsiteY328" fmla="*/ 779290 h 1421209"/>
                  <a:gd name="connsiteX329" fmla="*/ 1225330 w 1620550"/>
                  <a:gd name="connsiteY329" fmla="*/ 770932 h 1421209"/>
                  <a:gd name="connsiteX330" fmla="*/ 1228673 w 1620550"/>
                  <a:gd name="connsiteY330" fmla="*/ 765917 h 1421209"/>
                  <a:gd name="connsiteX331" fmla="*/ 1243718 w 1620550"/>
                  <a:gd name="connsiteY331" fmla="*/ 764245 h 1421209"/>
                  <a:gd name="connsiteX332" fmla="*/ 1250405 w 1620550"/>
                  <a:gd name="connsiteY332" fmla="*/ 762573 h 1421209"/>
                  <a:gd name="connsiteX333" fmla="*/ 1255420 w 1620550"/>
                  <a:gd name="connsiteY333" fmla="*/ 757558 h 1421209"/>
                  <a:gd name="connsiteX334" fmla="*/ 1263778 w 1620550"/>
                  <a:gd name="connsiteY334" fmla="*/ 752543 h 1421209"/>
                  <a:gd name="connsiteX335" fmla="*/ 1260435 w 1620550"/>
                  <a:gd name="connsiteY335" fmla="*/ 735827 h 1421209"/>
                  <a:gd name="connsiteX336" fmla="*/ 1257091 w 1620550"/>
                  <a:gd name="connsiteY336" fmla="*/ 732484 h 1421209"/>
                  <a:gd name="connsiteX337" fmla="*/ 1255420 w 1620550"/>
                  <a:gd name="connsiteY337" fmla="*/ 727469 h 1421209"/>
                  <a:gd name="connsiteX338" fmla="*/ 1262106 w 1620550"/>
                  <a:gd name="connsiteY338" fmla="*/ 710752 h 1421209"/>
                  <a:gd name="connsiteX339" fmla="*/ 1272136 w 1620550"/>
                  <a:gd name="connsiteY339" fmla="*/ 705737 h 1421209"/>
                  <a:gd name="connsiteX340" fmla="*/ 1280495 w 1620550"/>
                  <a:gd name="connsiteY340" fmla="*/ 700722 h 1421209"/>
                  <a:gd name="connsiteX341" fmla="*/ 1287181 w 1620550"/>
                  <a:gd name="connsiteY341" fmla="*/ 697379 h 1421209"/>
                  <a:gd name="connsiteX342" fmla="*/ 1292196 w 1620550"/>
                  <a:gd name="connsiteY342" fmla="*/ 694035 h 1421209"/>
                  <a:gd name="connsiteX343" fmla="*/ 1298883 w 1620550"/>
                  <a:gd name="connsiteY343" fmla="*/ 692364 h 1421209"/>
                  <a:gd name="connsiteX344" fmla="*/ 1308913 w 1620550"/>
                  <a:gd name="connsiteY344" fmla="*/ 687349 h 1421209"/>
                  <a:gd name="connsiteX345" fmla="*/ 1323958 w 1620550"/>
                  <a:gd name="connsiteY345" fmla="*/ 682334 h 1421209"/>
                  <a:gd name="connsiteX346" fmla="*/ 1330645 w 1620550"/>
                  <a:gd name="connsiteY346" fmla="*/ 678990 h 1421209"/>
                  <a:gd name="connsiteX347" fmla="*/ 1355720 w 1620550"/>
                  <a:gd name="connsiteY347" fmla="*/ 675647 h 1421209"/>
                  <a:gd name="connsiteX348" fmla="*/ 1359063 w 1620550"/>
                  <a:gd name="connsiteY348" fmla="*/ 670632 h 1421209"/>
                  <a:gd name="connsiteX349" fmla="*/ 1372436 w 1620550"/>
                  <a:gd name="connsiteY349" fmla="*/ 667289 h 1421209"/>
                  <a:gd name="connsiteX350" fmla="*/ 1449333 w 1620550"/>
                  <a:gd name="connsiteY350" fmla="*/ 663945 h 1421209"/>
                  <a:gd name="connsiteX351" fmla="*/ 1464378 w 1620550"/>
                  <a:gd name="connsiteY351" fmla="*/ 645557 h 1421209"/>
                  <a:gd name="connsiteX352" fmla="*/ 1474408 w 1620550"/>
                  <a:gd name="connsiteY352" fmla="*/ 635527 h 1421209"/>
                  <a:gd name="connsiteX353" fmla="*/ 1487781 w 1620550"/>
                  <a:gd name="connsiteY353" fmla="*/ 625497 h 1421209"/>
                  <a:gd name="connsiteX354" fmla="*/ 1494468 w 1620550"/>
                  <a:gd name="connsiteY354" fmla="*/ 623825 h 1421209"/>
                  <a:gd name="connsiteX355" fmla="*/ 1509513 w 1620550"/>
                  <a:gd name="connsiteY355" fmla="*/ 620482 h 1421209"/>
                  <a:gd name="connsiteX356" fmla="*/ 1517871 w 1620550"/>
                  <a:gd name="connsiteY356" fmla="*/ 617139 h 1421209"/>
                  <a:gd name="connsiteX357" fmla="*/ 1524558 w 1620550"/>
                  <a:gd name="connsiteY357" fmla="*/ 613795 h 1421209"/>
                  <a:gd name="connsiteX358" fmla="*/ 1539603 w 1620550"/>
                  <a:gd name="connsiteY358" fmla="*/ 612124 h 1421209"/>
                  <a:gd name="connsiteX359" fmla="*/ 1557991 w 1620550"/>
                  <a:gd name="connsiteY359" fmla="*/ 602094 h 1421209"/>
                  <a:gd name="connsiteX360" fmla="*/ 1573036 w 1620550"/>
                  <a:gd name="connsiteY360" fmla="*/ 597079 h 1421209"/>
                  <a:gd name="connsiteX361" fmla="*/ 1576379 w 1620550"/>
                  <a:gd name="connsiteY361" fmla="*/ 592064 h 1421209"/>
                  <a:gd name="connsiteX362" fmla="*/ 1588081 w 1620550"/>
                  <a:gd name="connsiteY362" fmla="*/ 587049 h 1421209"/>
                  <a:gd name="connsiteX363" fmla="*/ 1591424 w 1620550"/>
                  <a:gd name="connsiteY363" fmla="*/ 583705 h 1421209"/>
                  <a:gd name="connsiteX364" fmla="*/ 1598111 w 1620550"/>
                  <a:gd name="connsiteY364" fmla="*/ 580362 h 1421209"/>
                  <a:gd name="connsiteX365" fmla="*/ 1608141 w 1620550"/>
                  <a:gd name="connsiteY365" fmla="*/ 572004 h 1421209"/>
                  <a:gd name="connsiteX366" fmla="*/ 1614828 w 1620550"/>
                  <a:gd name="connsiteY366" fmla="*/ 560302 h 1421209"/>
                  <a:gd name="connsiteX367" fmla="*/ 1608141 w 1620550"/>
                  <a:gd name="connsiteY367" fmla="*/ 546929 h 1421209"/>
                  <a:gd name="connsiteX368" fmla="*/ 1599783 w 1620550"/>
                  <a:gd name="connsiteY368" fmla="*/ 535227 h 1421209"/>
                  <a:gd name="connsiteX369" fmla="*/ 1598111 w 1620550"/>
                  <a:gd name="connsiteY369" fmla="*/ 530212 h 1421209"/>
                  <a:gd name="connsiteX370" fmla="*/ 1596439 w 1620550"/>
                  <a:gd name="connsiteY370" fmla="*/ 518511 h 1421209"/>
                  <a:gd name="connsiteX371" fmla="*/ 1601454 w 1620550"/>
                  <a:gd name="connsiteY371" fmla="*/ 516839 h 1421209"/>
                  <a:gd name="connsiteX372" fmla="*/ 1604798 w 1620550"/>
                  <a:gd name="connsiteY372" fmla="*/ 513496 h 1421209"/>
                  <a:gd name="connsiteX373" fmla="*/ 1616499 w 1620550"/>
                  <a:gd name="connsiteY373" fmla="*/ 510152 h 1421209"/>
                  <a:gd name="connsiteX374" fmla="*/ 1618171 w 1620550"/>
                  <a:gd name="connsiteY374" fmla="*/ 495107 h 1421209"/>
                  <a:gd name="connsiteX375" fmla="*/ 1613156 w 1620550"/>
                  <a:gd name="connsiteY375" fmla="*/ 491764 h 1421209"/>
                  <a:gd name="connsiteX376" fmla="*/ 1611484 w 1620550"/>
                  <a:gd name="connsiteY376" fmla="*/ 486749 h 1421209"/>
                  <a:gd name="connsiteX377" fmla="*/ 1608141 w 1620550"/>
                  <a:gd name="connsiteY377" fmla="*/ 481734 h 1421209"/>
                  <a:gd name="connsiteX378" fmla="*/ 1606469 w 1620550"/>
                  <a:gd name="connsiteY378" fmla="*/ 473376 h 1421209"/>
                  <a:gd name="connsiteX379" fmla="*/ 1604798 w 1620550"/>
                  <a:gd name="connsiteY379" fmla="*/ 468361 h 1421209"/>
                  <a:gd name="connsiteX380" fmla="*/ 1599783 w 1620550"/>
                  <a:gd name="connsiteY380" fmla="*/ 466689 h 1421209"/>
                  <a:gd name="connsiteX381" fmla="*/ 1586409 w 1620550"/>
                  <a:gd name="connsiteY381" fmla="*/ 461674 h 1421209"/>
                  <a:gd name="connsiteX382" fmla="*/ 1561334 w 1620550"/>
                  <a:gd name="connsiteY382" fmla="*/ 463346 h 1421209"/>
                  <a:gd name="connsiteX383" fmla="*/ 1547961 w 1620550"/>
                  <a:gd name="connsiteY383" fmla="*/ 465017 h 1421209"/>
                  <a:gd name="connsiteX384" fmla="*/ 1539603 w 1620550"/>
                  <a:gd name="connsiteY384" fmla="*/ 470032 h 1421209"/>
                  <a:gd name="connsiteX385" fmla="*/ 1529573 w 1620550"/>
                  <a:gd name="connsiteY385" fmla="*/ 485077 h 1421209"/>
                  <a:gd name="connsiteX386" fmla="*/ 1524558 w 1620550"/>
                  <a:gd name="connsiteY386" fmla="*/ 486749 h 1421209"/>
                  <a:gd name="connsiteX387" fmla="*/ 1504498 w 1620550"/>
                  <a:gd name="connsiteY387" fmla="*/ 480062 h 1421209"/>
                  <a:gd name="connsiteX388" fmla="*/ 1489453 w 1620550"/>
                  <a:gd name="connsiteY388" fmla="*/ 468361 h 1421209"/>
                  <a:gd name="connsiteX389" fmla="*/ 1474408 w 1620550"/>
                  <a:gd name="connsiteY389" fmla="*/ 466689 h 1421209"/>
                  <a:gd name="connsiteX390" fmla="*/ 1462706 w 1620550"/>
                  <a:gd name="connsiteY390" fmla="*/ 468361 h 1421209"/>
                  <a:gd name="connsiteX391" fmla="*/ 1452676 w 1620550"/>
                  <a:gd name="connsiteY391" fmla="*/ 471704 h 1421209"/>
                  <a:gd name="connsiteX392" fmla="*/ 1442646 w 1620550"/>
                  <a:gd name="connsiteY392" fmla="*/ 470032 h 1421209"/>
                  <a:gd name="connsiteX393" fmla="*/ 1435959 w 1620550"/>
                  <a:gd name="connsiteY393" fmla="*/ 463346 h 1421209"/>
                  <a:gd name="connsiteX394" fmla="*/ 1432616 w 1620550"/>
                  <a:gd name="connsiteY394" fmla="*/ 458331 h 1421209"/>
                  <a:gd name="connsiteX395" fmla="*/ 1427601 w 1620550"/>
                  <a:gd name="connsiteY395" fmla="*/ 454987 h 1421209"/>
                  <a:gd name="connsiteX396" fmla="*/ 1422586 w 1620550"/>
                  <a:gd name="connsiteY396" fmla="*/ 448301 h 1421209"/>
                  <a:gd name="connsiteX397" fmla="*/ 1412556 w 1620550"/>
                  <a:gd name="connsiteY397" fmla="*/ 439942 h 1421209"/>
                  <a:gd name="connsiteX398" fmla="*/ 1404198 w 1620550"/>
                  <a:gd name="connsiteY398" fmla="*/ 446629 h 1421209"/>
                  <a:gd name="connsiteX399" fmla="*/ 1390825 w 1620550"/>
                  <a:gd name="connsiteY399" fmla="*/ 453316 h 1421209"/>
                  <a:gd name="connsiteX400" fmla="*/ 1387481 w 1620550"/>
                  <a:gd name="connsiteY400" fmla="*/ 438271 h 1421209"/>
                  <a:gd name="connsiteX401" fmla="*/ 1385810 w 1620550"/>
                  <a:gd name="connsiteY401" fmla="*/ 433256 h 1421209"/>
                  <a:gd name="connsiteX402" fmla="*/ 1384138 w 1620550"/>
                  <a:gd name="connsiteY402" fmla="*/ 411524 h 1421209"/>
                  <a:gd name="connsiteX403" fmla="*/ 1379123 w 1620550"/>
                  <a:gd name="connsiteY403" fmla="*/ 408181 h 1421209"/>
                  <a:gd name="connsiteX404" fmla="*/ 1370765 w 1620550"/>
                  <a:gd name="connsiteY404" fmla="*/ 406509 h 1421209"/>
                  <a:gd name="connsiteX405" fmla="*/ 1364078 w 1620550"/>
                  <a:gd name="connsiteY405" fmla="*/ 404837 h 1421209"/>
                  <a:gd name="connsiteX406" fmla="*/ 1340675 w 1620550"/>
                  <a:gd name="connsiteY406" fmla="*/ 394807 h 1421209"/>
                  <a:gd name="connsiteX407" fmla="*/ 1327301 w 1620550"/>
                  <a:gd name="connsiteY407" fmla="*/ 384777 h 1421209"/>
                  <a:gd name="connsiteX408" fmla="*/ 1320615 w 1620550"/>
                  <a:gd name="connsiteY408" fmla="*/ 379762 h 1421209"/>
                  <a:gd name="connsiteX409" fmla="*/ 1310585 w 1620550"/>
                  <a:gd name="connsiteY409" fmla="*/ 373076 h 1421209"/>
                  <a:gd name="connsiteX410" fmla="*/ 1305570 w 1620550"/>
                  <a:gd name="connsiteY410" fmla="*/ 369732 h 1421209"/>
                  <a:gd name="connsiteX411" fmla="*/ 1297211 w 1620550"/>
                  <a:gd name="connsiteY411" fmla="*/ 368061 h 1421209"/>
                  <a:gd name="connsiteX412" fmla="*/ 1290525 w 1620550"/>
                  <a:gd name="connsiteY412" fmla="*/ 369732 h 1421209"/>
                  <a:gd name="connsiteX413" fmla="*/ 1282166 w 1620550"/>
                  <a:gd name="connsiteY413" fmla="*/ 398151 h 1421209"/>
                  <a:gd name="connsiteX414" fmla="*/ 1272136 w 1620550"/>
                  <a:gd name="connsiteY414" fmla="*/ 394807 h 1421209"/>
                  <a:gd name="connsiteX415" fmla="*/ 1267121 w 1620550"/>
                  <a:gd name="connsiteY415" fmla="*/ 391464 h 1421209"/>
                  <a:gd name="connsiteX416" fmla="*/ 1255420 w 1620550"/>
                  <a:gd name="connsiteY416" fmla="*/ 388121 h 1421209"/>
                  <a:gd name="connsiteX417" fmla="*/ 1220315 w 1620550"/>
                  <a:gd name="connsiteY417" fmla="*/ 386449 h 1421209"/>
                  <a:gd name="connsiteX418" fmla="*/ 1218643 w 1620550"/>
                  <a:gd name="connsiteY418" fmla="*/ 381434 h 1421209"/>
                  <a:gd name="connsiteX419" fmla="*/ 1211957 w 1620550"/>
                  <a:gd name="connsiteY419" fmla="*/ 379762 h 1421209"/>
                  <a:gd name="connsiteX420" fmla="*/ 1175180 w 1620550"/>
                  <a:gd name="connsiteY420" fmla="*/ 378091 h 1421209"/>
                  <a:gd name="connsiteX421" fmla="*/ 1173508 w 1620550"/>
                  <a:gd name="connsiteY421" fmla="*/ 373076 h 1421209"/>
                  <a:gd name="connsiteX422" fmla="*/ 1171837 w 1620550"/>
                  <a:gd name="connsiteY422" fmla="*/ 366389 h 1421209"/>
                  <a:gd name="connsiteX423" fmla="*/ 1163478 w 1620550"/>
                  <a:gd name="connsiteY423" fmla="*/ 361374 h 1421209"/>
                  <a:gd name="connsiteX424" fmla="*/ 1128373 w 1620550"/>
                  <a:gd name="connsiteY424" fmla="*/ 359703 h 1421209"/>
                  <a:gd name="connsiteX425" fmla="*/ 1120015 w 1620550"/>
                  <a:gd name="connsiteY425" fmla="*/ 356359 h 1421209"/>
                  <a:gd name="connsiteX426" fmla="*/ 1113328 w 1620550"/>
                  <a:gd name="connsiteY426" fmla="*/ 346329 h 1421209"/>
                  <a:gd name="connsiteX427" fmla="*/ 1108313 w 1620550"/>
                  <a:gd name="connsiteY427" fmla="*/ 339643 h 1421209"/>
                  <a:gd name="connsiteX428" fmla="*/ 1104970 w 1620550"/>
                  <a:gd name="connsiteY428" fmla="*/ 334628 h 1421209"/>
                  <a:gd name="connsiteX429" fmla="*/ 1098283 w 1620550"/>
                  <a:gd name="connsiteY429" fmla="*/ 327941 h 1421209"/>
                  <a:gd name="connsiteX430" fmla="*/ 1096612 w 1620550"/>
                  <a:gd name="connsiteY430" fmla="*/ 322926 h 1421209"/>
                  <a:gd name="connsiteX431" fmla="*/ 1091597 w 1620550"/>
                  <a:gd name="connsiteY431" fmla="*/ 321254 h 1421209"/>
                  <a:gd name="connsiteX432" fmla="*/ 1084910 w 1620550"/>
                  <a:gd name="connsiteY432" fmla="*/ 317911 h 1421209"/>
                  <a:gd name="connsiteX433" fmla="*/ 1064850 w 1620550"/>
                  <a:gd name="connsiteY433" fmla="*/ 314568 h 1421209"/>
                  <a:gd name="connsiteX434" fmla="*/ 1058164 w 1620550"/>
                  <a:gd name="connsiteY434" fmla="*/ 311224 h 1421209"/>
                  <a:gd name="connsiteX435" fmla="*/ 1054820 w 1620550"/>
                  <a:gd name="connsiteY435" fmla="*/ 307881 h 1421209"/>
                  <a:gd name="connsiteX436" fmla="*/ 1049805 w 1620550"/>
                  <a:gd name="connsiteY436" fmla="*/ 304538 h 1421209"/>
                  <a:gd name="connsiteX437" fmla="*/ 1046462 w 1620550"/>
                  <a:gd name="connsiteY437" fmla="*/ 301194 h 1421209"/>
                  <a:gd name="connsiteX438" fmla="*/ 1039775 w 1620550"/>
                  <a:gd name="connsiteY438" fmla="*/ 299523 h 1421209"/>
                  <a:gd name="connsiteX439" fmla="*/ 1029745 w 1620550"/>
                  <a:gd name="connsiteY439" fmla="*/ 296179 h 1421209"/>
                  <a:gd name="connsiteX440" fmla="*/ 1016372 w 1620550"/>
                  <a:gd name="connsiteY440" fmla="*/ 287821 h 1421209"/>
                  <a:gd name="connsiteX441" fmla="*/ 1013029 w 1620550"/>
                  <a:gd name="connsiteY441" fmla="*/ 282806 h 1421209"/>
                  <a:gd name="connsiteX442" fmla="*/ 1014700 w 1620550"/>
                  <a:gd name="connsiteY442" fmla="*/ 276119 h 1421209"/>
                  <a:gd name="connsiteX443" fmla="*/ 1016372 w 1620550"/>
                  <a:gd name="connsiteY443" fmla="*/ 271104 h 1421209"/>
                  <a:gd name="connsiteX444" fmla="*/ 1029745 w 1620550"/>
                  <a:gd name="connsiteY444" fmla="*/ 264418 h 1421209"/>
                  <a:gd name="connsiteX445" fmla="*/ 1031417 w 1620550"/>
                  <a:gd name="connsiteY445" fmla="*/ 257731 h 1421209"/>
                  <a:gd name="connsiteX446" fmla="*/ 1024730 w 1620550"/>
                  <a:gd name="connsiteY446" fmla="*/ 256059 h 1421209"/>
                  <a:gd name="connsiteX447" fmla="*/ 1016372 w 1620550"/>
                  <a:gd name="connsiteY447" fmla="*/ 251044 h 1421209"/>
                  <a:gd name="connsiteX448" fmla="*/ 1008014 w 1620550"/>
                  <a:gd name="connsiteY448" fmla="*/ 247701 h 1421209"/>
                  <a:gd name="connsiteX449" fmla="*/ 1002999 w 1620550"/>
                  <a:gd name="connsiteY449" fmla="*/ 244358 h 1421209"/>
                  <a:gd name="connsiteX450" fmla="*/ 997984 w 1620550"/>
                  <a:gd name="connsiteY450" fmla="*/ 242686 h 1421209"/>
                  <a:gd name="connsiteX451" fmla="*/ 989625 w 1620550"/>
                  <a:gd name="connsiteY451" fmla="*/ 235999 h 1421209"/>
                  <a:gd name="connsiteX452" fmla="*/ 984610 w 1620550"/>
                  <a:gd name="connsiteY452" fmla="*/ 234328 h 1421209"/>
                  <a:gd name="connsiteX453" fmla="*/ 966222 w 1620550"/>
                  <a:gd name="connsiteY453" fmla="*/ 227641 h 1421209"/>
                  <a:gd name="connsiteX454" fmla="*/ 944490 w 1620550"/>
                  <a:gd name="connsiteY454" fmla="*/ 229313 h 1421209"/>
                  <a:gd name="connsiteX455" fmla="*/ 902699 w 1620550"/>
                  <a:gd name="connsiteY455" fmla="*/ 227641 h 1421209"/>
                  <a:gd name="connsiteX456" fmla="*/ 897684 w 1620550"/>
                  <a:gd name="connsiteY456" fmla="*/ 225969 h 1421209"/>
                  <a:gd name="connsiteX457" fmla="*/ 885982 w 1620550"/>
                  <a:gd name="connsiteY457" fmla="*/ 215939 h 1421209"/>
                  <a:gd name="connsiteX458" fmla="*/ 874281 w 1620550"/>
                  <a:gd name="connsiteY458" fmla="*/ 207581 h 1421209"/>
                  <a:gd name="connsiteX459" fmla="*/ 869266 w 1620550"/>
                  <a:gd name="connsiteY459" fmla="*/ 204238 h 1421209"/>
                  <a:gd name="connsiteX460" fmla="*/ 860907 w 1620550"/>
                  <a:gd name="connsiteY460" fmla="*/ 197551 h 1421209"/>
                  <a:gd name="connsiteX461" fmla="*/ 854221 w 1620550"/>
                  <a:gd name="connsiteY461" fmla="*/ 195879 h 1421209"/>
                  <a:gd name="connsiteX462" fmla="*/ 842519 w 1620550"/>
                  <a:gd name="connsiteY462" fmla="*/ 192536 h 1421209"/>
                  <a:gd name="connsiteX463" fmla="*/ 815772 w 1620550"/>
                  <a:gd name="connsiteY463" fmla="*/ 194208 h 1421209"/>
                  <a:gd name="connsiteX464" fmla="*/ 805742 w 1620550"/>
                  <a:gd name="connsiteY464" fmla="*/ 195879 h 1421209"/>
                  <a:gd name="connsiteX465" fmla="*/ 789026 w 1620550"/>
                  <a:gd name="connsiteY465" fmla="*/ 197551 h 1421209"/>
                  <a:gd name="connsiteX466" fmla="*/ 782339 w 1620550"/>
                  <a:gd name="connsiteY466" fmla="*/ 194208 h 1421209"/>
                  <a:gd name="connsiteX467" fmla="*/ 780667 w 1620550"/>
                  <a:gd name="connsiteY467" fmla="*/ 189193 h 1421209"/>
                  <a:gd name="connsiteX468" fmla="*/ 775652 w 1620550"/>
                  <a:gd name="connsiteY468" fmla="*/ 175820 h 1421209"/>
                  <a:gd name="connsiteX469" fmla="*/ 768966 w 1620550"/>
                  <a:gd name="connsiteY469" fmla="*/ 170805 h 1421209"/>
                  <a:gd name="connsiteX470" fmla="*/ 765622 w 1620550"/>
                  <a:gd name="connsiteY470" fmla="*/ 167461 h 1421209"/>
                  <a:gd name="connsiteX471" fmla="*/ 753921 w 1620550"/>
                  <a:gd name="connsiteY471" fmla="*/ 162446 h 1421209"/>
                  <a:gd name="connsiteX472" fmla="*/ 735532 w 1620550"/>
                  <a:gd name="connsiteY472" fmla="*/ 164118 h 1421209"/>
                  <a:gd name="connsiteX473" fmla="*/ 722159 w 1620550"/>
                  <a:gd name="connsiteY473" fmla="*/ 170805 h 1421209"/>
                  <a:gd name="connsiteX474" fmla="*/ 720487 w 1620550"/>
                  <a:gd name="connsiteY474" fmla="*/ 165790 h 1421209"/>
                  <a:gd name="connsiteX475" fmla="*/ 715472 w 1620550"/>
                  <a:gd name="connsiteY475" fmla="*/ 164118 h 1421209"/>
                  <a:gd name="connsiteX476" fmla="*/ 693741 w 1620550"/>
                  <a:gd name="connsiteY476" fmla="*/ 165790 h 1421209"/>
                  <a:gd name="connsiteX477" fmla="*/ 683711 w 1620550"/>
                  <a:gd name="connsiteY477" fmla="*/ 169133 h 1421209"/>
                  <a:gd name="connsiteX478" fmla="*/ 678696 w 1620550"/>
                  <a:gd name="connsiteY478" fmla="*/ 170805 h 1421209"/>
                  <a:gd name="connsiteX479" fmla="*/ 631889 w 1620550"/>
                  <a:gd name="connsiteY479" fmla="*/ 167461 h 1421209"/>
                  <a:gd name="connsiteX480" fmla="*/ 620188 w 1620550"/>
                  <a:gd name="connsiteY480" fmla="*/ 164118 h 1421209"/>
                  <a:gd name="connsiteX481" fmla="*/ 610158 w 1620550"/>
                  <a:gd name="connsiteY481" fmla="*/ 159103 h 1421209"/>
                  <a:gd name="connsiteX482" fmla="*/ 603471 w 1620550"/>
                  <a:gd name="connsiteY482" fmla="*/ 157431 h 1421209"/>
                  <a:gd name="connsiteX483" fmla="*/ 598456 w 1620550"/>
                  <a:gd name="connsiteY483" fmla="*/ 155760 h 1421209"/>
                  <a:gd name="connsiteX484" fmla="*/ 593441 w 1620550"/>
                  <a:gd name="connsiteY484" fmla="*/ 152416 h 1421209"/>
                  <a:gd name="connsiteX485" fmla="*/ 570038 w 1620550"/>
                  <a:gd name="connsiteY485" fmla="*/ 147401 h 1421209"/>
                  <a:gd name="connsiteX486" fmla="*/ 561679 w 1620550"/>
                  <a:gd name="connsiteY486" fmla="*/ 140715 h 1421209"/>
                  <a:gd name="connsiteX487" fmla="*/ 556664 w 1620550"/>
                  <a:gd name="connsiteY487" fmla="*/ 137371 h 1421209"/>
                  <a:gd name="connsiteX488" fmla="*/ 541619 w 1620550"/>
                  <a:gd name="connsiteY488" fmla="*/ 127341 h 1421209"/>
                  <a:gd name="connsiteX489" fmla="*/ 529918 w 1620550"/>
                  <a:gd name="connsiteY489" fmla="*/ 120655 h 1421209"/>
                  <a:gd name="connsiteX490" fmla="*/ 518216 w 1620550"/>
                  <a:gd name="connsiteY490" fmla="*/ 113968 h 1421209"/>
                  <a:gd name="connsiteX491" fmla="*/ 511530 w 1620550"/>
                  <a:gd name="connsiteY491" fmla="*/ 110625 h 1421209"/>
                  <a:gd name="connsiteX492" fmla="*/ 493141 w 1620550"/>
                  <a:gd name="connsiteY492" fmla="*/ 107281 h 1421209"/>
                  <a:gd name="connsiteX493" fmla="*/ 484783 w 1620550"/>
                  <a:gd name="connsiteY493" fmla="*/ 105610 h 1421209"/>
                  <a:gd name="connsiteX494" fmla="*/ 478096 w 1620550"/>
                  <a:gd name="connsiteY494" fmla="*/ 100595 h 1421209"/>
                  <a:gd name="connsiteX495" fmla="*/ 474753 w 1620550"/>
                  <a:gd name="connsiteY495" fmla="*/ 90565 h 1421209"/>
                  <a:gd name="connsiteX496" fmla="*/ 471410 w 1620550"/>
                  <a:gd name="connsiteY496" fmla="*/ 87221 h 1421209"/>
                  <a:gd name="connsiteX497" fmla="*/ 397856 w 1620550"/>
                  <a:gd name="connsiteY497" fmla="*/ 85550 h 1421209"/>
                  <a:gd name="connsiteX498" fmla="*/ 386155 w 1620550"/>
                  <a:gd name="connsiteY498" fmla="*/ 78863 h 1421209"/>
                  <a:gd name="connsiteX499" fmla="*/ 374453 w 1620550"/>
                  <a:gd name="connsiteY499" fmla="*/ 77191 h 1421209"/>
                  <a:gd name="connsiteX500" fmla="*/ 356065 w 1620550"/>
                  <a:gd name="connsiteY500" fmla="*/ 72176 h 1421209"/>
                  <a:gd name="connsiteX501" fmla="*/ 349378 w 1620550"/>
                  <a:gd name="connsiteY501" fmla="*/ 70505 h 1421209"/>
                  <a:gd name="connsiteX502" fmla="*/ 339348 w 1620550"/>
                  <a:gd name="connsiteY502" fmla="*/ 65490 h 1421209"/>
                  <a:gd name="connsiteX503" fmla="*/ 322632 w 1620550"/>
                  <a:gd name="connsiteY503" fmla="*/ 60475 h 1421209"/>
                  <a:gd name="connsiteX504" fmla="*/ 312602 w 1620550"/>
                  <a:gd name="connsiteY504" fmla="*/ 65490 h 1421209"/>
                  <a:gd name="connsiteX505" fmla="*/ 307587 w 1620550"/>
                  <a:gd name="connsiteY505" fmla="*/ 67161 h 1421209"/>
                  <a:gd name="connsiteX506" fmla="*/ 299228 w 1620550"/>
                  <a:gd name="connsiteY506" fmla="*/ 70505 h 1421209"/>
                  <a:gd name="connsiteX507" fmla="*/ 295885 w 1620550"/>
                  <a:gd name="connsiteY507" fmla="*/ 65490 h 1421209"/>
                  <a:gd name="connsiteX508" fmla="*/ 282512 w 1620550"/>
                  <a:gd name="connsiteY508" fmla="*/ 55460 h 1421209"/>
                  <a:gd name="connsiteX509" fmla="*/ 277497 w 1620550"/>
                  <a:gd name="connsiteY509" fmla="*/ 53788 h 1421209"/>
                  <a:gd name="connsiteX510" fmla="*/ 269138 w 1620550"/>
                  <a:gd name="connsiteY510" fmla="*/ 42086 h 1421209"/>
                  <a:gd name="connsiteX511" fmla="*/ 267467 w 1620550"/>
                  <a:gd name="connsiteY511" fmla="*/ 33728 h 1421209"/>
                  <a:gd name="connsiteX512" fmla="*/ 262452 w 1620550"/>
                  <a:gd name="connsiteY512" fmla="*/ 28713 h 1421209"/>
                  <a:gd name="connsiteX513" fmla="*/ 252422 w 1620550"/>
                  <a:gd name="connsiteY513" fmla="*/ 25370 h 1421209"/>
                  <a:gd name="connsiteX514" fmla="*/ 239048 w 1620550"/>
                  <a:gd name="connsiteY514" fmla="*/ 15340 h 1421209"/>
                  <a:gd name="connsiteX515" fmla="*/ 234033 w 1620550"/>
                  <a:gd name="connsiteY515" fmla="*/ 10325 h 1421209"/>
                  <a:gd name="connsiteX516" fmla="*/ 220660 w 1620550"/>
                  <a:gd name="connsiteY516" fmla="*/ 5310 h 1421209"/>
                  <a:gd name="connsiteX517" fmla="*/ 215645 w 1620550"/>
                  <a:gd name="connsiteY517" fmla="*/ 1967 h 1421209"/>
                  <a:gd name="connsiteX518" fmla="*/ 192242 w 1620550"/>
                  <a:gd name="connsiteY518" fmla="*/ 1967 h 1421209"/>
                  <a:gd name="connsiteX519" fmla="*/ 198928 w 1620550"/>
                  <a:gd name="connsiteY519" fmla="*/ 5310 h 1421209"/>
                  <a:gd name="connsiteX0" fmla="*/ 198928 w 1620550"/>
                  <a:gd name="connsiteY0" fmla="*/ 5310 h 1421209"/>
                  <a:gd name="connsiteX1" fmla="*/ 177197 w 1620550"/>
                  <a:gd name="connsiteY1" fmla="*/ 10325 h 1421209"/>
                  <a:gd name="connsiteX2" fmla="*/ 175525 w 1620550"/>
                  <a:gd name="connsiteY2" fmla="*/ 15340 h 1421209"/>
                  <a:gd name="connsiteX3" fmla="*/ 177197 w 1620550"/>
                  <a:gd name="connsiteY3" fmla="*/ 20355 h 1421209"/>
                  <a:gd name="connsiteX4" fmla="*/ 172182 w 1620550"/>
                  <a:gd name="connsiteY4" fmla="*/ 23698 h 1421209"/>
                  <a:gd name="connsiteX5" fmla="*/ 152122 w 1620550"/>
                  <a:gd name="connsiteY5" fmla="*/ 25370 h 1421209"/>
                  <a:gd name="connsiteX6" fmla="*/ 155465 w 1620550"/>
                  <a:gd name="connsiteY6" fmla="*/ 35400 h 1421209"/>
                  <a:gd name="connsiteX7" fmla="*/ 157137 w 1620550"/>
                  <a:gd name="connsiteY7" fmla="*/ 42086 h 1421209"/>
                  <a:gd name="connsiteX8" fmla="*/ 148779 w 1620550"/>
                  <a:gd name="connsiteY8" fmla="*/ 47101 h 1421209"/>
                  <a:gd name="connsiteX9" fmla="*/ 145435 w 1620550"/>
                  <a:gd name="connsiteY9" fmla="*/ 50445 h 1421209"/>
                  <a:gd name="connsiteX10" fmla="*/ 135405 w 1620550"/>
                  <a:gd name="connsiteY10" fmla="*/ 53788 h 1421209"/>
                  <a:gd name="connsiteX11" fmla="*/ 133734 w 1620550"/>
                  <a:gd name="connsiteY11" fmla="*/ 58803 h 1421209"/>
                  <a:gd name="connsiteX12" fmla="*/ 115345 w 1620550"/>
                  <a:gd name="connsiteY12" fmla="*/ 63818 h 1421209"/>
                  <a:gd name="connsiteX13" fmla="*/ 81912 w 1620550"/>
                  <a:gd name="connsiteY13" fmla="*/ 62146 h 1421209"/>
                  <a:gd name="connsiteX14" fmla="*/ 73554 w 1620550"/>
                  <a:gd name="connsiteY14" fmla="*/ 53788 h 1421209"/>
                  <a:gd name="connsiteX15" fmla="*/ 66867 w 1620550"/>
                  <a:gd name="connsiteY15" fmla="*/ 50445 h 1421209"/>
                  <a:gd name="connsiteX16" fmla="*/ 55165 w 1620550"/>
                  <a:gd name="connsiteY16" fmla="*/ 52116 h 1421209"/>
                  <a:gd name="connsiteX17" fmla="*/ 55165 w 1620550"/>
                  <a:gd name="connsiteY17" fmla="*/ 62146 h 1421209"/>
                  <a:gd name="connsiteX18" fmla="*/ 30090 w 1620550"/>
                  <a:gd name="connsiteY18" fmla="*/ 65490 h 1421209"/>
                  <a:gd name="connsiteX19" fmla="*/ 16717 w 1620550"/>
                  <a:gd name="connsiteY19" fmla="*/ 75520 h 1421209"/>
                  <a:gd name="connsiteX20" fmla="*/ 11702 w 1620550"/>
                  <a:gd name="connsiteY20" fmla="*/ 80535 h 1421209"/>
                  <a:gd name="connsiteX21" fmla="*/ 8359 w 1620550"/>
                  <a:gd name="connsiteY21" fmla="*/ 88893 h 1421209"/>
                  <a:gd name="connsiteX22" fmla="*/ 6687 w 1620550"/>
                  <a:gd name="connsiteY22" fmla="*/ 98923 h 1421209"/>
                  <a:gd name="connsiteX23" fmla="*/ 0 w 1620550"/>
                  <a:gd name="connsiteY23" fmla="*/ 107281 h 1421209"/>
                  <a:gd name="connsiteX24" fmla="*/ 15045 w 1620550"/>
                  <a:gd name="connsiteY24" fmla="*/ 115640 h 1421209"/>
                  <a:gd name="connsiteX25" fmla="*/ 13374 w 1620550"/>
                  <a:gd name="connsiteY25" fmla="*/ 123998 h 1421209"/>
                  <a:gd name="connsiteX26" fmla="*/ 16717 w 1620550"/>
                  <a:gd name="connsiteY26" fmla="*/ 130685 h 1421209"/>
                  <a:gd name="connsiteX27" fmla="*/ 11702 w 1620550"/>
                  <a:gd name="connsiteY27" fmla="*/ 135700 h 1421209"/>
                  <a:gd name="connsiteX28" fmla="*/ 8359 w 1620550"/>
                  <a:gd name="connsiteY28" fmla="*/ 140715 h 1421209"/>
                  <a:gd name="connsiteX29" fmla="*/ 33434 w 1620550"/>
                  <a:gd name="connsiteY29" fmla="*/ 142386 h 1421209"/>
                  <a:gd name="connsiteX30" fmla="*/ 36777 w 1620550"/>
                  <a:gd name="connsiteY30" fmla="*/ 147401 h 1421209"/>
                  <a:gd name="connsiteX31" fmla="*/ 20060 w 1620550"/>
                  <a:gd name="connsiteY31" fmla="*/ 150745 h 1421209"/>
                  <a:gd name="connsiteX32" fmla="*/ 18389 w 1620550"/>
                  <a:gd name="connsiteY32" fmla="*/ 174148 h 1421209"/>
                  <a:gd name="connsiteX33" fmla="*/ 23404 w 1620550"/>
                  <a:gd name="connsiteY33" fmla="*/ 175820 h 1421209"/>
                  <a:gd name="connsiteX34" fmla="*/ 31762 w 1620550"/>
                  <a:gd name="connsiteY34" fmla="*/ 174148 h 1421209"/>
                  <a:gd name="connsiteX35" fmla="*/ 33434 w 1620550"/>
                  <a:gd name="connsiteY35" fmla="*/ 169133 h 1421209"/>
                  <a:gd name="connsiteX36" fmla="*/ 38449 w 1620550"/>
                  <a:gd name="connsiteY36" fmla="*/ 167461 h 1421209"/>
                  <a:gd name="connsiteX37" fmla="*/ 48479 w 1620550"/>
                  <a:gd name="connsiteY37" fmla="*/ 169133 h 1421209"/>
                  <a:gd name="connsiteX38" fmla="*/ 50150 w 1620550"/>
                  <a:gd name="connsiteY38" fmla="*/ 180835 h 1421209"/>
                  <a:gd name="connsiteX39" fmla="*/ 45135 w 1620550"/>
                  <a:gd name="connsiteY39" fmla="*/ 182506 h 1421209"/>
                  <a:gd name="connsiteX40" fmla="*/ 41792 w 1620550"/>
                  <a:gd name="connsiteY40" fmla="*/ 187521 h 1421209"/>
                  <a:gd name="connsiteX41" fmla="*/ 40120 w 1620550"/>
                  <a:gd name="connsiteY41" fmla="*/ 197551 h 1421209"/>
                  <a:gd name="connsiteX42" fmla="*/ 38449 w 1620550"/>
                  <a:gd name="connsiteY42" fmla="*/ 205909 h 1421209"/>
                  <a:gd name="connsiteX43" fmla="*/ 35105 w 1620550"/>
                  <a:gd name="connsiteY43" fmla="*/ 212596 h 1421209"/>
                  <a:gd name="connsiteX44" fmla="*/ 33434 w 1620550"/>
                  <a:gd name="connsiteY44" fmla="*/ 217611 h 1421209"/>
                  <a:gd name="connsiteX45" fmla="*/ 41792 w 1620550"/>
                  <a:gd name="connsiteY45" fmla="*/ 220954 h 1421209"/>
                  <a:gd name="connsiteX46" fmla="*/ 58509 w 1620550"/>
                  <a:gd name="connsiteY46" fmla="*/ 222626 h 1421209"/>
                  <a:gd name="connsiteX47" fmla="*/ 30090 w 1620550"/>
                  <a:gd name="connsiteY47" fmla="*/ 232656 h 1421209"/>
                  <a:gd name="connsiteX48" fmla="*/ 28419 w 1620550"/>
                  <a:gd name="connsiteY48" fmla="*/ 237671 h 1421209"/>
                  <a:gd name="connsiteX49" fmla="*/ 40120 w 1620550"/>
                  <a:gd name="connsiteY49" fmla="*/ 239343 h 1421209"/>
                  <a:gd name="connsiteX50" fmla="*/ 31762 w 1620550"/>
                  <a:gd name="connsiteY50" fmla="*/ 242686 h 1421209"/>
                  <a:gd name="connsiteX51" fmla="*/ 26747 w 1620550"/>
                  <a:gd name="connsiteY51" fmla="*/ 249373 h 1421209"/>
                  <a:gd name="connsiteX52" fmla="*/ 15045 w 1620550"/>
                  <a:gd name="connsiteY52" fmla="*/ 257731 h 1421209"/>
                  <a:gd name="connsiteX53" fmla="*/ 15045 w 1620550"/>
                  <a:gd name="connsiteY53" fmla="*/ 291164 h 1421209"/>
                  <a:gd name="connsiteX54" fmla="*/ 25075 w 1620550"/>
                  <a:gd name="connsiteY54" fmla="*/ 287821 h 1421209"/>
                  <a:gd name="connsiteX55" fmla="*/ 38196 w 1620550"/>
                  <a:gd name="connsiteY55" fmla="*/ 286607 h 1421209"/>
                  <a:gd name="connsiteX56" fmla="*/ 45845 w 1620550"/>
                  <a:gd name="connsiteY56" fmla="*/ 283010 h 1421209"/>
                  <a:gd name="connsiteX57" fmla="*/ 61347 w 1620550"/>
                  <a:gd name="connsiteY57" fmla="*/ 276577 h 1421209"/>
                  <a:gd name="connsiteX58" fmla="*/ 83584 w 1620550"/>
                  <a:gd name="connsiteY58" fmla="*/ 267761 h 1421209"/>
                  <a:gd name="connsiteX59" fmla="*/ 91942 w 1620550"/>
                  <a:gd name="connsiteY59" fmla="*/ 269433 h 1421209"/>
                  <a:gd name="connsiteX60" fmla="*/ 98629 w 1620550"/>
                  <a:gd name="connsiteY60" fmla="*/ 272776 h 1421209"/>
                  <a:gd name="connsiteX61" fmla="*/ 103644 w 1620550"/>
                  <a:gd name="connsiteY61" fmla="*/ 274448 h 1421209"/>
                  <a:gd name="connsiteX62" fmla="*/ 108659 w 1620550"/>
                  <a:gd name="connsiteY62" fmla="*/ 279463 h 1421209"/>
                  <a:gd name="connsiteX63" fmla="*/ 112002 w 1620550"/>
                  <a:gd name="connsiteY63" fmla="*/ 299523 h 1421209"/>
                  <a:gd name="connsiteX64" fmla="*/ 100300 w 1620550"/>
                  <a:gd name="connsiteY64" fmla="*/ 307881 h 1421209"/>
                  <a:gd name="connsiteX65" fmla="*/ 96957 w 1620550"/>
                  <a:gd name="connsiteY65" fmla="*/ 321254 h 1421209"/>
                  <a:gd name="connsiteX66" fmla="*/ 95285 w 1620550"/>
                  <a:gd name="connsiteY66" fmla="*/ 326269 h 1421209"/>
                  <a:gd name="connsiteX67" fmla="*/ 98629 w 1620550"/>
                  <a:gd name="connsiteY67" fmla="*/ 331284 h 1421209"/>
                  <a:gd name="connsiteX68" fmla="*/ 118689 w 1620550"/>
                  <a:gd name="connsiteY68" fmla="*/ 334628 h 1421209"/>
                  <a:gd name="connsiteX69" fmla="*/ 147107 w 1620550"/>
                  <a:gd name="connsiteY69" fmla="*/ 332956 h 1421209"/>
                  <a:gd name="connsiteX70" fmla="*/ 158808 w 1620550"/>
                  <a:gd name="connsiteY70" fmla="*/ 329613 h 1421209"/>
                  <a:gd name="connsiteX71" fmla="*/ 168838 w 1620550"/>
                  <a:gd name="connsiteY71" fmla="*/ 332956 h 1421209"/>
                  <a:gd name="connsiteX72" fmla="*/ 177197 w 1620550"/>
                  <a:gd name="connsiteY72" fmla="*/ 342986 h 1421209"/>
                  <a:gd name="connsiteX73" fmla="*/ 183883 w 1620550"/>
                  <a:gd name="connsiteY73" fmla="*/ 346329 h 1421209"/>
                  <a:gd name="connsiteX74" fmla="*/ 189861 w 1620550"/>
                  <a:gd name="connsiteY74" fmla="*/ 357526 h 1421209"/>
                  <a:gd name="connsiteX75" fmla="*/ 217317 w 1620550"/>
                  <a:gd name="connsiteY75" fmla="*/ 341314 h 1421209"/>
                  <a:gd name="connsiteX76" fmla="*/ 234238 w 1620550"/>
                  <a:gd name="connsiteY76" fmla="*/ 375108 h 1421209"/>
                  <a:gd name="connsiteX77" fmla="*/ 232362 w 1620550"/>
                  <a:gd name="connsiteY77" fmla="*/ 331284 h 1421209"/>
                  <a:gd name="connsiteX78" fmla="*/ 239048 w 1620550"/>
                  <a:gd name="connsiteY78" fmla="*/ 334628 h 1421209"/>
                  <a:gd name="connsiteX79" fmla="*/ 244063 w 1620550"/>
                  <a:gd name="connsiteY79" fmla="*/ 339643 h 1421209"/>
                  <a:gd name="connsiteX80" fmla="*/ 250750 w 1620550"/>
                  <a:gd name="connsiteY80" fmla="*/ 341314 h 1421209"/>
                  <a:gd name="connsiteX81" fmla="*/ 260780 w 1620550"/>
                  <a:gd name="connsiteY81" fmla="*/ 348001 h 1421209"/>
                  <a:gd name="connsiteX82" fmla="*/ 269138 w 1620550"/>
                  <a:gd name="connsiteY82" fmla="*/ 356359 h 1421209"/>
                  <a:gd name="connsiteX83" fmla="*/ 270810 w 1620550"/>
                  <a:gd name="connsiteY83" fmla="*/ 368061 h 1421209"/>
                  <a:gd name="connsiteX84" fmla="*/ 290870 w 1620550"/>
                  <a:gd name="connsiteY84" fmla="*/ 366389 h 1421209"/>
                  <a:gd name="connsiteX85" fmla="*/ 305915 w 1620550"/>
                  <a:gd name="connsiteY85" fmla="*/ 368061 h 1421209"/>
                  <a:gd name="connsiteX86" fmla="*/ 304243 w 1620550"/>
                  <a:gd name="connsiteY86" fmla="*/ 388121 h 1421209"/>
                  <a:gd name="connsiteX87" fmla="*/ 307587 w 1620550"/>
                  <a:gd name="connsiteY87" fmla="*/ 403166 h 1421209"/>
                  <a:gd name="connsiteX88" fmla="*/ 320960 w 1620550"/>
                  <a:gd name="connsiteY88" fmla="*/ 414867 h 1421209"/>
                  <a:gd name="connsiteX89" fmla="*/ 329318 w 1620550"/>
                  <a:gd name="connsiteY89" fmla="*/ 424897 h 1421209"/>
                  <a:gd name="connsiteX90" fmla="*/ 336005 w 1620550"/>
                  <a:gd name="connsiteY90" fmla="*/ 428241 h 1421209"/>
                  <a:gd name="connsiteX91" fmla="*/ 334333 w 1620550"/>
                  <a:gd name="connsiteY91" fmla="*/ 458331 h 1421209"/>
                  <a:gd name="connsiteX92" fmla="*/ 307587 w 1620550"/>
                  <a:gd name="connsiteY92" fmla="*/ 478391 h 1421209"/>
                  <a:gd name="connsiteX93" fmla="*/ 292542 w 1620550"/>
                  <a:gd name="connsiteY93" fmla="*/ 483406 h 1421209"/>
                  <a:gd name="connsiteX94" fmla="*/ 287527 w 1620550"/>
                  <a:gd name="connsiteY94" fmla="*/ 486749 h 1421209"/>
                  <a:gd name="connsiteX95" fmla="*/ 265795 w 1620550"/>
                  <a:gd name="connsiteY95" fmla="*/ 488421 h 1421209"/>
                  <a:gd name="connsiteX96" fmla="*/ 257437 w 1620550"/>
                  <a:gd name="connsiteY96" fmla="*/ 495107 h 1421209"/>
                  <a:gd name="connsiteX97" fmla="*/ 249078 w 1620550"/>
                  <a:gd name="connsiteY97" fmla="*/ 503466 h 1421209"/>
                  <a:gd name="connsiteX98" fmla="*/ 247407 w 1620550"/>
                  <a:gd name="connsiteY98" fmla="*/ 508481 h 1421209"/>
                  <a:gd name="connsiteX99" fmla="*/ 239048 w 1620550"/>
                  <a:gd name="connsiteY99" fmla="*/ 515167 h 1421209"/>
                  <a:gd name="connsiteX100" fmla="*/ 237377 w 1620550"/>
                  <a:gd name="connsiteY100" fmla="*/ 536899 h 1421209"/>
                  <a:gd name="connsiteX101" fmla="*/ 239048 w 1620550"/>
                  <a:gd name="connsiteY101" fmla="*/ 543586 h 1421209"/>
                  <a:gd name="connsiteX102" fmla="*/ 237377 w 1620550"/>
                  <a:gd name="connsiteY102" fmla="*/ 595407 h 1421209"/>
                  <a:gd name="connsiteX103" fmla="*/ 230690 w 1620550"/>
                  <a:gd name="connsiteY103" fmla="*/ 610452 h 1421209"/>
                  <a:gd name="connsiteX104" fmla="*/ 227347 w 1620550"/>
                  <a:gd name="connsiteY104" fmla="*/ 618810 h 1421209"/>
                  <a:gd name="connsiteX105" fmla="*/ 224003 w 1620550"/>
                  <a:gd name="connsiteY105" fmla="*/ 625497 h 1421209"/>
                  <a:gd name="connsiteX106" fmla="*/ 222332 w 1620550"/>
                  <a:gd name="connsiteY106" fmla="*/ 633855 h 1421209"/>
                  <a:gd name="connsiteX107" fmla="*/ 213973 w 1620550"/>
                  <a:gd name="connsiteY107" fmla="*/ 642214 h 1421209"/>
                  <a:gd name="connsiteX108" fmla="*/ 205615 w 1620550"/>
                  <a:gd name="connsiteY108" fmla="*/ 648900 h 1421209"/>
                  <a:gd name="connsiteX109" fmla="*/ 190570 w 1620550"/>
                  <a:gd name="connsiteY109" fmla="*/ 652244 h 1421209"/>
                  <a:gd name="connsiteX110" fmla="*/ 192242 w 1620550"/>
                  <a:gd name="connsiteY110" fmla="*/ 662274 h 1421209"/>
                  <a:gd name="connsiteX111" fmla="*/ 193913 w 1620550"/>
                  <a:gd name="connsiteY111" fmla="*/ 667289 h 1421209"/>
                  <a:gd name="connsiteX112" fmla="*/ 190570 w 1620550"/>
                  <a:gd name="connsiteY112" fmla="*/ 695707 h 1421209"/>
                  <a:gd name="connsiteX113" fmla="*/ 187227 w 1620550"/>
                  <a:gd name="connsiteY113" fmla="*/ 704065 h 1421209"/>
                  <a:gd name="connsiteX114" fmla="*/ 185555 w 1620550"/>
                  <a:gd name="connsiteY114" fmla="*/ 712424 h 1421209"/>
                  <a:gd name="connsiteX115" fmla="*/ 180540 w 1620550"/>
                  <a:gd name="connsiteY115" fmla="*/ 717439 h 1421209"/>
                  <a:gd name="connsiteX116" fmla="*/ 175525 w 1620550"/>
                  <a:gd name="connsiteY116" fmla="*/ 725797 h 1421209"/>
                  <a:gd name="connsiteX117" fmla="*/ 170510 w 1620550"/>
                  <a:gd name="connsiteY117" fmla="*/ 727469 h 1421209"/>
                  <a:gd name="connsiteX118" fmla="*/ 165495 w 1620550"/>
                  <a:gd name="connsiteY118" fmla="*/ 730812 h 1421209"/>
                  <a:gd name="connsiteX119" fmla="*/ 147107 w 1620550"/>
                  <a:gd name="connsiteY119" fmla="*/ 734155 h 1421209"/>
                  <a:gd name="connsiteX120" fmla="*/ 137077 w 1620550"/>
                  <a:gd name="connsiteY120" fmla="*/ 739170 h 1421209"/>
                  <a:gd name="connsiteX121" fmla="*/ 128719 w 1620550"/>
                  <a:gd name="connsiteY121" fmla="*/ 742513 h 1421209"/>
                  <a:gd name="connsiteX122" fmla="*/ 122032 w 1620550"/>
                  <a:gd name="connsiteY122" fmla="*/ 745857 h 1421209"/>
                  <a:gd name="connsiteX123" fmla="*/ 98628 w 1620550"/>
                  <a:gd name="connsiteY123" fmla="*/ 745856 h 1421209"/>
                  <a:gd name="connsiteX124" fmla="*/ 103644 w 1620550"/>
                  <a:gd name="connsiteY124" fmla="*/ 755887 h 1421209"/>
                  <a:gd name="connsiteX125" fmla="*/ 106987 w 1620550"/>
                  <a:gd name="connsiteY125" fmla="*/ 770932 h 1421209"/>
                  <a:gd name="connsiteX126" fmla="*/ 110330 w 1620550"/>
                  <a:gd name="connsiteY126" fmla="*/ 779290 h 1421209"/>
                  <a:gd name="connsiteX127" fmla="*/ 112002 w 1620550"/>
                  <a:gd name="connsiteY127" fmla="*/ 787648 h 1421209"/>
                  <a:gd name="connsiteX128" fmla="*/ 113674 w 1620550"/>
                  <a:gd name="connsiteY128" fmla="*/ 821082 h 1421209"/>
                  <a:gd name="connsiteX129" fmla="*/ 117017 w 1620550"/>
                  <a:gd name="connsiteY129" fmla="*/ 827768 h 1421209"/>
                  <a:gd name="connsiteX130" fmla="*/ 125375 w 1620550"/>
                  <a:gd name="connsiteY130" fmla="*/ 831112 h 1421209"/>
                  <a:gd name="connsiteX131" fmla="*/ 140420 w 1620550"/>
                  <a:gd name="connsiteY131" fmla="*/ 832783 h 1421209"/>
                  <a:gd name="connsiteX132" fmla="*/ 155465 w 1620550"/>
                  <a:gd name="connsiteY132" fmla="*/ 837798 h 1421209"/>
                  <a:gd name="connsiteX133" fmla="*/ 153793 w 1620550"/>
                  <a:gd name="connsiteY133" fmla="*/ 864545 h 1421209"/>
                  <a:gd name="connsiteX134" fmla="*/ 147107 w 1620550"/>
                  <a:gd name="connsiteY134" fmla="*/ 871232 h 1421209"/>
                  <a:gd name="connsiteX135" fmla="*/ 143764 w 1620550"/>
                  <a:gd name="connsiteY135" fmla="*/ 876247 h 1421209"/>
                  <a:gd name="connsiteX136" fmla="*/ 133734 w 1620550"/>
                  <a:gd name="connsiteY136" fmla="*/ 886277 h 1421209"/>
                  <a:gd name="connsiteX137" fmla="*/ 128719 w 1620550"/>
                  <a:gd name="connsiteY137" fmla="*/ 891292 h 1421209"/>
                  <a:gd name="connsiteX138" fmla="*/ 108659 w 1620550"/>
                  <a:gd name="connsiteY138" fmla="*/ 904665 h 1421209"/>
                  <a:gd name="connsiteX139" fmla="*/ 100300 w 1620550"/>
                  <a:gd name="connsiteY139" fmla="*/ 913023 h 1421209"/>
                  <a:gd name="connsiteX140" fmla="*/ 86927 w 1620550"/>
                  <a:gd name="connsiteY140" fmla="*/ 928068 h 1421209"/>
                  <a:gd name="connsiteX141" fmla="*/ 86927 w 1620550"/>
                  <a:gd name="connsiteY141" fmla="*/ 981561 h 1421209"/>
                  <a:gd name="connsiteX142" fmla="*/ 96957 w 1620550"/>
                  <a:gd name="connsiteY142" fmla="*/ 991591 h 1421209"/>
                  <a:gd name="connsiteX143" fmla="*/ 108659 w 1620550"/>
                  <a:gd name="connsiteY143" fmla="*/ 993263 h 1421209"/>
                  <a:gd name="connsiteX144" fmla="*/ 115345 w 1620550"/>
                  <a:gd name="connsiteY144" fmla="*/ 1038398 h 1421209"/>
                  <a:gd name="connsiteX145" fmla="*/ 93614 w 1620550"/>
                  <a:gd name="connsiteY145" fmla="*/ 1035055 h 1421209"/>
                  <a:gd name="connsiteX146" fmla="*/ 63524 w 1620550"/>
                  <a:gd name="connsiteY146" fmla="*/ 1036726 h 1421209"/>
                  <a:gd name="connsiteX147" fmla="*/ 56837 w 1620550"/>
                  <a:gd name="connsiteY147" fmla="*/ 1045085 h 1421209"/>
                  <a:gd name="connsiteX148" fmla="*/ 48479 w 1620550"/>
                  <a:gd name="connsiteY148" fmla="*/ 1051771 h 1421209"/>
                  <a:gd name="connsiteX149" fmla="*/ 43464 w 1620550"/>
                  <a:gd name="connsiteY149" fmla="*/ 1058458 h 1421209"/>
                  <a:gd name="connsiteX150" fmla="*/ 40120 w 1620550"/>
                  <a:gd name="connsiteY150" fmla="*/ 1061801 h 1421209"/>
                  <a:gd name="connsiteX151" fmla="*/ 35105 w 1620550"/>
                  <a:gd name="connsiteY151" fmla="*/ 1070160 h 1421209"/>
                  <a:gd name="connsiteX152" fmla="*/ 33434 w 1620550"/>
                  <a:gd name="connsiteY152" fmla="*/ 1075175 h 1421209"/>
                  <a:gd name="connsiteX153" fmla="*/ 28419 w 1620550"/>
                  <a:gd name="connsiteY153" fmla="*/ 1091891 h 1421209"/>
                  <a:gd name="connsiteX154" fmla="*/ 25075 w 1620550"/>
                  <a:gd name="connsiteY154" fmla="*/ 1098578 h 1421209"/>
                  <a:gd name="connsiteX155" fmla="*/ 20060 w 1620550"/>
                  <a:gd name="connsiteY155" fmla="*/ 1111951 h 1421209"/>
                  <a:gd name="connsiteX156" fmla="*/ 21732 w 1620550"/>
                  <a:gd name="connsiteY156" fmla="*/ 1163773 h 1421209"/>
                  <a:gd name="connsiteX157" fmla="*/ 41792 w 1620550"/>
                  <a:gd name="connsiteY157" fmla="*/ 1162101 h 1421209"/>
                  <a:gd name="connsiteX158" fmla="*/ 68539 w 1620550"/>
                  <a:gd name="connsiteY158" fmla="*/ 1163773 h 1421209"/>
                  <a:gd name="connsiteX159" fmla="*/ 81912 w 1620550"/>
                  <a:gd name="connsiteY159" fmla="*/ 1173803 h 1421209"/>
                  <a:gd name="connsiteX160" fmla="*/ 86927 w 1620550"/>
                  <a:gd name="connsiteY160" fmla="*/ 1177146 h 1421209"/>
                  <a:gd name="connsiteX161" fmla="*/ 93614 w 1620550"/>
                  <a:gd name="connsiteY161" fmla="*/ 1185504 h 1421209"/>
                  <a:gd name="connsiteX162" fmla="*/ 96957 w 1620550"/>
                  <a:gd name="connsiteY162" fmla="*/ 1195534 h 1421209"/>
                  <a:gd name="connsiteX163" fmla="*/ 98629 w 1620550"/>
                  <a:gd name="connsiteY163" fmla="*/ 1200549 h 1421209"/>
                  <a:gd name="connsiteX164" fmla="*/ 108659 w 1620550"/>
                  <a:gd name="connsiteY164" fmla="*/ 1212251 h 1421209"/>
                  <a:gd name="connsiteX165" fmla="*/ 113674 w 1620550"/>
                  <a:gd name="connsiteY165" fmla="*/ 1213923 h 1421209"/>
                  <a:gd name="connsiteX166" fmla="*/ 122032 w 1620550"/>
                  <a:gd name="connsiteY166" fmla="*/ 1217266 h 1421209"/>
                  <a:gd name="connsiteX167" fmla="*/ 135405 w 1620550"/>
                  <a:gd name="connsiteY167" fmla="*/ 1227296 h 1421209"/>
                  <a:gd name="connsiteX168" fmla="*/ 140420 w 1620550"/>
                  <a:gd name="connsiteY168" fmla="*/ 1230639 h 1421209"/>
                  <a:gd name="connsiteX169" fmla="*/ 145435 w 1620550"/>
                  <a:gd name="connsiteY169" fmla="*/ 1232311 h 1421209"/>
                  <a:gd name="connsiteX170" fmla="*/ 148779 w 1620550"/>
                  <a:gd name="connsiteY170" fmla="*/ 1237326 h 1421209"/>
                  <a:gd name="connsiteX171" fmla="*/ 153793 w 1620550"/>
                  <a:gd name="connsiteY171" fmla="*/ 1244013 h 1421209"/>
                  <a:gd name="connsiteX172" fmla="*/ 158808 w 1620550"/>
                  <a:gd name="connsiteY172" fmla="*/ 1255714 h 1421209"/>
                  <a:gd name="connsiteX173" fmla="*/ 152122 w 1620550"/>
                  <a:gd name="connsiteY173" fmla="*/ 1259058 h 1421209"/>
                  <a:gd name="connsiteX174" fmla="*/ 143764 w 1620550"/>
                  <a:gd name="connsiteY174" fmla="*/ 1260729 h 1421209"/>
                  <a:gd name="connsiteX175" fmla="*/ 145435 w 1620550"/>
                  <a:gd name="connsiteY175" fmla="*/ 1274103 h 1421209"/>
                  <a:gd name="connsiteX176" fmla="*/ 152122 w 1620550"/>
                  <a:gd name="connsiteY176" fmla="*/ 1290819 h 1421209"/>
                  <a:gd name="connsiteX177" fmla="*/ 155465 w 1620550"/>
                  <a:gd name="connsiteY177" fmla="*/ 1295834 h 1421209"/>
                  <a:gd name="connsiteX178" fmla="*/ 160480 w 1620550"/>
                  <a:gd name="connsiteY178" fmla="*/ 1297506 h 1421209"/>
                  <a:gd name="connsiteX179" fmla="*/ 163823 w 1620550"/>
                  <a:gd name="connsiteY179" fmla="*/ 1302521 h 1421209"/>
                  <a:gd name="connsiteX180" fmla="*/ 168838 w 1620550"/>
                  <a:gd name="connsiteY180" fmla="*/ 1305864 h 1421209"/>
                  <a:gd name="connsiteX181" fmla="*/ 177197 w 1620550"/>
                  <a:gd name="connsiteY181" fmla="*/ 1312551 h 1421209"/>
                  <a:gd name="connsiteX182" fmla="*/ 180540 w 1620550"/>
                  <a:gd name="connsiteY182" fmla="*/ 1317566 h 1421209"/>
                  <a:gd name="connsiteX183" fmla="*/ 168838 w 1620550"/>
                  <a:gd name="connsiteY183" fmla="*/ 1329267 h 1421209"/>
                  <a:gd name="connsiteX184" fmla="*/ 170510 w 1620550"/>
                  <a:gd name="connsiteY184" fmla="*/ 1349327 h 1421209"/>
                  <a:gd name="connsiteX185" fmla="*/ 175525 w 1620550"/>
                  <a:gd name="connsiteY185" fmla="*/ 1356014 h 1421209"/>
                  <a:gd name="connsiteX186" fmla="*/ 177197 w 1620550"/>
                  <a:gd name="connsiteY186" fmla="*/ 1371059 h 1421209"/>
                  <a:gd name="connsiteX187" fmla="*/ 178868 w 1620550"/>
                  <a:gd name="connsiteY187" fmla="*/ 1381089 h 1421209"/>
                  <a:gd name="connsiteX188" fmla="*/ 182212 w 1620550"/>
                  <a:gd name="connsiteY188" fmla="*/ 1397806 h 1421209"/>
                  <a:gd name="connsiteX189" fmla="*/ 188898 w 1620550"/>
                  <a:gd name="connsiteY189" fmla="*/ 1401149 h 1421209"/>
                  <a:gd name="connsiteX190" fmla="*/ 193913 w 1620550"/>
                  <a:gd name="connsiteY190" fmla="*/ 1399477 h 1421209"/>
                  <a:gd name="connsiteX191" fmla="*/ 200600 w 1620550"/>
                  <a:gd name="connsiteY191" fmla="*/ 1389447 h 1421209"/>
                  <a:gd name="connsiteX192" fmla="*/ 208958 w 1620550"/>
                  <a:gd name="connsiteY192" fmla="*/ 1392791 h 1421209"/>
                  <a:gd name="connsiteX193" fmla="*/ 210630 w 1620550"/>
                  <a:gd name="connsiteY193" fmla="*/ 1397806 h 1421209"/>
                  <a:gd name="connsiteX194" fmla="*/ 213973 w 1620550"/>
                  <a:gd name="connsiteY194" fmla="*/ 1402821 h 1421209"/>
                  <a:gd name="connsiteX195" fmla="*/ 215645 w 1620550"/>
                  <a:gd name="connsiteY195" fmla="*/ 1412851 h 1421209"/>
                  <a:gd name="connsiteX196" fmla="*/ 222332 w 1620550"/>
                  <a:gd name="connsiteY196" fmla="*/ 1416194 h 1421209"/>
                  <a:gd name="connsiteX197" fmla="*/ 234033 w 1620550"/>
                  <a:gd name="connsiteY197" fmla="*/ 1419537 h 1421209"/>
                  <a:gd name="connsiteX198" fmla="*/ 239048 w 1620550"/>
                  <a:gd name="connsiteY198" fmla="*/ 1421209 h 1421209"/>
                  <a:gd name="connsiteX199" fmla="*/ 269138 w 1620550"/>
                  <a:gd name="connsiteY199" fmla="*/ 1419537 h 1421209"/>
                  <a:gd name="connsiteX200" fmla="*/ 270810 w 1620550"/>
                  <a:gd name="connsiteY200" fmla="*/ 1414522 h 1421209"/>
                  <a:gd name="connsiteX201" fmla="*/ 277497 w 1620550"/>
                  <a:gd name="connsiteY201" fmla="*/ 1412851 h 1421209"/>
                  <a:gd name="connsiteX202" fmla="*/ 285855 w 1620550"/>
                  <a:gd name="connsiteY202" fmla="*/ 1411179 h 1421209"/>
                  <a:gd name="connsiteX203" fmla="*/ 287527 w 1620550"/>
                  <a:gd name="connsiteY203" fmla="*/ 1406164 h 1421209"/>
                  <a:gd name="connsiteX204" fmla="*/ 289198 w 1620550"/>
                  <a:gd name="connsiteY204" fmla="*/ 1396134 h 1421209"/>
                  <a:gd name="connsiteX205" fmla="*/ 294213 w 1620550"/>
                  <a:gd name="connsiteY205" fmla="*/ 1389447 h 1421209"/>
                  <a:gd name="connsiteX206" fmla="*/ 300900 w 1620550"/>
                  <a:gd name="connsiteY206" fmla="*/ 1379417 h 1421209"/>
                  <a:gd name="connsiteX207" fmla="*/ 307587 w 1620550"/>
                  <a:gd name="connsiteY207" fmla="*/ 1366044 h 1421209"/>
                  <a:gd name="connsiteX208" fmla="*/ 314273 w 1620550"/>
                  <a:gd name="connsiteY208" fmla="*/ 1361029 h 1421209"/>
                  <a:gd name="connsiteX209" fmla="*/ 317617 w 1620550"/>
                  <a:gd name="connsiteY209" fmla="*/ 1357686 h 1421209"/>
                  <a:gd name="connsiteX210" fmla="*/ 339348 w 1620550"/>
                  <a:gd name="connsiteY210" fmla="*/ 1354342 h 1421209"/>
                  <a:gd name="connsiteX211" fmla="*/ 356065 w 1620550"/>
                  <a:gd name="connsiteY211" fmla="*/ 1357686 h 1421209"/>
                  <a:gd name="connsiteX212" fmla="*/ 361080 w 1620550"/>
                  <a:gd name="connsiteY212" fmla="*/ 1359357 h 1421209"/>
                  <a:gd name="connsiteX213" fmla="*/ 364423 w 1620550"/>
                  <a:gd name="connsiteY213" fmla="*/ 1362701 h 1421209"/>
                  <a:gd name="connsiteX214" fmla="*/ 374453 w 1620550"/>
                  <a:gd name="connsiteY214" fmla="*/ 1367716 h 1421209"/>
                  <a:gd name="connsiteX215" fmla="*/ 377796 w 1620550"/>
                  <a:gd name="connsiteY215" fmla="*/ 1374402 h 1421209"/>
                  <a:gd name="connsiteX216" fmla="*/ 381140 w 1620550"/>
                  <a:gd name="connsiteY216" fmla="*/ 1377746 h 1421209"/>
                  <a:gd name="connsiteX217" fmla="*/ 386155 w 1620550"/>
                  <a:gd name="connsiteY217" fmla="*/ 1374402 h 1421209"/>
                  <a:gd name="connsiteX218" fmla="*/ 396185 w 1620550"/>
                  <a:gd name="connsiteY218" fmla="*/ 1361029 h 1421209"/>
                  <a:gd name="connsiteX219" fmla="*/ 414573 w 1620550"/>
                  <a:gd name="connsiteY219" fmla="*/ 1356014 h 1421209"/>
                  <a:gd name="connsiteX220" fmla="*/ 416245 w 1620550"/>
                  <a:gd name="connsiteY220" fmla="*/ 1349327 h 1421209"/>
                  <a:gd name="connsiteX221" fmla="*/ 419588 w 1620550"/>
                  <a:gd name="connsiteY221" fmla="*/ 1334282 h 1421209"/>
                  <a:gd name="connsiteX222" fmla="*/ 424603 w 1620550"/>
                  <a:gd name="connsiteY222" fmla="*/ 1330939 h 1421209"/>
                  <a:gd name="connsiteX223" fmla="*/ 444663 w 1620550"/>
                  <a:gd name="connsiteY223" fmla="*/ 1332611 h 1421209"/>
                  <a:gd name="connsiteX224" fmla="*/ 466395 w 1620550"/>
                  <a:gd name="connsiteY224" fmla="*/ 1339297 h 1421209"/>
                  <a:gd name="connsiteX225" fmla="*/ 509858 w 1620550"/>
                  <a:gd name="connsiteY225" fmla="*/ 1340969 h 1421209"/>
                  <a:gd name="connsiteX226" fmla="*/ 523231 w 1620550"/>
                  <a:gd name="connsiteY226" fmla="*/ 1345984 h 1421209"/>
                  <a:gd name="connsiteX227" fmla="*/ 531589 w 1620550"/>
                  <a:gd name="connsiteY227" fmla="*/ 1357686 h 1421209"/>
                  <a:gd name="connsiteX228" fmla="*/ 534933 w 1620550"/>
                  <a:gd name="connsiteY228" fmla="*/ 1364372 h 1421209"/>
                  <a:gd name="connsiteX229" fmla="*/ 539948 w 1620550"/>
                  <a:gd name="connsiteY229" fmla="*/ 1366044 h 1421209"/>
                  <a:gd name="connsiteX230" fmla="*/ 565023 w 1620550"/>
                  <a:gd name="connsiteY230" fmla="*/ 1369387 h 1421209"/>
                  <a:gd name="connsiteX231" fmla="*/ 568366 w 1620550"/>
                  <a:gd name="connsiteY231" fmla="*/ 1372731 h 1421209"/>
                  <a:gd name="connsiteX232" fmla="*/ 571709 w 1620550"/>
                  <a:gd name="connsiteY232" fmla="*/ 1366044 h 1421209"/>
                  <a:gd name="connsiteX233" fmla="*/ 600128 w 1620550"/>
                  <a:gd name="connsiteY233" fmla="*/ 1357686 h 1421209"/>
                  <a:gd name="connsiteX234" fmla="*/ 626874 w 1620550"/>
                  <a:gd name="connsiteY234" fmla="*/ 1361029 h 1421209"/>
                  <a:gd name="connsiteX235" fmla="*/ 633561 w 1620550"/>
                  <a:gd name="connsiteY235" fmla="*/ 1364372 h 1421209"/>
                  <a:gd name="connsiteX236" fmla="*/ 638576 w 1620550"/>
                  <a:gd name="connsiteY236" fmla="*/ 1366044 h 1421209"/>
                  <a:gd name="connsiteX237" fmla="*/ 643591 w 1620550"/>
                  <a:gd name="connsiteY237" fmla="*/ 1372731 h 1421209"/>
                  <a:gd name="connsiteX238" fmla="*/ 650278 w 1620550"/>
                  <a:gd name="connsiteY238" fmla="*/ 1382761 h 1421209"/>
                  <a:gd name="connsiteX239" fmla="*/ 660308 w 1620550"/>
                  <a:gd name="connsiteY239" fmla="*/ 1386104 h 1421209"/>
                  <a:gd name="connsiteX240" fmla="*/ 672009 w 1620550"/>
                  <a:gd name="connsiteY240" fmla="*/ 1389447 h 1421209"/>
                  <a:gd name="connsiteX241" fmla="*/ 687054 w 1620550"/>
                  <a:gd name="connsiteY241" fmla="*/ 1382761 h 1421209"/>
                  <a:gd name="connsiteX242" fmla="*/ 690398 w 1620550"/>
                  <a:gd name="connsiteY242" fmla="*/ 1374402 h 1421209"/>
                  <a:gd name="connsiteX243" fmla="*/ 695413 w 1620550"/>
                  <a:gd name="connsiteY243" fmla="*/ 1371059 h 1421209"/>
                  <a:gd name="connsiteX244" fmla="*/ 707114 w 1620550"/>
                  <a:gd name="connsiteY244" fmla="*/ 1366044 h 1421209"/>
                  <a:gd name="connsiteX245" fmla="*/ 715472 w 1620550"/>
                  <a:gd name="connsiteY245" fmla="*/ 1364372 h 1421209"/>
                  <a:gd name="connsiteX246" fmla="*/ 735532 w 1620550"/>
                  <a:gd name="connsiteY246" fmla="*/ 1371059 h 1421209"/>
                  <a:gd name="connsiteX247" fmla="*/ 737204 w 1620550"/>
                  <a:gd name="connsiteY247" fmla="*/ 1376074 h 1421209"/>
                  <a:gd name="connsiteX248" fmla="*/ 742219 w 1620550"/>
                  <a:gd name="connsiteY248" fmla="*/ 1387776 h 1421209"/>
                  <a:gd name="connsiteX249" fmla="*/ 748906 w 1620550"/>
                  <a:gd name="connsiteY249" fmla="*/ 1389447 h 1421209"/>
                  <a:gd name="connsiteX250" fmla="*/ 762279 w 1620550"/>
                  <a:gd name="connsiteY250" fmla="*/ 1384432 h 1421209"/>
                  <a:gd name="connsiteX251" fmla="*/ 772309 w 1620550"/>
                  <a:gd name="connsiteY251" fmla="*/ 1381089 h 1421209"/>
                  <a:gd name="connsiteX252" fmla="*/ 784011 w 1620550"/>
                  <a:gd name="connsiteY252" fmla="*/ 1371059 h 1421209"/>
                  <a:gd name="connsiteX253" fmla="*/ 797384 w 1620550"/>
                  <a:gd name="connsiteY253" fmla="*/ 1357686 h 1421209"/>
                  <a:gd name="connsiteX254" fmla="*/ 802399 w 1620550"/>
                  <a:gd name="connsiteY254" fmla="*/ 1352671 h 1421209"/>
                  <a:gd name="connsiteX255" fmla="*/ 810757 w 1620550"/>
                  <a:gd name="connsiteY255" fmla="*/ 1350999 h 1421209"/>
                  <a:gd name="connsiteX256" fmla="*/ 812429 w 1620550"/>
                  <a:gd name="connsiteY256" fmla="*/ 1344312 h 1421209"/>
                  <a:gd name="connsiteX257" fmla="*/ 807414 w 1620550"/>
                  <a:gd name="connsiteY257" fmla="*/ 1325924 h 1421209"/>
                  <a:gd name="connsiteX258" fmla="*/ 809086 w 1620550"/>
                  <a:gd name="connsiteY258" fmla="*/ 1314222 h 1421209"/>
                  <a:gd name="connsiteX259" fmla="*/ 812429 w 1620550"/>
                  <a:gd name="connsiteY259" fmla="*/ 1309207 h 1421209"/>
                  <a:gd name="connsiteX260" fmla="*/ 820787 w 1620550"/>
                  <a:gd name="connsiteY260" fmla="*/ 1299177 h 1421209"/>
                  <a:gd name="connsiteX261" fmla="*/ 827474 w 1620550"/>
                  <a:gd name="connsiteY261" fmla="*/ 1294162 h 1421209"/>
                  <a:gd name="connsiteX262" fmla="*/ 869266 w 1620550"/>
                  <a:gd name="connsiteY262" fmla="*/ 1292491 h 1421209"/>
                  <a:gd name="connsiteX263" fmla="*/ 870937 w 1620550"/>
                  <a:gd name="connsiteY263" fmla="*/ 1277446 h 1421209"/>
                  <a:gd name="connsiteX264" fmla="*/ 880967 w 1620550"/>
                  <a:gd name="connsiteY264" fmla="*/ 1270759 h 1421209"/>
                  <a:gd name="connsiteX265" fmla="*/ 885982 w 1620550"/>
                  <a:gd name="connsiteY265" fmla="*/ 1269088 h 1421209"/>
                  <a:gd name="connsiteX266" fmla="*/ 932789 w 1620550"/>
                  <a:gd name="connsiteY266" fmla="*/ 1270759 h 1421209"/>
                  <a:gd name="connsiteX267" fmla="*/ 942819 w 1620550"/>
                  <a:gd name="connsiteY267" fmla="*/ 1272431 h 1421209"/>
                  <a:gd name="connsiteX268" fmla="*/ 949505 w 1620550"/>
                  <a:gd name="connsiteY268" fmla="*/ 1275774 h 1421209"/>
                  <a:gd name="connsiteX269" fmla="*/ 954520 w 1620550"/>
                  <a:gd name="connsiteY269" fmla="*/ 1277446 h 1421209"/>
                  <a:gd name="connsiteX270" fmla="*/ 964550 w 1620550"/>
                  <a:gd name="connsiteY270" fmla="*/ 1274103 h 1421209"/>
                  <a:gd name="connsiteX271" fmla="*/ 971237 w 1620550"/>
                  <a:gd name="connsiteY271" fmla="*/ 1264073 h 1421209"/>
                  <a:gd name="connsiteX272" fmla="*/ 964550 w 1620550"/>
                  <a:gd name="connsiteY272" fmla="*/ 1249028 h 1421209"/>
                  <a:gd name="connsiteX273" fmla="*/ 966222 w 1620550"/>
                  <a:gd name="connsiteY273" fmla="*/ 1233983 h 1421209"/>
                  <a:gd name="connsiteX274" fmla="*/ 974580 w 1620550"/>
                  <a:gd name="connsiteY274" fmla="*/ 1215594 h 1421209"/>
                  <a:gd name="connsiteX275" fmla="*/ 977924 w 1620550"/>
                  <a:gd name="connsiteY275" fmla="*/ 1212251 h 1421209"/>
                  <a:gd name="connsiteX276" fmla="*/ 982939 w 1620550"/>
                  <a:gd name="connsiteY276" fmla="*/ 1205564 h 1421209"/>
                  <a:gd name="connsiteX277" fmla="*/ 991297 w 1620550"/>
                  <a:gd name="connsiteY277" fmla="*/ 1195534 h 1421209"/>
                  <a:gd name="connsiteX278" fmla="*/ 1001327 w 1620550"/>
                  <a:gd name="connsiteY278" fmla="*/ 1185504 h 1421209"/>
                  <a:gd name="connsiteX279" fmla="*/ 1002999 w 1620550"/>
                  <a:gd name="connsiteY279" fmla="*/ 1180489 h 1421209"/>
                  <a:gd name="connsiteX280" fmla="*/ 1006342 w 1620550"/>
                  <a:gd name="connsiteY280" fmla="*/ 1175474 h 1421209"/>
                  <a:gd name="connsiteX281" fmla="*/ 1008014 w 1620550"/>
                  <a:gd name="connsiteY281" fmla="*/ 1168788 h 1421209"/>
                  <a:gd name="connsiteX282" fmla="*/ 1016372 w 1620550"/>
                  <a:gd name="connsiteY282" fmla="*/ 1157086 h 1421209"/>
                  <a:gd name="connsiteX283" fmla="*/ 1023059 w 1620550"/>
                  <a:gd name="connsiteY283" fmla="*/ 1143713 h 1421209"/>
                  <a:gd name="connsiteX284" fmla="*/ 1024730 w 1620550"/>
                  <a:gd name="connsiteY284" fmla="*/ 1138698 h 1421209"/>
                  <a:gd name="connsiteX285" fmla="*/ 1028074 w 1620550"/>
                  <a:gd name="connsiteY285" fmla="*/ 1135354 h 1421209"/>
                  <a:gd name="connsiteX286" fmla="*/ 1033089 w 1620550"/>
                  <a:gd name="connsiteY286" fmla="*/ 1128668 h 1421209"/>
                  <a:gd name="connsiteX287" fmla="*/ 1043119 w 1620550"/>
                  <a:gd name="connsiteY287" fmla="*/ 1116966 h 1421209"/>
                  <a:gd name="connsiteX288" fmla="*/ 1061507 w 1620550"/>
                  <a:gd name="connsiteY288" fmla="*/ 1111951 h 1421209"/>
                  <a:gd name="connsiteX289" fmla="*/ 1069865 w 1620550"/>
                  <a:gd name="connsiteY289" fmla="*/ 1108608 h 1421209"/>
                  <a:gd name="connsiteX290" fmla="*/ 1089925 w 1620550"/>
                  <a:gd name="connsiteY290" fmla="*/ 1105264 h 1421209"/>
                  <a:gd name="connsiteX291" fmla="*/ 1094940 w 1620550"/>
                  <a:gd name="connsiteY291" fmla="*/ 1101921 h 1421209"/>
                  <a:gd name="connsiteX292" fmla="*/ 1111657 w 1620550"/>
                  <a:gd name="connsiteY292" fmla="*/ 1098578 h 1421209"/>
                  <a:gd name="connsiteX293" fmla="*/ 1126702 w 1620550"/>
                  <a:gd name="connsiteY293" fmla="*/ 1090220 h 1421209"/>
                  <a:gd name="connsiteX294" fmla="*/ 1131717 w 1620550"/>
                  <a:gd name="connsiteY294" fmla="*/ 1086876 h 1421209"/>
                  <a:gd name="connsiteX295" fmla="*/ 1133388 w 1620550"/>
                  <a:gd name="connsiteY295" fmla="*/ 1078518 h 1421209"/>
                  <a:gd name="connsiteX296" fmla="*/ 1126702 w 1620550"/>
                  <a:gd name="connsiteY296" fmla="*/ 1070160 h 1421209"/>
                  <a:gd name="connsiteX297" fmla="*/ 1118343 w 1620550"/>
                  <a:gd name="connsiteY297" fmla="*/ 1065145 h 1421209"/>
                  <a:gd name="connsiteX298" fmla="*/ 1109985 w 1620550"/>
                  <a:gd name="connsiteY298" fmla="*/ 1056786 h 1421209"/>
                  <a:gd name="connsiteX299" fmla="*/ 1103298 w 1620550"/>
                  <a:gd name="connsiteY299" fmla="*/ 1048428 h 1421209"/>
                  <a:gd name="connsiteX300" fmla="*/ 1099955 w 1620550"/>
                  <a:gd name="connsiteY300" fmla="*/ 1043413 h 1421209"/>
                  <a:gd name="connsiteX301" fmla="*/ 1094940 w 1620550"/>
                  <a:gd name="connsiteY301" fmla="*/ 1040070 h 1421209"/>
                  <a:gd name="connsiteX302" fmla="*/ 1091597 w 1620550"/>
                  <a:gd name="connsiteY302" fmla="*/ 1033383 h 1421209"/>
                  <a:gd name="connsiteX303" fmla="*/ 1088253 w 1620550"/>
                  <a:gd name="connsiteY303" fmla="*/ 1030040 h 1421209"/>
                  <a:gd name="connsiteX304" fmla="*/ 1083238 w 1620550"/>
                  <a:gd name="connsiteY304" fmla="*/ 1018338 h 1421209"/>
                  <a:gd name="connsiteX305" fmla="*/ 1081567 w 1620550"/>
                  <a:gd name="connsiteY305" fmla="*/ 989920 h 1421209"/>
                  <a:gd name="connsiteX306" fmla="*/ 1079895 w 1620550"/>
                  <a:gd name="connsiteY306" fmla="*/ 984905 h 1421209"/>
                  <a:gd name="connsiteX307" fmla="*/ 1074880 w 1620550"/>
                  <a:gd name="connsiteY307" fmla="*/ 979890 h 1421209"/>
                  <a:gd name="connsiteX308" fmla="*/ 1069865 w 1620550"/>
                  <a:gd name="connsiteY308" fmla="*/ 964845 h 1421209"/>
                  <a:gd name="connsiteX309" fmla="*/ 1074880 w 1620550"/>
                  <a:gd name="connsiteY309" fmla="*/ 929740 h 1421209"/>
                  <a:gd name="connsiteX310" fmla="*/ 1084910 w 1620550"/>
                  <a:gd name="connsiteY310" fmla="*/ 919710 h 1421209"/>
                  <a:gd name="connsiteX311" fmla="*/ 1091597 w 1620550"/>
                  <a:gd name="connsiteY311" fmla="*/ 911352 h 1421209"/>
                  <a:gd name="connsiteX312" fmla="*/ 1098283 w 1620550"/>
                  <a:gd name="connsiteY312" fmla="*/ 906337 h 1421209"/>
                  <a:gd name="connsiteX313" fmla="*/ 1111657 w 1620550"/>
                  <a:gd name="connsiteY313" fmla="*/ 892963 h 1421209"/>
                  <a:gd name="connsiteX314" fmla="*/ 1116672 w 1620550"/>
                  <a:gd name="connsiteY314" fmla="*/ 887948 h 1421209"/>
                  <a:gd name="connsiteX315" fmla="*/ 1121687 w 1620550"/>
                  <a:gd name="connsiteY315" fmla="*/ 881262 h 1421209"/>
                  <a:gd name="connsiteX316" fmla="*/ 1125030 w 1620550"/>
                  <a:gd name="connsiteY316" fmla="*/ 877918 h 1421209"/>
                  <a:gd name="connsiteX317" fmla="*/ 1131717 w 1620550"/>
                  <a:gd name="connsiteY317" fmla="*/ 869560 h 1421209"/>
                  <a:gd name="connsiteX318" fmla="*/ 1136732 w 1620550"/>
                  <a:gd name="connsiteY318" fmla="*/ 864545 h 1421209"/>
                  <a:gd name="connsiteX319" fmla="*/ 1145090 w 1620550"/>
                  <a:gd name="connsiteY319" fmla="*/ 849500 h 1421209"/>
                  <a:gd name="connsiteX320" fmla="*/ 1150105 w 1620550"/>
                  <a:gd name="connsiteY320" fmla="*/ 841142 h 1421209"/>
                  <a:gd name="connsiteX321" fmla="*/ 1153448 w 1620550"/>
                  <a:gd name="connsiteY321" fmla="*/ 831112 h 1421209"/>
                  <a:gd name="connsiteX322" fmla="*/ 1156792 w 1620550"/>
                  <a:gd name="connsiteY322" fmla="*/ 827768 h 1421209"/>
                  <a:gd name="connsiteX323" fmla="*/ 1160135 w 1620550"/>
                  <a:gd name="connsiteY323" fmla="*/ 822753 h 1421209"/>
                  <a:gd name="connsiteX324" fmla="*/ 1173508 w 1620550"/>
                  <a:gd name="connsiteY324" fmla="*/ 814395 h 1421209"/>
                  <a:gd name="connsiteX325" fmla="*/ 1181867 w 1620550"/>
                  <a:gd name="connsiteY325" fmla="*/ 806037 h 1421209"/>
                  <a:gd name="connsiteX326" fmla="*/ 1185210 w 1620550"/>
                  <a:gd name="connsiteY326" fmla="*/ 799350 h 1421209"/>
                  <a:gd name="connsiteX327" fmla="*/ 1205270 w 1620550"/>
                  <a:gd name="connsiteY327" fmla="*/ 785977 h 1421209"/>
                  <a:gd name="connsiteX328" fmla="*/ 1213628 w 1620550"/>
                  <a:gd name="connsiteY328" fmla="*/ 779290 h 1421209"/>
                  <a:gd name="connsiteX329" fmla="*/ 1225330 w 1620550"/>
                  <a:gd name="connsiteY329" fmla="*/ 770932 h 1421209"/>
                  <a:gd name="connsiteX330" fmla="*/ 1228673 w 1620550"/>
                  <a:gd name="connsiteY330" fmla="*/ 765917 h 1421209"/>
                  <a:gd name="connsiteX331" fmla="*/ 1243718 w 1620550"/>
                  <a:gd name="connsiteY331" fmla="*/ 764245 h 1421209"/>
                  <a:gd name="connsiteX332" fmla="*/ 1250405 w 1620550"/>
                  <a:gd name="connsiteY332" fmla="*/ 762573 h 1421209"/>
                  <a:gd name="connsiteX333" fmla="*/ 1255420 w 1620550"/>
                  <a:gd name="connsiteY333" fmla="*/ 757558 h 1421209"/>
                  <a:gd name="connsiteX334" fmla="*/ 1263778 w 1620550"/>
                  <a:gd name="connsiteY334" fmla="*/ 752543 h 1421209"/>
                  <a:gd name="connsiteX335" fmla="*/ 1260435 w 1620550"/>
                  <a:gd name="connsiteY335" fmla="*/ 735827 h 1421209"/>
                  <a:gd name="connsiteX336" fmla="*/ 1257091 w 1620550"/>
                  <a:gd name="connsiteY336" fmla="*/ 732484 h 1421209"/>
                  <a:gd name="connsiteX337" fmla="*/ 1255420 w 1620550"/>
                  <a:gd name="connsiteY337" fmla="*/ 727469 h 1421209"/>
                  <a:gd name="connsiteX338" fmla="*/ 1262106 w 1620550"/>
                  <a:gd name="connsiteY338" fmla="*/ 710752 h 1421209"/>
                  <a:gd name="connsiteX339" fmla="*/ 1272136 w 1620550"/>
                  <a:gd name="connsiteY339" fmla="*/ 705737 h 1421209"/>
                  <a:gd name="connsiteX340" fmla="*/ 1280495 w 1620550"/>
                  <a:gd name="connsiteY340" fmla="*/ 700722 h 1421209"/>
                  <a:gd name="connsiteX341" fmla="*/ 1287181 w 1620550"/>
                  <a:gd name="connsiteY341" fmla="*/ 697379 h 1421209"/>
                  <a:gd name="connsiteX342" fmla="*/ 1292196 w 1620550"/>
                  <a:gd name="connsiteY342" fmla="*/ 694035 h 1421209"/>
                  <a:gd name="connsiteX343" fmla="*/ 1298883 w 1620550"/>
                  <a:gd name="connsiteY343" fmla="*/ 692364 h 1421209"/>
                  <a:gd name="connsiteX344" fmla="*/ 1308913 w 1620550"/>
                  <a:gd name="connsiteY344" fmla="*/ 687349 h 1421209"/>
                  <a:gd name="connsiteX345" fmla="*/ 1323958 w 1620550"/>
                  <a:gd name="connsiteY345" fmla="*/ 682334 h 1421209"/>
                  <a:gd name="connsiteX346" fmla="*/ 1330645 w 1620550"/>
                  <a:gd name="connsiteY346" fmla="*/ 678990 h 1421209"/>
                  <a:gd name="connsiteX347" fmla="*/ 1355720 w 1620550"/>
                  <a:gd name="connsiteY347" fmla="*/ 675647 h 1421209"/>
                  <a:gd name="connsiteX348" fmla="*/ 1359063 w 1620550"/>
                  <a:gd name="connsiteY348" fmla="*/ 670632 h 1421209"/>
                  <a:gd name="connsiteX349" fmla="*/ 1372436 w 1620550"/>
                  <a:gd name="connsiteY349" fmla="*/ 667289 h 1421209"/>
                  <a:gd name="connsiteX350" fmla="*/ 1449333 w 1620550"/>
                  <a:gd name="connsiteY350" fmla="*/ 663945 h 1421209"/>
                  <a:gd name="connsiteX351" fmla="*/ 1464378 w 1620550"/>
                  <a:gd name="connsiteY351" fmla="*/ 645557 h 1421209"/>
                  <a:gd name="connsiteX352" fmla="*/ 1474408 w 1620550"/>
                  <a:gd name="connsiteY352" fmla="*/ 635527 h 1421209"/>
                  <a:gd name="connsiteX353" fmla="*/ 1487781 w 1620550"/>
                  <a:gd name="connsiteY353" fmla="*/ 625497 h 1421209"/>
                  <a:gd name="connsiteX354" fmla="*/ 1494468 w 1620550"/>
                  <a:gd name="connsiteY354" fmla="*/ 623825 h 1421209"/>
                  <a:gd name="connsiteX355" fmla="*/ 1509513 w 1620550"/>
                  <a:gd name="connsiteY355" fmla="*/ 620482 h 1421209"/>
                  <a:gd name="connsiteX356" fmla="*/ 1517871 w 1620550"/>
                  <a:gd name="connsiteY356" fmla="*/ 617139 h 1421209"/>
                  <a:gd name="connsiteX357" fmla="*/ 1524558 w 1620550"/>
                  <a:gd name="connsiteY357" fmla="*/ 613795 h 1421209"/>
                  <a:gd name="connsiteX358" fmla="*/ 1539603 w 1620550"/>
                  <a:gd name="connsiteY358" fmla="*/ 612124 h 1421209"/>
                  <a:gd name="connsiteX359" fmla="*/ 1557991 w 1620550"/>
                  <a:gd name="connsiteY359" fmla="*/ 602094 h 1421209"/>
                  <a:gd name="connsiteX360" fmla="*/ 1573036 w 1620550"/>
                  <a:gd name="connsiteY360" fmla="*/ 597079 h 1421209"/>
                  <a:gd name="connsiteX361" fmla="*/ 1576379 w 1620550"/>
                  <a:gd name="connsiteY361" fmla="*/ 592064 h 1421209"/>
                  <a:gd name="connsiteX362" fmla="*/ 1588081 w 1620550"/>
                  <a:gd name="connsiteY362" fmla="*/ 587049 h 1421209"/>
                  <a:gd name="connsiteX363" fmla="*/ 1591424 w 1620550"/>
                  <a:gd name="connsiteY363" fmla="*/ 583705 h 1421209"/>
                  <a:gd name="connsiteX364" fmla="*/ 1598111 w 1620550"/>
                  <a:gd name="connsiteY364" fmla="*/ 580362 h 1421209"/>
                  <a:gd name="connsiteX365" fmla="*/ 1608141 w 1620550"/>
                  <a:gd name="connsiteY365" fmla="*/ 572004 h 1421209"/>
                  <a:gd name="connsiteX366" fmla="*/ 1614828 w 1620550"/>
                  <a:gd name="connsiteY366" fmla="*/ 560302 h 1421209"/>
                  <a:gd name="connsiteX367" fmla="*/ 1608141 w 1620550"/>
                  <a:gd name="connsiteY367" fmla="*/ 546929 h 1421209"/>
                  <a:gd name="connsiteX368" fmla="*/ 1599783 w 1620550"/>
                  <a:gd name="connsiteY368" fmla="*/ 535227 h 1421209"/>
                  <a:gd name="connsiteX369" fmla="*/ 1598111 w 1620550"/>
                  <a:gd name="connsiteY369" fmla="*/ 530212 h 1421209"/>
                  <a:gd name="connsiteX370" fmla="*/ 1596439 w 1620550"/>
                  <a:gd name="connsiteY370" fmla="*/ 518511 h 1421209"/>
                  <a:gd name="connsiteX371" fmla="*/ 1601454 w 1620550"/>
                  <a:gd name="connsiteY371" fmla="*/ 516839 h 1421209"/>
                  <a:gd name="connsiteX372" fmla="*/ 1604798 w 1620550"/>
                  <a:gd name="connsiteY372" fmla="*/ 513496 h 1421209"/>
                  <a:gd name="connsiteX373" fmla="*/ 1616499 w 1620550"/>
                  <a:gd name="connsiteY373" fmla="*/ 510152 h 1421209"/>
                  <a:gd name="connsiteX374" fmla="*/ 1618171 w 1620550"/>
                  <a:gd name="connsiteY374" fmla="*/ 495107 h 1421209"/>
                  <a:gd name="connsiteX375" fmla="*/ 1613156 w 1620550"/>
                  <a:gd name="connsiteY375" fmla="*/ 491764 h 1421209"/>
                  <a:gd name="connsiteX376" fmla="*/ 1611484 w 1620550"/>
                  <a:gd name="connsiteY376" fmla="*/ 486749 h 1421209"/>
                  <a:gd name="connsiteX377" fmla="*/ 1608141 w 1620550"/>
                  <a:gd name="connsiteY377" fmla="*/ 481734 h 1421209"/>
                  <a:gd name="connsiteX378" fmla="*/ 1606469 w 1620550"/>
                  <a:gd name="connsiteY378" fmla="*/ 473376 h 1421209"/>
                  <a:gd name="connsiteX379" fmla="*/ 1604798 w 1620550"/>
                  <a:gd name="connsiteY379" fmla="*/ 468361 h 1421209"/>
                  <a:gd name="connsiteX380" fmla="*/ 1599783 w 1620550"/>
                  <a:gd name="connsiteY380" fmla="*/ 466689 h 1421209"/>
                  <a:gd name="connsiteX381" fmla="*/ 1586409 w 1620550"/>
                  <a:gd name="connsiteY381" fmla="*/ 461674 h 1421209"/>
                  <a:gd name="connsiteX382" fmla="*/ 1561334 w 1620550"/>
                  <a:gd name="connsiteY382" fmla="*/ 463346 h 1421209"/>
                  <a:gd name="connsiteX383" fmla="*/ 1547961 w 1620550"/>
                  <a:gd name="connsiteY383" fmla="*/ 465017 h 1421209"/>
                  <a:gd name="connsiteX384" fmla="*/ 1539603 w 1620550"/>
                  <a:gd name="connsiteY384" fmla="*/ 470032 h 1421209"/>
                  <a:gd name="connsiteX385" fmla="*/ 1529573 w 1620550"/>
                  <a:gd name="connsiteY385" fmla="*/ 485077 h 1421209"/>
                  <a:gd name="connsiteX386" fmla="*/ 1524558 w 1620550"/>
                  <a:gd name="connsiteY386" fmla="*/ 486749 h 1421209"/>
                  <a:gd name="connsiteX387" fmla="*/ 1504498 w 1620550"/>
                  <a:gd name="connsiteY387" fmla="*/ 480062 h 1421209"/>
                  <a:gd name="connsiteX388" fmla="*/ 1489453 w 1620550"/>
                  <a:gd name="connsiteY388" fmla="*/ 468361 h 1421209"/>
                  <a:gd name="connsiteX389" fmla="*/ 1474408 w 1620550"/>
                  <a:gd name="connsiteY389" fmla="*/ 466689 h 1421209"/>
                  <a:gd name="connsiteX390" fmla="*/ 1462706 w 1620550"/>
                  <a:gd name="connsiteY390" fmla="*/ 468361 h 1421209"/>
                  <a:gd name="connsiteX391" fmla="*/ 1452676 w 1620550"/>
                  <a:gd name="connsiteY391" fmla="*/ 471704 h 1421209"/>
                  <a:gd name="connsiteX392" fmla="*/ 1442646 w 1620550"/>
                  <a:gd name="connsiteY392" fmla="*/ 470032 h 1421209"/>
                  <a:gd name="connsiteX393" fmla="*/ 1435959 w 1620550"/>
                  <a:gd name="connsiteY393" fmla="*/ 463346 h 1421209"/>
                  <a:gd name="connsiteX394" fmla="*/ 1432616 w 1620550"/>
                  <a:gd name="connsiteY394" fmla="*/ 458331 h 1421209"/>
                  <a:gd name="connsiteX395" fmla="*/ 1427601 w 1620550"/>
                  <a:gd name="connsiteY395" fmla="*/ 454987 h 1421209"/>
                  <a:gd name="connsiteX396" fmla="*/ 1422586 w 1620550"/>
                  <a:gd name="connsiteY396" fmla="*/ 448301 h 1421209"/>
                  <a:gd name="connsiteX397" fmla="*/ 1412556 w 1620550"/>
                  <a:gd name="connsiteY397" fmla="*/ 439942 h 1421209"/>
                  <a:gd name="connsiteX398" fmla="*/ 1404198 w 1620550"/>
                  <a:gd name="connsiteY398" fmla="*/ 446629 h 1421209"/>
                  <a:gd name="connsiteX399" fmla="*/ 1390825 w 1620550"/>
                  <a:gd name="connsiteY399" fmla="*/ 453316 h 1421209"/>
                  <a:gd name="connsiteX400" fmla="*/ 1387481 w 1620550"/>
                  <a:gd name="connsiteY400" fmla="*/ 438271 h 1421209"/>
                  <a:gd name="connsiteX401" fmla="*/ 1385810 w 1620550"/>
                  <a:gd name="connsiteY401" fmla="*/ 433256 h 1421209"/>
                  <a:gd name="connsiteX402" fmla="*/ 1384138 w 1620550"/>
                  <a:gd name="connsiteY402" fmla="*/ 411524 h 1421209"/>
                  <a:gd name="connsiteX403" fmla="*/ 1379123 w 1620550"/>
                  <a:gd name="connsiteY403" fmla="*/ 408181 h 1421209"/>
                  <a:gd name="connsiteX404" fmla="*/ 1370765 w 1620550"/>
                  <a:gd name="connsiteY404" fmla="*/ 406509 h 1421209"/>
                  <a:gd name="connsiteX405" fmla="*/ 1364078 w 1620550"/>
                  <a:gd name="connsiteY405" fmla="*/ 404837 h 1421209"/>
                  <a:gd name="connsiteX406" fmla="*/ 1340675 w 1620550"/>
                  <a:gd name="connsiteY406" fmla="*/ 394807 h 1421209"/>
                  <a:gd name="connsiteX407" fmla="*/ 1327301 w 1620550"/>
                  <a:gd name="connsiteY407" fmla="*/ 384777 h 1421209"/>
                  <a:gd name="connsiteX408" fmla="*/ 1320615 w 1620550"/>
                  <a:gd name="connsiteY408" fmla="*/ 379762 h 1421209"/>
                  <a:gd name="connsiteX409" fmla="*/ 1310585 w 1620550"/>
                  <a:gd name="connsiteY409" fmla="*/ 373076 h 1421209"/>
                  <a:gd name="connsiteX410" fmla="*/ 1305570 w 1620550"/>
                  <a:gd name="connsiteY410" fmla="*/ 369732 h 1421209"/>
                  <a:gd name="connsiteX411" fmla="*/ 1297211 w 1620550"/>
                  <a:gd name="connsiteY411" fmla="*/ 368061 h 1421209"/>
                  <a:gd name="connsiteX412" fmla="*/ 1290525 w 1620550"/>
                  <a:gd name="connsiteY412" fmla="*/ 369732 h 1421209"/>
                  <a:gd name="connsiteX413" fmla="*/ 1282166 w 1620550"/>
                  <a:gd name="connsiteY413" fmla="*/ 398151 h 1421209"/>
                  <a:gd name="connsiteX414" fmla="*/ 1272136 w 1620550"/>
                  <a:gd name="connsiteY414" fmla="*/ 394807 h 1421209"/>
                  <a:gd name="connsiteX415" fmla="*/ 1267121 w 1620550"/>
                  <a:gd name="connsiteY415" fmla="*/ 391464 h 1421209"/>
                  <a:gd name="connsiteX416" fmla="*/ 1255420 w 1620550"/>
                  <a:gd name="connsiteY416" fmla="*/ 388121 h 1421209"/>
                  <a:gd name="connsiteX417" fmla="*/ 1220315 w 1620550"/>
                  <a:gd name="connsiteY417" fmla="*/ 386449 h 1421209"/>
                  <a:gd name="connsiteX418" fmla="*/ 1218643 w 1620550"/>
                  <a:gd name="connsiteY418" fmla="*/ 381434 h 1421209"/>
                  <a:gd name="connsiteX419" fmla="*/ 1211957 w 1620550"/>
                  <a:gd name="connsiteY419" fmla="*/ 379762 h 1421209"/>
                  <a:gd name="connsiteX420" fmla="*/ 1175180 w 1620550"/>
                  <a:gd name="connsiteY420" fmla="*/ 378091 h 1421209"/>
                  <a:gd name="connsiteX421" fmla="*/ 1173508 w 1620550"/>
                  <a:gd name="connsiteY421" fmla="*/ 373076 h 1421209"/>
                  <a:gd name="connsiteX422" fmla="*/ 1171837 w 1620550"/>
                  <a:gd name="connsiteY422" fmla="*/ 366389 h 1421209"/>
                  <a:gd name="connsiteX423" fmla="*/ 1163478 w 1620550"/>
                  <a:gd name="connsiteY423" fmla="*/ 361374 h 1421209"/>
                  <a:gd name="connsiteX424" fmla="*/ 1128373 w 1620550"/>
                  <a:gd name="connsiteY424" fmla="*/ 359703 h 1421209"/>
                  <a:gd name="connsiteX425" fmla="*/ 1120015 w 1620550"/>
                  <a:gd name="connsiteY425" fmla="*/ 356359 h 1421209"/>
                  <a:gd name="connsiteX426" fmla="*/ 1113328 w 1620550"/>
                  <a:gd name="connsiteY426" fmla="*/ 346329 h 1421209"/>
                  <a:gd name="connsiteX427" fmla="*/ 1108313 w 1620550"/>
                  <a:gd name="connsiteY427" fmla="*/ 339643 h 1421209"/>
                  <a:gd name="connsiteX428" fmla="*/ 1104970 w 1620550"/>
                  <a:gd name="connsiteY428" fmla="*/ 334628 h 1421209"/>
                  <a:gd name="connsiteX429" fmla="*/ 1098283 w 1620550"/>
                  <a:gd name="connsiteY429" fmla="*/ 327941 h 1421209"/>
                  <a:gd name="connsiteX430" fmla="*/ 1096612 w 1620550"/>
                  <a:gd name="connsiteY430" fmla="*/ 322926 h 1421209"/>
                  <a:gd name="connsiteX431" fmla="*/ 1091597 w 1620550"/>
                  <a:gd name="connsiteY431" fmla="*/ 321254 h 1421209"/>
                  <a:gd name="connsiteX432" fmla="*/ 1084910 w 1620550"/>
                  <a:gd name="connsiteY432" fmla="*/ 317911 h 1421209"/>
                  <a:gd name="connsiteX433" fmla="*/ 1064850 w 1620550"/>
                  <a:gd name="connsiteY433" fmla="*/ 314568 h 1421209"/>
                  <a:gd name="connsiteX434" fmla="*/ 1058164 w 1620550"/>
                  <a:gd name="connsiteY434" fmla="*/ 311224 h 1421209"/>
                  <a:gd name="connsiteX435" fmla="*/ 1054820 w 1620550"/>
                  <a:gd name="connsiteY435" fmla="*/ 307881 h 1421209"/>
                  <a:gd name="connsiteX436" fmla="*/ 1049805 w 1620550"/>
                  <a:gd name="connsiteY436" fmla="*/ 304538 h 1421209"/>
                  <a:gd name="connsiteX437" fmla="*/ 1046462 w 1620550"/>
                  <a:gd name="connsiteY437" fmla="*/ 301194 h 1421209"/>
                  <a:gd name="connsiteX438" fmla="*/ 1039775 w 1620550"/>
                  <a:gd name="connsiteY438" fmla="*/ 299523 h 1421209"/>
                  <a:gd name="connsiteX439" fmla="*/ 1029745 w 1620550"/>
                  <a:gd name="connsiteY439" fmla="*/ 296179 h 1421209"/>
                  <a:gd name="connsiteX440" fmla="*/ 1016372 w 1620550"/>
                  <a:gd name="connsiteY440" fmla="*/ 287821 h 1421209"/>
                  <a:gd name="connsiteX441" fmla="*/ 1013029 w 1620550"/>
                  <a:gd name="connsiteY441" fmla="*/ 282806 h 1421209"/>
                  <a:gd name="connsiteX442" fmla="*/ 1014700 w 1620550"/>
                  <a:gd name="connsiteY442" fmla="*/ 276119 h 1421209"/>
                  <a:gd name="connsiteX443" fmla="*/ 1016372 w 1620550"/>
                  <a:gd name="connsiteY443" fmla="*/ 271104 h 1421209"/>
                  <a:gd name="connsiteX444" fmla="*/ 1029745 w 1620550"/>
                  <a:gd name="connsiteY444" fmla="*/ 264418 h 1421209"/>
                  <a:gd name="connsiteX445" fmla="*/ 1031417 w 1620550"/>
                  <a:gd name="connsiteY445" fmla="*/ 257731 h 1421209"/>
                  <a:gd name="connsiteX446" fmla="*/ 1024730 w 1620550"/>
                  <a:gd name="connsiteY446" fmla="*/ 256059 h 1421209"/>
                  <a:gd name="connsiteX447" fmla="*/ 1016372 w 1620550"/>
                  <a:gd name="connsiteY447" fmla="*/ 251044 h 1421209"/>
                  <a:gd name="connsiteX448" fmla="*/ 1008014 w 1620550"/>
                  <a:gd name="connsiteY448" fmla="*/ 247701 h 1421209"/>
                  <a:gd name="connsiteX449" fmla="*/ 1002999 w 1620550"/>
                  <a:gd name="connsiteY449" fmla="*/ 244358 h 1421209"/>
                  <a:gd name="connsiteX450" fmla="*/ 997984 w 1620550"/>
                  <a:gd name="connsiteY450" fmla="*/ 242686 h 1421209"/>
                  <a:gd name="connsiteX451" fmla="*/ 989625 w 1620550"/>
                  <a:gd name="connsiteY451" fmla="*/ 235999 h 1421209"/>
                  <a:gd name="connsiteX452" fmla="*/ 984610 w 1620550"/>
                  <a:gd name="connsiteY452" fmla="*/ 234328 h 1421209"/>
                  <a:gd name="connsiteX453" fmla="*/ 966222 w 1620550"/>
                  <a:gd name="connsiteY453" fmla="*/ 227641 h 1421209"/>
                  <a:gd name="connsiteX454" fmla="*/ 944490 w 1620550"/>
                  <a:gd name="connsiteY454" fmla="*/ 229313 h 1421209"/>
                  <a:gd name="connsiteX455" fmla="*/ 902699 w 1620550"/>
                  <a:gd name="connsiteY455" fmla="*/ 227641 h 1421209"/>
                  <a:gd name="connsiteX456" fmla="*/ 897684 w 1620550"/>
                  <a:gd name="connsiteY456" fmla="*/ 225969 h 1421209"/>
                  <a:gd name="connsiteX457" fmla="*/ 885982 w 1620550"/>
                  <a:gd name="connsiteY457" fmla="*/ 215939 h 1421209"/>
                  <a:gd name="connsiteX458" fmla="*/ 874281 w 1620550"/>
                  <a:gd name="connsiteY458" fmla="*/ 207581 h 1421209"/>
                  <a:gd name="connsiteX459" fmla="*/ 869266 w 1620550"/>
                  <a:gd name="connsiteY459" fmla="*/ 204238 h 1421209"/>
                  <a:gd name="connsiteX460" fmla="*/ 860907 w 1620550"/>
                  <a:gd name="connsiteY460" fmla="*/ 197551 h 1421209"/>
                  <a:gd name="connsiteX461" fmla="*/ 854221 w 1620550"/>
                  <a:gd name="connsiteY461" fmla="*/ 195879 h 1421209"/>
                  <a:gd name="connsiteX462" fmla="*/ 842519 w 1620550"/>
                  <a:gd name="connsiteY462" fmla="*/ 192536 h 1421209"/>
                  <a:gd name="connsiteX463" fmla="*/ 815772 w 1620550"/>
                  <a:gd name="connsiteY463" fmla="*/ 194208 h 1421209"/>
                  <a:gd name="connsiteX464" fmla="*/ 805742 w 1620550"/>
                  <a:gd name="connsiteY464" fmla="*/ 195879 h 1421209"/>
                  <a:gd name="connsiteX465" fmla="*/ 789026 w 1620550"/>
                  <a:gd name="connsiteY465" fmla="*/ 197551 h 1421209"/>
                  <a:gd name="connsiteX466" fmla="*/ 782339 w 1620550"/>
                  <a:gd name="connsiteY466" fmla="*/ 194208 h 1421209"/>
                  <a:gd name="connsiteX467" fmla="*/ 780667 w 1620550"/>
                  <a:gd name="connsiteY467" fmla="*/ 189193 h 1421209"/>
                  <a:gd name="connsiteX468" fmla="*/ 775652 w 1620550"/>
                  <a:gd name="connsiteY468" fmla="*/ 175820 h 1421209"/>
                  <a:gd name="connsiteX469" fmla="*/ 768966 w 1620550"/>
                  <a:gd name="connsiteY469" fmla="*/ 170805 h 1421209"/>
                  <a:gd name="connsiteX470" fmla="*/ 765622 w 1620550"/>
                  <a:gd name="connsiteY470" fmla="*/ 167461 h 1421209"/>
                  <a:gd name="connsiteX471" fmla="*/ 753921 w 1620550"/>
                  <a:gd name="connsiteY471" fmla="*/ 162446 h 1421209"/>
                  <a:gd name="connsiteX472" fmla="*/ 735532 w 1620550"/>
                  <a:gd name="connsiteY472" fmla="*/ 164118 h 1421209"/>
                  <a:gd name="connsiteX473" fmla="*/ 722159 w 1620550"/>
                  <a:gd name="connsiteY473" fmla="*/ 170805 h 1421209"/>
                  <a:gd name="connsiteX474" fmla="*/ 720487 w 1620550"/>
                  <a:gd name="connsiteY474" fmla="*/ 165790 h 1421209"/>
                  <a:gd name="connsiteX475" fmla="*/ 715472 w 1620550"/>
                  <a:gd name="connsiteY475" fmla="*/ 164118 h 1421209"/>
                  <a:gd name="connsiteX476" fmla="*/ 693741 w 1620550"/>
                  <a:gd name="connsiteY476" fmla="*/ 165790 h 1421209"/>
                  <a:gd name="connsiteX477" fmla="*/ 683711 w 1620550"/>
                  <a:gd name="connsiteY477" fmla="*/ 169133 h 1421209"/>
                  <a:gd name="connsiteX478" fmla="*/ 678696 w 1620550"/>
                  <a:gd name="connsiteY478" fmla="*/ 170805 h 1421209"/>
                  <a:gd name="connsiteX479" fmla="*/ 631889 w 1620550"/>
                  <a:gd name="connsiteY479" fmla="*/ 167461 h 1421209"/>
                  <a:gd name="connsiteX480" fmla="*/ 620188 w 1620550"/>
                  <a:gd name="connsiteY480" fmla="*/ 164118 h 1421209"/>
                  <a:gd name="connsiteX481" fmla="*/ 610158 w 1620550"/>
                  <a:gd name="connsiteY481" fmla="*/ 159103 h 1421209"/>
                  <a:gd name="connsiteX482" fmla="*/ 603471 w 1620550"/>
                  <a:gd name="connsiteY482" fmla="*/ 157431 h 1421209"/>
                  <a:gd name="connsiteX483" fmla="*/ 598456 w 1620550"/>
                  <a:gd name="connsiteY483" fmla="*/ 155760 h 1421209"/>
                  <a:gd name="connsiteX484" fmla="*/ 593441 w 1620550"/>
                  <a:gd name="connsiteY484" fmla="*/ 152416 h 1421209"/>
                  <a:gd name="connsiteX485" fmla="*/ 570038 w 1620550"/>
                  <a:gd name="connsiteY485" fmla="*/ 147401 h 1421209"/>
                  <a:gd name="connsiteX486" fmla="*/ 561679 w 1620550"/>
                  <a:gd name="connsiteY486" fmla="*/ 140715 h 1421209"/>
                  <a:gd name="connsiteX487" fmla="*/ 556664 w 1620550"/>
                  <a:gd name="connsiteY487" fmla="*/ 137371 h 1421209"/>
                  <a:gd name="connsiteX488" fmla="*/ 541619 w 1620550"/>
                  <a:gd name="connsiteY488" fmla="*/ 127341 h 1421209"/>
                  <a:gd name="connsiteX489" fmla="*/ 529918 w 1620550"/>
                  <a:gd name="connsiteY489" fmla="*/ 120655 h 1421209"/>
                  <a:gd name="connsiteX490" fmla="*/ 518216 w 1620550"/>
                  <a:gd name="connsiteY490" fmla="*/ 113968 h 1421209"/>
                  <a:gd name="connsiteX491" fmla="*/ 511530 w 1620550"/>
                  <a:gd name="connsiteY491" fmla="*/ 110625 h 1421209"/>
                  <a:gd name="connsiteX492" fmla="*/ 493141 w 1620550"/>
                  <a:gd name="connsiteY492" fmla="*/ 107281 h 1421209"/>
                  <a:gd name="connsiteX493" fmla="*/ 484783 w 1620550"/>
                  <a:gd name="connsiteY493" fmla="*/ 105610 h 1421209"/>
                  <a:gd name="connsiteX494" fmla="*/ 478096 w 1620550"/>
                  <a:gd name="connsiteY494" fmla="*/ 100595 h 1421209"/>
                  <a:gd name="connsiteX495" fmla="*/ 474753 w 1620550"/>
                  <a:gd name="connsiteY495" fmla="*/ 90565 h 1421209"/>
                  <a:gd name="connsiteX496" fmla="*/ 471410 w 1620550"/>
                  <a:gd name="connsiteY496" fmla="*/ 87221 h 1421209"/>
                  <a:gd name="connsiteX497" fmla="*/ 397856 w 1620550"/>
                  <a:gd name="connsiteY497" fmla="*/ 85550 h 1421209"/>
                  <a:gd name="connsiteX498" fmla="*/ 386155 w 1620550"/>
                  <a:gd name="connsiteY498" fmla="*/ 78863 h 1421209"/>
                  <a:gd name="connsiteX499" fmla="*/ 374453 w 1620550"/>
                  <a:gd name="connsiteY499" fmla="*/ 77191 h 1421209"/>
                  <a:gd name="connsiteX500" fmla="*/ 356065 w 1620550"/>
                  <a:gd name="connsiteY500" fmla="*/ 72176 h 1421209"/>
                  <a:gd name="connsiteX501" fmla="*/ 349378 w 1620550"/>
                  <a:gd name="connsiteY501" fmla="*/ 70505 h 1421209"/>
                  <a:gd name="connsiteX502" fmla="*/ 339348 w 1620550"/>
                  <a:gd name="connsiteY502" fmla="*/ 65490 h 1421209"/>
                  <a:gd name="connsiteX503" fmla="*/ 322632 w 1620550"/>
                  <a:gd name="connsiteY503" fmla="*/ 60475 h 1421209"/>
                  <a:gd name="connsiteX504" fmla="*/ 312602 w 1620550"/>
                  <a:gd name="connsiteY504" fmla="*/ 65490 h 1421209"/>
                  <a:gd name="connsiteX505" fmla="*/ 307587 w 1620550"/>
                  <a:gd name="connsiteY505" fmla="*/ 67161 h 1421209"/>
                  <a:gd name="connsiteX506" fmla="*/ 299228 w 1620550"/>
                  <a:gd name="connsiteY506" fmla="*/ 70505 h 1421209"/>
                  <a:gd name="connsiteX507" fmla="*/ 295885 w 1620550"/>
                  <a:gd name="connsiteY507" fmla="*/ 65490 h 1421209"/>
                  <a:gd name="connsiteX508" fmla="*/ 282512 w 1620550"/>
                  <a:gd name="connsiteY508" fmla="*/ 55460 h 1421209"/>
                  <a:gd name="connsiteX509" fmla="*/ 277497 w 1620550"/>
                  <a:gd name="connsiteY509" fmla="*/ 53788 h 1421209"/>
                  <a:gd name="connsiteX510" fmla="*/ 269138 w 1620550"/>
                  <a:gd name="connsiteY510" fmla="*/ 42086 h 1421209"/>
                  <a:gd name="connsiteX511" fmla="*/ 267467 w 1620550"/>
                  <a:gd name="connsiteY511" fmla="*/ 33728 h 1421209"/>
                  <a:gd name="connsiteX512" fmla="*/ 262452 w 1620550"/>
                  <a:gd name="connsiteY512" fmla="*/ 28713 h 1421209"/>
                  <a:gd name="connsiteX513" fmla="*/ 252422 w 1620550"/>
                  <a:gd name="connsiteY513" fmla="*/ 25370 h 1421209"/>
                  <a:gd name="connsiteX514" fmla="*/ 239048 w 1620550"/>
                  <a:gd name="connsiteY514" fmla="*/ 15340 h 1421209"/>
                  <a:gd name="connsiteX515" fmla="*/ 234033 w 1620550"/>
                  <a:gd name="connsiteY515" fmla="*/ 10325 h 1421209"/>
                  <a:gd name="connsiteX516" fmla="*/ 220660 w 1620550"/>
                  <a:gd name="connsiteY516" fmla="*/ 5310 h 1421209"/>
                  <a:gd name="connsiteX517" fmla="*/ 215645 w 1620550"/>
                  <a:gd name="connsiteY517" fmla="*/ 1967 h 1421209"/>
                  <a:gd name="connsiteX518" fmla="*/ 192242 w 1620550"/>
                  <a:gd name="connsiteY518" fmla="*/ 1967 h 1421209"/>
                  <a:gd name="connsiteX519" fmla="*/ 198928 w 1620550"/>
                  <a:gd name="connsiteY519" fmla="*/ 5310 h 1421209"/>
                  <a:gd name="connsiteX0" fmla="*/ 198928 w 1620550"/>
                  <a:gd name="connsiteY0" fmla="*/ 5310 h 1421209"/>
                  <a:gd name="connsiteX1" fmla="*/ 177197 w 1620550"/>
                  <a:gd name="connsiteY1" fmla="*/ 10325 h 1421209"/>
                  <a:gd name="connsiteX2" fmla="*/ 175525 w 1620550"/>
                  <a:gd name="connsiteY2" fmla="*/ 15340 h 1421209"/>
                  <a:gd name="connsiteX3" fmla="*/ 177197 w 1620550"/>
                  <a:gd name="connsiteY3" fmla="*/ 20355 h 1421209"/>
                  <a:gd name="connsiteX4" fmla="*/ 172182 w 1620550"/>
                  <a:gd name="connsiteY4" fmla="*/ 23698 h 1421209"/>
                  <a:gd name="connsiteX5" fmla="*/ 152122 w 1620550"/>
                  <a:gd name="connsiteY5" fmla="*/ 25370 h 1421209"/>
                  <a:gd name="connsiteX6" fmla="*/ 155465 w 1620550"/>
                  <a:gd name="connsiteY6" fmla="*/ 35400 h 1421209"/>
                  <a:gd name="connsiteX7" fmla="*/ 157137 w 1620550"/>
                  <a:gd name="connsiteY7" fmla="*/ 42086 h 1421209"/>
                  <a:gd name="connsiteX8" fmla="*/ 148779 w 1620550"/>
                  <a:gd name="connsiteY8" fmla="*/ 47101 h 1421209"/>
                  <a:gd name="connsiteX9" fmla="*/ 145435 w 1620550"/>
                  <a:gd name="connsiteY9" fmla="*/ 50445 h 1421209"/>
                  <a:gd name="connsiteX10" fmla="*/ 135405 w 1620550"/>
                  <a:gd name="connsiteY10" fmla="*/ 53788 h 1421209"/>
                  <a:gd name="connsiteX11" fmla="*/ 133734 w 1620550"/>
                  <a:gd name="connsiteY11" fmla="*/ 58803 h 1421209"/>
                  <a:gd name="connsiteX12" fmla="*/ 115345 w 1620550"/>
                  <a:gd name="connsiteY12" fmla="*/ 63818 h 1421209"/>
                  <a:gd name="connsiteX13" fmla="*/ 81912 w 1620550"/>
                  <a:gd name="connsiteY13" fmla="*/ 62146 h 1421209"/>
                  <a:gd name="connsiteX14" fmla="*/ 73554 w 1620550"/>
                  <a:gd name="connsiteY14" fmla="*/ 53788 h 1421209"/>
                  <a:gd name="connsiteX15" fmla="*/ 66867 w 1620550"/>
                  <a:gd name="connsiteY15" fmla="*/ 50445 h 1421209"/>
                  <a:gd name="connsiteX16" fmla="*/ 55165 w 1620550"/>
                  <a:gd name="connsiteY16" fmla="*/ 52116 h 1421209"/>
                  <a:gd name="connsiteX17" fmla="*/ 55165 w 1620550"/>
                  <a:gd name="connsiteY17" fmla="*/ 62146 h 1421209"/>
                  <a:gd name="connsiteX18" fmla="*/ 30090 w 1620550"/>
                  <a:gd name="connsiteY18" fmla="*/ 65490 h 1421209"/>
                  <a:gd name="connsiteX19" fmla="*/ 16717 w 1620550"/>
                  <a:gd name="connsiteY19" fmla="*/ 75520 h 1421209"/>
                  <a:gd name="connsiteX20" fmla="*/ 11702 w 1620550"/>
                  <a:gd name="connsiteY20" fmla="*/ 80535 h 1421209"/>
                  <a:gd name="connsiteX21" fmla="*/ 8359 w 1620550"/>
                  <a:gd name="connsiteY21" fmla="*/ 88893 h 1421209"/>
                  <a:gd name="connsiteX22" fmla="*/ 6687 w 1620550"/>
                  <a:gd name="connsiteY22" fmla="*/ 98923 h 1421209"/>
                  <a:gd name="connsiteX23" fmla="*/ 0 w 1620550"/>
                  <a:gd name="connsiteY23" fmla="*/ 107281 h 1421209"/>
                  <a:gd name="connsiteX24" fmla="*/ 15045 w 1620550"/>
                  <a:gd name="connsiteY24" fmla="*/ 115640 h 1421209"/>
                  <a:gd name="connsiteX25" fmla="*/ 13374 w 1620550"/>
                  <a:gd name="connsiteY25" fmla="*/ 123998 h 1421209"/>
                  <a:gd name="connsiteX26" fmla="*/ 16717 w 1620550"/>
                  <a:gd name="connsiteY26" fmla="*/ 130685 h 1421209"/>
                  <a:gd name="connsiteX27" fmla="*/ 11702 w 1620550"/>
                  <a:gd name="connsiteY27" fmla="*/ 135700 h 1421209"/>
                  <a:gd name="connsiteX28" fmla="*/ 8359 w 1620550"/>
                  <a:gd name="connsiteY28" fmla="*/ 140715 h 1421209"/>
                  <a:gd name="connsiteX29" fmla="*/ 33434 w 1620550"/>
                  <a:gd name="connsiteY29" fmla="*/ 142386 h 1421209"/>
                  <a:gd name="connsiteX30" fmla="*/ 36777 w 1620550"/>
                  <a:gd name="connsiteY30" fmla="*/ 147401 h 1421209"/>
                  <a:gd name="connsiteX31" fmla="*/ 20060 w 1620550"/>
                  <a:gd name="connsiteY31" fmla="*/ 150745 h 1421209"/>
                  <a:gd name="connsiteX32" fmla="*/ 18389 w 1620550"/>
                  <a:gd name="connsiteY32" fmla="*/ 174148 h 1421209"/>
                  <a:gd name="connsiteX33" fmla="*/ 23404 w 1620550"/>
                  <a:gd name="connsiteY33" fmla="*/ 175820 h 1421209"/>
                  <a:gd name="connsiteX34" fmla="*/ 31762 w 1620550"/>
                  <a:gd name="connsiteY34" fmla="*/ 174148 h 1421209"/>
                  <a:gd name="connsiteX35" fmla="*/ 33434 w 1620550"/>
                  <a:gd name="connsiteY35" fmla="*/ 169133 h 1421209"/>
                  <a:gd name="connsiteX36" fmla="*/ 38449 w 1620550"/>
                  <a:gd name="connsiteY36" fmla="*/ 167461 h 1421209"/>
                  <a:gd name="connsiteX37" fmla="*/ 48479 w 1620550"/>
                  <a:gd name="connsiteY37" fmla="*/ 169133 h 1421209"/>
                  <a:gd name="connsiteX38" fmla="*/ 50150 w 1620550"/>
                  <a:gd name="connsiteY38" fmla="*/ 180835 h 1421209"/>
                  <a:gd name="connsiteX39" fmla="*/ 45135 w 1620550"/>
                  <a:gd name="connsiteY39" fmla="*/ 182506 h 1421209"/>
                  <a:gd name="connsiteX40" fmla="*/ 41792 w 1620550"/>
                  <a:gd name="connsiteY40" fmla="*/ 187521 h 1421209"/>
                  <a:gd name="connsiteX41" fmla="*/ 40120 w 1620550"/>
                  <a:gd name="connsiteY41" fmla="*/ 197551 h 1421209"/>
                  <a:gd name="connsiteX42" fmla="*/ 38449 w 1620550"/>
                  <a:gd name="connsiteY42" fmla="*/ 205909 h 1421209"/>
                  <a:gd name="connsiteX43" fmla="*/ 35105 w 1620550"/>
                  <a:gd name="connsiteY43" fmla="*/ 212596 h 1421209"/>
                  <a:gd name="connsiteX44" fmla="*/ 33434 w 1620550"/>
                  <a:gd name="connsiteY44" fmla="*/ 217611 h 1421209"/>
                  <a:gd name="connsiteX45" fmla="*/ 41792 w 1620550"/>
                  <a:gd name="connsiteY45" fmla="*/ 220954 h 1421209"/>
                  <a:gd name="connsiteX46" fmla="*/ 58509 w 1620550"/>
                  <a:gd name="connsiteY46" fmla="*/ 222626 h 1421209"/>
                  <a:gd name="connsiteX47" fmla="*/ 30090 w 1620550"/>
                  <a:gd name="connsiteY47" fmla="*/ 232656 h 1421209"/>
                  <a:gd name="connsiteX48" fmla="*/ 28419 w 1620550"/>
                  <a:gd name="connsiteY48" fmla="*/ 237671 h 1421209"/>
                  <a:gd name="connsiteX49" fmla="*/ 40120 w 1620550"/>
                  <a:gd name="connsiteY49" fmla="*/ 239343 h 1421209"/>
                  <a:gd name="connsiteX50" fmla="*/ 31762 w 1620550"/>
                  <a:gd name="connsiteY50" fmla="*/ 242686 h 1421209"/>
                  <a:gd name="connsiteX51" fmla="*/ 26747 w 1620550"/>
                  <a:gd name="connsiteY51" fmla="*/ 249373 h 1421209"/>
                  <a:gd name="connsiteX52" fmla="*/ 15045 w 1620550"/>
                  <a:gd name="connsiteY52" fmla="*/ 257731 h 1421209"/>
                  <a:gd name="connsiteX53" fmla="*/ 15045 w 1620550"/>
                  <a:gd name="connsiteY53" fmla="*/ 291164 h 1421209"/>
                  <a:gd name="connsiteX54" fmla="*/ 25075 w 1620550"/>
                  <a:gd name="connsiteY54" fmla="*/ 287821 h 1421209"/>
                  <a:gd name="connsiteX55" fmla="*/ 38196 w 1620550"/>
                  <a:gd name="connsiteY55" fmla="*/ 286607 h 1421209"/>
                  <a:gd name="connsiteX56" fmla="*/ 45845 w 1620550"/>
                  <a:gd name="connsiteY56" fmla="*/ 283010 h 1421209"/>
                  <a:gd name="connsiteX57" fmla="*/ 61347 w 1620550"/>
                  <a:gd name="connsiteY57" fmla="*/ 276577 h 1421209"/>
                  <a:gd name="connsiteX58" fmla="*/ 83584 w 1620550"/>
                  <a:gd name="connsiteY58" fmla="*/ 267761 h 1421209"/>
                  <a:gd name="connsiteX59" fmla="*/ 91942 w 1620550"/>
                  <a:gd name="connsiteY59" fmla="*/ 269433 h 1421209"/>
                  <a:gd name="connsiteX60" fmla="*/ 98629 w 1620550"/>
                  <a:gd name="connsiteY60" fmla="*/ 272776 h 1421209"/>
                  <a:gd name="connsiteX61" fmla="*/ 103644 w 1620550"/>
                  <a:gd name="connsiteY61" fmla="*/ 274448 h 1421209"/>
                  <a:gd name="connsiteX62" fmla="*/ 108659 w 1620550"/>
                  <a:gd name="connsiteY62" fmla="*/ 279463 h 1421209"/>
                  <a:gd name="connsiteX63" fmla="*/ 112002 w 1620550"/>
                  <a:gd name="connsiteY63" fmla="*/ 299523 h 1421209"/>
                  <a:gd name="connsiteX64" fmla="*/ 100300 w 1620550"/>
                  <a:gd name="connsiteY64" fmla="*/ 307881 h 1421209"/>
                  <a:gd name="connsiteX65" fmla="*/ 96957 w 1620550"/>
                  <a:gd name="connsiteY65" fmla="*/ 321254 h 1421209"/>
                  <a:gd name="connsiteX66" fmla="*/ 95285 w 1620550"/>
                  <a:gd name="connsiteY66" fmla="*/ 326269 h 1421209"/>
                  <a:gd name="connsiteX67" fmla="*/ 98629 w 1620550"/>
                  <a:gd name="connsiteY67" fmla="*/ 331284 h 1421209"/>
                  <a:gd name="connsiteX68" fmla="*/ 118689 w 1620550"/>
                  <a:gd name="connsiteY68" fmla="*/ 334628 h 1421209"/>
                  <a:gd name="connsiteX69" fmla="*/ 147107 w 1620550"/>
                  <a:gd name="connsiteY69" fmla="*/ 332956 h 1421209"/>
                  <a:gd name="connsiteX70" fmla="*/ 158808 w 1620550"/>
                  <a:gd name="connsiteY70" fmla="*/ 329613 h 1421209"/>
                  <a:gd name="connsiteX71" fmla="*/ 168838 w 1620550"/>
                  <a:gd name="connsiteY71" fmla="*/ 332956 h 1421209"/>
                  <a:gd name="connsiteX72" fmla="*/ 177197 w 1620550"/>
                  <a:gd name="connsiteY72" fmla="*/ 342986 h 1421209"/>
                  <a:gd name="connsiteX73" fmla="*/ 183883 w 1620550"/>
                  <a:gd name="connsiteY73" fmla="*/ 346329 h 1421209"/>
                  <a:gd name="connsiteX74" fmla="*/ 189861 w 1620550"/>
                  <a:gd name="connsiteY74" fmla="*/ 357526 h 1421209"/>
                  <a:gd name="connsiteX75" fmla="*/ 210173 w 1620550"/>
                  <a:gd name="connsiteY75" fmla="*/ 360364 h 1421209"/>
                  <a:gd name="connsiteX76" fmla="*/ 234238 w 1620550"/>
                  <a:gd name="connsiteY76" fmla="*/ 375108 h 1421209"/>
                  <a:gd name="connsiteX77" fmla="*/ 232362 w 1620550"/>
                  <a:gd name="connsiteY77" fmla="*/ 331284 h 1421209"/>
                  <a:gd name="connsiteX78" fmla="*/ 239048 w 1620550"/>
                  <a:gd name="connsiteY78" fmla="*/ 334628 h 1421209"/>
                  <a:gd name="connsiteX79" fmla="*/ 244063 w 1620550"/>
                  <a:gd name="connsiteY79" fmla="*/ 339643 h 1421209"/>
                  <a:gd name="connsiteX80" fmla="*/ 250750 w 1620550"/>
                  <a:gd name="connsiteY80" fmla="*/ 341314 h 1421209"/>
                  <a:gd name="connsiteX81" fmla="*/ 260780 w 1620550"/>
                  <a:gd name="connsiteY81" fmla="*/ 348001 h 1421209"/>
                  <a:gd name="connsiteX82" fmla="*/ 269138 w 1620550"/>
                  <a:gd name="connsiteY82" fmla="*/ 356359 h 1421209"/>
                  <a:gd name="connsiteX83" fmla="*/ 270810 w 1620550"/>
                  <a:gd name="connsiteY83" fmla="*/ 368061 h 1421209"/>
                  <a:gd name="connsiteX84" fmla="*/ 290870 w 1620550"/>
                  <a:gd name="connsiteY84" fmla="*/ 366389 h 1421209"/>
                  <a:gd name="connsiteX85" fmla="*/ 305915 w 1620550"/>
                  <a:gd name="connsiteY85" fmla="*/ 368061 h 1421209"/>
                  <a:gd name="connsiteX86" fmla="*/ 304243 w 1620550"/>
                  <a:gd name="connsiteY86" fmla="*/ 388121 h 1421209"/>
                  <a:gd name="connsiteX87" fmla="*/ 307587 w 1620550"/>
                  <a:gd name="connsiteY87" fmla="*/ 403166 h 1421209"/>
                  <a:gd name="connsiteX88" fmla="*/ 320960 w 1620550"/>
                  <a:gd name="connsiteY88" fmla="*/ 414867 h 1421209"/>
                  <a:gd name="connsiteX89" fmla="*/ 329318 w 1620550"/>
                  <a:gd name="connsiteY89" fmla="*/ 424897 h 1421209"/>
                  <a:gd name="connsiteX90" fmla="*/ 336005 w 1620550"/>
                  <a:gd name="connsiteY90" fmla="*/ 428241 h 1421209"/>
                  <a:gd name="connsiteX91" fmla="*/ 334333 w 1620550"/>
                  <a:gd name="connsiteY91" fmla="*/ 458331 h 1421209"/>
                  <a:gd name="connsiteX92" fmla="*/ 307587 w 1620550"/>
                  <a:gd name="connsiteY92" fmla="*/ 478391 h 1421209"/>
                  <a:gd name="connsiteX93" fmla="*/ 292542 w 1620550"/>
                  <a:gd name="connsiteY93" fmla="*/ 483406 h 1421209"/>
                  <a:gd name="connsiteX94" fmla="*/ 287527 w 1620550"/>
                  <a:gd name="connsiteY94" fmla="*/ 486749 h 1421209"/>
                  <a:gd name="connsiteX95" fmla="*/ 265795 w 1620550"/>
                  <a:gd name="connsiteY95" fmla="*/ 488421 h 1421209"/>
                  <a:gd name="connsiteX96" fmla="*/ 257437 w 1620550"/>
                  <a:gd name="connsiteY96" fmla="*/ 495107 h 1421209"/>
                  <a:gd name="connsiteX97" fmla="*/ 249078 w 1620550"/>
                  <a:gd name="connsiteY97" fmla="*/ 503466 h 1421209"/>
                  <a:gd name="connsiteX98" fmla="*/ 247407 w 1620550"/>
                  <a:gd name="connsiteY98" fmla="*/ 508481 h 1421209"/>
                  <a:gd name="connsiteX99" fmla="*/ 239048 w 1620550"/>
                  <a:gd name="connsiteY99" fmla="*/ 515167 h 1421209"/>
                  <a:gd name="connsiteX100" fmla="*/ 237377 w 1620550"/>
                  <a:gd name="connsiteY100" fmla="*/ 536899 h 1421209"/>
                  <a:gd name="connsiteX101" fmla="*/ 239048 w 1620550"/>
                  <a:gd name="connsiteY101" fmla="*/ 543586 h 1421209"/>
                  <a:gd name="connsiteX102" fmla="*/ 237377 w 1620550"/>
                  <a:gd name="connsiteY102" fmla="*/ 595407 h 1421209"/>
                  <a:gd name="connsiteX103" fmla="*/ 230690 w 1620550"/>
                  <a:gd name="connsiteY103" fmla="*/ 610452 h 1421209"/>
                  <a:gd name="connsiteX104" fmla="*/ 227347 w 1620550"/>
                  <a:gd name="connsiteY104" fmla="*/ 618810 h 1421209"/>
                  <a:gd name="connsiteX105" fmla="*/ 224003 w 1620550"/>
                  <a:gd name="connsiteY105" fmla="*/ 625497 h 1421209"/>
                  <a:gd name="connsiteX106" fmla="*/ 222332 w 1620550"/>
                  <a:gd name="connsiteY106" fmla="*/ 633855 h 1421209"/>
                  <a:gd name="connsiteX107" fmla="*/ 213973 w 1620550"/>
                  <a:gd name="connsiteY107" fmla="*/ 642214 h 1421209"/>
                  <a:gd name="connsiteX108" fmla="*/ 205615 w 1620550"/>
                  <a:gd name="connsiteY108" fmla="*/ 648900 h 1421209"/>
                  <a:gd name="connsiteX109" fmla="*/ 190570 w 1620550"/>
                  <a:gd name="connsiteY109" fmla="*/ 652244 h 1421209"/>
                  <a:gd name="connsiteX110" fmla="*/ 192242 w 1620550"/>
                  <a:gd name="connsiteY110" fmla="*/ 662274 h 1421209"/>
                  <a:gd name="connsiteX111" fmla="*/ 193913 w 1620550"/>
                  <a:gd name="connsiteY111" fmla="*/ 667289 h 1421209"/>
                  <a:gd name="connsiteX112" fmla="*/ 190570 w 1620550"/>
                  <a:gd name="connsiteY112" fmla="*/ 695707 h 1421209"/>
                  <a:gd name="connsiteX113" fmla="*/ 187227 w 1620550"/>
                  <a:gd name="connsiteY113" fmla="*/ 704065 h 1421209"/>
                  <a:gd name="connsiteX114" fmla="*/ 185555 w 1620550"/>
                  <a:gd name="connsiteY114" fmla="*/ 712424 h 1421209"/>
                  <a:gd name="connsiteX115" fmla="*/ 180540 w 1620550"/>
                  <a:gd name="connsiteY115" fmla="*/ 717439 h 1421209"/>
                  <a:gd name="connsiteX116" fmla="*/ 175525 w 1620550"/>
                  <a:gd name="connsiteY116" fmla="*/ 725797 h 1421209"/>
                  <a:gd name="connsiteX117" fmla="*/ 170510 w 1620550"/>
                  <a:gd name="connsiteY117" fmla="*/ 727469 h 1421209"/>
                  <a:gd name="connsiteX118" fmla="*/ 165495 w 1620550"/>
                  <a:gd name="connsiteY118" fmla="*/ 730812 h 1421209"/>
                  <a:gd name="connsiteX119" fmla="*/ 147107 w 1620550"/>
                  <a:gd name="connsiteY119" fmla="*/ 734155 h 1421209"/>
                  <a:gd name="connsiteX120" fmla="*/ 137077 w 1620550"/>
                  <a:gd name="connsiteY120" fmla="*/ 739170 h 1421209"/>
                  <a:gd name="connsiteX121" fmla="*/ 128719 w 1620550"/>
                  <a:gd name="connsiteY121" fmla="*/ 742513 h 1421209"/>
                  <a:gd name="connsiteX122" fmla="*/ 122032 w 1620550"/>
                  <a:gd name="connsiteY122" fmla="*/ 745857 h 1421209"/>
                  <a:gd name="connsiteX123" fmla="*/ 98628 w 1620550"/>
                  <a:gd name="connsiteY123" fmla="*/ 745856 h 1421209"/>
                  <a:gd name="connsiteX124" fmla="*/ 103644 w 1620550"/>
                  <a:gd name="connsiteY124" fmla="*/ 755887 h 1421209"/>
                  <a:gd name="connsiteX125" fmla="*/ 106987 w 1620550"/>
                  <a:gd name="connsiteY125" fmla="*/ 770932 h 1421209"/>
                  <a:gd name="connsiteX126" fmla="*/ 110330 w 1620550"/>
                  <a:gd name="connsiteY126" fmla="*/ 779290 h 1421209"/>
                  <a:gd name="connsiteX127" fmla="*/ 112002 w 1620550"/>
                  <a:gd name="connsiteY127" fmla="*/ 787648 h 1421209"/>
                  <a:gd name="connsiteX128" fmla="*/ 113674 w 1620550"/>
                  <a:gd name="connsiteY128" fmla="*/ 821082 h 1421209"/>
                  <a:gd name="connsiteX129" fmla="*/ 117017 w 1620550"/>
                  <a:gd name="connsiteY129" fmla="*/ 827768 h 1421209"/>
                  <a:gd name="connsiteX130" fmla="*/ 125375 w 1620550"/>
                  <a:gd name="connsiteY130" fmla="*/ 831112 h 1421209"/>
                  <a:gd name="connsiteX131" fmla="*/ 140420 w 1620550"/>
                  <a:gd name="connsiteY131" fmla="*/ 832783 h 1421209"/>
                  <a:gd name="connsiteX132" fmla="*/ 155465 w 1620550"/>
                  <a:gd name="connsiteY132" fmla="*/ 837798 h 1421209"/>
                  <a:gd name="connsiteX133" fmla="*/ 153793 w 1620550"/>
                  <a:gd name="connsiteY133" fmla="*/ 864545 h 1421209"/>
                  <a:gd name="connsiteX134" fmla="*/ 147107 w 1620550"/>
                  <a:gd name="connsiteY134" fmla="*/ 871232 h 1421209"/>
                  <a:gd name="connsiteX135" fmla="*/ 143764 w 1620550"/>
                  <a:gd name="connsiteY135" fmla="*/ 876247 h 1421209"/>
                  <a:gd name="connsiteX136" fmla="*/ 133734 w 1620550"/>
                  <a:gd name="connsiteY136" fmla="*/ 886277 h 1421209"/>
                  <a:gd name="connsiteX137" fmla="*/ 128719 w 1620550"/>
                  <a:gd name="connsiteY137" fmla="*/ 891292 h 1421209"/>
                  <a:gd name="connsiteX138" fmla="*/ 108659 w 1620550"/>
                  <a:gd name="connsiteY138" fmla="*/ 904665 h 1421209"/>
                  <a:gd name="connsiteX139" fmla="*/ 100300 w 1620550"/>
                  <a:gd name="connsiteY139" fmla="*/ 913023 h 1421209"/>
                  <a:gd name="connsiteX140" fmla="*/ 86927 w 1620550"/>
                  <a:gd name="connsiteY140" fmla="*/ 928068 h 1421209"/>
                  <a:gd name="connsiteX141" fmla="*/ 86927 w 1620550"/>
                  <a:gd name="connsiteY141" fmla="*/ 981561 h 1421209"/>
                  <a:gd name="connsiteX142" fmla="*/ 96957 w 1620550"/>
                  <a:gd name="connsiteY142" fmla="*/ 991591 h 1421209"/>
                  <a:gd name="connsiteX143" fmla="*/ 108659 w 1620550"/>
                  <a:gd name="connsiteY143" fmla="*/ 993263 h 1421209"/>
                  <a:gd name="connsiteX144" fmla="*/ 115345 w 1620550"/>
                  <a:gd name="connsiteY144" fmla="*/ 1038398 h 1421209"/>
                  <a:gd name="connsiteX145" fmla="*/ 93614 w 1620550"/>
                  <a:gd name="connsiteY145" fmla="*/ 1035055 h 1421209"/>
                  <a:gd name="connsiteX146" fmla="*/ 63524 w 1620550"/>
                  <a:gd name="connsiteY146" fmla="*/ 1036726 h 1421209"/>
                  <a:gd name="connsiteX147" fmla="*/ 56837 w 1620550"/>
                  <a:gd name="connsiteY147" fmla="*/ 1045085 h 1421209"/>
                  <a:gd name="connsiteX148" fmla="*/ 48479 w 1620550"/>
                  <a:gd name="connsiteY148" fmla="*/ 1051771 h 1421209"/>
                  <a:gd name="connsiteX149" fmla="*/ 43464 w 1620550"/>
                  <a:gd name="connsiteY149" fmla="*/ 1058458 h 1421209"/>
                  <a:gd name="connsiteX150" fmla="*/ 40120 w 1620550"/>
                  <a:gd name="connsiteY150" fmla="*/ 1061801 h 1421209"/>
                  <a:gd name="connsiteX151" fmla="*/ 35105 w 1620550"/>
                  <a:gd name="connsiteY151" fmla="*/ 1070160 h 1421209"/>
                  <a:gd name="connsiteX152" fmla="*/ 33434 w 1620550"/>
                  <a:gd name="connsiteY152" fmla="*/ 1075175 h 1421209"/>
                  <a:gd name="connsiteX153" fmla="*/ 28419 w 1620550"/>
                  <a:gd name="connsiteY153" fmla="*/ 1091891 h 1421209"/>
                  <a:gd name="connsiteX154" fmla="*/ 25075 w 1620550"/>
                  <a:gd name="connsiteY154" fmla="*/ 1098578 h 1421209"/>
                  <a:gd name="connsiteX155" fmla="*/ 20060 w 1620550"/>
                  <a:gd name="connsiteY155" fmla="*/ 1111951 h 1421209"/>
                  <a:gd name="connsiteX156" fmla="*/ 21732 w 1620550"/>
                  <a:gd name="connsiteY156" fmla="*/ 1163773 h 1421209"/>
                  <a:gd name="connsiteX157" fmla="*/ 41792 w 1620550"/>
                  <a:gd name="connsiteY157" fmla="*/ 1162101 h 1421209"/>
                  <a:gd name="connsiteX158" fmla="*/ 68539 w 1620550"/>
                  <a:gd name="connsiteY158" fmla="*/ 1163773 h 1421209"/>
                  <a:gd name="connsiteX159" fmla="*/ 81912 w 1620550"/>
                  <a:gd name="connsiteY159" fmla="*/ 1173803 h 1421209"/>
                  <a:gd name="connsiteX160" fmla="*/ 86927 w 1620550"/>
                  <a:gd name="connsiteY160" fmla="*/ 1177146 h 1421209"/>
                  <a:gd name="connsiteX161" fmla="*/ 93614 w 1620550"/>
                  <a:gd name="connsiteY161" fmla="*/ 1185504 h 1421209"/>
                  <a:gd name="connsiteX162" fmla="*/ 96957 w 1620550"/>
                  <a:gd name="connsiteY162" fmla="*/ 1195534 h 1421209"/>
                  <a:gd name="connsiteX163" fmla="*/ 98629 w 1620550"/>
                  <a:gd name="connsiteY163" fmla="*/ 1200549 h 1421209"/>
                  <a:gd name="connsiteX164" fmla="*/ 108659 w 1620550"/>
                  <a:gd name="connsiteY164" fmla="*/ 1212251 h 1421209"/>
                  <a:gd name="connsiteX165" fmla="*/ 113674 w 1620550"/>
                  <a:gd name="connsiteY165" fmla="*/ 1213923 h 1421209"/>
                  <a:gd name="connsiteX166" fmla="*/ 122032 w 1620550"/>
                  <a:gd name="connsiteY166" fmla="*/ 1217266 h 1421209"/>
                  <a:gd name="connsiteX167" fmla="*/ 135405 w 1620550"/>
                  <a:gd name="connsiteY167" fmla="*/ 1227296 h 1421209"/>
                  <a:gd name="connsiteX168" fmla="*/ 140420 w 1620550"/>
                  <a:gd name="connsiteY168" fmla="*/ 1230639 h 1421209"/>
                  <a:gd name="connsiteX169" fmla="*/ 145435 w 1620550"/>
                  <a:gd name="connsiteY169" fmla="*/ 1232311 h 1421209"/>
                  <a:gd name="connsiteX170" fmla="*/ 148779 w 1620550"/>
                  <a:gd name="connsiteY170" fmla="*/ 1237326 h 1421209"/>
                  <a:gd name="connsiteX171" fmla="*/ 153793 w 1620550"/>
                  <a:gd name="connsiteY171" fmla="*/ 1244013 h 1421209"/>
                  <a:gd name="connsiteX172" fmla="*/ 158808 w 1620550"/>
                  <a:gd name="connsiteY172" fmla="*/ 1255714 h 1421209"/>
                  <a:gd name="connsiteX173" fmla="*/ 152122 w 1620550"/>
                  <a:gd name="connsiteY173" fmla="*/ 1259058 h 1421209"/>
                  <a:gd name="connsiteX174" fmla="*/ 143764 w 1620550"/>
                  <a:gd name="connsiteY174" fmla="*/ 1260729 h 1421209"/>
                  <a:gd name="connsiteX175" fmla="*/ 145435 w 1620550"/>
                  <a:gd name="connsiteY175" fmla="*/ 1274103 h 1421209"/>
                  <a:gd name="connsiteX176" fmla="*/ 152122 w 1620550"/>
                  <a:gd name="connsiteY176" fmla="*/ 1290819 h 1421209"/>
                  <a:gd name="connsiteX177" fmla="*/ 155465 w 1620550"/>
                  <a:gd name="connsiteY177" fmla="*/ 1295834 h 1421209"/>
                  <a:gd name="connsiteX178" fmla="*/ 160480 w 1620550"/>
                  <a:gd name="connsiteY178" fmla="*/ 1297506 h 1421209"/>
                  <a:gd name="connsiteX179" fmla="*/ 163823 w 1620550"/>
                  <a:gd name="connsiteY179" fmla="*/ 1302521 h 1421209"/>
                  <a:gd name="connsiteX180" fmla="*/ 168838 w 1620550"/>
                  <a:gd name="connsiteY180" fmla="*/ 1305864 h 1421209"/>
                  <a:gd name="connsiteX181" fmla="*/ 177197 w 1620550"/>
                  <a:gd name="connsiteY181" fmla="*/ 1312551 h 1421209"/>
                  <a:gd name="connsiteX182" fmla="*/ 180540 w 1620550"/>
                  <a:gd name="connsiteY182" fmla="*/ 1317566 h 1421209"/>
                  <a:gd name="connsiteX183" fmla="*/ 168838 w 1620550"/>
                  <a:gd name="connsiteY183" fmla="*/ 1329267 h 1421209"/>
                  <a:gd name="connsiteX184" fmla="*/ 170510 w 1620550"/>
                  <a:gd name="connsiteY184" fmla="*/ 1349327 h 1421209"/>
                  <a:gd name="connsiteX185" fmla="*/ 175525 w 1620550"/>
                  <a:gd name="connsiteY185" fmla="*/ 1356014 h 1421209"/>
                  <a:gd name="connsiteX186" fmla="*/ 177197 w 1620550"/>
                  <a:gd name="connsiteY186" fmla="*/ 1371059 h 1421209"/>
                  <a:gd name="connsiteX187" fmla="*/ 178868 w 1620550"/>
                  <a:gd name="connsiteY187" fmla="*/ 1381089 h 1421209"/>
                  <a:gd name="connsiteX188" fmla="*/ 182212 w 1620550"/>
                  <a:gd name="connsiteY188" fmla="*/ 1397806 h 1421209"/>
                  <a:gd name="connsiteX189" fmla="*/ 188898 w 1620550"/>
                  <a:gd name="connsiteY189" fmla="*/ 1401149 h 1421209"/>
                  <a:gd name="connsiteX190" fmla="*/ 193913 w 1620550"/>
                  <a:gd name="connsiteY190" fmla="*/ 1399477 h 1421209"/>
                  <a:gd name="connsiteX191" fmla="*/ 200600 w 1620550"/>
                  <a:gd name="connsiteY191" fmla="*/ 1389447 h 1421209"/>
                  <a:gd name="connsiteX192" fmla="*/ 208958 w 1620550"/>
                  <a:gd name="connsiteY192" fmla="*/ 1392791 h 1421209"/>
                  <a:gd name="connsiteX193" fmla="*/ 210630 w 1620550"/>
                  <a:gd name="connsiteY193" fmla="*/ 1397806 h 1421209"/>
                  <a:gd name="connsiteX194" fmla="*/ 213973 w 1620550"/>
                  <a:gd name="connsiteY194" fmla="*/ 1402821 h 1421209"/>
                  <a:gd name="connsiteX195" fmla="*/ 215645 w 1620550"/>
                  <a:gd name="connsiteY195" fmla="*/ 1412851 h 1421209"/>
                  <a:gd name="connsiteX196" fmla="*/ 222332 w 1620550"/>
                  <a:gd name="connsiteY196" fmla="*/ 1416194 h 1421209"/>
                  <a:gd name="connsiteX197" fmla="*/ 234033 w 1620550"/>
                  <a:gd name="connsiteY197" fmla="*/ 1419537 h 1421209"/>
                  <a:gd name="connsiteX198" fmla="*/ 239048 w 1620550"/>
                  <a:gd name="connsiteY198" fmla="*/ 1421209 h 1421209"/>
                  <a:gd name="connsiteX199" fmla="*/ 269138 w 1620550"/>
                  <a:gd name="connsiteY199" fmla="*/ 1419537 h 1421209"/>
                  <a:gd name="connsiteX200" fmla="*/ 270810 w 1620550"/>
                  <a:gd name="connsiteY200" fmla="*/ 1414522 h 1421209"/>
                  <a:gd name="connsiteX201" fmla="*/ 277497 w 1620550"/>
                  <a:gd name="connsiteY201" fmla="*/ 1412851 h 1421209"/>
                  <a:gd name="connsiteX202" fmla="*/ 285855 w 1620550"/>
                  <a:gd name="connsiteY202" fmla="*/ 1411179 h 1421209"/>
                  <a:gd name="connsiteX203" fmla="*/ 287527 w 1620550"/>
                  <a:gd name="connsiteY203" fmla="*/ 1406164 h 1421209"/>
                  <a:gd name="connsiteX204" fmla="*/ 289198 w 1620550"/>
                  <a:gd name="connsiteY204" fmla="*/ 1396134 h 1421209"/>
                  <a:gd name="connsiteX205" fmla="*/ 294213 w 1620550"/>
                  <a:gd name="connsiteY205" fmla="*/ 1389447 h 1421209"/>
                  <a:gd name="connsiteX206" fmla="*/ 300900 w 1620550"/>
                  <a:gd name="connsiteY206" fmla="*/ 1379417 h 1421209"/>
                  <a:gd name="connsiteX207" fmla="*/ 307587 w 1620550"/>
                  <a:gd name="connsiteY207" fmla="*/ 1366044 h 1421209"/>
                  <a:gd name="connsiteX208" fmla="*/ 314273 w 1620550"/>
                  <a:gd name="connsiteY208" fmla="*/ 1361029 h 1421209"/>
                  <a:gd name="connsiteX209" fmla="*/ 317617 w 1620550"/>
                  <a:gd name="connsiteY209" fmla="*/ 1357686 h 1421209"/>
                  <a:gd name="connsiteX210" fmla="*/ 339348 w 1620550"/>
                  <a:gd name="connsiteY210" fmla="*/ 1354342 h 1421209"/>
                  <a:gd name="connsiteX211" fmla="*/ 356065 w 1620550"/>
                  <a:gd name="connsiteY211" fmla="*/ 1357686 h 1421209"/>
                  <a:gd name="connsiteX212" fmla="*/ 361080 w 1620550"/>
                  <a:gd name="connsiteY212" fmla="*/ 1359357 h 1421209"/>
                  <a:gd name="connsiteX213" fmla="*/ 364423 w 1620550"/>
                  <a:gd name="connsiteY213" fmla="*/ 1362701 h 1421209"/>
                  <a:gd name="connsiteX214" fmla="*/ 374453 w 1620550"/>
                  <a:gd name="connsiteY214" fmla="*/ 1367716 h 1421209"/>
                  <a:gd name="connsiteX215" fmla="*/ 377796 w 1620550"/>
                  <a:gd name="connsiteY215" fmla="*/ 1374402 h 1421209"/>
                  <a:gd name="connsiteX216" fmla="*/ 381140 w 1620550"/>
                  <a:gd name="connsiteY216" fmla="*/ 1377746 h 1421209"/>
                  <a:gd name="connsiteX217" fmla="*/ 386155 w 1620550"/>
                  <a:gd name="connsiteY217" fmla="*/ 1374402 h 1421209"/>
                  <a:gd name="connsiteX218" fmla="*/ 396185 w 1620550"/>
                  <a:gd name="connsiteY218" fmla="*/ 1361029 h 1421209"/>
                  <a:gd name="connsiteX219" fmla="*/ 414573 w 1620550"/>
                  <a:gd name="connsiteY219" fmla="*/ 1356014 h 1421209"/>
                  <a:gd name="connsiteX220" fmla="*/ 416245 w 1620550"/>
                  <a:gd name="connsiteY220" fmla="*/ 1349327 h 1421209"/>
                  <a:gd name="connsiteX221" fmla="*/ 419588 w 1620550"/>
                  <a:gd name="connsiteY221" fmla="*/ 1334282 h 1421209"/>
                  <a:gd name="connsiteX222" fmla="*/ 424603 w 1620550"/>
                  <a:gd name="connsiteY222" fmla="*/ 1330939 h 1421209"/>
                  <a:gd name="connsiteX223" fmla="*/ 444663 w 1620550"/>
                  <a:gd name="connsiteY223" fmla="*/ 1332611 h 1421209"/>
                  <a:gd name="connsiteX224" fmla="*/ 466395 w 1620550"/>
                  <a:gd name="connsiteY224" fmla="*/ 1339297 h 1421209"/>
                  <a:gd name="connsiteX225" fmla="*/ 509858 w 1620550"/>
                  <a:gd name="connsiteY225" fmla="*/ 1340969 h 1421209"/>
                  <a:gd name="connsiteX226" fmla="*/ 523231 w 1620550"/>
                  <a:gd name="connsiteY226" fmla="*/ 1345984 h 1421209"/>
                  <a:gd name="connsiteX227" fmla="*/ 531589 w 1620550"/>
                  <a:gd name="connsiteY227" fmla="*/ 1357686 h 1421209"/>
                  <a:gd name="connsiteX228" fmla="*/ 534933 w 1620550"/>
                  <a:gd name="connsiteY228" fmla="*/ 1364372 h 1421209"/>
                  <a:gd name="connsiteX229" fmla="*/ 539948 w 1620550"/>
                  <a:gd name="connsiteY229" fmla="*/ 1366044 h 1421209"/>
                  <a:gd name="connsiteX230" fmla="*/ 565023 w 1620550"/>
                  <a:gd name="connsiteY230" fmla="*/ 1369387 h 1421209"/>
                  <a:gd name="connsiteX231" fmla="*/ 568366 w 1620550"/>
                  <a:gd name="connsiteY231" fmla="*/ 1372731 h 1421209"/>
                  <a:gd name="connsiteX232" fmla="*/ 571709 w 1620550"/>
                  <a:gd name="connsiteY232" fmla="*/ 1366044 h 1421209"/>
                  <a:gd name="connsiteX233" fmla="*/ 600128 w 1620550"/>
                  <a:gd name="connsiteY233" fmla="*/ 1357686 h 1421209"/>
                  <a:gd name="connsiteX234" fmla="*/ 626874 w 1620550"/>
                  <a:gd name="connsiteY234" fmla="*/ 1361029 h 1421209"/>
                  <a:gd name="connsiteX235" fmla="*/ 633561 w 1620550"/>
                  <a:gd name="connsiteY235" fmla="*/ 1364372 h 1421209"/>
                  <a:gd name="connsiteX236" fmla="*/ 638576 w 1620550"/>
                  <a:gd name="connsiteY236" fmla="*/ 1366044 h 1421209"/>
                  <a:gd name="connsiteX237" fmla="*/ 643591 w 1620550"/>
                  <a:gd name="connsiteY237" fmla="*/ 1372731 h 1421209"/>
                  <a:gd name="connsiteX238" fmla="*/ 650278 w 1620550"/>
                  <a:gd name="connsiteY238" fmla="*/ 1382761 h 1421209"/>
                  <a:gd name="connsiteX239" fmla="*/ 660308 w 1620550"/>
                  <a:gd name="connsiteY239" fmla="*/ 1386104 h 1421209"/>
                  <a:gd name="connsiteX240" fmla="*/ 672009 w 1620550"/>
                  <a:gd name="connsiteY240" fmla="*/ 1389447 h 1421209"/>
                  <a:gd name="connsiteX241" fmla="*/ 687054 w 1620550"/>
                  <a:gd name="connsiteY241" fmla="*/ 1382761 h 1421209"/>
                  <a:gd name="connsiteX242" fmla="*/ 690398 w 1620550"/>
                  <a:gd name="connsiteY242" fmla="*/ 1374402 h 1421209"/>
                  <a:gd name="connsiteX243" fmla="*/ 695413 w 1620550"/>
                  <a:gd name="connsiteY243" fmla="*/ 1371059 h 1421209"/>
                  <a:gd name="connsiteX244" fmla="*/ 707114 w 1620550"/>
                  <a:gd name="connsiteY244" fmla="*/ 1366044 h 1421209"/>
                  <a:gd name="connsiteX245" fmla="*/ 715472 w 1620550"/>
                  <a:gd name="connsiteY245" fmla="*/ 1364372 h 1421209"/>
                  <a:gd name="connsiteX246" fmla="*/ 735532 w 1620550"/>
                  <a:gd name="connsiteY246" fmla="*/ 1371059 h 1421209"/>
                  <a:gd name="connsiteX247" fmla="*/ 737204 w 1620550"/>
                  <a:gd name="connsiteY247" fmla="*/ 1376074 h 1421209"/>
                  <a:gd name="connsiteX248" fmla="*/ 742219 w 1620550"/>
                  <a:gd name="connsiteY248" fmla="*/ 1387776 h 1421209"/>
                  <a:gd name="connsiteX249" fmla="*/ 748906 w 1620550"/>
                  <a:gd name="connsiteY249" fmla="*/ 1389447 h 1421209"/>
                  <a:gd name="connsiteX250" fmla="*/ 762279 w 1620550"/>
                  <a:gd name="connsiteY250" fmla="*/ 1384432 h 1421209"/>
                  <a:gd name="connsiteX251" fmla="*/ 772309 w 1620550"/>
                  <a:gd name="connsiteY251" fmla="*/ 1381089 h 1421209"/>
                  <a:gd name="connsiteX252" fmla="*/ 784011 w 1620550"/>
                  <a:gd name="connsiteY252" fmla="*/ 1371059 h 1421209"/>
                  <a:gd name="connsiteX253" fmla="*/ 797384 w 1620550"/>
                  <a:gd name="connsiteY253" fmla="*/ 1357686 h 1421209"/>
                  <a:gd name="connsiteX254" fmla="*/ 802399 w 1620550"/>
                  <a:gd name="connsiteY254" fmla="*/ 1352671 h 1421209"/>
                  <a:gd name="connsiteX255" fmla="*/ 810757 w 1620550"/>
                  <a:gd name="connsiteY255" fmla="*/ 1350999 h 1421209"/>
                  <a:gd name="connsiteX256" fmla="*/ 812429 w 1620550"/>
                  <a:gd name="connsiteY256" fmla="*/ 1344312 h 1421209"/>
                  <a:gd name="connsiteX257" fmla="*/ 807414 w 1620550"/>
                  <a:gd name="connsiteY257" fmla="*/ 1325924 h 1421209"/>
                  <a:gd name="connsiteX258" fmla="*/ 809086 w 1620550"/>
                  <a:gd name="connsiteY258" fmla="*/ 1314222 h 1421209"/>
                  <a:gd name="connsiteX259" fmla="*/ 812429 w 1620550"/>
                  <a:gd name="connsiteY259" fmla="*/ 1309207 h 1421209"/>
                  <a:gd name="connsiteX260" fmla="*/ 820787 w 1620550"/>
                  <a:gd name="connsiteY260" fmla="*/ 1299177 h 1421209"/>
                  <a:gd name="connsiteX261" fmla="*/ 827474 w 1620550"/>
                  <a:gd name="connsiteY261" fmla="*/ 1294162 h 1421209"/>
                  <a:gd name="connsiteX262" fmla="*/ 869266 w 1620550"/>
                  <a:gd name="connsiteY262" fmla="*/ 1292491 h 1421209"/>
                  <a:gd name="connsiteX263" fmla="*/ 870937 w 1620550"/>
                  <a:gd name="connsiteY263" fmla="*/ 1277446 h 1421209"/>
                  <a:gd name="connsiteX264" fmla="*/ 880967 w 1620550"/>
                  <a:gd name="connsiteY264" fmla="*/ 1270759 h 1421209"/>
                  <a:gd name="connsiteX265" fmla="*/ 885982 w 1620550"/>
                  <a:gd name="connsiteY265" fmla="*/ 1269088 h 1421209"/>
                  <a:gd name="connsiteX266" fmla="*/ 932789 w 1620550"/>
                  <a:gd name="connsiteY266" fmla="*/ 1270759 h 1421209"/>
                  <a:gd name="connsiteX267" fmla="*/ 942819 w 1620550"/>
                  <a:gd name="connsiteY267" fmla="*/ 1272431 h 1421209"/>
                  <a:gd name="connsiteX268" fmla="*/ 949505 w 1620550"/>
                  <a:gd name="connsiteY268" fmla="*/ 1275774 h 1421209"/>
                  <a:gd name="connsiteX269" fmla="*/ 954520 w 1620550"/>
                  <a:gd name="connsiteY269" fmla="*/ 1277446 h 1421209"/>
                  <a:gd name="connsiteX270" fmla="*/ 964550 w 1620550"/>
                  <a:gd name="connsiteY270" fmla="*/ 1274103 h 1421209"/>
                  <a:gd name="connsiteX271" fmla="*/ 971237 w 1620550"/>
                  <a:gd name="connsiteY271" fmla="*/ 1264073 h 1421209"/>
                  <a:gd name="connsiteX272" fmla="*/ 964550 w 1620550"/>
                  <a:gd name="connsiteY272" fmla="*/ 1249028 h 1421209"/>
                  <a:gd name="connsiteX273" fmla="*/ 966222 w 1620550"/>
                  <a:gd name="connsiteY273" fmla="*/ 1233983 h 1421209"/>
                  <a:gd name="connsiteX274" fmla="*/ 974580 w 1620550"/>
                  <a:gd name="connsiteY274" fmla="*/ 1215594 h 1421209"/>
                  <a:gd name="connsiteX275" fmla="*/ 977924 w 1620550"/>
                  <a:gd name="connsiteY275" fmla="*/ 1212251 h 1421209"/>
                  <a:gd name="connsiteX276" fmla="*/ 982939 w 1620550"/>
                  <a:gd name="connsiteY276" fmla="*/ 1205564 h 1421209"/>
                  <a:gd name="connsiteX277" fmla="*/ 991297 w 1620550"/>
                  <a:gd name="connsiteY277" fmla="*/ 1195534 h 1421209"/>
                  <a:gd name="connsiteX278" fmla="*/ 1001327 w 1620550"/>
                  <a:gd name="connsiteY278" fmla="*/ 1185504 h 1421209"/>
                  <a:gd name="connsiteX279" fmla="*/ 1002999 w 1620550"/>
                  <a:gd name="connsiteY279" fmla="*/ 1180489 h 1421209"/>
                  <a:gd name="connsiteX280" fmla="*/ 1006342 w 1620550"/>
                  <a:gd name="connsiteY280" fmla="*/ 1175474 h 1421209"/>
                  <a:gd name="connsiteX281" fmla="*/ 1008014 w 1620550"/>
                  <a:gd name="connsiteY281" fmla="*/ 1168788 h 1421209"/>
                  <a:gd name="connsiteX282" fmla="*/ 1016372 w 1620550"/>
                  <a:gd name="connsiteY282" fmla="*/ 1157086 h 1421209"/>
                  <a:gd name="connsiteX283" fmla="*/ 1023059 w 1620550"/>
                  <a:gd name="connsiteY283" fmla="*/ 1143713 h 1421209"/>
                  <a:gd name="connsiteX284" fmla="*/ 1024730 w 1620550"/>
                  <a:gd name="connsiteY284" fmla="*/ 1138698 h 1421209"/>
                  <a:gd name="connsiteX285" fmla="*/ 1028074 w 1620550"/>
                  <a:gd name="connsiteY285" fmla="*/ 1135354 h 1421209"/>
                  <a:gd name="connsiteX286" fmla="*/ 1033089 w 1620550"/>
                  <a:gd name="connsiteY286" fmla="*/ 1128668 h 1421209"/>
                  <a:gd name="connsiteX287" fmla="*/ 1043119 w 1620550"/>
                  <a:gd name="connsiteY287" fmla="*/ 1116966 h 1421209"/>
                  <a:gd name="connsiteX288" fmla="*/ 1061507 w 1620550"/>
                  <a:gd name="connsiteY288" fmla="*/ 1111951 h 1421209"/>
                  <a:gd name="connsiteX289" fmla="*/ 1069865 w 1620550"/>
                  <a:gd name="connsiteY289" fmla="*/ 1108608 h 1421209"/>
                  <a:gd name="connsiteX290" fmla="*/ 1089925 w 1620550"/>
                  <a:gd name="connsiteY290" fmla="*/ 1105264 h 1421209"/>
                  <a:gd name="connsiteX291" fmla="*/ 1094940 w 1620550"/>
                  <a:gd name="connsiteY291" fmla="*/ 1101921 h 1421209"/>
                  <a:gd name="connsiteX292" fmla="*/ 1111657 w 1620550"/>
                  <a:gd name="connsiteY292" fmla="*/ 1098578 h 1421209"/>
                  <a:gd name="connsiteX293" fmla="*/ 1126702 w 1620550"/>
                  <a:gd name="connsiteY293" fmla="*/ 1090220 h 1421209"/>
                  <a:gd name="connsiteX294" fmla="*/ 1131717 w 1620550"/>
                  <a:gd name="connsiteY294" fmla="*/ 1086876 h 1421209"/>
                  <a:gd name="connsiteX295" fmla="*/ 1133388 w 1620550"/>
                  <a:gd name="connsiteY295" fmla="*/ 1078518 h 1421209"/>
                  <a:gd name="connsiteX296" fmla="*/ 1126702 w 1620550"/>
                  <a:gd name="connsiteY296" fmla="*/ 1070160 h 1421209"/>
                  <a:gd name="connsiteX297" fmla="*/ 1118343 w 1620550"/>
                  <a:gd name="connsiteY297" fmla="*/ 1065145 h 1421209"/>
                  <a:gd name="connsiteX298" fmla="*/ 1109985 w 1620550"/>
                  <a:gd name="connsiteY298" fmla="*/ 1056786 h 1421209"/>
                  <a:gd name="connsiteX299" fmla="*/ 1103298 w 1620550"/>
                  <a:gd name="connsiteY299" fmla="*/ 1048428 h 1421209"/>
                  <a:gd name="connsiteX300" fmla="*/ 1099955 w 1620550"/>
                  <a:gd name="connsiteY300" fmla="*/ 1043413 h 1421209"/>
                  <a:gd name="connsiteX301" fmla="*/ 1094940 w 1620550"/>
                  <a:gd name="connsiteY301" fmla="*/ 1040070 h 1421209"/>
                  <a:gd name="connsiteX302" fmla="*/ 1091597 w 1620550"/>
                  <a:gd name="connsiteY302" fmla="*/ 1033383 h 1421209"/>
                  <a:gd name="connsiteX303" fmla="*/ 1088253 w 1620550"/>
                  <a:gd name="connsiteY303" fmla="*/ 1030040 h 1421209"/>
                  <a:gd name="connsiteX304" fmla="*/ 1083238 w 1620550"/>
                  <a:gd name="connsiteY304" fmla="*/ 1018338 h 1421209"/>
                  <a:gd name="connsiteX305" fmla="*/ 1081567 w 1620550"/>
                  <a:gd name="connsiteY305" fmla="*/ 989920 h 1421209"/>
                  <a:gd name="connsiteX306" fmla="*/ 1079895 w 1620550"/>
                  <a:gd name="connsiteY306" fmla="*/ 984905 h 1421209"/>
                  <a:gd name="connsiteX307" fmla="*/ 1074880 w 1620550"/>
                  <a:gd name="connsiteY307" fmla="*/ 979890 h 1421209"/>
                  <a:gd name="connsiteX308" fmla="*/ 1069865 w 1620550"/>
                  <a:gd name="connsiteY308" fmla="*/ 964845 h 1421209"/>
                  <a:gd name="connsiteX309" fmla="*/ 1074880 w 1620550"/>
                  <a:gd name="connsiteY309" fmla="*/ 929740 h 1421209"/>
                  <a:gd name="connsiteX310" fmla="*/ 1084910 w 1620550"/>
                  <a:gd name="connsiteY310" fmla="*/ 919710 h 1421209"/>
                  <a:gd name="connsiteX311" fmla="*/ 1091597 w 1620550"/>
                  <a:gd name="connsiteY311" fmla="*/ 911352 h 1421209"/>
                  <a:gd name="connsiteX312" fmla="*/ 1098283 w 1620550"/>
                  <a:gd name="connsiteY312" fmla="*/ 906337 h 1421209"/>
                  <a:gd name="connsiteX313" fmla="*/ 1111657 w 1620550"/>
                  <a:gd name="connsiteY313" fmla="*/ 892963 h 1421209"/>
                  <a:gd name="connsiteX314" fmla="*/ 1116672 w 1620550"/>
                  <a:gd name="connsiteY314" fmla="*/ 887948 h 1421209"/>
                  <a:gd name="connsiteX315" fmla="*/ 1121687 w 1620550"/>
                  <a:gd name="connsiteY315" fmla="*/ 881262 h 1421209"/>
                  <a:gd name="connsiteX316" fmla="*/ 1125030 w 1620550"/>
                  <a:gd name="connsiteY316" fmla="*/ 877918 h 1421209"/>
                  <a:gd name="connsiteX317" fmla="*/ 1131717 w 1620550"/>
                  <a:gd name="connsiteY317" fmla="*/ 869560 h 1421209"/>
                  <a:gd name="connsiteX318" fmla="*/ 1136732 w 1620550"/>
                  <a:gd name="connsiteY318" fmla="*/ 864545 h 1421209"/>
                  <a:gd name="connsiteX319" fmla="*/ 1145090 w 1620550"/>
                  <a:gd name="connsiteY319" fmla="*/ 849500 h 1421209"/>
                  <a:gd name="connsiteX320" fmla="*/ 1150105 w 1620550"/>
                  <a:gd name="connsiteY320" fmla="*/ 841142 h 1421209"/>
                  <a:gd name="connsiteX321" fmla="*/ 1153448 w 1620550"/>
                  <a:gd name="connsiteY321" fmla="*/ 831112 h 1421209"/>
                  <a:gd name="connsiteX322" fmla="*/ 1156792 w 1620550"/>
                  <a:gd name="connsiteY322" fmla="*/ 827768 h 1421209"/>
                  <a:gd name="connsiteX323" fmla="*/ 1160135 w 1620550"/>
                  <a:gd name="connsiteY323" fmla="*/ 822753 h 1421209"/>
                  <a:gd name="connsiteX324" fmla="*/ 1173508 w 1620550"/>
                  <a:gd name="connsiteY324" fmla="*/ 814395 h 1421209"/>
                  <a:gd name="connsiteX325" fmla="*/ 1181867 w 1620550"/>
                  <a:gd name="connsiteY325" fmla="*/ 806037 h 1421209"/>
                  <a:gd name="connsiteX326" fmla="*/ 1185210 w 1620550"/>
                  <a:gd name="connsiteY326" fmla="*/ 799350 h 1421209"/>
                  <a:gd name="connsiteX327" fmla="*/ 1205270 w 1620550"/>
                  <a:gd name="connsiteY327" fmla="*/ 785977 h 1421209"/>
                  <a:gd name="connsiteX328" fmla="*/ 1213628 w 1620550"/>
                  <a:gd name="connsiteY328" fmla="*/ 779290 h 1421209"/>
                  <a:gd name="connsiteX329" fmla="*/ 1225330 w 1620550"/>
                  <a:gd name="connsiteY329" fmla="*/ 770932 h 1421209"/>
                  <a:gd name="connsiteX330" fmla="*/ 1228673 w 1620550"/>
                  <a:gd name="connsiteY330" fmla="*/ 765917 h 1421209"/>
                  <a:gd name="connsiteX331" fmla="*/ 1243718 w 1620550"/>
                  <a:gd name="connsiteY331" fmla="*/ 764245 h 1421209"/>
                  <a:gd name="connsiteX332" fmla="*/ 1250405 w 1620550"/>
                  <a:gd name="connsiteY332" fmla="*/ 762573 h 1421209"/>
                  <a:gd name="connsiteX333" fmla="*/ 1255420 w 1620550"/>
                  <a:gd name="connsiteY333" fmla="*/ 757558 h 1421209"/>
                  <a:gd name="connsiteX334" fmla="*/ 1263778 w 1620550"/>
                  <a:gd name="connsiteY334" fmla="*/ 752543 h 1421209"/>
                  <a:gd name="connsiteX335" fmla="*/ 1260435 w 1620550"/>
                  <a:gd name="connsiteY335" fmla="*/ 735827 h 1421209"/>
                  <a:gd name="connsiteX336" fmla="*/ 1257091 w 1620550"/>
                  <a:gd name="connsiteY336" fmla="*/ 732484 h 1421209"/>
                  <a:gd name="connsiteX337" fmla="*/ 1255420 w 1620550"/>
                  <a:gd name="connsiteY337" fmla="*/ 727469 h 1421209"/>
                  <a:gd name="connsiteX338" fmla="*/ 1262106 w 1620550"/>
                  <a:gd name="connsiteY338" fmla="*/ 710752 h 1421209"/>
                  <a:gd name="connsiteX339" fmla="*/ 1272136 w 1620550"/>
                  <a:gd name="connsiteY339" fmla="*/ 705737 h 1421209"/>
                  <a:gd name="connsiteX340" fmla="*/ 1280495 w 1620550"/>
                  <a:gd name="connsiteY340" fmla="*/ 700722 h 1421209"/>
                  <a:gd name="connsiteX341" fmla="*/ 1287181 w 1620550"/>
                  <a:gd name="connsiteY341" fmla="*/ 697379 h 1421209"/>
                  <a:gd name="connsiteX342" fmla="*/ 1292196 w 1620550"/>
                  <a:gd name="connsiteY342" fmla="*/ 694035 h 1421209"/>
                  <a:gd name="connsiteX343" fmla="*/ 1298883 w 1620550"/>
                  <a:gd name="connsiteY343" fmla="*/ 692364 h 1421209"/>
                  <a:gd name="connsiteX344" fmla="*/ 1308913 w 1620550"/>
                  <a:gd name="connsiteY344" fmla="*/ 687349 h 1421209"/>
                  <a:gd name="connsiteX345" fmla="*/ 1323958 w 1620550"/>
                  <a:gd name="connsiteY345" fmla="*/ 682334 h 1421209"/>
                  <a:gd name="connsiteX346" fmla="*/ 1330645 w 1620550"/>
                  <a:gd name="connsiteY346" fmla="*/ 678990 h 1421209"/>
                  <a:gd name="connsiteX347" fmla="*/ 1355720 w 1620550"/>
                  <a:gd name="connsiteY347" fmla="*/ 675647 h 1421209"/>
                  <a:gd name="connsiteX348" fmla="*/ 1359063 w 1620550"/>
                  <a:gd name="connsiteY348" fmla="*/ 670632 h 1421209"/>
                  <a:gd name="connsiteX349" fmla="*/ 1372436 w 1620550"/>
                  <a:gd name="connsiteY349" fmla="*/ 667289 h 1421209"/>
                  <a:gd name="connsiteX350" fmla="*/ 1449333 w 1620550"/>
                  <a:gd name="connsiteY350" fmla="*/ 663945 h 1421209"/>
                  <a:gd name="connsiteX351" fmla="*/ 1464378 w 1620550"/>
                  <a:gd name="connsiteY351" fmla="*/ 645557 h 1421209"/>
                  <a:gd name="connsiteX352" fmla="*/ 1474408 w 1620550"/>
                  <a:gd name="connsiteY352" fmla="*/ 635527 h 1421209"/>
                  <a:gd name="connsiteX353" fmla="*/ 1487781 w 1620550"/>
                  <a:gd name="connsiteY353" fmla="*/ 625497 h 1421209"/>
                  <a:gd name="connsiteX354" fmla="*/ 1494468 w 1620550"/>
                  <a:gd name="connsiteY354" fmla="*/ 623825 h 1421209"/>
                  <a:gd name="connsiteX355" fmla="*/ 1509513 w 1620550"/>
                  <a:gd name="connsiteY355" fmla="*/ 620482 h 1421209"/>
                  <a:gd name="connsiteX356" fmla="*/ 1517871 w 1620550"/>
                  <a:gd name="connsiteY356" fmla="*/ 617139 h 1421209"/>
                  <a:gd name="connsiteX357" fmla="*/ 1524558 w 1620550"/>
                  <a:gd name="connsiteY357" fmla="*/ 613795 h 1421209"/>
                  <a:gd name="connsiteX358" fmla="*/ 1539603 w 1620550"/>
                  <a:gd name="connsiteY358" fmla="*/ 612124 h 1421209"/>
                  <a:gd name="connsiteX359" fmla="*/ 1557991 w 1620550"/>
                  <a:gd name="connsiteY359" fmla="*/ 602094 h 1421209"/>
                  <a:gd name="connsiteX360" fmla="*/ 1573036 w 1620550"/>
                  <a:gd name="connsiteY360" fmla="*/ 597079 h 1421209"/>
                  <a:gd name="connsiteX361" fmla="*/ 1576379 w 1620550"/>
                  <a:gd name="connsiteY361" fmla="*/ 592064 h 1421209"/>
                  <a:gd name="connsiteX362" fmla="*/ 1588081 w 1620550"/>
                  <a:gd name="connsiteY362" fmla="*/ 587049 h 1421209"/>
                  <a:gd name="connsiteX363" fmla="*/ 1591424 w 1620550"/>
                  <a:gd name="connsiteY363" fmla="*/ 583705 h 1421209"/>
                  <a:gd name="connsiteX364" fmla="*/ 1598111 w 1620550"/>
                  <a:gd name="connsiteY364" fmla="*/ 580362 h 1421209"/>
                  <a:gd name="connsiteX365" fmla="*/ 1608141 w 1620550"/>
                  <a:gd name="connsiteY365" fmla="*/ 572004 h 1421209"/>
                  <a:gd name="connsiteX366" fmla="*/ 1614828 w 1620550"/>
                  <a:gd name="connsiteY366" fmla="*/ 560302 h 1421209"/>
                  <a:gd name="connsiteX367" fmla="*/ 1608141 w 1620550"/>
                  <a:gd name="connsiteY367" fmla="*/ 546929 h 1421209"/>
                  <a:gd name="connsiteX368" fmla="*/ 1599783 w 1620550"/>
                  <a:gd name="connsiteY368" fmla="*/ 535227 h 1421209"/>
                  <a:gd name="connsiteX369" fmla="*/ 1598111 w 1620550"/>
                  <a:gd name="connsiteY369" fmla="*/ 530212 h 1421209"/>
                  <a:gd name="connsiteX370" fmla="*/ 1596439 w 1620550"/>
                  <a:gd name="connsiteY370" fmla="*/ 518511 h 1421209"/>
                  <a:gd name="connsiteX371" fmla="*/ 1601454 w 1620550"/>
                  <a:gd name="connsiteY371" fmla="*/ 516839 h 1421209"/>
                  <a:gd name="connsiteX372" fmla="*/ 1604798 w 1620550"/>
                  <a:gd name="connsiteY372" fmla="*/ 513496 h 1421209"/>
                  <a:gd name="connsiteX373" fmla="*/ 1616499 w 1620550"/>
                  <a:gd name="connsiteY373" fmla="*/ 510152 h 1421209"/>
                  <a:gd name="connsiteX374" fmla="*/ 1618171 w 1620550"/>
                  <a:gd name="connsiteY374" fmla="*/ 495107 h 1421209"/>
                  <a:gd name="connsiteX375" fmla="*/ 1613156 w 1620550"/>
                  <a:gd name="connsiteY375" fmla="*/ 491764 h 1421209"/>
                  <a:gd name="connsiteX376" fmla="*/ 1611484 w 1620550"/>
                  <a:gd name="connsiteY376" fmla="*/ 486749 h 1421209"/>
                  <a:gd name="connsiteX377" fmla="*/ 1608141 w 1620550"/>
                  <a:gd name="connsiteY377" fmla="*/ 481734 h 1421209"/>
                  <a:gd name="connsiteX378" fmla="*/ 1606469 w 1620550"/>
                  <a:gd name="connsiteY378" fmla="*/ 473376 h 1421209"/>
                  <a:gd name="connsiteX379" fmla="*/ 1604798 w 1620550"/>
                  <a:gd name="connsiteY379" fmla="*/ 468361 h 1421209"/>
                  <a:gd name="connsiteX380" fmla="*/ 1599783 w 1620550"/>
                  <a:gd name="connsiteY380" fmla="*/ 466689 h 1421209"/>
                  <a:gd name="connsiteX381" fmla="*/ 1586409 w 1620550"/>
                  <a:gd name="connsiteY381" fmla="*/ 461674 h 1421209"/>
                  <a:gd name="connsiteX382" fmla="*/ 1561334 w 1620550"/>
                  <a:gd name="connsiteY382" fmla="*/ 463346 h 1421209"/>
                  <a:gd name="connsiteX383" fmla="*/ 1547961 w 1620550"/>
                  <a:gd name="connsiteY383" fmla="*/ 465017 h 1421209"/>
                  <a:gd name="connsiteX384" fmla="*/ 1539603 w 1620550"/>
                  <a:gd name="connsiteY384" fmla="*/ 470032 h 1421209"/>
                  <a:gd name="connsiteX385" fmla="*/ 1529573 w 1620550"/>
                  <a:gd name="connsiteY385" fmla="*/ 485077 h 1421209"/>
                  <a:gd name="connsiteX386" fmla="*/ 1524558 w 1620550"/>
                  <a:gd name="connsiteY386" fmla="*/ 486749 h 1421209"/>
                  <a:gd name="connsiteX387" fmla="*/ 1504498 w 1620550"/>
                  <a:gd name="connsiteY387" fmla="*/ 480062 h 1421209"/>
                  <a:gd name="connsiteX388" fmla="*/ 1489453 w 1620550"/>
                  <a:gd name="connsiteY388" fmla="*/ 468361 h 1421209"/>
                  <a:gd name="connsiteX389" fmla="*/ 1474408 w 1620550"/>
                  <a:gd name="connsiteY389" fmla="*/ 466689 h 1421209"/>
                  <a:gd name="connsiteX390" fmla="*/ 1462706 w 1620550"/>
                  <a:gd name="connsiteY390" fmla="*/ 468361 h 1421209"/>
                  <a:gd name="connsiteX391" fmla="*/ 1452676 w 1620550"/>
                  <a:gd name="connsiteY391" fmla="*/ 471704 h 1421209"/>
                  <a:gd name="connsiteX392" fmla="*/ 1442646 w 1620550"/>
                  <a:gd name="connsiteY392" fmla="*/ 470032 h 1421209"/>
                  <a:gd name="connsiteX393" fmla="*/ 1435959 w 1620550"/>
                  <a:gd name="connsiteY393" fmla="*/ 463346 h 1421209"/>
                  <a:gd name="connsiteX394" fmla="*/ 1432616 w 1620550"/>
                  <a:gd name="connsiteY394" fmla="*/ 458331 h 1421209"/>
                  <a:gd name="connsiteX395" fmla="*/ 1427601 w 1620550"/>
                  <a:gd name="connsiteY395" fmla="*/ 454987 h 1421209"/>
                  <a:gd name="connsiteX396" fmla="*/ 1422586 w 1620550"/>
                  <a:gd name="connsiteY396" fmla="*/ 448301 h 1421209"/>
                  <a:gd name="connsiteX397" fmla="*/ 1412556 w 1620550"/>
                  <a:gd name="connsiteY397" fmla="*/ 439942 h 1421209"/>
                  <a:gd name="connsiteX398" fmla="*/ 1404198 w 1620550"/>
                  <a:gd name="connsiteY398" fmla="*/ 446629 h 1421209"/>
                  <a:gd name="connsiteX399" fmla="*/ 1390825 w 1620550"/>
                  <a:gd name="connsiteY399" fmla="*/ 453316 h 1421209"/>
                  <a:gd name="connsiteX400" fmla="*/ 1387481 w 1620550"/>
                  <a:gd name="connsiteY400" fmla="*/ 438271 h 1421209"/>
                  <a:gd name="connsiteX401" fmla="*/ 1385810 w 1620550"/>
                  <a:gd name="connsiteY401" fmla="*/ 433256 h 1421209"/>
                  <a:gd name="connsiteX402" fmla="*/ 1384138 w 1620550"/>
                  <a:gd name="connsiteY402" fmla="*/ 411524 h 1421209"/>
                  <a:gd name="connsiteX403" fmla="*/ 1379123 w 1620550"/>
                  <a:gd name="connsiteY403" fmla="*/ 408181 h 1421209"/>
                  <a:gd name="connsiteX404" fmla="*/ 1370765 w 1620550"/>
                  <a:gd name="connsiteY404" fmla="*/ 406509 h 1421209"/>
                  <a:gd name="connsiteX405" fmla="*/ 1364078 w 1620550"/>
                  <a:gd name="connsiteY405" fmla="*/ 404837 h 1421209"/>
                  <a:gd name="connsiteX406" fmla="*/ 1340675 w 1620550"/>
                  <a:gd name="connsiteY406" fmla="*/ 394807 h 1421209"/>
                  <a:gd name="connsiteX407" fmla="*/ 1327301 w 1620550"/>
                  <a:gd name="connsiteY407" fmla="*/ 384777 h 1421209"/>
                  <a:gd name="connsiteX408" fmla="*/ 1320615 w 1620550"/>
                  <a:gd name="connsiteY408" fmla="*/ 379762 h 1421209"/>
                  <a:gd name="connsiteX409" fmla="*/ 1310585 w 1620550"/>
                  <a:gd name="connsiteY409" fmla="*/ 373076 h 1421209"/>
                  <a:gd name="connsiteX410" fmla="*/ 1305570 w 1620550"/>
                  <a:gd name="connsiteY410" fmla="*/ 369732 h 1421209"/>
                  <a:gd name="connsiteX411" fmla="*/ 1297211 w 1620550"/>
                  <a:gd name="connsiteY411" fmla="*/ 368061 h 1421209"/>
                  <a:gd name="connsiteX412" fmla="*/ 1290525 w 1620550"/>
                  <a:gd name="connsiteY412" fmla="*/ 369732 h 1421209"/>
                  <a:gd name="connsiteX413" fmla="*/ 1282166 w 1620550"/>
                  <a:gd name="connsiteY413" fmla="*/ 398151 h 1421209"/>
                  <a:gd name="connsiteX414" fmla="*/ 1272136 w 1620550"/>
                  <a:gd name="connsiteY414" fmla="*/ 394807 h 1421209"/>
                  <a:gd name="connsiteX415" fmla="*/ 1267121 w 1620550"/>
                  <a:gd name="connsiteY415" fmla="*/ 391464 h 1421209"/>
                  <a:gd name="connsiteX416" fmla="*/ 1255420 w 1620550"/>
                  <a:gd name="connsiteY416" fmla="*/ 388121 h 1421209"/>
                  <a:gd name="connsiteX417" fmla="*/ 1220315 w 1620550"/>
                  <a:gd name="connsiteY417" fmla="*/ 386449 h 1421209"/>
                  <a:gd name="connsiteX418" fmla="*/ 1218643 w 1620550"/>
                  <a:gd name="connsiteY418" fmla="*/ 381434 h 1421209"/>
                  <a:gd name="connsiteX419" fmla="*/ 1211957 w 1620550"/>
                  <a:gd name="connsiteY419" fmla="*/ 379762 h 1421209"/>
                  <a:gd name="connsiteX420" fmla="*/ 1175180 w 1620550"/>
                  <a:gd name="connsiteY420" fmla="*/ 378091 h 1421209"/>
                  <a:gd name="connsiteX421" fmla="*/ 1173508 w 1620550"/>
                  <a:gd name="connsiteY421" fmla="*/ 373076 h 1421209"/>
                  <a:gd name="connsiteX422" fmla="*/ 1171837 w 1620550"/>
                  <a:gd name="connsiteY422" fmla="*/ 366389 h 1421209"/>
                  <a:gd name="connsiteX423" fmla="*/ 1163478 w 1620550"/>
                  <a:gd name="connsiteY423" fmla="*/ 361374 h 1421209"/>
                  <a:gd name="connsiteX424" fmla="*/ 1128373 w 1620550"/>
                  <a:gd name="connsiteY424" fmla="*/ 359703 h 1421209"/>
                  <a:gd name="connsiteX425" fmla="*/ 1120015 w 1620550"/>
                  <a:gd name="connsiteY425" fmla="*/ 356359 h 1421209"/>
                  <a:gd name="connsiteX426" fmla="*/ 1113328 w 1620550"/>
                  <a:gd name="connsiteY426" fmla="*/ 346329 h 1421209"/>
                  <a:gd name="connsiteX427" fmla="*/ 1108313 w 1620550"/>
                  <a:gd name="connsiteY427" fmla="*/ 339643 h 1421209"/>
                  <a:gd name="connsiteX428" fmla="*/ 1104970 w 1620550"/>
                  <a:gd name="connsiteY428" fmla="*/ 334628 h 1421209"/>
                  <a:gd name="connsiteX429" fmla="*/ 1098283 w 1620550"/>
                  <a:gd name="connsiteY429" fmla="*/ 327941 h 1421209"/>
                  <a:gd name="connsiteX430" fmla="*/ 1096612 w 1620550"/>
                  <a:gd name="connsiteY430" fmla="*/ 322926 h 1421209"/>
                  <a:gd name="connsiteX431" fmla="*/ 1091597 w 1620550"/>
                  <a:gd name="connsiteY431" fmla="*/ 321254 h 1421209"/>
                  <a:gd name="connsiteX432" fmla="*/ 1084910 w 1620550"/>
                  <a:gd name="connsiteY432" fmla="*/ 317911 h 1421209"/>
                  <a:gd name="connsiteX433" fmla="*/ 1064850 w 1620550"/>
                  <a:gd name="connsiteY433" fmla="*/ 314568 h 1421209"/>
                  <a:gd name="connsiteX434" fmla="*/ 1058164 w 1620550"/>
                  <a:gd name="connsiteY434" fmla="*/ 311224 h 1421209"/>
                  <a:gd name="connsiteX435" fmla="*/ 1054820 w 1620550"/>
                  <a:gd name="connsiteY435" fmla="*/ 307881 h 1421209"/>
                  <a:gd name="connsiteX436" fmla="*/ 1049805 w 1620550"/>
                  <a:gd name="connsiteY436" fmla="*/ 304538 h 1421209"/>
                  <a:gd name="connsiteX437" fmla="*/ 1046462 w 1620550"/>
                  <a:gd name="connsiteY437" fmla="*/ 301194 h 1421209"/>
                  <a:gd name="connsiteX438" fmla="*/ 1039775 w 1620550"/>
                  <a:gd name="connsiteY438" fmla="*/ 299523 h 1421209"/>
                  <a:gd name="connsiteX439" fmla="*/ 1029745 w 1620550"/>
                  <a:gd name="connsiteY439" fmla="*/ 296179 h 1421209"/>
                  <a:gd name="connsiteX440" fmla="*/ 1016372 w 1620550"/>
                  <a:gd name="connsiteY440" fmla="*/ 287821 h 1421209"/>
                  <a:gd name="connsiteX441" fmla="*/ 1013029 w 1620550"/>
                  <a:gd name="connsiteY441" fmla="*/ 282806 h 1421209"/>
                  <a:gd name="connsiteX442" fmla="*/ 1014700 w 1620550"/>
                  <a:gd name="connsiteY442" fmla="*/ 276119 h 1421209"/>
                  <a:gd name="connsiteX443" fmla="*/ 1016372 w 1620550"/>
                  <a:gd name="connsiteY443" fmla="*/ 271104 h 1421209"/>
                  <a:gd name="connsiteX444" fmla="*/ 1029745 w 1620550"/>
                  <a:gd name="connsiteY444" fmla="*/ 264418 h 1421209"/>
                  <a:gd name="connsiteX445" fmla="*/ 1031417 w 1620550"/>
                  <a:gd name="connsiteY445" fmla="*/ 257731 h 1421209"/>
                  <a:gd name="connsiteX446" fmla="*/ 1024730 w 1620550"/>
                  <a:gd name="connsiteY446" fmla="*/ 256059 h 1421209"/>
                  <a:gd name="connsiteX447" fmla="*/ 1016372 w 1620550"/>
                  <a:gd name="connsiteY447" fmla="*/ 251044 h 1421209"/>
                  <a:gd name="connsiteX448" fmla="*/ 1008014 w 1620550"/>
                  <a:gd name="connsiteY448" fmla="*/ 247701 h 1421209"/>
                  <a:gd name="connsiteX449" fmla="*/ 1002999 w 1620550"/>
                  <a:gd name="connsiteY449" fmla="*/ 244358 h 1421209"/>
                  <a:gd name="connsiteX450" fmla="*/ 997984 w 1620550"/>
                  <a:gd name="connsiteY450" fmla="*/ 242686 h 1421209"/>
                  <a:gd name="connsiteX451" fmla="*/ 989625 w 1620550"/>
                  <a:gd name="connsiteY451" fmla="*/ 235999 h 1421209"/>
                  <a:gd name="connsiteX452" fmla="*/ 984610 w 1620550"/>
                  <a:gd name="connsiteY452" fmla="*/ 234328 h 1421209"/>
                  <a:gd name="connsiteX453" fmla="*/ 966222 w 1620550"/>
                  <a:gd name="connsiteY453" fmla="*/ 227641 h 1421209"/>
                  <a:gd name="connsiteX454" fmla="*/ 944490 w 1620550"/>
                  <a:gd name="connsiteY454" fmla="*/ 229313 h 1421209"/>
                  <a:gd name="connsiteX455" fmla="*/ 902699 w 1620550"/>
                  <a:gd name="connsiteY455" fmla="*/ 227641 h 1421209"/>
                  <a:gd name="connsiteX456" fmla="*/ 897684 w 1620550"/>
                  <a:gd name="connsiteY456" fmla="*/ 225969 h 1421209"/>
                  <a:gd name="connsiteX457" fmla="*/ 885982 w 1620550"/>
                  <a:gd name="connsiteY457" fmla="*/ 215939 h 1421209"/>
                  <a:gd name="connsiteX458" fmla="*/ 874281 w 1620550"/>
                  <a:gd name="connsiteY458" fmla="*/ 207581 h 1421209"/>
                  <a:gd name="connsiteX459" fmla="*/ 869266 w 1620550"/>
                  <a:gd name="connsiteY459" fmla="*/ 204238 h 1421209"/>
                  <a:gd name="connsiteX460" fmla="*/ 860907 w 1620550"/>
                  <a:gd name="connsiteY460" fmla="*/ 197551 h 1421209"/>
                  <a:gd name="connsiteX461" fmla="*/ 854221 w 1620550"/>
                  <a:gd name="connsiteY461" fmla="*/ 195879 h 1421209"/>
                  <a:gd name="connsiteX462" fmla="*/ 842519 w 1620550"/>
                  <a:gd name="connsiteY462" fmla="*/ 192536 h 1421209"/>
                  <a:gd name="connsiteX463" fmla="*/ 815772 w 1620550"/>
                  <a:gd name="connsiteY463" fmla="*/ 194208 h 1421209"/>
                  <a:gd name="connsiteX464" fmla="*/ 805742 w 1620550"/>
                  <a:gd name="connsiteY464" fmla="*/ 195879 h 1421209"/>
                  <a:gd name="connsiteX465" fmla="*/ 789026 w 1620550"/>
                  <a:gd name="connsiteY465" fmla="*/ 197551 h 1421209"/>
                  <a:gd name="connsiteX466" fmla="*/ 782339 w 1620550"/>
                  <a:gd name="connsiteY466" fmla="*/ 194208 h 1421209"/>
                  <a:gd name="connsiteX467" fmla="*/ 780667 w 1620550"/>
                  <a:gd name="connsiteY467" fmla="*/ 189193 h 1421209"/>
                  <a:gd name="connsiteX468" fmla="*/ 775652 w 1620550"/>
                  <a:gd name="connsiteY468" fmla="*/ 175820 h 1421209"/>
                  <a:gd name="connsiteX469" fmla="*/ 768966 w 1620550"/>
                  <a:gd name="connsiteY469" fmla="*/ 170805 h 1421209"/>
                  <a:gd name="connsiteX470" fmla="*/ 765622 w 1620550"/>
                  <a:gd name="connsiteY470" fmla="*/ 167461 h 1421209"/>
                  <a:gd name="connsiteX471" fmla="*/ 753921 w 1620550"/>
                  <a:gd name="connsiteY471" fmla="*/ 162446 h 1421209"/>
                  <a:gd name="connsiteX472" fmla="*/ 735532 w 1620550"/>
                  <a:gd name="connsiteY472" fmla="*/ 164118 h 1421209"/>
                  <a:gd name="connsiteX473" fmla="*/ 722159 w 1620550"/>
                  <a:gd name="connsiteY473" fmla="*/ 170805 h 1421209"/>
                  <a:gd name="connsiteX474" fmla="*/ 720487 w 1620550"/>
                  <a:gd name="connsiteY474" fmla="*/ 165790 h 1421209"/>
                  <a:gd name="connsiteX475" fmla="*/ 715472 w 1620550"/>
                  <a:gd name="connsiteY475" fmla="*/ 164118 h 1421209"/>
                  <a:gd name="connsiteX476" fmla="*/ 693741 w 1620550"/>
                  <a:gd name="connsiteY476" fmla="*/ 165790 h 1421209"/>
                  <a:gd name="connsiteX477" fmla="*/ 683711 w 1620550"/>
                  <a:gd name="connsiteY477" fmla="*/ 169133 h 1421209"/>
                  <a:gd name="connsiteX478" fmla="*/ 678696 w 1620550"/>
                  <a:gd name="connsiteY478" fmla="*/ 170805 h 1421209"/>
                  <a:gd name="connsiteX479" fmla="*/ 631889 w 1620550"/>
                  <a:gd name="connsiteY479" fmla="*/ 167461 h 1421209"/>
                  <a:gd name="connsiteX480" fmla="*/ 620188 w 1620550"/>
                  <a:gd name="connsiteY480" fmla="*/ 164118 h 1421209"/>
                  <a:gd name="connsiteX481" fmla="*/ 610158 w 1620550"/>
                  <a:gd name="connsiteY481" fmla="*/ 159103 h 1421209"/>
                  <a:gd name="connsiteX482" fmla="*/ 603471 w 1620550"/>
                  <a:gd name="connsiteY482" fmla="*/ 157431 h 1421209"/>
                  <a:gd name="connsiteX483" fmla="*/ 598456 w 1620550"/>
                  <a:gd name="connsiteY483" fmla="*/ 155760 h 1421209"/>
                  <a:gd name="connsiteX484" fmla="*/ 593441 w 1620550"/>
                  <a:gd name="connsiteY484" fmla="*/ 152416 h 1421209"/>
                  <a:gd name="connsiteX485" fmla="*/ 570038 w 1620550"/>
                  <a:gd name="connsiteY485" fmla="*/ 147401 h 1421209"/>
                  <a:gd name="connsiteX486" fmla="*/ 561679 w 1620550"/>
                  <a:gd name="connsiteY486" fmla="*/ 140715 h 1421209"/>
                  <a:gd name="connsiteX487" fmla="*/ 556664 w 1620550"/>
                  <a:gd name="connsiteY487" fmla="*/ 137371 h 1421209"/>
                  <a:gd name="connsiteX488" fmla="*/ 541619 w 1620550"/>
                  <a:gd name="connsiteY488" fmla="*/ 127341 h 1421209"/>
                  <a:gd name="connsiteX489" fmla="*/ 529918 w 1620550"/>
                  <a:gd name="connsiteY489" fmla="*/ 120655 h 1421209"/>
                  <a:gd name="connsiteX490" fmla="*/ 518216 w 1620550"/>
                  <a:gd name="connsiteY490" fmla="*/ 113968 h 1421209"/>
                  <a:gd name="connsiteX491" fmla="*/ 511530 w 1620550"/>
                  <a:gd name="connsiteY491" fmla="*/ 110625 h 1421209"/>
                  <a:gd name="connsiteX492" fmla="*/ 493141 w 1620550"/>
                  <a:gd name="connsiteY492" fmla="*/ 107281 h 1421209"/>
                  <a:gd name="connsiteX493" fmla="*/ 484783 w 1620550"/>
                  <a:gd name="connsiteY493" fmla="*/ 105610 h 1421209"/>
                  <a:gd name="connsiteX494" fmla="*/ 478096 w 1620550"/>
                  <a:gd name="connsiteY494" fmla="*/ 100595 h 1421209"/>
                  <a:gd name="connsiteX495" fmla="*/ 474753 w 1620550"/>
                  <a:gd name="connsiteY495" fmla="*/ 90565 h 1421209"/>
                  <a:gd name="connsiteX496" fmla="*/ 471410 w 1620550"/>
                  <a:gd name="connsiteY496" fmla="*/ 87221 h 1421209"/>
                  <a:gd name="connsiteX497" fmla="*/ 397856 w 1620550"/>
                  <a:gd name="connsiteY497" fmla="*/ 85550 h 1421209"/>
                  <a:gd name="connsiteX498" fmla="*/ 386155 w 1620550"/>
                  <a:gd name="connsiteY498" fmla="*/ 78863 h 1421209"/>
                  <a:gd name="connsiteX499" fmla="*/ 374453 w 1620550"/>
                  <a:gd name="connsiteY499" fmla="*/ 77191 h 1421209"/>
                  <a:gd name="connsiteX500" fmla="*/ 356065 w 1620550"/>
                  <a:gd name="connsiteY500" fmla="*/ 72176 h 1421209"/>
                  <a:gd name="connsiteX501" fmla="*/ 349378 w 1620550"/>
                  <a:gd name="connsiteY501" fmla="*/ 70505 h 1421209"/>
                  <a:gd name="connsiteX502" fmla="*/ 339348 w 1620550"/>
                  <a:gd name="connsiteY502" fmla="*/ 65490 h 1421209"/>
                  <a:gd name="connsiteX503" fmla="*/ 322632 w 1620550"/>
                  <a:gd name="connsiteY503" fmla="*/ 60475 h 1421209"/>
                  <a:gd name="connsiteX504" fmla="*/ 312602 w 1620550"/>
                  <a:gd name="connsiteY504" fmla="*/ 65490 h 1421209"/>
                  <a:gd name="connsiteX505" fmla="*/ 307587 w 1620550"/>
                  <a:gd name="connsiteY505" fmla="*/ 67161 h 1421209"/>
                  <a:gd name="connsiteX506" fmla="*/ 299228 w 1620550"/>
                  <a:gd name="connsiteY506" fmla="*/ 70505 h 1421209"/>
                  <a:gd name="connsiteX507" fmla="*/ 295885 w 1620550"/>
                  <a:gd name="connsiteY507" fmla="*/ 65490 h 1421209"/>
                  <a:gd name="connsiteX508" fmla="*/ 282512 w 1620550"/>
                  <a:gd name="connsiteY508" fmla="*/ 55460 h 1421209"/>
                  <a:gd name="connsiteX509" fmla="*/ 277497 w 1620550"/>
                  <a:gd name="connsiteY509" fmla="*/ 53788 h 1421209"/>
                  <a:gd name="connsiteX510" fmla="*/ 269138 w 1620550"/>
                  <a:gd name="connsiteY510" fmla="*/ 42086 h 1421209"/>
                  <a:gd name="connsiteX511" fmla="*/ 267467 w 1620550"/>
                  <a:gd name="connsiteY511" fmla="*/ 33728 h 1421209"/>
                  <a:gd name="connsiteX512" fmla="*/ 262452 w 1620550"/>
                  <a:gd name="connsiteY512" fmla="*/ 28713 h 1421209"/>
                  <a:gd name="connsiteX513" fmla="*/ 252422 w 1620550"/>
                  <a:gd name="connsiteY513" fmla="*/ 25370 h 1421209"/>
                  <a:gd name="connsiteX514" fmla="*/ 239048 w 1620550"/>
                  <a:gd name="connsiteY514" fmla="*/ 15340 h 1421209"/>
                  <a:gd name="connsiteX515" fmla="*/ 234033 w 1620550"/>
                  <a:gd name="connsiteY515" fmla="*/ 10325 h 1421209"/>
                  <a:gd name="connsiteX516" fmla="*/ 220660 w 1620550"/>
                  <a:gd name="connsiteY516" fmla="*/ 5310 h 1421209"/>
                  <a:gd name="connsiteX517" fmla="*/ 215645 w 1620550"/>
                  <a:gd name="connsiteY517" fmla="*/ 1967 h 1421209"/>
                  <a:gd name="connsiteX518" fmla="*/ 192242 w 1620550"/>
                  <a:gd name="connsiteY518" fmla="*/ 1967 h 1421209"/>
                  <a:gd name="connsiteX519" fmla="*/ 198928 w 1620550"/>
                  <a:gd name="connsiteY519" fmla="*/ 5310 h 1421209"/>
                  <a:gd name="connsiteX0" fmla="*/ 198928 w 1620550"/>
                  <a:gd name="connsiteY0" fmla="*/ 5310 h 1421209"/>
                  <a:gd name="connsiteX1" fmla="*/ 177197 w 1620550"/>
                  <a:gd name="connsiteY1" fmla="*/ 10325 h 1421209"/>
                  <a:gd name="connsiteX2" fmla="*/ 175525 w 1620550"/>
                  <a:gd name="connsiteY2" fmla="*/ 15340 h 1421209"/>
                  <a:gd name="connsiteX3" fmla="*/ 177197 w 1620550"/>
                  <a:gd name="connsiteY3" fmla="*/ 20355 h 1421209"/>
                  <a:gd name="connsiteX4" fmla="*/ 172182 w 1620550"/>
                  <a:gd name="connsiteY4" fmla="*/ 23698 h 1421209"/>
                  <a:gd name="connsiteX5" fmla="*/ 152122 w 1620550"/>
                  <a:gd name="connsiteY5" fmla="*/ 25370 h 1421209"/>
                  <a:gd name="connsiteX6" fmla="*/ 155465 w 1620550"/>
                  <a:gd name="connsiteY6" fmla="*/ 35400 h 1421209"/>
                  <a:gd name="connsiteX7" fmla="*/ 157137 w 1620550"/>
                  <a:gd name="connsiteY7" fmla="*/ 42086 h 1421209"/>
                  <a:gd name="connsiteX8" fmla="*/ 148779 w 1620550"/>
                  <a:gd name="connsiteY8" fmla="*/ 47101 h 1421209"/>
                  <a:gd name="connsiteX9" fmla="*/ 145435 w 1620550"/>
                  <a:gd name="connsiteY9" fmla="*/ 50445 h 1421209"/>
                  <a:gd name="connsiteX10" fmla="*/ 135405 w 1620550"/>
                  <a:gd name="connsiteY10" fmla="*/ 53788 h 1421209"/>
                  <a:gd name="connsiteX11" fmla="*/ 133734 w 1620550"/>
                  <a:gd name="connsiteY11" fmla="*/ 58803 h 1421209"/>
                  <a:gd name="connsiteX12" fmla="*/ 115345 w 1620550"/>
                  <a:gd name="connsiteY12" fmla="*/ 63818 h 1421209"/>
                  <a:gd name="connsiteX13" fmla="*/ 81912 w 1620550"/>
                  <a:gd name="connsiteY13" fmla="*/ 62146 h 1421209"/>
                  <a:gd name="connsiteX14" fmla="*/ 73554 w 1620550"/>
                  <a:gd name="connsiteY14" fmla="*/ 53788 h 1421209"/>
                  <a:gd name="connsiteX15" fmla="*/ 66867 w 1620550"/>
                  <a:gd name="connsiteY15" fmla="*/ 50445 h 1421209"/>
                  <a:gd name="connsiteX16" fmla="*/ 55165 w 1620550"/>
                  <a:gd name="connsiteY16" fmla="*/ 52116 h 1421209"/>
                  <a:gd name="connsiteX17" fmla="*/ 55165 w 1620550"/>
                  <a:gd name="connsiteY17" fmla="*/ 62146 h 1421209"/>
                  <a:gd name="connsiteX18" fmla="*/ 30090 w 1620550"/>
                  <a:gd name="connsiteY18" fmla="*/ 65490 h 1421209"/>
                  <a:gd name="connsiteX19" fmla="*/ 16717 w 1620550"/>
                  <a:gd name="connsiteY19" fmla="*/ 75520 h 1421209"/>
                  <a:gd name="connsiteX20" fmla="*/ 11702 w 1620550"/>
                  <a:gd name="connsiteY20" fmla="*/ 80535 h 1421209"/>
                  <a:gd name="connsiteX21" fmla="*/ 8359 w 1620550"/>
                  <a:gd name="connsiteY21" fmla="*/ 88893 h 1421209"/>
                  <a:gd name="connsiteX22" fmla="*/ 6687 w 1620550"/>
                  <a:gd name="connsiteY22" fmla="*/ 98923 h 1421209"/>
                  <a:gd name="connsiteX23" fmla="*/ 0 w 1620550"/>
                  <a:gd name="connsiteY23" fmla="*/ 107281 h 1421209"/>
                  <a:gd name="connsiteX24" fmla="*/ 15045 w 1620550"/>
                  <a:gd name="connsiteY24" fmla="*/ 115640 h 1421209"/>
                  <a:gd name="connsiteX25" fmla="*/ 13374 w 1620550"/>
                  <a:gd name="connsiteY25" fmla="*/ 123998 h 1421209"/>
                  <a:gd name="connsiteX26" fmla="*/ 16717 w 1620550"/>
                  <a:gd name="connsiteY26" fmla="*/ 130685 h 1421209"/>
                  <a:gd name="connsiteX27" fmla="*/ 11702 w 1620550"/>
                  <a:gd name="connsiteY27" fmla="*/ 135700 h 1421209"/>
                  <a:gd name="connsiteX28" fmla="*/ 8359 w 1620550"/>
                  <a:gd name="connsiteY28" fmla="*/ 140715 h 1421209"/>
                  <a:gd name="connsiteX29" fmla="*/ 33434 w 1620550"/>
                  <a:gd name="connsiteY29" fmla="*/ 142386 h 1421209"/>
                  <a:gd name="connsiteX30" fmla="*/ 36777 w 1620550"/>
                  <a:gd name="connsiteY30" fmla="*/ 147401 h 1421209"/>
                  <a:gd name="connsiteX31" fmla="*/ 20060 w 1620550"/>
                  <a:gd name="connsiteY31" fmla="*/ 150745 h 1421209"/>
                  <a:gd name="connsiteX32" fmla="*/ 18389 w 1620550"/>
                  <a:gd name="connsiteY32" fmla="*/ 174148 h 1421209"/>
                  <a:gd name="connsiteX33" fmla="*/ 23404 w 1620550"/>
                  <a:gd name="connsiteY33" fmla="*/ 175820 h 1421209"/>
                  <a:gd name="connsiteX34" fmla="*/ 31762 w 1620550"/>
                  <a:gd name="connsiteY34" fmla="*/ 174148 h 1421209"/>
                  <a:gd name="connsiteX35" fmla="*/ 33434 w 1620550"/>
                  <a:gd name="connsiteY35" fmla="*/ 169133 h 1421209"/>
                  <a:gd name="connsiteX36" fmla="*/ 38449 w 1620550"/>
                  <a:gd name="connsiteY36" fmla="*/ 167461 h 1421209"/>
                  <a:gd name="connsiteX37" fmla="*/ 48479 w 1620550"/>
                  <a:gd name="connsiteY37" fmla="*/ 169133 h 1421209"/>
                  <a:gd name="connsiteX38" fmla="*/ 50150 w 1620550"/>
                  <a:gd name="connsiteY38" fmla="*/ 180835 h 1421209"/>
                  <a:gd name="connsiteX39" fmla="*/ 45135 w 1620550"/>
                  <a:gd name="connsiteY39" fmla="*/ 182506 h 1421209"/>
                  <a:gd name="connsiteX40" fmla="*/ 41792 w 1620550"/>
                  <a:gd name="connsiteY40" fmla="*/ 187521 h 1421209"/>
                  <a:gd name="connsiteX41" fmla="*/ 40120 w 1620550"/>
                  <a:gd name="connsiteY41" fmla="*/ 197551 h 1421209"/>
                  <a:gd name="connsiteX42" fmla="*/ 38449 w 1620550"/>
                  <a:gd name="connsiteY42" fmla="*/ 205909 h 1421209"/>
                  <a:gd name="connsiteX43" fmla="*/ 35105 w 1620550"/>
                  <a:gd name="connsiteY43" fmla="*/ 212596 h 1421209"/>
                  <a:gd name="connsiteX44" fmla="*/ 33434 w 1620550"/>
                  <a:gd name="connsiteY44" fmla="*/ 217611 h 1421209"/>
                  <a:gd name="connsiteX45" fmla="*/ 41792 w 1620550"/>
                  <a:gd name="connsiteY45" fmla="*/ 220954 h 1421209"/>
                  <a:gd name="connsiteX46" fmla="*/ 58509 w 1620550"/>
                  <a:gd name="connsiteY46" fmla="*/ 222626 h 1421209"/>
                  <a:gd name="connsiteX47" fmla="*/ 30090 w 1620550"/>
                  <a:gd name="connsiteY47" fmla="*/ 232656 h 1421209"/>
                  <a:gd name="connsiteX48" fmla="*/ 28419 w 1620550"/>
                  <a:gd name="connsiteY48" fmla="*/ 237671 h 1421209"/>
                  <a:gd name="connsiteX49" fmla="*/ 40120 w 1620550"/>
                  <a:gd name="connsiteY49" fmla="*/ 239343 h 1421209"/>
                  <a:gd name="connsiteX50" fmla="*/ 31762 w 1620550"/>
                  <a:gd name="connsiteY50" fmla="*/ 242686 h 1421209"/>
                  <a:gd name="connsiteX51" fmla="*/ 26747 w 1620550"/>
                  <a:gd name="connsiteY51" fmla="*/ 249373 h 1421209"/>
                  <a:gd name="connsiteX52" fmla="*/ 15045 w 1620550"/>
                  <a:gd name="connsiteY52" fmla="*/ 257731 h 1421209"/>
                  <a:gd name="connsiteX53" fmla="*/ 15045 w 1620550"/>
                  <a:gd name="connsiteY53" fmla="*/ 291164 h 1421209"/>
                  <a:gd name="connsiteX54" fmla="*/ 25075 w 1620550"/>
                  <a:gd name="connsiteY54" fmla="*/ 287821 h 1421209"/>
                  <a:gd name="connsiteX55" fmla="*/ 38196 w 1620550"/>
                  <a:gd name="connsiteY55" fmla="*/ 286607 h 1421209"/>
                  <a:gd name="connsiteX56" fmla="*/ 45845 w 1620550"/>
                  <a:gd name="connsiteY56" fmla="*/ 283010 h 1421209"/>
                  <a:gd name="connsiteX57" fmla="*/ 61347 w 1620550"/>
                  <a:gd name="connsiteY57" fmla="*/ 276577 h 1421209"/>
                  <a:gd name="connsiteX58" fmla="*/ 83584 w 1620550"/>
                  <a:gd name="connsiteY58" fmla="*/ 267761 h 1421209"/>
                  <a:gd name="connsiteX59" fmla="*/ 91942 w 1620550"/>
                  <a:gd name="connsiteY59" fmla="*/ 269433 h 1421209"/>
                  <a:gd name="connsiteX60" fmla="*/ 98629 w 1620550"/>
                  <a:gd name="connsiteY60" fmla="*/ 272776 h 1421209"/>
                  <a:gd name="connsiteX61" fmla="*/ 103644 w 1620550"/>
                  <a:gd name="connsiteY61" fmla="*/ 274448 h 1421209"/>
                  <a:gd name="connsiteX62" fmla="*/ 108659 w 1620550"/>
                  <a:gd name="connsiteY62" fmla="*/ 279463 h 1421209"/>
                  <a:gd name="connsiteX63" fmla="*/ 112002 w 1620550"/>
                  <a:gd name="connsiteY63" fmla="*/ 299523 h 1421209"/>
                  <a:gd name="connsiteX64" fmla="*/ 100300 w 1620550"/>
                  <a:gd name="connsiteY64" fmla="*/ 307881 h 1421209"/>
                  <a:gd name="connsiteX65" fmla="*/ 96957 w 1620550"/>
                  <a:gd name="connsiteY65" fmla="*/ 321254 h 1421209"/>
                  <a:gd name="connsiteX66" fmla="*/ 95285 w 1620550"/>
                  <a:gd name="connsiteY66" fmla="*/ 326269 h 1421209"/>
                  <a:gd name="connsiteX67" fmla="*/ 98629 w 1620550"/>
                  <a:gd name="connsiteY67" fmla="*/ 331284 h 1421209"/>
                  <a:gd name="connsiteX68" fmla="*/ 118689 w 1620550"/>
                  <a:gd name="connsiteY68" fmla="*/ 334628 h 1421209"/>
                  <a:gd name="connsiteX69" fmla="*/ 147107 w 1620550"/>
                  <a:gd name="connsiteY69" fmla="*/ 332956 h 1421209"/>
                  <a:gd name="connsiteX70" fmla="*/ 158808 w 1620550"/>
                  <a:gd name="connsiteY70" fmla="*/ 329613 h 1421209"/>
                  <a:gd name="connsiteX71" fmla="*/ 168838 w 1620550"/>
                  <a:gd name="connsiteY71" fmla="*/ 332956 h 1421209"/>
                  <a:gd name="connsiteX72" fmla="*/ 177197 w 1620550"/>
                  <a:gd name="connsiteY72" fmla="*/ 342986 h 1421209"/>
                  <a:gd name="connsiteX73" fmla="*/ 183883 w 1620550"/>
                  <a:gd name="connsiteY73" fmla="*/ 346329 h 1421209"/>
                  <a:gd name="connsiteX74" fmla="*/ 189861 w 1620550"/>
                  <a:gd name="connsiteY74" fmla="*/ 357526 h 1421209"/>
                  <a:gd name="connsiteX75" fmla="*/ 210173 w 1620550"/>
                  <a:gd name="connsiteY75" fmla="*/ 360364 h 1421209"/>
                  <a:gd name="connsiteX76" fmla="*/ 219950 w 1620550"/>
                  <a:gd name="connsiteY76" fmla="*/ 351296 h 1421209"/>
                  <a:gd name="connsiteX77" fmla="*/ 232362 w 1620550"/>
                  <a:gd name="connsiteY77" fmla="*/ 331284 h 1421209"/>
                  <a:gd name="connsiteX78" fmla="*/ 239048 w 1620550"/>
                  <a:gd name="connsiteY78" fmla="*/ 334628 h 1421209"/>
                  <a:gd name="connsiteX79" fmla="*/ 244063 w 1620550"/>
                  <a:gd name="connsiteY79" fmla="*/ 339643 h 1421209"/>
                  <a:gd name="connsiteX80" fmla="*/ 250750 w 1620550"/>
                  <a:gd name="connsiteY80" fmla="*/ 341314 h 1421209"/>
                  <a:gd name="connsiteX81" fmla="*/ 260780 w 1620550"/>
                  <a:gd name="connsiteY81" fmla="*/ 348001 h 1421209"/>
                  <a:gd name="connsiteX82" fmla="*/ 269138 w 1620550"/>
                  <a:gd name="connsiteY82" fmla="*/ 356359 h 1421209"/>
                  <a:gd name="connsiteX83" fmla="*/ 270810 w 1620550"/>
                  <a:gd name="connsiteY83" fmla="*/ 368061 h 1421209"/>
                  <a:gd name="connsiteX84" fmla="*/ 290870 w 1620550"/>
                  <a:gd name="connsiteY84" fmla="*/ 366389 h 1421209"/>
                  <a:gd name="connsiteX85" fmla="*/ 305915 w 1620550"/>
                  <a:gd name="connsiteY85" fmla="*/ 368061 h 1421209"/>
                  <a:gd name="connsiteX86" fmla="*/ 304243 w 1620550"/>
                  <a:gd name="connsiteY86" fmla="*/ 388121 h 1421209"/>
                  <a:gd name="connsiteX87" fmla="*/ 307587 w 1620550"/>
                  <a:gd name="connsiteY87" fmla="*/ 403166 h 1421209"/>
                  <a:gd name="connsiteX88" fmla="*/ 320960 w 1620550"/>
                  <a:gd name="connsiteY88" fmla="*/ 414867 h 1421209"/>
                  <a:gd name="connsiteX89" fmla="*/ 329318 w 1620550"/>
                  <a:gd name="connsiteY89" fmla="*/ 424897 h 1421209"/>
                  <a:gd name="connsiteX90" fmla="*/ 336005 w 1620550"/>
                  <a:gd name="connsiteY90" fmla="*/ 428241 h 1421209"/>
                  <a:gd name="connsiteX91" fmla="*/ 334333 w 1620550"/>
                  <a:gd name="connsiteY91" fmla="*/ 458331 h 1421209"/>
                  <a:gd name="connsiteX92" fmla="*/ 307587 w 1620550"/>
                  <a:gd name="connsiteY92" fmla="*/ 478391 h 1421209"/>
                  <a:gd name="connsiteX93" fmla="*/ 292542 w 1620550"/>
                  <a:gd name="connsiteY93" fmla="*/ 483406 h 1421209"/>
                  <a:gd name="connsiteX94" fmla="*/ 287527 w 1620550"/>
                  <a:gd name="connsiteY94" fmla="*/ 486749 h 1421209"/>
                  <a:gd name="connsiteX95" fmla="*/ 265795 w 1620550"/>
                  <a:gd name="connsiteY95" fmla="*/ 488421 h 1421209"/>
                  <a:gd name="connsiteX96" fmla="*/ 257437 w 1620550"/>
                  <a:gd name="connsiteY96" fmla="*/ 495107 h 1421209"/>
                  <a:gd name="connsiteX97" fmla="*/ 249078 w 1620550"/>
                  <a:gd name="connsiteY97" fmla="*/ 503466 h 1421209"/>
                  <a:gd name="connsiteX98" fmla="*/ 247407 w 1620550"/>
                  <a:gd name="connsiteY98" fmla="*/ 508481 h 1421209"/>
                  <a:gd name="connsiteX99" fmla="*/ 239048 w 1620550"/>
                  <a:gd name="connsiteY99" fmla="*/ 515167 h 1421209"/>
                  <a:gd name="connsiteX100" fmla="*/ 237377 w 1620550"/>
                  <a:gd name="connsiteY100" fmla="*/ 536899 h 1421209"/>
                  <a:gd name="connsiteX101" fmla="*/ 239048 w 1620550"/>
                  <a:gd name="connsiteY101" fmla="*/ 543586 h 1421209"/>
                  <a:gd name="connsiteX102" fmla="*/ 237377 w 1620550"/>
                  <a:gd name="connsiteY102" fmla="*/ 595407 h 1421209"/>
                  <a:gd name="connsiteX103" fmla="*/ 230690 w 1620550"/>
                  <a:gd name="connsiteY103" fmla="*/ 610452 h 1421209"/>
                  <a:gd name="connsiteX104" fmla="*/ 227347 w 1620550"/>
                  <a:gd name="connsiteY104" fmla="*/ 618810 h 1421209"/>
                  <a:gd name="connsiteX105" fmla="*/ 224003 w 1620550"/>
                  <a:gd name="connsiteY105" fmla="*/ 625497 h 1421209"/>
                  <a:gd name="connsiteX106" fmla="*/ 222332 w 1620550"/>
                  <a:gd name="connsiteY106" fmla="*/ 633855 h 1421209"/>
                  <a:gd name="connsiteX107" fmla="*/ 213973 w 1620550"/>
                  <a:gd name="connsiteY107" fmla="*/ 642214 h 1421209"/>
                  <a:gd name="connsiteX108" fmla="*/ 205615 w 1620550"/>
                  <a:gd name="connsiteY108" fmla="*/ 648900 h 1421209"/>
                  <a:gd name="connsiteX109" fmla="*/ 190570 w 1620550"/>
                  <a:gd name="connsiteY109" fmla="*/ 652244 h 1421209"/>
                  <a:gd name="connsiteX110" fmla="*/ 192242 w 1620550"/>
                  <a:gd name="connsiteY110" fmla="*/ 662274 h 1421209"/>
                  <a:gd name="connsiteX111" fmla="*/ 193913 w 1620550"/>
                  <a:gd name="connsiteY111" fmla="*/ 667289 h 1421209"/>
                  <a:gd name="connsiteX112" fmla="*/ 190570 w 1620550"/>
                  <a:gd name="connsiteY112" fmla="*/ 695707 h 1421209"/>
                  <a:gd name="connsiteX113" fmla="*/ 187227 w 1620550"/>
                  <a:gd name="connsiteY113" fmla="*/ 704065 h 1421209"/>
                  <a:gd name="connsiteX114" fmla="*/ 185555 w 1620550"/>
                  <a:gd name="connsiteY114" fmla="*/ 712424 h 1421209"/>
                  <a:gd name="connsiteX115" fmla="*/ 180540 w 1620550"/>
                  <a:gd name="connsiteY115" fmla="*/ 717439 h 1421209"/>
                  <a:gd name="connsiteX116" fmla="*/ 175525 w 1620550"/>
                  <a:gd name="connsiteY116" fmla="*/ 725797 h 1421209"/>
                  <a:gd name="connsiteX117" fmla="*/ 170510 w 1620550"/>
                  <a:gd name="connsiteY117" fmla="*/ 727469 h 1421209"/>
                  <a:gd name="connsiteX118" fmla="*/ 165495 w 1620550"/>
                  <a:gd name="connsiteY118" fmla="*/ 730812 h 1421209"/>
                  <a:gd name="connsiteX119" fmla="*/ 147107 w 1620550"/>
                  <a:gd name="connsiteY119" fmla="*/ 734155 h 1421209"/>
                  <a:gd name="connsiteX120" fmla="*/ 137077 w 1620550"/>
                  <a:gd name="connsiteY120" fmla="*/ 739170 h 1421209"/>
                  <a:gd name="connsiteX121" fmla="*/ 128719 w 1620550"/>
                  <a:gd name="connsiteY121" fmla="*/ 742513 h 1421209"/>
                  <a:gd name="connsiteX122" fmla="*/ 122032 w 1620550"/>
                  <a:gd name="connsiteY122" fmla="*/ 745857 h 1421209"/>
                  <a:gd name="connsiteX123" fmla="*/ 98628 w 1620550"/>
                  <a:gd name="connsiteY123" fmla="*/ 745856 h 1421209"/>
                  <a:gd name="connsiteX124" fmla="*/ 103644 w 1620550"/>
                  <a:gd name="connsiteY124" fmla="*/ 755887 h 1421209"/>
                  <a:gd name="connsiteX125" fmla="*/ 106987 w 1620550"/>
                  <a:gd name="connsiteY125" fmla="*/ 770932 h 1421209"/>
                  <a:gd name="connsiteX126" fmla="*/ 110330 w 1620550"/>
                  <a:gd name="connsiteY126" fmla="*/ 779290 h 1421209"/>
                  <a:gd name="connsiteX127" fmla="*/ 112002 w 1620550"/>
                  <a:gd name="connsiteY127" fmla="*/ 787648 h 1421209"/>
                  <a:gd name="connsiteX128" fmla="*/ 113674 w 1620550"/>
                  <a:gd name="connsiteY128" fmla="*/ 821082 h 1421209"/>
                  <a:gd name="connsiteX129" fmla="*/ 117017 w 1620550"/>
                  <a:gd name="connsiteY129" fmla="*/ 827768 h 1421209"/>
                  <a:gd name="connsiteX130" fmla="*/ 125375 w 1620550"/>
                  <a:gd name="connsiteY130" fmla="*/ 831112 h 1421209"/>
                  <a:gd name="connsiteX131" fmla="*/ 140420 w 1620550"/>
                  <a:gd name="connsiteY131" fmla="*/ 832783 h 1421209"/>
                  <a:gd name="connsiteX132" fmla="*/ 155465 w 1620550"/>
                  <a:gd name="connsiteY132" fmla="*/ 837798 h 1421209"/>
                  <a:gd name="connsiteX133" fmla="*/ 153793 w 1620550"/>
                  <a:gd name="connsiteY133" fmla="*/ 864545 h 1421209"/>
                  <a:gd name="connsiteX134" fmla="*/ 147107 w 1620550"/>
                  <a:gd name="connsiteY134" fmla="*/ 871232 h 1421209"/>
                  <a:gd name="connsiteX135" fmla="*/ 143764 w 1620550"/>
                  <a:gd name="connsiteY135" fmla="*/ 876247 h 1421209"/>
                  <a:gd name="connsiteX136" fmla="*/ 133734 w 1620550"/>
                  <a:gd name="connsiteY136" fmla="*/ 886277 h 1421209"/>
                  <a:gd name="connsiteX137" fmla="*/ 128719 w 1620550"/>
                  <a:gd name="connsiteY137" fmla="*/ 891292 h 1421209"/>
                  <a:gd name="connsiteX138" fmla="*/ 108659 w 1620550"/>
                  <a:gd name="connsiteY138" fmla="*/ 904665 h 1421209"/>
                  <a:gd name="connsiteX139" fmla="*/ 100300 w 1620550"/>
                  <a:gd name="connsiteY139" fmla="*/ 913023 h 1421209"/>
                  <a:gd name="connsiteX140" fmla="*/ 86927 w 1620550"/>
                  <a:gd name="connsiteY140" fmla="*/ 928068 h 1421209"/>
                  <a:gd name="connsiteX141" fmla="*/ 86927 w 1620550"/>
                  <a:gd name="connsiteY141" fmla="*/ 981561 h 1421209"/>
                  <a:gd name="connsiteX142" fmla="*/ 96957 w 1620550"/>
                  <a:gd name="connsiteY142" fmla="*/ 991591 h 1421209"/>
                  <a:gd name="connsiteX143" fmla="*/ 108659 w 1620550"/>
                  <a:gd name="connsiteY143" fmla="*/ 993263 h 1421209"/>
                  <a:gd name="connsiteX144" fmla="*/ 115345 w 1620550"/>
                  <a:gd name="connsiteY144" fmla="*/ 1038398 h 1421209"/>
                  <a:gd name="connsiteX145" fmla="*/ 93614 w 1620550"/>
                  <a:gd name="connsiteY145" fmla="*/ 1035055 h 1421209"/>
                  <a:gd name="connsiteX146" fmla="*/ 63524 w 1620550"/>
                  <a:gd name="connsiteY146" fmla="*/ 1036726 h 1421209"/>
                  <a:gd name="connsiteX147" fmla="*/ 56837 w 1620550"/>
                  <a:gd name="connsiteY147" fmla="*/ 1045085 h 1421209"/>
                  <a:gd name="connsiteX148" fmla="*/ 48479 w 1620550"/>
                  <a:gd name="connsiteY148" fmla="*/ 1051771 h 1421209"/>
                  <a:gd name="connsiteX149" fmla="*/ 43464 w 1620550"/>
                  <a:gd name="connsiteY149" fmla="*/ 1058458 h 1421209"/>
                  <a:gd name="connsiteX150" fmla="*/ 40120 w 1620550"/>
                  <a:gd name="connsiteY150" fmla="*/ 1061801 h 1421209"/>
                  <a:gd name="connsiteX151" fmla="*/ 35105 w 1620550"/>
                  <a:gd name="connsiteY151" fmla="*/ 1070160 h 1421209"/>
                  <a:gd name="connsiteX152" fmla="*/ 33434 w 1620550"/>
                  <a:gd name="connsiteY152" fmla="*/ 1075175 h 1421209"/>
                  <a:gd name="connsiteX153" fmla="*/ 28419 w 1620550"/>
                  <a:gd name="connsiteY153" fmla="*/ 1091891 h 1421209"/>
                  <a:gd name="connsiteX154" fmla="*/ 25075 w 1620550"/>
                  <a:gd name="connsiteY154" fmla="*/ 1098578 h 1421209"/>
                  <a:gd name="connsiteX155" fmla="*/ 20060 w 1620550"/>
                  <a:gd name="connsiteY155" fmla="*/ 1111951 h 1421209"/>
                  <a:gd name="connsiteX156" fmla="*/ 21732 w 1620550"/>
                  <a:gd name="connsiteY156" fmla="*/ 1163773 h 1421209"/>
                  <a:gd name="connsiteX157" fmla="*/ 41792 w 1620550"/>
                  <a:gd name="connsiteY157" fmla="*/ 1162101 h 1421209"/>
                  <a:gd name="connsiteX158" fmla="*/ 68539 w 1620550"/>
                  <a:gd name="connsiteY158" fmla="*/ 1163773 h 1421209"/>
                  <a:gd name="connsiteX159" fmla="*/ 81912 w 1620550"/>
                  <a:gd name="connsiteY159" fmla="*/ 1173803 h 1421209"/>
                  <a:gd name="connsiteX160" fmla="*/ 86927 w 1620550"/>
                  <a:gd name="connsiteY160" fmla="*/ 1177146 h 1421209"/>
                  <a:gd name="connsiteX161" fmla="*/ 93614 w 1620550"/>
                  <a:gd name="connsiteY161" fmla="*/ 1185504 h 1421209"/>
                  <a:gd name="connsiteX162" fmla="*/ 96957 w 1620550"/>
                  <a:gd name="connsiteY162" fmla="*/ 1195534 h 1421209"/>
                  <a:gd name="connsiteX163" fmla="*/ 98629 w 1620550"/>
                  <a:gd name="connsiteY163" fmla="*/ 1200549 h 1421209"/>
                  <a:gd name="connsiteX164" fmla="*/ 108659 w 1620550"/>
                  <a:gd name="connsiteY164" fmla="*/ 1212251 h 1421209"/>
                  <a:gd name="connsiteX165" fmla="*/ 113674 w 1620550"/>
                  <a:gd name="connsiteY165" fmla="*/ 1213923 h 1421209"/>
                  <a:gd name="connsiteX166" fmla="*/ 122032 w 1620550"/>
                  <a:gd name="connsiteY166" fmla="*/ 1217266 h 1421209"/>
                  <a:gd name="connsiteX167" fmla="*/ 135405 w 1620550"/>
                  <a:gd name="connsiteY167" fmla="*/ 1227296 h 1421209"/>
                  <a:gd name="connsiteX168" fmla="*/ 140420 w 1620550"/>
                  <a:gd name="connsiteY168" fmla="*/ 1230639 h 1421209"/>
                  <a:gd name="connsiteX169" fmla="*/ 145435 w 1620550"/>
                  <a:gd name="connsiteY169" fmla="*/ 1232311 h 1421209"/>
                  <a:gd name="connsiteX170" fmla="*/ 148779 w 1620550"/>
                  <a:gd name="connsiteY170" fmla="*/ 1237326 h 1421209"/>
                  <a:gd name="connsiteX171" fmla="*/ 153793 w 1620550"/>
                  <a:gd name="connsiteY171" fmla="*/ 1244013 h 1421209"/>
                  <a:gd name="connsiteX172" fmla="*/ 158808 w 1620550"/>
                  <a:gd name="connsiteY172" fmla="*/ 1255714 h 1421209"/>
                  <a:gd name="connsiteX173" fmla="*/ 152122 w 1620550"/>
                  <a:gd name="connsiteY173" fmla="*/ 1259058 h 1421209"/>
                  <a:gd name="connsiteX174" fmla="*/ 143764 w 1620550"/>
                  <a:gd name="connsiteY174" fmla="*/ 1260729 h 1421209"/>
                  <a:gd name="connsiteX175" fmla="*/ 145435 w 1620550"/>
                  <a:gd name="connsiteY175" fmla="*/ 1274103 h 1421209"/>
                  <a:gd name="connsiteX176" fmla="*/ 152122 w 1620550"/>
                  <a:gd name="connsiteY176" fmla="*/ 1290819 h 1421209"/>
                  <a:gd name="connsiteX177" fmla="*/ 155465 w 1620550"/>
                  <a:gd name="connsiteY177" fmla="*/ 1295834 h 1421209"/>
                  <a:gd name="connsiteX178" fmla="*/ 160480 w 1620550"/>
                  <a:gd name="connsiteY178" fmla="*/ 1297506 h 1421209"/>
                  <a:gd name="connsiteX179" fmla="*/ 163823 w 1620550"/>
                  <a:gd name="connsiteY179" fmla="*/ 1302521 h 1421209"/>
                  <a:gd name="connsiteX180" fmla="*/ 168838 w 1620550"/>
                  <a:gd name="connsiteY180" fmla="*/ 1305864 h 1421209"/>
                  <a:gd name="connsiteX181" fmla="*/ 177197 w 1620550"/>
                  <a:gd name="connsiteY181" fmla="*/ 1312551 h 1421209"/>
                  <a:gd name="connsiteX182" fmla="*/ 180540 w 1620550"/>
                  <a:gd name="connsiteY182" fmla="*/ 1317566 h 1421209"/>
                  <a:gd name="connsiteX183" fmla="*/ 168838 w 1620550"/>
                  <a:gd name="connsiteY183" fmla="*/ 1329267 h 1421209"/>
                  <a:gd name="connsiteX184" fmla="*/ 170510 w 1620550"/>
                  <a:gd name="connsiteY184" fmla="*/ 1349327 h 1421209"/>
                  <a:gd name="connsiteX185" fmla="*/ 175525 w 1620550"/>
                  <a:gd name="connsiteY185" fmla="*/ 1356014 h 1421209"/>
                  <a:gd name="connsiteX186" fmla="*/ 177197 w 1620550"/>
                  <a:gd name="connsiteY186" fmla="*/ 1371059 h 1421209"/>
                  <a:gd name="connsiteX187" fmla="*/ 178868 w 1620550"/>
                  <a:gd name="connsiteY187" fmla="*/ 1381089 h 1421209"/>
                  <a:gd name="connsiteX188" fmla="*/ 182212 w 1620550"/>
                  <a:gd name="connsiteY188" fmla="*/ 1397806 h 1421209"/>
                  <a:gd name="connsiteX189" fmla="*/ 188898 w 1620550"/>
                  <a:gd name="connsiteY189" fmla="*/ 1401149 h 1421209"/>
                  <a:gd name="connsiteX190" fmla="*/ 193913 w 1620550"/>
                  <a:gd name="connsiteY190" fmla="*/ 1399477 h 1421209"/>
                  <a:gd name="connsiteX191" fmla="*/ 200600 w 1620550"/>
                  <a:gd name="connsiteY191" fmla="*/ 1389447 h 1421209"/>
                  <a:gd name="connsiteX192" fmla="*/ 208958 w 1620550"/>
                  <a:gd name="connsiteY192" fmla="*/ 1392791 h 1421209"/>
                  <a:gd name="connsiteX193" fmla="*/ 210630 w 1620550"/>
                  <a:gd name="connsiteY193" fmla="*/ 1397806 h 1421209"/>
                  <a:gd name="connsiteX194" fmla="*/ 213973 w 1620550"/>
                  <a:gd name="connsiteY194" fmla="*/ 1402821 h 1421209"/>
                  <a:gd name="connsiteX195" fmla="*/ 215645 w 1620550"/>
                  <a:gd name="connsiteY195" fmla="*/ 1412851 h 1421209"/>
                  <a:gd name="connsiteX196" fmla="*/ 222332 w 1620550"/>
                  <a:gd name="connsiteY196" fmla="*/ 1416194 h 1421209"/>
                  <a:gd name="connsiteX197" fmla="*/ 234033 w 1620550"/>
                  <a:gd name="connsiteY197" fmla="*/ 1419537 h 1421209"/>
                  <a:gd name="connsiteX198" fmla="*/ 239048 w 1620550"/>
                  <a:gd name="connsiteY198" fmla="*/ 1421209 h 1421209"/>
                  <a:gd name="connsiteX199" fmla="*/ 269138 w 1620550"/>
                  <a:gd name="connsiteY199" fmla="*/ 1419537 h 1421209"/>
                  <a:gd name="connsiteX200" fmla="*/ 270810 w 1620550"/>
                  <a:gd name="connsiteY200" fmla="*/ 1414522 h 1421209"/>
                  <a:gd name="connsiteX201" fmla="*/ 277497 w 1620550"/>
                  <a:gd name="connsiteY201" fmla="*/ 1412851 h 1421209"/>
                  <a:gd name="connsiteX202" fmla="*/ 285855 w 1620550"/>
                  <a:gd name="connsiteY202" fmla="*/ 1411179 h 1421209"/>
                  <a:gd name="connsiteX203" fmla="*/ 287527 w 1620550"/>
                  <a:gd name="connsiteY203" fmla="*/ 1406164 h 1421209"/>
                  <a:gd name="connsiteX204" fmla="*/ 289198 w 1620550"/>
                  <a:gd name="connsiteY204" fmla="*/ 1396134 h 1421209"/>
                  <a:gd name="connsiteX205" fmla="*/ 294213 w 1620550"/>
                  <a:gd name="connsiteY205" fmla="*/ 1389447 h 1421209"/>
                  <a:gd name="connsiteX206" fmla="*/ 300900 w 1620550"/>
                  <a:gd name="connsiteY206" fmla="*/ 1379417 h 1421209"/>
                  <a:gd name="connsiteX207" fmla="*/ 307587 w 1620550"/>
                  <a:gd name="connsiteY207" fmla="*/ 1366044 h 1421209"/>
                  <a:gd name="connsiteX208" fmla="*/ 314273 w 1620550"/>
                  <a:gd name="connsiteY208" fmla="*/ 1361029 h 1421209"/>
                  <a:gd name="connsiteX209" fmla="*/ 317617 w 1620550"/>
                  <a:gd name="connsiteY209" fmla="*/ 1357686 h 1421209"/>
                  <a:gd name="connsiteX210" fmla="*/ 339348 w 1620550"/>
                  <a:gd name="connsiteY210" fmla="*/ 1354342 h 1421209"/>
                  <a:gd name="connsiteX211" fmla="*/ 356065 w 1620550"/>
                  <a:gd name="connsiteY211" fmla="*/ 1357686 h 1421209"/>
                  <a:gd name="connsiteX212" fmla="*/ 361080 w 1620550"/>
                  <a:gd name="connsiteY212" fmla="*/ 1359357 h 1421209"/>
                  <a:gd name="connsiteX213" fmla="*/ 364423 w 1620550"/>
                  <a:gd name="connsiteY213" fmla="*/ 1362701 h 1421209"/>
                  <a:gd name="connsiteX214" fmla="*/ 374453 w 1620550"/>
                  <a:gd name="connsiteY214" fmla="*/ 1367716 h 1421209"/>
                  <a:gd name="connsiteX215" fmla="*/ 377796 w 1620550"/>
                  <a:gd name="connsiteY215" fmla="*/ 1374402 h 1421209"/>
                  <a:gd name="connsiteX216" fmla="*/ 381140 w 1620550"/>
                  <a:gd name="connsiteY216" fmla="*/ 1377746 h 1421209"/>
                  <a:gd name="connsiteX217" fmla="*/ 386155 w 1620550"/>
                  <a:gd name="connsiteY217" fmla="*/ 1374402 h 1421209"/>
                  <a:gd name="connsiteX218" fmla="*/ 396185 w 1620550"/>
                  <a:gd name="connsiteY218" fmla="*/ 1361029 h 1421209"/>
                  <a:gd name="connsiteX219" fmla="*/ 414573 w 1620550"/>
                  <a:gd name="connsiteY219" fmla="*/ 1356014 h 1421209"/>
                  <a:gd name="connsiteX220" fmla="*/ 416245 w 1620550"/>
                  <a:gd name="connsiteY220" fmla="*/ 1349327 h 1421209"/>
                  <a:gd name="connsiteX221" fmla="*/ 419588 w 1620550"/>
                  <a:gd name="connsiteY221" fmla="*/ 1334282 h 1421209"/>
                  <a:gd name="connsiteX222" fmla="*/ 424603 w 1620550"/>
                  <a:gd name="connsiteY222" fmla="*/ 1330939 h 1421209"/>
                  <a:gd name="connsiteX223" fmla="*/ 444663 w 1620550"/>
                  <a:gd name="connsiteY223" fmla="*/ 1332611 h 1421209"/>
                  <a:gd name="connsiteX224" fmla="*/ 466395 w 1620550"/>
                  <a:gd name="connsiteY224" fmla="*/ 1339297 h 1421209"/>
                  <a:gd name="connsiteX225" fmla="*/ 509858 w 1620550"/>
                  <a:gd name="connsiteY225" fmla="*/ 1340969 h 1421209"/>
                  <a:gd name="connsiteX226" fmla="*/ 523231 w 1620550"/>
                  <a:gd name="connsiteY226" fmla="*/ 1345984 h 1421209"/>
                  <a:gd name="connsiteX227" fmla="*/ 531589 w 1620550"/>
                  <a:gd name="connsiteY227" fmla="*/ 1357686 h 1421209"/>
                  <a:gd name="connsiteX228" fmla="*/ 534933 w 1620550"/>
                  <a:gd name="connsiteY228" fmla="*/ 1364372 h 1421209"/>
                  <a:gd name="connsiteX229" fmla="*/ 539948 w 1620550"/>
                  <a:gd name="connsiteY229" fmla="*/ 1366044 h 1421209"/>
                  <a:gd name="connsiteX230" fmla="*/ 565023 w 1620550"/>
                  <a:gd name="connsiteY230" fmla="*/ 1369387 h 1421209"/>
                  <a:gd name="connsiteX231" fmla="*/ 568366 w 1620550"/>
                  <a:gd name="connsiteY231" fmla="*/ 1372731 h 1421209"/>
                  <a:gd name="connsiteX232" fmla="*/ 571709 w 1620550"/>
                  <a:gd name="connsiteY232" fmla="*/ 1366044 h 1421209"/>
                  <a:gd name="connsiteX233" fmla="*/ 600128 w 1620550"/>
                  <a:gd name="connsiteY233" fmla="*/ 1357686 h 1421209"/>
                  <a:gd name="connsiteX234" fmla="*/ 626874 w 1620550"/>
                  <a:gd name="connsiteY234" fmla="*/ 1361029 h 1421209"/>
                  <a:gd name="connsiteX235" fmla="*/ 633561 w 1620550"/>
                  <a:gd name="connsiteY235" fmla="*/ 1364372 h 1421209"/>
                  <a:gd name="connsiteX236" fmla="*/ 638576 w 1620550"/>
                  <a:gd name="connsiteY236" fmla="*/ 1366044 h 1421209"/>
                  <a:gd name="connsiteX237" fmla="*/ 643591 w 1620550"/>
                  <a:gd name="connsiteY237" fmla="*/ 1372731 h 1421209"/>
                  <a:gd name="connsiteX238" fmla="*/ 650278 w 1620550"/>
                  <a:gd name="connsiteY238" fmla="*/ 1382761 h 1421209"/>
                  <a:gd name="connsiteX239" fmla="*/ 660308 w 1620550"/>
                  <a:gd name="connsiteY239" fmla="*/ 1386104 h 1421209"/>
                  <a:gd name="connsiteX240" fmla="*/ 672009 w 1620550"/>
                  <a:gd name="connsiteY240" fmla="*/ 1389447 h 1421209"/>
                  <a:gd name="connsiteX241" fmla="*/ 687054 w 1620550"/>
                  <a:gd name="connsiteY241" fmla="*/ 1382761 h 1421209"/>
                  <a:gd name="connsiteX242" fmla="*/ 690398 w 1620550"/>
                  <a:gd name="connsiteY242" fmla="*/ 1374402 h 1421209"/>
                  <a:gd name="connsiteX243" fmla="*/ 695413 w 1620550"/>
                  <a:gd name="connsiteY243" fmla="*/ 1371059 h 1421209"/>
                  <a:gd name="connsiteX244" fmla="*/ 707114 w 1620550"/>
                  <a:gd name="connsiteY244" fmla="*/ 1366044 h 1421209"/>
                  <a:gd name="connsiteX245" fmla="*/ 715472 w 1620550"/>
                  <a:gd name="connsiteY245" fmla="*/ 1364372 h 1421209"/>
                  <a:gd name="connsiteX246" fmla="*/ 735532 w 1620550"/>
                  <a:gd name="connsiteY246" fmla="*/ 1371059 h 1421209"/>
                  <a:gd name="connsiteX247" fmla="*/ 737204 w 1620550"/>
                  <a:gd name="connsiteY247" fmla="*/ 1376074 h 1421209"/>
                  <a:gd name="connsiteX248" fmla="*/ 742219 w 1620550"/>
                  <a:gd name="connsiteY248" fmla="*/ 1387776 h 1421209"/>
                  <a:gd name="connsiteX249" fmla="*/ 748906 w 1620550"/>
                  <a:gd name="connsiteY249" fmla="*/ 1389447 h 1421209"/>
                  <a:gd name="connsiteX250" fmla="*/ 762279 w 1620550"/>
                  <a:gd name="connsiteY250" fmla="*/ 1384432 h 1421209"/>
                  <a:gd name="connsiteX251" fmla="*/ 772309 w 1620550"/>
                  <a:gd name="connsiteY251" fmla="*/ 1381089 h 1421209"/>
                  <a:gd name="connsiteX252" fmla="*/ 784011 w 1620550"/>
                  <a:gd name="connsiteY252" fmla="*/ 1371059 h 1421209"/>
                  <a:gd name="connsiteX253" fmla="*/ 797384 w 1620550"/>
                  <a:gd name="connsiteY253" fmla="*/ 1357686 h 1421209"/>
                  <a:gd name="connsiteX254" fmla="*/ 802399 w 1620550"/>
                  <a:gd name="connsiteY254" fmla="*/ 1352671 h 1421209"/>
                  <a:gd name="connsiteX255" fmla="*/ 810757 w 1620550"/>
                  <a:gd name="connsiteY255" fmla="*/ 1350999 h 1421209"/>
                  <a:gd name="connsiteX256" fmla="*/ 812429 w 1620550"/>
                  <a:gd name="connsiteY256" fmla="*/ 1344312 h 1421209"/>
                  <a:gd name="connsiteX257" fmla="*/ 807414 w 1620550"/>
                  <a:gd name="connsiteY257" fmla="*/ 1325924 h 1421209"/>
                  <a:gd name="connsiteX258" fmla="*/ 809086 w 1620550"/>
                  <a:gd name="connsiteY258" fmla="*/ 1314222 h 1421209"/>
                  <a:gd name="connsiteX259" fmla="*/ 812429 w 1620550"/>
                  <a:gd name="connsiteY259" fmla="*/ 1309207 h 1421209"/>
                  <a:gd name="connsiteX260" fmla="*/ 820787 w 1620550"/>
                  <a:gd name="connsiteY260" fmla="*/ 1299177 h 1421209"/>
                  <a:gd name="connsiteX261" fmla="*/ 827474 w 1620550"/>
                  <a:gd name="connsiteY261" fmla="*/ 1294162 h 1421209"/>
                  <a:gd name="connsiteX262" fmla="*/ 869266 w 1620550"/>
                  <a:gd name="connsiteY262" fmla="*/ 1292491 h 1421209"/>
                  <a:gd name="connsiteX263" fmla="*/ 870937 w 1620550"/>
                  <a:gd name="connsiteY263" fmla="*/ 1277446 h 1421209"/>
                  <a:gd name="connsiteX264" fmla="*/ 880967 w 1620550"/>
                  <a:gd name="connsiteY264" fmla="*/ 1270759 h 1421209"/>
                  <a:gd name="connsiteX265" fmla="*/ 885982 w 1620550"/>
                  <a:gd name="connsiteY265" fmla="*/ 1269088 h 1421209"/>
                  <a:gd name="connsiteX266" fmla="*/ 932789 w 1620550"/>
                  <a:gd name="connsiteY266" fmla="*/ 1270759 h 1421209"/>
                  <a:gd name="connsiteX267" fmla="*/ 942819 w 1620550"/>
                  <a:gd name="connsiteY267" fmla="*/ 1272431 h 1421209"/>
                  <a:gd name="connsiteX268" fmla="*/ 949505 w 1620550"/>
                  <a:gd name="connsiteY268" fmla="*/ 1275774 h 1421209"/>
                  <a:gd name="connsiteX269" fmla="*/ 954520 w 1620550"/>
                  <a:gd name="connsiteY269" fmla="*/ 1277446 h 1421209"/>
                  <a:gd name="connsiteX270" fmla="*/ 964550 w 1620550"/>
                  <a:gd name="connsiteY270" fmla="*/ 1274103 h 1421209"/>
                  <a:gd name="connsiteX271" fmla="*/ 971237 w 1620550"/>
                  <a:gd name="connsiteY271" fmla="*/ 1264073 h 1421209"/>
                  <a:gd name="connsiteX272" fmla="*/ 964550 w 1620550"/>
                  <a:gd name="connsiteY272" fmla="*/ 1249028 h 1421209"/>
                  <a:gd name="connsiteX273" fmla="*/ 966222 w 1620550"/>
                  <a:gd name="connsiteY273" fmla="*/ 1233983 h 1421209"/>
                  <a:gd name="connsiteX274" fmla="*/ 974580 w 1620550"/>
                  <a:gd name="connsiteY274" fmla="*/ 1215594 h 1421209"/>
                  <a:gd name="connsiteX275" fmla="*/ 977924 w 1620550"/>
                  <a:gd name="connsiteY275" fmla="*/ 1212251 h 1421209"/>
                  <a:gd name="connsiteX276" fmla="*/ 982939 w 1620550"/>
                  <a:gd name="connsiteY276" fmla="*/ 1205564 h 1421209"/>
                  <a:gd name="connsiteX277" fmla="*/ 991297 w 1620550"/>
                  <a:gd name="connsiteY277" fmla="*/ 1195534 h 1421209"/>
                  <a:gd name="connsiteX278" fmla="*/ 1001327 w 1620550"/>
                  <a:gd name="connsiteY278" fmla="*/ 1185504 h 1421209"/>
                  <a:gd name="connsiteX279" fmla="*/ 1002999 w 1620550"/>
                  <a:gd name="connsiteY279" fmla="*/ 1180489 h 1421209"/>
                  <a:gd name="connsiteX280" fmla="*/ 1006342 w 1620550"/>
                  <a:gd name="connsiteY280" fmla="*/ 1175474 h 1421209"/>
                  <a:gd name="connsiteX281" fmla="*/ 1008014 w 1620550"/>
                  <a:gd name="connsiteY281" fmla="*/ 1168788 h 1421209"/>
                  <a:gd name="connsiteX282" fmla="*/ 1016372 w 1620550"/>
                  <a:gd name="connsiteY282" fmla="*/ 1157086 h 1421209"/>
                  <a:gd name="connsiteX283" fmla="*/ 1023059 w 1620550"/>
                  <a:gd name="connsiteY283" fmla="*/ 1143713 h 1421209"/>
                  <a:gd name="connsiteX284" fmla="*/ 1024730 w 1620550"/>
                  <a:gd name="connsiteY284" fmla="*/ 1138698 h 1421209"/>
                  <a:gd name="connsiteX285" fmla="*/ 1028074 w 1620550"/>
                  <a:gd name="connsiteY285" fmla="*/ 1135354 h 1421209"/>
                  <a:gd name="connsiteX286" fmla="*/ 1033089 w 1620550"/>
                  <a:gd name="connsiteY286" fmla="*/ 1128668 h 1421209"/>
                  <a:gd name="connsiteX287" fmla="*/ 1043119 w 1620550"/>
                  <a:gd name="connsiteY287" fmla="*/ 1116966 h 1421209"/>
                  <a:gd name="connsiteX288" fmla="*/ 1061507 w 1620550"/>
                  <a:gd name="connsiteY288" fmla="*/ 1111951 h 1421209"/>
                  <a:gd name="connsiteX289" fmla="*/ 1069865 w 1620550"/>
                  <a:gd name="connsiteY289" fmla="*/ 1108608 h 1421209"/>
                  <a:gd name="connsiteX290" fmla="*/ 1089925 w 1620550"/>
                  <a:gd name="connsiteY290" fmla="*/ 1105264 h 1421209"/>
                  <a:gd name="connsiteX291" fmla="*/ 1094940 w 1620550"/>
                  <a:gd name="connsiteY291" fmla="*/ 1101921 h 1421209"/>
                  <a:gd name="connsiteX292" fmla="*/ 1111657 w 1620550"/>
                  <a:gd name="connsiteY292" fmla="*/ 1098578 h 1421209"/>
                  <a:gd name="connsiteX293" fmla="*/ 1126702 w 1620550"/>
                  <a:gd name="connsiteY293" fmla="*/ 1090220 h 1421209"/>
                  <a:gd name="connsiteX294" fmla="*/ 1131717 w 1620550"/>
                  <a:gd name="connsiteY294" fmla="*/ 1086876 h 1421209"/>
                  <a:gd name="connsiteX295" fmla="*/ 1133388 w 1620550"/>
                  <a:gd name="connsiteY295" fmla="*/ 1078518 h 1421209"/>
                  <a:gd name="connsiteX296" fmla="*/ 1126702 w 1620550"/>
                  <a:gd name="connsiteY296" fmla="*/ 1070160 h 1421209"/>
                  <a:gd name="connsiteX297" fmla="*/ 1118343 w 1620550"/>
                  <a:gd name="connsiteY297" fmla="*/ 1065145 h 1421209"/>
                  <a:gd name="connsiteX298" fmla="*/ 1109985 w 1620550"/>
                  <a:gd name="connsiteY298" fmla="*/ 1056786 h 1421209"/>
                  <a:gd name="connsiteX299" fmla="*/ 1103298 w 1620550"/>
                  <a:gd name="connsiteY299" fmla="*/ 1048428 h 1421209"/>
                  <a:gd name="connsiteX300" fmla="*/ 1099955 w 1620550"/>
                  <a:gd name="connsiteY300" fmla="*/ 1043413 h 1421209"/>
                  <a:gd name="connsiteX301" fmla="*/ 1094940 w 1620550"/>
                  <a:gd name="connsiteY301" fmla="*/ 1040070 h 1421209"/>
                  <a:gd name="connsiteX302" fmla="*/ 1091597 w 1620550"/>
                  <a:gd name="connsiteY302" fmla="*/ 1033383 h 1421209"/>
                  <a:gd name="connsiteX303" fmla="*/ 1088253 w 1620550"/>
                  <a:gd name="connsiteY303" fmla="*/ 1030040 h 1421209"/>
                  <a:gd name="connsiteX304" fmla="*/ 1083238 w 1620550"/>
                  <a:gd name="connsiteY304" fmla="*/ 1018338 h 1421209"/>
                  <a:gd name="connsiteX305" fmla="*/ 1081567 w 1620550"/>
                  <a:gd name="connsiteY305" fmla="*/ 989920 h 1421209"/>
                  <a:gd name="connsiteX306" fmla="*/ 1079895 w 1620550"/>
                  <a:gd name="connsiteY306" fmla="*/ 984905 h 1421209"/>
                  <a:gd name="connsiteX307" fmla="*/ 1074880 w 1620550"/>
                  <a:gd name="connsiteY307" fmla="*/ 979890 h 1421209"/>
                  <a:gd name="connsiteX308" fmla="*/ 1069865 w 1620550"/>
                  <a:gd name="connsiteY308" fmla="*/ 964845 h 1421209"/>
                  <a:gd name="connsiteX309" fmla="*/ 1074880 w 1620550"/>
                  <a:gd name="connsiteY309" fmla="*/ 929740 h 1421209"/>
                  <a:gd name="connsiteX310" fmla="*/ 1084910 w 1620550"/>
                  <a:gd name="connsiteY310" fmla="*/ 919710 h 1421209"/>
                  <a:gd name="connsiteX311" fmla="*/ 1091597 w 1620550"/>
                  <a:gd name="connsiteY311" fmla="*/ 911352 h 1421209"/>
                  <a:gd name="connsiteX312" fmla="*/ 1098283 w 1620550"/>
                  <a:gd name="connsiteY312" fmla="*/ 906337 h 1421209"/>
                  <a:gd name="connsiteX313" fmla="*/ 1111657 w 1620550"/>
                  <a:gd name="connsiteY313" fmla="*/ 892963 h 1421209"/>
                  <a:gd name="connsiteX314" fmla="*/ 1116672 w 1620550"/>
                  <a:gd name="connsiteY314" fmla="*/ 887948 h 1421209"/>
                  <a:gd name="connsiteX315" fmla="*/ 1121687 w 1620550"/>
                  <a:gd name="connsiteY315" fmla="*/ 881262 h 1421209"/>
                  <a:gd name="connsiteX316" fmla="*/ 1125030 w 1620550"/>
                  <a:gd name="connsiteY316" fmla="*/ 877918 h 1421209"/>
                  <a:gd name="connsiteX317" fmla="*/ 1131717 w 1620550"/>
                  <a:gd name="connsiteY317" fmla="*/ 869560 h 1421209"/>
                  <a:gd name="connsiteX318" fmla="*/ 1136732 w 1620550"/>
                  <a:gd name="connsiteY318" fmla="*/ 864545 h 1421209"/>
                  <a:gd name="connsiteX319" fmla="*/ 1145090 w 1620550"/>
                  <a:gd name="connsiteY319" fmla="*/ 849500 h 1421209"/>
                  <a:gd name="connsiteX320" fmla="*/ 1150105 w 1620550"/>
                  <a:gd name="connsiteY320" fmla="*/ 841142 h 1421209"/>
                  <a:gd name="connsiteX321" fmla="*/ 1153448 w 1620550"/>
                  <a:gd name="connsiteY321" fmla="*/ 831112 h 1421209"/>
                  <a:gd name="connsiteX322" fmla="*/ 1156792 w 1620550"/>
                  <a:gd name="connsiteY322" fmla="*/ 827768 h 1421209"/>
                  <a:gd name="connsiteX323" fmla="*/ 1160135 w 1620550"/>
                  <a:gd name="connsiteY323" fmla="*/ 822753 h 1421209"/>
                  <a:gd name="connsiteX324" fmla="*/ 1173508 w 1620550"/>
                  <a:gd name="connsiteY324" fmla="*/ 814395 h 1421209"/>
                  <a:gd name="connsiteX325" fmla="*/ 1181867 w 1620550"/>
                  <a:gd name="connsiteY325" fmla="*/ 806037 h 1421209"/>
                  <a:gd name="connsiteX326" fmla="*/ 1185210 w 1620550"/>
                  <a:gd name="connsiteY326" fmla="*/ 799350 h 1421209"/>
                  <a:gd name="connsiteX327" fmla="*/ 1205270 w 1620550"/>
                  <a:gd name="connsiteY327" fmla="*/ 785977 h 1421209"/>
                  <a:gd name="connsiteX328" fmla="*/ 1213628 w 1620550"/>
                  <a:gd name="connsiteY328" fmla="*/ 779290 h 1421209"/>
                  <a:gd name="connsiteX329" fmla="*/ 1225330 w 1620550"/>
                  <a:gd name="connsiteY329" fmla="*/ 770932 h 1421209"/>
                  <a:gd name="connsiteX330" fmla="*/ 1228673 w 1620550"/>
                  <a:gd name="connsiteY330" fmla="*/ 765917 h 1421209"/>
                  <a:gd name="connsiteX331" fmla="*/ 1243718 w 1620550"/>
                  <a:gd name="connsiteY331" fmla="*/ 764245 h 1421209"/>
                  <a:gd name="connsiteX332" fmla="*/ 1250405 w 1620550"/>
                  <a:gd name="connsiteY332" fmla="*/ 762573 h 1421209"/>
                  <a:gd name="connsiteX333" fmla="*/ 1255420 w 1620550"/>
                  <a:gd name="connsiteY333" fmla="*/ 757558 h 1421209"/>
                  <a:gd name="connsiteX334" fmla="*/ 1263778 w 1620550"/>
                  <a:gd name="connsiteY334" fmla="*/ 752543 h 1421209"/>
                  <a:gd name="connsiteX335" fmla="*/ 1260435 w 1620550"/>
                  <a:gd name="connsiteY335" fmla="*/ 735827 h 1421209"/>
                  <a:gd name="connsiteX336" fmla="*/ 1257091 w 1620550"/>
                  <a:gd name="connsiteY336" fmla="*/ 732484 h 1421209"/>
                  <a:gd name="connsiteX337" fmla="*/ 1255420 w 1620550"/>
                  <a:gd name="connsiteY337" fmla="*/ 727469 h 1421209"/>
                  <a:gd name="connsiteX338" fmla="*/ 1262106 w 1620550"/>
                  <a:gd name="connsiteY338" fmla="*/ 710752 h 1421209"/>
                  <a:gd name="connsiteX339" fmla="*/ 1272136 w 1620550"/>
                  <a:gd name="connsiteY339" fmla="*/ 705737 h 1421209"/>
                  <a:gd name="connsiteX340" fmla="*/ 1280495 w 1620550"/>
                  <a:gd name="connsiteY340" fmla="*/ 700722 h 1421209"/>
                  <a:gd name="connsiteX341" fmla="*/ 1287181 w 1620550"/>
                  <a:gd name="connsiteY341" fmla="*/ 697379 h 1421209"/>
                  <a:gd name="connsiteX342" fmla="*/ 1292196 w 1620550"/>
                  <a:gd name="connsiteY342" fmla="*/ 694035 h 1421209"/>
                  <a:gd name="connsiteX343" fmla="*/ 1298883 w 1620550"/>
                  <a:gd name="connsiteY343" fmla="*/ 692364 h 1421209"/>
                  <a:gd name="connsiteX344" fmla="*/ 1308913 w 1620550"/>
                  <a:gd name="connsiteY344" fmla="*/ 687349 h 1421209"/>
                  <a:gd name="connsiteX345" fmla="*/ 1323958 w 1620550"/>
                  <a:gd name="connsiteY345" fmla="*/ 682334 h 1421209"/>
                  <a:gd name="connsiteX346" fmla="*/ 1330645 w 1620550"/>
                  <a:gd name="connsiteY346" fmla="*/ 678990 h 1421209"/>
                  <a:gd name="connsiteX347" fmla="*/ 1355720 w 1620550"/>
                  <a:gd name="connsiteY347" fmla="*/ 675647 h 1421209"/>
                  <a:gd name="connsiteX348" fmla="*/ 1359063 w 1620550"/>
                  <a:gd name="connsiteY348" fmla="*/ 670632 h 1421209"/>
                  <a:gd name="connsiteX349" fmla="*/ 1372436 w 1620550"/>
                  <a:gd name="connsiteY349" fmla="*/ 667289 h 1421209"/>
                  <a:gd name="connsiteX350" fmla="*/ 1449333 w 1620550"/>
                  <a:gd name="connsiteY350" fmla="*/ 663945 h 1421209"/>
                  <a:gd name="connsiteX351" fmla="*/ 1464378 w 1620550"/>
                  <a:gd name="connsiteY351" fmla="*/ 645557 h 1421209"/>
                  <a:gd name="connsiteX352" fmla="*/ 1474408 w 1620550"/>
                  <a:gd name="connsiteY352" fmla="*/ 635527 h 1421209"/>
                  <a:gd name="connsiteX353" fmla="*/ 1487781 w 1620550"/>
                  <a:gd name="connsiteY353" fmla="*/ 625497 h 1421209"/>
                  <a:gd name="connsiteX354" fmla="*/ 1494468 w 1620550"/>
                  <a:gd name="connsiteY354" fmla="*/ 623825 h 1421209"/>
                  <a:gd name="connsiteX355" fmla="*/ 1509513 w 1620550"/>
                  <a:gd name="connsiteY355" fmla="*/ 620482 h 1421209"/>
                  <a:gd name="connsiteX356" fmla="*/ 1517871 w 1620550"/>
                  <a:gd name="connsiteY356" fmla="*/ 617139 h 1421209"/>
                  <a:gd name="connsiteX357" fmla="*/ 1524558 w 1620550"/>
                  <a:gd name="connsiteY357" fmla="*/ 613795 h 1421209"/>
                  <a:gd name="connsiteX358" fmla="*/ 1539603 w 1620550"/>
                  <a:gd name="connsiteY358" fmla="*/ 612124 h 1421209"/>
                  <a:gd name="connsiteX359" fmla="*/ 1557991 w 1620550"/>
                  <a:gd name="connsiteY359" fmla="*/ 602094 h 1421209"/>
                  <a:gd name="connsiteX360" fmla="*/ 1573036 w 1620550"/>
                  <a:gd name="connsiteY360" fmla="*/ 597079 h 1421209"/>
                  <a:gd name="connsiteX361" fmla="*/ 1576379 w 1620550"/>
                  <a:gd name="connsiteY361" fmla="*/ 592064 h 1421209"/>
                  <a:gd name="connsiteX362" fmla="*/ 1588081 w 1620550"/>
                  <a:gd name="connsiteY362" fmla="*/ 587049 h 1421209"/>
                  <a:gd name="connsiteX363" fmla="*/ 1591424 w 1620550"/>
                  <a:gd name="connsiteY363" fmla="*/ 583705 h 1421209"/>
                  <a:gd name="connsiteX364" fmla="*/ 1598111 w 1620550"/>
                  <a:gd name="connsiteY364" fmla="*/ 580362 h 1421209"/>
                  <a:gd name="connsiteX365" fmla="*/ 1608141 w 1620550"/>
                  <a:gd name="connsiteY365" fmla="*/ 572004 h 1421209"/>
                  <a:gd name="connsiteX366" fmla="*/ 1614828 w 1620550"/>
                  <a:gd name="connsiteY366" fmla="*/ 560302 h 1421209"/>
                  <a:gd name="connsiteX367" fmla="*/ 1608141 w 1620550"/>
                  <a:gd name="connsiteY367" fmla="*/ 546929 h 1421209"/>
                  <a:gd name="connsiteX368" fmla="*/ 1599783 w 1620550"/>
                  <a:gd name="connsiteY368" fmla="*/ 535227 h 1421209"/>
                  <a:gd name="connsiteX369" fmla="*/ 1598111 w 1620550"/>
                  <a:gd name="connsiteY369" fmla="*/ 530212 h 1421209"/>
                  <a:gd name="connsiteX370" fmla="*/ 1596439 w 1620550"/>
                  <a:gd name="connsiteY370" fmla="*/ 518511 h 1421209"/>
                  <a:gd name="connsiteX371" fmla="*/ 1601454 w 1620550"/>
                  <a:gd name="connsiteY371" fmla="*/ 516839 h 1421209"/>
                  <a:gd name="connsiteX372" fmla="*/ 1604798 w 1620550"/>
                  <a:gd name="connsiteY372" fmla="*/ 513496 h 1421209"/>
                  <a:gd name="connsiteX373" fmla="*/ 1616499 w 1620550"/>
                  <a:gd name="connsiteY373" fmla="*/ 510152 h 1421209"/>
                  <a:gd name="connsiteX374" fmla="*/ 1618171 w 1620550"/>
                  <a:gd name="connsiteY374" fmla="*/ 495107 h 1421209"/>
                  <a:gd name="connsiteX375" fmla="*/ 1613156 w 1620550"/>
                  <a:gd name="connsiteY375" fmla="*/ 491764 h 1421209"/>
                  <a:gd name="connsiteX376" fmla="*/ 1611484 w 1620550"/>
                  <a:gd name="connsiteY376" fmla="*/ 486749 h 1421209"/>
                  <a:gd name="connsiteX377" fmla="*/ 1608141 w 1620550"/>
                  <a:gd name="connsiteY377" fmla="*/ 481734 h 1421209"/>
                  <a:gd name="connsiteX378" fmla="*/ 1606469 w 1620550"/>
                  <a:gd name="connsiteY378" fmla="*/ 473376 h 1421209"/>
                  <a:gd name="connsiteX379" fmla="*/ 1604798 w 1620550"/>
                  <a:gd name="connsiteY379" fmla="*/ 468361 h 1421209"/>
                  <a:gd name="connsiteX380" fmla="*/ 1599783 w 1620550"/>
                  <a:gd name="connsiteY380" fmla="*/ 466689 h 1421209"/>
                  <a:gd name="connsiteX381" fmla="*/ 1586409 w 1620550"/>
                  <a:gd name="connsiteY381" fmla="*/ 461674 h 1421209"/>
                  <a:gd name="connsiteX382" fmla="*/ 1561334 w 1620550"/>
                  <a:gd name="connsiteY382" fmla="*/ 463346 h 1421209"/>
                  <a:gd name="connsiteX383" fmla="*/ 1547961 w 1620550"/>
                  <a:gd name="connsiteY383" fmla="*/ 465017 h 1421209"/>
                  <a:gd name="connsiteX384" fmla="*/ 1539603 w 1620550"/>
                  <a:gd name="connsiteY384" fmla="*/ 470032 h 1421209"/>
                  <a:gd name="connsiteX385" fmla="*/ 1529573 w 1620550"/>
                  <a:gd name="connsiteY385" fmla="*/ 485077 h 1421209"/>
                  <a:gd name="connsiteX386" fmla="*/ 1524558 w 1620550"/>
                  <a:gd name="connsiteY386" fmla="*/ 486749 h 1421209"/>
                  <a:gd name="connsiteX387" fmla="*/ 1504498 w 1620550"/>
                  <a:gd name="connsiteY387" fmla="*/ 480062 h 1421209"/>
                  <a:gd name="connsiteX388" fmla="*/ 1489453 w 1620550"/>
                  <a:gd name="connsiteY388" fmla="*/ 468361 h 1421209"/>
                  <a:gd name="connsiteX389" fmla="*/ 1474408 w 1620550"/>
                  <a:gd name="connsiteY389" fmla="*/ 466689 h 1421209"/>
                  <a:gd name="connsiteX390" fmla="*/ 1462706 w 1620550"/>
                  <a:gd name="connsiteY390" fmla="*/ 468361 h 1421209"/>
                  <a:gd name="connsiteX391" fmla="*/ 1452676 w 1620550"/>
                  <a:gd name="connsiteY391" fmla="*/ 471704 h 1421209"/>
                  <a:gd name="connsiteX392" fmla="*/ 1442646 w 1620550"/>
                  <a:gd name="connsiteY392" fmla="*/ 470032 h 1421209"/>
                  <a:gd name="connsiteX393" fmla="*/ 1435959 w 1620550"/>
                  <a:gd name="connsiteY393" fmla="*/ 463346 h 1421209"/>
                  <a:gd name="connsiteX394" fmla="*/ 1432616 w 1620550"/>
                  <a:gd name="connsiteY394" fmla="*/ 458331 h 1421209"/>
                  <a:gd name="connsiteX395" fmla="*/ 1427601 w 1620550"/>
                  <a:gd name="connsiteY395" fmla="*/ 454987 h 1421209"/>
                  <a:gd name="connsiteX396" fmla="*/ 1422586 w 1620550"/>
                  <a:gd name="connsiteY396" fmla="*/ 448301 h 1421209"/>
                  <a:gd name="connsiteX397" fmla="*/ 1412556 w 1620550"/>
                  <a:gd name="connsiteY397" fmla="*/ 439942 h 1421209"/>
                  <a:gd name="connsiteX398" fmla="*/ 1404198 w 1620550"/>
                  <a:gd name="connsiteY398" fmla="*/ 446629 h 1421209"/>
                  <a:gd name="connsiteX399" fmla="*/ 1390825 w 1620550"/>
                  <a:gd name="connsiteY399" fmla="*/ 453316 h 1421209"/>
                  <a:gd name="connsiteX400" fmla="*/ 1387481 w 1620550"/>
                  <a:gd name="connsiteY400" fmla="*/ 438271 h 1421209"/>
                  <a:gd name="connsiteX401" fmla="*/ 1385810 w 1620550"/>
                  <a:gd name="connsiteY401" fmla="*/ 433256 h 1421209"/>
                  <a:gd name="connsiteX402" fmla="*/ 1384138 w 1620550"/>
                  <a:gd name="connsiteY402" fmla="*/ 411524 h 1421209"/>
                  <a:gd name="connsiteX403" fmla="*/ 1379123 w 1620550"/>
                  <a:gd name="connsiteY403" fmla="*/ 408181 h 1421209"/>
                  <a:gd name="connsiteX404" fmla="*/ 1370765 w 1620550"/>
                  <a:gd name="connsiteY404" fmla="*/ 406509 h 1421209"/>
                  <a:gd name="connsiteX405" fmla="*/ 1364078 w 1620550"/>
                  <a:gd name="connsiteY405" fmla="*/ 404837 h 1421209"/>
                  <a:gd name="connsiteX406" fmla="*/ 1340675 w 1620550"/>
                  <a:gd name="connsiteY406" fmla="*/ 394807 h 1421209"/>
                  <a:gd name="connsiteX407" fmla="*/ 1327301 w 1620550"/>
                  <a:gd name="connsiteY407" fmla="*/ 384777 h 1421209"/>
                  <a:gd name="connsiteX408" fmla="*/ 1320615 w 1620550"/>
                  <a:gd name="connsiteY408" fmla="*/ 379762 h 1421209"/>
                  <a:gd name="connsiteX409" fmla="*/ 1310585 w 1620550"/>
                  <a:gd name="connsiteY409" fmla="*/ 373076 h 1421209"/>
                  <a:gd name="connsiteX410" fmla="*/ 1305570 w 1620550"/>
                  <a:gd name="connsiteY410" fmla="*/ 369732 h 1421209"/>
                  <a:gd name="connsiteX411" fmla="*/ 1297211 w 1620550"/>
                  <a:gd name="connsiteY411" fmla="*/ 368061 h 1421209"/>
                  <a:gd name="connsiteX412" fmla="*/ 1290525 w 1620550"/>
                  <a:gd name="connsiteY412" fmla="*/ 369732 h 1421209"/>
                  <a:gd name="connsiteX413" fmla="*/ 1282166 w 1620550"/>
                  <a:gd name="connsiteY413" fmla="*/ 398151 h 1421209"/>
                  <a:gd name="connsiteX414" fmla="*/ 1272136 w 1620550"/>
                  <a:gd name="connsiteY414" fmla="*/ 394807 h 1421209"/>
                  <a:gd name="connsiteX415" fmla="*/ 1267121 w 1620550"/>
                  <a:gd name="connsiteY415" fmla="*/ 391464 h 1421209"/>
                  <a:gd name="connsiteX416" fmla="*/ 1255420 w 1620550"/>
                  <a:gd name="connsiteY416" fmla="*/ 388121 h 1421209"/>
                  <a:gd name="connsiteX417" fmla="*/ 1220315 w 1620550"/>
                  <a:gd name="connsiteY417" fmla="*/ 386449 h 1421209"/>
                  <a:gd name="connsiteX418" fmla="*/ 1218643 w 1620550"/>
                  <a:gd name="connsiteY418" fmla="*/ 381434 h 1421209"/>
                  <a:gd name="connsiteX419" fmla="*/ 1211957 w 1620550"/>
                  <a:gd name="connsiteY419" fmla="*/ 379762 h 1421209"/>
                  <a:gd name="connsiteX420" fmla="*/ 1175180 w 1620550"/>
                  <a:gd name="connsiteY420" fmla="*/ 378091 h 1421209"/>
                  <a:gd name="connsiteX421" fmla="*/ 1173508 w 1620550"/>
                  <a:gd name="connsiteY421" fmla="*/ 373076 h 1421209"/>
                  <a:gd name="connsiteX422" fmla="*/ 1171837 w 1620550"/>
                  <a:gd name="connsiteY422" fmla="*/ 366389 h 1421209"/>
                  <a:gd name="connsiteX423" fmla="*/ 1163478 w 1620550"/>
                  <a:gd name="connsiteY423" fmla="*/ 361374 h 1421209"/>
                  <a:gd name="connsiteX424" fmla="*/ 1128373 w 1620550"/>
                  <a:gd name="connsiteY424" fmla="*/ 359703 h 1421209"/>
                  <a:gd name="connsiteX425" fmla="*/ 1120015 w 1620550"/>
                  <a:gd name="connsiteY425" fmla="*/ 356359 h 1421209"/>
                  <a:gd name="connsiteX426" fmla="*/ 1113328 w 1620550"/>
                  <a:gd name="connsiteY426" fmla="*/ 346329 h 1421209"/>
                  <a:gd name="connsiteX427" fmla="*/ 1108313 w 1620550"/>
                  <a:gd name="connsiteY427" fmla="*/ 339643 h 1421209"/>
                  <a:gd name="connsiteX428" fmla="*/ 1104970 w 1620550"/>
                  <a:gd name="connsiteY428" fmla="*/ 334628 h 1421209"/>
                  <a:gd name="connsiteX429" fmla="*/ 1098283 w 1620550"/>
                  <a:gd name="connsiteY429" fmla="*/ 327941 h 1421209"/>
                  <a:gd name="connsiteX430" fmla="*/ 1096612 w 1620550"/>
                  <a:gd name="connsiteY430" fmla="*/ 322926 h 1421209"/>
                  <a:gd name="connsiteX431" fmla="*/ 1091597 w 1620550"/>
                  <a:gd name="connsiteY431" fmla="*/ 321254 h 1421209"/>
                  <a:gd name="connsiteX432" fmla="*/ 1084910 w 1620550"/>
                  <a:gd name="connsiteY432" fmla="*/ 317911 h 1421209"/>
                  <a:gd name="connsiteX433" fmla="*/ 1064850 w 1620550"/>
                  <a:gd name="connsiteY433" fmla="*/ 314568 h 1421209"/>
                  <a:gd name="connsiteX434" fmla="*/ 1058164 w 1620550"/>
                  <a:gd name="connsiteY434" fmla="*/ 311224 h 1421209"/>
                  <a:gd name="connsiteX435" fmla="*/ 1054820 w 1620550"/>
                  <a:gd name="connsiteY435" fmla="*/ 307881 h 1421209"/>
                  <a:gd name="connsiteX436" fmla="*/ 1049805 w 1620550"/>
                  <a:gd name="connsiteY436" fmla="*/ 304538 h 1421209"/>
                  <a:gd name="connsiteX437" fmla="*/ 1046462 w 1620550"/>
                  <a:gd name="connsiteY437" fmla="*/ 301194 h 1421209"/>
                  <a:gd name="connsiteX438" fmla="*/ 1039775 w 1620550"/>
                  <a:gd name="connsiteY438" fmla="*/ 299523 h 1421209"/>
                  <a:gd name="connsiteX439" fmla="*/ 1029745 w 1620550"/>
                  <a:gd name="connsiteY439" fmla="*/ 296179 h 1421209"/>
                  <a:gd name="connsiteX440" fmla="*/ 1016372 w 1620550"/>
                  <a:gd name="connsiteY440" fmla="*/ 287821 h 1421209"/>
                  <a:gd name="connsiteX441" fmla="*/ 1013029 w 1620550"/>
                  <a:gd name="connsiteY441" fmla="*/ 282806 h 1421209"/>
                  <a:gd name="connsiteX442" fmla="*/ 1014700 w 1620550"/>
                  <a:gd name="connsiteY442" fmla="*/ 276119 h 1421209"/>
                  <a:gd name="connsiteX443" fmla="*/ 1016372 w 1620550"/>
                  <a:gd name="connsiteY443" fmla="*/ 271104 h 1421209"/>
                  <a:gd name="connsiteX444" fmla="*/ 1029745 w 1620550"/>
                  <a:gd name="connsiteY444" fmla="*/ 264418 h 1421209"/>
                  <a:gd name="connsiteX445" fmla="*/ 1031417 w 1620550"/>
                  <a:gd name="connsiteY445" fmla="*/ 257731 h 1421209"/>
                  <a:gd name="connsiteX446" fmla="*/ 1024730 w 1620550"/>
                  <a:gd name="connsiteY446" fmla="*/ 256059 h 1421209"/>
                  <a:gd name="connsiteX447" fmla="*/ 1016372 w 1620550"/>
                  <a:gd name="connsiteY447" fmla="*/ 251044 h 1421209"/>
                  <a:gd name="connsiteX448" fmla="*/ 1008014 w 1620550"/>
                  <a:gd name="connsiteY448" fmla="*/ 247701 h 1421209"/>
                  <a:gd name="connsiteX449" fmla="*/ 1002999 w 1620550"/>
                  <a:gd name="connsiteY449" fmla="*/ 244358 h 1421209"/>
                  <a:gd name="connsiteX450" fmla="*/ 997984 w 1620550"/>
                  <a:gd name="connsiteY450" fmla="*/ 242686 h 1421209"/>
                  <a:gd name="connsiteX451" fmla="*/ 989625 w 1620550"/>
                  <a:gd name="connsiteY451" fmla="*/ 235999 h 1421209"/>
                  <a:gd name="connsiteX452" fmla="*/ 984610 w 1620550"/>
                  <a:gd name="connsiteY452" fmla="*/ 234328 h 1421209"/>
                  <a:gd name="connsiteX453" fmla="*/ 966222 w 1620550"/>
                  <a:gd name="connsiteY453" fmla="*/ 227641 h 1421209"/>
                  <a:gd name="connsiteX454" fmla="*/ 944490 w 1620550"/>
                  <a:gd name="connsiteY454" fmla="*/ 229313 h 1421209"/>
                  <a:gd name="connsiteX455" fmla="*/ 902699 w 1620550"/>
                  <a:gd name="connsiteY455" fmla="*/ 227641 h 1421209"/>
                  <a:gd name="connsiteX456" fmla="*/ 897684 w 1620550"/>
                  <a:gd name="connsiteY456" fmla="*/ 225969 h 1421209"/>
                  <a:gd name="connsiteX457" fmla="*/ 885982 w 1620550"/>
                  <a:gd name="connsiteY457" fmla="*/ 215939 h 1421209"/>
                  <a:gd name="connsiteX458" fmla="*/ 874281 w 1620550"/>
                  <a:gd name="connsiteY458" fmla="*/ 207581 h 1421209"/>
                  <a:gd name="connsiteX459" fmla="*/ 869266 w 1620550"/>
                  <a:gd name="connsiteY459" fmla="*/ 204238 h 1421209"/>
                  <a:gd name="connsiteX460" fmla="*/ 860907 w 1620550"/>
                  <a:gd name="connsiteY460" fmla="*/ 197551 h 1421209"/>
                  <a:gd name="connsiteX461" fmla="*/ 854221 w 1620550"/>
                  <a:gd name="connsiteY461" fmla="*/ 195879 h 1421209"/>
                  <a:gd name="connsiteX462" fmla="*/ 842519 w 1620550"/>
                  <a:gd name="connsiteY462" fmla="*/ 192536 h 1421209"/>
                  <a:gd name="connsiteX463" fmla="*/ 815772 w 1620550"/>
                  <a:gd name="connsiteY463" fmla="*/ 194208 h 1421209"/>
                  <a:gd name="connsiteX464" fmla="*/ 805742 w 1620550"/>
                  <a:gd name="connsiteY464" fmla="*/ 195879 h 1421209"/>
                  <a:gd name="connsiteX465" fmla="*/ 789026 w 1620550"/>
                  <a:gd name="connsiteY465" fmla="*/ 197551 h 1421209"/>
                  <a:gd name="connsiteX466" fmla="*/ 782339 w 1620550"/>
                  <a:gd name="connsiteY466" fmla="*/ 194208 h 1421209"/>
                  <a:gd name="connsiteX467" fmla="*/ 780667 w 1620550"/>
                  <a:gd name="connsiteY467" fmla="*/ 189193 h 1421209"/>
                  <a:gd name="connsiteX468" fmla="*/ 775652 w 1620550"/>
                  <a:gd name="connsiteY468" fmla="*/ 175820 h 1421209"/>
                  <a:gd name="connsiteX469" fmla="*/ 768966 w 1620550"/>
                  <a:gd name="connsiteY469" fmla="*/ 170805 h 1421209"/>
                  <a:gd name="connsiteX470" fmla="*/ 765622 w 1620550"/>
                  <a:gd name="connsiteY470" fmla="*/ 167461 h 1421209"/>
                  <a:gd name="connsiteX471" fmla="*/ 753921 w 1620550"/>
                  <a:gd name="connsiteY471" fmla="*/ 162446 h 1421209"/>
                  <a:gd name="connsiteX472" fmla="*/ 735532 w 1620550"/>
                  <a:gd name="connsiteY472" fmla="*/ 164118 h 1421209"/>
                  <a:gd name="connsiteX473" fmla="*/ 722159 w 1620550"/>
                  <a:gd name="connsiteY473" fmla="*/ 170805 h 1421209"/>
                  <a:gd name="connsiteX474" fmla="*/ 720487 w 1620550"/>
                  <a:gd name="connsiteY474" fmla="*/ 165790 h 1421209"/>
                  <a:gd name="connsiteX475" fmla="*/ 715472 w 1620550"/>
                  <a:gd name="connsiteY475" fmla="*/ 164118 h 1421209"/>
                  <a:gd name="connsiteX476" fmla="*/ 693741 w 1620550"/>
                  <a:gd name="connsiteY476" fmla="*/ 165790 h 1421209"/>
                  <a:gd name="connsiteX477" fmla="*/ 683711 w 1620550"/>
                  <a:gd name="connsiteY477" fmla="*/ 169133 h 1421209"/>
                  <a:gd name="connsiteX478" fmla="*/ 678696 w 1620550"/>
                  <a:gd name="connsiteY478" fmla="*/ 170805 h 1421209"/>
                  <a:gd name="connsiteX479" fmla="*/ 631889 w 1620550"/>
                  <a:gd name="connsiteY479" fmla="*/ 167461 h 1421209"/>
                  <a:gd name="connsiteX480" fmla="*/ 620188 w 1620550"/>
                  <a:gd name="connsiteY480" fmla="*/ 164118 h 1421209"/>
                  <a:gd name="connsiteX481" fmla="*/ 610158 w 1620550"/>
                  <a:gd name="connsiteY481" fmla="*/ 159103 h 1421209"/>
                  <a:gd name="connsiteX482" fmla="*/ 603471 w 1620550"/>
                  <a:gd name="connsiteY482" fmla="*/ 157431 h 1421209"/>
                  <a:gd name="connsiteX483" fmla="*/ 598456 w 1620550"/>
                  <a:gd name="connsiteY483" fmla="*/ 155760 h 1421209"/>
                  <a:gd name="connsiteX484" fmla="*/ 593441 w 1620550"/>
                  <a:gd name="connsiteY484" fmla="*/ 152416 h 1421209"/>
                  <a:gd name="connsiteX485" fmla="*/ 570038 w 1620550"/>
                  <a:gd name="connsiteY485" fmla="*/ 147401 h 1421209"/>
                  <a:gd name="connsiteX486" fmla="*/ 561679 w 1620550"/>
                  <a:gd name="connsiteY486" fmla="*/ 140715 h 1421209"/>
                  <a:gd name="connsiteX487" fmla="*/ 556664 w 1620550"/>
                  <a:gd name="connsiteY487" fmla="*/ 137371 h 1421209"/>
                  <a:gd name="connsiteX488" fmla="*/ 541619 w 1620550"/>
                  <a:gd name="connsiteY488" fmla="*/ 127341 h 1421209"/>
                  <a:gd name="connsiteX489" fmla="*/ 529918 w 1620550"/>
                  <a:gd name="connsiteY489" fmla="*/ 120655 h 1421209"/>
                  <a:gd name="connsiteX490" fmla="*/ 518216 w 1620550"/>
                  <a:gd name="connsiteY490" fmla="*/ 113968 h 1421209"/>
                  <a:gd name="connsiteX491" fmla="*/ 511530 w 1620550"/>
                  <a:gd name="connsiteY491" fmla="*/ 110625 h 1421209"/>
                  <a:gd name="connsiteX492" fmla="*/ 493141 w 1620550"/>
                  <a:gd name="connsiteY492" fmla="*/ 107281 h 1421209"/>
                  <a:gd name="connsiteX493" fmla="*/ 484783 w 1620550"/>
                  <a:gd name="connsiteY493" fmla="*/ 105610 h 1421209"/>
                  <a:gd name="connsiteX494" fmla="*/ 478096 w 1620550"/>
                  <a:gd name="connsiteY494" fmla="*/ 100595 h 1421209"/>
                  <a:gd name="connsiteX495" fmla="*/ 474753 w 1620550"/>
                  <a:gd name="connsiteY495" fmla="*/ 90565 h 1421209"/>
                  <a:gd name="connsiteX496" fmla="*/ 471410 w 1620550"/>
                  <a:gd name="connsiteY496" fmla="*/ 87221 h 1421209"/>
                  <a:gd name="connsiteX497" fmla="*/ 397856 w 1620550"/>
                  <a:gd name="connsiteY497" fmla="*/ 85550 h 1421209"/>
                  <a:gd name="connsiteX498" fmla="*/ 386155 w 1620550"/>
                  <a:gd name="connsiteY498" fmla="*/ 78863 h 1421209"/>
                  <a:gd name="connsiteX499" fmla="*/ 374453 w 1620550"/>
                  <a:gd name="connsiteY499" fmla="*/ 77191 h 1421209"/>
                  <a:gd name="connsiteX500" fmla="*/ 356065 w 1620550"/>
                  <a:gd name="connsiteY500" fmla="*/ 72176 h 1421209"/>
                  <a:gd name="connsiteX501" fmla="*/ 349378 w 1620550"/>
                  <a:gd name="connsiteY501" fmla="*/ 70505 h 1421209"/>
                  <a:gd name="connsiteX502" fmla="*/ 339348 w 1620550"/>
                  <a:gd name="connsiteY502" fmla="*/ 65490 h 1421209"/>
                  <a:gd name="connsiteX503" fmla="*/ 322632 w 1620550"/>
                  <a:gd name="connsiteY503" fmla="*/ 60475 h 1421209"/>
                  <a:gd name="connsiteX504" fmla="*/ 312602 w 1620550"/>
                  <a:gd name="connsiteY504" fmla="*/ 65490 h 1421209"/>
                  <a:gd name="connsiteX505" fmla="*/ 307587 w 1620550"/>
                  <a:gd name="connsiteY505" fmla="*/ 67161 h 1421209"/>
                  <a:gd name="connsiteX506" fmla="*/ 299228 w 1620550"/>
                  <a:gd name="connsiteY506" fmla="*/ 70505 h 1421209"/>
                  <a:gd name="connsiteX507" fmla="*/ 295885 w 1620550"/>
                  <a:gd name="connsiteY507" fmla="*/ 65490 h 1421209"/>
                  <a:gd name="connsiteX508" fmla="*/ 282512 w 1620550"/>
                  <a:gd name="connsiteY508" fmla="*/ 55460 h 1421209"/>
                  <a:gd name="connsiteX509" fmla="*/ 277497 w 1620550"/>
                  <a:gd name="connsiteY509" fmla="*/ 53788 h 1421209"/>
                  <a:gd name="connsiteX510" fmla="*/ 269138 w 1620550"/>
                  <a:gd name="connsiteY510" fmla="*/ 42086 h 1421209"/>
                  <a:gd name="connsiteX511" fmla="*/ 267467 w 1620550"/>
                  <a:gd name="connsiteY511" fmla="*/ 33728 h 1421209"/>
                  <a:gd name="connsiteX512" fmla="*/ 262452 w 1620550"/>
                  <a:gd name="connsiteY512" fmla="*/ 28713 h 1421209"/>
                  <a:gd name="connsiteX513" fmla="*/ 252422 w 1620550"/>
                  <a:gd name="connsiteY513" fmla="*/ 25370 h 1421209"/>
                  <a:gd name="connsiteX514" fmla="*/ 239048 w 1620550"/>
                  <a:gd name="connsiteY514" fmla="*/ 15340 h 1421209"/>
                  <a:gd name="connsiteX515" fmla="*/ 234033 w 1620550"/>
                  <a:gd name="connsiteY515" fmla="*/ 10325 h 1421209"/>
                  <a:gd name="connsiteX516" fmla="*/ 220660 w 1620550"/>
                  <a:gd name="connsiteY516" fmla="*/ 5310 h 1421209"/>
                  <a:gd name="connsiteX517" fmla="*/ 215645 w 1620550"/>
                  <a:gd name="connsiteY517" fmla="*/ 1967 h 1421209"/>
                  <a:gd name="connsiteX518" fmla="*/ 192242 w 1620550"/>
                  <a:gd name="connsiteY518" fmla="*/ 1967 h 1421209"/>
                  <a:gd name="connsiteX519" fmla="*/ 198928 w 1620550"/>
                  <a:gd name="connsiteY519" fmla="*/ 5310 h 14212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Lst>
                <a:rect l="l" t="t" r="r" b="b"/>
                <a:pathLst>
                  <a:path w="1620550" h="1421209">
                    <a:moveTo>
                      <a:pt x="198928" y="5310"/>
                    </a:moveTo>
                    <a:cubicBezTo>
                      <a:pt x="196421" y="6703"/>
                      <a:pt x="181637" y="2924"/>
                      <a:pt x="177197" y="10325"/>
                    </a:cubicBezTo>
                    <a:cubicBezTo>
                      <a:pt x="176290" y="11836"/>
                      <a:pt x="176082" y="13668"/>
                      <a:pt x="175525" y="15340"/>
                    </a:cubicBezTo>
                    <a:cubicBezTo>
                      <a:pt x="176082" y="17012"/>
                      <a:pt x="177851" y="18719"/>
                      <a:pt x="177197" y="20355"/>
                    </a:cubicBezTo>
                    <a:cubicBezTo>
                      <a:pt x="176451" y="22220"/>
                      <a:pt x="174152" y="23304"/>
                      <a:pt x="172182" y="23698"/>
                    </a:cubicBezTo>
                    <a:cubicBezTo>
                      <a:pt x="165602" y="25014"/>
                      <a:pt x="158809" y="24813"/>
                      <a:pt x="152122" y="25370"/>
                    </a:cubicBezTo>
                    <a:cubicBezTo>
                      <a:pt x="153236" y="28713"/>
                      <a:pt x="154452" y="32024"/>
                      <a:pt x="155465" y="35400"/>
                    </a:cubicBezTo>
                    <a:cubicBezTo>
                      <a:pt x="156125" y="37600"/>
                      <a:pt x="158277" y="40091"/>
                      <a:pt x="157137" y="42086"/>
                    </a:cubicBezTo>
                    <a:cubicBezTo>
                      <a:pt x="155525" y="44907"/>
                      <a:pt x="151423" y="45212"/>
                      <a:pt x="148779" y="47101"/>
                    </a:cubicBezTo>
                    <a:cubicBezTo>
                      <a:pt x="147496" y="48017"/>
                      <a:pt x="146845" y="49740"/>
                      <a:pt x="145435" y="50445"/>
                    </a:cubicBezTo>
                    <a:cubicBezTo>
                      <a:pt x="142283" y="52021"/>
                      <a:pt x="135405" y="53788"/>
                      <a:pt x="135405" y="53788"/>
                    </a:cubicBezTo>
                    <a:cubicBezTo>
                      <a:pt x="134848" y="55460"/>
                      <a:pt x="135168" y="57779"/>
                      <a:pt x="133734" y="58803"/>
                    </a:cubicBezTo>
                    <a:cubicBezTo>
                      <a:pt x="130436" y="61159"/>
                      <a:pt x="119558" y="62975"/>
                      <a:pt x="115345" y="63818"/>
                    </a:cubicBezTo>
                    <a:cubicBezTo>
                      <a:pt x="104201" y="63261"/>
                      <a:pt x="92977" y="63589"/>
                      <a:pt x="81912" y="62146"/>
                    </a:cubicBezTo>
                    <a:cubicBezTo>
                      <a:pt x="76097" y="61388"/>
                      <a:pt x="77139" y="56776"/>
                      <a:pt x="73554" y="53788"/>
                    </a:cubicBezTo>
                    <a:cubicBezTo>
                      <a:pt x="71640" y="52193"/>
                      <a:pt x="69096" y="51559"/>
                      <a:pt x="66867" y="50445"/>
                    </a:cubicBezTo>
                    <a:cubicBezTo>
                      <a:pt x="62966" y="51002"/>
                      <a:pt x="58444" y="49931"/>
                      <a:pt x="55165" y="52116"/>
                    </a:cubicBezTo>
                    <a:cubicBezTo>
                      <a:pt x="51230" y="54739"/>
                      <a:pt x="63559" y="59523"/>
                      <a:pt x="55165" y="62146"/>
                    </a:cubicBezTo>
                    <a:cubicBezTo>
                      <a:pt x="47117" y="64661"/>
                      <a:pt x="38448" y="64375"/>
                      <a:pt x="30090" y="65490"/>
                    </a:cubicBezTo>
                    <a:cubicBezTo>
                      <a:pt x="21337" y="68407"/>
                      <a:pt x="26322" y="65915"/>
                      <a:pt x="16717" y="75520"/>
                    </a:cubicBezTo>
                    <a:lnTo>
                      <a:pt x="11702" y="80535"/>
                    </a:lnTo>
                    <a:cubicBezTo>
                      <a:pt x="10588" y="83321"/>
                      <a:pt x="9149" y="85998"/>
                      <a:pt x="8359" y="88893"/>
                    </a:cubicBezTo>
                    <a:cubicBezTo>
                      <a:pt x="7467" y="92163"/>
                      <a:pt x="7759" y="95707"/>
                      <a:pt x="6687" y="98923"/>
                    </a:cubicBezTo>
                    <a:cubicBezTo>
                      <a:pt x="5632" y="102088"/>
                      <a:pt x="2284" y="104998"/>
                      <a:pt x="0" y="107281"/>
                    </a:cubicBezTo>
                    <a:cubicBezTo>
                      <a:pt x="21111" y="111504"/>
                      <a:pt x="17688" y="105069"/>
                      <a:pt x="15045" y="115640"/>
                    </a:cubicBezTo>
                    <a:cubicBezTo>
                      <a:pt x="14356" y="118396"/>
                      <a:pt x="13931" y="121212"/>
                      <a:pt x="13374" y="123998"/>
                    </a:cubicBezTo>
                    <a:cubicBezTo>
                      <a:pt x="14488" y="126227"/>
                      <a:pt x="17069" y="128218"/>
                      <a:pt x="16717" y="130685"/>
                    </a:cubicBezTo>
                    <a:cubicBezTo>
                      <a:pt x="16383" y="133025"/>
                      <a:pt x="13215" y="133884"/>
                      <a:pt x="11702" y="135700"/>
                    </a:cubicBezTo>
                    <a:cubicBezTo>
                      <a:pt x="10416" y="137243"/>
                      <a:pt x="9473" y="139043"/>
                      <a:pt x="8359" y="140715"/>
                    </a:cubicBezTo>
                    <a:cubicBezTo>
                      <a:pt x="16717" y="141272"/>
                      <a:pt x="25280" y="140468"/>
                      <a:pt x="33434" y="142386"/>
                    </a:cubicBezTo>
                    <a:cubicBezTo>
                      <a:pt x="35390" y="142846"/>
                      <a:pt x="38481" y="146336"/>
                      <a:pt x="36777" y="147401"/>
                    </a:cubicBezTo>
                    <a:cubicBezTo>
                      <a:pt x="31958" y="150413"/>
                      <a:pt x="25632" y="149630"/>
                      <a:pt x="20060" y="150745"/>
                    </a:cubicBezTo>
                    <a:cubicBezTo>
                      <a:pt x="14147" y="160599"/>
                      <a:pt x="11580" y="160531"/>
                      <a:pt x="18389" y="174148"/>
                    </a:cubicBezTo>
                    <a:cubicBezTo>
                      <a:pt x="19177" y="175724"/>
                      <a:pt x="21732" y="175263"/>
                      <a:pt x="23404" y="175820"/>
                    </a:cubicBezTo>
                    <a:cubicBezTo>
                      <a:pt x="26190" y="175263"/>
                      <a:pt x="29398" y="175724"/>
                      <a:pt x="31762" y="174148"/>
                    </a:cubicBezTo>
                    <a:cubicBezTo>
                      <a:pt x="33228" y="173171"/>
                      <a:pt x="32188" y="170379"/>
                      <a:pt x="33434" y="169133"/>
                    </a:cubicBezTo>
                    <a:cubicBezTo>
                      <a:pt x="34680" y="167887"/>
                      <a:pt x="36777" y="168018"/>
                      <a:pt x="38449" y="167461"/>
                    </a:cubicBezTo>
                    <a:cubicBezTo>
                      <a:pt x="41792" y="168018"/>
                      <a:pt x="45516" y="167487"/>
                      <a:pt x="48479" y="169133"/>
                    </a:cubicBezTo>
                    <a:cubicBezTo>
                      <a:pt x="54768" y="172627"/>
                      <a:pt x="54990" y="176963"/>
                      <a:pt x="50150" y="180835"/>
                    </a:cubicBezTo>
                    <a:cubicBezTo>
                      <a:pt x="48774" y="181936"/>
                      <a:pt x="46807" y="181949"/>
                      <a:pt x="45135" y="182506"/>
                    </a:cubicBezTo>
                    <a:cubicBezTo>
                      <a:pt x="44021" y="184178"/>
                      <a:pt x="42427" y="185615"/>
                      <a:pt x="41792" y="187521"/>
                    </a:cubicBezTo>
                    <a:cubicBezTo>
                      <a:pt x="40720" y="190737"/>
                      <a:pt x="40726" y="194216"/>
                      <a:pt x="40120" y="197551"/>
                    </a:cubicBezTo>
                    <a:cubicBezTo>
                      <a:pt x="39612" y="200346"/>
                      <a:pt x="39347" y="203214"/>
                      <a:pt x="38449" y="205909"/>
                    </a:cubicBezTo>
                    <a:cubicBezTo>
                      <a:pt x="37661" y="208273"/>
                      <a:pt x="36087" y="210305"/>
                      <a:pt x="35105" y="212596"/>
                    </a:cubicBezTo>
                    <a:cubicBezTo>
                      <a:pt x="34411" y="214216"/>
                      <a:pt x="33991" y="215939"/>
                      <a:pt x="33434" y="217611"/>
                    </a:cubicBezTo>
                    <a:cubicBezTo>
                      <a:pt x="36220" y="218725"/>
                      <a:pt x="38800" y="220724"/>
                      <a:pt x="41792" y="220954"/>
                    </a:cubicBezTo>
                    <a:cubicBezTo>
                      <a:pt x="59997" y="222355"/>
                      <a:pt x="50841" y="214961"/>
                      <a:pt x="58509" y="222626"/>
                    </a:cubicBezTo>
                    <a:cubicBezTo>
                      <a:pt x="38475" y="224167"/>
                      <a:pt x="38735" y="218823"/>
                      <a:pt x="30090" y="232656"/>
                    </a:cubicBezTo>
                    <a:cubicBezTo>
                      <a:pt x="29156" y="234150"/>
                      <a:pt x="28976" y="235999"/>
                      <a:pt x="28419" y="237671"/>
                    </a:cubicBezTo>
                    <a:cubicBezTo>
                      <a:pt x="32319" y="238228"/>
                      <a:pt x="37935" y="236065"/>
                      <a:pt x="40120" y="239343"/>
                    </a:cubicBezTo>
                    <a:cubicBezTo>
                      <a:pt x="41784" y="241840"/>
                      <a:pt x="34162" y="240886"/>
                      <a:pt x="31762" y="242686"/>
                    </a:cubicBezTo>
                    <a:cubicBezTo>
                      <a:pt x="29533" y="244358"/>
                      <a:pt x="28560" y="247258"/>
                      <a:pt x="26747" y="249373"/>
                    </a:cubicBezTo>
                    <a:cubicBezTo>
                      <a:pt x="21664" y="255303"/>
                      <a:pt x="22061" y="254224"/>
                      <a:pt x="15045" y="257731"/>
                    </a:cubicBezTo>
                    <a:cubicBezTo>
                      <a:pt x="14829" y="260111"/>
                      <a:pt x="11128" y="287246"/>
                      <a:pt x="15045" y="291164"/>
                    </a:cubicBezTo>
                    <a:cubicBezTo>
                      <a:pt x="17537" y="293656"/>
                      <a:pt x="21732" y="288935"/>
                      <a:pt x="25075" y="287821"/>
                    </a:cubicBezTo>
                    <a:cubicBezTo>
                      <a:pt x="30809" y="279221"/>
                      <a:pt x="34734" y="287409"/>
                      <a:pt x="38196" y="286607"/>
                    </a:cubicBezTo>
                    <a:cubicBezTo>
                      <a:pt x="41658" y="285805"/>
                      <a:pt x="41987" y="284682"/>
                      <a:pt x="45845" y="283010"/>
                    </a:cubicBezTo>
                    <a:cubicBezTo>
                      <a:pt x="49704" y="281338"/>
                      <a:pt x="55057" y="279118"/>
                      <a:pt x="61347" y="276577"/>
                    </a:cubicBezTo>
                    <a:cubicBezTo>
                      <a:pt x="67637" y="274036"/>
                      <a:pt x="72997" y="268318"/>
                      <a:pt x="83584" y="267761"/>
                    </a:cubicBezTo>
                    <a:cubicBezTo>
                      <a:pt x="86370" y="268318"/>
                      <a:pt x="89247" y="268535"/>
                      <a:pt x="91942" y="269433"/>
                    </a:cubicBezTo>
                    <a:cubicBezTo>
                      <a:pt x="94306" y="270221"/>
                      <a:pt x="96338" y="271794"/>
                      <a:pt x="98629" y="272776"/>
                    </a:cubicBezTo>
                    <a:cubicBezTo>
                      <a:pt x="100249" y="273470"/>
                      <a:pt x="101972" y="273891"/>
                      <a:pt x="103644" y="274448"/>
                    </a:cubicBezTo>
                    <a:cubicBezTo>
                      <a:pt x="105316" y="276120"/>
                      <a:pt x="107486" y="277410"/>
                      <a:pt x="108659" y="279463"/>
                    </a:cubicBezTo>
                    <a:cubicBezTo>
                      <a:pt x="110425" y="282553"/>
                      <a:pt x="111990" y="299426"/>
                      <a:pt x="112002" y="299523"/>
                    </a:cubicBezTo>
                    <a:cubicBezTo>
                      <a:pt x="108243" y="301402"/>
                      <a:pt x="102293" y="303495"/>
                      <a:pt x="100300" y="307881"/>
                    </a:cubicBezTo>
                    <a:cubicBezTo>
                      <a:pt x="98399" y="312064"/>
                      <a:pt x="98410" y="316895"/>
                      <a:pt x="96957" y="321254"/>
                    </a:cubicBezTo>
                    <a:lnTo>
                      <a:pt x="95285" y="326269"/>
                    </a:lnTo>
                    <a:cubicBezTo>
                      <a:pt x="96400" y="327941"/>
                      <a:pt x="96737" y="330608"/>
                      <a:pt x="98629" y="331284"/>
                    </a:cubicBezTo>
                    <a:cubicBezTo>
                      <a:pt x="105013" y="333564"/>
                      <a:pt x="118689" y="334628"/>
                      <a:pt x="118689" y="334628"/>
                    </a:cubicBezTo>
                    <a:cubicBezTo>
                      <a:pt x="128162" y="334071"/>
                      <a:pt x="137691" y="334133"/>
                      <a:pt x="147107" y="332956"/>
                    </a:cubicBezTo>
                    <a:cubicBezTo>
                      <a:pt x="151132" y="332453"/>
                      <a:pt x="154752" y="329613"/>
                      <a:pt x="158808" y="329613"/>
                    </a:cubicBezTo>
                    <a:cubicBezTo>
                      <a:pt x="162332" y="329613"/>
                      <a:pt x="168838" y="332956"/>
                      <a:pt x="168838" y="332956"/>
                    </a:cubicBezTo>
                    <a:cubicBezTo>
                      <a:pt x="170106" y="334646"/>
                      <a:pt x="174537" y="341213"/>
                      <a:pt x="177197" y="342986"/>
                    </a:cubicBezTo>
                    <a:cubicBezTo>
                      <a:pt x="179270" y="344368"/>
                      <a:pt x="181772" y="343906"/>
                      <a:pt x="183883" y="346329"/>
                    </a:cubicBezTo>
                    <a:cubicBezTo>
                      <a:pt x="185994" y="348752"/>
                      <a:pt x="187075" y="356969"/>
                      <a:pt x="189861" y="357526"/>
                    </a:cubicBezTo>
                    <a:cubicBezTo>
                      <a:pt x="194499" y="356683"/>
                      <a:pt x="205158" y="361402"/>
                      <a:pt x="210173" y="360364"/>
                    </a:cubicBezTo>
                    <a:cubicBezTo>
                      <a:pt x="215188" y="359326"/>
                      <a:pt x="216252" y="356143"/>
                      <a:pt x="219950" y="351296"/>
                    </a:cubicBezTo>
                    <a:cubicBezTo>
                      <a:pt x="223648" y="346449"/>
                      <a:pt x="229179" y="334062"/>
                      <a:pt x="232362" y="331284"/>
                    </a:cubicBezTo>
                    <a:cubicBezTo>
                      <a:pt x="235545" y="328506"/>
                      <a:pt x="237020" y="333179"/>
                      <a:pt x="239048" y="334628"/>
                    </a:cubicBezTo>
                    <a:cubicBezTo>
                      <a:pt x="240972" y="336002"/>
                      <a:pt x="242113" y="338529"/>
                      <a:pt x="244063" y="339643"/>
                    </a:cubicBezTo>
                    <a:cubicBezTo>
                      <a:pt x="246013" y="340757"/>
                      <a:pt x="248521" y="340757"/>
                      <a:pt x="250750" y="341314"/>
                    </a:cubicBezTo>
                    <a:cubicBezTo>
                      <a:pt x="262247" y="352814"/>
                      <a:pt x="242577" y="333844"/>
                      <a:pt x="260780" y="348001"/>
                    </a:cubicBezTo>
                    <a:cubicBezTo>
                      <a:pt x="263890" y="350420"/>
                      <a:pt x="266352" y="353573"/>
                      <a:pt x="269138" y="356359"/>
                    </a:cubicBezTo>
                    <a:cubicBezTo>
                      <a:pt x="269695" y="360260"/>
                      <a:pt x="268446" y="364909"/>
                      <a:pt x="270810" y="368061"/>
                    </a:cubicBezTo>
                    <a:cubicBezTo>
                      <a:pt x="274510" y="372994"/>
                      <a:pt x="288767" y="366990"/>
                      <a:pt x="290870" y="366389"/>
                    </a:cubicBezTo>
                    <a:cubicBezTo>
                      <a:pt x="295885" y="366946"/>
                      <a:pt x="303271" y="363764"/>
                      <a:pt x="305915" y="368061"/>
                    </a:cubicBezTo>
                    <a:cubicBezTo>
                      <a:pt x="309432" y="373776"/>
                      <a:pt x="304243" y="381411"/>
                      <a:pt x="304243" y="388121"/>
                    </a:cubicBezTo>
                    <a:cubicBezTo>
                      <a:pt x="304243" y="388250"/>
                      <a:pt x="306942" y="402199"/>
                      <a:pt x="307587" y="403166"/>
                    </a:cubicBezTo>
                    <a:cubicBezTo>
                      <a:pt x="311499" y="409034"/>
                      <a:pt x="315658" y="411333"/>
                      <a:pt x="320960" y="414867"/>
                    </a:cubicBezTo>
                    <a:cubicBezTo>
                      <a:pt x="323626" y="418867"/>
                      <a:pt x="325222" y="421971"/>
                      <a:pt x="329318" y="424897"/>
                    </a:cubicBezTo>
                    <a:cubicBezTo>
                      <a:pt x="331346" y="426346"/>
                      <a:pt x="333776" y="427126"/>
                      <a:pt x="336005" y="428241"/>
                    </a:cubicBezTo>
                    <a:cubicBezTo>
                      <a:pt x="335448" y="438271"/>
                      <a:pt x="337619" y="448838"/>
                      <a:pt x="334333" y="458331"/>
                    </a:cubicBezTo>
                    <a:cubicBezTo>
                      <a:pt x="331494" y="466533"/>
                      <a:pt x="315485" y="475758"/>
                      <a:pt x="307587" y="478391"/>
                    </a:cubicBezTo>
                    <a:cubicBezTo>
                      <a:pt x="302572" y="480063"/>
                      <a:pt x="296941" y="480474"/>
                      <a:pt x="292542" y="483406"/>
                    </a:cubicBezTo>
                    <a:cubicBezTo>
                      <a:pt x="290870" y="484520"/>
                      <a:pt x="289502" y="486379"/>
                      <a:pt x="287527" y="486749"/>
                    </a:cubicBezTo>
                    <a:cubicBezTo>
                      <a:pt x="280386" y="488088"/>
                      <a:pt x="273039" y="487864"/>
                      <a:pt x="265795" y="488421"/>
                    </a:cubicBezTo>
                    <a:cubicBezTo>
                      <a:pt x="263009" y="490650"/>
                      <a:pt x="260089" y="492720"/>
                      <a:pt x="257437" y="495107"/>
                    </a:cubicBezTo>
                    <a:cubicBezTo>
                      <a:pt x="254508" y="497743"/>
                      <a:pt x="249078" y="503466"/>
                      <a:pt x="249078" y="503466"/>
                    </a:cubicBezTo>
                    <a:cubicBezTo>
                      <a:pt x="248521" y="505138"/>
                      <a:pt x="248314" y="506970"/>
                      <a:pt x="247407" y="508481"/>
                    </a:cubicBezTo>
                    <a:cubicBezTo>
                      <a:pt x="245820" y="511126"/>
                      <a:pt x="241324" y="513650"/>
                      <a:pt x="239048" y="515167"/>
                    </a:cubicBezTo>
                    <a:cubicBezTo>
                      <a:pt x="235260" y="530321"/>
                      <a:pt x="234653" y="524639"/>
                      <a:pt x="237377" y="536899"/>
                    </a:cubicBezTo>
                    <a:cubicBezTo>
                      <a:pt x="237875" y="539142"/>
                      <a:pt x="238491" y="541357"/>
                      <a:pt x="239048" y="543586"/>
                    </a:cubicBezTo>
                    <a:cubicBezTo>
                      <a:pt x="238491" y="560860"/>
                      <a:pt x="238774" y="578181"/>
                      <a:pt x="237377" y="595407"/>
                    </a:cubicBezTo>
                    <a:cubicBezTo>
                      <a:pt x="236542" y="605699"/>
                      <a:pt x="234195" y="603442"/>
                      <a:pt x="230690" y="610452"/>
                    </a:cubicBezTo>
                    <a:cubicBezTo>
                      <a:pt x="229348" y="613136"/>
                      <a:pt x="228566" y="616068"/>
                      <a:pt x="227347" y="618810"/>
                    </a:cubicBezTo>
                    <a:cubicBezTo>
                      <a:pt x="226335" y="621087"/>
                      <a:pt x="225118" y="623268"/>
                      <a:pt x="224003" y="625497"/>
                    </a:cubicBezTo>
                    <a:cubicBezTo>
                      <a:pt x="223446" y="628283"/>
                      <a:pt x="223330" y="631195"/>
                      <a:pt x="222332" y="633855"/>
                    </a:cubicBezTo>
                    <a:cubicBezTo>
                      <a:pt x="220298" y="639280"/>
                      <a:pt x="218235" y="639017"/>
                      <a:pt x="213973" y="642214"/>
                    </a:cubicBezTo>
                    <a:cubicBezTo>
                      <a:pt x="211119" y="644355"/>
                      <a:pt x="208640" y="647009"/>
                      <a:pt x="205615" y="648900"/>
                    </a:cubicBezTo>
                    <a:cubicBezTo>
                      <a:pt x="202621" y="650771"/>
                      <a:pt x="192265" y="651961"/>
                      <a:pt x="190570" y="652244"/>
                    </a:cubicBezTo>
                    <a:cubicBezTo>
                      <a:pt x="191127" y="655587"/>
                      <a:pt x="191507" y="658965"/>
                      <a:pt x="192242" y="662274"/>
                    </a:cubicBezTo>
                    <a:cubicBezTo>
                      <a:pt x="192624" y="663994"/>
                      <a:pt x="193913" y="665527"/>
                      <a:pt x="193913" y="667289"/>
                    </a:cubicBezTo>
                    <a:cubicBezTo>
                      <a:pt x="193913" y="672070"/>
                      <a:pt x="192751" y="688438"/>
                      <a:pt x="190570" y="695707"/>
                    </a:cubicBezTo>
                    <a:cubicBezTo>
                      <a:pt x="189708" y="698581"/>
                      <a:pt x="188089" y="701191"/>
                      <a:pt x="187227" y="704065"/>
                    </a:cubicBezTo>
                    <a:cubicBezTo>
                      <a:pt x="186411" y="706787"/>
                      <a:pt x="186826" y="709882"/>
                      <a:pt x="185555" y="712424"/>
                    </a:cubicBezTo>
                    <a:cubicBezTo>
                      <a:pt x="184498" y="714539"/>
                      <a:pt x="181958" y="715548"/>
                      <a:pt x="180540" y="717439"/>
                    </a:cubicBezTo>
                    <a:cubicBezTo>
                      <a:pt x="178591" y="720038"/>
                      <a:pt x="177822" y="723500"/>
                      <a:pt x="175525" y="725797"/>
                    </a:cubicBezTo>
                    <a:cubicBezTo>
                      <a:pt x="174279" y="727043"/>
                      <a:pt x="172086" y="726681"/>
                      <a:pt x="170510" y="727469"/>
                    </a:cubicBezTo>
                    <a:cubicBezTo>
                      <a:pt x="168713" y="728367"/>
                      <a:pt x="167292" y="729914"/>
                      <a:pt x="165495" y="730812"/>
                    </a:cubicBezTo>
                    <a:cubicBezTo>
                      <a:pt x="160339" y="733390"/>
                      <a:pt x="151723" y="733578"/>
                      <a:pt x="147107" y="734155"/>
                    </a:cubicBezTo>
                    <a:cubicBezTo>
                      <a:pt x="134499" y="738359"/>
                      <a:pt x="150042" y="732688"/>
                      <a:pt x="137077" y="739170"/>
                    </a:cubicBezTo>
                    <a:cubicBezTo>
                      <a:pt x="134393" y="740512"/>
                      <a:pt x="131461" y="741294"/>
                      <a:pt x="128719" y="742513"/>
                    </a:cubicBezTo>
                    <a:cubicBezTo>
                      <a:pt x="126442" y="743525"/>
                      <a:pt x="127047" y="745300"/>
                      <a:pt x="122032" y="745857"/>
                    </a:cubicBezTo>
                    <a:cubicBezTo>
                      <a:pt x="117017" y="746414"/>
                      <a:pt x="107544" y="744742"/>
                      <a:pt x="98628" y="745856"/>
                    </a:cubicBezTo>
                    <a:cubicBezTo>
                      <a:pt x="95563" y="747528"/>
                      <a:pt x="102251" y="751708"/>
                      <a:pt x="103644" y="755887"/>
                    </a:cubicBezTo>
                    <a:cubicBezTo>
                      <a:pt x="105037" y="760066"/>
                      <a:pt x="105449" y="765294"/>
                      <a:pt x="106987" y="770932"/>
                    </a:cubicBezTo>
                    <a:cubicBezTo>
                      <a:pt x="107777" y="773827"/>
                      <a:pt x="109468" y="776416"/>
                      <a:pt x="110330" y="779290"/>
                    </a:cubicBezTo>
                    <a:cubicBezTo>
                      <a:pt x="111146" y="782011"/>
                      <a:pt x="111445" y="784862"/>
                      <a:pt x="112002" y="787648"/>
                    </a:cubicBezTo>
                    <a:cubicBezTo>
                      <a:pt x="112559" y="798793"/>
                      <a:pt x="112290" y="810010"/>
                      <a:pt x="113674" y="821082"/>
                    </a:cubicBezTo>
                    <a:cubicBezTo>
                      <a:pt x="113983" y="823554"/>
                      <a:pt x="115125" y="826146"/>
                      <a:pt x="117017" y="827768"/>
                    </a:cubicBezTo>
                    <a:cubicBezTo>
                      <a:pt x="119295" y="829721"/>
                      <a:pt x="122589" y="829997"/>
                      <a:pt x="125375" y="831112"/>
                    </a:cubicBezTo>
                    <a:cubicBezTo>
                      <a:pt x="132264" y="837999"/>
                      <a:pt x="125263" y="832783"/>
                      <a:pt x="140420" y="832783"/>
                    </a:cubicBezTo>
                    <a:cubicBezTo>
                      <a:pt x="144018" y="832783"/>
                      <a:pt x="152809" y="836736"/>
                      <a:pt x="155465" y="837798"/>
                    </a:cubicBezTo>
                    <a:cubicBezTo>
                      <a:pt x="158151" y="848540"/>
                      <a:pt x="159375" y="849659"/>
                      <a:pt x="153793" y="864545"/>
                    </a:cubicBezTo>
                    <a:cubicBezTo>
                      <a:pt x="152686" y="867496"/>
                      <a:pt x="149158" y="868839"/>
                      <a:pt x="147107" y="871232"/>
                    </a:cubicBezTo>
                    <a:cubicBezTo>
                      <a:pt x="145800" y="872757"/>
                      <a:pt x="145099" y="874745"/>
                      <a:pt x="143764" y="876247"/>
                    </a:cubicBezTo>
                    <a:cubicBezTo>
                      <a:pt x="140623" y="879781"/>
                      <a:pt x="137077" y="882934"/>
                      <a:pt x="133734" y="886277"/>
                    </a:cubicBezTo>
                    <a:cubicBezTo>
                      <a:pt x="132062" y="887949"/>
                      <a:pt x="130724" y="890039"/>
                      <a:pt x="128719" y="891292"/>
                    </a:cubicBezTo>
                    <a:cubicBezTo>
                      <a:pt x="123790" y="894372"/>
                      <a:pt x="113823" y="900075"/>
                      <a:pt x="108659" y="904665"/>
                    </a:cubicBezTo>
                    <a:cubicBezTo>
                      <a:pt x="105714" y="907283"/>
                      <a:pt x="103086" y="910237"/>
                      <a:pt x="100300" y="913023"/>
                    </a:cubicBezTo>
                    <a:cubicBezTo>
                      <a:pt x="91097" y="922226"/>
                      <a:pt x="95577" y="917257"/>
                      <a:pt x="86927" y="928068"/>
                    </a:cubicBezTo>
                    <a:cubicBezTo>
                      <a:pt x="80489" y="947377"/>
                      <a:pt x="81999" y="940906"/>
                      <a:pt x="86927" y="981561"/>
                    </a:cubicBezTo>
                    <a:cubicBezTo>
                      <a:pt x="87267" y="984363"/>
                      <a:pt x="93864" y="990663"/>
                      <a:pt x="96957" y="991591"/>
                    </a:cubicBezTo>
                    <a:cubicBezTo>
                      <a:pt x="100731" y="992723"/>
                      <a:pt x="104758" y="992706"/>
                      <a:pt x="108659" y="993263"/>
                    </a:cubicBezTo>
                    <a:cubicBezTo>
                      <a:pt x="116221" y="1008387"/>
                      <a:pt x="121934" y="1016435"/>
                      <a:pt x="115345" y="1038398"/>
                    </a:cubicBezTo>
                    <a:cubicBezTo>
                      <a:pt x="115243" y="1038738"/>
                      <a:pt x="94666" y="1035230"/>
                      <a:pt x="93614" y="1035055"/>
                    </a:cubicBezTo>
                    <a:cubicBezTo>
                      <a:pt x="83584" y="1035612"/>
                      <a:pt x="73458" y="1035236"/>
                      <a:pt x="63524" y="1036726"/>
                    </a:cubicBezTo>
                    <a:cubicBezTo>
                      <a:pt x="61577" y="1037018"/>
                      <a:pt x="57464" y="1044458"/>
                      <a:pt x="56837" y="1045085"/>
                    </a:cubicBezTo>
                    <a:cubicBezTo>
                      <a:pt x="54314" y="1047608"/>
                      <a:pt x="51002" y="1049248"/>
                      <a:pt x="48479" y="1051771"/>
                    </a:cubicBezTo>
                    <a:cubicBezTo>
                      <a:pt x="46509" y="1053741"/>
                      <a:pt x="45248" y="1056318"/>
                      <a:pt x="43464" y="1058458"/>
                    </a:cubicBezTo>
                    <a:cubicBezTo>
                      <a:pt x="42455" y="1059669"/>
                      <a:pt x="41036" y="1060518"/>
                      <a:pt x="40120" y="1061801"/>
                    </a:cubicBezTo>
                    <a:cubicBezTo>
                      <a:pt x="38231" y="1064445"/>
                      <a:pt x="36558" y="1067254"/>
                      <a:pt x="35105" y="1070160"/>
                    </a:cubicBezTo>
                    <a:cubicBezTo>
                      <a:pt x="34317" y="1071736"/>
                      <a:pt x="33952" y="1073491"/>
                      <a:pt x="33434" y="1075175"/>
                    </a:cubicBezTo>
                    <a:cubicBezTo>
                      <a:pt x="31723" y="1080735"/>
                      <a:pt x="30376" y="1086413"/>
                      <a:pt x="28419" y="1091891"/>
                    </a:cubicBezTo>
                    <a:cubicBezTo>
                      <a:pt x="27581" y="1094238"/>
                      <a:pt x="26034" y="1096278"/>
                      <a:pt x="25075" y="1098578"/>
                    </a:cubicBezTo>
                    <a:cubicBezTo>
                      <a:pt x="23244" y="1102973"/>
                      <a:pt x="21732" y="1107493"/>
                      <a:pt x="20060" y="1111951"/>
                    </a:cubicBezTo>
                    <a:cubicBezTo>
                      <a:pt x="20617" y="1129225"/>
                      <a:pt x="14860" y="1147915"/>
                      <a:pt x="21732" y="1163773"/>
                    </a:cubicBezTo>
                    <a:cubicBezTo>
                      <a:pt x="24400" y="1169930"/>
                      <a:pt x="35082" y="1162101"/>
                      <a:pt x="41792" y="1162101"/>
                    </a:cubicBezTo>
                    <a:cubicBezTo>
                      <a:pt x="50725" y="1162101"/>
                      <a:pt x="59623" y="1163216"/>
                      <a:pt x="68539" y="1163773"/>
                    </a:cubicBezTo>
                    <a:cubicBezTo>
                      <a:pt x="79877" y="1171331"/>
                      <a:pt x="66029" y="1161890"/>
                      <a:pt x="81912" y="1173803"/>
                    </a:cubicBezTo>
                    <a:cubicBezTo>
                      <a:pt x="83519" y="1175008"/>
                      <a:pt x="85506" y="1175725"/>
                      <a:pt x="86927" y="1177146"/>
                    </a:cubicBezTo>
                    <a:cubicBezTo>
                      <a:pt x="89450" y="1179669"/>
                      <a:pt x="91385" y="1182718"/>
                      <a:pt x="93614" y="1185504"/>
                    </a:cubicBezTo>
                    <a:lnTo>
                      <a:pt x="96957" y="1195534"/>
                    </a:lnTo>
                    <a:cubicBezTo>
                      <a:pt x="97514" y="1197206"/>
                      <a:pt x="97652" y="1199083"/>
                      <a:pt x="98629" y="1200549"/>
                    </a:cubicBezTo>
                    <a:cubicBezTo>
                      <a:pt x="101842" y="1205369"/>
                      <a:pt x="103499" y="1208565"/>
                      <a:pt x="108659" y="1212251"/>
                    </a:cubicBezTo>
                    <a:cubicBezTo>
                      <a:pt x="110093" y="1213275"/>
                      <a:pt x="112024" y="1213304"/>
                      <a:pt x="113674" y="1213923"/>
                    </a:cubicBezTo>
                    <a:cubicBezTo>
                      <a:pt x="116484" y="1214977"/>
                      <a:pt x="119477" y="1215693"/>
                      <a:pt x="122032" y="1217266"/>
                    </a:cubicBezTo>
                    <a:cubicBezTo>
                      <a:pt x="126778" y="1220186"/>
                      <a:pt x="130769" y="1224205"/>
                      <a:pt x="135405" y="1227296"/>
                    </a:cubicBezTo>
                    <a:cubicBezTo>
                      <a:pt x="137077" y="1228410"/>
                      <a:pt x="138623" y="1229741"/>
                      <a:pt x="140420" y="1230639"/>
                    </a:cubicBezTo>
                    <a:cubicBezTo>
                      <a:pt x="141996" y="1231427"/>
                      <a:pt x="143763" y="1231754"/>
                      <a:pt x="145435" y="1232311"/>
                    </a:cubicBezTo>
                    <a:cubicBezTo>
                      <a:pt x="146550" y="1233983"/>
                      <a:pt x="147611" y="1235691"/>
                      <a:pt x="148779" y="1237326"/>
                    </a:cubicBezTo>
                    <a:cubicBezTo>
                      <a:pt x="150398" y="1239593"/>
                      <a:pt x="152316" y="1241650"/>
                      <a:pt x="153793" y="1244013"/>
                    </a:cubicBezTo>
                    <a:cubicBezTo>
                      <a:pt x="156747" y="1248740"/>
                      <a:pt x="157182" y="1250834"/>
                      <a:pt x="158808" y="1255714"/>
                    </a:cubicBezTo>
                    <a:cubicBezTo>
                      <a:pt x="156579" y="1256829"/>
                      <a:pt x="154486" y="1258270"/>
                      <a:pt x="152122" y="1259058"/>
                    </a:cubicBezTo>
                    <a:cubicBezTo>
                      <a:pt x="149427" y="1259956"/>
                      <a:pt x="144918" y="1258133"/>
                      <a:pt x="143764" y="1260729"/>
                    </a:cubicBezTo>
                    <a:cubicBezTo>
                      <a:pt x="141939" y="1264834"/>
                      <a:pt x="144494" y="1269710"/>
                      <a:pt x="145435" y="1274103"/>
                    </a:cubicBezTo>
                    <a:cubicBezTo>
                      <a:pt x="146608" y="1279578"/>
                      <a:pt x="149296" y="1285873"/>
                      <a:pt x="152122" y="1290819"/>
                    </a:cubicBezTo>
                    <a:cubicBezTo>
                      <a:pt x="153119" y="1292563"/>
                      <a:pt x="153896" y="1294579"/>
                      <a:pt x="155465" y="1295834"/>
                    </a:cubicBezTo>
                    <a:cubicBezTo>
                      <a:pt x="156841" y="1296935"/>
                      <a:pt x="158808" y="1296949"/>
                      <a:pt x="160480" y="1297506"/>
                    </a:cubicBezTo>
                    <a:cubicBezTo>
                      <a:pt x="161594" y="1299178"/>
                      <a:pt x="162402" y="1301100"/>
                      <a:pt x="163823" y="1302521"/>
                    </a:cubicBezTo>
                    <a:cubicBezTo>
                      <a:pt x="165244" y="1303942"/>
                      <a:pt x="167269" y="1304609"/>
                      <a:pt x="168838" y="1305864"/>
                    </a:cubicBezTo>
                    <a:cubicBezTo>
                      <a:pt x="180760" y="1315400"/>
                      <a:pt x="161748" y="1302249"/>
                      <a:pt x="177197" y="1312551"/>
                    </a:cubicBezTo>
                    <a:cubicBezTo>
                      <a:pt x="178311" y="1314223"/>
                      <a:pt x="181027" y="1315617"/>
                      <a:pt x="180540" y="1317566"/>
                    </a:cubicBezTo>
                    <a:cubicBezTo>
                      <a:pt x="179150" y="1323125"/>
                      <a:pt x="173133" y="1326404"/>
                      <a:pt x="168838" y="1329267"/>
                    </a:cubicBezTo>
                    <a:cubicBezTo>
                      <a:pt x="169395" y="1335954"/>
                      <a:pt x="168883" y="1342818"/>
                      <a:pt x="170510" y="1349327"/>
                    </a:cubicBezTo>
                    <a:cubicBezTo>
                      <a:pt x="171186" y="1352030"/>
                      <a:pt x="174706" y="1353351"/>
                      <a:pt x="175525" y="1356014"/>
                    </a:cubicBezTo>
                    <a:cubicBezTo>
                      <a:pt x="177009" y="1360837"/>
                      <a:pt x="176530" y="1366057"/>
                      <a:pt x="177197" y="1371059"/>
                    </a:cubicBezTo>
                    <a:cubicBezTo>
                      <a:pt x="177645" y="1374419"/>
                      <a:pt x="178243" y="1377758"/>
                      <a:pt x="178868" y="1381089"/>
                    </a:cubicBezTo>
                    <a:cubicBezTo>
                      <a:pt x="179915" y="1386674"/>
                      <a:pt x="179671" y="1392723"/>
                      <a:pt x="182212" y="1397806"/>
                    </a:cubicBezTo>
                    <a:cubicBezTo>
                      <a:pt x="183326" y="1400035"/>
                      <a:pt x="186669" y="1400035"/>
                      <a:pt x="188898" y="1401149"/>
                    </a:cubicBezTo>
                    <a:cubicBezTo>
                      <a:pt x="190570" y="1400592"/>
                      <a:pt x="192667" y="1400723"/>
                      <a:pt x="193913" y="1399477"/>
                    </a:cubicBezTo>
                    <a:cubicBezTo>
                      <a:pt x="196754" y="1396636"/>
                      <a:pt x="200600" y="1389447"/>
                      <a:pt x="200600" y="1389447"/>
                    </a:cubicBezTo>
                    <a:cubicBezTo>
                      <a:pt x="203386" y="1390562"/>
                      <a:pt x="206653" y="1390870"/>
                      <a:pt x="208958" y="1392791"/>
                    </a:cubicBezTo>
                    <a:cubicBezTo>
                      <a:pt x="210312" y="1393919"/>
                      <a:pt x="209842" y="1396230"/>
                      <a:pt x="210630" y="1397806"/>
                    </a:cubicBezTo>
                    <a:cubicBezTo>
                      <a:pt x="211528" y="1399603"/>
                      <a:pt x="212859" y="1401149"/>
                      <a:pt x="213973" y="1402821"/>
                    </a:cubicBezTo>
                    <a:cubicBezTo>
                      <a:pt x="214530" y="1406164"/>
                      <a:pt x="213848" y="1409977"/>
                      <a:pt x="215645" y="1412851"/>
                    </a:cubicBezTo>
                    <a:cubicBezTo>
                      <a:pt x="216966" y="1414964"/>
                      <a:pt x="220041" y="1415212"/>
                      <a:pt x="222332" y="1416194"/>
                    </a:cubicBezTo>
                    <a:cubicBezTo>
                      <a:pt x="226347" y="1417915"/>
                      <a:pt x="229782" y="1418323"/>
                      <a:pt x="234033" y="1419537"/>
                    </a:cubicBezTo>
                    <a:cubicBezTo>
                      <a:pt x="235727" y="1420021"/>
                      <a:pt x="237376" y="1420652"/>
                      <a:pt x="239048" y="1421209"/>
                    </a:cubicBezTo>
                    <a:cubicBezTo>
                      <a:pt x="249078" y="1420652"/>
                      <a:pt x="259308" y="1421607"/>
                      <a:pt x="269138" y="1419537"/>
                    </a:cubicBezTo>
                    <a:cubicBezTo>
                      <a:pt x="270862" y="1419174"/>
                      <a:pt x="269434" y="1415623"/>
                      <a:pt x="270810" y="1414522"/>
                    </a:cubicBezTo>
                    <a:cubicBezTo>
                      <a:pt x="272604" y="1413087"/>
                      <a:pt x="275254" y="1413349"/>
                      <a:pt x="277497" y="1412851"/>
                    </a:cubicBezTo>
                    <a:cubicBezTo>
                      <a:pt x="280271" y="1412235"/>
                      <a:pt x="283069" y="1411736"/>
                      <a:pt x="285855" y="1411179"/>
                    </a:cubicBezTo>
                    <a:cubicBezTo>
                      <a:pt x="286412" y="1409507"/>
                      <a:pt x="287145" y="1407884"/>
                      <a:pt x="287527" y="1406164"/>
                    </a:cubicBezTo>
                    <a:cubicBezTo>
                      <a:pt x="288262" y="1402855"/>
                      <a:pt x="287939" y="1399281"/>
                      <a:pt x="289198" y="1396134"/>
                    </a:cubicBezTo>
                    <a:cubicBezTo>
                      <a:pt x="290233" y="1393547"/>
                      <a:pt x="292615" y="1391730"/>
                      <a:pt x="294213" y="1389447"/>
                    </a:cubicBezTo>
                    <a:cubicBezTo>
                      <a:pt x="296517" y="1386155"/>
                      <a:pt x="299629" y="1383229"/>
                      <a:pt x="300900" y="1379417"/>
                    </a:cubicBezTo>
                    <a:cubicBezTo>
                      <a:pt x="302694" y="1374037"/>
                      <a:pt x="303336" y="1370903"/>
                      <a:pt x="307587" y="1366044"/>
                    </a:cubicBezTo>
                    <a:cubicBezTo>
                      <a:pt x="309422" y="1363947"/>
                      <a:pt x="312133" y="1362812"/>
                      <a:pt x="314273" y="1361029"/>
                    </a:cubicBezTo>
                    <a:cubicBezTo>
                      <a:pt x="315484" y="1360020"/>
                      <a:pt x="316141" y="1358239"/>
                      <a:pt x="317617" y="1357686"/>
                    </a:cubicBezTo>
                    <a:cubicBezTo>
                      <a:pt x="319044" y="1357151"/>
                      <a:pt x="338809" y="1354419"/>
                      <a:pt x="339348" y="1354342"/>
                    </a:cubicBezTo>
                    <a:cubicBezTo>
                      <a:pt x="344920" y="1355457"/>
                      <a:pt x="350528" y="1356408"/>
                      <a:pt x="356065" y="1357686"/>
                    </a:cubicBezTo>
                    <a:cubicBezTo>
                      <a:pt x="357782" y="1358082"/>
                      <a:pt x="359569" y="1358450"/>
                      <a:pt x="361080" y="1359357"/>
                    </a:cubicBezTo>
                    <a:cubicBezTo>
                      <a:pt x="362432" y="1360168"/>
                      <a:pt x="363192" y="1361716"/>
                      <a:pt x="364423" y="1362701"/>
                    </a:cubicBezTo>
                    <a:cubicBezTo>
                      <a:pt x="369051" y="1366403"/>
                      <a:pt x="369158" y="1365951"/>
                      <a:pt x="374453" y="1367716"/>
                    </a:cubicBezTo>
                    <a:cubicBezTo>
                      <a:pt x="375567" y="1369945"/>
                      <a:pt x="376414" y="1372329"/>
                      <a:pt x="377796" y="1374402"/>
                    </a:cubicBezTo>
                    <a:cubicBezTo>
                      <a:pt x="378670" y="1375714"/>
                      <a:pt x="379564" y="1377746"/>
                      <a:pt x="381140" y="1377746"/>
                    </a:cubicBezTo>
                    <a:cubicBezTo>
                      <a:pt x="383149" y="1377746"/>
                      <a:pt x="384811" y="1375895"/>
                      <a:pt x="386155" y="1374402"/>
                    </a:cubicBezTo>
                    <a:cubicBezTo>
                      <a:pt x="389883" y="1370260"/>
                      <a:pt x="390779" y="1362381"/>
                      <a:pt x="396185" y="1361029"/>
                    </a:cubicBezTo>
                    <a:cubicBezTo>
                      <a:pt x="406807" y="1358373"/>
                      <a:pt x="400662" y="1359988"/>
                      <a:pt x="414573" y="1356014"/>
                    </a:cubicBezTo>
                    <a:cubicBezTo>
                      <a:pt x="415130" y="1353785"/>
                      <a:pt x="415728" y="1351566"/>
                      <a:pt x="416245" y="1349327"/>
                    </a:cubicBezTo>
                    <a:cubicBezTo>
                      <a:pt x="417400" y="1344321"/>
                      <a:pt x="417462" y="1338959"/>
                      <a:pt x="419588" y="1334282"/>
                    </a:cubicBezTo>
                    <a:cubicBezTo>
                      <a:pt x="420419" y="1332453"/>
                      <a:pt x="422931" y="1332053"/>
                      <a:pt x="424603" y="1330939"/>
                    </a:cubicBezTo>
                    <a:cubicBezTo>
                      <a:pt x="431290" y="1331496"/>
                      <a:pt x="438044" y="1331508"/>
                      <a:pt x="444663" y="1332611"/>
                    </a:cubicBezTo>
                    <a:cubicBezTo>
                      <a:pt x="455365" y="1334395"/>
                      <a:pt x="454962" y="1338258"/>
                      <a:pt x="466395" y="1339297"/>
                    </a:cubicBezTo>
                    <a:cubicBezTo>
                      <a:pt x="480834" y="1340610"/>
                      <a:pt x="495370" y="1340412"/>
                      <a:pt x="509858" y="1340969"/>
                    </a:cubicBezTo>
                    <a:cubicBezTo>
                      <a:pt x="513496" y="1341697"/>
                      <a:pt x="520582" y="1342011"/>
                      <a:pt x="523231" y="1345984"/>
                    </a:cubicBezTo>
                    <a:cubicBezTo>
                      <a:pt x="533405" y="1361244"/>
                      <a:pt x="513576" y="1344175"/>
                      <a:pt x="531589" y="1357686"/>
                    </a:cubicBezTo>
                    <a:cubicBezTo>
                      <a:pt x="532704" y="1359915"/>
                      <a:pt x="533171" y="1362610"/>
                      <a:pt x="534933" y="1364372"/>
                    </a:cubicBezTo>
                    <a:cubicBezTo>
                      <a:pt x="536179" y="1365618"/>
                      <a:pt x="538210" y="1365754"/>
                      <a:pt x="539948" y="1366044"/>
                    </a:cubicBezTo>
                    <a:cubicBezTo>
                      <a:pt x="548266" y="1367430"/>
                      <a:pt x="556665" y="1368273"/>
                      <a:pt x="565023" y="1369387"/>
                    </a:cubicBezTo>
                    <a:cubicBezTo>
                      <a:pt x="566137" y="1370502"/>
                      <a:pt x="566956" y="1373436"/>
                      <a:pt x="568366" y="1372731"/>
                    </a:cubicBezTo>
                    <a:cubicBezTo>
                      <a:pt x="570595" y="1371617"/>
                      <a:pt x="569947" y="1367806"/>
                      <a:pt x="571709" y="1366044"/>
                    </a:cubicBezTo>
                    <a:cubicBezTo>
                      <a:pt x="578820" y="1358933"/>
                      <a:pt x="591119" y="1358812"/>
                      <a:pt x="600128" y="1357686"/>
                    </a:cubicBezTo>
                    <a:cubicBezTo>
                      <a:pt x="609043" y="1358800"/>
                      <a:pt x="618064" y="1359267"/>
                      <a:pt x="626874" y="1361029"/>
                    </a:cubicBezTo>
                    <a:cubicBezTo>
                      <a:pt x="629318" y="1361518"/>
                      <a:pt x="631270" y="1363390"/>
                      <a:pt x="633561" y="1364372"/>
                    </a:cubicBezTo>
                    <a:cubicBezTo>
                      <a:pt x="635181" y="1365066"/>
                      <a:pt x="636904" y="1365487"/>
                      <a:pt x="638576" y="1366044"/>
                    </a:cubicBezTo>
                    <a:cubicBezTo>
                      <a:pt x="640248" y="1368273"/>
                      <a:pt x="641993" y="1370448"/>
                      <a:pt x="643591" y="1372731"/>
                    </a:cubicBezTo>
                    <a:cubicBezTo>
                      <a:pt x="645895" y="1376023"/>
                      <a:pt x="646466" y="1381490"/>
                      <a:pt x="650278" y="1382761"/>
                    </a:cubicBezTo>
                    <a:cubicBezTo>
                      <a:pt x="653621" y="1383875"/>
                      <a:pt x="656889" y="1385249"/>
                      <a:pt x="660308" y="1386104"/>
                    </a:cubicBezTo>
                    <a:cubicBezTo>
                      <a:pt x="668703" y="1388203"/>
                      <a:pt x="664815" y="1387050"/>
                      <a:pt x="672009" y="1389447"/>
                    </a:cubicBezTo>
                    <a:cubicBezTo>
                      <a:pt x="679923" y="1388128"/>
                      <a:pt x="682745" y="1389656"/>
                      <a:pt x="687054" y="1382761"/>
                    </a:cubicBezTo>
                    <a:cubicBezTo>
                      <a:pt x="688645" y="1380216"/>
                      <a:pt x="688654" y="1376844"/>
                      <a:pt x="690398" y="1374402"/>
                    </a:cubicBezTo>
                    <a:cubicBezTo>
                      <a:pt x="691566" y="1372767"/>
                      <a:pt x="693669" y="1372056"/>
                      <a:pt x="695413" y="1371059"/>
                    </a:cubicBezTo>
                    <a:cubicBezTo>
                      <a:pt x="699133" y="1368933"/>
                      <a:pt x="702947" y="1367086"/>
                      <a:pt x="707114" y="1366044"/>
                    </a:cubicBezTo>
                    <a:cubicBezTo>
                      <a:pt x="709870" y="1365355"/>
                      <a:pt x="712686" y="1364929"/>
                      <a:pt x="715472" y="1364372"/>
                    </a:cubicBezTo>
                    <a:cubicBezTo>
                      <a:pt x="723748" y="1365555"/>
                      <a:pt x="729272" y="1364799"/>
                      <a:pt x="735532" y="1371059"/>
                    </a:cubicBezTo>
                    <a:cubicBezTo>
                      <a:pt x="736778" y="1372305"/>
                      <a:pt x="736720" y="1374380"/>
                      <a:pt x="737204" y="1376074"/>
                    </a:cubicBezTo>
                    <a:cubicBezTo>
                      <a:pt x="738191" y="1379527"/>
                      <a:pt x="738627" y="1385382"/>
                      <a:pt x="742219" y="1387776"/>
                    </a:cubicBezTo>
                    <a:cubicBezTo>
                      <a:pt x="744131" y="1389050"/>
                      <a:pt x="746677" y="1388890"/>
                      <a:pt x="748906" y="1389447"/>
                    </a:cubicBezTo>
                    <a:cubicBezTo>
                      <a:pt x="760113" y="1383843"/>
                      <a:pt x="750901" y="1387845"/>
                      <a:pt x="762279" y="1384432"/>
                    </a:cubicBezTo>
                    <a:cubicBezTo>
                      <a:pt x="765655" y="1383419"/>
                      <a:pt x="772309" y="1381089"/>
                      <a:pt x="772309" y="1381089"/>
                    </a:cubicBezTo>
                    <a:cubicBezTo>
                      <a:pt x="774076" y="1379675"/>
                      <a:pt x="781599" y="1374160"/>
                      <a:pt x="784011" y="1371059"/>
                    </a:cubicBezTo>
                    <a:cubicBezTo>
                      <a:pt x="794520" y="1357548"/>
                      <a:pt x="787407" y="1361010"/>
                      <a:pt x="797384" y="1357686"/>
                    </a:cubicBezTo>
                    <a:cubicBezTo>
                      <a:pt x="799056" y="1356014"/>
                      <a:pt x="800285" y="1353728"/>
                      <a:pt x="802399" y="1352671"/>
                    </a:cubicBezTo>
                    <a:cubicBezTo>
                      <a:pt x="804940" y="1351400"/>
                      <a:pt x="808574" y="1352818"/>
                      <a:pt x="810757" y="1350999"/>
                    </a:cubicBezTo>
                    <a:cubicBezTo>
                      <a:pt x="812522" y="1349528"/>
                      <a:pt x="811872" y="1346541"/>
                      <a:pt x="812429" y="1344312"/>
                    </a:cubicBezTo>
                    <a:cubicBezTo>
                      <a:pt x="811119" y="1340382"/>
                      <a:pt x="807414" y="1330647"/>
                      <a:pt x="807414" y="1325924"/>
                    </a:cubicBezTo>
                    <a:cubicBezTo>
                      <a:pt x="807414" y="1321984"/>
                      <a:pt x="807954" y="1317996"/>
                      <a:pt x="809086" y="1314222"/>
                    </a:cubicBezTo>
                    <a:cubicBezTo>
                      <a:pt x="809663" y="1312298"/>
                      <a:pt x="811196" y="1310793"/>
                      <a:pt x="812429" y="1309207"/>
                    </a:cubicBezTo>
                    <a:cubicBezTo>
                      <a:pt x="815101" y="1305772"/>
                      <a:pt x="817710" y="1302254"/>
                      <a:pt x="820787" y="1299177"/>
                    </a:cubicBezTo>
                    <a:cubicBezTo>
                      <a:pt x="822757" y="1297207"/>
                      <a:pt x="824714" y="1294543"/>
                      <a:pt x="827474" y="1294162"/>
                    </a:cubicBezTo>
                    <a:cubicBezTo>
                      <a:pt x="841285" y="1292257"/>
                      <a:pt x="855335" y="1293048"/>
                      <a:pt x="869266" y="1292491"/>
                    </a:cubicBezTo>
                    <a:cubicBezTo>
                      <a:pt x="869823" y="1287476"/>
                      <a:pt x="869713" y="1282341"/>
                      <a:pt x="870937" y="1277446"/>
                    </a:cubicBezTo>
                    <a:cubicBezTo>
                      <a:pt x="872519" y="1271118"/>
                      <a:pt x="875804" y="1272234"/>
                      <a:pt x="880967" y="1270759"/>
                    </a:cubicBezTo>
                    <a:cubicBezTo>
                      <a:pt x="882661" y="1270275"/>
                      <a:pt x="884310" y="1269645"/>
                      <a:pt x="885982" y="1269088"/>
                    </a:cubicBezTo>
                    <a:cubicBezTo>
                      <a:pt x="901584" y="1269645"/>
                      <a:pt x="917204" y="1269842"/>
                      <a:pt x="932789" y="1270759"/>
                    </a:cubicBezTo>
                    <a:cubicBezTo>
                      <a:pt x="936173" y="1270958"/>
                      <a:pt x="939572" y="1271457"/>
                      <a:pt x="942819" y="1272431"/>
                    </a:cubicBezTo>
                    <a:cubicBezTo>
                      <a:pt x="945206" y="1273147"/>
                      <a:pt x="947215" y="1274792"/>
                      <a:pt x="949505" y="1275774"/>
                    </a:cubicBezTo>
                    <a:cubicBezTo>
                      <a:pt x="951125" y="1276468"/>
                      <a:pt x="952848" y="1276889"/>
                      <a:pt x="954520" y="1277446"/>
                    </a:cubicBezTo>
                    <a:cubicBezTo>
                      <a:pt x="957863" y="1276332"/>
                      <a:pt x="962058" y="1276595"/>
                      <a:pt x="964550" y="1274103"/>
                    </a:cubicBezTo>
                    <a:cubicBezTo>
                      <a:pt x="978669" y="1259984"/>
                      <a:pt x="956022" y="1269143"/>
                      <a:pt x="971237" y="1264073"/>
                    </a:cubicBezTo>
                    <a:cubicBezTo>
                      <a:pt x="967259" y="1252137"/>
                      <a:pt x="969849" y="1256975"/>
                      <a:pt x="964550" y="1249028"/>
                    </a:cubicBezTo>
                    <a:cubicBezTo>
                      <a:pt x="965107" y="1244013"/>
                      <a:pt x="965232" y="1238931"/>
                      <a:pt x="966222" y="1233983"/>
                    </a:cubicBezTo>
                    <a:cubicBezTo>
                      <a:pt x="967616" y="1227014"/>
                      <a:pt x="970496" y="1221311"/>
                      <a:pt x="974580" y="1215594"/>
                    </a:cubicBezTo>
                    <a:cubicBezTo>
                      <a:pt x="975496" y="1214311"/>
                      <a:pt x="976915" y="1213462"/>
                      <a:pt x="977924" y="1212251"/>
                    </a:cubicBezTo>
                    <a:cubicBezTo>
                      <a:pt x="979708" y="1210111"/>
                      <a:pt x="981199" y="1207740"/>
                      <a:pt x="982939" y="1205564"/>
                    </a:cubicBezTo>
                    <a:cubicBezTo>
                      <a:pt x="985658" y="1202166"/>
                      <a:pt x="988356" y="1198742"/>
                      <a:pt x="991297" y="1195534"/>
                    </a:cubicBezTo>
                    <a:cubicBezTo>
                      <a:pt x="994492" y="1192049"/>
                      <a:pt x="1001327" y="1185504"/>
                      <a:pt x="1001327" y="1185504"/>
                    </a:cubicBezTo>
                    <a:cubicBezTo>
                      <a:pt x="1001884" y="1183832"/>
                      <a:pt x="1002211" y="1182065"/>
                      <a:pt x="1002999" y="1180489"/>
                    </a:cubicBezTo>
                    <a:cubicBezTo>
                      <a:pt x="1003897" y="1178692"/>
                      <a:pt x="1005551" y="1177321"/>
                      <a:pt x="1006342" y="1175474"/>
                    </a:cubicBezTo>
                    <a:cubicBezTo>
                      <a:pt x="1007247" y="1173362"/>
                      <a:pt x="1007207" y="1170939"/>
                      <a:pt x="1008014" y="1168788"/>
                    </a:cubicBezTo>
                    <a:cubicBezTo>
                      <a:pt x="1010655" y="1161746"/>
                      <a:pt x="1011264" y="1162194"/>
                      <a:pt x="1016372" y="1157086"/>
                    </a:cubicBezTo>
                    <a:cubicBezTo>
                      <a:pt x="1019697" y="1143788"/>
                      <a:pt x="1015480" y="1156976"/>
                      <a:pt x="1023059" y="1143713"/>
                    </a:cubicBezTo>
                    <a:cubicBezTo>
                      <a:pt x="1023933" y="1142183"/>
                      <a:pt x="1023824" y="1140209"/>
                      <a:pt x="1024730" y="1138698"/>
                    </a:cubicBezTo>
                    <a:cubicBezTo>
                      <a:pt x="1025541" y="1137346"/>
                      <a:pt x="1027065" y="1136565"/>
                      <a:pt x="1028074" y="1135354"/>
                    </a:cubicBezTo>
                    <a:cubicBezTo>
                      <a:pt x="1029858" y="1133214"/>
                      <a:pt x="1031544" y="1130986"/>
                      <a:pt x="1033089" y="1128668"/>
                    </a:cubicBezTo>
                    <a:cubicBezTo>
                      <a:pt x="1037466" y="1122103"/>
                      <a:pt x="1036434" y="1119937"/>
                      <a:pt x="1043119" y="1116966"/>
                    </a:cubicBezTo>
                    <a:cubicBezTo>
                      <a:pt x="1056198" y="1111154"/>
                      <a:pt x="1049408" y="1115581"/>
                      <a:pt x="1061507" y="1111951"/>
                    </a:cubicBezTo>
                    <a:cubicBezTo>
                      <a:pt x="1064381" y="1111089"/>
                      <a:pt x="1066991" y="1109470"/>
                      <a:pt x="1069865" y="1108608"/>
                    </a:cubicBezTo>
                    <a:cubicBezTo>
                      <a:pt x="1074311" y="1107274"/>
                      <a:pt x="1086193" y="1105797"/>
                      <a:pt x="1089925" y="1105264"/>
                    </a:cubicBezTo>
                    <a:cubicBezTo>
                      <a:pt x="1091597" y="1104150"/>
                      <a:pt x="1093143" y="1102819"/>
                      <a:pt x="1094940" y="1101921"/>
                    </a:cubicBezTo>
                    <a:cubicBezTo>
                      <a:pt x="1099611" y="1099586"/>
                      <a:pt x="1107339" y="1099195"/>
                      <a:pt x="1111657" y="1098578"/>
                    </a:cubicBezTo>
                    <a:cubicBezTo>
                      <a:pt x="1120483" y="1095635"/>
                      <a:pt x="1115208" y="1097883"/>
                      <a:pt x="1126702" y="1090220"/>
                    </a:cubicBezTo>
                    <a:lnTo>
                      <a:pt x="1131717" y="1086876"/>
                    </a:lnTo>
                    <a:cubicBezTo>
                      <a:pt x="1132274" y="1084090"/>
                      <a:pt x="1133388" y="1081359"/>
                      <a:pt x="1133388" y="1078518"/>
                    </a:cubicBezTo>
                    <a:cubicBezTo>
                      <a:pt x="1133388" y="1069606"/>
                      <a:pt x="1132288" y="1072952"/>
                      <a:pt x="1126702" y="1070160"/>
                    </a:cubicBezTo>
                    <a:cubicBezTo>
                      <a:pt x="1123796" y="1068707"/>
                      <a:pt x="1121129" y="1066817"/>
                      <a:pt x="1118343" y="1065145"/>
                    </a:cubicBezTo>
                    <a:cubicBezTo>
                      <a:pt x="1109431" y="1051776"/>
                      <a:pt x="1121126" y="1067927"/>
                      <a:pt x="1109985" y="1056786"/>
                    </a:cubicBezTo>
                    <a:cubicBezTo>
                      <a:pt x="1107462" y="1054263"/>
                      <a:pt x="1105439" y="1051282"/>
                      <a:pt x="1103298" y="1048428"/>
                    </a:cubicBezTo>
                    <a:cubicBezTo>
                      <a:pt x="1102093" y="1046821"/>
                      <a:pt x="1101376" y="1044834"/>
                      <a:pt x="1099955" y="1043413"/>
                    </a:cubicBezTo>
                    <a:cubicBezTo>
                      <a:pt x="1098534" y="1041992"/>
                      <a:pt x="1096612" y="1041184"/>
                      <a:pt x="1094940" y="1040070"/>
                    </a:cubicBezTo>
                    <a:cubicBezTo>
                      <a:pt x="1093826" y="1037841"/>
                      <a:pt x="1092979" y="1035456"/>
                      <a:pt x="1091597" y="1033383"/>
                    </a:cubicBezTo>
                    <a:cubicBezTo>
                      <a:pt x="1090723" y="1032072"/>
                      <a:pt x="1088958" y="1031450"/>
                      <a:pt x="1088253" y="1030040"/>
                    </a:cubicBezTo>
                    <a:cubicBezTo>
                      <a:pt x="1077460" y="1008454"/>
                      <a:pt x="1095408" y="1036589"/>
                      <a:pt x="1083238" y="1018338"/>
                    </a:cubicBezTo>
                    <a:cubicBezTo>
                      <a:pt x="1082681" y="1008865"/>
                      <a:pt x="1082511" y="999362"/>
                      <a:pt x="1081567" y="989920"/>
                    </a:cubicBezTo>
                    <a:cubicBezTo>
                      <a:pt x="1081392" y="988167"/>
                      <a:pt x="1080872" y="986371"/>
                      <a:pt x="1079895" y="984905"/>
                    </a:cubicBezTo>
                    <a:cubicBezTo>
                      <a:pt x="1078584" y="982938"/>
                      <a:pt x="1076552" y="981562"/>
                      <a:pt x="1074880" y="979890"/>
                    </a:cubicBezTo>
                    <a:cubicBezTo>
                      <a:pt x="1073208" y="974875"/>
                      <a:pt x="1069535" y="970121"/>
                      <a:pt x="1069865" y="964845"/>
                    </a:cubicBezTo>
                    <a:cubicBezTo>
                      <a:pt x="1071016" y="946435"/>
                      <a:pt x="1068457" y="942586"/>
                      <a:pt x="1074880" y="929740"/>
                    </a:cubicBezTo>
                    <a:cubicBezTo>
                      <a:pt x="1078819" y="921861"/>
                      <a:pt x="1077932" y="926688"/>
                      <a:pt x="1084910" y="919710"/>
                    </a:cubicBezTo>
                    <a:cubicBezTo>
                      <a:pt x="1087433" y="917187"/>
                      <a:pt x="1089074" y="913875"/>
                      <a:pt x="1091597" y="911352"/>
                    </a:cubicBezTo>
                    <a:cubicBezTo>
                      <a:pt x="1093567" y="909382"/>
                      <a:pt x="1096212" y="908201"/>
                      <a:pt x="1098283" y="906337"/>
                    </a:cubicBezTo>
                    <a:cubicBezTo>
                      <a:pt x="1102969" y="902119"/>
                      <a:pt x="1107199" y="897421"/>
                      <a:pt x="1111657" y="892963"/>
                    </a:cubicBezTo>
                    <a:cubicBezTo>
                      <a:pt x="1113329" y="891291"/>
                      <a:pt x="1115253" y="889839"/>
                      <a:pt x="1116672" y="887948"/>
                    </a:cubicBezTo>
                    <a:cubicBezTo>
                      <a:pt x="1118344" y="885719"/>
                      <a:pt x="1119904" y="883402"/>
                      <a:pt x="1121687" y="881262"/>
                    </a:cubicBezTo>
                    <a:cubicBezTo>
                      <a:pt x="1122696" y="880051"/>
                      <a:pt x="1124004" y="879115"/>
                      <a:pt x="1125030" y="877918"/>
                    </a:cubicBezTo>
                    <a:cubicBezTo>
                      <a:pt x="1127352" y="875209"/>
                      <a:pt x="1129367" y="872245"/>
                      <a:pt x="1131717" y="869560"/>
                    </a:cubicBezTo>
                    <a:cubicBezTo>
                      <a:pt x="1133274" y="867781"/>
                      <a:pt x="1135281" y="866411"/>
                      <a:pt x="1136732" y="864545"/>
                    </a:cubicBezTo>
                    <a:cubicBezTo>
                      <a:pt x="1151488" y="845572"/>
                      <a:pt x="1139037" y="861606"/>
                      <a:pt x="1145090" y="849500"/>
                    </a:cubicBezTo>
                    <a:cubicBezTo>
                      <a:pt x="1146543" y="846594"/>
                      <a:pt x="1148761" y="844100"/>
                      <a:pt x="1150105" y="841142"/>
                    </a:cubicBezTo>
                    <a:cubicBezTo>
                      <a:pt x="1151563" y="837934"/>
                      <a:pt x="1151872" y="834264"/>
                      <a:pt x="1153448" y="831112"/>
                    </a:cubicBezTo>
                    <a:cubicBezTo>
                      <a:pt x="1154153" y="829702"/>
                      <a:pt x="1155807" y="828999"/>
                      <a:pt x="1156792" y="827768"/>
                    </a:cubicBezTo>
                    <a:cubicBezTo>
                      <a:pt x="1158047" y="826199"/>
                      <a:pt x="1158714" y="824174"/>
                      <a:pt x="1160135" y="822753"/>
                    </a:cubicBezTo>
                    <a:cubicBezTo>
                      <a:pt x="1171874" y="811014"/>
                      <a:pt x="1161594" y="823661"/>
                      <a:pt x="1173508" y="814395"/>
                    </a:cubicBezTo>
                    <a:cubicBezTo>
                      <a:pt x="1176618" y="811976"/>
                      <a:pt x="1181867" y="806037"/>
                      <a:pt x="1181867" y="806037"/>
                    </a:cubicBezTo>
                    <a:cubicBezTo>
                      <a:pt x="1182981" y="803808"/>
                      <a:pt x="1183762" y="801378"/>
                      <a:pt x="1185210" y="799350"/>
                    </a:cubicBezTo>
                    <a:cubicBezTo>
                      <a:pt x="1189895" y="792790"/>
                      <a:pt x="1198314" y="789454"/>
                      <a:pt x="1205270" y="785977"/>
                    </a:cubicBezTo>
                    <a:cubicBezTo>
                      <a:pt x="1213415" y="773758"/>
                      <a:pt x="1203352" y="786630"/>
                      <a:pt x="1213628" y="779290"/>
                    </a:cubicBezTo>
                    <a:cubicBezTo>
                      <a:pt x="1227507" y="769376"/>
                      <a:pt x="1214001" y="774707"/>
                      <a:pt x="1225330" y="770932"/>
                    </a:cubicBezTo>
                    <a:cubicBezTo>
                      <a:pt x="1226444" y="769260"/>
                      <a:pt x="1226785" y="766604"/>
                      <a:pt x="1228673" y="765917"/>
                    </a:cubicBezTo>
                    <a:cubicBezTo>
                      <a:pt x="1233415" y="764193"/>
                      <a:pt x="1238731" y="765012"/>
                      <a:pt x="1243718" y="764245"/>
                    </a:cubicBezTo>
                    <a:cubicBezTo>
                      <a:pt x="1245989" y="763896"/>
                      <a:pt x="1248176" y="763130"/>
                      <a:pt x="1250405" y="762573"/>
                    </a:cubicBezTo>
                    <a:cubicBezTo>
                      <a:pt x="1252077" y="760901"/>
                      <a:pt x="1253453" y="758869"/>
                      <a:pt x="1255420" y="757558"/>
                    </a:cubicBezTo>
                    <a:cubicBezTo>
                      <a:pt x="1268435" y="748882"/>
                      <a:pt x="1253371" y="762953"/>
                      <a:pt x="1263778" y="752543"/>
                    </a:cubicBezTo>
                    <a:cubicBezTo>
                      <a:pt x="1263569" y="751290"/>
                      <a:pt x="1261680" y="738317"/>
                      <a:pt x="1260435" y="735827"/>
                    </a:cubicBezTo>
                    <a:cubicBezTo>
                      <a:pt x="1259730" y="734417"/>
                      <a:pt x="1258206" y="733598"/>
                      <a:pt x="1257091" y="732484"/>
                    </a:cubicBezTo>
                    <a:cubicBezTo>
                      <a:pt x="1256534" y="730812"/>
                      <a:pt x="1255420" y="729231"/>
                      <a:pt x="1255420" y="727469"/>
                    </a:cubicBezTo>
                    <a:cubicBezTo>
                      <a:pt x="1255420" y="721449"/>
                      <a:pt x="1258268" y="715229"/>
                      <a:pt x="1262106" y="710752"/>
                    </a:cubicBezTo>
                    <a:cubicBezTo>
                      <a:pt x="1265698" y="706562"/>
                      <a:pt x="1267749" y="707930"/>
                      <a:pt x="1272136" y="705737"/>
                    </a:cubicBezTo>
                    <a:cubicBezTo>
                      <a:pt x="1275042" y="704284"/>
                      <a:pt x="1277655" y="702300"/>
                      <a:pt x="1280495" y="700722"/>
                    </a:cubicBezTo>
                    <a:cubicBezTo>
                      <a:pt x="1282673" y="699512"/>
                      <a:pt x="1285018" y="698615"/>
                      <a:pt x="1287181" y="697379"/>
                    </a:cubicBezTo>
                    <a:cubicBezTo>
                      <a:pt x="1288925" y="696382"/>
                      <a:pt x="1290349" y="694826"/>
                      <a:pt x="1292196" y="694035"/>
                    </a:cubicBezTo>
                    <a:cubicBezTo>
                      <a:pt x="1294308" y="693130"/>
                      <a:pt x="1296654" y="692921"/>
                      <a:pt x="1298883" y="692364"/>
                    </a:cubicBezTo>
                    <a:cubicBezTo>
                      <a:pt x="1305612" y="685633"/>
                      <a:pt x="1298129" y="691970"/>
                      <a:pt x="1308913" y="687349"/>
                    </a:cubicBezTo>
                    <a:cubicBezTo>
                      <a:pt x="1323874" y="680938"/>
                      <a:pt x="1299926" y="686338"/>
                      <a:pt x="1323958" y="682334"/>
                    </a:cubicBezTo>
                    <a:cubicBezTo>
                      <a:pt x="1326187" y="681219"/>
                      <a:pt x="1328258" y="679706"/>
                      <a:pt x="1330645" y="678990"/>
                    </a:cubicBezTo>
                    <a:cubicBezTo>
                      <a:pt x="1335053" y="677668"/>
                      <a:pt x="1353086" y="675940"/>
                      <a:pt x="1355720" y="675647"/>
                    </a:cubicBezTo>
                    <a:cubicBezTo>
                      <a:pt x="1356834" y="673975"/>
                      <a:pt x="1357494" y="671887"/>
                      <a:pt x="1359063" y="670632"/>
                    </a:cubicBezTo>
                    <a:cubicBezTo>
                      <a:pt x="1360728" y="669300"/>
                      <a:pt x="1372097" y="667309"/>
                      <a:pt x="1372436" y="667289"/>
                    </a:cubicBezTo>
                    <a:cubicBezTo>
                      <a:pt x="1398048" y="665782"/>
                      <a:pt x="1423701" y="665060"/>
                      <a:pt x="1449333" y="663945"/>
                    </a:cubicBezTo>
                    <a:cubicBezTo>
                      <a:pt x="1456781" y="651533"/>
                      <a:pt x="1452051" y="657884"/>
                      <a:pt x="1464378" y="645557"/>
                    </a:cubicBezTo>
                    <a:lnTo>
                      <a:pt x="1474408" y="635527"/>
                    </a:lnTo>
                    <a:cubicBezTo>
                      <a:pt x="1479604" y="630331"/>
                      <a:pt x="1480304" y="628820"/>
                      <a:pt x="1487781" y="625497"/>
                    </a:cubicBezTo>
                    <a:cubicBezTo>
                      <a:pt x="1489881" y="624564"/>
                      <a:pt x="1492225" y="624323"/>
                      <a:pt x="1494468" y="623825"/>
                    </a:cubicBezTo>
                    <a:cubicBezTo>
                      <a:pt x="1498453" y="622939"/>
                      <a:pt x="1505428" y="621844"/>
                      <a:pt x="1509513" y="620482"/>
                    </a:cubicBezTo>
                    <a:cubicBezTo>
                      <a:pt x="1512360" y="619533"/>
                      <a:pt x="1515129" y="618358"/>
                      <a:pt x="1517871" y="617139"/>
                    </a:cubicBezTo>
                    <a:cubicBezTo>
                      <a:pt x="1520148" y="616127"/>
                      <a:pt x="1522130" y="614355"/>
                      <a:pt x="1524558" y="613795"/>
                    </a:cubicBezTo>
                    <a:cubicBezTo>
                      <a:pt x="1529475" y="612660"/>
                      <a:pt x="1534588" y="612681"/>
                      <a:pt x="1539603" y="612124"/>
                    </a:cubicBezTo>
                    <a:cubicBezTo>
                      <a:pt x="1549889" y="605266"/>
                      <a:pt x="1547575" y="605814"/>
                      <a:pt x="1557991" y="602094"/>
                    </a:cubicBezTo>
                    <a:cubicBezTo>
                      <a:pt x="1562969" y="600316"/>
                      <a:pt x="1573036" y="597079"/>
                      <a:pt x="1573036" y="597079"/>
                    </a:cubicBezTo>
                    <a:cubicBezTo>
                      <a:pt x="1574150" y="595407"/>
                      <a:pt x="1574836" y="593350"/>
                      <a:pt x="1576379" y="592064"/>
                    </a:cubicBezTo>
                    <a:cubicBezTo>
                      <a:pt x="1579136" y="589767"/>
                      <a:pt x="1584595" y="588211"/>
                      <a:pt x="1588081" y="587049"/>
                    </a:cubicBezTo>
                    <a:cubicBezTo>
                      <a:pt x="1589195" y="585934"/>
                      <a:pt x="1590113" y="584579"/>
                      <a:pt x="1591424" y="583705"/>
                    </a:cubicBezTo>
                    <a:cubicBezTo>
                      <a:pt x="1593497" y="582323"/>
                      <a:pt x="1596197" y="581957"/>
                      <a:pt x="1598111" y="580362"/>
                    </a:cubicBezTo>
                    <a:cubicBezTo>
                      <a:pt x="1612288" y="568548"/>
                      <a:pt x="1587933" y="582107"/>
                      <a:pt x="1608141" y="572004"/>
                    </a:cubicBezTo>
                    <a:cubicBezTo>
                      <a:pt x="1609674" y="569704"/>
                      <a:pt x="1614545" y="562845"/>
                      <a:pt x="1614828" y="560302"/>
                    </a:cubicBezTo>
                    <a:cubicBezTo>
                      <a:pt x="1615772" y="551811"/>
                      <a:pt x="1612603" y="552135"/>
                      <a:pt x="1608141" y="546929"/>
                    </a:cubicBezTo>
                    <a:cubicBezTo>
                      <a:pt x="1607232" y="545868"/>
                      <a:pt x="1600842" y="537345"/>
                      <a:pt x="1599783" y="535227"/>
                    </a:cubicBezTo>
                    <a:cubicBezTo>
                      <a:pt x="1598995" y="533651"/>
                      <a:pt x="1598668" y="531884"/>
                      <a:pt x="1598111" y="530212"/>
                    </a:cubicBezTo>
                    <a:cubicBezTo>
                      <a:pt x="1597554" y="526312"/>
                      <a:pt x="1595483" y="522333"/>
                      <a:pt x="1596439" y="518511"/>
                    </a:cubicBezTo>
                    <a:cubicBezTo>
                      <a:pt x="1596866" y="516801"/>
                      <a:pt x="1599943" y="517746"/>
                      <a:pt x="1601454" y="516839"/>
                    </a:cubicBezTo>
                    <a:cubicBezTo>
                      <a:pt x="1602806" y="516028"/>
                      <a:pt x="1603358" y="514136"/>
                      <a:pt x="1604798" y="513496"/>
                    </a:cubicBezTo>
                    <a:cubicBezTo>
                      <a:pt x="1608505" y="511848"/>
                      <a:pt x="1612599" y="511267"/>
                      <a:pt x="1616499" y="510152"/>
                    </a:cubicBezTo>
                    <a:cubicBezTo>
                      <a:pt x="1620366" y="504351"/>
                      <a:pt x="1622460" y="503686"/>
                      <a:pt x="1618171" y="495107"/>
                    </a:cubicBezTo>
                    <a:cubicBezTo>
                      <a:pt x="1617273" y="493310"/>
                      <a:pt x="1614828" y="492878"/>
                      <a:pt x="1613156" y="491764"/>
                    </a:cubicBezTo>
                    <a:cubicBezTo>
                      <a:pt x="1612599" y="490092"/>
                      <a:pt x="1612272" y="488325"/>
                      <a:pt x="1611484" y="486749"/>
                    </a:cubicBezTo>
                    <a:cubicBezTo>
                      <a:pt x="1610586" y="484952"/>
                      <a:pt x="1608846" y="483615"/>
                      <a:pt x="1608141" y="481734"/>
                    </a:cubicBezTo>
                    <a:cubicBezTo>
                      <a:pt x="1607143" y="479074"/>
                      <a:pt x="1607158" y="476132"/>
                      <a:pt x="1606469" y="473376"/>
                    </a:cubicBezTo>
                    <a:cubicBezTo>
                      <a:pt x="1606042" y="471667"/>
                      <a:pt x="1606044" y="469607"/>
                      <a:pt x="1604798" y="468361"/>
                    </a:cubicBezTo>
                    <a:cubicBezTo>
                      <a:pt x="1603552" y="467115"/>
                      <a:pt x="1601403" y="467383"/>
                      <a:pt x="1599783" y="466689"/>
                    </a:cubicBezTo>
                    <a:cubicBezTo>
                      <a:pt x="1587546" y="461445"/>
                      <a:pt x="1598736" y="464756"/>
                      <a:pt x="1586409" y="461674"/>
                    </a:cubicBezTo>
                    <a:cubicBezTo>
                      <a:pt x="1578051" y="462231"/>
                      <a:pt x="1569679" y="462620"/>
                      <a:pt x="1561334" y="463346"/>
                    </a:cubicBezTo>
                    <a:cubicBezTo>
                      <a:pt x="1556859" y="463735"/>
                      <a:pt x="1552255" y="463696"/>
                      <a:pt x="1547961" y="465017"/>
                    </a:cubicBezTo>
                    <a:cubicBezTo>
                      <a:pt x="1544856" y="465972"/>
                      <a:pt x="1542389" y="468360"/>
                      <a:pt x="1539603" y="470032"/>
                    </a:cubicBezTo>
                    <a:cubicBezTo>
                      <a:pt x="1538027" y="472659"/>
                      <a:pt x="1532361" y="482754"/>
                      <a:pt x="1529573" y="485077"/>
                    </a:cubicBezTo>
                    <a:cubicBezTo>
                      <a:pt x="1528219" y="486205"/>
                      <a:pt x="1526230" y="486192"/>
                      <a:pt x="1524558" y="486749"/>
                    </a:cubicBezTo>
                    <a:cubicBezTo>
                      <a:pt x="1515126" y="484653"/>
                      <a:pt x="1510825" y="485598"/>
                      <a:pt x="1504498" y="480062"/>
                    </a:cubicBezTo>
                    <a:cubicBezTo>
                      <a:pt x="1499162" y="475393"/>
                      <a:pt x="1496637" y="470019"/>
                      <a:pt x="1489453" y="468361"/>
                    </a:cubicBezTo>
                    <a:cubicBezTo>
                      <a:pt x="1484536" y="467226"/>
                      <a:pt x="1479423" y="467246"/>
                      <a:pt x="1474408" y="466689"/>
                    </a:cubicBezTo>
                    <a:cubicBezTo>
                      <a:pt x="1470507" y="467246"/>
                      <a:pt x="1466545" y="467475"/>
                      <a:pt x="1462706" y="468361"/>
                    </a:cubicBezTo>
                    <a:cubicBezTo>
                      <a:pt x="1459272" y="469153"/>
                      <a:pt x="1456188" y="471411"/>
                      <a:pt x="1452676" y="471704"/>
                    </a:cubicBezTo>
                    <a:cubicBezTo>
                      <a:pt x="1449298" y="471985"/>
                      <a:pt x="1445989" y="470589"/>
                      <a:pt x="1442646" y="470032"/>
                    </a:cubicBezTo>
                    <a:cubicBezTo>
                      <a:pt x="1440417" y="467803"/>
                      <a:pt x="1438010" y="465739"/>
                      <a:pt x="1435959" y="463346"/>
                    </a:cubicBezTo>
                    <a:cubicBezTo>
                      <a:pt x="1434651" y="461821"/>
                      <a:pt x="1434037" y="459752"/>
                      <a:pt x="1432616" y="458331"/>
                    </a:cubicBezTo>
                    <a:cubicBezTo>
                      <a:pt x="1431195" y="456910"/>
                      <a:pt x="1429022" y="456408"/>
                      <a:pt x="1427601" y="454987"/>
                    </a:cubicBezTo>
                    <a:cubicBezTo>
                      <a:pt x="1425631" y="453017"/>
                      <a:pt x="1424369" y="450441"/>
                      <a:pt x="1422586" y="448301"/>
                    </a:cubicBezTo>
                    <a:cubicBezTo>
                      <a:pt x="1419631" y="444755"/>
                      <a:pt x="1416336" y="442777"/>
                      <a:pt x="1412556" y="439942"/>
                    </a:cubicBezTo>
                    <a:cubicBezTo>
                      <a:pt x="1409770" y="442171"/>
                      <a:pt x="1407330" y="444920"/>
                      <a:pt x="1404198" y="446629"/>
                    </a:cubicBezTo>
                    <a:cubicBezTo>
                      <a:pt x="1387297" y="455848"/>
                      <a:pt x="1399064" y="445075"/>
                      <a:pt x="1390825" y="453316"/>
                    </a:cubicBezTo>
                    <a:cubicBezTo>
                      <a:pt x="1389674" y="447561"/>
                      <a:pt x="1389057" y="443787"/>
                      <a:pt x="1387481" y="438271"/>
                    </a:cubicBezTo>
                    <a:cubicBezTo>
                      <a:pt x="1386997" y="436577"/>
                      <a:pt x="1386367" y="434928"/>
                      <a:pt x="1385810" y="433256"/>
                    </a:cubicBezTo>
                    <a:cubicBezTo>
                      <a:pt x="1385253" y="426012"/>
                      <a:pt x="1386010" y="418544"/>
                      <a:pt x="1384138" y="411524"/>
                    </a:cubicBezTo>
                    <a:cubicBezTo>
                      <a:pt x="1383620" y="409583"/>
                      <a:pt x="1381004" y="408886"/>
                      <a:pt x="1379123" y="408181"/>
                    </a:cubicBezTo>
                    <a:cubicBezTo>
                      <a:pt x="1376463" y="407183"/>
                      <a:pt x="1373539" y="407125"/>
                      <a:pt x="1370765" y="406509"/>
                    </a:cubicBezTo>
                    <a:cubicBezTo>
                      <a:pt x="1368522" y="406010"/>
                      <a:pt x="1366279" y="405497"/>
                      <a:pt x="1364078" y="404837"/>
                    </a:cubicBezTo>
                    <a:cubicBezTo>
                      <a:pt x="1356902" y="402684"/>
                      <a:pt x="1346477" y="399158"/>
                      <a:pt x="1340675" y="394807"/>
                    </a:cubicBezTo>
                    <a:lnTo>
                      <a:pt x="1327301" y="384777"/>
                    </a:lnTo>
                    <a:cubicBezTo>
                      <a:pt x="1325072" y="383105"/>
                      <a:pt x="1322933" y="381307"/>
                      <a:pt x="1320615" y="379762"/>
                    </a:cubicBezTo>
                    <a:lnTo>
                      <a:pt x="1310585" y="373076"/>
                    </a:lnTo>
                    <a:cubicBezTo>
                      <a:pt x="1308913" y="371961"/>
                      <a:pt x="1307540" y="370126"/>
                      <a:pt x="1305570" y="369732"/>
                    </a:cubicBezTo>
                    <a:lnTo>
                      <a:pt x="1297211" y="368061"/>
                    </a:lnTo>
                    <a:cubicBezTo>
                      <a:pt x="1294982" y="368618"/>
                      <a:pt x="1292676" y="368925"/>
                      <a:pt x="1290525" y="369732"/>
                    </a:cubicBezTo>
                    <a:cubicBezTo>
                      <a:pt x="1276467" y="375004"/>
                      <a:pt x="1283596" y="376703"/>
                      <a:pt x="1282166" y="398151"/>
                    </a:cubicBezTo>
                    <a:cubicBezTo>
                      <a:pt x="1278823" y="397036"/>
                      <a:pt x="1275068" y="396762"/>
                      <a:pt x="1272136" y="394807"/>
                    </a:cubicBezTo>
                    <a:cubicBezTo>
                      <a:pt x="1270464" y="393693"/>
                      <a:pt x="1268918" y="392362"/>
                      <a:pt x="1267121" y="391464"/>
                    </a:cubicBezTo>
                    <a:cubicBezTo>
                      <a:pt x="1265386" y="390596"/>
                      <a:pt x="1256699" y="388223"/>
                      <a:pt x="1255420" y="388121"/>
                    </a:cubicBezTo>
                    <a:cubicBezTo>
                      <a:pt x="1243742" y="387187"/>
                      <a:pt x="1232017" y="387006"/>
                      <a:pt x="1220315" y="386449"/>
                    </a:cubicBezTo>
                    <a:cubicBezTo>
                      <a:pt x="1219758" y="384777"/>
                      <a:pt x="1220019" y="382535"/>
                      <a:pt x="1218643" y="381434"/>
                    </a:cubicBezTo>
                    <a:cubicBezTo>
                      <a:pt x="1216849" y="379999"/>
                      <a:pt x="1214248" y="379938"/>
                      <a:pt x="1211957" y="379762"/>
                    </a:cubicBezTo>
                    <a:cubicBezTo>
                      <a:pt x="1199721" y="378821"/>
                      <a:pt x="1187439" y="378648"/>
                      <a:pt x="1175180" y="378091"/>
                    </a:cubicBezTo>
                    <a:cubicBezTo>
                      <a:pt x="1174623" y="376419"/>
                      <a:pt x="1173992" y="374770"/>
                      <a:pt x="1173508" y="373076"/>
                    </a:cubicBezTo>
                    <a:cubicBezTo>
                      <a:pt x="1172877" y="370867"/>
                      <a:pt x="1172864" y="368444"/>
                      <a:pt x="1171837" y="366389"/>
                    </a:cubicBezTo>
                    <a:cubicBezTo>
                      <a:pt x="1170402" y="363519"/>
                      <a:pt x="1166461" y="361623"/>
                      <a:pt x="1163478" y="361374"/>
                    </a:cubicBezTo>
                    <a:cubicBezTo>
                      <a:pt x="1151804" y="360401"/>
                      <a:pt x="1140075" y="360260"/>
                      <a:pt x="1128373" y="359703"/>
                    </a:cubicBezTo>
                    <a:cubicBezTo>
                      <a:pt x="1125587" y="358588"/>
                      <a:pt x="1122258" y="358353"/>
                      <a:pt x="1120015" y="356359"/>
                    </a:cubicBezTo>
                    <a:cubicBezTo>
                      <a:pt x="1117012" y="353689"/>
                      <a:pt x="1115739" y="349543"/>
                      <a:pt x="1113328" y="346329"/>
                    </a:cubicBezTo>
                    <a:cubicBezTo>
                      <a:pt x="1111656" y="344100"/>
                      <a:pt x="1109932" y="341910"/>
                      <a:pt x="1108313" y="339643"/>
                    </a:cubicBezTo>
                    <a:cubicBezTo>
                      <a:pt x="1107145" y="338008"/>
                      <a:pt x="1106277" y="336153"/>
                      <a:pt x="1104970" y="334628"/>
                    </a:cubicBezTo>
                    <a:cubicBezTo>
                      <a:pt x="1102919" y="332235"/>
                      <a:pt x="1098283" y="327941"/>
                      <a:pt x="1098283" y="327941"/>
                    </a:cubicBezTo>
                    <a:cubicBezTo>
                      <a:pt x="1097726" y="326269"/>
                      <a:pt x="1097858" y="324172"/>
                      <a:pt x="1096612" y="322926"/>
                    </a:cubicBezTo>
                    <a:cubicBezTo>
                      <a:pt x="1095366" y="321680"/>
                      <a:pt x="1093217" y="321948"/>
                      <a:pt x="1091597" y="321254"/>
                    </a:cubicBezTo>
                    <a:cubicBezTo>
                      <a:pt x="1089306" y="320272"/>
                      <a:pt x="1087328" y="318515"/>
                      <a:pt x="1084910" y="317911"/>
                    </a:cubicBezTo>
                    <a:cubicBezTo>
                      <a:pt x="1078333" y="316267"/>
                      <a:pt x="1064850" y="314568"/>
                      <a:pt x="1064850" y="314568"/>
                    </a:cubicBezTo>
                    <a:cubicBezTo>
                      <a:pt x="1062621" y="313453"/>
                      <a:pt x="1060237" y="312606"/>
                      <a:pt x="1058164" y="311224"/>
                    </a:cubicBezTo>
                    <a:cubicBezTo>
                      <a:pt x="1056853" y="310350"/>
                      <a:pt x="1056051" y="308865"/>
                      <a:pt x="1054820" y="307881"/>
                    </a:cubicBezTo>
                    <a:cubicBezTo>
                      <a:pt x="1053251" y="306626"/>
                      <a:pt x="1051374" y="305793"/>
                      <a:pt x="1049805" y="304538"/>
                    </a:cubicBezTo>
                    <a:cubicBezTo>
                      <a:pt x="1048574" y="303553"/>
                      <a:pt x="1047872" y="301899"/>
                      <a:pt x="1046462" y="301194"/>
                    </a:cubicBezTo>
                    <a:cubicBezTo>
                      <a:pt x="1044407" y="300167"/>
                      <a:pt x="1041976" y="300183"/>
                      <a:pt x="1039775" y="299523"/>
                    </a:cubicBezTo>
                    <a:cubicBezTo>
                      <a:pt x="1036399" y="298510"/>
                      <a:pt x="1033017" y="297488"/>
                      <a:pt x="1029745" y="296179"/>
                    </a:cubicBezTo>
                    <a:cubicBezTo>
                      <a:pt x="1023189" y="293556"/>
                      <a:pt x="1022121" y="292132"/>
                      <a:pt x="1016372" y="287821"/>
                    </a:cubicBezTo>
                    <a:cubicBezTo>
                      <a:pt x="1015258" y="286149"/>
                      <a:pt x="1013313" y="284795"/>
                      <a:pt x="1013029" y="282806"/>
                    </a:cubicBezTo>
                    <a:cubicBezTo>
                      <a:pt x="1012704" y="280532"/>
                      <a:pt x="1014069" y="278328"/>
                      <a:pt x="1014700" y="276119"/>
                    </a:cubicBezTo>
                    <a:cubicBezTo>
                      <a:pt x="1015184" y="274425"/>
                      <a:pt x="1015244" y="272458"/>
                      <a:pt x="1016372" y="271104"/>
                    </a:cubicBezTo>
                    <a:cubicBezTo>
                      <a:pt x="1020859" y="265720"/>
                      <a:pt x="1023685" y="265933"/>
                      <a:pt x="1029745" y="264418"/>
                    </a:cubicBezTo>
                    <a:cubicBezTo>
                      <a:pt x="1030302" y="262189"/>
                      <a:pt x="1032599" y="259701"/>
                      <a:pt x="1031417" y="257731"/>
                    </a:cubicBezTo>
                    <a:cubicBezTo>
                      <a:pt x="1030235" y="255761"/>
                      <a:pt x="1026830" y="256992"/>
                      <a:pt x="1024730" y="256059"/>
                    </a:cubicBezTo>
                    <a:cubicBezTo>
                      <a:pt x="1021761" y="254739"/>
                      <a:pt x="1019278" y="252497"/>
                      <a:pt x="1016372" y="251044"/>
                    </a:cubicBezTo>
                    <a:cubicBezTo>
                      <a:pt x="1013688" y="249702"/>
                      <a:pt x="1010698" y="249043"/>
                      <a:pt x="1008014" y="247701"/>
                    </a:cubicBezTo>
                    <a:cubicBezTo>
                      <a:pt x="1006217" y="246803"/>
                      <a:pt x="1004796" y="245256"/>
                      <a:pt x="1002999" y="244358"/>
                    </a:cubicBezTo>
                    <a:cubicBezTo>
                      <a:pt x="1001423" y="243570"/>
                      <a:pt x="999560" y="243474"/>
                      <a:pt x="997984" y="242686"/>
                    </a:cubicBezTo>
                    <a:cubicBezTo>
                      <a:pt x="977899" y="232643"/>
                      <a:pt x="1005185" y="245334"/>
                      <a:pt x="989625" y="235999"/>
                    </a:cubicBezTo>
                    <a:cubicBezTo>
                      <a:pt x="988114" y="235093"/>
                      <a:pt x="986230" y="235022"/>
                      <a:pt x="984610" y="234328"/>
                    </a:cubicBezTo>
                    <a:cubicBezTo>
                      <a:pt x="969132" y="227694"/>
                      <a:pt x="988727" y="234070"/>
                      <a:pt x="966222" y="227641"/>
                    </a:cubicBezTo>
                    <a:cubicBezTo>
                      <a:pt x="958978" y="228198"/>
                      <a:pt x="951755" y="229313"/>
                      <a:pt x="944490" y="229313"/>
                    </a:cubicBezTo>
                    <a:cubicBezTo>
                      <a:pt x="930549" y="229313"/>
                      <a:pt x="916605" y="228635"/>
                      <a:pt x="902699" y="227641"/>
                    </a:cubicBezTo>
                    <a:cubicBezTo>
                      <a:pt x="900941" y="227515"/>
                      <a:pt x="899260" y="226757"/>
                      <a:pt x="897684" y="225969"/>
                    </a:cubicBezTo>
                    <a:cubicBezTo>
                      <a:pt x="887343" y="220799"/>
                      <a:pt x="898330" y="224170"/>
                      <a:pt x="885982" y="215939"/>
                    </a:cubicBezTo>
                    <a:cubicBezTo>
                      <a:pt x="874163" y="208061"/>
                      <a:pt x="888795" y="217948"/>
                      <a:pt x="874281" y="207581"/>
                    </a:cubicBezTo>
                    <a:cubicBezTo>
                      <a:pt x="872646" y="206413"/>
                      <a:pt x="870835" y="205493"/>
                      <a:pt x="869266" y="204238"/>
                    </a:cubicBezTo>
                    <a:cubicBezTo>
                      <a:pt x="865117" y="200919"/>
                      <a:pt x="866450" y="199927"/>
                      <a:pt x="860907" y="197551"/>
                    </a:cubicBezTo>
                    <a:cubicBezTo>
                      <a:pt x="858795" y="196646"/>
                      <a:pt x="856430" y="196510"/>
                      <a:pt x="854221" y="195879"/>
                    </a:cubicBezTo>
                    <a:cubicBezTo>
                      <a:pt x="837444" y="191086"/>
                      <a:pt x="863410" y="197760"/>
                      <a:pt x="842519" y="192536"/>
                    </a:cubicBezTo>
                    <a:cubicBezTo>
                      <a:pt x="833603" y="193093"/>
                      <a:pt x="824668" y="193399"/>
                      <a:pt x="815772" y="194208"/>
                    </a:cubicBezTo>
                    <a:cubicBezTo>
                      <a:pt x="812397" y="194515"/>
                      <a:pt x="809105" y="195459"/>
                      <a:pt x="805742" y="195879"/>
                    </a:cubicBezTo>
                    <a:cubicBezTo>
                      <a:pt x="800185" y="196574"/>
                      <a:pt x="794598" y="196994"/>
                      <a:pt x="789026" y="197551"/>
                    </a:cubicBezTo>
                    <a:cubicBezTo>
                      <a:pt x="786797" y="196437"/>
                      <a:pt x="784101" y="195970"/>
                      <a:pt x="782339" y="194208"/>
                    </a:cubicBezTo>
                    <a:cubicBezTo>
                      <a:pt x="781093" y="192962"/>
                      <a:pt x="781151" y="190887"/>
                      <a:pt x="780667" y="189193"/>
                    </a:cubicBezTo>
                    <a:cubicBezTo>
                      <a:pt x="779341" y="184553"/>
                      <a:pt x="778994" y="179719"/>
                      <a:pt x="775652" y="175820"/>
                    </a:cubicBezTo>
                    <a:cubicBezTo>
                      <a:pt x="773839" y="173705"/>
                      <a:pt x="771106" y="172589"/>
                      <a:pt x="768966" y="170805"/>
                    </a:cubicBezTo>
                    <a:cubicBezTo>
                      <a:pt x="767755" y="169796"/>
                      <a:pt x="766934" y="168335"/>
                      <a:pt x="765622" y="167461"/>
                    </a:cubicBezTo>
                    <a:cubicBezTo>
                      <a:pt x="761492" y="164708"/>
                      <a:pt x="758377" y="163932"/>
                      <a:pt x="753921" y="162446"/>
                    </a:cubicBezTo>
                    <a:cubicBezTo>
                      <a:pt x="747791" y="163003"/>
                      <a:pt x="741295" y="161957"/>
                      <a:pt x="735532" y="164118"/>
                    </a:cubicBezTo>
                    <a:cubicBezTo>
                      <a:pt x="717452" y="170898"/>
                      <a:pt x="734702" y="174984"/>
                      <a:pt x="722159" y="170805"/>
                    </a:cubicBezTo>
                    <a:cubicBezTo>
                      <a:pt x="721602" y="169133"/>
                      <a:pt x="721733" y="167036"/>
                      <a:pt x="720487" y="165790"/>
                    </a:cubicBezTo>
                    <a:cubicBezTo>
                      <a:pt x="719241" y="164544"/>
                      <a:pt x="717234" y="164118"/>
                      <a:pt x="715472" y="164118"/>
                    </a:cubicBezTo>
                    <a:cubicBezTo>
                      <a:pt x="708207" y="164118"/>
                      <a:pt x="700985" y="165233"/>
                      <a:pt x="693741" y="165790"/>
                    </a:cubicBezTo>
                    <a:lnTo>
                      <a:pt x="683711" y="169133"/>
                    </a:lnTo>
                    <a:lnTo>
                      <a:pt x="678696" y="170805"/>
                    </a:lnTo>
                    <a:cubicBezTo>
                      <a:pt x="663094" y="169690"/>
                      <a:pt x="647463" y="168921"/>
                      <a:pt x="631889" y="167461"/>
                    </a:cubicBezTo>
                    <a:cubicBezTo>
                      <a:pt x="630202" y="167303"/>
                      <a:pt x="622236" y="165028"/>
                      <a:pt x="620188" y="164118"/>
                    </a:cubicBezTo>
                    <a:cubicBezTo>
                      <a:pt x="616772" y="162600"/>
                      <a:pt x="613629" y="160491"/>
                      <a:pt x="610158" y="159103"/>
                    </a:cubicBezTo>
                    <a:cubicBezTo>
                      <a:pt x="608025" y="158250"/>
                      <a:pt x="605680" y="158062"/>
                      <a:pt x="603471" y="157431"/>
                    </a:cubicBezTo>
                    <a:cubicBezTo>
                      <a:pt x="601777" y="156947"/>
                      <a:pt x="600128" y="156317"/>
                      <a:pt x="598456" y="155760"/>
                    </a:cubicBezTo>
                    <a:cubicBezTo>
                      <a:pt x="596784" y="154645"/>
                      <a:pt x="595390" y="152903"/>
                      <a:pt x="593441" y="152416"/>
                    </a:cubicBezTo>
                    <a:cubicBezTo>
                      <a:pt x="574163" y="147597"/>
                      <a:pt x="583824" y="154295"/>
                      <a:pt x="570038" y="147401"/>
                    </a:cubicBezTo>
                    <a:cubicBezTo>
                      <a:pt x="563181" y="143972"/>
                      <a:pt x="566860" y="144860"/>
                      <a:pt x="561679" y="140715"/>
                    </a:cubicBezTo>
                    <a:cubicBezTo>
                      <a:pt x="560110" y="139460"/>
                      <a:pt x="558250" y="138605"/>
                      <a:pt x="556664" y="137371"/>
                    </a:cubicBezTo>
                    <a:cubicBezTo>
                      <a:pt x="543859" y="127411"/>
                      <a:pt x="551338" y="130581"/>
                      <a:pt x="541619" y="127341"/>
                    </a:cubicBezTo>
                    <a:cubicBezTo>
                      <a:pt x="535865" y="118709"/>
                      <a:pt x="541427" y="124491"/>
                      <a:pt x="529918" y="120655"/>
                    </a:cubicBezTo>
                    <a:cubicBezTo>
                      <a:pt x="523860" y="118636"/>
                      <a:pt x="523349" y="116901"/>
                      <a:pt x="518216" y="113968"/>
                    </a:cubicBezTo>
                    <a:cubicBezTo>
                      <a:pt x="516053" y="112732"/>
                      <a:pt x="513863" y="111500"/>
                      <a:pt x="511530" y="110625"/>
                    </a:cubicBezTo>
                    <a:cubicBezTo>
                      <a:pt x="506394" y="108699"/>
                      <a:pt x="497902" y="108074"/>
                      <a:pt x="493141" y="107281"/>
                    </a:cubicBezTo>
                    <a:cubicBezTo>
                      <a:pt x="490339" y="106814"/>
                      <a:pt x="487569" y="106167"/>
                      <a:pt x="484783" y="105610"/>
                    </a:cubicBezTo>
                    <a:cubicBezTo>
                      <a:pt x="482554" y="103938"/>
                      <a:pt x="479642" y="102913"/>
                      <a:pt x="478096" y="100595"/>
                    </a:cubicBezTo>
                    <a:cubicBezTo>
                      <a:pt x="476141" y="97663"/>
                      <a:pt x="476329" y="93717"/>
                      <a:pt x="474753" y="90565"/>
                    </a:cubicBezTo>
                    <a:cubicBezTo>
                      <a:pt x="474048" y="89155"/>
                      <a:pt x="472983" y="87324"/>
                      <a:pt x="471410" y="87221"/>
                    </a:cubicBezTo>
                    <a:cubicBezTo>
                      <a:pt x="446938" y="85625"/>
                      <a:pt x="422374" y="86107"/>
                      <a:pt x="397856" y="85550"/>
                    </a:cubicBezTo>
                    <a:cubicBezTo>
                      <a:pt x="394713" y="83454"/>
                      <a:pt x="389746" y="79842"/>
                      <a:pt x="386155" y="78863"/>
                    </a:cubicBezTo>
                    <a:cubicBezTo>
                      <a:pt x="382354" y="77826"/>
                      <a:pt x="378317" y="77964"/>
                      <a:pt x="374453" y="77191"/>
                    </a:cubicBezTo>
                    <a:cubicBezTo>
                      <a:pt x="354554" y="73211"/>
                      <a:pt x="367286" y="75382"/>
                      <a:pt x="356065" y="72176"/>
                    </a:cubicBezTo>
                    <a:cubicBezTo>
                      <a:pt x="353856" y="71545"/>
                      <a:pt x="351607" y="71062"/>
                      <a:pt x="349378" y="70505"/>
                    </a:cubicBezTo>
                    <a:cubicBezTo>
                      <a:pt x="346035" y="68833"/>
                      <a:pt x="342798" y="66928"/>
                      <a:pt x="339348" y="65490"/>
                    </a:cubicBezTo>
                    <a:cubicBezTo>
                      <a:pt x="333237" y="62944"/>
                      <a:pt x="328762" y="62007"/>
                      <a:pt x="322632" y="60475"/>
                    </a:cubicBezTo>
                    <a:cubicBezTo>
                      <a:pt x="306138" y="64597"/>
                      <a:pt x="323248" y="59102"/>
                      <a:pt x="312602" y="65490"/>
                    </a:cubicBezTo>
                    <a:cubicBezTo>
                      <a:pt x="311091" y="66397"/>
                      <a:pt x="309237" y="66542"/>
                      <a:pt x="307587" y="67161"/>
                    </a:cubicBezTo>
                    <a:cubicBezTo>
                      <a:pt x="304777" y="68215"/>
                      <a:pt x="302014" y="69390"/>
                      <a:pt x="299228" y="70505"/>
                    </a:cubicBezTo>
                    <a:cubicBezTo>
                      <a:pt x="298114" y="68833"/>
                      <a:pt x="297192" y="67015"/>
                      <a:pt x="295885" y="65490"/>
                    </a:cubicBezTo>
                    <a:cubicBezTo>
                      <a:pt x="290508" y="59216"/>
                      <a:pt x="289590" y="58493"/>
                      <a:pt x="282512" y="55460"/>
                    </a:cubicBezTo>
                    <a:cubicBezTo>
                      <a:pt x="280892" y="54766"/>
                      <a:pt x="279169" y="54345"/>
                      <a:pt x="277497" y="53788"/>
                    </a:cubicBezTo>
                    <a:cubicBezTo>
                      <a:pt x="271157" y="47448"/>
                      <a:pt x="270917" y="49201"/>
                      <a:pt x="269138" y="42086"/>
                    </a:cubicBezTo>
                    <a:cubicBezTo>
                      <a:pt x="268449" y="39330"/>
                      <a:pt x="268738" y="36269"/>
                      <a:pt x="267467" y="33728"/>
                    </a:cubicBezTo>
                    <a:cubicBezTo>
                      <a:pt x="266410" y="31613"/>
                      <a:pt x="264519" y="29861"/>
                      <a:pt x="262452" y="28713"/>
                    </a:cubicBezTo>
                    <a:cubicBezTo>
                      <a:pt x="259371" y="27002"/>
                      <a:pt x="252422" y="25370"/>
                      <a:pt x="252422" y="25370"/>
                    </a:cubicBezTo>
                    <a:cubicBezTo>
                      <a:pt x="247964" y="22027"/>
                      <a:pt x="242988" y="19280"/>
                      <a:pt x="239048" y="15340"/>
                    </a:cubicBezTo>
                    <a:cubicBezTo>
                      <a:pt x="237376" y="13668"/>
                      <a:pt x="235957" y="11699"/>
                      <a:pt x="234033" y="10325"/>
                    </a:cubicBezTo>
                    <a:cubicBezTo>
                      <a:pt x="229324" y="6961"/>
                      <a:pt x="226047" y="6656"/>
                      <a:pt x="220660" y="5310"/>
                    </a:cubicBezTo>
                    <a:cubicBezTo>
                      <a:pt x="218988" y="4196"/>
                      <a:pt x="217442" y="2865"/>
                      <a:pt x="215645" y="1967"/>
                    </a:cubicBezTo>
                    <a:cubicBezTo>
                      <a:pt x="207968" y="-1871"/>
                      <a:pt x="201288" y="903"/>
                      <a:pt x="192242" y="1967"/>
                    </a:cubicBezTo>
                    <a:cubicBezTo>
                      <a:pt x="180563" y="3341"/>
                      <a:pt x="201435" y="3917"/>
                      <a:pt x="198928" y="531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dirty="0"/>
              </a:p>
            </p:txBody>
          </p:sp>
          <p:grpSp>
            <p:nvGrpSpPr>
              <p:cNvPr id="859" name="Grupo 32">
                <a:extLst>
                  <a:ext uri="{FF2B5EF4-FFF2-40B4-BE49-F238E27FC236}">
                    <a16:creationId xmlns:a16="http://schemas.microsoft.com/office/drawing/2014/main" id="{4CE1E4A3-EE5B-410B-A23A-F3AC1AFBF3B5}"/>
                  </a:ext>
                </a:extLst>
              </p:cNvPr>
              <p:cNvGrpSpPr/>
              <p:nvPr/>
            </p:nvGrpSpPr>
            <p:grpSpPr>
              <a:xfrm>
                <a:off x="3049114" y="6307976"/>
                <a:ext cx="449757" cy="215380"/>
                <a:chOff x="3049114" y="6307976"/>
                <a:chExt cx="449757" cy="215380"/>
              </a:xfrm>
              <a:grpFill/>
            </p:grpSpPr>
            <p:sp>
              <p:nvSpPr>
                <p:cNvPr id="860" name="Forma libre: forma 33">
                  <a:extLst>
                    <a:ext uri="{FF2B5EF4-FFF2-40B4-BE49-F238E27FC236}">
                      <a16:creationId xmlns:a16="http://schemas.microsoft.com/office/drawing/2014/main" id="{DB8ADBD2-5236-46ED-8D2D-288BD678F9B9}"/>
                    </a:ext>
                  </a:extLst>
                </p:cNvPr>
                <p:cNvSpPr/>
                <p:nvPr/>
              </p:nvSpPr>
              <p:spPr>
                <a:xfrm>
                  <a:off x="3049114" y="6439100"/>
                  <a:ext cx="57025" cy="42373"/>
                </a:xfrm>
                <a:custGeom>
                  <a:avLst/>
                  <a:gdLst>
                    <a:gd name="connsiteX0" fmla="*/ 31762 w 57025"/>
                    <a:gd name="connsiteY0" fmla="*/ 1820 h 42373"/>
                    <a:gd name="connsiteX1" fmla="*/ 23404 w 57025"/>
                    <a:gd name="connsiteY1" fmla="*/ 148 h 42373"/>
                    <a:gd name="connsiteX2" fmla="*/ 16717 w 57025"/>
                    <a:gd name="connsiteY2" fmla="*/ 5163 h 42373"/>
                    <a:gd name="connsiteX3" fmla="*/ 11702 w 57025"/>
                    <a:gd name="connsiteY3" fmla="*/ 8507 h 42373"/>
                    <a:gd name="connsiteX4" fmla="*/ 0 w 57025"/>
                    <a:gd name="connsiteY4" fmla="*/ 20208 h 42373"/>
                    <a:gd name="connsiteX5" fmla="*/ 21732 w 57025"/>
                    <a:gd name="connsiteY5" fmla="*/ 38597 h 42373"/>
                    <a:gd name="connsiteX6" fmla="*/ 28419 w 57025"/>
                    <a:gd name="connsiteY6" fmla="*/ 36925 h 42373"/>
                    <a:gd name="connsiteX7" fmla="*/ 33434 w 57025"/>
                    <a:gd name="connsiteY7" fmla="*/ 33582 h 42373"/>
                    <a:gd name="connsiteX8" fmla="*/ 50150 w 57025"/>
                    <a:gd name="connsiteY8" fmla="*/ 26895 h 42373"/>
                    <a:gd name="connsiteX9" fmla="*/ 55165 w 57025"/>
                    <a:gd name="connsiteY9" fmla="*/ 21880 h 42373"/>
                    <a:gd name="connsiteX10" fmla="*/ 56837 w 57025"/>
                    <a:gd name="connsiteY10" fmla="*/ 16865 h 42373"/>
                    <a:gd name="connsiteX11" fmla="*/ 48479 w 57025"/>
                    <a:gd name="connsiteY11" fmla="*/ 8507 h 42373"/>
                    <a:gd name="connsiteX12" fmla="*/ 43464 w 57025"/>
                    <a:gd name="connsiteY12" fmla="*/ 5163 h 42373"/>
                    <a:gd name="connsiteX13" fmla="*/ 31762 w 57025"/>
                    <a:gd name="connsiteY13" fmla="*/ 1820 h 42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7025" h="42373">
                      <a:moveTo>
                        <a:pt x="31762" y="1820"/>
                      </a:moveTo>
                      <a:cubicBezTo>
                        <a:pt x="28419" y="984"/>
                        <a:pt x="26178" y="-468"/>
                        <a:pt x="23404" y="148"/>
                      </a:cubicBezTo>
                      <a:cubicBezTo>
                        <a:pt x="20684" y="752"/>
                        <a:pt x="18984" y="3543"/>
                        <a:pt x="16717" y="5163"/>
                      </a:cubicBezTo>
                      <a:cubicBezTo>
                        <a:pt x="15082" y="6331"/>
                        <a:pt x="13195" y="7163"/>
                        <a:pt x="11702" y="8507"/>
                      </a:cubicBezTo>
                      <a:cubicBezTo>
                        <a:pt x="7602" y="12197"/>
                        <a:pt x="0" y="20208"/>
                        <a:pt x="0" y="20208"/>
                      </a:cubicBezTo>
                      <a:cubicBezTo>
                        <a:pt x="2146" y="48099"/>
                        <a:pt x="-5452" y="43694"/>
                        <a:pt x="21732" y="38597"/>
                      </a:cubicBezTo>
                      <a:cubicBezTo>
                        <a:pt x="23990" y="38174"/>
                        <a:pt x="26190" y="37482"/>
                        <a:pt x="28419" y="36925"/>
                      </a:cubicBezTo>
                      <a:cubicBezTo>
                        <a:pt x="30091" y="35811"/>
                        <a:pt x="31598" y="34398"/>
                        <a:pt x="33434" y="33582"/>
                      </a:cubicBezTo>
                      <a:cubicBezTo>
                        <a:pt x="39878" y="30718"/>
                        <a:pt x="44518" y="30918"/>
                        <a:pt x="50150" y="26895"/>
                      </a:cubicBezTo>
                      <a:cubicBezTo>
                        <a:pt x="52074" y="25521"/>
                        <a:pt x="53493" y="23552"/>
                        <a:pt x="55165" y="21880"/>
                      </a:cubicBezTo>
                      <a:cubicBezTo>
                        <a:pt x="55722" y="20208"/>
                        <a:pt x="57625" y="18441"/>
                        <a:pt x="56837" y="16865"/>
                      </a:cubicBezTo>
                      <a:cubicBezTo>
                        <a:pt x="55075" y="13341"/>
                        <a:pt x="51444" y="11102"/>
                        <a:pt x="48479" y="8507"/>
                      </a:cubicBezTo>
                      <a:cubicBezTo>
                        <a:pt x="46967" y="7184"/>
                        <a:pt x="45450" y="5469"/>
                        <a:pt x="43464" y="5163"/>
                      </a:cubicBezTo>
                      <a:cubicBezTo>
                        <a:pt x="37956" y="4316"/>
                        <a:pt x="35105" y="2656"/>
                        <a:pt x="31762" y="182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861" name="Forma libre: forma 34">
                  <a:extLst>
                    <a:ext uri="{FF2B5EF4-FFF2-40B4-BE49-F238E27FC236}">
                      <a16:creationId xmlns:a16="http://schemas.microsoft.com/office/drawing/2014/main" id="{BDF9F08D-9F99-4894-8C70-2A36796CB685}"/>
                    </a:ext>
                  </a:extLst>
                </p:cNvPr>
                <p:cNvSpPr/>
                <p:nvPr/>
              </p:nvSpPr>
              <p:spPr>
                <a:xfrm>
                  <a:off x="3217718" y="6320560"/>
                  <a:ext cx="153002" cy="110728"/>
                </a:xfrm>
                <a:custGeom>
                  <a:avLst/>
                  <a:gdLst>
                    <a:gd name="connsiteX0" fmla="*/ 234 w 153002"/>
                    <a:gd name="connsiteY0" fmla="*/ 48478 h 110728"/>
                    <a:gd name="connsiteX1" fmla="*/ 35339 w 153002"/>
                    <a:gd name="connsiteY1" fmla="*/ 53493 h 110728"/>
                    <a:gd name="connsiteX2" fmla="*/ 40354 w 153002"/>
                    <a:gd name="connsiteY2" fmla="*/ 55165 h 110728"/>
                    <a:gd name="connsiteX3" fmla="*/ 52056 w 153002"/>
                    <a:gd name="connsiteY3" fmla="*/ 61852 h 110728"/>
                    <a:gd name="connsiteX4" fmla="*/ 57071 w 153002"/>
                    <a:gd name="connsiteY4" fmla="*/ 80240 h 110728"/>
                    <a:gd name="connsiteX5" fmla="*/ 65429 w 153002"/>
                    <a:gd name="connsiteY5" fmla="*/ 90270 h 110728"/>
                    <a:gd name="connsiteX6" fmla="*/ 85489 w 153002"/>
                    <a:gd name="connsiteY6" fmla="*/ 91942 h 110728"/>
                    <a:gd name="connsiteX7" fmla="*/ 88833 w 153002"/>
                    <a:gd name="connsiteY7" fmla="*/ 96957 h 110728"/>
                    <a:gd name="connsiteX8" fmla="*/ 90504 w 153002"/>
                    <a:gd name="connsiteY8" fmla="*/ 110330 h 110728"/>
                    <a:gd name="connsiteX9" fmla="*/ 95519 w 153002"/>
                    <a:gd name="connsiteY9" fmla="*/ 105315 h 110728"/>
                    <a:gd name="connsiteX10" fmla="*/ 103878 w 153002"/>
                    <a:gd name="connsiteY10" fmla="*/ 95285 h 110728"/>
                    <a:gd name="connsiteX11" fmla="*/ 115579 w 153002"/>
                    <a:gd name="connsiteY11" fmla="*/ 90270 h 110728"/>
                    <a:gd name="connsiteX12" fmla="*/ 120594 w 153002"/>
                    <a:gd name="connsiteY12" fmla="*/ 86927 h 110728"/>
                    <a:gd name="connsiteX13" fmla="*/ 127281 w 153002"/>
                    <a:gd name="connsiteY13" fmla="*/ 76897 h 110728"/>
                    <a:gd name="connsiteX14" fmla="*/ 133968 w 153002"/>
                    <a:gd name="connsiteY14" fmla="*/ 73553 h 110728"/>
                    <a:gd name="connsiteX15" fmla="*/ 137311 w 153002"/>
                    <a:gd name="connsiteY15" fmla="*/ 66867 h 110728"/>
                    <a:gd name="connsiteX16" fmla="*/ 149013 w 153002"/>
                    <a:gd name="connsiteY16" fmla="*/ 58508 h 110728"/>
                    <a:gd name="connsiteX17" fmla="*/ 152356 w 153002"/>
                    <a:gd name="connsiteY17" fmla="*/ 51822 h 110728"/>
                    <a:gd name="connsiteX18" fmla="*/ 147341 w 153002"/>
                    <a:gd name="connsiteY18" fmla="*/ 33433 h 110728"/>
                    <a:gd name="connsiteX19" fmla="*/ 143998 w 153002"/>
                    <a:gd name="connsiteY19" fmla="*/ 28418 h 110728"/>
                    <a:gd name="connsiteX20" fmla="*/ 113908 w 153002"/>
                    <a:gd name="connsiteY20" fmla="*/ 25075 h 110728"/>
                    <a:gd name="connsiteX21" fmla="*/ 108893 w 153002"/>
                    <a:gd name="connsiteY21" fmla="*/ 10030 h 110728"/>
                    <a:gd name="connsiteX22" fmla="*/ 105549 w 153002"/>
                    <a:gd name="connsiteY22" fmla="*/ 0 h 110728"/>
                    <a:gd name="connsiteX23" fmla="*/ 70444 w 153002"/>
                    <a:gd name="connsiteY23" fmla="*/ 1672 h 110728"/>
                    <a:gd name="connsiteX24" fmla="*/ 60414 w 153002"/>
                    <a:gd name="connsiteY24" fmla="*/ 11702 h 110728"/>
                    <a:gd name="connsiteX25" fmla="*/ 55399 w 153002"/>
                    <a:gd name="connsiteY25" fmla="*/ 15045 h 110728"/>
                    <a:gd name="connsiteX26" fmla="*/ 43698 w 153002"/>
                    <a:gd name="connsiteY26" fmla="*/ 26747 h 110728"/>
                    <a:gd name="connsiteX27" fmla="*/ 40354 w 153002"/>
                    <a:gd name="connsiteY27" fmla="*/ 30090 h 110728"/>
                    <a:gd name="connsiteX28" fmla="*/ 35339 w 153002"/>
                    <a:gd name="connsiteY28" fmla="*/ 31762 h 110728"/>
                    <a:gd name="connsiteX29" fmla="*/ 26981 w 153002"/>
                    <a:gd name="connsiteY29" fmla="*/ 36777 h 110728"/>
                    <a:gd name="connsiteX30" fmla="*/ 21966 w 153002"/>
                    <a:gd name="connsiteY30" fmla="*/ 40120 h 110728"/>
                    <a:gd name="connsiteX31" fmla="*/ 234 w 153002"/>
                    <a:gd name="connsiteY31" fmla="*/ 48478 h 1107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53002" h="110728">
                      <a:moveTo>
                        <a:pt x="234" y="48478"/>
                      </a:moveTo>
                      <a:cubicBezTo>
                        <a:pt x="2463" y="50707"/>
                        <a:pt x="1282" y="49908"/>
                        <a:pt x="35339" y="53493"/>
                      </a:cubicBezTo>
                      <a:cubicBezTo>
                        <a:pt x="37091" y="53677"/>
                        <a:pt x="38734" y="54471"/>
                        <a:pt x="40354" y="55165"/>
                      </a:cubicBezTo>
                      <a:cubicBezTo>
                        <a:pt x="46297" y="57712"/>
                        <a:pt x="47017" y="58492"/>
                        <a:pt x="52056" y="61852"/>
                      </a:cubicBezTo>
                      <a:cubicBezTo>
                        <a:pt x="55088" y="80039"/>
                        <a:pt x="51702" y="64134"/>
                        <a:pt x="57071" y="80240"/>
                      </a:cubicBezTo>
                      <a:cubicBezTo>
                        <a:pt x="59261" y="86809"/>
                        <a:pt x="56782" y="88649"/>
                        <a:pt x="65429" y="90270"/>
                      </a:cubicBezTo>
                      <a:cubicBezTo>
                        <a:pt x="72024" y="91507"/>
                        <a:pt x="78802" y="91385"/>
                        <a:pt x="85489" y="91942"/>
                      </a:cubicBezTo>
                      <a:cubicBezTo>
                        <a:pt x="86604" y="93614"/>
                        <a:pt x="88304" y="95019"/>
                        <a:pt x="88833" y="96957"/>
                      </a:cubicBezTo>
                      <a:cubicBezTo>
                        <a:pt x="90015" y="101291"/>
                        <a:pt x="87698" y="106822"/>
                        <a:pt x="90504" y="110330"/>
                      </a:cubicBezTo>
                      <a:cubicBezTo>
                        <a:pt x="91981" y="112176"/>
                        <a:pt x="93980" y="107110"/>
                        <a:pt x="95519" y="105315"/>
                      </a:cubicBezTo>
                      <a:cubicBezTo>
                        <a:pt x="97209" y="103343"/>
                        <a:pt x="100979" y="97217"/>
                        <a:pt x="103878" y="95285"/>
                      </a:cubicBezTo>
                      <a:cubicBezTo>
                        <a:pt x="114312" y="88330"/>
                        <a:pt x="106664" y="94727"/>
                        <a:pt x="115579" y="90270"/>
                      </a:cubicBezTo>
                      <a:cubicBezTo>
                        <a:pt x="117376" y="89372"/>
                        <a:pt x="119025" y="88182"/>
                        <a:pt x="120594" y="86927"/>
                      </a:cubicBezTo>
                      <a:cubicBezTo>
                        <a:pt x="133397" y="76685"/>
                        <a:pt x="111066" y="93112"/>
                        <a:pt x="127281" y="76897"/>
                      </a:cubicBezTo>
                      <a:cubicBezTo>
                        <a:pt x="129043" y="75135"/>
                        <a:pt x="131739" y="74668"/>
                        <a:pt x="133968" y="73553"/>
                      </a:cubicBezTo>
                      <a:cubicBezTo>
                        <a:pt x="135082" y="71324"/>
                        <a:pt x="135863" y="68895"/>
                        <a:pt x="137311" y="66867"/>
                      </a:cubicBezTo>
                      <a:cubicBezTo>
                        <a:pt x="141076" y="61596"/>
                        <a:pt x="143387" y="61321"/>
                        <a:pt x="149013" y="58508"/>
                      </a:cubicBezTo>
                      <a:cubicBezTo>
                        <a:pt x="150127" y="56279"/>
                        <a:pt x="152165" y="54306"/>
                        <a:pt x="152356" y="51822"/>
                      </a:cubicBezTo>
                      <a:cubicBezTo>
                        <a:pt x="153747" y="33729"/>
                        <a:pt x="153240" y="40808"/>
                        <a:pt x="147341" y="33433"/>
                      </a:cubicBezTo>
                      <a:cubicBezTo>
                        <a:pt x="146086" y="31864"/>
                        <a:pt x="145947" y="28905"/>
                        <a:pt x="143998" y="28418"/>
                      </a:cubicBezTo>
                      <a:cubicBezTo>
                        <a:pt x="134208" y="25970"/>
                        <a:pt x="123938" y="26189"/>
                        <a:pt x="113908" y="25075"/>
                      </a:cubicBezTo>
                      <a:cubicBezTo>
                        <a:pt x="107171" y="18340"/>
                        <a:pt x="112303" y="24808"/>
                        <a:pt x="108893" y="10030"/>
                      </a:cubicBezTo>
                      <a:cubicBezTo>
                        <a:pt x="108101" y="6596"/>
                        <a:pt x="105549" y="0"/>
                        <a:pt x="105549" y="0"/>
                      </a:cubicBezTo>
                      <a:lnTo>
                        <a:pt x="70444" y="1672"/>
                      </a:lnTo>
                      <a:cubicBezTo>
                        <a:pt x="65867" y="2859"/>
                        <a:pt x="64348" y="9079"/>
                        <a:pt x="60414" y="11702"/>
                      </a:cubicBezTo>
                      <a:lnTo>
                        <a:pt x="55399" y="15045"/>
                      </a:lnTo>
                      <a:cubicBezTo>
                        <a:pt x="47229" y="25939"/>
                        <a:pt x="54096" y="18082"/>
                        <a:pt x="43698" y="26747"/>
                      </a:cubicBezTo>
                      <a:cubicBezTo>
                        <a:pt x="42487" y="27756"/>
                        <a:pt x="41706" y="29279"/>
                        <a:pt x="40354" y="30090"/>
                      </a:cubicBezTo>
                      <a:cubicBezTo>
                        <a:pt x="38843" y="30997"/>
                        <a:pt x="36915" y="30974"/>
                        <a:pt x="35339" y="31762"/>
                      </a:cubicBezTo>
                      <a:cubicBezTo>
                        <a:pt x="32433" y="33215"/>
                        <a:pt x="29736" y="35055"/>
                        <a:pt x="26981" y="36777"/>
                      </a:cubicBezTo>
                      <a:cubicBezTo>
                        <a:pt x="25277" y="37842"/>
                        <a:pt x="23813" y="39329"/>
                        <a:pt x="21966" y="40120"/>
                      </a:cubicBezTo>
                      <a:cubicBezTo>
                        <a:pt x="12187" y="44311"/>
                        <a:pt x="-1995" y="46249"/>
                        <a:pt x="234" y="48478"/>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862" name="Forma libre: forma 35">
                  <a:extLst>
                    <a:ext uri="{FF2B5EF4-FFF2-40B4-BE49-F238E27FC236}">
                      <a16:creationId xmlns:a16="http://schemas.microsoft.com/office/drawing/2014/main" id="{A5844993-14E8-4D69-A8AB-6E3E742CDE1F}"/>
                    </a:ext>
                  </a:extLst>
                </p:cNvPr>
                <p:cNvSpPr/>
                <p:nvPr/>
              </p:nvSpPr>
              <p:spPr>
                <a:xfrm>
                  <a:off x="3425058" y="6307976"/>
                  <a:ext cx="73813" cy="39413"/>
                </a:xfrm>
                <a:custGeom>
                  <a:avLst/>
                  <a:gdLst>
                    <a:gd name="connsiteX0" fmla="*/ 181 w 73813"/>
                    <a:gd name="connsiteY0" fmla="*/ 883 h 39413"/>
                    <a:gd name="connsiteX1" fmla="*/ 8539 w 73813"/>
                    <a:gd name="connsiteY1" fmla="*/ 2554 h 39413"/>
                    <a:gd name="connsiteX2" fmla="*/ 15226 w 73813"/>
                    <a:gd name="connsiteY2" fmla="*/ 4226 h 39413"/>
                    <a:gd name="connsiteX3" fmla="*/ 52002 w 73813"/>
                    <a:gd name="connsiteY3" fmla="*/ 7569 h 39413"/>
                    <a:gd name="connsiteX4" fmla="*/ 67047 w 73813"/>
                    <a:gd name="connsiteY4" fmla="*/ 15927 h 39413"/>
                    <a:gd name="connsiteX5" fmla="*/ 72062 w 73813"/>
                    <a:gd name="connsiteY5" fmla="*/ 22614 h 39413"/>
                    <a:gd name="connsiteX6" fmla="*/ 73734 w 73813"/>
                    <a:gd name="connsiteY6" fmla="*/ 35987 h 39413"/>
                    <a:gd name="connsiteX7" fmla="*/ 70391 w 73813"/>
                    <a:gd name="connsiteY7" fmla="*/ 39331 h 39413"/>
                    <a:gd name="connsiteX8" fmla="*/ 55346 w 73813"/>
                    <a:gd name="connsiteY8" fmla="*/ 37659 h 39413"/>
                    <a:gd name="connsiteX9" fmla="*/ 33614 w 73813"/>
                    <a:gd name="connsiteY9" fmla="*/ 27629 h 39413"/>
                    <a:gd name="connsiteX10" fmla="*/ 16897 w 73813"/>
                    <a:gd name="connsiteY10" fmla="*/ 17599 h 39413"/>
                    <a:gd name="connsiteX11" fmla="*/ 181 w 73813"/>
                    <a:gd name="connsiteY11" fmla="*/ 883 h 39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3813" h="39413">
                      <a:moveTo>
                        <a:pt x="181" y="883"/>
                      </a:moveTo>
                      <a:cubicBezTo>
                        <a:pt x="-1212" y="-1624"/>
                        <a:pt x="5766" y="1938"/>
                        <a:pt x="8539" y="2554"/>
                      </a:cubicBezTo>
                      <a:cubicBezTo>
                        <a:pt x="10782" y="3052"/>
                        <a:pt x="12944" y="3963"/>
                        <a:pt x="15226" y="4226"/>
                      </a:cubicBezTo>
                      <a:cubicBezTo>
                        <a:pt x="27454" y="5637"/>
                        <a:pt x="39743" y="6455"/>
                        <a:pt x="52002" y="7569"/>
                      </a:cubicBezTo>
                      <a:cubicBezTo>
                        <a:pt x="58870" y="10316"/>
                        <a:pt x="61746" y="10625"/>
                        <a:pt x="67047" y="15927"/>
                      </a:cubicBezTo>
                      <a:cubicBezTo>
                        <a:pt x="69017" y="17897"/>
                        <a:pt x="70390" y="20385"/>
                        <a:pt x="72062" y="22614"/>
                      </a:cubicBezTo>
                      <a:cubicBezTo>
                        <a:pt x="72619" y="27072"/>
                        <a:pt x="74181" y="31517"/>
                        <a:pt x="73734" y="35987"/>
                      </a:cubicBezTo>
                      <a:cubicBezTo>
                        <a:pt x="73577" y="37555"/>
                        <a:pt x="71961" y="39188"/>
                        <a:pt x="70391" y="39331"/>
                      </a:cubicBezTo>
                      <a:cubicBezTo>
                        <a:pt x="65366" y="39788"/>
                        <a:pt x="60361" y="38216"/>
                        <a:pt x="55346" y="37659"/>
                      </a:cubicBezTo>
                      <a:cubicBezTo>
                        <a:pt x="52694" y="36522"/>
                        <a:pt x="36442" y="29829"/>
                        <a:pt x="33614" y="27629"/>
                      </a:cubicBezTo>
                      <a:cubicBezTo>
                        <a:pt x="17755" y="15294"/>
                        <a:pt x="43523" y="25205"/>
                        <a:pt x="16897" y="17599"/>
                      </a:cubicBezTo>
                      <a:cubicBezTo>
                        <a:pt x="7924" y="10420"/>
                        <a:pt x="1574" y="3390"/>
                        <a:pt x="181" y="88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863" name="Forma libre: forma 36">
                  <a:extLst>
                    <a:ext uri="{FF2B5EF4-FFF2-40B4-BE49-F238E27FC236}">
                      <a16:creationId xmlns:a16="http://schemas.microsoft.com/office/drawing/2014/main" id="{D102481F-21D1-4DFB-980E-F609DEEB5224}"/>
                    </a:ext>
                  </a:extLst>
                </p:cNvPr>
                <p:cNvSpPr/>
                <p:nvPr/>
              </p:nvSpPr>
              <p:spPr>
                <a:xfrm>
                  <a:off x="3058865" y="6501100"/>
                  <a:ext cx="32041" cy="22256"/>
                </a:xfrm>
                <a:custGeom>
                  <a:avLst/>
                  <a:gdLst>
                    <a:gd name="connsiteX0" fmla="*/ 5294 w 32041"/>
                    <a:gd name="connsiteY0" fmla="*/ 18388 h 22256"/>
                    <a:gd name="connsiteX1" fmla="*/ 27026 w 32041"/>
                    <a:gd name="connsiteY1" fmla="*/ 20060 h 22256"/>
                    <a:gd name="connsiteX2" fmla="*/ 32041 w 32041"/>
                    <a:gd name="connsiteY2" fmla="*/ 21731 h 22256"/>
                    <a:gd name="connsiteX3" fmla="*/ 22011 w 32041"/>
                    <a:gd name="connsiteY3" fmla="*/ 13373 h 22256"/>
                    <a:gd name="connsiteX4" fmla="*/ 18668 w 32041"/>
                    <a:gd name="connsiteY4" fmla="*/ 8358 h 22256"/>
                    <a:gd name="connsiteX5" fmla="*/ 5294 w 32041"/>
                    <a:gd name="connsiteY5" fmla="*/ 0 h 22256"/>
                    <a:gd name="connsiteX6" fmla="*/ 279 w 32041"/>
                    <a:gd name="connsiteY6" fmla="*/ 3343 h 22256"/>
                    <a:gd name="connsiteX7" fmla="*/ 5294 w 32041"/>
                    <a:gd name="connsiteY7" fmla="*/ 18388 h 22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041" h="22256">
                      <a:moveTo>
                        <a:pt x="5294" y="18388"/>
                      </a:moveTo>
                      <a:cubicBezTo>
                        <a:pt x="9752" y="21174"/>
                        <a:pt x="19817" y="19159"/>
                        <a:pt x="27026" y="20060"/>
                      </a:cubicBezTo>
                      <a:cubicBezTo>
                        <a:pt x="28774" y="20279"/>
                        <a:pt x="32041" y="23493"/>
                        <a:pt x="32041" y="21731"/>
                      </a:cubicBezTo>
                      <a:cubicBezTo>
                        <a:pt x="32041" y="19585"/>
                        <a:pt x="23524" y="14382"/>
                        <a:pt x="22011" y="13373"/>
                      </a:cubicBezTo>
                      <a:cubicBezTo>
                        <a:pt x="20897" y="11701"/>
                        <a:pt x="20089" y="9779"/>
                        <a:pt x="18668" y="8358"/>
                      </a:cubicBezTo>
                      <a:cubicBezTo>
                        <a:pt x="14328" y="4018"/>
                        <a:pt x="10591" y="2648"/>
                        <a:pt x="5294" y="0"/>
                      </a:cubicBezTo>
                      <a:cubicBezTo>
                        <a:pt x="3622" y="1114"/>
                        <a:pt x="528" y="1349"/>
                        <a:pt x="279" y="3343"/>
                      </a:cubicBezTo>
                      <a:cubicBezTo>
                        <a:pt x="-691" y="11103"/>
                        <a:pt x="836" y="15602"/>
                        <a:pt x="5294" y="18388"/>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grpSp>
        </p:grpSp>
        <p:sp>
          <p:nvSpPr>
            <p:cNvPr id="312" name="Forma libre: forma 38">
              <a:extLst>
                <a:ext uri="{FF2B5EF4-FFF2-40B4-BE49-F238E27FC236}">
                  <a16:creationId xmlns:a16="http://schemas.microsoft.com/office/drawing/2014/main" id="{F0E8A8D9-9C9D-450D-85E8-282DE368614A}"/>
                </a:ext>
              </a:extLst>
            </p:cNvPr>
            <p:cNvSpPr/>
            <p:nvPr/>
          </p:nvSpPr>
          <p:spPr>
            <a:xfrm>
              <a:off x="7430551" y="4678758"/>
              <a:ext cx="380298" cy="276675"/>
            </a:xfrm>
            <a:custGeom>
              <a:avLst/>
              <a:gdLst>
                <a:gd name="connsiteX0" fmla="*/ 43285 w 365091"/>
                <a:gd name="connsiteY0" fmla="*/ 76527 h 276675"/>
                <a:gd name="connsiteX1" fmla="*/ 53096 w 365091"/>
                <a:gd name="connsiteY1" fmla="*/ 78490 h 276675"/>
                <a:gd name="connsiteX2" fmla="*/ 76643 w 365091"/>
                <a:gd name="connsiteY2" fmla="*/ 86338 h 276675"/>
                <a:gd name="connsiteX3" fmla="*/ 82529 w 365091"/>
                <a:gd name="connsiteY3" fmla="*/ 92225 h 276675"/>
                <a:gd name="connsiteX4" fmla="*/ 141396 w 365091"/>
                <a:gd name="connsiteY4" fmla="*/ 92225 h 276675"/>
                <a:gd name="connsiteX5" fmla="*/ 149245 w 365091"/>
                <a:gd name="connsiteY5" fmla="*/ 78490 h 276675"/>
                <a:gd name="connsiteX6" fmla="*/ 157094 w 365091"/>
                <a:gd name="connsiteY6" fmla="*/ 66716 h 276675"/>
                <a:gd name="connsiteX7" fmla="*/ 161019 w 365091"/>
                <a:gd name="connsiteY7" fmla="*/ 60829 h 276675"/>
                <a:gd name="connsiteX8" fmla="*/ 166905 w 365091"/>
                <a:gd name="connsiteY8" fmla="*/ 56905 h 276675"/>
                <a:gd name="connsiteX9" fmla="*/ 182603 w 365091"/>
                <a:gd name="connsiteY9" fmla="*/ 45132 h 276675"/>
                <a:gd name="connsiteX10" fmla="*/ 253244 w 365091"/>
                <a:gd name="connsiteY10" fmla="*/ 39245 h 276675"/>
                <a:gd name="connsiteX11" fmla="*/ 259130 w 365091"/>
                <a:gd name="connsiteY11" fmla="*/ 37283 h 276675"/>
                <a:gd name="connsiteX12" fmla="*/ 278753 w 365091"/>
                <a:gd name="connsiteY12" fmla="*/ 29434 h 276675"/>
                <a:gd name="connsiteX13" fmla="*/ 294450 w 365091"/>
                <a:gd name="connsiteY13" fmla="*/ 25509 h 276675"/>
                <a:gd name="connsiteX14" fmla="*/ 298375 w 365091"/>
                <a:gd name="connsiteY14" fmla="*/ 21585 h 276675"/>
                <a:gd name="connsiteX15" fmla="*/ 306224 w 365091"/>
                <a:gd name="connsiteY15" fmla="*/ 11774 h 276675"/>
                <a:gd name="connsiteX16" fmla="*/ 312110 w 365091"/>
                <a:gd name="connsiteY16" fmla="*/ 9811 h 276675"/>
                <a:gd name="connsiteX17" fmla="*/ 321922 w 365091"/>
                <a:gd name="connsiteY17" fmla="*/ 1962 h 276675"/>
                <a:gd name="connsiteX18" fmla="*/ 327808 w 365091"/>
                <a:gd name="connsiteY18" fmla="*/ 0 h 276675"/>
                <a:gd name="connsiteX19" fmla="*/ 337619 w 365091"/>
                <a:gd name="connsiteY19" fmla="*/ 1962 h 276675"/>
                <a:gd name="connsiteX20" fmla="*/ 339582 w 365091"/>
                <a:gd name="connsiteY20" fmla="*/ 7849 h 276675"/>
                <a:gd name="connsiteX21" fmla="*/ 341544 w 365091"/>
                <a:gd name="connsiteY21" fmla="*/ 19623 h 276675"/>
                <a:gd name="connsiteX22" fmla="*/ 347431 w 365091"/>
                <a:gd name="connsiteY22" fmla="*/ 25509 h 276675"/>
                <a:gd name="connsiteX23" fmla="*/ 357242 w 365091"/>
                <a:gd name="connsiteY23" fmla="*/ 35320 h 276675"/>
                <a:gd name="connsiteX24" fmla="*/ 359204 w 365091"/>
                <a:gd name="connsiteY24" fmla="*/ 41207 h 276675"/>
                <a:gd name="connsiteX25" fmla="*/ 365091 w 365091"/>
                <a:gd name="connsiteY25" fmla="*/ 54943 h 276675"/>
                <a:gd name="connsiteX26" fmla="*/ 345468 w 365091"/>
                <a:gd name="connsiteY26" fmla="*/ 60829 h 276675"/>
                <a:gd name="connsiteX27" fmla="*/ 343506 w 365091"/>
                <a:gd name="connsiteY27" fmla="*/ 74565 h 276675"/>
                <a:gd name="connsiteX28" fmla="*/ 345468 w 365091"/>
                <a:gd name="connsiteY28" fmla="*/ 84376 h 276675"/>
                <a:gd name="connsiteX29" fmla="*/ 337619 w 365091"/>
                <a:gd name="connsiteY29" fmla="*/ 86338 h 276675"/>
                <a:gd name="connsiteX30" fmla="*/ 331733 w 365091"/>
                <a:gd name="connsiteY30" fmla="*/ 90263 h 276675"/>
                <a:gd name="connsiteX31" fmla="*/ 308186 w 365091"/>
                <a:gd name="connsiteY31" fmla="*/ 98112 h 276675"/>
                <a:gd name="connsiteX32" fmla="*/ 302299 w 365091"/>
                <a:gd name="connsiteY32" fmla="*/ 107923 h 276675"/>
                <a:gd name="connsiteX33" fmla="*/ 294450 w 365091"/>
                <a:gd name="connsiteY33" fmla="*/ 121659 h 276675"/>
                <a:gd name="connsiteX34" fmla="*/ 286601 w 365091"/>
                <a:gd name="connsiteY34" fmla="*/ 123621 h 276675"/>
                <a:gd name="connsiteX35" fmla="*/ 274828 w 365091"/>
                <a:gd name="connsiteY35" fmla="*/ 135394 h 276675"/>
                <a:gd name="connsiteX36" fmla="*/ 280715 w 365091"/>
                <a:gd name="connsiteY36" fmla="*/ 139319 h 276675"/>
                <a:gd name="connsiteX37" fmla="*/ 284639 w 365091"/>
                <a:gd name="connsiteY37" fmla="*/ 162865 h 276675"/>
                <a:gd name="connsiteX38" fmla="*/ 276790 w 365091"/>
                <a:gd name="connsiteY38" fmla="*/ 170714 h 276675"/>
                <a:gd name="connsiteX39" fmla="*/ 274828 w 365091"/>
                <a:gd name="connsiteY39" fmla="*/ 178563 h 276675"/>
                <a:gd name="connsiteX40" fmla="*/ 270904 w 365091"/>
                <a:gd name="connsiteY40" fmla="*/ 184450 h 276675"/>
                <a:gd name="connsiteX41" fmla="*/ 253244 w 365091"/>
                <a:gd name="connsiteY41" fmla="*/ 200148 h 276675"/>
                <a:gd name="connsiteX42" fmla="*/ 249319 w 365091"/>
                <a:gd name="connsiteY42" fmla="*/ 207997 h 276675"/>
                <a:gd name="connsiteX43" fmla="*/ 243432 w 365091"/>
                <a:gd name="connsiteY43" fmla="*/ 209959 h 276675"/>
                <a:gd name="connsiteX44" fmla="*/ 241470 w 365091"/>
                <a:gd name="connsiteY44" fmla="*/ 223695 h 276675"/>
                <a:gd name="connsiteX45" fmla="*/ 237546 w 365091"/>
                <a:gd name="connsiteY45" fmla="*/ 243317 h 276675"/>
                <a:gd name="connsiteX46" fmla="*/ 231659 w 365091"/>
                <a:gd name="connsiteY46" fmla="*/ 260977 h 276675"/>
                <a:gd name="connsiteX47" fmla="*/ 208112 w 365091"/>
                <a:gd name="connsiteY47" fmla="*/ 266864 h 276675"/>
                <a:gd name="connsiteX48" fmla="*/ 196339 w 365091"/>
                <a:gd name="connsiteY48" fmla="*/ 264902 h 276675"/>
                <a:gd name="connsiteX49" fmla="*/ 190452 w 365091"/>
                <a:gd name="connsiteY49" fmla="*/ 262939 h 276675"/>
                <a:gd name="connsiteX50" fmla="*/ 168868 w 365091"/>
                <a:gd name="connsiteY50" fmla="*/ 264902 h 276675"/>
                <a:gd name="connsiteX51" fmla="*/ 161019 w 365091"/>
                <a:gd name="connsiteY51" fmla="*/ 260977 h 276675"/>
                <a:gd name="connsiteX52" fmla="*/ 157094 w 365091"/>
                <a:gd name="connsiteY52" fmla="*/ 251166 h 276675"/>
                <a:gd name="connsiteX53" fmla="*/ 151207 w 365091"/>
                <a:gd name="connsiteY53" fmla="*/ 245279 h 276675"/>
                <a:gd name="connsiteX54" fmla="*/ 147283 w 365091"/>
                <a:gd name="connsiteY54" fmla="*/ 237430 h 276675"/>
                <a:gd name="connsiteX55" fmla="*/ 141396 w 365091"/>
                <a:gd name="connsiteY55" fmla="*/ 231544 h 276675"/>
                <a:gd name="connsiteX56" fmla="*/ 137472 w 365091"/>
                <a:gd name="connsiteY56" fmla="*/ 225657 h 276675"/>
                <a:gd name="connsiteX57" fmla="*/ 133547 w 365091"/>
                <a:gd name="connsiteY57" fmla="*/ 241355 h 276675"/>
                <a:gd name="connsiteX58" fmla="*/ 131585 w 365091"/>
                <a:gd name="connsiteY58" fmla="*/ 249204 h 276675"/>
                <a:gd name="connsiteX59" fmla="*/ 125698 w 365091"/>
                <a:gd name="connsiteY59" fmla="*/ 253128 h 276675"/>
                <a:gd name="connsiteX60" fmla="*/ 115887 w 365091"/>
                <a:gd name="connsiteY60" fmla="*/ 260977 h 276675"/>
                <a:gd name="connsiteX61" fmla="*/ 92341 w 365091"/>
                <a:gd name="connsiteY61" fmla="*/ 259015 h 276675"/>
                <a:gd name="connsiteX62" fmla="*/ 84492 w 365091"/>
                <a:gd name="connsiteY62" fmla="*/ 260977 h 276675"/>
                <a:gd name="connsiteX63" fmla="*/ 80567 w 365091"/>
                <a:gd name="connsiteY63" fmla="*/ 264902 h 276675"/>
                <a:gd name="connsiteX64" fmla="*/ 72718 w 365091"/>
                <a:gd name="connsiteY64" fmla="*/ 274713 h 276675"/>
                <a:gd name="connsiteX65" fmla="*/ 66831 w 365091"/>
                <a:gd name="connsiteY65" fmla="*/ 276675 h 276675"/>
                <a:gd name="connsiteX66" fmla="*/ 62907 w 365091"/>
                <a:gd name="connsiteY66" fmla="*/ 272750 h 276675"/>
                <a:gd name="connsiteX67" fmla="*/ 57020 w 365091"/>
                <a:gd name="connsiteY67" fmla="*/ 270788 h 276675"/>
                <a:gd name="connsiteX68" fmla="*/ 17776 w 365091"/>
                <a:gd name="connsiteY68" fmla="*/ 266864 h 276675"/>
                <a:gd name="connsiteX69" fmla="*/ 23662 w 365091"/>
                <a:gd name="connsiteY69" fmla="*/ 259015 h 276675"/>
                <a:gd name="connsiteX70" fmla="*/ 35436 w 365091"/>
                <a:gd name="connsiteY70" fmla="*/ 253128 h 276675"/>
                <a:gd name="connsiteX71" fmla="*/ 35436 w 365091"/>
                <a:gd name="connsiteY71" fmla="*/ 213884 h 276675"/>
                <a:gd name="connsiteX72" fmla="*/ 29549 w 365091"/>
                <a:gd name="connsiteY72" fmla="*/ 209959 h 276675"/>
                <a:gd name="connsiteX73" fmla="*/ 27587 w 365091"/>
                <a:gd name="connsiteY73" fmla="*/ 182488 h 276675"/>
                <a:gd name="connsiteX74" fmla="*/ 33474 w 365091"/>
                <a:gd name="connsiteY74" fmla="*/ 176601 h 276675"/>
                <a:gd name="connsiteX75" fmla="*/ 31511 w 365091"/>
                <a:gd name="connsiteY75" fmla="*/ 162865 h 276675"/>
                <a:gd name="connsiteX76" fmla="*/ 25625 w 365091"/>
                <a:gd name="connsiteY76" fmla="*/ 160903 h 276675"/>
                <a:gd name="connsiteX77" fmla="*/ 19738 w 365091"/>
                <a:gd name="connsiteY77" fmla="*/ 155017 h 276675"/>
                <a:gd name="connsiteX78" fmla="*/ 15813 w 365091"/>
                <a:gd name="connsiteY78" fmla="*/ 147168 h 276675"/>
                <a:gd name="connsiteX79" fmla="*/ 15813 w 365091"/>
                <a:gd name="connsiteY79" fmla="*/ 131470 h 276675"/>
                <a:gd name="connsiteX80" fmla="*/ 4040 w 365091"/>
                <a:gd name="connsiteY80" fmla="*/ 129508 h 276675"/>
                <a:gd name="connsiteX81" fmla="*/ 116 w 365091"/>
                <a:gd name="connsiteY81" fmla="*/ 123621 h 276675"/>
                <a:gd name="connsiteX82" fmla="*/ 7965 w 365091"/>
                <a:gd name="connsiteY82" fmla="*/ 98112 h 276675"/>
                <a:gd name="connsiteX83" fmla="*/ 17776 w 365091"/>
                <a:gd name="connsiteY83" fmla="*/ 94187 h 276675"/>
                <a:gd name="connsiteX84" fmla="*/ 43285 w 365091"/>
                <a:gd name="connsiteY84" fmla="*/ 76527 h 276675"/>
                <a:gd name="connsiteX0" fmla="*/ 43285 w 365091"/>
                <a:gd name="connsiteY0" fmla="*/ 76527 h 276675"/>
                <a:gd name="connsiteX1" fmla="*/ 53096 w 365091"/>
                <a:gd name="connsiteY1" fmla="*/ 78490 h 276675"/>
                <a:gd name="connsiteX2" fmla="*/ 76643 w 365091"/>
                <a:gd name="connsiteY2" fmla="*/ 86338 h 276675"/>
                <a:gd name="connsiteX3" fmla="*/ 82529 w 365091"/>
                <a:gd name="connsiteY3" fmla="*/ 92225 h 276675"/>
                <a:gd name="connsiteX4" fmla="*/ 141396 w 365091"/>
                <a:gd name="connsiteY4" fmla="*/ 92225 h 276675"/>
                <a:gd name="connsiteX5" fmla="*/ 149245 w 365091"/>
                <a:gd name="connsiteY5" fmla="*/ 78490 h 276675"/>
                <a:gd name="connsiteX6" fmla="*/ 157094 w 365091"/>
                <a:gd name="connsiteY6" fmla="*/ 66716 h 276675"/>
                <a:gd name="connsiteX7" fmla="*/ 161019 w 365091"/>
                <a:gd name="connsiteY7" fmla="*/ 60829 h 276675"/>
                <a:gd name="connsiteX8" fmla="*/ 166905 w 365091"/>
                <a:gd name="connsiteY8" fmla="*/ 56905 h 276675"/>
                <a:gd name="connsiteX9" fmla="*/ 182603 w 365091"/>
                <a:gd name="connsiteY9" fmla="*/ 45132 h 276675"/>
                <a:gd name="connsiteX10" fmla="*/ 253244 w 365091"/>
                <a:gd name="connsiteY10" fmla="*/ 39245 h 276675"/>
                <a:gd name="connsiteX11" fmla="*/ 259130 w 365091"/>
                <a:gd name="connsiteY11" fmla="*/ 37283 h 276675"/>
                <a:gd name="connsiteX12" fmla="*/ 278753 w 365091"/>
                <a:gd name="connsiteY12" fmla="*/ 29434 h 276675"/>
                <a:gd name="connsiteX13" fmla="*/ 294450 w 365091"/>
                <a:gd name="connsiteY13" fmla="*/ 25509 h 276675"/>
                <a:gd name="connsiteX14" fmla="*/ 298375 w 365091"/>
                <a:gd name="connsiteY14" fmla="*/ 21585 h 276675"/>
                <a:gd name="connsiteX15" fmla="*/ 306224 w 365091"/>
                <a:gd name="connsiteY15" fmla="*/ 11774 h 276675"/>
                <a:gd name="connsiteX16" fmla="*/ 312110 w 365091"/>
                <a:gd name="connsiteY16" fmla="*/ 9811 h 276675"/>
                <a:gd name="connsiteX17" fmla="*/ 321922 w 365091"/>
                <a:gd name="connsiteY17" fmla="*/ 1962 h 276675"/>
                <a:gd name="connsiteX18" fmla="*/ 327808 w 365091"/>
                <a:gd name="connsiteY18" fmla="*/ 0 h 276675"/>
                <a:gd name="connsiteX19" fmla="*/ 337619 w 365091"/>
                <a:gd name="connsiteY19" fmla="*/ 1962 h 276675"/>
                <a:gd name="connsiteX20" fmla="*/ 339582 w 365091"/>
                <a:gd name="connsiteY20" fmla="*/ 7849 h 276675"/>
                <a:gd name="connsiteX21" fmla="*/ 341544 w 365091"/>
                <a:gd name="connsiteY21" fmla="*/ 19623 h 276675"/>
                <a:gd name="connsiteX22" fmla="*/ 347431 w 365091"/>
                <a:gd name="connsiteY22" fmla="*/ 25509 h 276675"/>
                <a:gd name="connsiteX23" fmla="*/ 357242 w 365091"/>
                <a:gd name="connsiteY23" fmla="*/ 35320 h 276675"/>
                <a:gd name="connsiteX24" fmla="*/ 359204 w 365091"/>
                <a:gd name="connsiteY24" fmla="*/ 41207 h 276675"/>
                <a:gd name="connsiteX25" fmla="*/ 365091 w 365091"/>
                <a:gd name="connsiteY25" fmla="*/ 54943 h 276675"/>
                <a:gd name="connsiteX26" fmla="*/ 345468 w 365091"/>
                <a:gd name="connsiteY26" fmla="*/ 60829 h 276675"/>
                <a:gd name="connsiteX27" fmla="*/ 343506 w 365091"/>
                <a:gd name="connsiteY27" fmla="*/ 74565 h 276675"/>
                <a:gd name="connsiteX28" fmla="*/ 345468 w 365091"/>
                <a:gd name="connsiteY28" fmla="*/ 84376 h 276675"/>
                <a:gd name="connsiteX29" fmla="*/ 337619 w 365091"/>
                <a:gd name="connsiteY29" fmla="*/ 86338 h 276675"/>
                <a:gd name="connsiteX30" fmla="*/ 331733 w 365091"/>
                <a:gd name="connsiteY30" fmla="*/ 90263 h 276675"/>
                <a:gd name="connsiteX31" fmla="*/ 308186 w 365091"/>
                <a:gd name="connsiteY31" fmla="*/ 98112 h 276675"/>
                <a:gd name="connsiteX32" fmla="*/ 302299 w 365091"/>
                <a:gd name="connsiteY32" fmla="*/ 107923 h 276675"/>
                <a:gd name="connsiteX33" fmla="*/ 294450 w 365091"/>
                <a:gd name="connsiteY33" fmla="*/ 121659 h 276675"/>
                <a:gd name="connsiteX34" fmla="*/ 286601 w 365091"/>
                <a:gd name="connsiteY34" fmla="*/ 123621 h 276675"/>
                <a:gd name="connsiteX35" fmla="*/ 274828 w 365091"/>
                <a:gd name="connsiteY35" fmla="*/ 135394 h 276675"/>
                <a:gd name="connsiteX36" fmla="*/ 280715 w 365091"/>
                <a:gd name="connsiteY36" fmla="*/ 139319 h 276675"/>
                <a:gd name="connsiteX37" fmla="*/ 284639 w 365091"/>
                <a:gd name="connsiteY37" fmla="*/ 162865 h 276675"/>
                <a:gd name="connsiteX38" fmla="*/ 276790 w 365091"/>
                <a:gd name="connsiteY38" fmla="*/ 170714 h 276675"/>
                <a:gd name="connsiteX39" fmla="*/ 274828 w 365091"/>
                <a:gd name="connsiteY39" fmla="*/ 178563 h 276675"/>
                <a:gd name="connsiteX40" fmla="*/ 270904 w 365091"/>
                <a:gd name="connsiteY40" fmla="*/ 184450 h 276675"/>
                <a:gd name="connsiteX41" fmla="*/ 253244 w 365091"/>
                <a:gd name="connsiteY41" fmla="*/ 200148 h 276675"/>
                <a:gd name="connsiteX42" fmla="*/ 249319 w 365091"/>
                <a:gd name="connsiteY42" fmla="*/ 207997 h 276675"/>
                <a:gd name="connsiteX43" fmla="*/ 243432 w 365091"/>
                <a:gd name="connsiteY43" fmla="*/ 209959 h 276675"/>
                <a:gd name="connsiteX44" fmla="*/ 241470 w 365091"/>
                <a:gd name="connsiteY44" fmla="*/ 223695 h 276675"/>
                <a:gd name="connsiteX45" fmla="*/ 237546 w 365091"/>
                <a:gd name="connsiteY45" fmla="*/ 243317 h 276675"/>
                <a:gd name="connsiteX46" fmla="*/ 231659 w 365091"/>
                <a:gd name="connsiteY46" fmla="*/ 260977 h 276675"/>
                <a:gd name="connsiteX47" fmla="*/ 208112 w 365091"/>
                <a:gd name="connsiteY47" fmla="*/ 266864 h 276675"/>
                <a:gd name="connsiteX48" fmla="*/ 196339 w 365091"/>
                <a:gd name="connsiteY48" fmla="*/ 264902 h 276675"/>
                <a:gd name="connsiteX49" fmla="*/ 190452 w 365091"/>
                <a:gd name="connsiteY49" fmla="*/ 262939 h 276675"/>
                <a:gd name="connsiteX50" fmla="*/ 168868 w 365091"/>
                <a:gd name="connsiteY50" fmla="*/ 264902 h 276675"/>
                <a:gd name="connsiteX51" fmla="*/ 161019 w 365091"/>
                <a:gd name="connsiteY51" fmla="*/ 260977 h 276675"/>
                <a:gd name="connsiteX52" fmla="*/ 157094 w 365091"/>
                <a:gd name="connsiteY52" fmla="*/ 251166 h 276675"/>
                <a:gd name="connsiteX53" fmla="*/ 151207 w 365091"/>
                <a:gd name="connsiteY53" fmla="*/ 245279 h 276675"/>
                <a:gd name="connsiteX54" fmla="*/ 147283 w 365091"/>
                <a:gd name="connsiteY54" fmla="*/ 237430 h 276675"/>
                <a:gd name="connsiteX55" fmla="*/ 141396 w 365091"/>
                <a:gd name="connsiteY55" fmla="*/ 231544 h 276675"/>
                <a:gd name="connsiteX56" fmla="*/ 137472 w 365091"/>
                <a:gd name="connsiteY56" fmla="*/ 225657 h 276675"/>
                <a:gd name="connsiteX57" fmla="*/ 133547 w 365091"/>
                <a:gd name="connsiteY57" fmla="*/ 241355 h 276675"/>
                <a:gd name="connsiteX58" fmla="*/ 131585 w 365091"/>
                <a:gd name="connsiteY58" fmla="*/ 249204 h 276675"/>
                <a:gd name="connsiteX59" fmla="*/ 125698 w 365091"/>
                <a:gd name="connsiteY59" fmla="*/ 253128 h 276675"/>
                <a:gd name="connsiteX60" fmla="*/ 115887 w 365091"/>
                <a:gd name="connsiteY60" fmla="*/ 260977 h 276675"/>
                <a:gd name="connsiteX61" fmla="*/ 92341 w 365091"/>
                <a:gd name="connsiteY61" fmla="*/ 259015 h 276675"/>
                <a:gd name="connsiteX62" fmla="*/ 84492 w 365091"/>
                <a:gd name="connsiteY62" fmla="*/ 260977 h 276675"/>
                <a:gd name="connsiteX63" fmla="*/ 80567 w 365091"/>
                <a:gd name="connsiteY63" fmla="*/ 273042 h 276675"/>
                <a:gd name="connsiteX64" fmla="*/ 72718 w 365091"/>
                <a:gd name="connsiteY64" fmla="*/ 274713 h 276675"/>
                <a:gd name="connsiteX65" fmla="*/ 66831 w 365091"/>
                <a:gd name="connsiteY65" fmla="*/ 276675 h 276675"/>
                <a:gd name="connsiteX66" fmla="*/ 62907 w 365091"/>
                <a:gd name="connsiteY66" fmla="*/ 272750 h 276675"/>
                <a:gd name="connsiteX67" fmla="*/ 57020 w 365091"/>
                <a:gd name="connsiteY67" fmla="*/ 270788 h 276675"/>
                <a:gd name="connsiteX68" fmla="*/ 17776 w 365091"/>
                <a:gd name="connsiteY68" fmla="*/ 266864 h 276675"/>
                <a:gd name="connsiteX69" fmla="*/ 23662 w 365091"/>
                <a:gd name="connsiteY69" fmla="*/ 259015 h 276675"/>
                <a:gd name="connsiteX70" fmla="*/ 35436 w 365091"/>
                <a:gd name="connsiteY70" fmla="*/ 253128 h 276675"/>
                <a:gd name="connsiteX71" fmla="*/ 35436 w 365091"/>
                <a:gd name="connsiteY71" fmla="*/ 213884 h 276675"/>
                <a:gd name="connsiteX72" fmla="*/ 29549 w 365091"/>
                <a:gd name="connsiteY72" fmla="*/ 209959 h 276675"/>
                <a:gd name="connsiteX73" fmla="*/ 27587 w 365091"/>
                <a:gd name="connsiteY73" fmla="*/ 182488 h 276675"/>
                <a:gd name="connsiteX74" fmla="*/ 33474 w 365091"/>
                <a:gd name="connsiteY74" fmla="*/ 176601 h 276675"/>
                <a:gd name="connsiteX75" fmla="*/ 31511 w 365091"/>
                <a:gd name="connsiteY75" fmla="*/ 162865 h 276675"/>
                <a:gd name="connsiteX76" fmla="*/ 25625 w 365091"/>
                <a:gd name="connsiteY76" fmla="*/ 160903 h 276675"/>
                <a:gd name="connsiteX77" fmla="*/ 19738 w 365091"/>
                <a:gd name="connsiteY77" fmla="*/ 155017 h 276675"/>
                <a:gd name="connsiteX78" fmla="*/ 15813 w 365091"/>
                <a:gd name="connsiteY78" fmla="*/ 147168 h 276675"/>
                <a:gd name="connsiteX79" fmla="*/ 15813 w 365091"/>
                <a:gd name="connsiteY79" fmla="*/ 131470 h 276675"/>
                <a:gd name="connsiteX80" fmla="*/ 4040 w 365091"/>
                <a:gd name="connsiteY80" fmla="*/ 129508 h 276675"/>
                <a:gd name="connsiteX81" fmla="*/ 116 w 365091"/>
                <a:gd name="connsiteY81" fmla="*/ 123621 h 276675"/>
                <a:gd name="connsiteX82" fmla="*/ 7965 w 365091"/>
                <a:gd name="connsiteY82" fmla="*/ 98112 h 276675"/>
                <a:gd name="connsiteX83" fmla="*/ 17776 w 365091"/>
                <a:gd name="connsiteY83" fmla="*/ 94187 h 276675"/>
                <a:gd name="connsiteX84" fmla="*/ 43285 w 365091"/>
                <a:gd name="connsiteY84" fmla="*/ 76527 h 276675"/>
                <a:gd name="connsiteX0" fmla="*/ 43285 w 365091"/>
                <a:gd name="connsiteY0" fmla="*/ 76527 h 276675"/>
                <a:gd name="connsiteX1" fmla="*/ 53096 w 365091"/>
                <a:gd name="connsiteY1" fmla="*/ 78490 h 276675"/>
                <a:gd name="connsiteX2" fmla="*/ 76643 w 365091"/>
                <a:gd name="connsiteY2" fmla="*/ 86338 h 276675"/>
                <a:gd name="connsiteX3" fmla="*/ 82529 w 365091"/>
                <a:gd name="connsiteY3" fmla="*/ 92225 h 276675"/>
                <a:gd name="connsiteX4" fmla="*/ 141396 w 365091"/>
                <a:gd name="connsiteY4" fmla="*/ 92225 h 276675"/>
                <a:gd name="connsiteX5" fmla="*/ 149245 w 365091"/>
                <a:gd name="connsiteY5" fmla="*/ 78490 h 276675"/>
                <a:gd name="connsiteX6" fmla="*/ 157094 w 365091"/>
                <a:gd name="connsiteY6" fmla="*/ 66716 h 276675"/>
                <a:gd name="connsiteX7" fmla="*/ 161019 w 365091"/>
                <a:gd name="connsiteY7" fmla="*/ 60829 h 276675"/>
                <a:gd name="connsiteX8" fmla="*/ 166905 w 365091"/>
                <a:gd name="connsiteY8" fmla="*/ 56905 h 276675"/>
                <a:gd name="connsiteX9" fmla="*/ 182603 w 365091"/>
                <a:gd name="connsiteY9" fmla="*/ 45132 h 276675"/>
                <a:gd name="connsiteX10" fmla="*/ 253244 w 365091"/>
                <a:gd name="connsiteY10" fmla="*/ 39245 h 276675"/>
                <a:gd name="connsiteX11" fmla="*/ 259130 w 365091"/>
                <a:gd name="connsiteY11" fmla="*/ 37283 h 276675"/>
                <a:gd name="connsiteX12" fmla="*/ 278753 w 365091"/>
                <a:gd name="connsiteY12" fmla="*/ 29434 h 276675"/>
                <a:gd name="connsiteX13" fmla="*/ 294450 w 365091"/>
                <a:gd name="connsiteY13" fmla="*/ 25509 h 276675"/>
                <a:gd name="connsiteX14" fmla="*/ 298375 w 365091"/>
                <a:gd name="connsiteY14" fmla="*/ 21585 h 276675"/>
                <a:gd name="connsiteX15" fmla="*/ 306224 w 365091"/>
                <a:gd name="connsiteY15" fmla="*/ 11774 h 276675"/>
                <a:gd name="connsiteX16" fmla="*/ 312110 w 365091"/>
                <a:gd name="connsiteY16" fmla="*/ 9811 h 276675"/>
                <a:gd name="connsiteX17" fmla="*/ 321922 w 365091"/>
                <a:gd name="connsiteY17" fmla="*/ 1962 h 276675"/>
                <a:gd name="connsiteX18" fmla="*/ 327808 w 365091"/>
                <a:gd name="connsiteY18" fmla="*/ 0 h 276675"/>
                <a:gd name="connsiteX19" fmla="*/ 337619 w 365091"/>
                <a:gd name="connsiteY19" fmla="*/ 1962 h 276675"/>
                <a:gd name="connsiteX20" fmla="*/ 339582 w 365091"/>
                <a:gd name="connsiteY20" fmla="*/ 7849 h 276675"/>
                <a:gd name="connsiteX21" fmla="*/ 341544 w 365091"/>
                <a:gd name="connsiteY21" fmla="*/ 19623 h 276675"/>
                <a:gd name="connsiteX22" fmla="*/ 347431 w 365091"/>
                <a:gd name="connsiteY22" fmla="*/ 25509 h 276675"/>
                <a:gd name="connsiteX23" fmla="*/ 357242 w 365091"/>
                <a:gd name="connsiteY23" fmla="*/ 35320 h 276675"/>
                <a:gd name="connsiteX24" fmla="*/ 359204 w 365091"/>
                <a:gd name="connsiteY24" fmla="*/ 41207 h 276675"/>
                <a:gd name="connsiteX25" fmla="*/ 365091 w 365091"/>
                <a:gd name="connsiteY25" fmla="*/ 54943 h 276675"/>
                <a:gd name="connsiteX26" fmla="*/ 345468 w 365091"/>
                <a:gd name="connsiteY26" fmla="*/ 60829 h 276675"/>
                <a:gd name="connsiteX27" fmla="*/ 343506 w 365091"/>
                <a:gd name="connsiteY27" fmla="*/ 74565 h 276675"/>
                <a:gd name="connsiteX28" fmla="*/ 345468 w 365091"/>
                <a:gd name="connsiteY28" fmla="*/ 84376 h 276675"/>
                <a:gd name="connsiteX29" fmla="*/ 337619 w 365091"/>
                <a:gd name="connsiteY29" fmla="*/ 86338 h 276675"/>
                <a:gd name="connsiteX30" fmla="*/ 331733 w 365091"/>
                <a:gd name="connsiteY30" fmla="*/ 90263 h 276675"/>
                <a:gd name="connsiteX31" fmla="*/ 308186 w 365091"/>
                <a:gd name="connsiteY31" fmla="*/ 98112 h 276675"/>
                <a:gd name="connsiteX32" fmla="*/ 302299 w 365091"/>
                <a:gd name="connsiteY32" fmla="*/ 107923 h 276675"/>
                <a:gd name="connsiteX33" fmla="*/ 294450 w 365091"/>
                <a:gd name="connsiteY33" fmla="*/ 121659 h 276675"/>
                <a:gd name="connsiteX34" fmla="*/ 286601 w 365091"/>
                <a:gd name="connsiteY34" fmla="*/ 123621 h 276675"/>
                <a:gd name="connsiteX35" fmla="*/ 274828 w 365091"/>
                <a:gd name="connsiteY35" fmla="*/ 135394 h 276675"/>
                <a:gd name="connsiteX36" fmla="*/ 280715 w 365091"/>
                <a:gd name="connsiteY36" fmla="*/ 139319 h 276675"/>
                <a:gd name="connsiteX37" fmla="*/ 284639 w 365091"/>
                <a:gd name="connsiteY37" fmla="*/ 162865 h 276675"/>
                <a:gd name="connsiteX38" fmla="*/ 276790 w 365091"/>
                <a:gd name="connsiteY38" fmla="*/ 170714 h 276675"/>
                <a:gd name="connsiteX39" fmla="*/ 274828 w 365091"/>
                <a:gd name="connsiteY39" fmla="*/ 178563 h 276675"/>
                <a:gd name="connsiteX40" fmla="*/ 270904 w 365091"/>
                <a:gd name="connsiteY40" fmla="*/ 184450 h 276675"/>
                <a:gd name="connsiteX41" fmla="*/ 253244 w 365091"/>
                <a:gd name="connsiteY41" fmla="*/ 200148 h 276675"/>
                <a:gd name="connsiteX42" fmla="*/ 249319 w 365091"/>
                <a:gd name="connsiteY42" fmla="*/ 207997 h 276675"/>
                <a:gd name="connsiteX43" fmla="*/ 243432 w 365091"/>
                <a:gd name="connsiteY43" fmla="*/ 209959 h 276675"/>
                <a:gd name="connsiteX44" fmla="*/ 241470 w 365091"/>
                <a:gd name="connsiteY44" fmla="*/ 223695 h 276675"/>
                <a:gd name="connsiteX45" fmla="*/ 237546 w 365091"/>
                <a:gd name="connsiteY45" fmla="*/ 243317 h 276675"/>
                <a:gd name="connsiteX46" fmla="*/ 231659 w 365091"/>
                <a:gd name="connsiteY46" fmla="*/ 260977 h 276675"/>
                <a:gd name="connsiteX47" fmla="*/ 208112 w 365091"/>
                <a:gd name="connsiteY47" fmla="*/ 266864 h 276675"/>
                <a:gd name="connsiteX48" fmla="*/ 196339 w 365091"/>
                <a:gd name="connsiteY48" fmla="*/ 264902 h 276675"/>
                <a:gd name="connsiteX49" fmla="*/ 190452 w 365091"/>
                <a:gd name="connsiteY49" fmla="*/ 262939 h 276675"/>
                <a:gd name="connsiteX50" fmla="*/ 168868 w 365091"/>
                <a:gd name="connsiteY50" fmla="*/ 264902 h 276675"/>
                <a:gd name="connsiteX51" fmla="*/ 161019 w 365091"/>
                <a:gd name="connsiteY51" fmla="*/ 260977 h 276675"/>
                <a:gd name="connsiteX52" fmla="*/ 157094 w 365091"/>
                <a:gd name="connsiteY52" fmla="*/ 251166 h 276675"/>
                <a:gd name="connsiteX53" fmla="*/ 151207 w 365091"/>
                <a:gd name="connsiteY53" fmla="*/ 245279 h 276675"/>
                <a:gd name="connsiteX54" fmla="*/ 147283 w 365091"/>
                <a:gd name="connsiteY54" fmla="*/ 237430 h 276675"/>
                <a:gd name="connsiteX55" fmla="*/ 141396 w 365091"/>
                <a:gd name="connsiteY55" fmla="*/ 231544 h 276675"/>
                <a:gd name="connsiteX56" fmla="*/ 137472 w 365091"/>
                <a:gd name="connsiteY56" fmla="*/ 225657 h 276675"/>
                <a:gd name="connsiteX57" fmla="*/ 133547 w 365091"/>
                <a:gd name="connsiteY57" fmla="*/ 241355 h 276675"/>
                <a:gd name="connsiteX58" fmla="*/ 131585 w 365091"/>
                <a:gd name="connsiteY58" fmla="*/ 249204 h 276675"/>
                <a:gd name="connsiteX59" fmla="*/ 125698 w 365091"/>
                <a:gd name="connsiteY59" fmla="*/ 253128 h 276675"/>
                <a:gd name="connsiteX60" fmla="*/ 115887 w 365091"/>
                <a:gd name="connsiteY60" fmla="*/ 260977 h 276675"/>
                <a:gd name="connsiteX61" fmla="*/ 92341 w 365091"/>
                <a:gd name="connsiteY61" fmla="*/ 259015 h 276675"/>
                <a:gd name="connsiteX62" fmla="*/ 98059 w 365091"/>
                <a:gd name="connsiteY62" fmla="*/ 274544 h 276675"/>
                <a:gd name="connsiteX63" fmla="*/ 80567 w 365091"/>
                <a:gd name="connsiteY63" fmla="*/ 273042 h 276675"/>
                <a:gd name="connsiteX64" fmla="*/ 72718 w 365091"/>
                <a:gd name="connsiteY64" fmla="*/ 274713 h 276675"/>
                <a:gd name="connsiteX65" fmla="*/ 66831 w 365091"/>
                <a:gd name="connsiteY65" fmla="*/ 276675 h 276675"/>
                <a:gd name="connsiteX66" fmla="*/ 62907 w 365091"/>
                <a:gd name="connsiteY66" fmla="*/ 272750 h 276675"/>
                <a:gd name="connsiteX67" fmla="*/ 57020 w 365091"/>
                <a:gd name="connsiteY67" fmla="*/ 270788 h 276675"/>
                <a:gd name="connsiteX68" fmla="*/ 17776 w 365091"/>
                <a:gd name="connsiteY68" fmla="*/ 266864 h 276675"/>
                <a:gd name="connsiteX69" fmla="*/ 23662 w 365091"/>
                <a:gd name="connsiteY69" fmla="*/ 259015 h 276675"/>
                <a:gd name="connsiteX70" fmla="*/ 35436 w 365091"/>
                <a:gd name="connsiteY70" fmla="*/ 253128 h 276675"/>
                <a:gd name="connsiteX71" fmla="*/ 35436 w 365091"/>
                <a:gd name="connsiteY71" fmla="*/ 213884 h 276675"/>
                <a:gd name="connsiteX72" fmla="*/ 29549 w 365091"/>
                <a:gd name="connsiteY72" fmla="*/ 209959 h 276675"/>
                <a:gd name="connsiteX73" fmla="*/ 27587 w 365091"/>
                <a:gd name="connsiteY73" fmla="*/ 182488 h 276675"/>
                <a:gd name="connsiteX74" fmla="*/ 33474 w 365091"/>
                <a:gd name="connsiteY74" fmla="*/ 176601 h 276675"/>
                <a:gd name="connsiteX75" fmla="*/ 31511 w 365091"/>
                <a:gd name="connsiteY75" fmla="*/ 162865 h 276675"/>
                <a:gd name="connsiteX76" fmla="*/ 25625 w 365091"/>
                <a:gd name="connsiteY76" fmla="*/ 160903 h 276675"/>
                <a:gd name="connsiteX77" fmla="*/ 19738 w 365091"/>
                <a:gd name="connsiteY77" fmla="*/ 155017 h 276675"/>
                <a:gd name="connsiteX78" fmla="*/ 15813 w 365091"/>
                <a:gd name="connsiteY78" fmla="*/ 147168 h 276675"/>
                <a:gd name="connsiteX79" fmla="*/ 15813 w 365091"/>
                <a:gd name="connsiteY79" fmla="*/ 131470 h 276675"/>
                <a:gd name="connsiteX80" fmla="*/ 4040 w 365091"/>
                <a:gd name="connsiteY80" fmla="*/ 129508 h 276675"/>
                <a:gd name="connsiteX81" fmla="*/ 116 w 365091"/>
                <a:gd name="connsiteY81" fmla="*/ 123621 h 276675"/>
                <a:gd name="connsiteX82" fmla="*/ 7965 w 365091"/>
                <a:gd name="connsiteY82" fmla="*/ 98112 h 276675"/>
                <a:gd name="connsiteX83" fmla="*/ 17776 w 365091"/>
                <a:gd name="connsiteY83" fmla="*/ 94187 h 276675"/>
                <a:gd name="connsiteX84" fmla="*/ 43285 w 365091"/>
                <a:gd name="connsiteY84" fmla="*/ 76527 h 276675"/>
                <a:gd name="connsiteX0" fmla="*/ 43285 w 365091"/>
                <a:gd name="connsiteY0" fmla="*/ 76527 h 276675"/>
                <a:gd name="connsiteX1" fmla="*/ 53096 w 365091"/>
                <a:gd name="connsiteY1" fmla="*/ 78490 h 276675"/>
                <a:gd name="connsiteX2" fmla="*/ 76643 w 365091"/>
                <a:gd name="connsiteY2" fmla="*/ 86338 h 276675"/>
                <a:gd name="connsiteX3" fmla="*/ 82529 w 365091"/>
                <a:gd name="connsiteY3" fmla="*/ 92225 h 276675"/>
                <a:gd name="connsiteX4" fmla="*/ 141396 w 365091"/>
                <a:gd name="connsiteY4" fmla="*/ 92225 h 276675"/>
                <a:gd name="connsiteX5" fmla="*/ 149245 w 365091"/>
                <a:gd name="connsiteY5" fmla="*/ 78490 h 276675"/>
                <a:gd name="connsiteX6" fmla="*/ 157094 w 365091"/>
                <a:gd name="connsiteY6" fmla="*/ 66716 h 276675"/>
                <a:gd name="connsiteX7" fmla="*/ 161019 w 365091"/>
                <a:gd name="connsiteY7" fmla="*/ 60829 h 276675"/>
                <a:gd name="connsiteX8" fmla="*/ 166905 w 365091"/>
                <a:gd name="connsiteY8" fmla="*/ 56905 h 276675"/>
                <a:gd name="connsiteX9" fmla="*/ 182603 w 365091"/>
                <a:gd name="connsiteY9" fmla="*/ 45132 h 276675"/>
                <a:gd name="connsiteX10" fmla="*/ 253244 w 365091"/>
                <a:gd name="connsiteY10" fmla="*/ 39245 h 276675"/>
                <a:gd name="connsiteX11" fmla="*/ 259130 w 365091"/>
                <a:gd name="connsiteY11" fmla="*/ 37283 h 276675"/>
                <a:gd name="connsiteX12" fmla="*/ 278753 w 365091"/>
                <a:gd name="connsiteY12" fmla="*/ 29434 h 276675"/>
                <a:gd name="connsiteX13" fmla="*/ 294450 w 365091"/>
                <a:gd name="connsiteY13" fmla="*/ 25509 h 276675"/>
                <a:gd name="connsiteX14" fmla="*/ 298375 w 365091"/>
                <a:gd name="connsiteY14" fmla="*/ 21585 h 276675"/>
                <a:gd name="connsiteX15" fmla="*/ 306224 w 365091"/>
                <a:gd name="connsiteY15" fmla="*/ 11774 h 276675"/>
                <a:gd name="connsiteX16" fmla="*/ 312110 w 365091"/>
                <a:gd name="connsiteY16" fmla="*/ 9811 h 276675"/>
                <a:gd name="connsiteX17" fmla="*/ 321922 w 365091"/>
                <a:gd name="connsiteY17" fmla="*/ 1962 h 276675"/>
                <a:gd name="connsiteX18" fmla="*/ 327808 w 365091"/>
                <a:gd name="connsiteY18" fmla="*/ 0 h 276675"/>
                <a:gd name="connsiteX19" fmla="*/ 337619 w 365091"/>
                <a:gd name="connsiteY19" fmla="*/ 1962 h 276675"/>
                <a:gd name="connsiteX20" fmla="*/ 339582 w 365091"/>
                <a:gd name="connsiteY20" fmla="*/ 7849 h 276675"/>
                <a:gd name="connsiteX21" fmla="*/ 341544 w 365091"/>
                <a:gd name="connsiteY21" fmla="*/ 19623 h 276675"/>
                <a:gd name="connsiteX22" fmla="*/ 347431 w 365091"/>
                <a:gd name="connsiteY22" fmla="*/ 25509 h 276675"/>
                <a:gd name="connsiteX23" fmla="*/ 357242 w 365091"/>
                <a:gd name="connsiteY23" fmla="*/ 35320 h 276675"/>
                <a:gd name="connsiteX24" fmla="*/ 359204 w 365091"/>
                <a:gd name="connsiteY24" fmla="*/ 41207 h 276675"/>
                <a:gd name="connsiteX25" fmla="*/ 365091 w 365091"/>
                <a:gd name="connsiteY25" fmla="*/ 54943 h 276675"/>
                <a:gd name="connsiteX26" fmla="*/ 345468 w 365091"/>
                <a:gd name="connsiteY26" fmla="*/ 60829 h 276675"/>
                <a:gd name="connsiteX27" fmla="*/ 343506 w 365091"/>
                <a:gd name="connsiteY27" fmla="*/ 74565 h 276675"/>
                <a:gd name="connsiteX28" fmla="*/ 345468 w 365091"/>
                <a:gd name="connsiteY28" fmla="*/ 84376 h 276675"/>
                <a:gd name="connsiteX29" fmla="*/ 337619 w 365091"/>
                <a:gd name="connsiteY29" fmla="*/ 86338 h 276675"/>
                <a:gd name="connsiteX30" fmla="*/ 331733 w 365091"/>
                <a:gd name="connsiteY30" fmla="*/ 90263 h 276675"/>
                <a:gd name="connsiteX31" fmla="*/ 308186 w 365091"/>
                <a:gd name="connsiteY31" fmla="*/ 98112 h 276675"/>
                <a:gd name="connsiteX32" fmla="*/ 302299 w 365091"/>
                <a:gd name="connsiteY32" fmla="*/ 107923 h 276675"/>
                <a:gd name="connsiteX33" fmla="*/ 294450 w 365091"/>
                <a:gd name="connsiteY33" fmla="*/ 121659 h 276675"/>
                <a:gd name="connsiteX34" fmla="*/ 286601 w 365091"/>
                <a:gd name="connsiteY34" fmla="*/ 123621 h 276675"/>
                <a:gd name="connsiteX35" fmla="*/ 274828 w 365091"/>
                <a:gd name="connsiteY35" fmla="*/ 135394 h 276675"/>
                <a:gd name="connsiteX36" fmla="*/ 280715 w 365091"/>
                <a:gd name="connsiteY36" fmla="*/ 139319 h 276675"/>
                <a:gd name="connsiteX37" fmla="*/ 284639 w 365091"/>
                <a:gd name="connsiteY37" fmla="*/ 162865 h 276675"/>
                <a:gd name="connsiteX38" fmla="*/ 276790 w 365091"/>
                <a:gd name="connsiteY38" fmla="*/ 170714 h 276675"/>
                <a:gd name="connsiteX39" fmla="*/ 274828 w 365091"/>
                <a:gd name="connsiteY39" fmla="*/ 178563 h 276675"/>
                <a:gd name="connsiteX40" fmla="*/ 270904 w 365091"/>
                <a:gd name="connsiteY40" fmla="*/ 184450 h 276675"/>
                <a:gd name="connsiteX41" fmla="*/ 253244 w 365091"/>
                <a:gd name="connsiteY41" fmla="*/ 200148 h 276675"/>
                <a:gd name="connsiteX42" fmla="*/ 249319 w 365091"/>
                <a:gd name="connsiteY42" fmla="*/ 207997 h 276675"/>
                <a:gd name="connsiteX43" fmla="*/ 243432 w 365091"/>
                <a:gd name="connsiteY43" fmla="*/ 209959 h 276675"/>
                <a:gd name="connsiteX44" fmla="*/ 241470 w 365091"/>
                <a:gd name="connsiteY44" fmla="*/ 223695 h 276675"/>
                <a:gd name="connsiteX45" fmla="*/ 237546 w 365091"/>
                <a:gd name="connsiteY45" fmla="*/ 243317 h 276675"/>
                <a:gd name="connsiteX46" fmla="*/ 231659 w 365091"/>
                <a:gd name="connsiteY46" fmla="*/ 260977 h 276675"/>
                <a:gd name="connsiteX47" fmla="*/ 208112 w 365091"/>
                <a:gd name="connsiteY47" fmla="*/ 266864 h 276675"/>
                <a:gd name="connsiteX48" fmla="*/ 196339 w 365091"/>
                <a:gd name="connsiteY48" fmla="*/ 264902 h 276675"/>
                <a:gd name="connsiteX49" fmla="*/ 190452 w 365091"/>
                <a:gd name="connsiteY49" fmla="*/ 262939 h 276675"/>
                <a:gd name="connsiteX50" fmla="*/ 168868 w 365091"/>
                <a:gd name="connsiteY50" fmla="*/ 264902 h 276675"/>
                <a:gd name="connsiteX51" fmla="*/ 161019 w 365091"/>
                <a:gd name="connsiteY51" fmla="*/ 260977 h 276675"/>
                <a:gd name="connsiteX52" fmla="*/ 157094 w 365091"/>
                <a:gd name="connsiteY52" fmla="*/ 251166 h 276675"/>
                <a:gd name="connsiteX53" fmla="*/ 151207 w 365091"/>
                <a:gd name="connsiteY53" fmla="*/ 245279 h 276675"/>
                <a:gd name="connsiteX54" fmla="*/ 147283 w 365091"/>
                <a:gd name="connsiteY54" fmla="*/ 237430 h 276675"/>
                <a:gd name="connsiteX55" fmla="*/ 141396 w 365091"/>
                <a:gd name="connsiteY55" fmla="*/ 231544 h 276675"/>
                <a:gd name="connsiteX56" fmla="*/ 137472 w 365091"/>
                <a:gd name="connsiteY56" fmla="*/ 225657 h 276675"/>
                <a:gd name="connsiteX57" fmla="*/ 133547 w 365091"/>
                <a:gd name="connsiteY57" fmla="*/ 241355 h 276675"/>
                <a:gd name="connsiteX58" fmla="*/ 131585 w 365091"/>
                <a:gd name="connsiteY58" fmla="*/ 249204 h 276675"/>
                <a:gd name="connsiteX59" fmla="*/ 125698 w 365091"/>
                <a:gd name="connsiteY59" fmla="*/ 253128 h 276675"/>
                <a:gd name="connsiteX60" fmla="*/ 115887 w 365091"/>
                <a:gd name="connsiteY60" fmla="*/ 260977 h 276675"/>
                <a:gd name="connsiteX61" fmla="*/ 111335 w 365091"/>
                <a:gd name="connsiteY61" fmla="*/ 269868 h 276675"/>
                <a:gd name="connsiteX62" fmla="*/ 98059 w 365091"/>
                <a:gd name="connsiteY62" fmla="*/ 274544 h 276675"/>
                <a:gd name="connsiteX63" fmla="*/ 80567 w 365091"/>
                <a:gd name="connsiteY63" fmla="*/ 273042 h 276675"/>
                <a:gd name="connsiteX64" fmla="*/ 72718 w 365091"/>
                <a:gd name="connsiteY64" fmla="*/ 274713 h 276675"/>
                <a:gd name="connsiteX65" fmla="*/ 66831 w 365091"/>
                <a:gd name="connsiteY65" fmla="*/ 276675 h 276675"/>
                <a:gd name="connsiteX66" fmla="*/ 62907 w 365091"/>
                <a:gd name="connsiteY66" fmla="*/ 272750 h 276675"/>
                <a:gd name="connsiteX67" fmla="*/ 57020 w 365091"/>
                <a:gd name="connsiteY67" fmla="*/ 270788 h 276675"/>
                <a:gd name="connsiteX68" fmla="*/ 17776 w 365091"/>
                <a:gd name="connsiteY68" fmla="*/ 266864 h 276675"/>
                <a:gd name="connsiteX69" fmla="*/ 23662 w 365091"/>
                <a:gd name="connsiteY69" fmla="*/ 259015 h 276675"/>
                <a:gd name="connsiteX70" fmla="*/ 35436 w 365091"/>
                <a:gd name="connsiteY70" fmla="*/ 253128 h 276675"/>
                <a:gd name="connsiteX71" fmla="*/ 35436 w 365091"/>
                <a:gd name="connsiteY71" fmla="*/ 213884 h 276675"/>
                <a:gd name="connsiteX72" fmla="*/ 29549 w 365091"/>
                <a:gd name="connsiteY72" fmla="*/ 209959 h 276675"/>
                <a:gd name="connsiteX73" fmla="*/ 27587 w 365091"/>
                <a:gd name="connsiteY73" fmla="*/ 182488 h 276675"/>
                <a:gd name="connsiteX74" fmla="*/ 33474 w 365091"/>
                <a:gd name="connsiteY74" fmla="*/ 176601 h 276675"/>
                <a:gd name="connsiteX75" fmla="*/ 31511 w 365091"/>
                <a:gd name="connsiteY75" fmla="*/ 162865 h 276675"/>
                <a:gd name="connsiteX76" fmla="*/ 25625 w 365091"/>
                <a:gd name="connsiteY76" fmla="*/ 160903 h 276675"/>
                <a:gd name="connsiteX77" fmla="*/ 19738 w 365091"/>
                <a:gd name="connsiteY77" fmla="*/ 155017 h 276675"/>
                <a:gd name="connsiteX78" fmla="*/ 15813 w 365091"/>
                <a:gd name="connsiteY78" fmla="*/ 147168 h 276675"/>
                <a:gd name="connsiteX79" fmla="*/ 15813 w 365091"/>
                <a:gd name="connsiteY79" fmla="*/ 131470 h 276675"/>
                <a:gd name="connsiteX80" fmla="*/ 4040 w 365091"/>
                <a:gd name="connsiteY80" fmla="*/ 129508 h 276675"/>
                <a:gd name="connsiteX81" fmla="*/ 116 w 365091"/>
                <a:gd name="connsiteY81" fmla="*/ 123621 h 276675"/>
                <a:gd name="connsiteX82" fmla="*/ 7965 w 365091"/>
                <a:gd name="connsiteY82" fmla="*/ 98112 h 276675"/>
                <a:gd name="connsiteX83" fmla="*/ 17776 w 365091"/>
                <a:gd name="connsiteY83" fmla="*/ 94187 h 276675"/>
                <a:gd name="connsiteX84" fmla="*/ 43285 w 365091"/>
                <a:gd name="connsiteY84" fmla="*/ 76527 h 276675"/>
                <a:gd name="connsiteX0" fmla="*/ 43285 w 365091"/>
                <a:gd name="connsiteY0" fmla="*/ 76527 h 276675"/>
                <a:gd name="connsiteX1" fmla="*/ 53096 w 365091"/>
                <a:gd name="connsiteY1" fmla="*/ 78490 h 276675"/>
                <a:gd name="connsiteX2" fmla="*/ 76643 w 365091"/>
                <a:gd name="connsiteY2" fmla="*/ 86338 h 276675"/>
                <a:gd name="connsiteX3" fmla="*/ 82529 w 365091"/>
                <a:gd name="connsiteY3" fmla="*/ 92225 h 276675"/>
                <a:gd name="connsiteX4" fmla="*/ 141396 w 365091"/>
                <a:gd name="connsiteY4" fmla="*/ 92225 h 276675"/>
                <a:gd name="connsiteX5" fmla="*/ 149245 w 365091"/>
                <a:gd name="connsiteY5" fmla="*/ 78490 h 276675"/>
                <a:gd name="connsiteX6" fmla="*/ 157094 w 365091"/>
                <a:gd name="connsiteY6" fmla="*/ 66716 h 276675"/>
                <a:gd name="connsiteX7" fmla="*/ 161019 w 365091"/>
                <a:gd name="connsiteY7" fmla="*/ 60829 h 276675"/>
                <a:gd name="connsiteX8" fmla="*/ 166905 w 365091"/>
                <a:gd name="connsiteY8" fmla="*/ 56905 h 276675"/>
                <a:gd name="connsiteX9" fmla="*/ 182603 w 365091"/>
                <a:gd name="connsiteY9" fmla="*/ 45132 h 276675"/>
                <a:gd name="connsiteX10" fmla="*/ 253244 w 365091"/>
                <a:gd name="connsiteY10" fmla="*/ 39245 h 276675"/>
                <a:gd name="connsiteX11" fmla="*/ 259130 w 365091"/>
                <a:gd name="connsiteY11" fmla="*/ 37283 h 276675"/>
                <a:gd name="connsiteX12" fmla="*/ 278753 w 365091"/>
                <a:gd name="connsiteY12" fmla="*/ 29434 h 276675"/>
                <a:gd name="connsiteX13" fmla="*/ 294450 w 365091"/>
                <a:gd name="connsiteY13" fmla="*/ 25509 h 276675"/>
                <a:gd name="connsiteX14" fmla="*/ 298375 w 365091"/>
                <a:gd name="connsiteY14" fmla="*/ 21585 h 276675"/>
                <a:gd name="connsiteX15" fmla="*/ 306224 w 365091"/>
                <a:gd name="connsiteY15" fmla="*/ 11774 h 276675"/>
                <a:gd name="connsiteX16" fmla="*/ 312110 w 365091"/>
                <a:gd name="connsiteY16" fmla="*/ 9811 h 276675"/>
                <a:gd name="connsiteX17" fmla="*/ 321922 w 365091"/>
                <a:gd name="connsiteY17" fmla="*/ 1962 h 276675"/>
                <a:gd name="connsiteX18" fmla="*/ 327808 w 365091"/>
                <a:gd name="connsiteY18" fmla="*/ 0 h 276675"/>
                <a:gd name="connsiteX19" fmla="*/ 337619 w 365091"/>
                <a:gd name="connsiteY19" fmla="*/ 1962 h 276675"/>
                <a:gd name="connsiteX20" fmla="*/ 339582 w 365091"/>
                <a:gd name="connsiteY20" fmla="*/ 7849 h 276675"/>
                <a:gd name="connsiteX21" fmla="*/ 341544 w 365091"/>
                <a:gd name="connsiteY21" fmla="*/ 19623 h 276675"/>
                <a:gd name="connsiteX22" fmla="*/ 347431 w 365091"/>
                <a:gd name="connsiteY22" fmla="*/ 25509 h 276675"/>
                <a:gd name="connsiteX23" fmla="*/ 357242 w 365091"/>
                <a:gd name="connsiteY23" fmla="*/ 35320 h 276675"/>
                <a:gd name="connsiteX24" fmla="*/ 359204 w 365091"/>
                <a:gd name="connsiteY24" fmla="*/ 41207 h 276675"/>
                <a:gd name="connsiteX25" fmla="*/ 365091 w 365091"/>
                <a:gd name="connsiteY25" fmla="*/ 54943 h 276675"/>
                <a:gd name="connsiteX26" fmla="*/ 345468 w 365091"/>
                <a:gd name="connsiteY26" fmla="*/ 60829 h 276675"/>
                <a:gd name="connsiteX27" fmla="*/ 343506 w 365091"/>
                <a:gd name="connsiteY27" fmla="*/ 74565 h 276675"/>
                <a:gd name="connsiteX28" fmla="*/ 345468 w 365091"/>
                <a:gd name="connsiteY28" fmla="*/ 84376 h 276675"/>
                <a:gd name="connsiteX29" fmla="*/ 337619 w 365091"/>
                <a:gd name="connsiteY29" fmla="*/ 86338 h 276675"/>
                <a:gd name="connsiteX30" fmla="*/ 331733 w 365091"/>
                <a:gd name="connsiteY30" fmla="*/ 90263 h 276675"/>
                <a:gd name="connsiteX31" fmla="*/ 308186 w 365091"/>
                <a:gd name="connsiteY31" fmla="*/ 98112 h 276675"/>
                <a:gd name="connsiteX32" fmla="*/ 302299 w 365091"/>
                <a:gd name="connsiteY32" fmla="*/ 107923 h 276675"/>
                <a:gd name="connsiteX33" fmla="*/ 294450 w 365091"/>
                <a:gd name="connsiteY33" fmla="*/ 121659 h 276675"/>
                <a:gd name="connsiteX34" fmla="*/ 286601 w 365091"/>
                <a:gd name="connsiteY34" fmla="*/ 123621 h 276675"/>
                <a:gd name="connsiteX35" fmla="*/ 274828 w 365091"/>
                <a:gd name="connsiteY35" fmla="*/ 135394 h 276675"/>
                <a:gd name="connsiteX36" fmla="*/ 280715 w 365091"/>
                <a:gd name="connsiteY36" fmla="*/ 139319 h 276675"/>
                <a:gd name="connsiteX37" fmla="*/ 284639 w 365091"/>
                <a:gd name="connsiteY37" fmla="*/ 162865 h 276675"/>
                <a:gd name="connsiteX38" fmla="*/ 276790 w 365091"/>
                <a:gd name="connsiteY38" fmla="*/ 170714 h 276675"/>
                <a:gd name="connsiteX39" fmla="*/ 274828 w 365091"/>
                <a:gd name="connsiteY39" fmla="*/ 178563 h 276675"/>
                <a:gd name="connsiteX40" fmla="*/ 270904 w 365091"/>
                <a:gd name="connsiteY40" fmla="*/ 184450 h 276675"/>
                <a:gd name="connsiteX41" fmla="*/ 253244 w 365091"/>
                <a:gd name="connsiteY41" fmla="*/ 200148 h 276675"/>
                <a:gd name="connsiteX42" fmla="*/ 249319 w 365091"/>
                <a:gd name="connsiteY42" fmla="*/ 207997 h 276675"/>
                <a:gd name="connsiteX43" fmla="*/ 243432 w 365091"/>
                <a:gd name="connsiteY43" fmla="*/ 209959 h 276675"/>
                <a:gd name="connsiteX44" fmla="*/ 241470 w 365091"/>
                <a:gd name="connsiteY44" fmla="*/ 223695 h 276675"/>
                <a:gd name="connsiteX45" fmla="*/ 237546 w 365091"/>
                <a:gd name="connsiteY45" fmla="*/ 243317 h 276675"/>
                <a:gd name="connsiteX46" fmla="*/ 231659 w 365091"/>
                <a:gd name="connsiteY46" fmla="*/ 260977 h 276675"/>
                <a:gd name="connsiteX47" fmla="*/ 208112 w 365091"/>
                <a:gd name="connsiteY47" fmla="*/ 266864 h 276675"/>
                <a:gd name="connsiteX48" fmla="*/ 196339 w 365091"/>
                <a:gd name="connsiteY48" fmla="*/ 264902 h 276675"/>
                <a:gd name="connsiteX49" fmla="*/ 190452 w 365091"/>
                <a:gd name="connsiteY49" fmla="*/ 262939 h 276675"/>
                <a:gd name="connsiteX50" fmla="*/ 168868 w 365091"/>
                <a:gd name="connsiteY50" fmla="*/ 264902 h 276675"/>
                <a:gd name="connsiteX51" fmla="*/ 161019 w 365091"/>
                <a:gd name="connsiteY51" fmla="*/ 260977 h 276675"/>
                <a:gd name="connsiteX52" fmla="*/ 157094 w 365091"/>
                <a:gd name="connsiteY52" fmla="*/ 251166 h 276675"/>
                <a:gd name="connsiteX53" fmla="*/ 151207 w 365091"/>
                <a:gd name="connsiteY53" fmla="*/ 245279 h 276675"/>
                <a:gd name="connsiteX54" fmla="*/ 147283 w 365091"/>
                <a:gd name="connsiteY54" fmla="*/ 237430 h 276675"/>
                <a:gd name="connsiteX55" fmla="*/ 141396 w 365091"/>
                <a:gd name="connsiteY55" fmla="*/ 231544 h 276675"/>
                <a:gd name="connsiteX56" fmla="*/ 137472 w 365091"/>
                <a:gd name="connsiteY56" fmla="*/ 225657 h 276675"/>
                <a:gd name="connsiteX57" fmla="*/ 133547 w 365091"/>
                <a:gd name="connsiteY57" fmla="*/ 241355 h 276675"/>
                <a:gd name="connsiteX58" fmla="*/ 131585 w 365091"/>
                <a:gd name="connsiteY58" fmla="*/ 249204 h 276675"/>
                <a:gd name="connsiteX59" fmla="*/ 125698 w 365091"/>
                <a:gd name="connsiteY59" fmla="*/ 253128 h 276675"/>
                <a:gd name="connsiteX60" fmla="*/ 115887 w 365091"/>
                <a:gd name="connsiteY60" fmla="*/ 260977 h 276675"/>
                <a:gd name="connsiteX61" fmla="*/ 111335 w 365091"/>
                <a:gd name="connsiteY61" fmla="*/ 269868 h 276675"/>
                <a:gd name="connsiteX62" fmla="*/ 98059 w 365091"/>
                <a:gd name="connsiteY62" fmla="*/ 274544 h 276675"/>
                <a:gd name="connsiteX63" fmla="*/ 80567 w 365091"/>
                <a:gd name="connsiteY63" fmla="*/ 273042 h 276675"/>
                <a:gd name="connsiteX64" fmla="*/ 72718 w 365091"/>
                <a:gd name="connsiteY64" fmla="*/ 274713 h 276675"/>
                <a:gd name="connsiteX65" fmla="*/ 66831 w 365091"/>
                <a:gd name="connsiteY65" fmla="*/ 276675 h 276675"/>
                <a:gd name="connsiteX66" fmla="*/ 62907 w 365091"/>
                <a:gd name="connsiteY66" fmla="*/ 272750 h 276675"/>
                <a:gd name="connsiteX67" fmla="*/ 57020 w 365091"/>
                <a:gd name="connsiteY67" fmla="*/ 270788 h 276675"/>
                <a:gd name="connsiteX68" fmla="*/ 17776 w 365091"/>
                <a:gd name="connsiteY68" fmla="*/ 266864 h 276675"/>
                <a:gd name="connsiteX69" fmla="*/ 23662 w 365091"/>
                <a:gd name="connsiteY69" fmla="*/ 259015 h 276675"/>
                <a:gd name="connsiteX70" fmla="*/ 35436 w 365091"/>
                <a:gd name="connsiteY70" fmla="*/ 253128 h 276675"/>
                <a:gd name="connsiteX71" fmla="*/ 35436 w 365091"/>
                <a:gd name="connsiteY71" fmla="*/ 213884 h 276675"/>
                <a:gd name="connsiteX72" fmla="*/ 29549 w 365091"/>
                <a:gd name="connsiteY72" fmla="*/ 209959 h 276675"/>
                <a:gd name="connsiteX73" fmla="*/ 27587 w 365091"/>
                <a:gd name="connsiteY73" fmla="*/ 182488 h 276675"/>
                <a:gd name="connsiteX74" fmla="*/ 33474 w 365091"/>
                <a:gd name="connsiteY74" fmla="*/ 176601 h 276675"/>
                <a:gd name="connsiteX75" fmla="*/ 31511 w 365091"/>
                <a:gd name="connsiteY75" fmla="*/ 162865 h 276675"/>
                <a:gd name="connsiteX76" fmla="*/ 25625 w 365091"/>
                <a:gd name="connsiteY76" fmla="*/ 160903 h 276675"/>
                <a:gd name="connsiteX77" fmla="*/ 19738 w 365091"/>
                <a:gd name="connsiteY77" fmla="*/ 155017 h 276675"/>
                <a:gd name="connsiteX78" fmla="*/ 15813 w 365091"/>
                <a:gd name="connsiteY78" fmla="*/ 147168 h 276675"/>
                <a:gd name="connsiteX79" fmla="*/ 15813 w 365091"/>
                <a:gd name="connsiteY79" fmla="*/ 131470 h 276675"/>
                <a:gd name="connsiteX80" fmla="*/ 4040 w 365091"/>
                <a:gd name="connsiteY80" fmla="*/ 129508 h 276675"/>
                <a:gd name="connsiteX81" fmla="*/ 116 w 365091"/>
                <a:gd name="connsiteY81" fmla="*/ 123621 h 276675"/>
                <a:gd name="connsiteX82" fmla="*/ 7965 w 365091"/>
                <a:gd name="connsiteY82" fmla="*/ 98112 h 276675"/>
                <a:gd name="connsiteX83" fmla="*/ 17776 w 365091"/>
                <a:gd name="connsiteY83" fmla="*/ 94187 h 276675"/>
                <a:gd name="connsiteX84" fmla="*/ 43285 w 365091"/>
                <a:gd name="connsiteY84" fmla="*/ 76527 h 276675"/>
                <a:gd name="connsiteX0" fmla="*/ 43285 w 365091"/>
                <a:gd name="connsiteY0" fmla="*/ 76527 h 276675"/>
                <a:gd name="connsiteX1" fmla="*/ 53096 w 365091"/>
                <a:gd name="connsiteY1" fmla="*/ 78490 h 276675"/>
                <a:gd name="connsiteX2" fmla="*/ 76643 w 365091"/>
                <a:gd name="connsiteY2" fmla="*/ 86338 h 276675"/>
                <a:gd name="connsiteX3" fmla="*/ 82529 w 365091"/>
                <a:gd name="connsiteY3" fmla="*/ 92225 h 276675"/>
                <a:gd name="connsiteX4" fmla="*/ 141396 w 365091"/>
                <a:gd name="connsiteY4" fmla="*/ 92225 h 276675"/>
                <a:gd name="connsiteX5" fmla="*/ 149245 w 365091"/>
                <a:gd name="connsiteY5" fmla="*/ 78490 h 276675"/>
                <a:gd name="connsiteX6" fmla="*/ 157094 w 365091"/>
                <a:gd name="connsiteY6" fmla="*/ 66716 h 276675"/>
                <a:gd name="connsiteX7" fmla="*/ 161019 w 365091"/>
                <a:gd name="connsiteY7" fmla="*/ 60829 h 276675"/>
                <a:gd name="connsiteX8" fmla="*/ 166905 w 365091"/>
                <a:gd name="connsiteY8" fmla="*/ 56905 h 276675"/>
                <a:gd name="connsiteX9" fmla="*/ 182603 w 365091"/>
                <a:gd name="connsiteY9" fmla="*/ 45132 h 276675"/>
                <a:gd name="connsiteX10" fmla="*/ 253244 w 365091"/>
                <a:gd name="connsiteY10" fmla="*/ 39245 h 276675"/>
                <a:gd name="connsiteX11" fmla="*/ 259130 w 365091"/>
                <a:gd name="connsiteY11" fmla="*/ 37283 h 276675"/>
                <a:gd name="connsiteX12" fmla="*/ 278753 w 365091"/>
                <a:gd name="connsiteY12" fmla="*/ 29434 h 276675"/>
                <a:gd name="connsiteX13" fmla="*/ 294450 w 365091"/>
                <a:gd name="connsiteY13" fmla="*/ 25509 h 276675"/>
                <a:gd name="connsiteX14" fmla="*/ 298375 w 365091"/>
                <a:gd name="connsiteY14" fmla="*/ 21585 h 276675"/>
                <a:gd name="connsiteX15" fmla="*/ 306224 w 365091"/>
                <a:gd name="connsiteY15" fmla="*/ 11774 h 276675"/>
                <a:gd name="connsiteX16" fmla="*/ 312110 w 365091"/>
                <a:gd name="connsiteY16" fmla="*/ 9811 h 276675"/>
                <a:gd name="connsiteX17" fmla="*/ 321922 w 365091"/>
                <a:gd name="connsiteY17" fmla="*/ 1962 h 276675"/>
                <a:gd name="connsiteX18" fmla="*/ 327808 w 365091"/>
                <a:gd name="connsiteY18" fmla="*/ 0 h 276675"/>
                <a:gd name="connsiteX19" fmla="*/ 337619 w 365091"/>
                <a:gd name="connsiteY19" fmla="*/ 1962 h 276675"/>
                <a:gd name="connsiteX20" fmla="*/ 339582 w 365091"/>
                <a:gd name="connsiteY20" fmla="*/ 7849 h 276675"/>
                <a:gd name="connsiteX21" fmla="*/ 341544 w 365091"/>
                <a:gd name="connsiteY21" fmla="*/ 19623 h 276675"/>
                <a:gd name="connsiteX22" fmla="*/ 347431 w 365091"/>
                <a:gd name="connsiteY22" fmla="*/ 25509 h 276675"/>
                <a:gd name="connsiteX23" fmla="*/ 357242 w 365091"/>
                <a:gd name="connsiteY23" fmla="*/ 35320 h 276675"/>
                <a:gd name="connsiteX24" fmla="*/ 359204 w 365091"/>
                <a:gd name="connsiteY24" fmla="*/ 41207 h 276675"/>
                <a:gd name="connsiteX25" fmla="*/ 365091 w 365091"/>
                <a:gd name="connsiteY25" fmla="*/ 54943 h 276675"/>
                <a:gd name="connsiteX26" fmla="*/ 345468 w 365091"/>
                <a:gd name="connsiteY26" fmla="*/ 60829 h 276675"/>
                <a:gd name="connsiteX27" fmla="*/ 343506 w 365091"/>
                <a:gd name="connsiteY27" fmla="*/ 74565 h 276675"/>
                <a:gd name="connsiteX28" fmla="*/ 345468 w 365091"/>
                <a:gd name="connsiteY28" fmla="*/ 84376 h 276675"/>
                <a:gd name="connsiteX29" fmla="*/ 337619 w 365091"/>
                <a:gd name="connsiteY29" fmla="*/ 86338 h 276675"/>
                <a:gd name="connsiteX30" fmla="*/ 331733 w 365091"/>
                <a:gd name="connsiteY30" fmla="*/ 90263 h 276675"/>
                <a:gd name="connsiteX31" fmla="*/ 308186 w 365091"/>
                <a:gd name="connsiteY31" fmla="*/ 98112 h 276675"/>
                <a:gd name="connsiteX32" fmla="*/ 302299 w 365091"/>
                <a:gd name="connsiteY32" fmla="*/ 107923 h 276675"/>
                <a:gd name="connsiteX33" fmla="*/ 294450 w 365091"/>
                <a:gd name="connsiteY33" fmla="*/ 121659 h 276675"/>
                <a:gd name="connsiteX34" fmla="*/ 286601 w 365091"/>
                <a:gd name="connsiteY34" fmla="*/ 123621 h 276675"/>
                <a:gd name="connsiteX35" fmla="*/ 274828 w 365091"/>
                <a:gd name="connsiteY35" fmla="*/ 135394 h 276675"/>
                <a:gd name="connsiteX36" fmla="*/ 280715 w 365091"/>
                <a:gd name="connsiteY36" fmla="*/ 139319 h 276675"/>
                <a:gd name="connsiteX37" fmla="*/ 284639 w 365091"/>
                <a:gd name="connsiteY37" fmla="*/ 162865 h 276675"/>
                <a:gd name="connsiteX38" fmla="*/ 276790 w 365091"/>
                <a:gd name="connsiteY38" fmla="*/ 170714 h 276675"/>
                <a:gd name="connsiteX39" fmla="*/ 274828 w 365091"/>
                <a:gd name="connsiteY39" fmla="*/ 178563 h 276675"/>
                <a:gd name="connsiteX40" fmla="*/ 284471 w 365091"/>
                <a:gd name="connsiteY40" fmla="*/ 198017 h 276675"/>
                <a:gd name="connsiteX41" fmla="*/ 253244 w 365091"/>
                <a:gd name="connsiteY41" fmla="*/ 200148 h 276675"/>
                <a:gd name="connsiteX42" fmla="*/ 249319 w 365091"/>
                <a:gd name="connsiteY42" fmla="*/ 207997 h 276675"/>
                <a:gd name="connsiteX43" fmla="*/ 243432 w 365091"/>
                <a:gd name="connsiteY43" fmla="*/ 209959 h 276675"/>
                <a:gd name="connsiteX44" fmla="*/ 241470 w 365091"/>
                <a:gd name="connsiteY44" fmla="*/ 223695 h 276675"/>
                <a:gd name="connsiteX45" fmla="*/ 237546 w 365091"/>
                <a:gd name="connsiteY45" fmla="*/ 243317 h 276675"/>
                <a:gd name="connsiteX46" fmla="*/ 231659 w 365091"/>
                <a:gd name="connsiteY46" fmla="*/ 260977 h 276675"/>
                <a:gd name="connsiteX47" fmla="*/ 208112 w 365091"/>
                <a:gd name="connsiteY47" fmla="*/ 266864 h 276675"/>
                <a:gd name="connsiteX48" fmla="*/ 196339 w 365091"/>
                <a:gd name="connsiteY48" fmla="*/ 264902 h 276675"/>
                <a:gd name="connsiteX49" fmla="*/ 190452 w 365091"/>
                <a:gd name="connsiteY49" fmla="*/ 262939 h 276675"/>
                <a:gd name="connsiteX50" fmla="*/ 168868 w 365091"/>
                <a:gd name="connsiteY50" fmla="*/ 264902 h 276675"/>
                <a:gd name="connsiteX51" fmla="*/ 161019 w 365091"/>
                <a:gd name="connsiteY51" fmla="*/ 260977 h 276675"/>
                <a:gd name="connsiteX52" fmla="*/ 157094 w 365091"/>
                <a:gd name="connsiteY52" fmla="*/ 251166 h 276675"/>
                <a:gd name="connsiteX53" fmla="*/ 151207 w 365091"/>
                <a:gd name="connsiteY53" fmla="*/ 245279 h 276675"/>
                <a:gd name="connsiteX54" fmla="*/ 147283 w 365091"/>
                <a:gd name="connsiteY54" fmla="*/ 237430 h 276675"/>
                <a:gd name="connsiteX55" fmla="*/ 141396 w 365091"/>
                <a:gd name="connsiteY55" fmla="*/ 231544 h 276675"/>
                <a:gd name="connsiteX56" fmla="*/ 137472 w 365091"/>
                <a:gd name="connsiteY56" fmla="*/ 225657 h 276675"/>
                <a:gd name="connsiteX57" fmla="*/ 133547 w 365091"/>
                <a:gd name="connsiteY57" fmla="*/ 241355 h 276675"/>
                <a:gd name="connsiteX58" fmla="*/ 131585 w 365091"/>
                <a:gd name="connsiteY58" fmla="*/ 249204 h 276675"/>
                <a:gd name="connsiteX59" fmla="*/ 125698 w 365091"/>
                <a:gd name="connsiteY59" fmla="*/ 253128 h 276675"/>
                <a:gd name="connsiteX60" fmla="*/ 115887 w 365091"/>
                <a:gd name="connsiteY60" fmla="*/ 260977 h 276675"/>
                <a:gd name="connsiteX61" fmla="*/ 111335 w 365091"/>
                <a:gd name="connsiteY61" fmla="*/ 269868 h 276675"/>
                <a:gd name="connsiteX62" fmla="*/ 98059 w 365091"/>
                <a:gd name="connsiteY62" fmla="*/ 274544 h 276675"/>
                <a:gd name="connsiteX63" fmla="*/ 80567 w 365091"/>
                <a:gd name="connsiteY63" fmla="*/ 273042 h 276675"/>
                <a:gd name="connsiteX64" fmla="*/ 72718 w 365091"/>
                <a:gd name="connsiteY64" fmla="*/ 274713 h 276675"/>
                <a:gd name="connsiteX65" fmla="*/ 66831 w 365091"/>
                <a:gd name="connsiteY65" fmla="*/ 276675 h 276675"/>
                <a:gd name="connsiteX66" fmla="*/ 62907 w 365091"/>
                <a:gd name="connsiteY66" fmla="*/ 272750 h 276675"/>
                <a:gd name="connsiteX67" fmla="*/ 57020 w 365091"/>
                <a:gd name="connsiteY67" fmla="*/ 270788 h 276675"/>
                <a:gd name="connsiteX68" fmla="*/ 17776 w 365091"/>
                <a:gd name="connsiteY68" fmla="*/ 266864 h 276675"/>
                <a:gd name="connsiteX69" fmla="*/ 23662 w 365091"/>
                <a:gd name="connsiteY69" fmla="*/ 259015 h 276675"/>
                <a:gd name="connsiteX70" fmla="*/ 35436 w 365091"/>
                <a:gd name="connsiteY70" fmla="*/ 253128 h 276675"/>
                <a:gd name="connsiteX71" fmla="*/ 35436 w 365091"/>
                <a:gd name="connsiteY71" fmla="*/ 213884 h 276675"/>
                <a:gd name="connsiteX72" fmla="*/ 29549 w 365091"/>
                <a:gd name="connsiteY72" fmla="*/ 209959 h 276675"/>
                <a:gd name="connsiteX73" fmla="*/ 27587 w 365091"/>
                <a:gd name="connsiteY73" fmla="*/ 182488 h 276675"/>
                <a:gd name="connsiteX74" fmla="*/ 33474 w 365091"/>
                <a:gd name="connsiteY74" fmla="*/ 176601 h 276675"/>
                <a:gd name="connsiteX75" fmla="*/ 31511 w 365091"/>
                <a:gd name="connsiteY75" fmla="*/ 162865 h 276675"/>
                <a:gd name="connsiteX76" fmla="*/ 25625 w 365091"/>
                <a:gd name="connsiteY76" fmla="*/ 160903 h 276675"/>
                <a:gd name="connsiteX77" fmla="*/ 19738 w 365091"/>
                <a:gd name="connsiteY77" fmla="*/ 155017 h 276675"/>
                <a:gd name="connsiteX78" fmla="*/ 15813 w 365091"/>
                <a:gd name="connsiteY78" fmla="*/ 147168 h 276675"/>
                <a:gd name="connsiteX79" fmla="*/ 15813 w 365091"/>
                <a:gd name="connsiteY79" fmla="*/ 131470 h 276675"/>
                <a:gd name="connsiteX80" fmla="*/ 4040 w 365091"/>
                <a:gd name="connsiteY80" fmla="*/ 129508 h 276675"/>
                <a:gd name="connsiteX81" fmla="*/ 116 w 365091"/>
                <a:gd name="connsiteY81" fmla="*/ 123621 h 276675"/>
                <a:gd name="connsiteX82" fmla="*/ 7965 w 365091"/>
                <a:gd name="connsiteY82" fmla="*/ 98112 h 276675"/>
                <a:gd name="connsiteX83" fmla="*/ 17776 w 365091"/>
                <a:gd name="connsiteY83" fmla="*/ 94187 h 276675"/>
                <a:gd name="connsiteX84" fmla="*/ 43285 w 365091"/>
                <a:gd name="connsiteY84" fmla="*/ 76527 h 276675"/>
                <a:gd name="connsiteX0" fmla="*/ 43285 w 365091"/>
                <a:gd name="connsiteY0" fmla="*/ 76527 h 276675"/>
                <a:gd name="connsiteX1" fmla="*/ 53096 w 365091"/>
                <a:gd name="connsiteY1" fmla="*/ 78490 h 276675"/>
                <a:gd name="connsiteX2" fmla="*/ 76643 w 365091"/>
                <a:gd name="connsiteY2" fmla="*/ 86338 h 276675"/>
                <a:gd name="connsiteX3" fmla="*/ 82529 w 365091"/>
                <a:gd name="connsiteY3" fmla="*/ 92225 h 276675"/>
                <a:gd name="connsiteX4" fmla="*/ 141396 w 365091"/>
                <a:gd name="connsiteY4" fmla="*/ 92225 h 276675"/>
                <a:gd name="connsiteX5" fmla="*/ 149245 w 365091"/>
                <a:gd name="connsiteY5" fmla="*/ 78490 h 276675"/>
                <a:gd name="connsiteX6" fmla="*/ 157094 w 365091"/>
                <a:gd name="connsiteY6" fmla="*/ 66716 h 276675"/>
                <a:gd name="connsiteX7" fmla="*/ 161019 w 365091"/>
                <a:gd name="connsiteY7" fmla="*/ 60829 h 276675"/>
                <a:gd name="connsiteX8" fmla="*/ 166905 w 365091"/>
                <a:gd name="connsiteY8" fmla="*/ 56905 h 276675"/>
                <a:gd name="connsiteX9" fmla="*/ 182603 w 365091"/>
                <a:gd name="connsiteY9" fmla="*/ 45132 h 276675"/>
                <a:gd name="connsiteX10" fmla="*/ 253244 w 365091"/>
                <a:gd name="connsiteY10" fmla="*/ 39245 h 276675"/>
                <a:gd name="connsiteX11" fmla="*/ 259130 w 365091"/>
                <a:gd name="connsiteY11" fmla="*/ 37283 h 276675"/>
                <a:gd name="connsiteX12" fmla="*/ 278753 w 365091"/>
                <a:gd name="connsiteY12" fmla="*/ 29434 h 276675"/>
                <a:gd name="connsiteX13" fmla="*/ 294450 w 365091"/>
                <a:gd name="connsiteY13" fmla="*/ 25509 h 276675"/>
                <a:gd name="connsiteX14" fmla="*/ 298375 w 365091"/>
                <a:gd name="connsiteY14" fmla="*/ 21585 h 276675"/>
                <a:gd name="connsiteX15" fmla="*/ 306224 w 365091"/>
                <a:gd name="connsiteY15" fmla="*/ 11774 h 276675"/>
                <a:gd name="connsiteX16" fmla="*/ 312110 w 365091"/>
                <a:gd name="connsiteY16" fmla="*/ 9811 h 276675"/>
                <a:gd name="connsiteX17" fmla="*/ 321922 w 365091"/>
                <a:gd name="connsiteY17" fmla="*/ 1962 h 276675"/>
                <a:gd name="connsiteX18" fmla="*/ 327808 w 365091"/>
                <a:gd name="connsiteY18" fmla="*/ 0 h 276675"/>
                <a:gd name="connsiteX19" fmla="*/ 337619 w 365091"/>
                <a:gd name="connsiteY19" fmla="*/ 1962 h 276675"/>
                <a:gd name="connsiteX20" fmla="*/ 339582 w 365091"/>
                <a:gd name="connsiteY20" fmla="*/ 7849 h 276675"/>
                <a:gd name="connsiteX21" fmla="*/ 341544 w 365091"/>
                <a:gd name="connsiteY21" fmla="*/ 19623 h 276675"/>
                <a:gd name="connsiteX22" fmla="*/ 347431 w 365091"/>
                <a:gd name="connsiteY22" fmla="*/ 25509 h 276675"/>
                <a:gd name="connsiteX23" fmla="*/ 357242 w 365091"/>
                <a:gd name="connsiteY23" fmla="*/ 35320 h 276675"/>
                <a:gd name="connsiteX24" fmla="*/ 359204 w 365091"/>
                <a:gd name="connsiteY24" fmla="*/ 41207 h 276675"/>
                <a:gd name="connsiteX25" fmla="*/ 365091 w 365091"/>
                <a:gd name="connsiteY25" fmla="*/ 54943 h 276675"/>
                <a:gd name="connsiteX26" fmla="*/ 345468 w 365091"/>
                <a:gd name="connsiteY26" fmla="*/ 60829 h 276675"/>
                <a:gd name="connsiteX27" fmla="*/ 343506 w 365091"/>
                <a:gd name="connsiteY27" fmla="*/ 74565 h 276675"/>
                <a:gd name="connsiteX28" fmla="*/ 345468 w 365091"/>
                <a:gd name="connsiteY28" fmla="*/ 84376 h 276675"/>
                <a:gd name="connsiteX29" fmla="*/ 337619 w 365091"/>
                <a:gd name="connsiteY29" fmla="*/ 86338 h 276675"/>
                <a:gd name="connsiteX30" fmla="*/ 331733 w 365091"/>
                <a:gd name="connsiteY30" fmla="*/ 90263 h 276675"/>
                <a:gd name="connsiteX31" fmla="*/ 308186 w 365091"/>
                <a:gd name="connsiteY31" fmla="*/ 98112 h 276675"/>
                <a:gd name="connsiteX32" fmla="*/ 302299 w 365091"/>
                <a:gd name="connsiteY32" fmla="*/ 107923 h 276675"/>
                <a:gd name="connsiteX33" fmla="*/ 294450 w 365091"/>
                <a:gd name="connsiteY33" fmla="*/ 121659 h 276675"/>
                <a:gd name="connsiteX34" fmla="*/ 286601 w 365091"/>
                <a:gd name="connsiteY34" fmla="*/ 123621 h 276675"/>
                <a:gd name="connsiteX35" fmla="*/ 274828 w 365091"/>
                <a:gd name="connsiteY35" fmla="*/ 135394 h 276675"/>
                <a:gd name="connsiteX36" fmla="*/ 280715 w 365091"/>
                <a:gd name="connsiteY36" fmla="*/ 139319 h 276675"/>
                <a:gd name="connsiteX37" fmla="*/ 284639 w 365091"/>
                <a:gd name="connsiteY37" fmla="*/ 162865 h 276675"/>
                <a:gd name="connsiteX38" fmla="*/ 276790 w 365091"/>
                <a:gd name="connsiteY38" fmla="*/ 170714 h 276675"/>
                <a:gd name="connsiteX39" fmla="*/ 291108 w 365091"/>
                <a:gd name="connsiteY39" fmla="*/ 183990 h 276675"/>
                <a:gd name="connsiteX40" fmla="*/ 284471 w 365091"/>
                <a:gd name="connsiteY40" fmla="*/ 198017 h 276675"/>
                <a:gd name="connsiteX41" fmla="*/ 253244 w 365091"/>
                <a:gd name="connsiteY41" fmla="*/ 200148 h 276675"/>
                <a:gd name="connsiteX42" fmla="*/ 249319 w 365091"/>
                <a:gd name="connsiteY42" fmla="*/ 207997 h 276675"/>
                <a:gd name="connsiteX43" fmla="*/ 243432 w 365091"/>
                <a:gd name="connsiteY43" fmla="*/ 209959 h 276675"/>
                <a:gd name="connsiteX44" fmla="*/ 241470 w 365091"/>
                <a:gd name="connsiteY44" fmla="*/ 223695 h 276675"/>
                <a:gd name="connsiteX45" fmla="*/ 237546 w 365091"/>
                <a:gd name="connsiteY45" fmla="*/ 243317 h 276675"/>
                <a:gd name="connsiteX46" fmla="*/ 231659 w 365091"/>
                <a:gd name="connsiteY46" fmla="*/ 260977 h 276675"/>
                <a:gd name="connsiteX47" fmla="*/ 208112 w 365091"/>
                <a:gd name="connsiteY47" fmla="*/ 266864 h 276675"/>
                <a:gd name="connsiteX48" fmla="*/ 196339 w 365091"/>
                <a:gd name="connsiteY48" fmla="*/ 264902 h 276675"/>
                <a:gd name="connsiteX49" fmla="*/ 190452 w 365091"/>
                <a:gd name="connsiteY49" fmla="*/ 262939 h 276675"/>
                <a:gd name="connsiteX50" fmla="*/ 168868 w 365091"/>
                <a:gd name="connsiteY50" fmla="*/ 264902 h 276675"/>
                <a:gd name="connsiteX51" fmla="*/ 161019 w 365091"/>
                <a:gd name="connsiteY51" fmla="*/ 260977 h 276675"/>
                <a:gd name="connsiteX52" fmla="*/ 157094 w 365091"/>
                <a:gd name="connsiteY52" fmla="*/ 251166 h 276675"/>
                <a:gd name="connsiteX53" fmla="*/ 151207 w 365091"/>
                <a:gd name="connsiteY53" fmla="*/ 245279 h 276675"/>
                <a:gd name="connsiteX54" fmla="*/ 147283 w 365091"/>
                <a:gd name="connsiteY54" fmla="*/ 237430 h 276675"/>
                <a:gd name="connsiteX55" fmla="*/ 141396 w 365091"/>
                <a:gd name="connsiteY55" fmla="*/ 231544 h 276675"/>
                <a:gd name="connsiteX56" fmla="*/ 137472 w 365091"/>
                <a:gd name="connsiteY56" fmla="*/ 225657 h 276675"/>
                <a:gd name="connsiteX57" fmla="*/ 133547 w 365091"/>
                <a:gd name="connsiteY57" fmla="*/ 241355 h 276675"/>
                <a:gd name="connsiteX58" fmla="*/ 131585 w 365091"/>
                <a:gd name="connsiteY58" fmla="*/ 249204 h 276675"/>
                <a:gd name="connsiteX59" fmla="*/ 125698 w 365091"/>
                <a:gd name="connsiteY59" fmla="*/ 253128 h 276675"/>
                <a:gd name="connsiteX60" fmla="*/ 115887 w 365091"/>
                <a:gd name="connsiteY60" fmla="*/ 260977 h 276675"/>
                <a:gd name="connsiteX61" fmla="*/ 111335 w 365091"/>
                <a:gd name="connsiteY61" fmla="*/ 269868 h 276675"/>
                <a:gd name="connsiteX62" fmla="*/ 98059 w 365091"/>
                <a:gd name="connsiteY62" fmla="*/ 274544 h 276675"/>
                <a:gd name="connsiteX63" fmla="*/ 80567 w 365091"/>
                <a:gd name="connsiteY63" fmla="*/ 273042 h 276675"/>
                <a:gd name="connsiteX64" fmla="*/ 72718 w 365091"/>
                <a:gd name="connsiteY64" fmla="*/ 274713 h 276675"/>
                <a:gd name="connsiteX65" fmla="*/ 66831 w 365091"/>
                <a:gd name="connsiteY65" fmla="*/ 276675 h 276675"/>
                <a:gd name="connsiteX66" fmla="*/ 62907 w 365091"/>
                <a:gd name="connsiteY66" fmla="*/ 272750 h 276675"/>
                <a:gd name="connsiteX67" fmla="*/ 57020 w 365091"/>
                <a:gd name="connsiteY67" fmla="*/ 270788 h 276675"/>
                <a:gd name="connsiteX68" fmla="*/ 17776 w 365091"/>
                <a:gd name="connsiteY68" fmla="*/ 266864 h 276675"/>
                <a:gd name="connsiteX69" fmla="*/ 23662 w 365091"/>
                <a:gd name="connsiteY69" fmla="*/ 259015 h 276675"/>
                <a:gd name="connsiteX70" fmla="*/ 35436 w 365091"/>
                <a:gd name="connsiteY70" fmla="*/ 253128 h 276675"/>
                <a:gd name="connsiteX71" fmla="*/ 35436 w 365091"/>
                <a:gd name="connsiteY71" fmla="*/ 213884 h 276675"/>
                <a:gd name="connsiteX72" fmla="*/ 29549 w 365091"/>
                <a:gd name="connsiteY72" fmla="*/ 209959 h 276675"/>
                <a:gd name="connsiteX73" fmla="*/ 27587 w 365091"/>
                <a:gd name="connsiteY73" fmla="*/ 182488 h 276675"/>
                <a:gd name="connsiteX74" fmla="*/ 33474 w 365091"/>
                <a:gd name="connsiteY74" fmla="*/ 176601 h 276675"/>
                <a:gd name="connsiteX75" fmla="*/ 31511 w 365091"/>
                <a:gd name="connsiteY75" fmla="*/ 162865 h 276675"/>
                <a:gd name="connsiteX76" fmla="*/ 25625 w 365091"/>
                <a:gd name="connsiteY76" fmla="*/ 160903 h 276675"/>
                <a:gd name="connsiteX77" fmla="*/ 19738 w 365091"/>
                <a:gd name="connsiteY77" fmla="*/ 155017 h 276675"/>
                <a:gd name="connsiteX78" fmla="*/ 15813 w 365091"/>
                <a:gd name="connsiteY78" fmla="*/ 147168 h 276675"/>
                <a:gd name="connsiteX79" fmla="*/ 15813 w 365091"/>
                <a:gd name="connsiteY79" fmla="*/ 131470 h 276675"/>
                <a:gd name="connsiteX80" fmla="*/ 4040 w 365091"/>
                <a:gd name="connsiteY80" fmla="*/ 129508 h 276675"/>
                <a:gd name="connsiteX81" fmla="*/ 116 w 365091"/>
                <a:gd name="connsiteY81" fmla="*/ 123621 h 276675"/>
                <a:gd name="connsiteX82" fmla="*/ 7965 w 365091"/>
                <a:gd name="connsiteY82" fmla="*/ 98112 h 276675"/>
                <a:gd name="connsiteX83" fmla="*/ 17776 w 365091"/>
                <a:gd name="connsiteY83" fmla="*/ 94187 h 276675"/>
                <a:gd name="connsiteX84" fmla="*/ 43285 w 365091"/>
                <a:gd name="connsiteY84" fmla="*/ 76527 h 276675"/>
                <a:gd name="connsiteX0" fmla="*/ 43285 w 365091"/>
                <a:gd name="connsiteY0" fmla="*/ 76527 h 276675"/>
                <a:gd name="connsiteX1" fmla="*/ 53096 w 365091"/>
                <a:gd name="connsiteY1" fmla="*/ 78490 h 276675"/>
                <a:gd name="connsiteX2" fmla="*/ 76643 w 365091"/>
                <a:gd name="connsiteY2" fmla="*/ 86338 h 276675"/>
                <a:gd name="connsiteX3" fmla="*/ 82529 w 365091"/>
                <a:gd name="connsiteY3" fmla="*/ 92225 h 276675"/>
                <a:gd name="connsiteX4" fmla="*/ 141396 w 365091"/>
                <a:gd name="connsiteY4" fmla="*/ 92225 h 276675"/>
                <a:gd name="connsiteX5" fmla="*/ 149245 w 365091"/>
                <a:gd name="connsiteY5" fmla="*/ 78490 h 276675"/>
                <a:gd name="connsiteX6" fmla="*/ 157094 w 365091"/>
                <a:gd name="connsiteY6" fmla="*/ 66716 h 276675"/>
                <a:gd name="connsiteX7" fmla="*/ 161019 w 365091"/>
                <a:gd name="connsiteY7" fmla="*/ 60829 h 276675"/>
                <a:gd name="connsiteX8" fmla="*/ 166905 w 365091"/>
                <a:gd name="connsiteY8" fmla="*/ 56905 h 276675"/>
                <a:gd name="connsiteX9" fmla="*/ 182603 w 365091"/>
                <a:gd name="connsiteY9" fmla="*/ 45132 h 276675"/>
                <a:gd name="connsiteX10" fmla="*/ 253244 w 365091"/>
                <a:gd name="connsiteY10" fmla="*/ 39245 h 276675"/>
                <a:gd name="connsiteX11" fmla="*/ 259130 w 365091"/>
                <a:gd name="connsiteY11" fmla="*/ 37283 h 276675"/>
                <a:gd name="connsiteX12" fmla="*/ 278753 w 365091"/>
                <a:gd name="connsiteY12" fmla="*/ 29434 h 276675"/>
                <a:gd name="connsiteX13" fmla="*/ 294450 w 365091"/>
                <a:gd name="connsiteY13" fmla="*/ 25509 h 276675"/>
                <a:gd name="connsiteX14" fmla="*/ 298375 w 365091"/>
                <a:gd name="connsiteY14" fmla="*/ 21585 h 276675"/>
                <a:gd name="connsiteX15" fmla="*/ 306224 w 365091"/>
                <a:gd name="connsiteY15" fmla="*/ 11774 h 276675"/>
                <a:gd name="connsiteX16" fmla="*/ 312110 w 365091"/>
                <a:gd name="connsiteY16" fmla="*/ 9811 h 276675"/>
                <a:gd name="connsiteX17" fmla="*/ 321922 w 365091"/>
                <a:gd name="connsiteY17" fmla="*/ 1962 h 276675"/>
                <a:gd name="connsiteX18" fmla="*/ 327808 w 365091"/>
                <a:gd name="connsiteY18" fmla="*/ 0 h 276675"/>
                <a:gd name="connsiteX19" fmla="*/ 337619 w 365091"/>
                <a:gd name="connsiteY19" fmla="*/ 1962 h 276675"/>
                <a:gd name="connsiteX20" fmla="*/ 339582 w 365091"/>
                <a:gd name="connsiteY20" fmla="*/ 7849 h 276675"/>
                <a:gd name="connsiteX21" fmla="*/ 341544 w 365091"/>
                <a:gd name="connsiteY21" fmla="*/ 19623 h 276675"/>
                <a:gd name="connsiteX22" fmla="*/ 347431 w 365091"/>
                <a:gd name="connsiteY22" fmla="*/ 25509 h 276675"/>
                <a:gd name="connsiteX23" fmla="*/ 357242 w 365091"/>
                <a:gd name="connsiteY23" fmla="*/ 35320 h 276675"/>
                <a:gd name="connsiteX24" fmla="*/ 359204 w 365091"/>
                <a:gd name="connsiteY24" fmla="*/ 41207 h 276675"/>
                <a:gd name="connsiteX25" fmla="*/ 365091 w 365091"/>
                <a:gd name="connsiteY25" fmla="*/ 54943 h 276675"/>
                <a:gd name="connsiteX26" fmla="*/ 345468 w 365091"/>
                <a:gd name="connsiteY26" fmla="*/ 60829 h 276675"/>
                <a:gd name="connsiteX27" fmla="*/ 343506 w 365091"/>
                <a:gd name="connsiteY27" fmla="*/ 74565 h 276675"/>
                <a:gd name="connsiteX28" fmla="*/ 345468 w 365091"/>
                <a:gd name="connsiteY28" fmla="*/ 84376 h 276675"/>
                <a:gd name="connsiteX29" fmla="*/ 337619 w 365091"/>
                <a:gd name="connsiteY29" fmla="*/ 86338 h 276675"/>
                <a:gd name="connsiteX30" fmla="*/ 331733 w 365091"/>
                <a:gd name="connsiteY30" fmla="*/ 90263 h 276675"/>
                <a:gd name="connsiteX31" fmla="*/ 308186 w 365091"/>
                <a:gd name="connsiteY31" fmla="*/ 98112 h 276675"/>
                <a:gd name="connsiteX32" fmla="*/ 302299 w 365091"/>
                <a:gd name="connsiteY32" fmla="*/ 107923 h 276675"/>
                <a:gd name="connsiteX33" fmla="*/ 294450 w 365091"/>
                <a:gd name="connsiteY33" fmla="*/ 121659 h 276675"/>
                <a:gd name="connsiteX34" fmla="*/ 286601 w 365091"/>
                <a:gd name="connsiteY34" fmla="*/ 123621 h 276675"/>
                <a:gd name="connsiteX35" fmla="*/ 274828 w 365091"/>
                <a:gd name="connsiteY35" fmla="*/ 135394 h 276675"/>
                <a:gd name="connsiteX36" fmla="*/ 280715 w 365091"/>
                <a:gd name="connsiteY36" fmla="*/ 139319 h 276675"/>
                <a:gd name="connsiteX37" fmla="*/ 284639 w 365091"/>
                <a:gd name="connsiteY37" fmla="*/ 162865 h 276675"/>
                <a:gd name="connsiteX38" fmla="*/ 276790 w 365091"/>
                <a:gd name="connsiteY38" fmla="*/ 170714 h 276675"/>
                <a:gd name="connsiteX39" fmla="*/ 296534 w 365091"/>
                <a:gd name="connsiteY39" fmla="*/ 181277 h 276675"/>
                <a:gd name="connsiteX40" fmla="*/ 284471 w 365091"/>
                <a:gd name="connsiteY40" fmla="*/ 198017 h 276675"/>
                <a:gd name="connsiteX41" fmla="*/ 253244 w 365091"/>
                <a:gd name="connsiteY41" fmla="*/ 200148 h 276675"/>
                <a:gd name="connsiteX42" fmla="*/ 249319 w 365091"/>
                <a:gd name="connsiteY42" fmla="*/ 207997 h 276675"/>
                <a:gd name="connsiteX43" fmla="*/ 243432 w 365091"/>
                <a:gd name="connsiteY43" fmla="*/ 209959 h 276675"/>
                <a:gd name="connsiteX44" fmla="*/ 241470 w 365091"/>
                <a:gd name="connsiteY44" fmla="*/ 223695 h 276675"/>
                <a:gd name="connsiteX45" fmla="*/ 237546 w 365091"/>
                <a:gd name="connsiteY45" fmla="*/ 243317 h 276675"/>
                <a:gd name="connsiteX46" fmla="*/ 231659 w 365091"/>
                <a:gd name="connsiteY46" fmla="*/ 260977 h 276675"/>
                <a:gd name="connsiteX47" fmla="*/ 208112 w 365091"/>
                <a:gd name="connsiteY47" fmla="*/ 266864 h 276675"/>
                <a:gd name="connsiteX48" fmla="*/ 196339 w 365091"/>
                <a:gd name="connsiteY48" fmla="*/ 264902 h 276675"/>
                <a:gd name="connsiteX49" fmla="*/ 190452 w 365091"/>
                <a:gd name="connsiteY49" fmla="*/ 262939 h 276675"/>
                <a:gd name="connsiteX50" fmla="*/ 168868 w 365091"/>
                <a:gd name="connsiteY50" fmla="*/ 264902 h 276675"/>
                <a:gd name="connsiteX51" fmla="*/ 161019 w 365091"/>
                <a:gd name="connsiteY51" fmla="*/ 260977 h 276675"/>
                <a:gd name="connsiteX52" fmla="*/ 157094 w 365091"/>
                <a:gd name="connsiteY52" fmla="*/ 251166 h 276675"/>
                <a:gd name="connsiteX53" fmla="*/ 151207 w 365091"/>
                <a:gd name="connsiteY53" fmla="*/ 245279 h 276675"/>
                <a:gd name="connsiteX54" fmla="*/ 147283 w 365091"/>
                <a:gd name="connsiteY54" fmla="*/ 237430 h 276675"/>
                <a:gd name="connsiteX55" fmla="*/ 141396 w 365091"/>
                <a:gd name="connsiteY55" fmla="*/ 231544 h 276675"/>
                <a:gd name="connsiteX56" fmla="*/ 137472 w 365091"/>
                <a:gd name="connsiteY56" fmla="*/ 225657 h 276675"/>
                <a:gd name="connsiteX57" fmla="*/ 133547 w 365091"/>
                <a:gd name="connsiteY57" fmla="*/ 241355 h 276675"/>
                <a:gd name="connsiteX58" fmla="*/ 131585 w 365091"/>
                <a:gd name="connsiteY58" fmla="*/ 249204 h 276675"/>
                <a:gd name="connsiteX59" fmla="*/ 125698 w 365091"/>
                <a:gd name="connsiteY59" fmla="*/ 253128 h 276675"/>
                <a:gd name="connsiteX60" fmla="*/ 115887 w 365091"/>
                <a:gd name="connsiteY60" fmla="*/ 260977 h 276675"/>
                <a:gd name="connsiteX61" fmla="*/ 111335 w 365091"/>
                <a:gd name="connsiteY61" fmla="*/ 269868 h 276675"/>
                <a:gd name="connsiteX62" fmla="*/ 98059 w 365091"/>
                <a:gd name="connsiteY62" fmla="*/ 274544 h 276675"/>
                <a:gd name="connsiteX63" fmla="*/ 80567 w 365091"/>
                <a:gd name="connsiteY63" fmla="*/ 273042 h 276675"/>
                <a:gd name="connsiteX64" fmla="*/ 72718 w 365091"/>
                <a:gd name="connsiteY64" fmla="*/ 274713 h 276675"/>
                <a:gd name="connsiteX65" fmla="*/ 66831 w 365091"/>
                <a:gd name="connsiteY65" fmla="*/ 276675 h 276675"/>
                <a:gd name="connsiteX66" fmla="*/ 62907 w 365091"/>
                <a:gd name="connsiteY66" fmla="*/ 272750 h 276675"/>
                <a:gd name="connsiteX67" fmla="*/ 57020 w 365091"/>
                <a:gd name="connsiteY67" fmla="*/ 270788 h 276675"/>
                <a:gd name="connsiteX68" fmla="*/ 17776 w 365091"/>
                <a:gd name="connsiteY68" fmla="*/ 266864 h 276675"/>
                <a:gd name="connsiteX69" fmla="*/ 23662 w 365091"/>
                <a:gd name="connsiteY69" fmla="*/ 259015 h 276675"/>
                <a:gd name="connsiteX70" fmla="*/ 35436 w 365091"/>
                <a:gd name="connsiteY70" fmla="*/ 253128 h 276675"/>
                <a:gd name="connsiteX71" fmla="*/ 35436 w 365091"/>
                <a:gd name="connsiteY71" fmla="*/ 213884 h 276675"/>
                <a:gd name="connsiteX72" fmla="*/ 29549 w 365091"/>
                <a:gd name="connsiteY72" fmla="*/ 209959 h 276675"/>
                <a:gd name="connsiteX73" fmla="*/ 27587 w 365091"/>
                <a:gd name="connsiteY73" fmla="*/ 182488 h 276675"/>
                <a:gd name="connsiteX74" fmla="*/ 33474 w 365091"/>
                <a:gd name="connsiteY74" fmla="*/ 176601 h 276675"/>
                <a:gd name="connsiteX75" fmla="*/ 31511 w 365091"/>
                <a:gd name="connsiteY75" fmla="*/ 162865 h 276675"/>
                <a:gd name="connsiteX76" fmla="*/ 25625 w 365091"/>
                <a:gd name="connsiteY76" fmla="*/ 160903 h 276675"/>
                <a:gd name="connsiteX77" fmla="*/ 19738 w 365091"/>
                <a:gd name="connsiteY77" fmla="*/ 155017 h 276675"/>
                <a:gd name="connsiteX78" fmla="*/ 15813 w 365091"/>
                <a:gd name="connsiteY78" fmla="*/ 147168 h 276675"/>
                <a:gd name="connsiteX79" fmla="*/ 15813 w 365091"/>
                <a:gd name="connsiteY79" fmla="*/ 131470 h 276675"/>
                <a:gd name="connsiteX80" fmla="*/ 4040 w 365091"/>
                <a:gd name="connsiteY80" fmla="*/ 129508 h 276675"/>
                <a:gd name="connsiteX81" fmla="*/ 116 w 365091"/>
                <a:gd name="connsiteY81" fmla="*/ 123621 h 276675"/>
                <a:gd name="connsiteX82" fmla="*/ 7965 w 365091"/>
                <a:gd name="connsiteY82" fmla="*/ 98112 h 276675"/>
                <a:gd name="connsiteX83" fmla="*/ 17776 w 365091"/>
                <a:gd name="connsiteY83" fmla="*/ 94187 h 276675"/>
                <a:gd name="connsiteX84" fmla="*/ 43285 w 365091"/>
                <a:gd name="connsiteY84" fmla="*/ 76527 h 276675"/>
                <a:gd name="connsiteX0" fmla="*/ 43285 w 365091"/>
                <a:gd name="connsiteY0" fmla="*/ 76527 h 276675"/>
                <a:gd name="connsiteX1" fmla="*/ 53096 w 365091"/>
                <a:gd name="connsiteY1" fmla="*/ 78490 h 276675"/>
                <a:gd name="connsiteX2" fmla="*/ 76643 w 365091"/>
                <a:gd name="connsiteY2" fmla="*/ 86338 h 276675"/>
                <a:gd name="connsiteX3" fmla="*/ 82529 w 365091"/>
                <a:gd name="connsiteY3" fmla="*/ 92225 h 276675"/>
                <a:gd name="connsiteX4" fmla="*/ 141396 w 365091"/>
                <a:gd name="connsiteY4" fmla="*/ 92225 h 276675"/>
                <a:gd name="connsiteX5" fmla="*/ 149245 w 365091"/>
                <a:gd name="connsiteY5" fmla="*/ 78490 h 276675"/>
                <a:gd name="connsiteX6" fmla="*/ 157094 w 365091"/>
                <a:gd name="connsiteY6" fmla="*/ 66716 h 276675"/>
                <a:gd name="connsiteX7" fmla="*/ 161019 w 365091"/>
                <a:gd name="connsiteY7" fmla="*/ 60829 h 276675"/>
                <a:gd name="connsiteX8" fmla="*/ 166905 w 365091"/>
                <a:gd name="connsiteY8" fmla="*/ 56905 h 276675"/>
                <a:gd name="connsiteX9" fmla="*/ 182603 w 365091"/>
                <a:gd name="connsiteY9" fmla="*/ 45132 h 276675"/>
                <a:gd name="connsiteX10" fmla="*/ 253244 w 365091"/>
                <a:gd name="connsiteY10" fmla="*/ 39245 h 276675"/>
                <a:gd name="connsiteX11" fmla="*/ 259130 w 365091"/>
                <a:gd name="connsiteY11" fmla="*/ 37283 h 276675"/>
                <a:gd name="connsiteX12" fmla="*/ 278753 w 365091"/>
                <a:gd name="connsiteY12" fmla="*/ 29434 h 276675"/>
                <a:gd name="connsiteX13" fmla="*/ 294450 w 365091"/>
                <a:gd name="connsiteY13" fmla="*/ 25509 h 276675"/>
                <a:gd name="connsiteX14" fmla="*/ 298375 w 365091"/>
                <a:gd name="connsiteY14" fmla="*/ 21585 h 276675"/>
                <a:gd name="connsiteX15" fmla="*/ 306224 w 365091"/>
                <a:gd name="connsiteY15" fmla="*/ 11774 h 276675"/>
                <a:gd name="connsiteX16" fmla="*/ 312110 w 365091"/>
                <a:gd name="connsiteY16" fmla="*/ 9811 h 276675"/>
                <a:gd name="connsiteX17" fmla="*/ 321922 w 365091"/>
                <a:gd name="connsiteY17" fmla="*/ 1962 h 276675"/>
                <a:gd name="connsiteX18" fmla="*/ 327808 w 365091"/>
                <a:gd name="connsiteY18" fmla="*/ 0 h 276675"/>
                <a:gd name="connsiteX19" fmla="*/ 337619 w 365091"/>
                <a:gd name="connsiteY19" fmla="*/ 1962 h 276675"/>
                <a:gd name="connsiteX20" fmla="*/ 339582 w 365091"/>
                <a:gd name="connsiteY20" fmla="*/ 7849 h 276675"/>
                <a:gd name="connsiteX21" fmla="*/ 341544 w 365091"/>
                <a:gd name="connsiteY21" fmla="*/ 19623 h 276675"/>
                <a:gd name="connsiteX22" fmla="*/ 347431 w 365091"/>
                <a:gd name="connsiteY22" fmla="*/ 25509 h 276675"/>
                <a:gd name="connsiteX23" fmla="*/ 357242 w 365091"/>
                <a:gd name="connsiteY23" fmla="*/ 35320 h 276675"/>
                <a:gd name="connsiteX24" fmla="*/ 359204 w 365091"/>
                <a:gd name="connsiteY24" fmla="*/ 41207 h 276675"/>
                <a:gd name="connsiteX25" fmla="*/ 365091 w 365091"/>
                <a:gd name="connsiteY25" fmla="*/ 54943 h 276675"/>
                <a:gd name="connsiteX26" fmla="*/ 345468 w 365091"/>
                <a:gd name="connsiteY26" fmla="*/ 60829 h 276675"/>
                <a:gd name="connsiteX27" fmla="*/ 343506 w 365091"/>
                <a:gd name="connsiteY27" fmla="*/ 74565 h 276675"/>
                <a:gd name="connsiteX28" fmla="*/ 345468 w 365091"/>
                <a:gd name="connsiteY28" fmla="*/ 84376 h 276675"/>
                <a:gd name="connsiteX29" fmla="*/ 337619 w 365091"/>
                <a:gd name="connsiteY29" fmla="*/ 86338 h 276675"/>
                <a:gd name="connsiteX30" fmla="*/ 331733 w 365091"/>
                <a:gd name="connsiteY30" fmla="*/ 90263 h 276675"/>
                <a:gd name="connsiteX31" fmla="*/ 308186 w 365091"/>
                <a:gd name="connsiteY31" fmla="*/ 98112 h 276675"/>
                <a:gd name="connsiteX32" fmla="*/ 302299 w 365091"/>
                <a:gd name="connsiteY32" fmla="*/ 107923 h 276675"/>
                <a:gd name="connsiteX33" fmla="*/ 294450 w 365091"/>
                <a:gd name="connsiteY33" fmla="*/ 121659 h 276675"/>
                <a:gd name="connsiteX34" fmla="*/ 286601 w 365091"/>
                <a:gd name="connsiteY34" fmla="*/ 123621 h 276675"/>
                <a:gd name="connsiteX35" fmla="*/ 274828 w 365091"/>
                <a:gd name="connsiteY35" fmla="*/ 135394 h 276675"/>
                <a:gd name="connsiteX36" fmla="*/ 280715 w 365091"/>
                <a:gd name="connsiteY36" fmla="*/ 139319 h 276675"/>
                <a:gd name="connsiteX37" fmla="*/ 284639 w 365091"/>
                <a:gd name="connsiteY37" fmla="*/ 162865 h 276675"/>
                <a:gd name="connsiteX38" fmla="*/ 293070 w 365091"/>
                <a:gd name="connsiteY38" fmla="*/ 165287 h 276675"/>
                <a:gd name="connsiteX39" fmla="*/ 296534 w 365091"/>
                <a:gd name="connsiteY39" fmla="*/ 181277 h 276675"/>
                <a:gd name="connsiteX40" fmla="*/ 284471 w 365091"/>
                <a:gd name="connsiteY40" fmla="*/ 198017 h 276675"/>
                <a:gd name="connsiteX41" fmla="*/ 253244 w 365091"/>
                <a:gd name="connsiteY41" fmla="*/ 200148 h 276675"/>
                <a:gd name="connsiteX42" fmla="*/ 249319 w 365091"/>
                <a:gd name="connsiteY42" fmla="*/ 207997 h 276675"/>
                <a:gd name="connsiteX43" fmla="*/ 243432 w 365091"/>
                <a:gd name="connsiteY43" fmla="*/ 209959 h 276675"/>
                <a:gd name="connsiteX44" fmla="*/ 241470 w 365091"/>
                <a:gd name="connsiteY44" fmla="*/ 223695 h 276675"/>
                <a:gd name="connsiteX45" fmla="*/ 237546 w 365091"/>
                <a:gd name="connsiteY45" fmla="*/ 243317 h 276675"/>
                <a:gd name="connsiteX46" fmla="*/ 231659 w 365091"/>
                <a:gd name="connsiteY46" fmla="*/ 260977 h 276675"/>
                <a:gd name="connsiteX47" fmla="*/ 208112 w 365091"/>
                <a:gd name="connsiteY47" fmla="*/ 266864 h 276675"/>
                <a:gd name="connsiteX48" fmla="*/ 196339 w 365091"/>
                <a:gd name="connsiteY48" fmla="*/ 264902 h 276675"/>
                <a:gd name="connsiteX49" fmla="*/ 190452 w 365091"/>
                <a:gd name="connsiteY49" fmla="*/ 262939 h 276675"/>
                <a:gd name="connsiteX50" fmla="*/ 168868 w 365091"/>
                <a:gd name="connsiteY50" fmla="*/ 264902 h 276675"/>
                <a:gd name="connsiteX51" fmla="*/ 161019 w 365091"/>
                <a:gd name="connsiteY51" fmla="*/ 260977 h 276675"/>
                <a:gd name="connsiteX52" fmla="*/ 157094 w 365091"/>
                <a:gd name="connsiteY52" fmla="*/ 251166 h 276675"/>
                <a:gd name="connsiteX53" fmla="*/ 151207 w 365091"/>
                <a:gd name="connsiteY53" fmla="*/ 245279 h 276675"/>
                <a:gd name="connsiteX54" fmla="*/ 147283 w 365091"/>
                <a:gd name="connsiteY54" fmla="*/ 237430 h 276675"/>
                <a:gd name="connsiteX55" fmla="*/ 141396 w 365091"/>
                <a:gd name="connsiteY55" fmla="*/ 231544 h 276675"/>
                <a:gd name="connsiteX56" fmla="*/ 137472 w 365091"/>
                <a:gd name="connsiteY56" fmla="*/ 225657 h 276675"/>
                <a:gd name="connsiteX57" fmla="*/ 133547 w 365091"/>
                <a:gd name="connsiteY57" fmla="*/ 241355 h 276675"/>
                <a:gd name="connsiteX58" fmla="*/ 131585 w 365091"/>
                <a:gd name="connsiteY58" fmla="*/ 249204 h 276675"/>
                <a:gd name="connsiteX59" fmla="*/ 125698 w 365091"/>
                <a:gd name="connsiteY59" fmla="*/ 253128 h 276675"/>
                <a:gd name="connsiteX60" fmla="*/ 115887 w 365091"/>
                <a:gd name="connsiteY60" fmla="*/ 260977 h 276675"/>
                <a:gd name="connsiteX61" fmla="*/ 111335 w 365091"/>
                <a:gd name="connsiteY61" fmla="*/ 269868 h 276675"/>
                <a:gd name="connsiteX62" fmla="*/ 98059 w 365091"/>
                <a:gd name="connsiteY62" fmla="*/ 274544 h 276675"/>
                <a:gd name="connsiteX63" fmla="*/ 80567 w 365091"/>
                <a:gd name="connsiteY63" fmla="*/ 273042 h 276675"/>
                <a:gd name="connsiteX64" fmla="*/ 72718 w 365091"/>
                <a:gd name="connsiteY64" fmla="*/ 274713 h 276675"/>
                <a:gd name="connsiteX65" fmla="*/ 66831 w 365091"/>
                <a:gd name="connsiteY65" fmla="*/ 276675 h 276675"/>
                <a:gd name="connsiteX66" fmla="*/ 62907 w 365091"/>
                <a:gd name="connsiteY66" fmla="*/ 272750 h 276675"/>
                <a:gd name="connsiteX67" fmla="*/ 57020 w 365091"/>
                <a:gd name="connsiteY67" fmla="*/ 270788 h 276675"/>
                <a:gd name="connsiteX68" fmla="*/ 17776 w 365091"/>
                <a:gd name="connsiteY68" fmla="*/ 266864 h 276675"/>
                <a:gd name="connsiteX69" fmla="*/ 23662 w 365091"/>
                <a:gd name="connsiteY69" fmla="*/ 259015 h 276675"/>
                <a:gd name="connsiteX70" fmla="*/ 35436 w 365091"/>
                <a:gd name="connsiteY70" fmla="*/ 253128 h 276675"/>
                <a:gd name="connsiteX71" fmla="*/ 35436 w 365091"/>
                <a:gd name="connsiteY71" fmla="*/ 213884 h 276675"/>
                <a:gd name="connsiteX72" fmla="*/ 29549 w 365091"/>
                <a:gd name="connsiteY72" fmla="*/ 209959 h 276675"/>
                <a:gd name="connsiteX73" fmla="*/ 27587 w 365091"/>
                <a:gd name="connsiteY73" fmla="*/ 182488 h 276675"/>
                <a:gd name="connsiteX74" fmla="*/ 33474 w 365091"/>
                <a:gd name="connsiteY74" fmla="*/ 176601 h 276675"/>
                <a:gd name="connsiteX75" fmla="*/ 31511 w 365091"/>
                <a:gd name="connsiteY75" fmla="*/ 162865 h 276675"/>
                <a:gd name="connsiteX76" fmla="*/ 25625 w 365091"/>
                <a:gd name="connsiteY76" fmla="*/ 160903 h 276675"/>
                <a:gd name="connsiteX77" fmla="*/ 19738 w 365091"/>
                <a:gd name="connsiteY77" fmla="*/ 155017 h 276675"/>
                <a:gd name="connsiteX78" fmla="*/ 15813 w 365091"/>
                <a:gd name="connsiteY78" fmla="*/ 147168 h 276675"/>
                <a:gd name="connsiteX79" fmla="*/ 15813 w 365091"/>
                <a:gd name="connsiteY79" fmla="*/ 131470 h 276675"/>
                <a:gd name="connsiteX80" fmla="*/ 4040 w 365091"/>
                <a:gd name="connsiteY80" fmla="*/ 129508 h 276675"/>
                <a:gd name="connsiteX81" fmla="*/ 116 w 365091"/>
                <a:gd name="connsiteY81" fmla="*/ 123621 h 276675"/>
                <a:gd name="connsiteX82" fmla="*/ 7965 w 365091"/>
                <a:gd name="connsiteY82" fmla="*/ 98112 h 276675"/>
                <a:gd name="connsiteX83" fmla="*/ 17776 w 365091"/>
                <a:gd name="connsiteY83" fmla="*/ 94187 h 276675"/>
                <a:gd name="connsiteX84" fmla="*/ 43285 w 365091"/>
                <a:gd name="connsiteY84" fmla="*/ 76527 h 276675"/>
                <a:gd name="connsiteX0" fmla="*/ 43285 w 365091"/>
                <a:gd name="connsiteY0" fmla="*/ 76527 h 276675"/>
                <a:gd name="connsiteX1" fmla="*/ 53096 w 365091"/>
                <a:gd name="connsiteY1" fmla="*/ 78490 h 276675"/>
                <a:gd name="connsiteX2" fmla="*/ 76643 w 365091"/>
                <a:gd name="connsiteY2" fmla="*/ 86338 h 276675"/>
                <a:gd name="connsiteX3" fmla="*/ 82529 w 365091"/>
                <a:gd name="connsiteY3" fmla="*/ 92225 h 276675"/>
                <a:gd name="connsiteX4" fmla="*/ 141396 w 365091"/>
                <a:gd name="connsiteY4" fmla="*/ 92225 h 276675"/>
                <a:gd name="connsiteX5" fmla="*/ 149245 w 365091"/>
                <a:gd name="connsiteY5" fmla="*/ 78490 h 276675"/>
                <a:gd name="connsiteX6" fmla="*/ 157094 w 365091"/>
                <a:gd name="connsiteY6" fmla="*/ 66716 h 276675"/>
                <a:gd name="connsiteX7" fmla="*/ 161019 w 365091"/>
                <a:gd name="connsiteY7" fmla="*/ 60829 h 276675"/>
                <a:gd name="connsiteX8" fmla="*/ 166905 w 365091"/>
                <a:gd name="connsiteY8" fmla="*/ 56905 h 276675"/>
                <a:gd name="connsiteX9" fmla="*/ 182603 w 365091"/>
                <a:gd name="connsiteY9" fmla="*/ 45132 h 276675"/>
                <a:gd name="connsiteX10" fmla="*/ 253244 w 365091"/>
                <a:gd name="connsiteY10" fmla="*/ 39245 h 276675"/>
                <a:gd name="connsiteX11" fmla="*/ 259130 w 365091"/>
                <a:gd name="connsiteY11" fmla="*/ 37283 h 276675"/>
                <a:gd name="connsiteX12" fmla="*/ 278753 w 365091"/>
                <a:gd name="connsiteY12" fmla="*/ 29434 h 276675"/>
                <a:gd name="connsiteX13" fmla="*/ 294450 w 365091"/>
                <a:gd name="connsiteY13" fmla="*/ 25509 h 276675"/>
                <a:gd name="connsiteX14" fmla="*/ 298375 w 365091"/>
                <a:gd name="connsiteY14" fmla="*/ 21585 h 276675"/>
                <a:gd name="connsiteX15" fmla="*/ 306224 w 365091"/>
                <a:gd name="connsiteY15" fmla="*/ 11774 h 276675"/>
                <a:gd name="connsiteX16" fmla="*/ 312110 w 365091"/>
                <a:gd name="connsiteY16" fmla="*/ 9811 h 276675"/>
                <a:gd name="connsiteX17" fmla="*/ 321922 w 365091"/>
                <a:gd name="connsiteY17" fmla="*/ 1962 h 276675"/>
                <a:gd name="connsiteX18" fmla="*/ 327808 w 365091"/>
                <a:gd name="connsiteY18" fmla="*/ 0 h 276675"/>
                <a:gd name="connsiteX19" fmla="*/ 337619 w 365091"/>
                <a:gd name="connsiteY19" fmla="*/ 1962 h 276675"/>
                <a:gd name="connsiteX20" fmla="*/ 339582 w 365091"/>
                <a:gd name="connsiteY20" fmla="*/ 7849 h 276675"/>
                <a:gd name="connsiteX21" fmla="*/ 341544 w 365091"/>
                <a:gd name="connsiteY21" fmla="*/ 19623 h 276675"/>
                <a:gd name="connsiteX22" fmla="*/ 347431 w 365091"/>
                <a:gd name="connsiteY22" fmla="*/ 25509 h 276675"/>
                <a:gd name="connsiteX23" fmla="*/ 357242 w 365091"/>
                <a:gd name="connsiteY23" fmla="*/ 35320 h 276675"/>
                <a:gd name="connsiteX24" fmla="*/ 359204 w 365091"/>
                <a:gd name="connsiteY24" fmla="*/ 41207 h 276675"/>
                <a:gd name="connsiteX25" fmla="*/ 365091 w 365091"/>
                <a:gd name="connsiteY25" fmla="*/ 54943 h 276675"/>
                <a:gd name="connsiteX26" fmla="*/ 345468 w 365091"/>
                <a:gd name="connsiteY26" fmla="*/ 60829 h 276675"/>
                <a:gd name="connsiteX27" fmla="*/ 343506 w 365091"/>
                <a:gd name="connsiteY27" fmla="*/ 74565 h 276675"/>
                <a:gd name="connsiteX28" fmla="*/ 345468 w 365091"/>
                <a:gd name="connsiteY28" fmla="*/ 84376 h 276675"/>
                <a:gd name="connsiteX29" fmla="*/ 337619 w 365091"/>
                <a:gd name="connsiteY29" fmla="*/ 86338 h 276675"/>
                <a:gd name="connsiteX30" fmla="*/ 331733 w 365091"/>
                <a:gd name="connsiteY30" fmla="*/ 90263 h 276675"/>
                <a:gd name="connsiteX31" fmla="*/ 308186 w 365091"/>
                <a:gd name="connsiteY31" fmla="*/ 98112 h 276675"/>
                <a:gd name="connsiteX32" fmla="*/ 302299 w 365091"/>
                <a:gd name="connsiteY32" fmla="*/ 107923 h 276675"/>
                <a:gd name="connsiteX33" fmla="*/ 294450 w 365091"/>
                <a:gd name="connsiteY33" fmla="*/ 121659 h 276675"/>
                <a:gd name="connsiteX34" fmla="*/ 286601 w 365091"/>
                <a:gd name="connsiteY34" fmla="*/ 123621 h 276675"/>
                <a:gd name="connsiteX35" fmla="*/ 274828 w 365091"/>
                <a:gd name="connsiteY35" fmla="*/ 135394 h 276675"/>
                <a:gd name="connsiteX36" fmla="*/ 280715 w 365091"/>
                <a:gd name="connsiteY36" fmla="*/ 139319 h 276675"/>
                <a:gd name="connsiteX37" fmla="*/ 284639 w 365091"/>
                <a:gd name="connsiteY37" fmla="*/ 162865 h 276675"/>
                <a:gd name="connsiteX38" fmla="*/ 293070 w 365091"/>
                <a:gd name="connsiteY38" fmla="*/ 165287 h 276675"/>
                <a:gd name="connsiteX39" fmla="*/ 296534 w 365091"/>
                <a:gd name="connsiteY39" fmla="*/ 181277 h 276675"/>
                <a:gd name="connsiteX40" fmla="*/ 276331 w 365091"/>
                <a:gd name="connsiteY40" fmla="*/ 195303 h 276675"/>
                <a:gd name="connsiteX41" fmla="*/ 253244 w 365091"/>
                <a:gd name="connsiteY41" fmla="*/ 200148 h 276675"/>
                <a:gd name="connsiteX42" fmla="*/ 249319 w 365091"/>
                <a:gd name="connsiteY42" fmla="*/ 207997 h 276675"/>
                <a:gd name="connsiteX43" fmla="*/ 243432 w 365091"/>
                <a:gd name="connsiteY43" fmla="*/ 209959 h 276675"/>
                <a:gd name="connsiteX44" fmla="*/ 241470 w 365091"/>
                <a:gd name="connsiteY44" fmla="*/ 223695 h 276675"/>
                <a:gd name="connsiteX45" fmla="*/ 237546 w 365091"/>
                <a:gd name="connsiteY45" fmla="*/ 243317 h 276675"/>
                <a:gd name="connsiteX46" fmla="*/ 231659 w 365091"/>
                <a:gd name="connsiteY46" fmla="*/ 260977 h 276675"/>
                <a:gd name="connsiteX47" fmla="*/ 208112 w 365091"/>
                <a:gd name="connsiteY47" fmla="*/ 266864 h 276675"/>
                <a:gd name="connsiteX48" fmla="*/ 196339 w 365091"/>
                <a:gd name="connsiteY48" fmla="*/ 264902 h 276675"/>
                <a:gd name="connsiteX49" fmla="*/ 190452 w 365091"/>
                <a:gd name="connsiteY49" fmla="*/ 262939 h 276675"/>
                <a:gd name="connsiteX50" fmla="*/ 168868 w 365091"/>
                <a:gd name="connsiteY50" fmla="*/ 264902 h 276675"/>
                <a:gd name="connsiteX51" fmla="*/ 161019 w 365091"/>
                <a:gd name="connsiteY51" fmla="*/ 260977 h 276675"/>
                <a:gd name="connsiteX52" fmla="*/ 157094 w 365091"/>
                <a:gd name="connsiteY52" fmla="*/ 251166 h 276675"/>
                <a:gd name="connsiteX53" fmla="*/ 151207 w 365091"/>
                <a:gd name="connsiteY53" fmla="*/ 245279 h 276675"/>
                <a:gd name="connsiteX54" fmla="*/ 147283 w 365091"/>
                <a:gd name="connsiteY54" fmla="*/ 237430 h 276675"/>
                <a:gd name="connsiteX55" fmla="*/ 141396 w 365091"/>
                <a:gd name="connsiteY55" fmla="*/ 231544 h 276675"/>
                <a:gd name="connsiteX56" fmla="*/ 137472 w 365091"/>
                <a:gd name="connsiteY56" fmla="*/ 225657 h 276675"/>
                <a:gd name="connsiteX57" fmla="*/ 133547 w 365091"/>
                <a:gd name="connsiteY57" fmla="*/ 241355 h 276675"/>
                <a:gd name="connsiteX58" fmla="*/ 131585 w 365091"/>
                <a:gd name="connsiteY58" fmla="*/ 249204 h 276675"/>
                <a:gd name="connsiteX59" fmla="*/ 125698 w 365091"/>
                <a:gd name="connsiteY59" fmla="*/ 253128 h 276675"/>
                <a:gd name="connsiteX60" fmla="*/ 115887 w 365091"/>
                <a:gd name="connsiteY60" fmla="*/ 260977 h 276675"/>
                <a:gd name="connsiteX61" fmla="*/ 111335 w 365091"/>
                <a:gd name="connsiteY61" fmla="*/ 269868 h 276675"/>
                <a:gd name="connsiteX62" fmla="*/ 98059 w 365091"/>
                <a:gd name="connsiteY62" fmla="*/ 274544 h 276675"/>
                <a:gd name="connsiteX63" fmla="*/ 80567 w 365091"/>
                <a:gd name="connsiteY63" fmla="*/ 273042 h 276675"/>
                <a:gd name="connsiteX64" fmla="*/ 72718 w 365091"/>
                <a:gd name="connsiteY64" fmla="*/ 274713 h 276675"/>
                <a:gd name="connsiteX65" fmla="*/ 66831 w 365091"/>
                <a:gd name="connsiteY65" fmla="*/ 276675 h 276675"/>
                <a:gd name="connsiteX66" fmla="*/ 62907 w 365091"/>
                <a:gd name="connsiteY66" fmla="*/ 272750 h 276675"/>
                <a:gd name="connsiteX67" fmla="*/ 57020 w 365091"/>
                <a:gd name="connsiteY67" fmla="*/ 270788 h 276675"/>
                <a:gd name="connsiteX68" fmla="*/ 17776 w 365091"/>
                <a:gd name="connsiteY68" fmla="*/ 266864 h 276675"/>
                <a:gd name="connsiteX69" fmla="*/ 23662 w 365091"/>
                <a:gd name="connsiteY69" fmla="*/ 259015 h 276675"/>
                <a:gd name="connsiteX70" fmla="*/ 35436 w 365091"/>
                <a:gd name="connsiteY70" fmla="*/ 253128 h 276675"/>
                <a:gd name="connsiteX71" fmla="*/ 35436 w 365091"/>
                <a:gd name="connsiteY71" fmla="*/ 213884 h 276675"/>
                <a:gd name="connsiteX72" fmla="*/ 29549 w 365091"/>
                <a:gd name="connsiteY72" fmla="*/ 209959 h 276675"/>
                <a:gd name="connsiteX73" fmla="*/ 27587 w 365091"/>
                <a:gd name="connsiteY73" fmla="*/ 182488 h 276675"/>
                <a:gd name="connsiteX74" fmla="*/ 33474 w 365091"/>
                <a:gd name="connsiteY74" fmla="*/ 176601 h 276675"/>
                <a:gd name="connsiteX75" fmla="*/ 31511 w 365091"/>
                <a:gd name="connsiteY75" fmla="*/ 162865 h 276675"/>
                <a:gd name="connsiteX76" fmla="*/ 25625 w 365091"/>
                <a:gd name="connsiteY76" fmla="*/ 160903 h 276675"/>
                <a:gd name="connsiteX77" fmla="*/ 19738 w 365091"/>
                <a:gd name="connsiteY77" fmla="*/ 155017 h 276675"/>
                <a:gd name="connsiteX78" fmla="*/ 15813 w 365091"/>
                <a:gd name="connsiteY78" fmla="*/ 147168 h 276675"/>
                <a:gd name="connsiteX79" fmla="*/ 15813 w 365091"/>
                <a:gd name="connsiteY79" fmla="*/ 131470 h 276675"/>
                <a:gd name="connsiteX80" fmla="*/ 4040 w 365091"/>
                <a:gd name="connsiteY80" fmla="*/ 129508 h 276675"/>
                <a:gd name="connsiteX81" fmla="*/ 116 w 365091"/>
                <a:gd name="connsiteY81" fmla="*/ 123621 h 276675"/>
                <a:gd name="connsiteX82" fmla="*/ 7965 w 365091"/>
                <a:gd name="connsiteY82" fmla="*/ 98112 h 276675"/>
                <a:gd name="connsiteX83" fmla="*/ 17776 w 365091"/>
                <a:gd name="connsiteY83" fmla="*/ 94187 h 276675"/>
                <a:gd name="connsiteX84" fmla="*/ 43285 w 365091"/>
                <a:gd name="connsiteY84" fmla="*/ 76527 h 276675"/>
                <a:gd name="connsiteX0" fmla="*/ 43285 w 365091"/>
                <a:gd name="connsiteY0" fmla="*/ 76527 h 276675"/>
                <a:gd name="connsiteX1" fmla="*/ 53096 w 365091"/>
                <a:gd name="connsiteY1" fmla="*/ 78490 h 276675"/>
                <a:gd name="connsiteX2" fmla="*/ 76643 w 365091"/>
                <a:gd name="connsiteY2" fmla="*/ 86338 h 276675"/>
                <a:gd name="connsiteX3" fmla="*/ 82529 w 365091"/>
                <a:gd name="connsiteY3" fmla="*/ 92225 h 276675"/>
                <a:gd name="connsiteX4" fmla="*/ 141396 w 365091"/>
                <a:gd name="connsiteY4" fmla="*/ 92225 h 276675"/>
                <a:gd name="connsiteX5" fmla="*/ 149245 w 365091"/>
                <a:gd name="connsiteY5" fmla="*/ 78490 h 276675"/>
                <a:gd name="connsiteX6" fmla="*/ 157094 w 365091"/>
                <a:gd name="connsiteY6" fmla="*/ 66716 h 276675"/>
                <a:gd name="connsiteX7" fmla="*/ 161019 w 365091"/>
                <a:gd name="connsiteY7" fmla="*/ 60829 h 276675"/>
                <a:gd name="connsiteX8" fmla="*/ 166905 w 365091"/>
                <a:gd name="connsiteY8" fmla="*/ 56905 h 276675"/>
                <a:gd name="connsiteX9" fmla="*/ 182603 w 365091"/>
                <a:gd name="connsiteY9" fmla="*/ 45132 h 276675"/>
                <a:gd name="connsiteX10" fmla="*/ 253244 w 365091"/>
                <a:gd name="connsiteY10" fmla="*/ 39245 h 276675"/>
                <a:gd name="connsiteX11" fmla="*/ 259130 w 365091"/>
                <a:gd name="connsiteY11" fmla="*/ 37283 h 276675"/>
                <a:gd name="connsiteX12" fmla="*/ 278753 w 365091"/>
                <a:gd name="connsiteY12" fmla="*/ 29434 h 276675"/>
                <a:gd name="connsiteX13" fmla="*/ 294450 w 365091"/>
                <a:gd name="connsiteY13" fmla="*/ 25509 h 276675"/>
                <a:gd name="connsiteX14" fmla="*/ 298375 w 365091"/>
                <a:gd name="connsiteY14" fmla="*/ 21585 h 276675"/>
                <a:gd name="connsiteX15" fmla="*/ 306224 w 365091"/>
                <a:gd name="connsiteY15" fmla="*/ 11774 h 276675"/>
                <a:gd name="connsiteX16" fmla="*/ 312110 w 365091"/>
                <a:gd name="connsiteY16" fmla="*/ 9811 h 276675"/>
                <a:gd name="connsiteX17" fmla="*/ 321922 w 365091"/>
                <a:gd name="connsiteY17" fmla="*/ 1962 h 276675"/>
                <a:gd name="connsiteX18" fmla="*/ 327808 w 365091"/>
                <a:gd name="connsiteY18" fmla="*/ 0 h 276675"/>
                <a:gd name="connsiteX19" fmla="*/ 337619 w 365091"/>
                <a:gd name="connsiteY19" fmla="*/ 1962 h 276675"/>
                <a:gd name="connsiteX20" fmla="*/ 339582 w 365091"/>
                <a:gd name="connsiteY20" fmla="*/ 7849 h 276675"/>
                <a:gd name="connsiteX21" fmla="*/ 341544 w 365091"/>
                <a:gd name="connsiteY21" fmla="*/ 19623 h 276675"/>
                <a:gd name="connsiteX22" fmla="*/ 347431 w 365091"/>
                <a:gd name="connsiteY22" fmla="*/ 25509 h 276675"/>
                <a:gd name="connsiteX23" fmla="*/ 357242 w 365091"/>
                <a:gd name="connsiteY23" fmla="*/ 35320 h 276675"/>
                <a:gd name="connsiteX24" fmla="*/ 359204 w 365091"/>
                <a:gd name="connsiteY24" fmla="*/ 41207 h 276675"/>
                <a:gd name="connsiteX25" fmla="*/ 365091 w 365091"/>
                <a:gd name="connsiteY25" fmla="*/ 54943 h 276675"/>
                <a:gd name="connsiteX26" fmla="*/ 345468 w 365091"/>
                <a:gd name="connsiteY26" fmla="*/ 60829 h 276675"/>
                <a:gd name="connsiteX27" fmla="*/ 343506 w 365091"/>
                <a:gd name="connsiteY27" fmla="*/ 74565 h 276675"/>
                <a:gd name="connsiteX28" fmla="*/ 345468 w 365091"/>
                <a:gd name="connsiteY28" fmla="*/ 84376 h 276675"/>
                <a:gd name="connsiteX29" fmla="*/ 337619 w 365091"/>
                <a:gd name="connsiteY29" fmla="*/ 86338 h 276675"/>
                <a:gd name="connsiteX30" fmla="*/ 331733 w 365091"/>
                <a:gd name="connsiteY30" fmla="*/ 90263 h 276675"/>
                <a:gd name="connsiteX31" fmla="*/ 308186 w 365091"/>
                <a:gd name="connsiteY31" fmla="*/ 98112 h 276675"/>
                <a:gd name="connsiteX32" fmla="*/ 302299 w 365091"/>
                <a:gd name="connsiteY32" fmla="*/ 107923 h 276675"/>
                <a:gd name="connsiteX33" fmla="*/ 294450 w 365091"/>
                <a:gd name="connsiteY33" fmla="*/ 121659 h 276675"/>
                <a:gd name="connsiteX34" fmla="*/ 286601 w 365091"/>
                <a:gd name="connsiteY34" fmla="*/ 123621 h 276675"/>
                <a:gd name="connsiteX35" fmla="*/ 274828 w 365091"/>
                <a:gd name="connsiteY35" fmla="*/ 135394 h 276675"/>
                <a:gd name="connsiteX36" fmla="*/ 280715 w 365091"/>
                <a:gd name="connsiteY36" fmla="*/ 139319 h 276675"/>
                <a:gd name="connsiteX37" fmla="*/ 284639 w 365091"/>
                <a:gd name="connsiteY37" fmla="*/ 162865 h 276675"/>
                <a:gd name="connsiteX38" fmla="*/ 293070 w 365091"/>
                <a:gd name="connsiteY38" fmla="*/ 165287 h 276675"/>
                <a:gd name="connsiteX39" fmla="*/ 285681 w 365091"/>
                <a:gd name="connsiteY39" fmla="*/ 181277 h 276675"/>
                <a:gd name="connsiteX40" fmla="*/ 276331 w 365091"/>
                <a:gd name="connsiteY40" fmla="*/ 195303 h 276675"/>
                <a:gd name="connsiteX41" fmla="*/ 253244 w 365091"/>
                <a:gd name="connsiteY41" fmla="*/ 200148 h 276675"/>
                <a:gd name="connsiteX42" fmla="*/ 249319 w 365091"/>
                <a:gd name="connsiteY42" fmla="*/ 207997 h 276675"/>
                <a:gd name="connsiteX43" fmla="*/ 243432 w 365091"/>
                <a:gd name="connsiteY43" fmla="*/ 209959 h 276675"/>
                <a:gd name="connsiteX44" fmla="*/ 241470 w 365091"/>
                <a:gd name="connsiteY44" fmla="*/ 223695 h 276675"/>
                <a:gd name="connsiteX45" fmla="*/ 237546 w 365091"/>
                <a:gd name="connsiteY45" fmla="*/ 243317 h 276675"/>
                <a:gd name="connsiteX46" fmla="*/ 231659 w 365091"/>
                <a:gd name="connsiteY46" fmla="*/ 260977 h 276675"/>
                <a:gd name="connsiteX47" fmla="*/ 208112 w 365091"/>
                <a:gd name="connsiteY47" fmla="*/ 266864 h 276675"/>
                <a:gd name="connsiteX48" fmla="*/ 196339 w 365091"/>
                <a:gd name="connsiteY48" fmla="*/ 264902 h 276675"/>
                <a:gd name="connsiteX49" fmla="*/ 190452 w 365091"/>
                <a:gd name="connsiteY49" fmla="*/ 262939 h 276675"/>
                <a:gd name="connsiteX50" fmla="*/ 168868 w 365091"/>
                <a:gd name="connsiteY50" fmla="*/ 264902 h 276675"/>
                <a:gd name="connsiteX51" fmla="*/ 161019 w 365091"/>
                <a:gd name="connsiteY51" fmla="*/ 260977 h 276675"/>
                <a:gd name="connsiteX52" fmla="*/ 157094 w 365091"/>
                <a:gd name="connsiteY52" fmla="*/ 251166 h 276675"/>
                <a:gd name="connsiteX53" fmla="*/ 151207 w 365091"/>
                <a:gd name="connsiteY53" fmla="*/ 245279 h 276675"/>
                <a:gd name="connsiteX54" fmla="*/ 147283 w 365091"/>
                <a:gd name="connsiteY54" fmla="*/ 237430 h 276675"/>
                <a:gd name="connsiteX55" fmla="*/ 141396 w 365091"/>
                <a:gd name="connsiteY55" fmla="*/ 231544 h 276675"/>
                <a:gd name="connsiteX56" fmla="*/ 137472 w 365091"/>
                <a:gd name="connsiteY56" fmla="*/ 225657 h 276675"/>
                <a:gd name="connsiteX57" fmla="*/ 133547 w 365091"/>
                <a:gd name="connsiteY57" fmla="*/ 241355 h 276675"/>
                <a:gd name="connsiteX58" fmla="*/ 131585 w 365091"/>
                <a:gd name="connsiteY58" fmla="*/ 249204 h 276675"/>
                <a:gd name="connsiteX59" fmla="*/ 125698 w 365091"/>
                <a:gd name="connsiteY59" fmla="*/ 253128 h 276675"/>
                <a:gd name="connsiteX60" fmla="*/ 115887 w 365091"/>
                <a:gd name="connsiteY60" fmla="*/ 260977 h 276675"/>
                <a:gd name="connsiteX61" fmla="*/ 111335 w 365091"/>
                <a:gd name="connsiteY61" fmla="*/ 269868 h 276675"/>
                <a:gd name="connsiteX62" fmla="*/ 98059 w 365091"/>
                <a:gd name="connsiteY62" fmla="*/ 274544 h 276675"/>
                <a:gd name="connsiteX63" fmla="*/ 80567 w 365091"/>
                <a:gd name="connsiteY63" fmla="*/ 273042 h 276675"/>
                <a:gd name="connsiteX64" fmla="*/ 72718 w 365091"/>
                <a:gd name="connsiteY64" fmla="*/ 274713 h 276675"/>
                <a:gd name="connsiteX65" fmla="*/ 66831 w 365091"/>
                <a:gd name="connsiteY65" fmla="*/ 276675 h 276675"/>
                <a:gd name="connsiteX66" fmla="*/ 62907 w 365091"/>
                <a:gd name="connsiteY66" fmla="*/ 272750 h 276675"/>
                <a:gd name="connsiteX67" fmla="*/ 57020 w 365091"/>
                <a:gd name="connsiteY67" fmla="*/ 270788 h 276675"/>
                <a:gd name="connsiteX68" fmla="*/ 17776 w 365091"/>
                <a:gd name="connsiteY68" fmla="*/ 266864 h 276675"/>
                <a:gd name="connsiteX69" fmla="*/ 23662 w 365091"/>
                <a:gd name="connsiteY69" fmla="*/ 259015 h 276675"/>
                <a:gd name="connsiteX70" fmla="*/ 35436 w 365091"/>
                <a:gd name="connsiteY70" fmla="*/ 253128 h 276675"/>
                <a:gd name="connsiteX71" fmla="*/ 35436 w 365091"/>
                <a:gd name="connsiteY71" fmla="*/ 213884 h 276675"/>
                <a:gd name="connsiteX72" fmla="*/ 29549 w 365091"/>
                <a:gd name="connsiteY72" fmla="*/ 209959 h 276675"/>
                <a:gd name="connsiteX73" fmla="*/ 27587 w 365091"/>
                <a:gd name="connsiteY73" fmla="*/ 182488 h 276675"/>
                <a:gd name="connsiteX74" fmla="*/ 33474 w 365091"/>
                <a:gd name="connsiteY74" fmla="*/ 176601 h 276675"/>
                <a:gd name="connsiteX75" fmla="*/ 31511 w 365091"/>
                <a:gd name="connsiteY75" fmla="*/ 162865 h 276675"/>
                <a:gd name="connsiteX76" fmla="*/ 25625 w 365091"/>
                <a:gd name="connsiteY76" fmla="*/ 160903 h 276675"/>
                <a:gd name="connsiteX77" fmla="*/ 19738 w 365091"/>
                <a:gd name="connsiteY77" fmla="*/ 155017 h 276675"/>
                <a:gd name="connsiteX78" fmla="*/ 15813 w 365091"/>
                <a:gd name="connsiteY78" fmla="*/ 147168 h 276675"/>
                <a:gd name="connsiteX79" fmla="*/ 15813 w 365091"/>
                <a:gd name="connsiteY79" fmla="*/ 131470 h 276675"/>
                <a:gd name="connsiteX80" fmla="*/ 4040 w 365091"/>
                <a:gd name="connsiteY80" fmla="*/ 129508 h 276675"/>
                <a:gd name="connsiteX81" fmla="*/ 116 w 365091"/>
                <a:gd name="connsiteY81" fmla="*/ 123621 h 276675"/>
                <a:gd name="connsiteX82" fmla="*/ 7965 w 365091"/>
                <a:gd name="connsiteY82" fmla="*/ 98112 h 276675"/>
                <a:gd name="connsiteX83" fmla="*/ 17776 w 365091"/>
                <a:gd name="connsiteY83" fmla="*/ 94187 h 276675"/>
                <a:gd name="connsiteX84" fmla="*/ 43285 w 365091"/>
                <a:gd name="connsiteY84" fmla="*/ 76527 h 276675"/>
                <a:gd name="connsiteX0" fmla="*/ 43285 w 365091"/>
                <a:gd name="connsiteY0" fmla="*/ 76527 h 276675"/>
                <a:gd name="connsiteX1" fmla="*/ 53096 w 365091"/>
                <a:gd name="connsiteY1" fmla="*/ 78490 h 276675"/>
                <a:gd name="connsiteX2" fmla="*/ 76643 w 365091"/>
                <a:gd name="connsiteY2" fmla="*/ 86338 h 276675"/>
                <a:gd name="connsiteX3" fmla="*/ 82529 w 365091"/>
                <a:gd name="connsiteY3" fmla="*/ 92225 h 276675"/>
                <a:gd name="connsiteX4" fmla="*/ 141396 w 365091"/>
                <a:gd name="connsiteY4" fmla="*/ 92225 h 276675"/>
                <a:gd name="connsiteX5" fmla="*/ 149245 w 365091"/>
                <a:gd name="connsiteY5" fmla="*/ 78490 h 276675"/>
                <a:gd name="connsiteX6" fmla="*/ 157094 w 365091"/>
                <a:gd name="connsiteY6" fmla="*/ 66716 h 276675"/>
                <a:gd name="connsiteX7" fmla="*/ 161019 w 365091"/>
                <a:gd name="connsiteY7" fmla="*/ 60829 h 276675"/>
                <a:gd name="connsiteX8" fmla="*/ 166905 w 365091"/>
                <a:gd name="connsiteY8" fmla="*/ 56905 h 276675"/>
                <a:gd name="connsiteX9" fmla="*/ 182603 w 365091"/>
                <a:gd name="connsiteY9" fmla="*/ 45132 h 276675"/>
                <a:gd name="connsiteX10" fmla="*/ 253244 w 365091"/>
                <a:gd name="connsiteY10" fmla="*/ 39245 h 276675"/>
                <a:gd name="connsiteX11" fmla="*/ 259130 w 365091"/>
                <a:gd name="connsiteY11" fmla="*/ 37283 h 276675"/>
                <a:gd name="connsiteX12" fmla="*/ 278753 w 365091"/>
                <a:gd name="connsiteY12" fmla="*/ 29434 h 276675"/>
                <a:gd name="connsiteX13" fmla="*/ 294450 w 365091"/>
                <a:gd name="connsiteY13" fmla="*/ 25509 h 276675"/>
                <a:gd name="connsiteX14" fmla="*/ 298375 w 365091"/>
                <a:gd name="connsiteY14" fmla="*/ 21585 h 276675"/>
                <a:gd name="connsiteX15" fmla="*/ 306224 w 365091"/>
                <a:gd name="connsiteY15" fmla="*/ 11774 h 276675"/>
                <a:gd name="connsiteX16" fmla="*/ 312110 w 365091"/>
                <a:gd name="connsiteY16" fmla="*/ 9811 h 276675"/>
                <a:gd name="connsiteX17" fmla="*/ 321922 w 365091"/>
                <a:gd name="connsiteY17" fmla="*/ 1962 h 276675"/>
                <a:gd name="connsiteX18" fmla="*/ 327808 w 365091"/>
                <a:gd name="connsiteY18" fmla="*/ 0 h 276675"/>
                <a:gd name="connsiteX19" fmla="*/ 337619 w 365091"/>
                <a:gd name="connsiteY19" fmla="*/ 1962 h 276675"/>
                <a:gd name="connsiteX20" fmla="*/ 339582 w 365091"/>
                <a:gd name="connsiteY20" fmla="*/ 7849 h 276675"/>
                <a:gd name="connsiteX21" fmla="*/ 341544 w 365091"/>
                <a:gd name="connsiteY21" fmla="*/ 19623 h 276675"/>
                <a:gd name="connsiteX22" fmla="*/ 347431 w 365091"/>
                <a:gd name="connsiteY22" fmla="*/ 25509 h 276675"/>
                <a:gd name="connsiteX23" fmla="*/ 357242 w 365091"/>
                <a:gd name="connsiteY23" fmla="*/ 35320 h 276675"/>
                <a:gd name="connsiteX24" fmla="*/ 359204 w 365091"/>
                <a:gd name="connsiteY24" fmla="*/ 41207 h 276675"/>
                <a:gd name="connsiteX25" fmla="*/ 365091 w 365091"/>
                <a:gd name="connsiteY25" fmla="*/ 54943 h 276675"/>
                <a:gd name="connsiteX26" fmla="*/ 345468 w 365091"/>
                <a:gd name="connsiteY26" fmla="*/ 60829 h 276675"/>
                <a:gd name="connsiteX27" fmla="*/ 343506 w 365091"/>
                <a:gd name="connsiteY27" fmla="*/ 74565 h 276675"/>
                <a:gd name="connsiteX28" fmla="*/ 345468 w 365091"/>
                <a:gd name="connsiteY28" fmla="*/ 84376 h 276675"/>
                <a:gd name="connsiteX29" fmla="*/ 337619 w 365091"/>
                <a:gd name="connsiteY29" fmla="*/ 86338 h 276675"/>
                <a:gd name="connsiteX30" fmla="*/ 331733 w 365091"/>
                <a:gd name="connsiteY30" fmla="*/ 90263 h 276675"/>
                <a:gd name="connsiteX31" fmla="*/ 308186 w 365091"/>
                <a:gd name="connsiteY31" fmla="*/ 98112 h 276675"/>
                <a:gd name="connsiteX32" fmla="*/ 302299 w 365091"/>
                <a:gd name="connsiteY32" fmla="*/ 107923 h 276675"/>
                <a:gd name="connsiteX33" fmla="*/ 294450 w 365091"/>
                <a:gd name="connsiteY33" fmla="*/ 121659 h 276675"/>
                <a:gd name="connsiteX34" fmla="*/ 286601 w 365091"/>
                <a:gd name="connsiteY34" fmla="*/ 123621 h 276675"/>
                <a:gd name="connsiteX35" fmla="*/ 274828 w 365091"/>
                <a:gd name="connsiteY35" fmla="*/ 135394 h 276675"/>
                <a:gd name="connsiteX36" fmla="*/ 280715 w 365091"/>
                <a:gd name="connsiteY36" fmla="*/ 139319 h 276675"/>
                <a:gd name="connsiteX37" fmla="*/ 284639 w 365091"/>
                <a:gd name="connsiteY37" fmla="*/ 162865 h 276675"/>
                <a:gd name="connsiteX38" fmla="*/ 293070 w 365091"/>
                <a:gd name="connsiteY38" fmla="*/ 165287 h 276675"/>
                <a:gd name="connsiteX39" fmla="*/ 285681 w 365091"/>
                <a:gd name="connsiteY39" fmla="*/ 181277 h 276675"/>
                <a:gd name="connsiteX40" fmla="*/ 276331 w 365091"/>
                <a:gd name="connsiteY40" fmla="*/ 195303 h 276675"/>
                <a:gd name="connsiteX41" fmla="*/ 253244 w 365091"/>
                <a:gd name="connsiteY41" fmla="*/ 200148 h 276675"/>
                <a:gd name="connsiteX42" fmla="*/ 249319 w 365091"/>
                <a:gd name="connsiteY42" fmla="*/ 207997 h 276675"/>
                <a:gd name="connsiteX43" fmla="*/ 243432 w 365091"/>
                <a:gd name="connsiteY43" fmla="*/ 209959 h 276675"/>
                <a:gd name="connsiteX44" fmla="*/ 241470 w 365091"/>
                <a:gd name="connsiteY44" fmla="*/ 223695 h 276675"/>
                <a:gd name="connsiteX45" fmla="*/ 237546 w 365091"/>
                <a:gd name="connsiteY45" fmla="*/ 243317 h 276675"/>
                <a:gd name="connsiteX46" fmla="*/ 231659 w 365091"/>
                <a:gd name="connsiteY46" fmla="*/ 260977 h 276675"/>
                <a:gd name="connsiteX47" fmla="*/ 208112 w 365091"/>
                <a:gd name="connsiteY47" fmla="*/ 266864 h 276675"/>
                <a:gd name="connsiteX48" fmla="*/ 196339 w 365091"/>
                <a:gd name="connsiteY48" fmla="*/ 264902 h 276675"/>
                <a:gd name="connsiteX49" fmla="*/ 190452 w 365091"/>
                <a:gd name="connsiteY49" fmla="*/ 262939 h 276675"/>
                <a:gd name="connsiteX50" fmla="*/ 168868 w 365091"/>
                <a:gd name="connsiteY50" fmla="*/ 264902 h 276675"/>
                <a:gd name="connsiteX51" fmla="*/ 161019 w 365091"/>
                <a:gd name="connsiteY51" fmla="*/ 260977 h 276675"/>
                <a:gd name="connsiteX52" fmla="*/ 157094 w 365091"/>
                <a:gd name="connsiteY52" fmla="*/ 251166 h 276675"/>
                <a:gd name="connsiteX53" fmla="*/ 151207 w 365091"/>
                <a:gd name="connsiteY53" fmla="*/ 245279 h 276675"/>
                <a:gd name="connsiteX54" fmla="*/ 147283 w 365091"/>
                <a:gd name="connsiteY54" fmla="*/ 237430 h 276675"/>
                <a:gd name="connsiteX55" fmla="*/ 141396 w 365091"/>
                <a:gd name="connsiteY55" fmla="*/ 231544 h 276675"/>
                <a:gd name="connsiteX56" fmla="*/ 137472 w 365091"/>
                <a:gd name="connsiteY56" fmla="*/ 236510 h 276675"/>
                <a:gd name="connsiteX57" fmla="*/ 133547 w 365091"/>
                <a:gd name="connsiteY57" fmla="*/ 241355 h 276675"/>
                <a:gd name="connsiteX58" fmla="*/ 131585 w 365091"/>
                <a:gd name="connsiteY58" fmla="*/ 249204 h 276675"/>
                <a:gd name="connsiteX59" fmla="*/ 125698 w 365091"/>
                <a:gd name="connsiteY59" fmla="*/ 253128 h 276675"/>
                <a:gd name="connsiteX60" fmla="*/ 115887 w 365091"/>
                <a:gd name="connsiteY60" fmla="*/ 260977 h 276675"/>
                <a:gd name="connsiteX61" fmla="*/ 111335 w 365091"/>
                <a:gd name="connsiteY61" fmla="*/ 269868 h 276675"/>
                <a:gd name="connsiteX62" fmla="*/ 98059 w 365091"/>
                <a:gd name="connsiteY62" fmla="*/ 274544 h 276675"/>
                <a:gd name="connsiteX63" fmla="*/ 80567 w 365091"/>
                <a:gd name="connsiteY63" fmla="*/ 273042 h 276675"/>
                <a:gd name="connsiteX64" fmla="*/ 72718 w 365091"/>
                <a:gd name="connsiteY64" fmla="*/ 274713 h 276675"/>
                <a:gd name="connsiteX65" fmla="*/ 66831 w 365091"/>
                <a:gd name="connsiteY65" fmla="*/ 276675 h 276675"/>
                <a:gd name="connsiteX66" fmla="*/ 62907 w 365091"/>
                <a:gd name="connsiteY66" fmla="*/ 272750 h 276675"/>
                <a:gd name="connsiteX67" fmla="*/ 57020 w 365091"/>
                <a:gd name="connsiteY67" fmla="*/ 270788 h 276675"/>
                <a:gd name="connsiteX68" fmla="*/ 17776 w 365091"/>
                <a:gd name="connsiteY68" fmla="*/ 266864 h 276675"/>
                <a:gd name="connsiteX69" fmla="*/ 23662 w 365091"/>
                <a:gd name="connsiteY69" fmla="*/ 259015 h 276675"/>
                <a:gd name="connsiteX70" fmla="*/ 35436 w 365091"/>
                <a:gd name="connsiteY70" fmla="*/ 253128 h 276675"/>
                <a:gd name="connsiteX71" fmla="*/ 35436 w 365091"/>
                <a:gd name="connsiteY71" fmla="*/ 213884 h 276675"/>
                <a:gd name="connsiteX72" fmla="*/ 29549 w 365091"/>
                <a:gd name="connsiteY72" fmla="*/ 209959 h 276675"/>
                <a:gd name="connsiteX73" fmla="*/ 27587 w 365091"/>
                <a:gd name="connsiteY73" fmla="*/ 182488 h 276675"/>
                <a:gd name="connsiteX74" fmla="*/ 33474 w 365091"/>
                <a:gd name="connsiteY74" fmla="*/ 176601 h 276675"/>
                <a:gd name="connsiteX75" fmla="*/ 31511 w 365091"/>
                <a:gd name="connsiteY75" fmla="*/ 162865 h 276675"/>
                <a:gd name="connsiteX76" fmla="*/ 25625 w 365091"/>
                <a:gd name="connsiteY76" fmla="*/ 160903 h 276675"/>
                <a:gd name="connsiteX77" fmla="*/ 19738 w 365091"/>
                <a:gd name="connsiteY77" fmla="*/ 155017 h 276675"/>
                <a:gd name="connsiteX78" fmla="*/ 15813 w 365091"/>
                <a:gd name="connsiteY78" fmla="*/ 147168 h 276675"/>
                <a:gd name="connsiteX79" fmla="*/ 15813 w 365091"/>
                <a:gd name="connsiteY79" fmla="*/ 131470 h 276675"/>
                <a:gd name="connsiteX80" fmla="*/ 4040 w 365091"/>
                <a:gd name="connsiteY80" fmla="*/ 129508 h 276675"/>
                <a:gd name="connsiteX81" fmla="*/ 116 w 365091"/>
                <a:gd name="connsiteY81" fmla="*/ 123621 h 276675"/>
                <a:gd name="connsiteX82" fmla="*/ 7965 w 365091"/>
                <a:gd name="connsiteY82" fmla="*/ 98112 h 276675"/>
                <a:gd name="connsiteX83" fmla="*/ 17776 w 365091"/>
                <a:gd name="connsiteY83" fmla="*/ 94187 h 276675"/>
                <a:gd name="connsiteX84" fmla="*/ 43285 w 365091"/>
                <a:gd name="connsiteY84" fmla="*/ 76527 h 276675"/>
                <a:gd name="connsiteX0" fmla="*/ 43285 w 365091"/>
                <a:gd name="connsiteY0" fmla="*/ 76527 h 276675"/>
                <a:gd name="connsiteX1" fmla="*/ 53096 w 365091"/>
                <a:gd name="connsiteY1" fmla="*/ 78490 h 276675"/>
                <a:gd name="connsiteX2" fmla="*/ 76643 w 365091"/>
                <a:gd name="connsiteY2" fmla="*/ 86338 h 276675"/>
                <a:gd name="connsiteX3" fmla="*/ 82529 w 365091"/>
                <a:gd name="connsiteY3" fmla="*/ 92225 h 276675"/>
                <a:gd name="connsiteX4" fmla="*/ 141396 w 365091"/>
                <a:gd name="connsiteY4" fmla="*/ 92225 h 276675"/>
                <a:gd name="connsiteX5" fmla="*/ 149245 w 365091"/>
                <a:gd name="connsiteY5" fmla="*/ 78490 h 276675"/>
                <a:gd name="connsiteX6" fmla="*/ 157094 w 365091"/>
                <a:gd name="connsiteY6" fmla="*/ 66716 h 276675"/>
                <a:gd name="connsiteX7" fmla="*/ 161019 w 365091"/>
                <a:gd name="connsiteY7" fmla="*/ 60829 h 276675"/>
                <a:gd name="connsiteX8" fmla="*/ 166905 w 365091"/>
                <a:gd name="connsiteY8" fmla="*/ 56905 h 276675"/>
                <a:gd name="connsiteX9" fmla="*/ 182603 w 365091"/>
                <a:gd name="connsiteY9" fmla="*/ 45132 h 276675"/>
                <a:gd name="connsiteX10" fmla="*/ 253244 w 365091"/>
                <a:gd name="connsiteY10" fmla="*/ 39245 h 276675"/>
                <a:gd name="connsiteX11" fmla="*/ 259130 w 365091"/>
                <a:gd name="connsiteY11" fmla="*/ 37283 h 276675"/>
                <a:gd name="connsiteX12" fmla="*/ 278753 w 365091"/>
                <a:gd name="connsiteY12" fmla="*/ 29434 h 276675"/>
                <a:gd name="connsiteX13" fmla="*/ 294450 w 365091"/>
                <a:gd name="connsiteY13" fmla="*/ 25509 h 276675"/>
                <a:gd name="connsiteX14" fmla="*/ 298375 w 365091"/>
                <a:gd name="connsiteY14" fmla="*/ 21585 h 276675"/>
                <a:gd name="connsiteX15" fmla="*/ 306224 w 365091"/>
                <a:gd name="connsiteY15" fmla="*/ 11774 h 276675"/>
                <a:gd name="connsiteX16" fmla="*/ 312110 w 365091"/>
                <a:gd name="connsiteY16" fmla="*/ 9811 h 276675"/>
                <a:gd name="connsiteX17" fmla="*/ 321922 w 365091"/>
                <a:gd name="connsiteY17" fmla="*/ 1962 h 276675"/>
                <a:gd name="connsiteX18" fmla="*/ 327808 w 365091"/>
                <a:gd name="connsiteY18" fmla="*/ 0 h 276675"/>
                <a:gd name="connsiteX19" fmla="*/ 337619 w 365091"/>
                <a:gd name="connsiteY19" fmla="*/ 1962 h 276675"/>
                <a:gd name="connsiteX20" fmla="*/ 339582 w 365091"/>
                <a:gd name="connsiteY20" fmla="*/ 7849 h 276675"/>
                <a:gd name="connsiteX21" fmla="*/ 341544 w 365091"/>
                <a:gd name="connsiteY21" fmla="*/ 19623 h 276675"/>
                <a:gd name="connsiteX22" fmla="*/ 347431 w 365091"/>
                <a:gd name="connsiteY22" fmla="*/ 25509 h 276675"/>
                <a:gd name="connsiteX23" fmla="*/ 357242 w 365091"/>
                <a:gd name="connsiteY23" fmla="*/ 35320 h 276675"/>
                <a:gd name="connsiteX24" fmla="*/ 359204 w 365091"/>
                <a:gd name="connsiteY24" fmla="*/ 41207 h 276675"/>
                <a:gd name="connsiteX25" fmla="*/ 365091 w 365091"/>
                <a:gd name="connsiteY25" fmla="*/ 54943 h 276675"/>
                <a:gd name="connsiteX26" fmla="*/ 345468 w 365091"/>
                <a:gd name="connsiteY26" fmla="*/ 60829 h 276675"/>
                <a:gd name="connsiteX27" fmla="*/ 343506 w 365091"/>
                <a:gd name="connsiteY27" fmla="*/ 74565 h 276675"/>
                <a:gd name="connsiteX28" fmla="*/ 345468 w 365091"/>
                <a:gd name="connsiteY28" fmla="*/ 84376 h 276675"/>
                <a:gd name="connsiteX29" fmla="*/ 337619 w 365091"/>
                <a:gd name="connsiteY29" fmla="*/ 86338 h 276675"/>
                <a:gd name="connsiteX30" fmla="*/ 331733 w 365091"/>
                <a:gd name="connsiteY30" fmla="*/ 90263 h 276675"/>
                <a:gd name="connsiteX31" fmla="*/ 308186 w 365091"/>
                <a:gd name="connsiteY31" fmla="*/ 98112 h 276675"/>
                <a:gd name="connsiteX32" fmla="*/ 302299 w 365091"/>
                <a:gd name="connsiteY32" fmla="*/ 107923 h 276675"/>
                <a:gd name="connsiteX33" fmla="*/ 294450 w 365091"/>
                <a:gd name="connsiteY33" fmla="*/ 121659 h 276675"/>
                <a:gd name="connsiteX34" fmla="*/ 286601 w 365091"/>
                <a:gd name="connsiteY34" fmla="*/ 123621 h 276675"/>
                <a:gd name="connsiteX35" fmla="*/ 274828 w 365091"/>
                <a:gd name="connsiteY35" fmla="*/ 135394 h 276675"/>
                <a:gd name="connsiteX36" fmla="*/ 280715 w 365091"/>
                <a:gd name="connsiteY36" fmla="*/ 139319 h 276675"/>
                <a:gd name="connsiteX37" fmla="*/ 284639 w 365091"/>
                <a:gd name="connsiteY37" fmla="*/ 162865 h 276675"/>
                <a:gd name="connsiteX38" fmla="*/ 293070 w 365091"/>
                <a:gd name="connsiteY38" fmla="*/ 165287 h 276675"/>
                <a:gd name="connsiteX39" fmla="*/ 285681 w 365091"/>
                <a:gd name="connsiteY39" fmla="*/ 181277 h 276675"/>
                <a:gd name="connsiteX40" fmla="*/ 276331 w 365091"/>
                <a:gd name="connsiteY40" fmla="*/ 195303 h 276675"/>
                <a:gd name="connsiteX41" fmla="*/ 264097 w 365091"/>
                <a:gd name="connsiteY41" fmla="*/ 208288 h 276675"/>
                <a:gd name="connsiteX42" fmla="*/ 249319 w 365091"/>
                <a:gd name="connsiteY42" fmla="*/ 207997 h 276675"/>
                <a:gd name="connsiteX43" fmla="*/ 243432 w 365091"/>
                <a:gd name="connsiteY43" fmla="*/ 209959 h 276675"/>
                <a:gd name="connsiteX44" fmla="*/ 241470 w 365091"/>
                <a:gd name="connsiteY44" fmla="*/ 223695 h 276675"/>
                <a:gd name="connsiteX45" fmla="*/ 237546 w 365091"/>
                <a:gd name="connsiteY45" fmla="*/ 243317 h 276675"/>
                <a:gd name="connsiteX46" fmla="*/ 231659 w 365091"/>
                <a:gd name="connsiteY46" fmla="*/ 260977 h 276675"/>
                <a:gd name="connsiteX47" fmla="*/ 208112 w 365091"/>
                <a:gd name="connsiteY47" fmla="*/ 266864 h 276675"/>
                <a:gd name="connsiteX48" fmla="*/ 196339 w 365091"/>
                <a:gd name="connsiteY48" fmla="*/ 264902 h 276675"/>
                <a:gd name="connsiteX49" fmla="*/ 190452 w 365091"/>
                <a:gd name="connsiteY49" fmla="*/ 262939 h 276675"/>
                <a:gd name="connsiteX50" fmla="*/ 168868 w 365091"/>
                <a:gd name="connsiteY50" fmla="*/ 264902 h 276675"/>
                <a:gd name="connsiteX51" fmla="*/ 161019 w 365091"/>
                <a:gd name="connsiteY51" fmla="*/ 260977 h 276675"/>
                <a:gd name="connsiteX52" fmla="*/ 157094 w 365091"/>
                <a:gd name="connsiteY52" fmla="*/ 251166 h 276675"/>
                <a:gd name="connsiteX53" fmla="*/ 151207 w 365091"/>
                <a:gd name="connsiteY53" fmla="*/ 245279 h 276675"/>
                <a:gd name="connsiteX54" fmla="*/ 147283 w 365091"/>
                <a:gd name="connsiteY54" fmla="*/ 237430 h 276675"/>
                <a:gd name="connsiteX55" fmla="*/ 141396 w 365091"/>
                <a:gd name="connsiteY55" fmla="*/ 231544 h 276675"/>
                <a:gd name="connsiteX56" fmla="*/ 137472 w 365091"/>
                <a:gd name="connsiteY56" fmla="*/ 236510 h 276675"/>
                <a:gd name="connsiteX57" fmla="*/ 133547 w 365091"/>
                <a:gd name="connsiteY57" fmla="*/ 241355 h 276675"/>
                <a:gd name="connsiteX58" fmla="*/ 131585 w 365091"/>
                <a:gd name="connsiteY58" fmla="*/ 249204 h 276675"/>
                <a:gd name="connsiteX59" fmla="*/ 125698 w 365091"/>
                <a:gd name="connsiteY59" fmla="*/ 253128 h 276675"/>
                <a:gd name="connsiteX60" fmla="*/ 115887 w 365091"/>
                <a:gd name="connsiteY60" fmla="*/ 260977 h 276675"/>
                <a:gd name="connsiteX61" fmla="*/ 111335 w 365091"/>
                <a:gd name="connsiteY61" fmla="*/ 269868 h 276675"/>
                <a:gd name="connsiteX62" fmla="*/ 98059 w 365091"/>
                <a:gd name="connsiteY62" fmla="*/ 274544 h 276675"/>
                <a:gd name="connsiteX63" fmla="*/ 80567 w 365091"/>
                <a:gd name="connsiteY63" fmla="*/ 273042 h 276675"/>
                <a:gd name="connsiteX64" fmla="*/ 72718 w 365091"/>
                <a:gd name="connsiteY64" fmla="*/ 274713 h 276675"/>
                <a:gd name="connsiteX65" fmla="*/ 66831 w 365091"/>
                <a:gd name="connsiteY65" fmla="*/ 276675 h 276675"/>
                <a:gd name="connsiteX66" fmla="*/ 62907 w 365091"/>
                <a:gd name="connsiteY66" fmla="*/ 272750 h 276675"/>
                <a:gd name="connsiteX67" fmla="*/ 57020 w 365091"/>
                <a:gd name="connsiteY67" fmla="*/ 270788 h 276675"/>
                <a:gd name="connsiteX68" fmla="*/ 17776 w 365091"/>
                <a:gd name="connsiteY68" fmla="*/ 266864 h 276675"/>
                <a:gd name="connsiteX69" fmla="*/ 23662 w 365091"/>
                <a:gd name="connsiteY69" fmla="*/ 259015 h 276675"/>
                <a:gd name="connsiteX70" fmla="*/ 35436 w 365091"/>
                <a:gd name="connsiteY70" fmla="*/ 253128 h 276675"/>
                <a:gd name="connsiteX71" fmla="*/ 35436 w 365091"/>
                <a:gd name="connsiteY71" fmla="*/ 213884 h 276675"/>
                <a:gd name="connsiteX72" fmla="*/ 29549 w 365091"/>
                <a:gd name="connsiteY72" fmla="*/ 209959 h 276675"/>
                <a:gd name="connsiteX73" fmla="*/ 27587 w 365091"/>
                <a:gd name="connsiteY73" fmla="*/ 182488 h 276675"/>
                <a:gd name="connsiteX74" fmla="*/ 33474 w 365091"/>
                <a:gd name="connsiteY74" fmla="*/ 176601 h 276675"/>
                <a:gd name="connsiteX75" fmla="*/ 31511 w 365091"/>
                <a:gd name="connsiteY75" fmla="*/ 162865 h 276675"/>
                <a:gd name="connsiteX76" fmla="*/ 25625 w 365091"/>
                <a:gd name="connsiteY76" fmla="*/ 160903 h 276675"/>
                <a:gd name="connsiteX77" fmla="*/ 19738 w 365091"/>
                <a:gd name="connsiteY77" fmla="*/ 155017 h 276675"/>
                <a:gd name="connsiteX78" fmla="*/ 15813 w 365091"/>
                <a:gd name="connsiteY78" fmla="*/ 147168 h 276675"/>
                <a:gd name="connsiteX79" fmla="*/ 15813 w 365091"/>
                <a:gd name="connsiteY79" fmla="*/ 131470 h 276675"/>
                <a:gd name="connsiteX80" fmla="*/ 4040 w 365091"/>
                <a:gd name="connsiteY80" fmla="*/ 129508 h 276675"/>
                <a:gd name="connsiteX81" fmla="*/ 116 w 365091"/>
                <a:gd name="connsiteY81" fmla="*/ 123621 h 276675"/>
                <a:gd name="connsiteX82" fmla="*/ 7965 w 365091"/>
                <a:gd name="connsiteY82" fmla="*/ 98112 h 276675"/>
                <a:gd name="connsiteX83" fmla="*/ 17776 w 365091"/>
                <a:gd name="connsiteY83" fmla="*/ 94187 h 276675"/>
                <a:gd name="connsiteX84" fmla="*/ 43285 w 365091"/>
                <a:gd name="connsiteY84" fmla="*/ 76527 h 276675"/>
                <a:gd name="connsiteX0" fmla="*/ 43285 w 365091"/>
                <a:gd name="connsiteY0" fmla="*/ 76527 h 276675"/>
                <a:gd name="connsiteX1" fmla="*/ 53096 w 365091"/>
                <a:gd name="connsiteY1" fmla="*/ 78490 h 276675"/>
                <a:gd name="connsiteX2" fmla="*/ 76643 w 365091"/>
                <a:gd name="connsiteY2" fmla="*/ 86338 h 276675"/>
                <a:gd name="connsiteX3" fmla="*/ 82529 w 365091"/>
                <a:gd name="connsiteY3" fmla="*/ 92225 h 276675"/>
                <a:gd name="connsiteX4" fmla="*/ 141396 w 365091"/>
                <a:gd name="connsiteY4" fmla="*/ 92225 h 276675"/>
                <a:gd name="connsiteX5" fmla="*/ 149245 w 365091"/>
                <a:gd name="connsiteY5" fmla="*/ 78490 h 276675"/>
                <a:gd name="connsiteX6" fmla="*/ 157094 w 365091"/>
                <a:gd name="connsiteY6" fmla="*/ 66716 h 276675"/>
                <a:gd name="connsiteX7" fmla="*/ 161019 w 365091"/>
                <a:gd name="connsiteY7" fmla="*/ 60829 h 276675"/>
                <a:gd name="connsiteX8" fmla="*/ 166905 w 365091"/>
                <a:gd name="connsiteY8" fmla="*/ 56905 h 276675"/>
                <a:gd name="connsiteX9" fmla="*/ 182603 w 365091"/>
                <a:gd name="connsiteY9" fmla="*/ 45132 h 276675"/>
                <a:gd name="connsiteX10" fmla="*/ 253244 w 365091"/>
                <a:gd name="connsiteY10" fmla="*/ 39245 h 276675"/>
                <a:gd name="connsiteX11" fmla="*/ 259130 w 365091"/>
                <a:gd name="connsiteY11" fmla="*/ 37283 h 276675"/>
                <a:gd name="connsiteX12" fmla="*/ 278753 w 365091"/>
                <a:gd name="connsiteY12" fmla="*/ 29434 h 276675"/>
                <a:gd name="connsiteX13" fmla="*/ 294450 w 365091"/>
                <a:gd name="connsiteY13" fmla="*/ 25509 h 276675"/>
                <a:gd name="connsiteX14" fmla="*/ 298375 w 365091"/>
                <a:gd name="connsiteY14" fmla="*/ 21585 h 276675"/>
                <a:gd name="connsiteX15" fmla="*/ 306224 w 365091"/>
                <a:gd name="connsiteY15" fmla="*/ 11774 h 276675"/>
                <a:gd name="connsiteX16" fmla="*/ 312110 w 365091"/>
                <a:gd name="connsiteY16" fmla="*/ 9811 h 276675"/>
                <a:gd name="connsiteX17" fmla="*/ 321922 w 365091"/>
                <a:gd name="connsiteY17" fmla="*/ 1962 h 276675"/>
                <a:gd name="connsiteX18" fmla="*/ 327808 w 365091"/>
                <a:gd name="connsiteY18" fmla="*/ 0 h 276675"/>
                <a:gd name="connsiteX19" fmla="*/ 337619 w 365091"/>
                <a:gd name="connsiteY19" fmla="*/ 1962 h 276675"/>
                <a:gd name="connsiteX20" fmla="*/ 339582 w 365091"/>
                <a:gd name="connsiteY20" fmla="*/ 7849 h 276675"/>
                <a:gd name="connsiteX21" fmla="*/ 341544 w 365091"/>
                <a:gd name="connsiteY21" fmla="*/ 19623 h 276675"/>
                <a:gd name="connsiteX22" fmla="*/ 347431 w 365091"/>
                <a:gd name="connsiteY22" fmla="*/ 25509 h 276675"/>
                <a:gd name="connsiteX23" fmla="*/ 357242 w 365091"/>
                <a:gd name="connsiteY23" fmla="*/ 35320 h 276675"/>
                <a:gd name="connsiteX24" fmla="*/ 359204 w 365091"/>
                <a:gd name="connsiteY24" fmla="*/ 41207 h 276675"/>
                <a:gd name="connsiteX25" fmla="*/ 365091 w 365091"/>
                <a:gd name="connsiteY25" fmla="*/ 54943 h 276675"/>
                <a:gd name="connsiteX26" fmla="*/ 345468 w 365091"/>
                <a:gd name="connsiteY26" fmla="*/ 60829 h 276675"/>
                <a:gd name="connsiteX27" fmla="*/ 343506 w 365091"/>
                <a:gd name="connsiteY27" fmla="*/ 74565 h 276675"/>
                <a:gd name="connsiteX28" fmla="*/ 345468 w 365091"/>
                <a:gd name="connsiteY28" fmla="*/ 84376 h 276675"/>
                <a:gd name="connsiteX29" fmla="*/ 337619 w 365091"/>
                <a:gd name="connsiteY29" fmla="*/ 86338 h 276675"/>
                <a:gd name="connsiteX30" fmla="*/ 331733 w 365091"/>
                <a:gd name="connsiteY30" fmla="*/ 90263 h 276675"/>
                <a:gd name="connsiteX31" fmla="*/ 308186 w 365091"/>
                <a:gd name="connsiteY31" fmla="*/ 98112 h 276675"/>
                <a:gd name="connsiteX32" fmla="*/ 302299 w 365091"/>
                <a:gd name="connsiteY32" fmla="*/ 107923 h 276675"/>
                <a:gd name="connsiteX33" fmla="*/ 294450 w 365091"/>
                <a:gd name="connsiteY33" fmla="*/ 121659 h 276675"/>
                <a:gd name="connsiteX34" fmla="*/ 286601 w 365091"/>
                <a:gd name="connsiteY34" fmla="*/ 123621 h 276675"/>
                <a:gd name="connsiteX35" fmla="*/ 274828 w 365091"/>
                <a:gd name="connsiteY35" fmla="*/ 135394 h 276675"/>
                <a:gd name="connsiteX36" fmla="*/ 280715 w 365091"/>
                <a:gd name="connsiteY36" fmla="*/ 139319 h 276675"/>
                <a:gd name="connsiteX37" fmla="*/ 284639 w 365091"/>
                <a:gd name="connsiteY37" fmla="*/ 162865 h 276675"/>
                <a:gd name="connsiteX38" fmla="*/ 293070 w 365091"/>
                <a:gd name="connsiteY38" fmla="*/ 165287 h 276675"/>
                <a:gd name="connsiteX39" fmla="*/ 285681 w 365091"/>
                <a:gd name="connsiteY39" fmla="*/ 181277 h 276675"/>
                <a:gd name="connsiteX40" fmla="*/ 276331 w 365091"/>
                <a:gd name="connsiteY40" fmla="*/ 195303 h 276675"/>
                <a:gd name="connsiteX41" fmla="*/ 264097 w 365091"/>
                <a:gd name="connsiteY41" fmla="*/ 208288 h 276675"/>
                <a:gd name="connsiteX42" fmla="*/ 249319 w 365091"/>
                <a:gd name="connsiteY42" fmla="*/ 207997 h 276675"/>
                <a:gd name="connsiteX43" fmla="*/ 243432 w 365091"/>
                <a:gd name="connsiteY43" fmla="*/ 209959 h 276675"/>
                <a:gd name="connsiteX44" fmla="*/ 241470 w 365091"/>
                <a:gd name="connsiteY44" fmla="*/ 223695 h 276675"/>
                <a:gd name="connsiteX45" fmla="*/ 237546 w 365091"/>
                <a:gd name="connsiteY45" fmla="*/ 243317 h 276675"/>
                <a:gd name="connsiteX46" fmla="*/ 241652 w 365091"/>
                <a:gd name="connsiteY46" fmla="*/ 265974 h 276675"/>
                <a:gd name="connsiteX47" fmla="*/ 208112 w 365091"/>
                <a:gd name="connsiteY47" fmla="*/ 266864 h 276675"/>
                <a:gd name="connsiteX48" fmla="*/ 196339 w 365091"/>
                <a:gd name="connsiteY48" fmla="*/ 264902 h 276675"/>
                <a:gd name="connsiteX49" fmla="*/ 190452 w 365091"/>
                <a:gd name="connsiteY49" fmla="*/ 262939 h 276675"/>
                <a:gd name="connsiteX50" fmla="*/ 168868 w 365091"/>
                <a:gd name="connsiteY50" fmla="*/ 264902 h 276675"/>
                <a:gd name="connsiteX51" fmla="*/ 161019 w 365091"/>
                <a:gd name="connsiteY51" fmla="*/ 260977 h 276675"/>
                <a:gd name="connsiteX52" fmla="*/ 157094 w 365091"/>
                <a:gd name="connsiteY52" fmla="*/ 251166 h 276675"/>
                <a:gd name="connsiteX53" fmla="*/ 151207 w 365091"/>
                <a:gd name="connsiteY53" fmla="*/ 245279 h 276675"/>
                <a:gd name="connsiteX54" fmla="*/ 147283 w 365091"/>
                <a:gd name="connsiteY54" fmla="*/ 237430 h 276675"/>
                <a:gd name="connsiteX55" fmla="*/ 141396 w 365091"/>
                <a:gd name="connsiteY55" fmla="*/ 231544 h 276675"/>
                <a:gd name="connsiteX56" fmla="*/ 137472 w 365091"/>
                <a:gd name="connsiteY56" fmla="*/ 236510 h 276675"/>
                <a:gd name="connsiteX57" fmla="*/ 133547 w 365091"/>
                <a:gd name="connsiteY57" fmla="*/ 241355 h 276675"/>
                <a:gd name="connsiteX58" fmla="*/ 131585 w 365091"/>
                <a:gd name="connsiteY58" fmla="*/ 249204 h 276675"/>
                <a:gd name="connsiteX59" fmla="*/ 125698 w 365091"/>
                <a:gd name="connsiteY59" fmla="*/ 253128 h 276675"/>
                <a:gd name="connsiteX60" fmla="*/ 115887 w 365091"/>
                <a:gd name="connsiteY60" fmla="*/ 260977 h 276675"/>
                <a:gd name="connsiteX61" fmla="*/ 111335 w 365091"/>
                <a:gd name="connsiteY61" fmla="*/ 269868 h 276675"/>
                <a:gd name="connsiteX62" fmla="*/ 98059 w 365091"/>
                <a:gd name="connsiteY62" fmla="*/ 274544 h 276675"/>
                <a:gd name="connsiteX63" fmla="*/ 80567 w 365091"/>
                <a:gd name="connsiteY63" fmla="*/ 273042 h 276675"/>
                <a:gd name="connsiteX64" fmla="*/ 72718 w 365091"/>
                <a:gd name="connsiteY64" fmla="*/ 274713 h 276675"/>
                <a:gd name="connsiteX65" fmla="*/ 66831 w 365091"/>
                <a:gd name="connsiteY65" fmla="*/ 276675 h 276675"/>
                <a:gd name="connsiteX66" fmla="*/ 62907 w 365091"/>
                <a:gd name="connsiteY66" fmla="*/ 272750 h 276675"/>
                <a:gd name="connsiteX67" fmla="*/ 57020 w 365091"/>
                <a:gd name="connsiteY67" fmla="*/ 270788 h 276675"/>
                <a:gd name="connsiteX68" fmla="*/ 17776 w 365091"/>
                <a:gd name="connsiteY68" fmla="*/ 266864 h 276675"/>
                <a:gd name="connsiteX69" fmla="*/ 23662 w 365091"/>
                <a:gd name="connsiteY69" fmla="*/ 259015 h 276675"/>
                <a:gd name="connsiteX70" fmla="*/ 35436 w 365091"/>
                <a:gd name="connsiteY70" fmla="*/ 253128 h 276675"/>
                <a:gd name="connsiteX71" fmla="*/ 35436 w 365091"/>
                <a:gd name="connsiteY71" fmla="*/ 213884 h 276675"/>
                <a:gd name="connsiteX72" fmla="*/ 29549 w 365091"/>
                <a:gd name="connsiteY72" fmla="*/ 209959 h 276675"/>
                <a:gd name="connsiteX73" fmla="*/ 27587 w 365091"/>
                <a:gd name="connsiteY73" fmla="*/ 182488 h 276675"/>
                <a:gd name="connsiteX74" fmla="*/ 33474 w 365091"/>
                <a:gd name="connsiteY74" fmla="*/ 176601 h 276675"/>
                <a:gd name="connsiteX75" fmla="*/ 31511 w 365091"/>
                <a:gd name="connsiteY75" fmla="*/ 162865 h 276675"/>
                <a:gd name="connsiteX76" fmla="*/ 25625 w 365091"/>
                <a:gd name="connsiteY76" fmla="*/ 160903 h 276675"/>
                <a:gd name="connsiteX77" fmla="*/ 19738 w 365091"/>
                <a:gd name="connsiteY77" fmla="*/ 155017 h 276675"/>
                <a:gd name="connsiteX78" fmla="*/ 15813 w 365091"/>
                <a:gd name="connsiteY78" fmla="*/ 147168 h 276675"/>
                <a:gd name="connsiteX79" fmla="*/ 15813 w 365091"/>
                <a:gd name="connsiteY79" fmla="*/ 131470 h 276675"/>
                <a:gd name="connsiteX80" fmla="*/ 4040 w 365091"/>
                <a:gd name="connsiteY80" fmla="*/ 129508 h 276675"/>
                <a:gd name="connsiteX81" fmla="*/ 116 w 365091"/>
                <a:gd name="connsiteY81" fmla="*/ 123621 h 276675"/>
                <a:gd name="connsiteX82" fmla="*/ 7965 w 365091"/>
                <a:gd name="connsiteY82" fmla="*/ 98112 h 276675"/>
                <a:gd name="connsiteX83" fmla="*/ 17776 w 365091"/>
                <a:gd name="connsiteY83" fmla="*/ 94187 h 276675"/>
                <a:gd name="connsiteX84" fmla="*/ 43285 w 365091"/>
                <a:gd name="connsiteY84" fmla="*/ 76527 h 276675"/>
                <a:gd name="connsiteX0" fmla="*/ 43285 w 365091"/>
                <a:gd name="connsiteY0" fmla="*/ 76527 h 276675"/>
                <a:gd name="connsiteX1" fmla="*/ 53096 w 365091"/>
                <a:gd name="connsiteY1" fmla="*/ 78490 h 276675"/>
                <a:gd name="connsiteX2" fmla="*/ 76643 w 365091"/>
                <a:gd name="connsiteY2" fmla="*/ 86338 h 276675"/>
                <a:gd name="connsiteX3" fmla="*/ 82529 w 365091"/>
                <a:gd name="connsiteY3" fmla="*/ 92225 h 276675"/>
                <a:gd name="connsiteX4" fmla="*/ 141396 w 365091"/>
                <a:gd name="connsiteY4" fmla="*/ 92225 h 276675"/>
                <a:gd name="connsiteX5" fmla="*/ 149245 w 365091"/>
                <a:gd name="connsiteY5" fmla="*/ 78490 h 276675"/>
                <a:gd name="connsiteX6" fmla="*/ 157094 w 365091"/>
                <a:gd name="connsiteY6" fmla="*/ 66716 h 276675"/>
                <a:gd name="connsiteX7" fmla="*/ 161019 w 365091"/>
                <a:gd name="connsiteY7" fmla="*/ 60829 h 276675"/>
                <a:gd name="connsiteX8" fmla="*/ 166905 w 365091"/>
                <a:gd name="connsiteY8" fmla="*/ 56905 h 276675"/>
                <a:gd name="connsiteX9" fmla="*/ 182603 w 365091"/>
                <a:gd name="connsiteY9" fmla="*/ 45132 h 276675"/>
                <a:gd name="connsiteX10" fmla="*/ 253244 w 365091"/>
                <a:gd name="connsiteY10" fmla="*/ 39245 h 276675"/>
                <a:gd name="connsiteX11" fmla="*/ 259130 w 365091"/>
                <a:gd name="connsiteY11" fmla="*/ 37283 h 276675"/>
                <a:gd name="connsiteX12" fmla="*/ 278753 w 365091"/>
                <a:gd name="connsiteY12" fmla="*/ 29434 h 276675"/>
                <a:gd name="connsiteX13" fmla="*/ 294450 w 365091"/>
                <a:gd name="connsiteY13" fmla="*/ 25509 h 276675"/>
                <a:gd name="connsiteX14" fmla="*/ 298375 w 365091"/>
                <a:gd name="connsiteY14" fmla="*/ 21585 h 276675"/>
                <a:gd name="connsiteX15" fmla="*/ 306224 w 365091"/>
                <a:gd name="connsiteY15" fmla="*/ 11774 h 276675"/>
                <a:gd name="connsiteX16" fmla="*/ 312110 w 365091"/>
                <a:gd name="connsiteY16" fmla="*/ 9811 h 276675"/>
                <a:gd name="connsiteX17" fmla="*/ 321922 w 365091"/>
                <a:gd name="connsiteY17" fmla="*/ 1962 h 276675"/>
                <a:gd name="connsiteX18" fmla="*/ 327808 w 365091"/>
                <a:gd name="connsiteY18" fmla="*/ 0 h 276675"/>
                <a:gd name="connsiteX19" fmla="*/ 337619 w 365091"/>
                <a:gd name="connsiteY19" fmla="*/ 1962 h 276675"/>
                <a:gd name="connsiteX20" fmla="*/ 339582 w 365091"/>
                <a:gd name="connsiteY20" fmla="*/ 7849 h 276675"/>
                <a:gd name="connsiteX21" fmla="*/ 341544 w 365091"/>
                <a:gd name="connsiteY21" fmla="*/ 19623 h 276675"/>
                <a:gd name="connsiteX22" fmla="*/ 347431 w 365091"/>
                <a:gd name="connsiteY22" fmla="*/ 25509 h 276675"/>
                <a:gd name="connsiteX23" fmla="*/ 357242 w 365091"/>
                <a:gd name="connsiteY23" fmla="*/ 35320 h 276675"/>
                <a:gd name="connsiteX24" fmla="*/ 359204 w 365091"/>
                <a:gd name="connsiteY24" fmla="*/ 41207 h 276675"/>
                <a:gd name="connsiteX25" fmla="*/ 365091 w 365091"/>
                <a:gd name="connsiteY25" fmla="*/ 54943 h 276675"/>
                <a:gd name="connsiteX26" fmla="*/ 345468 w 365091"/>
                <a:gd name="connsiteY26" fmla="*/ 60829 h 276675"/>
                <a:gd name="connsiteX27" fmla="*/ 343506 w 365091"/>
                <a:gd name="connsiteY27" fmla="*/ 74565 h 276675"/>
                <a:gd name="connsiteX28" fmla="*/ 345468 w 365091"/>
                <a:gd name="connsiteY28" fmla="*/ 84376 h 276675"/>
                <a:gd name="connsiteX29" fmla="*/ 337619 w 365091"/>
                <a:gd name="connsiteY29" fmla="*/ 86338 h 276675"/>
                <a:gd name="connsiteX30" fmla="*/ 331733 w 365091"/>
                <a:gd name="connsiteY30" fmla="*/ 90263 h 276675"/>
                <a:gd name="connsiteX31" fmla="*/ 308186 w 365091"/>
                <a:gd name="connsiteY31" fmla="*/ 98112 h 276675"/>
                <a:gd name="connsiteX32" fmla="*/ 302299 w 365091"/>
                <a:gd name="connsiteY32" fmla="*/ 107923 h 276675"/>
                <a:gd name="connsiteX33" fmla="*/ 294450 w 365091"/>
                <a:gd name="connsiteY33" fmla="*/ 121659 h 276675"/>
                <a:gd name="connsiteX34" fmla="*/ 286601 w 365091"/>
                <a:gd name="connsiteY34" fmla="*/ 123621 h 276675"/>
                <a:gd name="connsiteX35" fmla="*/ 274828 w 365091"/>
                <a:gd name="connsiteY35" fmla="*/ 135394 h 276675"/>
                <a:gd name="connsiteX36" fmla="*/ 280715 w 365091"/>
                <a:gd name="connsiteY36" fmla="*/ 139319 h 276675"/>
                <a:gd name="connsiteX37" fmla="*/ 284639 w 365091"/>
                <a:gd name="connsiteY37" fmla="*/ 162865 h 276675"/>
                <a:gd name="connsiteX38" fmla="*/ 293070 w 365091"/>
                <a:gd name="connsiteY38" fmla="*/ 165287 h 276675"/>
                <a:gd name="connsiteX39" fmla="*/ 285681 w 365091"/>
                <a:gd name="connsiteY39" fmla="*/ 181277 h 276675"/>
                <a:gd name="connsiteX40" fmla="*/ 276331 w 365091"/>
                <a:gd name="connsiteY40" fmla="*/ 195303 h 276675"/>
                <a:gd name="connsiteX41" fmla="*/ 264097 w 365091"/>
                <a:gd name="connsiteY41" fmla="*/ 208288 h 276675"/>
                <a:gd name="connsiteX42" fmla="*/ 249319 w 365091"/>
                <a:gd name="connsiteY42" fmla="*/ 207997 h 276675"/>
                <a:gd name="connsiteX43" fmla="*/ 243432 w 365091"/>
                <a:gd name="connsiteY43" fmla="*/ 209959 h 276675"/>
                <a:gd name="connsiteX44" fmla="*/ 241470 w 365091"/>
                <a:gd name="connsiteY44" fmla="*/ 223695 h 276675"/>
                <a:gd name="connsiteX45" fmla="*/ 237546 w 365091"/>
                <a:gd name="connsiteY45" fmla="*/ 243317 h 276675"/>
                <a:gd name="connsiteX46" fmla="*/ 241652 w 365091"/>
                <a:gd name="connsiteY46" fmla="*/ 265974 h 276675"/>
                <a:gd name="connsiteX47" fmla="*/ 208112 w 365091"/>
                <a:gd name="connsiteY47" fmla="*/ 266864 h 276675"/>
                <a:gd name="connsiteX48" fmla="*/ 211329 w 365091"/>
                <a:gd name="connsiteY48" fmla="*/ 274896 h 276675"/>
                <a:gd name="connsiteX49" fmla="*/ 190452 w 365091"/>
                <a:gd name="connsiteY49" fmla="*/ 262939 h 276675"/>
                <a:gd name="connsiteX50" fmla="*/ 168868 w 365091"/>
                <a:gd name="connsiteY50" fmla="*/ 264902 h 276675"/>
                <a:gd name="connsiteX51" fmla="*/ 161019 w 365091"/>
                <a:gd name="connsiteY51" fmla="*/ 260977 h 276675"/>
                <a:gd name="connsiteX52" fmla="*/ 157094 w 365091"/>
                <a:gd name="connsiteY52" fmla="*/ 251166 h 276675"/>
                <a:gd name="connsiteX53" fmla="*/ 151207 w 365091"/>
                <a:gd name="connsiteY53" fmla="*/ 245279 h 276675"/>
                <a:gd name="connsiteX54" fmla="*/ 147283 w 365091"/>
                <a:gd name="connsiteY54" fmla="*/ 237430 h 276675"/>
                <a:gd name="connsiteX55" fmla="*/ 141396 w 365091"/>
                <a:gd name="connsiteY55" fmla="*/ 231544 h 276675"/>
                <a:gd name="connsiteX56" fmla="*/ 137472 w 365091"/>
                <a:gd name="connsiteY56" fmla="*/ 236510 h 276675"/>
                <a:gd name="connsiteX57" fmla="*/ 133547 w 365091"/>
                <a:gd name="connsiteY57" fmla="*/ 241355 h 276675"/>
                <a:gd name="connsiteX58" fmla="*/ 131585 w 365091"/>
                <a:gd name="connsiteY58" fmla="*/ 249204 h 276675"/>
                <a:gd name="connsiteX59" fmla="*/ 125698 w 365091"/>
                <a:gd name="connsiteY59" fmla="*/ 253128 h 276675"/>
                <a:gd name="connsiteX60" fmla="*/ 115887 w 365091"/>
                <a:gd name="connsiteY60" fmla="*/ 260977 h 276675"/>
                <a:gd name="connsiteX61" fmla="*/ 111335 w 365091"/>
                <a:gd name="connsiteY61" fmla="*/ 269868 h 276675"/>
                <a:gd name="connsiteX62" fmla="*/ 98059 w 365091"/>
                <a:gd name="connsiteY62" fmla="*/ 274544 h 276675"/>
                <a:gd name="connsiteX63" fmla="*/ 80567 w 365091"/>
                <a:gd name="connsiteY63" fmla="*/ 273042 h 276675"/>
                <a:gd name="connsiteX64" fmla="*/ 72718 w 365091"/>
                <a:gd name="connsiteY64" fmla="*/ 274713 h 276675"/>
                <a:gd name="connsiteX65" fmla="*/ 66831 w 365091"/>
                <a:gd name="connsiteY65" fmla="*/ 276675 h 276675"/>
                <a:gd name="connsiteX66" fmla="*/ 62907 w 365091"/>
                <a:gd name="connsiteY66" fmla="*/ 272750 h 276675"/>
                <a:gd name="connsiteX67" fmla="*/ 57020 w 365091"/>
                <a:gd name="connsiteY67" fmla="*/ 270788 h 276675"/>
                <a:gd name="connsiteX68" fmla="*/ 17776 w 365091"/>
                <a:gd name="connsiteY68" fmla="*/ 266864 h 276675"/>
                <a:gd name="connsiteX69" fmla="*/ 23662 w 365091"/>
                <a:gd name="connsiteY69" fmla="*/ 259015 h 276675"/>
                <a:gd name="connsiteX70" fmla="*/ 35436 w 365091"/>
                <a:gd name="connsiteY70" fmla="*/ 253128 h 276675"/>
                <a:gd name="connsiteX71" fmla="*/ 35436 w 365091"/>
                <a:gd name="connsiteY71" fmla="*/ 213884 h 276675"/>
                <a:gd name="connsiteX72" fmla="*/ 29549 w 365091"/>
                <a:gd name="connsiteY72" fmla="*/ 209959 h 276675"/>
                <a:gd name="connsiteX73" fmla="*/ 27587 w 365091"/>
                <a:gd name="connsiteY73" fmla="*/ 182488 h 276675"/>
                <a:gd name="connsiteX74" fmla="*/ 33474 w 365091"/>
                <a:gd name="connsiteY74" fmla="*/ 176601 h 276675"/>
                <a:gd name="connsiteX75" fmla="*/ 31511 w 365091"/>
                <a:gd name="connsiteY75" fmla="*/ 162865 h 276675"/>
                <a:gd name="connsiteX76" fmla="*/ 25625 w 365091"/>
                <a:gd name="connsiteY76" fmla="*/ 160903 h 276675"/>
                <a:gd name="connsiteX77" fmla="*/ 19738 w 365091"/>
                <a:gd name="connsiteY77" fmla="*/ 155017 h 276675"/>
                <a:gd name="connsiteX78" fmla="*/ 15813 w 365091"/>
                <a:gd name="connsiteY78" fmla="*/ 147168 h 276675"/>
                <a:gd name="connsiteX79" fmla="*/ 15813 w 365091"/>
                <a:gd name="connsiteY79" fmla="*/ 131470 h 276675"/>
                <a:gd name="connsiteX80" fmla="*/ 4040 w 365091"/>
                <a:gd name="connsiteY80" fmla="*/ 129508 h 276675"/>
                <a:gd name="connsiteX81" fmla="*/ 116 w 365091"/>
                <a:gd name="connsiteY81" fmla="*/ 123621 h 276675"/>
                <a:gd name="connsiteX82" fmla="*/ 7965 w 365091"/>
                <a:gd name="connsiteY82" fmla="*/ 98112 h 276675"/>
                <a:gd name="connsiteX83" fmla="*/ 17776 w 365091"/>
                <a:gd name="connsiteY83" fmla="*/ 94187 h 276675"/>
                <a:gd name="connsiteX84" fmla="*/ 43285 w 365091"/>
                <a:gd name="connsiteY84" fmla="*/ 76527 h 276675"/>
                <a:gd name="connsiteX0" fmla="*/ 43285 w 365091"/>
                <a:gd name="connsiteY0" fmla="*/ 76527 h 276675"/>
                <a:gd name="connsiteX1" fmla="*/ 53096 w 365091"/>
                <a:gd name="connsiteY1" fmla="*/ 78490 h 276675"/>
                <a:gd name="connsiteX2" fmla="*/ 76643 w 365091"/>
                <a:gd name="connsiteY2" fmla="*/ 86338 h 276675"/>
                <a:gd name="connsiteX3" fmla="*/ 82529 w 365091"/>
                <a:gd name="connsiteY3" fmla="*/ 92225 h 276675"/>
                <a:gd name="connsiteX4" fmla="*/ 141396 w 365091"/>
                <a:gd name="connsiteY4" fmla="*/ 92225 h 276675"/>
                <a:gd name="connsiteX5" fmla="*/ 149245 w 365091"/>
                <a:gd name="connsiteY5" fmla="*/ 78490 h 276675"/>
                <a:gd name="connsiteX6" fmla="*/ 157094 w 365091"/>
                <a:gd name="connsiteY6" fmla="*/ 66716 h 276675"/>
                <a:gd name="connsiteX7" fmla="*/ 161019 w 365091"/>
                <a:gd name="connsiteY7" fmla="*/ 60829 h 276675"/>
                <a:gd name="connsiteX8" fmla="*/ 166905 w 365091"/>
                <a:gd name="connsiteY8" fmla="*/ 56905 h 276675"/>
                <a:gd name="connsiteX9" fmla="*/ 182603 w 365091"/>
                <a:gd name="connsiteY9" fmla="*/ 45132 h 276675"/>
                <a:gd name="connsiteX10" fmla="*/ 253244 w 365091"/>
                <a:gd name="connsiteY10" fmla="*/ 39245 h 276675"/>
                <a:gd name="connsiteX11" fmla="*/ 259130 w 365091"/>
                <a:gd name="connsiteY11" fmla="*/ 37283 h 276675"/>
                <a:gd name="connsiteX12" fmla="*/ 278753 w 365091"/>
                <a:gd name="connsiteY12" fmla="*/ 29434 h 276675"/>
                <a:gd name="connsiteX13" fmla="*/ 294450 w 365091"/>
                <a:gd name="connsiteY13" fmla="*/ 25509 h 276675"/>
                <a:gd name="connsiteX14" fmla="*/ 298375 w 365091"/>
                <a:gd name="connsiteY14" fmla="*/ 21585 h 276675"/>
                <a:gd name="connsiteX15" fmla="*/ 306224 w 365091"/>
                <a:gd name="connsiteY15" fmla="*/ 11774 h 276675"/>
                <a:gd name="connsiteX16" fmla="*/ 312110 w 365091"/>
                <a:gd name="connsiteY16" fmla="*/ 9811 h 276675"/>
                <a:gd name="connsiteX17" fmla="*/ 321922 w 365091"/>
                <a:gd name="connsiteY17" fmla="*/ 1962 h 276675"/>
                <a:gd name="connsiteX18" fmla="*/ 327808 w 365091"/>
                <a:gd name="connsiteY18" fmla="*/ 0 h 276675"/>
                <a:gd name="connsiteX19" fmla="*/ 337619 w 365091"/>
                <a:gd name="connsiteY19" fmla="*/ 1962 h 276675"/>
                <a:gd name="connsiteX20" fmla="*/ 339582 w 365091"/>
                <a:gd name="connsiteY20" fmla="*/ 7849 h 276675"/>
                <a:gd name="connsiteX21" fmla="*/ 341544 w 365091"/>
                <a:gd name="connsiteY21" fmla="*/ 19623 h 276675"/>
                <a:gd name="connsiteX22" fmla="*/ 347431 w 365091"/>
                <a:gd name="connsiteY22" fmla="*/ 25509 h 276675"/>
                <a:gd name="connsiteX23" fmla="*/ 357242 w 365091"/>
                <a:gd name="connsiteY23" fmla="*/ 35320 h 276675"/>
                <a:gd name="connsiteX24" fmla="*/ 359204 w 365091"/>
                <a:gd name="connsiteY24" fmla="*/ 41207 h 276675"/>
                <a:gd name="connsiteX25" fmla="*/ 365091 w 365091"/>
                <a:gd name="connsiteY25" fmla="*/ 54943 h 276675"/>
                <a:gd name="connsiteX26" fmla="*/ 345468 w 365091"/>
                <a:gd name="connsiteY26" fmla="*/ 60829 h 276675"/>
                <a:gd name="connsiteX27" fmla="*/ 343506 w 365091"/>
                <a:gd name="connsiteY27" fmla="*/ 74565 h 276675"/>
                <a:gd name="connsiteX28" fmla="*/ 345468 w 365091"/>
                <a:gd name="connsiteY28" fmla="*/ 84376 h 276675"/>
                <a:gd name="connsiteX29" fmla="*/ 337619 w 365091"/>
                <a:gd name="connsiteY29" fmla="*/ 86338 h 276675"/>
                <a:gd name="connsiteX30" fmla="*/ 331733 w 365091"/>
                <a:gd name="connsiteY30" fmla="*/ 90263 h 276675"/>
                <a:gd name="connsiteX31" fmla="*/ 308186 w 365091"/>
                <a:gd name="connsiteY31" fmla="*/ 98112 h 276675"/>
                <a:gd name="connsiteX32" fmla="*/ 302299 w 365091"/>
                <a:gd name="connsiteY32" fmla="*/ 107923 h 276675"/>
                <a:gd name="connsiteX33" fmla="*/ 294450 w 365091"/>
                <a:gd name="connsiteY33" fmla="*/ 121659 h 276675"/>
                <a:gd name="connsiteX34" fmla="*/ 286601 w 365091"/>
                <a:gd name="connsiteY34" fmla="*/ 123621 h 276675"/>
                <a:gd name="connsiteX35" fmla="*/ 274828 w 365091"/>
                <a:gd name="connsiteY35" fmla="*/ 135394 h 276675"/>
                <a:gd name="connsiteX36" fmla="*/ 280715 w 365091"/>
                <a:gd name="connsiteY36" fmla="*/ 139319 h 276675"/>
                <a:gd name="connsiteX37" fmla="*/ 284639 w 365091"/>
                <a:gd name="connsiteY37" fmla="*/ 162865 h 276675"/>
                <a:gd name="connsiteX38" fmla="*/ 293070 w 365091"/>
                <a:gd name="connsiteY38" fmla="*/ 165287 h 276675"/>
                <a:gd name="connsiteX39" fmla="*/ 285681 w 365091"/>
                <a:gd name="connsiteY39" fmla="*/ 181277 h 276675"/>
                <a:gd name="connsiteX40" fmla="*/ 276331 w 365091"/>
                <a:gd name="connsiteY40" fmla="*/ 195303 h 276675"/>
                <a:gd name="connsiteX41" fmla="*/ 264097 w 365091"/>
                <a:gd name="connsiteY41" fmla="*/ 208288 h 276675"/>
                <a:gd name="connsiteX42" fmla="*/ 249319 w 365091"/>
                <a:gd name="connsiteY42" fmla="*/ 207997 h 276675"/>
                <a:gd name="connsiteX43" fmla="*/ 243432 w 365091"/>
                <a:gd name="connsiteY43" fmla="*/ 209959 h 276675"/>
                <a:gd name="connsiteX44" fmla="*/ 241470 w 365091"/>
                <a:gd name="connsiteY44" fmla="*/ 223695 h 276675"/>
                <a:gd name="connsiteX45" fmla="*/ 237546 w 365091"/>
                <a:gd name="connsiteY45" fmla="*/ 243317 h 276675"/>
                <a:gd name="connsiteX46" fmla="*/ 241652 w 365091"/>
                <a:gd name="connsiteY46" fmla="*/ 265974 h 276675"/>
                <a:gd name="connsiteX47" fmla="*/ 208112 w 365091"/>
                <a:gd name="connsiteY47" fmla="*/ 266864 h 276675"/>
                <a:gd name="connsiteX48" fmla="*/ 211329 w 365091"/>
                <a:gd name="connsiteY48" fmla="*/ 274896 h 276675"/>
                <a:gd name="connsiteX49" fmla="*/ 190452 w 365091"/>
                <a:gd name="connsiteY49" fmla="*/ 262939 h 276675"/>
                <a:gd name="connsiteX50" fmla="*/ 168868 w 365091"/>
                <a:gd name="connsiteY50" fmla="*/ 264902 h 276675"/>
                <a:gd name="connsiteX51" fmla="*/ 161019 w 365091"/>
                <a:gd name="connsiteY51" fmla="*/ 260977 h 276675"/>
                <a:gd name="connsiteX52" fmla="*/ 157094 w 365091"/>
                <a:gd name="connsiteY52" fmla="*/ 251166 h 276675"/>
                <a:gd name="connsiteX53" fmla="*/ 151207 w 365091"/>
                <a:gd name="connsiteY53" fmla="*/ 245279 h 276675"/>
                <a:gd name="connsiteX54" fmla="*/ 147283 w 365091"/>
                <a:gd name="connsiteY54" fmla="*/ 237430 h 276675"/>
                <a:gd name="connsiteX55" fmla="*/ 141396 w 365091"/>
                <a:gd name="connsiteY55" fmla="*/ 231544 h 276675"/>
                <a:gd name="connsiteX56" fmla="*/ 137472 w 365091"/>
                <a:gd name="connsiteY56" fmla="*/ 236510 h 276675"/>
                <a:gd name="connsiteX57" fmla="*/ 133547 w 365091"/>
                <a:gd name="connsiteY57" fmla="*/ 241355 h 276675"/>
                <a:gd name="connsiteX58" fmla="*/ 131585 w 365091"/>
                <a:gd name="connsiteY58" fmla="*/ 249204 h 276675"/>
                <a:gd name="connsiteX59" fmla="*/ 125698 w 365091"/>
                <a:gd name="connsiteY59" fmla="*/ 253128 h 276675"/>
                <a:gd name="connsiteX60" fmla="*/ 115887 w 365091"/>
                <a:gd name="connsiteY60" fmla="*/ 260977 h 276675"/>
                <a:gd name="connsiteX61" fmla="*/ 111335 w 365091"/>
                <a:gd name="connsiteY61" fmla="*/ 269868 h 276675"/>
                <a:gd name="connsiteX62" fmla="*/ 98059 w 365091"/>
                <a:gd name="connsiteY62" fmla="*/ 274544 h 276675"/>
                <a:gd name="connsiteX63" fmla="*/ 80567 w 365091"/>
                <a:gd name="connsiteY63" fmla="*/ 273042 h 276675"/>
                <a:gd name="connsiteX64" fmla="*/ 72718 w 365091"/>
                <a:gd name="connsiteY64" fmla="*/ 274713 h 276675"/>
                <a:gd name="connsiteX65" fmla="*/ 66831 w 365091"/>
                <a:gd name="connsiteY65" fmla="*/ 276675 h 276675"/>
                <a:gd name="connsiteX66" fmla="*/ 62907 w 365091"/>
                <a:gd name="connsiteY66" fmla="*/ 272750 h 276675"/>
                <a:gd name="connsiteX67" fmla="*/ 57020 w 365091"/>
                <a:gd name="connsiteY67" fmla="*/ 270788 h 276675"/>
                <a:gd name="connsiteX68" fmla="*/ 17776 w 365091"/>
                <a:gd name="connsiteY68" fmla="*/ 266864 h 276675"/>
                <a:gd name="connsiteX69" fmla="*/ 23662 w 365091"/>
                <a:gd name="connsiteY69" fmla="*/ 259015 h 276675"/>
                <a:gd name="connsiteX70" fmla="*/ 35436 w 365091"/>
                <a:gd name="connsiteY70" fmla="*/ 253128 h 276675"/>
                <a:gd name="connsiteX71" fmla="*/ 35436 w 365091"/>
                <a:gd name="connsiteY71" fmla="*/ 213884 h 276675"/>
                <a:gd name="connsiteX72" fmla="*/ 29549 w 365091"/>
                <a:gd name="connsiteY72" fmla="*/ 209959 h 276675"/>
                <a:gd name="connsiteX73" fmla="*/ 27587 w 365091"/>
                <a:gd name="connsiteY73" fmla="*/ 182488 h 276675"/>
                <a:gd name="connsiteX74" fmla="*/ 33474 w 365091"/>
                <a:gd name="connsiteY74" fmla="*/ 176601 h 276675"/>
                <a:gd name="connsiteX75" fmla="*/ 31511 w 365091"/>
                <a:gd name="connsiteY75" fmla="*/ 162865 h 276675"/>
                <a:gd name="connsiteX76" fmla="*/ 1812 w 365091"/>
                <a:gd name="connsiteY76" fmla="*/ 184715 h 276675"/>
                <a:gd name="connsiteX77" fmla="*/ 19738 w 365091"/>
                <a:gd name="connsiteY77" fmla="*/ 155017 h 276675"/>
                <a:gd name="connsiteX78" fmla="*/ 15813 w 365091"/>
                <a:gd name="connsiteY78" fmla="*/ 147168 h 276675"/>
                <a:gd name="connsiteX79" fmla="*/ 15813 w 365091"/>
                <a:gd name="connsiteY79" fmla="*/ 131470 h 276675"/>
                <a:gd name="connsiteX80" fmla="*/ 4040 w 365091"/>
                <a:gd name="connsiteY80" fmla="*/ 129508 h 276675"/>
                <a:gd name="connsiteX81" fmla="*/ 116 w 365091"/>
                <a:gd name="connsiteY81" fmla="*/ 123621 h 276675"/>
                <a:gd name="connsiteX82" fmla="*/ 7965 w 365091"/>
                <a:gd name="connsiteY82" fmla="*/ 98112 h 276675"/>
                <a:gd name="connsiteX83" fmla="*/ 17776 w 365091"/>
                <a:gd name="connsiteY83" fmla="*/ 94187 h 276675"/>
                <a:gd name="connsiteX84" fmla="*/ 43285 w 365091"/>
                <a:gd name="connsiteY84" fmla="*/ 76527 h 276675"/>
                <a:gd name="connsiteX0" fmla="*/ 51611 w 373417"/>
                <a:gd name="connsiteY0" fmla="*/ 76527 h 276675"/>
                <a:gd name="connsiteX1" fmla="*/ 61422 w 373417"/>
                <a:gd name="connsiteY1" fmla="*/ 78490 h 276675"/>
                <a:gd name="connsiteX2" fmla="*/ 84969 w 373417"/>
                <a:gd name="connsiteY2" fmla="*/ 86338 h 276675"/>
                <a:gd name="connsiteX3" fmla="*/ 90855 w 373417"/>
                <a:gd name="connsiteY3" fmla="*/ 92225 h 276675"/>
                <a:gd name="connsiteX4" fmla="*/ 149722 w 373417"/>
                <a:gd name="connsiteY4" fmla="*/ 92225 h 276675"/>
                <a:gd name="connsiteX5" fmla="*/ 157571 w 373417"/>
                <a:gd name="connsiteY5" fmla="*/ 78490 h 276675"/>
                <a:gd name="connsiteX6" fmla="*/ 165420 w 373417"/>
                <a:gd name="connsiteY6" fmla="*/ 66716 h 276675"/>
                <a:gd name="connsiteX7" fmla="*/ 169345 w 373417"/>
                <a:gd name="connsiteY7" fmla="*/ 60829 h 276675"/>
                <a:gd name="connsiteX8" fmla="*/ 175231 w 373417"/>
                <a:gd name="connsiteY8" fmla="*/ 56905 h 276675"/>
                <a:gd name="connsiteX9" fmla="*/ 190929 w 373417"/>
                <a:gd name="connsiteY9" fmla="*/ 45132 h 276675"/>
                <a:gd name="connsiteX10" fmla="*/ 261570 w 373417"/>
                <a:gd name="connsiteY10" fmla="*/ 39245 h 276675"/>
                <a:gd name="connsiteX11" fmla="*/ 267456 w 373417"/>
                <a:gd name="connsiteY11" fmla="*/ 37283 h 276675"/>
                <a:gd name="connsiteX12" fmla="*/ 287079 w 373417"/>
                <a:gd name="connsiteY12" fmla="*/ 29434 h 276675"/>
                <a:gd name="connsiteX13" fmla="*/ 302776 w 373417"/>
                <a:gd name="connsiteY13" fmla="*/ 25509 h 276675"/>
                <a:gd name="connsiteX14" fmla="*/ 306701 w 373417"/>
                <a:gd name="connsiteY14" fmla="*/ 21585 h 276675"/>
                <a:gd name="connsiteX15" fmla="*/ 314550 w 373417"/>
                <a:gd name="connsiteY15" fmla="*/ 11774 h 276675"/>
                <a:gd name="connsiteX16" fmla="*/ 320436 w 373417"/>
                <a:gd name="connsiteY16" fmla="*/ 9811 h 276675"/>
                <a:gd name="connsiteX17" fmla="*/ 330248 w 373417"/>
                <a:gd name="connsiteY17" fmla="*/ 1962 h 276675"/>
                <a:gd name="connsiteX18" fmla="*/ 336134 w 373417"/>
                <a:gd name="connsiteY18" fmla="*/ 0 h 276675"/>
                <a:gd name="connsiteX19" fmla="*/ 345945 w 373417"/>
                <a:gd name="connsiteY19" fmla="*/ 1962 h 276675"/>
                <a:gd name="connsiteX20" fmla="*/ 347908 w 373417"/>
                <a:gd name="connsiteY20" fmla="*/ 7849 h 276675"/>
                <a:gd name="connsiteX21" fmla="*/ 349870 w 373417"/>
                <a:gd name="connsiteY21" fmla="*/ 19623 h 276675"/>
                <a:gd name="connsiteX22" fmla="*/ 355757 w 373417"/>
                <a:gd name="connsiteY22" fmla="*/ 25509 h 276675"/>
                <a:gd name="connsiteX23" fmla="*/ 365568 w 373417"/>
                <a:gd name="connsiteY23" fmla="*/ 35320 h 276675"/>
                <a:gd name="connsiteX24" fmla="*/ 367530 w 373417"/>
                <a:gd name="connsiteY24" fmla="*/ 41207 h 276675"/>
                <a:gd name="connsiteX25" fmla="*/ 373417 w 373417"/>
                <a:gd name="connsiteY25" fmla="*/ 54943 h 276675"/>
                <a:gd name="connsiteX26" fmla="*/ 353794 w 373417"/>
                <a:gd name="connsiteY26" fmla="*/ 60829 h 276675"/>
                <a:gd name="connsiteX27" fmla="*/ 351832 w 373417"/>
                <a:gd name="connsiteY27" fmla="*/ 74565 h 276675"/>
                <a:gd name="connsiteX28" fmla="*/ 353794 w 373417"/>
                <a:gd name="connsiteY28" fmla="*/ 84376 h 276675"/>
                <a:gd name="connsiteX29" fmla="*/ 345945 w 373417"/>
                <a:gd name="connsiteY29" fmla="*/ 86338 h 276675"/>
                <a:gd name="connsiteX30" fmla="*/ 340059 w 373417"/>
                <a:gd name="connsiteY30" fmla="*/ 90263 h 276675"/>
                <a:gd name="connsiteX31" fmla="*/ 316512 w 373417"/>
                <a:gd name="connsiteY31" fmla="*/ 98112 h 276675"/>
                <a:gd name="connsiteX32" fmla="*/ 310625 w 373417"/>
                <a:gd name="connsiteY32" fmla="*/ 107923 h 276675"/>
                <a:gd name="connsiteX33" fmla="*/ 302776 w 373417"/>
                <a:gd name="connsiteY33" fmla="*/ 121659 h 276675"/>
                <a:gd name="connsiteX34" fmla="*/ 294927 w 373417"/>
                <a:gd name="connsiteY34" fmla="*/ 123621 h 276675"/>
                <a:gd name="connsiteX35" fmla="*/ 283154 w 373417"/>
                <a:gd name="connsiteY35" fmla="*/ 135394 h 276675"/>
                <a:gd name="connsiteX36" fmla="*/ 289041 w 373417"/>
                <a:gd name="connsiteY36" fmla="*/ 139319 h 276675"/>
                <a:gd name="connsiteX37" fmla="*/ 292965 w 373417"/>
                <a:gd name="connsiteY37" fmla="*/ 162865 h 276675"/>
                <a:gd name="connsiteX38" fmla="*/ 301396 w 373417"/>
                <a:gd name="connsiteY38" fmla="*/ 165287 h 276675"/>
                <a:gd name="connsiteX39" fmla="*/ 294007 w 373417"/>
                <a:gd name="connsiteY39" fmla="*/ 181277 h 276675"/>
                <a:gd name="connsiteX40" fmla="*/ 284657 w 373417"/>
                <a:gd name="connsiteY40" fmla="*/ 195303 h 276675"/>
                <a:gd name="connsiteX41" fmla="*/ 272423 w 373417"/>
                <a:gd name="connsiteY41" fmla="*/ 208288 h 276675"/>
                <a:gd name="connsiteX42" fmla="*/ 257645 w 373417"/>
                <a:gd name="connsiteY42" fmla="*/ 207997 h 276675"/>
                <a:gd name="connsiteX43" fmla="*/ 251758 w 373417"/>
                <a:gd name="connsiteY43" fmla="*/ 209959 h 276675"/>
                <a:gd name="connsiteX44" fmla="*/ 249796 w 373417"/>
                <a:gd name="connsiteY44" fmla="*/ 223695 h 276675"/>
                <a:gd name="connsiteX45" fmla="*/ 245872 w 373417"/>
                <a:gd name="connsiteY45" fmla="*/ 243317 h 276675"/>
                <a:gd name="connsiteX46" fmla="*/ 249978 w 373417"/>
                <a:gd name="connsiteY46" fmla="*/ 265974 h 276675"/>
                <a:gd name="connsiteX47" fmla="*/ 216438 w 373417"/>
                <a:gd name="connsiteY47" fmla="*/ 266864 h 276675"/>
                <a:gd name="connsiteX48" fmla="*/ 219655 w 373417"/>
                <a:gd name="connsiteY48" fmla="*/ 274896 h 276675"/>
                <a:gd name="connsiteX49" fmla="*/ 198778 w 373417"/>
                <a:gd name="connsiteY49" fmla="*/ 262939 h 276675"/>
                <a:gd name="connsiteX50" fmla="*/ 177194 w 373417"/>
                <a:gd name="connsiteY50" fmla="*/ 264902 h 276675"/>
                <a:gd name="connsiteX51" fmla="*/ 169345 w 373417"/>
                <a:gd name="connsiteY51" fmla="*/ 260977 h 276675"/>
                <a:gd name="connsiteX52" fmla="*/ 165420 w 373417"/>
                <a:gd name="connsiteY52" fmla="*/ 251166 h 276675"/>
                <a:gd name="connsiteX53" fmla="*/ 159533 w 373417"/>
                <a:gd name="connsiteY53" fmla="*/ 245279 h 276675"/>
                <a:gd name="connsiteX54" fmla="*/ 155609 w 373417"/>
                <a:gd name="connsiteY54" fmla="*/ 237430 h 276675"/>
                <a:gd name="connsiteX55" fmla="*/ 149722 w 373417"/>
                <a:gd name="connsiteY55" fmla="*/ 231544 h 276675"/>
                <a:gd name="connsiteX56" fmla="*/ 145798 w 373417"/>
                <a:gd name="connsiteY56" fmla="*/ 236510 h 276675"/>
                <a:gd name="connsiteX57" fmla="*/ 141873 w 373417"/>
                <a:gd name="connsiteY57" fmla="*/ 241355 h 276675"/>
                <a:gd name="connsiteX58" fmla="*/ 139911 w 373417"/>
                <a:gd name="connsiteY58" fmla="*/ 249204 h 276675"/>
                <a:gd name="connsiteX59" fmla="*/ 134024 w 373417"/>
                <a:gd name="connsiteY59" fmla="*/ 253128 h 276675"/>
                <a:gd name="connsiteX60" fmla="*/ 124213 w 373417"/>
                <a:gd name="connsiteY60" fmla="*/ 260977 h 276675"/>
                <a:gd name="connsiteX61" fmla="*/ 119661 w 373417"/>
                <a:gd name="connsiteY61" fmla="*/ 269868 h 276675"/>
                <a:gd name="connsiteX62" fmla="*/ 106385 w 373417"/>
                <a:gd name="connsiteY62" fmla="*/ 274544 h 276675"/>
                <a:gd name="connsiteX63" fmla="*/ 88893 w 373417"/>
                <a:gd name="connsiteY63" fmla="*/ 273042 h 276675"/>
                <a:gd name="connsiteX64" fmla="*/ 81044 w 373417"/>
                <a:gd name="connsiteY64" fmla="*/ 274713 h 276675"/>
                <a:gd name="connsiteX65" fmla="*/ 75157 w 373417"/>
                <a:gd name="connsiteY65" fmla="*/ 276675 h 276675"/>
                <a:gd name="connsiteX66" fmla="*/ 71233 w 373417"/>
                <a:gd name="connsiteY66" fmla="*/ 272750 h 276675"/>
                <a:gd name="connsiteX67" fmla="*/ 65346 w 373417"/>
                <a:gd name="connsiteY67" fmla="*/ 270788 h 276675"/>
                <a:gd name="connsiteX68" fmla="*/ 26102 w 373417"/>
                <a:gd name="connsiteY68" fmla="*/ 266864 h 276675"/>
                <a:gd name="connsiteX69" fmla="*/ 31988 w 373417"/>
                <a:gd name="connsiteY69" fmla="*/ 259015 h 276675"/>
                <a:gd name="connsiteX70" fmla="*/ 43762 w 373417"/>
                <a:gd name="connsiteY70" fmla="*/ 253128 h 276675"/>
                <a:gd name="connsiteX71" fmla="*/ 43762 w 373417"/>
                <a:gd name="connsiteY71" fmla="*/ 213884 h 276675"/>
                <a:gd name="connsiteX72" fmla="*/ 37875 w 373417"/>
                <a:gd name="connsiteY72" fmla="*/ 209959 h 276675"/>
                <a:gd name="connsiteX73" fmla="*/ 35913 w 373417"/>
                <a:gd name="connsiteY73" fmla="*/ 182488 h 276675"/>
                <a:gd name="connsiteX74" fmla="*/ 41800 w 373417"/>
                <a:gd name="connsiteY74" fmla="*/ 176601 h 276675"/>
                <a:gd name="connsiteX75" fmla="*/ 39837 w 373417"/>
                <a:gd name="connsiteY75" fmla="*/ 162865 h 276675"/>
                <a:gd name="connsiteX76" fmla="*/ 10138 w 373417"/>
                <a:gd name="connsiteY76" fmla="*/ 184715 h 276675"/>
                <a:gd name="connsiteX77" fmla="*/ 28064 w 373417"/>
                <a:gd name="connsiteY77" fmla="*/ 155017 h 276675"/>
                <a:gd name="connsiteX78" fmla="*/ 24139 w 373417"/>
                <a:gd name="connsiteY78" fmla="*/ 147168 h 276675"/>
                <a:gd name="connsiteX79" fmla="*/ 327 w 373417"/>
                <a:gd name="connsiteY79" fmla="*/ 131470 h 276675"/>
                <a:gd name="connsiteX80" fmla="*/ 12366 w 373417"/>
                <a:gd name="connsiteY80" fmla="*/ 129508 h 276675"/>
                <a:gd name="connsiteX81" fmla="*/ 8442 w 373417"/>
                <a:gd name="connsiteY81" fmla="*/ 123621 h 276675"/>
                <a:gd name="connsiteX82" fmla="*/ 16291 w 373417"/>
                <a:gd name="connsiteY82" fmla="*/ 98112 h 276675"/>
                <a:gd name="connsiteX83" fmla="*/ 26102 w 373417"/>
                <a:gd name="connsiteY83" fmla="*/ 94187 h 276675"/>
                <a:gd name="connsiteX84" fmla="*/ 51611 w 373417"/>
                <a:gd name="connsiteY84" fmla="*/ 76527 h 276675"/>
                <a:gd name="connsiteX0" fmla="*/ 51611 w 373417"/>
                <a:gd name="connsiteY0" fmla="*/ 76527 h 276675"/>
                <a:gd name="connsiteX1" fmla="*/ 61422 w 373417"/>
                <a:gd name="connsiteY1" fmla="*/ 78490 h 276675"/>
                <a:gd name="connsiteX2" fmla="*/ 84969 w 373417"/>
                <a:gd name="connsiteY2" fmla="*/ 86338 h 276675"/>
                <a:gd name="connsiteX3" fmla="*/ 90855 w 373417"/>
                <a:gd name="connsiteY3" fmla="*/ 92225 h 276675"/>
                <a:gd name="connsiteX4" fmla="*/ 149722 w 373417"/>
                <a:gd name="connsiteY4" fmla="*/ 92225 h 276675"/>
                <a:gd name="connsiteX5" fmla="*/ 157571 w 373417"/>
                <a:gd name="connsiteY5" fmla="*/ 78490 h 276675"/>
                <a:gd name="connsiteX6" fmla="*/ 165420 w 373417"/>
                <a:gd name="connsiteY6" fmla="*/ 66716 h 276675"/>
                <a:gd name="connsiteX7" fmla="*/ 169345 w 373417"/>
                <a:gd name="connsiteY7" fmla="*/ 60829 h 276675"/>
                <a:gd name="connsiteX8" fmla="*/ 175231 w 373417"/>
                <a:gd name="connsiteY8" fmla="*/ 56905 h 276675"/>
                <a:gd name="connsiteX9" fmla="*/ 190929 w 373417"/>
                <a:gd name="connsiteY9" fmla="*/ 45132 h 276675"/>
                <a:gd name="connsiteX10" fmla="*/ 261570 w 373417"/>
                <a:gd name="connsiteY10" fmla="*/ 39245 h 276675"/>
                <a:gd name="connsiteX11" fmla="*/ 267456 w 373417"/>
                <a:gd name="connsiteY11" fmla="*/ 37283 h 276675"/>
                <a:gd name="connsiteX12" fmla="*/ 287079 w 373417"/>
                <a:gd name="connsiteY12" fmla="*/ 29434 h 276675"/>
                <a:gd name="connsiteX13" fmla="*/ 302776 w 373417"/>
                <a:gd name="connsiteY13" fmla="*/ 25509 h 276675"/>
                <a:gd name="connsiteX14" fmla="*/ 306701 w 373417"/>
                <a:gd name="connsiteY14" fmla="*/ 21585 h 276675"/>
                <a:gd name="connsiteX15" fmla="*/ 314550 w 373417"/>
                <a:gd name="connsiteY15" fmla="*/ 11774 h 276675"/>
                <a:gd name="connsiteX16" fmla="*/ 320436 w 373417"/>
                <a:gd name="connsiteY16" fmla="*/ 9811 h 276675"/>
                <a:gd name="connsiteX17" fmla="*/ 330248 w 373417"/>
                <a:gd name="connsiteY17" fmla="*/ 1962 h 276675"/>
                <a:gd name="connsiteX18" fmla="*/ 336134 w 373417"/>
                <a:gd name="connsiteY18" fmla="*/ 0 h 276675"/>
                <a:gd name="connsiteX19" fmla="*/ 345945 w 373417"/>
                <a:gd name="connsiteY19" fmla="*/ 1962 h 276675"/>
                <a:gd name="connsiteX20" fmla="*/ 347908 w 373417"/>
                <a:gd name="connsiteY20" fmla="*/ 7849 h 276675"/>
                <a:gd name="connsiteX21" fmla="*/ 349870 w 373417"/>
                <a:gd name="connsiteY21" fmla="*/ 19623 h 276675"/>
                <a:gd name="connsiteX22" fmla="*/ 355757 w 373417"/>
                <a:gd name="connsiteY22" fmla="*/ 25509 h 276675"/>
                <a:gd name="connsiteX23" fmla="*/ 365568 w 373417"/>
                <a:gd name="connsiteY23" fmla="*/ 35320 h 276675"/>
                <a:gd name="connsiteX24" fmla="*/ 367530 w 373417"/>
                <a:gd name="connsiteY24" fmla="*/ 41207 h 276675"/>
                <a:gd name="connsiteX25" fmla="*/ 373417 w 373417"/>
                <a:gd name="connsiteY25" fmla="*/ 54943 h 276675"/>
                <a:gd name="connsiteX26" fmla="*/ 353794 w 373417"/>
                <a:gd name="connsiteY26" fmla="*/ 60829 h 276675"/>
                <a:gd name="connsiteX27" fmla="*/ 351832 w 373417"/>
                <a:gd name="connsiteY27" fmla="*/ 74565 h 276675"/>
                <a:gd name="connsiteX28" fmla="*/ 353794 w 373417"/>
                <a:gd name="connsiteY28" fmla="*/ 84376 h 276675"/>
                <a:gd name="connsiteX29" fmla="*/ 345945 w 373417"/>
                <a:gd name="connsiteY29" fmla="*/ 86338 h 276675"/>
                <a:gd name="connsiteX30" fmla="*/ 340059 w 373417"/>
                <a:gd name="connsiteY30" fmla="*/ 90263 h 276675"/>
                <a:gd name="connsiteX31" fmla="*/ 316512 w 373417"/>
                <a:gd name="connsiteY31" fmla="*/ 98112 h 276675"/>
                <a:gd name="connsiteX32" fmla="*/ 310625 w 373417"/>
                <a:gd name="connsiteY32" fmla="*/ 107923 h 276675"/>
                <a:gd name="connsiteX33" fmla="*/ 302776 w 373417"/>
                <a:gd name="connsiteY33" fmla="*/ 121659 h 276675"/>
                <a:gd name="connsiteX34" fmla="*/ 294927 w 373417"/>
                <a:gd name="connsiteY34" fmla="*/ 123621 h 276675"/>
                <a:gd name="connsiteX35" fmla="*/ 283154 w 373417"/>
                <a:gd name="connsiteY35" fmla="*/ 135394 h 276675"/>
                <a:gd name="connsiteX36" fmla="*/ 289041 w 373417"/>
                <a:gd name="connsiteY36" fmla="*/ 139319 h 276675"/>
                <a:gd name="connsiteX37" fmla="*/ 292965 w 373417"/>
                <a:gd name="connsiteY37" fmla="*/ 162865 h 276675"/>
                <a:gd name="connsiteX38" fmla="*/ 301396 w 373417"/>
                <a:gd name="connsiteY38" fmla="*/ 165287 h 276675"/>
                <a:gd name="connsiteX39" fmla="*/ 294007 w 373417"/>
                <a:gd name="connsiteY39" fmla="*/ 181277 h 276675"/>
                <a:gd name="connsiteX40" fmla="*/ 284657 w 373417"/>
                <a:gd name="connsiteY40" fmla="*/ 195303 h 276675"/>
                <a:gd name="connsiteX41" fmla="*/ 272423 w 373417"/>
                <a:gd name="connsiteY41" fmla="*/ 208288 h 276675"/>
                <a:gd name="connsiteX42" fmla="*/ 257645 w 373417"/>
                <a:gd name="connsiteY42" fmla="*/ 207997 h 276675"/>
                <a:gd name="connsiteX43" fmla="*/ 251758 w 373417"/>
                <a:gd name="connsiteY43" fmla="*/ 209959 h 276675"/>
                <a:gd name="connsiteX44" fmla="*/ 249796 w 373417"/>
                <a:gd name="connsiteY44" fmla="*/ 223695 h 276675"/>
                <a:gd name="connsiteX45" fmla="*/ 245872 w 373417"/>
                <a:gd name="connsiteY45" fmla="*/ 243317 h 276675"/>
                <a:gd name="connsiteX46" fmla="*/ 249978 w 373417"/>
                <a:gd name="connsiteY46" fmla="*/ 265974 h 276675"/>
                <a:gd name="connsiteX47" fmla="*/ 216438 w 373417"/>
                <a:gd name="connsiteY47" fmla="*/ 266864 h 276675"/>
                <a:gd name="connsiteX48" fmla="*/ 219655 w 373417"/>
                <a:gd name="connsiteY48" fmla="*/ 274896 h 276675"/>
                <a:gd name="connsiteX49" fmla="*/ 198778 w 373417"/>
                <a:gd name="connsiteY49" fmla="*/ 262939 h 276675"/>
                <a:gd name="connsiteX50" fmla="*/ 177194 w 373417"/>
                <a:gd name="connsiteY50" fmla="*/ 264902 h 276675"/>
                <a:gd name="connsiteX51" fmla="*/ 169345 w 373417"/>
                <a:gd name="connsiteY51" fmla="*/ 260977 h 276675"/>
                <a:gd name="connsiteX52" fmla="*/ 165420 w 373417"/>
                <a:gd name="connsiteY52" fmla="*/ 251166 h 276675"/>
                <a:gd name="connsiteX53" fmla="*/ 159533 w 373417"/>
                <a:gd name="connsiteY53" fmla="*/ 245279 h 276675"/>
                <a:gd name="connsiteX54" fmla="*/ 155609 w 373417"/>
                <a:gd name="connsiteY54" fmla="*/ 237430 h 276675"/>
                <a:gd name="connsiteX55" fmla="*/ 149722 w 373417"/>
                <a:gd name="connsiteY55" fmla="*/ 231544 h 276675"/>
                <a:gd name="connsiteX56" fmla="*/ 145798 w 373417"/>
                <a:gd name="connsiteY56" fmla="*/ 236510 h 276675"/>
                <a:gd name="connsiteX57" fmla="*/ 141873 w 373417"/>
                <a:gd name="connsiteY57" fmla="*/ 241355 h 276675"/>
                <a:gd name="connsiteX58" fmla="*/ 139911 w 373417"/>
                <a:gd name="connsiteY58" fmla="*/ 249204 h 276675"/>
                <a:gd name="connsiteX59" fmla="*/ 134024 w 373417"/>
                <a:gd name="connsiteY59" fmla="*/ 253128 h 276675"/>
                <a:gd name="connsiteX60" fmla="*/ 124213 w 373417"/>
                <a:gd name="connsiteY60" fmla="*/ 260977 h 276675"/>
                <a:gd name="connsiteX61" fmla="*/ 119661 w 373417"/>
                <a:gd name="connsiteY61" fmla="*/ 269868 h 276675"/>
                <a:gd name="connsiteX62" fmla="*/ 106385 w 373417"/>
                <a:gd name="connsiteY62" fmla="*/ 274544 h 276675"/>
                <a:gd name="connsiteX63" fmla="*/ 88893 w 373417"/>
                <a:gd name="connsiteY63" fmla="*/ 273042 h 276675"/>
                <a:gd name="connsiteX64" fmla="*/ 81044 w 373417"/>
                <a:gd name="connsiteY64" fmla="*/ 274713 h 276675"/>
                <a:gd name="connsiteX65" fmla="*/ 75157 w 373417"/>
                <a:gd name="connsiteY65" fmla="*/ 276675 h 276675"/>
                <a:gd name="connsiteX66" fmla="*/ 71233 w 373417"/>
                <a:gd name="connsiteY66" fmla="*/ 272750 h 276675"/>
                <a:gd name="connsiteX67" fmla="*/ 65346 w 373417"/>
                <a:gd name="connsiteY67" fmla="*/ 270788 h 276675"/>
                <a:gd name="connsiteX68" fmla="*/ 26102 w 373417"/>
                <a:gd name="connsiteY68" fmla="*/ 266864 h 276675"/>
                <a:gd name="connsiteX69" fmla="*/ 31988 w 373417"/>
                <a:gd name="connsiteY69" fmla="*/ 259015 h 276675"/>
                <a:gd name="connsiteX70" fmla="*/ 43762 w 373417"/>
                <a:gd name="connsiteY70" fmla="*/ 253128 h 276675"/>
                <a:gd name="connsiteX71" fmla="*/ 43762 w 373417"/>
                <a:gd name="connsiteY71" fmla="*/ 213884 h 276675"/>
                <a:gd name="connsiteX72" fmla="*/ 37875 w 373417"/>
                <a:gd name="connsiteY72" fmla="*/ 209959 h 276675"/>
                <a:gd name="connsiteX73" fmla="*/ 35913 w 373417"/>
                <a:gd name="connsiteY73" fmla="*/ 182488 h 276675"/>
                <a:gd name="connsiteX74" fmla="*/ 41800 w 373417"/>
                <a:gd name="connsiteY74" fmla="*/ 176601 h 276675"/>
                <a:gd name="connsiteX75" fmla="*/ 39837 w 373417"/>
                <a:gd name="connsiteY75" fmla="*/ 162865 h 276675"/>
                <a:gd name="connsiteX76" fmla="*/ 10138 w 373417"/>
                <a:gd name="connsiteY76" fmla="*/ 184715 h 276675"/>
                <a:gd name="connsiteX77" fmla="*/ 28064 w 373417"/>
                <a:gd name="connsiteY77" fmla="*/ 155017 h 276675"/>
                <a:gd name="connsiteX78" fmla="*/ 24139 w 373417"/>
                <a:gd name="connsiteY78" fmla="*/ 147168 h 276675"/>
                <a:gd name="connsiteX79" fmla="*/ 327 w 373417"/>
                <a:gd name="connsiteY79" fmla="*/ 131470 h 276675"/>
                <a:gd name="connsiteX80" fmla="*/ 12366 w 373417"/>
                <a:gd name="connsiteY80" fmla="*/ 129508 h 276675"/>
                <a:gd name="connsiteX81" fmla="*/ 1298 w 373417"/>
                <a:gd name="connsiteY81" fmla="*/ 116477 h 276675"/>
                <a:gd name="connsiteX82" fmla="*/ 16291 w 373417"/>
                <a:gd name="connsiteY82" fmla="*/ 98112 h 276675"/>
                <a:gd name="connsiteX83" fmla="*/ 26102 w 373417"/>
                <a:gd name="connsiteY83" fmla="*/ 94187 h 276675"/>
                <a:gd name="connsiteX84" fmla="*/ 51611 w 373417"/>
                <a:gd name="connsiteY84" fmla="*/ 76527 h 276675"/>
                <a:gd name="connsiteX0" fmla="*/ 58492 w 380298"/>
                <a:gd name="connsiteY0" fmla="*/ 76527 h 276675"/>
                <a:gd name="connsiteX1" fmla="*/ 68303 w 380298"/>
                <a:gd name="connsiteY1" fmla="*/ 78490 h 276675"/>
                <a:gd name="connsiteX2" fmla="*/ 91850 w 380298"/>
                <a:gd name="connsiteY2" fmla="*/ 86338 h 276675"/>
                <a:gd name="connsiteX3" fmla="*/ 97736 w 380298"/>
                <a:gd name="connsiteY3" fmla="*/ 92225 h 276675"/>
                <a:gd name="connsiteX4" fmla="*/ 156603 w 380298"/>
                <a:gd name="connsiteY4" fmla="*/ 92225 h 276675"/>
                <a:gd name="connsiteX5" fmla="*/ 164452 w 380298"/>
                <a:gd name="connsiteY5" fmla="*/ 78490 h 276675"/>
                <a:gd name="connsiteX6" fmla="*/ 172301 w 380298"/>
                <a:gd name="connsiteY6" fmla="*/ 66716 h 276675"/>
                <a:gd name="connsiteX7" fmla="*/ 176226 w 380298"/>
                <a:gd name="connsiteY7" fmla="*/ 60829 h 276675"/>
                <a:gd name="connsiteX8" fmla="*/ 182112 w 380298"/>
                <a:gd name="connsiteY8" fmla="*/ 56905 h 276675"/>
                <a:gd name="connsiteX9" fmla="*/ 197810 w 380298"/>
                <a:gd name="connsiteY9" fmla="*/ 45132 h 276675"/>
                <a:gd name="connsiteX10" fmla="*/ 268451 w 380298"/>
                <a:gd name="connsiteY10" fmla="*/ 39245 h 276675"/>
                <a:gd name="connsiteX11" fmla="*/ 274337 w 380298"/>
                <a:gd name="connsiteY11" fmla="*/ 37283 h 276675"/>
                <a:gd name="connsiteX12" fmla="*/ 293960 w 380298"/>
                <a:gd name="connsiteY12" fmla="*/ 29434 h 276675"/>
                <a:gd name="connsiteX13" fmla="*/ 309657 w 380298"/>
                <a:gd name="connsiteY13" fmla="*/ 25509 h 276675"/>
                <a:gd name="connsiteX14" fmla="*/ 313582 w 380298"/>
                <a:gd name="connsiteY14" fmla="*/ 21585 h 276675"/>
                <a:gd name="connsiteX15" fmla="*/ 321431 w 380298"/>
                <a:gd name="connsiteY15" fmla="*/ 11774 h 276675"/>
                <a:gd name="connsiteX16" fmla="*/ 327317 w 380298"/>
                <a:gd name="connsiteY16" fmla="*/ 9811 h 276675"/>
                <a:gd name="connsiteX17" fmla="*/ 337129 w 380298"/>
                <a:gd name="connsiteY17" fmla="*/ 1962 h 276675"/>
                <a:gd name="connsiteX18" fmla="*/ 343015 w 380298"/>
                <a:gd name="connsiteY18" fmla="*/ 0 h 276675"/>
                <a:gd name="connsiteX19" fmla="*/ 352826 w 380298"/>
                <a:gd name="connsiteY19" fmla="*/ 1962 h 276675"/>
                <a:gd name="connsiteX20" fmla="*/ 354789 w 380298"/>
                <a:gd name="connsiteY20" fmla="*/ 7849 h 276675"/>
                <a:gd name="connsiteX21" fmla="*/ 356751 w 380298"/>
                <a:gd name="connsiteY21" fmla="*/ 19623 h 276675"/>
                <a:gd name="connsiteX22" fmla="*/ 362638 w 380298"/>
                <a:gd name="connsiteY22" fmla="*/ 25509 h 276675"/>
                <a:gd name="connsiteX23" fmla="*/ 372449 w 380298"/>
                <a:gd name="connsiteY23" fmla="*/ 35320 h 276675"/>
                <a:gd name="connsiteX24" fmla="*/ 374411 w 380298"/>
                <a:gd name="connsiteY24" fmla="*/ 41207 h 276675"/>
                <a:gd name="connsiteX25" fmla="*/ 380298 w 380298"/>
                <a:gd name="connsiteY25" fmla="*/ 54943 h 276675"/>
                <a:gd name="connsiteX26" fmla="*/ 360675 w 380298"/>
                <a:gd name="connsiteY26" fmla="*/ 60829 h 276675"/>
                <a:gd name="connsiteX27" fmla="*/ 358713 w 380298"/>
                <a:gd name="connsiteY27" fmla="*/ 74565 h 276675"/>
                <a:gd name="connsiteX28" fmla="*/ 360675 w 380298"/>
                <a:gd name="connsiteY28" fmla="*/ 84376 h 276675"/>
                <a:gd name="connsiteX29" fmla="*/ 352826 w 380298"/>
                <a:gd name="connsiteY29" fmla="*/ 86338 h 276675"/>
                <a:gd name="connsiteX30" fmla="*/ 346940 w 380298"/>
                <a:gd name="connsiteY30" fmla="*/ 90263 h 276675"/>
                <a:gd name="connsiteX31" fmla="*/ 323393 w 380298"/>
                <a:gd name="connsiteY31" fmla="*/ 98112 h 276675"/>
                <a:gd name="connsiteX32" fmla="*/ 317506 w 380298"/>
                <a:gd name="connsiteY32" fmla="*/ 107923 h 276675"/>
                <a:gd name="connsiteX33" fmla="*/ 309657 w 380298"/>
                <a:gd name="connsiteY33" fmla="*/ 121659 h 276675"/>
                <a:gd name="connsiteX34" fmla="*/ 301808 w 380298"/>
                <a:gd name="connsiteY34" fmla="*/ 123621 h 276675"/>
                <a:gd name="connsiteX35" fmla="*/ 290035 w 380298"/>
                <a:gd name="connsiteY35" fmla="*/ 135394 h 276675"/>
                <a:gd name="connsiteX36" fmla="*/ 295922 w 380298"/>
                <a:gd name="connsiteY36" fmla="*/ 139319 h 276675"/>
                <a:gd name="connsiteX37" fmla="*/ 299846 w 380298"/>
                <a:gd name="connsiteY37" fmla="*/ 162865 h 276675"/>
                <a:gd name="connsiteX38" fmla="*/ 308277 w 380298"/>
                <a:gd name="connsiteY38" fmla="*/ 165287 h 276675"/>
                <a:gd name="connsiteX39" fmla="*/ 300888 w 380298"/>
                <a:gd name="connsiteY39" fmla="*/ 181277 h 276675"/>
                <a:gd name="connsiteX40" fmla="*/ 291538 w 380298"/>
                <a:gd name="connsiteY40" fmla="*/ 195303 h 276675"/>
                <a:gd name="connsiteX41" fmla="*/ 279304 w 380298"/>
                <a:gd name="connsiteY41" fmla="*/ 208288 h 276675"/>
                <a:gd name="connsiteX42" fmla="*/ 264526 w 380298"/>
                <a:gd name="connsiteY42" fmla="*/ 207997 h 276675"/>
                <a:gd name="connsiteX43" fmla="*/ 258639 w 380298"/>
                <a:gd name="connsiteY43" fmla="*/ 209959 h 276675"/>
                <a:gd name="connsiteX44" fmla="*/ 256677 w 380298"/>
                <a:gd name="connsiteY44" fmla="*/ 223695 h 276675"/>
                <a:gd name="connsiteX45" fmla="*/ 252753 w 380298"/>
                <a:gd name="connsiteY45" fmla="*/ 243317 h 276675"/>
                <a:gd name="connsiteX46" fmla="*/ 256859 w 380298"/>
                <a:gd name="connsiteY46" fmla="*/ 265974 h 276675"/>
                <a:gd name="connsiteX47" fmla="*/ 223319 w 380298"/>
                <a:gd name="connsiteY47" fmla="*/ 266864 h 276675"/>
                <a:gd name="connsiteX48" fmla="*/ 226536 w 380298"/>
                <a:gd name="connsiteY48" fmla="*/ 274896 h 276675"/>
                <a:gd name="connsiteX49" fmla="*/ 205659 w 380298"/>
                <a:gd name="connsiteY49" fmla="*/ 262939 h 276675"/>
                <a:gd name="connsiteX50" fmla="*/ 184075 w 380298"/>
                <a:gd name="connsiteY50" fmla="*/ 264902 h 276675"/>
                <a:gd name="connsiteX51" fmla="*/ 176226 w 380298"/>
                <a:gd name="connsiteY51" fmla="*/ 260977 h 276675"/>
                <a:gd name="connsiteX52" fmla="*/ 172301 w 380298"/>
                <a:gd name="connsiteY52" fmla="*/ 251166 h 276675"/>
                <a:gd name="connsiteX53" fmla="*/ 166414 w 380298"/>
                <a:gd name="connsiteY53" fmla="*/ 245279 h 276675"/>
                <a:gd name="connsiteX54" fmla="*/ 162490 w 380298"/>
                <a:gd name="connsiteY54" fmla="*/ 237430 h 276675"/>
                <a:gd name="connsiteX55" fmla="*/ 156603 w 380298"/>
                <a:gd name="connsiteY55" fmla="*/ 231544 h 276675"/>
                <a:gd name="connsiteX56" fmla="*/ 152679 w 380298"/>
                <a:gd name="connsiteY56" fmla="*/ 236510 h 276675"/>
                <a:gd name="connsiteX57" fmla="*/ 148754 w 380298"/>
                <a:gd name="connsiteY57" fmla="*/ 241355 h 276675"/>
                <a:gd name="connsiteX58" fmla="*/ 146792 w 380298"/>
                <a:gd name="connsiteY58" fmla="*/ 249204 h 276675"/>
                <a:gd name="connsiteX59" fmla="*/ 140905 w 380298"/>
                <a:gd name="connsiteY59" fmla="*/ 253128 h 276675"/>
                <a:gd name="connsiteX60" fmla="*/ 131094 w 380298"/>
                <a:gd name="connsiteY60" fmla="*/ 260977 h 276675"/>
                <a:gd name="connsiteX61" fmla="*/ 126542 w 380298"/>
                <a:gd name="connsiteY61" fmla="*/ 269868 h 276675"/>
                <a:gd name="connsiteX62" fmla="*/ 113266 w 380298"/>
                <a:gd name="connsiteY62" fmla="*/ 274544 h 276675"/>
                <a:gd name="connsiteX63" fmla="*/ 95774 w 380298"/>
                <a:gd name="connsiteY63" fmla="*/ 273042 h 276675"/>
                <a:gd name="connsiteX64" fmla="*/ 87925 w 380298"/>
                <a:gd name="connsiteY64" fmla="*/ 274713 h 276675"/>
                <a:gd name="connsiteX65" fmla="*/ 82038 w 380298"/>
                <a:gd name="connsiteY65" fmla="*/ 276675 h 276675"/>
                <a:gd name="connsiteX66" fmla="*/ 78114 w 380298"/>
                <a:gd name="connsiteY66" fmla="*/ 272750 h 276675"/>
                <a:gd name="connsiteX67" fmla="*/ 72227 w 380298"/>
                <a:gd name="connsiteY67" fmla="*/ 270788 h 276675"/>
                <a:gd name="connsiteX68" fmla="*/ 32983 w 380298"/>
                <a:gd name="connsiteY68" fmla="*/ 266864 h 276675"/>
                <a:gd name="connsiteX69" fmla="*/ 38869 w 380298"/>
                <a:gd name="connsiteY69" fmla="*/ 259015 h 276675"/>
                <a:gd name="connsiteX70" fmla="*/ 50643 w 380298"/>
                <a:gd name="connsiteY70" fmla="*/ 253128 h 276675"/>
                <a:gd name="connsiteX71" fmla="*/ 50643 w 380298"/>
                <a:gd name="connsiteY71" fmla="*/ 213884 h 276675"/>
                <a:gd name="connsiteX72" fmla="*/ 44756 w 380298"/>
                <a:gd name="connsiteY72" fmla="*/ 209959 h 276675"/>
                <a:gd name="connsiteX73" fmla="*/ 42794 w 380298"/>
                <a:gd name="connsiteY73" fmla="*/ 182488 h 276675"/>
                <a:gd name="connsiteX74" fmla="*/ 48681 w 380298"/>
                <a:gd name="connsiteY74" fmla="*/ 176601 h 276675"/>
                <a:gd name="connsiteX75" fmla="*/ 46718 w 380298"/>
                <a:gd name="connsiteY75" fmla="*/ 162865 h 276675"/>
                <a:gd name="connsiteX76" fmla="*/ 17019 w 380298"/>
                <a:gd name="connsiteY76" fmla="*/ 184715 h 276675"/>
                <a:gd name="connsiteX77" fmla="*/ 34945 w 380298"/>
                <a:gd name="connsiteY77" fmla="*/ 155017 h 276675"/>
                <a:gd name="connsiteX78" fmla="*/ 31020 w 380298"/>
                <a:gd name="connsiteY78" fmla="*/ 147168 h 276675"/>
                <a:gd name="connsiteX79" fmla="*/ 7208 w 380298"/>
                <a:gd name="connsiteY79" fmla="*/ 131470 h 276675"/>
                <a:gd name="connsiteX80" fmla="*/ 197 w 380298"/>
                <a:gd name="connsiteY80" fmla="*/ 122364 h 276675"/>
                <a:gd name="connsiteX81" fmla="*/ 8179 w 380298"/>
                <a:gd name="connsiteY81" fmla="*/ 116477 h 276675"/>
                <a:gd name="connsiteX82" fmla="*/ 23172 w 380298"/>
                <a:gd name="connsiteY82" fmla="*/ 98112 h 276675"/>
                <a:gd name="connsiteX83" fmla="*/ 32983 w 380298"/>
                <a:gd name="connsiteY83" fmla="*/ 94187 h 276675"/>
                <a:gd name="connsiteX84" fmla="*/ 58492 w 380298"/>
                <a:gd name="connsiteY84" fmla="*/ 76527 h 276675"/>
                <a:gd name="connsiteX0" fmla="*/ 58492 w 380298"/>
                <a:gd name="connsiteY0" fmla="*/ 76527 h 276675"/>
                <a:gd name="connsiteX1" fmla="*/ 68303 w 380298"/>
                <a:gd name="connsiteY1" fmla="*/ 78490 h 276675"/>
                <a:gd name="connsiteX2" fmla="*/ 91850 w 380298"/>
                <a:gd name="connsiteY2" fmla="*/ 86338 h 276675"/>
                <a:gd name="connsiteX3" fmla="*/ 97736 w 380298"/>
                <a:gd name="connsiteY3" fmla="*/ 92225 h 276675"/>
                <a:gd name="connsiteX4" fmla="*/ 156603 w 380298"/>
                <a:gd name="connsiteY4" fmla="*/ 92225 h 276675"/>
                <a:gd name="connsiteX5" fmla="*/ 164452 w 380298"/>
                <a:gd name="connsiteY5" fmla="*/ 78490 h 276675"/>
                <a:gd name="connsiteX6" fmla="*/ 172301 w 380298"/>
                <a:gd name="connsiteY6" fmla="*/ 66716 h 276675"/>
                <a:gd name="connsiteX7" fmla="*/ 176226 w 380298"/>
                <a:gd name="connsiteY7" fmla="*/ 60829 h 276675"/>
                <a:gd name="connsiteX8" fmla="*/ 182112 w 380298"/>
                <a:gd name="connsiteY8" fmla="*/ 56905 h 276675"/>
                <a:gd name="connsiteX9" fmla="*/ 197810 w 380298"/>
                <a:gd name="connsiteY9" fmla="*/ 45132 h 276675"/>
                <a:gd name="connsiteX10" fmla="*/ 268451 w 380298"/>
                <a:gd name="connsiteY10" fmla="*/ 39245 h 276675"/>
                <a:gd name="connsiteX11" fmla="*/ 274337 w 380298"/>
                <a:gd name="connsiteY11" fmla="*/ 37283 h 276675"/>
                <a:gd name="connsiteX12" fmla="*/ 293960 w 380298"/>
                <a:gd name="connsiteY12" fmla="*/ 29434 h 276675"/>
                <a:gd name="connsiteX13" fmla="*/ 309657 w 380298"/>
                <a:gd name="connsiteY13" fmla="*/ 25509 h 276675"/>
                <a:gd name="connsiteX14" fmla="*/ 313582 w 380298"/>
                <a:gd name="connsiteY14" fmla="*/ 21585 h 276675"/>
                <a:gd name="connsiteX15" fmla="*/ 321431 w 380298"/>
                <a:gd name="connsiteY15" fmla="*/ 11774 h 276675"/>
                <a:gd name="connsiteX16" fmla="*/ 327317 w 380298"/>
                <a:gd name="connsiteY16" fmla="*/ 9811 h 276675"/>
                <a:gd name="connsiteX17" fmla="*/ 337129 w 380298"/>
                <a:gd name="connsiteY17" fmla="*/ 1962 h 276675"/>
                <a:gd name="connsiteX18" fmla="*/ 343015 w 380298"/>
                <a:gd name="connsiteY18" fmla="*/ 0 h 276675"/>
                <a:gd name="connsiteX19" fmla="*/ 352826 w 380298"/>
                <a:gd name="connsiteY19" fmla="*/ 1962 h 276675"/>
                <a:gd name="connsiteX20" fmla="*/ 354789 w 380298"/>
                <a:gd name="connsiteY20" fmla="*/ 7849 h 276675"/>
                <a:gd name="connsiteX21" fmla="*/ 356751 w 380298"/>
                <a:gd name="connsiteY21" fmla="*/ 19623 h 276675"/>
                <a:gd name="connsiteX22" fmla="*/ 362638 w 380298"/>
                <a:gd name="connsiteY22" fmla="*/ 25509 h 276675"/>
                <a:gd name="connsiteX23" fmla="*/ 372449 w 380298"/>
                <a:gd name="connsiteY23" fmla="*/ 35320 h 276675"/>
                <a:gd name="connsiteX24" fmla="*/ 374411 w 380298"/>
                <a:gd name="connsiteY24" fmla="*/ 41207 h 276675"/>
                <a:gd name="connsiteX25" fmla="*/ 380298 w 380298"/>
                <a:gd name="connsiteY25" fmla="*/ 54943 h 276675"/>
                <a:gd name="connsiteX26" fmla="*/ 360675 w 380298"/>
                <a:gd name="connsiteY26" fmla="*/ 60829 h 276675"/>
                <a:gd name="connsiteX27" fmla="*/ 358713 w 380298"/>
                <a:gd name="connsiteY27" fmla="*/ 74565 h 276675"/>
                <a:gd name="connsiteX28" fmla="*/ 360675 w 380298"/>
                <a:gd name="connsiteY28" fmla="*/ 84376 h 276675"/>
                <a:gd name="connsiteX29" fmla="*/ 352826 w 380298"/>
                <a:gd name="connsiteY29" fmla="*/ 86338 h 276675"/>
                <a:gd name="connsiteX30" fmla="*/ 346940 w 380298"/>
                <a:gd name="connsiteY30" fmla="*/ 90263 h 276675"/>
                <a:gd name="connsiteX31" fmla="*/ 323393 w 380298"/>
                <a:gd name="connsiteY31" fmla="*/ 98112 h 276675"/>
                <a:gd name="connsiteX32" fmla="*/ 317506 w 380298"/>
                <a:gd name="connsiteY32" fmla="*/ 107923 h 276675"/>
                <a:gd name="connsiteX33" fmla="*/ 309657 w 380298"/>
                <a:gd name="connsiteY33" fmla="*/ 121659 h 276675"/>
                <a:gd name="connsiteX34" fmla="*/ 301808 w 380298"/>
                <a:gd name="connsiteY34" fmla="*/ 123621 h 276675"/>
                <a:gd name="connsiteX35" fmla="*/ 290035 w 380298"/>
                <a:gd name="connsiteY35" fmla="*/ 135394 h 276675"/>
                <a:gd name="connsiteX36" fmla="*/ 295922 w 380298"/>
                <a:gd name="connsiteY36" fmla="*/ 139319 h 276675"/>
                <a:gd name="connsiteX37" fmla="*/ 299846 w 380298"/>
                <a:gd name="connsiteY37" fmla="*/ 162865 h 276675"/>
                <a:gd name="connsiteX38" fmla="*/ 308277 w 380298"/>
                <a:gd name="connsiteY38" fmla="*/ 165287 h 276675"/>
                <a:gd name="connsiteX39" fmla="*/ 300888 w 380298"/>
                <a:gd name="connsiteY39" fmla="*/ 181277 h 276675"/>
                <a:gd name="connsiteX40" fmla="*/ 291538 w 380298"/>
                <a:gd name="connsiteY40" fmla="*/ 195303 h 276675"/>
                <a:gd name="connsiteX41" fmla="*/ 279304 w 380298"/>
                <a:gd name="connsiteY41" fmla="*/ 208288 h 276675"/>
                <a:gd name="connsiteX42" fmla="*/ 264526 w 380298"/>
                <a:gd name="connsiteY42" fmla="*/ 207997 h 276675"/>
                <a:gd name="connsiteX43" fmla="*/ 258639 w 380298"/>
                <a:gd name="connsiteY43" fmla="*/ 209959 h 276675"/>
                <a:gd name="connsiteX44" fmla="*/ 256677 w 380298"/>
                <a:gd name="connsiteY44" fmla="*/ 223695 h 276675"/>
                <a:gd name="connsiteX45" fmla="*/ 252753 w 380298"/>
                <a:gd name="connsiteY45" fmla="*/ 243317 h 276675"/>
                <a:gd name="connsiteX46" fmla="*/ 256859 w 380298"/>
                <a:gd name="connsiteY46" fmla="*/ 265974 h 276675"/>
                <a:gd name="connsiteX47" fmla="*/ 223319 w 380298"/>
                <a:gd name="connsiteY47" fmla="*/ 266864 h 276675"/>
                <a:gd name="connsiteX48" fmla="*/ 226536 w 380298"/>
                <a:gd name="connsiteY48" fmla="*/ 274896 h 276675"/>
                <a:gd name="connsiteX49" fmla="*/ 205659 w 380298"/>
                <a:gd name="connsiteY49" fmla="*/ 262939 h 276675"/>
                <a:gd name="connsiteX50" fmla="*/ 184075 w 380298"/>
                <a:gd name="connsiteY50" fmla="*/ 264902 h 276675"/>
                <a:gd name="connsiteX51" fmla="*/ 176226 w 380298"/>
                <a:gd name="connsiteY51" fmla="*/ 260977 h 276675"/>
                <a:gd name="connsiteX52" fmla="*/ 172301 w 380298"/>
                <a:gd name="connsiteY52" fmla="*/ 251166 h 276675"/>
                <a:gd name="connsiteX53" fmla="*/ 166414 w 380298"/>
                <a:gd name="connsiteY53" fmla="*/ 245279 h 276675"/>
                <a:gd name="connsiteX54" fmla="*/ 162490 w 380298"/>
                <a:gd name="connsiteY54" fmla="*/ 237430 h 276675"/>
                <a:gd name="connsiteX55" fmla="*/ 156603 w 380298"/>
                <a:gd name="connsiteY55" fmla="*/ 231544 h 276675"/>
                <a:gd name="connsiteX56" fmla="*/ 152679 w 380298"/>
                <a:gd name="connsiteY56" fmla="*/ 236510 h 276675"/>
                <a:gd name="connsiteX57" fmla="*/ 148754 w 380298"/>
                <a:gd name="connsiteY57" fmla="*/ 241355 h 276675"/>
                <a:gd name="connsiteX58" fmla="*/ 146792 w 380298"/>
                <a:gd name="connsiteY58" fmla="*/ 249204 h 276675"/>
                <a:gd name="connsiteX59" fmla="*/ 140905 w 380298"/>
                <a:gd name="connsiteY59" fmla="*/ 253128 h 276675"/>
                <a:gd name="connsiteX60" fmla="*/ 131094 w 380298"/>
                <a:gd name="connsiteY60" fmla="*/ 260977 h 276675"/>
                <a:gd name="connsiteX61" fmla="*/ 126542 w 380298"/>
                <a:gd name="connsiteY61" fmla="*/ 269868 h 276675"/>
                <a:gd name="connsiteX62" fmla="*/ 113266 w 380298"/>
                <a:gd name="connsiteY62" fmla="*/ 274544 h 276675"/>
                <a:gd name="connsiteX63" fmla="*/ 95774 w 380298"/>
                <a:gd name="connsiteY63" fmla="*/ 273042 h 276675"/>
                <a:gd name="connsiteX64" fmla="*/ 87925 w 380298"/>
                <a:gd name="connsiteY64" fmla="*/ 274713 h 276675"/>
                <a:gd name="connsiteX65" fmla="*/ 82038 w 380298"/>
                <a:gd name="connsiteY65" fmla="*/ 276675 h 276675"/>
                <a:gd name="connsiteX66" fmla="*/ 78114 w 380298"/>
                <a:gd name="connsiteY66" fmla="*/ 272750 h 276675"/>
                <a:gd name="connsiteX67" fmla="*/ 72227 w 380298"/>
                <a:gd name="connsiteY67" fmla="*/ 270788 h 276675"/>
                <a:gd name="connsiteX68" fmla="*/ 32983 w 380298"/>
                <a:gd name="connsiteY68" fmla="*/ 266864 h 276675"/>
                <a:gd name="connsiteX69" fmla="*/ 38869 w 380298"/>
                <a:gd name="connsiteY69" fmla="*/ 259015 h 276675"/>
                <a:gd name="connsiteX70" fmla="*/ 50643 w 380298"/>
                <a:gd name="connsiteY70" fmla="*/ 253128 h 276675"/>
                <a:gd name="connsiteX71" fmla="*/ 50643 w 380298"/>
                <a:gd name="connsiteY71" fmla="*/ 213884 h 276675"/>
                <a:gd name="connsiteX72" fmla="*/ 63806 w 380298"/>
                <a:gd name="connsiteY72" fmla="*/ 212340 h 276675"/>
                <a:gd name="connsiteX73" fmla="*/ 42794 w 380298"/>
                <a:gd name="connsiteY73" fmla="*/ 182488 h 276675"/>
                <a:gd name="connsiteX74" fmla="*/ 48681 w 380298"/>
                <a:gd name="connsiteY74" fmla="*/ 176601 h 276675"/>
                <a:gd name="connsiteX75" fmla="*/ 46718 w 380298"/>
                <a:gd name="connsiteY75" fmla="*/ 162865 h 276675"/>
                <a:gd name="connsiteX76" fmla="*/ 17019 w 380298"/>
                <a:gd name="connsiteY76" fmla="*/ 184715 h 276675"/>
                <a:gd name="connsiteX77" fmla="*/ 34945 w 380298"/>
                <a:gd name="connsiteY77" fmla="*/ 155017 h 276675"/>
                <a:gd name="connsiteX78" fmla="*/ 31020 w 380298"/>
                <a:gd name="connsiteY78" fmla="*/ 147168 h 276675"/>
                <a:gd name="connsiteX79" fmla="*/ 7208 w 380298"/>
                <a:gd name="connsiteY79" fmla="*/ 131470 h 276675"/>
                <a:gd name="connsiteX80" fmla="*/ 197 w 380298"/>
                <a:gd name="connsiteY80" fmla="*/ 122364 h 276675"/>
                <a:gd name="connsiteX81" fmla="*/ 8179 w 380298"/>
                <a:gd name="connsiteY81" fmla="*/ 116477 h 276675"/>
                <a:gd name="connsiteX82" fmla="*/ 23172 w 380298"/>
                <a:gd name="connsiteY82" fmla="*/ 98112 h 276675"/>
                <a:gd name="connsiteX83" fmla="*/ 32983 w 380298"/>
                <a:gd name="connsiteY83" fmla="*/ 94187 h 276675"/>
                <a:gd name="connsiteX84" fmla="*/ 58492 w 380298"/>
                <a:gd name="connsiteY84" fmla="*/ 76527 h 276675"/>
                <a:gd name="connsiteX0" fmla="*/ 58492 w 380298"/>
                <a:gd name="connsiteY0" fmla="*/ 76527 h 276675"/>
                <a:gd name="connsiteX1" fmla="*/ 68303 w 380298"/>
                <a:gd name="connsiteY1" fmla="*/ 78490 h 276675"/>
                <a:gd name="connsiteX2" fmla="*/ 91850 w 380298"/>
                <a:gd name="connsiteY2" fmla="*/ 86338 h 276675"/>
                <a:gd name="connsiteX3" fmla="*/ 97736 w 380298"/>
                <a:gd name="connsiteY3" fmla="*/ 92225 h 276675"/>
                <a:gd name="connsiteX4" fmla="*/ 156603 w 380298"/>
                <a:gd name="connsiteY4" fmla="*/ 92225 h 276675"/>
                <a:gd name="connsiteX5" fmla="*/ 164452 w 380298"/>
                <a:gd name="connsiteY5" fmla="*/ 78490 h 276675"/>
                <a:gd name="connsiteX6" fmla="*/ 172301 w 380298"/>
                <a:gd name="connsiteY6" fmla="*/ 66716 h 276675"/>
                <a:gd name="connsiteX7" fmla="*/ 176226 w 380298"/>
                <a:gd name="connsiteY7" fmla="*/ 60829 h 276675"/>
                <a:gd name="connsiteX8" fmla="*/ 182112 w 380298"/>
                <a:gd name="connsiteY8" fmla="*/ 56905 h 276675"/>
                <a:gd name="connsiteX9" fmla="*/ 197810 w 380298"/>
                <a:gd name="connsiteY9" fmla="*/ 45132 h 276675"/>
                <a:gd name="connsiteX10" fmla="*/ 268451 w 380298"/>
                <a:gd name="connsiteY10" fmla="*/ 39245 h 276675"/>
                <a:gd name="connsiteX11" fmla="*/ 274337 w 380298"/>
                <a:gd name="connsiteY11" fmla="*/ 37283 h 276675"/>
                <a:gd name="connsiteX12" fmla="*/ 293960 w 380298"/>
                <a:gd name="connsiteY12" fmla="*/ 29434 h 276675"/>
                <a:gd name="connsiteX13" fmla="*/ 309657 w 380298"/>
                <a:gd name="connsiteY13" fmla="*/ 25509 h 276675"/>
                <a:gd name="connsiteX14" fmla="*/ 313582 w 380298"/>
                <a:gd name="connsiteY14" fmla="*/ 21585 h 276675"/>
                <a:gd name="connsiteX15" fmla="*/ 321431 w 380298"/>
                <a:gd name="connsiteY15" fmla="*/ 11774 h 276675"/>
                <a:gd name="connsiteX16" fmla="*/ 327317 w 380298"/>
                <a:gd name="connsiteY16" fmla="*/ 9811 h 276675"/>
                <a:gd name="connsiteX17" fmla="*/ 337129 w 380298"/>
                <a:gd name="connsiteY17" fmla="*/ 1962 h 276675"/>
                <a:gd name="connsiteX18" fmla="*/ 343015 w 380298"/>
                <a:gd name="connsiteY18" fmla="*/ 0 h 276675"/>
                <a:gd name="connsiteX19" fmla="*/ 352826 w 380298"/>
                <a:gd name="connsiteY19" fmla="*/ 1962 h 276675"/>
                <a:gd name="connsiteX20" fmla="*/ 354789 w 380298"/>
                <a:gd name="connsiteY20" fmla="*/ 7849 h 276675"/>
                <a:gd name="connsiteX21" fmla="*/ 356751 w 380298"/>
                <a:gd name="connsiteY21" fmla="*/ 19623 h 276675"/>
                <a:gd name="connsiteX22" fmla="*/ 362638 w 380298"/>
                <a:gd name="connsiteY22" fmla="*/ 25509 h 276675"/>
                <a:gd name="connsiteX23" fmla="*/ 372449 w 380298"/>
                <a:gd name="connsiteY23" fmla="*/ 35320 h 276675"/>
                <a:gd name="connsiteX24" fmla="*/ 374411 w 380298"/>
                <a:gd name="connsiteY24" fmla="*/ 41207 h 276675"/>
                <a:gd name="connsiteX25" fmla="*/ 380298 w 380298"/>
                <a:gd name="connsiteY25" fmla="*/ 54943 h 276675"/>
                <a:gd name="connsiteX26" fmla="*/ 360675 w 380298"/>
                <a:gd name="connsiteY26" fmla="*/ 60829 h 276675"/>
                <a:gd name="connsiteX27" fmla="*/ 358713 w 380298"/>
                <a:gd name="connsiteY27" fmla="*/ 74565 h 276675"/>
                <a:gd name="connsiteX28" fmla="*/ 360675 w 380298"/>
                <a:gd name="connsiteY28" fmla="*/ 84376 h 276675"/>
                <a:gd name="connsiteX29" fmla="*/ 352826 w 380298"/>
                <a:gd name="connsiteY29" fmla="*/ 86338 h 276675"/>
                <a:gd name="connsiteX30" fmla="*/ 346940 w 380298"/>
                <a:gd name="connsiteY30" fmla="*/ 90263 h 276675"/>
                <a:gd name="connsiteX31" fmla="*/ 323393 w 380298"/>
                <a:gd name="connsiteY31" fmla="*/ 98112 h 276675"/>
                <a:gd name="connsiteX32" fmla="*/ 317506 w 380298"/>
                <a:gd name="connsiteY32" fmla="*/ 107923 h 276675"/>
                <a:gd name="connsiteX33" fmla="*/ 309657 w 380298"/>
                <a:gd name="connsiteY33" fmla="*/ 121659 h 276675"/>
                <a:gd name="connsiteX34" fmla="*/ 301808 w 380298"/>
                <a:gd name="connsiteY34" fmla="*/ 123621 h 276675"/>
                <a:gd name="connsiteX35" fmla="*/ 290035 w 380298"/>
                <a:gd name="connsiteY35" fmla="*/ 135394 h 276675"/>
                <a:gd name="connsiteX36" fmla="*/ 295922 w 380298"/>
                <a:gd name="connsiteY36" fmla="*/ 139319 h 276675"/>
                <a:gd name="connsiteX37" fmla="*/ 299846 w 380298"/>
                <a:gd name="connsiteY37" fmla="*/ 162865 h 276675"/>
                <a:gd name="connsiteX38" fmla="*/ 308277 w 380298"/>
                <a:gd name="connsiteY38" fmla="*/ 165287 h 276675"/>
                <a:gd name="connsiteX39" fmla="*/ 300888 w 380298"/>
                <a:gd name="connsiteY39" fmla="*/ 181277 h 276675"/>
                <a:gd name="connsiteX40" fmla="*/ 291538 w 380298"/>
                <a:gd name="connsiteY40" fmla="*/ 195303 h 276675"/>
                <a:gd name="connsiteX41" fmla="*/ 279304 w 380298"/>
                <a:gd name="connsiteY41" fmla="*/ 208288 h 276675"/>
                <a:gd name="connsiteX42" fmla="*/ 264526 w 380298"/>
                <a:gd name="connsiteY42" fmla="*/ 207997 h 276675"/>
                <a:gd name="connsiteX43" fmla="*/ 258639 w 380298"/>
                <a:gd name="connsiteY43" fmla="*/ 209959 h 276675"/>
                <a:gd name="connsiteX44" fmla="*/ 256677 w 380298"/>
                <a:gd name="connsiteY44" fmla="*/ 223695 h 276675"/>
                <a:gd name="connsiteX45" fmla="*/ 252753 w 380298"/>
                <a:gd name="connsiteY45" fmla="*/ 243317 h 276675"/>
                <a:gd name="connsiteX46" fmla="*/ 256859 w 380298"/>
                <a:gd name="connsiteY46" fmla="*/ 265974 h 276675"/>
                <a:gd name="connsiteX47" fmla="*/ 223319 w 380298"/>
                <a:gd name="connsiteY47" fmla="*/ 266864 h 276675"/>
                <a:gd name="connsiteX48" fmla="*/ 226536 w 380298"/>
                <a:gd name="connsiteY48" fmla="*/ 274896 h 276675"/>
                <a:gd name="connsiteX49" fmla="*/ 205659 w 380298"/>
                <a:gd name="connsiteY49" fmla="*/ 262939 h 276675"/>
                <a:gd name="connsiteX50" fmla="*/ 184075 w 380298"/>
                <a:gd name="connsiteY50" fmla="*/ 264902 h 276675"/>
                <a:gd name="connsiteX51" fmla="*/ 176226 w 380298"/>
                <a:gd name="connsiteY51" fmla="*/ 260977 h 276675"/>
                <a:gd name="connsiteX52" fmla="*/ 172301 w 380298"/>
                <a:gd name="connsiteY52" fmla="*/ 251166 h 276675"/>
                <a:gd name="connsiteX53" fmla="*/ 166414 w 380298"/>
                <a:gd name="connsiteY53" fmla="*/ 245279 h 276675"/>
                <a:gd name="connsiteX54" fmla="*/ 162490 w 380298"/>
                <a:gd name="connsiteY54" fmla="*/ 237430 h 276675"/>
                <a:gd name="connsiteX55" fmla="*/ 156603 w 380298"/>
                <a:gd name="connsiteY55" fmla="*/ 231544 h 276675"/>
                <a:gd name="connsiteX56" fmla="*/ 152679 w 380298"/>
                <a:gd name="connsiteY56" fmla="*/ 236510 h 276675"/>
                <a:gd name="connsiteX57" fmla="*/ 148754 w 380298"/>
                <a:gd name="connsiteY57" fmla="*/ 241355 h 276675"/>
                <a:gd name="connsiteX58" fmla="*/ 146792 w 380298"/>
                <a:gd name="connsiteY58" fmla="*/ 249204 h 276675"/>
                <a:gd name="connsiteX59" fmla="*/ 140905 w 380298"/>
                <a:gd name="connsiteY59" fmla="*/ 253128 h 276675"/>
                <a:gd name="connsiteX60" fmla="*/ 131094 w 380298"/>
                <a:gd name="connsiteY60" fmla="*/ 260977 h 276675"/>
                <a:gd name="connsiteX61" fmla="*/ 126542 w 380298"/>
                <a:gd name="connsiteY61" fmla="*/ 269868 h 276675"/>
                <a:gd name="connsiteX62" fmla="*/ 113266 w 380298"/>
                <a:gd name="connsiteY62" fmla="*/ 274544 h 276675"/>
                <a:gd name="connsiteX63" fmla="*/ 95774 w 380298"/>
                <a:gd name="connsiteY63" fmla="*/ 273042 h 276675"/>
                <a:gd name="connsiteX64" fmla="*/ 87925 w 380298"/>
                <a:gd name="connsiteY64" fmla="*/ 274713 h 276675"/>
                <a:gd name="connsiteX65" fmla="*/ 82038 w 380298"/>
                <a:gd name="connsiteY65" fmla="*/ 276675 h 276675"/>
                <a:gd name="connsiteX66" fmla="*/ 78114 w 380298"/>
                <a:gd name="connsiteY66" fmla="*/ 272750 h 276675"/>
                <a:gd name="connsiteX67" fmla="*/ 72227 w 380298"/>
                <a:gd name="connsiteY67" fmla="*/ 270788 h 276675"/>
                <a:gd name="connsiteX68" fmla="*/ 32983 w 380298"/>
                <a:gd name="connsiteY68" fmla="*/ 266864 h 276675"/>
                <a:gd name="connsiteX69" fmla="*/ 38869 w 380298"/>
                <a:gd name="connsiteY69" fmla="*/ 259015 h 276675"/>
                <a:gd name="connsiteX70" fmla="*/ 50643 w 380298"/>
                <a:gd name="connsiteY70" fmla="*/ 253128 h 276675"/>
                <a:gd name="connsiteX71" fmla="*/ 50643 w 380298"/>
                <a:gd name="connsiteY71" fmla="*/ 213884 h 276675"/>
                <a:gd name="connsiteX72" fmla="*/ 97143 w 380298"/>
                <a:gd name="connsiteY72" fmla="*/ 200434 h 276675"/>
                <a:gd name="connsiteX73" fmla="*/ 42794 w 380298"/>
                <a:gd name="connsiteY73" fmla="*/ 182488 h 276675"/>
                <a:gd name="connsiteX74" fmla="*/ 48681 w 380298"/>
                <a:gd name="connsiteY74" fmla="*/ 176601 h 276675"/>
                <a:gd name="connsiteX75" fmla="*/ 46718 w 380298"/>
                <a:gd name="connsiteY75" fmla="*/ 162865 h 276675"/>
                <a:gd name="connsiteX76" fmla="*/ 17019 w 380298"/>
                <a:gd name="connsiteY76" fmla="*/ 184715 h 276675"/>
                <a:gd name="connsiteX77" fmla="*/ 34945 w 380298"/>
                <a:gd name="connsiteY77" fmla="*/ 155017 h 276675"/>
                <a:gd name="connsiteX78" fmla="*/ 31020 w 380298"/>
                <a:gd name="connsiteY78" fmla="*/ 147168 h 276675"/>
                <a:gd name="connsiteX79" fmla="*/ 7208 w 380298"/>
                <a:gd name="connsiteY79" fmla="*/ 131470 h 276675"/>
                <a:gd name="connsiteX80" fmla="*/ 197 w 380298"/>
                <a:gd name="connsiteY80" fmla="*/ 122364 h 276675"/>
                <a:gd name="connsiteX81" fmla="*/ 8179 w 380298"/>
                <a:gd name="connsiteY81" fmla="*/ 116477 h 276675"/>
                <a:gd name="connsiteX82" fmla="*/ 23172 w 380298"/>
                <a:gd name="connsiteY82" fmla="*/ 98112 h 276675"/>
                <a:gd name="connsiteX83" fmla="*/ 32983 w 380298"/>
                <a:gd name="connsiteY83" fmla="*/ 94187 h 276675"/>
                <a:gd name="connsiteX84" fmla="*/ 58492 w 380298"/>
                <a:gd name="connsiteY84" fmla="*/ 76527 h 276675"/>
                <a:gd name="connsiteX0" fmla="*/ 58492 w 380298"/>
                <a:gd name="connsiteY0" fmla="*/ 76527 h 276675"/>
                <a:gd name="connsiteX1" fmla="*/ 68303 w 380298"/>
                <a:gd name="connsiteY1" fmla="*/ 78490 h 276675"/>
                <a:gd name="connsiteX2" fmla="*/ 91850 w 380298"/>
                <a:gd name="connsiteY2" fmla="*/ 86338 h 276675"/>
                <a:gd name="connsiteX3" fmla="*/ 97736 w 380298"/>
                <a:gd name="connsiteY3" fmla="*/ 92225 h 276675"/>
                <a:gd name="connsiteX4" fmla="*/ 156603 w 380298"/>
                <a:gd name="connsiteY4" fmla="*/ 92225 h 276675"/>
                <a:gd name="connsiteX5" fmla="*/ 164452 w 380298"/>
                <a:gd name="connsiteY5" fmla="*/ 78490 h 276675"/>
                <a:gd name="connsiteX6" fmla="*/ 172301 w 380298"/>
                <a:gd name="connsiteY6" fmla="*/ 66716 h 276675"/>
                <a:gd name="connsiteX7" fmla="*/ 176226 w 380298"/>
                <a:gd name="connsiteY7" fmla="*/ 60829 h 276675"/>
                <a:gd name="connsiteX8" fmla="*/ 182112 w 380298"/>
                <a:gd name="connsiteY8" fmla="*/ 56905 h 276675"/>
                <a:gd name="connsiteX9" fmla="*/ 197810 w 380298"/>
                <a:gd name="connsiteY9" fmla="*/ 45132 h 276675"/>
                <a:gd name="connsiteX10" fmla="*/ 268451 w 380298"/>
                <a:gd name="connsiteY10" fmla="*/ 39245 h 276675"/>
                <a:gd name="connsiteX11" fmla="*/ 274337 w 380298"/>
                <a:gd name="connsiteY11" fmla="*/ 37283 h 276675"/>
                <a:gd name="connsiteX12" fmla="*/ 293960 w 380298"/>
                <a:gd name="connsiteY12" fmla="*/ 29434 h 276675"/>
                <a:gd name="connsiteX13" fmla="*/ 309657 w 380298"/>
                <a:gd name="connsiteY13" fmla="*/ 25509 h 276675"/>
                <a:gd name="connsiteX14" fmla="*/ 313582 w 380298"/>
                <a:gd name="connsiteY14" fmla="*/ 21585 h 276675"/>
                <a:gd name="connsiteX15" fmla="*/ 321431 w 380298"/>
                <a:gd name="connsiteY15" fmla="*/ 11774 h 276675"/>
                <a:gd name="connsiteX16" fmla="*/ 327317 w 380298"/>
                <a:gd name="connsiteY16" fmla="*/ 9811 h 276675"/>
                <a:gd name="connsiteX17" fmla="*/ 337129 w 380298"/>
                <a:gd name="connsiteY17" fmla="*/ 1962 h 276675"/>
                <a:gd name="connsiteX18" fmla="*/ 343015 w 380298"/>
                <a:gd name="connsiteY18" fmla="*/ 0 h 276675"/>
                <a:gd name="connsiteX19" fmla="*/ 352826 w 380298"/>
                <a:gd name="connsiteY19" fmla="*/ 1962 h 276675"/>
                <a:gd name="connsiteX20" fmla="*/ 354789 w 380298"/>
                <a:gd name="connsiteY20" fmla="*/ 7849 h 276675"/>
                <a:gd name="connsiteX21" fmla="*/ 356751 w 380298"/>
                <a:gd name="connsiteY21" fmla="*/ 19623 h 276675"/>
                <a:gd name="connsiteX22" fmla="*/ 362638 w 380298"/>
                <a:gd name="connsiteY22" fmla="*/ 25509 h 276675"/>
                <a:gd name="connsiteX23" fmla="*/ 372449 w 380298"/>
                <a:gd name="connsiteY23" fmla="*/ 35320 h 276675"/>
                <a:gd name="connsiteX24" fmla="*/ 374411 w 380298"/>
                <a:gd name="connsiteY24" fmla="*/ 41207 h 276675"/>
                <a:gd name="connsiteX25" fmla="*/ 380298 w 380298"/>
                <a:gd name="connsiteY25" fmla="*/ 54943 h 276675"/>
                <a:gd name="connsiteX26" fmla="*/ 360675 w 380298"/>
                <a:gd name="connsiteY26" fmla="*/ 60829 h 276675"/>
                <a:gd name="connsiteX27" fmla="*/ 358713 w 380298"/>
                <a:gd name="connsiteY27" fmla="*/ 74565 h 276675"/>
                <a:gd name="connsiteX28" fmla="*/ 360675 w 380298"/>
                <a:gd name="connsiteY28" fmla="*/ 84376 h 276675"/>
                <a:gd name="connsiteX29" fmla="*/ 352826 w 380298"/>
                <a:gd name="connsiteY29" fmla="*/ 86338 h 276675"/>
                <a:gd name="connsiteX30" fmla="*/ 346940 w 380298"/>
                <a:gd name="connsiteY30" fmla="*/ 90263 h 276675"/>
                <a:gd name="connsiteX31" fmla="*/ 323393 w 380298"/>
                <a:gd name="connsiteY31" fmla="*/ 98112 h 276675"/>
                <a:gd name="connsiteX32" fmla="*/ 317506 w 380298"/>
                <a:gd name="connsiteY32" fmla="*/ 107923 h 276675"/>
                <a:gd name="connsiteX33" fmla="*/ 309657 w 380298"/>
                <a:gd name="connsiteY33" fmla="*/ 121659 h 276675"/>
                <a:gd name="connsiteX34" fmla="*/ 301808 w 380298"/>
                <a:gd name="connsiteY34" fmla="*/ 123621 h 276675"/>
                <a:gd name="connsiteX35" fmla="*/ 290035 w 380298"/>
                <a:gd name="connsiteY35" fmla="*/ 135394 h 276675"/>
                <a:gd name="connsiteX36" fmla="*/ 295922 w 380298"/>
                <a:gd name="connsiteY36" fmla="*/ 139319 h 276675"/>
                <a:gd name="connsiteX37" fmla="*/ 299846 w 380298"/>
                <a:gd name="connsiteY37" fmla="*/ 162865 h 276675"/>
                <a:gd name="connsiteX38" fmla="*/ 308277 w 380298"/>
                <a:gd name="connsiteY38" fmla="*/ 165287 h 276675"/>
                <a:gd name="connsiteX39" fmla="*/ 300888 w 380298"/>
                <a:gd name="connsiteY39" fmla="*/ 181277 h 276675"/>
                <a:gd name="connsiteX40" fmla="*/ 291538 w 380298"/>
                <a:gd name="connsiteY40" fmla="*/ 195303 h 276675"/>
                <a:gd name="connsiteX41" fmla="*/ 279304 w 380298"/>
                <a:gd name="connsiteY41" fmla="*/ 208288 h 276675"/>
                <a:gd name="connsiteX42" fmla="*/ 264526 w 380298"/>
                <a:gd name="connsiteY42" fmla="*/ 207997 h 276675"/>
                <a:gd name="connsiteX43" fmla="*/ 258639 w 380298"/>
                <a:gd name="connsiteY43" fmla="*/ 209959 h 276675"/>
                <a:gd name="connsiteX44" fmla="*/ 256677 w 380298"/>
                <a:gd name="connsiteY44" fmla="*/ 223695 h 276675"/>
                <a:gd name="connsiteX45" fmla="*/ 252753 w 380298"/>
                <a:gd name="connsiteY45" fmla="*/ 243317 h 276675"/>
                <a:gd name="connsiteX46" fmla="*/ 256859 w 380298"/>
                <a:gd name="connsiteY46" fmla="*/ 265974 h 276675"/>
                <a:gd name="connsiteX47" fmla="*/ 223319 w 380298"/>
                <a:gd name="connsiteY47" fmla="*/ 266864 h 276675"/>
                <a:gd name="connsiteX48" fmla="*/ 226536 w 380298"/>
                <a:gd name="connsiteY48" fmla="*/ 274896 h 276675"/>
                <a:gd name="connsiteX49" fmla="*/ 205659 w 380298"/>
                <a:gd name="connsiteY49" fmla="*/ 262939 h 276675"/>
                <a:gd name="connsiteX50" fmla="*/ 184075 w 380298"/>
                <a:gd name="connsiteY50" fmla="*/ 264902 h 276675"/>
                <a:gd name="connsiteX51" fmla="*/ 176226 w 380298"/>
                <a:gd name="connsiteY51" fmla="*/ 260977 h 276675"/>
                <a:gd name="connsiteX52" fmla="*/ 172301 w 380298"/>
                <a:gd name="connsiteY52" fmla="*/ 251166 h 276675"/>
                <a:gd name="connsiteX53" fmla="*/ 166414 w 380298"/>
                <a:gd name="connsiteY53" fmla="*/ 245279 h 276675"/>
                <a:gd name="connsiteX54" fmla="*/ 162490 w 380298"/>
                <a:gd name="connsiteY54" fmla="*/ 237430 h 276675"/>
                <a:gd name="connsiteX55" fmla="*/ 156603 w 380298"/>
                <a:gd name="connsiteY55" fmla="*/ 231544 h 276675"/>
                <a:gd name="connsiteX56" fmla="*/ 152679 w 380298"/>
                <a:gd name="connsiteY56" fmla="*/ 236510 h 276675"/>
                <a:gd name="connsiteX57" fmla="*/ 148754 w 380298"/>
                <a:gd name="connsiteY57" fmla="*/ 241355 h 276675"/>
                <a:gd name="connsiteX58" fmla="*/ 146792 w 380298"/>
                <a:gd name="connsiteY58" fmla="*/ 249204 h 276675"/>
                <a:gd name="connsiteX59" fmla="*/ 140905 w 380298"/>
                <a:gd name="connsiteY59" fmla="*/ 253128 h 276675"/>
                <a:gd name="connsiteX60" fmla="*/ 131094 w 380298"/>
                <a:gd name="connsiteY60" fmla="*/ 260977 h 276675"/>
                <a:gd name="connsiteX61" fmla="*/ 126542 w 380298"/>
                <a:gd name="connsiteY61" fmla="*/ 269868 h 276675"/>
                <a:gd name="connsiteX62" fmla="*/ 113266 w 380298"/>
                <a:gd name="connsiteY62" fmla="*/ 274544 h 276675"/>
                <a:gd name="connsiteX63" fmla="*/ 95774 w 380298"/>
                <a:gd name="connsiteY63" fmla="*/ 273042 h 276675"/>
                <a:gd name="connsiteX64" fmla="*/ 87925 w 380298"/>
                <a:gd name="connsiteY64" fmla="*/ 274713 h 276675"/>
                <a:gd name="connsiteX65" fmla="*/ 82038 w 380298"/>
                <a:gd name="connsiteY65" fmla="*/ 276675 h 276675"/>
                <a:gd name="connsiteX66" fmla="*/ 78114 w 380298"/>
                <a:gd name="connsiteY66" fmla="*/ 272750 h 276675"/>
                <a:gd name="connsiteX67" fmla="*/ 72227 w 380298"/>
                <a:gd name="connsiteY67" fmla="*/ 270788 h 276675"/>
                <a:gd name="connsiteX68" fmla="*/ 32983 w 380298"/>
                <a:gd name="connsiteY68" fmla="*/ 266864 h 276675"/>
                <a:gd name="connsiteX69" fmla="*/ 38869 w 380298"/>
                <a:gd name="connsiteY69" fmla="*/ 259015 h 276675"/>
                <a:gd name="connsiteX70" fmla="*/ 50643 w 380298"/>
                <a:gd name="connsiteY70" fmla="*/ 253128 h 276675"/>
                <a:gd name="connsiteX71" fmla="*/ 50643 w 380298"/>
                <a:gd name="connsiteY71" fmla="*/ 213884 h 276675"/>
                <a:gd name="connsiteX72" fmla="*/ 99524 w 380298"/>
                <a:gd name="connsiteY72" fmla="*/ 188528 h 276675"/>
                <a:gd name="connsiteX73" fmla="*/ 42794 w 380298"/>
                <a:gd name="connsiteY73" fmla="*/ 182488 h 276675"/>
                <a:gd name="connsiteX74" fmla="*/ 48681 w 380298"/>
                <a:gd name="connsiteY74" fmla="*/ 176601 h 276675"/>
                <a:gd name="connsiteX75" fmla="*/ 46718 w 380298"/>
                <a:gd name="connsiteY75" fmla="*/ 162865 h 276675"/>
                <a:gd name="connsiteX76" fmla="*/ 17019 w 380298"/>
                <a:gd name="connsiteY76" fmla="*/ 184715 h 276675"/>
                <a:gd name="connsiteX77" fmla="*/ 34945 w 380298"/>
                <a:gd name="connsiteY77" fmla="*/ 155017 h 276675"/>
                <a:gd name="connsiteX78" fmla="*/ 31020 w 380298"/>
                <a:gd name="connsiteY78" fmla="*/ 147168 h 276675"/>
                <a:gd name="connsiteX79" fmla="*/ 7208 w 380298"/>
                <a:gd name="connsiteY79" fmla="*/ 131470 h 276675"/>
                <a:gd name="connsiteX80" fmla="*/ 197 w 380298"/>
                <a:gd name="connsiteY80" fmla="*/ 122364 h 276675"/>
                <a:gd name="connsiteX81" fmla="*/ 8179 w 380298"/>
                <a:gd name="connsiteY81" fmla="*/ 116477 h 276675"/>
                <a:gd name="connsiteX82" fmla="*/ 23172 w 380298"/>
                <a:gd name="connsiteY82" fmla="*/ 98112 h 276675"/>
                <a:gd name="connsiteX83" fmla="*/ 32983 w 380298"/>
                <a:gd name="connsiteY83" fmla="*/ 94187 h 276675"/>
                <a:gd name="connsiteX84" fmla="*/ 58492 w 380298"/>
                <a:gd name="connsiteY84" fmla="*/ 76527 h 276675"/>
                <a:gd name="connsiteX0" fmla="*/ 58492 w 380298"/>
                <a:gd name="connsiteY0" fmla="*/ 76527 h 276675"/>
                <a:gd name="connsiteX1" fmla="*/ 68303 w 380298"/>
                <a:gd name="connsiteY1" fmla="*/ 78490 h 276675"/>
                <a:gd name="connsiteX2" fmla="*/ 91850 w 380298"/>
                <a:gd name="connsiteY2" fmla="*/ 86338 h 276675"/>
                <a:gd name="connsiteX3" fmla="*/ 97736 w 380298"/>
                <a:gd name="connsiteY3" fmla="*/ 92225 h 276675"/>
                <a:gd name="connsiteX4" fmla="*/ 156603 w 380298"/>
                <a:gd name="connsiteY4" fmla="*/ 92225 h 276675"/>
                <a:gd name="connsiteX5" fmla="*/ 164452 w 380298"/>
                <a:gd name="connsiteY5" fmla="*/ 78490 h 276675"/>
                <a:gd name="connsiteX6" fmla="*/ 172301 w 380298"/>
                <a:gd name="connsiteY6" fmla="*/ 66716 h 276675"/>
                <a:gd name="connsiteX7" fmla="*/ 176226 w 380298"/>
                <a:gd name="connsiteY7" fmla="*/ 60829 h 276675"/>
                <a:gd name="connsiteX8" fmla="*/ 182112 w 380298"/>
                <a:gd name="connsiteY8" fmla="*/ 56905 h 276675"/>
                <a:gd name="connsiteX9" fmla="*/ 197810 w 380298"/>
                <a:gd name="connsiteY9" fmla="*/ 45132 h 276675"/>
                <a:gd name="connsiteX10" fmla="*/ 268451 w 380298"/>
                <a:gd name="connsiteY10" fmla="*/ 39245 h 276675"/>
                <a:gd name="connsiteX11" fmla="*/ 274337 w 380298"/>
                <a:gd name="connsiteY11" fmla="*/ 37283 h 276675"/>
                <a:gd name="connsiteX12" fmla="*/ 293960 w 380298"/>
                <a:gd name="connsiteY12" fmla="*/ 29434 h 276675"/>
                <a:gd name="connsiteX13" fmla="*/ 309657 w 380298"/>
                <a:gd name="connsiteY13" fmla="*/ 25509 h 276675"/>
                <a:gd name="connsiteX14" fmla="*/ 313582 w 380298"/>
                <a:gd name="connsiteY14" fmla="*/ 21585 h 276675"/>
                <a:gd name="connsiteX15" fmla="*/ 321431 w 380298"/>
                <a:gd name="connsiteY15" fmla="*/ 11774 h 276675"/>
                <a:gd name="connsiteX16" fmla="*/ 327317 w 380298"/>
                <a:gd name="connsiteY16" fmla="*/ 9811 h 276675"/>
                <a:gd name="connsiteX17" fmla="*/ 337129 w 380298"/>
                <a:gd name="connsiteY17" fmla="*/ 1962 h 276675"/>
                <a:gd name="connsiteX18" fmla="*/ 343015 w 380298"/>
                <a:gd name="connsiteY18" fmla="*/ 0 h 276675"/>
                <a:gd name="connsiteX19" fmla="*/ 352826 w 380298"/>
                <a:gd name="connsiteY19" fmla="*/ 1962 h 276675"/>
                <a:gd name="connsiteX20" fmla="*/ 354789 w 380298"/>
                <a:gd name="connsiteY20" fmla="*/ 7849 h 276675"/>
                <a:gd name="connsiteX21" fmla="*/ 356751 w 380298"/>
                <a:gd name="connsiteY21" fmla="*/ 19623 h 276675"/>
                <a:gd name="connsiteX22" fmla="*/ 362638 w 380298"/>
                <a:gd name="connsiteY22" fmla="*/ 25509 h 276675"/>
                <a:gd name="connsiteX23" fmla="*/ 372449 w 380298"/>
                <a:gd name="connsiteY23" fmla="*/ 35320 h 276675"/>
                <a:gd name="connsiteX24" fmla="*/ 374411 w 380298"/>
                <a:gd name="connsiteY24" fmla="*/ 41207 h 276675"/>
                <a:gd name="connsiteX25" fmla="*/ 380298 w 380298"/>
                <a:gd name="connsiteY25" fmla="*/ 54943 h 276675"/>
                <a:gd name="connsiteX26" fmla="*/ 360675 w 380298"/>
                <a:gd name="connsiteY26" fmla="*/ 60829 h 276675"/>
                <a:gd name="connsiteX27" fmla="*/ 358713 w 380298"/>
                <a:gd name="connsiteY27" fmla="*/ 74565 h 276675"/>
                <a:gd name="connsiteX28" fmla="*/ 360675 w 380298"/>
                <a:gd name="connsiteY28" fmla="*/ 84376 h 276675"/>
                <a:gd name="connsiteX29" fmla="*/ 352826 w 380298"/>
                <a:gd name="connsiteY29" fmla="*/ 86338 h 276675"/>
                <a:gd name="connsiteX30" fmla="*/ 346940 w 380298"/>
                <a:gd name="connsiteY30" fmla="*/ 90263 h 276675"/>
                <a:gd name="connsiteX31" fmla="*/ 323393 w 380298"/>
                <a:gd name="connsiteY31" fmla="*/ 98112 h 276675"/>
                <a:gd name="connsiteX32" fmla="*/ 317506 w 380298"/>
                <a:gd name="connsiteY32" fmla="*/ 107923 h 276675"/>
                <a:gd name="connsiteX33" fmla="*/ 309657 w 380298"/>
                <a:gd name="connsiteY33" fmla="*/ 121659 h 276675"/>
                <a:gd name="connsiteX34" fmla="*/ 301808 w 380298"/>
                <a:gd name="connsiteY34" fmla="*/ 123621 h 276675"/>
                <a:gd name="connsiteX35" fmla="*/ 290035 w 380298"/>
                <a:gd name="connsiteY35" fmla="*/ 135394 h 276675"/>
                <a:gd name="connsiteX36" fmla="*/ 295922 w 380298"/>
                <a:gd name="connsiteY36" fmla="*/ 139319 h 276675"/>
                <a:gd name="connsiteX37" fmla="*/ 299846 w 380298"/>
                <a:gd name="connsiteY37" fmla="*/ 162865 h 276675"/>
                <a:gd name="connsiteX38" fmla="*/ 308277 w 380298"/>
                <a:gd name="connsiteY38" fmla="*/ 165287 h 276675"/>
                <a:gd name="connsiteX39" fmla="*/ 300888 w 380298"/>
                <a:gd name="connsiteY39" fmla="*/ 181277 h 276675"/>
                <a:gd name="connsiteX40" fmla="*/ 291538 w 380298"/>
                <a:gd name="connsiteY40" fmla="*/ 195303 h 276675"/>
                <a:gd name="connsiteX41" fmla="*/ 279304 w 380298"/>
                <a:gd name="connsiteY41" fmla="*/ 208288 h 276675"/>
                <a:gd name="connsiteX42" fmla="*/ 264526 w 380298"/>
                <a:gd name="connsiteY42" fmla="*/ 207997 h 276675"/>
                <a:gd name="connsiteX43" fmla="*/ 258639 w 380298"/>
                <a:gd name="connsiteY43" fmla="*/ 209959 h 276675"/>
                <a:gd name="connsiteX44" fmla="*/ 256677 w 380298"/>
                <a:gd name="connsiteY44" fmla="*/ 223695 h 276675"/>
                <a:gd name="connsiteX45" fmla="*/ 252753 w 380298"/>
                <a:gd name="connsiteY45" fmla="*/ 243317 h 276675"/>
                <a:gd name="connsiteX46" fmla="*/ 256859 w 380298"/>
                <a:gd name="connsiteY46" fmla="*/ 265974 h 276675"/>
                <a:gd name="connsiteX47" fmla="*/ 223319 w 380298"/>
                <a:gd name="connsiteY47" fmla="*/ 266864 h 276675"/>
                <a:gd name="connsiteX48" fmla="*/ 226536 w 380298"/>
                <a:gd name="connsiteY48" fmla="*/ 274896 h 276675"/>
                <a:gd name="connsiteX49" fmla="*/ 205659 w 380298"/>
                <a:gd name="connsiteY49" fmla="*/ 262939 h 276675"/>
                <a:gd name="connsiteX50" fmla="*/ 184075 w 380298"/>
                <a:gd name="connsiteY50" fmla="*/ 264902 h 276675"/>
                <a:gd name="connsiteX51" fmla="*/ 176226 w 380298"/>
                <a:gd name="connsiteY51" fmla="*/ 260977 h 276675"/>
                <a:gd name="connsiteX52" fmla="*/ 172301 w 380298"/>
                <a:gd name="connsiteY52" fmla="*/ 251166 h 276675"/>
                <a:gd name="connsiteX53" fmla="*/ 166414 w 380298"/>
                <a:gd name="connsiteY53" fmla="*/ 245279 h 276675"/>
                <a:gd name="connsiteX54" fmla="*/ 162490 w 380298"/>
                <a:gd name="connsiteY54" fmla="*/ 237430 h 276675"/>
                <a:gd name="connsiteX55" fmla="*/ 156603 w 380298"/>
                <a:gd name="connsiteY55" fmla="*/ 231544 h 276675"/>
                <a:gd name="connsiteX56" fmla="*/ 152679 w 380298"/>
                <a:gd name="connsiteY56" fmla="*/ 236510 h 276675"/>
                <a:gd name="connsiteX57" fmla="*/ 148754 w 380298"/>
                <a:gd name="connsiteY57" fmla="*/ 241355 h 276675"/>
                <a:gd name="connsiteX58" fmla="*/ 146792 w 380298"/>
                <a:gd name="connsiteY58" fmla="*/ 249204 h 276675"/>
                <a:gd name="connsiteX59" fmla="*/ 140905 w 380298"/>
                <a:gd name="connsiteY59" fmla="*/ 253128 h 276675"/>
                <a:gd name="connsiteX60" fmla="*/ 131094 w 380298"/>
                <a:gd name="connsiteY60" fmla="*/ 260977 h 276675"/>
                <a:gd name="connsiteX61" fmla="*/ 126542 w 380298"/>
                <a:gd name="connsiteY61" fmla="*/ 269868 h 276675"/>
                <a:gd name="connsiteX62" fmla="*/ 113266 w 380298"/>
                <a:gd name="connsiteY62" fmla="*/ 274544 h 276675"/>
                <a:gd name="connsiteX63" fmla="*/ 95774 w 380298"/>
                <a:gd name="connsiteY63" fmla="*/ 273042 h 276675"/>
                <a:gd name="connsiteX64" fmla="*/ 87925 w 380298"/>
                <a:gd name="connsiteY64" fmla="*/ 274713 h 276675"/>
                <a:gd name="connsiteX65" fmla="*/ 82038 w 380298"/>
                <a:gd name="connsiteY65" fmla="*/ 276675 h 276675"/>
                <a:gd name="connsiteX66" fmla="*/ 78114 w 380298"/>
                <a:gd name="connsiteY66" fmla="*/ 272750 h 276675"/>
                <a:gd name="connsiteX67" fmla="*/ 72227 w 380298"/>
                <a:gd name="connsiteY67" fmla="*/ 270788 h 276675"/>
                <a:gd name="connsiteX68" fmla="*/ 32983 w 380298"/>
                <a:gd name="connsiteY68" fmla="*/ 266864 h 276675"/>
                <a:gd name="connsiteX69" fmla="*/ 38869 w 380298"/>
                <a:gd name="connsiteY69" fmla="*/ 259015 h 276675"/>
                <a:gd name="connsiteX70" fmla="*/ 50643 w 380298"/>
                <a:gd name="connsiteY70" fmla="*/ 253128 h 276675"/>
                <a:gd name="connsiteX71" fmla="*/ 64931 w 380298"/>
                <a:gd name="connsiteY71" fmla="*/ 240078 h 276675"/>
                <a:gd name="connsiteX72" fmla="*/ 99524 w 380298"/>
                <a:gd name="connsiteY72" fmla="*/ 188528 h 276675"/>
                <a:gd name="connsiteX73" fmla="*/ 42794 w 380298"/>
                <a:gd name="connsiteY73" fmla="*/ 182488 h 276675"/>
                <a:gd name="connsiteX74" fmla="*/ 48681 w 380298"/>
                <a:gd name="connsiteY74" fmla="*/ 176601 h 276675"/>
                <a:gd name="connsiteX75" fmla="*/ 46718 w 380298"/>
                <a:gd name="connsiteY75" fmla="*/ 162865 h 276675"/>
                <a:gd name="connsiteX76" fmla="*/ 17019 w 380298"/>
                <a:gd name="connsiteY76" fmla="*/ 184715 h 276675"/>
                <a:gd name="connsiteX77" fmla="*/ 34945 w 380298"/>
                <a:gd name="connsiteY77" fmla="*/ 155017 h 276675"/>
                <a:gd name="connsiteX78" fmla="*/ 31020 w 380298"/>
                <a:gd name="connsiteY78" fmla="*/ 147168 h 276675"/>
                <a:gd name="connsiteX79" fmla="*/ 7208 w 380298"/>
                <a:gd name="connsiteY79" fmla="*/ 131470 h 276675"/>
                <a:gd name="connsiteX80" fmla="*/ 197 w 380298"/>
                <a:gd name="connsiteY80" fmla="*/ 122364 h 276675"/>
                <a:gd name="connsiteX81" fmla="*/ 8179 w 380298"/>
                <a:gd name="connsiteY81" fmla="*/ 116477 h 276675"/>
                <a:gd name="connsiteX82" fmla="*/ 23172 w 380298"/>
                <a:gd name="connsiteY82" fmla="*/ 98112 h 276675"/>
                <a:gd name="connsiteX83" fmla="*/ 32983 w 380298"/>
                <a:gd name="connsiteY83" fmla="*/ 94187 h 276675"/>
                <a:gd name="connsiteX84" fmla="*/ 58492 w 380298"/>
                <a:gd name="connsiteY84" fmla="*/ 76527 h 276675"/>
                <a:gd name="connsiteX0" fmla="*/ 58492 w 380298"/>
                <a:gd name="connsiteY0" fmla="*/ 76527 h 276675"/>
                <a:gd name="connsiteX1" fmla="*/ 68303 w 380298"/>
                <a:gd name="connsiteY1" fmla="*/ 78490 h 276675"/>
                <a:gd name="connsiteX2" fmla="*/ 91850 w 380298"/>
                <a:gd name="connsiteY2" fmla="*/ 86338 h 276675"/>
                <a:gd name="connsiteX3" fmla="*/ 97736 w 380298"/>
                <a:gd name="connsiteY3" fmla="*/ 92225 h 276675"/>
                <a:gd name="connsiteX4" fmla="*/ 156603 w 380298"/>
                <a:gd name="connsiteY4" fmla="*/ 92225 h 276675"/>
                <a:gd name="connsiteX5" fmla="*/ 164452 w 380298"/>
                <a:gd name="connsiteY5" fmla="*/ 78490 h 276675"/>
                <a:gd name="connsiteX6" fmla="*/ 172301 w 380298"/>
                <a:gd name="connsiteY6" fmla="*/ 66716 h 276675"/>
                <a:gd name="connsiteX7" fmla="*/ 176226 w 380298"/>
                <a:gd name="connsiteY7" fmla="*/ 60829 h 276675"/>
                <a:gd name="connsiteX8" fmla="*/ 182112 w 380298"/>
                <a:gd name="connsiteY8" fmla="*/ 56905 h 276675"/>
                <a:gd name="connsiteX9" fmla="*/ 197810 w 380298"/>
                <a:gd name="connsiteY9" fmla="*/ 45132 h 276675"/>
                <a:gd name="connsiteX10" fmla="*/ 268451 w 380298"/>
                <a:gd name="connsiteY10" fmla="*/ 39245 h 276675"/>
                <a:gd name="connsiteX11" fmla="*/ 274337 w 380298"/>
                <a:gd name="connsiteY11" fmla="*/ 37283 h 276675"/>
                <a:gd name="connsiteX12" fmla="*/ 293960 w 380298"/>
                <a:gd name="connsiteY12" fmla="*/ 29434 h 276675"/>
                <a:gd name="connsiteX13" fmla="*/ 309657 w 380298"/>
                <a:gd name="connsiteY13" fmla="*/ 25509 h 276675"/>
                <a:gd name="connsiteX14" fmla="*/ 313582 w 380298"/>
                <a:gd name="connsiteY14" fmla="*/ 21585 h 276675"/>
                <a:gd name="connsiteX15" fmla="*/ 321431 w 380298"/>
                <a:gd name="connsiteY15" fmla="*/ 11774 h 276675"/>
                <a:gd name="connsiteX16" fmla="*/ 327317 w 380298"/>
                <a:gd name="connsiteY16" fmla="*/ 9811 h 276675"/>
                <a:gd name="connsiteX17" fmla="*/ 337129 w 380298"/>
                <a:gd name="connsiteY17" fmla="*/ 1962 h 276675"/>
                <a:gd name="connsiteX18" fmla="*/ 343015 w 380298"/>
                <a:gd name="connsiteY18" fmla="*/ 0 h 276675"/>
                <a:gd name="connsiteX19" fmla="*/ 352826 w 380298"/>
                <a:gd name="connsiteY19" fmla="*/ 1962 h 276675"/>
                <a:gd name="connsiteX20" fmla="*/ 354789 w 380298"/>
                <a:gd name="connsiteY20" fmla="*/ 7849 h 276675"/>
                <a:gd name="connsiteX21" fmla="*/ 356751 w 380298"/>
                <a:gd name="connsiteY21" fmla="*/ 19623 h 276675"/>
                <a:gd name="connsiteX22" fmla="*/ 362638 w 380298"/>
                <a:gd name="connsiteY22" fmla="*/ 25509 h 276675"/>
                <a:gd name="connsiteX23" fmla="*/ 372449 w 380298"/>
                <a:gd name="connsiteY23" fmla="*/ 35320 h 276675"/>
                <a:gd name="connsiteX24" fmla="*/ 374411 w 380298"/>
                <a:gd name="connsiteY24" fmla="*/ 41207 h 276675"/>
                <a:gd name="connsiteX25" fmla="*/ 380298 w 380298"/>
                <a:gd name="connsiteY25" fmla="*/ 54943 h 276675"/>
                <a:gd name="connsiteX26" fmla="*/ 360675 w 380298"/>
                <a:gd name="connsiteY26" fmla="*/ 60829 h 276675"/>
                <a:gd name="connsiteX27" fmla="*/ 358713 w 380298"/>
                <a:gd name="connsiteY27" fmla="*/ 74565 h 276675"/>
                <a:gd name="connsiteX28" fmla="*/ 360675 w 380298"/>
                <a:gd name="connsiteY28" fmla="*/ 84376 h 276675"/>
                <a:gd name="connsiteX29" fmla="*/ 352826 w 380298"/>
                <a:gd name="connsiteY29" fmla="*/ 86338 h 276675"/>
                <a:gd name="connsiteX30" fmla="*/ 346940 w 380298"/>
                <a:gd name="connsiteY30" fmla="*/ 90263 h 276675"/>
                <a:gd name="connsiteX31" fmla="*/ 323393 w 380298"/>
                <a:gd name="connsiteY31" fmla="*/ 98112 h 276675"/>
                <a:gd name="connsiteX32" fmla="*/ 317506 w 380298"/>
                <a:gd name="connsiteY32" fmla="*/ 107923 h 276675"/>
                <a:gd name="connsiteX33" fmla="*/ 309657 w 380298"/>
                <a:gd name="connsiteY33" fmla="*/ 121659 h 276675"/>
                <a:gd name="connsiteX34" fmla="*/ 301808 w 380298"/>
                <a:gd name="connsiteY34" fmla="*/ 123621 h 276675"/>
                <a:gd name="connsiteX35" fmla="*/ 290035 w 380298"/>
                <a:gd name="connsiteY35" fmla="*/ 135394 h 276675"/>
                <a:gd name="connsiteX36" fmla="*/ 295922 w 380298"/>
                <a:gd name="connsiteY36" fmla="*/ 139319 h 276675"/>
                <a:gd name="connsiteX37" fmla="*/ 299846 w 380298"/>
                <a:gd name="connsiteY37" fmla="*/ 162865 h 276675"/>
                <a:gd name="connsiteX38" fmla="*/ 308277 w 380298"/>
                <a:gd name="connsiteY38" fmla="*/ 165287 h 276675"/>
                <a:gd name="connsiteX39" fmla="*/ 300888 w 380298"/>
                <a:gd name="connsiteY39" fmla="*/ 181277 h 276675"/>
                <a:gd name="connsiteX40" fmla="*/ 291538 w 380298"/>
                <a:gd name="connsiteY40" fmla="*/ 195303 h 276675"/>
                <a:gd name="connsiteX41" fmla="*/ 279304 w 380298"/>
                <a:gd name="connsiteY41" fmla="*/ 208288 h 276675"/>
                <a:gd name="connsiteX42" fmla="*/ 264526 w 380298"/>
                <a:gd name="connsiteY42" fmla="*/ 207997 h 276675"/>
                <a:gd name="connsiteX43" fmla="*/ 258639 w 380298"/>
                <a:gd name="connsiteY43" fmla="*/ 209959 h 276675"/>
                <a:gd name="connsiteX44" fmla="*/ 256677 w 380298"/>
                <a:gd name="connsiteY44" fmla="*/ 223695 h 276675"/>
                <a:gd name="connsiteX45" fmla="*/ 252753 w 380298"/>
                <a:gd name="connsiteY45" fmla="*/ 243317 h 276675"/>
                <a:gd name="connsiteX46" fmla="*/ 256859 w 380298"/>
                <a:gd name="connsiteY46" fmla="*/ 265974 h 276675"/>
                <a:gd name="connsiteX47" fmla="*/ 223319 w 380298"/>
                <a:gd name="connsiteY47" fmla="*/ 266864 h 276675"/>
                <a:gd name="connsiteX48" fmla="*/ 226536 w 380298"/>
                <a:gd name="connsiteY48" fmla="*/ 274896 h 276675"/>
                <a:gd name="connsiteX49" fmla="*/ 205659 w 380298"/>
                <a:gd name="connsiteY49" fmla="*/ 262939 h 276675"/>
                <a:gd name="connsiteX50" fmla="*/ 184075 w 380298"/>
                <a:gd name="connsiteY50" fmla="*/ 264902 h 276675"/>
                <a:gd name="connsiteX51" fmla="*/ 176226 w 380298"/>
                <a:gd name="connsiteY51" fmla="*/ 260977 h 276675"/>
                <a:gd name="connsiteX52" fmla="*/ 172301 w 380298"/>
                <a:gd name="connsiteY52" fmla="*/ 251166 h 276675"/>
                <a:gd name="connsiteX53" fmla="*/ 166414 w 380298"/>
                <a:gd name="connsiteY53" fmla="*/ 245279 h 276675"/>
                <a:gd name="connsiteX54" fmla="*/ 162490 w 380298"/>
                <a:gd name="connsiteY54" fmla="*/ 237430 h 276675"/>
                <a:gd name="connsiteX55" fmla="*/ 156603 w 380298"/>
                <a:gd name="connsiteY55" fmla="*/ 231544 h 276675"/>
                <a:gd name="connsiteX56" fmla="*/ 152679 w 380298"/>
                <a:gd name="connsiteY56" fmla="*/ 236510 h 276675"/>
                <a:gd name="connsiteX57" fmla="*/ 148754 w 380298"/>
                <a:gd name="connsiteY57" fmla="*/ 241355 h 276675"/>
                <a:gd name="connsiteX58" fmla="*/ 146792 w 380298"/>
                <a:gd name="connsiteY58" fmla="*/ 249204 h 276675"/>
                <a:gd name="connsiteX59" fmla="*/ 140905 w 380298"/>
                <a:gd name="connsiteY59" fmla="*/ 253128 h 276675"/>
                <a:gd name="connsiteX60" fmla="*/ 131094 w 380298"/>
                <a:gd name="connsiteY60" fmla="*/ 260977 h 276675"/>
                <a:gd name="connsiteX61" fmla="*/ 126542 w 380298"/>
                <a:gd name="connsiteY61" fmla="*/ 269868 h 276675"/>
                <a:gd name="connsiteX62" fmla="*/ 113266 w 380298"/>
                <a:gd name="connsiteY62" fmla="*/ 274544 h 276675"/>
                <a:gd name="connsiteX63" fmla="*/ 95774 w 380298"/>
                <a:gd name="connsiteY63" fmla="*/ 273042 h 276675"/>
                <a:gd name="connsiteX64" fmla="*/ 87925 w 380298"/>
                <a:gd name="connsiteY64" fmla="*/ 274713 h 276675"/>
                <a:gd name="connsiteX65" fmla="*/ 82038 w 380298"/>
                <a:gd name="connsiteY65" fmla="*/ 276675 h 276675"/>
                <a:gd name="connsiteX66" fmla="*/ 78114 w 380298"/>
                <a:gd name="connsiteY66" fmla="*/ 272750 h 276675"/>
                <a:gd name="connsiteX67" fmla="*/ 72227 w 380298"/>
                <a:gd name="connsiteY67" fmla="*/ 270788 h 276675"/>
                <a:gd name="connsiteX68" fmla="*/ 32983 w 380298"/>
                <a:gd name="connsiteY68" fmla="*/ 266864 h 276675"/>
                <a:gd name="connsiteX69" fmla="*/ 38869 w 380298"/>
                <a:gd name="connsiteY69" fmla="*/ 259015 h 276675"/>
                <a:gd name="connsiteX70" fmla="*/ 50643 w 380298"/>
                <a:gd name="connsiteY70" fmla="*/ 253128 h 276675"/>
                <a:gd name="connsiteX71" fmla="*/ 64931 w 380298"/>
                <a:gd name="connsiteY71" fmla="*/ 240078 h 276675"/>
                <a:gd name="connsiteX72" fmla="*/ 47137 w 380298"/>
                <a:gd name="connsiteY72" fmla="*/ 217103 h 276675"/>
                <a:gd name="connsiteX73" fmla="*/ 42794 w 380298"/>
                <a:gd name="connsiteY73" fmla="*/ 182488 h 276675"/>
                <a:gd name="connsiteX74" fmla="*/ 48681 w 380298"/>
                <a:gd name="connsiteY74" fmla="*/ 176601 h 276675"/>
                <a:gd name="connsiteX75" fmla="*/ 46718 w 380298"/>
                <a:gd name="connsiteY75" fmla="*/ 162865 h 276675"/>
                <a:gd name="connsiteX76" fmla="*/ 17019 w 380298"/>
                <a:gd name="connsiteY76" fmla="*/ 184715 h 276675"/>
                <a:gd name="connsiteX77" fmla="*/ 34945 w 380298"/>
                <a:gd name="connsiteY77" fmla="*/ 155017 h 276675"/>
                <a:gd name="connsiteX78" fmla="*/ 31020 w 380298"/>
                <a:gd name="connsiteY78" fmla="*/ 147168 h 276675"/>
                <a:gd name="connsiteX79" fmla="*/ 7208 w 380298"/>
                <a:gd name="connsiteY79" fmla="*/ 131470 h 276675"/>
                <a:gd name="connsiteX80" fmla="*/ 197 w 380298"/>
                <a:gd name="connsiteY80" fmla="*/ 122364 h 276675"/>
                <a:gd name="connsiteX81" fmla="*/ 8179 w 380298"/>
                <a:gd name="connsiteY81" fmla="*/ 116477 h 276675"/>
                <a:gd name="connsiteX82" fmla="*/ 23172 w 380298"/>
                <a:gd name="connsiteY82" fmla="*/ 98112 h 276675"/>
                <a:gd name="connsiteX83" fmla="*/ 32983 w 380298"/>
                <a:gd name="connsiteY83" fmla="*/ 94187 h 276675"/>
                <a:gd name="connsiteX84" fmla="*/ 58492 w 380298"/>
                <a:gd name="connsiteY84" fmla="*/ 76527 h 276675"/>
                <a:gd name="connsiteX0" fmla="*/ 58492 w 380298"/>
                <a:gd name="connsiteY0" fmla="*/ 76527 h 276675"/>
                <a:gd name="connsiteX1" fmla="*/ 68303 w 380298"/>
                <a:gd name="connsiteY1" fmla="*/ 78490 h 276675"/>
                <a:gd name="connsiteX2" fmla="*/ 91850 w 380298"/>
                <a:gd name="connsiteY2" fmla="*/ 86338 h 276675"/>
                <a:gd name="connsiteX3" fmla="*/ 97736 w 380298"/>
                <a:gd name="connsiteY3" fmla="*/ 92225 h 276675"/>
                <a:gd name="connsiteX4" fmla="*/ 156603 w 380298"/>
                <a:gd name="connsiteY4" fmla="*/ 92225 h 276675"/>
                <a:gd name="connsiteX5" fmla="*/ 164452 w 380298"/>
                <a:gd name="connsiteY5" fmla="*/ 78490 h 276675"/>
                <a:gd name="connsiteX6" fmla="*/ 172301 w 380298"/>
                <a:gd name="connsiteY6" fmla="*/ 66716 h 276675"/>
                <a:gd name="connsiteX7" fmla="*/ 176226 w 380298"/>
                <a:gd name="connsiteY7" fmla="*/ 60829 h 276675"/>
                <a:gd name="connsiteX8" fmla="*/ 182112 w 380298"/>
                <a:gd name="connsiteY8" fmla="*/ 56905 h 276675"/>
                <a:gd name="connsiteX9" fmla="*/ 197810 w 380298"/>
                <a:gd name="connsiteY9" fmla="*/ 45132 h 276675"/>
                <a:gd name="connsiteX10" fmla="*/ 268451 w 380298"/>
                <a:gd name="connsiteY10" fmla="*/ 39245 h 276675"/>
                <a:gd name="connsiteX11" fmla="*/ 274337 w 380298"/>
                <a:gd name="connsiteY11" fmla="*/ 37283 h 276675"/>
                <a:gd name="connsiteX12" fmla="*/ 293960 w 380298"/>
                <a:gd name="connsiteY12" fmla="*/ 29434 h 276675"/>
                <a:gd name="connsiteX13" fmla="*/ 309657 w 380298"/>
                <a:gd name="connsiteY13" fmla="*/ 25509 h 276675"/>
                <a:gd name="connsiteX14" fmla="*/ 313582 w 380298"/>
                <a:gd name="connsiteY14" fmla="*/ 21585 h 276675"/>
                <a:gd name="connsiteX15" fmla="*/ 321431 w 380298"/>
                <a:gd name="connsiteY15" fmla="*/ 11774 h 276675"/>
                <a:gd name="connsiteX16" fmla="*/ 327317 w 380298"/>
                <a:gd name="connsiteY16" fmla="*/ 9811 h 276675"/>
                <a:gd name="connsiteX17" fmla="*/ 337129 w 380298"/>
                <a:gd name="connsiteY17" fmla="*/ 1962 h 276675"/>
                <a:gd name="connsiteX18" fmla="*/ 343015 w 380298"/>
                <a:gd name="connsiteY18" fmla="*/ 0 h 276675"/>
                <a:gd name="connsiteX19" fmla="*/ 352826 w 380298"/>
                <a:gd name="connsiteY19" fmla="*/ 1962 h 276675"/>
                <a:gd name="connsiteX20" fmla="*/ 354789 w 380298"/>
                <a:gd name="connsiteY20" fmla="*/ 7849 h 276675"/>
                <a:gd name="connsiteX21" fmla="*/ 356751 w 380298"/>
                <a:gd name="connsiteY21" fmla="*/ 19623 h 276675"/>
                <a:gd name="connsiteX22" fmla="*/ 362638 w 380298"/>
                <a:gd name="connsiteY22" fmla="*/ 25509 h 276675"/>
                <a:gd name="connsiteX23" fmla="*/ 372449 w 380298"/>
                <a:gd name="connsiteY23" fmla="*/ 35320 h 276675"/>
                <a:gd name="connsiteX24" fmla="*/ 374411 w 380298"/>
                <a:gd name="connsiteY24" fmla="*/ 41207 h 276675"/>
                <a:gd name="connsiteX25" fmla="*/ 380298 w 380298"/>
                <a:gd name="connsiteY25" fmla="*/ 54943 h 276675"/>
                <a:gd name="connsiteX26" fmla="*/ 360675 w 380298"/>
                <a:gd name="connsiteY26" fmla="*/ 60829 h 276675"/>
                <a:gd name="connsiteX27" fmla="*/ 358713 w 380298"/>
                <a:gd name="connsiteY27" fmla="*/ 74565 h 276675"/>
                <a:gd name="connsiteX28" fmla="*/ 360675 w 380298"/>
                <a:gd name="connsiteY28" fmla="*/ 84376 h 276675"/>
                <a:gd name="connsiteX29" fmla="*/ 352826 w 380298"/>
                <a:gd name="connsiteY29" fmla="*/ 86338 h 276675"/>
                <a:gd name="connsiteX30" fmla="*/ 346940 w 380298"/>
                <a:gd name="connsiteY30" fmla="*/ 90263 h 276675"/>
                <a:gd name="connsiteX31" fmla="*/ 323393 w 380298"/>
                <a:gd name="connsiteY31" fmla="*/ 98112 h 276675"/>
                <a:gd name="connsiteX32" fmla="*/ 317506 w 380298"/>
                <a:gd name="connsiteY32" fmla="*/ 107923 h 276675"/>
                <a:gd name="connsiteX33" fmla="*/ 309657 w 380298"/>
                <a:gd name="connsiteY33" fmla="*/ 121659 h 276675"/>
                <a:gd name="connsiteX34" fmla="*/ 301808 w 380298"/>
                <a:gd name="connsiteY34" fmla="*/ 123621 h 276675"/>
                <a:gd name="connsiteX35" fmla="*/ 290035 w 380298"/>
                <a:gd name="connsiteY35" fmla="*/ 135394 h 276675"/>
                <a:gd name="connsiteX36" fmla="*/ 295922 w 380298"/>
                <a:gd name="connsiteY36" fmla="*/ 139319 h 276675"/>
                <a:gd name="connsiteX37" fmla="*/ 299846 w 380298"/>
                <a:gd name="connsiteY37" fmla="*/ 162865 h 276675"/>
                <a:gd name="connsiteX38" fmla="*/ 308277 w 380298"/>
                <a:gd name="connsiteY38" fmla="*/ 165287 h 276675"/>
                <a:gd name="connsiteX39" fmla="*/ 300888 w 380298"/>
                <a:gd name="connsiteY39" fmla="*/ 181277 h 276675"/>
                <a:gd name="connsiteX40" fmla="*/ 291538 w 380298"/>
                <a:gd name="connsiteY40" fmla="*/ 195303 h 276675"/>
                <a:gd name="connsiteX41" fmla="*/ 279304 w 380298"/>
                <a:gd name="connsiteY41" fmla="*/ 208288 h 276675"/>
                <a:gd name="connsiteX42" fmla="*/ 264526 w 380298"/>
                <a:gd name="connsiteY42" fmla="*/ 207997 h 276675"/>
                <a:gd name="connsiteX43" fmla="*/ 258639 w 380298"/>
                <a:gd name="connsiteY43" fmla="*/ 209959 h 276675"/>
                <a:gd name="connsiteX44" fmla="*/ 256677 w 380298"/>
                <a:gd name="connsiteY44" fmla="*/ 223695 h 276675"/>
                <a:gd name="connsiteX45" fmla="*/ 252753 w 380298"/>
                <a:gd name="connsiteY45" fmla="*/ 243317 h 276675"/>
                <a:gd name="connsiteX46" fmla="*/ 256859 w 380298"/>
                <a:gd name="connsiteY46" fmla="*/ 265974 h 276675"/>
                <a:gd name="connsiteX47" fmla="*/ 223319 w 380298"/>
                <a:gd name="connsiteY47" fmla="*/ 266864 h 276675"/>
                <a:gd name="connsiteX48" fmla="*/ 226536 w 380298"/>
                <a:gd name="connsiteY48" fmla="*/ 274896 h 276675"/>
                <a:gd name="connsiteX49" fmla="*/ 205659 w 380298"/>
                <a:gd name="connsiteY49" fmla="*/ 262939 h 276675"/>
                <a:gd name="connsiteX50" fmla="*/ 184075 w 380298"/>
                <a:gd name="connsiteY50" fmla="*/ 264902 h 276675"/>
                <a:gd name="connsiteX51" fmla="*/ 176226 w 380298"/>
                <a:gd name="connsiteY51" fmla="*/ 260977 h 276675"/>
                <a:gd name="connsiteX52" fmla="*/ 172301 w 380298"/>
                <a:gd name="connsiteY52" fmla="*/ 251166 h 276675"/>
                <a:gd name="connsiteX53" fmla="*/ 166414 w 380298"/>
                <a:gd name="connsiteY53" fmla="*/ 245279 h 276675"/>
                <a:gd name="connsiteX54" fmla="*/ 162490 w 380298"/>
                <a:gd name="connsiteY54" fmla="*/ 237430 h 276675"/>
                <a:gd name="connsiteX55" fmla="*/ 156603 w 380298"/>
                <a:gd name="connsiteY55" fmla="*/ 231544 h 276675"/>
                <a:gd name="connsiteX56" fmla="*/ 152679 w 380298"/>
                <a:gd name="connsiteY56" fmla="*/ 236510 h 276675"/>
                <a:gd name="connsiteX57" fmla="*/ 148754 w 380298"/>
                <a:gd name="connsiteY57" fmla="*/ 241355 h 276675"/>
                <a:gd name="connsiteX58" fmla="*/ 146792 w 380298"/>
                <a:gd name="connsiteY58" fmla="*/ 249204 h 276675"/>
                <a:gd name="connsiteX59" fmla="*/ 140905 w 380298"/>
                <a:gd name="connsiteY59" fmla="*/ 253128 h 276675"/>
                <a:gd name="connsiteX60" fmla="*/ 131094 w 380298"/>
                <a:gd name="connsiteY60" fmla="*/ 260977 h 276675"/>
                <a:gd name="connsiteX61" fmla="*/ 126542 w 380298"/>
                <a:gd name="connsiteY61" fmla="*/ 269868 h 276675"/>
                <a:gd name="connsiteX62" fmla="*/ 113266 w 380298"/>
                <a:gd name="connsiteY62" fmla="*/ 274544 h 276675"/>
                <a:gd name="connsiteX63" fmla="*/ 95774 w 380298"/>
                <a:gd name="connsiteY63" fmla="*/ 273042 h 276675"/>
                <a:gd name="connsiteX64" fmla="*/ 87925 w 380298"/>
                <a:gd name="connsiteY64" fmla="*/ 274713 h 276675"/>
                <a:gd name="connsiteX65" fmla="*/ 82038 w 380298"/>
                <a:gd name="connsiteY65" fmla="*/ 276675 h 276675"/>
                <a:gd name="connsiteX66" fmla="*/ 78114 w 380298"/>
                <a:gd name="connsiteY66" fmla="*/ 272750 h 276675"/>
                <a:gd name="connsiteX67" fmla="*/ 72227 w 380298"/>
                <a:gd name="connsiteY67" fmla="*/ 270788 h 276675"/>
                <a:gd name="connsiteX68" fmla="*/ 32983 w 380298"/>
                <a:gd name="connsiteY68" fmla="*/ 266864 h 276675"/>
                <a:gd name="connsiteX69" fmla="*/ 38869 w 380298"/>
                <a:gd name="connsiteY69" fmla="*/ 259015 h 276675"/>
                <a:gd name="connsiteX70" fmla="*/ 50643 w 380298"/>
                <a:gd name="connsiteY70" fmla="*/ 253128 h 276675"/>
                <a:gd name="connsiteX71" fmla="*/ 64931 w 380298"/>
                <a:gd name="connsiteY71" fmla="*/ 240078 h 276675"/>
                <a:gd name="connsiteX72" fmla="*/ 47137 w 380298"/>
                <a:gd name="connsiteY72" fmla="*/ 217103 h 276675"/>
                <a:gd name="connsiteX73" fmla="*/ 42794 w 380298"/>
                <a:gd name="connsiteY73" fmla="*/ 182488 h 276675"/>
                <a:gd name="connsiteX74" fmla="*/ 48681 w 380298"/>
                <a:gd name="connsiteY74" fmla="*/ 176601 h 276675"/>
                <a:gd name="connsiteX75" fmla="*/ 17019 w 380298"/>
                <a:gd name="connsiteY75" fmla="*/ 184715 h 276675"/>
                <a:gd name="connsiteX76" fmla="*/ 34945 w 380298"/>
                <a:gd name="connsiteY76" fmla="*/ 155017 h 276675"/>
                <a:gd name="connsiteX77" fmla="*/ 31020 w 380298"/>
                <a:gd name="connsiteY77" fmla="*/ 147168 h 276675"/>
                <a:gd name="connsiteX78" fmla="*/ 7208 w 380298"/>
                <a:gd name="connsiteY78" fmla="*/ 131470 h 276675"/>
                <a:gd name="connsiteX79" fmla="*/ 197 w 380298"/>
                <a:gd name="connsiteY79" fmla="*/ 122364 h 276675"/>
                <a:gd name="connsiteX80" fmla="*/ 8179 w 380298"/>
                <a:gd name="connsiteY80" fmla="*/ 116477 h 276675"/>
                <a:gd name="connsiteX81" fmla="*/ 23172 w 380298"/>
                <a:gd name="connsiteY81" fmla="*/ 98112 h 276675"/>
                <a:gd name="connsiteX82" fmla="*/ 32983 w 380298"/>
                <a:gd name="connsiteY82" fmla="*/ 94187 h 276675"/>
                <a:gd name="connsiteX83" fmla="*/ 58492 w 380298"/>
                <a:gd name="connsiteY83" fmla="*/ 76527 h 276675"/>
                <a:gd name="connsiteX0" fmla="*/ 58492 w 380298"/>
                <a:gd name="connsiteY0" fmla="*/ 76527 h 276675"/>
                <a:gd name="connsiteX1" fmla="*/ 68303 w 380298"/>
                <a:gd name="connsiteY1" fmla="*/ 78490 h 276675"/>
                <a:gd name="connsiteX2" fmla="*/ 91850 w 380298"/>
                <a:gd name="connsiteY2" fmla="*/ 86338 h 276675"/>
                <a:gd name="connsiteX3" fmla="*/ 97736 w 380298"/>
                <a:gd name="connsiteY3" fmla="*/ 92225 h 276675"/>
                <a:gd name="connsiteX4" fmla="*/ 156603 w 380298"/>
                <a:gd name="connsiteY4" fmla="*/ 92225 h 276675"/>
                <a:gd name="connsiteX5" fmla="*/ 164452 w 380298"/>
                <a:gd name="connsiteY5" fmla="*/ 78490 h 276675"/>
                <a:gd name="connsiteX6" fmla="*/ 172301 w 380298"/>
                <a:gd name="connsiteY6" fmla="*/ 66716 h 276675"/>
                <a:gd name="connsiteX7" fmla="*/ 176226 w 380298"/>
                <a:gd name="connsiteY7" fmla="*/ 60829 h 276675"/>
                <a:gd name="connsiteX8" fmla="*/ 182112 w 380298"/>
                <a:gd name="connsiteY8" fmla="*/ 56905 h 276675"/>
                <a:gd name="connsiteX9" fmla="*/ 197810 w 380298"/>
                <a:gd name="connsiteY9" fmla="*/ 45132 h 276675"/>
                <a:gd name="connsiteX10" fmla="*/ 268451 w 380298"/>
                <a:gd name="connsiteY10" fmla="*/ 39245 h 276675"/>
                <a:gd name="connsiteX11" fmla="*/ 274337 w 380298"/>
                <a:gd name="connsiteY11" fmla="*/ 37283 h 276675"/>
                <a:gd name="connsiteX12" fmla="*/ 293960 w 380298"/>
                <a:gd name="connsiteY12" fmla="*/ 29434 h 276675"/>
                <a:gd name="connsiteX13" fmla="*/ 309657 w 380298"/>
                <a:gd name="connsiteY13" fmla="*/ 25509 h 276675"/>
                <a:gd name="connsiteX14" fmla="*/ 313582 w 380298"/>
                <a:gd name="connsiteY14" fmla="*/ 21585 h 276675"/>
                <a:gd name="connsiteX15" fmla="*/ 321431 w 380298"/>
                <a:gd name="connsiteY15" fmla="*/ 11774 h 276675"/>
                <a:gd name="connsiteX16" fmla="*/ 327317 w 380298"/>
                <a:gd name="connsiteY16" fmla="*/ 9811 h 276675"/>
                <a:gd name="connsiteX17" fmla="*/ 337129 w 380298"/>
                <a:gd name="connsiteY17" fmla="*/ 1962 h 276675"/>
                <a:gd name="connsiteX18" fmla="*/ 343015 w 380298"/>
                <a:gd name="connsiteY18" fmla="*/ 0 h 276675"/>
                <a:gd name="connsiteX19" fmla="*/ 352826 w 380298"/>
                <a:gd name="connsiteY19" fmla="*/ 1962 h 276675"/>
                <a:gd name="connsiteX20" fmla="*/ 354789 w 380298"/>
                <a:gd name="connsiteY20" fmla="*/ 7849 h 276675"/>
                <a:gd name="connsiteX21" fmla="*/ 356751 w 380298"/>
                <a:gd name="connsiteY21" fmla="*/ 19623 h 276675"/>
                <a:gd name="connsiteX22" fmla="*/ 362638 w 380298"/>
                <a:gd name="connsiteY22" fmla="*/ 25509 h 276675"/>
                <a:gd name="connsiteX23" fmla="*/ 372449 w 380298"/>
                <a:gd name="connsiteY23" fmla="*/ 35320 h 276675"/>
                <a:gd name="connsiteX24" fmla="*/ 374411 w 380298"/>
                <a:gd name="connsiteY24" fmla="*/ 41207 h 276675"/>
                <a:gd name="connsiteX25" fmla="*/ 380298 w 380298"/>
                <a:gd name="connsiteY25" fmla="*/ 54943 h 276675"/>
                <a:gd name="connsiteX26" fmla="*/ 360675 w 380298"/>
                <a:gd name="connsiteY26" fmla="*/ 60829 h 276675"/>
                <a:gd name="connsiteX27" fmla="*/ 358713 w 380298"/>
                <a:gd name="connsiteY27" fmla="*/ 74565 h 276675"/>
                <a:gd name="connsiteX28" fmla="*/ 360675 w 380298"/>
                <a:gd name="connsiteY28" fmla="*/ 84376 h 276675"/>
                <a:gd name="connsiteX29" fmla="*/ 352826 w 380298"/>
                <a:gd name="connsiteY29" fmla="*/ 86338 h 276675"/>
                <a:gd name="connsiteX30" fmla="*/ 346940 w 380298"/>
                <a:gd name="connsiteY30" fmla="*/ 90263 h 276675"/>
                <a:gd name="connsiteX31" fmla="*/ 323393 w 380298"/>
                <a:gd name="connsiteY31" fmla="*/ 98112 h 276675"/>
                <a:gd name="connsiteX32" fmla="*/ 317506 w 380298"/>
                <a:gd name="connsiteY32" fmla="*/ 107923 h 276675"/>
                <a:gd name="connsiteX33" fmla="*/ 309657 w 380298"/>
                <a:gd name="connsiteY33" fmla="*/ 121659 h 276675"/>
                <a:gd name="connsiteX34" fmla="*/ 301808 w 380298"/>
                <a:gd name="connsiteY34" fmla="*/ 123621 h 276675"/>
                <a:gd name="connsiteX35" fmla="*/ 290035 w 380298"/>
                <a:gd name="connsiteY35" fmla="*/ 135394 h 276675"/>
                <a:gd name="connsiteX36" fmla="*/ 295922 w 380298"/>
                <a:gd name="connsiteY36" fmla="*/ 139319 h 276675"/>
                <a:gd name="connsiteX37" fmla="*/ 299846 w 380298"/>
                <a:gd name="connsiteY37" fmla="*/ 162865 h 276675"/>
                <a:gd name="connsiteX38" fmla="*/ 308277 w 380298"/>
                <a:gd name="connsiteY38" fmla="*/ 165287 h 276675"/>
                <a:gd name="connsiteX39" fmla="*/ 300888 w 380298"/>
                <a:gd name="connsiteY39" fmla="*/ 181277 h 276675"/>
                <a:gd name="connsiteX40" fmla="*/ 291538 w 380298"/>
                <a:gd name="connsiteY40" fmla="*/ 195303 h 276675"/>
                <a:gd name="connsiteX41" fmla="*/ 279304 w 380298"/>
                <a:gd name="connsiteY41" fmla="*/ 208288 h 276675"/>
                <a:gd name="connsiteX42" fmla="*/ 264526 w 380298"/>
                <a:gd name="connsiteY42" fmla="*/ 207997 h 276675"/>
                <a:gd name="connsiteX43" fmla="*/ 258639 w 380298"/>
                <a:gd name="connsiteY43" fmla="*/ 209959 h 276675"/>
                <a:gd name="connsiteX44" fmla="*/ 256677 w 380298"/>
                <a:gd name="connsiteY44" fmla="*/ 223695 h 276675"/>
                <a:gd name="connsiteX45" fmla="*/ 252753 w 380298"/>
                <a:gd name="connsiteY45" fmla="*/ 243317 h 276675"/>
                <a:gd name="connsiteX46" fmla="*/ 256859 w 380298"/>
                <a:gd name="connsiteY46" fmla="*/ 265974 h 276675"/>
                <a:gd name="connsiteX47" fmla="*/ 223319 w 380298"/>
                <a:gd name="connsiteY47" fmla="*/ 266864 h 276675"/>
                <a:gd name="connsiteX48" fmla="*/ 226536 w 380298"/>
                <a:gd name="connsiteY48" fmla="*/ 274896 h 276675"/>
                <a:gd name="connsiteX49" fmla="*/ 205659 w 380298"/>
                <a:gd name="connsiteY49" fmla="*/ 262939 h 276675"/>
                <a:gd name="connsiteX50" fmla="*/ 184075 w 380298"/>
                <a:gd name="connsiteY50" fmla="*/ 264902 h 276675"/>
                <a:gd name="connsiteX51" fmla="*/ 176226 w 380298"/>
                <a:gd name="connsiteY51" fmla="*/ 260977 h 276675"/>
                <a:gd name="connsiteX52" fmla="*/ 172301 w 380298"/>
                <a:gd name="connsiteY52" fmla="*/ 251166 h 276675"/>
                <a:gd name="connsiteX53" fmla="*/ 166414 w 380298"/>
                <a:gd name="connsiteY53" fmla="*/ 245279 h 276675"/>
                <a:gd name="connsiteX54" fmla="*/ 162490 w 380298"/>
                <a:gd name="connsiteY54" fmla="*/ 237430 h 276675"/>
                <a:gd name="connsiteX55" fmla="*/ 156603 w 380298"/>
                <a:gd name="connsiteY55" fmla="*/ 231544 h 276675"/>
                <a:gd name="connsiteX56" fmla="*/ 152679 w 380298"/>
                <a:gd name="connsiteY56" fmla="*/ 236510 h 276675"/>
                <a:gd name="connsiteX57" fmla="*/ 148754 w 380298"/>
                <a:gd name="connsiteY57" fmla="*/ 241355 h 276675"/>
                <a:gd name="connsiteX58" fmla="*/ 146792 w 380298"/>
                <a:gd name="connsiteY58" fmla="*/ 249204 h 276675"/>
                <a:gd name="connsiteX59" fmla="*/ 140905 w 380298"/>
                <a:gd name="connsiteY59" fmla="*/ 253128 h 276675"/>
                <a:gd name="connsiteX60" fmla="*/ 131094 w 380298"/>
                <a:gd name="connsiteY60" fmla="*/ 260977 h 276675"/>
                <a:gd name="connsiteX61" fmla="*/ 126542 w 380298"/>
                <a:gd name="connsiteY61" fmla="*/ 269868 h 276675"/>
                <a:gd name="connsiteX62" fmla="*/ 113266 w 380298"/>
                <a:gd name="connsiteY62" fmla="*/ 274544 h 276675"/>
                <a:gd name="connsiteX63" fmla="*/ 95774 w 380298"/>
                <a:gd name="connsiteY63" fmla="*/ 273042 h 276675"/>
                <a:gd name="connsiteX64" fmla="*/ 87925 w 380298"/>
                <a:gd name="connsiteY64" fmla="*/ 274713 h 276675"/>
                <a:gd name="connsiteX65" fmla="*/ 82038 w 380298"/>
                <a:gd name="connsiteY65" fmla="*/ 276675 h 276675"/>
                <a:gd name="connsiteX66" fmla="*/ 78114 w 380298"/>
                <a:gd name="connsiteY66" fmla="*/ 272750 h 276675"/>
                <a:gd name="connsiteX67" fmla="*/ 72227 w 380298"/>
                <a:gd name="connsiteY67" fmla="*/ 270788 h 276675"/>
                <a:gd name="connsiteX68" fmla="*/ 32983 w 380298"/>
                <a:gd name="connsiteY68" fmla="*/ 266864 h 276675"/>
                <a:gd name="connsiteX69" fmla="*/ 38869 w 380298"/>
                <a:gd name="connsiteY69" fmla="*/ 259015 h 276675"/>
                <a:gd name="connsiteX70" fmla="*/ 50643 w 380298"/>
                <a:gd name="connsiteY70" fmla="*/ 253128 h 276675"/>
                <a:gd name="connsiteX71" fmla="*/ 64931 w 380298"/>
                <a:gd name="connsiteY71" fmla="*/ 240078 h 276675"/>
                <a:gd name="connsiteX72" fmla="*/ 47137 w 380298"/>
                <a:gd name="connsiteY72" fmla="*/ 217103 h 276675"/>
                <a:gd name="connsiteX73" fmla="*/ 42794 w 380298"/>
                <a:gd name="connsiteY73" fmla="*/ 182488 h 276675"/>
                <a:gd name="connsiteX74" fmla="*/ 48681 w 380298"/>
                <a:gd name="connsiteY74" fmla="*/ 176601 h 276675"/>
                <a:gd name="connsiteX75" fmla="*/ 17019 w 380298"/>
                <a:gd name="connsiteY75" fmla="*/ 184715 h 276675"/>
                <a:gd name="connsiteX76" fmla="*/ 34945 w 380298"/>
                <a:gd name="connsiteY76" fmla="*/ 155017 h 276675"/>
                <a:gd name="connsiteX77" fmla="*/ 31020 w 380298"/>
                <a:gd name="connsiteY77" fmla="*/ 147168 h 276675"/>
                <a:gd name="connsiteX78" fmla="*/ 7208 w 380298"/>
                <a:gd name="connsiteY78" fmla="*/ 131470 h 276675"/>
                <a:gd name="connsiteX79" fmla="*/ 197 w 380298"/>
                <a:gd name="connsiteY79" fmla="*/ 122364 h 276675"/>
                <a:gd name="connsiteX80" fmla="*/ 8179 w 380298"/>
                <a:gd name="connsiteY80" fmla="*/ 116477 h 276675"/>
                <a:gd name="connsiteX81" fmla="*/ 23172 w 380298"/>
                <a:gd name="connsiteY81" fmla="*/ 98112 h 276675"/>
                <a:gd name="connsiteX82" fmla="*/ 32983 w 380298"/>
                <a:gd name="connsiteY82" fmla="*/ 94187 h 276675"/>
                <a:gd name="connsiteX83" fmla="*/ 58492 w 380298"/>
                <a:gd name="connsiteY83" fmla="*/ 76527 h 276675"/>
                <a:gd name="connsiteX0" fmla="*/ 58492 w 380298"/>
                <a:gd name="connsiteY0" fmla="*/ 76527 h 276675"/>
                <a:gd name="connsiteX1" fmla="*/ 68303 w 380298"/>
                <a:gd name="connsiteY1" fmla="*/ 78490 h 276675"/>
                <a:gd name="connsiteX2" fmla="*/ 91850 w 380298"/>
                <a:gd name="connsiteY2" fmla="*/ 86338 h 276675"/>
                <a:gd name="connsiteX3" fmla="*/ 97736 w 380298"/>
                <a:gd name="connsiteY3" fmla="*/ 92225 h 276675"/>
                <a:gd name="connsiteX4" fmla="*/ 156603 w 380298"/>
                <a:gd name="connsiteY4" fmla="*/ 92225 h 276675"/>
                <a:gd name="connsiteX5" fmla="*/ 164452 w 380298"/>
                <a:gd name="connsiteY5" fmla="*/ 78490 h 276675"/>
                <a:gd name="connsiteX6" fmla="*/ 172301 w 380298"/>
                <a:gd name="connsiteY6" fmla="*/ 66716 h 276675"/>
                <a:gd name="connsiteX7" fmla="*/ 176226 w 380298"/>
                <a:gd name="connsiteY7" fmla="*/ 60829 h 276675"/>
                <a:gd name="connsiteX8" fmla="*/ 182112 w 380298"/>
                <a:gd name="connsiteY8" fmla="*/ 56905 h 276675"/>
                <a:gd name="connsiteX9" fmla="*/ 197810 w 380298"/>
                <a:gd name="connsiteY9" fmla="*/ 45132 h 276675"/>
                <a:gd name="connsiteX10" fmla="*/ 268451 w 380298"/>
                <a:gd name="connsiteY10" fmla="*/ 39245 h 276675"/>
                <a:gd name="connsiteX11" fmla="*/ 274337 w 380298"/>
                <a:gd name="connsiteY11" fmla="*/ 37283 h 276675"/>
                <a:gd name="connsiteX12" fmla="*/ 293960 w 380298"/>
                <a:gd name="connsiteY12" fmla="*/ 29434 h 276675"/>
                <a:gd name="connsiteX13" fmla="*/ 309657 w 380298"/>
                <a:gd name="connsiteY13" fmla="*/ 25509 h 276675"/>
                <a:gd name="connsiteX14" fmla="*/ 313582 w 380298"/>
                <a:gd name="connsiteY14" fmla="*/ 21585 h 276675"/>
                <a:gd name="connsiteX15" fmla="*/ 321431 w 380298"/>
                <a:gd name="connsiteY15" fmla="*/ 11774 h 276675"/>
                <a:gd name="connsiteX16" fmla="*/ 327317 w 380298"/>
                <a:gd name="connsiteY16" fmla="*/ 9811 h 276675"/>
                <a:gd name="connsiteX17" fmla="*/ 337129 w 380298"/>
                <a:gd name="connsiteY17" fmla="*/ 1962 h 276675"/>
                <a:gd name="connsiteX18" fmla="*/ 343015 w 380298"/>
                <a:gd name="connsiteY18" fmla="*/ 0 h 276675"/>
                <a:gd name="connsiteX19" fmla="*/ 352826 w 380298"/>
                <a:gd name="connsiteY19" fmla="*/ 1962 h 276675"/>
                <a:gd name="connsiteX20" fmla="*/ 354789 w 380298"/>
                <a:gd name="connsiteY20" fmla="*/ 7849 h 276675"/>
                <a:gd name="connsiteX21" fmla="*/ 356751 w 380298"/>
                <a:gd name="connsiteY21" fmla="*/ 19623 h 276675"/>
                <a:gd name="connsiteX22" fmla="*/ 362638 w 380298"/>
                <a:gd name="connsiteY22" fmla="*/ 25509 h 276675"/>
                <a:gd name="connsiteX23" fmla="*/ 372449 w 380298"/>
                <a:gd name="connsiteY23" fmla="*/ 35320 h 276675"/>
                <a:gd name="connsiteX24" fmla="*/ 374411 w 380298"/>
                <a:gd name="connsiteY24" fmla="*/ 41207 h 276675"/>
                <a:gd name="connsiteX25" fmla="*/ 380298 w 380298"/>
                <a:gd name="connsiteY25" fmla="*/ 54943 h 276675"/>
                <a:gd name="connsiteX26" fmla="*/ 360675 w 380298"/>
                <a:gd name="connsiteY26" fmla="*/ 60829 h 276675"/>
                <a:gd name="connsiteX27" fmla="*/ 358713 w 380298"/>
                <a:gd name="connsiteY27" fmla="*/ 74565 h 276675"/>
                <a:gd name="connsiteX28" fmla="*/ 360675 w 380298"/>
                <a:gd name="connsiteY28" fmla="*/ 84376 h 276675"/>
                <a:gd name="connsiteX29" fmla="*/ 352826 w 380298"/>
                <a:gd name="connsiteY29" fmla="*/ 86338 h 276675"/>
                <a:gd name="connsiteX30" fmla="*/ 346940 w 380298"/>
                <a:gd name="connsiteY30" fmla="*/ 90263 h 276675"/>
                <a:gd name="connsiteX31" fmla="*/ 323393 w 380298"/>
                <a:gd name="connsiteY31" fmla="*/ 98112 h 276675"/>
                <a:gd name="connsiteX32" fmla="*/ 317506 w 380298"/>
                <a:gd name="connsiteY32" fmla="*/ 107923 h 276675"/>
                <a:gd name="connsiteX33" fmla="*/ 309657 w 380298"/>
                <a:gd name="connsiteY33" fmla="*/ 121659 h 276675"/>
                <a:gd name="connsiteX34" fmla="*/ 301808 w 380298"/>
                <a:gd name="connsiteY34" fmla="*/ 123621 h 276675"/>
                <a:gd name="connsiteX35" fmla="*/ 290035 w 380298"/>
                <a:gd name="connsiteY35" fmla="*/ 135394 h 276675"/>
                <a:gd name="connsiteX36" fmla="*/ 295922 w 380298"/>
                <a:gd name="connsiteY36" fmla="*/ 139319 h 276675"/>
                <a:gd name="connsiteX37" fmla="*/ 299846 w 380298"/>
                <a:gd name="connsiteY37" fmla="*/ 162865 h 276675"/>
                <a:gd name="connsiteX38" fmla="*/ 308277 w 380298"/>
                <a:gd name="connsiteY38" fmla="*/ 165287 h 276675"/>
                <a:gd name="connsiteX39" fmla="*/ 300888 w 380298"/>
                <a:gd name="connsiteY39" fmla="*/ 181277 h 276675"/>
                <a:gd name="connsiteX40" fmla="*/ 291538 w 380298"/>
                <a:gd name="connsiteY40" fmla="*/ 195303 h 276675"/>
                <a:gd name="connsiteX41" fmla="*/ 279304 w 380298"/>
                <a:gd name="connsiteY41" fmla="*/ 208288 h 276675"/>
                <a:gd name="connsiteX42" fmla="*/ 264526 w 380298"/>
                <a:gd name="connsiteY42" fmla="*/ 207997 h 276675"/>
                <a:gd name="connsiteX43" fmla="*/ 258639 w 380298"/>
                <a:gd name="connsiteY43" fmla="*/ 209959 h 276675"/>
                <a:gd name="connsiteX44" fmla="*/ 256677 w 380298"/>
                <a:gd name="connsiteY44" fmla="*/ 223695 h 276675"/>
                <a:gd name="connsiteX45" fmla="*/ 252753 w 380298"/>
                <a:gd name="connsiteY45" fmla="*/ 243317 h 276675"/>
                <a:gd name="connsiteX46" fmla="*/ 256859 w 380298"/>
                <a:gd name="connsiteY46" fmla="*/ 265974 h 276675"/>
                <a:gd name="connsiteX47" fmla="*/ 223319 w 380298"/>
                <a:gd name="connsiteY47" fmla="*/ 266864 h 276675"/>
                <a:gd name="connsiteX48" fmla="*/ 226536 w 380298"/>
                <a:gd name="connsiteY48" fmla="*/ 274896 h 276675"/>
                <a:gd name="connsiteX49" fmla="*/ 205659 w 380298"/>
                <a:gd name="connsiteY49" fmla="*/ 262939 h 276675"/>
                <a:gd name="connsiteX50" fmla="*/ 184075 w 380298"/>
                <a:gd name="connsiteY50" fmla="*/ 264902 h 276675"/>
                <a:gd name="connsiteX51" fmla="*/ 176226 w 380298"/>
                <a:gd name="connsiteY51" fmla="*/ 260977 h 276675"/>
                <a:gd name="connsiteX52" fmla="*/ 172301 w 380298"/>
                <a:gd name="connsiteY52" fmla="*/ 251166 h 276675"/>
                <a:gd name="connsiteX53" fmla="*/ 166414 w 380298"/>
                <a:gd name="connsiteY53" fmla="*/ 245279 h 276675"/>
                <a:gd name="connsiteX54" fmla="*/ 162490 w 380298"/>
                <a:gd name="connsiteY54" fmla="*/ 237430 h 276675"/>
                <a:gd name="connsiteX55" fmla="*/ 156603 w 380298"/>
                <a:gd name="connsiteY55" fmla="*/ 231544 h 276675"/>
                <a:gd name="connsiteX56" fmla="*/ 152679 w 380298"/>
                <a:gd name="connsiteY56" fmla="*/ 236510 h 276675"/>
                <a:gd name="connsiteX57" fmla="*/ 148754 w 380298"/>
                <a:gd name="connsiteY57" fmla="*/ 241355 h 276675"/>
                <a:gd name="connsiteX58" fmla="*/ 146792 w 380298"/>
                <a:gd name="connsiteY58" fmla="*/ 249204 h 276675"/>
                <a:gd name="connsiteX59" fmla="*/ 140905 w 380298"/>
                <a:gd name="connsiteY59" fmla="*/ 253128 h 276675"/>
                <a:gd name="connsiteX60" fmla="*/ 131094 w 380298"/>
                <a:gd name="connsiteY60" fmla="*/ 260977 h 276675"/>
                <a:gd name="connsiteX61" fmla="*/ 126542 w 380298"/>
                <a:gd name="connsiteY61" fmla="*/ 269868 h 276675"/>
                <a:gd name="connsiteX62" fmla="*/ 113266 w 380298"/>
                <a:gd name="connsiteY62" fmla="*/ 274544 h 276675"/>
                <a:gd name="connsiteX63" fmla="*/ 95774 w 380298"/>
                <a:gd name="connsiteY63" fmla="*/ 273042 h 276675"/>
                <a:gd name="connsiteX64" fmla="*/ 87925 w 380298"/>
                <a:gd name="connsiteY64" fmla="*/ 274713 h 276675"/>
                <a:gd name="connsiteX65" fmla="*/ 82038 w 380298"/>
                <a:gd name="connsiteY65" fmla="*/ 276675 h 276675"/>
                <a:gd name="connsiteX66" fmla="*/ 78114 w 380298"/>
                <a:gd name="connsiteY66" fmla="*/ 272750 h 276675"/>
                <a:gd name="connsiteX67" fmla="*/ 72227 w 380298"/>
                <a:gd name="connsiteY67" fmla="*/ 270788 h 276675"/>
                <a:gd name="connsiteX68" fmla="*/ 32983 w 380298"/>
                <a:gd name="connsiteY68" fmla="*/ 266864 h 276675"/>
                <a:gd name="connsiteX69" fmla="*/ 38869 w 380298"/>
                <a:gd name="connsiteY69" fmla="*/ 259015 h 276675"/>
                <a:gd name="connsiteX70" fmla="*/ 50643 w 380298"/>
                <a:gd name="connsiteY70" fmla="*/ 253128 h 276675"/>
                <a:gd name="connsiteX71" fmla="*/ 64931 w 380298"/>
                <a:gd name="connsiteY71" fmla="*/ 240078 h 276675"/>
                <a:gd name="connsiteX72" fmla="*/ 47137 w 380298"/>
                <a:gd name="connsiteY72" fmla="*/ 217103 h 276675"/>
                <a:gd name="connsiteX73" fmla="*/ 42794 w 380298"/>
                <a:gd name="connsiteY73" fmla="*/ 182488 h 276675"/>
                <a:gd name="connsiteX74" fmla="*/ 17019 w 380298"/>
                <a:gd name="connsiteY74" fmla="*/ 184715 h 276675"/>
                <a:gd name="connsiteX75" fmla="*/ 34945 w 380298"/>
                <a:gd name="connsiteY75" fmla="*/ 155017 h 276675"/>
                <a:gd name="connsiteX76" fmla="*/ 31020 w 380298"/>
                <a:gd name="connsiteY76" fmla="*/ 147168 h 276675"/>
                <a:gd name="connsiteX77" fmla="*/ 7208 w 380298"/>
                <a:gd name="connsiteY77" fmla="*/ 131470 h 276675"/>
                <a:gd name="connsiteX78" fmla="*/ 197 w 380298"/>
                <a:gd name="connsiteY78" fmla="*/ 122364 h 276675"/>
                <a:gd name="connsiteX79" fmla="*/ 8179 w 380298"/>
                <a:gd name="connsiteY79" fmla="*/ 116477 h 276675"/>
                <a:gd name="connsiteX80" fmla="*/ 23172 w 380298"/>
                <a:gd name="connsiteY80" fmla="*/ 98112 h 276675"/>
                <a:gd name="connsiteX81" fmla="*/ 32983 w 380298"/>
                <a:gd name="connsiteY81" fmla="*/ 94187 h 276675"/>
                <a:gd name="connsiteX82" fmla="*/ 58492 w 380298"/>
                <a:gd name="connsiteY82" fmla="*/ 76527 h 276675"/>
                <a:gd name="connsiteX0" fmla="*/ 58492 w 380298"/>
                <a:gd name="connsiteY0" fmla="*/ 76527 h 276675"/>
                <a:gd name="connsiteX1" fmla="*/ 68303 w 380298"/>
                <a:gd name="connsiteY1" fmla="*/ 78490 h 276675"/>
                <a:gd name="connsiteX2" fmla="*/ 91850 w 380298"/>
                <a:gd name="connsiteY2" fmla="*/ 86338 h 276675"/>
                <a:gd name="connsiteX3" fmla="*/ 97736 w 380298"/>
                <a:gd name="connsiteY3" fmla="*/ 92225 h 276675"/>
                <a:gd name="connsiteX4" fmla="*/ 156603 w 380298"/>
                <a:gd name="connsiteY4" fmla="*/ 92225 h 276675"/>
                <a:gd name="connsiteX5" fmla="*/ 164452 w 380298"/>
                <a:gd name="connsiteY5" fmla="*/ 78490 h 276675"/>
                <a:gd name="connsiteX6" fmla="*/ 172301 w 380298"/>
                <a:gd name="connsiteY6" fmla="*/ 66716 h 276675"/>
                <a:gd name="connsiteX7" fmla="*/ 176226 w 380298"/>
                <a:gd name="connsiteY7" fmla="*/ 60829 h 276675"/>
                <a:gd name="connsiteX8" fmla="*/ 182112 w 380298"/>
                <a:gd name="connsiteY8" fmla="*/ 56905 h 276675"/>
                <a:gd name="connsiteX9" fmla="*/ 197810 w 380298"/>
                <a:gd name="connsiteY9" fmla="*/ 45132 h 276675"/>
                <a:gd name="connsiteX10" fmla="*/ 268451 w 380298"/>
                <a:gd name="connsiteY10" fmla="*/ 39245 h 276675"/>
                <a:gd name="connsiteX11" fmla="*/ 274337 w 380298"/>
                <a:gd name="connsiteY11" fmla="*/ 37283 h 276675"/>
                <a:gd name="connsiteX12" fmla="*/ 293960 w 380298"/>
                <a:gd name="connsiteY12" fmla="*/ 29434 h 276675"/>
                <a:gd name="connsiteX13" fmla="*/ 309657 w 380298"/>
                <a:gd name="connsiteY13" fmla="*/ 25509 h 276675"/>
                <a:gd name="connsiteX14" fmla="*/ 313582 w 380298"/>
                <a:gd name="connsiteY14" fmla="*/ 21585 h 276675"/>
                <a:gd name="connsiteX15" fmla="*/ 321431 w 380298"/>
                <a:gd name="connsiteY15" fmla="*/ 11774 h 276675"/>
                <a:gd name="connsiteX16" fmla="*/ 327317 w 380298"/>
                <a:gd name="connsiteY16" fmla="*/ 9811 h 276675"/>
                <a:gd name="connsiteX17" fmla="*/ 337129 w 380298"/>
                <a:gd name="connsiteY17" fmla="*/ 1962 h 276675"/>
                <a:gd name="connsiteX18" fmla="*/ 343015 w 380298"/>
                <a:gd name="connsiteY18" fmla="*/ 0 h 276675"/>
                <a:gd name="connsiteX19" fmla="*/ 352826 w 380298"/>
                <a:gd name="connsiteY19" fmla="*/ 1962 h 276675"/>
                <a:gd name="connsiteX20" fmla="*/ 354789 w 380298"/>
                <a:gd name="connsiteY20" fmla="*/ 7849 h 276675"/>
                <a:gd name="connsiteX21" fmla="*/ 356751 w 380298"/>
                <a:gd name="connsiteY21" fmla="*/ 19623 h 276675"/>
                <a:gd name="connsiteX22" fmla="*/ 362638 w 380298"/>
                <a:gd name="connsiteY22" fmla="*/ 25509 h 276675"/>
                <a:gd name="connsiteX23" fmla="*/ 372449 w 380298"/>
                <a:gd name="connsiteY23" fmla="*/ 35320 h 276675"/>
                <a:gd name="connsiteX24" fmla="*/ 374411 w 380298"/>
                <a:gd name="connsiteY24" fmla="*/ 41207 h 276675"/>
                <a:gd name="connsiteX25" fmla="*/ 380298 w 380298"/>
                <a:gd name="connsiteY25" fmla="*/ 54943 h 276675"/>
                <a:gd name="connsiteX26" fmla="*/ 360675 w 380298"/>
                <a:gd name="connsiteY26" fmla="*/ 60829 h 276675"/>
                <a:gd name="connsiteX27" fmla="*/ 358713 w 380298"/>
                <a:gd name="connsiteY27" fmla="*/ 74565 h 276675"/>
                <a:gd name="connsiteX28" fmla="*/ 360675 w 380298"/>
                <a:gd name="connsiteY28" fmla="*/ 84376 h 276675"/>
                <a:gd name="connsiteX29" fmla="*/ 352826 w 380298"/>
                <a:gd name="connsiteY29" fmla="*/ 86338 h 276675"/>
                <a:gd name="connsiteX30" fmla="*/ 346940 w 380298"/>
                <a:gd name="connsiteY30" fmla="*/ 90263 h 276675"/>
                <a:gd name="connsiteX31" fmla="*/ 323393 w 380298"/>
                <a:gd name="connsiteY31" fmla="*/ 98112 h 276675"/>
                <a:gd name="connsiteX32" fmla="*/ 317506 w 380298"/>
                <a:gd name="connsiteY32" fmla="*/ 107923 h 276675"/>
                <a:gd name="connsiteX33" fmla="*/ 309657 w 380298"/>
                <a:gd name="connsiteY33" fmla="*/ 121659 h 276675"/>
                <a:gd name="connsiteX34" fmla="*/ 301808 w 380298"/>
                <a:gd name="connsiteY34" fmla="*/ 123621 h 276675"/>
                <a:gd name="connsiteX35" fmla="*/ 290035 w 380298"/>
                <a:gd name="connsiteY35" fmla="*/ 135394 h 276675"/>
                <a:gd name="connsiteX36" fmla="*/ 295922 w 380298"/>
                <a:gd name="connsiteY36" fmla="*/ 139319 h 276675"/>
                <a:gd name="connsiteX37" fmla="*/ 299846 w 380298"/>
                <a:gd name="connsiteY37" fmla="*/ 162865 h 276675"/>
                <a:gd name="connsiteX38" fmla="*/ 308277 w 380298"/>
                <a:gd name="connsiteY38" fmla="*/ 165287 h 276675"/>
                <a:gd name="connsiteX39" fmla="*/ 300888 w 380298"/>
                <a:gd name="connsiteY39" fmla="*/ 181277 h 276675"/>
                <a:gd name="connsiteX40" fmla="*/ 291538 w 380298"/>
                <a:gd name="connsiteY40" fmla="*/ 195303 h 276675"/>
                <a:gd name="connsiteX41" fmla="*/ 279304 w 380298"/>
                <a:gd name="connsiteY41" fmla="*/ 208288 h 276675"/>
                <a:gd name="connsiteX42" fmla="*/ 264526 w 380298"/>
                <a:gd name="connsiteY42" fmla="*/ 207997 h 276675"/>
                <a:gd name="connsiteX43" fmla="*/ 258639 w 380298"/>
                <a:gd name="connsiteY43" fmla="*/ 209959 h 276675"/>
                <a:gd name="connsiteX44" fmla="*/ 256677 w 380298"/>
                <a:gd name="connsiteY44" fmla="*/ 223695 h 276675"/>
                <a:gd name="connsiteX45" fmla="*/ 252753 w 380298"/>
                <a:gd name="connsiteY45" fmla="*/ 243317 h 276675"/>
                <a:gd name="connsiteX46" fmla="*/ 256859 w 380298"/>
                <a:gd name="connsiteY46" fmla="*/ 265974 h 276675"/>
                <a:gd name="connsiteX47" fmla="*/ 223319 w 380298"/>
                <a:gd name="connsiteY47" fmla="*/ 266864 h 276675"/>
                <a:gd name="connsiteX48" fmla="*/ 226536 w 380298"/>
                <a:gd name="connsiteY48" fmla="*/ 274896 h 276675"/>
                <a:gd name="connsiteX49" fmla="*/ 205659 w 380298"/>
                <a:gd name="connsiteY49" fmla="*/ 262939 h 276675"/>
                <a:gd name="connsiteX50" fmla="*/ 184075 w 380298"/>
                <a:gd name="connsiteY50" fmla="*/ 264902 h 276675"/>
                <a:gd name="connsiteX51" fmla="*/ 176226 w 380298"/>
                <a:gd name="connsiteY51" fmla="*/ 260977 h 276675"/>
                <a:gd name="connsiteX52" fmla="*/ 172301 w 380298"/>
                <a:gd name="connsiteY52" fmla="*/ 251166 h 276675"/>
                <a:gd name="connsiteX53" fmla="*/ 166414 w 380298"/>
                <a:gd name="connsiteY53" fmla="*/ 245279 h 276675"/>
                <a:gd name="connsiteX54" fmla="*/ 162490 w 380298"/>
                <a:gd name="connsiteY54" fmla="*/ 237430 h 276675"/>
                <a:gd name="connsiteX55" fmla="*/ 156603 w 380298"/>
                <a:gd name="connsiteY55" fmla="*/ 231544 h 276675"/>
                <a:gd name="connsiteX56" fmla="*/ 152679 w 380298"/>
                <a:gd name="connsiteY56" fmla="*/ 236510 h 276675"/>
                <a:gd name="connsiteX57" fmla="*/ 148754 w 380298"/>
                <a:gd name="connsiteY57" fmla="*/ 241355 h 276675"/>
                <a:gd name="connsiteX58" fmla="*/ 146792 w 380298"/>
                <a:gd name="connsiteY58" fmla="*/ 249204 h 276675"/>
                <a:gd name="connsiteX59" fmla="*/ 140905 w 380298"/>
                <a:gd name="connsiteY59" fmla="*/ 253128 h 276675"/>
                <a:gd name="connsiteX60" fmla="*/ 131094 w 380298"/>
                <a:gd name="connsiteY60" fmla="*/ 260977 h 276675"/>
                <a:gd name="connsiteX61" fmla="*/ 126542 w 380298"/>
                <a:gd name="connsiteY61" fmla="*/ 269868 h 276675"/>
                <a:gd name="connsiteX62" fmla="*/ 113266 w 380298"/>
                <a:gd name="connsiteY62" fmla="*/ 274544 h 276675"/>
                <a:gd name="connsiteX63" fmla="*/ 95774 w 380298"/>
                <a:gd name="connsiteY63" fmla="*/ 273042 h 276675"/>
                <a:gd name="connsiteX64" fmla="*/ 87925 w 380298"/>
                <a:gd name="connsiteY64" fmla="*/ 274713 h 276675"/>
                <a:gd name="connsiteX65" fmla="*/ 82038 w 380298"/>
                <a:gd name="connsiteY65" fmla="*/ 276675 h 276675"/>
                <a:gd name="connsiteX66" fmla="*/ 78114 w 380298"/>
                <a:gd name="connsiteY66" fmla="*/ 272750 h 276675"/>
                <a:gd name="connsiteX67" fmla="*/ 72227 w 380298"/>
                <a:gd name="connsiteY67" fmla="*/ 270788 h 276675"/>
                <a:gd name="connsiteX68" fmla="*/ 32983 w 380298"/>
                <a:gd name="connsiteY68" fmla="*/ 266864 h 276675"/>
                <a:gd name="connsiteX69" fmla="*/ 38869 w 380298"/>
                <a:gd name="connsiteY69" fmla="*/ 259015 h 276675"/>
                <a:gd name="connsiteX70" fmla="*/ 50643 w 380298"/>
                <a:gd name="connsiteY70" fmla="*/ 253128 h 276675"/>
                <a:gd name="connsiteX71" fmla="*/ 64931 w 380298"/>
                <a:gd name="connsiteY71" fmla="*/ 240078 h 276675"/>
                <a:gd name="connsiteX72" fmla="*/ 47137 w 380298"/>
                <a:gd name="connsiteY72" fmla="*/ 217103 h 276675"/>
                <a:gd name="connsiteX73" fmla="*/ 42794 w 380298"/>
                <a:gd name="connsiteY73" fmla="*/ 182488 h 276675"/>
                <a:gd name="connsiteX74" fmla="*/ 21782 w 380298"/>
                <a:gd name="connsiteY74" fmla="*/ 179952 h 276675"/>
                <a:gd name="connsiteX75" fmla="*/ 34945 w 380298"/>
                <a:gd name="connsiteY75" fmla="*/ 155017 h 276675"/>
                <a:gd name="connsiteX76" fmla="*/ 31020 w 380298"/>
                <a:gd name="connsiteY76" fmla="*/ 147168 h 276675"/>
                <a:gd name="connsiteX77" fmla="*/ 7208 w 380298"/>
                <a:gd name="connsiteY77" fmla="*/ 131470 h 276675"/>
                <a:gd name="connsiteX78" fmla="*/ 197 w 380298"/>
                <a:gd name="connsiteY78" fmla="*/ 122364 h 276675"/>
                <a:gd name="connsiteX79" fmla="*/ 8179 w 380298"/>
                <a:gd name="connsiteY79" fmla="*/ 116477 h 276675"/>
                <a:gd name="connsiteX80" fmla="*/ 23172 w 380298"/>
                <a:gd name="connsiteY80" fmla="*/ 98112 h 276675"/>
                <a:gd name="connsiteX81" fmla="*/ 32983 w 380298"/>
                <a:gd name="connsiteY81" fmla="*/ 94187 h 276675"/>
                <a:gd name="connsiteX82" fmla="*/ 58492 w 380298"/>
                <a:gd name="connsiteY82" fmla="*/ 76527 h 27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380298" h="276675">
                  <a:moveTo>
                    <a:pt x="58492" y="76527"/>
                  </a:moveTo>
                  <a:cubicBezTo>
                    <a:pt x="64379" y="73911"/>
                    <a:pt x="65115" y="77509"/>
                    <a:pt x="68303" y="78490"/>
                  </a:cubicBezTo>
                  <a:cubicBezTo>
                    <a:pt x="107758" y="90630"/>
                    <a:pt x="68334" y="80460"/>
                    <a:pt x="91850" y="86338"/>
                  </a:cubicBezTo>
                  <a:cubicBezTo>
                    <a:pt x="93812" y="88300"/>
                    <a:pt x="95084" y="91409"/>
                    <a:pt x="97736" y="92225"/>
                  </a:cubicBezTo>
                  <a:cubicBezTo>
                    <a:pt x="111429" y="96438"/>
                    <a:pt x="148577" y="92626"/>
                    <a:pt x="156603" y="92225"/>
                  </a:cubicBezTo>
                  <a:cubicBezTo>
                    <a:pt x="170172" y="71873"/>
                    <a:pt x="149526" y="103367"/>
                    <a:pt x="164452" y="78490"/>
                  </a:cubicBezTo>
                  <a:cubicBezTo>
                    <a:pt x="166879" y="74445"/>
                    <a:pt x="169685" y="70641"/>
                    <a:pt x="172301" y="66716"/>
                  </a:cubicBezTo>
                  <a:cubicBezTo>
                    <a:pt x="173609" y="64754"/>
                    <a:pt x="174264" y="62137"/>
                    <a:pt x="176226" y="60829"/>
                  </a:cubicBezTo>
                  <a:cubicBezTo>
                    <a:pt x="178188" y="59521"/>
                    <a:pt x="180301" y="58415"/>
                    <a:pt x="182112" y="56905"/>
                  </a:cubicBezTo>
                  <a:cubicBezTo>
                    <a:pt x="186921" y="52898"/>
                    <a:pt x="190807" y="46157"/>
                    <a:pt x="197810" y="45132"/>
                  </a:cubicBezTo>
                  <a:cubicBezTo>
                    <a:pt x="221190" y="41711"/>
                    <a:pt x="244904" y="41207"/>
                    <a:pt x="268451" y="39245"/>
                  </a:cubicBezTo>
                  <a:cubicBezTo>
                    <a:pt x="270413" y="38591"/>
                    <a:pt x="272417" y="38051"/>
                    <a:pt x="274337" y="37283"/>
                  </a:cubicBezTo>
                  <a:cubicBezTo>
                    <a:pt x="281328" y="34486"/>
                    <a:pt x="286937" y="31349"/>
                    <a:pt x="293960" y="29434"/>
                  </a:cubicBezTo>
                  <a:cubicBezTo>
                    <a:pt x="299163" y="28015"/>
                    <a:pt x="309657" y="25509"/>
                    <a:pt x="309657" y="25509"/>
                  </a:cubicBezTo>
                  <a:cubicBezTo>
                    <a:pt x="310965" y="24201"/>
                    <a:pt x="312426" y="23030"/>
                    <a:pt x="313582" y="21585"/>
                  </a:cubicBezTo>
                  <a:cubicBezTo>
                    <a:pt x="316054" y="18495"/>
                    <a:pt x="317782" y="13963"/>
                    <a:pt x="321431" y="11774"/>
                  </a:cubicBezTo>
                  <a:cubicBezTo>
                    <a:pt x="323204" y="10710"/>
                    <a:pt x="325355" y="10465"/>
                    <a:pt x="327317" y="9811"/>
                  </a:cubicBezTo>
                  <a:cubicBezTo>
                    <a:pt x="330967" y="6162"/>
                    <a:pt x="332180" y="4437"/>
                    <a:pt x="337129" y="1962"/>
                  </a:cubicBezTo>
                  <a:cubicBezTo>
                    <a:pt x="338979" y="1037"/>
                    <a:pt x="341053" y="654"/>
                    <a:pt x="343015" y="0"/>
                  </a:cubicBezTo>
                  <a:cubicBezTo>
                    <a:pt x="346285" y="654"/>
                    <a:pt x="350051" y="112"/>
                    <a:pt x="352826" y="1962"/>
                  </a:cubicBezTo>
                  <a:cubicBezTo>
                    <a:pt x="354547" y="3109"/>
                    <a:pt x="354340" y="5830"/>
                    <a:pt x="354789" y="7849"/>
                  </a:cubicBezTo>
                  <a:cubicBezTo>
                    <a:pt x="355652" y="11733"/>
                    <a:pt x="355135" y="15987"/>
                    <a:pt x="356751" y="19623"/>
                  </a:cubicBezTo>
                  <a:cubicBezTo>
                    <a:pt x="357878" y="22159"/>
                    <a:pt x="360862" y="23377"/>
                    <a:pt x="362638" y="25509"/>
                  </a:cubicBezTo>
                  <a:cubicBezTo>
                    <a:pt x="370815" y="35321"/>
                    <a:pt x="361654" y="28125"/>
                    <a:pt x="372449" y="35320"/>
                  </a:cubicBezTo>
                  <a:cubicBezTo>
                    <a:pt x="373103" y="37282"/>
                    <a:pt x="373596" y="39306"/>
                    <a:pt x="374411" y="41207"/>
                  </a:cubicBezTo>
                  <a:cubicBezTo>
                    <a:pt x="381690" y="58194"/>
                    <a:pt x="375691" y="41127"/>
                    <a:pt x="380298" y="54943"/>
                  </a:cubicBezTo>
                  <a:cubicBezTo>
                    <a:pt x="377990" y="55328"/>
                    <a:pt x="363003" y="56639"/>
                    <a:pt x="360675" y="60829"/>
                  </a:cubicBezTo>
                  <a:cubicBezTo>
                    <a:pt x="358429" y="64872"/>
                    <a:pt x="359367" y="69986"/>
                    <a:pt x="358713" y="74565"/>
                  </a:cubicBezTo>
                  <a:cubicBezTo>
                    <a:pt x="359367" y="77835"/>
                    <a:pt x="362167" y="81393"/>
                    <a:pt x="360675" y="84376"/>
                  </a:cubicBezTo>
                  <a:cubicBezTo>
                    <a:pt x="359469" y="86788"/>
                    <a:pt x="355305" y="85276"/>
                    <a:pt x="352826" y="86338"/>
                  </a:cubicBezTo>
                  <a:cubicBezTo>
                    <a:pt x="350658" y="87267"/>
                    <a:pt x="349087" y="89287"/>
                    <a:pt x="346940" y="90263"/>
                  </a:cubicBezTo>
                  <a:cubicBezTo>
                    <a:pt x="335804" y="95325"/>
                    <a:pt x="333244" y="95650"/>
                    <a:pt x="323393" y="98112"/>
                  </a:cubicBezTo>
                  <a:cubicBezTo>
                    <a:pt x="321431" y="101382"/>
                    <a:pt x="319212" y="104512"/>
                    <a:pt x="317506" y="107923"/>
                  </a:cubicBezTo>
                  <a:cubicBezTo>
                    <a:pt x="315428" y="112079"/>
                    <a:pt x="314742" y="119117"/>
                    <a:pt x="309657" y="121659"/>
                  </a:cubicBezTo>
                  <a:cubicBezTo>
                    <a:pt x="307245" y="122865"/>
                    <a:pt x="304424" y="122967"/>
                    <a:pt x="301808" y="123621"/>
                  </a:cubicBezTo>
                  <a:cubicBezTo>
                    <a:pt x="300589" y="124352"/>
                    <a:pt x="287582" y="129263"/>
                    <a:pt x="290035" y="135394"/>
                  </a:cubicBezTo>
                  <a:cubicBezTo>
                    <a:pt x="290911" y="137584"/>
                    <a:pt x="293960" y="138011"/>
                    <a:pt x="295922" y="139319"/>
                  </a:cubicBezTo>
                  <a:cubicBezTo>
                    <a:pt x="297230" y="147168"/>
                    <a:pt x="297787" y="158537"/>
                    <a:pt x="299846" y="162865"/>
                  </a:cubicBezTo>
                  <a:cubicBezTo>
                    <a:pt x="301905" y="167193"/>
                    <a:pt x="308103" y="162218"/>
                    <a:pt x="308277" y="165287"/>
                  </a:cubicBezTo>
                  <a:cubicBezTo>
                    <a:pt x="308451" y="168356"/>
                    <a:pt x="303678" y="176274"/>
                    <a:pt x="300888" y="181277"/>
                  </a:cubicBezTo>
                  <a:cubicBezTo>
                    <a:pt x="298098" y="186280"/>
                    <a:pt x="295135" y="190801"/>
                    <a:pt x="291538" y="195303"/>
                  </a:cubicBezTo>
                  <a:cubicBezTo>
                    <a:pt x="287941" y="199805"/>
                    <a:pt x="288248" y="202324"/>
                    <a:pt x="279304" y="208288"/>
                  </a:cubicBezTo>
                  <a:cubicBezTo>
                    <a:pt x="277996" y="210904"/>
                    <a:pt x="267970" y="207719"/>
                    <a:pt x="264526" y="207997"/>
                  </a:cubicBezTo>
                  <a:cubicBezTo>
                    <a:pt x="261082" y="208275"/>
                    <a:pt x="259947" y="207343"/>
                    <a:pt x="258639" y="209959"/>
                  </a:cubicBezTo>
                  <a:cubicBezTo>
                    <a:pt x="257331" y="212575"/>
                    <a:pt x="257481" y="219140"/>
                    <a:pt x="256677" y="223695"/>
                  </a:cubicBezTo>
                  <a:cubicBezTo>
                    <a:pt x="255518" y="230264"/>
                    <a:pt x="252723" y="236271"/>
                    <a:pt x="252753" y="243317"/>
                  </a:cubicBezTo>
                  <a:cubicBezTo>
                    <a:pt x="252783" y="250363"/>
                    <a:pt x="262879" y="264469"/>
                    <a:pt x="256859" y="265974"/>
                  </a:cubicBezTo>
                  <a:lnTo>
                    <a:pt x="223319" y="266864"/>
                  </a:lnTo>
                  <a:cubicBezTo>
                    <a:pt x="219395" y="266210"/>
                    <a:pt x="230420" y="275759"/>
                    <a:pt x="226536" y="274896"/>
                  </a:cubicBezTo>
                  <a:cubicBezTo>
                    <a:pt x="224517" y="274447"/>
                    <a:pt x="212736" y="264605"/>
                    <a:pt x="205659" y="262939"/>
                  </a:cubicBezTo>
                  <a:cubicBezTo>
                    <a:pt x="198582" y="261273"/>
                    <a:pt x="191270" y="264248"/>
                    <a:pt x="184075" y="264902"/>
                  </a:cubicBezTo>
                  <a:cubicBezTo>
                    <a:pt x="181459" y="263594"/>
                    <a:pt x="178130" y="263198"/>
                    <a:pt x="176226" y="260977"/>
                  </a:cubicBezTo>
                  <a:cubicBezTo>
                    <a:pt x="173934" y="258303"/>
                    <a:pt x="174168" y="254153"/>
                    <a:pt x="172301" y="251166"/>
                  </a:cubicBezTo>
                  <a:cubicBezTo>
                    <a:pt x="170830" y="248813"/>
                    <a:pt x="168376" y="247241"/>
                    <a:pt x="166414" y="245279"/>
                  </a:cubicBezTo>
                  <a:cubicBezTo>
                    <a:pt x="165106" y="242663"/>
                    <a:pt x="164190" y="239810"/>
                    <a:pt x="162490" y="237430"/>
                  </a:cubicBezTo>
                  <a:cubicBezTo>
                    <a:pt x="160877" y="235172"/>
                    <a:pt x="158238" y="231697"/>
                    <a:pt x="156603" y="231544"/>
                  </a:cubicBezTo>
                  <a:cubicBezTo>
                    <a:pt x="154968" y="231391"/>
                    <a:pt x="153987" y="238472"/>
                    <a:pt x="152679" y="236510"/>
                  </a:cubicBezTo>
                  <a:cubicBezTo>
                    <a:pt x="149174" y="247027"/>
                    <a:pt x="149735" y="239239"/>
                    <a:pt x="148754" y="241355"/>
                  </a:cubicBezTo>
                  <a:cubicBezTo>
                    <a:pt x="147773" y="243471"/>
                    <a:pt x="148288" y="246960"/>
                    <a:pt x="146792" y="249204"/>
                  </a:cubicBezTo>
                  <a:cubicBezTo>
                    <a:pt x="145484" y="251166"/>
                    <a:pt x="142747" y="251655"/>
                    <a:pt x="140905" y="253128"/>
                  </a:cubicBezTo>
                  <a:cubicBezTo>
                    <a:pt x="126925" y="264312"/>
                    <a:pt x="149214" y="248899"/>
                    <a:pt x="131094" y="260977"/>
                  </a:cubicBezTo>
                  <a:cubicBezTo>
                    <a:pt x="123245" y="260323"/>
                    <a:pt x="129513" y="267607"/>
                    <a:pt x="126542" y="269868"/>
                  </a:cubicBezTo>
                  <a:cubicBezTo>
                    <a:pt x="123571" y="272129"/>
                    <a:pt x="118394" y="274015"/>
                    <a:pt x="113266" y="274544"/>
                  </a:cubicBezTo>
                  <a:cubicBezTo>
                    <a:pt x="108138" y="275073"/>
                    <a:pt x="99997" y="273014"/>
                    <a:pt x="95774" y="273042"/>
                  </a:cubicBezTo>
                  <a:cubicBezTo>
                    <a:pt x="91551" y="273070"/>
                    <a:pt x="90214" y="274107"/>
                    <a:pt x="87925" y="274713"/>
                  </a:cubicBezTo>
                  <a:cubicBezTo>
                    <a:pt x="85636" y="275319"/>
                    <a:pt x="84000" y="276021"/>
                    <a:pt x="82038" y="276675"/>
                  </a:cubicBezTo>
                  <a:cubicBezTo>
                    <a:pt x="80730" y="275367"/>
                    <a:pt x="79700" y="273702"/>
                    <a:pt x="78114" y="272750"/>
                  </a:cubicBezTo>
                  <a:cubicBezTo>
                    <a:pt x="76340" y="271686"/>
                    <a:pt x="74246" y="271237"/>
                    <a:pt x="72227" y="270788"/>
                  </a:cubicBezTo>
                  <a:cubicBezTo>
                    <a:pt x="59072" y="267865"/>
                    <a:pt x="46717" y="267845"/>
                    <a:pt x="32983" y="266864"/>
                  </a:cubicBezTo>
                  <a:cubicBezTo>
                    <a:pt x="34945" y="264248"/>
                    <a:pt x="36557" y="261328"/>
                    <a:pt x="38869" y="259015"/>
                  </a:cubicBezTo>
                  <a:cubicBezTo>
                    <a:pt x="42673" y="255210"/>
                    <a:pt x="45854" y="254724"/>
                    <a:pt x="50643" y="253128"/>
                  </a:cubicBezTo>
                  <a:cubicBezTo>
                    <a:pt x="53672" y="237980"/>
                    <a:pt x="65515" y="246082"/>
                    <a:pt x="64931" y="240078"/>
                  </a:cubicBezTo>
                  <a:cubicBezTo>
                    <a:pt x="64347" y="234074"/>
                    <a:pt x="49099" y="218411"/>
                    <a:pt x="47137" y="217103"/>
                  </a:cubicBezTo>
                  <a:cubicBezTo>
                    <a:pt x="41563" y="205953"/>
                    <a:pt x="47020" y="188680"/>
                    <a:pt x="42794" y="182488"/>
                  </a:cubicBezTo>
                  <a:cubicBezTo>
                    <a:pt x="38568" y="176296"/>
                    <a:pt x="23090" y="184530"/>
                    <a:pt x="21782" y="179952"/>
                  </a:cubicBezTo>
                  <a:cubicBezTo>
                    <a:pt x="20474" y="175374"/>
                    <a:pt x="36907" y="156979"/>
                    <a:pt x="34945" y="155017"/>
                  </a:cubicBezTo>
                  <a:cubicBezTo>
                    <a:pt x="33637" y="152401"/>
                    <a:pt x="35643" y="151092"/>
                    <a:pt x="31020" y="147168"/>
                  </a:cubicBezTo>
                  <a:cubicBezTo>
                    <a:pt x="26397" y="143244"/>
                    <a:pt x="12345" y="135604"/>
                    <a:pt x="7208" y="131470"/>
                  </a:cubicBezTo>
                  <a:cubicBezTo>
                    <a:pt x="2071" y="127336"/>
                    <a:pt x="4121" y="123018"/>
                    <a:pt x="197" y="122364"/>
                  </a:cubicBezTo>
                  <a:cubicBezTo>
                    <a:pt x="-1111" y="120402"/>
                    <a:pt x="4350" y="120519"/>
                    <a:pt x="8179" y="116477"/>
                  </a:cubicBezTo>
                  <a:cubicBezTo>
                    <a:pt x="12008" y="112435"/>
                    <a:pt x="16816" y="103673"/>
                    <a:pt x="23172" y="98112"/>
                  </a:cubicBezTo>
                  <a:cubicBezTo>
                    <a:pt x="25823" y="95793"/>
                    <a:pt x="29713" y="95495"/>
                    <a:pt x="32983" y="94187"/>
                  </a:cubicBezTo>
                  <a:cubicBezTo>
                    <a:pt x="38215" y="86339"/>
                    <a:pt x="52605" y="79143"/>
                    <a:pt x="58492" y="76527"/>
                  </a:cubicBezTo>
                  <a:close/>
                </a:path>
              </a:pathLst>
            </a:custGeom>
            <a:solidFill>
              <a:srgbClr val="003399"/>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13" name="Forma libre: forma 40">
              <a:extLst>
                <a:ext uri="{FF2B5EF4-FFF2-40B4-BE49-F238E27FC236}">
                  <a16:creationId xmlns:a16="http://schemas.microsoft.com/office/drawing/2014/main" id="{3CCAF30B-9326-40BB-BB33-4AEA86C0C5DE}"/>
                </a:ext>
              </a:extLst>
            </p:cNvPr>
            <p:cNvSpPr/>
            <p:nvPr/>
          </p:nvSpPr>
          <p:spPr>
            <a:xfrm>
              <a:off x="8247050" y="5382606"/>
              <a:ext cx="276832" cy="524285"/>
            </a:xfrm>
            <a:custGeom>
              <a:avLst/>
              <a:gdLst>
                <a:gd name="connsiteX0" fmla="*/ 48232 w 276832"/>
                <a:gd name="connsiteY0" fmla="*/ 410 h 524285"/>
                <a:gd name="connsiteX1" fmla="*/ 56169 w 276832"/>
                <a:gd name="connsiteY1" fmla="*/ 3585 h 524285"/>
                <a:gd name="connsiteX2" fmla="*/ 64107 w 276832"/>
                <a:gd name="connsiteY2" fmla="*/ 22635 h 524285"/>
                <a:gd name="connsiteX3" fmla="*/ 68869 w 276832"/>
                <a:gd name="connsiteY3" fmla="*/ 24222 h 524285"/>
                <a:gd name="connsiteX4" fmla="*/ 78394 w 276832"/>
                <a:gd name="connsiteY4" fmla="*/ 22635 h 524285"/>
                <a:gd name="connsiteX5" fmla="*/ 86332 w 276832"/>
                <a:gd name="connsiteY5" fmla="*/ 13110 h 524285"/>
                <a:gd name="connsiteX6" fmla="*/ 97444 w 276832"/>
                <a:gd name="connsiteY6" fmla="*/ 9935 h 524285"/>
                <a:gd name="connsiteX7" fmla="*/ 103794 w 276832"/>
                <a:gd name="connsiteY7" fmla="*/ 11522 h 524285"/>
                <a:gd name="connsiteX8" fmla="*/ 105382 w 276832"/>
                <a:gd name="connsiteY8" fmla="*/ 17872 h 524285"/>
                <a:gd name="connsiteX9" fmla="*/ 111732 w 276832"/>
                <a:gd name="connsiteY9" fmla="*/ 30572 h 524285"/>
                <a:gd name="connsiteX10" fmla="*/ 119669 w 276832"/>
                <a:gd name="connsiteY10" fmla="*/ 32160 h 524285"/>
                <a:gd name="connsiteX11" fmla="*/ 126019 w 276832"/>
                <a:gd name="connsiteY11" fmla="*/ 41685 h 524285"/>
                <a:gd name="connsiteX12" fmla="*/ 132369 w 276832"/>
                <a:gd name="connsiteY12" fmla="*/ 44860 h 524285"/>
                <a:gd name="connsiteX13" fmla="*/ 153007 w 276832"/>
                <a:gd name="connsiteY13" fmla="*/ 52797 h 524285"/>
                <a:gd name="connsiteX14" fmla="*/ 159357 w 276832"/>
                <a:gd name="connsiteY14" fmla="*/ 63910 h 524285"/>
                <a:gd name="connsiteX15" fmla="*/ 167294 w 276832"/>
                <a:gd name="connsiteY15" fmla="*/ 78197 h 524285"/>
                <a:gd name="connsiteX16" fmla="*/ 168882 w 276832"/>
                <a:gd name="connsiteY16" fmla="*/ 108360 h 524285"/>
                <a:gd name="connsiteX17" fmla="*/ 173644 w 276832"/>
                <a:gd name="connsiteY17" fmla="*/ 117885 h 524285"/>
                <a:gd name="connsiteX18" fmla="*/ 178407 w 276832"/>
                <a:gd name="connsiteY18" fmla="*/ 154397 h 524285"/>
                <a:gd name="connsiteX19" fmla="*/ 176819 w 276832"/>
                <a:gd name="connsiteY19" fmla="*/ 176622 h 524285"/>
                <a:gd name="connsiteX20" fmla="*/ 175232 w 276832"/>
                <a:gd name="connsiteY20" fmla="*/ 181385 h 524285"/>
                <a:gd name="connsiteX21" fmla="*/ 181582 w 276832"/>
                <a:gd name="connsiteY21" fmla="*/ 200435 h 524285"/>
                <a:gd name="connsiteX22" fmla="*/ 183169 w 276832"/>
                <a:gd name="connsiteY22" fmla="*/ 232185 h 524285"/>
                <a:gd name="connsiteX23" fmla="*/ 184757 w 276832"/>
                <a:gd name="connsiteY23" fmla="*/ 236947 h 524285"/>
                <a:gd name="connsiteX24" fmla="*/ 186344 w 276832"/>
                <a:gd name="connsiteY24" fmla="*/ 248060 h 524285"/>
                <a:gd name="connsiteX25" fmla="*/ 194282 w 276832"/>
                <a:gd name="connsiteY25" fmla="*/ 260760 h 524285"/>
                <a:gd name="connsiteX26" fmla="*/ 205394 w 276832"/>
                <a:gd name="connsiteY26" fmla="*/ 262347 h 524285"/>
                <a:gd name="connsiteX27" fmla="*/ 210157 w 276832"/>
                <a:gd name="connsiteY27" fmla="*/ 271872 h 524285"/>
                <a:gd name="connsiteX28" fmla="*/ 222857 w 276832"/>
                <a:gd name="connsiteY28" fmla="*/ 276635 h 524285"/>
                <a:gd name="connsiteX29" fmla="*/ 229207 w 276832"/>
                <a:gd name="connsiteY29" fmla="*/ 281397 h 524285"/>
                <a:gd name="connsiteX30" fmla="*/ 232382 w 276832"/>
                <a:gd name="connsiteY30" fmla="*/ 286160 h 524285"/>
                <a:gd name="connsiteX31" fmla="*/ 235557 w 276832"/>
                <a:gd name="connsiteY31" fmla="*/ 292510 h 524285"/>
                <a:gd name="connsiteX32" fmla="*/ 240319 w 276832"/>
                <a:gd name="connsiteY32" fmla="*/ 294097 h 524285"/>
                <a:gd name="connsiteX33" fmla="*/ 249844 w 276832"/>
                <a:gd name="connsiteY33" fmla="*/ 295685 h 524285"/>
                <a:gd name="connsiteX34" fmla="*/ 259369 w 276832"/>
                <a:gd name="connsiteY34" fmla="*/ 303622 h 524285"/>
                <a:gd name="connsiteX35" fmla="*/ 256194 w 276832"/>
                <a:gd name="connsiteY35" fmla="*/ 308385 h 524285"/>
                <a:gd name="connsiteX36" fmla="*/ 257782 w 276832"/>
                <a:gd name="connsiteY36" fmla="*/ 319497 h 524285"/>
                <a:gd name="connsiteX37" fmla="*/ 267307 w 276832"/>
                <a:gd name="connsiteY37" fmla="*/ 327435 h 524285"/>
                <a:gd name="connsiteX38" fmla="*/ 276832 w 276832"/>
                <a:gd name="connsiteY38" fmla="*/ 343310 h 524285"/>
                <a:gd name="connsiteX39" fmla="*/ 273657 w 276832"/>
                <a:gd name="connsiteY39" fmla="*/ 348072 h 524285"/>
                <a:gd name="connsiteX40" fmla="*/ 260957 w 276832"/>
                <a:gd name="connsiteY40" fmla="*/ 352835 h 524285"/>
                <a:gd name="connsiteX41" fmla="*/ 254607 w 276832"/>
                <a:gd name="connsiteY41" fmla="*/ 363947 h 524285"/>
                <a:gd name="connsiteX42" fmla="*/ 251432 w 276832"/>
                <a:gd name="connsiteY42" fmla="*/ 370297 h 524285"/>
                <a:gd name="connsiteX43" fmla="*/ 246669 w 276832"/>
                <a:gd name="connsiteY43" fmla="*/ 375060 h 524285"/>
                <a:gd name="connsiteX44" fmla="*/ 243494 w 276832"/>
                <a:gd name="connsiteY44" fmla="*/ 382997 h 524285"/>
                <a:gd name="connsiteX45" fmla="*/ 238732 w 276832"/>
                <a:gd name="connsiteY45" fmla="*/ 394110 h 524285"/>
                <a:gd name="connsiteX46" fmla="*/ 237144 w 276832"/>
                <a:gd name="connsiteY46" fmla="*/ 403635 h 524285"/>
                <a:gd name="connsiteX47" fmla="*/ 229207 w 276832"/>
                <a:gd name="connsiteY47" fmla="*/ 435385 h 524285"/>
                <a:gd name="connsiteX48" fmla="*/ 222857 w 276832"/>
                <a:gd name="connsiteY48" fmla="*/ 438560 h 524285"/>
                <a:gd name="connsiteX49" fmla="*/ 216507 w 276832"/>
                <a:gd name="connsiteY49" fmla="*/ 443322 h 524285"/>
                <a:gd name="connsiteX50" fmla="*/ 205394 w 276832"/>
                <a:gd name="connsiteY50" fmla="*/ 451260 h 524285"/>
                <a:gd name="connsiteX51" fmla="*/ 200632 w 276832"/>
                <a:gd name="connsiteY51" fmla="*/ 454435 h 524285"/>
                <a:gd name="connsiteX52" fmla="*/ 192694 w 276832"/>
                <a:gd name="connsiteY52" fmla="*/ 457610 h 524285"/>
                <a:gd name="connsiteX53" fmla="*/ 192694 w 276832"/>
                <a:gd name="connsiteY53" fmla="*/ 467135 h 524285"/>
                <a:gd name="connsiteX54" fmla="*/ 197457 w 276832"/>
                <a:gd name="connsiteY54" fmla="*/ 468722 h 524285"/>
                <a:gd name="connsiteX55" fmla="*/ 205394 w 276832"/>
                <a:gd name="connsiteY55" fmla="*/ 481422 h 524285"/>
                <a:gd name="connsiteX56" fmla="*/ 208569 w 276832"/>
                <a:gd name="connsiteY56" fmla="*/ 487772 h 524285"/>
                <a:gd name="connsiteX57" fmla="*/ 194282 w 276832"/>
                <a:gd name="connsiteY57" fmla="*/ 497297 h 524285"/>
                <a:gd name="connsiteX58" fmla="*/ 187932 w 276832"/>
                <a:gd name="connsiteY58" fmla="*/ 506822 h 524285"/>
                <a:gd name="connsiteX59" fmla="*/ 184757 w 276832"/>
                <a:gd name="connsiteY59" fmla="*/ 513172 h 524285"/>
                <a:gd name="connsiteX60" fmla="*/ 178407 w 276832"/>
                <a:gd name="connsiteY60" fmla="*/ 524285 h 524285"/>
                <a:gd name="connsiteX61" fmla="*/ 173644 w 276832"/>
                <a:gd name="connsiteY61" fmla="*/ 517935 h 524285"/>
                <a:gd name="connsiteX62" fmla="*/ 141894 w 276832"/>
                <a:gd name="connsiteY62" fmla="*/ 513172 h 524285"/>
                <a:gd name="connsiteX63" fmla="*/ 137132 w 276832"/>
                <a:gd name="connsiteY63" fmla="*/ 494122 h 524285"/>
                <a:gd name="connsiteX64" fmla="*/ 130782 w 276832"/>
                <a:gd name="connsiteY64" fmla="*/ 467135 h 524285"/>
                <a:gd name="connsiteX65" fmla="*/ 124432 w 276832"/>
                <a:gd name="connsiteY65" fmla="*/ 465547 h 524285"/>
                <a:gd name="connsiteX66" fmla="*/ 118082 w 276832"/>
                <a:gd name="connsiteY66" fmla="*/ 457610 h 524285"/>
                <a:gd name="connsiteX67" fmla="*/ 94269 w 276832"/>
                <a:gd name="connsiteY67" fmla="*/ 451260 h 524285"/>
                <a:gd name="connsiteX68" fmla="*/ 86332 w 276832"/>
                <a:gd name="connsiteY68" fmla="*/ 446497 h 524285"/>
                <a:gd name="connsiteX69" fmla="*/ 81569 w 276832"/>
                <a:gd name="connsiteY69" fmla="*/ 435385 h 524285"/>
                <a:gd name="connsiteX70" fmla="*/ 70457 w 276832"/>
                <a:gd name="connsiteY70" fmla="*/ 430622 h 524285"/>
                <a:gd name="connsiteX71" fmla="*/ 65694 w 276832"/>
                <a:gd name="connsiteY71" fmla="*/ 425860 h 524285"/>
                <a:gd name="connsiteX72" fmla="*/ 52994 w 276832"/>
                <a:gd name="connsiteY72" fmla="*/ 419510 h 524285"/>
                <a:gd name="connsiteX73" fmla="*/ 48232 w 276832"/>
                <a:gd name="connsiteY73" fmla="*/ 402047 h 524285"/>
                <a:gd name="connsiteX74" fmla="*/ 45057 w 276832"/>
                <a:gd name="connsiteY74" fmla="*/ 397285 h 524285"/>
                <a:gd name="connsiteX75" fmla="*/ 51407 w 276832"/>
                <a:gd name="connsiteY75" fmla="*/ 398872 h 524285"/>
                <a:gd name="connsiteX76" fmla="*/ 65694 w 276832"/>
                <a:gd name="connsiteY76" fmla="*/ 397285 h 524285"/>
                <a:gd name="connsiteX77" fmla="*/ 60932 w 276832"/>
                <a:gd name="connsiteY77" fmla="*/ 394110 h 524285"/>
                <a:gd name="connsiteX78" fmla="*/ 59344 w 276832"/>
                <a:gd name="connsiteY78" fmla="*/ 387760 h 524285"/>
                <a:gd name="connsiteX79" fmla="*/ 49819 w 276832"/>
                <a:gd name="connsiteY79" fmla="*/ 368710 h 524285"/>
                <a:gd name="connsiteX80" fmla="*/ 46644 w 276832"/>
                <a:gd name="connsiteY80" fmla="*/ 363947 h 524285"/>
                <a:gd name="connsiteX81" fmla="*/ 37119 w 276832"/>
                <a:gd name="connsiteY81" fmla="*/ 360772 h 524285"/>
                <a:gd name="connsiteX82" fmla="*/ 38707 w 276832"/>
                <a:gd name="connsiteY82" fmla="*/ 336960 h 524285"/>
                <a:gd name="connsiteX83" fmla="*/ 43469 w 276832"/>
                <a:gd name="connsiteY83" fmla="*/ 311560 h 524285"/>
                <a:gd name="connsiteX84" fmla="*/ 43469 w 276832"/>
                <a:gd name="connsiteY84" fmla="*/ 254410 h 524285"/>
                <a:gd name="connsiteX85" fmla="*/ 40294 w 276832"/>
                <a:gd name="connsiteY85" fmla="*/ 249647 h 524285"/>
                <a:gd name="connsiteX86" fmla="*/ 33944 w 276832"/>
                <a:gd name="connsiteY86" fmla="*/ 235360 h 524285"/>
                <a:gd name="connsiteX87" fmla="*/ 26007 w 276832"/>
                <a:gd name="connsiteY87" fmla="*/ 225835 h 524285"/>
                <a:gd name="connsiteX88" fmla="*/ 30769 w 276832"/>
                <a:gd name="connsiteY88" fmla="*/ 224247 h 524285"/>
                <a:gd name="connsiteX89" fmla="*/ 40294 w 276832"/>
                <a:gd name="connsiteY89" fmla="*/ 222660 h 524285"/>
                <a:gd name="connsiteX90" fmla="*/ 43469 w 276832"/>
                <a:gd name="connsiteY90" fmla="*/ 214722 h 524285"/>
                <a:gd name="connsiteX91" fmla="*/ 43469 w 276832"/>
                <a:gd name="connsiteY91" fmla="*/ 198847 h 524285"/>
                <a:gd name="connsiteX92" fmla="*/ 40294 w 276832"/>
                <a:gd name="connsiteY92" fmla="*/ 194085 h 524285"/>
                <a:gd name="connsiteX93" fmla="*/ 46644 w 276832"/>
                <a:gd name="connsiteY93" fmla="*/ 192497 h 524285"/>
                <a:gd name="connsiteX94" fmla="*/ 54582 w 276832"/>
                <a:gd name="connsiteY94" fmla="*/ 190910 h 524285"/>
                <a:gd name="connsiteX95" fmla="*/ 56169 w 276832"/>
                <a:gd name="connsiteY95" fmla="*/ 186147 h 524285"/>
                <a:gd name="connsiteX96" fmla="*/ 54582 w 276832"/>
                <a:gd name="connsiteY96" fmla="*/ 163922 h 524285"/>
                <a:gd name="connsiteX97" fmla="*/ 43469 w 276832"/>
                <a:gd name="connsiteY97" fmla="*/ 159160 h 524285"/>
                <a:gd name="connsiteX98" fmla="*/ 37119 w 276832"/>
                <a:gd name="connsiteY98" fmla="*/ 155985 h 524285"/>
                <a:gd name="connsiteX99" fmla="*/ 27594 w 276832"/>
                <a:gd name="connsiteY99" fmla="*/ 149635 h 524285"/>
                <a:gd name="connsiteX100" fmla="*/ 19657 w 276832"/>
                <a:gd name="connsiteY100" fmla="*/ 148047 h 524285"/>
                <a:gd name="connsiteX101" fmla="*/ 6957 w 276832"/>
                <a:gd name="connsiteY101" fmla="*/ 141697 h 524285"/>
                <a:gd name="connsiteX102" fmla="*/ 5369 w 276832"/>
                <a:gd name="connsiteY102" fmla="*/ 136935 h 524285"/>
                <a:gd name="connsiteX103" fmla="*/ 2194 w 276832"/>
                <a:gd name="connsiteY103" fmla="*/ 132172 h 524285"/>
                <a:gd name="connsiteX104" fmla="*/ 2194 w 276832"/>
                <a:gd name="connsiteY104" fmla="*/ 102010 h 524285"/>
                <a:gd name="connsiteX105" fmla="*/ 3782 w 276832"/>
                <a:gd name="connsiteY105" fmla="*/ 97247 h 524285"/>
                <a:gd name="connsiteX106" fmla="*/ 10132 w 276832"/>
                <a:gd name="connsiteY106" fmla="*/ 89310 h 524285"/>
                <a:gd name="connsiteX107" fmla="*/ 11719 w 276832"/>
                <a:gd name="connsiteY107" fmla="*/ 84547 h 524285"/>
                <a:gd name="connsiteX108" fmla="*/ 14894 w 276832"/>
                <a:gd name="connsiteY108" fmla="*/ 73435 h 524285"/>
                <a:gd name="connsiteX109" fmla="*/ 18069 w 276832"/>
                <a:gd name="connsiteY109" fmla="*/ 68672 h 524285"/>
                <a:gd name="connsiteX110" fmla="*/ 21244 w 276832"/>
                <a:gd name="connsiteY110" fmla="*/ 59147 h 524285"/>
                <a:gd name="connsiteX111" fmla="*/ 27594 w 276832"/>
                <a:gd name="connsiteY111" fmla="*/ 48035 h 524285"/>
                <a:gd name="connsiteX112" fmla="*/ 32357 w 276832"/>
                <a:gd name="connsiteY112" fmla="*/ 33747 h 524285"/>
                <a:gd name="connsiteX113" fmla="*/ 40294 w 276832"/>
                <a:gd name="connsiteY113" fmla="*/ 16285 h 524285"/>
                <a:gd name="connsiteX114" fmla="*/ 41882 w 276832"/>
                <a:gd name="connsiteY114" fmla="*/ 11522 h 524285"/>
                <a:gd name="connsiteX115" fmla="*/ 48232 w 276832"/>
                <a:gd name="connsiteY115" fmla="*/ 410 h 524285"/>
                <a:gd name="connsiteX0" fmla="*/ 48232 w 276832"/>
                <a:gd name="connsiteY0" fmla="*/ 410 h 524285"/>
                <a:gd name="connsiteX1" fmla="*/ 56169 w 276832"/>
                <a:gd name="connsiteY1" fmla="*/ 3585 h 524285"/>
                <a:gd name="connsiteX2" fmla="*/ 64107 w 276832"/>
                <a:gd name="connsiteY2" fmla="*/ 22635 h 524285"/>
                <a:gd name="connsiteX3" fmla="*/ 68869 w 276832"/>
                <a:gd name="connsiteY3" fmla="*/ 24222 h 524285"/>
                <a:gd name="connsiteX4" fmla="*/ 78394 w 276832"/>
                <a:gd name="connsiteY4" fmla="*/ 22635 h 524285"/>
                <a:gd name="connsiteX5" fmla="*/ 86332 w 276832"/>
                <a:gd name="connsiteY5" fmla="*/ 13110 h 524285"/>
                <a:gd name="connsiteX6" fmla="*/ 97444 w 276832"/>
                <a:gd name="connsiteY6" fmla="*/ 9935 h 524285"/>
                <a:gd name="connsiteX7" fmla="*/ 103794 w 276832"/>
                <a:gd name="connsiteY7" fmla="*/ 11522 h 524285"/>
                <a:gd name="connsiteX8" fmla="*/ 105382 w 276832"/>
                <a:gd name="connsiteY8" fmla="*/ 17872 h 524285"/>
                <a:gd name="connsiteX9" fmla="*/ 111732 w 276832"/>
                <a:gd name="connsiteY9" fmla="*/ 30572 h 524285"/>
                <a:gd name="connsiteX10" fmla="*/ 119669 w 276832"/>
                <a:gd name="connsiteY10" fmla="*/ 32160 h 524285"/>
                <a:gd name="connsiteX11" fmla="*/ 126019 w 276832"/>
                <a:gd name="connsiteY11" fmla="*/ 41685 h 524285"/>
                <a:gd name="connsiteX12" fmla="*/ 132369 w 276832"/>
                <a:gd name="connsiteY12" fmla="*/ 44860 h 524285"/>
                <a:gd name="connsiteX13" fmla="*/ 153007 w 276832"/>
                <a:gd name="connsiteY13" fmla="*/ 52797 h 524285"/>
                <a:gd name="connsiteX14" fmla="*/ 159357 w 276832"/>
                <a:gd name="connsiteY14" fmla="*/ 63910 h 524285"/>
                <a:gd name="connsiteX15" fmla="*/ 167294 w 276832"/>
                <a:gd name="connsiteY15" fmla="*/ 78197 h 524285"/>
                <a:gd name="connsiteX16" fmla="*/ 168882 w 276832"/>
                <a:gd name="connsiteY16" fmla="*/ 108360 h 524285"/>
                <a:gd name="connsiteX17" fmla="*/ 173644 w 276832"/>
                <a:gd name="connsiteY17" fmla="*/ 117885 h 524285"/>
                <a:gd name="connsiteX18" fmla="*/ 178407 w 276832"/>
                <a:gd name="connsiteY18" fmla="*/ 154397 h 524285"/>
                <a:gd name="connsiteX19" fmla="*/ 176819 w 276832"/>
                <a:gd name="connsiteY19" fmla="*/ 176622 h 524285"/>
                <a:gd name="connsiteX20" fmla="*/ 175232 w 276832"/>
                <a:gd name="connsiteY20" fmla="*/ 181385 h 524285"/>
                <a:gd name="connsiteX21" fmla="*/ 181582 w 276832"/>
                <a:gd name="connsiteY21" fmla="*/ 200435 h 524285"/>
                <a:gd name="connsiteX22" fmla="*/ 183169 w 276832"/>
                <a:gd name="connsiteY22" fmla="*/ 232185 h 524285"/>
                <a:gd name="connsiteX23" fmla="*/ 184757 w 276832"/>
                <a:gd name="connsiteY23" fmla="*/ 236947 h 524285"/>
                <a:gd name="connsiteX24" fmla="*/ 186344 w 276832"/>
                <a:gd name="connsiteY24" fmla="*/ 248060 h 524285"/>
                <a:gd name="connsiteX25" fmla="*/ 194282 w 276832"/>
                <a:gd name="connsiteY25" fmla="*/ 260760 h 524285"/>
                <a:gd name="connsiteX26" fmla="*/ 205394 w 276832"/>
                <a:gd name="connsiteY26" fmla="*/ 262347 h 524285"/>
                <a:gd name="connsiteX27" fmla="*/ 210157 w 276832"/>
                <a:gd name="connsiteY27" fmla="*/ 271872 h 524285"/>
                <a:gd name="connsiteX28" fmla="*/ 222857 w 276832"/>
                <a:gd name="connsiteY28" fmla="*/ 276635 h 524285"/>
                <a:gd name="connsiteX29" fmla="*/ 229207 w 276832"/>
                <a:gd name="connsiteY29" fmla="*/ 281397 h 524285"/>
                <a:gd name="connsiteX30" fmla="*/ 232382 w 276832"/>
                <a:gd name="connsiteY30" fmla="*/ 286160 h 524285"/>
                <a:gd name="connsiteX31" fmla="*/ 235557 w 276832"/>
                <a:gd name="connsiteY31" fmla="*/ 292510 h 524285"/>
                <a:gd name="connsiteX32" fmla="*/ 240319 w 276832"/>
                <a:gd name="connsiteY32" fmla="*/ 294097 h 524285"/>
                <a:gd name="connsiteX33" fmla="*/ 249844 w 276832"/>
                <a:gd name="connsiteY33" fmla="*/ 295685 h 524285"/>
                <a:gd name="connsiteX34" fmla="*/ 259369 w 276832"/>
                <a:gd name="connsiteY34" fmla="*/ 303622 h 524285"/>
                <a:gd name="connsiteX35" fmla="*/ 256194 w 276832"/>
                <a:gd name="connsiteY35" fmla="*/ 308385 h 524285"/>
                <a:gd name="connsiteX36" fmla="*/ 257782 w 276832"/>
                <a:gd name="connsiteY36" fmla="*/ 319497 h 524285"/>
                <a:gd name="connsiteX37" fmla="*/ 267307 w 276832"/>
                <a:gd name="connsiteY37" fmla="*/ 327435 h 524285"/>
                <a:gd name="connsiteX38" fmla="*/ 276832 w 276832"/>
                <a:gd name="connsiteY38" fmla="*/ 343310 h 524285"/>
                <a:gd name="connsiteX39" fmla="*/ 273657 w 276832"/>
                <a:gd name="connsiteY39" fmla="*/ 348072 h 524285"/>
                <a:gd name="connsiteX40" fmla="*/ 260957 w 276832"/>
                <a:gd name="connsiteY40" fmla="*/ 352835 h 524285"/>
                <a:gd name="connsiteX41" fmla="*/ 254607 w 276832"/>
                <a:gd name="connsiteY41" fmla="*/ 363947 h 524285"/>
                <a:gd name="connsiteX42" fmla="*/ 251432 w 276832"/>
                <a:gd name="connsiteY42" fmla="*/ 370297 h 524285"/>
                <a:gd name="connsiteX43" fmla="*/ 246669 w 276832"/>
                <a:gd name="connsiteY43" fmla="*/ 375060 h 524285"/>
                <a:gd name="connsiteX44" fmla="*/ 243494 w 276832"/>
                <a:gd name="connsiteY44" fmla="*/ 382997 h 524285"/>
                <a:gd name="connsiteX45" fmla="*/ 238732 w 276832"/>
                <a:gd name="connsiteY45" fmla="*/ 394110 h 524285"/>
                <a:gd name="connsiteX46" fmla="*/ 237144 w 276832"/>
                <a:gd name="connsiteY46" fmla="*/ 403635 h 524285"/>
                <a:gd name="connsiteX47" fmla="*/ 229207 w 276832"/>
                <a:gd name="connsiteY47" fmla="*/ 435385 h 524285"/>
                <a:gd name="connsiteX48" fmla="*/ 222857 w 276832"/>
                <a:gd name="connsiteY48" fmla="*/ 438560 h 524285"/>
                <a:gd name="connsiteX49" fmla="*/ 216507 w 276832"/>
                <a:gd name="connsiteY49" fmla="*/ 443322 h 524285"/>
                <a:gd name="connsiteX50" fmla="*/ 205394 w 276832"/>
                <a:gd name="connsiteY50" fmla="*/ 451260 h 524285"/>
                <a:gd name="connsiteX51" fmla="*/ 200632 w 276832"/>
                <a:gd name="connsiteY51" fmla="*/ 454435 h 524285"/>
                <a:gd name="connsiteX52" fmla="*/ 192694 w 276832"/>
                <a:gd name="connsiteY52" fmla="*/ 457610 h 524285"/>
                <a:gd name="connsiteX53" fmla="*/ 192694 w 276832"/>
                <a:gd name="connsiteY53" fmla="*/ 467135 h 524285"/>
                <a:gd name="connsiteX54" fmla="*/ 197457 w 276832"/>
                <a:gd name="connsiteY54" fmla="*/ 468722 h 524285"/>
                <a:gd name="connsiteX55" fmla="*/ 205394 w 276832"/>
                <a:gd name="connsiteY55" fmla="*/ 481422 h 524285"/>
                <a:gd name="connsiteX56" fmla="*/ 208569 w 276832"/>
                <a:gd name="connsiteY56" fmla="*/ 487772 h 524285"/>
                <a:gd name="connsiteX57" fmla="*/ 194282 w 276832"/>
                <a:gd name="connsiteY57" fmla="*/ 497297 h 524285"/>
                <a:gd name="connsiteX58" fmla="*/ 187932 w 276832"/>
                <a:gd name="connsiteY58" fmla="*/ 506822 h 524285"/>
                <a:gd name="connsiteX59" fmla="*/ 184757 w 276832"/>
                <a:gd name="connsiteY59" fmla="*/ 513172 h 524285"/>
                <a:gd name="connsiteX60" fmla="*/ 178407 w 276832"/>
                <a:gd name="connsiteY60" fmla="*/ 524285 h 524285"/>
                <a:gd name="connsiteX61" fmla="*/ 173644 w 276832"/>
                <a:gd name="connsiteY61" fmla="*/ 517935 h 524285"/>
                <a:gd name="connsiteX62" fmla="*/ 141894 w 276832"/>
                <a:gd name="connsiteY62" fmla="*/ 513172 h 524285"/>
                <a:gd name="connsiteX63" fmla="*/ 137132 w 276832"/>
                <a:gd name="connsiteY63" fmla="*/ 494122 h 524285"/>
                <a:gd name="connsiteX64" fmla="*/ 130782 w 276832"/>
                <a:gd name="connsiteY64" fmla="*/ 467135 h 524285"/>
                <a:gd name="connsiteX65" fmla="*/ 124432 w 276832"/>
                <a:gd name="connsiteY65" fmla="*/ 465547 h 524285"/>
                <a:gd name="connsiteX66" fmla="*/ 118082 w 276832"/>
                <a:gd name="connsiteY66" fmla="*/ 457610 h 524285"/>
                <a:gd name="connsiteX67" fmla="*/ 94269 w 276832"/>
                <a:gd name="connsiteY67" fmla="*/ 451260 h 524285"/>
                <a:gd name="connsiteX68" fmla="*/ 86332 w 276832"/>
                <a:gd name="connsiteY68" fmla="*/ 446497 h 524285"/>
                <a:gd name="connsiteX69" fmla="*/ 81569 w 276832"/>
                <a:gd name="connsiteY69" fmla="*/ 435385 h 524285"/>
                <a:gd name="connsiteX70" fmla="*/ 70457 w 276832"/>
                <a:gd name="connsiteY70" fmla="*/ 430622 h 524285"/>
                <a:gd name="connsiteX71" fmla="*/ 65694 w 276832"/>
                <a:gd name="connsiteY71" fmla="*/ 425860 h 524285"/>
                <a:gd name="connsiteX72" fmla="*/ 52994 w 276832"/>
                <a:gd name="connsiteY72" fmla="*/ 419510 h 524285"/>
                <a:gd name="connsiteX73" fmla="*/ 48232 w 276832"/>
                <a:gd name="connsiteY73" fmla="*/ 402047 h 524285"/>
                <a:gd name="connsiteX74" fmla="*/ 45057 w 276832"/>
                <a:gd name="connsiteY74" fmla="*/ 397285 h 524285"/>
                <a:gd name="connsiteX75" fmla="*/ 51407 w 276832"/>
                <a:gd name="connsiteY75" fmla="*/ 398872 h 524285"/>
                <a:gd name="connsiteX76" fmla="*/ 65694 w 276832"/>
                <a:gd name="connsiteY76" fmla="*/ 397285 h 524285"/>
                <a:gd name="connsiteX77" fmla="*/ 60932 w 276832"/>
                <a:gd name="connsiteY77" fmla="*/ 394110 h 524285"/>
                <a:gd name="connsiteX78" fmla="*/ 59344 w 276832"/>
                <a:gd name="connsiteY78" fmla="*/ 387760 h 524285"/>
                <a:gd name="connsiteX79" fmla="*/ 49819 w 276832"/>
                <a:gd name="connsiteY79" fmla="*/ 368710 h 524285"/>
                <a:gd name="connsiteX80" fmla="*/ 46644 w 276832"/>
                <a:gd name="connsiteY80" fmla="*/ 363947 h 524285"/>
                <a:gd name="connsiteX81" fmla="*/ 37119 w 276832"/>
                <a:gd name="connsiteY81" fmla="*/ 360772 h 524285"/>
                <a:gd name="connsiteX82" fmla="*/ 38707 w 276832"/>
                <a:gd name="connsiteY82" fmla="*/ 336960 h 524285"/>
                <a:gd name="connsiteX83" fmla="*/ 43469 w 276832"/>
                <a:gd name="connsiteY83" fmla="*/ 311560 h 524285"/>
                <a:gd name="connsiteX84" fmla="*/ 43469 w 276832"/>
                <a:gd name="connsiteY84" fmla="*/ 254410 h 524285"/>
                <a:gd name="connsiteX85" fmla="*/ 40294 w 276832"/>
                <a:gd name="connsiteY85" fmla="*/ 249647 h 524285"/>
                <a:gd name="connsiteX86" fmla="*/ 33944 w 276832"/>
                <a:gd name="connsiteY86" fmla="*/ 235360 h 524285"/>
                <a:gd name="connsiteX87" fmla="*/ 26007 w 276832"/>
                <a:gd name="connsiteY87" fmla="*/ 225835 h 524285"/>
                <a:gd name="connsiteX88" fmla="*/ 30769 w 276832"/>
                <a:gd name="connsiteY88" fmla="*/ 224247 h 524285"/>
                <a:gd name="connsiteX89" fmla="*/ 40294 w 276832"/>
                <a:gd name="connsiteY89" fmla="*/ 222660 h 524285"/>
                <a:gd name="connsiteX90" fmla="*/ 43469 w 276832"/>
                <a:gd name="connsiteY90" fmla="*/ 214722 h 524285"/>
                <a:gd name="connsiteX91" fmla="*/ 43469 w 276832"/>
                <a:gd name="connsiteY91" fmla="*/ 198847 h 524285"/>
                <a:gd name="connsiteX92" fmla="*/ 40294 w 276832"/>
                <a:gd name="connsiteY92" fmla="*/ 194085 h 524285"/>
                <a:gd name="connsiteX93" fmla="*/ 46644 w 276832"/>
                <a:gd name="connsiteY93" fmla="*/ 192497 h 524285"/>
                <a:gd name="connsiteX94" fmla="*/ 54582 w 276832"/>
                <a:gd name="connsiteY94" fmla="*/ 190910 h 524285"/>
                <a:gd name="connsiteX95" fmla="*/ 56169 w 276832"/>
                <a:gd name="connsiteY95" fmla="*/ 186147 h 524285"/>
                <a:gd name="connsiteX96" fmla="*/ 54582 w 276832"/>
                <a:gd name="connsiteY96" fmla="*/ 163922 h 524285"/>
                <a:gd name="connsiteX97" fmla="*/ 43469 w 276832"/>
                <a:gd name="connsiteY97" fmla="*/ 159160 h 524285"/>
                <a:gd name="connsiteX98" fmla="*/ 37119 w 276832"/>
                <a:gd name="connsiteY98" fmla="*/ 155985 h 524285"/>
                <a:gd name="connsiteX99" fmla="*/ 27594 w 276832"/>
                <a:gd name="connsiteY99" fmla="*/ 149635 h 524285"/>
                <a:gd name="connsiteX100" fmla="*/ 19657 w 276832"/>
                <a:gd name="connsiteY100" fmla="*/ 148047 h 524285"/>
                <a:gd name="connsiteX101" fmla="*/ 6957 w 276832"/>
                <a:gd name="connsiteY101" fmla="*/ 141697 h 524285"/>
                <a:gd name="connsiteX102" fmla="*/ 5369 w 276832"/>
                <a:gd name="connsiteY102" fmla="*/ 136935 h 524285"/>
                <a:gd name="connsiteX103" fmla="*/ 2194 w 276832"/>
                <a:gd name="connsiteY103" fmla="*/ 132172 h 524285"/>
                <a:gd name="connsiteX104" fmla="*/ 2194 w 276832"/>
                <a:gd name="connsiteY104" fmla="*/ 102010 h 524285"/>
                <a:gd name="connsiteX105" fmla="*/ 3782 w 276832"/>
                <a:gd name="connsiteY105" fmla="*/ 97247 h 524285"/>
                <a:gd name="connsiteX106" fmla="*/ 17276 w 276832"/>
                <a:gd name="connsiteY106" fmla="*/ 89310 h 524285"/>
                <a:gd name="connsiteX107" fmla="*/ 11719 w 276832"/>
                <a:gd name="connsiteY107" fmla="*/ 84547 h 524285"/>
                <a:gd name="connsiteX108" fmla="*/ 14894 w 276832"/>
                <a:gd name="connsiteY108" fmla="*/ 73435 h 524285"/>
                <a:gd name="connsiteX109" fmla="*/ 18069 w 276832"/>
                <a:gd name="connsiteY109" fmla="*/ 68672 h 524285"/>
                <a:gd name="connsiteX110" fmla="*/ 21244 w 276832"/>
                <a:gd name="connsiteY110" fmla="*/ 59147 h 524285"/>
                <a:gd name="connsiteX111" fmla="*/ 27594 w 276832"/>
                <a:gd name="connsiteY111" fmla="*/ 48035 h 524285"/>
                <a:gd name="connsiteX112" fmla="*/ 32357 w 276832"/>
                <a:gd name="connsiteY112" fmla="*/ 33747 h 524285"/>
                <a:gd name="connsiteX113" fmla="*/ 40294 w 276832"/>
                <a:gd name="connsiteY113" fmla="*/ 16285 h 524285"/>
                <a:gd name="connsiteX114" fmla="*/ 41882 w 276832"/>
                <a:gd name="connsiteY114" fmla="*/ 11522 h 524285"/>
                <a:gd name="connsiteX115" fmla="*/ 48232 w 276832"/>
                <a:gd name="connsiteY115" fmla="*/ 410 h 524285"/>
                <a:gd name="connsiteX0" fmla="*/ 48232 w 276832"/>
                <a:gd name="connsiteY0" fmla="*/ 410 h 524285"/>
                <a:gd name="connsiteX1" fmla="*/ 56169 w 276832"/>
                <a:gd name="connsiteY1" fmla="*/ 3585 h 524285"/>
                <a:gd name="connsiteX2" fmla="*/ 64107 w 276832"/>
                <a:gd name="connsiteY2" fmla="*/ 22635 h 524285"/>
                <a:gd name="connsiteX3" fmla="*/ 68869 w 276832"/>
                <a:gd name="connsiteY3" fmla="*/ 24222 h 524285"/>
                <a:gd name="connsiteX4" fmla="*/ 78394 w 276832"/>
                <a:gd name="connsiteY4" fmla="*/ 22635 h 524285"/>
                <a:gd name="connsiteX5" fmla="*/ 86332 w 276832"/>
                <a:gd name="connsiteY5" fmla="*/ 13110 h 524285"/>
                <a:gd name="connsiteX6" fmla="*/ 97444 w 276832"/>
                <a:gd name="connsiteY6" fmla="*/ 9935 h 524285"/>
                <a:gd name="connsiteX7" fmla="*/ 103794 w 276832"/>
                <a:gd name="connsiteY7" fmla="*/ 11522 h 524285"/>
                <a:gd name="connsiteX8" fmla="*/ 105382 w 276832"/>
                <a:gd name="connsiteY8" fmla="*/ 17872 h 524285"/>
                <a:gd name="connsiteX9" fmla="*/ 111732 w 276832"/>
                <a:gd name="connsiteY9" fmla="*/ 30572 h 524285"/>
                <a:gd name="connsiteX10" fmla="*/ 119669 w 276832"/>
                <a:gd name="connsiteY10" fmla="*/ 32160 h 524285"/>
                <a:gd name="connsiteX11" fmla="*/ 126019 w 276832"/>
                <a:gd name="connsiteY11" fmla="*/ 41685 h 524285"/>
                <a:gd name="connsiteX12" fmla="*/ 132369 w 276832"/>
                <a:gd name="connsiteY12" fmla="*/ 44860 h 524285"/>
                <a:gd name="connsiteX13" fmla="*/ 153007 w 276832"/>
                <a:gd name="connsiteY13" fmla="*/ 52797 h 524285"/>
                <a:gd name="connsiteX14" fmla="*/ 159357 w 276832"/>
                <a:gd name="connsiteY14" fmla="*/ 63910 h 524285"/>
                <a:gd name="connsiteX15" fmla="*/ 167294 w 276832"/>
                <a:gd name="connsiteY15" fmla="*/ 78197 h 524285"/>
                <a:gd name="connsiteX16" fmla="*/ 168882 w 276832"/>
                <a:gd name="connsiteY16" fmla="*/ 108360 h 524285"/>
                <a:gd name="connsiteX17" fmla="*/ 173644 w 276832"/>
                <a:gd name="connsiteY17" fmla="*/ 117885 h 524285"/>
                <a:gd name="connsiteX18" fmla="*/ 178407 w 276832"/>
                <a:gd name="connsiteY18" fmla="*/ 154397 h 524285"/>
                <a:gd name="connsiteX19" fmla="*/ 176819 w 276832"/>
                <a:gd name="connsiteY19" fmla="*/ 176622 h 524285"/>
                <a:gd name="connsiteX20" fmla="*/ 175232 w 276832"/>
                <a:gd name="connsiteY20" fmla="*/ 181385 h 524285"/>
                <a:gd name="connsiteX21" fmla="*/ 181582 w 276832"/>
                <a:gd name="connsiteY21" fmla="*/ 200435 h 524285"/>
                <a:gd name="connsiteX22" fmla="*/ 183169 w 276832"/>
                <a:gd name="connsiteY22" fmla="*/ 232185 h 524285"/>
                <a:gd name="connsiteX23" fmla="*/ 184757 w 276832"/>
                <a:gd name="connsiteY23" fmla="*/ 236947 h 524285"/>
                <a:gd name="connsiteX24" fmla="*/ 186344 w 276832"/>
                <a:gd name="connsiteY24" fmla="*/ 248060 h 524285"/>
                <a:gd name="connsiteX25" fmla="*/ 194282 w 276832"/>
                <a:gd name="connsiteY25" fmla="*/ 260760 h 524285"/>
                <a:gd name="connsiteX26" fmla="*/ 205394 w 276832"/>
                <a:gd name="connsiteY26" fmla="*/ 262347 h 524285"/>
                <a:gd name="connsiteX27" fmla="*/ 210157 w 276832"/>
                <a:gd name="connsiteY27" fmla="*/ 271872 h 524285"/>
                <a:gd name="connsiteX28" fmla="*/ 222857 w 276832"/>
                <a:gd name="connsiteY28" fmla="*/ 276635 h 524285"/>
                <a:gd name="connsiteX29" fmla="*/ 229207 w 276832"/>
                <a:gd name="connsiteY29" fmla="*/ 281397 h 524285"/>
                <a:gd name="connsiteX30" fmla="*/ 232382 w 276832"/>
                <a:gd name="connsiteY30" fmla="*/ 286160 h 524285"/>
                <a:gd name="connsiteX31" fmla="*/ 235557 w 276832"/>
                <a:gd name="connsiteY31" fmla="*/ 292510 h 524285"/>
                <a:gd name="connsiteX32" fmla="*/ 240319 w 276832"/>
                <a:gd name="connsiteY32" fmla="*/ 294097 h 524285"/>
                <a:gd name="connsiteX33" fmla="*/ 247463 w 276832"/>
                <a:gd name="connsiteY33" fmla="*/ 286160 h 524285"/>
                <a:gd name="connsiteX34" fmla="*/ 259369 w 276832"/>
                <a:gd name="connsiteY34" fmla="*/ 303622 h 524285"/>
                <a:gd name="connsiteX35" fmla="*/ 256194 w 276832"/>
                <a:gd name="connsiteY35" fmla="*/ 308385 h 524285"/>
                <a:gd name="connsiteX36" fmla="*/ 257782 w 276832"/>
                <a:gd name="connsiteY36" fmla="*/ 319497 h 524285"/>
                <a:gd name="connsiteX37" fmla="*/ 267307 w 276832"/>
                <a:gd name="connsiteY37" fmla="*/ 327435 h 524285"/>
                <a:gd name="connsiteX38" fmla="*/ 276832 w 276832"/>
                <a:gd name="connsiteY38" fmla="*/ 343310 h 524285"/>
                <a:gd name="connsiteX39" fmla="*/ 273657 w 276832"/>
                <a:gd name="connsiteY39" fmla="*/ 348072 h 524285"/>
                <a:gd name="connsiteX40" fmla="*/ 260957 w 276832"/>
                <a:gd name="connsiteY40" fmla="*/ 352835 h 524285"/>
                <a:gd name="connsiteX41" fmla="*/ 254607 w 276832"/>
                <a:gd name="connsiteY41" fmla="*/ 363947 h 524285"/>
                <a:gd name="connsiteX42" fmla="*/ 251432 w 276832"/>
                <a:gd name="connsiteY42" fmla="*/ 370297 h 524285"/>
                <a:gd name="connsiteX43" fmla="*/ 246669 w 276832"/>
                <a:gd name="connsiteY43" fmla="*/ 375060 h 524285"/>
                <a:gd name="connsiteX44" fmla="*/ 243494 w 276832"/>
                <a:gd name="connsiteY44" fmla="*/ 382997 h 524285"/>
                <a:gd name="connsiteX45" fmla="*/ 238732 w 276832"/>
                <a:gd name="connsiteY45" fmla="*/ 394110 h 524285"/>
                <a:gd name="connsiteX46" fmla="*/ 237144 w 276832"/>
                <a:gd name="connsiteY46" fmla="*/ 403635 h 524285"/>
                <a:gd name="connsiteX47" fmla="*/ 229207 w 276832"/>
                <a:gd name="connsiteY47" fmla="*/ 435385 h 524285"/>
                <a:gd name="connsiteX48" fmla="*/ 222857 w 276832"/>
                <a:gd name="connsiteY48" fmla="*/ 438560 h 524285"/>
                <a:gd name="connsiteX49" fmla="*/ 216507 w 276832"/>
                <a:gd name="connsiteY49" fmla="*/ 443322 h 524285"/>
                <a:gd name="connsiteX50" fmla="*/ 205394 w 276832"/>
                <a:gd name="connsiteY50" fmla="*/ 451260 h 524285"/>
                <a:gd name="connsiteX51" fmla="*/ 200632 w 276832"/>
                <a:gd name="connsiteY51" fmla="*/ 454435 h 524285"/>
                <a:gd name="connsiteX52" fmla="*/ 192694 w 276832"/>
                <a:gd name="connsiteY52" fmla="*/ 457610 h 524285"/>
                <a:gd name="connsiteX53" fmla="*/ 192694 w 276832"/>
                <a:gd name="connsiteY53" fmla="*/ 467135 h 524285"/>
                <a:gd name="connsiteX54" fmla="*/ 197457 w 276832"/>
                <a:gd name="connsiteY54" fmla="*/ 468722 h 524285"/>
                <a:gd name="connsiteX55" fmla="*/ 205394 w 276832"/>
                <a:gd name="connsiteY55" fmla="*/ 481422 h 524285"/>
                <a:gd name="connsiteX56" fmla="*/ 208569 w 276832"/>
                <a:gd name="connsiteY56" fmla="*/ 487772 h 524285"/>
                <a:gd name="connsiteX57" fmla="*/ 194282 w 276832"/>
                <a:gd name="connsiteY57" fmla="*/ 497297 h 524285"/>
                <a:gd name="connsiteX58" fmla="*/ 187932 w 276832"/>
                <a:gd name="connsiteY58" fmla="*/ 506822 h 524285"/>
                <a:gd name="connsiteX59" fmla="*/ 184757 w 276832"/>
                <a:gd name="connsiteY59" fmla="*/ 513172 h 524285"/>
                <a:gd name="connsiteX60" fmla="*/ 178407 w 276832"/>
                <a:gd name="connsiteY60" fmla="*/ 524285 h 524285"/>
                <a:gd name="connsiteX61" fmla="*/ 173644 w 276832"/>
                <a:gd name="connsiteY61" fmla="*/ 517935 h 524285"/>
                <a:gd name="connsiteX62" fmla="*/ 141894 w 276832"/>
                <a:gd name="connsiteY62" fmla="*/ 513172 h 524285"/>
                <a:gd name="connsiteX63" fmla="*/ 137132 w 276832"/>
                <a:gd name="connsiteY63" fmla="*/ 494122 h 524285"/>
                <a:gd name="connsiteX64" fmla="*/ 130782 w 276832"/>
                <a:gd name="connsiteY64" fmla="*/ 467135 h 524285"/>
                <a:gd name="connsiteX65" fmla="*/ 124432 w 276832"/>
                <a:gd name="connsiteY65" fmla="*/ 465547 h 524285"/>
                <a:gd name="connsiteX66" fmla="*/ 118082 w 276832"/>
                <a:gd name="connsiteY66" fmla="*/ 457610 h 524285"/>
                <a:gd name="connsiteX67" fmla="*/ 94269 w 276832"/>
                <a:gd name="connsiteY67" fmla="*/ 451260 h 524285"/>
                <a:gd name="connsiteX68" fmla="*/ 86332 w 276832"/>
                <a:gd name="connsiteY68" fmla="*/ 446497 h 524285"/>
                <a:gd name="connsiteX69" fmla="*/ 81569 w 276832"/>
                <a:gd name="connsiteY69" fmla="*/ 435385 h 524285"/>
                <a:gd name="connsiteX70" fmla="*/ 70457 w 276832"/>
                <a:gd name="connsiteY70" fmla="*/ 430622 h 524285"/>
                <a:gd name="connsiteX71" fmla="*/ 65694 w 276832"/>
                <a:gd name="connsiteY71" fmla="*/ 425860 h 524285"/>
                <a:gd name="connsiteX72" fmla="*/ 52994 w 276832"/>
                <a:gd name="connsiteY72" fmla="*/ 419510 h 524285"/>
                <a:gd name="connsiteX73" fmla="*/ 48232 w 276832"/>
                <a:gd name="connsiteY73" fmla="*/ 402047 h 524285"/>
                <a:gd name="connsiteX74" fmla="*/ 45057 w 276832"/>
                <a:gd name="connsiteY74" fmla="*/ 397285 h 524285"/>
                <a:gd name="connsiteX75" fmla="*/ 51407 w 276832"/>
                <a:gd name="connsiteY75" fmla="*/ 398872 h 524285"/>
                <a:gd name="connsiteX76" fmla="*/ 65694 w 276832"/>
                <a:gd name="connsiteY76" fmla="*/ 397285 h 524285"/>
                <a:gd name="connsiteX77" fmla="*/ 60932 w 276832"/>
                <a:gd name="connsiteY77" fmla="*/ 394110 h 524285"/>
                <a:gd name="connsiteX78" fmla="*/ 59344 w 276832"/>
                <a:gd name="connsiteY78" fmla="*/ 387760 h 524285"/>
                <a:gd name="connsiteX79" fmla="*/ 49819 w 276832"/>
                <a:gd name="connsiteY79" fmla="*/ 368710 h 524285"/>
                <a:gd name="connsiteX80" fmla="*/ 46644 w 276832"/>
                <a:gd name="connsiteY80" fmla="*/ 363947 h 524285"/>
                <a:gd name="connsiteX81" fmla="*/ 37119 w 276832"/>
                <a:gd name="connsiteY81" fmla="*/ 360772 h 524285"/>
                <a:gd name="connsiteX82" fmla="*/ 38707 w 276832"/>
                <a:gd name="connsiteY82" fmla="*/ 336960 h 524285"/>
                <a:gd name="connsiteX83" fmla="*/ 43469 w 276832"/>
                <a:gd name="connsiteY83" fmla="*/ 311560 h 524285"/>
                <a:gd name="connsiteX84" fmla="*/ 43469 w 276832"/>
                <a:gd name="connsiteY84" fmla="*/ 254410 h 524285"/>
                <a:gd name="connsiteX85" fmla="*/ 40294 w 276832"/>
                <a:gd name="connsiteY85" fmla="*/ 249647 h 524285"/>
                <a:gd name="connsiteX86" fmla="*/ 33944 w 276832"/>
                <a:gd name="connsiteY86" fmla="*/ 235360 h 524285"/>
                <a:gd name="connsiteX87" fmla="*/ 26007 w 276832"/>
                <a:gd name="connsiteY87" fmla="*/ 225835 h 524285"/>
                <a:gd name="connsiteX88" fmla="*/ 30769 w 276832"/>
                <a:gd name="connsiteY88" fmla="*/ 224247 h 524285"/>
                <a:gd name="connsiteX89" fmla="*/ 40294 w 276832"/>
                <a:gd name="connsiteY89" fmla="*/ 222660 h 524285"/>
                <a:gd name="connsiteX90" fmla="*/ 43469 w 276832"/>
                <a:gd name="connsiteY90" fmla="*/ 214722 h 524285"/>
                <a:gd name="connsiteX91" fmla="*/ 43469 w 276832"/>
                <a:gd name="connsiteY91" fmla="*/ 198847 h 524285"/>
                <a:gd name="connsiteX92" fmla="*/ 40294 w 276832"/>
                <a:gd name="connsiteY92" fmla="*/ 194085 h 524285"/>
                <a:gd name="connsiteX93" fmla="*/ 46644 w 276832"/>
                <a:gd name="connsiteY93" fmla="*/ 192497 h 524285"/>
                <a:gd name="connsiteX94" fmla="*/ 54582 w 276832"/>
                <a:gd name="connsiteY94" fmla="*/ 190910 h 524285"/>
                <a:gd name="connsiteX95" fmla="*/ 56169 w 276832"/>
                <a:gd name="connsiteY95" fmla="*/ 186147 h 524285"/>
                <a:gd name="connsiteX96" fmla="*/ 54582 w 276832"/>
                <a:gd name="connsiteY96" fmla="*/ 163922 h 524285"/>
                <a:gd name="connsiteX97" fmla="*/ 43469 w 276832"/>
                <a:gd name="connsiteY97" fmla="*/ 159160 h 524285"/>
                <a:gd name="connsiteX98" fmla="*/ 37119 w 276832"/>
                <a:gd name="connsiteY98" fmla="*/ 155985 h 524285"/>
                <a:gd name="connsiteX99" fmla="*/ 27594 w 276832"/>
                <a:gd name="connsiteY99" fmla="*/ 149635 h 524285"/>
                <a:gd name="connsiteX100" fmla="*/ 19657 w 276832"/>
                <a:gd name="connsiteY100" fmla="*/ 148047 h 524285"/>
                <a:gd name="connsiteX101" fmla="*/ 6957 w 276832"/>
                <a:gd name="connsiteY101" fmla="*/ 141697 h 524285"/>
                <a:gd name="connsiteX102" fmla="*/ 5369 w 276832"/>
                <a:gd name="connsiteY102" fmla="*/ 136935 h 524285"/>
                <a:gd name="connsiteX103" fmla="*/ 2194 w 276832"/>
                <a:gd name="connsiteY103" fmla="*/ 132172 h 524285"/>
                <a:gd name="connsiteX104" fmla="*/ 2194 w 276832"/>
                <a:gd name="connsiteY104" fmla="*/ 102010 h 524285"/>
                <a:gd name="connsiteX105" fmla="*/ 3782 w 276832"/>
                <a:gd name="connsiteY105" fmla="*/ 97247 h 524285"/>
                <a:gd name="connsiteX106" fmla="*/ 17276 w 276832"/>
                <a:gd name="connsiteY106" fmla="*/ 89310 h 524285"/>
                <a:gd name="connsiteX107" fmla="*/ 11719 w 276832"/>
                <a:gd name="connsiteY107" fmla="*/ 84547 h 524285"/>
                <a:gd name="connsiteX108" fmla="*/ 14894 w 276832"/>
                <a:gd name="connsiteY108" fmla="*/ 73435 h 524285"/>
                <a:gd name="connsiteX109" fmla="*/ 18069 w 276832"/>
                <a:gd name="connsiteY109" fmla="*/ 68672 h 524285"/>
                <a:gd name="connsiteX110" fmla="*/ 21244 w 276832"/>
                <a:gd name="connsiteY110" fmla="*/ 59147 h 524285"/>
                <a:gd name="connsiteX111" fmla="*/ 27594 w 276832"/>
                <a:gd name="connsiteY111" fmla="*/ 48035 h 524285"/>
                <a:gd name="connsiteX112" fmla="*/ 32357 w 276832"/>
                <a:gd name="connsiteY112" fmla="*/ 33747 h 524285"/>
                <a:gd name="connsiteX113" fmla="*/ 40294 w 276832"/>
                <a:gd name="connsiteY113" fmla="*/ 16285 h 524285"/>
                <a:gd name="connsiteX114" fmla="*/ 41882 w 276832"/>
                <a:gd name="connsiteY114" fmla="*/ 11522 h 524285"/>
                <a:gd name="connsiteX115" fmla="*/ 48232 w 276832"/>
                <a:gd name="connsiteY115" fmla="*/ 410 h 524285"/>
                <a:gd name="connsiteX0" fmla="*/ 48232 w 276832"/>
                <a:gd name="connsiteY0" fmla="*/ 410 h 524285"/>
                <a:gd name="connsiteX1" fmla="*/ 56169 w 276832"/>
                <a:gd name="connsiteY1" fmla="*/ 3585 h 524285"/>
                <a:gd name="connsiteX2" fmla="*/ 64107 w 276832"/>
                <a:gd name="connsiteY2" fmla="*/ 22635 h 524285"/>
                <a:gd name="connsiteX3" fmla="*/ 68869 w 276832"/>
                <a:gd name="connsiteY3" fmla="*/ 24222 h 524285"/>
                <a:gd name="connsiteX4" fmla="*/ 78394 w 276832"/>
                <a:gd name="connsiteY4" fmla="*/ 22635 h 524285"/>
                <a:gd name="connsiteX5" fmla="*/ 86332 w 276832"/>
                <a:gd name="connsiteY5" fmla="*/ 13110 h 524285"/>
                <a:gd name="connsiteX6" fmla="*/ 97444 w 276832"/>
                <a:gd name="connsiteY6" fmla="*/ 9935 h 524285"/>
                <a:gd name="connsiteX7" fmla="*/ 103794 w 276832"/>
                <a:gd name="connsiteY7" fmla="*/ 11522 h 524285"/>
                <a:gd name="connsiteX8" fmla="*/ 105382 w 276832"/>
                <a:gd name="connsiteY8" fmla="*/ 17872 h 524285"/>
                <a:gd name="connsiteX9" fmla="*/ 111732 w 276832"/>
                <a:gd name="connsiteY9" fmla="*/ 30572 h 524285"/>
                <a:gd name="connsiteX10" fmla="*/ 119669 w 276832"/>
                <a:gd name="connsiteY10" fmla="*/ 32160 h 524285"/>
                <a:gd name="connsiteX11" fmla="*/ 126019 w 276832"/>
                <a:gd name="connsiteY11" fmla="*/ 41685 h 524285"/>
                <a:gd name="connsiteX12" fmla="*/ 132369 w 276832"/>
                <a:gd name="connsiteY12" fmla="*/ 44860 h 524285"/>
                <a:gd name="connsiteX13" fmla="*/ 153007 w 276832"/>
                <a:gd name="connsiteY13" fmla="*/ 52797 h 524285"/>
                <a:gd name="connsiteX14" fmla="*/ 159357 w 276832"/>
                <a:gd name="connsiteY14" fmla="*/ 63910 h 524285"/>
                <a:gd name="connsiteX15" fmla="*/ 167294 w 276832"/>
                <a:gd name="connsiteY15" fmla="*/ 78197 h 524285"/>
                <a:gd name="connsiteX16" fmla="*/ 168882 w 276832"/>
                <a:gd name="connsiteY16" fmla="*/ 108360 h 524285"/>
                <a:gd name="connsiteX17" fmla="*/ 173644 w 276832"/>
                <a:gd name="connsiteY17" fmla="*/ 117885 h 524285"/>
                <a:gd name="connsiteX18" fmla="*/ 178407 w 276832"/>
                <a:gd name="connsiteY18" fmla="*/ 154397 h 524285"/>
                <a:gd name="connsiteX19" fmla="*/ 176819 w 276832"/>
                <a:gd name="connsiteY19" fmla="*/ 176622 h 524285"/>
                <a:gd name="connsiteX20" fmla="*/ 175232 w 276832"/>
                <a:gd name="connsiteY20" fmla="*/ 181385 h 524285"/>
                <a:gd name="connsiteX21" fmla="*/ 181582 w 276832"/>
                <a:gd name="connsiteY21" fmla="*/ 200435 h 524285"/>
                <a:gd name="connsiteX22" fmla="*/ 183169 w 276832"/>
                <a:gd name="connsiteY22" fmla="*/ 232185 h 524285"/>
                <a:gd name="connsiteX23" fmla="*/ 184757 w 276832"/>
                <a:gd name="connsiteY23" fmla="*/ 236947 h 524285"/>
                <a:gd name="connsiteX24" fmla="*/ 186344 w 276832"/>
                <a:gd name="connsiteY24" fmla="*/ 248060 h 524285"/>
                <a:gd name="connsiteX25" fmla="*/ 194282 w 276832"/>
                <a:gd name="connsiteY25" fmla="*/ 260760 h 524285"/>
                <a:gd name="connsiteX26" fmla="*/ 205394 w 276832"/>
                <a:gd name="connsiteY26" fmla="*/ 262347 h 524285"/>
                <a:gd name="connsiteX27" fmla="*/ 210157 w 276832"/>
                <a:gd name="connsiteY27" fmla="*/ 271872 h 524285"/>
                <a:gd name="connsiteX28" fmla="*/ 222857 w 276832"/>
                <a:gd name="connsiteY28" fmla="*/ 276635 h 524285"/>
                <a:gd name="connsiteX29" fmla="*/ 229207 w 276832"/>
                <a:gd name="connsiteY29" fmla="*/ 281397 h 524285"/>
                <a:gd name="connsiteX30" fmla="*/ 232382 w 276832"/>
                <a:gd name="connsiteY30" fmla="*/ 286160 h 524285"/>
                <a:gd name="connsiteX31" fmla="*/ 235557 w 276832"/>
                <a:gd name="connsiteY31" fmla="*/ 292510 h 524285"/>
                <a:gd name="connsiteX32" fmla="*/ 240319 w 276832"/>
                <a:gd name="connsiteY32" fmla="*/ 294097 h 524285"/>
                <a:gd name="connsiteX33" fmla="*/ 247463 w 276832"/>
                <a:gd name="connsiteY33" fmla="*/ 286160 h 524285"/>
                <a:gd name="connsiteX34" fmla="*/ 259369 w 276832"/>
                <a:gd name="connsiteY34" fmla="*/ 303622 h 524285"/>
                <a:gd name="connsiteX35" fmla="*/ 256194 w 276832"/>
                <a:gd name="connsiteY35" fmla="*/ 308385 h 524285"/>
                <a:gd name="connsiteX36" fmla="*/ 257782 w 276832"/>
                <a:gd name="connsiteY36" fmla="*/ 319497 h 524285"/>
                <a:gd name="connsiteX37" fmla="*/ 267307 w 276832"/>
                <a:gd name="connsiteY37" fmla="*/ 327435 h 524285"/>
                <a:gd name="connsiteX38" fmla="*/ 276832 w 276832"/>
                <a:gd name="connsiteY38" fmla="*/ 343310 h 524285"/>
                <a:gd name="connsiteX39" fmla="*/ 273657 w 276832"/>
                <a:gd name="connsiteY39" fmla="*/ 348072 h 524285"/>
                <a:gd name="connsiteX40" fmla="*/ 260957 w 276832"/>
                <a:gd name="connsiteY40" fmla="*/ 352835 h 524285"/>
                <a:gd name="connsiteX41" fmla="*/ 254607 w 276832"/>
                <a:gd name="connsiteY41" fmla="*/ 363947 h 524285"/>
                <a:gd name="connsiteX42" fmla="*/ 251432 w 276832"/>
                <a:gd name="connsiteY42" fmla="*/ 370297 h 524285"/>
                <a:gd name="connsiteX43" fmla="*/ 246669 w 276832"/>
                <a:gd name="connsiteY43" fmla="*/ 375060 h 524285"/>
                <a:gd name="connsiteX44" fmla="*/ 243494 w 276832"/>
                <a:gd name="connsiteY44" fmla="*/ 382997 h 524285"/>
                <a:gd name="connsiteX45" fmla="*/ 238732 w 276832"/>
                <a:gd name="connsiteY45" fmla="*/ 394110 h 524285"/>
                <a:gd name="connsiteX46" fmla="*/ 237144 w 276832"/>
                <a:gd name="connsiteY46" fmla="*/ 403635 h 524285"/>
                <a:gd name="connsiteX47" fmla="*/ 229207 w 276832"/>
                <a:gd name="connsiteY47" fmla="*/ 435385 h 524285"/>
                <a:gd name="connsiteX48" fmla="*/ 222857 w 276832"/>
                <a:gd name="connsiteY48" fmla="*/ 438560 h 524285"/>
                <a:gd name="connsiteX49" fmla="*/ 216507 w 276832"/>
                <a:gd name="connsiteY49" fmla="*/ 443322 h 524285"/>
                <a:gd name="connsiteX50" fmla="*/ 205394 w 276832"/>
                <a:gd name="connsiteY50" fmla="*/ 451260 h 524285"/>
                <a:gd name="connsiteX51" fmla="*/ 200632 w 276832"/>
                <a:gd name="connsiteY51" fmla="*/ 454435 h 524285"/>
                <a:gd name="connsiteX52" fmla="*/ 192694 w 276832"/>
                <a:gd name="connsiteY52" fmla="*/ 457610 h 524285"/>
                <a:gd name="connsiteX53" fmla="*/ 192694 w 276832"/>
                <a:gd name="connsiteY53" fmla="*/ 467135 h 524285"/>
                <a:gd name="connsiteX54" fmla="*/ 197457 w 276832"/>
                <a:gd name="connsiteY54" fmla="*/ 468722 h 524285"/>
                <a:gd name="connsiteX55" fmla="*/ 205394 w 276832"/>
                <a:gd name="connsiteY55" fmla="*/ 481422 h 524285"/>
                <a:gd name="connsiteX56" fmla="*/ 208569 w 276832"/>
                <a:gd name="connsiteY56" fmla="*/ 487772 h 524285"/>
                <a:gd name="connsiteX57" fmla="*/ 194282 w 276832"/>
                <a:gd name="connsiteY57" fmla="*/ 497297 h 524285"/>
                <a:gd name="connsiteX58" fmla="*/ 187932 w 276832"/>
                <a:gd name="connsiteY58" fmla="*/ 506822 h 524285"/>
                <a:gd name="connsiteX59" fmla="*/ 184757 w 276832"/>
                <a:gd name="connsiteY59" fmla="*/ 513172 h 524285"/>
                <a:gd name="connsiteX60" fmla="*/ 178407 w 276832"/>
                <a:gd name="connsiteY60" fmla="*/ 524285 h 524285"/>
                <a:gd name="connsiteX61" fmla="*/ 173644 w 276832"/>
                <a:gd name="connsiteY61" fmla="*/ 517935 h 524285"/>
                <a:gd name="connsiteX62" fmla="*/ 141894 w 276832"/>
                <a:gd name="connsiteY62" fmla="*/ 513172 h 524285"/>
                <a:gd name="connsiteX63" fmla="*/ 137132 w 276832"/>
                <a:gd name="connsiteY63" fmla="*/ 494122 h 524285"/>
                <a:gd name="connsiteX64" fmla="*/ 130782 w 276832"/>
                <a:gd name="connsiteY64" fmla="*/ 467135 h 524285"/>
                <a:gd name="connsiteX65" fmla="*/ 124432 w 276832"/>
                <a:gd name="connsiteY65" fmla="*/ 465547 h 524285"/>
                <a:gd name="connsiteX66" fmla="*/ 118082 w 276832"/>
                <a:gd name="connsiteY66" fmla="*/ 457610 h 524285"/>
                <a:gd name="connsiteX67" fmla="*/ 94269 w 276832"/>
                <a:gd name="connsiteY67" fmla="*/ 451260 h 524285"/>
                <a:gd name="connsiteX68" fmla="*/ 86332 w 276832"/>
                <a:gd name="connsiteY68" fmla="*/ 446497 h 524285"/>
                <a:gd name="connsiteX69" fmla="*/ 81569 w 276832"/>
                <a:gd name="connsiteY69" fmla="*/ 435385 h 524285"/>
                <a:gd name="connsiteX70" fmla="*/ 70457 w 276832"/>
                <a:gd name="connsiteY70" fmla="*/ 430622 h 524285"/>
                <a:gd name="connsiteX71" fmla="*/ 65694 w 276832"/>
                <a:gd name="connsiteY71" fmla="*/ 425860 h 524285"/>
                <a:gd name="connsiteX72" fmla="*/ 52994 w 276832"/>
                <a:gd name="connsiteY72" fmla="*/ 419510 h 524285"/>
                <a:gd name="connsiteX73" fmla="*/ 48232 w 276832"/>
                <a:gd name="connsiteY73" fmla="*/ 402047 h 524285"/>
                <a:gd name="connsiteX74" fmla="*/ 45057 w 276832"/>
                <a:gd name="connsiteY74" fmla="*/ 397285 h 524285"/>
                <a:gd name="connsiteX75" fmla="*/ 51407 w 276832"/>
                <a:gd name="connsiteY75" fmla="*/ 398872 h 524285"/>
                <a:gd name="connsiteX76" fmla="*/ 65694 w 276832"/>
                <a:gd name="connsiteY76" fmla="*/ 397285 h 524285"/>
                <a:gd name="connsiteX77" fmla="*/ 60932 w 276832"/>
                <a:gd name="connsiteY77" fmla="*/ 394110 h 524285"/>
                <a:gd name="connsiteX78" fmla="*/ 59344 w 276832"/>
                <a:gd name="connsiteY78" fmla="*/ 387760 h 524285"/>
                <a:gd name="connsiteX79" fmla="*/ 49819 w 276832"/>
                <a:gd name="connsiteY79" fmla="*/ 368710 h 524285"/>
                <a:gd name="connsiteX80" fmla="*/ 46644 w 276832"/>
                <a:gd name="connsiteY80" fmla="*/ 363947 h 524285"/>
                <a:gd name="connsiteX81" fmla="*/ 37119 w 276832"/>
                <a:gd name="connsiteY81" fmla="*/ 360772 h 524285"/>
                <a:gd name="connsiteX82" fmla="*/ 38707 w 276832"/>
                <a:gd name="connsiteY82" fmla="*/ 336960 h 524285"/>
                <a:gd name="connsiteX83" fmla="*/ 43469 w 276832"/>
                <a:gd name="connsiteY83" fmla="*/ 311560 h 524285"/>
                <a:gd name="connsiteX84" fmla="*/ 43469 w 276832"/>
                <a:gd name="connsiteY84" fmla="*/ 254410 h 524285"/>
                <a:gd name="connsiteX85" fmla="*/ 40294 w 276832"/>
                <a:gd name="connsiteY85" fmla="*/ 249647 h 524285"/>
                <a:gd name="connsiteX86" fmla="*/ 33944 w 276832"/>
                <a:gd name="connsiteY86" fmla="*/ 235360 h 524285"/>
                <a:gd name="connsiteX87" fmla="*/ 26007 w 276832"/>
                <a:gd name="connsiteY87" fmla="*/ 225835 h 524285"/>
                <a:gd name="connsiteX88" fmla="*/ 30769 w 276832"/>
                <a:gd name="connsiteY88" fmla="*/ 224247 h 524285"/>
                <a:gd name="connsiteX89" fmla="*/ 40294 w 276832"/>
                <a:gd name="connsiteY89" fmla="*/ 222660 h 524285"/>
                <a:gd name="connsiteX90" fmla="*/ 43469 w 276832"/>
                <a:gd name="connsiteY90" fmla="*/ 214722 h 524285"/>
                <a:gd name="connsiteX91" fmla="*/ 43469 w 276832"/>
                <a:gd name="connsiteY91" fmla="*/ 198847 h 524285"/>
                <a:gd name="connsiteX92" fmla="*/ 40294 w 276832"/>
                <a:gd name="connsiteY92" fmla="*/ 194085 h 524285"/>
                <a:gd name="connsiteX93" fmla="*/ 46644 w 276832"/>
                <a:gd name="connsiteY93" fmla="*/ 192497 h 524285"/>
                <a:gd name="connsiteX94" fmla="*/ 54582 w 276832"/>
                <a:gd name="connsiteY94" fmla="*/ 190910 h 524285"/>
                <a:gd name="connsiteX95" fmla="*/ 56169 w 276832"/>
                <a:gd name="connsiteY95" fmla="*/ 186147 h 524285"/>
                <a:gd name="connsiteX96" fmla="*/ 54582 w 276832"/>
                <a:gd name="connsiteY96" fmla="*/ 163922 h 524285"/>
                <a:gd name="connsiteX97" fmla="*/ 43469 w 276832"/>
                <a:gd name="connsiteY97" fmla="*/ 159160 h 524285"/>
                <a:gd name="connsiteX98" fmla="*/ 37119 w 276832"/>
                <a:gd name="connsiteY98" fmla="*/ 155985 h 524285"/>
                <a:gd name="connsiteX99" fmla="*/ 27594 w 276832"/>
                <a:gd name="connsiteY99" fmla="*/ 149635 h 524285"/>
                <a:gd name="connsiteX100" fmla="*/ 19657 w 276832"/>
                <a:gd name="connsiteY100" fmla="*/ 148047 h 524285"/>
                <a:gd name="connsiteX101" fmla="*/ 6957 w 276832"/>
                <a:gd name="connsiteY101" fmla="*/ 141697 h 524285"/>
                <a:gd name="connsiteX102" fmla="*/ 5369 w 276832"/>
                <a:gd name="connsiteY102" fmla="*/ 136935 h 524285"/>
                <a:gd name="connsiteX103" fmla="*/ 2194 w 276832"/>
                <a:gd name="connsiteY103" fmla="*/ 132172 h 524285"/>
                <a:gd name="connsiteX104" fmla="*/ 2194 w 276832"/>
                <a:gd name="connsiteY104" fmla="*/ 102010 h 524285"/>
                <a:gd name="connsiteX105" fmla="*/ 3782 w 276832"/>
                <a:gd name="connsiteY105" fmla="*/ 97247 h 524285"/>
                <a:gd name="connsiteX106" fmla="*/ 17276 w 276832"/>
                <a:gd name="connsiteY106" fmla="*/ 89310 h 524285"/>
                <a:gd name="connsiteX107" fmla="*/ 11719 w 276832"/>
                <a:gd name="connsiteY107" fmla="*/ 84547 h 524285"/>
                <a:gd name="connsiteX108" fmla="*/ 14894 w 276832"/>
                <a:gd name="connsiteY108" fmla="*/ 73435 h 524285"/>
                <a:gd name="connsiteX109" fmla="*/ 18069 w 276832"/>
                <a:gd name="connsiteY109" fmla="*/ 68672 h 524285"/>
                <a:gd name="connsiteX110" fmla="*/ 21244 w 276832"/>
                <a:gd name="connsiteY110" fmla="*/ 59147 h 524285"/>
                <a:gd name="connsiteX111" fmla="*/ 27594 w 276832"/>
                <a:gd name="connsiteY111" fmla="*/ 48035 h 524285"/>
                <a:gd name="connsiteX112" fmla="*/ 32357 w 276832"/>
                <a:gd name="connsiteY112" fmla="*/ 33747 h 524285"/>
                <a:gd name="connsiteX113" fmla="*/ 40294 w 276832"/>
                <a:gd name="connsiteY113" fmla="*/ 16285 h 524285"/>
                <a:gd name="connsiteX114" fmla="*/ 41882 w 276832"/>
                <a:gd name="connsiteY114" fmla="*/ 11522 h 524285"/>
                <a:gd name="connsiteX115" fmla="*/ 48232 w 276832"/>
                <a:gd name="connsiteY115" fmla="*/ 410 h 524285"/>
                <a:gd name="connsiteX0" fmla="*/ 48232 w 276832"/>
                <a:gd name="connsiteY0" fmla="*/ 410 h 524285"/>
                <a:gd name="connsiteX1" fmla="*/ 56169 w 276832"/>
                <a:gd name="connsiteY1" fmla="*/ 3585 h 524285"/>
                <a:gd name="connsiteX2" fmla="*/ 64107 w 276832"/>
                <a:gd name="connsiteY2" fmla="*/ 22635 h 524285"/>
                <a:gd name="connsiteX3" fmla="*/ 68869 w 276832"/>
                <a:gd name="connsiteY3" fmla="*/ 24222 h 524285"/>
                <a:gd name="connsiteX4" fmla="*/ 78394 w 276832"/>
                <a:gd name="connsiteY4" fmla="*/ 22635 h 524285"/>
                <a:gd name="connsiteX5" fmla="*/ 86332 w 276832"/>
                <a:gd name="connsiteY5" fmla="*/ 13110 h 524285"/>
                <a:gd name="connsiteX6" fmla="*/ 97444 w 276832"/>
                <a:gd name="connsiteY6" fmla="*/ 9935 h 524285"/>
                <a:gd name="connsiteX7" fmla="*/ 103794 w 276832"/>
                <a:gd name="connsiteY7" fmla="*/ 11522 h 524285"/>
                <a:gd name="connsiteX8" fmla="*/ 105382 w 276832"/>
                <a:gd name="connsiteY8" fmla="*/ 17872 h 524285"/>
                <a:gd name="connsiteX9" fmla="*/ 111732 w 276832"/>
                <a:gd name="connsiteY9" fmla="*/ 30572 h 524285"/>
                <a:gd name="connsiteX10" fmla="*/ 119669 w 276832"/>
                <a:gd name="connsiteY10" fmla="*/ 32160 h 524285"/>
                <a:gd name="connsiteX11" fmla="*/ 126019 w 276832"/>
                <a:gd name="connsiteY11" fmla="*/ 41685 h 524285"/>
                <a:gd name="connsiteX12" fmla="*/ 132369 w 276832"/>
                <a:gd name="connsiteY12" fmla="*/ 44860 h 524285"/>
                <a:gd name="connsiteX13" fmla="*/ 153007 w 276832"/>
                <a:gd name="connsiteY13" fmla="*/ 52797 h 524285"/>
                <a:gd name="connsiteX14" fmla="*/ 159357 w 276832"/>
                <a:gd name="connsiteY14" fmla="*/ 63910 h 524285"/>
                <a:gd name="connsiteX15" fmla="*/ 167294 w 276832"/>
                <a:gd name="connsiteY15" fmla="*/ 78197 h 524285"/>
                <a:gd name="connsiteX16" fmla="*/ 168882 w 276832"/>
                <a:gd name="connsiteY16" fmla="*/ 108360 h 524285"/>
                <a:gd name="connsiteX17" fmla="*/ 173644 w 276832"/>
                <a:gd name="connsiteY17" fmla="*/ 117885 h 524285"/>
                <a:gd name="connsiteX18" fmla="*/ 178407 w 276832"/>
                <a:gd name="connsiteY18" fmla="*/ 154397 h 524285"/>
                <a:gd name="connsiteX19" fmla="*/ 176819 w 276832"/>
                <a:gd name="connsiteY19" fmla="*/ 176622 h 524285"/>
                <a:gd name="connsiteX20" fmla="*/ 175232 w 276832"/>
                <a:gd name="connsiteY20" fmla="*/ 181385 h 524285"/>
                <a:gd name="connsiteX21" fmla="*/ 181582 w 276832"/>
                <a:gd name="connsiteY21" fmla="*/ 200435 h 524285"/>
                <a:gd name="connsiteX22" fmla="*/ 183169 w 276832"/>
                <a:gd name="connsiteY22" fmla="*/ 232185 h 524285"/>
                <a:gd name="connsiteX23" fmla="*/ 184757 w 276832"/>
                <a:gd name="connsiteY23" fmla="*/ 236947 h 524285"/>
                <a:gd name="connsiteX24" fmla="*/ 186344 w 276832"/>
                <a:gd name="connsiteY24" fmla="*/ 248060 h 524285"/>
                <a:gd name="connsiteX25" fmla="*/ 194282 w 276832"/>
                <a:gd name="connsiteY25" fmla="*/ 260760 h 524285"/>
                <a:gd name="connsiteX26" fmla="*/ 205394 w 276832"/>
                <a:gd name="connsiteY26" fmla="*/ 262347 h 524285"/>
                <a:gd name="connsiteX27" fmla="*/ 210157 w 276832"/>
                <a:gd name="connsiteY27" fmla="*/ 271872 h 524285"/>
                <a:gd name="connsiteX28" fmla="*/ 222857 w 276832"/>
                <a:gd name="connsiteY28" fmla="*/ 276635 h 524285"/>
                <a:gd name="connsiteX29" fmla="*/ 229207 w 276832"/>
                <a:gd name="connsiteY29" fmla="*/ 281397 h 524285"/>
                <a:gd name="connsiteX30" fmla="*/ 232382 w 276832"/>
                <a:gd name="connsiteY30" fmla="*/ 286160 h 524285"/>
                <a:gd name="connsiteX31" fmla="*/ 235557 w 276832"/>
                <a:gd name="connsiteY31" fmla="*/ 292510 h 524285"/>
                <a:gd name="connsiteX32" fmla="*/ 240319 w 276832"/>
                <a:gd name="connsiteY32" fmla="*/ 294097 h 524285"/>
                <a:gd name="connsiteX33" fmla="*/ 247463 w 276832"/>
                <a:gd name="connsiteY33" fmla="*/ 286160 h 524285"/>
                <a:gd name="connsiteX34" fmla="*/ 259369 w 276832"/>
                <a:gd name="connsiteY34" fmla="*/ 303622 h 524285"/>
                <a:gd name="connsiteX35" fmla="*/ 258575 w 276832"/>
                <a:gd name="connsiteY35" fmla="*/ 294097 h 524285"/>
                <a:gd name="connsiteX36" fmla="*/ 257782 w 276832"/>
                <a:gd name="connsiteY36" fmla="*/ 319497 h 524285"/>
                <a:gd name="connsiteX37" fmla="*/ 267307 w 276832"/>
                <a:gd name="connsiteY37" fmla="*/ 327435 h 524285"/>
                <a:gd name="connsiteX38" fmla="*/ 276832 w 276832"/>
                <a:gd name="connsiteY38" fmla="*/ 343310 h 524285"/>
                <a:gd name="connsiteX39" fmla="*/ 273657 w 276832"/>
                <a:gd name="connsiteY39" fmla="*/ 348072 h 524285"/>
                <a:gd name="connsiteX40" fmla="*/ 260957 w 276832"/>
                <a:gd name="connsiteY40" fmla="*/ 352835 h 524285"/>
                <a:gd name="connsiteX41" fmla="*/ 254607 w 276832"/>
                <a:gd name="connsiteY41" fmla="*/ 363947 h 524285"/>
                <a:gd name="connsiteX42" fmla="*/ 251432 w 276832"/>
                <a:gd name="connsiteY42" fmla="*/ 370297 h 524285"/>
                <a:gd name="connsiteX43" fmla="*/ 246669 w 276832"/>
                <a:gd name="connsiteY43" fmla="*/ 375060 h 524285"/>
                <a:gd name="connsiteX44" fmla="*/ 243494 w 276832"/>
                <a:gd name="connsiteY44" fmla="*/ 382997 h 524285"/>
                <a:gd name="connsiteX45" fmla="*/ 238732 w 276832"/>
                <a:gd name="connsiteY45" fmla="*/ 394110 h 524285"/>
                <a:gd name="connsiteX46" fmla="*/ 237144 w 276832"/>
                <a:gd name="connsiteY46" fmla="*/ 403635 h 524285"/>
                <a:gd name="connsiteX47" fmla="*/ 229207 w 276832"/>
                <a:gd name="connsiteY47" fmla="*/ 435385 h 524285"/>
                <a:gd name="connsiteX48" fmla="*/ 222857 w 276832"/>
                <a:gd name="connsiteY48" fmla="*/ 438560 h 524285"/>
                <a:gd name="connsiteX49" fmla="*/ 216507 w 276832"/>
                <a:gd name="connsiteY49" fmla="*/ 443322 h 524285"/>
                <a:gd name="connsiteX50" fmla="*/ 205394 w 276832"/>
                <a:gd name="connsiteY50" fmla="*/ 451260 h 524285"/>
                <a:gd name="connsiteX51" fmla="*/ 200632 w 276832"/>
                <a:gd name="connsiteY51" fmla="*/ 454435 h 524285"/>
                <a:gd name="connsiteX52" fmla="*/ 192694 w 276832"/>
                <a:gd name="connsiteY52" fmla="*/ 457610 h 524285"/>
                <a:gd name="connsiteX53" fmla="*/ 192694 w 276832"/>
                <a:gd name="connsiteY53" fmla="*/ 467135 h 524285"/>
                <a:gd name="connsiteX54" fmla="*/ 197457 w 276832"/>
                <a:gd name="connsiteY54" fmla="*/ 468722 h 524285"/>
                <a:gd name="connsiteX55" fmla="*/ 205394 w 276832"/>
                <a:gd name="connsiteY55" fmla="*/ 481422 h 524285"/>
                <a:gd name="connsiteX56" fmla="*/ 208569 w 276832"/>
                <a:gd name="connsiteY56" fmla="*/ 487772 h 524285"/>
                <a:gd name="connsiteX57" fmla="*/ 194282 w 276832"/>
                <a:gd name="connsiteY57" fmla="*/ 497297 h 524285"/>
                <a:gd name="connsiteX58" fmla="*/ 187932 w 276832"/>
                <a:gd name="connsiteY58" fmla="*/ 506822 h 524285"/>
                <a:gd name="connsiteX59" fmla="*/ 184757 w 276832"/>
                <a:gd name="connsiteY59" fmla="*/ 513172 h 524285"/>
                <a:gd name="connsiteX60" fmla="*/ 178407 w 276832"/>
                <a:gd name="connsiteY60" fmla="*/ 524285 h 524285"/>
                <a:gd name="connsiteX61" fmla="*/ 173644 w 276832"/>
                <a:gd name="connsiteY61" fmla="*/ 517935 h 524285"/>
                <a:gd name="connsiteX62" fmla="*/ 141894 w 276832"/>
                <a:gd name="connsiteY62" fmla="*/ 513172 h 524285"/>
                <a:gd name="connsiteX63" fmla="*/ 137132 w 276832"/>
                <a:gd name="connsiteY63" fmla="*/ 494122 h 524285"/>
                <a:gd name="connsiteX64" fmla="*/ 130782 w 276832"/>
                <a:gd name="connsiteY64" fmla="*/ 467135 h 524285"/>
                <a:gd name="connsiteX65" fmla="*/ 124432 w 276832"/>
                <a:gd name="connsiteY65" fmla="*/ 465547 h 524285"/>
                <a:gd name="connsiteX66" fmla="*/ 118082 w 276832"/>
                <a:gd name="connsiteY66" fmla="*/ 457610 h 524285"/>
                <a:gd name="connsiteX67" fmla="*/ 94269 w 276832"/>
                <a:gd name="connsiteY67" fmla="*/ 451260 h 524285"/>
                <a:gd name="connsiteX68" fmla="*/ 86332 w 276832"/>
                <a:gd name="connsiteY68" fmla="*/ 446497 h 524285"/>
                <a:gd name="connsiteX69" fmla="*/ 81569 w 276832"/>
                <a:gd name="connsiteY69" fmla="*/ 435385 h 524285"/>
                <a:gd name="connsiteX70" fmla="*/ 70457 w 276832"/>
                <a:gd name="connsiteY70" fmla="*/ 430622 h 524285"/>
                <a:gd name="connsiteX71" fmla="*/ 65694 w 276832"/>
                <a:gd name="connsiteY71" fmla="*/ 425860 h 524285"/>
                <a:gd name="connsiteX72" fmla="*/ 52994 w 276832"/>
                <a:gd name="connsiteY72" fmla="*/ 419510 h 524285"/>
                <a:gd name="connsiteX73" fmla="*/ 48232 w 276832"/>
                <a:gd name="connsiteY73" fmla="*/ 402047 h 524285"/>
                <a:gd name="connsiteX74" fmla="*/ 45057 w 276832"/>
                <a:gd name="connsiteY74" fmla="*/ 397285 h 524285"/>
                <a:gd name="connsiteX75" fmla="*/ 51407 w 276832"/>
                <a:gd name="connsiteY75" fmla="*/ 398872 h 524285"/>
                <a:gd name="connsiteX76" fmla="*/ 65694 w 276832"/>
                <a:gd name="connsiteY76" fmla="*/ 397285 h 524285"/>
                <a:gd name="connsiteX77" fmla="*/ 60932 w 276832"/>
                <a:gd name="connsiteY77" fmla="*/ 394110 h 524285"/>
                <a:gd name="connsiteX78" fmla="*/ 59344 w 276832"/>
                <a:gd name="connsiteY78" fmla="*/ 387760 h 524285"/>
                <a:gd name="connsiteX79" fmla="*/ 49819 w 276832"/>
                <a:gd name="connsiteY79" fmla="*/ 368710 h 524285"/>
                <a:gd name="connsiteX80" fmla="*/ 46644 w 276832"/>
                <a:gd name="connsiteY80" fmla="*/ 363947 h 524285"/>
                <a:gd name="connsiteX81" fmla="*/ 37119 w 276832"/>
                <a:gd name="connsiteY81" fmla="*/ 360772 h 524285"/>
                <a:gd name="connsiteX82" fmla="*/ 38707 w 276832"/>
                <a:gd name="connsiteY82" fmla="*/ 336960 h 524285"/>
                <a:gd name="connsiteX83" fmla="*/ 43469 w 276832"/>
                <a:gd name="connsiteY83" fmla="*/ 311560 h 524285"/>
                <a:gd name="connsiteX84" fmla="*/ 43469 w 276832"/>
                <a:gd name="connsiteY84" fmla="*/ 254410 h 524285"/>
                <a:gd name="connsiteX85" fmla="*/ 40294 w 276832"/>
                <a:gd name="connsiteY85" fmla="*/ 249647 h 524285"/>
                <a:gd name="connsiteX86" fmla="*/ 33944 w 276832"/>
                <a:gd name="connsiteY86" fmla="*/ 235360 h 524285"/>
                <a:gd name="connsiteX87" fmla="*/ 26007 w 276832"/>
                <a:gd name="connsiteY87" fmla="*/ 225835 h 524285"/>
                <a:gd name="connsiteX88" fmla="*/ 30769 w 276832"/>
                <a:gd name="connsiteY88" fmla="*/ 224247 h 524285"/>
                <a:gd name="connsiteX89" fmla="*/ 40294 w 276832"/>
                <a:gd name="connsiteY89" fmla="*/ 222660 h 524285"/>
                <a:gd name="connsiteX90" fmla="*/ 43469 w 276832"/>
                <a:gd name="connsiteY90" fmla="*/ 214722 h 524285"/>
                <a:gd name="connsiteX91" fmla="*/ 43469 w 276832"/>
                <a:gd name="connsiteY91" fmla="*/ 198847 h 524285"/>
                <a:gd name="connsiteX92" fmla="*/ 40294 w 276832"/>
                <a:gd name="connsiteY92" fmla="*/ 194085 h 524285"/>
                <a:gd name="connsiteX93" fmla="*/ 46644 w 276832"/>
                <a:gd name="connsiteY93" fmla="*/ 192497 h 524285"/>
                <a:gd name="connsiteX94" fmla="*/ 54582 w 276832"/>
                <a:gd name="connsiteY94" fmla="*/ 190910 h 524285"/>
                <a:gd name="connsiteX95" fmla="*/ 56169 w 276832"/>
                <a:gd name="connsiteY95" fmla="*/ 186147 h 524285"/>
                <a:gd name="connsiteX96" fmla="*/ 54582 w 276832"/>
                <a:gd name="connsiteY96" fmla="*/ 163922 h 524285"/>
                <a:gd name="connsiteX97" fmla="*/ 43469 w 276832"/>
                <a:gd name="connsiteY97" fmla="*/ 159160 h 524285"/>
                <a:gd name="connsiteX98" fmla="*/ 37119 w 276832"/>
                <a:gd name="connsiteY98" fmla="*/ 155985 h 524285"/>
                <a:gd name="connsiteX99" fmla="*/ 27594 w 276832"/>
                <a:gd name="connsiteY99" fmla="*/ 149635 h 524285"/>
                <a:gd name="connsiteX100" fmla="*/ 19657 w 276832"/>
                <a:gd name="connsiteY100" fmla="*/ 148047 h 524285"/>
                <a:gd name="connsiteX101" fmla="*/ 6957 w 276832"/>
                <a:gd name="connsiteY101" fmla="*/ 141697 h 524285"/>
                <a:gd name="connsiteX102" fmla="*/ 5369 w 276832"/>
                <a:gd name="connsiteY102" fmla="*/ 136935 h 524285"/>
                <a:gd name="connsiteX103" fmla="*/ 2194 w 276832"/>
                <a:gd name="connsiteY103" fmla="*/ 132172 h 524285"/>
                <a:gd name="connsiteX104" fmla="*/ 2194 w 276832"/>
                <a:gd name="connsiteY104" fmla="*/ 102010 h 524285"/>
                <a:gd name="connsiteX105" fmla="*/ 3782 w 276832"/>
                <a:gd name="connsiteY105" fmla="*/ 97247 h 524285"/>
                <a:gd name="connsiteX106" fmla="*/ 17276 w 276832"/>
                <a:gd name="connsiteY106" fmla="*/ 89310 h 524285"/>
                <a:gd name="connsiteX107" fmla="*/ 11719 w 276832"/>
                <a:gd name="connsiteY107" fmla="*/ 84547 h 524285"/>
                <a:gd name="connsiteX108" fmla="*/ 14894 w 276832"/>
                <a:gd name="connsiteY108" fmla="*/ 73435 h 524285"/>
                <a:gd name="connsiteX109" fmla="*/ 18069 w 276832"/>
                <a:gd name="connsiteY109" fmla="*/ 68672 h 524285"/>
                <a:gd name="connsiteX110" fmla="*/ 21244 w 276832"/>
                <a:gd name="connsiteY110" fmla="*/ 59147 h 524285"/>
                <a:gd name="connsiteX111" fmla="*/ 27594 w 276832"/>
                <a:gd name="connsiteY111" fmla="*/ 48035 h 524285"/>
                <a:gd name="connsiteX112" fmla="*/ 32357 w 276832"/>
                <a:gd name="connsiteY112" fmla="*/ 33747 h 524285"/>
                <a:gd name="connsiteX113" fmla="*/ 40294 w 276832"/>
                <a:gd name="connsiteY113" fmla="*/ 16285 h 524285"/>
                <a:gd name="connsiteX114" fmla="*/ 41882 w 276832"/>
                <a:gd name="connsiteY114" fmla="*/ 11522 h 524285"/>
                <a:gd name="connsiteX115" fmla="*/ 48232 w 276832"/>
                <a:gd name="connsiteY115" fmla="*/ 410 h 524285"/>
                <a:gd name="connsiteX0" fmla="*/ 48232 w 276832"/>
                <a:gd name="connsiteY0" fmla="*/ 410 h 524285"/>
                <a:gd name="connsiteX1" fmla="*/ 56169 w 276832"/>
                <a:gd name="connsiteY1" fmla="*/ 3585 h 524285"/>
                <a:gd name="connsiteX2" fmla="*/ 64107 w 276832"/>
                <a:gd name="connsiteY2" fmla="*/ 22635 h 524285"/>
                <a:gd name="connsiteX3" fmla="*/ 68869 w 276832"/>
                <a:gd name="connsiteY3" fmla="*/ 24222 h 524285"/>
                <a:gd name="connsiteX4" fmla="*/ 78394 w 276832"/>
                <a:gd name="connsiteY4" fmla="*/ 22635 h 524285"/>
                <a:gd name="connsiteX5" fmla="*/ 86332 w 276832"/>
                <a:gd name="connsiteY5" fmla="*/ 13110 h 524285"/>
                <a:gd name="connsiteX6" fmla="*/ 97444 w 276832"/>
                <a:gd name="connsiteY6" fmla="*/ 9935 h 524285"/>
                <a:gd name="connsiteX7" fmla="*/ 103794 w 276832"/>
                <a:gd name="connsiteY7" fmla="*/ 11522 h 524285"/>
                <a:gd name="connsiteX8" fmla="*/ 105382 w 276832"/>
                <a:gd name="connsiteY8" fmla="*/ 17872 h 524285"/>
                <a:gd name="connsiteX9" fmla="*/ 111732 w 276832"/>
                <a:gd name="connsiteY9" fmla="*/ 30572 h 524285"/>
                <a:gd name="connsiteX10" fmla="*/ 119669 w 276832"/>
                <a:gd name="connsiteY10" fmla="*/ 32160 h 524285"/>
                <a:gd name="connsiteX11" fmla="*/ 126019 w 276832"/>
                <a:gd name="connsiteY11" fmla="*/ 41685 h 524285"/>
                <a:gd name="connsiteX12" fmla="*/ 132369 w 276832"/>
                <a:gd name="connsiteY12" fmla="*/ 44860 h 524285"/>
                <a:gd name="connsiteX13" fmla="*/ 153007 w 276832"/>
                <a:gd name="connsiteY13" fmla="*/ 52797 h 524285"/>
                <a:gd name="connsiteX14" fmla="*/ 159357 w 276832"/>
                <a:gd name="connsiteY14" fmla="*/ 63910 h 524285"/>
                <a:gd name="connsiteX15" fmla="*/ 167294 w 276832"/>
                <a:gd name="connsiteY15" fmla="*/ 78197 h 524285"/>
                <a:gd name="connsiteX16" fmla="*/ 168882 w 276832"/>
                <a:gd name="connsiteY16" fmla="*/ 108360 h 524285"/>
                <a:gd name="connsiteX17" fmla="*/ 173644 w 276832"/>
                <a:gd name="connsiteY17" fmla="*/ 117885 h 524285"/>
                <a:gd name="connsiteX18" fmla="*/ 178407 w 276832"/>
                <a:gd name="connsiteY18" fmla="*/ 154397 h 524285"/>
                <a:gd name="connsiteX19" fmla="*/ 176819 w 276832"/>
                <a:gd name="connsiteY19" fmla="*/ 176622 h 524285"/>
                <a:gd name="connsiteX20" fmla="*/ 175232 w 276832"/>
                <a:gd name="connsiteY20" fmla="*/ 181385 h 524285"/>
                <a:gd name="connsiteX21" fmla="*/ 181582 w 276832"/>
                <a:gd name="connsiteY21" fmla="*/ 200435 h 524285"/>
                <a:gd name="connsiteX22" fmla="*/ 183169 w 276832"/>
                <a:gd name="connsiteY22" fmla="*/ 232185 h 524285"/>
                <a:gd name="connsiteX23" fmla="*/ 184757 w 276832"/>
                <a:gd name="connsiteY23" fmla="*/ 236947 h 524285"/>
                <a:gd name="connsiteX24" fmla="*/ 186344 w 276832"/>
                <a:gd name="connsiteY24" fmla="*/ 248060 h 524285"/>
                <a:gd name="connsiteX25" fmla="*/ 194282 w 276832"/>
                <a:gd name="connsiteY25" fmla="*/ 260760 h 524285"/>
                <a:gd name="connsiteX26" fmla="*/ 205394 w 276832"/>
                <a:gd name="connsiteY26" fmla="*/ 262347 h 524285"/>
                <a:gd name="connsiteX27" fmla="*/ 210157 w 276832"/>
                <a:gd name="connsiteY27" fmla="*/ 271872 h 524285"/>
                <a:gd name="connsiteX28" fmla="*/ 222857 w 276832"/>
                <a:gd name="connsiteY28" fmla="*/ 276635 h 524285"/>
                <a:gd name="connsiteX29" fmla="*/ 229207 w 276832"/>
                <a:gd name="connsiteY29" fmla="*/ 281397 h 524285"/>
                <a:gd name="connsiteX30" fmla="*/ 232382 w 276832"/>
                <a:gd name="connsiteY30" fmla="*/ 286160 h 524285"/>
                <a:gd name="connsiteX31" fmla="*/ 235557 w 276832"/>
                <a:gd name="connsiteY31" fmla="*/ 292510 h 524285"/>
                <a:gd name="connsiteX32" fmla="*/ 240319 w 276832"/>
                <a:gd name="connsiteY32" fmla="*/ 294097 h 524285"/>
                <a:gd name="connsiteX33" fmla="*/ 252226 w 276832"/>
                <a:gd name="connsiteY33" fmla="*/ 279017 h 524285"/>
                <a:gd name="connsiteX34" fmla="*/ 259369 w 276832"/>
                <a:gd name="connsiteY34" fmla="*/ 303622 h 524285"/>
                <a:gd name="connsiteX35" fmla="*/ 258575 w 276832"/>
                <a:gd name="connsiteY35" fmla="*/ 294097 h 524285"/>
                <a:gd name="connsiteX36" fmla="*/ 257782 w 276832"/>
                <a:gd name="connsiteY36" fmla="*/ 319497 h 524285"/>
                <a:gd name="connsiteX37" fmla="*/ 267307 w 276832"/>
                <a:gd name="connsiteY37" fmla="*/ 327435 h 524285"/>
                <a:gd name="connsiteX38" fmla="*/ 276832 w 276832"/>
                <a:gd name="connsiteY38" fmla="*/ 343310 h 524285"/>
                <a:gd name="connsiteX39" fmla="*/ 273657 w 276832"/>
                <a:gd name="connsiteY39" fmla="*/ 348072 h 524285"/>
                <a:gd name="connsiteX40" fmla="*/ 260957 w 276832"/>
                <a:gd name="connsiteY40" fmla="*/ 352835 h 524285"/>
                <a:gd name="connsiteX41" fmla="*/ 254607 w 276832"/>
                <a:gd name="connsiteY41" fmla="*/ 363947 h 524285"/>
                <a:gd name="connsiteX42" fmla="*/ 251432 w 276832"/>
                <a:gd name="connsiteY42" fmla="*/ 370297 h 524285"/>
                <a:gd name="connsiteX43" fmla="*/ 246669 w 276832"/>
                <a:gd name="connsiteY43" fmla="*/ 375060 h 524285"/>
                <a:gd name="connsiteX44" fmla="*/ 243494 w 276832"/>
                <a:gd name="connsiteY44" fmla="*/ 382997 h 524285"/>
                <a:gd name="connsiteX45" fmla="*/ 238732 w 276832"/>
                <a:gd name="connsiteY45" fmla="*/ 394110 h 524285"/>
                <a:gd name="connsiteX46" fmla="*/ 237144 w 276832"/>
                <a:gd name="connsiteY46" fmla="*/ 403635 h 524285"/>
                <a:gd name="connsiteX47" fmla="*/ 229207 w 276832"/>
                <a:gd name="connsiteY47" fmla="*/ 435385 h 524285"/>
                <a:gd name="connsiteX48" fmla="*/ 222857 w 276832"/>
                <a:gd name="connsiteY48" fmla="*/ 438560 h 524285"/>
                <a:gd name="connsiteX49" fmla="*/ 216507 w 276832"/>
                <a:gd name="connsiteY49" fmla="*/ 443322 h 524285"/>
                <a:gd name="connsiteX50" fmla="*/ 205394 w 276832"/>
                <a:gd name="connsiteY50" fmla="*/ 451260 h 524285"/>
                <a:gd name="connsiteX51" fmla="*/ 200632 w 276832"/>
                <a:gd name="connsiteY51" fmla="*/ 454435 h 524285"/>
                <a:gd name="connsiteX52" fmla="*/ 192694 w 276832"/>
                <a:gd name="connsiteY52" fmla="*/ 457610 h 524285"/>
                <a:gd name="connsiteX53" fmla="*/ 192694 w 276832"/>
                <a:gd name="connsiteY53" fmla="*/ 467135 h 524285"/>
                <a:gd name="connsiteX54" fmla="*/ 197457 w 276832"/>
                <a:gd name="connsiteY54" fmla="*/ 468722 h 524285"/>
                <a:gd name="connsiteX55" fmla="*/ 205394 w 276832"/>
                <a:gd name="connsiteY55" fmla="*/ 481422 h 524285"/>
                <a:gd name="connsiteX56" fmla="*/ 208569 w 276832"/>
                <a:gd name="connsiteY56" fmla="*/ 487772 h 524285"/>
                <a:gd name="connsiteX57" fmla="*/ 194282 w 276832"/>
                <a:gd name="connsiteY57" fmla="*/ 497297 h 524285"/>
                <a:gd name="connsiteX58" fmla="*/ 187932 w 276832"/>
                <a:gd name="connsiteY58" fmla="*/ 506822 h 524285"/>
                <a:gd name="connsiteX59" fmla="*/ 184757 w 276832"/>
                <a:gd name="connsiteY59" fmla="*/ 513172 h 524285"/>
                <a:gd name="connsiteX60" fmla="*/ 178407 w 276832"/>
                <a:gd name="connsiteY60" fmla="*/ 524285 h 524285"/>
                <a:gd name="connsiteX61" fmla="*/ 173644 w 276832"/>
                <a:gd name="connsiteY61" fmla="*/ 517935 h 524285"/>
                <a:gd name="connsiteX62" fmla="*/ 141894 w 276832"/>
                <a:gd name="connsiteY62" fmla="*/ 513172 h 524285"/>
                <a:gd name="connsiteX63" fmla="*/ 137132 w 276832"/>
                <a:gd name="connsiteY63" fmla="*/ 494122 h 524285"/>
                <a:gd name="connsiteX64" fmla="*/ 130782 w 276832"/>
                <a:gd name="connsiteY64" fmla="*/ 467135 h 524285"/>
                <a:gd name="connsiteX65" fmla="*/ 124432 w 276832"/>
                <a:gd name="connsiteY65" fmla="*/ 465547 h 524285"/>
                <a:gd name="connsiteX66" fmla="*/ 118082 w 276832"/>
                <a:gd name="connsiteY66" fmla="*/ 457610 h 524285"/>
                <a:gd name="connsiteX67" fmla="*/ 94269 w 276832"/>
                <a:gd name="connsiteY67" fmla="*/ 451260 h 524285"/>
                <a:gd name="connsiteX68" fmla="*/ 86332 w 276832"/>
                <a:gd name="connsiteY68" fmla="*/ 446497 h 524285"/>
                <a:gd name="connsiteX69" fmla="*/ 81569 w 276832"/>
                <a:gd name="connsiteY69" fmla="*/ 435385 h 524285"/>
                <a:gd name="connsiteX70" fmla="*/ 70457 w 276832"/>
                <a:gd name="connsiteY70" fmla="*/ 430622 h 524285"/>
                <a:gd name="connsiteX71" fmla="*/ 65694 w 276832"/>
                <a:gd name="connsiteY71" fmla="*/ 425860 h 524285"/>
                <a:gd name="connsiteX72" fmla="*/ 52994 w 276832"/>
                <a:gd name="connsiteY72" fmla="*/ 419510 h 524285"/>
                <a:gd name="connsiteX73" fmla="*/ 48232 w 276832"/>
                <a:gd name="connsiteY73" fmla="*/ 402047 h 524285"/>
                <a:gd name="connsiteX74" fmla="*/ 45057 w 276832"/>
                <a:gd name="connsiteY74" fmla="*/ 397285 h 524285"/>
                <a:gd name="connsiteX75" fmla="*/ 51407 w 276832"/>
                <a:gd name="connsiteY75" fmla="*/ 398872 h 524285"/>
                <a:gd name="connsiteX76" fmla="*/ 65694 w 276832"/>
                <a:gd name="connsiteY76" fmla="*/ 397285 h 524285"/>
                <a:gd name="connsiteX77" fmla="*/ 60932 w 276832"/>
                <a:gd name="connsiteY77" fmla="*/ 394110 h 524285"/>
                <a:gd name="connsiteX78" fmla="*/ 59344 w 276832"/>
                <a:gd name="connsiteY78" fmla="*/ 387760 h 524285"/>
                <a:gd name="connsiteX79" fmla="*/ 49819 w 276832"/>
                <a:gd name="connsiteY79" fmla="*/ 368710 h 524285"/>
                <a:gd name="connsiteX80" fmla="*/ 46644 w 276832"/>
                <a:gd name="connsiteY80" fmla="*/ 363947 h 524285"/>
                <a:gd name="connsiteX81" fmla="*/ 37119 w 276832"/>
                <a:gd name="connsiteY81" fmla="*/ 360772 h 524285"/>
                <a:gd name="connsiteX82" fmla="*/ 38707 w 276832"/>
                <a:gd name="connsiteY82" fmla="*/ 336960 h 524285"/>
                <a:gd name="connsiteX83" fmla="*/ 43469 w 276832"/>
                <a:gd name="connsiteY83" fmla="*/ 311560 h 524285"/>
                <a:gd name="connsiteX84" fmla="*/ 43469 w 276832"/>
                <a:gd name="connsiteY84" fmla="*/ 254410 h 524285"/>
                <a:gd name="connsiteX85" fmla="*/ 40294 w 276832"/>
                <a:gd name="connsiteY85" fmla="*/ 249647 h 524285"/>
                <a:gd name="connsiteX86" fmla="*/ 33944 w 276832"/>
                <a:gd name="connsiteY86" fmla="*/ 235360 h 524285"/>
                <a:gd name="connsiteX87" fmla="*/ 26007 w 276832"/>
                <a:gd name="connsiteY87" fmla="*/ 225835 h 524285"/>
                <a:gd name="connsiteX88" fmla="*/ 30769 w 276832"/>
                <a:gd name="connsiteY88" fmla="*/ 224247 h 524285"/>
                <a:gd name="connsiteX89" fmla="*/ 40294 w 276832"/>
                <a:gd name="connsiteY89" fmla="*/ 222660 h 524285"/>
                <a:gd name="connsiteX90" fmla="*/ 43469 w 276832"/>
                <a:gd name="connsiteY90" fmla="*/ 214722 h 524285"/>
                <a:gd name="connsiteX91" fmla="*/ 43469 w 276832"/>
                <a:gd name="connsiteY91" fmla="*/ 198847 h 524285"/>
                <a:gd name="connsiteX92" fmla="*/ 40294 w 276832"/>
                <a:gd name="connsiteY92" fmla="*/ 194085 h 524285"/>
                <a:gd name="connsiteX93" fmla="*/ 46644 w 276832"/>
                <a:gd name="connsiteY93" fmla="*/ 192497 h 524285"/>
                <a:gd name="connsiteX94" fmla="*/ 54582 w 276832"/>
                <a:gd name="connsiteY94" fmla="*/ 190910 h 524285"/>
                <a:gd name="connsiteX95" fmla="*/ 56169 w 276832"/>
                <a:gd name="connsiteY95" fmla="*/ 186147 h 524285"/>
                <a:gd name="connsiteX96" fmla="*/ 54582 w 276832"/>
                <a:gd name="connsiteY96" fmla="*/ 163922 h 524285"/>
                <a:gd name="connsiteX97" fmla="*/ 43469 w 276832"/>
                <a:gd name="connsiteY97" fmla="*/ 159160 h 524285"/>
                <a:gd name="connsiteX98" fmla="*/ 37119 w 276832"/>
                <a:gd name="connsiteY98" fmla="*/ 155985 h 524285"/>
                <a:gd name="connsiteX99" fmla="*/ 27594 w 276832"/>
                <a:gd name="connsiteY99" fmla="*/ 149635 h 524285"/>
                <a:gd name="connsiteX100" fmla="*/ 19657 w 276832"/>
                <a:gd name="connsiteY100" fmla="*/ 148047 h 524285"/>
                <a:gd name="connsiteX101" fmla="*/ 6957 w 276832"/>
                <a:gd name="connsiteY101" fmla="*/ 141697 h 524285"/>
                <a:gd name="connsiteX102" fmla="*/ 5369 w 276832"/>
                <a:gd name="connsiteY102" fmla="*/ 136935 h 524285"/>
                <a:gd name="connsiteX103" fmla="*/ 2194 w 276832"/>
                <a:gd name="connsiteY103" fmla="*/ 132172 h 524285"/>
                <a:gd name="connsiteX104" fmla="*/ 2194 w 276832"/>
                <a:gd name="connsiteY104" fmla="*/ 102010 h 524285"/>
                <a:gd name="connsiteX105" fmla="*/ 3782 w 276832"/>
                <a:gd name="connsiteY105" fmla="*/ 97247 h 524285"/>
                <a:gd name="connsiteX106" fmla="*/ 17276 w 276832"/>
                <a:gd name="connsiteY106" fmla="*/ 89310 h 524285"/>
                <a:gd name="connsiteX107" fmla="*/ 11719 w 276832"/>
                <a:gd name="connsiteY107" fmla="*/ 84547 h 524285"/>
                <a:gd name="connsiteX108" fmla="*/ 14894 w 276832"/>
                <a:gd name="connsiteY108" fmla="*/ 73435 h 524285"/>
                <a:gd name="connsiteX109" fmla="*/ 18069 w 276832"/>
                <a:gd name="connsiteY109" fmla="*/ 68672 h 524285"/>
                <a:gd name="connsiteX110" fmla="*/ 21244 w 276832"/>
                <a:gd name="connsiteY110" fmla="*/ 59147 h 524285"/>
                <a:gd name="connsiteX111" fmla="*/ 27594 w 276832"/>
                <a:gd name="connsiteY111" fmla="*/ 48035 h 524285"/>
                <a:gd name="connsiteX112" fmla="*/ 32357 w 276832"/>
                <a:gd name="connsiteY112" fmla="*/ 33747 h 524285"/>
                <a:gd name="connsiteX113" fmla="*/ 40294 w 276832"/>
                <a:gd name="connsiteY113" fmla="*/ 16285 h 524285"/>
                <a:gd name="connsiteX114" fmla="*/ 41882 w 276832"/>
                <a:gd name="connsiteY114" fmla="*/ 11522 h 524285"/>
                <a:gd name="connsiteX115" fmla="*/ 48232 w 276832"/>
                <a:gd name="connsiteY115" fmla="*/ 410 h 524285"/>
                <a:gd name="connsiteX0" fmla="*/ 48232 w 276832"/>
                <a:gd name="connsiteY0" fmla="*/ 410 h 524285"/>
                <a:gd name="connsiteX1" fmla="*/ 56169 w 276832"/>
                <a:gd name="connsiteY1" fmla="*/ 3585 h 524285"/>
                <a:gd name="connsiteX2" fmla="*/ 64107 w 276832"/>
                <a:gd name="connsiteY2" fmla="*/ 22635 h 524285"/>
                <a:gd name="connsiteX3" fmla="*/ 68869 w 276832"/>
                <a:gd name="connsiteY3" fmla="*/ 24222 h 524285"/>
                <a:gd name="connsiteX4" fmla="*/ 78394 w 276832"/>
                <a:gd name="connsiteY4" fmla="*/ 22635 h 524285"/>
                <a:gd name="connsiteX5" fmla="*/ 86332 w 276832"/>
                <a:gd name="connsiteY5" fmla="*/ 13110 h 524285"/>
                <a:gd name="connsiteX6" fmla="*/ 97444 w 276832"/>
                <a:gd name="connsiteY6" fmla="*/ 9935 h 524285"/>
                <a:gd name="connsiteX7" fmla="*/ 103794 w 276832"/>
                <a:gd name="connsiteY7" fmla="*/ 11522 h 524285"/>
                <a:gd name="connsiteX8" fmla="*/ 105382 w 276832"/>
                <a:gd name="connsiteY8" fmla="*/ 17872 h 524285"/>
                <a:gd name="connsiteX9" fmla="*/ 111732 w 276832"/>
                <a:gd name="connsiteY9" fmla="*/ 30572 h 524285"/>
                <a:gd name="connsiteX10" fmla="*/ 119669 w 276832"/>
                <a:gd name="connsiteY10" fmla="*/ 32160 h 524285"/>
                <a:gd name="connsiteX11" fmla="*/ 126019 w 276832"/>
                <a:gd name="connsiteY11" fmla="*/ 41685 h 524285"/>
                <a:gd name="connsiteX12" fmla="*/ 132369 w 276832"/>
                <a:gd name="connsiteY12" fmla="*/ 44860 h 524285"/>
                <a:gd name="connsiteX13" fmla="*/ 153007 w 276832"/>
                <a:gd name="connsiteY13" fmla="*/ 52797 h 524285"/>
                <a:gd name="connsiteX14" fmla="*/ 159357 w 276832"/>
                <a:gd name="connsiteY14" fmla="*/ 63910 h 524285"/>
                <a:gd name="connsiteX15" fmla="*/ 167294 w 276832"/>
                <a:gd name="connsiteY15" fmla="*/ 78197 h 524285"/>
                <a:gd name="connsiteX16" fmla="*/ 168882 w 276832"/>
                <a:gd name="connsiteY16" fmla="*/ 108360 h 524285"/>
                <a:gd name="connsiteX17" fmla="*/ 173644 w 276832"/>
                <a:gd name="connsiteY17" fmla="*/ 117885 h 524285"/>
                <a:gd name="connsiteX18" fmla="*/ 178407 w 276832"/>
                <a:gd name="connsiteY18" fmla="*/ 154397 h 524285"/>
                <a:gd name="connsiteX19" fmla="*/ 176819 w 276832"/>
                <a:gd name="connsiteY19" fmla="*/ 176622 h 524285"/>
                <a:gd name="connsiteX20" fmla="*/ 175232 w 276832"/>
                <a:gd name="connsiteY20" fmla="*/ 181385 h 524285"/>
                <a:gd name="connsiteX21" fmla="*/ 181582 w 276832"/>
                <a:gd name="connsiteY21" fmla="*/ 200435 h 524285"/>
                <a:gd name="connsiteX22" fmla="*/ 183169 w 276832"/>
                <a:gd name="connsiteY22" fmla="*/ 232185 h 524285"/>
                <a:gd name="connsiteX23" fmla="*/ 184757 w 276832"/>
                <a:gd name="connsiteY23" fmla="*/ 236947 h 524285"/>
                <a:gd name="connsiteX24" fmla="*/ 186344 w 276832"/>
                <a:gd name="connsiteY24" fmla="*/ 248060 h 524285"/>
                <a:gd name="connsiteX25" fmla="*/ 194282 w 276832"/>
                <a:gd name="connsiteY25" fmla="*/ 260760 h 524285"/>
                <a:gd name="connsiteX26" fmla="*/ 205394 w 276832"/>
                <a:gd name="connsiteY26" fmla="*/ 262347 h 524285"/>
                <a:gd name="connsiteX27" fmla="*/ 210157 w 276832"/>
                <a:gd name="connsiteY27" fmla="*/ 271872 h 524285"/>
                <a:gd name="connsiteX28" fmla="*/ 222857 w 276832"/>
                <a:gd name="connsiteY28" fmla="*/ 276635 h 524285"/>
                <a:gd name="connsiteX29" fmla="*/ 229207 w 276832"/>
                <a:gd name="connsiteY29" fmla="*/ 281397 h 524285"/>
                <a:gd name="connsiteX30" fmla="*/ 232382 w 276832"/>
                <a:gd name="connsiteY30" fmla="*/ 286160 h 524285"/>
                <a:gd name="connsiteX31" fmla="*/ 235557 w 276832"/>
                <a:gd name="connsiteY31" fmla="*/ 292510 h 524285"/>
                <a:gd name="connsiteX32" fmla="*/ 237937 w 276832"/>
                <a:gd name="connsiteY32" fmla="*/ 282191 h 524285"/>
                <a:gd name="connsiteX33" fmla="*/ 252226 w 276832"/>
                <a:gd name="connsiteY33" fmla="*/ 279017 h 524285"/>
                <a:gd name="connsiteX34" fmla="*/ 259369 w 276832"/>
                <a:gd name="connsiteY34" fmla="*/ 303622 h 524285"/>
                <a:gd name="connsiteX35" fmla="*/ 258575 w 276832"/>
                <a:gd name="connsiteY35" fmla="*/ 294097 h 524285"/>
                <a:gd name="connsiteX36" fmla="*/ 257782 w 276832"/>
                <a:gd name="connsiteY36" fmla="*/ 319497 h 524285"/>
                <a:gd name="connsiteX37" fmla="*/ 267307 w 276832"/>
                <a:gd name="connsiteY37" fmla="*/ 327435 h 524285"/>
                <a:gd name="connsiteX38" fmla="*/ 276832 w 276832"/>
                <a:gd name="connsiteY38" fmla="*/ 343310 h 524285"/>
                <a:gd name="connsiteX39" fmla="*/ 273657 w 276832"/>
                <a:gd name="connsiteY39" fmla="*/ 348072 h 524285"/>
                <a:gd name="connsiteX40" fmla="*/ 260957 w 276832"/>
                <a:gd name="connsiteY40" fmla="*/ 352835 h 524285"/>
                <a:gd name="connsiteX41" fmla="*/ 254607 w 276832"/>
                <a:gd name="connsiteY41" fmla="*/ 363947 h 524285"/>
                <a:gd name="connsiteX42" fmla="*/ 251432 w 276832"/>
                <a:gd name="connsiteY42" fmla="*/ 370297 h 524285"/>
                <a:gd name="connsiteX43" fmla="*/ 246669 w 276832"/>
                <a:gd name="connsiteY43" fmla="*/ 375060 h 524285"/>
                <a:gd name="connsiteX44" fmla="*/ 243494 w 276832"/>
                <a:gd name="connsiteY44" fmla="*/ 382997 h 524285"/>
                <a:gd name="connsiteX45" fmla="*/ 238732 w 276832"/>
                <a:gd name="connsiteY45" fmla="*/ 394110 h 524285"/>
                <a:gd name="connsiteX46" fmla="*/ 237144 w 276832"/>
                <a:gd name="connsiteY46" fmla="*/ 403635 h 524285"/>
                <a:gd name="connsiteX47" fmla="*/ 229207 w 276832"/>
                <a:gd name="connsiteY47" fmla="*/ 435385 h 524285"/>
                <a:gd name="connsiteX48" fmla="*/ 222857 w 276832"/>
                <a:gd name="connsiteY48" fmla="*/ 438560 h 524285"/>
                <a:gd name="connsiteX49" fmla="*/ 216507 w 276832"/>
                <a:gd name="connsiteY49" fmla="*/ 443322 h 524285"/>
                <a:gd name="connsiteX50" fmla="*/ 205394 w 276832"/>
                <a:gd name="connsiteY50" fmla="*/ 451260 h 524285"/>
                <a:gd name="connsiteX51" fmla="*/ 200632 w 276832"/>
                <a:gd name="connsiteY51" fmla="*/ 454435 h 524285"/>
                <a:gd name="connsiteX52" fmla="*/ 192694 w 276832"/>
                <a:gd name="connsiteY52" fmla="*/ 457610 h 524285"/>
                <a:gd name="connsiteX53" fmla="*/ 192694 w 276832"/>
                <a:gd name="connsiteY53" fmla="*/ 467135 h 524285"/>
                <a:gd name="connsiteX54" fmla="*/ 197457 w 276832"/>
                <a:gd name="connsiteY54" fmla="*/ 468722 h 524285"/>
                <a:gd name="connsiteX55" fmla="*/ 205394 w 276832"/>
                <a:gd name="connsiteY55" fmla="*/ 481422 h 524285"/>
                <a:gd name="connsiteX56" fmla="*/ 208569 w 276832"/>
                <a:gd name="connsiteY56" fmla="*/ 487772 h 524285"/>
                <a:gd name="connsiteX57" fmla="*/ 194282 w 276832"/>
                <a:gd name="connsiteY57" fmla="*/ 497297 h 524285"/>
                <a:gd name="connsiteX58" fmla="*/ 187932 w 276832"/>
                <a:gd name="connsiteY58" fmla="*/ 506822 h 524285"/>
                <a:gd name="connsiteX59" fmla="*/ 184757 w 276832"/>
                <a:gd name="connsiteY59" fmla="*/ 513172 h 524285"/>
                <a:gd name="connsiteX60" fmla="*/ 178407 w 276832"/>
                <a:gd name="connsiteY60" fmla="*/ 524285 h 524285"/>
                <a:gd name="connsiteX61" fmla="*/ 173644 w 276832"/>
                <a:gd name="connsiteY61" fmla="*/ 517935 h 524285"/>
                <a:gd name="connsiteX62" fmla="*/ 141894 w 276832"/>
                <a:gd name="connsiteY62" fmla="*/ 513172 h 524285"/>
                <a:gd name="connsiteX63" fmla="*/ 137132 w 276832"/>
                <a:gd name="connsiteY63" fmla="*/ 494122 h 524285"/>
                <a:gd name="connsiteX64" fmla="*/ 130782 w 276832"/>
                <a:gd name="connsiteY64" fmla="*/ 467135 h 524285"/>
                <a:gd name="connsiteX65" fmla="*/ 124432 w 276832"/>
                <a:gd name="connsiteY65" fmla="*/ 465547 h 524285"/>
                <a:gd name="connsiteX66" fmla="*/ 118082 w 276832"/>
                <a:gd name="connsiteY66" fmla="*/ 457610 h 524285"/>
                <a:gd name="connsiteX67" fmla="*/ 94269 w 276832"/>
                <a:gd name="connsiteY67" fmla="*/ 451260 h 524285"/>
                <a:gd name="connsiteX68" fmla="*/ 86332 w 276832"/>
                <a:gd name="connsiteY68" fmla="*/ 446497 h 524285"/>
                <a:gd name="connsiteX69" fmla="*/ 81569 w 276832"/>
                <a:gd name="connsiteY69" fmla="*/ 435385 h 524285"/>
                <a:gd name="connsiteX70" fmla="*/ 70457 w 276832"/>
                <a:gd name="connsiteY70" fmla="*/ 430622 h 524285"/>
                <a:gd name="connsiteX71" fmla="*/ 65694 w 276832"/>
                <a:gd name="connsiteY71" fmla="*/ 425860 h 524285"/>
                <a:gd name="connsiteX72" fmla="*/ 52994 w 276832"/>
                <a:gd name="connsiteY72" fmla="*/ 419510 h 524285"/>
                <a:gd name="connsiteX73" fmla="*/ 48232 w 276832"/>
                <a:gd name="connsiteY73" fmla="*/ 402047 h 524285"/>
                <a:gd name="connsiteX74" fmla="*/ 45057 w 276832"/>
                <a:gd name="connsiteY74" fmla="*/ 397285 h 524285"/>
                <a:gd name="connsiteX75" fmla="*/ 51407 w 276832"/>
                <a:gd name="connsiteY75" fmla="*/ 398872 h 524285"/>
                <a:gd name="connsiteX76" fmla="*/ 65694 w 276832"/>
                <a:gd name="connsiteY76" fmla="*/ 397285 h 524285"/>
                <a:gd name="connsiteX77" fmla="*/ 60932 w 276832"/>
                <a:gd name="connsiteY77" fmla="*/ 394110 h 524285"/>
                <a:gd name="connsiteX78" fmla="*/ 59344 w 276832"/>
                <a:gd name="connsiteY78" fmla="*/ 387760 h 524285"/>
                <a:gd name="connsiteX79" fmla="*/ 49819 w 276832"/>
                <a:gd name="connsiteY79" fmla="*/ 368710 h 524285"/>
                <a:gd name="connsiteX80" fmla="*/ 46644 w 276832"/>
                <a:gd name="connsiteY80" fmla="*/ 363947 h 524285"/>
                <a:gd name="connsiteX81" fmla="*/ 37119 w 276832"/>
                <a:gd name="connsiteY81" fmla="*/ 360772 h 524285"/>
                <a:gd name="connsiteX82" fmla="*/ 38707 w 276832"/>
                <a:gd name="connsiteY82" fmla="*/ 336960 h 524285"/>
                <a:gd name="connsiteX83" fmla="*/ 43469 w 276832"/>
                <a:gd name="connsiteY83" fmla="*/ 311560 h 524285"/>
                <a:gd name="connsiteX84" fmla="*/ 43469 w 276832"/>
                <a:gd name="connsiteY84" fmla="*/ 254410 h 524285"/>
                <a:gd name="connsiteX85" fmla="*/ 40294 w 276832"/>
                <a:gd name="connsiteY85" fmla="*/ 249647 h 524285"/>
                <a:gd name="connsiteX86" fmla="*/ 33944 w 276832"/>
                <a:gd name="connsiteY86" fmla="*/ 235360 h 524285"/>
                <a:gd name="connsiteX87" fmla="*/ 26007 w 276832"/>
                <a:gd name="connsiteY87" fmla="*/ 225835 h 524285"/>
                <a:gd name="connsiteX88" fmla="*/ 30769 w 276832"/>
                <a:gd name="connsiteY88" fmla="*/ 224247 h 524285"/>
                <a:gd name="connsiteX89" fmla="*/ 40294 w 276832"/>
                <a:gd name="connsiteY89" fmla="*/ 222660 h 524285"/>
                <a:gd name="connsiteX90" fmla="*/ 43469 w 276832"/>
                <a:gd name="connsiteY90" fmla="*/ 214722 h 524285"/>
                <a:gd name="connsiteX91" fmla="*/ 43469 w 276832"/>
                <a:gd name="connsiteY91" fmla="*/ 198847 h 524285"/>
                <a:gd name="connsiteX92" fmla="*/ 40294 w 276832"/>
                <a:gd name="connsiteY92" fmla="*/ 194085 h 524285"/>
                <a:gd name="connsiteX93" fmla="*/ 46644 w 276832"/>
                <a:gd name="connsiteY93" fmla="*/ 192497 h 524285"/>
                <a:gd name="connsiteX94" fmla="*/ 54582 w 276832"/>
                <a:gd name="connsiteY94" fmla="*/ 190910 h 524285"/>
                <a:gd name="connsiteX95" fmla="*/ 56169 w 276832"/>
                <a:gd name="connsiteY95" fmla="*/ 186147 h 524285"/>
                <a:gd name="connsiteX96" fmla="*/ 54582 w 276832"/>
                <a:gd name="connsiteY96" fmla="*/ 163922 h 524285"/>
                <a:gd name="connsiteX97" fmla="*/ 43469 w 276832"/>
                <a:gd name="connsiteY97" fmla="*/ 159160 h 524285"/>
                <a:gd name="connsiteX98" fmla="*/ 37119 w 276832"/>
                <a:gd name="connsiteY98" fmla="*/ 155985 h 524285"/>
                <a:gd name="connsiteX99" fmla="*/ 27594 w 276832"/>
                <a:gd name="connsiteY99" fmla="*/ 149635 h 524285"/>
                <a:gd name="connsiteX100" fmla="*/ 19657 w 276832"/>
                <a:gd name="connsiteY100" fmla="*/ 148047 h 524285"/>
                <a:gd name="connsiteX101" fmla="*/ 6957 w 276832"/>
                <a:gd name="connsiteY101" fmla="*/ 141697 h 524285"/>
                <a:gd name="connsiteX102" fmla="*/ 5369 w 276832"/>
                <a:gd name="connsiteY102" fmla="*/ 136935 h 524285"/>
                <a:gd name="connsiteX103" fmla="*/ 2194 w 276832"/>
                <a:gd name="connsiteY103" fmla="*/ 132172 h 524285"/>
                <a:gd name="connsiteX104" fmla="*/ 2194 w 276832"/>
                <a:gd name="connsiteY104" fmla="*/ 102010 h 524285"/>
                <a:gd name="connsiteX105" fmla="*/ 3782 w 276832"/>
                <a:gd name="connsiteY105" fmla="*/ 97247 h 524285"/>
                <a:gd name="connsiteX106" fmla="*/ 17276 w 276832"/>
                <a:gd name="connsiteY106" fmla="*/ 89310 h 524285"/>
                <a:gd name="connsiteX107" fmla="*/ 11719 w 276832"/>
                <a:gd name="connsiteY107" fmla="*/ 84547 h 524285"/>
                <a:gd name="connsiteX108" fmla="*/ 14894 w 276832"/>
                <a:gd name="connsiteY108" fmla="*/ 73435 h 524285"/>
                <a:gd name="connsiteX109" fmla="*/ 18069 w 276832"/>
                <a:gd name="connsiteY109" fmla="*/ 68672 h 524285"/>
                <a:gd name="connsiteX110" fmla="*/ 21244 w 276832"/>
                <a:gd name="connsiteY110" fmla="*/ 59147 h 524285"/>
                <a:gd name="connsiteX111" fmla="*/ 27594 w 276832"/>
                <a:gd name="connsiteY111" fmla="*/ 48035 h 524285"/>
                <a:gd name="connsiteX112" fmla="*/ 32357 w 276832"/>
                <a:gd name="connsiteY112" fmla="*/ 33747 h 524285"/>
                <a:gd name="connsiteX113" fmla="*/ 40294 w 276832"/>
                <a:gd name="connsiteY113" fmla="*/ 16285 h 524285"/>
                <a:gd name="connsiteX114" fmla="*/ 41882 w 276832"/>
                <a:gd name="connsiteY114" fmla="*/ 11522 h 524285"/>
                <a:gd name="connsiteX115" fmla="*/ 48232 w 276832"/>
                <a:gd name="connsiteY115" fmla="*/ 410 h 524285"/>
                <a:gd name="connsiteX0" fmla="*/ 48232 w 276832"/>
                <a:gd name="connsiteY0" fmla="*/ 410 h 524285"/>
                <a:gd name="connsiteX1" fmla="*/ 56169 w 276832"/>
                <a:gd name="connsiteY1" fmla="*/ 3585 h 524285"/>
                <a:gd name="connsiteX2" fmla="*/ 64107 w 276832"/>
                <a:gd name="connsiteY2" fmla="*/ 22635 h 524285"/>
                <a:gd name="connsiteX3" fmla="*/ 68869 w 276832"/>
                <a:gd name="connsiteY3" fmla="*/ 24222 h 524285"/>
                <a:gd name="connsiteX4" fmla="*/ 78394 w 276832"/>
                <a:gd name="connsiteY4" fmla="*/ 22635 h 524285"/>
                <a:gd name="connsiteX5" fmla="*/ 86332 w 276832"/>
                <a:gd name="connsiteY5" fmla="*/ 13110 h 524285"/>
                <a:gd name="connsiteX6" fmla="*/ 97444 w 276832"/>
                <a:gd name="connsiteY6" fmla="*/ 9935 h 524285"/>
                <a:gd name="connsiteX7" fmla="*/ 103794 w 276832"/>
                <a:gd name="connsiteY7" fmla="*/ 11522 h 524285"/>
                <a:gd name="connsiteX8" fmla="*/ 105382 w 276832"/>
                <a:gd name="connsiteY8" fmla="*/ 17872 h 524285"/>
                <a:gd name="connsiteX9" fmla="*/ 111732 w 276832"/>
                <a:gd name="connsiteY9" fmla="*/ 30572 h 524285"/>
                <a:gd name="connsiteX10" fmla="*/ 119669 w 276832"/>
                <a:gd name="connsiteY10" fmla="*/ 32160 h 524285"/>
                <a:gd name="connsiteX11" fmla="*/ 126019 w 276832"/>
                <a:gd name="connsiteY11" fmla="*/ 41685 h 524285"/>
                <a:gd name="connsiteX12" fmla="*/ 132369 w 276832"/>
                <a:gd name="connsiteY12" fmla="*/ 44860 h 524285"/>
                <a:gd name="connsiteX13" fmla="*/ 153007 w 276832"/>
                <a:gd name="connsiteY13" fmla="*/ 52797 h 524285"/>
                <a:gd name="connsiteX14" fmla="*/ 159357 w 276832"/>
                <a:gd name="connsiteY14" fmla="*/ 63910 h 524285"/>
                <a:gd name="connsiteX15" fmla="*/ 167294 w 276832"/>
                <a:gd name="connsiteY15" fmla="*/ 78197 h 524285"/>
                <a:gd name="connsiteX16" fmla="*/ 168882 w 276832"/>
                <a:gd name="connsiteY16" fmla="*/ 108360 h 524285"/>
                <a:gd name="connsiteX17" fmla="*/ 173644 w 276832"/>
                <a:gd name="connsiteY17" fmla="*/ 117885 h 524285"/>
                <a:gd name="connsiteX18" fmla="*/ 178407 w 276832"/>
                <a:gd name="connsiteY18" fmla="*/ 154397 h 524285"/>
                <a:gd name="connsiteX19" fmla="*/ 176819 w 276832"/>
                <a:gd name="connsiteY19" fmla="*/ 176622 h 524285"/>
                <a:gd name="connsiteX20" fmla="*/ 175232 w 276832"/>
                <a:gd name="connsiteY20" fmla="*/ 181385 h 524285"/>
                <a:gd name="connsiteX21" fmla="*/ 181582 w 276832"/>
                <a:gd name="connsiteY21" fmla="*/ 200435 h 524285"/>
                <a:gd name="connsiteX22" fmla="*/ 183169 w 276832"/>
                <a:gd name="connsiteY22" fmla="*/ 232185 h 524285"/>
                <a:gd name="connsiteX23" fmla="*/ 184757 w 276832"/>
                <a:gd name="connsiteY23" fmla="*/ 236947 h 524285"/>
                <a:gd name="connsiteX24" fmla="*/ 186344 w 276832"/>
                <a:gd name="connsiteY24" fmla="*/ 248060 h 524285"/>
                <a:gd name="connsiteX25" fmla="*/ 194282 w 276832"/>
                <a:gd name="connsiteY25" fmla="*/ 260760 h 524285"/>
                <a:gd name="connsiteX26" fmla="*/ 205394 w 276832"/>
                <a:gd name="connsiteY26" fmla="*/ 262347 h 524285"/>
                <a:gd name="connsiteX27" fmla="*/ 210157 w 276832"/>
                <a:gd name="connsiteY27" fmla="*/ 271872 h 524285"/>
                <a:gd name="connsiteX28" fmla="*/ 222857 w 276832"/>
                <a:gd name="connsiteY28" fmla="*/ 276635 h 524285"/>
                <a:gd name="connsiteX29" fmla="*/ 229207 w 276832"/>
                <a:gd name="connsiteY29" fmla="*/ 281397 h 524285"/>
                <a:gd name="connsiteX30" fmla="*/ 232382 w 276832"/>
                <a:gd name="connsiteY30" fmla="*/ 286160 h 524285"/>
                <a:gd name="connsiteX31" fmla="*/ 235557 w 276832"/>
                <a:gd name="connsiteY31" fmla="*/ 278223 h 524285"/>
                <a:gd name="connsiteX32" fmla="*/ 237937 w 276832"/>
                <a:gd name="connsiteY32" fmla="*/ 282191 h 524285"/>
                <a:gd name="connsiteX33" fmla="*/ 252226 w 276832"/>
                <a:gd name="connsiteY33" fmla="*/ 279017 h 524285"/>
                <a:gd name="connsiteX34" fmla="*/ 259369 w 276832"/>
                <a:gd name="connsiteY34" fmla="*/ 303622 h 524285"/>
                <a:gd name="connsiteX35" fmla="*/ 258575 w 276832"/>
                <a:gd name="connsiteY35" fmla="*/ 294097 h 524285"/>
                <a:gd name="connsiteX36" fmla="*/ 257782 w 276832"/>
                <a:gd name="connsiteY36" fmla="*/ 319497 h 524285"/>
                <a:gd name="connsiteX37" fmla="*/ 267307 w 276832"/>
                <a:gd name="connsiteY37" fmla="*/ 327435 h 524285"/>
                <a:gd name="connsiteX38" fmla="*/ 276832 w 276832"/>
                <a:gd name="connsiteY38" fmla="*/ 343310 h 524285"/>
                <a:gd name="connsiteX39" fmla="*/ 273657 w 276832"/>
                <a:gd name="connsiteY39" fmla="*/ 348072 h 524285"/>
                <a:gd name="connsiteX40" fmla="*/ 260957 w 276832"/>
                <a:gd name="connsiteY40" fmla="*/ 352835 h 524285"/>
                <a:gd name="connsiteX41" fmla="*/ 254607 w 276832"/>
                <a:gd name="connsiteY41" fmla="*/ 363947 h 524285"/>
                <a:gd name="connsiteX42" fmla="*/ 251432 w 276832"/>
                <a:gd name="connsiteY42" fmla="*/ 370297 h 524285"/>
                <a:gd name="connsiteX43" fmla="*/ 246669 w 276832"/>
                <a:gd name="connsiteY43" fmla="*/ 375060 h 524285"/>
                <a:gd name="connsiteX44" fmla="*/ 243494 w 276832"/>
                <a:gd name="connsiteY44" fmla="*/ 382997 h 524285"/>
                <a:gd name="connsiteX45" fmla="*/ 238732 w 276832"/>
                <a:gd name="connsiteY45" fmla="*/ 394110 h 524285"/>
                <a:gd name="connsiteX46" fmla="*/ 237144 w 276832"/>
                <a:gd name="connsiteY46" fmla="*/ 403635 h 524285"/>
                <a:gd name="connsiteX47" fmla="*/ 229207 w 276832"/>
                <a:gd name="connsiteY47" fmla="*/ 435385 h 524285"/>
                <a:gd name="connsiteX48" fmla="*/ 222857 w 276832"/>
                <a:gd name="connsiteY48" fmla="*/ 438560 h 524285"/>
                <a:gd name="connsiteX49" fmla="*/ 216507 w 276832"/>
                <a:gd name="connsiteY49" fmla="*/ 443322 h 524285"/>
                <a:gd name="connsiteX50" fmla="*/ 205394 w 276832"/>
                <a:gd name="connsiteY50" fmla="*/ 451260 h 524285"/>
                <a:gd name="connsiteX51" fmla="*/ 200632 w 276832"/>
                <a:gd name="connsiteY51" fmla="*/ 454435 h 524285"/>
                <a:gd name="connsiteX52" fmla="*/ 192694 w 276832"/>
                <a:gd name="connsiteY52" fmla="*/ 457610 h 524285"/>
                <a:gd name="connsiteX53" fmla="*/ 192694 w 276832"/>
                <a:gd name="connsiteY53" fmla="*/ 467135 h 524285"/>
                <a:gd name="connsiteX54" fmla="*/ 197457 w 276832"/>
                <a:gd name="connsiteY54" fmla="*/ 468722 h 524285"/>
                <a:gd name="connsiteX55" fmla="*/ 205394 w 276832"/>
                <a:gd name="connsiteY55" fmla="*/ 481422 h 524285"/>
                <a:gd name="connsiteX56" fmla="*/ 208569 w 276832"/>
                <a:gd name="connsiteY56" fmla="*/ 487772 h 524285"/>
                <a:gd name="connsiteX57" fmla="*/ 194282 w 276832"/>
                <a:gd name="connsiteY57" fmla="*/ 497297 h 524285"/>
                <a:gd name="connsiteX58" fmla="*/ 187932 w 276832"/>
                <a:gd name="connsiteY58" fmla="*/ 506822 h 524285"/>
                <a:gd name="connsiteX59" fmla="*/ 184757 w 276832"/>
                <a:gd name="connsiteY59" fmla="*/ 513172 h 524285"/>
                <a:gd name="connsiteX60" fmla="*/ 178407 w 276832"/>
                <a:gd name="connsiteY60" fmla="*/ 524285 h 524285"/>
                <a:gd name="connsiteX61" fmla="*/ 173644 w 276832"/>
                <a:gd name="connsiteY61" fmla="*/ 517935 h 524285"/>
                <a:gd name="connsiteX62" fmla="*/ 141894 w 276832"/>
                <a:gd name="connsiteY62" fmla="*/ 513172 h 524285"/>
                <a:gd name="connsiteX63" fmla="*/ 137132 w 276832"/>
                <a:gd name="connsiteY63" fmla="*/ 494122 h 524285"/>
                <a:gd name="connsiteX64" fmla="*/ 130782 w 276832"/>
                <a:gd name="connsiteY64" fmla="*/ 467135 h 524285"/>
                <a:gd name="connsiteX65" fmla="*/ 124432 w 276832"/>
                <a:gd name="connsiteY65" fmla="*/ 465547 h 524285"/>
                <a:gd name="connsiteX66" fmla="*/ 118082 w 276832"/>
                <a:gd name="connsiteY66" fmla="*/ 457610 h 524285"/>
                <a:gd name="connsiteX67" fmla="*/ 94269 w 276832"/>
                <a:gd name="connsiteY67" fmla="*/ 451260 h 524285"/>
                <a:gd name="connsiteX68" fmla="*/ 86332 w 276832"/>
                <a:gd name="connsiteY68" fmla="*/ 446497 h 524285"/>
                <a:gd name="connsiteX69" fmla="*/ 81569 w 276832"/>
                <a:gd name="connsiteY69" fmla="*/ 435385 h 524285"/>
                <a:gd name="connsiteX70" fmla="*/ 70457 w 276832"/>
                <a:gd name="connsiteY70" fmla="*/ 430622 h 524285"/>
                <a:gd name="connsiteX71" fmla="*/ 65694 w 276832"/>
                <a:gd name="connsiteY71" fmla="*/ 425860 h 524285"/>
                <a:gd name="connsiteX72" fmla="*/ 52994 w 276832"/>
                <a:gd name="connsiteY72" fmla="*/ 419510 h 524285"/>
                <a:gd name="connsiteX73" fmla="*/ 48232 w 276832"/>
                <a:gd name="connsiteY73" fmla="*/ 402047 h 524285"/>
                <a:gd name="connsiteX74" fmla="*/ 45057 w 276832"/>
                <a:gd name="connsiteY74" fmla="*/ 397285 h 524285"/>
                <a:gd name="connsiteX75" fmla="*/ 51407 w 276832"/>
                <a:gd name="connsiteY75" fmla="*/ 398872 h 524285"/>
                <a:gd name="connsiteX76" fmla="*/ 65694 w 276832"/>
                <a:gd name="connsiteY76" fmla="*/ 397285 h 524285"/>
                <a:gd name="connsiteX77" fmla="*/ 60932 w 276832"/>
                <a:gd name="connsiteY77" fmla="*/ 394110 h 524285"/>
                <a:gd name="connsiteX78" fmla="*/ 59344 w 276832"/>
                <a:gd name="connsiteY78" fmla="*/ 387760 h 524285"/>
                <a:gd name="connsiteX79" fmla="*/ 49819 w 276832"/>
                <a:gd name="connsiteY79" fmla="*/ 368710 h 524285"/>
                <a:gd name="connsiteX80" fmla="*/ 46644 w 276832"/>
                <a:gd name="connsiteY80" fmla="*/ 363947 h 524285"/>
                <a:gd name="connsiteX81" fmla="*/ 37119 w 276832"/>
                <a:gd name="connsiteY81" fmla="*/ 360772 h 524285"/>
                <a:gd name="connsiteX82" fmla="*/ 38707 w 276832"/>
                <a:gd name="connsiteY82" fmla="*/ 336960 h 524285"/>
                <a:gd name="connsiteX83" fmla="*/ 43469 w 276832"/>
                <a:gd name="connsiteY83" fmla="*/ 311560 h 524285"/>
                <a:gd name="connsiteX84" fmla="*/ 43469 w 276832"/>
                <a:gd name="connsiteY84" fmla="*/ 254410 h 524285"/>
                <a:gd name="connsiteX85" fmla="*/ 40294 w 276832"/>
                <a:gd name="connsiteY85" fmla="*/ 249647 h 524285"/>
                <a:gd name="connsiteX86" fmla="*/ 33944 w 276832"/>
                <a:gd name="connsiteY86" fmla="*/ 235360 h 524285"/>
                <a:gd name="connsiteX87" fmla="*/ 26007 w 276832"/>
                <a:gd name="connsiteY87" fmla="*/ 225835 h 524285"/>
                <a:gd name="connsiteX88" fmla="*/ 30769 w 276832"/>
                <a:gd name="connsiteY88" fmla="*/ 224247 h 524285"/>
                <a:gd name="connsiteX89" fmla="*/ 40294 w 276832"/>
                <a:gd name="connsiteY89" fmla="*/ 222660 h 524285"/>
                <a:gd name="connsiteX90" fmla="*/ 43469 w 276832"/>
                <a:gd name="connsiteY90" fmla="*/ 214722 h 524285"/>
                <a:gd name="connsiteX91" fmla="*/ 43469 w 276832"/>
                <a:gd name="connsiteY91" fmla="*/ 198847 h 524285"/>
                <a:gd name="connsiteX92" fmla="*/ 40294 w 276832"/>
                <a:gd name="connsiteY92" fmla="*/ 194085 h 524285"/>
                <a:gd name="connsiteX93" fmla="*/ 46644 w 276832"/>
                <a:gd name="connsiteY93" fmla="*/ 192497 h 524285"/>
                <a:gd name="connsiteX94" fmla="*/ 54582 w 276832"/>
                <a:gd name="connsiteY94" fmla="*/ 190910 h 524285"/>
                <a:gd name="connsiteX95" fmla="*/ 56169 w 276832"/>
                <a:gd name="connsiteY95" fmla="*/ 186147 h 524285"/>
                <a:gd name="connsiteX96" fmla="*/ 54582 w 276832"/>
                <a:gd name="connsiteY96" fmla="*/ 163922 h 524285"/>
                <a:gd name="connsiteX97" fmla="*/ 43469 w 276832"/>
                <a:gd name="connsiteY97" fmla="*/ 159160 h 524285"/>
                <a:gd name="connsiteX98" fmla="*/ 37119 w 276832"/>
                <a:gd name="connsiteY98" fmla="*/ 155985 h 524285"/>
                <a:gd name="connsiteX99" fmla="*/ 27594 w 276832"/>
                <a:gd name="connsiteY99" fmla="*/ 149635 h 524285"/>
                <a:gd name="connsiteX100" fmla="*/ 19657 w 276832"/>
                <a:gd name="connsiteY100" fmla="*/ 148047 h 524285"/>
                <a:gd name="connsiteX101" fmla="*/ 6957 w 276832"/>
                <a:gd name="connsiteY101" fmla="*/ 141697 h 524285"/>
                <a:gd name="connsiteX102" fmla="*/ 5369 w 276832"/>
                <a:gd name="connsiteY102" fmla="*/ 136935 h 524285"/>
                <a:gd name="connsiteX103" fmla="*/ 2194 w 276832"/>
                <a:gd name="connsiteY103" fmla="*/ 132172 h 524285"/>
                <a:gd name="connsiteX104" fmla="*/ 2194 w 276832"/>
                <a:gd name="connsiteY104" fmla="*/ 102010 h 524285"/>
                <a:gd name="connsiteX105" fmla="*/ 3782 w 276832"/>
                <a:gd name="connsiteY105" fmla="*/ 97247 h 524285"/>
                <a:gd name="connsiteX106" fmla="*/ 17276 w 276832"/>
                <a:gd name="connsiteY106" fmla="*/ 89310 h 524285"/>
                <a:gd name="connsiteX107" fmla="*/ 11719 w 276832"/>
                <a:gd name="connsiteY107" fmla="*/ 84547 h 524285"/>
                <a:gd name="connsiteX108" fmla="*/ 14894 w 276832"/>
                <a:gd name="connsiteY108" fmla="*/ 73435 h 524285"/>
                <a:gd name="connsiteX109" fmla="*/ 18069 w 276832"/>
                <a:gd name="connsiteY109" fmla="*/ 68672 h 524285"/>
                <a:gd name="connsiteX110" fmla="*/ 21244 w 276832"/>
                <a:gd name="connsiteY110" fmla="*/ 59147 h 524285"/>
                <a:gd name="connsiteX111" fmla="*/ 27594 w 276832"/>
                <a:gd name="connsiteY111" fmla="*/ 48035 h 524285"/>
                <a:gd name="connsiteX112" fmla="*/ 32357 w 276832"/>
                <a:gd name="connsiteY112" fmla="*/ 33747 h 524285"/>
                <a:gd name="connsiteX113" fmla="*/ 40294 w 276832"/>
                <a:gd name="connsiteY113" fmla="*/ 16285 h 524285"/>
                <a:gd name="connsiteX114" fmla="*/ 41882 w 276832"/>
                <a:gd name="connsiteY114" fmla="*/ 11522 h 524285"/>
                <a:gd name="connsiteX115" fmla="*/ 48232 w 276832"/>
                <a:gd name="connsiteY115" fmla="*/ 410 h 524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Lst>
              <a:rect l="l" t="t" r="r" b="b"/>
              <a:pathLst>
                <a:path w="276832" h="524285">
                  <a:moveTo>
                    <a:pt x="48232" y="410"/>
                  </a:moveTo>
                  <a:cubicBezTo>
                    <a:pt x="50613" y="-913"/>
                    <a:pt x="54639" y="1181"/>
                    <a:pt x="56169" y="3585"/>
                  </a:cubicBezTo>
                  <a:cubicBezTo>
                    <a:pt x="65110" y="17635"/>
                    <a:pt x="53465" y="15540"/>
                    <a:pt x="64107" y="22635"/>
                  </a:cubicBezTo>
                  <a:cubicBezTo>
                    <a:pt x="65499" y="23563"/>
                    <a:pt x="67282" y="23693"/>
                    <a:pt x="68869" y="24222"/>
                  </a:cubicBezTo>
                  <a:cubicBezTo>
                    <a:pt x="72044" y="23693"/>
                    <a:pt x="75453" y="23942"/>
                    <a:pt x="78394" y="22635"/>
                  </a:cubicBezTo>
                  <a:cubicBezTo>
                    <a:pt x="85195" y="19612"/>
                    <a:pt x="81326" y="17115"/>
                    <a:pt x="86332" y="13110"/>
                  </a:cubicBezTo>
                  <a:cubicBezTo>
                    <a:pt x="87370" y="12280"/>
                    <a:pt x="97026" y="10040"/>
                    <a:pt x="97444" y="9935"/>
                  </a:cubicBezTo>
                  <a:cubicBezTo>
                    <a:pt x="99561" y="10464"/>
                    <a:pt x="102251" y="9979"/>
                    <a:pt x="103794" y="11522"/>
                  </a:cubicBezTo>
                  <a:cubicBezTo>
                    <a:pt x="105337" y="13065"/>
                    <a:pt x="104692" y="15802"/>
                    <a:pt x="105382" y="17872"/>
                  </a:cubicBezTo>
                  <a:cubicBezTo>
                    <a:pt x="105750" y="18977"/>
                    <a:pt x="109329" y="29199"/>
                    <a:pt x="111732" y="30572"/>
                  </a:cubicBezTo>
                  <a:cubicBezTo>
                    <a:pt x="114075" y="31911"/>
                    <a:pt x="117023" y="31631"/>
                    <a:pt x="119669" y="32160"/>
                  </a:cubicBezTo>
                  <a:cubicBezTo>
                    <a:pt x="135660" y="42819"/>
                    <a:pt x="113207" y="26310"/>
                    <a:pt x="126019" y="41685"/>
                  </a:cubicBezTo>
                  <a:cubicBezTo>
                    <a:pt x="127534" y="43503"/>
                    <a:pt x="130160" y="44011"/>
                    <a:pt x="132369" y="44860"/>
                  </a:cubicBezTo>
                  <a:cubicBezTo>
                    <a:pt x="156250" y="54044"/>
                    <a:pt x="138703" y="45645"/>
                    <a:pt x="153007" y="52797"/>
                  </a:cubicBezTo>
                  <a:cubicBezTo>
                    <a:pt x="156847" y="64322"/>
                    <a:pt x="151350" y="49499"/>
                    <a:pt x="159357" y="63910"/>
                  </a:cubicBezTo>
                  <a:cubicBezTo>
                    <a:pt x="169756" y="82626"/>
                    <a:pt x="155028" y="61840"/>
                    <a:pt x="167294" y="78197"/>
                  </a:cubicBezTo>
                  <a:cubicBezTo>
                    <a:pt x="167823" y="88251"/>
                    <a:pt x="167291" y="98418"/>
                    <a:pt x="168882" y="108360"/>
                  </a:cubicBezTo>
                  <a:cubicBezTo>
                    <a:pt x="169443" y="111865"/>
                    <a:pt x="173009" y="114393"/>
                    <a:pt x="173644" y="117885"/>
                  </a:cubicBezTo>
                  <a:cubicBezTo>
                    <a:pt x="185066" y="180706"/>
                    <a:pt x="168545" y="119881"/>
                    <a:pt x="178407" y="154397"/>
                  </a:cubicBezTo>
                  <a:cubicBezTo>
                    <a:pt x="177878" y="161805"/>
                    <a:pt x="177687" y="169246"/>
                    <a:pt x="176819" y="176622"/>
                  </a:cubicBezTo>
                  <a:cubicBezTo>
                    <a:pt x="176623" y="178284"/>
                    <a:pt x="175093" y="179717"/>
                    <a:pt x="175232" y="181385"/>
                  </a:cubicBezTo>
                  <a:cubicBezTo>
                    <a:pt x="176258" y="193689"/>
                    <a:pt x="176704" y="193117"/>
                    <a:pt x="181582" y="200435"/>
                  </a:cubicBezTo>
                  <a:cubicBezTo>
                    <a:pt x="182111" y="211018"/>
                    <a:pt x="182251" y="221628"/>
                    <a:pt x="183169" y="232185"/>
                  </a:cubicBezTo>
                  <a:cubicBezTo>
                    <a:pt x="183314" y="233852"/>
                    <a:pt x="184429" y="235306"/>
                    <a:pt x="184757" y="236947"/>
                  </a:cubicBezTo>
                  <a:cubicBezTo>
                    <a:pt x="185491" y="240616"/>
                    <a:pt x="185360" y="244450"/>
                    <a:pt x="186344" y="248060"/>
                  </a:cubicBezTo>
                  <a:cubicBezTo>
                    <a:pt x="186953" y="250294"/>
                    <a:pt x="192291" y="259764"/>
                    <a:pt x="194282" y="260760"/>
                  </a:cubicBezTo>
                  <a:cubicBezTo>
                    <a:pt x="197629" y="262433"/>
                    <a:pt x="201690" y="261818"/>
                    <a:pt x="205394" y="262347"/>
                  </a:cubicBezTo>
                  <a:cubicBezTo>
                    <a:pt x="206348" y="265208"/>
                    <a:pt x="207464" y="269949"/>
                    <a:pt x="210157" y="271872"/>
                  </a:cubicBezTo>
                  <a:cubicBezTo>
                    <a:pt x="211817" y="273058"/>
                    <a:pt x="219990" y="275679"/>
                    <a:pt x="222857" y="276635"/>
                  </a:cubicBezTo>
                  <a:cubicBezTo>
                    <a:pt x="224974" y="278222"/>
                    <a:pt x="227336" y="279526"/>
                    <a:pt x="229207" y="281397"/>
                  </a:cubicBezTo>
                  <a:cubicBezTo>
                    <a:pt x="230556" y="282746"/>
                    <a:pt x="231324" y="286689"/>
                    <a:pt x="232382" y="286160"/>
                  </a:cubicBezTo>
                  <a:cubicBezTo>
                    <a:pt x="233440" y="285631"/>
                    <a:pt x="234631" y="278884"/>
                    <a:pt x="235557" y="278223"/>
                  </a:cubicBezTo>
                  <a:cubicBezTo>
                    <a:pt x="236483" y="277562"/>
                    <a:pt x="235159" y="282059"/>
                    <a:pt x="237937" y="282191"/>
                  </a:cubicBezTo>
                  <a:cubicBezTo>
                    <a:pt x="240715" y="282323"/>
                    <a:pt x="249051" y="278488"/>
                    <a:pt x="252226" y="279017"/>
                  </a:cubicBezTo>
                  <a:cubicBezTo>
                    <a:pt x="254716" y="280262"/>
                    <a:pt x="258311" y="301109"/>
                    <a:pt x="259369" y="303622"/>
                  </a:cubicBezTo>
                  <a:cubicBezTo>
                    <a:pt x="260427" y="306135"/>
                    <a:pt x="259633" y="292509"/>
                    <a:pt x="258575" y="294097"/>
                  </a:cubicBezTo>
                  <a:cubicBezTo>
                    <a:pt x="259104" y="297801"/>
                    <a:pt x="256327" y="313941"/>
                    <a:pt x="257782" y="319497"/>
                  </a:cubicBezTo>
                  <a:cubicBezTo>
                    <a:pt x="259237" y="325053"/>
                    <a:pt x="264925" y="325847"/>
                    <a:pt x="267307" y="327435"/>
                  </a:cubicBezTo>
                  <a:cubicBezTo>
                    <a:pt x="274970" y="338929"/>
                    <a:pt x="271950" y="333547"/>
                    <a:pt x="276832" y="343310"/>
                  </a:cubicBezTo>
                  <a:cubicBezTo>
                    <a:pt x="275774" y="344897"/>
                    <a:pt x="275123" y="346851"/>
                    <a:pt x="273657" y="348072"/>
                  </a:cubicBezTo>
                  <a:cubicBezTo>
                    <a:pt x="270100" y="351036"/>
                    <a:pt x="265229" y="351767"/>
                    <a:pt x="260957" y="352835"/>
                  </a:cubicBezTo>
                  <a:cubicBezTo>
                    <a:pt x="251362" y="372025"/>
                    <a:pt x="263583" y="348240"/>
                    <a:pt x="254607" y="363947"/>
                  </a:cubicBezTo>
                  <a:cubicBezTo>
                    <a:pt x="253433" y="366002"/>
                    <a:pt x="252808" y="368371"/>
                    <a:pt x="251432" y="370297"/>
                  </a:cubicBezTo>
                  <a:cubicBezTo>
                    <a:pt x="250127" y="372124"/>
                    <a:pt x="248257" y="373472"/>
                    <a:pt x="246669" y="375060"/>
                  </a:cubicBezTo>
                  <a:cubicBezTo>
                    <a:pt x="245611" y="377706"/>
                    <a:pt x="244651" y="380393"/>
                    <a:pt x="243494" y="382997"/>
                  </a:cubicBezTo>
                  <a:cubicBezTo>
                    <a:pt x="241334" y="387856"/>
                    <a:pt x="239820" y="389215"/>
                    <a:pt x="238732" y="394110"/>
                  </a:cubicBezTo>
                  <a:cubicBezTo>
                    <a:pt x="238034" y="397252"/>
                    <a:pt x="237622" y="400452"/>
                    <a:pt x="237144" y="403635"/>
                  </a:cubicBezTo>
                  <a:cubicBezTo>
                    <a:pt x="235898" y="411940"/>
                    <a:pt x="236162" y="427436"/>
                    <a:pt x="229207" y="435385"/>
                  </a:cubicBezTo>
                  <a:cubicBezTo>
                    <a:pt x="227649" y="437166"/>
                    <a:pt x="224864" y="437306"/>
                    <a:pt x="222857" y="438560"/>
                  </a:cubicBezTo>
                  <a:cubicBezTo>
                    <a:pt x="220613" y="439962"/>
                    <a:pt x="218624" y="441735"/>
                    <a:pt x="216507" y="443322"/>
                  </a:cubicBezTo>
                  <a:cubicBezTo>
                    <a:pt x="211101" y="451432"/>
                    <a:pt x="216075" y="445920"/>
                    <a:pt x="205394" y="451260"/>
                  </a:cubicBezTo>
                  <a:cubicBezTo>
                    <a:pt x="203688" y="452113"/>
                    <a:pt x="202338" y="453582"/>
                    <a:pt x="200632" y="454435"/>
                  </a:cubicBezTo>
                  <a:cubicBezTo>
                    <a:pt x="198083" y="455709"/>
                    <a:pt x="195340" y="456552"/>
                    <a:pt x="192694" y="457610"/>
                  </a:cubicBezTo>
                  <a:cubicBezTo>
                    <a:pt x="191636" y="460784"/>
                    <a:pt x="189520" y="463961"/>
                    <a:pt x="192694" y="467135"/>
                  </a:cubicBezTo>
                  <a:cubicBezTo>
                    <a:pt x="193877" y="468318"/>
                    <a:pt x="195869" y="468193"/>
                    <a:pt x="197457" y="468722"/>
                  </a:cubicBezTo>
                  <a:cubicBezTo>
                    <a:pt x="200764" y="473683"/>
                    <a:pt x="202204" y="475679"/>
                    <a:pt x="205394" y="481422"/>
                  </a:cubicBezTo>
                  <a:cubicBezTo>
                    <a:pt x="206543" y="483491"/>
                    <a:pt x="207511" y="485655"/>
                    <a:pt x="208569" y="487772"/>
                  </a:cubicBezTo>
                  <a:cubicBezTo>
                    <a:pt x="196534" y="491784"/>
                    <a:pt x="201052" y="488270"/>
                    <a:pt x="194282" y="497297"/>
                  </a:cubicBezTo>
                  <a:cubicBezTo>
                    <a:pt x="190875" y="507515"/>
                    <a:pt x="195364" y="496416"/>
                    <a:pt x="187932" y="506822"/>
                  </a:cubicBezTo>
                  <a:cubicBezTo>
                    <a:pt x="186557" y="508748"/>
                    <a:pt x="185931" y="511117"/>
                    <a:pt x="184757" y="513172"/>
                  </a:cubicBezTo>
                  <a:cubicBezTo>
                    <a:pt x="175782" y="528879"/>
                    <a:pt x="188001" y="505097"/>
                    <a:pt x="178407" y="524285"/>
                  </a:cubicBezTo>
                  <a:cubicBezTo>
                    <a:pt x="176819" y="522168"/>
                    <a:pt x="175846" y="519403"/>
                    <a:pt x="173644" y="517935"/>
                  </a:cubicBezTo>
                  <a:cubicBezTo>
                    <a:pt x="166353" y="513074"/>
                    <a:pt x="146863" y="513527"/>
                    <a:pt x="141894" y="513172"/>
                  </a:cubicBezTo>
                  <a:cubicBezTo>
                    <a:pt x="137701" y="500593"/>
                    <a:pt x="139269" y="506948"/>
                    <a:pt x="137132" y="494122"/>
                  </a:cubicBezTo>
                  <a:cubicBezTo>
                    <a:pt x="136511" y="486054"/>
                    <a:pt x="139235" y="473173"/>
                    <a:pt x="130782" y="467135"/>
                  </a:cubicBezTo>
                  <a:cubicBezTo>
                    <a:pt x="129007" y="465867"/>
                    <a:pt x="126549" y="466076"/>
                    <a:pt x="124432" y="465547"/>
                  </a:cubicBezTo>
                  <a:cubicBezTo>
                    <a:pt x="122315" y="462901"/>
                    <a:pt x="120478" y="460006"/>
                    <a:pt x="118082" y="457610"/>
                  </a:cubicBezTo>
                  <a:cubicBezTo>
                    <a:pt x="112042" y="451571"/>
                    <a:pt x="101713" y="452087"/>
                    <a:pt x="94269" y="451260"/>
                  </a:cubicBezTo>
                  <a:cubicBezTo>
                    <a:pt x="91623" y="449672"/>
                    <a:pt x="88675" y="448505"/>
                    <a:pt x="86332" y="446497"/>
                  </a:cubicBezTo>
                  <a:cubicBezTo>
                    <a:pt x="79360" y="440521"/>
                    <a:pt x="86578" y="442898"/>
                    <a:pt x="81569" y="435385"/>
                  </a:cubicBezTo>
                  <a:cubicBezTo>
                    <a:pt x="79376" y="432096"/>
                    <a:pt x="73643" y="431419"/>
                    <a:pt x="70457" y="430622"/>
                  </a:cubicBezTo>
                  <a:cubicBezTo>
                    <a:pt x="68869" y="429035"/>
                    <a:pt x="67490" y="427207"/>
                    <a:pt x="65694" y="425860"/>
                  </a:cubicBezTo>
                  <a:cubicBezTo>
                    <a:pt x="59693" y="421359"/>
                    <a:pt x="58856" y="421463"/>
                    <a:pt x="52994" y="419510"/>
                  </a:cubicBezTo>
                  <a:cubicBezTo>
                    <a:pt x="45821" y="408749"/>
                    <a:pt x="53704" y="422114"/>
                    <a:pt x="48232" y="402047"/>
                  </a:cubicBezTo>
                  <a:cubicBezTo>
                    <a:pt x="47730" y="400206"/>
                    <a:pt x="43708" y="398634"/>
                    <a:pt x="45057" y="397285"/>
                  </a:cubicBezTo>
                  <a:cubicBezTo>
                    <a:pt x="46600" y="395742"/>
                    <a:pt x="49290" y="398343"/>
                    <a:pt x="51407" y="398872"/>
                  </a:cubicBezTo>
                  <a:cubicBezTo>
                    <a:pt x="56169" y="398343"/>
                    <a:pt x="61408" y="399428"/>
                    <a:pt x="65694" y="397285"/>
                  </a:cubicBezTo>
                  <a:cubicBezTo>
                    <a:pt x="67400" y="396432"/>
                    <a:pt x="61990" y="395697"/>
                    <a:pt x="60932" y="394110"/>
                  </a:cubicBezTo>
                  <a:cubicBezTo>
                    <a:pt x="59722" y="392295"/>
                    <a:pt x="60219" y="389759"/>
                    <a:pt x="59344" y="387760"/>
                  </a:cubicBezTo>
                  <a:cubicBezTo>
                    <a:pt x="56498" y="381256"/>
                    <a:pt x="53757" y="374617"/>
                    <a:pt x="49819" y="368710"/>
                  </a:cubicBezTo>
                  <a:cubicBezTo>
                    <a:pt x="48761" y="367122"/>
                    <a:pt x="48262" y="364958"/>
                    <a:pt x="46644" y="363947"/>
                  </a:cubicBezTo>
                  <a:cubicBezTo>
                    <a:pt x="43806" y="362173"/>
                    <a:pt x="37119" y="360772"/>
                    <a:pt x="37119" y="360772"/>
                  </a:cubicBezTo>
                  <a:cubicBezTo>
                    <a:pt x="37648" y="352835"/>
                    <a:pt x="38119" y="344893"/>
                    <a:pt x="38707" y="336960"/>
                  </a:cubicBezTo>
                  <a:cubicBezTo>
                    <a:pt x="40258" y="316016"/>
                    <a:pt x="37531" y="323437"/>
                    <a:pt x="43469" y="311560"/>
                  </a:cubicBezTo>
                  <a:cubicBezTo>
                    <a:pt x="46795" y="288284"/>
                    <a:pt x="46967" y="291721"/>
                    <a:pt x="43469" y="254410"/>
                  </a:cubicBezTo>
                  <a:cubicBezTo>
                    <a:pt x="43291" y="252510"/>
                    <a:pt x="41147" y="251354"/>
                    <a:pt x="40294" y="249647"/>
                  </a:cubicBezTo>
                  <a:cubicBezTo>
                    <a:pt x="33490" y="236038"/>
                    <a:pt x="40678" y="247144"/>
                    <a:pt x="33944" y="235360"/>
                  </a:cubicBezTo>
                  <a:cubicBezTo>
                    <a:pt x="30997" y="230202"/>
                    <a:pt x="30386" y="230214"/>
                    <a:pt x="26007" y="225835"/>
                  </a:cubicBezTo>
                  <a:cubicBezTo>
                    <a:pt x="27594" y="225306"/>
                    <a:pt x="29136" y="224610"/>
                    <a:pt x="30769" y="224247"/>
                  </a:cubicBezTo>
                  <a:cubicBezTo>
                    <a:pt x="33911" y="223549"/>
                    <a:pt x="37719" y="224591"/>
                    <a:pt x="40294" y="222660"/>
                  </a:cubicBezTo>
                  <a:cubicBezTo>
                    <a:pt x="42574" y="220950"/>
                    <a:pt x="42411" y="217368"/>
                    <a:pt x="43469" y="214722"/>
                  </a:cubicBezTo>
                  <a:cubicBezTo>
                    <a:pt x="44717" y="207236"/>
                    <a:pt x="46312" y="205479"/>
                    <a:pt x="43469" y="198847"/>
                  </a:cubicBezTo>
                  <a:cubicBezTo>
                    <a:pt x="42717" y="197093"/>
                    <a:pt x="41352" y="195672"/>
                    <a:pt x="40294" y="194085"/>
                  </a:cubicBezTo>
                  <a:cubicBezTo>
                    <a:pt x="42411" y="193556"/>
                    <a:pt x="44514" y="192970"/>
                    <a:pt x="46644" y="192497"/>
                  </a:cubicBezTo>
                  <a:cubicBezTo>
                    <a:pt x="49278" y="191912"/>
                    <a:pt x="52337" y="192407"/>
                    <a:pt x="54582" y="190910"/>
                  </a:cubicBezTo>
                  <a:cubicBezTo>
                    <a:pt x="55974" y="189982"/>
                    <a:pt x="55640" y="187735"/>
                    <a:pt x="56169" y="186147"/>
                  </a:cubicBezTo>
                  <a:cubicBezTo>
                    <a:pt x="55640" y="178739"/>
                    <a:pt x="56797" y="171011"/>
                    <a:pt x="54582" y="163922"/>
                  </a:cubicBezTo>
                  <a:cubicBezTo>
                    <a:pt x="54039" y="162184"/>
                    <a:pt x="45312" y="159950"/>
                    <a:pt x="43469" y="159160"/>
                  </a:cubicBezTo>
                  <a:cubicBezTo>
                    <a:pt x="41294" y="158228"/>
                    <a:pt x="39148" y="157203"/>
                    <a:pt x="37119" y="155985"/>
                  </a:cubicBezTo>
                  <a:cubicBezTo>
                    <a:pt x="33847" y="154022"/>
                    <a:pt x="31336" y="150384"/>
                    <a:pt x="27594" y="149635"/>
                  </a:cubicBezTo>
                  <a:lnTo>
                    <a:pt x="19657" y="148047"/>
                  </a:lnTo>
                  <a:cubicBezTo>
                    <a:pt x="15424" y="145930"/>
                    <a:pt x="10693" y="144603"/>
                    <a:pt x="6957" y="141697"/>
                  </a:cubicBezTo>
                  <a:cubicBezTo>
                    <a:pt x="5636" y="140670"/>
                    <a:pt x="6117" y="138432"/>
                    <a:pt x="5369" y="136935"/>
                  </a:cubicBezTo>
                  <a:cubicBezTo>
                    <a:pt x="4516" y="135228"/>
                    <a:pt x="3252" y="133760"/>
                    <a:pt x="2194" y="132172"/>
                  </a:cubicBezTo>
                  <a:cubicBezTo>
                    <a:pt x="-1102" y="118982"/>
                    <a:pt x="-338" y="124798"/>
                    <a:pt x="2194" y="102010"/>
                  </a:cubicBezTo>
                  <a:cubicBezTo>
                    <a:pt x="2379" y="100347"/>
                    <a:pt x="1268" y="99364"/>
                    <a:pt x="3782" y="97247"/>
                  </a:cubicBezTo>
                  <a:cubicBezTo>
                    <a:pt x="6296" y="95130"/>
                    <a:pt x="15159" y="91956"/>
                    <a:pt x="17276" y="89310"/>
                  </a:cubicBezTo>
                  <a:cubicBezTo>
                    <a:pt x="17805" y="87722"/>
                    <a:pt x="12116" y="87193"/>
                    <a:pt x="11719" y="84547"/>
                  </a:cubicBezTo>
                  <a:cubicBezTo>
                    <a:pt x="11322" y="81901"/>
                    <a:pt x="13627" y="75968"/>
                    <a:pt x="14894" y="73435"/>
                  </a:cubicBezTo>
                  <a:cubicBezTo>
                    <a:pt x="15747" y="71728"/>
                    <a:pt x="17294" y="70416"/>
                    <a:pt x="18069" y="68672"/>
                  </a:cubicBezTo>
                  <a:cubicBezTo>
                    <a:pt x="19428" y="65614"/>
                    <a:pt x="19387" y="61932"/>
                    <a:pt x="21244" y="59147"/>
                  </a:cubicBezTo>
                  <a:cubicBezTo>
                    <a:pt x="23961" y="55072"/>
                    <a:pt x="25763" y="52797"/>
                    <a:pt x="27594" y="48035"/>
                  </a:cubicBezTo>
                  <a:cubicBezTo>
                    <a:pt x="29396" y="43349"/>
                    <a:pt x="30492" y="38408"/>
                    <a:pt x="32357" y="33747"/>
                  </a:cubicBezTo>
                  <a:cubicBezTo>
                    <a:pt x="41698" y="10396"/>
                    <a:pt x="28219" y="43455"/>
                    <a:pt x="40294" y="16285"/>
                  </a:cubicBezTo>
                  <a:cubicBezTo>
                    <a:pt x="40974" y="14756"/>
                    <a:pt x="41133" y="13019"/>
                    <a:pt x="41882" y="11522"/>
                  </a:cubicBezTo>
                  <a:cubicBezTo>
                    <a:pt x="43884" y="7518"/>
                    <a:pt x="45851" y="1733"/>
                    <a:pt x="48232" y="410"/>
                  </a:cubicBezTo>
                  <a:close/>
                </a:path>
              </a:pathLst>
            </a:custGeom>
            <a:solidFill>
              <a:schemeClr val="bg1">
                <a:lumMod val="85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14" name="Forma libre: forma 41">
              <a:extLst>
                <a:ext uri="{FF2B5EF4-FFF2-40B4-BE49-F238E27FC236}">
                  <a16:creationId xmlns:a16="http://schemas.microsoft.com/office/drawing/2014/main" id="{22F8EEE9-4DC2-43ED-A189-E7198E9B330F}"/>
                </a:ext>
              </a:extLst>
            </p:cNvPr>
            <p:cNvSpPr/>
            <p:nvPr/>
          </p:nvSpPr>
          <p:spPr>
            <a:xfrm>
              <a:off x="6510360" y="4097140"/>
              <a:ext cx="72030" cy="146051"/>
            </a:xfrm>
            <a:custGeom>
              <a:avLst/>
              <a:gdLst>
                <a:gd name="connsiteX0" fmla="*/ 41847 w 62184"/>
                <a:gd name="connsiteY0" fmla="*/ 6351 h 136526"/>
                <a:gd name="connsiteX1" fmla="*/ 32322 w 62184"/>
                <a:gd name="connsiteY1" fmla="*/ 9526 h 136526"/>
                <a:gd name="connsiteX2" fmla="*/ 21209 w 62184"/>
                <a:gd name="connsiteY2" fmla="*/ 19051 h 136526"/>
                <a:gd name="connsiteX3" fmla="*/ 19622 w 62184"/>
                <a:gd name="connsiteY3" fmla="*/ 26988 h 136526"/>
                <a:gd name="connsiteX4" fmla="*/ 16447 w 62184"/>
                <a:gd name="connsiteY4" fmla="*/ 31751 h 136526"/>
                <a:gd name="connsiteX5" fmla="*/ 5334 w 62184"/>
                <a:gd name="connsiteY5" fmla="*/ 63501 h 136526"/>
                <a:gd name="connsiteX6" fmla="*/ 2159 w 62184"/>
                <a:gd name="connsiteY6" fmla="*/ 68263 h 136526"/>
                <a:gd name="connsiteX7" fmla="*/ 2159 w 62184"/>
                <a:gd name="connsiteY7" fmla="*/ 111126 h 136526"/>
                <a:gd name="connsiteX8" fmla="*/ 11684 w 62184"/>
                <a:gd name="connsiteY8" fmla="*/ 117476 h 136526"/>
                <a:gd name="connsiteX9" fmla="*/ 14859 w 62184"/>
                <a:gd name="connsiteY9" fmla="*/ 122238 h 136526"/>
                <a:gd name="connsiteX10" fmla="*/ 19622 w 62184"/>
                <a:gd name="connsiteY10" fmla="*/ 123826 h 136526"/>
                <a:gd name="connsiteX11" fmla="*/ 35497 w 62184"/>
                <a:gd name="connsiteY11" fmla="*/ 127001 h 136526"/>
                <a:gd name="connsiteX12" fmla="*/ 46609 w 62184"/>
                <a:gd name="connsiteY12" fmla="*/ 133351 h 136526"/>
                <a:gd name="connsiteX13" fmla="*/ 56134 w 62184"/>
                <a:gd name="connsiteY13" fmla="*/ 136526 h 136526"/>
                <a:gd name="connsiteX14" fmla="*/ 60897 w 62184"/>
                <a:gd name="connsiteY14" fmla="*/ 133351 h 136526"/>
                <a:gd name="connsiteX15" fmla="*/ 57722 w 62184"/>
                <a:gd name="connsiteY15" fmla="*/ 77788 h 136526"/>
                <a:gd name="connsiteX16" fmla="*/ 54547 w 62184"/>
                <a:gd name="connsiteY16" fmla="*/ 19051 h 136526"/>
                <a:gd name="connsiteX17" fmla="*/ 45022 w 62184"/>
                <a:gd name="connsiteY17" fmla="*/ 1588 h 136526"/>
                <a:gd name="connsiteX18" fmla="*/ 41847 w 62184"/>
                <a:gd name="connsiteY18" fmla="*/ 6351 h 136526"/>
                <a:gd name="connsiteX0" fmla="*/ 41847 w 72031"/>
                <a:gd name="connsiteY0" fmla="*/ 6351 h 136834"/>
                <a:gd name="connsiteX1" fmla="*/ 32322 w 72031"/>
                <a:gd name="connsiteY1" fmla="*/ 9526 h 136834"/>
                <a:gd name="connsiteX2" fmla="*/ 21209 w 72031"/>
                <a:gd name="connsiteY2" fmla="*/ 19051 h 136834"/>
                <a:gd name="connsiteX3" fmla="*/ 19622 w 72031"/>
                <a:gd name="connsiteY3" fmla="*/ 26988 h 136834"/>
                <a:gd name="connsiteX4" fmla="*/ 16447 w 72031"/>
                <a:gd name="connsiteY4" fmla="*/ 31751 h 136834"/>
                <a:gd name="connsiteX5" fmla="*/ 5334 w 72031"/>
                <a:gd name="connsiteY5" fmla="*/ 63501 h 136834"/>
                <a:gd name="connsiteX6" fmla="*/ 2159 w 72031"/>
                <a:gd name="connsiteY6" fmla="*/ 68263 h 136834"/>
                <a:gd name="connsiteX7" fmla="*/ 2159 w 72031"/>
                <a:gd name="connsiteY7" fmla="*/ 111126 h 136834"/>
                <a:gd name="connsiteX8" fmla="*/ 11684 w 72031"/>
                <a:gd name="connsiteY8" fmla="*/ 117476 h 136834"/>
                <a:gd name="connsiteX9" fmla="*/ 14859 w 72031"/>
                <a:gd name="connsiteY9" fmla="*/ 122238 h 136834"/>
                <a:gd name="connsiteX10" fmla="*/ 19622 w 72031"/>
                <a:gd name="connsiteY10" fmla="*/ 123826 h 136834"/>
                <a:gd name="connsiteX11" fmla="*/ 35497 w 72031"/>
                <a:gd name="connsiteY11" fmla="*/ 127001 h 136834"/>
                <a:gd name="connsiteX12" fmla="*/ 46609 w 72031"/>
                <a:gd name="connsiteY12" fmla="*/ 133351 h 136834"/>
                <a:gd name="connsiteX13" fmla="*/ 56134 w 72031"/>
                <a:gd name="connsiteY13" fmla="*/ 136526 h 136834"/>
                <a:gd name="connsiteX14" fmla="*/ 60897 w 72031"/>
                <a:gd name="connsiteY14" fmla="*/ 133351 h 136834"/>
                <a:gd name="connsiteX15" fmla="*/ 72009 w 72031"/>
                <a:gd name="connsiteY15" fmla="*/ 100013 h 136834"/>
                <a:gd name="connsiteX16" fmla="*/ 57722 w 72031"/>
                <a:gd name="connsiteY16" fmla="*/ 77788 h 136834"/>
                <a:gd name="connsiteX17" fmla="*/ 54547 w 72031"/>
                <a:gd name="connsiteY17" fmla="*/ 19051 h 136834"/>
                <a:gd name="connsiteX18" fmla="*/ 45022 w 72031"/>
                <a:gd name="connsiteY18" fmla="*/ 1588 h 136834"/>
                <a:gd name="connsiteX19" fmla="*/ 41847 w 72031"/>
                <a:gd name="connsiteY19" fmla="*/ 6351 h 136834"/>
                <a:gd name="connsiteX0" fmla="*/ 41847 w 72031"/>
                <a:gd name="connsiteY0" fmla="*/ 6351 h 136834"/>
                <a:gd name="connsiteX1" fmla="*/ 32322 w 72031"/>
                <a:gd name="connsiteY1" fmla="*/ 9526 h 136834"/>
                <a:gd name="connsiteX2" fmla="*/ 21209 w 72031"/>
                <a:gd name="connsiteY2" fmla="*/ 19051 h 136834"/>
                <a:gd name="connsiteX3" fmla="*/ 19622 w 72031"/>
                <a:gd name="connsiteY3" fmla="*/ 26988 h 136834"/>
                <a:gd name="connsiteX4" fmla="*/ 16447 w 72031"/>
                <a:gd name="connsiteY4" fmla="*/ 31751 h 136834"/>
                <a:gd name="connsiteX5" fmla="*/ 5334 w 72031"/>
                <a:gd name="connsiteY5" fmla="*/ 63501 h 136834"/>
                <a:gd name="connsiteX6" fmla="*/ 2159 w 72031"/>
                <a:gd name="connsiteY6" fmla="*/ 68263 h 136834"/>
                <a:gd name="connsiteX7" fmla="*/ 2159 w 72031"/>
                <a:gd name="connsiteY7" fmla="*/ 111126 h 136834"/>
                <a:gd name="connsiteX8" fmla="*/ 11684 w 72031"/>
                <a:gd name="connsiteY8" fmla="*/ 117476 h 136834"/>
                <a:gd name="connsiteX9" fmla="*/ 14859 w 72031"/>
                <a:gd name="connsiteY9" fmla="*/ 122238 h 136834"/>
                <a:gd name="connsiteX10" fmla="*/ 12478 w 72031"/>
                <a:gd name="connsiteY10" fmla="*/ 123826 h 136834"/>
                <a:gd name="connsiteX11" fmla="*/ 35497 w 72031"/>
                <a:gd name="connsiteY11" fmla="*/ 127001 h 136834"/>
                <a:gd name="connsiteX12" fmla="*/ 46609 w 72031"/>
                <a:gd name="connsiteY12" fmla="*/ 133351 h 136834"/>
                <a:gd name="connsiteX13" fmla="*/ 56134 w 72031"/>
                <a:gd name="connsiteY13" fmla="*/ 136526 h 136834"/>
                <a:gd name="connsiteX14" fmla="*/ 60897 w 72031"/>
                <a:gd name="connsiteY14" fmla="*/ 133351 h 136834"/>
                <a:gd name="connsiteX15" fmla="*/ 72009 w 72031"/>
                <a:gd name="connsiteY15" fmla="*/ 100013 h 136834"/>
                <a:gd name="connsiteX16" fmla="*/ 57722 w 72031"/>
                <a:gd name="connsiteY16" fmla="*/ 77788 h 136834"/>
                <a:gd name="connsiteX17" fmla="*/ 54547 w 72031"/>
                <a:gd name="connsiteY17" fmla="*/ 19051 h 136834"/>
                <a:gd name="connsiteX18" fmla="*/ 45022 w 72031"/>
                <a:gd name="connsiteY18" fmla="*/ 1588 h 136834"/>
                <a:gd name="connsiteX19" fmla="*/ 41847 w 72031"/>
                <a:gd name="connsiteY19" fmla="*/ 6351 h 136834"/>
                <a:gd name="connsiteX0" fmla="*/ 41847 w 72031"/>
                <a:gd name="connsiteY0" fmla="*/ 6351 h 138954"/>
                <a:gd name="connsiteX1" fmla="*/ 32322 w 72031"/>
                <a:gd name="connsiteY1" fmla="*/ 9526 h 138954"/>
                <a:gd name="connsiteX2" fmla="*/ 21209 w 72031"/>
                <a:gd name="connsiteY2" fmla="*/ 19051 h 138954"/>
                <a:gd name="connsiteX3" fmla="*/ 19622 w 72031"/>
                <a:gd name="connsiteY3" fmla="*/ 26988 h 138954"/>
                <a:gd name="connsiteX4" fmla="*/ 16447 w 72031"/>
                <a:gd name="connsiteY4" fmla="*/ 31751 h 138954"/>
                <a:gd name="connsiteX5" fmla="*/ 5334 w 72031"/>
                <a:gd name="connsiteY5" fmla="*/ 63501 h 138954"/>
                <a:gd name="connsiteX6" fmla="*/ 2159 w 72031"/>
                <a:gd name="connsiteY6" fmla="*/ 68263 h 138954"/>
                <a:gd name="connsiteX7" fmla="*/ 2159 w 72031"/>
                <a:gd name="connsiteY7" fmla="*/ 111126 h 138954"/>
                <a:gd name="connsiteX8" fmla="*/ 11684 w 72031"/>
                <a:gd name="connsiteY8" fmla="*/ 117476 h 138954"/>
                <a:gd name="connsiteX9" fmla="*/ 14859 w 72031"/>
                <a:gd name="connsiteY9" fmla="*/ 122238 h 138954"/>
                <a:gd name="connsiteX10" fmla="*/ 12478 w 72031"/>
                <a:gd name="connsiteY10" fmla="*/ 123826 h 138954"/>
                <a:gd name="connsiteX11" fmla="*/ 21209 w 72031"/>
                <a:gd name="connsiteY11" fmla="*/ 136526 h 138954"/>
                <a:gd name="connsiteX12" fmla="*/ 46609 w 72031"/>
                <a:gd name="connsiteY12" fmla="*/ 133351 h 138954"/>
                <a:gd name="connsiteX13" fmla="*/ 56134 w 72031"/>
                <a:gd name="connsiteY13" fmla="*/ 136526 h 138954"/>
                <a:gd name="connsiteX14" fmla="*/ 60897 w 72031"/>
                <a:gd name="connsiteY14" fmla="*/ 133351 h 138954"/>
                <a:gd name="connsiteX15" fmla="*/ 72009 w 72031"/>
                <a:gd name="connsiteY15" fmla="*/ 100013 h 138954"/>
                <a:gd name="connsiteX16" fmla="*/ 57722 w 72031"/>
                <a:gd name="connsiteY16" fmla="*/ 77788 h 138954"/>
                <a:gd name="connsiteX17" fmla="*/ 54547 w 72031"/>
                <a:gd name="connsiteY17" fmla="*/ 19051 h 138954"/>
                <a:gd name="connsiteX18" fmla="*/ 45022 w 72031"/>
                <a:gd name="connsiteY18" fmla="*/ 1588 h 138954"/>
                <a:gd name="connsiteX19" fmla="*/ 41847 w 72031"/>
                <a:gd name="connsiteY19" fmla="*/ 6351 h 138954"/>
                <a:gd name="connsiteX0" fmla="*/ 41847 w 72031"/>
                <a:gd name="connsiteY0" fmla="*/ 6351 h 136834"/>
                <a:gd name="connsiteX1" fmla="*/ 32322 w 72031"/>
                <a:gd name="connsiteY1" fmla="*/ 9526 h 136834"/>
                <a:gd name="connsiteX2" fmla="*/ 21209 w 72031"/>
                <a:gd name="connsiteY2" fmla="*/ 19051 h 136834"/>
                <a:gd name="connsiteX3" fmla="*/ 19622 w 72031"/>
                <a:gd name="connsiteY3" fmla="*/ 26988 h 136834"/>
                <a:gd name="connsiteX4" fmla="*/ 16447 w 72031"/>
                <a:gd name="connsiteY4" fmla="*/ 31751 h 136834"/>
                <a:gd name="connsiteX5" fmla="*/ 5334 w 72031"/>
                <a:gd name="connsiteY5" fmla="*/ 63501 h 136834"/>
                <a:gd name="connsiteX6" fmla="*/ 2159 w 72031"/>
                <a:gd name="connsiteY6" fmla="*/ 68263 h 136834"/>
                <a:gd name="connsiteX7" fmla="*/ 2159 w 72031"/>
                <a:gd name="connsiteY7" fmla="*/ 111126 h 136834"/>
                <a:gd name="connsiteX8" fmla="*/ 11684 w 72031"/>
                <a:gd name="connsiteY8" fmla="*/ 117476 h 136834"/>
                <a:gd name="connsiteX9" fmla="*/ 14859 w 72031"/>
                <a:gd name="connsiteY9" fmla="*/ 122238 h 136834"/>
                <a:gd name="connsiteX10" fmla="*/ 12478 w 72031"/>
                <a:gd name="connsiteY10" fmla="*/ 123826 h 136834"/>
                <a:gd name="connsiteX11" fmla="*/ 21209 w 72031"/>
                <a:gd name="connsiteY11" fmla="*/ 129382 h 136834"/>
                <a:gd name="connsiteX12" fmla="*/ 46609 w 72031"/>
                <a:gd name="connsiteY12" fmla="*/ 133351 h 136834"/>
                <a:gd name="connsiteX13" fmla="*/ 56134 w 72031"/>
                <a:gd name="connsiteY13" fmla="*/ 136526 h 136834"/>
                <a:gd name="connsiteX14" fmla="*/ 60897 w 72031"/>
                <a:gd name="connsiteY14" fmla="*/ 133351 h 136834"/>
                <a:gd name="connsiteX15" fmla="*/ 72009 w 72031"/>
                <a:gd name="connsiteY15" fmla="*/ 100013 h 136834"/>
                <a:gd name="connsiteX16" fmla="*/ 57722 w 72031"/>
                <a:gd name="connsiteY16" fmla="*/ 77788 h 136834"/>
                <a:gd name="connsiteX17" fmla="*/ 54547 w 72031"/>
                <a:gd name="connsiteY17" fmla="*/ 19051 h 136834"/>
                <a:gd name="connsiteX18" fmla="*/ 45022 w 72031"/>
                <a:gd name="connsiteY18" fmla="*/ 1588 h 136834"/>
                <a:gd name="connsiteX19" fmla="*/ 41847 w 72031"/>
                <a:gd name="connsiteY19" fmla="*/ 6351 h 136834"/>
                <a:gd name="connsiteX0" fmla="*/ 41847 w 72030"/>
                <a:gd name="connsiteY0" fmla="*/ 6351 h 146051"/>
                <a:gd name="connsiteX1" fmla="*/ 32322 w 72030"/>
                <a:gd name="connsiteY1" fmla="*/ 9526 h 146051"/>
                <a:gd name="connsiteX2" fmla="*/ 21209 w 72030"/>
                <a:gd name="connsiteY2" fmla="*/ 19051 h 146051"/>
                <a:gd name="connsiteX3" fmla="*/ 19622 w 72030"/>
                <a:gd name="connsiteY3" fmla="*/ 26988 h 146051"/>
                <a:gd name="connsiteX4" fmla="*/ 16447 w 72030"/>
                <a:gd name="connsiteY4" fmla="*/ 31751 h 146051"/>
                <a:gd name="connsiteX5" fmla="*/ 5334 w 72030"/>
                <a:gd name="connsiteY5" fmla="*/ 63501 h 146051"/>
                <a:gd name="connsiteX6" fmla="*/ 2159 w 72030"/>
                <a:gd name="connsiteY6" fmla="*/ 68263 h 146051"/>
                <a:gd name="connsiteX7" fmla="*/ 2159 w 72030"/>
                <a:gd name="connsiteY7" fmla="*/ 111126 h 146051"/>
                <a:gd name="connsiteX8" fmla="*/ 11684 w 72030"/>
                <a:gd name="connsiteY8" fmla="*/ 117476 h 146051"/>
                <a:gd name="connsiteX9" fmla="*/ 14859 w 72030"/>
                <a:gd name="connsiteY9" fmla="*/ 122238 h 146051"/>
                <a:gd name="connsiteX10" fmla="*/ 12478 w 72030"/>
                <a:gd name="connsiteY10" fmla="*/ 123826 h 146051"/>
                <a:gd name="connsiteX11" fmla="*/ 21209 w 72030"/>
                <a:gd name="connsiteY11" fmla="*/ 129382 h 146051"/>
                <a:gd name="connsiteX12" fmla="*/ 46609 w 72030"/>
                <a:gd name="connsiteY12" fmla="*/ 133351 h 146051"/>
                <a:gd name="connsiteX13" fmla="*/ 58515 w 72030"/>
                <a:gd name="connsiteY13" fmla="*/ 146051 h 146051"/>
                <a:gd name="connsiteX14" fmla="*/ 60897 w 72030"/>
                <a:gd name="connsiteY14" fmla="*/ 133351 h 146051"/>
                <a:gd name="connsiteX15" fmla="*/ 72009 w 72030"/>
                <a:gd name="connsiteY15" fmla="*/ 100013 h 146051"/>
                <a:gd name="connsiteX16" fmla="*/ 57722 w 72030"/>
                <a:gd name="connsiteY16" fmla="*/ 77788 h 146051"/>
                <a:gd name="connsiteX17" fmla="*/ 54547 w 72030"/>
                <a:gd name="connsiteY17" fmla="*/ 19051 h 146051"/>
                <a:gd name="connsiteX18" fmla="*/ 45022 w 72030"/>
                <a:gd name="connsiteY18" fmla="*/ 1588 h 146051"/>
                <a:gd name="connsiteX19" fmla="*/ 41847 w 72030"/>
                <a:gd name="connsiteY19" fmla="*/ 6351 h 14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2030" h="146051">
                  <a:moveTo>
                    <a:pt x="41847" y="6351"/>
                  </a:moveTo>
                  <a:cubicBezTo>
                    <a:pt x="39730" y="7674"/>
                    <a:pt x="35380" y="8167"/>
                    <a:pt x="32322" y="9526"/>
                  </a:cubicBezTo>
                  <a:cubicBezTo>
                    <a:pt x="27969" y="11461"/>
                    <a:pt x="24358" y="15902"/>
                    <a:pt x="21209" y="19051"/>
                  </a:cubicBezTo>
                  <a:cubicBezTo>
                    <a:pt x="20680" y="21697"/>
                    <a:pt x="20569" y="24462"/>
                    <a:pt x="19622" y="26988"/>
                  </a:cubicBezTo>
                  <a:cubicBezTo>
                    <a:pt x="18952" y="28775"/>
                    <a:pt x="16949" y="29910"/>
                    <a:pt x="16447" y="31751"/>
                  </a:cubicBezTo>
                  <a:cubicBezTo>
                    <a:pt x="7577" y="64276"/>
                    <a:pt x="20198" y="58545"/>
                    <a:pt x="5334" y="63501"/>
                  </a:cubicBezTo>
                  <a:cubicBezTo>
                    <a:pt x="4276" y="65088"/>
                    <a:pt x="2910" y="66509"/>
                    <a:pt x="2159" y="68263"/>
                  </a:cubicBezTo>
                  <a:cubicBezTo>
                    <a:pt x="-2673" y="79539"/>
                    <a:pt x="2106" y="110920"/>
                    <a:pt x="2159" y="111126"/>
                  </a:cubicBezTo>
                  <a:cubicBezTo>
                    <a:pt x="3117" y="114820"/>
                    <a:pt x="11684" y="117476"/>
                    <a:pt x="11684" y="117476"/>
                  </a:cubicBezTo>
                  <a:cubicBezTo>
                    <a:pt x="12742" y="119063"/>
                    <a:pt x="14727" y="121180"/>
                    <a:pt x="14859" y="122238"/>
                  </a:cubicBezTo>
                  <a:cubicBezTo>
                    <a:pt x="14991" y="123296"/>
                    <a:pt x="11420" y="122635"/>
                    <a:pt x="12478" y="123826"/>
                  </a:cubicBezTo>
                  <a:cubicBezTo>
                    <a:pt x="13536" y="125017"/>
                    <a:pt x="15917" y="128324"/>
                    <a:pt x="21209" y="129382"/>
                  </a:cubicBezTo>
                  <a:cubicBezTo>
                    <a:pt x="28140" y="136313"/>
                    <a:pt x="40391" y="130573"/>
                    <a:pt x="46609" y="133351"/>
                  </a:cubicBezTo>
                  <a:cubicBezTo>
                    <a:pt x="52827" y="136129"/>
                    <a:pt x="58515" y="146051"/>
                    <a:pt x="58515" y="146051"/>
                  </a:cubicBezTo>
                  <a:cubicBezTo>
                    <a:pt x="60103" y="144993"/>
                    <a:pt x="58648" y="141024"/>
                    <a:pt x="60897" y="133351"/>
                  </a:cubicBezTo>
                  <a:cubicBezTo>
                    <a:pt x="63146" y="125678"/>
                    <a:pt x="72538" y="109273"/>
                    <a:pt x="72009" y="100013"/>
                  </a:cubicBezTo>
                  <a:cubicBezTo>
                    <a:pt x="71480" y="90753"/>
                    <a:pt x="58251" y="91282"/>
                    <a:pt x="57722" y="77788"/>
                  </a:cubicBezTo>
                  <a:cubicBezTo>
                    <a:pt x="56664" y="58209"/>
                    <a:pt x="55745" y="38622"/>
                    <a:pt x="54547" y="19051"/>
                  </a:cubicBezTo>
                  <a:cubicBezTo>
                    <a:pt x="53210" y="-2783"/>
                    <a:pt x="59006" y="-1208"/>
                    <a:pt x="45022" y="1588"/>
                  </a:cubicBezTo>
                  <a:cubicBezTo>
                    <a:pt x="43306" y="8452"/>
                    <a:pt x="43964" y="5028"/>
                    <a:pt x="41847" y="6351"/>
                  </a:cubicBezTo>
                  <a:close/>
                </a:path>
              </a:pathLst>
            </a:custGeom>
            <a:solidFill>
              <a:srgbClr val="003399"/>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grpSp>
          <p:nvGrpSpPr>
            <p:cNvPr id="315" name="Grupo 47">
              <a:extLst>
                <a:ext uri="{FF2B5EF4-FFF2-40B4-BE49-F238E27FC236}">
                  <a16:creationId xmlns:a16="http://schemas.microsoft.com/office/drawing/2014/main" id="{56EBA858-A4D0-4598-AD3A-9761AF0C8B32}"/>
                </a:ext>
              </a:extLst>
            </p:cNvPr>
            <p:cNvGrpSpPr/>
            <p:nvPr/>
          </p:nvGrpSpPr>
          <p:grpSpPr>
            <a:xfrm>
              <a:off x="5249865" y="3923517"/>
              <a:ext cx="1700631" cy="1766048"/>
              <a:chOff x="2525121" y="4326939"/>
              <a:chExt cx="1700631" cy="1766048"/>
            </a:xfrm>
            <a:solidFill>
              <a:srgbClr val="003399"/>
            </a:solidFill>
          </p:grpSpPr>
          <p:sp>
            <p:nvSpPr>
              <p:cNvPr id="855" name="Forma libre: forma 42">
                <a:extLst>
                  <a:ext uri="{FF2B5EF4-FFF2-40B4-BE49-F238E27FC236}">
                    <a16:creationId xmlns:a16="http://schemas.microsoft.com/office/drawing/2014/main" id="{6F58DA27-03D3-4CCD-8FD5-C10131488A20}"/>
                  </a:ext>
                </a:extLst>
              </p:cNvPr>
              <p:cNvSpPr/>
              <p:nvPr/>
            </p:nvSpPr>
            <p:spPr>
              <a:xfrm>
                <a:off x="2525121" y="4326939"/>
                <a:ext cx="1555246" cy="1551620"/>
              </a:xfrm>
              <a:custGeom>
                <a:avLst/>
                <a:gdLst>
                  <a:gd name="connsiteX0" fmla="*/ 920139 w 1555246"/>
                  <a:gd name="connsiteY0" fmla="*/ 2114 h 1551620"/>
                  <a:gd name="connsiteX1" fmla="*/ 872315 w 1555246"/>
                  <a:gd name="connsiteY1" fmla="*/ 201 h 1551620"/>
                  <a:gd name="connsiteX2" fmla="*/ 835969 w 1555246"/>
                  <a:gd name="connsiteY2" fmla="*/ 5940 h 1551620"/>
                  <a:gd name="connsiteX3" fmla="*/ 830230 w 1555246"/>
                  <a:gd name="connsiteY3" fmla="*/ 9766 h 1551620"/>
                  <a:gd name="connsiteX4" fmla="*/ 822578 w 1555246"/>
                  <a:gd name="connsiteY4" fmla="*/ 11679 h 1551620"/>
                  <a:gd name="connsiteX5" fmla="*/ 816839 w 1555246"/>
                  <a:gd name="connsiteY5" fmla="*/ 19330 h 1551620"/>
                  <a:gd name="connsiteX6" fmla="*/ 813013 w 1555246"/>
                  <a:gd name="connsiteY6" fmla="*/ 32721 h 1551620"/>
                  <a:gd name="connsiteX7" fmla="*/ 805361 w 1555246"/>
                  <a:gd name="connsiteY7" fmla="*/ 44199 h 1551620"/>
                  <a:gd name="connsiteX8" fmla="*/ 801535 w 1555246"/>
                  <a:gd name="connsiteY8" fmla="*/ 63329 h 1551620"/>
                  <a:gd name="connsiteX9" fmla="*/ 797709 w 1555246"/>
                  <a:gd name="connsiteY9" fmla="*/ 78633 h 1551620"/>
                  <a:gd name="connsiteX10" fmla="*/ 795796 w 1555246"/>
                  <a:gd name="connsiteY10" fmla="*/ 88197 h 1551620"/>
                  <a:gd name="connsiteX11" fmla="*/ 791970 w 1555246"/>
                  <a:gd name="connsiteY11" fmla="*/ 97762 h 1551620"/>
                  <a:gd name="connsiteX12" fmla="*/ 790057 w 1555246"/>
                  <a:gd name="connsiteY12" fmla="*/ 103501 h 1551620"/>
                  <a:gd name="connsiteX13" fmla="*/ 788144 w 1555246"/>
                  <a:gd name="connsiteY13" fmla="*/ 113066 h 1551620"/>
                  <a:gd name="connsiteX14" fmla="*/ 774753 w 1555246"/>
                  <a:gd name="connsiteY14" fmla="*/ 132196 h 1551620"/>
                  <a:gd name="connsiteX15" fmla="*/ 770928 w 1555246"/>
                  <a:gd name="connsiteY15" fmla="*/ 137935 h 1551620"/>
                  <a:gd name="connsiteX16" fmla="*/ 757537 w 1555246"/>
                  <a:gd name="connsiteY16" fmla="*/ 158977 h 1551620"/>
                  <a:gd name="connsiteX17" fmla="*/ 751798 w 1555246"/>
                  <a:gd name="connsiteY17" fmla="*/ 160890 h 1551620"/>
                  <a:gd name="connsiteX18" fmla="*/ 746059 w 1555246"/>
                  <a:gd name="connsiteY18" fmla="*/ 164716 h 1551620"/>
                  <a:gd name="connsiteX19" fmla="*/ 738407 w 1555246"/>
                  <a:gd name="connsiteY19" fmla="*/ 170455 h 1551620"/>
                  <a:gd name="connsiteX20" fmla="*/ 713538 w 1555246"/>
                  <a:gd name="connsiteY20" fmla="*/ 178107 h 1551620"/>
                  <a:gd name="connsiteX21" fmla="*/ 686757 w 1555246"/>
                  <a:gd name="connsiteY21" fmla="*/ 185759 h 1551620"/>
                  <a:gd name="connsiteX22" fmla="*/ 665714 w 1555246"/>
                  <a:gd name="connsiteY22" fmla="*/ 191498 h 1551620"/>
                  <a:gd name="connsiteX23" fmla="*/ 644671 w 1555246"/>
                  <a:gd name="connsiteY23" fmla="*/ 195324 h 1551620"/>
                  <a:gd name="connsiteX24" fmla="*/ 633194 w 1555246"/>
                  <a:gd name="connsiteY24" fmla="*/ 202976 h 1551620"/>
                  <a:gd name="connsiteX25" fmla="*/ 615977 w 1555246"/>
                  <a:gd name="connsiteY25" fmla="*/ 212540 h 1551620"/>
                  <a:gd name="connsiteX26" fmla="*/ 606412 w 1555246"/>
                  <a:gd name="connsiteY26" fmla="*/ 224018 h 1551620"/>
                  <a:gd name="connsiteX27" fmla="*/ 615977 w 1555246"/>
                  <a:gd name="connsiteY27" fmla="*/ 233583 h 1551620"/>
                  <a:gd name="connsiteX28" fmla="*/ 642758 w 1555246"/>
                  <a:gd name="connsiteY28" fmla="*/ 248887 h 1551620"/>
                  <a:gd name="connsiteX29" fmla="*/ 635107 w 1555246"/>
                  <a:gd name="connsiteY29" fmla="*/ 254626 h 1551620"/>
                  <a:gd name="connsiteX30" fmla="*/ 615977 w 1555246"/>
                  <a:gd name="connsiteY30" fmla="*/ 262278 h 1551620"/>
                  <a:gd name="connsiteX31" fmla="*/ 598760 w 1555246"/>
                  <a:gd name="connsiteY31" fmla="*/ 266104 h 1551620"/>
                  <a:gd name="connsiteX32" fmla="*/ 562414 w 1555246"/>
                  <a:gd name="connsiteY32" fmla="*/ 268017 h 1551620"/>
                  <a:gd name="connsiteX33" fmla="*/ 554762 w 1555246"/>
                  <a:gd name="connsiteY33" fmla="*/ 264191 h 1551620"/>
                  <a:gd name="connsiteX34" fmla="*/ 549023 w 1555246"/>
                  <a:gd name="connsiteY34" fmla="*/ 260365 h 1551620"/>
                  <a:gd name="connsiteX35" fmla="*/ 522241 w 1555246"/>
                  <a:gd name="connsiteY35" fmla="*/ 258452 h 1551620"/>
                  <a:gd name="connsiteX36" fmla="*/ 493547 w 1555246"/>
                  <a:gd name="connsiteY36" fmla="*/ 243148 h 1551620"/>
                  <a:gd name="connsiteX37" fmla="*/ 489721 w 1555246"/>
                  <a:gd name="connsiteY37" fmla="*/ 237409 h 1551620"/>
                  <a:gd name="connsiteX38" fmla="*/ 483982 w 1555246"/>
                  <a:gd name="connsiteY38" fmla="*/ 235496 h 1551620"/>
                  <a:gd name="connsiteX39" fmla="*/ 459113 w 1555246"/>
                  <a:gd name="connsiteY39" fmla="*/ 231670 h 1551620"/>
                  <a:gd name="connsiteX40" fmla="*/ 439984 w 1555246"/>
                  <a:gd name="connsiteY40" fmla="*/ 210628 h 1551620"/>
                  <a:gd name="connsiteX41" fmla="*/ 462939 w 1555246"/>
                  <a:gd name="connsiteY41" fmla="*/ 197237 h 1551620"/>
                  <a:gd name="connsiteX42" fmla="*/ 441897 w 1555246"/>
                  <a:gd name="connsiteY42" fmla="*/ 191498 h 1551620"/>
                  <a:gd name="connsiteX43" fmla="*/ 428506 w 1555246"/>
                  <a:gd name="connsiteY43" fmla="*/ 183846 h 1551620"/>
                  <a:gd name="connsiteX44" fmla="*/ 420854 w 1555246"/>
                  <a:gd name="connsiteY44" fmla="*/ 181933 h 1551620"/>
                  <a:gd name="connsiteX45" fmla="*/ 403637 w 1555246"/>
                  <a:gd name="connsiteY45" fmla="*/ 176194 h 1551620"/>
                  <a:gd name="connsiteX46" fmla="*/ 392159 w 1555246"/>
                  <a:gd name="connsiteY46" fmla="*/ 168542 h 1551620"/>
                  <a:gd name="connsiteX47" fmla="*/ 382594 w 1555246"/>
                  <a:gd name="connsiteY47" fmla="*/ 162803 h 1551620"/>
                  <a:gd name="connsiteX48" fmla="*/ 390246 w 1555246"/>
                  <a:gd name="connsiteY48" fmla="*/ 176194 h 1551620"/>
                  <a:gd name="connsiteX49" fmla="*/ 386420 w 1555246"/>
                  <a:gd name="connsiteY49" fmla="*/ 193411 h 1551620"/>
                  <a:gd name="connsiteX50" fmla="*/ 380682 w 1555246"/>
                  <a:gd name="connsiteY50" fmla="*/ 210628 h 1551620"/>
                  <a:gd name="connsiteX51" fmla="*/ 378769 w 1555246"/>
                  <a:gd name="connsiteY51" fmla="*/ 216366 h 1551620"/>
                  <a:gd name="connsiteX52" fmla="*/ 376856 w 1555246"/>
                  <a:gd name="connsiteY52" fmla="*/ 225931 h 1551620"/>
                  <a:gd name="connsiteX53" fmla="*/ 378769 w 1555246"/>
                  <a:gd name="connsiteY53" fmla="*/ 237409 h 1551620"/>
                  <a:gd name="connsiteX54" fmla="*/ 386420 w 1555246"/>
                  <a:gd name="connsiteY54" fmla="*/ 239322 h 1551620"/>
                  <a:gd name="connsiteX55" fmla="*/ 390246 w 1555246"/>
                  <a:gd name="connsiteY55" fmla="*/ 246974 h 1551620"/>
                  <a:gd name="connsiteX56" fmla="*/ 390246 w 1555246"/>
                  <a:gd name="connsiteY56" fmla="*/ 294798 h 1551620"/>
                  <a:gd name="connsiteX57" fmla="*/ 392159 w 1555246"/>
                  <a:gd name="connsiteY57" fmla="*/ 357926 h 1551620"/>
                  <a:gd name="connsiteX58" fmla="*/ 394072 w 1555246"/>
                  <a:gd name="connsiteY58" fmla="*/ 363665 h 1551620"/>
                  <a:gd name="connsiteX59" fmla="*/ 403637 w 1555246"/>
                  <a:gd name="connsiteY59" fmla="*/ 367491 h 1551620"/>
                  <a:gd name="connsiteX60" fmla="*/ 361552 w 1555246"/>
                  <a:gd name="connsiteY60" fmla="*/ 363665 h 1551620"/>
                  <a:gd name="connsiteX61" fmla="*/ 355813 w 1555246"/>
                  <a:gd name="connsiteY61" fmla="*/ 359839 h 1551620"/>
                  <a:gd name="connsiteX62" fmla="*/ 346248 w 1555246"/>
                  <a:gd name="connsiteY62" fmla="*/ 375143 h 1551620"/>
                  <a:gd name="connsiteX63" fmla="*/ 336683 w 1555246"/>
                  <a:gd name="connsiteY63" fmla="*/ 369404 h 1551620"/>
                  <a:gd name="connsiteX64" fmla="*/ 332857 w 1555246"/>
                  <a:gd name="connsiteY64" fmla="*/ 357926 h 1551620"/>
                  <a:gd name="connsiteX65" fmla="*/ 321379 w 1555246"/>
                  <a:gd name="connsiteY65" fmla="*/ 352187 h 1551620"/>
                  <a:gd name="connsiteX66" fmla="*/ 313728 w 1555246"/>
                  <a:gd name="connsiteY66" fmla="*/ 346448 h 1551620"/>
                  <a:gd name="connsiteX67" fmla="*/ 306076 w 1555246"/>
                  <a:gd name="connsiteY67" fmla="*/ 342623 h 1551620"/>
                  <a:gd name="connsiteX68" fmla="*/ 300337 w 1555246"/>
                  <a:gd name="connsiteY68" fmla="*/ 338797 h 1551620"/>
                  <a:gd name="connsiteX69" fmla="*/ 296511 w 1555246"/>
                  <a:gd name="connsiteY69" fmla="*/ 346448 h 1551620"/>
                  <a:gd name="connsiteX70" fmla="*/ 288859 w 1555246"/>
                  <a:gd name="connsiteY70" fmla="*/ 356013 h 1551620"/>
                  <a:gd name="connsiteX71" fmla="*/ 277381 w 1555246"/>
                  <a:gd name="connsiteY71" fmla="*/ 357926 h 1551620"/>
                  <a:gd name="connsiteX72" fmla="*/ 254425 w 1555246"/>
                  <a:gd name="connsiteY72" fmla="*/ 361752 h 1551620"/>
                  <a:gd name="connsiteX73" fmla="*/ 252512 w 1555246"/>
                  <a:gd name="connsiteY73" fmla="*/ 346448 h 1551620"/>
                  <a:gd name="connsiteX74" fmla="*/ 250600 w 1555246"/>
                  <a:gd name="connsiteY74" fmla="*/ 338797 h 1551620"/>
                  <a:gd name="connsiteX75" fmla="*/ 242948 w 1555246"/>
                  <a:gd name="connsiteY75" fmla="*/ 321580 h 1551620"/>
                  <a:gd name="connsiteX76" fmla="*/ 237209 w 1555246"/>
                  <a:gd name="connsiteY76" fmla="*/ 310102 h 1551620"/>
                  <a:gd name="connsiteX77" fmla="*/ 229557 w 1555246"/>
                  <a:gd name="connsiteY77" fmla="*/ 302450 h 1551620"/>
                  <a:gd name="connsiteX78" fmla="*/ 225731 w 1555246"/>
                  <a:gd name="connsiteY78" fmla="*/ 296711 h 1551620"/>
                  <a:gd name="connsiteX79" fmla="*/ 214253 w 1555246"/>
                  <a:gd name="connsiteY79" fmla="*/ 294798 h 1551620"/>
                  <a:gd name="connsiteX80" fmla="*/ 197036 w 1555246"/>
                  <a:gd name="connsiteY80" fmla="*/ 285233 h 1551620"/>
                  <a:gd name="connsiteX81" fmla="*/ 172168 w 1555246"/>
                  <a:gd name="connsiteY81" fmla="*/ 290972 h 1551620"/>
                  <a:gd name="connsiteX82" fmla="*/ 153038 w 1555246"/>
                  <a:gd name="connsiteY82" fmla="*/ 292885 h 1551620"/>
                  <a:gd name="connsiteX83" fmla="*/ 154951 w 1555246"/>
                  <a:gd name="connsiteY83" fmla="*/ 298624 h 1551620"/>
                  <a:gd name="connsiteX84" fmla="*/ 158777 w 1555246"/>
                  <a:gd name="connsiteY84" fmla="*/ 304363 h 1551620"/>
                  <a:gd name="connsiteX85" fmla="*/ 153038 w 1555246"/>
                  <a:gd name="connsiteY85" fmla="*/ 306276 h 1551620"/>
                  <a:gd name="connsiteX86" fmla="*/ 133908 w 1555246"/>
                  <a:gd name="connsiteY86" fmla="*/ 306276 h 1551620"/>
                  <a:gd name="connsiteX87" fmla="*/ 131995 w 1555246"/>
                  <a:gd name="connsiteY87" fmla="*/ 312015 h 1551620"/>
                  <a:gd name="connsiteX88" fmla="*/ 118605 w 1555246"/>
                  <a:gd name="connsiteY88" fmla="*/ 304363 h 1551620"/>
                  <a:gd name="connsiteX89" fmla="*/ 110953 w 1555246"/>
                  <a:gd name="connsiteY89" fmla="*/ 315841 h 1551620"/>
                  <a:gd name="connsiteX90" fmla="*/ 107127 w 1555246"/>
                  <a:gd name="connsiteY90" fmla="*/ 306276 h 1551620"/>
                  <a:gd name="connsiteX91" fmla="*/ 86084 w 1555246"/>
                  <a:gd name="connsiteY91" fmla="*/ 296711 h 1551620"/>
                  <a:gd name="connsiteX92" fmla="*/ 40173 w 1555246"/>
                  <a:gd name="connsiteY92" fmla="*/ 298624 h 1551620"/>
                  <a:gd name="connsiteX93" fmla="*/ 32521 w 1555246"/>
                  <a:gd name="connsiteY93" fmla="*/ 300537 h 1551620"/>
                  <a:gd name="connsiteX94" fmla="*/ 13391 w 1555246"/>
                  <a:gd name="connsiteY94" fmla="*/ 310102 h 1551620"/>
                  <a:gd name="connsiteX95" fmla="*/ 5739 w 1555246"/>
                  <a:gd name="connsiteY95" fmla="*/ 319667 h 1551620"/>
                  <a:gd name="connsiteX96" fmla="*/ 0 w 1555246"/>
                  <a:gd name="connsiteY96" fmla="*/ 334971 h 1551620"/>
                  <a:gd name="connsiteX97" fmla="*/ 7652 w 1555246"/>
                  <a:gd name="connsiteY97" fmla="*/ 340710 h 1551620"/>
                  <a:gd name="connsiteX98" fmla="*/ 13391 w 1555246"/>
                  <a:gd name="connsiteY98" fmla="*/ 348361 h 1551620"/>
                  <a:gd name="connsiteX99" fmla="*/ 21043 w 1555246"/>
                  <a:gd name="connsiteY99" fmla="*/ 350274 h 1551620"/>
                  <a:gd name="connsiteX100" fmla="*/ 26782 w 1555246"/>
                  <a:gd name="connsiteY100" fmla="*/ 354100 h 1551620"/>
                  <a:gd name="connsiteX101" fmla="*/ 47825 w 1555246"/>
                  <a:gd name="connsiteY101" fmla="*/ 359839 h 1551620"/>
                  <a:gd name="connsiteX102" fmla="*/ 57389 w 1555246"/>
                  <a:gd name="connsiteY102" fmla="*/ 373230 h 1551620"/>
                  <a:gd name="connsiteX103" fmla="*/ 63128 w 1555246"/>
                  <a:gd name="connsiteY103" fmla="*/ 371317 h 1551620"/>
                  <a:gd name="connsiteX104" fmla="*/ 72693 w 1555246"/>
                  <a:gd name="connsiteY104" fmla="*/ 361752 h 1551620"/>
                  <a:gd name="connsiteX105" fmla="*/ 68867 w 1555246"/>
                  <a:gd name="connsiteY105" fmla="*/ 380882 h 1551620"/>
                  <a:gd name="connsiteX106" fmla="*/ 59302 w 1555246"/>
                  <a:gd name="connsiteY106" fmla="*/ 400012 h 1551620"/>
                  <a:gd name="connsiteX107" fmla="*/ 53564 w 1555246"/>
                  <a:gd name="connsiteY107" fmla="*/ 401925 h 1551620"/>
                  <a:gd name="connsiteX108" fmla="*/ 42086 w 1555246"/>
                  <a:gd name="connsiteY108" fmla="*/ 388534 h 1551620"/>
                  <a:gd name="connsiteX109" fmla="*/ 40173 w 1555246"/>
                  <a:gd name="connsiteY109" fmla="*/ 382795 h 1551620"/>
                  <a:gd name="connsiteX110" fmla="*/ 38260 w 1555246"/>
                  <a:gd name="connsiteY110" fmla="*/ 375143 h 1551620"/>
                  <a:gd name="connsiteX111" fmla="*/ 30608 w 1555246"/>
                  <a:gd name="connsiteY111" fmla="*/ 369404 h 1551620"/>
                  <a:gd name="connsiteX112" fmla="*/ 21043 w 1555246"/>
                  <a:gd name="connsiteY112" fmla="*/ 371317 h 1551620"/>
                  <a:gd name="connsiteX113" fmla="*/ 17217 w 1555246"/>
                  <a:gd name="connsiteY113" fmla="*/ 382795 h 1551620"/>
                  <a:gd name="connsiteX114" fmla="*/ 7652 w 1555246"/>
                  <a:gd name="connsiteY114" fmla="*/ 398099 h 1551620"/>
                  <a:gd name="connsiteX115" fmla="*/ 0 w 1555246"/>
                  <a:gd name="connsiteY115" fmla="*/ 400012 h 1551620"/>
                  <a:gd name="connsiteX116" fmla="*/ 9565 w 1555246"/>
                  <a:gd name="connsiteY116" fmla="*/ 407664 h 1551620"/>
                  <a:gd name="connsiteX117" fmla="*/ 17217 w 1555246"/>
                  <a:gd name="connsiteY117" fmla="*/ 409576 h 1551620"/>
                  <a:gd name="connsiteX118" fmla="*/ 19130 w 1555246"/>
                  <a:gd name="connsiteY118" fmla="*/ 415315 h 1551620"/>
                  <a:gd name="connsiteX119" fmla="*/ 22956 w 1555246"/>
                  <a:gd name="connsiteY119" fmla="*/ 428706 h 1551620"/>
                  <a:gd name="connsiteX120" fmla="*/ 26782 w 1555246"/>
                  <a:gd name="connsiteY120" fmla="*/ 442097 h 1551620"/>
                  <a:gd name="connsiteX121" fmla="*/ 30608 w 1555246"/>
                  <a:gd name="connsiteY121" fmla="*/ 449749 h 1551620"/>
                  <a:gd name="connsiteX122" fmla="*/ 36347 w 1555246"/>
                  <a:gd name="connsiteY122" fmla="*/ 459314 h 1551620"/>
                  <a:gd name="connsiteX123" fmla="*/ 42086 w 1555246"/>
                  <a:gd name="connsiteY123" fmla="*/ 463140 h 1551620"/>
                  <a:gd name="connsiteX124" fmla="*/ 61215 w 1555246"/>
                  <a:gd name="connsiteY124" fmla="*/ 461227 h 1551620"/>
                  <a:gd name="connsiteX125" fmla="*/ 66954 w 1555246"/>
                  <a:gd name="connsiteY125" fmla="*/ 459314 h 1551620"/>
                  <a:gd name="connsiteX126" fmla="*/ 68867 w 1555246"/>
                  <a:gd name="connsiteY126" fmla="*/ 453575 h 1551620"/>
                  <a:gd name="connsiteX127" fmla="*/ 74606 w 1555246"/>
                  <a:gd name="connsiteY127" fmla="*/ 447836 h 1551620"/>
                  <a:gd name="connsiteX128" fmla="*/ 91823 w 1555246"/>
                  <a:gd name="connsiteY128" fmla="*/ 455488 h 1551620"/>
                  <a:gd name="connsiteX129" fmla="*/ 93736 w 1555246"/>
                  <a:gd name="connsiteY129" fmla="*/ 465053 h 1551620"/>
                  <a:gd name="connsiteX130" fmla="*/ 103301 w 1555246"/>
                  <a:gd name="connsiteY130" fmla="*/ 476530 h 1551620"/>
                  <a:gd name="connsiteX131" fmla="*/ 131995 w 1555246"/>
                  <a:gd name="connsiteY131" fmla="*/ 480356 h 1551620"/>
                  <a:gd name="connsiteX132" fmla="*/ 139647 w 1555246"/>
                  <a:gd name="connsiteY132" fmla="*/ 482269 h 1551620"/>
                  <a:gd name="connsiteX133" fmla="*/ 145386 w 1555246"/>
                  <a:gd name="connsiteY133" fmla="*/ 488008 h 1551620"/>
                  <a:gd name="connsiteX134" fmla="*/ 156864 w 1555246"/>
                  <a:gd name="connsiteY134" fmla="*/ 493747 h 1551620"/>
                  <a:gd name="connsiteX135" fmla="*/ 158777 w 1555246"/>
                  <a:gd name="connsiteY135" fmla="*/ 499486 h 1551620"/>
                  <a:gd name="connsiteX136" fmla="*/ 166429 w 1555246"/>
                  <a:gd name="connsiteY136" fmla="*/ 512877 h 1551620"/>
                  <a:gd name="connsiteX137" fmla="*/ 185558 w 1555246"/>
                  <a:gd name="connsiteY137" fmla="*/ 528181 h 1551620"/>
                  <a:gd name="connsiteX138" fmla="*/ 191297 w 1555246"/>
                  <a:gd name="connsiteY138" fmla="*/ 524355 h 1551620"/>
                  <a:gd name="connsiteX139" fmla="*/ 208514 w 1555246"/>
                  <a:gd name="connsiteY139" fmla="*/ 520529 h 1551620"/>
                  <a:gd name="connsiteX140" fmla="*/ 214253 w 1555246"/>
                  <a:gd name="connsiteY140" fmla="*/ 522442 h 1551620"/>
                  <a:gd name="connsiteX141" fmla="*/ 219992 w 1555246"/>
                  <a:gd name="connsiteY141" fmla="*/ 551136 h 1551620"/>
                  <a:gd name="connsiteX142" fmla="*/ 225731 w 1555246"/>
                  <a:gd name="connsiteY142" fmla="*/ 547310 h 1551620"/>
                  <a:gd name="connsiteX143" fmla="*/ 229557 w 1555246"/>
                  <a:gd name="connsiteY143" fmla="*/ 541571 h 1551620"/>
                  <a:gd name="connsiteX144" fmla="*/ 235296 w 1555246"/>
                  <a:gd name="connsiteY144" fmla="*/ 539658 h 1551620"/>
                  <a:gd name="connsiteX145" fmla="*/ 242948 w 1555246"/>
                  <a:gd name="connsiteY145" fmla="*/ 543484 h 1551620"/>
                  <a:gd name="connsiteX146" fmla="*/ 250600 w 1555246"/>
                  <a:gd name="connsiteY146" fmla="*/ 549223 h 1551620"/>
                  <a:gd name="connsiteX147" fmla="*/ 263990 w 1555246"/>
                  <a:gd name="connsiteY147" fmla="*/ 553049 h 1551620"/>
                  <a:gd name="connsiteX148" fmla="*/ 265903 w 1555246"/>
                  <a:gd name="connsiteY148" fmla="*/ 560701 h 1551620"/>
                  <a:gd name="connsiteX149" fmla="*/ 252512 w 1555246"/>
                  <a:gd name="connsiteY149" fmla="*/ 574092 h 1551620"/>
                  <a:gd name="connsiteX150" fmla="*/ 250600 w 1555246"/>
                  <a:gd name="connsiteY150" fmla="*/ 579831 h 1551620"/>
                  <a:gd name="connsiteX151" fmla="*/ 246774 w 1555246"/>
                  <a:gd name="connsiteY151" fmla="*/ 585570 h 1551620"/>
                  <a:gd name="connsiteX152" fmla="*/ 260164 w 1555246"/>
                  <a:gd name="connsiteY152" fmla="*/ 593222 h 1551620"/>
                  <a:gd name="connsiteX153" fmla="*/ 307989 w 1555246"/>
                  <a:gd name="connsiteY153" fmla="*/ 595135 h 1551620"/>
                  <a:gd name="connsiteX154" fmla="*/ 313728 w 1555246"/>
                  <a:gd name="connsiteY154" fmla="*/ 600874 h 1551620"/>
                  <a:gd name="connsiteX155" fmla="*/ 325205 w 1555246"/>
                  <a:gd name="connsiteY155" fmla="*/ 608525 h 1551620"/>
                  <a:gd name="connsiteX156" fmla="*/ 317553 w 1555246"/>
                  <a:gd name="connsiteY156" fmla="*/ 612351 h 1551620"/>
                  <a:gd name="connsiteX157" fmla="*/ 313728 w 1555246"/>
                  <a:gd name="connsiteY157" fmla="*/ 604699 h 1551620"/>
                  <a:gd name="connsiteX158" fmla="*/ 302250 w 1555246"/>
                  <a:gd name="connsiteY158" fmla="*/ 598961 h 1551620"/>
                  <a:gd name="connsiteX159" fmla="*/ 288859 w 1555246"/>
                  <a:gd name="connsiteY159" fmla="*/ 600874 h 1551620"/>
                  <a:gd name="connsiteX160" fmla="*/ 277381 w 1555246"/>
                  <a:gd name="connsiteY160" fmla="*/ 602787 h 1551620"/>
                  <a:gd name="connsiteX161" fmla="*/ 275468 w 1555246"/>
                  <a:gd name="connsiteY161" fmla="*/ 608525 h 1551620"/>
                  <a:gd name="connsiteX162" fmla="*/ 277381 w 1555246"/>
                  <a:gd name="connsiteY162" fmla="*/ 623829 h 1551620"/>
                  <a:gd name="connsiteX163" fmla="*/ 285033 w 1555246"/>
                  <a:gd name="connsiteY163" fmla="*/ 627655 h 1551620"/>
                  <a:gd name="connsiteX164" fmla="*/ 281207 w 1555246"/>
                  <a:gd name="connsiteY164" fmla="*/ 646785 h 1551620"/>
                  <a:gd name="connsiteX165" fmla="*/ 275468 w 1555246"/>
                  <a:gd name="connsiteY165" fmla="*/ 652524 h 1551620"/>
                  <a:gd name="connsiteX166" fmla="*/ 271642 w 1555246"/>
                  <a:gd name="connsiteY166" fmla="*/ 665915 h 1551620"/>
                  <a:gd name="connsiteX167" fmla="*/ 275468 w 1555246"/>
                  <a:gd name="connsiteY167" fmla="*/ 686957 h 1551620"/>
                  <a:gd name="connsiteX168" fmla="*/ 283120 w 1555246"/>
                  <a:gd name="connsiteY168" fmla="*/ 702261 h 1551620"/>
                  <a:gd name="connsiteX169" fmla="*/ 285033 w 1555246"/>
                  <a:gd name="connsiteY169" fmla="*/ 708000 h 1551620"/>
                  <a:gd name="connsiteX170" fmla="*/ 288859 w 1555246"/>
                  <a:gd name="connsiteY170" fmla="*/ 727130 h 1551620"/>
                  <a:gd name="connsiteX171" fmla="*/ 294598 w 1555246"/>
                  <a:gd name="connsiteY171" fmla="*/ 732869 h 1551620"/>
                  <a:gd name="connsiteX172" fmla="*/ 300337 w 1555246"/>
                  <a:gd name="connsiteY172" fmla="*/ 746259 h 1551620"/>
                  <a:gd name="connsiteX173" fmla="*/ 304163 w 1555246"/>
                  <a:gd name="connsiteY173" fmla="*/ 751998 h 1551620"/>
                  <a:gd name="connsiteX174" fmla="*/ 309902 w 1555246"/>
                  <a:gd name="connsiteY174" fmla="*/ 753911 h 1551620"/>
                  <a:gd name="connsiteX175" fmla="*/ 355813 w 1555246"/>
                  <a:gd name="connsiteY175" fmla="*/ 757737 h 1551620"/>
                  <a:gd name="connsiteX176" fmla="*/ 357726 w 1555246"/>
                  <a:gd name="connsiteY176" fmla="*/ 769215 h 1551620"/>
                  <a:gd name="connsiteX177" fmla="*/ 363465 w 1555246"/>
                  <a:gd name="connsiteY177" fmla="*/ 773041 h 1551620"/>
                  <a:gd name="connsiteX178" fmla="*/ 371117 w 1555246"/>
                  <a:gd name="connsiteY178" fmla="*/ 782606 h 1551620"/>
                  <a:gd name="connsiteX179" fmla="*/ 382594 w 1555246"/>
                  <a:gd name="connsiteY179" fmla="*/ 790258 h 1551620"/>
                  <a:gd name="connsiteX180" fmla="*/ 388333 w 1555246"/>
                  <a:gd name="connsiteY180" fmla="*/ 797910 h 1551620"/>
                  <a:gd name="connsiteX181" fmla="*/ 392159 w 1555246"/>
                  <a:gd name="connsiteY181" fmla="*/ 805561 h 1551620"/>
                  <a:gd name="connsiteX182" fmla="*/ 384507 w 1555246"/>
                  <a:gd name="connsiteY182" fmla="*/ 799823 h 1551620"/>
                  <a:gd name="connsiteX183" fmla="*/ 373030 w 1555246"/>
                  <a:gd name="connsiteY183" fmla="*/ 790258 h 1551620"/>
                  <a:gd name="connsiteX184" fmla="*/ 359639 w 1555246"/>
                  <a:gd name="connsiteY184" fmla="*/ 782606 h 1551620"/>
                  <a:gd name="connsiteX185" fmla="*/ 329031 w 1555246"/>
                  <a:gd name="connsiteY185" fmla="*/ 784519 h 1551620"/>
                  <a:gd name="connsiteX186" fmla="*/ 330944 w 1555246"/>
                  <a:gd name="connsiteY186" fmla="*/ 797910 h 1551620"/>
                  <a:gd name="connsiteX187" fmla="*/ 340509 w 1555246"/>
                  <a:gd name="connsiteY187" fmla="*/ 799823 h 1551620"/>
                  <a:gd name="connsiteX188" fmla="*/ 348161 w 1555246"/>
                  <a:gd name="connsiteY188" fmla="*/ 801735 h 1551620"/>
                  <a:gd name="connsiteX189" fmla="*/ 353900 w 1555246"/>
                  <a:gd name="connsiteY189" fmla="*/ 805561 h 1551620"/>
                  <a:gd name="connsiteX190" fmla="*/ 361552 w 1555246"/>
                  <a:gd name="connsiteY190" fmla="*/ 811300 h 1551620"/>
                  <a:gd name="connsiteX191" fmla="*/ 378769 w 1555246"/>
                  <a:gd name="connsiteY191" fmla="*/ 815126 h 1551620"/>
                  <a:gd name="connsiteX192" fmla="*/ 388333 w 1555246"/>
                  <a:gd name="connsiteY192" fmla="*/ 820865 h 1551620"/>
                  <a:gd name="connsiteX193" fmla="*/ 378769 w 1555246"/>
                  <a:gd name="connsiteY193" fmla="*/ 841908 h 1551620"/>
                  <a:gd name="connsiteX194" fmla="*/ 373030 w 1555246"/>
                  <a:gd name="connsiteY194" fmla="*/ 843821 h 1551620"/>
                  <a:gd name="connsiteX195" fmla="*/ 361552 w 1555246"/>
                  <a:gd name="connsiteY195" fmla="*/ 841908 h 1551620"/>
                  <a:gd name="connsiteX196" fmla="*/ 350074 w 1555246"/>
                  <a:gd name="connsiteY196" fmla="*/ 834256 h 1551620"/>
                  <a:gd name="connsiteX197" fmla="*/ 338596 w 1555246"/>
                  <a:gd name="connsiteY197" fmla="*/ 836169 h 1551620"/>
                  <a:gd name="connsiteX198" fmla="*/ 348161 w 1555246"/>
                  <a:gd name="connsiteY198" fmla="*/ 849560 h 1551620"/>
                  <a:gd name="connsiteX199" fmla="*/ 355813 w 1555246"/>
                  <a:gd name="connsiteY199" fmla="*/ 861038 h 1551620"/>
                  <a:gd name="connsiteX200" fmla="*/ 359639 w 1555246"/>
                  <a:gd name="connsiteY200" fmla="*/ 870602 h 1551620"/>
                  <a:gd name="connsiteX201" fmla="*/ 357726 w 1555246"/>
                  <a:gd name="connsiteY201" fmla="*/ 882080 h 1551620"/>
                  <a:gd name="connsiteX202" fmla="*/ 371117 w 1555246"/>
                  <a:gd name="connsiteY202" fmla="*/ 883993 h 1551620"/>
                  <a:gd name="connsiteX203" fmla="*/ 378769 w 1555246"/>
                  <a:gd name="connsiteY203" fmla="*/ 885906 h 1551620"/>
                  <a:gd name="connsiteX204" fmla="*/ 376856 w 1555246"/>
                  <a:gd name="connsiteY204" fmla="*/ 893558 h 1551620"/>
                  <a:gd name="connsiteX205" fmla="*/ 378769 w 1555246"/>
                  <a:gd name="connsiteY205" fmla="*/ 903123 h 1551620"/>
                  <a:gd name="connsiteX206" fmla="*/ 382594 w 1555246"/>
                  <a:gd name="connsiteY206" fmla="*/ 908862 h 1551620"/>
                  <a:gd name="connsiteX207" fmla="*/ 388333 w 1555246"/>
                  <a:gd name="connsiteY207" fmla="*/ 918427 h 1551620"/>
                  <a:gd name="connsiteX208" fmla="*/ 394072 w 1555246"/>
                  <a:gd name="connsiteY208" fmla="*/ 933730 h 1551620"/>
                  <a:gd name="connsiteX209" fmla="*/ 399811 w 1555246"/>
                  <a:gd name="connsiteY209" fmla="*/ 937556 h 1551620"/>
                  <a:gd name="connsiteX210" fmla="*/ 403637 w 1555246"/>
                  <a:gd name="connsiteY210" fmla="*/ 945208 h 1551620"/>
                  <a:gd name="connsiteX211" fmla="*/ 405550 w 1555246"/>
                  <a:gd name="connsiteY211" fmla="*/ 952860 h 1551620"/>
                  <a:gd name="connsiteX212" fmla="*/ 409376 w 1555246"/>
                  <a:gd name="connsiteY212" fmla="*/ 964338 h 1551620"/>
                  <a:gd name="connsiteX213" fmla="*/ 411289 w 1555246"/>
                  <a:gd name="connsiteY213" fmla="*/ 971990 h 1551620"/>
                  <a:gd name="connsiteX214" fmla="*/ 415115 w 1555246"/>
                  <a:gd name="connsiteY214" fmla="*/ 979642 h 1551620"/>
                  <a:gd name="connsiteX215" fmla="*/ 417028 w 1555246"/>
                  <a:gd name="connsiteY215" fmla="*/ 989207 h 1551620"/>
                  <a:gd name="connsiteX216" fmla="*/ 422767 w 1555246"/>
                  <a:gd name="connsiteY216" fmla="*/ 996858 h 1551620"/>
                  <a:gd name="connsiteX217" fmla="*/ 424680 w 1555246"/>
                  <a:gd name="connsiteY217" fmla="*/ 1012162 h 1551620"/>
                  <a:gd name="connsiteX218" fmla="*/ 420854 w 1555246"/>
                  <a:gd name="connsiteY218" fmla="*/ 1044683 h 1551620"/>
                  <a:gd name="connsiteX219" fmla="*/ 413202 w 1555246"/>
                  <a:gd name="connsiteY219" fmla="*/ 1037031 h 1551620"/>
                  <a:gd name="connsiteX220" fmla="*/ 409376 w 1555246"/>
                  <a:gd name="connsiteY220" fmla="*/ 1027466 h 1551620"/>
                  <a:gd name="connsiteX221" fmla="*/ 403637 w 1555246"/>
                  <a:gd name="connsiteY221" fmla="*/ 1019814 h 1551620"/>
                  <a:gd name="connsiteX222" fmla="*/ 401724 w 1555246"/>
                  <a:gd name="connsiteY222" fmla="*/ 1012162 h 1551620"/>
                  <a:gd name="connsiteX223" fmla="*/ 399811 w 1555246"/>
                  <a:gd name="connsiteY223" fmla="*/ 1002597 h 1551620"/>
                  <a:gd name="connsiteX224" fmla="*/ 395985 w 1555246"/>
                  <a:gd name="connsiteY224" fmla="*/ 994946 h 1551620"/>
                  <a:gd name="connsiteX225" fmla="*/ 392159 w 1555246"/>
                  <a:gd name="connsiteY225" fmla="*/ 973903 h 1551620"/>
                  <a:gd name="connsiteX226" fmla="*/ 386420 w 1555246"/>
                  <a:gd name="connsiteY226" fmla="*/ 968164 h 1551620"/>
                  <a:gd name="connsiteX227" fmla="*/ 384507 w 1555246"/>
                  <a:gd name="connsiteY227" fmla="*/ 954773 h 1551620"/>
                  <a:gd name="connsiteX228" fmla="*/ 380682 w 1555246"/>
                  <a:gd name="connsiteY228" fmla="*/ 949034 h 1551620"/>
                  <a:gd name="connsiteX229" fmla="*/ 371117 w 1555246"/>
                  <a:gd name="connsiteY229" fmla="*/ 937556 h 1551620"/>
                  <a:gd name="connsiteX230" fmla="*/ 357726 w 1555246"/>
                  <a:gd name="connsiteY230" fmla="*/ 939469 h 1551620"/>
                  <a:gd name="connsiteX231" fmla="*/ 344335 w 1555246"/>
                  <a:gd name="connsiteY231" fmla="*/ 954773 h 1551620"/>
                  <a:gd name="connsiteX232" fmla="*/ 342422 w 1555246"/>
                  <a:gd name="connsiteY232" fmla="*/ 968164 h 1551620"/>
                  <a:gd name="connsiteX233" fmla="*/ 338596 w 1555246"/>
                  <a:gd name="connsiteY233" fmla="*/ 973903 h 1551620"/>
                  <a:gd name="connsiteX234" fmla="*/ 336683 w 1555246"/>
                  <a:gd name="connsiteY234" fmla="*/ 981555 h 1551620"/>
                  <a:gd name="connsiteX235" fmla="*/ 334770 w 1555246"/>
                  <a:gd name="connsiteY235" fmla="*/ 991120 h 1551620"/>
                  <a:gd name="connsiteX236" fmla="*/ 329031 w 1555246"/>
                  <a:gd name="connsiteY236" fmla="*/ 1012162 h 1551620"/>
                  <a:gd name="connsiteX237" fmla="*/ 325205 w 1555246"/>
                  <a:gd name="connsiteY237" fmla="*/ 1021727 h 1551620"/>
                  <a:gd name="connsiteX238" fmla="*/ 319466 w 1555246"/>
                  <a:gd name="connsiteY238" fmla="*/ 1031292 h 1551620"/>
                  <a:gd name="connsiteX239" fmla="*/ 321379 w 1555246"/>
                  <a:gd name="connsiteY239" fmla="*/ 1056161 h 1551620"/>
                  <a:gd name="connsiteX240" fmla="*/ 350074 w 1555246"/>
                  <a:gd name="connsiteY240" fmla="*/ 1059987 h 1551620"/>
                  <a:gd name="connsiteX241" fmla="*/ 348161 w 1555246"/>
                  <a:gd name="connsiteY241" fmla="*/ 1067638 h 1551620"/>
                  <a:gd name="connsiteX242" fmla="*/ 336683 w 1555246"/>
                  <a:gd name="connsiteY242" fmla="*/ 1081029 h 1551620"/>
                  <a:gd name="connsiteX243" fmla="*/ 332857 w 1555246"/>
                  <a:gd name="connsiteY243" fmla="*/ 1096333 h 1551620"/>
                  <a:gd name="connsiteX244" fmla="*/ 329031 w 1555246"/>
                  <a:gd name="connsiteY244" fmla="*/ 1102072 h 1551620"/>
                  <a:gd name="connsiteX245" fmla="*/ 327118 w 1555246"/>
                  <a:gd name="connsiteY245" fmla="*/ 1113550 h 1551620"/>
                  <a:gd name="connsiteX246" fmla="*/ 321379 w 1555246"/>
                  <a:gd name="connsiteY246" fmla="*/ 1125028 h 1551620"/>
                  <a:gd name="connsiteX247" fmla="*/ 311815 w 1555246"/>
                  <a:gd name="connsiteY247" fmla="*/ 1140331 h 1551620"/>
                  <a:gd name="connsiteX248" fmla="*/ 309902 w 1555246"/>
                  <a:gd name="connsiteY248" fmla="*/ 1147983 h 1551620"/>
                  <a:gd name="connsiteX249" fmla="*/ 304163 w 1555246"/>
                  <a:gd name="connsiteY249" fmla="*/ 1172852 h 1551620"/>
                  <a:gd name="connsiteX250" fmla="*/ 294598 w 1555246"/>
                  <a:gd name="connsiteY250" fmla="*/ 1188156 h 1551620"/>
                  <a:gd name="connsiteX251" fmla="*/ 285033 w 1555246"/>
                  <a:gd name="connsiteY251" fmla="*/ 1211111 h 1551620"/>
                  <a:gd name="connsiteX252" fmla="*/ 283120 w 1555246"/>
                  <a:gd name="connsiteY252" fmla="*/ 1218763 h 1551620"/>
                  <a:gd name="connsiteX253" fmla="*/ 279294 w 1555246"/>
                  <a:gd name="connsiteY253" fmla="*/ 1237893 h 1551620"/>
                  <a:gd name="connsiteX254" fmla="*/ 275468 w 1555246"/>
                  <a:gd name="connsiteY254" fmla="*/ 1245545 h 1551620"/>
                  <a:gd name="connsiteX255" fmla="*/ 269729 w 1555246"/>
                  <a:gd name="connsiteY255" fmla="*/ 1258935 h 1551620"/>
                  <a:gd name="connsiteX256" fmla="*/ 260164 w 1555246"/>
                  <a:gd name="connsiteY256" fmla="*/ 1274239 h 1551620"/>
                  <a:gd name="connsiteX257" fmla="*/ 258251 w 1555246"/>
                  <a:gd name="connsiteY257" fmla="*/ 1281891 h 1551620"/>
                  <a:gd name="connsiteX258" fmla="*/ 250600 w 1555246"/>
                  <a:gd name="connsiteY258" fmla="*/ 1279978 h 1551620"/>
                  <a:gd name="connsiteX259" fmla="*/ 244861 w 1555246"/>
                  <a:gd name="connsiteY259" fmla="*/ 1278065 h 1551620"/>
                  <a:gd name="connsiteX260" fmla="*/ 246774 w 1555246"/>
                  <a:gd name="connsiteY260" fmla="*/ 1287630 h 1551620"/>
                  <a:gd name="connsiteX261" fmla="*/ 244861 w 1555246"/>
                  <a:gd name="connsiteY261" fmla="*/ 1302934 h 1551620"/>
                  <a:gd name="connsiteX262" fmla="*/ 250600 w 1555246"/>
                  <a:gd name="connsiteY262" fmla="*/ 1304847 h 1551620"/>
                  <a:gd name="connsiteX263" fmla="*/ 265903 w 1555246"/>
                  <a:gd name="connsiteY263" fmla="*/ 1318238 h 1551620"/>
                  <a:gd name="connsiteX264" fmla="*/ 263990 w 1555246"/>
                  <a:gd name="connsiteY264" fmla="*/ 1337367 h 1551620"/>
                  <a:gd name="connsiteX265" fmla="*/ 263990 w 1555246"/>
                  <a:gd name="connsiteY265" fmla="*/ 1358410 h 1551620"/>
                  <a:gd name="connsiteX266" fmla="*/ 271642 w 1555246"/>
                  <a:gd name="connsiteY266" fmla="*/ 1360323 h 1551620"/>
                  <a:gd name="connsiteX267" fmla="*/ 285033 w 1555246"/>
                  <a:gd name="connsiteY267" fmla="*/ 1364149 h 1551620"/>
                  <a:gd name="connsiteX268" fmla="*/ 290772 w 1555246"/>
                  <a:gd name="connsiteY268" fmla="*/ 1367975 h 1551620"/>
                  <a:gd name="connsiteX269" fmla="*/ 304163 w 1555246"/>
                  <a:gd name="connsiteY269" fmla="*/ 1377540 h 1551620"/>
                  <a:gd name="connsiteX270" fmla="*/ 323292 w 1555246"/>
                  <a:gd name="connsiteY270" fmla="*/ 1381366 h 1551620"/>
                  <a:gd name="connsiteX271" fmla="*/ 334770 w 1555246"/>
                  <a:gd name="connsiteY271" fmla="*/ 1389017 h 1551620"/>
                  <a:gd name="connsiteX272" fmla="*/ 346248 w 1555246"/>
                  <a:gd name="connsiteY272" fmla="*/ 1400495 h 1551620"/>
                  <a:gd name="connsiteX273" fmla="*/ 353900 w 1555246"/>
                  <a:gd name="connsiteY273" fmla="*/ 1425364 h 1551620"/>
                  <a:gd name="connsiteX274" fmla="*/ 382594 w 1555246"/>
                  <a:gd name="connsiteY274" fmla="*/ 1423451 h 1551620"/>
                  <a:gd name="connsiteX275" fmla="*/ 394072 w 1555246"/>
                  <a:gd name="connsiteY275" fmla="*/ 1419625 h 1551620"/>
                  <a:gd name="connsiteX276" fmla="*/ 413202 w 1555246"/>
                  <a:gd name="connsiteY276" fmla="*/ 1425364 h 1551620"/>
                  <a:gd name="connsiteX277" fmla="*/ 422767 w 1555246"/>
                  <a:gd name="connsiteY277" fmla="*/ 1434929 h 1551620"/>
                  <a:gd name="connsiteX278" fmla="*/ 428506 w 1555246"/>
                  <a:gd name="connsiteY278" fmla="*/ 1440668 h 1551620"/>
                  <a:gd name="connsiteX279" fmla="*/ 436158 w 1555246"/>
                  <a:gd name="connsiteY279" fmla="*/ 1452146 h 1551620"/>
                  <a:gd name="connsiteX280" fmla="*/ 455287 w 1555246"/>
                  <a:gd name="connsiteY280" fmla="*/ 1450233 h 1551620"/>
                  <a:gd name="connsiteX281" fmla="*/ 462939 w 1555246"/>
                  <a:gd name="connsiteY281" fmla="*/ 1448320 h 1551620"/>
                  <a:gd name="connsiteX282" fmla="*/ 480156 w 1555246"/>
                  <a:gd name="connsiteY282" fmla="*/ 1452146 h 1551620"/>
                  <a:gd name="connsiteX283" fmla="*/ 485895 w 1555246"/>
                  <a:gd name="connsiteY283" fmla="*/ 1455971 h 1551620"/>
                  <a:gd name="connsiteX284" fmla="*/ 493547 w 1555246"/>
                  <a:gd name="connsiteY284" fmla="*/ 1461710 h 1551620"/>
                  <a:gd name="connsiteX285" fmla="*/ 499286 w 1555246"/>
                  <a:gd name="connsiteY285" fmla="*/ 1463623 h 1551620"/>
                  <a:gd name="connsiteX286" fmla="*/ 520328 w 1555246"/>
                  <a:gd name="connsiteY286" fmla="*/ 1459797 h 1551620"/>
                  <a:gd name="connsiteX287" fmla="*/ 522241 w 1555246"/>
                  <a:gd name="connsiteY287" fmla="*/ 1454058 h 1551620"/>
                  <a:gd name="connsiteX288" fmla="*/ 529893 w 1555246"/>
                  <a:gd name="connsiteY288" fmla="*/ 1433016 h 1551620"/>
                  <a:gd name="connsiteX289" fmla="*/ 552849 w 1555246"/>
                  <a:gd name="connsiteY289" fmla="*/ 1434929 h 1551620"/>
                  <a:gd name="connsiteX290" fmla="*/ 570066 w 1555246"/>
                  <a:gd name="connsiteY290" fmla="*/ 1446407 h 1551620"/>
                  <a:gd name="connsiteX291" fmla="*/ 583456 w 1555246"/>
                  <a:gd name="connsiteY291" fmla="*/ 1455971 h 1551620"/>
                  <a:gd name="connsiteX292" fmla="*/ 600673 w 1555246"/>
                  <a:gd name="connsiteY292" fmla="*/ 1467449 h 1551620"/>
                  <a:gd name="connsiteX293" fmla="*/ 617890 w 1555246"/>
                  <a:gd name="connsiteY293" fmla="*/ 1477014 h 1551620"/>
                  <a:gd name="connsiteX294" fmla="*/ 625542 w 1555246"/>
                  <a:gd name="connsiteY294" fmla="*/ 1478927 h 1551620"/>
                  <a:gd name="connsiteX295" fmla="*/ 627455 w 1555246"/>
                  <a:gd name="connsiteY295" fmla="*/ 1484666 h 1551620"/>
                  <a:gd name="connsiteX296" fmla="*/ 633194 w 1555246"/>
                  <a:gd name="connsiteY296" fmla="*/ 1482753 h 1551620"/>
                  <a:gd name="connsiteX297" fmla="*/ 648497 w 1555246"/>
                  <a:gd name="connsiteY297" fmla="*/ 1480840 h 1551620"/>
                  <a:gd name="connsiteX298" fmla="*/ 658062 w 1555246"/>
                  <a:gd name="connsiteY298" fmla="*/ 1482753 h 1551620"/>
                  <a:gd name="connsiteX299" fmla="*/ 667627 w 1555246"/>
                  <a:gd name="connsiteY299" fmla="*/ 1494231 h 1551620"/>
                  <a:gd name="connsiteX300" fmla="*/ 669540 w 1555246"/>
                  <a:gd name="connsiteY300" fmla="*/ 1521012 h 1551620"/>
                  <a:gd name="connsiteX301" fmla="*/ 677192 w 1555246"/>
                  <a:gd name="connsiteY301" fmla="*/ 1526751 h 1551620"/>
                  <a:gd name="connsiteX302" fmla="*/ 688670 w 1555246"/>
                  <a:gd name="connsiteY302" fmla="*/ 1536316 h 1551620"/>
                  <a:gd name="connsiteX303" fmla="*/ 711625 w 1555246"/>
                  <a:gd name="connsiteY303" fmla="*/ 1528664 h 1551620"/>
                  <a:gd name="connsiteX304" fmla="*/ 734581 w 1555246"/>
                  <a:gd name="connsiteY304" fmla="*/ 1530577 h 1551620"/>
                  <a:gd name="connsiteX305" fmla="*/ 751798 w 1555246"/>
                  <a:gd name="connsiteY305" fmla="*/ 1545881 h 1551620"/>
                  <a:gd name="connsiteX306" fmla="*/ 767102 w 1555246"/>
                  <a:gd name="connsiteY306" fmla="*/ 1551620 h 1551620"/>
                  <a:gd name="connsiteX307" fmla="*/ 786231 w 1555246"/>
                  <a:gd name="connsiteY307" fmla="*/ 1547794 h 1551620"/>
                  <a:gd name="connsiteX308" fmla="*/ 793883 w 1555246"/>
                  <a:gd name="connsiteY308" fmla="*/ 1532490 h 1551620"/>
                  <a:gd name="connsiteX309" fmla="*/ 803448 w 1555246"/>
                  <a:gd name="connsiteY309" fmla="*/ 1528664 h 1551620"/>
                  <a:gd name="connsiteX310" fmla="*/ 841707 w 1555246"/>
                  <a:gd name="connsiteY310" fmla="*/ 1526751 h 1551620"/>
                  <a:gd name="connsiteX311" fmla="*/ 839794 w 1555246"/>
                  <a:gd name="connsiteY311" fmla="*/ 1494231 h 1551620"/>
                  <a:gd name="connsiteX312" fmla="*/ 832143 w 1555246"/>
                  <a:gd name="connsiteY312" fmla="*/ 1478927 h 1551620"/>
                  <a:gd name="connsiteX313" fmla="*/ 830230 w 1555246"/>
                  <a:gd name="connsiteY313" fmla="*/ 1471275 h 1551620"/>
                  <a:gd name="connsiteX314" fmla="*/ 835969 w 1555246"/>
                  <a:gd name="connsiteY314" fmla="*/ 1459797 h 1551620"/>
                  <a:gd name="connsiteX315" fmla="*/ 837882 w 1555246"/>
                  <a:gd name="connsiteY315" fmla="*/ 1440668 h 1551620"/>
                  <a:gd name="connsiteX316" fmla="*/ 839794 w 1555246"/>
                  <a:gd name="connsiteY316" fmla="*/ 1433016 h 1551620"/>
                  <a:gd name="connsiteX317" fmla="*/ 845533 w 1555246"/>
                  <a:gd name="connsiteY317" fmla="*/ 1429190 h 1551620"/>
                  <a:gd name="connsiteX318" fmla="*/ 858924 w 1555246"/>
                  <a:gd name="connsiteY318" fmla="*/ 1417712 h 1551620"/>
                  <a:gd name="connsiteX319" fmla="*/ 864663 w 1555246"/>
                  <a:gd name="connsiteY319" fmla="*/ 1415799 h 1551620"/>
                  <a:gd name="connsiteX320" fmla="*/ 870402 w 1555246"/>
                  <a:gd name="connsiteY320" fmla="*/ 1410060 h 1551620"/>
                  <a:gd name="connsiteX321" fmla="*/ 876141 w 1555246"/>
                  <a:gd name="connsiteY321" fmla="*/ 1406234 h 1551620"/>
                  <a:gd name="connsiteX322" fmla="*/ 879967 w 1555246"/>
                  <a:gd name="connsiteY322" fmla="*/ 1400495 h 1551620"/>
                  <a:gd name="connsiteX323" fmla="*/ 904835 w 1555246"/>
                  <a:gd name="connsiteY323" fmla="*/ 1387105 h 1551620"/>
                  <a:gd name="connsiteX324" fmla="*/ 910574 w 1555246"/>
                  <a:gd name="connsiteY324" fmla="*/ 1385192 h 1551620"/>
                  <a:gd name="connsiteX325" fmla="*/ 925878 w 1555246"/>
                  <a:gd name="connsiteY325" fmla="*/ 1381366 h 1551620"/>
                  <a:gd name="connsiteX326" fmla="*/ 943095 w 1555246"/>
                  <a:gd name="connsiteY326" fmla="*/ 1369888 h 1551620"/>
                  <a:gd name="connsiteX327" fmla="*/ 950747 w 1555246"/>
                  <a:gd name="connsiteY327" fmla="*/ 1366062 h 1551620"/>
                  <a:gd name="connsiteX328" fmla="*/ 971789 w 1555246"/>
                  <a:gd name="connsiteY328" fmla="*/ 1348845 h 1551620"/>
                  <a:gd name="connsiteX329" fmla="*/ 983267 w 1555246"/>
                  <a:gd name="connsiteY329" fmla="*/ 1354584 h 1551620"/>
                  <a:gd name="connsiteX330" fmla="*/ 987093 w 1555246"/>
                  <a:gd name="connsiteY330" fmla="*/ 1360323 h 1551620"/>
                  <a:gd name="connsiteX331" fmla="*/ 994745 w 1555246"/>
                  <a:gd name="connsiteY331" fmla="*/ 1362236 h 1551620"/>
                  <a:gd name="connsiteX332" fmla="*/ 1004310 w 1555246"/>
                  <a:gd name="connsiteY332" fmla="*/ 1366062 h 1551620"/>
                  <a:gd name="connsiteX333" fmla="*/ 1029179 w 1555246"/>
                  <a:gd name="connsiteY333" fmla="*/ 1369888 h 1551620"/>
                  <a:gd name="connsiteX334" fmla="*/ 1036830 w 1555246"/>
                  <a:gd name="connsiteY334" fmla="*/ 1371801 h 1551620"/>
                  <a:gd name="connsiteX335" fmla="*/ 1044482 w 1555246"/>
                  <a:gd name="connsiteY335" fmla="*/ 1375627 h 1551620"/>
                  <a:gd name="connsiteX336" fmla="*/ 1054047 w 1555246"/>
                  <a:gd name="connsiteY336" fmla="*/ 1377540 h 1551620"/>
                  <a:gd name="connsiteX337" fmla="*/ 1069351 w 1555246"/>
                  <a:gd name="connsiteY337" fmla="*/ 1383279 h 1551620"/>
                  <a:gd name="connsiteX338" fmla="*/ 1067438 w 1555246"/>
                  <a:gd name="connsiteY338" fmla="*/ 1375627 h 1551620"/>
                  <a:gd name="connsiteX339" fmla="*/ 1071264 w 1555246"/>
                  <a:gd name="connsiteY339" fmla="*/ 1383279 h 1551620"/>
                  <a:gd name="connsiteX340" fmla="*/ 1075090 w 1555246"/>
                  <a:gd name="connsiteY340" fmla="*/ 1392843 h 1551620"/>
                  <a:gd name="connsiteX341" fmla="*/ 1096133 w 1555246"/>
                  <a:gd name="connsiteY341" fmla="*/ 1390930 h 1551620"/>
                  <a:gd name="connsiteX342" fmla="*/ 1111436 w 1555246"/>
                  <a:gd name="connsiteY342" fmla="*/ 1358410 h 1551620"/>
                  <a:gd name="connsiteX343" fmla="*/ 1113349 w 1555246"/>
                  <a:gd name="connsiteY343" fmla="*/ 1392843 h 1551620"/>
                  <a:gd name="connsiteX344" fmla="*/ 1103784 w 1555246"/>
                  <a:gd name="connsiteY344" fmla="*/ 1394756 h 1551620"/>
                  <a:gd name="connsiteX345" fmla="*/ 1138218 w 1555246"/>
                  <a:gd name="connsiteY345" fmla="*/ 1396669 h 1551620"/>
                  <a:gd name="connsiteX346" fmla="*/ 1140131 w 1555246"/>
                  <a:gd name="connsiteY346" fmla="*/ 1402408 h 1551620"/>
                  <a:gd name="connsiteX347" fmla="*/ 1142044 w 1555246"/>
                  <a:gd name="connsiteY347" fmla="*/ 1415799 h 1551620"/>
                  <a:gd name="connsiteX348" fmla="*/ 1168825 w 1555246"/>
                  <a:gd name="connsiteY348" fmla="*/ 1423451 h 1551620"/>
                  <a:gd name="connsiteX349" fmla="*/ 1182216 w 1555246"/>
                  <a:gd name="connsiteY349" fmla="*/ 1427277 h 1551620"/>
                  <a:gd name="connsiteX350" fmla="*/ 1187955 w 1555246"/>
                  <a:gd name="connsiteY350" fmla="*/ 1429190 h 1551620"/>
                  <a:gd name="connsiteX351" fmla="*/ 1191781 w 1555246"/>
                  <a:gd name="connsiteY351" fmla="*/ 1434929 h 1551620"/>
                  <a:gd name="connsiteX352" fmla="*/ 1193694 w 1555246"/>
                  <a:gd name="connsiteY352" fmla="*/ 1446407 h 1551620"/>
                  <a:gd name="connsiteX353" fmla="*/ 1195607 w 1555246"/>
                  <a:gd name="connsiteY353" fmla="*/ 1454058 h 1551620"/>
                  <a:gd name="connsiteX354" fmla="*/ 1210911 w 1555246"/>
                  <a:gd name="connsiteY354" fmla="*/ 1450233 h 1551620"/>
                  <a:gd name="connsiteX355" fmla="*/ 1224302 w 1555246"/>
                  <a:gd name="connsiteY355" fmla="*/ 1452146 h 1551620"/>
                  <a:gd name="connsiteX356" fmla="*/ 1230041 w 1555246"/>
                  <a:gd name="connsiteY356" fmla="*/ 1448320 h 1551620"/>
                  <a:gd name="connsiteX357" fmla="*/ 1233866 w 1555246"/>
                  <a:gd name="connsiteY357" fmla="*/ 1455971 h 1551620"/>
                  <a:gd name="connsiteX358" fmla="*/ 1235779 w 1555246"/>
                  <a:gd name="connsiteY358" fmla="*/ 1461710 h 1551620"/>
                  <a:gd name="connsiteX359" fmla="*/ 1239605 w 1555246"/>
                  <a:gd name="connsiteY359" fmla="*/ 1467449 h 1551620"/>
                  <a:gd name="connsiteX360" fmla="*/ 1256822 w 1555246"/>
                  <a:gd name="connsiteY360" fmla="*/ 1448320 h 1551620"/>
                  <a:gd name="connsiteX361" fmla="*/ 1272126 w 1555246"/>
                  <a:gd name="connsiteY361" fmla="*/ 1444494 h 1551620"/>
                  <a:gd name="connsiteX362" fmla="*/ 1300820 w 1555246"/>
                  <a:gd name="connsiteY362" fmla="*/ 1442581 h 1551620"/>
                  <a:gd name="connsiteX363" fmla="*/ 1310385 w 1555246"/>
                  <a:gd name="connsiteY363" fmla="*/ 1440668 h 1551620"/>
                  <a:gd name="connsiteX364" fmla="*/ 1312298 w 1555246"/>
                  <a:gd name="connsiteY364" fmla="*/ 1434929 h 1551620"/>
                  <a:gd name="connsiteX365" fmla="*/ 1318037 w 1555246"/>
                  <a:gd name="connsiteY365" fmla="*/ 1421538 h 1551620"/>
                  <a:gd name="connsiteX366" fmla="*/ 1319950 w 1555246"/>
                  <a:gd name="connsiteY366" fmla="*/ 1413886 h 1551620"/>
                  <a:gd name="connsiteX367" fmla="*/ 1323776 w 1555246"/>
                  <a:gd name="connsiteY367" fmla="*/ 1408147 h 1551620"/>
                  <a:gd name="connsiteX368" fmla="*/ 1337167 w 1555246"/>
                  <a:gd name="connsiteY368" fmla="*/ 1396669 h 1551620"/>
                  <a:gd name="connsiteX369" fmla="*/ 1346732 w 1555246"/>
                  <a:gd name="connsiteY369" fmla="*/ 1390930 h 1551620"/>
                  <a:gd name="connsiteX370" fmla="*/ 1360123 w 1555246"/>
                  <a:gd name="connsiteY370" fmla="*/ 1389017 h 1551620"/>
                  <a:gd name="connsiteX371" fmla="*/ 1365861 w 1555246"/>
                  <a:gd name="connsiteY371" fmla="*/ 1387105 h 1551620"/>
                  <a:gd name="connsiteX372" fmla="*/ 1367774 w 1555246"/>
                  <a:gd name="connsiteY372" fmla="*/ 1381366 h 1551620"/>
                  <a:gd name="connsiteX373" fmla="*/ 1369687 w 1555246"/>
                  <a:gd name="connsiteY373" fmla="*/ 1367975 h 1551620"/>
                  <a:gd name="connsiteX374" fmla="*/ 1373513 w 1555246"/>
                  <a:gd name="connsiteY374" fmla="*/ 1362236 h 1551620"/>
                  <a:gd name="connsiteX375" fmla="*/ 1381165 w 1555246"/>
                  <a:gd name="connsiteY375" fmla="*/ 1352671 h 1551620"/>
                  <a:gd name="connsiteX376" fmla="*/ 1386904 w 1555246"/>
                  <a:gd name="connsiteY376" fmla="*/ 1350758 h 1551620"/>
                  <a:gd name="connsiteX377" fmla="*/ 1400295 w 1555246"/>
                  <a:gd name="connsiteY377" fmla="*/ 1345019 h 1551620"/>
                  <a:gd name="connsiteX378" fmla="*/ 1413686 w 1555246"/>
                  <a:gd name="connsiteY378" fmla="*/ 1343106 h 1551620"/>
                  <a:gd name="connsiteX379" fmla="*/ 1430902 w 1555246"/>
                  <a:gd name="connsiteY379" fmla="*/ 1327802 h 1551620"/>
                  <a:gd name="connsiteX380" fmla="*/ 1440467 w 1555246"/>
                  <a:gd name="connsiteY380" fmla="*/ 1310586 h 1551620"/>
                  <a:gd name="connsiteX381" fmla="*/ 1442380 w 1555246"/>
                  <a:gd name="connsiteY381" fmla="*/ 1304847 h 1551620"/>
                  <a:gd name="connsiteX382" fmla="*/ 1453858 w 1555246"/>
                  <a:gd name="connsiteY382" fmla="*/ 1299108 h 1551620"/>
                  <a:gd name="connsiteX383" fmla="*/ 1451945 w 1555246"/>
                  <a:gd name="connsiteY383" fmla="*/ 1270413 h 1551620"/>
                  <a:gd name="connsiteX384" fmla="*/ 1436641 w 1555246"/>
                  <a:gd name="connsiteY384" fmla="*/ 1272326 h 1551620"/>
                  <a:gd name="connsiteX385" fmla="*/ 1404121 w 1555246"/>
                  <a:gd name="connsiteY385" fmla="*/ 1268500 h 1551620"/>
                  <a:gd name="connsiteX386" fmla="*/ 1398382 w 1555246"/>
                  <a:gd name="connsiteY386" fmla="*/ 1262761 h 1551620"/>
                  <a:gd name="connsiteX387" fmla="*/ 1379252 w 1555246"/>
                  <a:gd name="connsiteY387" fmla="*/ 1255110 h 1551620"/>
                  <a:gd name="connsiteX388" fmla="*/ 1369687 w 1555246"/>
                  <a:gd name="connsiteY388" fmla="*/ 1247458 h 1551620"/>
                  <a:gd name="connsiteX389" fmla="*/ 1354384 w 1555246"/>
                  <a:gd name="connsiteY389" fmla="*/ 1218763 h 1551620"/>
                  <a:gd name="connsiteX390" fmla="*/ 1352471 w 1555246"/>
                  <a:gd name="connsiteY390" fmla="*/ 1190069 h 1551620"/>
                  <a:gd name="connsiteX391" fmla="*/ 1360123 w 1555246"/>
                  <a:gd name="connsiteY391" fmla="*/ 1188156 h 1551620"/>
                  <a:gd name="connsiteX392" fmla="*/ 1365861 w 1555246"/>
                  <a:gd name="connsiteY392" fmla="*/ 1184330 h 1551620"/>
                  <a:gd name="connsiteX393" fmla="*/ 1367774 w 1555246"/>
                  <a:gd name="connsiteY393" fmla="*/ 1174765 h 1551620"/>
                  <a:gd name="connsiteX394" fmla="*/ 1373513 w 1555246"/>
                  <a:gd name="connsiteY394" fmla="*/ 1159461 h 1551620"/>
                  <a:gd name="connsiteX395" fmla="*/ 1371600 w 1555246"/>
                  <a:gd name="connsiteY395" fmla="*/ 1144157 h 1551620"/>
                  <a:gd name="connsiteX396" fmla="*/ 1340993 w 1555246"/>
                  <a:gd name="connsiteY396" fmla="*/ 1151809 h 1551620"/>
                  <a:gd name="connsiteX397" fmla="*/ 1337167 w 1555246"/>
                  <a:gd name="connsiteY397" fmla="*/ 1140331 h 1551620"/>
                  <a:gd name="connsiteX398" fmla="*/ 1333341 w 1555246"/>
                  <a:gd name="connsiteY398" fmla="*/ 1128853 h 1551620"/>
                  <a:gd name="connsiteX399" fmla="*/ 1327602 w 1555246"/>
                  <a:gd name="connsiteY399" fmla="*/ 1107811 h 1551620"/>
                  <a:gd name="connsiteX400" fmla="*/ 1329515 w 1555246"/>
                  <a:gd name="connsiteY400" fmla="*/ 1102072 h 1551620"/>
                  <a:gd name="connsiteX401" fmla="*/ 1331428 w 1555246"/>
                  <a:gd name="connsiteY401" fmla="*/ 1092507 h 1551620"/>
                  <a:gd name="connsiteX402" fmla="*/ 1339080 w 1555246"/>
                  <a:gd name="connsiteY402" fmla="*/ 1088681 h 1551620"/>
                  <a:gd name="connsiteX403" fmla="*/ 1344819 w 1555246"/>
                  <a:gd name="connsiteY403" fmla="*/ 1090594 h 1551620"/>
                  <a:gd name="connsiteX404" fmla="*/ 1350558 w 1555246"/>
                  <a:gd name="connsiteY404" fmla="*/ 1094420 h 1551620"/>
                  <a:gd name="connsiteX405" fmla="*/ 1377339 w 1555246"/>
                  <a:gd name="connsiteY405" fmla="*/ 1092507 h 1551620"/>
                  <a:gd name="connsiteX406" fmla="*/ 1383078 w 1555246"/>
                  <a:gd name="connsiteY406" fmla="*/ 1079116 h 1551620"/>
                  <a:gd name="connsiteX407" fmla="*/ 1388817 w 1555246"/>
                  <a:gd name="connsiteY407" fmla="*/ 1075290 h 1551620"/>
                  <a:gd name="connsiteX408" fmla="*/ 1392643 w 1555246"/>
                  <a:gd name="connsiteY408" fmla="*/ 1069551 h 1551620"/>
                  <a:gd name="connsiteX409" fmla="*/ 1398382 w 1555246"/>
                  <a:gd name="connsiteY409" fmla="*/ 1065725 h 1551620"/>
                  <a:gd name="connsiteX410" fmla="*/ 1383078 w 1555246"/>
                  <a:gd name="connsiteY410" fmla="*/ 1035118 h 1551620"/>
                  <a:gd name="connsiteX411" fmla="*/ 1375426 w 1555246"/>
                  <a:gd name="connsiteY411" fmla="*/ 1019814 h 1551620"/>
                  <a:gd name="connsiteX412" fmla="*/ 1369687 w 1555246"/>
                  <a:gd name="connsiteY412" fmla="*/ 998771 h 1551620"/>
                  <a:gd name="connsiteX413" fmla="*/ 1362035 w 1555246"/>
                  <a:gd name="connsiteY413" fmla="*/ 991120 h 1551620"/>
                  <a:gd name="connsiteX414" fmla="*/ 1358210 w 1555246"/>
                  <a:gd name="connsiteY414" fmla="*/ 975816 h 1551620"/>
                  <a:gd name="connsiteX415" fmla="*/ 1362035 w 1555246"/>
                  <a:gd name="connsiteY415" fmla="*/ 956686 h 1551620"/>
                  <a:gd name="connsiteX416" fmla="*/ 1337167 w 1555246"/>
                  <a:gd name="connsiteY416" fmla="*/ 954773 h 1551620"/>
                  <a:gd name="connsiteX417" fmla="*/ 1285517 w 1555246"/>
                  <a:gd name="connsiteY417" fmla="*/ 958599 h 1551620"/>
                  <a:gd name="connsiteX418" fmla="*/ 1346732 w 1555246"/>
                  <a:gd name="connsiteY418" fmla="*/ 954773 h 1551620"/>
                  <a:gd name="connsiteX419" fmla="*/ 1367774 w 1555246"/>
                  <a:gd name="connsiteY419" fmla="*/ 949034 h 1551620"/>
                  <a:gd name="connsiteX420" fmla="*/ 1386904 w 1555246"/>
                  <a:gd name="connsiteY420" fmla="*/ 941382 h 1551620"/>
                  <a:gd name="connsiteX421" fmla="*/ 1383078 w 1555246"/>
                  <a:gd name="connsiteY421" fmla="*/ 920340 h 1551620"/>
                  <a:gd name="connsiteX422" fmla="*/ 1373513 w 1555246"/>
                  <a:gd name="connsiteY422" fmla="*/ 916514 h 1551620"/>
                  <a:gd name="connsiteX423" fmla="*/ 1367774 w 1555246"/>
                  <a:gd name="connsiteY423" fmla="*/ 912688 h 1551620"/>
                  <a:gd name="connsiteX424" fmla="*/ 1363948 w 1555246"/>
                  <a:gd name="connsiteY424" fmla="*/ 905036 h 1551620"/>
                  <a:gd name="connsiteX425" fmla="*/ 1367774 w 1555246"/>
                  <a:gd name="connsiteY425" fmla="*/ 880167 h 1551620"/>
                  <a:gd name="connsiteX426" fmla="*/ 1365861 w 1555246"/>
                  <a:gd name="connsiteY426" fmla="*/ 853386 h 1551620"/>
                  <a:gd name="connsiteX427" fmla="*/ 1352471 w 1555246"/>
                  <a:gd name="connsiteY427" fmla="*/ 849560 h 1551620"/>
                  <a:gd name="connsiteX428" fmla="*/ 1346732 w 1555246"/>
                  <a:gd name="connsiteY428" fmla="*/ 845734 h 1551620"/>
                  <a:gd name="connsiteX429" fmla="*/ 1331428 w 1555246"/>
                  <a:gd name="connsiteY429" fmla="*/ 841908 h 1551620"/>
                  <a:gd name="connsiteX430" fmla="*/ 1302733 w 1555246"/>
                  <a:gd name="connsiteY430" fmla="*/ 853386 h 1551620"/>
                  <a:gd name="connsiteX431" fmla="*/ 1298907 w 1555246"/>
                  <a:gd name="connsiteY431" fmla="*/ 859125 h 1551620"/>
                  <a:gd name="connsiteX432" fmla="*/ 1293169 w 1555246"/>
                  <a:gd name="connsiteY432" fmla="*/ 868689 h 1551620"/>
                  <a:gd name="connsiteX433" fmla="*/ 1298907 w 1555246"/>
                  <a:gd name="connsiteY433" fmla="*/ 885906 h 1551620"/>
                  <a:gd name="connsiteX434" fmla="*/ 1300820 w 1555246"/>
                  <a:gd name="connsiteY434" fmla="*/ 891645 h 1551620"/>
                  <a:gd name="connsiteX435" fmla="*/ 1296994 w 1555246"/>
                  <a:gd name="connsiteY435" fmla="*/ 903123 h 1551620"/>
                  <a:gd name="connsiteX436" fmla="*/ 1289343 w 1555246"/>
                  <a:gd name="connsiteY436" fmla="*/ 905036 h 1551620"/>
                  <a:gd name="connsiteX437" fmla="*/ 1256822 w 1555246"/>
                  <a:gd name="connsiteY437" fmla="*/ 901210 h 1551620"/>
                  <a:gd name="connsiteX438" fmla="*/ 1262561 w 1555246"/>
                  <a:gd name="connsiteY438" fmla="*/ 882080 h 1551620"/>
                  <a:gd name="connsiteX439" fmla="*/ 1272126 w 1555246"/>
                  <a:gd name="connsiteY439" fmla="*/ 880167 h 1551620"/>
                  <a:gd name="connsiteX440" fmla="*/ 1283604 w 1555246"/>
                  <a:gd name="connsiteY440" fmla="*/ 828517 h 1551620"/>
                  <a:gd name="connsiteX441" fmla="*/ 1298907 w 1555246"/>
                  <a:gd name="connsiteY441" fmla="*/ 811300 h 1551620"/>
                  <a:gd name="connsiteX442" fmla="*/ 1306559 w 1555246"/>
                  <a:gd name="connsiteY442" fmla="*/ 805561 h 1551620"/>
                  <a:gd name="connsiteX443" fmla="*/ 1316124 w 1555246"/>
                  <a:gd name="connsiteY443" fmla="*/ 780693 h 1551620"/>
                  <a:gd name="connsiteX444" fmla="*/ 1342906 w 1555246"/>
                  <a:gd name="connsiteY444" fmla="*/ 757737 h 1551620"/>
                  <a:gd name="connsiteX445" fmla="*/ 1346732 w 1555246"/>
                  <a:gd name="connsiteY445" fmla="*/ 751998 h 1551620"/>
                  <a:gd name="connsiteX446" fmla="*/ 1348645 w 1555246"/>
                  <a:gd name="connsiteY446" fmla="*/ 746259 h 1551620"/>
                  <a:gd name="connsiteX447" fmla="*/ 1360123 w 1555246"/>
                  <a:gd name="connsiteY447" fmla="*/ 732869 h 1551620"/>
                  <a:gd name="connsiteX448" fmla="*/ 1363948 w 1555246"/>
                  <a:gd name="connsiteY448" fmla="*/ 727130 h 1551620"/>
                  <a:gd name="connsiteX449" fmla="*/ 1375426 w 1555246"/>
                  <a:gd name="connsiteY449" fmla="*/ 723304 h 1551620"/>
                  <a:gd name="connsiteX450" fmla="*/ 1398382 w 1555246"/>
                  <a:gd name="connsiteY450" fmla="*/ 713739 h 1551620"/>
                  <a:gd name="connsiteX451" fmla="*/ 1404121 w 1555246"/>
                  <a:gd name="connsiteY451" fmla="*/ 709913 h 1551620"/>
                  <a:gd name="connsiteX452" fmla="*/ 1394556 w 1555246"/>
                  <a:gd name="connsiteY452" fmla="*/ 700348 h 1551620"/>
                  <a:gd name="connsiteX453" fmla="*/ 1388817 w 1555246"/>
                  <a:gd name="connsiteY453" fmla="*/ 692696 h 1551620"/>
                  <a:gd name="connsiteX454" fmla="*/ 1404121 w 1555246"/>
                  <a:gd name="connsiteY454" fmla="*/ 669740 h 1551620"/>
                  <a:gd name="connsiteX455" fmla="*/ 1413686 w 1555246"/>
                  <a:gd name="connsiteY455" fmla="*/ 675479 h 1551620"/>
                  <a:gd name="connsiteX456" fmla="*/ 1450032 w 1555246"/>
                  <a:gd name="connsiteY456" fmla="*/ 673566 h 1551620"/>
                  <a:gd name="connsiteX457" fmla="*/ 1457684 w 1555246"/>
                  <a:gd name="connsiteY457" fmla="*/ 660176 h 1551620"/>
                  <a:gd name="connsiteX458" fmla="*/ 1465336 w 1555246"/>
                  <a:gd name="connsiteY458" fmla="*/ 618090 h 1551620"/>
                  <a:gd name="connsiteX459" fmla="*/ 1472988 w 1555246"/>
                  <a:gd name="connsiteY459" fmla="*/ 572179 h 1551620"/>
                  <a:gd name="connsiteX460" fmla="*/ 1474901 w 1555246"/>
                  <a:gd name="connsiteY460" fmla="*/ 554962 h 1551620"/>
                  <a:gd name="connsiteX461" fmla="*/ 1484466 w 1555246"/>
                  <a:gd name="connsiteY461" fmla="*/ 526268 h 1551620"/>
                  <a:gd name="connsiteX462" fmla="*/ 1486379 w 1555246"/>
                  <a:gd name="connsiteY462" fmla="*/ 497573 h 1551620"/>
                  <a:gd name="connsiteX463" fmla="*/ 1490205 w 1555246"/>
                  <a:gd name="connsiteY463" fmla="*/ 491834 h 1551620"/>
                  <a:gd name="connsiteX464" fmla="*/ 1492117 w 1555246"/>
                  <a:gd name="connsiteY464" fmla="*/ 480356 h 1551620"/>
                  <a:gd name="connsiteX465" fmla="*/ 1495943 w 1555246"/>
                  <a:gd name="connsiteY465" fmla="*/ 474617 h 1551620"/>
                  <a:gd name="connsiteX466" fmla="*/ 1511247 w 1555246"/>
                  <a:gd name="connsiteY466" fmla="*/ 451662 h 1551620"/>
                  <a:gd name="connsiteX467" fmla="*/ 1524638 w 1555246"/>
                  <a:gd name="connsiteY467" fmla="*/ 438271 h 1551620"/>
                  <a:gd name="connsiteX468" fmla="*/ 1534203 w 1555246"/>
                  <a:gd name="connsiteY468" fmla="*/ 428706 h 1551620"/>
                  <a:gd name="connsiteX469" fmla="*/ 1551420 w 1555246"/>
                  <a:gd name="connsiteY469" fmla="*/ 415315 h 1551620"/>
                  <a:gd name="connsiteX470" fmla="*/ 1555246 w 1555246"/>
                  <a:gd name="connsiteY470" fmla="*/ 409576 h 1551620"/>
                  <a:gd name="connsiteX471" fmla="*/ 1549507 w 1555246"/>
                  <a:gd name="connsiteY471" fmla="*/ 403838 h 1551620"/>
                  <a:gd name="connsiteX472" fmla="*/ 1524638 w 1555246"/>
                  <a:gd name="connsiteY472" fmla="*/ 400012 h 1551620"/>
                  <a:gd name="connsiteX473" fmla="*/ 1501682 w 1555246"/>
                  <a:gd name="connsiteY473" fmla="*/ 394273 h 1551620"/>
                  <a:gd name="connsiteX474" fmla="*/ 1494030 w 1555246"/>
                  <a:gd name="connsiteY474" fmla="*/ 392360 h 1551620"/>
                  <a:gd name="connsiteX475" fmla="*/ 1484466 w 1555246"/>
                  <a:gd name="connsiteY475" fmla="*/ 390447 h 1551620"/>
                  <a:gd name="connsiteX476" fmla="*/ 1471075 w 1555246"/>
                  <a:gd name="connsiteY476" fmla="*/ 384708 h 1551620"/>
                  <a:gd name="connsiteX477" fmla="*/ 1459597 w 1555246"/>
                  <a:gd name="connsiteY477" fmla="*/ 375143 h 1551620"/>
                  <a:gd name="connsiteX478" fmla="*/ 1404121 w 1555246"/>
                  <a:gd name="connsiteY478" fmla="*/ 373230 h 1551620"/>
                  <a:gd name="connsiteX479" fmla="*/ 1392643 w 1555246"/>
                  <a:gd name="connsiteY479" fmla="*/ 369404 h 1551620"/>
                  <a:gd name="connsiteX480" fmla="*/ 1377339 w 1555246"/>
                  <a:gd name="connsiteY480" fmla="*/ 371317 h 1551620"/>
                  <a:gd name="connsiteX481" fmla="*/ 1373513 w 1555246"/>
                  <a:gd name="connsiteY481" fmla="*/ 363665 h 1551620"/>
                  <a:gd name="connsiteX482" fmla="*/ 1371600 w 1555246"/>
                  <a:gd name="connsiteY482" fmla="*/ 357926 h 1551620"/>
                  <a:gd name="connsiteX483" fmla="*/ 1369687 w 1555246"/>
                  <a:gd name="connsiteY483" fmla="*/ 350274 h 1551620"/>
                  <a:gd name="connsiteX484" fmla="*/ 1358210 w 1555246"/>
                  <a:gd name="connsiteY484" fmla="*/ 334971 h 1551620"/>
                  <a:gd name="connsiteX485" fmla="*/ 1335254 w 1555246"/>
                  <a:gd name="connsiteY485" fmla="*/ 323493 h 1551620"/>
                  <a:gd name="connsiteX486" fmla="*/ 1304646 w 1555246"/>
                  <a:gd name="connsiteY486" fmla="*/ 321580 h 1551620"/>
                  <a:gd name="connsiteX487" fmla="*/ 1298907 w 1555246"/>
                  <a:gd name="connsiteY487" fmla="*/ 313928 h 1551620"/>
                  <a:gd name="connsiteX488" fmla="*/ 1293169 w 1555246"/>
                  <a:gd name="connsiteY488" fmla="*/ 312015 h 1551620"/>
                  <a:gd name="connsiteX489" fmla="*/ 1277865 w 1555246"/>
                  <a:gd name="connsiteY489" fmla="*/ 306276 h 1551620"/>
                  <a:gd name="connsiteX490" fmla="*/ 1268300 w 1555246"/>
                  <a:gd name="connsiteY490" fmla="*/ 300537 h 1551620"/>
                  <a:gd name="connsiteX491" fmla="*/ 1258735 w 1555246"/>
                  <a:gd name="connsiteY491" fmla="*/ 292885 h 1551620"/>
                  <a:gd name="connsiteX492" fmla="*/ 1203259 w 1555246"/>
                  <a:gd name="connsiteY492" fmla="*/ 289059 h 1551620"/>
                  <a:gd name="connsiteX493" fmla="*/ 1195607 w 1555246"/>
                  <a:gd name="connsiteY493" fmla="*/ 275669 h 1551620"/>
                  <a:gd name="connsiteX494" fmla="*/ 1193694 w 1555246"/>
                  <a:gd name="connsiteY494" fmla="*/ 268017 h 1551620"/>
                  <a:gd name="connsiteX495" fmla="*/ 1180303 w 1555246"/>
                  <a:gd name="connsiteY495" fmla="*/ 256539 h 1551620"/>
                  <a:gd name="connsiteX496" fmla="*/ 1166912 w 1555246"/>
                  <a:gd name="connsiteY496" fmla="*/ 233583 h 1551620"/>
                  <a:gd name="connsiteX497" fmla="*/ 1165000 w 1555246"/>
                  <a:gd name="connsiteY497" fmla="*/ 197237 h 1551620"/>
                  <a:gd name="connsiteX498" fmla="*/ 1178390 w 1555246"/>
                  <a:gd name="connsiteY498" fmla="*/ 191498 h 1551620"/>
                  <a:gd name="connsiteX499" fmla="*/ 1184129 w 1555246"/>
                  <a:gd name="connsiteY499" fmla="*/ 183846 h 1551620"/>
                  <a:gd name="connsiteX500" fmla="*/ 1172651 w 1555246"/>
                  <a:gd name="connsiteY500" fmla="*/ 181933 h 1551620"/>
                  <a:gd name="connsiteX501" fmla="*/ 1166912 w 1555246"/>
                  <a:gd name="connsiteY501" fmla="*/ 180020 h 1551620"/>
                  <a:gd name="connsiteX502" fmla="*/ 1153522 w 1555246"/>
                  <a:gd name="connsiteY502" fmla="*/ 178107 h 1551620"/>
                  <a:gd name="connsiteX503" fmla="*/ 1128653 w 1555246"/>
                  <a:gd name="connsiteY503" fmla="*/ 185759 h 1551620"/>
                  <a:gd name="connsiteX504" fmla="*/ 1124827 w 1555246"/>
                  <a:gd name="connsiteY504" fmla="*/ 191498 h 1551620"/>
                  <a:gd name="connsiteX505" fmla="*/ 1130566 w 1555246"/>
                  <a:gd name="connsiteY505" fmla="*/ 193411 h 1551620"/>
                  <a:gd name="connsiteX506" fmla="*/ 1111436 w 1555246"/>
                  <a:gd name="connsiteY506" fmla="*/ 202976 h 1551620"/>
                  <a:gd name="connsiteX507" fmla="*/ 1098046 w 1555246"/>
                  <a:gd name="connsiteY507" fmla="*/ 210628 h 1551620"/>
                  <a:gd name="connsiteX508" fmla="*/ 1088481 w 1555246"/>
                  <a:gd name="connsiteY508" fmla="*/ 199150 h 1551620"/>
                  <a:gd name="connsiteX509" fmla="*/ 1092307 w 1555246"/>
                  <a:gd name="connsiteY509" fmla="*/ 183846 h 1551620"/>
                  <a:gd name="connsiteX510" fmla="*/ 1080829 w 1555246"/>
                  <a:gd name="connsiteY510" fmla="*/ 151325 h 1551620"/>
                  <a:gd name="connsiteX511" fmla="*/ 1067438 w 1555246"/>
                  <a:gd name="connsiteY511" fmla="*/ 149412 h 1551620"/>
                  <a:gd name="connsiteX512" fmla="*/ 1055960 w 1555246"/>
                  <a:gd name="connsiteY512" fmla="*/ 143674 h 1551620"/>
                  <a:gd name="connsiteX513" fmla="*/ 1044482 w 1555246"/>
                  <a:gd name="connsiteY513" fmla="*/ 139848 h 1551620"/>
                  <a:gd name="connsiteX514" fmla="*/ 1033005 w 1555246"/>
                  <a:gd name="connsiteY514" fmla="*/ 124544 h 1551620"/>
                  <a:gd name="connsiteX515" fmla="*/ 1027266 w 1555246"/>
                  <a:gd name="connsiteY515" fmla="*/ 118805 h 1551620"/>
                  <a:gd name="connsiteX516" fmla="*/ 1021527 w 1555246"/>
                  <a:gd name="connsiteY516" fmla="*/ 114979 h 1551620"/>
                  <a:gd name="connsiteX517" fmla="*/ 1010049 w 1555246"/>
                  <a:gd name="connsiteY517" fmla="*/ 101588 h 1551620"/>
                  <a:gd name="connsiteX518" fmla="*/ 1008136 w 1555246"/>
                  <a:gd name="connsiteY518" fmla="*/ 90110 h 1551620"/>
                  <a:gd name="connsiteX519" fmla="*/ 998571 w 1555246"/>
                  <a:gd name="connsiteY519" fmla="*/ 74807 h 1551620"/>
                  <a:gd name="connsiteX520" fmla="*/ 996658 w 1555246"/>
                  <a:gd name="connsiteY520" fmla="*/ 48025 h 1551620"/>
                  <a:gd name="connsiteX521" fmla="*/ 989006 w 1555246"/>
                  <a:gd name="connsiteY521" fmla="*/ 42286 h 1551620"/>
                  <a:gd name="connsiteX522" fmla="*/ 950747 w 1555246"/>
                  <a:gd name="connsiteY522" fmla="*/ 40373 h 1551620"/>
                  <a:gd name="connsiteX523" fmla="*/ 943095 w 1555246"/>
                  <a:gd name="connsiteY523" fmla="*/ 34634 h 1551620"/>
                  <a:gd name="connsiteX524" fmla="*/ 925878 w 1555246"/>
                  <a:gd name="connsiteY524" fmla="*/ 23156 h 1551620"/>
                  <a:gd name="connsiteX525" fmla="*/ 922052 w 1555246"/>
                  <a:gd name="connsiteY525" fmla="*/ 13592 h 1551620"/>
                  <a:gd name="connsiteX526" fmla="*/ 918226 w 1555246"/>
                  <a:gd name="connsiteY526" fmla="*/ 7853 h 1551620"/>
                  <a:gd name="connsiteX527" fmla="*/ 920139 w 1555246"/>
                  <a:gd name="connsiteY527" fmla="*/ 2114 h 1551620"/>
                  <a:gd name="connsiteX0" fmla="*/ 920139 w 1555246"/>
                  <a:gd name="connsiteY0" fmla="*/ 2114 h 1551620"/>
                  <a:gd name="connsiteX1" fmla="*/ 872315 w 1555246"/>
                  <a:gd name="connsiteY1" fmla="*/ 201 h 1551620"/>
                  <a:gd name="connsiteX2" fmla="*/ 835969 w 1555246"/>
                  <a:gd name="connsiteY2" fmla="*/ 5940 h 1551620"/>
                  <a:gd name="connsiteX3" fmla="*/ 830230 w 1555246"/>
                  <a:gd name="connsiteY3" fmla="*/ 9766 h 1551620"/>
                  <a:gd name="connsiteX4" fmla="*/ 822578 w 1555246"/>
                  <a:gd name="connsiteY4" fmla="*/ 11679 h 1551620"/>
                  <a:gd name="connsiteX5" fmla="*/ 816839 w 1555246"/>
                  <a:gd name="connsiteY5" fmla="*/ 19330 h 1551620"/>
                  <a:gd name="connsiteX6" fmla="*/ 813013 w 1555246"/>
                  <a:gd name="connsiteY6" fmla="*/ 32721 h 1551620"/>
                  <a:gd name="connsiteX7" fmla="*/ 805361 w 1555246"/>
                  <a:gd name="connsiteY7" fmla="*/ 44199 h 1551620"/>
                  <a:gd name="connsiteX8" fmla="*/ 801535 w 1555246"/>
                  <a:gd name="connsiteY8" fmla="*/ 63329 h 1551620"/>
                  <a:gd name="connsiteX9" fmla="*/ 797709 w 1555246"/>
                  <a:gd name="connsiteY9" fmla="*/ 78633 h 1551620"/>
                  <a:gd name="connsiteX10" fmla="*/ 795796 w 1555246"/>
                  <a:gd name="connsiteY10" fmla="*/ 88197 h 1551620"/>
                  <a:gd name="connsiteX11" fmla="*/ 791970 w 1555246"/>
                  <a:gd name="connsiteY11" fmla="*/ 97762 h 1551620"/>
                  <a:gd name="connsiteX12" fmla="*/ 790057 w 1555246"/>
                  <a:gd name="connsiteY12" fmla="*/ 103501 h 1551620"/>
                  <a:gd name="connsiteX13" fmla="*/ 788144 w 1555246"/>
                  <a:gd name="connsiteY13" fmla="*/ 113066 h 1551620"/>
                  <a:gd name="connsiteX14" fmla="*/ 774753 w 1555246"/>
                  <a:gd name="connsiteY14" fmla="*/ 132196 h 1551620"/>
                  <a:gd name="connsiteX15" fmla="*/ 770928 w 1555246"/>
                  <a:gd name="connsiteY15" fmla="*/ 137935 h 1551620"/>
                  <a:gd name="connsiteX16" fmla="*/ 757537 w 1555246"/>
                  <a:gd name="connsiteY16" fmla="*/ 158977 h 1551620"/>
                  <a:gd name="connsiteX17" fmla="*/ 751798 w 1555246"/>
                  <a:gd name="connsiteY17" fmla="*/ 160890 h 1551620"/>
                  <a:gd name="connsiteX18" fmla="*/ 746059 w 1555246"/>
                  <a:gd name="connsiteY18" fmla="*/ 164716 h 1551620"/>
                  <a:gd name="connsiteX19" fmla="*/ 738407 w 1555246"/>
                  <a:gd name="connsiteY19" fmla="*/ 170455 h 1551620"/>
                  <a:gd name="connsiteX20" fmla="*/ 713538 w 1555246"/>
                  <a:gd name="connsiteY20" fmla="*/ 178107 h 1551620"/>
                  <a:gd name="connsiteX21" fmla="*/ 686757 w 1555246"/>
                  <a:gd name="connsiteY21" fmla="*/ 185759 h 1551620"/>
                  <a:gd name="connsiteX22" fmla="*/ 665714 w 1555246"/>
                  <a:gd name="connsiteY22" fmla="*/ 191498 h 1551620"/>
                  <a:gd name="connsiteX23" fmla="*/ 644671 w 1555246"/>
                  <a:gd name="connsiteY23" fmla="*/ 195324 h 1551620"/>
                  <a:gd name="connsiteX24" fmla="*/ 633194 w 1555246"/>
                  <a:gd name="connsiteY24" fmla="*/ 202976 h 1551620"/>
                  <a:gd name="connsiteX25" fmla="*/ 615977 w 1555246"/>
                  <a:gd name="connsiteY25" fmla="*/ 212540 h 1551620"/>
                  <a:gd name="connsiteX26" fmla="*/ 606412 w 1555246"/>
                  <a:gd name="connsiteY26" fmla="*/ 224018 h 1551620"/>
                  <a:gd name="connsiteX27" fmla="*/ 615977 w 1555246"/>
                  <a:gd name="connsiteY27" fmla="*/ 233583 h 1551620"/>
                  <a:gd name="connsiteX28" fmla="*/ 642758 w 1555246"/>
                  <a:gd name="connsiteY28" fmla="*/ 248887 h 1551620"/>
                  <a:gd name="connsiteX29" fmla="*/ 635107 w 1555246"/>
                  <a:gd name="connsiteY29" fmla="*/ 254626 h 1551620"/>
                  <a:gd name="connsiteX30" fmla="*/ 615977 w 1555246"/>
                  <a:gd name="connsiteY30" fmla="*/ 262278 h 1551620"/>
                  <a:gd name="connsiteX31" fmla="*/ 598760 w 1555246"/>
                  <a:gd name="connsiteY31" fmla="*/ 266104 h 1551620"/>
                  <a:gd name="connsiteX32" fmla="*/ 562414 w 1555246"/>
                  <a:gd name="connsiteY32" fmla="*/ 268017 h 1551620"/>
                  <a:gd name="connsiteX33" fmla="*/ 554762 w 1555246"/>
                  <a:gd name="connsiteY33" fmla="*/ 264191 h 1551620"/>
                  <a:gd name="connsiteX34" fmla="*/ 549023 w 1555246"/>
                  <a:gd name="connsiteY34" fmla="*/ 260365 h 1551620"/>
                  <a:gd name="connsiteX35" fmla="*/ 522241 w 1555246"/>
                  <a:gd name="connsiteY35" fmla="*/ 258452 h 1551620"/>
                  <a:gd name="connsiteX36" fmla="*/ 493547 w 1555246"/>
                  <a:gd name="connsiteY36" fmla="*/ 243148 h 1551620"/>
                  <a:gd name="connsiteX37" fmla="*/ 489721 w 1555246"/>
                  <a:gd name="connsiteY37" fmla="*/ 237409 h 1551620"/>
                  <a:gd name="connsiteX38" fmla="*/ 483982 w 1555246"/>
                  <a:gd name="connsiteY38" fmla="*/ 235496 h 1551620"/>
                  <a:gd name="connsiteX39" fmla="*/ 459113 w 1555246"/>
                  <a:gd name="connsiteY39" fmla="*/ 231670 h 1551620"/>
                  <a:gd name="connsiteX40" fmla="*/ 439984 w 1555246"/>
                  <a:gd name="connsiteY40" fmla="*/ 210628 h 1551620"/>
                  <a:gd name="connsiteX41" fmla="*/ 462939 w 1555246"/>
                  <a:gd name="connsiteY41" fmla="*/ 197237 h 1551620"/>
                  <a:gd name="connsiteX42" fmla="*/ 441897 w 1555246"/>
                  <a:gd name="connsiteY42" fmla="*/ 191498 h 1551620"/>
                  <a:gd name="connsiteX43" fmla="*/ 428506 w 1555246"/>
                  <a:gd name="connsiteY43" fmla="*/ 183846 h 1551620"/>
                  <a:gd name="connsiteX44" fmla="*/ 420854 w 1555246"/>
                  <a:gd name="connsiteY44" fmla="*/ 181933 h 1551620"/>
                  <a:gd name="connsiteX45" fmla="*/ 403637 w 1555246"/>
                  <a:gd name="connsiteY45" fmla="*/ 176194 h 1551620"/>
                  <a:gd name="connsiteX46" fmla="*/ 392159 w 1555246"/>
                  <a:gd name="connsiteY46" fmla="*/ 168542 h 1551620"/>
                  <a:gd name="connsiteX47" fmla="*/ 382594 w 1555246"/>
                  <a:gd name="connsiteY47" fmla="*/ 162803 h 1551620"/>
                  <a:gd name="connsiteX48" fmla="*/ 390246 w 1555246"/>
                  <a:gd name="connsiteY48" fmla="*/ 176194 h 1551620"/>
                  <a:gd name="connsiteX49" fmla="*/ 386420 w 1555246"/>
                  <a:gd name="connsiteY49" fmla="*/ 193411 h 1551620"/>
                  <a:gd name="connsiteX50" fmla="*/ 380682 w 1555246"/>
                  <a:gd name="connsiteY50" fmla="*/ 210628 h 1551620"/>
                  <a:gd name="connsiteX51" fmla="*/ 378769 w 1555246"/>
                  <a:gd name="connsiteY51" fmla="*/ 216366 h 1551620"/>
                  <a:gd name="connsiteX52" fmla="*/ 376856 w 1555246"/>
                  <a:gd name="connsiteY52" fmla="*/ 225931 h 1551620"/>
                  <a:gd name="connsiteX53" fmla="*/ 378769 w 1555246"/>
                  <a:gd name="connsiteY53" fmla="*/ 237409 h 1551620"/>
                  <a:gd name="connsiteX54" fmla="*/ 386420 w 1555246"/>
                  <a:gd name="connsiteY54" fmla="*/ 239322 h 1551620"/>
                  <a:gd name="connsiteX55" fmla="*/ 390246 w 1555246"/>
                  <a:gd name="connsiteY55" fmla="*/ 246974 h 1551620"/>
                  <a:gd name="connsiteX56" fmla="*/ 390246 w 1555246"/>
                  <a:gd name="connsiteY56" fmla="*/ 294798 h 1551620"/>
                  <a:gd name="connsiteX57" fmla="*/ 392159 w 1555246"/>
                  <a:gd name="connsiteY57" fmla="*/ 357926 h 1551620"/>
                  <a:gd name="connsiteX58" fmla="*/ 394072 w 1555246"/>
                  <a:gd name="connsiteY58" fmla="*/ 363665 h 1551620"/>
                  <a:gd name="connsiteX59" fmla="*/ 403637 w 1555246"/>
                  <a:gd name="connsiteY59" fmla="*/ 367491 h 1551620"/>
                  <a:gd name="connsiteX60" fmla="*/ 361552 w 1555246"/>
                  <a:gd name="connsiteY60" fmla="*/ 363665 h 1551620"/>
                  <a:gd name="connsiteX61" fmla="*/ 355813 w 1555246"/>
                  <a:gd name="connsiteY61" fmla="*/ 359839 h 1551620"/>
                  <a:gd name="connsiteX62" fmla="*/ 346248 w 1555246"/>
                  <a:gd name="connsiteY62" fmla="*/ 375143 h 1551620"/>
                  <a:gd name="connsiteX63" fmla="*/ 336683 w 1555246"/>
                  <a:gd name="connsiteY63" fmla="*/ 369404 h 1551620"/>
                  <a:gd name="connsiteX64" fmla="*/ 332857 w 1555246"/>
                  <a:gd name="connsiteY64" fmla="*/ 357926 h 1551620"/>
                  <a:gd name="connsiteX65" fmla="*/ 321379 w 1555246"/>
                  <a:gd name="connsiteY65" fmla="*/ 352187 h 1551620"/>
                  <a:gd name="connsiteX66" fmla="*/ 313728 w 1555246"/>
                  <a:gd name="connsiteY66" fmla="*/ 346448 h 1551620"/>
                  <a:gd name="connsiteX67" fmla="*/ 306076 w 1555246"/>
                  <a:gd name="connsiteY67" fmla="*/ 342623 h 1551620"/>
                  <a:gd name="connsiteX68" fmla="*/ 300337 w 1555246"/>
                  <a:gd name="connsiteY68" fmla="*/ 338797 h 1551620"/>
                  <a:gd name="connsiteX69" fmla="*/ 296511 w 1555246"/>
                  <a:gd name="connsiteY69" fmla="*/ 346448 h 1551620"/>
                  <a:gd name="connsiteX70" fmla="*/ 288859 w 1555246"/>
                  <a:gd name="connsiteY70" fmla="*/ 356013 h 1551620"/>
                  <a:gd name="connsiteX71" fmla="*/ 277381 w 1555246"/>
                  <a:gd name="connsiteY71" fmla="*/ 357926 h 1551620"/>
                  <a:gd name="connsiteX72" fmla="*/ 254425 w 1555246"/>
                  <a:gd name="connsiteY72" fmla="*/ 361752 h 1551620"/>
                  <a:gd name="connsiteX73" fmla="*/ 252512 w 1555246"/>
                  <a:gd name="connsiteY73" fmla="*/ 346448 h 1551620"/>
                  <a:gd name="connsiteX74" fmla="*/ 250600 w 1555246"/>
                  <a:gd name="connsiteY74" fmla="*/ 338797 h 1551620"/>
                  <a:gd name="connsiteX75" fmla="*/ 242948 w 1555246"/>
                  <a:gd name="connsiteY75" fmla="*/ 321580 h 1551620"/>
                  <a:gd name="connsiteX76" fmla="*/ 237209 w 1555246"/>
                  <a:gd name="connsiteY76" fmla="*/ 310102 h 1551620"/>
                  <a:gd name="connsiteX77" fmla="*/ 229557 w 1555246"/>
                  <a:gd name="connsiteY77" fmla="*/ 302450 h 1551620"/>
                  <a:gd name="connsiteX78" fmla="*/ 225731 w 1555246"/>
                  <a:gd name="connsiteY78" fmla="*/ 296711 h 1551620"/>
                  <a:gd name="connsiteX79" fmla="*/ 214253 w 1555246"/>
                  <a:gd name="connsiteY79" fmla="*/ 294798 h 1551620"/>
                  <a:gd name="connsiteX80" fmla="*/ 197036 w 1555246"/>
                  <a:gd name="connsiteY80" fmla="*/ 285233 h 1551620"/>
                  <a:gd name="connsiteX81" fmla="*/ 172168 w 1555246"/>
                  <a:gd name="connsiteY81" fmla="*/ 290972 h 1551620"/>
                  <a:gd name="connsiteX82" fmla="*/ 153038 w 1555246"/>
                  <a:gd name="connsiteY82" fmla="*/ 292885 h 1551620"/>
                  <a:gd name="connsiteX83" fmla="*/ 154951 w 1555246"/>
                  <a:gd name="connsiteY83" fmla="*/ 298624 h 1551620"/>
                  <a:gd name="connsiteX84" fmla="*/ 158777 w 1555246"/>
                  <a:gd name="connsiteY84" fmla="*/ 304363 h 1551620"/>
                  <a:gd name="connsiteX85" fmla="*/ 153038 w 1555246"/>
                  <a:gd name="connsiteY85" fmla="*/ 306276 h 1551620"/>
                  <a:gd name="connsiteX86" fmla="*/ 133908 w 1555246"/>
                  <a:gd name="connsiteY86" fmla="*/ 306276 h 1551620"/>
                  <a:gd name="connsiteX87" fmla="*/ 131995 w 1555246"/>
                  <a:gd name="connsiteY87" fmla="*/ 312015 h 1551620"/>
                  <a:gd name="connsiteX88" fmla="*/ 118605 w 1555246"/>
                  <a:gd name="connsiteY88" fmla="*/ 304363 h 1551620"/>
                  <a:gd name="connsiteX89" fmla="*/ 110953 w 1555246"/>
                  <a:gd name="connsiteY89" fmla="*/ 315841 h 1551620"/>
                  <a:gd name="connsiteX90" fmla="*/ 107127 w 1555246"/>
                  <a:gd name="connsiteY90" fmla="*/ 306276 h 1551620"/>
                  <a:gd name="connsiteX91" fmla="*/ 86084 w 1555246"/>
                  <a:gd name="connsiteY91" fmla="*/ 296711 h 1551620"/>
                  <a:gd name="connsiteX92" fmla="*/ 40173 w 1555246"/>
                  <a:gd name="connsiteY92" fmla="*/ 298624 h 1551620"/>
                  <a:gd name="connsiteX93" fmla="*/ 32521 w 1555246"/>
                  <a:gd name="connsiteY93" fmla="*/ 300537 h 1551620"/>
                  <a:gd name="connsiteX94" fmla="*/ 13391 w 1555246"/>
                  <a:gd name="connsiteY94" fmla="*/ 310102 h 1551620"/>
                  <a:gd name="connsiteX95" fmla="*/ 5739 w 1555246"/>
                  <a:gd name="connsiteY95" fmla="*/ 319667 h 1551620"/>
                  <a:gd name="connsiteX96" fmla="*/ 0 w 1555246"/>
                  <a:gd name="connsiteY96" fmla="*/ 334971 h 1551620"/>
                  <a:gd name="connsiteX97" fmla="*/ 7652 w 1555246"/>
                  <a:gd name="connsiteY97" fmla="*/ 340710 h 1551620"/>
                  <a:gd name="connsiteX98" fmla="*/ 13391 w 1555246"/>
                  <a:gd name="connsiteY98" fmla="*/ 348361 h 1551620"/>
                  <a:gd name="connsiteX99" fmla="*/ 21043 w 1555246"/>
                  <a:gd name="connsiteY99" fmla="*/ 350274 h 1551620"/>
                  <a:gd name="connsiteX100" fmla="*/ 26782 w 1555246"/>
                  <a:gd name="connsiteY100" fmla="*/ 354100 h 1551620"/>
                  <a:gd name="connsiteX101" fmla="*/ 47825 w 1555246"/>
                  <a:gd name="connsiteY101" fmla="*/ 359839 h 1551620"/>
                  <a:gd name="connsiteX102" fmla="*/ 57389 w 1555246"/>
                  <a:gd name="connsiteY102" fmla="*/ 373230 h 1551620"/>
                  <a:gd name="connsiteX103" fmla="*/ 63128 w 1555246"/>
                  <a:gd name="connsiteY103" fmla="*/ 371317 h 1551620"/>
                  <a:gd name="connsiteX104" fmla="*/ 72693 w 1555246"/>
                  <a:gd name="connsiteY104" fmla="*/ 361752 h 1551620"/>
                  <a:gd name="connsiteX105" fmla="*/ 68867 w 1555246"/>
                  <a:gd name="connsiteY105" fmla="*/ 380882 h 1551620"/>
                  <a:gd name="connsiteX106" fmla="*/ 59302 w 1555246"/>
                  <a:gd name="connsiteY106" fmla="*/ 400012 h 1551620"/>
                  <a:gd name="connsiteX107" fmla="*/ 53564 w 1555246"/>
                  <a:gd name="connsiteY107" fmla="*/ 401925 h 1551620"/>
                  <a:gd name="connsiteX108" fmla="*/ 42086 w 1555246"/>
                  <a:gd name="connsiteY108" fmla="*/ 388534 h 1551620"/>
                  <a:gd name="connsiteX109" fmla="*/ 40173 w 1555246"/>
                  <a:gd name="connsiteY109" fmla="*/ 382795 h 1551620"/>
                  <a:gd name="connsiteX110" fmla="*/ 38260 w 1555246"/>
                  <a:gd name="connsiteY110" fmla="*/ 375143 h 1551620"/>
                  <a:gd name="connsiteX111" fmla="*/ 30608 w 1555246"/>
                  <a:gd name="connsiteY111" fmla="*/ 369404 h 1551620"/>
                  <a:gd name="connsiteX112" fmla="*/ 21043 w 1555246"/>
                  <a:gd name="connsiteY112" fmla="*/ 371317 h 1551620"/>
                  <a:gd name="connsiteX113" fmla="*/ 17217 w 1555246"/>
                  <a:gd name="connsiteY113" fmla="*/ 382795 h 1551620"/>
                  <a:gd name="connsiteX114" fmla="*/ 7652 w 1555246"/>
                  <a:gd name="connsiteY114" fmla="*/ 398099 h 1551620"/>
                  <a:gd name="connsiteX115" fmla="*/ 0 w 1555246"/>
                  <a:gd name="connsiteY115" fmla="*/ 400012 h 1551620"/>
                  <a:gd name="connsiteX116" fmla="*/ 9565 w 1555246"/>
                  <a:gd name="connsiteY116" fmla="*/ 407664 h 1551620"/>
                  <a:gd name="connsiteX117" fmla="*/ 17217 w 1555246"/>
                  <a:gd name="connsiteY117" fmla="*/ 409576 h 1551620"/>
                  <a:gd name="connsiteX118" fmla="*/ 19130 w 1555246"/>
                  <a:gd name="connsiteY118" fmla="*/ 415315 h 1551620"/>
                  <a:gd name="connsiteX119" fmla="*/ 22956 w 1555246"/>
                  <a:gd name="connsiteY119" fmla="*/ 428706 h 1551620"/>
                  <a:gd name="connsiteX120" fmla="*/ 26782 w 1555246"/>
                  <a:gd name="connsiteY120" fmla="*/ 442097 h 1551620"/>
                  <a:gd name="connsiteX121" fmla="*/ 30608 w 1555246"/>
                  <a:gd name="connsiteY121" fmla="*/ 449749 h 1551620"/>
                  <a:gd name="connsiteX122" fmla="*/ 36347 w 1555246"/>
                  <a:gd name="connsiteY122" fmla="*/ 459314 h 1551620"/>
                  <a:gd name="connsiteX123" fmla="*/ 42086 w 1555246"/>
                  <a:gd name="connsiteY123" fmla="*/ 463140 h 1551620"/>
                  <a:gd name="connsiteX124" fmla="*/ 61215 w 1555246"/>
                  <a:gd name="connsiteY124" fmla="*/ 461227 h 1551620"/>
                  <a:gd name="connsiteX125" fmla="*/ 66954 w 1555246"/>
                  <a:gd name="connsiteY125" fmla="*/ 459314 h 1551620"/>
                  <a:gd name="connsiteX126" fmla="*/ 68867 w 1555246"/>
                  <a:gd name="connsiteY126" fmla="*/ 453575 h 1551620"/>
                  <a:gd name="connsiteX127" fmla="*/ 74606 w 1555246"/>
                  <a:gd name="connsiteY127" fmla="*/ 447836 h 1551620"/>
                  <a:gd name="connsiteX128" fmla="*/ 91823 w 1555246"/>
                  <a:gd name="connsiteY128" fmla="*/ 455488 h 1551620"/>
                  <a:gd name="connsiteX129" fmla="*/ 93736 w 1555246"/>
                  <a:gd name="connsiteY129" fmla="*/ 465053 h 1551620"/>
                  <a:gd name="connsiteX130" fmla="*/ 103301 w 1555246"/>
                  <a:gd name="connsiteY130" fmla="*/ 476530 h 1551620"/>
                  <a:gd name="connsiteX131" fmla="*/ 131995 w 1555246"/>
                  <a:gd name="connsiteY131" fmla="*/ 480356 h 1551620"/>
                  <a:gd name="connsiteX132" fmla="*/ 139647 w 1555246"/>
                  <a:gd name="connsiteY132" fmla="*/ 482269 h 1551620"/>
                  <a:gd name="connsiteX133" fmla="*/ 145386 w 1555246"/>
                  <a:gd name="connsiteY133" fmla="*/ 488008 h 1551620"/>
                  <a:gd name="connsiteX134" fmla="*/ 156864 w 1555246"/>
                  <a:gd name="connsiteY134" fmla="*/ 493747 h 1551620"/>
                  <a:gd name="connsiteX135" fmla="*/ 158777 w 1555246"/>
                  <a:gd name="connsiteY135" fmla="*/ 499486 h 1551620"/>
                  <a:gd name="connsiteX136" fmla="*/ 166429 w 1555246"/>
                  <a:gd name="connsiteY136" fmla="*/ 512877 h 1551620"/>
                  <a:gd name="connsiteX137" fmla="*/ 185558 w 1555246"/>
                  <a:gd name="connsiteY137" fmla="*/ 528181 h 1551620"/>
                  <a:gd name="connsiteX138" fmla="*/ 191297 w 1555246"/>
                  <a:gd name="connsiteY138" fmla="*/ 524355 h 1551620"/>
                  <a:gd name="connsiteX139" fmla="*/ 208514 w 1555246"/>
                  <a:gd name="connsiteY139" fmla="*/ 520529 h 1551620"/>
                  <a:gd name="connsiteX140" fmla="*/ 214253 w 1555246"/>
                  <a:gd name="connsiteY140" fmla="*/ 522442 h 1551620"/>
                  <a:gd name="connsiteX141" fmla="*/ 219992 w 1555246"/>
                  <a:gd name="connsiteY141" fmla="*/ 551136 h 1551620"/>
                  <a:gd name="connsiteX142" fmla="*/ 225731 w 1555246"/>
                  <a:gd name="connsiteY142" fmla="*/ 547310 h 1551620"/>
                  <a:gd name="connsiteX143" fmla="*/ 229557 w 1555246"/>
                  <a:gd name="connsiteY143" fmla="*/ 541571 h 1551620"/>
                  <a:gd name="connsiteX144" fmla="*/ 235296 w 1555246"/>
                  <a:gd name="connsiteY144" fmla="*/ 539658 h 1551620"/>
                  <a:gd name="connsiteX145" fmla="*/ 242948 w 1555246"/>
                  <a:gd name="connsiteY145" fmla="*/ 543484 h 1551620"/>
                  <a:gd name="connsiteX146" fmla="*/ 250600 w 1555246"/>
                  <a:gd name="connsiteY146" fmla="*/ 549223 h 1551620"/>
                  <a:gd name="connsiteX147" fmla="*/ 263990 w 1555246"/>
                  <a:gd name="connsiteY147" fmla="*/ 553049 h 1551620"/>
                  <a:gd name="connsiteX148" fmla="*/ 265903 w 1555246"/>
                  <a:gd name="connsiteY148" fmla="*/ 560701 h 1551620"/>
                  <a:gd name="connsiteX149" fmla="*/ 252512 w 1555246"/>
                  <a:gd name="connsiteY149" fmla="*/ 574092 h 1551620"/>
                  <a:gd name="connsiteX150" fmla="*/ 250600 w 1555246"/>
                  <a:gd name="connsiteY150" fmla="*/ 579831 h 1551620"/>
                  <a:gd name="connsiteX151" fmla="*/ 246774 w 1555246"/>
                  <a:gd name="connsiteY151" fmla="*/ 585570 h 1551620"/>
                  <a:gd name="connsiteX152" fmla="*/ 260164 w 1555246"/>
                  <a:gd name="connsiteY152" fmla="*/ 593222 h 1551620"/>
                  <a:gd name="connsiteX153" fmla="*/ 307989 w 1555246"/>
                  <a:gd name="connsiteY153" fmla="*/ 595135 h 1551620"/>
                  <a:gd name="connsiteX154" fmla="*/ 313728 w 1555246"/>
                  <a:gd name="connsiteY154" fmla="*/ 600874 h 1551620"/>
                  <a:gd name="connsiteX155" fmla="*/ 325205 w 1555246"/>
                  <a:gd name="connsiteY155" fmla="*/ 608525 h 1551620"/>
                  <a:gd name="connsiteX156" fmla="*/ 317553 w 1555246"/>
                  <a:gd name="connsiteY156" fmla="*/ 612351 h 1551620"/>
                  <a:gd name="connsiteX157" fmla="*/ 313728 w 1555246"/>
                  <a:gd name="connsiteY157" fmla="*/ 604699 h 1551620"/>
                  <a:gd name="connsiteX158" fmla="*/ 302250 w 1555246"/>
                  <a:gd name="connsiteY158" fmla="*/ 598961 h 1551620"/>
                  <a:gd name="connsiteX159" fmla="*/ 288859 w 1555246"/>
                  <a:gd name="connsiteY159" fmla="*/ 600874 h 1551620"/>
                  <a:gd name="connsiteX160" fmla="*/ 277381 w 1555246"/>
                  <a:gd name="connsiteY160" fmla="*/ 602787 h 1551620"/>
                  <a:gd name="connsiteX161" fmla="*/ 275468 w 1555246"/>
                  <a:gd name="connsiteY161" fmla="*/ 608525 h 1551620"/>
                  <a:gd name="connsiteX162" fmla="*/ 277381 w 1555246"/>
                  <a:gd name="connsiteY162" fmla="*/ 623829 h 1551620"/>
                  <a:gd name="connsiteX163" fmla="*/ 285033 w 1555246"/>
                  <a:gd name="connsiteY163" fmla="*/ 627655 h 1551620"/>
                  <a:gd name="connsiteX164" fmla="*/ 281207 w 1555246"/>
                  <a:gd name="connsiteY164" fmla="*/ 646785 h 1551620"/>
                  <a:gd name="connsiteX165" fmla="*/ 275468 w 1555246"/>
                  <a:gd name="connsiteY165" fmla="*/ 652524 h 1551620"/>
                  <a:gd name="connsiteX166" fmla="*/ 271642 w 1555246"/>
                  <a:gd name="connsiteY166" fmla="*/ 665915 h 1551620"/>
                  <a:gd name="connsiteX167" fmla="*/ 275468 w 1555246"/>
                  <a:gd name="connsiteY167" fmla="*/ 686957 h 1551620"/>
                  <a:gd name="connsiteX168" fmla="*/ 283120 w 1555246"/>
                  <a:gd name="connsiteY168" fmla="*/ 702261 h 1551620"/>
                  <a:gd name="connsiteX169" fmla="*/ 285033 w 1555246"/>
                  <a:gd name="connsiteY169" fmla="*/ 708000 h 1551620"/>
                  <a:gd name="connsiteX170" fmla="*/ 288859 w 1555246"/>
                  <a:gd name="connsiteY170" fmla="*/ 727130 h 1551620"/>
                  <a:gd name="connsiteX171" fmla="*/ 294598 w 1555246"/>
                  <a:gd name="connsiteY171" fmla="*/ 732869 h 1551620"/>
                  <a:gd name="connsiteX172" fmla="*/ 300337 w 1555246"/>
                  <a:gd name="connsiteY172" fmla="*/ 746259 h 1551620"/>
                  <a:gd name="connsiteX173" fmla="*/ 304163 w 1555246"/>
                  <a:gd name="connsiteY173" fmla="*/ 751998 h 1551620"/>
                  <a:gd name="connsiteX174" fmla="*/ 309902 w 1555246"/>
                  <a:gd name="connsiteY174" fmla="*/ 753911 h 1551620"/>
                  <a:gd name="connsiteX175" fmla="*/ 355813 w 1555246"/>
                  <a:gd name="connsiteY175" fmla="*/ 757737 h 1551620"/>
                  <a:gd name="connsiteX176" fmla="*/ 357726 w 1555246"/>
                  <a:gd name="connsiteY176" fmla="*/ 769215 h 1551620"/>
                  <a:gd name="connsiteX177" fmla="*/ 363465 w 1555246"/>
                  <a:gd name="connsiteY177" fmla="*/ 773041 h 1551620"/>
                  <a:gd name="connsiteX178" fmla="*/ 371117 w 1555246"/>
                  <a:gd name="connsiteY178" fmla="*/ 782606 h 1551620"/>
                  <a:gd name="connsiteX179" fmla="*/ 382594 w 1555246"/>
                  <a:gd name="connsiteY179" fmla="*/ 790258 h 1551620"/>
                  <a:gd name="connsiteX180" fmla="*/ 388333 w 1555246"/>
                  <a:gd name="connsiteY180" fmla="*/ 797910 h 1551620"/>
                  <a:gd name="connsiteX181" fmla="*/ 392159 w 1555246"/>
                  <a:gd name="connsiteY181" fmla="*/ 805561 h 1551620"/>
                  <a:gd name="connsiteX182" fmla="*/ 384507 w 1555246"/>
                  <a:gd name="connsiteY182" fmla="*/ 799823 h 1551620"/>
                  <a:gd name="connsiteX183" fmla="*/ 373030 w 1555246"/>
                  <a:gd name="connsiteY183" fmla="*/ 790258 h 1551620"/>
                  <a:gd name="connsiteX184" fmla="*/ 359639 w 1555246"/>
                  <a:gd name="connsiteY184" fmla="*/ 782606 h 1551620"/>
                  <a:gd name="connsiteX185" fmla="*/ 329031 w 1555246"/>
                  <a:gd name="connsiteY185" fmla="*/ 784519 h 1551620"/>
                  <a:gd name="connsiteX186" fmla="*/ 330944 w 1555246"/>
                  <a:gd name="connsiteY186" fmla="*/ 797910 h 1551620"/>
                  <a:gd name="connsiteX187" fmla="*/ 340509 w 1555246"/>
                  <a:gd name="connsiteY187" fmla="*/ 799823 h 1551620"/>
                  <a:gd name="connsiteX188" fmla="*/ 348161 w 1555246"/>
                  <a:gd name="connsiteY188" fmla="*/ 801735 h 1551620"/>
                  <a:gd name="connsiteX189" fmla="*/ 353900 w 1555246"/>
                  <a:gd name="connsiteY189" fmla="*/ 805561 h 1551620"/>
                  <a:gd name="connsiteX190" fmla="*/ 361552 w 1555246"/>
                  <a:gd name="connsiteY190" fmla="*/ 811300 h 1551620"/>
                  <a:gd name="connsiteX191" fmla="*/ 378769 w 1555246"/>
                  <a:gd name="connsiteY191" fmla="*/ 815126 h 1551620"/>
                  <a:gd name="connsiteX192" fmla="*/ 388333 w 1555246"/>
                  <a:gd name="connsiteY192" fmla="*/ 820865 h 1551620"/>
                  <a:gd name="connsiteX193" fmla="*/ 378769 w 1555246"/>
                  <a:gd name="connsiteY193" fmla="*/ 841908 h 1551620"/>
                  <a:gd name="connsiteX194" fmla="*/ 373030 w 1555246"/>
                  <a:gd name="connsiteY194" fmla="*/ 843821 h 1551620"/>
                  <a:gd name="connsiteX195" fmla="*/ 361552 w 1555246"/>
                  <a:gd name="connsiteY195" fmla="*/ 841908 h 1551620"/>
                  <a:gd name="connsiteX196" fmla="*/ 350074 w 1555246"/>
                  <a:gd name="connsiteY196" fmla="*/ 834256 h 1551620"/>
                  <a:gd name="connsiteX197" fmla="*/ 338596 w 1555246"/>
                  <a:gd name="connsiteY197" fmla="*/ 836169 h 1551620"/>
                  <a:gd name="connsiteX198" fmla="*/ 348161 w 1555246"/>
                  <a:gd name="connsiteY198" fmla="*/ 849560 h 1551620"/>
                  <a:gd name="connsiteX199" fmla="*/ 355813 w 1555246"/>
                  <a:gd name="connsiteY199" fmla="*/ 861038 h 1551620"/>
                  <a:gd name="connsiteX200" fmla="*/ 359639 w 1555246"/>
                  <a:gd name="connsiteY200" fmla="*/ 870602 h 1551620"/>
                  <a:gd name="connsiteX201" fmla="*/ 357726 w 1555246"/>
                  <a:gd name="connsiteY201" fmla="*/ 882080 h 1551620"/>
                  <a:gd name="connsiteX202" fmla="*/ 371117 w 1555246"/>
                  <a:gd name="connsiteY202" fmla="*/ 883993 h 1551620"/>
                  <a:gd name="connsiteX203" fmla="*/ 378769 w 1555246"/>
                  <a:gd name="connsiteY203" fmla="*/ 885906 h 1551620"/>
                  <a:gd name="connsiteX204" fmla="*/ 376856 w 1555246"/>
                  <a:gd name="connsiteY204" fmla="*/ 893558 h 1551620"/>
                  <a:gd name="connsiteX205" fmla="*/ 378769 w 1555246"/>
                  <a:gd name="connsiteY205" fmla="*/ 903123 h 1551620"/>
                  <a:gd name="connsiteX206" fmla="*/ 382594 w 1555246"/>
                  <a:gd name="connsiteY206" fmla="*/ 908862 h 1551620"/>
                  <a:gd name="connsiteX207" fmla="*/ 388333 w 1555246"/>
                  <a:gd name="connsiteY207" fmla="*/ 918427 h 1551620"/>
                  <a:gd name="connsiteX208" fmla="*/ 394072 w 1555246"/>
                  <a:gd name="connsiteY208" fmla="*/ 933730 h 1551620"/>
                  <a:gd name="connsiteX209" fmla="*/ 399811 w 1555246"/>
                  <a:gd name="connsiteY209" fmla="*/ 937556 h 1551620"/>
                  <a:gd name="connsiteX210" fmla="*/ 403637 w 1555246"/>
                  <a:gd name="connsiteY210" fmla="*/ 945208 h 1551620"/>
                  <a:gd name="connsiteX211" fmla="*/ 405550 w 1555246"/>
                  <a:gd name="connsiteY211" fmla="*/ 952860 h 1551620"/>
                  <a:gd name="connsiteX212" fmla="*/ 409376 w 1555246"/>
                  <a:gd name="connsiteY212" fmla="*/ 964338 h 1551620"/>
                  <a:gd name="connsiteX213" fmla="*/ 411289 w 1555246"/>
                  <a:gd name="connsiteY213" fmla="*/ 971990 h 1551620"/>
                  <a:gd name="connsiteX214" fmla="*/ 415115 w 1555246"/>
                  <a:gd name="connsiteY214" fmla="*/ 979642 h 1551620"/>
                  <a:gd name="connsiteX215" fmla="*/ 417028 w 1555246"/>
                  <a:gd name="connsiteY215" fmla="*/ 989207 h 1551620"/>
                  <a:gd name="connsiteX216" fmla="*/ 422767 w 1555246"/>
                  <a:gd name="connsiteY216" fmla="*/ 996858 h 1551620"/>
                  <a:gd name="connsiteX217" fmla="*/ 424680 w 1555246"/>
                  <a:gd name="connsiteY217" fmla="*/ 1012162 h 1551620"/>
                  <a:gd name="connsiteX218" fmla="*/ 420854 w 1555246"/>
                  <a:gd name="connsiteY218" fmla="*/ 1044683 h 1551620"/>
                  <a:gd name="connsiteX219" fmla="*/ 413202 w 1555246"/>
                  <a:gd name="connsiteY219" fmla="*/ 1037031 h 1551620"/>
                  <a:gd name="connsiteX220" fmla="*/ 409376 w 1555246"/>
                  <a:gd name="connsiteY220" fmla="*/ 1027466 h 1551620"/>
                  <a:gd name="connsiteX221" fmla="*/ 403637 w 1555246"/>
                  <a:gd name="connsiteY221" fmla="*/ 1019814 h 1551620"/>
                  <a:gd name="connsiteX222" fmla="*/ 401724 w 1555246"/>
                  <a:gd name="connsiteY222" fmla="*/ 1012162 h 1551620"/>
                  <a:gd name="connsiteX223" fmla="*/ 399811 w 1555246"/>
                  <a:gd name="connsiteY223" fmla="*/ 1002597 h 1551620"/>
                  <a:gd name="connsiteX224" fmla="*/ 395985 w 1555246"/>
                  <a:gd name="connsiteY224" fmla="*/ 994946 h 1551620"/>
                  <a:gd name="connsiteX225" fmla="*/ 392159 w 1555246"/>
                  <a:gd name="connsiteY225" fmla="*/ 973903 h 1551620"/>
                  <a:gd name="connsiteX226" fmla="*/ 386420 w 1555246"/>
                  <a:gd name="connsiteY226" fmla="*/ 968164 h 1551620"/>
                  <a:gd name="connsiteX227" fmla="*/ 384507 w 1555246"/>
                  <a:gd name="connsiteY227" fmla="*/ 954773 h 1551620"/>
                  <a:gd name="connsiteX228" fmla="*/ 380682 w 1555246"/>
                  <a:gd name="connsiteY228" fmla="*/ 949034 h 1551620"/>
                  <a:gd name="connsiteX229" fmla="*/ 371117 w 1555246"/>
                  <a:gd name="connsiteY229" fmla="*/ 937556 h 1551620"/>
                  <a:gd name="connsiteX230" fmla="*/ 357726 w 1555246"/>
                  <a:gd name="connsiteY230" fmla="*/ 939469 h 1551620"/>
                  <a:gd name="connsiteX231" fmla="*/ 344335 w 1555246"/>
                  <a:gd name="connsiteY231" fmla="*/ 954773 h 1551620"/>
                  <a:gd name="connsiteX232" fmla="*/ 342422 w 1555246"/>
                  <a:gd name="connsiteY232" fmla="*/ 968164 h 1551620"/>
                  <a:gd name="connsiteX233" fmla="*/ 338596 w 1555246"/>
                  <a:gd name="connsiteY233" fmla="*/ 973903 h 1551620"/>
                  <a:gd name="connsiteX234" fmla="*/ 336683 w 1555246"/>
                  <a:gd name="connsiteY234" fmla="*/ 981555 h 1551620"/>
                  <a:gd name="connsiteX235" fmla="*/ 334770 w 1555246"/>
                  <a:gd name="connsiteY235" fmla="*/ 991120 h 1551620"/>
                  <a:gd name="connsiteX236" fmla="*/ 329031 w 1555246"/>
                  <a:gd name="connsiteY236" fmla="*/ 1012162 h 1551620"/>
                  <a:gd name="connsiteX237" fmla="*/ 325205 w 1555246"/>
                  <a:gd name="connsiteY237" fmla="*/ 1021727 h 1551620"/>
                  <a:gd name="connsiteX238" fmla="*/ 319466 w 1555246"/>
                  <a:gd name="connsiteY238" fmla="*/ 1031292 h 1551620"/>
                  <a:gd name="connsiteX239" fmla="*/ 321379 w 1555246"/>
                  <a:gd name="connsiteY239" fmla="*/ 1056161 h 1551620"/>
                  <a:gd name="connsiteX240" fmla="*/ 350074 w 1555246"/>
                  <a:gd name="connsiteY240" fmla="*/ 1059987 h 1551620"/>
                  <a:gd name="connsiteX241" fmla="*/ 348161 w 1555246"/>
                  <a:gd name="connsiteY241" fmla="*/ 1067638 h 1551620"/>
                  <a:gd name="connsiteX242" fmla="*/ 336683 w 1555246"/>
                  <a:gd name="connsiteY242" fmla="*/ 1081029 h 1551620"/>
                  <a:gd name="connsiteX243" fmla="*/ 332857 w 1555246"/>
                  <a:gd name="connsiteY243" fmla="*/ 1096333 h 1551620"/>
                  <a:gd name="connsiteX244" fmla="*/ 329031 w 1555246"/>
                  <a:gd name="connsiteY244" fmla="*/ 1102072 h 1551620"/>
                  <a:gd name="connsiteX245" fmla="*/ 327118 w 1555246"/>
                  <a:gd name="connsiteY245" fmla="*/ 1113550 h 1551620"/>
                  <a:gd name="connsiteX246" fmla="*/ 321379 w 1555246"/>
                  <a:gd name="connsiteY246" fmla="*/ 1125028 h 1551620"/>
                  <a:gd name="connsiteX247" fmla="*/ 311815 w 1555246"/>
                  <a:gd name="connsiteY247" fmla="*/ 1140331 h 1551620"/>
                  <a:gd name="connsiteX248" fmla="*/ 309902 w 1555246"/>
                  <a:gd name="connsiteY248" fmla="*/ 1147983 h 1551620"/>
                  <a:gd name="connsiteX249" fmla="*/ 304163 w 1555246"/>
                  <a:gd name="connsiteY249" fmla="*/ 1172852 h 1551620"/>
                  <a:gd name="connsiteX250" fmla="*/ 294598 w 1555246"/>
                  <a:gd name="connsiteY250" fmla="*/ 1188156 h 1551620"/>
                  <a:gd name="connsiteX251" fmla="*/ 285033 w 1555246"/>
                  <a:gd name="connsiteY251" fmla="*/ 1211111 h 1551620"/>
                  <a:gd name="connsiteX252" fmla="*/ 283120 w 1555246"/>
                  <a:gd name="connsiteY252" fmla="*/ 1218763 h 1551620"/>
                  <a:gd name="connsiteX253" fmla="*/ 279294 w 1555246"/>
                  <a:gd name="connsiteY253" fmla="*/ 1237893 h 1551620"/>
                  <a:gd name="connsiteX254" fmla="*/ 275468 w 1555246"/>
                  <a:gd name="connsiteY254" fmla="*/ 1245545 h 1551620"/>
                  <a:gd name="connsiteX255" fmla="*/ 269729 w 1555246"/>
                  <a:gd name="connsiteY255" fmla="*/ 1258935 h 1551620"/>
                  <a:gd name="connsiteX256" fmla="*/ 260164 w 1555246"/>
                  <a:gd name="connsiteY256" fmla="*/ 1274239 h 1551620"/>
                  <a:gd name="connsiteX257" fmla="*/ 258251 w 1555246"/>
                  <a:gd name="connsiteY257" fmla="*/ 1281891 h 1551620"/>
                  <a:gd name="connsiteX258" fmla="*/ 250600 w 1555246"/>
                  <a:gd name="connsiteY258" fmla="*/ 1279978 h 1551620"/>
                  <a:gd name="connsiteX259" fmla="*/ 244861 w 1555246"/>
                  <a:gd name="connsiteY259" fmla="*/ 1278065 h 1551620"/>
                  <a:gd name="connsiteX260" fmla="*/ 246774 w 1555246"/>
                  <a:gd name="connsiteY260" fmla="*/ 1287630 h 1551620"/>
                  <a:gd name="connsiteX261" fmla="*/ 244861 w 1555246"/>
                  <a:gd name="connsiteY261" fmla="*/ 1302934 h 1551620"/>
                  <a:gd name="connsiteX262" fmla="*/ 250600 w 1555246"/>
                  <a:gd name="connsiteY262" fmla="*/ 1304847 h 1551620"/>
                  <a:gd name="connsiteX263" fmla="*/ 265903 w 1555246"/>
                  <a:gd name="connsiteY263" fmla="*/ 1318238 h 1551620"/>
                  <a:gd name="connsiteX264" fmla="*/ 263990 w 1555246"/>
                  <a:gd name="connsiteY264" fmla="*/ 1337367 h 1551620"/>
                  <a:gd name="connsiteX265" fmla="*/ 263990 w 1555246"/>
                  <a:gd name="connsiteY265" fmla="*/ 1358410 h 1551620"/>
                  <a:gd name="connsiteX266" fmla="*/ 271642 w 1555246"/>
                  <a:gd name="connsiteY266" fmla="*/ 1360323 h 1551620"/>
                  <a:gd name="connsiteX267" fmla="*/ 285033 w 1555246"/>
                  <a:gd name="connsiteY267" fmla="*/ 1364149 h 1551620"/>
                  <a:gd name="connsiteX268" fmla="*/ 290772 w 1555246"/>
                  <a:gd name="connsiteY268" fmla="*/ 1367975 h 1551620"/>
                  <a:gd name="connsiteX269" fmla="*/ 304163 w 1555246"/>
                  <a:gd name="connsiteY269" fmla="*/ 1377540 h 1551620"/>
                  <a:gd name="connsiteX270" fmla="*/ 323292 w 1555246"/>
                  <a:gd name="connsiteY270" fmla="*/ 1381366 h 1551620"/>
                  <a:gd name="connsiteX271" fmla="*/ 334770 w 1555246"/>
                  <a:gd name="connsiteY271" fmla="*/ 1389017 h 1551620"/>
                  <a:gd name="connsiteX272" fmla="*/ 346248 w 1555246"/>
                  <a:gd name="connsiteY272" fmla="*/ 1400495 h 1551620"/>
                  <a:gd name="connsiteX273" fmla="*/ 353900 w 1555246"/>
                  <a:gd name="connsiteY273" fmla="*/ 1425364 h 1551620"/>
                  <a:gd name="connsiteX274" fmla="*/ 382594 w 1555246"/>
                  <a:gd name="connsiteY274" fmla="*/ 1423451 h 1551620"/>
                  <a:gd name="connsiteX275" fmla="*/ 394072 w 1555246"/>
                  <a:gd name="connsiteY275" fmla="*/ 1419625 h 1551620"/>
                  <a:gd name="connsiteX276" fmla="*/ 413202 w 1555246"/>
                  <a:gd name="connsiteY276" fmla="*/ 1425364 h 1551620"/>
                  <a:gd name="connsiteX277" fmla="*/ 422767 w 1555246"/>
                  <a:gd name="connsiteY277" fmla="*/ 1434929 h 1551620"/>
                  <a:gd name="connsiteX278" fmla="*/ 428506 w 1555246"/>
                  <a:gd name="connsiteY278" fmla="*/ 1440668 h 1551620"/>
                  <a:gd name="connsiteX279" fmla="*/ 436158 w 1555246"/>
                  <a:gd name="connsiteY279" fmla="*/ 1452146 h 1551620"/>
                  <a:gd name="connsiteX280" fmla="*/ 455287 w 1555246"/>
                  <a:gd name="connsiteY280" fmla="*/ 1450233 h 1551620"/>
                  <a:gd name="connsiteX281" fmla="*/ 462939 w 1555246"/>
                  <a:gd name="connsiteY281" fmla="*/ 1448320 h 1551620"/>
                  <a:gd name="connsiteX282" fmla="*/ 480156 w 1555246"/>
                  <a:gd name="connsiteY282" fmla="*/ 1452146 h 1551620"/>
                  <a:gd name="connsiteX283" fmla="*/ 485895 w 1555246"/>
                  <a:gd name="connsiteY283" fmla="*/ 1455971 h 1551620"/>
                  <a:gd name="connsiteX284" fmla="*/ 493547 w 1555246"/>
                  <a:gd name="connsiteY284" fmla="*/ 1461710 h 1551620"/>
                  <a:gd name="connsiteX285" fmla="*/ 499286 w 1555246"/>
                  <a:gd name="connsiteY285" fmla="*/ 1463623 h 1551620"/>
                  <a:gd name="connsiteX286" fmla="*/ 520328 w 1555246"/>
                  <a:gd name="connsiteY286" fmla="*/ 1459797 h 1551620"/>
                  <a:gd name="connsiteX287" fmla="*/ 522241 w 1555246"/>
                  <a:gd name="connsiteY287" fmla="*/ 1454058 h 1551620"/>
                  <a:gd name="connsiteX288" fmla="*/ 529893 w 1555246"/>
                  <a:gd name="connsiteY288" fmla="*/ 1433016 h 1551620"/>
                  <a:gd name="connsiteX289" fmla="*/ 552849 w 1555246"/>
                  <a:gd name="connsiteY289" fmla="*/ 1434929 h 1551620"/>
                  <a:gd name="connsiteX290" fmla="*/ 570066 w 1555246"/>
                  <a:gd name="connsiteY290" fmla="*/ 1446407 h 1551620"/>
                  <a:gd name="connsiteX291" fmla="*/ 583456 w 1555246"/>
                  <a:gd name="connsiteY291" fmla="*/ 1455971 h 1551620"/>
                  <a:gd name="connsiteX292" fmla="*/ 600673 w 1555246"/>
                  <a:gd name="connsiteY292" fmla="*/ 1467449 h 1551620"/>
                  <a:gd name="connsiteX293" fmla="*/ 617890 w 1555246"/>
                  <a:gd name="connsiteY293" fmla="*/ 1477014 h 1551620"/>
                  <a:gd name="connsiteX294" fmla="*/ 625542 w 1555246"/>
                  <a:gd name="connsiteY294" fmla="*/ 1478927 h 1551620"/>
                  <a:gd name="connsiteX295" fmla="*/ 627455 w 1555246"/>
                  <a:gd name="connsiteY295" fmla="*/ 1484666 h 1551620"/>
                  <a:gd name="connsiteX296" fmla="*/ 633194 w 1555246"/>
                  <a:gd name="connsiteY296" fmla="*/ 1482753 h 1551620"/>
                  <a:gd name="connsiteX297" fmla="*/ 648497 w 1555246"/>
                  <a:gd name="connsiteY297" fmla="*/ 1480840 h 1551620"/>
                  <a:gd name="connsiteX298" fmla="*/ 658062 w 1555246"/>
                  <a:gd name="connsiteY298" fmla="*/ 1482753 h 1551620"/>
                  <a:gd name="connsiteX299" fmla="*/ 667627 w 1555246"/>
                  <a:gd name="connsiteY299" fmla="*/ 1494231 h 1551620"/>
                  <a:gd name="connsiteX300" fmla="*/ 669540 w 1555246"/>
                  <a:gd name="connsiteY300" fmla="*/ 1521012 h 1551620"/>
                  <a:gd name="connsiteX301" fmla="*/ 677192 w 1555246"/>
                  <a:gd name="connsiteY301" fmla="*/ 1526751 h 1551620"/>
                  <a:gd name="connsiteX302" fmla="*/ 688670 w 1555246"/>
                  <a:gd name="connsiteY302" fmla="*/ 1536316 h 1551620"/>
                  <a:gd name="connsiteX303" fmla="*/ 711625 w 1555246"/>
                  <a:gd name="connsiteY303" fmla="*/ 1528664 h 1551620"/>
                  <a:gd name="connsiteX304" fmla="*/ 734581 w 1555246"/>
                  <a:gd name="connsiteY304" fmla="*/ 1530577 h 1551620"/>
                  <a:gd name="connsiteX305" fmla="*/ 751798 w 1555246"/>
                  <a:gd name="connsiteY305" fmla="*/ 1545881 h 1551620"/>
                  <a:gd name="connsiteX306" fmla="*/ 767102 w 1555246"/>
                  <a:gd name="connsiteY306" fmla="*/ 1551620 h 1551620"/>
                  <a:gd name="connsiteX307" fmla="*/ 786231 w 1555246"/>
                  <a:gd name="connsiteY307" fmla="*/ 1547794 h 1551620"/>
                  <a:gd name="connsiteX308" fmla="*/ 793883 w 1555246"/>
                  <a:gd name="connsiteY308" fmla="*/ 1532490 h 1551620"/>
                  <a:gd name="connsiteX309" fmla="*/ 803448 w 1555246"/>
                  <a:gd name="connsiteY309" fmla="*/ 1528664 h 1551620"/>
                  <a:gd name="connsiteX310" fmla="*/ 841707 w 1555246"/>
                  <a:gd name="connsiteY310" fmla="*/ 1526751 h 1551620"/>
                  <a:gd name="connsiteX311" fmla="*/ 839794 w 1555246"/>
                  <a:gd name="connsiteY311" fmla="*/ 1494231 h 1551620"/>
                  <a:gd name="connsiteX312" fmla="*/ 832143 w 1555246"/>
                  <a:gd name="connsiteY312" fmla="*/ 1478927 h 1551620"/>
                  <a:gd name="connsiteX313" fmla="*/ 830230 w 1555246"/>
                  <a:gd name="connsiteY313" fmla="*/ 1471275 h 1551620"/>
                  <a:gd name="connsiteX314" fmla="*/ 835969 w 1555246"/>
                  <a:gd name="connsiteY314" fmla="*/ 1459797 h 1551620"/>
                  <a:gd name="connsiteX315" fmla="*/ 837882 w 1555246"/>
                  <a:gd name="connsiteY315" fmla="*/ 1440668 h 1551620"/>
                  <a:gd name="connsiteX316" fmla="*/ 839794 w 1555246"/>
                  <a:gd name="connsiteY316" fmla="*/ 1433016 h 1551620"/>
                  <a:gd name="connsiteX317" fmla="*/ 845533 w 1555246"/>
                  <a:gd name="connsiteY317" fmla="*/ 1429190 h 1551620"/>
                  <a:gd name="connsiteX318" fmla="*/ 858924 w 1555246"/>
                  <a:gd name="connsiteY318" fmla="*/ 1417712 h 1551620"/>
                  <a:gd name="connsiteX319" fmla="*/ 864663 w 1555246"/>
                  <a:gd name="connsiteY319" fmla="*/ 1415799 h 1551620"/>
                  <a:gd name="connsiteX320" fmla="*/ 870402 w 1555246"/>
                  <a:gd name="connsiteY320" fmla="*/ 1410060 h 1551620"/>
                  <a:gd name="connsiteX321" fmla="*/ 876141 w 1555246"/>
                  <a:gd name="connsiteY321" fmla="*/ 1406234 h 1551620"/>
                  <a:gd name="connsiteX322" fmla="*/ 879967 w 1555246"/>
                  <a:gd name="connsiteY322" fmla="*/ 1400495 h 1551620"/>
                  <a:gd name="connsiteX323" fmla="*/ 904835 w 1555246"/>
                  <a:gd name="connsiteY323" fmla="*/ 1387105 h 1551620"/>
                  <a:gd name="connsiteX324" fmla="*/ 910574 w 1555246"/>
                  <a:gd name="connsiteY324" fmla="*/ 1385192 h 1551620"/>
                  <a:gd name="connsiteX325" fmla="*/ 925878 w 1555246"/>
                  <a:gd name="connsiteY325" fmla="*/ 1381366 h 1551620"/>
                  <a:gd name="connsiteX326" fmla="*/ 943095 w 1555246"/>
                  <a:gd name="connsiteY326" fmla="*/ 1369888 h 1551620"/>
                  <a:gd name="connsiteX327" fmla="*/ 950747 w 1555246"/>
                  <a:gd name="connsiteY327" fmla="*/ 1366062 h 1551620"/>
                  <a:gd name="connsiteX328" fmla="*/ 971789 w 1555246"/>
                  <a:gd name="connsiteY328" fmla="*/ 1348845 h 1551620"/>
                  <a:gd name="connsiteX329" fmla="*/ 983267 w 1555246"/>
                  <a:gd name="connsiteY329" fmla="*/ 1354584 h 1551620"/>
                  <a:gd name="connsiteX330" fmla="*/ 987093 w 1555246"/>
                  <a:gd name="connsiteY330" fmla="*/ 1360323 h 1551620"/>
                  <a:gd name="connsiteX331" fmla="*/ 994745 w 1555246"/>
                  <a:gd name="connsiteY331" fmla="*/ 1362236 h 1551620"/>
                  <a:gd name="connsiteX332" fmla="*/ 1004310 w 1555246"/>
                  <a:gd name="connsiteY332" fmla="*/ 1366062 h 1551620"/>
                  <a:gd name="connsiteX333" fmla="*/ 1029179 w 1555246"/>
                  <a:gd name="connsiteY333" fmla="*/ 1369888 h 1551620"/>
                  <a:gd name="connsiteX334" fmla="*/ 1036830 w 1555246"/>
                  <a:gd name="connsiteY334" fmla="*/ 1371801 h 1551620"/>
                  <a:gd name="connsiteX335" fmla="*/ 1044482 w 1555246"/>
                  <a:gd name="connsiteY335" fmla="*/ 1375627 h 1551620"/>
                  <a:gd name="connsiteX336" fmla="*/ 1054047 w 1555246"/>
                  <a:gd name="connsiteY336" fmla="*/ 1377540 h 1551620"/>
                  <a:gd name="connsiteX337" fmla="*/ 1069351 w 1555246"/>
                  <a:gd name="connsiteY337" fmla="*/ 1383279 h 1551620"/>
                  <a:gd name="connsiteX338" fmla="*/ 1067438 w 1555246"/>
                  <a:gd name="connsiteY338" fmla="*/ 1375627 h 1551620"/>
                  <a:gd name="connsiteX339" fmla="*/ 1071264 w 1555246"/>
                  <a:gd name="connsiteY339" fmla="*/ 1383279 h 1551620"/>
                  <a:gd name="connsiteX340" fmla="*/ 1075090 w 1555246"/>
                  <a:gd name="connsiteY340" fmla="*/ 1392843 h 1551620"/>
                  <a:gd name="connsiteX341" fmla="*/ 1096133 w 1555246"/>
                  <a:gd name="connsiteY341" fmla="*/ 1390930 h 1551620"/>
                  <a:gd name="connsiteX342" fmla="*/ 1111436 w 1555246"/>
                  <a:gd name="connsiteY342" fmla="*/ 1358410 h 1551620"/>
                  <a:gd name="connsiteX343" fmla="*/ 1113349 w 1555246"/>
                  <a:gd name="connsiteY343" fmla="*/ 1392843 h 1551620"/>
                  <a:gd name="connsiteX344" fmla="*/ 1103784 w 1555246"/>
                  <a:gd name="connsiteY344" fmla="*/ 1394756 h 1551620"/>
                  <a:gd name="connsiteX345" fmla="*/ 1138218 w 1555246"/>
                  <a:gd name="connsiteY345" fmla="*/ 1396669 h 1551620"/>
                  <a:gd name="connsiteX346" fmla="*/ 1140131 w 1555246"/>
                  <a:gd name="connsiteY346" fmla="*/ 1402408 h 1551620"/>
                  <a:gd name="connsiteX347" fmla="*/ 1142044 w 1555246"/>
                  <a:gd name="connsiteY347" fmla="*/ 1415799 h 1551620"/>
                  <a:gd name="connsiteX348" fmla="*/ 1168825 w 1555246"/>
                  <a:gd name="connsiteY348" fmla="*/ 1423451 h 1551620"/>
                  <a:gd name="connsiteX349" fmla="*/ 1182216 w 1555246"/>
                  <a:gd name="connsiteY349" fmla="*/ 1427277 h 1551620"/>
                  <a:gd name="connsiteX350" fmla="*/ 1187955 w 1555246"/>
                  <a:gd name="connsiteY350" fmla="*/ 1429190 h 1551620"/>
                  <a:gd name="connsiteX351" fmla="*/ 1191781 w 1555246"/>
                  <a:gd name="connsiteY351" fmla="*/ 1434929 h 1551620"/>
                  <a:gd name="connsiteX352" fmla="*/ 1193694 w 1555246"/>
                  <a:gd name="connsiteY352" fmla="*/ 1446407 h 1551620"/>
                  <a:gd name="connsiteX353" fmla="*/ 1195607 w 1555246"/>
                  <a:gd name="connsiteY353" fmla="*/ 1454058 h 1551620"/>
                  <a:gd name="connsiteX354" fmla="*/ 1210911 w 1555246"/>
                  <a:gd name="connsiteY354" fmla="*/ 1450233 h 1551620"/>
                  <a:gd name="connsiteX355" fmla="*/ 1224302 w 1555246"/>
                  <a:gd name="connsiteY355" fmla="*/ 1452146 h 1551620"/>
                  <a:gd name="connsiteX356" fmla="*/ 1230041 w 1555246"/>
                  <a:gd name="connsiteY356" fmla="*/ 1448320 h 1551620"/>
                  <a:gd name="connsiteX357" fmla="*/ 1233866 w 1555246"/>
                  <a:gd name="connsiteY357" fmla="*/ 1455971 h 1551620"/>
                  <a:gd name="connsiteX358" fmla="*/ 1235779 w 1555246"/>
                  <a:gd name="connsiteY358" fmla="*/ 1461710 h 1551620"/>
                  <a:gd name="connsiteX359" fmla="*/ 1239605 w 1555246"/>
                  <a:gd name="connsiteY359" fmla="*/ 1467449 h 1551620"/>
                  <a:gd name="connsiteX360" fmla="*/ 1256822 w 1555246"/>
                  <a:gd name="connsiteY360" fmla="*/ 1448320 h 1551620"/>
                  <a:gd name="connsiteX361" fmla="*/ 1272126 w 1555246"/>
                  <a:gd name="connsiteY361" fmla="*/ 1444494 h 1551620"/>
                  <a:gd name="connsiteX362" fmla="*/ 1300820 w 1555246"/>
                  <a:gd name="connsiteY362" fmla="*/ 1442581 h 1551620"/>
                  <a:gd name="connsiteX363" fmla="*/ 1310385 w 1555246"/>
                  <a:gd name="connsiteY363" fmla="*/ 1440668 h 1551620"/>
                  <a:gd name="connsiteX364" fmla="*/ 1312298 w 1555246"/>
                  <a:gd name="connsiteY364" fmla="*/ 1434929 h 1551620"/>
                  <a:gd name="connsiteX365" fmla="*/ 1318037 w 1555246"/>
                  <a:gd name="connsiteY365" fmla="*/ 1421538 h 1551620"/>
                  <a:gd name="connsiteX366" fmla="*/ 1319950 w 1555246"/>
                  <a:gd name="connsiteY366" fmla="*/ 1413886 h 1551620"/>
                  <a:gd name="connsiteX367" fmla="*/ 1323776 w 1555246"/>
                  <a:gd name="connsiteY367" fmla="*/ 1408147 h 1551620"/>
                  <a:gd name="connsiteX368" fmla="*/ 1337167 w 1555246"/>
                  <a:gd name="connsiteY368" fmla="*/ 1396669 h 1551620"/>
                  <a:gd name="connsiteX369" fmla="*/ 1346732 w 1555246"/>
                  <a:gd name="connsiteY369" fmla="*/ 1390930 h 1551620"/>
                  <a:gd name="connsiteX370" fmla="*/ 1360123 w 1555246"/>
                  <a:gd name="connsiteY370" fmla="*/ 1389017 h 1551620"/>
                  <a:gd name="connsiteX371" fmla="*/ 1365861 w 1555246"/>
                  <a:gd name="connsiteY371" fmla="*/ 1387105 h 1551620"/>
                  <a:gd name="connsiteX372" fmla="*/ 1367774 w 1555246"/>
                  <a:gd name="connsiteY372" fmla="*/ 1381366 h 1551620"/>
                  <a:gd name="connsiteX373" fmla="*/ 1369687 w 1555246"/>
                  <a:gd name="connsiteY373" fmla="*/ 1367975 h 1551620"/>
                  <a:gd name="connsiteX374" fmla="*/ 1373513 w 1555246"/>
                  <a:gd name="connsiteY374" fmla="*/ 1362236 h 1551620"/>
                  <a:gd name="connsiteX375" fmla="*/ 1381165 w 1555246"/>
                  <a:gd name="connsiteY375" fmla="*/ 1352671 h 1551620"/>
                  <a:gd name="connsiteX376" fmla="*/ 1386904 w 1555246"/>
                  <a:gd name="connsiteY376" fmla="*/ 1350758 h 1551620"/>
                  <a:gd name="connsiteX377" fmla="*/ 1400295 w 1555246"/>
                  <a:gd name="connsiteY377" fmla="*/ 1345019 h 1551620"/>
                  <a:gd name="connsiteX378" fmla="*/ 1413686 w 1555246"/>
                  <a:gd name="connsiteY378" fmla="*/ 1343106 h 1551620"/>
                  <a:gd name="connsiteX379" fmla="*/ 1430902 w 1555246"/>
                  <a:gd name="connsiteY379" fmla="*/ 1327802 h 1551620"/>
                  <a:gd name="connsiteX380" fmla="*/ 1440467 w 1555246"/>
                  <a:gd name="connsiteY380" fmla="*/ 1310586 h 1551620"/>
                  <a:gd name="connsiteX381" fmla="*/ 1442380 w 1555246"/>
                  <a:gd name="connsiteY381" fmla="*/ 1304847 h 1551620"/>
                  <a:gd name="connsiteX382" fmla="*/ 1453858 w 1555246"/>
                  <a:gd name="connsiteY382" fmla="*/ 1299108 h 1551620"/>
                  <a:gd name="connsiteX383" fmla="*/ 1451945 w 1555246"/>
                  <a:gd name="connsiteY383" fmla="*/ 1270413 h 1551620"/>
                  <a:gd name="connsiteX384" fmla="*/ 1436641 w 1555246"/>
                  <a:gd name="connsiteY384" fmla="*/ 1272326 h 1551620"/>
                  <a:gd name="connsiteX385" fmla="*/ 1404121 w 1555246"/>
                  <a:gd name="connsiteY385" fmla="*/ 1268500 h 1551620"/>
                  <a:gd name="connsiteX386" fmla="*/ 1398382 w 1555246"/>
                  <a:gd name="connsiteY386" fmla="*/ 1262761 h 1551620"/>
                  <a:gd name="connsiteX387" fmla="*/ 1379252 w 1555246"/>
                  <a:gd name="connsiteY387" fmla="*/ 1255110 h 1551620"/>
                  <a:gd name="connsiteX388" fmla="*/ 1369687 w 1555246"/>
                  <a:gd name="connsiteY388" fmla="*/ 1247458 h 1551620"/>
                  <a:gd name="connsiteX389" fmla="*/ 1354384 w 1555246"/>
                  <a:gd name="connsiteY389" fmla="*/ 1218763 h 1551620"/>
                  <a:gd name="connsiteX390" fmla="*/ 1352471 w 1555246"/>
                  <a:gd name="connsiteY390" fmla="*/ 1190069 h 1551620"/>
                  <a:gd name="connsiteX391" fmla="*/ 1360123 w 1555246"/>
                  <a:gd name="connsiteY391" fmla="*/ 1188156 h 1551620"/>
                  <a:gd name="connsiteX392" fmla="*/ 1365861 w 1555246"/>
                  <a:gd name="connsiteY392" fmla="*/ 1184330 h 1551620"/>
                  <a:gd name="connsiteX393" fmla="*/ 1367774 w 1555246"/>
                  <a:gd name="connsiteY393" fmla="*/ 1174765 h 1551620"/>
                  <a:gd name="connsiteX394" fmla="*/ 1373513 w 1555246"/>
                  <a:gd name="connsiteY394" fmla="*/ 1159461 h 1551620"/>
                  <a:gd name="connsiteX395" fmla="*/ 1371600 w 1555246"/>
                  <a:gd name="connsiteY395" fmla="*/ 1144157 h 1551620"/>
                  <a:gd name="connsiteX396" fmla="*/ 1340993 w 1555246"/>
                  <a:gd name="connsiteY396" fmla="*/ 1151809 h 1551620"/>
                  <a:gd name="connsiteX397" fmla="*/ 1337167 w 1555246"/>
                  <a:gd name="connsiteY397" fmla="*/ 1140331 h 1551620"/>
                  <a:gd name="connsiteX398" fmla="*/ 1333341 w 1555246"/>
                  <a:gd name="connsiteY398" fmla="*/ 1128853 h 1551620"/>
                  <a:gd name="connsiteX399" fmla="*/ 1327602 w 1555246"/>
                  <a:gd name="connsiteY399" fmla="*/ 1107811 h 1551620"/>
                  <a:gd name="connsiteX400" fmla="*/ 1329515 w 1555246"/>
                  <a:gd name="connsiteY400" fmla="*/ 1102072 h 1551620"/>
                  <a:gd name="connsiteX401" fmla="*/ 1331428 w 1555246"/>
                  <a:gd name="connsiteY401" fmla="*/ 1092507 h 1551620"/>
                  <a:gd name="connsiteX402" fmla="*/ 1339080 w 1555246"/>
                  <a:gd name="connsiteY402" fmla="*/ 1088681 h 1551620"/>
                  <a:gd name="connsiteX403" fmla="*/ 1344819 w 1555246"/>
                  <a:gd name="connsiteY403" fmla="*/ 1090594 h 1551620"/>
                  <a:gd name="connsiteX404" fmla="*/ 1350558 w 1555246"/>
                  <a:gd name="connsiteY404" fmla="*/ 1094420 h 1551620"/>
                  <a:gd name="connsiteX405" fmla="*/ 1377339 w 1555246"/>
                  <a:gd name="connsiteY405" fmla="*/ 1092507 h 1551620"/>
                  <a:gd name="connsiteX406" fmla="*/ 1383078 w 1555246"/>
                  <a:gd name="connsiteY406" fmla="*/ 1079116 h 1551620"/>
                  <a:gd name="connsiteX407" fmla="*/ 1388817 w 1555246"/>
                  <a:gd name="connsiteY407" fmla="*/ 1075290 h 1551620"/>
                  <a:gd name="connsiteX408" fmla="*/ 1392643 w 1555246"/>
                  <a:gd name="connsiteY408" fmla="*/ 1069551 h 1551620"/>
                  <a:gd name="connsiteX409" fmla="*/ 1398382 w 1555246"/>
                  <a:gd name="connsiteY409" fmla="*/ 1065725 h 1551620"/>
                  <a:gd name="connsiteX410" fmla="*/ 1383078 w 1555246"/>
                  <a:gd name="connsiteY410" fmla="*/ 1035118 h 1551620"/>
                  <a:gd name="connsiteX411" fmla="*/ 1375426 w 1555246"/>
                  <a:gd name="connsiteY411" fmla="*/ 1019814 h 1551620"/>
                  <a:gd name="connsiteX412" fmla="*/ 1369687 w 1555246"/>
                  <a:gd name="connsiteY412" fmla="*/ 998771 h 1551620"/>
                  <a:gd name="connsiteX413" fmla="*/ 1362035 w 1555246"/>
                  <a:gd name="connsiteY413" fmla="*/ 991120 h 1551620"/>
                  <a:gd name="connsiteX414" fmla="*/ 1358210 w 1555246"/>
                  <a:gd name="connsiteY414" fmla="*/ 975816 h 1551620"/>
                  <a:gd name="connsiteX415" fmla="*/ 1362035 w 1555246"/>
                  <a:gd name="connsiteY415" fmla="*/ 956686 h 1551620"/>
                  <a:gd name="connsiteX416" fmla="*/ 1337167 w 1555246"/>
                  <a:gd name="connsiteY416" fmla="*/ 954773 h 1551620"/>
                  <a:gd name="connsiteX417" fmla="*/ 1346732 w 1555246"/>
                  <a:gd name="connsiteY417" fmla="*/ 954773 h 1551620"/>
                  <a:gd name="connsiteX418" fmla="*/ 1367774 w 1555246"/>
                  <a:gd name="connsiteY418" fmla="*/ 949034 h 1551620"/>
                  <a:gd name="connsiteX419" fmla="*/ 1386904 w 1555246"/>
                  <a:gd name="connsiteY419" fmla="*/ 941382 h 1551620"/>
                  <a:gd name="connsiteX420" fmla="*/ 1383078 w 1555246"/>
                  <a:gd name="connsiteY420" fmla="*/ 920340 h 1551620"/>
                  <a:gd name="connsiteX421" fmla="*/ 1373513 w 1555246"/>
                  <a:gd name="connsiteY421" fmla="*/ 916514 h 1551620"/>
                  <a:gd name="connsiteX422" fmla="*/ 1367774 w 1555246"/>
                  <a:gd name="connsiteY422" fmla="*/ 912688 h 1551620"/>
                  <a:gd name="connsiteX423" fmla="*/ 1363948 w 1555246"/>
                  <a:gd name="connsiteY423" fmla="*/ 905036 h 1551620"/>
                  <a:gd name="connsiteX424" fmla="*/ 1367774 w 1555246"/>
                  <a:gd name="connsiteY424" fmla="*/ 880167 h 1551620"/>
                  <a:gd name="connsiteX425" fmla="*/ 1365861 w 1555246"/>
                  <a:gd name="connsiteY425" fmla="*/ 853386 h 1551620"/>
                  <a:gd name="connsiteX426" fmla="*/ 1352471 w 1555246"/>
                  <a:gd name="connsiteY426" fmla="*/ 849560 h 1551620"/>
                  <a:gd name="connsiteX427" fmla="*/ 1346732 w 1555246"/>
                  <a:gd name="connsiteY427" fmla="*/ 845734 h 1551620"/>
                  <a:gd name="connsiteX428" fmla="*/ 1331428 w 1555246"/>
                  <a:gd name="connsiteY428" fmla="*/ 841908 h 1551620"/>
                  <a:gd name="connsiteX429" fmla="*/ 1302733 w 1555246"/>
                  <a:gd name="connsiteY429" fmla="*/ 853386 h 1551620"/>
                  <a:gd name="connsiteX430" fmla="*/ 1298907 w 1555246"/>
                  <a:gd name="connsiteY430" fmla="*/ 859125 h 1551620"/>
                  <a:gd name="connsiteX431" fmla="*/ 1293169 w 1555246"/>
                  <a:gd name="connsiteY431" fmla="*/ 868689 h 1551620"/>
                  <a:gd name="connsiteX432" fmla="*/ 1298907 w 1555246"/>
                  <a:gd name="connsiteY432" fmla="*/ 885906 h 1551620"/>
                  <a:gd name="connsiteX433" fmla="*/ 1300820 w 1555246"/>
                  <a:gd name="connsiteY433" fmla="*/ 891645 h 1551620"/>
                  <a:gd name="connsiteX434" fmla="*/ 1296994 w 1555246"/>
                  <a:gd name="connsiteY434" fmla="*/ 903123 h 1551620"/>
                  <a:gd name="connsiteX435" fmla="*/ 1289343 w 1555246"/>
                  <a:gd name="connsiteY435" fmla="*/ 905036 h 1551620"/>
                  <a:gd name="connsiteX436" fmla="*/ 1256822 w 1555246"/>
                  <a:gd name="connsiteY436" fmla="*/ 901210 h 1551620"/>
                  <a:gd name="connsiteX437" fmla="*/ 1262561 w 1555246"/>
                  <a:gd name="connsiteY437" fmla="*/ 882080 h 1551620"/>
                  <a:gd name="connsiteX438" fmla="*/ 1272126 w 1555246"/>
                  <a:gd name="connsiteY438" fmla="*/ 880167 h 1551620"/>
                  <a:gd name="connsiteX439" fmla="*/ 1283604 w 1555246"/>
                  <a:gd name="connsiteY439" fmla="*/ 828517 h 1551620"/>
                  <a:gd name="connsiteX440" fmla="*/ 1298907 w 1555246"/>
                  <a:gd name="connsiteY440" fmla="*/ 811300 h 1551620"/>
                  <a:gd name="connsiteX441" fmla="*/ 1306559 w 1555246"/>
                  <a:gd name="connsiteY441" fmla="*/ 805561 h 1551620"/>
                  <a:gd name="connsiteX442" fmla="*/ 1316124 w 1555246"/>
                  <a:gd name="connsiteY442" fmla="*/ 780693 h 1551620"/>
                  <a:gd name="connsiteX443" fmla="*/ 1342906 w 1555246"/>
                  <a:gd name="connsiteY443" fmla="*/ 757737 h 1551620"/>
                  <a:gd name="connsiteX444" fmla="*/ 1346732 w 1555246"/>
                  <a:gd name="connsiteY444" fmla="*/ 751998 h 1551620"/>
                  <a:gd name="connsiteX445" fmla="*/ 1348645 w 1555246"/>
                  <a:gd name="connsiteY445" fmla="*/ 746259 h 1551620"/>
                  <a:gd name="connsiteX446" fmla="*/ 1360123 w 1555246"/>
                  <a:gd name="connsiteY446" fmla="*/ 732869 h 1551620"/>
                  <a:gd name="connsiteX447" fmla="*/ 1363948 w 1555246"/>
                  <a:gd name="connsiteY447" fmla="*/ 727130 h 1551620"/>
                  <a:gd name="connsiteX448" fmla="*/ 1375426 w 1555246"/>
                  <a:gd name="connsiteY448" fmla="*/ 723304 h 1551620"/>
                  <a:gd name="connsiteX449" fmla="*/ 1398382 w 1555246"/>
                  <a:gd name="connsiteY449" fmla="*/ 713739 h 1551620"/>
                  <a:gd name="connsiteX450" fmla="*/ 1404121 w 1555246"/>
                  <a:gd name="connsiteY450" fmla="*/ 709913 h 1551620"/>
                  <a:gd name="connsiteX451" fmla="*/ 1394556 w 1555246"/>
                  <a:gd name="connsiteY451" fmla="*/ 700348 h 1551620"/>
                  <a:gd name="connsiteX452" fmla="*/ 1388817 w 1555246"/>
                  <a:gd name="connsiteY452" fmla="*/ 692696 h 1551620"/>
                  <a:gd name="connsiteX453" fmla="*/ 1404121 w 1555246"/>
                  <a:gd name="connsiteY453" fmla="*/ 669740 h 1551620"/>
                  <a:gd name="connsiteX454" fmla="*/ 1413686 w 1555246"/>
                  <a:gd name="connsiteY454" fmla="*/ 675479 h 1551620"/>
                  <a:gd name="connsiteX455" fmla="*/ 1450032 w 1555246"/>
                  <a:gd name="connsiteY455" fmla="*/ 673566 h 1551620"/>
                  <a:gd name="connsiteX456" fmla="*/ 1457684 w 1555246"/>
                  <a:gd name="connsiteY456" fmla="*/ 660176 h 1551620"/>
                  <a:gd name="connsiteX457" fmla="*/ 1465336 w 1555246"/>
                  <a:gd name="connsiteY457" fmla="*/ 618090 h 1551620"/>
                  <a:gd name="connsiteX458" fmla="*/ 1472988 w 1555246"/>
                  <a:gd name="connsiteY458" fmla="*/ 572179 h 1551620"/>
                  <a:gd name="connsiteX459" fmla="*/ 1474901 w 1555246"/>
                  <a:gd name="connsiteY459" fmla="*/ 554962 h 1551620"/>
                  <a:gd name="connsiteX460" fmla="*/ 1484466 w 1555246"/>
                  <a:gd name="connsiteY460" fmla="*/ 526268 h 1551620"/>
                  <a:gd name="connsiteX461" fmla="*/ 1486379 w 1555246"/>
                  <a:gd name="connsiteY461" fmla="*/ 497573 h 1551620"/>
                  <a:gd name="connsiteX462" fmla="*/ 1490205 w 1555246"/>
                  <a:gd name="connsiteY462" fmla="*/ 491834 h 1551620"/>
                  <a:gd name="connsiteX463" fmla="*/ 1492117 w 1555246"/>
                  <a:gd name="connsiteY463" fmla="*/ 480356 h 1551620"/>
                  <a:gd name="connsiteX464" fmla="*/ 1495943 w 1555246"/>
                  <a:gd name="connsiteY464" fmla="*/ 474617 h 1551620"/>
                  <a:gd name="connsiteX465" fmla="*/ 1511247 w 1555246"/>
                  <a:gd name="connsiteY465" fmla="*/ 451662 h 1551620"/>
                  <a:gd name="connsiteX466" fmla="*/ 1524638 w 1555246"/>
                  <a:gd name="connsiteY466" fmla="*/ 438271 h 1551620"/>
                  <a:gd name="connsiteX467" fmla="*/ 1534203 w 1555246"/>
                  <a:gd name="connsiteY467" fmla="*/ 428706 h 1551620"/>
                  <a:gd name="connsiteX468" fmla="*/ 1551420 w 1555246"/>
                  <a:gd name="connsiteY468" fmla="*/ 415315 h 1551620"/>
                  <a:gd name="connsiteX469" fmla="*/ 1555246 w 1555246"/>
                  <a:gd name="connsiteY469" fmla="*/ 409576 h 1551620"/>
                  <a:gd name="connsiteX470" fmla="*/ 1549507 w 1555246"/>
                  <a:gd name="connsiteY470" fmla="*/ 403838 h 1551620"/>
                  <a:gd name="connsiteX471" fmla="*/ 1524638 w 1555246"/>
                  <a:gd name="connsiteY471" fmla="*/ 400012 h 1551620"/>
                  <a:gd name="connsiteX472" fmla="*/ 1501682 w 1555246"/>
                  <a:gd name="connsiteY472" fmla="*/ 394273 h 1551620"/>
                  <a:gd name="connsiteX473" fmla="*/ 1494030 w 1555246"/>
                  <a:gd name="connsiteY473" fmla="*/ 392360 h 1551620"/>
                  <a:gd name="connsiteX474" fmla="*/ 1484466 w 1555246"/>
                  <a:gd name="connsiteY474" fmla="*/ 390447 h 1551620"/>
                  <a:gd name="connsiteX475" fmla="*/ 1471075 w 1555246"/>
                  <a:gd name="connsiteY475" fmla="*/ 384708 h 1551620"/>
                  <a:gd name="connsiteX476" fmla="*/ 1459597 w 1555246"/>
                  <a:gd name="connsiteY476" fmla="*/ 375143 h 1551620"/>
                  <a:gd name="connsiteX477" fmla="*/ 1404121 w 1555246"/>
                  <a:gd name="connsiteY477" fmla="*/ 373230 h 1551620"/>
                  <a:gd name="connsiteX478" fmla="*/ 1392643 w 1555246"/>
                  <a:gd name="connsiteY478" fmla="*/ 369404 h 1551620"/>
                  <a:gd name="connsiteX479" fmla="*/ 1377339 w 1555246"/>
                  <a:gd name="connsiteY479" fmla="*/ 371317 h 1551620"/>
                  <a:gd name="connsiteX480" fmla="*/ 1373513 w 1555246"/>
                  <a:gd name="connsiteY480" fmla="*/ 363665 h 1551620"/>
                  <a:gd name="connsiteX481" fmla="*/ 1371600 w 1555246"/>
                  <a:gd name="connsiteY481" fmla="*/ 357926 h 1551620"/>
                  <a:gd name="connsiteX482" fmla="*/ 1369687 w 1555246"/>
                  <a:gd name="connsiteY482" fmla="*/ 350274 h 1551620"/>
                  <a:gd name="connsiteX483" fmla="*/ 1358210 w 1555246"/>
                  <a:gd name="connsiteY483" fmla="*/ 334971 h 1551620"/>
                  <a:gd name="connsiteX484" fmla="*/ 1335254 w 1555246"/>
                  <a:gd name="connsiteY484" fmla="*/ 323493 h 1551620"/>
                  <a:gd name="connsiteX485" fmla="*/ 1304646 w 1555246"/>
                  <a:gd name="connsiteY485" fmla="*/ 321580 h 1551620"/>
                  <a:gd name="connsiteX486" fmla="*/ 1298907 w 1555246"/>
                  <a:gd name="connsiteY486" fmla="*/ 313928 h 1551620"/>
                  <a:gd name="connsiteX487" fmla="*/ 1293169 w 1555246"/>
                  <a:gd name="connsiteY487" fmla="*/ 312015 h 1551620"/>
                  <a:gd name="connsiteX488" fmla="*/ 1277865 w 1555246"/>
                  <a:gd name="connsiteY488" fmla="*/ 306276 h 1551620"/>
                  <a:gd name="connsiteX489" fmla="*/ 1268300 w 1555246"/>
                  <a:gd name="connsiteY489" fmla="*/ 300537 h 1551620"/>
                  <a:gd name="connsiteX490" fmla="*/ 1258735 w 1555246"/>
                  <a:gd name="connsiteY490" fmla="*/ 292885 h 1551620"/>
                  <a:gd name="connsiteX491" fmla="*/ 1203259 w 1555246"/>
                  <a:gd name="connsiteY491" fmla="*/ 289059 h 1551620"/>
                  <a:gd name="connsiteX492" fmla="*/ 1195607 w 1555246"/>
                  <a:gd name="connsiteY492" fmla="*/ 275669 h 1551620"/>
                  <a:gd name="connsiteX493" fmla="*/ 1193694 w 1555246"/>
                  <a:gd name="connsiteY493" fmla="*/ 268017 h 1551620"/>
                  <a:gd name="connsiteX494" fmla="*/ 1180303 w 1555246"/>
                  <a:gd name="connsiteY494" fmla="*/ 256539 h 1551620"/>
                  <a:gd name="connsiteX495" fmla="*/ 1166912 w 1555246"/>
                  <a:gd name="connsiteY495" fmla="*/ 233583 h 1551620"/>
                  <a:gd name="connsiteX496" fmla="*/ 1165000 w 1555246"/>
                  <a:gd name="connsiteY496" fmla="*/ 197237 h 1551620"/>
                  <a:gd name="connsiteX497" fmla="*/ 1178390 w 1555246"/>
                  <a:gd name="connsiteY497" fmla="*/ 191498 h 1551620"/>
                  <a:gd name="connsiteX498" fmla="*/ 1184129 w 1555246"/>
                  <a:gd name="connsiteY498" fmla="*/ 183846 h 1551620"/>
                  <a:gd name="connsiteX499" fmla="*/ 1172651 w 1555246"/>
                  <a:gd name="connsiteY499" fmla="*/ 181933 h 1551620"/>
                  <a:gd name="connsiteX500" fmla="*/ 1166912 w 1555246"/>
                  <a:gd name="connsiteY500" fmla="*/ 180020 h 1551620"/>
                  <a:gd name="connsiteX501" fmla="*/ 1153522 w 1555246"/>
                  <a:gd name="connsiteY501" fmla="*/ 178107 h 1551620"/>
                  <a:gd name="connsiteX502" fmla="*/ 1128653 w 1555246"/>
                  <a:gd name="connsiteY502" fmla="*/ 185759 h 1551620"/>
                  <a:gd name="connsiteX503" fmla="*/ 1124827 w 1555246"/>
                  <a:gd name="connsiteY503" fmla="*/ 191498 h 1551620"/>
                  <a:gd name="connsiteX504" fmla="*/ 1130566 w 1555246"/>
                  <a:gd name="connsiteY504" fmla="*/ 193411 h 1551620"/>
                  <a:gd name="connsiteX505" fmla="*/ 1111436 w 1555246"/>
                  <a:gd name="connsiteY505" fmla="*/ 202976 h 1551620"/>
                  <a:gd name="connsiteX506" fmla="*/ 1098046 w 1555246"/>
                  <a:gd name="connsiteY506" fmla="*/ 210628 h 1551620"/>
                  <a:gd name="connsiteX507" fmla="*/ 1088481 w 1555246"/>
                  <a:gd name="connsiteY507" fmla="*/ 199150 h 1551620"/>
                  <a:gd name="connsiteX508" fmla="*/ 1092307 w 1555246"/>
                  <a:gd name="connsiteY508" fmla="*/ 183846 h 1551620"/>
                  <a:gd name="connsiteX509" fmla="*/ 1080829 w 1555246"/>
                  <a:gd name="connsiteY509" fmla="*/ 151325 h 1551620"/>
                  <a:gd name="connsiteX510" fmla="*/ 1067438 w 1555246"/>
                  <a:gd name="connsiteY510" fmla="*/ 149412 h 1551620"/>
                  <a:gd name="connsiteX511" fmla="*/ 1055960 w 1555246"/>
                  <a:gd name="connsiteY511" fmla="*/ 143674 h 1551620"/>
                  <a:gd name="connsiteX512" fmla="*/ 1044482 w 1555246"/>
                  <a:gd name="connsiteY512" fmla="*/ 139848 h 1551620"/>
                  <a:gd name="connsiteX513" fmla="*/ 1033005 w 1555246"/>
                  <a:gd name="connsiteY513" fmla="*/ 124544 h 1551620"/>
                  <a:gd name="connsiteX514" fmla="*/ 1027266 w 1555246"/>
                  <a:gd name="connsiteY514" fmla="*/ 118805 h 1551620"/>
                  <a:gd name="connsiteX515" fmla="*/ 1021527 w 1555246"/>
                  <a:gd name="connsiteY515" fmla="*/ 114979 h 1551620"/>
                  <a:gd name="connsiteX516" fmla="*/ 1010049 w 1555246"/>
                  <a:gd name="connsiteY516" fmla="*/ 101588 h 1551620"/>
                  <a:gd name="connsiteX517" fmla="*/ 1008136 w 1555246"/>
                  <a:gd name="connsiteY517" fmla="*/ 90110 h 1551620"/>
                  <a:gd name="connsiteX518" fmla="*/ 998571 w 1555246"/>
                  <a:gd name="connsiteY518" fmla="*/ 74807 h 1551620"/>
                  <a:gd name="connsiteX519" fmla="*/ 996658 w 1555246"/>
                  <a:gd name="connsiteY519" fmla="*/ 48025 h 1551620"/>
                  <a:gd name="connsiteX520" fmla="*/ 989006 w 1555246"/>
                  <a:gd name="connsiteY520" fmla="*/ 42286 h 1551620"/>
                  <a:gd name="connsiteX521" fmla="*/ 950747 w 1555246"/>
                  <a:gd name="connsiteY521" fmla="*/ 40373 h 1551620"/>
                  <a:gd name="connsiteX522" fmla="*/ 943095 w 1555246"/>
                  <a:gd name="connsiteY522" fmla="*/ 34634 h 1551620"/>
                  <a:gd name="connsiteX523" fmla="*/ 925878 w 1555246"/>
                  <a:gd name="connsiteY523" fmla="*/ 23156 h 1551620"/>
                  <a:gd name="connsiteX524" fmla="*/ 922052 w 1555246"/>
                  <a:gd name="connsiteY524" fmla="*/ 13592 h 1551620"/>
                  <a:gd name="connsiteX525" fmla="*/ 918226 w 1555246"/>
                  <a:gd name="connsiteY525" fmla="*/ 7853 h 1551620"/>
                  <a:gd name="connsiteX526" fmla="*/ 920139 w 1555246"/>
                  <a:gd name="connsiteY526" fmla="*/ 2114 h 1551620"/>
                  <a:gd name="connsiteX0" fmla="*/ 920139 w 1555246"/>
                  <a:gd name="connsiteY0" fmla="*/ 2114 h 1551620"/>
                  <a:gd name="connsiteX1" fmla="*/ 872315 w 1555246"/>
                  <a:gd name="connsiteY1" fmla="*/ 201 h 1551620"/>
                  <a:gd name="connsiteX2" fmla="*/ 835969 w 1555246"/>
                  <a:gd name="connsiteY2" fmla="*/ 5940 h 1551620"/>
                  <a:gd name="connsiteX3" fmla="*/ 830230 w 1555246"/>
                  <a:gd name="connsiteY3" fmla="*/ 9766 h 1551620"/>
                  <a:gd name="connsiteX4" fmla="*/ 822578 w 1555246"/>
                  <a:gd name="connsiteY4" fmla="*/ 11679 h 1551620"/>
                  <a:gd name="connsiteX5" fmla="*/ 816839 w 1555246"/>
                  <a:gd name="connsiteY5" fmla="*/ 19330 h 1551620"/>
                  <a:gd name="connsiteX6" fmla="*/ 813013 w 1555246"/>
                  <a:gd name="connsiteY6" fmla="*/ 32721 h 1551620"/>
                  <a:gd name="connsiteX7" fmla="*/ 805361 w 1555246"/>
                  <a:gd name="connsiteY7" fmla="*/ 44199 h 1551620"/>
                  <a:gd name="connsiteX8" fmla="*/ 801535 w 1555246"/>
                  <a:gd name="connsiteY8" fmla="*/ 63329 h 1551620"/>
                  <a:gd name="connsiteX9" fmla="*/ 797709 w 1555246"/>
                  <a:gd name="connsiteY9" fmla="*/ 78633 h 1551620"/>
                  <a:gd name="connsiteX10" fmla="*/ 795796 w 1555246"/>
                  <a:gd name="connsiteY10" fmla="*/ 88197 h 1551620"/>
                  <a:gd name="connsiteX11" fmla="*/ 791970 w 1555246"/>
                  <a:gd name="connsiteY11" fmla="*/ 97762 h 1551620"/>
                  <a:gd name="connsiteX12" fmla="*/ 790057 w 1555246"/>
                  <a:gd name="connsiteY12" fmla="*/ 103501 h 1551620"/>
                  <a:gd name="connsiteX13" fmla="*/ 788144 w 1555246"/>
                  <a:gd name="connsiteY13" fmla="*/ 113066 h 1551620"/>
                  <a:gd name="connsiteX14" fmla="*/ 774753 w 1555246"/>
                  <a:gd name="connsiteY14" fmla="*/ 132196 h 1551620"/>
                  <a:gd name="connsiteX15" fmla="*/ 770928 w 1555246"/>
                  <a:gd name="connsiteY15" fmla="*/ 137935 h 1551620"/>
                  <a:gd name="connsiteX16" fmla="*/ 757537 w 1555246"/>
                  <a:gd name="connsiteY16" fmla="*/ 158977 h 1551620"/>
                  <a:gd name="connsiteX17" fmla="*/ 751798 w 1555246"/>
                  <a:gd name="connsiteY17" fmla="*/ 160890 h 1551620"/>
                  <a:gd name="connsiteX18" fmla="*/ 746059 w 1555246"/>
                  <a:gd name="connsiteY18" fmla="*/ 164716 h 1551620"/>
                  <a:gd name="connsiteX19" fmla="*/ 738407 w 1555246"/>
                  <a:gd name="connsiteY19" fmla="*/ 170455 h 1551620"/>
                  <a:gd name="connsiteX20" fmla="*/ 713538 w 1555246"/>
                  <a:gd name="connsiteY20" fmla="*/ 178107 h 1551620"/>
                  <a:gd name="connsiteX21" fmla="*/ 686757 w 1555246"/>
                  <a:gd name="connsiteY21" fmla="*/ 185759 h 1551620"/>
                  <a:gd name="connsiteX22" fmla="*/ 665714 w 1555246"/>
                  <a:gd name="connsiteY22" fmla="*/ 191498 h 1551620"/>
                  <a:gd name="connsiteX23" fmla="*/ 644671 w 1555246"/>
                  <a:gd name="connsiteY23" fmla="*/ 195324 h 1551620"/>
                  <a:gd name="connsiteX24" fmla="*/ 633194 w 1555246"/>
                  <a:gd name="connsiteY24" fmla="*/ 202976 h 1551620"/>
                  <a:gd name="connsiteX25" fmla="*/ 615977 w 1555246"/>
                  <a:gd name="connsiteY25" fmla="*/ 212540 h 1551620"/>
                  <a:gd name="connsiteX26" fmla="*/ 606412 w 1555246"/>
                  <a:gd name="connsiteY26" fmla="*/ 224018 h 1551620"/>
                  <a:gd name="connsiteX27" fmla="*/ 615977 w 1555246"/>
                  <a:gd name="connsiteY27" fmla="*/ 233583 h 1551620"/>
                  <a:gd name="connsiteX28" fmla="*/ 642758 w 1555246"/>
                  <a:gd name="connsiteY28" fmla="*/ 248887 h 1551620"/>
                  <a:gd name="connsiteX29" fmla="*/ 635107 w 1555246"/>
                  <a:gd name="connsiteY29" fmla="*/ 254626 h 1551620"/>
                  <a:gd name="connsiteX30" fmla="*/ 615977 w 1555246"/>
                  <a:gd name="connsiteY30" fmla="*/ 262278 h 1551620"/>
                  <a:gd name="connsiteX31" fmla="*/ 598760 w 1555246"/>
                  <a:gd name="connsiteY31" fmla="*/ 266104 h 1551620"/>
                  <a:gd name="connsiteX32" fmla="*/ 562414 w 1555246"/>
                  <a:gd name="connsiteY32" fmla="*/ 268017 h 1551620"/>
                  <a:gd name="connsiteX33" fmla="*/ 554762 w 1555246"/>
                  <a:gd name="connsiteY33" fmla="*/ 264191 h 1551620"/>
                  <a:gd name="connsiteX34" fmla="*/ 549023 w 1555246"/>
                  <a:gd name="connsiteY34" fmla="*/ 260365 h 1551620"/>
                  <a:gd name="connsiteX35" fmla="*/ 522241 w 1555246"/>
                  <a:gd name="connsiteY35" fmla="*/ 258452 h 1551620"/>
                  <a:gd name="connsiteX36" fmla="*/ 493547 w 1555246"/>
                  <a:gd name="connsiteY36" fmla="*/ 243148 h 1551620"/>
                  <a:gd name="connsiteX37" fmla="*/ 489721 w 1555246"/>
                  <a:gd name="connsiteY37" fmla="*/ 237409 h 1551620"/>
                  <a:gd name="connsiteX38" fmla="*/ 483982 w 1555246"/>
                  <a:gd name="connsiteY38" fmla="*/ 235496 h 1551620"/>
                  <a:gd name="connsiteX39" fmla="*/ 459113 w 1555246"/>
                  <a:gd name="connsiteY39" fmla="*/ 231670 h 1551620"/>
                  <a:gd name="connsiteX40" fmla="*/ 439984 w 1555246"/>
                  <a:gd name="connsiteY40" fmla="*/ 210628 h 1551620"/>
                  <a:gd name="connsiteX41" fmla="*/ 462939 w 1555246"/>
                  <a:gd name="connsiteY41" fmla="*/ 197237 h 1551620"/>
                  <a:gd name="connsiteX42" fmla="*/ 441897 w 1555246"/>
                  <a:gd name="connsiteY42" fmla="*/ 191498 h 1551620"/>
                  <a:gd name="connsiteX43" fmla="*/ 428506 w 1555246"/>
                  <a:gd name="connsiteY43" fmla="*/ 183846 h 1551620"/>
                  <a:gd name="connsiteX44" fmla="*/ 420854 w 1555246"/>
                  <a:gd name="connsiteY44" fmla="*/ 181933 h 1551620"/>
                  <a:gd name="connsiteX45" fmla="*/ 403637 w 1555246"/>
                  <a:gd name="connsiteY45" fmla="*/ 176194 h 1551620"/>
                  <a:gd name="connsiteX46" fmla="*/ 392159 w 1555246"/>
                  <a:gd name="connsiteY46" fmla="*/ 168542 h 1551620"/>
                  <a:gd name="connsiteX47" fmla="*/ 382594 w 1555246"/>
                  <a:gd name="connsiteY47" fmla="*/ 162803 h 1551620"/>
                  <a:gd name="connsiteX48" fmla="*/ 390246 w 1555246"/>
                  <a:gd name="connsiteY48" fmla="*/ 176194 h 1551620"/>
                  <a:gd name="connsiteX49" fmla="*/ 386420 w 1555246"/>
                  <a:gd name="connsiteY49" fmla="*/ 193411 h 1551620"/>
                  <a:gd name="connsiteX50" fmla="*/ 380682 w 1555246"/>
                  <a:gd name="connsiteY50" fmla="*/ 210628 h 1551620"/>
                  <a:gd name="connsiteX51" fmla="*/ 378769 w 1555246"/>
                  <a:gd name="connsiteY51" fmla="*/ 216366 h 1551620"/>
                  <a:gd name="connsiteX52" fmla="*/ 376856 w 1555246"/>
                  <a:gd name="connsiteY52" fmla="*/ 225931 h 1551620"/>
                  <a:gd name="connsiteX53" fmla="*/ 378769 w 1555246"/>
                  <a:gd name="connsiteY53" fmla="*/ 237409 h 1551620"/>
                  <a:gd name="connsiteX54" fmla="*/ 386420 w 1555246"/>
                  <a:gd name="connsiteY54" fmla="*/ 239322 h 1551620"/>
                  <a:gd name="connsiteX55" fmla="*/ 390246 w 1555246"/>
                  <a:gd name="connsiteY55" fmla="*/ 246974 h 1551620"/>
                  <a:gd name="connsiteX56" fmla="*/ 390246 w 1555246"/>
                  <a:gd name="connsiteY56" fmla="*/ 294798 h 1551620"/>
                  <a:gd name="connsiteX57" fmla="*/ 392159 w 1555246"/>
                  <a:gd name="connsiteY57" fmla="*/ 357926 h 1551620"/>
                  <a:gd name="connsiteX58" fmla="*/ 394072 w 1555246"/>
                  <a:gd name="connsiteY58" fmla="*/ 363665 h 1551620"/>
                  <a:gd name="connsiteX59" fmla="*/ 403637 w 1555246"/>
                  <a:gd name="connsiteY59" fmla="*/ 367491 h 1551620"/>
                  <a:gd name="connsiteX60" fmla="*/ 361552 w 1555246"/>
                  <a:gd name="connsiteY60" fmla="*/ 363665 h 1551620"/>
                  <a:gd name="connsiteX61" fmla="*/ 355813 w 1555246"/>
                  <a:gd name="connsiteY61" fmla="*/ 359839 h 1551620"/>
                  <a:gd name="connsiteX62" fmla="*/ 346248 w 1555246"/>
                  <a:gd name="connsiteY62" fmla="*/ 375143 h 1551620"/>
                  <a:gd name="connsiteX63" fmla="*/ 336683 w 1555246"/>
                  <a:gd name="connsiteY63" fmla="*/ 369404 h 1551620"/>
                  <a:gd name="connsiteX64" fmla="*/ 332857 w 1555246"/>
                  <a:gd name="connsiteY64" fmla="*/ 357926 h 1551620"/>
                  <a:gd name="connsiteX65" fmla="*/ 321379 w 1555246"/>
                  <a:gd name="connsiteY65" fmla="*/ 352187 h 1551620"/>
                  <a:gd name="connsiteX66" fmla="*/ 313728 w 1555246"/>
                  <a:gd name="connsiteY66" fmla="*/ 346448 h 1551620"/>
                  <a:gd name="connsiteX67" fmla="*/ 306076 w 1555246"/>
                  <a:gd name="connsiteY67" fmla="*/ 342623 h 1551620"/>
                  <a:gd name="connsiteX68" fmla="*/ 300337 w 1555246"/>
                  <a:gd name="connsiteY68" fmla="*/ 338797 h 1551620"/>
                  <a:gd name="connsiteX69" fmla="*/ 296511 w 1555246"/>
                  <a:gd name="connsiteY69" fmla="*/ 346448 h 1551620"/>
                  <a:gd name="connsiteX70" fmla="*/ 288859 w 1555246"/>
                  <a:gd name="connsiteY70" fmla="*/ 356013 h 1551620"/>
                  <a:gd name="connsiteX71" fmla="*/ 277381 w 1555246"/>
                  <a:gd name="connsiteY71" fmla="*/ 357926 h 1551620"/>
                  <a:gd name="connsiteX72" fmla="*/ 254425 w 1555246"/>
                  <a:gd name="connsiteY72" fmla="*/ 361752 h 1551620"/>
                  <a:gd name="connsiteX73" fmla="*/ 252512 w 1555246"/>
                  <a:gd name="connsiteY73" fmla="*/ 346448 h 1551620"/>
                  <a:gd name="connsiteX74" fmla="*/ 250600 w 1555246"/>
                  <a:gd name="connsiteY74" fmla="*/ 338797 h 1551620"/>
                  <a:gd name="connsiteX75" fmla="*/ 242948 w 1555246"/>
                  <a:gd name="connsiteY75" fmla="*/ 321580 h 1551620"/>
                  <a:gd name="connsiteX76" fmla="*/ 237209 w 1555246"/>
                  <a:gd name="connsiteY76" fmla="*/ 310102 h 1551620"/>
                  <a:gd name="connsiteX77" fmla="*/ 229557 w 1555246"/>
                  <a:gd name="connsiteY77" fmla="*/ 302450 h 1551620"/>
                  <a:gd name="connsiteX78" fmla="*/ 225731 w 1555246"/>
                  <a:gd name="connsiteY78" fmla="*/ 296711 h 1551620"/>
                  <a:gd name="connsiteX79" fmla="*/ 214253 w 1555246"/>
                  <a:gd name="connsiteY79" fmla="*/ 294798 h 1551620"/>
                  <a:gd name="connsiteX80" fmla="*/ 197036 w 1555246"/>
                  <a:gd name="connsiteY80" fmla="*/ 285233 h 1551620"/>
                  <a:gd name="connsiteX81" fmla="*/ 172168 w 1555246"/>
                  <a:gd name="connsiteY81" fmla="*/ 290972 h 1551620"/>
                  <a:gd name="connsiteX82" fmla="*/ 153038 w 1555246"/>
                  <a:gd name="connsiteY82" fmla="*/ 292885 h 1551620"/>
                  <a:gd name="connsiteX83" fmla="*/ 154951 w 1555246"/>
                  <a:gd name="connsiteY83" fmla="*/ 298624 h 1551620"/>
                  <a:gd name="connsiteX84" fmla="*/ 158777 w 1555246"/>
                  <a:gd name="connsiteY84" fmla="*/ 304363 h 1551620"/>
                  <a:gd name="connsiteX85" fmla="*/ 153038 w 1555246"/>
                  <a:gd name="connsiteY85" fmla="*/ 306276 h 1551620"/>
                  <a:gd name="connsiteX86" fmla="*/ 133908 w 1555246"/>
                  <a:gd name="connsiteY86" fmla="*/ 306276 h 1551620"/>
                  <a:gd name="connsiteX87" fmla="*/ 131995 w 1555246"/>
                  <a:gd name="connsiteY87" fmla="*/ 312015 h 1551620"/>
                  <a:gd name="connsiteX88" fmla="*/ 118605 w 1555246"/>
                  <a:gd name="connsiteY88" fmla="*/ 304363 h 1551620"/>
                  <a:gd name="connsiteX89" fmla="*/ 110953 w 1555246"/>
                  <a:gd name="connsiteY89" fmla="*/ 315841 h 1551620"/>
                  <a:gd name="connsiteX90" fmla="*/ 107127 w 1555246"/>
                  <a:gd name="connsiteY90" fmla="*/ 306276 h 1551620"/>
                  <a:gd name="connsiteX91" fmla="*/ 86084 w 1555246"/>
                  <a:gd name="connsiteY91" fmla="*/ 296711 h 1551620"/>
                  <a:gd name="connsiteX92" fmla="*/ 40173 w 1555246"/>
                  <a:gd name="connsiteY92" fmla="*/ 298624 h 1551620"/>
                  <a:gd name="connsiteX93" fmla="*/ 32521 w 1555246"/>
                  <a:gd name="connsiteY93" fmla="*/ 300537 h 1551620"/>
                  <a:gd name="connsiteX94" fmla="*/ 13391 w 1555246"/>
                  <a:gd name="connsiteY94" fmla="*/ 310102 h 1551620"/>
                  <a:gd name="connsiteX95" fmla="*/ 5739 w 1555246"/>
                  <a:gd name="connsiteY95" fmla="*/ 319667 h 1551620"/>
                  <a:gd name="connsiteX96" fmla="*/ 0 w 1555246"/>
                  <a:gd name="connsiteY96" fmla="*/ 334971 h 1551620"/>
                  <a:gd name="connsiteX97" fmla="*/ 7652 w 1555246"/>
                  <a:gd name="connsiteY97" fmla="*/ 340710 h 1551620"/>
                  <a:gd name="connsiteX98" fmla="*/ 13391 w 1555246"/>
                  <a:gd name="connsiteY98" fmla="*/ 348361 h 1551620"/>
                  <a:gd name="connsiteX99" fmla="*/ 21043 w 1555246"/>
                  <a:gd name="connsiteY99" fmla="*/ 350274 h 1551620"/>
                  <a:gd name="connsiteX100" fmla="*/ 26782 w 1555246"/>
                  <a:gd name="connsiteY100" fmla="*/ 354100 h 1551620"/>
                  <a:gd name="connsiteX101" fmla="*/ 47825 w 1555246"/>
                  <a:gd name="connsiteY101" fmla="*/ 359839 h 1551620"/>
                  <a:gd name="connsiteX102" fmla="*/ 57389 w 1555246"/>
                  <a:gd name="connsiteY102" fmla="*/ 373230 h 1551620"/>
                  <a:gd name="connsiteX103" fmla="*/ 63128 w 1555246"/>
                  <a:gd name="connsiteY103" fmla="*/ 371317 h 1551620"/>
                  <a:gd name="connsiteX104" fmla="*/ 72693 w 1555246"/>
                  <a:gd name="connsiteY104" fmla="*/ 361752 h 1551620"/>
                  <a:gd name="connsiteX105" fmla="*/ 68867 w 1555246"/>
                  <a:gd name="connsiteY105" fmla="*/ 380882 h 1551620"/>
                  <a:gd name="connsiteX106" fmla="*/ 59302 w 1555246"/>
                  <a:gd name="connsiteY106" fmla="*/ 400012 h 1551620"/>
                  <a:gd name="connsiteX107" fmla="*/ 53564 w 1555246"/>
                  <a:gd name="connsiteY107" fmla="*/ 401925 h 1551620"/>
                  <a:gd name="connsiteX108" fmla="*/ 42086 w 1555246"/>
                  <a:gd name="connsiteY108" fmla="*/ 388534 h 1551620"/>
                  <a:gd name="connsiteX109" fmla="*/ 40173 w 1555246"/>
                  <a:gd name="connsiteY109" fmla="*/ 382795 h 1551620"/>
                  <a:gd name="connsiteX110" fmla="*/ 38260 w 1555246"/>
                  <a:gd name="connsiteY110" fmla="*/ 375143 h 1551620"/>
                  <a:gd name="connsiteX111" fmla="*/ 30608 w 1555246"/>
                  <a:gd name="connsiteY111" fmla="*/ 369404 h 1551620"/>
                  <a:gd name="connsiteX112" fmla="*/ 21043 w 1555246"/>
                  <a:gd name="connsiteY112" fmla="*/ 371317 h 1551620"/>
                  <a:gd name="connsiteX113" fmla="*/ 17217 w 1555246"/>
                  <a:gd name="connsiteY113" fmla="*/ 382795 h 1551620"/>
                  <a:gd name="connsiteX114" fmla="*/ 7652 w 1555246"/>
                  <a:gd name="connsiteY114" fmla="*/ 398099 h 1551620"/>
                  <a:gd name="connsiteX115" fmla="*/ 0 w 1555246"/>
                  <a:gd name="connsiteY115" fmla="*/ 400012 h 1551620"/>
                  <a:gd name="connsiteX116" fmla="*/ 9565 w 1555246"/>
                  <a:gd name="connsiteY116" fmla="*/ 407664 h 1551620"/>
                  <a:gd name="connsiteX117" fmla="*/ 17217 w 1555246"/>
                  <a:gd name="connsiteY117" fmla="*/ 409576 h 1551620"/>
                  <a:gd name="connsiteX118" fmla="*/ 19130 w 1555246"/>
                  <a:gd name="connsiteY118" fmla="*/ 415315 h 1551620"/>
                  <a:gd name="connsiteX119" fmla="*/ 22956 w 1555246"/>
                  <a:gd name="connsiteY119" fmla="*/ 428706 h 1551620"/>
                  <a:gd name="connsiteX120" fmla="*/ 26782 w 1555246"/>
                  <a:gd name="connsiteY120" fmla="*/ 442097 h 1551620"/>
                  <a:gd name="connsiteX121" fmla="*/ 30608 w 1555246"/>
                  <a:gd name="connsiteY121" fmla="*/ 449749 h 1551620"/>
                  <a:gd name="connsiteX122" fmla="*/ 36347 w 1555246"/>
                  <a:gd name="connsiteY122" fmla="*/ 459314 h 1551620"/>
                  <a:gd name="connsiteX123" fmla="*/ 42086 w 1555246"/>
                  <a:gd name="connsiteY123" fmla="*/ 463140 h 1551620"/>
                  <a:gd name="connsiteX124" fmla="*/ 61215 w 1555246"/>
                  <a:gd name="connsiteY124" fmla="*/ 461227 h 1551620"/>
                  <a:gd name="connsiteX125" fmla="*/ 66954 w 1555246"/>
                  <a:gd name="connsiteY125" fmla="*/ 459314 h 1551620"/>
                  <a:gd name="connsiteX126" fmla="*/ 68867 w 1555246"/>
                  <a:gd name="connsiteY126" fmla="*/ 453575 h 1551620"/>
                  <a:gd name="connsiteX127" fmla="*/ 74606 w 1555246"/>
                  <a:gd name="connsiteY127" fmla="*/ 447836 h 1551620"/>
                  <a:gd name="connsiteX128" fmla="*/ 91823 w 1555246"/>
                  <a:gd name="connsiteY128" fmla="*/ 455488 h 1551620"/>
                  <a:gd name="connsiteX129" fmla="*/ 93736 w 1555246"/>
                  <a:gd name="connsiteY129" fmla="*/ 465053 h 1551620"/>
                  <a:gd name="connsiteX130" fmla="*/ 103301 w 1555246"/>
                  <a:gd name="connsiteY130" fmla="*/ 476530 h 1551620"/>
                  <a:gd name="connsiteX131" fmla="*/ 131995 w 1555246"/>
                  <a:gd name="connsiteY131" fmla="*/ 480356 h 1551620"/>
                  <a:gd name="connsiteX132" fmla="*/ 139647 w 1555246"/>
                  <a:gd name="connsiteY132" fmla="*/ 482269 h 1551620"/>
                  <a:gd name="connsiteX133" fmla="*/ 145386 w 1555246"/>
                  <a:gd name="connsiteY133" fmla="*/ 488008 h 1551620"/>
                  <a:gd name="connsiteX134" fmla="*/ 156864 w 1555246"/>
                  <a:gd name="connsiteY134" fmla="*/ 493747 h 1551620"/>
                  <a:gd name="connsiteX135" fmla="*/ 158777 w 1555246"/>
                  <a:gd name="connsiteY135" fmla="*/ 499486 h 1551620"/>
                  <a:gd name="connsiteX136" fmla="*/ 166429 w 1555246"/>
                  <a:gd name="connsiteY136" fmla="*/ 512877 h 1551620"/>
                  <a:gd name="connsiteX137" fmla="*/ 185558 w 1555246"/>
                  <a:gd name="connsiteY137" fmla="*/ 528181 h 1551620"/>
                  <a:gd name="connsiteX138" fmla="*/ 191297 w 1555246"/>
                  <a:gd name="connsiteY138" fmla="*/ 524355 h 1551620"/>
                  <a:gd name="connsiteX139" fmla="*/ 208514 w 1555246"/>
                  <a:gd name="connsiteY139" fmla="*/ 520529 h 1551620"/>
                  <a:gd name="connsiteX140" fmla="*/ 214253 w 1555246"/>
                  <a:gd name="connsiteY140" fmla="*/ 522442 h 1551620"/>
                  <a:gd name="connsiteX141" fmla="*/ 219992 w 1555246"/>
                  <a:gd name="connsiteY141" fmla="*/ 551136 h 1551620"/>
                  <a:gd name="connsiteX142" fmla="*/ 225731 w 1555246"/>
                  <a:gd name="connsiteY142" fmla="*/ 547310 h 1551620"/>
                  <a:gd name="connsiteX143" fmla="*/ 229557 w 1555246"/>
                  <a:gd name="connsiteY143" fmla="*/ 541571 h 1551620"/>
                  <a:gd name="connsiteX144" fmla="*/ 235296 w 1555246"/>
                  <a:gd name="connsiteY144" fmla="*/ 539658 h 1551620"/>
                  <a:gd name="connsiteX145" fmla="*/ 242948 w 1555246"/>
                  <a:gd name="connsiteY145" fmla="*/ 543484 h 1551620"/>
                  <a:gd name="connsiteX146" fmla="*/ 250600 w 1555246"/>
                  <a:gd name="connsiteY146" fmla="*/ 549223 h 1551620"/>
                  <a:gd name="connsiteX147" fmla="*/ 263990 w 1555246"/>
                  <a:gd name="connsiteY147" fmla="*/ 553049 h 1551620"/>
                  <a:gd name="connsiteX148" fmla="*/ 265903 w 1555246"/>
                  <a:gd name="connsiteY148" fmla="*/ 560701 h 1551620"/>
                  <a:gd name="connsiteX149" fmla="*/ 252512 w 1555246"/>
                  <a:gd name="connsiteY149" fmla="*/ 574092 h 1551620"/>
                  <a:gd name="connsiteX150" fmla="*/ 250600 w 1555246"/>
                  <a:gd name="connsiteY150" fmla="*/ 579831 h 1551620"/>
                  <a:gd name="connsiteX151" fmla="*/ 246774 w 1555246"/>
                  <a:gd name="connsiteY151" fmla="*/ 585570 h 1551620"/>
                  <a:gd name="connsiteX152" fmla="*/ 260164 w 1555246"/>
                  <a:gd name="connsiteY152" fmla="*/ 593222 h 1551620"/>
                  <a:gd name="connsiteX153" fmla="*/ 307989 w 1555246"/>
                  <a:gd name="connsiteY153" fmla="*/ 595135 h 1551620"/>
                  <a:gd name="connsiteX154" fmla="*/ 313728 w 1555246"/>
                  <a:gd name="connsiteY154" fmla="*/ 600874 h 1551620"/>
                  <a:gd name="connsiteX155" fmla="*/ 325205 w 1555246"/>
                  <a:gd name="connsiteY155" fmla="*/ 608525 h 1551620"/>
                  <a:gd name="connsiteX156" fmla="*/ 317553 w 1555246"/>
                  <a:gd name="connsiteY156" fmla="*/ 612351 h 1551620"/>
                  <a:gd name="connsiteX157" fmla="*/ 313728 w 1555246"/>
                  <a:gd name="connsiteY157" fmla="*/ 604699 h 1551620"/>
                  <a:gd name="connsiteX158" fmla="*/ 302250 w 1555246"/>
                  <a:gd name="connsiteY158" fmla="*/ 598961 h 1551620"/>
                  <a:gd name="connsiteX159" fmla="*/ 288859 w 1555246"/>
                  <a:gd name="connsiteY159" fmla="*/ 600874 h 1551620"/>
                  <a:gd name="connsiteX160" fmla="*/ 277381 w 1555246"/>
                  <a:gd name="connsiteY160" fmla="*/ 602787 h 1551620"/>
                  <a:gd name="connsiteX161" fmla="*/ 275468 w 1555246"/>
                  <a:gd name="connsiteY161" fmla="*/ 608525 h 1551620"/>
                  <a:gd name="connsiteX162" fmla="*/ 277381 w 1555246"/>
                  <a:gd name="connsiteY162" fmla="*/ 623829 h 1551620"/>
                  <a:gd name="connsiteX163" fmla="*/ 285033 w 1555246"/>
                  <a:gd name="connsiteY163" fmla="*/ 627655 h 1551620"/>
                  <a:gd name="connsiteX164" fmla="*/ 281207 w 1555246"/>
                  <a:gd name="connsiteY164" fmla="*/ 646785 h 1551620"/>
                  <a:gd name="connsiteX165" fmla="*/ 275468 w 1555246"/>
                  <a:gd name="connsiteY165" fmla="*/ 652524 h 1551620"/>
                  <a:gd name="connsiteX166" fmla="*/ 271642 w 1555246"/>
                  <a:gd name="connsiteY166" fmla="*/ 665915 h 1551620"/>
                  <a:gd name="connsiteX167" fmla="*/ 275468 w 1555246"/>
                  <a:gd name="connsiteY167" fmla="*/ 686957 h 1551620"/>
                  <a:gd name="connsiteX168" fmla="*/ 283120 w 1555246"/>
                  <a:gd name="connsiteY168" fmla="*/ 702261 h 1551620"/>
                  <a:gd name="connsiteX169" fmla="*/ 285033 w 1555246"/>
                  <a:gd name="connsiteY169" fmla="*/ 708000 h 1551620"/>
                  <a:gd name="connsiteX170" fmla="*/ 288859 w 1555246"/>
                  <a:gd name="connsiteY170" fmla="*/ 727130 h 1551620"/>
                  <a:gd name="connsiteX171" fmla="*/ 294598 w 1555246"/>
                  <a:gd name="connsiteY171" fmla="*/ 732869 h 1551620"/>
                  <a:gd name="connsiteX172" fmla="*/ 300337 w 1555246"/>
                  <a:gd name="connsiteY172" fmla="*/ 746259 h 1551620"/>
                  <a:gd name="connsiteX173" fmla="*/ 304163 w 1555246"/>
                  <a:gd name="connsiteY173" fmla="*/ 751998 h 1551620"/>
                  <a:gd name="connsiteX174" fmla="*/ 309902 w 1555246"/>
                  <a:gd name="connsiteY174" fmla="*/ 753911 h 1551620"/>
                  <a:gd name="connsiteX175" fmla="*/ 355813 w 1555246"/>
                  <a:gd name="connsiteY175" fmla="*/ 757737 h 1551620"/>
                  <a:gd name="connsiteX176" fmla="*/ 357726 w 1555246"/>
                  <a:gd name="connsiteY176" fmla="*/ 769215 h 1551620"/>
                  <a:gd name="connsiteX177" fmla="*/ 363465 w 1555246"/>
                  <a:gd name="connsiteY177" fmla="*/ 773041 h 1551620"/>
                  <a:gd name="connsiteX178" fmla="*/ 371117 w 1555246"/>
                  <a:gd name="connsiteY178" fmla="*/ 782606 h 1551620"/>
                  <a:gd name="connsiteX179" fmla="*/ 382594 w 1555246"/>
                  <a:gd name="connsiteY179" fmla="*/ 790258 h 1551620"/>
                  <a:gd name="connsiteX180" fmla="*/ 388333 w 1555246"/>
                  <a:gd name="connsiteY180" fmla="*/ 797910 h 1551620"/>
                  <a:gd name="connsiteX181" fmla="*/ 392159 w 1555246"/>
                  <a:gd name="connsiteY181" fmla="*/ 805561 h 1551620"/>
                  <a:gd name="connsiteX182" fmla="*/ 384507 w 1555246"/>
                  <a:gd name="connsiteY182" fmla="*/ 799823 h 1551620"/>
                  <a:gd name="connsiteX183" fmla="*/ 373030 w 1555246"/>
                  <a:gd name="connsiteY183" fmla="*/ 790258 h 1551620"/>
                  <a:gd name="connsiteX184" fmla="*/ 359639 w 1555246"/>
                  <a:gd name="connsiteY184" fmla="*/ 782606 h 1551620"/>
                  <a:gd name="connsiteX185" fmla="*/ 329031 w 1555246"/>
                  <a:gd name="connsiteY185" fmla="*/ 784519 h 1551620"/>
                  <a:gd name="connsiteX186" fmla="*/ 330944 w 1555246"/>
                  <a:gd name="connsiteY186" fmla="*/ 797910 h 1551620"/>
                  <a:gd name="connsiteX187" fmla="*/ 340509 w 1555246"/>
                  <a:gd name="connsiteY187" fmla="*/ 799823 h 1551620"/>
                  <a:gd name="connsiteX188" fmla="*/ 348161 w 1555246"/>
                  <a:gd name="connsiteY188" fmla="*/ 801735 h 1551620"/>
                  <a:gd name="connsiteX189" fmla="*/ 353900 w 1555246"/>
                  <a:gd name="connsiteY189" fmla="*/ 805561 h 1551620"/>
                  <a:gd name="connsiteX190" fmla="*/ 361552 w 1555246"/>
                  <a:gd name="connsiteY190" fmla="*/ 811300 h 1551620"/>
                  <a:gd name="connsiteX191" fmla="*/ 378769 w 1555246"/>
                  <a:gd name="connsiteY191" fmla="*/ 815126 h 1551620"/>
                  <a:gd name="connsiteX192" fmla="*/ 388333 w 1555246"/>
                  <a:gd name="connsiteY192" fmla="*/ 820865 h 1551620"/>
                  <a:gd name="connsiteX193" fmla="*/ 378769 w 1555246"/>
                  <a:gd name="connsiteY193" fmla="*/ 841908 h 1551620"/>
                  <a:gd name="connsiteX194" fmla="*/ 373030 w 1555246"/>
                  <a:gd name="connsiteY194" fmla="*/ 843821 h 1551620"/>
                  <a:gd name="connsiteX195" fmla="*/ 361552 w 1555246"/>
                  <a:gd name="connsiteY195" fmla="*/ 841908 h 1551620"/>
                  <a:gd name="connsiteX196" fmla="*/ 350074 w 1555246"/>
                  <a:gd name="connsiteY196" fmla="*/ 834256 h 1551620"/>
                  <a:gd name="connsiteX197" fmla="*/ 338596 w 1555246"/>
                  <a:gd name="connsiteY197" fmla="*/ 836169 h 1551620"/>
                  <a:gd name="connsiteX198" fmla="*/ 348161 w 1555246"/>
                  <a:gd name="connsiteY198" fmla="*/ 849560 h 1551620"/>
                  <a:gd name="connsiteX199" fmla="*/ 355813 w 1555246"/>
                  <a:gd name="connsiteY199" fmla="*/ 861038 h 1551620"/>
                  <a:gd name="connsiteX200" fmla="*/ 359639 w 1555246"/>
                  <a:gd name="connsiteY200" fmla="*/ 870602 h 1551620"/>
                  <a:gd name="connsiteX201" fmla="*/ 357726 w 1555246"/>
                  <a:gd name="connsiteY201" fmla="*/ 882080 h 1551620"/>
                  <a:gd name="connsiteX202" fmla="*/ 371117 w 1555246"/>
                  <a:gd name="connsiteY202" fmla="*/ 883993 h 1551620"/>
                  <a:gd name="connsiteX203" fmla="*/ 378769 w 1555246"/>
                  <a:gd name="connsiteY203" fmla="*/ 885906 h 1551620"/>
                  <a:gd name="connsiteX204" fmla="*/ 376856 w 1555246"/>
                  <a:gd name="connsiteY204" fmla="*/ 893558 h 1551620"/>
                  <a:gd name="connsiteX205" fmla="*/ 378769 w 1555246"/>
                  <a:gd name="connsiteY205" fmla="*/ 903123 h 1551620"/>
                  <a:gd name="connsiteX206" fmla="*/ 382594 w 1555246"/>
                  <a:gd name="connsiteY206" fmla="*/ 908862 h 1551620"/>
                  <a:gd name="connsiteX207" fmla="*/ 388333 w 1555246"/>
                  <a:gd name="connsiteY207" fmla="*/ 918427 h 1551620"/>
                  <a:gd name="connsiteX208" fmla="*/ 394072 w 1555246"/>
                  <a:gd name="connsiteY208" fmla="*/ 933730 h 1551620"/>
                  <a:gd name="connsiteX209" fmla="*/ 399811 w 1555246"/>
                  <a:gd name="connsiteY209" fmla="*/ 937556 h 1551620"/>
                  <a:gd name="connsiteX210" fmla="*/ 403637 w 1555246"/>
                  <a:gd name="connsiteY210" fmla="*/ 945208 h 1551620"/>
                  <a:gd name="connsiteX211" fmla="*/ 405550 w 1555246"/>
                  <a:gd name="connsiteY211" fmla="*/ 952860 h 1551620"/>
                  <a:gd name="connsiteX212" fmla="*/ 409376 w 1555246"/>
                  <a:gd name="connsiteY212" fmla="*/ 964338 h 1551620"/>
                  <a:gd name="connsiteX213" fmla="*/ 411289 w 1555246"/>
                  <a:gd name="connsiteY213" fmla="*/ 971990 h 1551620"/>
                  <a:gd name="connsiteX214" fmla="*/ 415115 w 1555246"/>
                  <a:gd name="connsiteY214" fmla="*/ 979642 h 1551620"/>
                  <a:gd name="connsiteX215" fmla="*/ 417028 w 1555246"/>
                  <a:gd name="connsiteY215" fmla="*/ 989207 h 1551620"/>
                  <a:gd name="connsiteX216" fmla="*/ 422767 w 1555246"/>
                  <a:gd name="connsiteY216" fmla="*/ 996858 h 1551620"/>
                  <a:gd name="connsiteX217" fmla="*/ 424680 w 1555246"/>
                  <a:gd name="connsiteY217" fmla="*/ 1012162 h 1551620"/>
                  <a:gd name="connsiteX218" fmla="*/ 420854 w 1555246"/>
                  <a:gd name="connsiteY218" fmla="*/ 1044683 h 1551620"/>
                  <a:gd name="connsiteX219" fmla="*/ 413202 w 1555246"/>
                  <a:gd name="connsiteY219" fmla="*/ 1037031 h 1551620"/>
                  <a:gd name="connsiteX220" fmla="*/ 409376 w 1555246"/>
                  <a:gd name="connsiteY220" fmla="*/ 1027466 h 1551620"/>
                  <a:gd name="connsiteX221" fmla="*/ 403637 w 1555246"/>
                  <a:gd name="connsiteY221" fmla="*/ 1019814 h 1551620"/>
                  <a:gd name="connsiteX222" fmla="*/ 401724 w 1555246"/>
                  <a:gd name="connsiteY222" fmla="*/ 1012162 h 1551620"/>
                  <a:gd name="connsiteX223" fmla="*/ 399811 w 1555246"/>
                  <a:gd name="connsiteY223" fmla="*/ 1002597 h 1551620"/>
                  <a:gd name="connsiteX224" fmla="*/ 395985 w 1555246"/>
                  <a:gd name="connsiteY224" fmla="*/ 994946 h 1551620"/>
                  <a:gd name="connsiteX225" fmla="*/ 392159 w 1555246"/>
                  <a:gd name="connsiteY225" fmla="*/ 973903 h 1551620"/>
                  <a:gd name="connsiteX226" fmla="*/ 386420 w 1555246"/>
                  <a:gd name="connsiteY226" fmla="*/ 968164 h 1551620"/>
                  <a:gd name="connsiteX227" fmla="*/ 384507 w 1555246"/>
                  <a:gd name="connsiteY227" fmla="*/ 954773 h 1551620"/>
                  <a:gd name="connsiteX228" fmla="*/ 380682 w 1555246"/>
                  <a:gd name="connsiteY228" fmla="*/ 949034 h 1551620"/>
                  <a:gd name="connsiteX229" fmla="*/ 371117 w 1555246"/>
                  <a:gd name="connsiteY229" fmla="*/ 937556 h 1551620"/>
                  <a:gd name="connsiteX230" fmla="*/ 357726 w 1555246"/>
                  <a:gd name="connsiteY230" fmla="*/ 939469 h 1551620"/>
                  <a:gd name="connsiteX231" fmla="*/ 344335 w 1555246"/>
                  <a:gd name="connsiteY231" fmla="*/ 954773 h 1551620"/>
                  <a:gd name="connsiteX232" fmla="*/ 342422 w 1555246"/>
                  <a:gd name="connsiteY232" fmla="*/ 968164 h 1551620"/>
                  <a:gd name="connsiteX233" fmla="*/ 338596 w 1555246"/>
                  <a:gd name="connsiteY233" fmla="*/ 973903 h 1551620"/>
                  <a:gd name="connsiteX234" fmla="*/ 336683 w 1555246"/>
                  <a:gd name="connsiteY234" fmla="*/ 981555 h 1551620"/>
                  <a:gd name="connsiteX235" fmla="*/ 334770 w 1555246"/>
                  <a:gd name="connsiteY235" fmla="*/ 991120 h 1551620"/>
                  <a:gd name="connsiteX236" fmla="*/ 329031 w 1555246"/>
                  <a:gd name="connsiteY236" fmla="*/ 1012162 h 1551620"/>
                  <a:gd name="connsiteX237" fmla="*/ 325205 w 1555246"/>
                  <a:gd name="connsiteY237" fmla="*/ 1021727 h 1551620"/>
                  <a:gd name="connsiteX238" fmla="*/ 319466 w 1555246"/>
                  <a:gd name="connsiteY238" fmla="*/ 1031292 h 1551620"/>
                  <a:gd name="connsiteX239" fmla="*/ 321379 w 1555246"/>
                  <a:gd name="connsiteY239" fmla="*/ 1056161 h 1551620"/>
                  <a:gd name="connsiteX240" fmla="*/ 350074 w 1555246"/>
                  <a:gd name="connsiteY240" fmla="*/ 1059987 h 1551620"/>
                  <a:gd name="connsiteX241" fmla="*/ 348161 w 1555246"/>
                  <a:gd name="connsiteY241" fmla="*/ 1067638 h 1551620"/>
                  <a:gd name="connsiteX242" fmla="*/ 336683 w 1555246"/>
                  <a:gd name="connsiteY242" fmla="*/ 1081029 h 1551620"/>
                  <a:gd name="connsiteX243" fmla="*/ 332857 w 1555246"/>
                  <a:gd name="connsiteY243" fmla="*/ 1096333 h 1551620"/>
                  <a:gd name="connsiteX244" fmla="*/ 329031 w 1555246"/>
                  <a:gd name="connsiteY244" fmla="*/ 1102072 h 1551620"/>
                  <a:gd name="connsiteX245" fmla="*/ 327118 w 1555246"/>
                  <a:gd name="connsiteY245" fmla="*/ 1113550 h 1551620"/>
                  <a:gd name="connsiteX246" fmla="*/ 321379 w 1555246"/>
                  <a:gd name="connsiteY246" fmla="*/ 1125028 h 1551620"/>
                  <a:gd name="connsiteX247" fmla="*/ 311815 w 1555246"/>
                  <a:gd name="connsiteY247" fmla="*/ 1140331 h 1551620"/>
                  <a:gd name="connsiteX248" fmla="*/ 309902 w 1555246"/>
                  <a:gd name="connsiteY248" fmla="*/ 1147983 h 1551620"/>
                  <a:gd name="connsiteX249" fmla="*/ 304163 w 1555246"/>
                  <a:gd name="connsiteY249" fmla="*/ 1172852 h 1551620"/>
                  <a:gd name="connsiteX250" fmla="*/ 294598 w 1555246"/>
                  <a:gd name="connsiteY250" fmla="*/ 1188156 h 1551620"/>
                  <a:gd name="connsiteX251" fmla="*/ 285033 w 1555246"/>
                  <a:gd name="connsiteY251" fmla="*/ 1211111 h 1551620"/>
                  <a:gd name="connsiteX252" fmla="*/ 283120 w 1555246"/>
                  <a:gd name="connsiteY252" fmla="*/ 1218763 h 1551620"/>
                  <a:gd name="connsiteX253" fmla="*/ 279294 w 1555246"/>
                  <a:gd name="connsiteY253" fmla="*/ 1237893 h 1551620"/>
                  <a:gd name="connsiteX254" fmla="*/ 275468 w 1555246"/>
                  <a:gd name="connsiteY254" fmla="*/ 1245545 h 1551620"/>
                  <a:gd name="connsiteX255" fmla="*/ 269729 w 1555246"/>
                  <a:gd name="connsiteY255" fmla="*/ 1258935 h 1551620"/>
                  <a:gd name="connsiteX256" fmla="*/ 260164 w 1555246"/>
                  <a:gd name="connsiteY256" fmla="*/ 1274239 h 1551620"/>
                  <a:gd name="connsiteX257" fmla="*/ 258251 w 1555246"/>
                  <a:gd name="connsiteY257" fmla="*/ 1281891 h 1551620"/>
                  <a:gd name="connsiteX258" fmla="*/ 250600 w 1555246"/>
                  <a:gd name="connsiteY258" fmla="*/ 1279978 h 1551620"/>
                  <a:gd name="connsiteX259" fmla="*/ 244861 w 1555246"/>
                  <a:gd name="connsiteY259" fmla="*/ 1278065 h 1551620"/>
                  <a:gd name="connsiteX260" fmla="*/ 246774 w 1555246"/>
                  <a:gd name="connsiteY260" fmla="*/ 1287630 h 1551620"/>
                  <a:gd name="connsiteX261" fmla="*/ 244861 w 1555246"/>
                  <a:gd name="connsiteY261" fmla="*/ 1302934 h 1551620"/>
                  <a:gd name="connsiteX262" fmla="*/ 250600 w 1555246"/>
                  <a:gd name="connsiteY262" fmla="*/ 1304847 h 1551620"/>
                  <a:gd name="connsiteX263" fmla="*/ 265903 w 1555246"/>
                  <a:gd name="connsiteY263" fmla="*/ 1318238 h 1551620"/>
                  <a:gd name="connsiteX264" fmla="*/ 263990 w 1555246"/>
                  <a:gd name="connsiteY264" fmla="*/ 1337367 h 1551620"/>
                  <a:gd name="connsiteX265" fmla="*/ 263990 w 1555246"/>
                  <a:gd name="connsiteY265" fmla="*/ 1358410 h 1551620"/>
                  <a:gd name="connsiteX266" fmla="*/ 271642 w 1555246"/>
                  <a:gd name="connsiteY266" fmla="*/ 1360323 h 1551620"/>
                  <a:gd name="connsiteX267" fmla="*/ 285033 w 1555246"/>
                  <a:gd name="connsiteY267" fmla="*/ 1364149 h 1551620"/>
                  <a:gd name="connsiteX268" fmla="*/ 290772 w 1555246"/>
                  <a:gd name="connsiteY268" fmla="*/ 1367975 h 1551620"/>
                  <a:gd name="connsiteX269" fmla="*/ 304163 w 1555246"/>
                  <a:gd name="connsiteY269" fmla="*/ 1377540 h 1551620"/>
                  <a:gd name="connsiteX270" fmla="*/ 323292 w 1555246"/>
                  <a:gd name="connsiteY270" fmla="*/ 1381366 h 1551620"/>
                  <a:gd name="connsiteX271" fmla="*/ 334770 w 1555246"/>
                  <a:gd name="connsiteY271" fmla="*/ 1389017 h 1551620"/>
                  <a:gd name="connsiteX272" fmla="*/ 346248 w 1555246"/>
                  <a:gd name="connsiteY272" fmla="*/ 1400495 h 1551620"/>
                  <a:gd name="connsiteX273" fmla="*/ 353900 w 1555246"/>
                  <a:gd name="connsiteY273" fmla="*/ 1425364 h 1551620"/>
                  <a:gd name="connsiteX274" fmla="*/ 382594 w 1555246"/>
                  <a:gd name="connsiteY274" fmla="*/ 1423451 h 1551620"/>
                  <a:gd name="connsiteX275" fmla="*/ 394072 w 1555246"/>
                  <a:gd name="connsiteY275" fmla="*/ 1419625 h 1551620"/>
                  <a:gd name="connsiteX276" fmla="*/ 413202 w 1555246"/>
                  <a:gd name="connsiteY276" fmla="*/ 1425364 h 1551620"/>
                  <a:gd name="connsiteX277" fmla="*/ 422767 w 1555246"/>
                  <a:gd name="connsiteY277" fmla="*/ 1434929 h 1551620"/>
                  <a:gd name="connsiteX278" fmla="*/ 428506 w 1555246"/>
                  <a:gd name="connsiteY278" fmla="*/ 1440668 h 1551620"/>
                  <a:gd name="connsiteX279" fmla="*/ 436158 w 1555246"/>
                  <a:gd name="connsiteY279" fmla="*/ 1452146 h 1551620"/>
                  <a:gd name="connsiteX280" fmla="*/ 455287 w 1555246"/>
                  <a:gd name="connsiteY280" fmla="*/ 1450233 h 1551620"/>
                  <a:gd name="connsiteX281" fmla="*/ 462939 w 1555246"/>
                  <a:gd name="connsiteY281" fmla="*/ 1448320 h 1551620"/>
                  <a:gd name="connsiteX282" fmla="*/ 480156 w 1555246"/>
                  <a:gd name="connsiteY282" fmla="*/ 1452146 h 1551620"/>
                  <a:gd name="connsiteX283" fmla="*/ 485895 w 1555246"/>
                  <a:gd name="connsiteY283" fmla="*/ 1455971 h 1551620"/>
                  <a:gd name="connsiteX284" fmla="*/ 493547 w 1555246"/>
                  <a:gd name="connsiteY284" fmla="*/ 1461710 h 1551620"/>
                  <a:gd name="connsiteX285" fmla="*/ 499286 w 1555246"/>
                  <a:gd name="connsiteY285" fmla="*/ 1463623 h 1551620"/>
                  <a:gd name="connsiteX286" fmla="*/ 520328 w 1555246"/>
                  <a:gd name="connsiteY286" fmla="*/ 1459797 h 1551620"/>
                  <a:gd name="connsiteX287" fmla="*/ 522241 w 1555246"/>
                  <a:gd name="connsiteY287" fmla="*/ 1454058 h 1551620"/>
                  <a:gd name="connsiteX288" fmla="*/ 529893 w 1555246"/>
                  <a:gd name="connsiteY288" fmla="*/ 1433016 h 1551620"/>
                  <a:gd name="connsiteX289" fmla="*/ 552849 w 1555246"/>
                  <a:gd name="connsiteY289" fmla="*/ 1434929 h 1551620"/>
                  <a:gd name="connsiteX290" fmla="*/ 570066 w 1555246"/>
                  <a:gd name="connsiteY290" fmla="*/ 1446407 h 1551620"/>
                  <a:gd name="connsiteX291" fmla="*/ 583456 w 1555246"/>
                  <a:gd name="connsiteY291" fmla="*/ 1455971 h 1551620"/>
                  <a:gd name="connsiteX292" fmla="*/ 600673 w 1555246"/>
                  <a:gd name="connsiteY292" fmla="*/ 1467449 h 1551620"/>
                  <a:gd name="connsiteX293" fmla="*/ 617890 w 1555246"/>
                  <a:gd name="connsiteY293" fmla="*/ 1477014 h 1551620"/>
                  <a:gd name="connsiteX294" fmla="*/ 625542 w 1555246"/>
                  <a:gd name="connsiteY294" fmla="*/ 1478927 h 1551620"/>
                  <a:gd name="connsiteX295" fmla="*/ 627455 w 1555246"/>
                  <a:gd name="connsiteY295" fmla="*/ 1484666 h 1551620"/>
                  <a:gd name="connsiteX296" fmla="*/ 633194 w 1555246"/>
                  <a:gd name="connsiteY296" fmla="*/ 1482753 h 1551620"/>
                  <a:gd name="connsiteX297" fmla="*/ 648497 w 1555246"/>
                  <a:gd name="connsiteY297" fmla="*/ 1480840 h 1551620"/>
                  <a:gd name="connsiteX298" fmla="*/ 658062 w 1555246"/>
                  <a:gd name="connsiteY298" fmla="*/ 1482753 h 1551620"/>
                  <a:gd name="connsiteX299" fmla="*/ 667627 w 1555246"/>
                  <a:gd name="connsiteY299" fmla="*/ 1494231 h 1551620"/>
                  <a:gd name="connsiteX300" fmla="*/ 669540 w 1555246"/>
                  <a:gd name="connsiteY300" fmla="*/ 1521012 h 1551620"/>
                  <a:gd name="connsiteX301" fmla="*/ 677192 w 1555246"/>
                  <a:gd name="connsiteY301" fmla="*/ 1526751 h 1551620"/>
                  <a:gd name="connsiteX302" fmla="*/ 688670 w 1555246"/>
                  <a:gd name="connsiteY302" fmla="*/ 1536316 h 1551620"/>
                  <a:gd name="connsiteX303" fmla="*/ 711625 w 1555246"/>
                  <a:gd name="connsiteY303" fmla="*/ 1528664 h 1551620"/>
                  <a:gd name="connsiteX304" fmla="*/ 734581 w 1555246"/>
                  <a:gd name="connsiteY304" fmla="*/ 1530577 h 1551620"/>
                  <a:gd name="connsiteX305" fmla="*/ 751798 w 1555246"/>
                  <a:gd name="connsiteY305" fmla="*/ 1545881 h 1551620"/>
                  <a:gd name="connsiteX306" fmla="*/ 767102 w 1555246"/>
                  <a:gd name="connsiteY306" fmla="*/ 1551620 h 1551620"/>
                  <a:gd name="connsiteX307" fmla="*/ 786231 w 1555246"/>
                  <a:gd name="connsiteY307" fmla="*/ 1547794 h 1551620"/>
                  <a:gd name="connsiteX308" fmla="*/ 793883 w 1555246"/>
                  <a:gd name="connsiteY308" fmla="*/ 1532490 h 1551620"/>
                  <a:gd name="connsiteX309" fmla="*/ 803448 w 1555246"/>
                  <a:gd name="connsiteY309" fmla="*/ 1528664 h 1551620"/>
                  <a:gd name="connsiteX310" fmla="*/ 841707 w 1555246"/>
                  <a:gd name="connsiteY310" fmla="*/ 1526751 h 1551620"/>
                  <a:gd name="connsiteX311" fmla="*/ 839794 w 1555246"/>
                  <a:gd name="connsiteY311" fmla="*/ 1494231 h 1551620"/>
                  <a:gd name="connsiteX312" fmla="*/ 832143 w 1555246"/>
                  <a:gd name="connsiteY312" fmla="*/ 1478927 h 1551620"/>
                  <a:gd name="connsiteX313" fmla="*/ 830230 w 1555246"/>
                  <a:gd name="connsiteY313" fmla="*/ 1471275 h 1551620"/>
                  <a:gd name="connsiteX314" fmla="*/ 835969 w 1555246"/>
                  <a:gd name="connsiteY314" fmla="*/ 1459797 h 1551620"/>
                  <a:gd name="connsiteX315" fmla="*/ 837882 w 1555246"/>
                  <a:gd name="connsiteY315" fmla="*/ 1440668 h 1551620"/>
                  <a:gd name="connsiteX316" fmla="*/ 839794 w 1555246"/>
                  <a:gd name="connsiteY316" fmla="*/ 1433016 h 1551620"/>
                  <a:gd name="connsiteX317" fmla="*/ 845533 w 1555246"/>
                  <a:gd name="connsiteY317" fmla="*/ 1429190 h 1551620"/>
                  <a:gd name="connsiteX318" fmla="*/ 858924 w 1555246"/>
                  <a:gd name="connsiteY318" fmla="*/ 1417712 h 1551620"/>
                  <a:gd name="connsiteX319" fmla="*/ 864663 w 1555246"/>
                  <a:gd name="connsiteY319" fmla="*/ 1415799 h 1551620"/>
                  <a:gd name="connsiteX320" fmla="*/ 870402 w 1555246"/>
                  <a:gd name="connsiteY320" fmla="*/ 1410060 h 1551620"/>
                  <a:gd name="connsiteX321" fmla="*/ 876141 w 1555246"/>
                  <a:gd name="connsiteY321" fmla="*/ 1406234 h 1551620"/>
                  <a:gd name="connsiteX322" fmla="*/ 879967 w 1555246"/>
                  <a:gd name="connsiteY322" fmla="*/ 1400495 h 1551620"/>
                  <a:gd name="connsiteX323" fmla="*/ 904835 w 1555246"/>
                  <a:gd name="connsiteY323" fmla="*/ 1387105 h 1551620"/>
                  <a:gd name="connsiteX324" fmla="*/ 910574 w 1555246"/>
                  <a:gd name="connsiteY324" fmla="*/ 1385192 h 1551620"/>
                  <a:gd name="connsiteX325" fmla="*/ 925878 w 1555246"/>
                  <a:gd name="connsiteY325" fmla="*/ 1381366 h 1551620"/>
                  <a:gd name="connsiteX326" fmla="*/ 943095 w 1555246"/>
                  <a:gd name="connsiteY326" fmla="*/ 1369888 h 1551620"/>
                  <a:gd name="connsiteX327" fmla="*/ 950747 w 1555246"/>
                  <a:gd name="connsiteY327" fmla="*/ 1366062 h 1551620"/>
                  <a:gd name="connsiteX328" fmla="*/ 971789 w 1555246"/>
                  <a:gd name="connsiteY328" fmla="*/ 1348845 h 1551620"/>
                  <a:gd name="connsiteX329" fmla="*/ 983267 w 1555246"/>
                  <a:gd name="connsiteY329" fmla="*/ 1354584 h 1551620"/>
                  <a:gd name="connsiteX330" fmla="*/ 987093 w 1555246"/>
                  <a:gd name="connsiteY330" fmla="*/ 1360323 h 1551620"/>
                  <a:gd name="connsiteX331" fmla="*/ 994745 w 1555246"/>
                  <a:gd name="connsiteY331" fmla="*/ 1362236 h 1551620"/>
                  <a:gd name="connsiteX332" fmla="*/ 1004310 w 1555246"/>
                  <a:gd name="connsiteY332" fmla="*/ 1366062 h 1551620"/>
                  <a:gd name="connsiteX333" fmla="*/ 1029179 w 1555246"/>
                  <a:gd name="connsiteY333" fmla="*/ 1369888 h 1551620"/>
                  <a:gd name="connsiteX334" fmla="*/ 1036830 w 1555246"/>
                  <a:gd name="connsiteY334" fmla="*/ 1371801 h 1551620"/>
                  <a:gd name="connsiteX335" fmla="*/ 1044482 w 1555246"/>
                  <a:gd name="connsiteY335" fmla="*/ 1375627 h 1551620"/>
                  <a:gd name="connsiteX336" fmla="*/ 1054047 w 1555246"/>
                  <a:gd name="connsiteY336" fmla="*/ 1377540 h 1551620"/>
                  <a:gd name="connsiteX337" fmla="*/ 1069351 w 1555246"/>
                  <a:gd name="connsiteY337" fmla="*/ 1383279 h 1551620"/>
                  <a:gd name="connsiteX338" fmla="*/ 1067438 w 1555246"/>
                  <a:gd name="connsiteY338" fmla="*/ 1375627 h 1551620"/>
                  <a:gd name="connsiteX339" fmla="*/ 1071264 w 1555246"/>
                  <a:gd name="connsiteY339" fmla="*/ 1383279 h 1551620"/>
                  <a:gd name="connsiteX340" fmla="*/ 1075090 w 1555246"/>
                  <a:gd name="connsiteY340" fmla="*/ 1392843 h 1551620"/>
                  <a:gd name="connsiteX341" fmla="*/ 1096133 w 1555246"/>
                  <a:gd name="connsiteY341" fmla="*/ 1390930 h 1551620"/>
                  <a:gd name="connsiteX342" fmla="*/ 1111436 w 1555246"/>
                  <a:gd name="connsiteY342" fmla="*/ 1358410 h 1551620"/>
                  <a:gd name="connsiteX343" fmla="*/ 1113349 w 1555246"/>
                  <a:gd name="connsiteY343" fmla="*/ 1392843 h 1551620"/>
                  <a:gd name="connsiteX344" fmla="*/ 1103784 w 1555246"/>
                  <a:gd name="connsiteY344" fmla="*/ 1394756 h 1551620"/>
                  <a:gd name="connsiteX345" fmla="*/ 1138218 w 1555246"/>
                  <a:gd name="connsiteY345" fmla="*/ 1396669 h 1551620"/>
                  <a:gd name="connsiteX346" fmla="*/ 1140131 w 1555246"/>
                  <a:gd name="connsiteY346" fmla="*/ 1402408 h 1551620"/>
                  <a:gd name="connsiteX347" fmla="*/ 1142044 w 1555246"/>
                  <a:gd name="connsiteY347" fmla="*/ 1415799 h 1551620"/>
                  <a:gd name="connsiteX348" fmla="*/ 1168825 w 1555246"/>
                  <a:gd name="connsiteY348" fmla="*/ 1423451 h 1551620"/>
                  <a:gd name="connsiteX349" fmla="*/ 1182216 w 1555246"/>
                  <a:gd name="connsiteY349" fmla="*/ 1427277 h 1551620"/>
                  <a:gd name="connsiteX350" fmla="*/ 1187955 w 1555246"/>
                  <a:gd name="connsiteY350" fmla="*/ 1429190 h 1551620"/>
                  <a:gd name="connsiteX351" fmla="*/ 1191781 w 1555246"/>
                  <a:gd name="connsiteY351" fmla="*/ 1434929 h 1551620"/>
                  <a:gd name="connsiteX352" fmla="*/ 1193694 w 1555246"/>
                  <a:gd name="connsiteY352" fmla="*/ 1446407 h 1551620"/>
                  <a:gd name="connsiteX353" fmla="*/ 1195607 w 1555246"/>
                  <a:gd name="connsiteY353" fmla="*/ 1454058 h 1551620"/>
                  <a:gd name="connsiteX354" fmla="*/ 1210911 w 1555246"/>
                  <a:gd name="connsiteY354" fmla="*/ 1450233 h 1551620"/>
                  <a:gd name="connsiteX355" fmla="*/ 1224302 w 1555246"/>
                  <a:gd name="connsiteY355" fmla="*/ 1452146 h 1551620"/>
                  <a:gd name="connsiteX356" fmla="*/ 1230041 w 1555246"/>
                  <a:gd name="connsiteY356" fmla="*/ 1448320 h 1551620"/>
                  <a:gd name="connsiteX357" fmla="*/ 1233866 w 1555246"/>
                  <a:gd name="connsiteY357" fmla="*/ 1455971 h 1551620"/>
                  <a:gd name="connsiteX358" fmla="*/ 1235779 w 1555246"/>
                  <a:gd name="connsiteY358" fmla="*/ 1461710 h 1551620"/>
                  <a:gd name="connsiteX359" fmla="*/ 1239605 w 1555246"/>
                  <a:gd name="connsiteY359" fmla="*/ 1467449 h 1551620"/>
                  <a:gd name="connsiteX360" fmla="*/ 1256822 w 1555246"/>
                  <a:gd name="connsiteY360" fmla="*/ 1448320 h 1551620"/>
                  <a:gd name="connsiteX361" fmla="*/ 1272126 w 1555246"/>
                  <a:gd name="connsiteY361" fmla="*/ 1444494 h 1551620"/>
                  <a:gd name="connsiteX362" fmla="*/ 1300820 w 1555246"/>
                  <a:gd name="connsiteY362" fmla="*/ 1442581 h 1551620"/>
                  <a:gd name="connsiteX363" fmla="*/ 1310385 w 1555246"/>
                  <a:gd name="connsiteY363" fmla="*/ 1440668 h 1551620"/>
                  <a:gd name="connsiteX364" fmla="*/ 1312298 w 1555246"/>
                  <a:gd name="connsiteY364" fmla="*/ 1434929 h 1551620"/>
                  <a:gd name="connsiteX365" fmla="*/ 1318037 w 1555246"/>
                  <a:gd name="connsiteY365" fmla="*/ 1421538 h 1551620"/>
                  <a:gd name="connsiteX366" fmla="*/ 1319950 w 1555246"/>
                  <a:gd name="connsiteY366" fmla="*/ 1413886 h 1551620"/>
                  <a:gd name="connsiteX367" fmla="*/ 1323776 w 1555246"/>
                  <a:gd name="connsiteY367" fmla="*/ 1408147 h 1551620"/>
                  <a:gd name="connsiteX368" fmla="*/ 1337167 w 1555246"/>
                  <a:gd name="connsiteY368" fmla="*/ 1396669 h 1551620"/>
                  <a:gd name="connsiteX369" fmla="*/ 1346732 w 1555246"/>
                  <a:gd name="connsiteY369" fmla="*/ 1390930 h 1551620"/>
                  <a:gd name="connsiteX370" fmla="*/ 1360123 w 1555246"/>
                  <a:gd name="connsiteY370" fmla="*/ 1389017 h 1551620"/>
                  <a:gd name="connsiteX371" fmla="*/ 1365861 w 1555246"/>
                  <a:gd name="connsiteY371" fmla="*/ 1387105 h 1551620"/>
                  <a:gd name="connsiteX372" fmla="*/ 1367774 w 1555246"/>
                  <a:gd name="connsiteY372" fmla="*/ 1381366 h 1551620"/>
                  <a:gd name="connsiteX373" fmla="*/ 1369687 w 1555246"/>
                  <a:gd name="connsiteY373" fmla="*/ 1367975 h 1551620"/>
                  <a:gd name="connsiteX374" fmla="*/ 1373513 w 1555246"/>
                  <a:gd name="connsiteY374" fmla="*/ 1362236 h 1551620"/>
                  <a:gd name="connsiteX375" fmla="*/ 1381165 w 1555246"/>
                  <a:gd name="connsiteY375" fmla="*/ 1352671 h 1551620"/>
                  <a:gd name="connsiteX376" fmla="*/ 1386904 w 1555246"/>
                  <a:gd name="connsiteY376" fmla="*/ 1350758 h 1551620"/>
                  <a:gd name="connsiteX377" fmla="*/ 1400295 w 1555246"/>
                  <a:gd name="connsiteY377" fmla="*/ 1345019 h 1551620"/>
                  <a:gd name="connsiteX378" fmla="*/ 1413686 w 1555246"/>
                  <a:gd name="connsiteY378" fmla="*/ 1343106 h 1551620"/>
                  <a:gd name="connsiteX379" fmla="*/ 1430902 w 1555246"/>
                  <a:gd name="connsiteY379" fmla="*/ 1327802 h 1551620"/>
                  <a:gd name="connsiteX380" fmla="*/ 1440467 w 1555246"/>
                  <a:gd name="connsiteY380" fmla="*/ 1310586 h 1551620"/>
                  <a:gd name="connsiteX381" fmla="*/ 1442380 w 1555246"/>
                  <a:gd name="connsiteY381" fmla="*/ 1304847 h 1551620"/>
                  <a:gd name="connsiteX382" fmla="*/ 1453858 w 1555246"/>
                  <a:gd name="connsiteY382" fmla="*/ 1299108 h 1551620"/>
                  <a:gd name="connsiteX383" fmla="*/ 1451945 w 1555246"/>
                  <a:gd name="connsiteY383" fmla="*/ 1270413 h 1551620"/>
                  <a:gd name="connsiteX384" fmla="*/ 1436641 w 1555246"/>
                  <a:gd name="connsiteY384" fmla="*/ 1272326 h 1551620"/>
                  <a:gd name="connsiteX385" fmla="*/ 1404121 w 1555246"/>
                  <a:gd name="connsiteY385" fmla="*/ 1268500 h 1551620"/>
                  <a:gd name="connsiteX386" fmla="*/ 1398382 w 1555246"/>
                  <a:gd name="connsiteY386" fmla="*/ 1262761 h 1551620"/>
                  <a:gd name="connsiteX387" fmla="*/ 1379252 w 1555246"/>
                  <a:gd name="connsiteY387" fmla="*/ 1255110 h 1551620"/>
                  <a:gd name="connsiteX388" fmla="*/ 1369687 w 1555246"/>
                  <a:gd name="connsiteY388" fmla="*/ 1247458 h 1551620"/>
                  <a:gd name="connsiteX389" fmla="*/ 1354384 w 1555246"/>
                  <a:gd name="connsiteY389" fmla="*/ 1218763 h 1551620"/>
                  <a:gd name="connsiteX390" fmla="*/ 1352471 w 1555246"/>
                  <a:gd name="connsiteY390" fmla="*/ 1190069 h 1551620"/>
                  <a:gd name="connsiteX391" fmla="*/ 1360123 w 1555246"/>
                  <a:gd name="connsiteY391" fmla="*/ 1188156 h 1551620"/>
                  <a:gd name="connsiteX392" fmla="*/ 1365861 w 1555246"/>
                  <a:gd name="connsiteY392" fmla="*/ 1184330 h 1551620"/>
                  <a:gd name="connsiteX393" fmla="*/ 1367774 w 1555246"/>
                  <a:gd name="connsiteY393" fmla="*/ 1174765 h 1551620"/>
                  <a:gd name="connsiteX394" fmla="*/ 1373513 w 1555246"/>
                  <a:gd name="connsiteY394" fmla="*/ 1159461 h 1551620"/>
                  <a:gd name="connsiteX395" fmla="*/ 1371600 w 1555246"/>
                  <a:gd name="connsiteY395" fmla="*/ 1144157 h 1551620"/>
                  <a:gd name="connsiteX396" fmla="*/ 1340993 w 1555246"/>
                  <a:gd name="connsiteY396" fmla="*/ 1151809 h 1551620"/>
                  <a:gd name="connsiteX397" fmla="*/ 1337167 w 1555246"/>
                  <a:gd name="connsiteY397" fmla="*/ 1140331 h 1551620"/>
                  <a:gd name="connsiteX398" fmla="*/ 1333341 w 1555246"/>
                  <a:gd name="connsiteY398" fmla="*/ 1128853 h 1551620"/>
                  <a:gd name="connsiteX399" fmla="*/ 1327602 w 1555246"/>
                  <a:gd name="connsiteY399" fmla="*/ 1107811 h 1551620"/>
                  <a:gd name="connsiteX400" fmla="*/ 1329515 w 1555246"/>
                  <a:gd name="connsiteY400" fmla="*/ 1102072 h 1551620"/>
                  <a:gd name="connsiteX401" fmla="*/ 1331428 w 1555246"/>
                  <a:gd name="connsiteY401" fmla="*/ 1092507 h 1551620"/>
                  <a:gd name="connsiteX402" fmla="*/ 1339080 w 1555246"/>
                  <a:gd name="connsiteY402" fmla="*/ 1088681 h 1551620"/>
                  <a:gd name="connsiteX403" fmla="*/ 1344819 w 1555246"/>
                  <a:gd name="connsiteY403" fmla="*/ 1090594 h 1551620"/>
                  <a:gd name="connsiteX404" fmla="*/ 1350558 w 1555246"/>
                  <a:gd name="connsiteY404" fmla="*/ 1094420 h 1551620"/>
                  <a:gd name="connsiteX405" fmla="*/ 1377339 w 1555246"/>
                  <a:gd name="connsiteY405" fmla="*/ 1092507 h 1551620"/>
                  <a:gd name="connsiteX406" fmla="*/ 1383078 w 1555246"/>
                  <a:gd name="connsiteY406" fmla="*/ 1079116 h 1551620"/>
                  <a:gd name="connsiteX407" fmla="*/ 1388817 w 1555246"/>
                  <a:gd name="connsiteY407" fmla="*/ 1075290 h 1551620"/>
                  <a:gd name="connsiteX408" fmla="*/ 1392643 w 1555246"/>
                  <a:gd name="connsiteY408" fmla="*/ 1069551 h 1551620"/>
                  <a:gd name="connsiteX409" fmla="*/ 1398382 w 1555246"/>
                  <a:gd name="connsiteY409" fmla="*/ 1065725 h 1551620"/>
                  <a:gd name="connsiteX410" fmla="*/ 1383078 w 1555246"/>
                  <a:gd name="connsiteY410" fmla="*/ 1035118 h 1551620"/>
                  <a:gd name="connsiteX411" fmla="*/ 1375426 w 1555246"/>
                  <a:gd name="connsiteY411" fmla="*/ 1019814 h 1551620"/>
                  <a:gd name="connsiteX412" fmla="*/ 1369687 w 1555246"/>
                  <a:gd name="connsiteY412" fmla="*/ 998771 h 1551620"/>
                  <a:gd name="connsiteX413" fmla="*/ 1362035 w 1555246"/>
                  <a:gd name="connsiteY413" fmla="*/ 991120 h 1551620"/>
                  <a:gd name="connsiteX414" fmla="*/ 1358210 w 1555246"/>
                  <a:gd name="connsiteY414" fmla="*/ 975816 h 1551620"/>
                  <a:gd name="connsiteX415" fmla="*/ 1362035 w 1555246"/>
                  <a:gd name="connsiteY415" fmla="*/ 956686 h 1551620"/>
                  <a:gd name="connsiteX416" fmla="*/ 1337167 w 1555246"/>
                  <a:gd name="connsiteY416" fmla="*/ 954773 h 1551620"/>
                  <a:gd name="connsiteX417" fmla="*/ 1346732 w 1555246"/>
                  <a:gd name="connsiteY417" fmla="*/ 954773 h 1551620"/>
                  <a:gd name="connsiteX418" fmla="*/ 1367774 w 1555246"/>
                  <a:gd name="connsiteY418" fmla="*/ 949034 h 1551620"/>
                  <a:gd name="connsiteX419" fmla="*/ 1386904 w 1555246"/>
                  <a:gd name="connsiteY419" fmla="*/ 941382 h 1551620"/>
                  <a:gd name="connsiteX420" fmla="*/ 1383078 w 1555246"/>
                  <a:gd name="connsiteY420" fmla="*/ 920340 h 1551620"/>
                  <a:gd name="connsiteX421" fmla="*/ 1373513 w 1555246"/>
                  <a:gd name="connsiteY421" fmla="*/ 916514 h 1551620"/>
                  <a:gd name="connsiteX422" fmla="*/ 1367774 w 1555246"/>
                  <a:gd name="connsiteY422" fmla="*/ 912688 h 1551620"/>
                  <a:gd name="connsiteX423" fmla="*/ 1363948 w 1555246"/>
                  <a:gd name="connsiteY423" fmla="*/ 905036 h 1551620"/>
                  <a:gd name="connsiteX424" fmla="*/ 1367774 w 1555246"/>
                  <a:gd name="connsiteY424" fmla="*/ 880167 h 1551620"/>
                  <a:gd name="connsiteX425" fmla="*/ 1365861 w 1555246"/>
                  <a:gd name="connsiteY425" fmla="*/ 853386 h 1551620"/>
                  <a:gd name="connsiteX426" fmla="*/ 1352471 w 1555246"/>
                  <a:gd name="connsiteY426" fmla="*/ 849560 h 1551620"/>
                  <a:gd name="connsiteX427" fmla="*/ 1346732 w 1555246"/>
                  <a:gd name="connsiteY427" fmla="*/ 845734 h 1551620"/>
                  <a:gd name="connsiteX428" fmla="*/ 1331428 w 1555246"/>
                  <a:gd name="connsiteY428" fmla="*/ 841908 h 1551620"/>
                  <a:gd name="connsiteX429" fmla="*/ 1302733 w 1555246"/>
                  <a:gd name="connsiteY429" fmla="*/ 853386 h 1551620"/>
                  <a:gd name="connsiteX430" fmla="*/ 1298907 w 1555246"/>
                  <a:gd name="connsiteY430" fmla="*/ 859125 h 1551620"/>
                  <a:gd name="connsiteX431" fmla="*/ 1293169 w 1555246"/>
                  <a:gd name="connsiteY431" fmla="*/ 868689 h 1551620"/>
                  <a:gd name="connsiteX432" fmla="*/ 1298907 w 1555246"/>
                  <a:gd name="connsiteY432" fmla="*/ 885906 h 1551620"/>
                  <a:gd name="connsiteX433" fmla="*/ 1300820 w 1555246"/>
                  <a:gd name="connsiteY433" fmla="*/ 891645 h 1551620"/>
                  <a:gd name="connsiteX434" fmla="*/ 1296994 w 1555246"/>
                  <a:gd name="connsiteY434" fmla="*/ 903123 h 1551620"/>
                  <a:gd name="connsiteX435" fmla="*/ 1289343 w 1555246"/>
                  <a:gd name="connsiteY435" fmla="*/ 905036 h 1551620"/>
                  <a:gd name="connsiteX436" fmla="*/ 1256822 w 1555246"/>
                  <a:gd name="connsiteY436" fmla="*/ 901210 h 1551620"/>
                  <a:gd name="connsiteX437" fmla="*/ 1262561 w 1555246"/>
                  <a:gd name="connsiteY437" fmla="*/ 882080 h 1551620"/>
                  <a:gd name="connsiteX438" fmla="*/ 1272126 w 1555246"/>
                  <a:gd name="connsiteY438" fmla="*/ 880167 h 1551620"/>
                  <a:gd name="connsiteX439" fmla="*/ 1283604 w 1555246"/>
                  <a:gd name="connsiteY439" fmla="*/ 828517 h 1551620"/>
                  <a:gd name="connsiteX440" fmla="*/ 1298907 w 1555246"/>
                  <a:gd name="connsiteY440" fmla="*/ 811300 h 1551620"/>
                  <a:gd name="connsiteX441" fmla="*/ 1306559 w 1555246"/>
                  <a:gd name="connsiteY441" fmla="*/ 805561 h 1551620"/>
                  <a:gd name="connsiteX442" fmla="*/ 1316124 w 1555246"/>
                  <a:gd name="connsiteY442" fmla="*/ 780693 h 1551620"/>
                  <a:gd name="connsiteX443" fmla="*/ 1342906 w 1555246"/>
                  <a:gd name="connsiteY443" fmla="*/ 757737 h 1551620"/>
                  <a:gd name="connsiteX444" fmla="*/ 1346732 w 1555246"/>
                  <a:gd name="connsiteY444" fmla="*/ 751998 h 1551620"/>
                  <a:gd name="connsiteX445" fmla="*/ 1348645 w 1555246"/>
                  <a:gd name="connsiteY445" fmla="*/ 746259 h 1551620"/>
                  <a:gd name="connsiteX446" fmla="*/ 1360123 w 1555246"/>
                  <a:gd name="connsiteY446" fmla="*/ 732869 h 1551620"/>
                  <a:gd name="connsiteX447" fmla="*/ 1363948 w 1555246"/>
                  <a:gd name="connsiteY447" fmla="*/ 727130 h 1551620"/>
                  <a:gd name="connsiteX448" fmla="*/ 1375426 w 1555246"/>
                  <a:gd name="connsiteY448" fmla="*/ 723304 h 1551620"/>
                  <a:gd name="connsiteX449" fmla="*/ 1398382 w 1555246"/>
                  <a:gd name="connsiteY449" fmla="*/ 713739 h 1551620"/>
                  <a:gd name="connsiteX450" fmla="*/ 1404121 w 1555246"/>
                  <a:gd name="connsiteY450" fmla="*/ 709913 h 1551620"/>
                  <a:gd name="connsiteX451" fmla="*/ 1394556 w 1555246"/>
                  <a:gd name="connsiteY451" fmla="*/ 700348 h 1551620"/>
                  <a:gd name="connsiteX452" fmla="*/ 1388817 w 1555246"/>
                  <a:gd name="connsiteY452" fmla="*/ 692696 h 1551620"/>
                  <a:gd name="connsiteX453" fmla="*/ 1404121 w 1555246"/>
                  <a:gd name="connsiteY453" fmla="*/ 669740 h 1551620"/>
                  <a:gd name="connsiteX454" fmla="*/ 1413686 w 1555246"/>
                  <a:gd name="connsiteY454" fmla="*/ 675479 h 1551620"/>
                  <a:gd name="connsiteX455" fmla="*/ 1450032 w 1555246"/>
                  <a:gd name="connsiteY455" fmla="*/ 673566 h 1551620"/>
                  <a:gd name="connsiteX456" fmla="*/ 1457684 w 1555246"/>
                  <a:gd name="connsiteY456" fmla="*/ 660176 h 1551620"/>
                  <a:gd name="connsiteX457" fmla="*/ 1465336 w 1555246"/>
                  <a:gd name="connsiteY457" fmla="*/ 618090 h 1551620"/>
                  <a:gd name="connsiteX458" fmla="*/ 1472988 w 1555246"/>
                  <a:gd name="connsiteY458" fmla="*/ 572179 h 1551620"/>
                  <a:gd name="connsiteX459" fmla="*/ 1474901 w 1555246"/>
                  <a:gd name="connsiteY459" fmla="*/ 554962 h 1551620"/>
                  <a:gd name="connsiteX460" fmla="*/ 1484466 w 1555246"/>
                  <a:gd name="connsiteY460" fmla="*/ 526268 h 1551620"/>
                  <a:gd name="connsiteX461" fmla="*/ 1486379 w 1555246"/>
                  <a:gd name="connsiteY461" fmla="*/ 497573 h 1551620"/>
                  <a:gd name="connsiteX462" fmla="*/ 1490205 w 1555246"/>
                  <a:gd name="connsiteY462" fmla="*/ 491834 h 1551620"/>
                  <a:gd name="connsiteX463" fmla="*/ 1492117 w 1555246"/>
                  <a:gd name="connsiteY463" fmla="*/ 480356 h 1551620"/>
                  <a:gd name="connsiteX464" fmla="*/ 1495943 w 1555246"/>
                  <a:gd name="connsiteY464" fmla="*/ 474617 h 1551620"/>
                  <a:gd name="connsiteX465" fmla="*/ 1511247 w 1555246"/>
                  <a:gd name="connsiteY465" fmla="*/ 451662 h 1551620"/>
                  <a:gd name="connsiteX466" fmla="*/ 1524638 w 1555246"/>
                  <a:gd name="connsiteY466" fmla="*/ 438271 h 1551620"/>
                  <a:gd name="connsiteX467" fmla="*/ 1534203 w 1555246"/>
                  <a:gd name="connsiteY467" fmla="*/ 428706 h 1551620"/>
                  <a:gd name="connsiteX468" fmla="*/ 1551420 w 1555246"/>
                  <a:gd name="connsiteY468" fmla="*/ 415315 h 1551620"/>
                  <a:gd name="connsiteX469" fmla="*/ 1555246 w 1555246"/>
                  <a:gd name="connsiteY469" fmla="*/ 409576 h 1551620"/>
                  <a:gd name="connsiteX470" fmla="*/ 1549507 w 1555246"/>
                  <a:gd name="connsiteY470" fmla="*/ 403838 h 1551620"/>
                  <a:gd name="connsiteX471" fmla="*/ 1524638 w 1555246"/>
                  <a:gd name="connsiteY471" fmla="*/ 400012 h 1551620"/>
                  <a:gd name="connsiteX472" fmla="*/ 1501682 w 1555246"/>
                  <a:gd name="connsiteY472" fmla="*/ 394273 h 1551620"/>
                  <a:gd name="connsiteX473" fmla="*/ 1494030 w 1555246"/>
                  <a:gd name="connsiteY473" fmla="*/ 392360 h 1551620"/>
                  <a:gd name="connsiteX474" fmla="*/ 1484466 w 1555246"/>
                  <a:gd name="connsiteY474" fmla="*/ 390447 h 1551620"/>
                  <a:gd name="connsiteX475" fmla="*/ 1471075 w 1555246"/>
                  <a:gd name="connsiteY475" fmla="*/ 384708 h 1551620"/>
                  <a:gd name="connsiteX476" fmla="*/ 1459597 w 1555246"/>
                  <a:gd name="connsiteY476" fmla="*/ 375143 h 1551620"/>
                  <a:gd name="connsiteX477" fmla="*/ 1404121 w 1555246"/>
                  <a:gd name="connsiteY477" fmla="*/ 373230 h 1551620"/>
                  <a:gd name="connsiteX478" fmla="*/ 1392643 w 1555246"/>
                  <a:gd name="connsiteY478" fmla="*/ 369404 h 1551620"/>
                  <a:gd name="connsiteX479" fmla="*/ 1377339 w 1555246"/>
                  <a:gd name="connsiteY479" fmla="*/ 371317 h 1551620"/>
                  <a:gd name="connsiteX480" fmla="*/ 1373513 w 1555246"/>
                  <a:gd name="connsiteY480" fmla="*/ 363665 h 1551620"/>
                  <a:gd name="connsiteX481" fmla="*/ 1371600 w 1555246"/>
                  <a:gd name="connsiteY481" fmla="*/ 357926 h 1551620"/>
                  <a:gd name="connsiteX482" fmla="*/ 1369687 w 1555246"/>
                  <a:gd name="connsiteY482" fmla="*/ 350274 h 1551620"/>
                  <a:gd name="connsiteX483" fmla="*/ 1358210 w 1555246"/>
                  <a:gd name="connsiteY483" fmla="*/ 334971 h 1551620"/>
                  <a:gd name="connsiteX484" fmla="*/ 1335254 w 1555246"/>
                  <a:gd name="connsiteY484" fmla="*/ 323493 h 1551620"/>
                  <a:gd name="connsiteX485" fmla="*/ 1304646 w 1555246"/>
                  <a:gd name="connsiteY485" fmla="*/ 321580 h 1551620"/>
                  <a:gd name="connsiteX486" fmla="*/ 1298907 w 1555246"/>
                  <a:gd name="connsiteY486" fmla="*/ 313928 h 1551620"/>
                  <a:gd name="connsiteX487" fmla="*/ 1293169 w 1555246"/>
                  <a:gd name="connsiteY487" fmla="*/ 312015 h 1551620"/>
                  <a:gd name="connsiteX488" fmla="*/ 1277865 w 1555246"/>
                  <a:gd name="connsiteY488" fmla="*/ 306276 h 1551620"/>
                  <a:gd name="connsiteX489" fmla="*/ 1268300 w 1555246"/>
                  <a:gd name="connsiteY489" fmla="*/ 300537 h 1551620"/>
                  <a:gd name="connsiteX490" fmla="*/ 1258735 w 1555246"/>
                  <a:gd name="connsiteY490" fmla="*/ 292885 h 1551620"/>
                  <a:gd name="connsiteX491" fmla="*/ 1203259 w 1555246"/>
                  <a:gd name="connsiteY491" fmla="*/ 289059 h 1551620"/>
                  <a:gd name="connsiteX492" fmla="*/ 1195607 w 1555246"/>
                  <a:gd name="connsiteY492" fmla="*/ 275669 h 1551620"/>
                  <a:gd name="connsiteX493" fmla="*/ 1193694 w 1555246"/>
                  <a:gd name="connsiteY493" fmla="*/ 268017 h 1551620"/>
                  <a:gd name="connsiteX494" fmla="*/ 1180303 w 1555246"/>
                  <a:gd name="connsiteY494" fmla="*/ 256539 h 1551620"/>
                  <a:gd name="connsiteX495" fmla="*/ 1166912 w 1555246"/>
                  <a:gd name="connsiteY495" fmla="*/ 233583 h 1551620"/>
                  <a:gd name="connsiteX496" fmla="*/ 1165000 w 1555246"/>
                  <a:gd name="connsiteY496" fmla="*/ 197237 h 1551620"/>
                  <a:gd name="connsiteX497" fmla="*/ 1178390 w 1555246"/>
                  <a:gd name="connsiteY497" fmla="*/ 191498 h 1551620"/>
                  <a:gd name="connsiteX498" fmla="*/ 1172651 w 1555246"/>
                  <a:gd name="connsiteY498" fmla="*/ 181933 h 1551620"/>
                  <a:gd name="connsiteX499" fmla="*/ 1166912 w 1555246"/>
                  <a:gd name="connsiteY499" fmla="*/ 180020 h 1551620"/>
                  <a:gd name="connsiteX500" fmla="*/ 1153522 w 1555246"/>
                  <a:gd name="connsiteY500" fmla="*/ 178107 h 1551620"/>
                  <a:gd name="connsiteX501" fmla="*/ 1128653 w 1555246"/>
                  <a:gd name="connsiteY501" fmla="*/ 185759 h 1551620"/>
                  <a:gd name="connsiteX502" fmla="*/ 1124827 w 1555246"/>
                  <a:gd name="connsiteY502" fmla="*/ 191498 h 1551620"/>
                  <a:gd name="connsiteX503" fmla="*/ 1130566 w 1555246"/>
                  <a:gd name="connsiteY503" fmla="*/ 193411 h 1551620"/>
                  <a:gd name="connsiteX504" fmla="*/ 1111436 w 1555246"/>
                  <a:gd name="connsiteY504" fmla="*/ 202976 h 1551620"/>
                  <a:gd name="connsiteX505" fmla="*/ 1098046 w 1555246"/>
                  <a:gd name="connsiteY505" fmla="*/ 210628 h 1551620"/>
                  <a:gd name="connsiteX506" fmla="*/ 1088481 w 1555246"/>
                  <a:gd name="connsiteY506" fmla="*/ 199150 h 1551620"/>
                  <a:gd name="connsiteX507" fmla="*/ 1092307 w 1555246"/>
                  <a:gd name="connsiteY507" fmla="*/ 183846 h 1551620"/>
                  <a:gd name="connsiteX508" fmla="*/ 1080829 w 1555246"/>
                  <a:gd name="connsiteY508" fmla="*/ 151325 h 1551620"/>
                  <a:gd name="connsiteX509" fmla="*/ 1067438 w 1555246"/>
                  <a:gd name="connsiteY509" fmla="*/ 149412 h 1551620"/>
                  <a:gd name="connsiteX510" fmla="*/ 1055960 w 1555246"/>
                  <a:gd name="connsiteY510" fmla="*/ 143674 h 1551620"/>
                  <a:gd name="connsiteX511" fmla="*/ 1044482 w 1555246"/>
                  <a:gd name="connsiteY511" fmla="*/ 139848 h 1551620"/>
                  <a:gd name="connsiteX512" fmla="*/ 1033005 w 1555246"/>
                  <a:gd name="connsiteY512" fmla="*/ 124544 h 1551620"/>
                  <a:gd name="connsiteX513" fmla="*/ 1027266 w 1555246"/>
                  <a:gd name="connsiteY513" fmla="*/ 118805 h 1551620"/>
                  <a:gd name="connsiteX514" fmla="*/ 1021527 w 1555246"/>
                  <a:gd name="connsiteY514" fmla="*/ 114979 h 1551620"/>
                  <a:gd name="connsiteX515" fmla="*/ 1010049 w 1555246"/>
                  <a:gd name="connsiteY515" fmla="*/ 101588 h 1551620"/>
                  <a:gd name="connsiteX516" fmla="*/ 1008136 w 1555246"/>
                  <a:gd name="connsiteY516" fmla="*/ 90110 h 1551620"/>
                  <a:gd name="connsiteX517" fmla="*/ 998571 w 1555246"/>
                  <a:gd name="connsiteY517" fmla="*/ 74807 h 1551620"/>
                  <a:gd name="connsiteX518" fmla="*/ 996658 w 1555246"/>
                  <a:gd name="connsiteY518" fmla="*/ 48025 h 1551620"/>
                  <a:gd name="connsiteX519" fmla="*/ 989006 w 1555246"/>
                  <a:gd name="connsiteY519" fmla="*/ 42286 h 1551620"/>
                  <a:gd name="connsiteX520" fmla="*/ 950747 w 1555246"/>
                  <a:gd name="connsiteY520" fmla="*/ 40373 h 1551620"/>
                  <a:gd name="connsiteX521" fmla="*/ 943095 w 1555246"/>
                  <a:gd name="connsiteY521" fmla="*/ 34634 h 1551620"/>
                  <a:gd name="connsiteX522" fmla="*/ 925878 w 1555246"/>
                  <a:gd name="connsiteY522" fmla="*/ 23156 h 1551620"/>
                  <a:gd name="connsiteX523" fmla="*/ 922052 w 1555246"/>
                  <a:gd name="connsiteY523" fmla="*/ 13592 h 1551620"/>
                  <a:gd name="connsiteX524" fmla="*/ 918226 w 1555246"/>
                  <a:gd name="connsiteY524" fmla="*/ 7853 h 1551620"/>
                  <a:gd name="connsiteX525" fmla="*/ 920139 w 1555246"/>
                  <a:gd name="connsiteY525" fmla="*/ 2114 h 1551620"/>
                  <a:gd name="connsiteX0" fmla="*/ 920139 w 1555246"/>
                  <a:gd name="connsiteY0" fmla="*/ 2114 h 1551620"/>
                  <a:gd name="connsiteX1" fmla="*/ 872315 w 1555246"/>
                  <a:gd name="connsiteY1" fmla="*/ 201 h 1551620"/>
                  <a:gd name="connsiteX2" fmla="*/ 835969 w 1555246"/>
                  <a:gd name="connsiteY2" fmla="*/ 5940 h 1551620"/>
                  <a:gd name="connsiteX3" fmla="*/ 830230 w 1555246"/>
                  <a:gd name="connsiteY3" fmla="*/ 9766 h 1551620"/>
                  <a:gd name="connsiteX4" fmla="*/ 822578 w 1555246"/>
                  <a:gd name="connsiteY4" fmla="*/ 11679 h 1551620"/>
                  <a:gd name="connsiteX5" fmla="*/ 816839 w 1555246"/>
                  <a:gd name="connsiteY5" fmla="*/ 19330 h 1551620"/>
                  <a:gd name="connsiteX6" fmla="*/ 813013 w 1555246"/>
                  <a:gd name="connsiteY6" fmla="*/ 32721 h 1551620"/>
                  <a:gd name="connsiteX7" fmla="*/ 805361 w 1555246"/>
                  <a:gd name="connsiteY7" fmla="*/ 44199 h 1551620"/>
                  <a:gd name="connsiteX8" fmla="*/ 801535 w 1555246"/>
                  <a:gd name="connsiteY8" fmla="*/ 63329 h 1551620"/>
                  <a:gd name="connsiteX9" fmla="*/ 797709 w 1555246"/>
                  <a:gd name="connsiteY9" fmla="*/ 78633 h 1551620"/>
                  <a:gd name="connsiteX10" fmla="*/ 795796 w 1555246"/>
                  <a:gd name="connsiteY10" fmla="*/ 88197 h 1551620"/>
                  <a:gd name="connsiteX11" fmla="*/ 791970 w 1555246"/>
                  <a:gd name="connsiteY11" fmla="*/ 97762 h 1551620"/>
                  <a:gd name="connsiteX12" fmla="*/ 790057 w 1555246"/>
                  <a:gd name="connsiteY12" fmla="*/ 103501 h 1551620"/>
                  <a:gd name="connsiteX13" fmla="*/ 788144 w 1555246"/>
                  <a:gd name="connsiteY13" fmla="*/ 113066 h 1551620"/>
                  <a:gd name="connsiteX14" fmla="*/ 774753 w 1555246"/>
                  <a:gd name="connsiteY14" fmla="*/ 132196 h 1551620"/>
                  <a:gd name="connsiteX15" fmla="*/ 770928 w 1555246"/>
                  <a:gd name="connsiteY15" fmla="*/ 137935 h 1551620"/>
                  <a:gd name="connsiteX16" fmla="*/ 757537 w 1555246"/>
                  <a:gd name="connsiteY16" fmla="*/ 158977 h 1551620"/>
                  <a:gd name="connsiteX17" fmla="*/ 751798 w 1555246"/>
                  <a:gd name="connsiteY17" fmla="*/ 160890 h 1551620"/>
                  <a:gd name="connsiteX18" fmla="*/ 746059 w 1555246"/>
                  <a:gd name="connsiteY18" fmla="*/ 164716 h 1551620"/>
                  <a:gd name="connsiteX19" fmla="*/ 738407 w 1555246"/>
                  <a:gd name="connsiteY19" fmla="*/ 170455 h 1551620"/>
                  <a:gd name="connsiteX20" fmla="*/ 713538 w 1555246"/>
                  <a:gd name="connsiteY20" fmla="*/ 178107 h 1551620"/>
                  <a:gd name="connsiteX21" fmla="*/ 686757 w 1555246"/>
                  <a:gd name="connsiteY21" fmla="*/ 185759 h 1551620"/>
                  <a:gd name="connsiteX22" fmla="*/ 665714 w 1555246"/>
                  <a:gd name="connsiteY22" fmla="*/ 191498 h 1551620"/>
                  <a:gd name="connsiteX23" fmla="*/ 644671 w 1555246"/>
                  <a:gd name="connsiteY23" fmla="*/ 195324 h 1551620"/>
                  <a:gd name="connsiteX24" fmla="*/ 633194 w 1555246"/>
                  <a:gd name="connsiteY24" fmla="*/ 202976 h 1551620"/>
                  <a:gd name="connsiteX25" fmla="*/ 615977 w 1555246"/>
                  <a:gd name="connsiteY25" fmla="*/ 212540 h 1551620"/>
                  <a:gd name="connsiteX26" fmla="*/ 606412 w 1555246"/>
                  <a:gd name="connsiteY26" fmla="*/ 224018 h 1551620"/>
                  <a:gd name="connsiteX27" fmla="*/ 615977 w 1555246"/>
                  <a:gd name="connsiteY27" fmla="*/ 233583 h 1551620"/>
                  <a:gd name="connsiteX28" fmla="*/ 642758 w 1555246"/>
                  <a:gd name="connsiteY28" fmla="*/ 248887 h 1551620"/>
                  <a:gd name="connsiteX29" fmla="*/ 635107 w 1555246"/>
                  <a:gd name="connsiteY29" fmla="*/ 254626 h 1551620"/>
                  <a:gd name="connsiteX30" fmla="*/ 615977 w 1555246"/>
                  <a:gd name="connsiteY30" fmla="*/ 262278 h 1551620"/>
                  <a:gd name="connsiteX31" fmla="*/ 598760 w 1555246"/>
                  <a:gd name="connsiteY31" fmla="*/ 266104 h 1551620"/>
                  <a:gd name="connsiteX32" fmla="*/ 562414 w 1555246"/>
                  <a:gd name="connsiteY32" fmla="*/ 268017 h 1551620"/>
                  <a:gd name="connsiteX33" fmla="*/ 554762 w 1555246"/>
                  <a:gd name="connsiteY33" fmla="*/ 264191 h 1551620"/>
                  <a:gd name="connsiteX34" fmla="*/ 549023 w 1555246"/>
                  <a:gd name="connsiteY34" fmla="*/ 260365 h 1551620"/>
                  <a:gd name="connsiteX35" fmla="*/ 522241 w 1555246"/>
                  <a:gd name="connsiteY35" fmla="*/ 258452 h 1551620"/>
                  <a:gd name="connsiteX36" fmla="*/ 493547 w 1555246"/>
                  <a:gd name="connsiteY36" fmla="*/ 243148 h 1551620"/>
                  <a:gd name="connsiteX37" fmla="*/ 489721 w 1555246"/>
                  <a:gd name="connsiteY37" fmla="*/ 237409 h 1551620"/>
                  <a:gd name="connsiteX38" fmla="*/ 483982 w 1555246"/>
                  <a:gd name="connsiteY38" fmla="*/ 235496 h 1551620"/>
                  <a:gd name="connsiteX39" fmla="*/ 459113 w 1555246"/>
                  <a:gd name="connsiteY39" fmla="*/ 231670 h 1551620"/>
                  <a:gd name="connsiteX40" fmla="*/ 439984 w 1555246"/>
                  <a:gd name="connsiteY40" fmla="*/ 210628 h 1551620"/>
                  <a:gd name="connsiteX41" fmla="*/ 462939 w 1555246"/>
                  <a:gd name="connsiteY41" fmla="*/ 197237 h 1551620"/>
                  <a:gd name="connsiteX42" fmla="*/ 441897 w 1555246"/>
                  <a:gd name="connsiteY42" fmla="*/ 191498 h 1551620"/>
                  <a:gd name="connsiteX43" fmla="*/ 428506 w 1555246"/>
                  <a:gd name="connsiteY43" fmla="*/ 183846 h 1551620"/>
                  <a:gd name="connsiteX44" fmla="*/ 420854 w 1555246"/>
                  <a:gd name="connsiteY44" fmla="*/ 181933 h 1551620"/>
                  <a:gd name="connsiteX45" fmla="*/ 403637 w 1555246"/>
                  <a:gd name="connsiteY45" fmla="*/ 176194 h 1551620"/>
                  <a:gd name="connsiteX46" fmla="*/ 392159 w 1555246"/>
                  <a:gd name="connsiteY46" fmla="*/ 168542 h 1551620"/>
                  <a:gd name="connsiteX47" fmla="*/ 382594 w 1555246"/>
                  <a:gd name="connsiteY47" fmla="*/ 162803 h 1551620"/>
                  <a:gd name="connsiteX48" fmla="*/ 390246 w 1555246"/>
                  <a:gd name="connsiteY48" fmla="*/ 176194 h 1551620"/>
                  <a:gd name="connsiteX49" fmla="*/ 386420 w 1555246"/>
                  <a:gd name="connsiteY49" fmla="*/ 193411 h 1551620"/>
                  <a:gd name="connsiteX50" fmla="*/ 380682 w 1555246"/>
                  <a:gd name="connsiteY50" fmla="*/ 210628 h 1551620"/>
                  <a:gd name="connsiteX51" fmla="*/ 378769 w 1555246"/>
                  <a:gd name="connsiteY51" fmla="*/ 216366 h 1551620"/>
                  <a:gd name="connsiteX52" fmla="*/ 376856 w 1555246"/>
                  <a:gd name="connsiteY52" fmla="*/ 225931 h 1551620"/>
                  <a:gd name="connsiteX53" fmla="*/ 378769 w 1555246"/>
                  <a:gd name="connsiteY53" fmla="*/ 237409 h 1551620"/>
                  <a:gd name="connsiteX54" fmla="*/ 386420 w 1555246"/>
                  <a:gd name="connsiteY54" fmla="*/ 239322 h 1551620"/>
                  <a:gd name="connsiteX55" fmla="*/ 390246 w 1555246"/>
                  <a:gd name="connsiteY55" fmla="*/ 246974 h 1551620"/>
                  <a:gd name="connsiteX56" fmla="*/ 390246 w 1555246"/>
                  <a:gd name="connsiteY56" fmla="*/ 294798 h 1551620"/>
                  <a:gd name="connsiteX57" fmla="*/ 392159 w 1555246"/>
                  <a:gd name="connsiteY57" fmla="*/ 357926 h 1551620"/>
                  <a:gd name="connsiteX58" fmla="*/ 394072 w 1555246"/>
                  <a:gd name="connsiteY58" fmla="*/ 363665 h 1551620"/>
                  <a:gd name="connsiteX59" fmla="*/ 403637 w 1555246"/>
                  <a:gd name="connsiteY59" fmla="*/ 367491 h 1551620"/>
                  <a:gd name="connsiteX60" fmla="*/ 361552 w 1555246"/>
                  <a:gd name="connsiteY60" fmla="*/ 363665 h 1551620"/>
                  <a:gd name="connsiteX61" fmla="*/ 355813 w 1555246"/>
                  <a:gd name="connsiteY61" fmla="*/ 359839 h 1551620"/>
                  <a:gd name="connsiteX62" fmla="*/ 346248 w 1555246"/>
                  <a:gd name="connsiteY62" fmla="*/ 375143 h 1551620"/>
                  <a:gd name="connsiteX63" fmla="*/ 336683 w 1555246"/>
                  <a:gd name="connsiteY63" fmla="*/ 369404 h 1551620"/>
                  <a:gd name="connsiteX64" fmla="*/ 332857 w 1555246"/>
                  <a:gd name="connsiteY64" fmla="*/ 357926 h 1551620"/>
                  <a:gd name="connsiteX65" fmla="*/ 321379 w 1555246"/>
                  <a:gd name="connsiteY65" fmla="*/ 352187 h 1551620"/>
                  <a:gd name="connsiteX66" fmla="*/ 313728 w 1555246"/>
                  <a:gd name="connsiteY66" fmla="*/ 346448 h 1551620"/>
                  <a:gd name="connsiteX67" fmla="*/ 306076 w 1555246"/>
                  <a:gd name="connsiteY67" fmla="*/ 342623 h 1551620"/>
                  <a:gd name="connsiteX68" fmla="*/ 300337 w 1555246"/>
                  <a:gd name="connsiteY68" fmla="*/ 338797 h 1551620"/>
                  <a:gd name="connsiteX69" fmla="*/ 296511 w 1555246"/>
                  <a:gd name="connsiteY69" fmla="*/ 346448 h 1551620"/>
                  <a:gd name="connsiteX70" fmla="*/ 288859 w 1555246"/>
                  <a:gd name="connsiteY70" fmla="*/ 356013 h 1551620"/>
                  <a:gd name="connsiteX71" fmla="*/ 277381 w 1555246"/>
                  <a:gd name="connsiteY71" fmla="*/ 357926 h 1551620"/>
                  <a:gd name="connsiteX72" fmla="*/ 254425 w 1555246"/>
                  <a:gd name="connsiteY72" fmla="*/ 361752 h 1551620"/>
                  <a:gd name="connsiteX73" fmla="*/ 252512 w 1555246"/>
                  <a:gd name="connsiteY73" fmla="*/ 346448 h 1551620"/>
                  <a:gd name="connsiteX74" fmla="*/ 250600 w 1555246"/>
                  <a:gd name="connsiteY74" fmla="*/ 338797 h 1551620"/>
                  <a:gd name="connsiteX75" fmla="*/ 242948 w 1555246"/>
                  <a:gd name="connsiteY75" fmla="*/ 321580 h 1551620"/>
                  <a:gd name="connsiteX76" fmla="*/ 237209 w 1555246"/>
                  <a:gd name="connsiteY76" fmla="*/ 310102 h 1551620"/>
                  <a:gd name="connsiteX77" fmla="*/ 229557 w 1555246"/>
                  <a:gd name="connsiteY77" fmla="*/ 302450 h 1551620"/>
                  <a:gd name="connsiteX78" fmla="*/ 225731 w 1555246"/>
                  <a:gd name="connsiteY78" fmla="*/ 296711 h 1551620"/>
                  <a:gd name="connsiteX79" fmla="*/ 214253 w 1555246"/>
                  <a:gd name="connsiteY79" fmla="*/ 294798 h 1551620"/>
                  <a:gd name="connsiteX80" fmla="*/ 197036 w 1555246"/>
                  <a:gd name="connsiteY80" fmla="*/ 285233 h 1551620"/>
                  <a:gd name="connsiteX81" fmla="*/ 172168 w 1555246"/>
                  <a:gd name="connsiteY81" fmla="*/ 290972 h 1551620"/>
                  <a:gd name="connsiteX82" fmla="*/ 153038 w 1555246"/>
                  <a:gd name="connsiteY82" fmla="*/ 292885 h 1551620"/>
                  <a:gd name="connsiteX83" fmla="*/ 154951 w 1555246"/>
                  <a:gd name="connsiteY83" fmla="*/ 298624 h 1551620"/>
                  <a:gd name="connsiteX84" fmla="*/ 158777 w 1555246"/>
                  <a:gd name="connsiteY84" fmla="*/ 304363 h 1551620"/>
                  <a:gd name="connsiteX85" fmla="*/ 153038 w 1555246"/>
                  <a:gd name="connsiteY85" fmla="*/ 306276 h 1551620"/>
                  <a:gd name="connsiteX86" fmla="*/ 133908 w 1555246"/>
                  <a:gd name="connsiteY86" fmla="*/ 306276 h 1551620"/>
                  <a:gd name="connsiteX87" fmla="*/ 131995 w 1555246"/>
                  <a:gd name="connsiteY87" fmla="*/ 312015 h 1551620"/>
                  <a:gd name="connsiteX88" fmla="*/ 118605 w 1555246"/>
                  <a:gd name="connsiteY88" fmla="*/ 304363 h 1551620"/>
                  <a:gd name="connsiteX89" fmla="*/ 110953 w 1555246"/>
                  <a:gd name="connsiteY89" fmla="*/ 315841 h 1551620"/>
                  <a:gd name="connsiteX90" fmla="*/ 107127 w 1555246"/>
                  <a:gd name="connsiteY90" fmla="*/ 306276 h 1551620"/>
                  <a:gd name="connsiteX91" fmla="*/ 86084 w 1555246"/>
                  <a:gd name="connsiteY91" fmla="*/ 296711 h 1551620"/>
                  <a:gd name="connsiteX92" fmla="*/ 40173 w 1555246"/>
                  <a:gd name="connsiteY92" fmla="*/ 298624 h 1551620"/>
                  <a:gd name="connsiteX93" fmla="*/ 32521 w 1555246"/>
                  <a:gd name="connsiteY93" fmla="*/ 300537 h 1551620"/>
                  <a:gd name="connsiteX94" fmla="*/ 13391 w 1555246"/>
                  <a:gd name="connsiteY94" fmla="*/ 310102 h 1551620"/>
                  <a:gd name="connsiteX95" fmla="*/ 5739 w 1555246"/>
                  <a:gd name="connsiteY95" fmla="*/ 319667 h 1551620"/>
                  <a:gd name="connsiteX96" fmla="*/ 0 w 1555246"/>
                  <a:gd name="connsiteY96" fmla="*/ 334971 h 1551620"/>
                  <a:gd name="connsiteX97" fmla="*/ 7652 w 1555246"/>
                  <a:gd name="connsiteY97" fmla="*/ 340710 h 1551620"/>
                  <a:gd name="connsiteX98" fmla="*/ 13391 w 1555246"/>
                  <a:gd name="connsiteY98" fmla="*/ 348361 h 1551620"/>
                  <a:gd name="connsiteX99" fmla="*/ 21043 w 1555246"/>
                  <a:gd name="connsiteY99" fmla="*/ 350274 h 1551620"/>
                  <a:gd name="connsiteX100" fmla="*/ 26782 w 1555246"/>
                  <a:gd name="connsiteY100" fmla="*/ 354100 h 1551620"/>
                  <a:gd name="connsiteX101" fmla="*/ 47825 w 1555246"/>
                  <a:gd name="connsiteY101" fmla="*/ 359839 h 1551620"/>
                  <a:gd name="connsiteX102" fmla="*/ 57389 w 1555246"/>
                  <a:gd name="connsiteY102" fmla="*/ 373230 h 1551620"/>
                  <a:gd name="connsiteX103" fmla="*/ 63128 w 1555246"/>
                  <a:gd name="connsiteY103" fmla="*/ 371317 h 1551620"/>
                  <a:gd name="connsiteX104" fmla="*/ 72693 w 1555246"/>
                  <a:gd name="connsiteY104" fmla="*/ 361752 h 1551620"/>
                  <a:gd name="connsiteX105" fmla="*/ 68867 w 1555246"/>
                  <a:gd name="connsiteY105" fmla="*/ 380882 h 1551620"/>
                  <a:gd name="connsiteX106" fmla="*/ 59302 w 1555246"/>
                  <a:gd name="connsiteY106" fmla="*/ 400012 h 1551620"/>
                  <a:gd name="connsiteX107" fmla="*/ 53564 w 1555246"/>
                  <a:gd name="connsiteY107" fmla="*/ 401925 h 1551620"/>
                  <a:gd name="connsiteX108" fmla="*/ 42086 w 1555246"/>
                  <a:gd name="connsiteY108" fmla="*/ 388534 h 1551620"/>
                  <a:gd name="connsiteX109" fmla="*/ 40173 w 1555246"/>
                  <a:gd name="connsiteY109" fmla="*/ 382795 h 1551620"/>
                  <a:gd name="connsiteX110" fmla="*/ 38260 w 1555246"/>
                  <a:gd name="connsiteY110" fmla="*/ 375143 h 1551620"/>
                  <a:gd name="connsiteX111" fmla="*/ 30608 w 1555246"/>
                  <a:gd name="connsiteY111" fmla="*/ 369404 h 1551620"/>
                  <a:gd name="connsiteX112" fmla="*/ 21043 w 1555246"/>
                  <a:gd name="connsiteY112" fmla="*/ 371317 h 1551620"/>
                  <a:gd name="connsiteX113" fmla="*/ 17217 w 1555246"/>
                  <a:gd name="connsiteY113" fmla="*/ 382795 h 1551620"/>
                  <a:gd name="connsiteX114" fmla="*/ 7652 w 1555246"/>
                  <a:gd name="connsiteY114" fmla="*/ 398099 h 1551620"/>
                  <a:gd name="connsiteX115" fmla="*/ 0 w 1555246"/>
                  <a:gd name="connsiteY115" fmla="*/ 400012 h 1551620"/>
                  <a:gd name="connsiteX116" fmla="*/ 9565 w 1555246"/>
                  <a:gd name="connsiteY116" fmla="*/ 407664 h 1551620"/>
                  <a:gd name="connsiteX117" fmla="*/ 17217 w 1555246"/>
                  <a:gd name="connsiteY117" fmla="*/ 409576 h 1551620"/>
                  <a:gd name="connsiteX118" fmla="*/ 19130 w 1555246"/>
                  <a:gd name="connsiteY118" fmla="*/ 415315 h 1551620"/>
                  <a:gd name="connsiteX119" fmla="*/ 22956 w 1555246"/>
                  <a:gd name="connsiteY119" fmla="*/ 428706 h 1551620"/>
                  <a:gd name="connsiteX120" fmla="*/ 26782 w 1555246"/>
                  <a:gd name="connsiteY120" fmla="*/ 442097 h 1551620"/>
                  <a:gd name="connsiteX121" fmla="*/ 30608 w 1555246"/>
                  <a:gd name="connsiteY121" fmla="*/ 449749 h 1551620"/>
                  <a:gd name="connsiteX122" fmla="*/ 36347 w 1555246"/>
                  <a:gd name="connsiteY122" fmla="*/ 459314 h 1551620"/>
                  <a:gd name="connsiteX123" fmla="*/ 42086 w 1555246"/>
                  <a:gd name="connsiteY123" fmla="*/ 463140 h 1551620"/>
                  <a:gd name="connsiteX124" fmla="*/ 61215 w 1555246"/>
                  <a:gd name="connsiteY124" fmla="*/ 461227 h 1551620"/>
                  <a:gd name="connsiteX125" fmla="*/ 66954 w 1555246"/>
                  <a:gd name="connsiteY125" fmla="*/ 459314 h 1551620"/>
                  <a:gd name="connsiteX126" fmla="*/ 68867 w 1555246"/>
                  <a:gd name="connsiteY126" fmla="*/ 453575 h 1551620"/>
                  <a:gd name="connsiteX127" fmla="*/ 74606 w 1555246"/>
                  <a:gd name="connsiteY127" fmla="*/ 447836 h 1551620"/>
                  <a:gd name="connsiteX128" fmla="*/ 91823 w 1555246"/>
                  <a:gd name="connsiteY128" fmla="*/ 455488 h 1551620"/>
                  <a:gd name="connsiteX129" fmla="*/ 93736 w 1555246"/>
                  <a:gd name="connsiteY129" fmla="*/ 465053 h 1551620"/>
                  <a:gd name="connsiteX130" fmla="*/ 103301 w 1555246"/>
                  <a:gd name="connsiteY130" fmla="*/ 476530 h 1551620"/>
                  <a:gd name="connsiteX131" fmla="*/ 131995 w 1555246"/>
                  <a:gd name="connsiteY131" fmla="*/ 480356 h 1551620"/>
                  <a:gd name="connsiteX132" fmla="*/ 139647 w 1555246"/>
                  <a:gd name="connsiteY132" fmla="*/ 482269 h 1551620"/>
                  <a:gd name="connsiteX133" fmla="*/ 145386 w 1555246"/>
                  <a:gd name="connsiteY133" fmla="*/ 488008 h 1551620"/>
                  <a:gd name="connsiteX134" fmla="*/ 156864 w 1555246"/>
                  <a:gd name="connsiteY134" fmla="*/ 493747 h 1551620"/>
                  <a:gd name="connsiteX135" fmla="*/ 158777 w 1555246"/>
                  <a:gd name="connsiteY135" fmla="*/ 499486 h 1551620"/>
                  <a:gd name="connsiteX136" fmla="*/ 166429 w 1555246"/>
                  <a:gd name="connsiteY136" fmla="*/ 512877 h 1551620"/>
                  <a:gd name="connsiteX137" fmla="*/ 185558 w 1555246"/>
                  <a:gd name="connsiteY137" fmla="*/ 528181 h 1551620"/>
                  <a:gd name="connsiteX138" fmla="*/ 191297 w 1555246"/>
                  <a:gd name="connsiteY138" fmla="*/ 524355 h 1551620"/>
                  <a:gd name="connsiteX139" fmla="*/ 208514 w 1555246"/>
                  <a:gd name="connsiteY139" fmla="*/ 520529 h 1551620"/>
                  <a:gd name="connsiteX140" fmla="*/ 214253 w 1555246"/>
                  <a:gd name="connsiteY140" fmla="*/ 522442 h 1551620"/>
                  <a:gd name="connsiteX141" fmla="*/ 219992 w 1555246"/>
                  <a:gd name="connsiteY141" fmla="*/ 551136 h 1551620"/>
                  <a:gd name="connsiteX142" fmla="*/ 225731 w 1555246"/>
                  <a:gd name="connsiteY142" fmla="*/ 547310 h 1551620"/>
                  <a:gd name="connsiteX143" fmla="*/ 229557 w 1555246"/>
                  <a:gd name="connsiteY143" fmla="*/ 541571 h 1551620"/>
                  <a:gd name="connsiteX144" fmla="*/ 235296 w 1555246"/>
                  <a:gd name="connsiteY144" fmla="*/ 539658 h 1551620"/>
                  <a:gd name="connsiteX145" fmla="*/ 242948 w 1555246"/>
                  <a:gd name="connsiteY145" fmla="*/ 543484 h 1551620"/>
                  <a:gd name="connsiteX146" fmla="*/ 250600 w 1555246"/>
                  <a:gd name="connsiteY146" fmla="*/ 549223 h 1551620"/>
                  <a:gd name="connsiteX147" fmla="*/ 263990 w 1555246"/>
                  <a:gd name="connsiteY147" fmla="*/ 553049 h 1551620"/>
                  <a:gd name="connsiteX148" fmla="*/ 265903 w 1555246"/>
                  <a:gd name="connsiteY148" fmla="*/ 560701 h 1551620"/>
                  <a:gd name="connsiteX149" fmla="*/ 252512 w 1555246"/>
                  <a:gd name="connsiteY149" fmla="*/ 574092 h 1551620"/>
                  <a:gd name="connsiteX150" fmla="*/ 250600 w 1555246"/>
                  <a:gd name="connsiteY150" fmla="*/ 579831 h 1551620"/>
                  <a:gd name="connsiteX151" fmla="*/ 246774 w 1555246"/>
                  <a:gd name="connsiteY151" fmla="*/ 585570 h 1551620"/>
                  <a:gd name="connsiteX152" fmla="*/ 260164 w 1555246"/>
                  <a:gd name="connsiteY152" fmla="*/ 593222 h 1551620"/>
                  <a:gd name="connsiteX153" fmla="*/ 307989 w 1555246"/>
                  <a:gd name="connsiteY153" fmla="*/ 595135 h 1551620"/>
                  <a:gd name="connsiteX154" fmla="*/ 313728 w 1555246"/>
                  <a:gd name="connsiteY154" fmla="*/ 600874 h 1551620"/>
                  <a:gd name="connsiteX155" fmla="*/ 325205 w 1555246"/>
                  <a:gd name="connsiteY155" fmla="*/ 608525 h 1551620"/>
                  <a:gd name="connsiteX156" fmla="*/ 317553 w 1555246"/>
                  <a:gd name="connsiteY156" fmla="*/ 612351 h 1551620"/>
                  <a:gd name="connsiteX157" fmla="*/ 313728 w 1555246"/>
                  <a:gd name="connsiteY157" fmla="*/ 604699 h 1551620"/>
                  <a:gd name="connsiteX158" fmla="*/ 302250 w 1555246"/>
                  <a:gd name="connsiteY158" fmla="*/ 598961 h 1551620"/>
                  <a:gd name="connsiteX159" fmla="*/ 288859 w 1555246"/>
                  <a:gd name="connsiteY159" fmla="*/ 600874 h 1551620"/>
                  <a:gd name="connsiteX160" fmla="*/ 277381 w 1555246"/>
                  <a:gd name="connsiteY160" fmla="*/ 602787 h 1551620"/>
                  <a:gd name="connsiteX161" fmla="*/ 275468 w 1555246"/>
                  <a:gd name="connsiteY161" fmla="*/ 608525 h 1551620"/>
                  <a:gd name="connsiteX162" fmla="*/ 277381 w 1555246"/>
                  <a:gd name="connsiteY162" fmla="*/ 623829 h 1551620"/>
                  <a:gd name="connsiteX163" fmla="*/ 285033 w 1555246"/>
                  <a:gd name="connsiteY163" fmla="*/ 627655 h 1551620"/>
                  <a:gd name="connsiteX164" fmla="*/ 281207 w 1555246"/>
                  <a:gd name="connsiteY164" fmla="*/ 646785 h 1551620"/>
                  <a:gd name="connsiteX165" fmla="*/ 275468 w 1555246"/>
                  <a:gd name="connsiteY165" fmla="*/ 652524 h 1551620"/>
                  <a:gd name="connsiteX166" fmla="*/ 271642 w 1555246"/>
                  <a:gd name="connsiteY166" fmla="*/ 665915 h 1551620"/>
                  <a:gd name="connsiteX167" fmla="*/ 275468 w 1555246"/>
                  <a:gd name="connsiteY167" fmla="*/ 686957 h 1551620"/>
                  <a:gd name="connsiteX168" fmla="*/ 283120 w 1555246"/>
                  <a:gd name="connsiteY168" fmla="*/ 702261 h 1551620"/>
                  <a:gd name="connsiteX169" fmla="*/ 285033 w 1555246"/>
                  <a:gd name="connsiteY169" fmla="*/ 708000 h 1551620"/>
                  <a:gd name="connsiteX170" fmla="*/ 288859 w 1555246"/>
                  <a:gd name="connsiteY170" fmla="*/ 727130 h 1551620"/>
                  <a:gd name="connsiteX171" fmla="*/ 294598 w 1555246"/>
                  <a:gd name="connsiteY171" fmla="*/ 732869 h 1551620"/>
                  <a:gd name="connsiteX172" fmla="*/ 300337 w 1555246"/>
                  <a:gd name="connsiteY172" fmla="*/ 746259 h 1551620"/>
                  <a:gd name="connsiteX173" fmla="*/ 304163 w 1555246"/>
                  <a:gd name="connsiteY173" fmla="*/ 751998 h 1551620"/>
                  <a:gd name="connsiteX174" fmla="*/ 309902 w 1555246"/>
                  <a:gd name="connsiteY174" fmla="*/ 753911 h 1551620"/>
                  <a:gd name="connsiteX175" fmla="*/ 355813 w 1555246"/>
                  <a:gd name="connsiteY175" fmla="*/ 757737 h 1551620"/>
                  <a:gd name="connsiteX176" fmla="*/ 357726 w 1555246"/>
                  <a:gd name="connsiteY176" fmla="*/ 769215 h 1551620"/>
                  <a:gd name="connsiteX177" fmla="*/ 363465 w 1555246"/>
                  <a:gd name="connsiteY177" fmla="*/ 773041 h 1551620"/>
                  <a:gd name="connsiteX178" fmla="*/ 371117 w 1555246"/>
                  <a:gd name="connsiteY178" fmla="*/ 782606 h 1551620"/>
                  <a:gd name="connsiteX179" fmla="*/ 382594 w 1555246"/>
                  <a:gd name="connsiteY179" fmla="*/ 790258 h 1551620"/>
                  <a:gd name="connsiteX180" fmla="*/ 388333 w 1555246"/>
                  <a:gd name="connsiteY180" fmla="*/ 797910 h 1551620"/>
                  <a:gd name="connsiteX181" fmla="*/ 392159 w 1555246"/>
                  <a:gd name="connsiteY181" fmla="*/ 805561 h 1551620"/>
                  <a:gd name="connsiteX182" fmla="*/ 384507 w 1555246"/>
                  <a:gd name="connsiteY182" fmla="*/ 799823 h 1551620"/>
                  <a:gd name="connsiteX183" fmla="*/ 373030 w 1555246"/>
                  <a:gd name="connsiteY183" fmla="*/ 790258 h 1551620"/>
                  <a:gd name="connsiteX184" fmla="*/ 359639 w 1555246"/>
                  <a:gd name="connsiteY184" fmla="*/ 782606 h 1551620"/>
                  <a:gd name="connsiteX185" fmla="*/ 329031 w 1555246"/>
                  <a:gd name="connsiteY185" fmla="*/ 784519 h 1551620"/>
                  <a:gd name="connsiteX186" fmla="*/ 330944 w 1555246"/>
                  <a:gd name="connsiteY186" fmla="*/ 797910 h 1551620"/>
                  <a:gd name="connsiteX187" fmla="*/ 340509 w 1555246"/>
                  <a:gd name="connsiteY187" fmla="*/ 799823 h 1551620"/>
                  <a:gd name="connsiteX188" fmla="*/ 348161 w 1555246"/>
                  <a:gd name="connsiteY188" fmla="*/ 801735 h 1551620"/>
                  <a:gd name="connsiteX189" fmla="*/ 353900 w 1555246"/>
                  <a:gd name="connsiteY189" fmla="*/ 805561 h 1551620"/>
                  <a:gd name="connsiteX190" fmla="*/ 361552 w 1555246"/>
                  <a:gd name="connsiteY190" fmla="*/ 811300 h 1551620"/>
                  <a:gd name="connsiteX191" fmla="*/ 378769 w 1555246"/>
                  <a:gd name="connsiteY191" fmla="*/ 815126 h 1551620"/>
                  <a:gd name="connsiteX192" fmla="*/ 388333 w 1555246"/>
                  <a:gd name="connsiteY192" fmla="*/ 820865 h 1551620"/>
                  <a:gd name="connsiteX193" fmla="*/ 378769 w 1555246"/>
                  <a:gd name="connsiteY193" fmla="*/ 841908 h 1551620"/>
                  <a:gd name="connsiteX194" fmla="*/ 373030 w 1555246"/>
                  <a:gd name="connsiteY194" fmla="*/ 843821 h 1551620"/>
                  <a:gd name="connsiteX195" fmla="*/ 361552 w 1555246"/>
                  <a:gd name="connsiteY195" fmla="*/ 841908 h 1551620"/>
                  <a:gd name="connsiteX196" fmla="*/ 350074 w 1555246"/>
                  <a:gd name="connsiteY196" fmla="*/ 834256 h 1551620"/>
                  <a:gd name="connsiteX197" fmla="*/ 338596 w 1555246"/>
                  <a:gd name="connsiteY197" fmla="*/ 836169 h 1551620"/>
                  <a:gd name="connsiteX198" fmla="*/ 348161 w 1555246"/>
                  <a:gd name="connsiteY198" fmla="*/ 849560 h 1551620"/>
                  <a:gd name="connsiteX199" fmla="*/ 355813 w 1555246"/>
                  <a:gd name="connsiteY199" fmla="*/ 861038 h 1551620"/>
                  <a:gd name="connsiteX200" fmla="*/ 359639 w 1555246"/>
                  <a:gd name="connsiteY200" fmla="*/ 870602 h 1551620"/>
                  <a:gd name="connsiteX201" fmla="*/ 357726 w 1555246"/>
                  <a:gd name="connsiteY201" fmla="*/ 882080 h 1551620"/>
                  <a:gd name="connsiteX202" fmla="*/ 371117 w 1555246"/>
                  <a:gd name="connsiteY202" fmla="*/ 883993 h 1551620"/>
                  <a:gd name="connsiteX203" fmla="*/ 378769 w 1555246"/>
                  <a:gd name="connsiteY203" fmla="*/ 885906 h 1551620"/>
                  <a:gd name="connsiteX204" fmla="*/ 376856 w 1555246"/>
                  <a:gd name="connsiteY204" fmla="*/ 893558 h 1551620"/>
                  <a:gd name="connsiteX205" fmla="*/ 378769 w 1555246"/>
                  <a:gd name="connsiteY205" fmla="*/ 903123 h 1551620"/>
                  <a:gd name="connsiteX206" fmla="*/ 382594 w 1555246"/>
                  <a:gd name="connsiteY206" fmla="*/ 908862 h 1551620"/>
                  <a:gd name="connsiteX207" fmla="*/ 388333 w 1555246"/>
                  <a:gd name="connsiteY207" fmla="*/ 918427 h 1551620"/>
                  <a:gd name="connsiteX208" fmla="*/ 394072 w 1555246"/>
                  <a:gd name="connsiteY208" fmla="*/ 933730 h 1551620"/>
                  <a:gd name="connsiteX209" fmla="*/ 399811 w 1555246"/>
                  <a:gd name="connsiteY209" fmla="*/ 937556 h 1551620"/>
                  <a:gd name="connsiteX210" fmla="*/ 403637 w 1555246"/>
                  <a:gd name="connsiteY210" fmla="*/ 945208 h 1551620"/>
                  <a:gd name="connsiteX211" fmla="*/ 405550 w 1555246"/>
                  <a:gd name="connsiteY211" fmla="*/ 952860 h 1551620"/>
                  <a:gd name="connsiteX212" fmla="*/ 409376 w 1555246"/>
                  <a:gd name="connsiteY212" fmla="*/ 964338 h 1551620"/>
                  <a:gd name="connsiteX213" fmla="*/ 411289 w 1555246"/>
                  <a:gd name="connsiteY213" fmla="*/ 971990 h 1551620"/>
                  <a:gd name="connsiteX214" fmla="*/ 415115 w 1555246"/>
                  <a:gd name="connsiteY214" fmla="*/ 979642 h 1551620"/>
                  <a:gd name="connsiteX215" fmla="*/ 417028 w 1555246"/>
                  <a:gd name="connsiteY215" fmla="*/ 989207 h 1551620"/>
                  <a:gd name="connsiteX216" fmla="*/ 422767 w 1555246"/>
                  <a:gd name="connsiteY216" fmla="*/ 996858 h 1551620"/>
                  <a:gd name="connsiteX217" fmla="*/ 424680 w 1555246"/>
                  <a:gd name="connsiteY217" fmla="*/ 1012162 h 1551620"/>
                  <a:gd name="connsiteX218" fmla="*/ 420854 w 1555246"/>
                  <a:gd name="connsiteY218" fmla="*/ 1044683 h 1551620"/>
                  <a:gd name="connsiteX219" fmla="*/ 413202 w 1555246"/>
                  <a:gd name="connsiteY219" fmla="*/ 1037031 h 1551620"/>
                  <a:gd name="connsiteX220" fmla="*/ 409376 w 1555246"/>
                  <a:gd name="connsiteY220" fmla="*/ 1027466 h 1551620"/>
                  <a:gd name="connsiteX221" fmla="*/ 403637 w 1555246"/>
                  <a:gd name="connsiteY221" fmla="*/ 1019814 h 1551620"/>
                  <a:gd name="connsiteX222" fmla="*/ 401724 w 1555246"/>
                  <a:gd name="connsiteY222" fmla="*/ 1012162 h 1551620"/>
                  <a:gd name="connsiteX223" fmla="*/ 399811 w 1555246"/>
                  <a:gd name="connsiteY223" fmla="*/ 1002597 h 1551620"/>
                  <a:gd name="connsiteX224" fmla="*/ 395985 w 1555246"/>
                  <a:gd name="connsiteY224" fmla="*/ 994946 h 1551620"/>
                  <a:gd name="connsiteX225" fmla="*/ 392159 w 1555246"/>
                  <a:gd name="connsiteY225" fmla="*/ 973903 h 1551620"/>
                  <a:gd name="connsiteX226" fmla="*/ 386420 w 1555246"/>
                  <a:gd name="connsiteY226" fmla="*/ 968164 h 1551620"/>
                  <a:gd name="connsiteX227" fmla="*/ 384507 w 1555246"/>
                  <a:gd name="connsiteY227" fmla="*/ 954773 h 1551620"/>
                  <a:gd name="connsiteX228" fmla="*/ 380682 w 1555246"/>
                  <a:gd name="connsiteY228" fmla="*/ 949034 h 1551620"/>
                  <a:gd name="connsiteX229" fmla="*/ 371117 w 1555246"/>
                  <a:gd name="connsiteY229" fmla="*/ 937556 h 1551620"/>
                  <a:gd name="connsiteX230" fmla="*/ 357726 w 1555246"/>
                  <a:gd name="connsiteY230" fmla="*/ 939469 h 1551620"/>
                  <a:gd name="connsiteX231" fmla="*/ 344335 w 1555246"/>
                  <a:gd name="connsiteY231" fmla="*/ 954773 h 1551620"/>
                  <a:gd name="connsiteX232" fmla="*/ 342422 w 1555246"/>
                  <a:gd name="connsiteY232" fmla="*/ 968164 h 1551620"/>
                  <a:gd name="connsiteX233" fmla="*/ 338596 w 1555246"/>
                  <a:gd name="connsiteY233" fmla="*/ 973903 h 1551620"/>
                  <a:gd name="connsiteX234" fmla="*/ 336683 w 1555246"/>
                  <a:gd name="connsiteY234" fmla="*/ 981555 h 1551620"/>
                  <a:gd name="connsiteX235" fmla="*/ 334770 w 1555246"/>
                  <a:gd name="connsiteY235" fmla="*/ 991120 h 1551620"/>
                  <a:gd name="connsiteX236" fmla="*/ 329031 w 1555246"/>
                  <a:gd name="connsiteY236" fmla="*/ 1012162 h 1551620"/>
                  <a:gd name="connsiteX237" fmla="*/ 325205 w 1555246"/>
                  <a:gd name="connsiteY237" fmla="*/ 1021727 h 1551620"/>
                  <a:gd name="connsiteX238" fmla="*/ 319466 w 1555246"/>
                  <a:gd name="connsiteY238" fmla="*/ 1031292 h 1551620"/>
                  <a:gd name="connsiteX239" fmla="*/ 321379 w 1555246"/>
                  <a:gd name="connsiteY239" fmla="*/ 1056161 h 1551620"/>
                  <a:gd name="connsiteX240" fmla="*/ 350074 w 1555246"/>
                  <a:gd name="connsiteY240" fmla="*/ 1059987 h 1551620"/>
                  <a:gd name="connsiteX241" fmla="*/ 348161 w 1555246"/>
                  <a:gd name="connsiteY241" fmla="*/ 1067638 h 1551620"/>
                  <a:gd name="connsiteX242" fmla="*/ 336683 w 1555246"/>
                  <a:gd name="connsiteY242" fmla="*/ 1081029 h 1551620"/>
                  <a:gd name="connsiteX243" fmla="*/ 332857 w 1555246"/>
                  <a:gd name="connsiteY243" fmla="*/ 1096333 h 1551620"/>
                  <a:gd name="connsiteX244" fmla="*/ 329031 w 1555246"/>
                  <a:gd name="connsiteY244" fmla="*/ 1102072 h 1551620"/>
                  <a:gd name="connsiteX245" fmla="*/ 327118 w 1555246"/>
                  <a:gd name="connsiteY245" fmla="*/ 1113550 h 1551620"/>
                  <a:gd name="connsiteX246" fmla="*/ 321379 w 1555246"/>
                  <a:gd name="connsiteY246" fmla="*/ 1125028 h 1551620"/>
                  <a:gd name="connsiteX247" fmla="*/ 311815 w 1555246"/>
                  <a:gd name="connsiteY247" fmla="*/ 1140331 h 1551620"/>
                  <a:gd name="connsiteX248" fmla="*/ 309902 w 1555246"/>
                  <a:gd name="connsiteY248" fmla="*/ 1147983 h 1551620"/>
                  <a:gd name="connsiteX249" fmla="*/ 304163 w 1555246"/>
                  <a:gd name="connsiteY249" fmla="*/ 1172852 h 1551620"/>
                  <a:gd name="connsiteX250" fmla="*/ 294598 w 1555246"/>
                  <a:gd name="connsiteY250" fmla="*/ 1188156 h 1551620"/>
                  <a:gd name="connsiteX251" fmla="*/ 285033 w 1555246"/>
                  <a:gd name="connsiteY251" fmla="*/ 1211111 h 1551620"/>
                  <a:gd name="connsiteX252" fmla="*/ 283120 w 1555246"/>
                  <a:gd name="connsiteY252" fmla="*/ 1218763 h 1551620"/>
                  <a:gd name="connsiteX253" fmla="*/ 279294 w 1555246"/>
                  <a:gd name="connsiteY253" fmla="*/ 1237893 h 1551620"/>
                  <a:gd name="connsiteX254" fmla="*/ 275468 w 1555246"/>
                  <a:gd name="connsiteY254" fmla="*/ 1245545 h 1551620"/>
                  <a:gd name="connsiteX255" fmla="*/ 269729 w 1555246"/>
                  <a:gd name="connsiteY255" fmla="*/ 1258935 h 1551620"/>
                  <a:gd name="connsiteX256" fmla="*/ 260164 w 1555246"/>
                  <a:gd name="connsiteY256" fmla="*/ 1274239 h 1551620"/>
                  <a:gd name="connsiteX257" fmla="*/ 258251 w 1555246"/>
                  <a:gd name="connsiteY257" fmla="*/ 1281891 h 1551620"/>
                  <a:gd name="connsiteX258" fmla="*/ 250600 w 1555246"/>
                  <a:gd name="connsiteY258" fmla="*/ 1279978 h 1551620"/>
                  <a:gd name="connsiteX259" fmla="*/ 244861 w 1555246"/>
                  <a:gd name="connsiteY259" fmla="*/ 1278065 h 1551620"/>
                  <a:gd name="connsiteX260" fmla="*/ 246774 w 1555246"/>
                  <a:gd name="connsiteY260" fmla="*/ 1287630 h 1551620"/>
                  <a:gd name="connsiteX261" fmla="*/ 244861 w 1555246"/>
                  <a:gd name="connsiteY261" fmla="*/ 1302934 h 1551620"/>
                  <a:gd name="connsiteX262" fmla="*/ 250600 w 1555246"/>
                  <a:gd name="connsiteY262" fmla="*/ 1304847 h 1551620"/>
                  <a:gd name="connsiteX263" fmla="*/ 265903 w 1555246"/>
                  <a:gd name="connsiteY263" fmla="*/ 1318238 h 1551620"/>
                  <a:gd name="connsiteX264" fmla="*/ 263990 w 1555246"/>
                  <a:gd name="connsiteY264" fmla="*/ 1337367 h 1551620"/>
                  <a:gd name="connsiteX265" fmla="*/ 263990 w 1555246"/>
                  <a:gd name="connsiteY265" fmla="*/ 1358410 h 1551620"/>
                  <a:gd name="connsiteX266" fmla="*/ 271642 w 1555246"/>
                  <a:gd name="connsiteY266" fmla="*/ 1360323 h 1551620"/>
                  <a:gd name="connsiteX267" fmla="*/ 285033 w 1555246"/>
                  <a:gd name="connsiteY267" fmla="*/ 1364149 h 1551620"/>
                  <a:gd name="connsiteX268" fmla="*/ 290772 w 1555246"/>
                  <a:gd name="connsiteY268" fmla="*/ 1367975 h 1551620"/>
                  <a:gd name="connsiteX269" fmla="*/ 304163 w 1555246"/>
                  <a:gd name="connsiteY269" fmla="*/ 1377540 h 1551620"/>
                  <a:gd name="connsiteX270" fmla="*/ 323292 w 1555246"/>
                  <a:gd name="connsiteY270" fmla="*/ 1381366 h 1551620"/>
                  <a:gd name="connsiteX271" fmla="*/ 334770 w 1555246"/>
                  <a:gd name="connsiteY271" fmla="*/ 1389017 h 1551620"/>
                  <a:gd name="connsiteX272" fmla="*/ 346248 w 1555246"/>
                  <a:gd name="connsiteY272" fmla="*/ 1400495 h 1551620"/>
                  <a:gd name="connsiteX273" fmla="*/ 353900 w 1555246"/>
                  <a:gd name="connsiteY273" fmla="*/ 1425364 h 1551620"/>
                  <a:gd name="connsiteX274" fmla="*/ 382594 w 1555246"/>
                  <a:gd name="connsiteY274" fmla="*/ 1423451 h 1551620"/>
                  <a:gd name="connsiteX275" fmla="*/ 394072 w 1555246"/>
                  <a:gd name="connsiteY275" fmla="*/ 1419625 h 1551620"/>
                  <a:gd name="connsiteX276" fmla="*/ 413202 w 1555246"/>
                  <a:gd name="connsiteY276" fmla="*/ 1425364 h 1551620"/>
                  <a:gd name="connsiteX277" fmla="*/ 422767 w 1555246"/>
                  <a:gd name="connsiteY277" fmla="*/ 1434929 h 1551620"/>
                  <a:gd name="connsiteX278" fmla="*/ 428506 w 1555246"/>
                  <a:gd name="connsiteY278" fmla="*/ 1440668 h 1551620"/>
                  <a:gd name="connsiteX279" fmla="*/ 436158 w 1555246"/>
                  <a:gd name="connsiteY279" fmla="*/ 1452146 h 1551620"/>
                  <a:gd name="connsiteX280" fmla="*/ 455287 w 1555246"/>
                  <a:gd name="connsiteY280" fmla="*/ 1450233 h 1551620"/>
                  <a:gd name="connsiteX281" fmla="*/ 462939 w 1555246"/>
                  <a:gd name="connsiteY281" fmla="*/ 1448320 h 1551620"/>
                  <a:gd name="connsiteX282" fmla="*/ 480156 w 1555246"/>
                  <a:gd name="connsiteY282" fmla="*/ 1452146 h 1551620"/>
                  <a:gd name="connsiteX283" fmla="*/ 485895 w 1555246"/>
                  <a:gd name="connsiteY283" fmla="*/ 1455971 h 1551620"/>
                  <a:gd name="connsiteX284" fmla="*/ 493547 w 1555246"/>
                  <a:gd name="connsiteY284" fmla="*/ 1461710 h 1551620"/>
                  <a:gd name="connsiteX285" fmla="*/ 499286 w 1555246"/>
                  <a:gd name="connsiteY285" fmla="*/ 1463623 h 1551620"/>
                  <a:gd name="connsiteX286" fmla="*/ 520328 w 1555246"/>
                  <a:gd name="connsiteY286" fmla="*/ 1459797 h 1551620"/>
                  <a:gd name="connsiteX287" fmla="*/ 522241 w 1555246"/>
                  <a:gd name="connsiteY287" fmla="*/ 1454058 h 1551620"/>
                  <a:gd name="connsiteX288" fmla="*/ 529893 w 1555246"/>
                  <a:gd name="connsiteY288" fmla="*/ 1433016 h 1551620"/>
                  <a:gd name="connsiteX289" fmla="*/ 552849 w 1555246"/>
                  <a:gd name="connsiteY289" fmla="*/ 1434929 h 1551620"/>
                  <a:gd name="connsiteX290" fmla="*/ 570066 w 1555246"/>
                  <a:gd name="connsiteY290" fmla="*/ 1446407 h 1551620"/>
                  <a:gd name="connsiteX291" fmla="*/ 583456 w 1555246"/>
                  <a:gd name="connsiteY291" fmla="*/ 1455971 h 1551620"/>
                  <a:gd name="connsiteX292" fmla="*/ 600673 w 1555246"/>
                  <a:gd name="connsiteY292" fmla="*/ 1467449 h 1551620"/>
                  <a:gd name="connsiteX293" fmla="*/ 617890 w 1555246"/>
                  <a:gd name="connsiteY293" fmla="*/ 1477014 h 1551620"/>
                  <a:gd name="connsiteX294" fmla="*/ 625542 w 1555246"/>
                  <a:gd name="connsiteY294" fmla="*/ 1478927 h 1551620"/>
                  <a:gd name="connsiteX295" fmla="*/ 627455 w 1555246"/>
                  <a:gd name="connsiteY295" fmla="*/ 1484666 h 1551620"/>
                  <a:gd name="connsiteX296" fmla="*/ 633194 w 1555246"/>
                  <a:gd name="connsiteY296" fmla="*/ 1482753 h 1551620"/>
                  <a:gd name="connsiteX297" fmla="*/ 648497 w 1555246"/>
                  <a:gd name="connsiteY297" fmla="*/ 1480840 h 1551620"/>
                  <a:gd name="connsiteX298" fmla="*/ 658062 w 1555246"/>
                  <a:gd name="connsiteY298" fmla="*/ 1482753 h 1551620"/>
                  <a:gd name="connsiteX299" fmla="*/ 667627 w 1555246"/>
                  <a:gd name="connsiteY299" fmla="*/ 1494231 h 1551620"/>
                  <a:gd name="connsiteX300" fmla="*/ 669540 w 1555246"/>
                  <a:gd name="connsiteY300" fmla="*/ 1521012 h 1551620"/>
                  <a:gd name="connsiteX301" fmla="*/ 677192 w 1555246"/>
                  <a:gd name="connsiteY301" fmla="*/ 1526751 h 1551620"/>
                  <a:gd name="connsiteX302" fmla="*/ 688670 w 1555246"/>
                  <a:gd name="connsiteY302" fmla="*/ 1536316 h 1551620"/>
                  <a:gd name="connsiteX303" fmla="*/ 711625 w 1555246"/>
                  <a:gd name="connsiteY303" fmla="*/ 1528664 h 1551620"/>
                  <a:gd name="connsiteX304" fmla="*/ 734581 w 1555246"/>
                  <a:gd name="connsiteY304" fmla="*/ 1530577 h 1551620"/>
                  <a:gd name="connsiteX305" fmla="*/ 751798 w 1555246"/>
                  <a:gd name="connsiteY305" fmla="*/ 1545881 h 1551620"/>
                  <a:gd name="connsiteX306" fmla="*/ 767102 w 1555246"/>
                  <a:gd name="connsiteY306" fmla="*/ 1551620 h 1551620"/>
                  <a:gd name="connsiteX307" fmla="*/ 786231 w 1555246"/>
                  <a:gd name="connsiteY307" fmla="*/ 1547794 h 1551620"/>
                  <a:gd name="connsiteX308" fmla="*/ 793883 w 1555246"/>
                  <a:gd name="connsiteY308" fmla="*/ 1532490 h 1551620"/>
                  <a:gd name="connsiteX309" fmla="*/ 803448 w 1555246"/>
                  <a:gd name="connsiteY309" fmla="*/ 1528664 h 1551620"/>
                  <a:gd name="connsiteX310" fmla="*/ 841707 w 1555246"/>
                  <a:gd name="connsiteY310" fmla="*/ 1526751 h 1551620"/>
                  <a:gd name="connsiteX311" fmla="*/ 839794 w 1555246"/>
                  <a:gd name="connsiteY311" fmla="*/ 1494231 h 1551620"/>
                  <a:gd name="connsiteX312" fmla="*/ 832143 w 1555246"/>
                  <a:gd name="connsiteY312" fmla="*/ 1478927 h 1551620"/>
                  <a:gd name="connsiteX313" fmla="*/ 830230 w 1555246"/>
                  <a:gd name="connsiteY313" fmla="*/ 1471275 h 1551620"/>
                  <a:gd name="connsiteX314" fmla="*/ 835969 w 1555246"/>
                  <a:gd name="connsiteY314" fmla="*/ 1459797 h 1551620"/>
                  <a:gd name="connsiteX315" fmla="*/ 837882 w 1555246"/>
                  <a:gd name="connsiteY315" fmla="*/ 1440668 h 1551620"/>
                  <a:gd name="connsiteX316" fmla="*/ 839794 w 1555246"/>
                  <a:gd name="connsiteY316" fmla="*/ 1433016 h 1551620"/>
                  <a:gd name="connsiteX317" fmla="*/ 845533 w 1555246"/>
                  <a:gd name="connsiteY317" fmla="*/ 1429190 h 1551620"/>
                  <a:gd name="connsiteX318" fmla="*/ 858924 w 1555246"/>
                  <a:gd name="connsiteY318" fmla="*/ 1417712 h 1551620"/>
                  <a:gd name="connsiteX319" fmla="*/ 864663 w 1555246"/>
                  <a:gd name="connsiteY319" fmla="*/ 1415799 h 1551620"/>
                  <a:gd name="connsiteX320" fmla="*/ 870402 w 1555246"/>
                  <a:gd name="connsiteY320" fmla="*/ 1410060 h 1551620"/>
                  <a:gd name="connsiteX321" fmla="*/ 876141 w 1555246"/>
                  <a:gd name="connsiteY321" fmla="*/ 1406234 h 1551620"/>
                  <a:gd name="connsiteX322" fmla="*/ 879967 w 1555246"/>
                  <a:gd name="connsiteY322" fmla="*/ 1400495 h 1551620"/>
                  <a:gd name="connsiteX323" fmla="*/ 904835 w 1555246"/>
                  <a:gd name="connsiteY323" fmla="*/ 1387105 h 1551620"/>
                  <a:gd name="connsiteX324" fmla="*/ 910574 w 1555246"/>
                  <a:gd name="connsiteY324" fmla="*/ 1385192 h 1551620"/>
                  <a:gd name="connsiteX325" fmla="*/ 925878 w 1555246"/>
                  <a:gd name="connsiteY325" fmla="*/ 1381366 h 1551620"/>
                  <a:gd name="connsiteX326" fmla="*/ 943095 w 1555246"/>
                  <a:gd name="connsiteY326" fmla="*/ 1369888 h 1551620"/>
                  <a:gd name="connsiteX327" fmla="*/ 950747 w 1555246"/>
                  <a:gd name="connsiteY327" fmla="*/ 1366062 h 1551620"/>
                  <a:gd name="connsiteX328" fmla="*/ 971789 w 1555246"/>
                  <a:gd name="connsiteY328" fmla="*/ 1348845 h 1551620"/>
                  <a:gd name="connsiteX329" fmla="*/ 983267 w 1555246"/>
                  <a:gd name="connsiteY329" fmla="*/ 1354584 h 1551620"/>
                  <a:gd name="connsiteX330" fmla="*/ 987093 w 1555246"/>
                  <a:gd name="connsiteY330" fmla="*/ 1360323 h 1551620"/>
                  <a:gd name="connsiteX331" fmla="*/ 994745 w 1555246"/>
                  <a:gd name="connsiteY331" fmla="*/ 1362236 h 1551620"/>
                  <a:gd name="connsiteX332" fmla="*/ 1004310 w 1555246"/>
                  <a:gd name="connsiteY332" fmla="*/ 1366062 h 1551620"/>
                  <a:gd name="connsiteX333" fmla="*/ 1029179 w 1555246"/>
                  <a:gd name="connsiteY333" fmla="*/ 1369888 h 1551620"/>
                  <a:gd name="connsiteX334" fmla="*/ 1036830 w 1555246"/>
                  <a:gd name="connsiteY334" fmla="*/ 1371801 h 1551620"/>
                  <a:gd name="connsiteX335" fmla="*/ 1044482 w 1555246"/>
                  <a:gd name="connsiteY335" fmla="*/ 1375627 h 1551620"/>
                  <a:gd name="connsiteX336" fmla="*/ 1054047 w 1555246"/>
                  <a:gd name="connsiteY336" fmla="*/ 1377540 h 1551620"/>
                  <a:gd name="connsiteX337" fmla="*/ 1069351 w 1555246"/>
                  <a:gd name="connsiteY337" fmla="*/ 1383279 h 1551620"/>
                  <a:gd name="connsiteX338" fmla="*/ 1067438 w 1555246"/>
                  <a:gd name="connsiteY338" fmla="*/ 1375627 h 1551620"/>
                  <a:gd name="connsiteX339" fmla="*/ 1071264 w 1555246"/>
                  <a:gd name="connsiteY339" fmla="*/ 1383279 h 1551620"/>
                  <a:gd name="connsiteX340" fmla="*/ 1075090 w 1555246"/>
                  <a:gd name="connsiteY340" fmla="*/ 1392843 h 1551620"/>
                  <a:gd name="connsiteX341" fmla="*/ 1096133 w 1555246"/>
                  <a:gd name="connsiteY341" fmla="*/ 1390930 h 1551620"/>
                  <a:gd name="connsiteX342" fmla="*/ 1111436 w 1555246"/>
                  <a:gd name="connsiteY342" fmla="*/ 1358410 h 1551620"/>
                  <a:gd name="connsiteX343" fmla="*/ 1113349 w 1555246"/>
                  <a:gd name="connsiteY343" fmla="*/ 1392843 h 1551620"/>
                  <a:gd name="connsiteX344" fmla="*/ 1103784 w 1555246"/>
                  <a:gd name="connsiteY344" fmla="*/ 1394756 h 1551620"/>
                  <a:gd name="connsiteX345" fmla="*/ 1138218 w 1555246"/>
                  <a:gd name="connsiteY345" fmla="*/ 1396669 h 1551620"/>
                  <a:gd name="connsiteX346" fmla="*/ 1140131 w 1555246"/>
                  <a:gd name="connsiteY346" fmla="*/ 1402408 h 1551620"/>
                  <a:gd name="connsiteX347" fmla="*/ 1142044 w 1555246"/>
                  <a:gd name="connsiteY347" fmla="*/ 1415799 h 1551620"/>
                  <a:gd name="connsiteX348" fmla="*/ 1168825 w 1555246"/>
                  <a:gd name="connsiteY348" fmla="*/ 1423451 h 1551620"/>
                  <a:gd name="connsiteX349" fmla="*/ 1182216 w 1555246"/>
                  <a:gd name="connsiteY349" fmla="*/ 1427277 h 1551620"/>
                  <a:gd name="connsiteX350" fmla="*/ 1187955 w 1555246"/>
                  <a:gd name="connsiteY350" fmla="*/ 1429190 h 1551620"/>
                  <a:gd name="connsiteX351" fmla="*/ 1191781 w 1555246"/>
                  <a:gd name="connsiteY351" fmla="*/ 1434929 h 1551620"/>
                  <a:gd name="connsiteX352" fmla="*/ 1193694 w 1555246"/>
                  <a:gd name="connsiteY352" fmla="*/ 1446407 h 1551620"/>
                  <a:gd name="connsiteX353" fmla="*/ 1195607 w 1555246"/>
                  <a:gd name="connsiteY353" fmla="*/ 1454058 h 1551620"/>
                  <a:gd name="connsiteX354" fmla="*/ 1210911 w 1555246"/>
                  <a:gd name="connsiteY354" fmla="*/ 1450233 h 1551620"/>
                  <a:gd name="connsiteX355" fmla="*/ 1224302 w 1555246"/>
                  <a:gd name="connsiteY355" fmla="*/ 1452146 h 1551620"/>
                  <a:gd name="connsiteX356" fmla="*/ 1230041 w 1555246"/>
                  <a:gd name="connsiteY356" fmla="*/ 1448320 h 1551620"/>
                  <a:gd name="connsiteX357" fmla="*/ 1233866 w 1555246"/>
                  <a:gd name="connsiteY357" fmla="*/ 1455971 h 1551620"/>
                  <a:gd name="connsiteX358" fmla="*/ 1235779 w 1555246"/>
                  <a:gd name="connsiteY358" fmla="*/ 1461710 h 1551620"/>
                  <a:gd name="connsiteX359" fmla="*/ 1239605 w 1555246"/>
                  <a:gd name="connsiteY359" fmla="*/ 1467449 h 1551620"/>
                  <a:gd name="connsiteX360" fmla="*/ 1256822 w 1555246"/>
                  <a:gd name="connsiteY360" fmla="*/ 1448320 h 1551620"/>
                  <a:gd name="connsiteX361" fmla="*/ 1272126 w 1555246"/>
                  <a:gd name="connsiteY361" fmla="*/ 1444494 h 1551620"/>
                  <a:gd name="connsiteX362" fmla="*/ 1300820 w 1555246"/>
                  <a:gd name="connsiteY362" fmla="*/ 1442581 h 1551620"/>
                  <a:gd name="connsiteX363" fmla="*/ 1310385 w 1555246"/>
                  <a:gd name="connsiteY363" fmla="*/ 1440668 h 1551620"/>
                  <a:gd name="connsiteX364" fmla="*/ 1312298 w 1555246"/>
                  <a:gd name="connsiteY364" fmla="*/ 1434929 h 1551620"/>
                  <a:gd name="connsiteX365" fmla="*/ 1318037 w 1555246"/>
                  <a:gd name="connsiteY365" fmla="*/ 1421538 h 1551620"/>
                  <a:gd name="connsiteX366" fmla="*/ 1319950 w 1555246"/>
                  <a:gd name="connsiteY366" fmla="*/ 1413886 h 1551620"/>
                  <a:gd name="connsiteX367" fmla="*/ 1323776 w 1555246"/>
                  <a:gd name="connsiteY367" fmla="*/ 1408147 h 1551620"/>
                  <a:gd name="connsiteX368" fmla="*/ 1337167 w 1555246"/>
                  <a:gd name="connsiteY368" fmla="*/ 1396669 h 1551620"/>
                  <a:gd name="connsiteX369" fmla="*/ 1346732 w 1555246"/>
                  <a:gd name="connsiteY369" fmla="*/ 1390930 h 1551620"/>
                  <a:gd name="connsiteX370" fmla="*/ 1360123 w 1555246"/>
                  <a:gd name="connsiteY370" fmla="*/ 1389017 h 1551620"/>
                  <a:gd name="connsiteX371" fmla="*/ 1365861 w 1555246"/>
                  <a:gd name="connsiteY371" fmla="*/ 1387105 h 1551620"/>
                  <a:gd name="connsiteX372" fmla="*/ 1367774 w 1555246"/>
                  <a:gd name="connsiteY372" fmla="*/ 1381366 h 1551620"/>
                  <a:gd name="connsiteX373" fmla="*/ 1369687 w 1555246"/>
                  <a:gd name="connsiteY373" fmla="*/ 1367975 h 1551620"/>
                  <a:gd name="connsiteX374" fmla="*/ 1373513 w 1555246"/>
                  <a:gd name="connsiteY374" fmla="*/ 1362236 h 1551620"/>
                  <a:gd name="connsiteX375" fmla="*/ 1381165 w 1555246"/>
                  <a:gd name="connsiteY375" fmla="*/ 1352671 h 1551620"/>
                  <a:gd name="connsiteX376" fmla="*/ 1386904 w 1555246"/>
                  <a:gd name="connsiteY376" fmla="*/ 1350758 h 1551620"/>
                  <a:gd name="connsiteX377" fmla="*/ 1400295 w 1555246"/>
                  <a:gd name="connsiteY377" fmla="*/ 1345019 h 1551620"/>
                  <a:gd name="connsiteX378" fmla="*/ 1413686 w 1555246"/>
                  <a:gd name="connsiteY378" fmla="*/ 1343106 h 1551620"/>
                  <a:gd name="connsiteX379" fmla="*/ 1430902 w 1555246"/>
                  <a:gd name="connsiteY379" fmla="*/ 1327802 h 1551620"/>
                  <a:gd name="connsiteX380" fmla="*/ 1440467 w 1555246"/>
                  <a:gd name="connsiteY380" fmla="*/ 1310586 h 1551620"/>
                  <a:gd name="connsiteX381" fmla="*/ 1442380 w 1555246"/>
                  <a:gd name="connsiteY381" fmla="*/ 1304847 h 1551620"/>
                  <a:gd name="connsiteX382" fmla="*/ 1453858 w 1555246"/>
                  <a:gd name="connsiteY382" fmla="*/ 1299108 h 1551620"/>
                  <a:gd name="connsiteX383" fmla="*/ 1451945 w 1555246"/>
                  <a:gd name="connsiteY383" fmla="*/ 1270413 h 1551620"/>
                  <a:gd name="connsiteX384" fmla="*/ 1436641 w 1555246"/>
                  <a:gd name="connsiteY384" fmla="*/ 1272326 h 1551620"/>
                  <a:gd name="connsiteX385" fmla="*/ 1404121 w 1555246"/>
                  <a:gd name="connsiteY385" fmla="*/ 1268500 h 1551620"/>
                  <a:gd name="connsiteX386" fmla="*/ 1398382 w 1555246"/>
                  <a:gd name="connsiteY386" fmla="*/ 1262761 h 1551620"/>
                  <a:gd name="connsiteX387" fmla="*/ 1379252 w 1555246"/>
                  <a:gd name="connsiteY387" fmla="*/ 1255110 h 1551620"/>
                  <a:gd name="connsiteX388" fmla="*/ 1369687 w 1555246"/>
                  <a:gd name="connsiteY388" fmla="*/ 1247458 h 1551620"/>
                  <a:gd name="connsiteX389" fmla="*/ 1354384 w 1555246"/>
                  <a:gd name="connsiteY389" fmla="*/ 1218763 h 1551620"/>
                  <a:gd name="connsiteX390" fmla="*/ 1352471 w 1555246"/>
                  <a:gd name="connsiteY390" fmla="*/ 1190069 h 1551620"/>
                  <a:gd name="connsiteX391" fmla="*/ 1360123 w 1555246"/>
                  <a:gd name="connsiteY391" fmla="*/ 1188156 h 1551620"/>
                  <a:gd name="connsiteX392" fmla="*/ 1365861 w 1555246"/>
                  <a:gd name="connsiteY392" fmla="*/ 1184330 h 1551620"/>
                  <a:gd name="connsiteX393" fmla="*/ 1367774 w 1555246"/>
                  <a:gd name="connsiteY393" fmla="*/ 1174765 h 1551620"/>
                  <a:gd name="connsiteX394" fmla="*/ 1373513 w 1555246"/>
                  <a:gd name="connsiteY394" fmla="*/ 1159461 h 1551620"/>
                  <a:gd name="connsiteX395" fmla="*/ 1371600 w 1555246"/>
                  <a:gd name="connsiteY395" fmla="*/ 1144157 h 1551620"/>
                  <a:gd name="connsiteX396" fmla="*/ 1340993 w 1555246"/>
                  <a:gd name="connsiteY396" fmla="*/ 1151809 h 1551620"/>
                  <a:gd name="connsiteX397" fmla="*/ 1337167 w 1555246"/>
                  <a:gd name="connsiteY397" fmla="*/ 1140331 h 1551620"/>
                  <a:gd name="connsiteX398" fmla="*/ 1333341 w 1555246"/>
                  <a:gd name="connsiteY398" fmla="*/ 1128853 h 1551620"/>
                  <a:gd name="connsiteX399" fmla="*/ 1327602 w 1555246"/>
                  <a:gd name="connsiteY399" fmla="*/ 1107811 h 1551620"/>
                  <a:gd name="connsiteX400" fmla="*/ 1329515 w 1555246"/>
                  <a:gd name="connsiteY400" fmla="*/ 1102072 h 1551620"/>
                  <a:gd name="connsiteX401" fmla="*/ 1331428 w 1555246"/>
                  <a:gd name="connsiteY401" fmla="*/ 1092507 h 1551620"/>
                  <a:gd name="connsiteX402" fmla="*/ 1339080 w 1555246"/>
                  <a:gd name="connsiteY402" fmla="*/ 1088681 h 1551620"/>
                  <a:gd name="connsiteX403" fmla="*/ 1344819 w 1555246"/>
                  <a:gd name="connsiteY403" fmla="*/ 1090594 h 1551620"/>
                  <a:gd name="connsiteX404" fmla="*/ 1350558 w 1555246"/>
                  <a:gd name="connsiteY404" fmla="*/ 1094420 h 1551620"/>
                  <a:gd name="connsiteX405" fmla="*/ 1377339 w 1555246"/>
                  <a:gd name="connsiteY405" fmla="*/ 1092507 h 1551620"/>
                  <a:gd name="connsiteX406" fmla="*/ 1383078 w 1555246"/>
                  <a:gd name="connsiteY406" fmla="*/ 1079116 h 1551620"/>
                  <a:gd name="connsiteX407" fmla="*/ 1388817 w 1555246"/>
                  <a:gd name="connsiteY407" fmla="*/ 1075290 h 1551620"/>
                  <a:gd name="connsiteX408" fmla="*/ 1392643 w 1555246"/>
                  <a:gd name="connsiteY408" fmla="*/ 1069551 h 1551620"/>
                  <a:gd name="connsiteX409" fmla="*/ 1398382 w 1555246"/>
                  <a:gd name="connsiteY409" fmla="*/ 1065725 h 1551620"/>
                  <a:gd name="connsiteX410" fmla="*/ 1383078 w 1555246"/>
                  <a:gd name="connsiteY410" fmla="*/ 1035118 h 1551620"/>
                  <a:gd name="connsiteX411" fmla="*/ 1375426 w 1555246"/>
                  <a:gd name="connsiteY411" fmla="*/ 1019814 h 1551620"/>
                  <a:gd name="connsiteX412" fmla="*/ 1369687 w 1555246"/>
                  <a:gd name="connsiteY412" fmla="*/ 998771 h 1551620"/>
                  <a:gd name="connsiteX413" fmla="*/ 1362035 w 1555246"/>
                  <a:gd name="connsiteY413" fmla="*/ 991120 h 1551620"/>
                  <a:gd name="connsiteX414" fmla="*/ 1358210 w 1555246"/>
                  <a:gd name="connsiteY414" fmla="*/ 975816 h 1551620"/>
                  <a:gd name="connsiteX415" fmla="*/ 1362035 w 1555246"/>
                  <a:gd name="connsiteY415" fmla="*/ 956686 h 1551620"/>
                  <a:gd name="connsiteX416" fmla="*/ 1337167 w 1555246"/>
                  <a:gd name="connsiteY416" fmla="*/ 954773 h 1551620"/>
                  <a:gd name="connsiteX417" fmla="*/ 1346732 w 1555246"/>
                  <a:gd name="connsiteY417" fmla="*/ 954773 h 1551620"/>
                  <a:gd name="connsiteX418" fmla="*/ 1367774 w 1555246"/>
                  <a:gd name="connsiteY418" fmla="*/ 949034 h 1551620"/>
                  <a:gd name="connsiteX419" fmla="*/ 1386904 w 1555246"/>
                  <a:gd name="connsiteY419" fmla="*/ 941382 h 1551620"/>
                  <a:gd name="connsiteX420" fmla="*/ 1383078 w 1555246"/>
                  <a:gd name="connsiteY420" fmla="*/ 920340 h 1551620"/>
                  <a:gd name="connsiteX421" fmla="*/ 1373513 w 1555246"/>
                  <a:gd name="connsiteY421" fmla="*/ 916514 h 1551620"/>
                  <a:gd name="connsiteX422" fmla="*/ 1367774 w 1555246"/>
                  <a:gd name="connsiteY422" fmla="*/ 912688 h 1551620"/>
                  <a:gd name="connsiteX423" fmla="*/ 1363948 w 1555246"/>
                  <a:gd name="connsiteY423" fmla="*/ 905036 h 1551620"/>
                  <a:gd name="connsiteX424" fmla="*/ 1367774 w 1555246"/>
                  <a:gd name="connsiteY424" fmla="*/ 880167 h 1551620"/>
                  <a:gd name="connsiteX425" fmla="*/ 1365861 w 1555246"/>
                  <a:gd name="connsiteY425" fmla="*/ 853386 h 1551620"/>
                  <a:gd name="connsiteX426" fmla="*/ 1352471 w 1555246"/>
                  <a:gd name="connsiteY426" fmla="*/ 849560 h 1551620"/>
                  <a:gd name="connsiteX427" fmla="*/ 1346732 w 1555246"/>
                  <a:gd name="connsiteY427" fmla="*/ 845734 h 1551620"/>
                  <a:gd name="connsiteX428" fmla="*/ 1331428 w 1555246"/>
                  <a:gd name="connsiteY428" fmla="*/ 841908 h 1551620"/>
                  <a:gd name="connsiteX429" fmla="*/ 1302733 w 1555246"/>
                  <a:gd name="connsiteY429" fmla="*/ 853386 h 1551620"/>
                  <a:gd name="connsiteX430" fmla="*/ 1298907 w 1555246"/>
                  <a:gd name="connsiteY430" fmla="*/ 859125 h 1551620"/>
                  <a:gd name="connsiteX431" fmla="*/ 1293169 w 1555246"/>
                  <a:gd name="connsiteY431" fmla="*/ 868689 h 1551620"/>
                  <a:gd name="connsiteX432" fmla="*/ 1298907 w 1555246"/>
                  <a:gd name="connsiteY432" fmla="*/ 885906 h 1551620"/>
                  <a:gd name="connsiteX433" fmla="*/ 1300820 w 1555246"/>
                  <a:gd name="connsiteY433" fmla="*/ 891645 h 1551620"/>
                  <a:gd name="connsiteX434" fmla="*/ 1296994 w 1555246"/>
                  <a:gd name="connsiteY434" fmla="*/ 903123 h 1551620"/>
                  <a:gd name="connsiteX435" fmla="*/ 1289343 w 1555246"/>
                  <a:gd name="connsiteY435" fmla="*/ 905036 h 1551620"/>
                  <a:gd name="connsiteX436" fmla="*/ 1256822 w 1555246"/>
                  <a:gd name="connsiteY436" fmla="*/ 901210 h 1551620"/>
                  <a:gd name="connsiteX437" fmla="*/ 1262561 w 1555246"/>
                  <a:gd name="connsiteY437" fmla="*/ 882080 h 1551620"/>
                  <a:gd name="connsiteX438" fmla="*/ 1272126 w 1555246"/>
                  <a:gd name="connsiteY438" fmla="*/ 880167 h 1551620"/>
                  <a:gd name="connsiteX439" fmla="*/ 1283604 w 1555246"/>
                  <a:gd name="connsiteY439" fmla="*/ 828517 h 1551620"/>
                  <a:gd name="connsiteX440" fmla="*/ 1298907 w 1555246"/>
                  <a:gd name="connsiteY440" fmla="*/ 811300 h 1551620"/>
                  <a:gd name="connsiteX441" fmla="*/ 1306559 w 1555246"/>
                  <a:gd name="connsiteY441" fmla="*/ 805561 h 1551620"/>
                  <a:gd name="connsiteX442" fmla="*/ 1316124 w 1555246"/>
                  <a:gd name="connsiteY442" fmla="*/ 780693 h 1551620"/>
                  <a:gd name="connsiteX443" fmla="*/ 1342906 w 1555246"/>
                  <a:gd name="connsiteY443" fmla="*/ 757737 h 1551620"/>
                  <a:gd name="connsiteX444" fmla="*/ 1346732 w 1555246"/>
                  <a:gd name="connsiteY444" fmla="*/ 751998 h 1551620"/>
                  <a:gd name="connsiteX445" fmla="*/ 1348645 w 1555246"/>
                  <a:gd name="connsiteY445" fmla="*/ 746259 h 1551620"/>
                  <a:gd name="connsiteX446" fmla="*/ 1360123 w 1555246"/>
                  <a:gd name="connsiteY446" fmla="*/ 732869 h 1551620"/>
                  <a:gd name="connsiteX447" fmla="*/ 1363948 w 1555246"/>
                  <a:gd name="connsiteY447" fmla="*/ 727130 h 1551620"/>
                  <a:gd name="connsiteX448" fmla="*/ 1375426 w 1555246"/>
                  <a:gd name="connsiteY448" fmla="*/ 723304 h 1551620"/>
                  <a:gd name="connsiteX449" fmla="*/ 1398382 w 1555246"/>
                  <a:gd name="connsiteY449" fmla="*/ 713739 h 1551620"/>
                  <a:gd name="connsiteX450" fmla="*/ 1404121 w 1555246"/>
                  <a:gd name="connsiteY450" fmla="*/ 709913 h 1551620"/>
                  <a:gd name="connsiteX451" fmla="*/ 1394556 w 1555246"/>
                  <a:gd name="connsiteY451" fmla="*/ 700348 h 1551620"/>
                  <a:gd name="connsiteX452" fmla="*/ 1388817 w 1555246"/>
                  <a:gd name="connsiteY452" fmla="*/ 692696 h 1551620"/>
                  <a:gd name="connsiteX453" fmla="*/ 1404121 w 1555246"/>
                  <a:gd name="connsiteY453" fmla="*/ 669740 h 1551620"/>
                  <a:gd name="connsiteX454" fmla="*/ 1413686 w 1555246"/>
                  <a:gd name="connsiteY454" fmla="*/ 675479 h 1551620"/>
                  <a:gd name="connsiteX455" fmla="*/ 1450032 w 1555246"/>
                  <a:gd name="connsiteY455" fmla="*/ 673566 h 1551620"/>
                  <a:gd name="connsiteX456" fmla="*/ 1457684 w 1555246"/>
                  <a:gd name="connsiteY456" fmla="*/ 660176 h 1551620"/>
                  <a:gd name="connsiteX457" fmla="*/ 1465336 w 1555246"/>
                  <a:gd name="connsiteY457" fmla="*/ 618090 h 1551620"/>
                  <a:gd name="connsiteX458" fmla="*/ 1472988 w 1555246"/>
                  <a:gd name="connsiteY458" fmla="*/ 572179 h 1551620"/>
                  <a:gd name="connsiteX459" fmla="*/ 1474901 w 1555246"/>
                  <a:gd name="connsiteY459" fmla="*/ 554962 h 1551620"/>
                  <a:gd name="connsiteX460" fmla="*/ 1484466 w 1555246"/>
                  <a:gd name="connsiteY460" fmla="*/ 526268 h 1551620"/>
                  <a:gd name="connsiteX461" fmla="*/ 1486379 w 1555246"/>
                  <a:gd name="connsiteY461" fmla="*/ 497573 h 1551620"/>
                  <a:gd name="connsiteX462" fmla="*/ 1490205 w 1555246"/>
                  <a:gd name="connsiteY462" fmla="*/ 491834 h 1551620"/>
                  <a:gd name="connsiteX463" fmla="*/ 1492117 w 1555246"/>
                  <a:gd name="connsiteY463" fmla="*/ 480356 h 1551620"/>
                  <a:gd name="connsiteX464" fmla="*/ 1495943 w 1555246"/>
                  <a:gd name="connsiteY464" fmla="*/ 474617 h 1551620"/>
                  <a:gd name="connsiteX465" fmla="*/ 1511247 w 1555246"/>
                  <a:gd name="connsiteY465" fmla="*/ 451662 h 1551620"/>
                  <a:gd name="connsiteX466" fmla="*/ 1524638 w 1555246"/>
                  <a:gd name="connsiteY466" fmla="*/ 438271 h 1551620"/>
                  <a:gd name="connsiteX467" fmla="*/ 1534203 w 1555246"/>
                  <a:gd name="connsiteY467" fmla="*/ 428706 h 1551620"/>
                  <a:gd name="connsiteX468" fmla="*/ 1551420 w 1555246"/>
                  <a:gd name="connsiteY468" fmla="*/ 415315 h 1551620"/>
                  <a:gd name="connsiteX469" fmla="*/ 1555246 w 1555246"/>
                  <a:gd name="connsiteY469" fmla="*/ 409576 h 1551620"/>
                  <a:gd name="connsiteX470" fmla="*/ 1549507 w 1555246"/>
                  <a:gd name="connsiteY470" fmla="*/ 403838 h 1551620"/>
                  <a:gd name="connsiteX471" fmla="*/ 1524638 w 1555246"/>
                  <a:gd name="connsiteY471" fmla="*/ 400012 h 1551620"/>
                  <a:gd name="connsiteX472" fmla="*/ 1501682 w 1555246"/>
                  <a:gd name="connsiteY472" fmla="*/ 394273 h 1551620"/>
                  <a:gd name="connsiteX473" fmla="*/ 1494030 w 1555246"/>
                  <a:gd name="connsiteY473" fmla="*/ 392360 h 1551620"/>
                  <a:gd name="connsiteX474" fmla="*/ 1484466 w 1555246"/>
                  <a:gd name="connsiteY474" fmla="*/ 390447 h 1551620"/>
                  <a:gd name="connsiteX475" fmla="*/ 1471075 w 1555246"/>
                  <a:gd name="connsiteY475" fmla="*/ 384708 h 1551620"/>
                  <a:gd name="connsiteX476" fmla="*/ 1459597 w 1555246"/>
                  <a:gd name="connsiteY476" fmla="*/ 375143 h 1551620"/>
                  <a:gd name="connsiteX477" fmla="*/ 1404121 w 1555246"/>
                  <a:gd name="connsiteY477" fmla="*/ 373230 h 1551620"/>
                  <a:gd name="connsiteX478" fmla="*/ 1392643 w 1555246"/>
                  <a:gd name="connsiteY478" fmla="*/ 369404 h 1551620"/>
                  <a:gd name="connsiteX479" fmla="*/ 1377339 w 1555246"/>
                  <a:gd name="connsiteY479" fmla="*/ 371317 h 1551620"/>
                  <a:gd name="connsiteX480" fmla="*/ 1373513 w 1555246"/>
                  <a:gd name="connsiteY480" fmla="*/ 363665 h 1551620"/>
                  <a:gd name="connsiteX481" fmla="*/ 1371600 w 1555246"/>
                  <a:gd name="connsiteY481" fmla="*/ 357926 h 1551620"/>
                  <a:gd name="connsiteX482" fmla="*/ 1369687 w 1555246"/>
                  <a:gd name="connsiteY482" fmla="*/ 350274 h 1551620"/>
                  <a:gd name="connsiteX483" fmla="*/ 1358210 w 1555246"/>
                  <a:gd name="connsiteY483" fmla="*/ 334971 h 1551620"/>
                  <a:gd name="connsiteX484" fmla="*/ 1335254 w 1555246"/>
                  <a:gd name="connsiteY484" fmla="*/ 323493 h 1551620"/>
                  <a:gd name="connsiteX485" fmla="*/ 1304646 w 1555246"/>
                  <a:gd name="connsiteY485" fmla="*/ 321580 h 1551620"/>
                  <a:gd name="connsiteX486" fmla="*/ 1298907 w 1555246"/>
                  <a:gd name="connsiteY486" fmla="*/ 313928 h 1551620"/>
                  <a:gd name="connsiteX487" fmla="*/ 1293169 w 1555246"/>
                  <a:gd name="connsiteY487" fmla="*/ 312015 h 1551620"/>
                  <a:gd name="connsiteX488" fmla="*/ 1277865 w 1555246"/>
                  <a:gd name="connsiteY488" fmla="*/ 306276 h 1551620"/>
                  <a:gd name="connsiteX489" fmla="*/ 1268300 w 1555246"/>
                  <a:gd name="connsiteY489" fmla="*/ 300537 h 1551620"/>
                  <a:gd name="connsiteX490" fmla="*/ 1258735 w 1555246"/>
                  <a:gd name="connsiteY490" fmla="*/ 292885 h 1551620"/>
                  <a:gd name="connsiteX491" fmla="*/ 1203259 w 1555246"/>
                  <a:gd name="connsiteY491" fmla="*/ 289059 h 1551620"/>
                  <a:gd name="connsiteX492" fmla="*/ 1195607 w 1555246"/>
                  <a:gd name="connsiteY492" fmla="*/ 275669 h 1551620"/>
                  <a:gd name="connsiteX493" fmla="*/ 1193694 w 1555246"/>
                  <a:gd name="connsiteY493" fmla="*/ 268017 h 1551620"/>
                  <a:gd name="connsiteX494" fmla="*/ 1180303 w 1555246"/>
                  <a:gd name="connsiteY494" fmla="*/ 256539 h 1551620"/>
                  <a:gd name="connsiteX495" fmla="*/ 1166912 w 1555246"/>
                  <a:gd name="connsiteY495" fmla="*/ 233583 h 1551620"/>
                  <a:gd name="connsiteX496" fmla="*/ 1165000 w 1555246"/>
                  <a:gd name="connsiteY496" fmla="*/ 197237 h 1551620"/>
                  <a:gd name="connsiteX497" fmla="*/ 1172651 w 1555246"/>
                  <a:gd name="connsiteY497" fmla="*/ 181933 h 1551620"/>
                  <a:gd name="connsiteX498" fmla="*/ 1166912 w 1555246"/>
                  <a:gd name="connsiteY498" fmla="*/ 180020 h 1551620"/>
                  <a:gd name="connsiteX499" fmla="*/ 1153522 w 1555246"/>
                  <a:gd name="connsiteY499" fmla="*/ 178107 h 1551620"/>
                  <a:gd name="connsiteX500" fmla="*/ 1128653 w 1555246"/>
                  <a:gd name="connsiteY500" fmla="*/ 185759 h 1551620"/>
                  <a:gd name="connsiteX501" fmla="*/ 1124827 w 1555246"/>
                  <a:gd name="connsiteY501" fmla="*/ 191498 h 1551620"/>
                  <a:gd name="connsiteX502" fmla="*/ 1130566 w 1555246"/>
                  <a:gd name="connsiteY502" fmla="*/ 193411 h 1551620"/>
                  <a:gd name="connsiteX503" fmla="*/ 1111436 w 1555246"/>
                  <a:gd name="connsiteY503" fmla="*/ 202976 h 1551620"/>
                  <a:gd name="connsiteX504" fmla="*/ 1098046 w 1555246"/>
                  <a:gd name="connsiteY504" fmla="*/ 210628 h 1551620"/>
                  <a:gd name="connsiteX505" fmla="*/ 1088481 w 1555246"/>
                  <a:gd name="connsiteY505" fmla="*/ 199150 h 1551620"/>
                  <a:gd name="connsiteX506" fmla="*/ 1092307 w 1555246"/>
                  <a:gd name="connsiteY506" fmla="*/ 183846 h 1551620"/>
                  <a:gd name="connsiteX507" fmla="*/ 1080829 w 1555246"/>
                  <a:gd name="connsiteY507" fmla="*/ 151325 h 1551620"/>
                  <a:gd name="connsiteX508" fmla="*/ 1067438 w 1555246"/>
                  <a:gd name="connsiteY508" fmla="*/ 149412 h 1551620"/>
                  <a:gd name="connsiteX509" fmla="*/ 1055960 w 1555246"/>
                  <a:gd name="connsiteY509" fmla="*/ 143674 h 1551620"/>
                  <a:gd name="connsiteX510" fmla="*/ 1044482 w 1555246"/>
                  <a:gd name="connsiteY510" fmla="*/ 139848 h 1551620"/>
                  <a:gd name="connsiteX511" fmla="*/ 1033005 w 1555246"/>
                  <a:gd name="connsiteY511" fmla="*/ 124544 h 1551620"/>
                  <a:gd name="connsiteX512" fmla="*/ 1027266 w 1555246"/>
                  <a:gd name="connsiteY512" fmla="*/ 118805 h 1551620"/>
                  <a:gd name="connsiteX513" fmla="*/ 1021527 w 1555246"/>
                  <a:gd name="connsiteY513" fmla="*/ 114979 h 1551620"/>
                  <a:gd name="connsiteX514" fmla="*/ 1010049 w 1555246"/>
                  <a:gd name="connsiteY514" fmla="*/ 101588 h 1551620"/>
                  <a:gd name="connsiteX515" fmla="*/ 1008136 w 1555246"/>
                  <a:gd name="connsiteY515" fmla="*/ 90110 h 1551620"/>
                  <a:gd name="connsiteX516" fmla="*/ 998571 w 1555246"/>
                  <a:gd name="connsiteY516" fmla="*/ 74807 h 1551620"/>
                  <a:gd name="connsiteX517" fmla="*/ 996658 w 1555246"/>
                  <a:gd name="connsiteY517" fmla="*/ 48025 h 1551620"/>
                  <a:gd name="connsiteX518" fmla="*/ 989006 w 1555246"/>
                  <a:gd name="connsiteY518" fmla="*/ 42286 h 1551620"/>
                  <a:gd name="connsiteX519" fmla="*/ 950747 w 1555246"/>
                  <a:gd name="connsiteY519" fmla="*/ 40373 h 1551620"/>
                  <a:gd name="connsiteX520" fmla="*/ 943095 w 1555246"/>
                  <a:gd name="connsiteY520" fmla="*/ 34634 h 1551620"/>
                  <a:gd name="connsiteX521" fmla="*/ 925878 w 1555246"/>
                  <a:gd name="connsiteY521" fmla="*/ 23156 h 1551620"/>
                  <a:gd name="connsiteX522" fmla="*/ 922052 w 1555246"/>
                  <a:gd name="connsiteY522" fmla="*/ 13592 h 1551620"/>
                  <a:gd name="connsiteX523" fmla="*/ 918226 w 1555246"/>
                  <a:gd name="connsiteY523" fmla="*/ 7853 h 1551620"/>
                  <a:gd name="connsiteX524" fmla="*/ 920139 w 1555246"/>
                  <a:gd name="connsiteY524" fmla="*/ 2114 h 1551620"/>
                  <a:gd name="connsiteX0" fmla="*/ 920139 w 1555246"/>
                  <a:gd name="connsiteY0" fmla="*/ 2114 h 1551620"/>
                  <a:gd name="connsiteX1" fmla="*/ 872315 w 1555246"/>
                  <a:gd name="connsiteY1" fmla="*/ 201 h 1551620"/>
                  <a:gd name="connsiteX2" fmla="*/ 835969 w 1555246"/>
                  <a:gd name="connsiteY2" fmla="*/ 5940 h 1551620"/>
                  <a:gd name="connsiteX3" fmla="*/ 830230 w 1555246"/>
                  <a:gd name="connsiteY3" fmla="*/ 9766 h 1551620"/>
                  <a:gd name="connsiteX4" fmla="*/ 822578 w 1555246"/>
                  <a:gd name="connsiteY4" fmla="*/ 11679 h 1551620"/>
                  <a:gd name="connsiteX5" fmla="*/ 816839 w 1555246"/>
                  <a:gd name="connsiteY5" fmla="*/ 19330 h 1551620"/>
                  <a:gd name="connsiteX6" fmla="*/ 813013 w 1555246"/>
                  <a:gd name="connsiteY6" fmla="*/ 32721 h 1551620"/>
                  <a:gd name="connsiteX7" fmla="*/ 805361 w 1555246"/>
                  <a:gd name="connsiteY7" fmla="*/ 44199 h 1551620"/>
                  <a:gd name="connsiteX8" fmla="*/ 801535 w 1555246"/>
                  <a:gd name="connsiteY8" fmla="*/ 63329 h 1551620"/>
                  <a:gd name="connsiteX9" fmla="*/ 797709 w 1555246"/>
                  <a:gd name="connsiteY9" fmla="*/ 78633 h 1551620"/>
                  <a:gd name="connsiteX10" fmla="*/ 795796 w 1555246"/>
                  <a:gd name="connsiteY10" fmla="*/ 88197 h 1551620"/>
                  <a:gd name="connsiteX11" fmla="*/ 791970 w 1555246"/>
                  <a:gd name="connsiteY11" fmla="*/ 97762 h 1551620"/>
                  <a:gd name="connsiteX12" fmla="*/ 790057 w 1555246"/>
                  <a:gd name="connsiteY12" fmla="*/ 103501 h 1551620"/>
                  <a:gd name="connsiteX13" fmla="*/ 788144 w 1555246"/>
                  <a:gd name="connsiteY13" fmla="*/ 113066 h 1551620"/>
                  <a:gd name="connsiteX14" fmla="*/ 774753 w 1555246"/>
                  <a:gd name="connsiteY14" fmla="*/ 132196 h 1551620"/>
                  <a:gd name="connsiteX15" fmla="*/ 770928 w 1555246"/>
                  <a:gd name="connsiteY15" fmla="*/ 137935 h 1551620"/>
                  <a:gd name="connsiteX16" fmla="*/ 757537 w 1555246"/>
                  <a:gd name="connsiteY16" fmla="*/ 158977 h 1551620"/>
                  <a:gd name="connsiteX17" fmla="*/ 751798 w 1555246"/>
                  <a:gd name="connsiteY17" fmla="*/ 160890 h 1551620"/>
                  <a:gd name="connsiteX18" fmla="*/ 746059 w 1555246"/>
                  <a:gd name="connsiteY18" fmla="*/ 164716 h 1551620"/>
                  <a:gd name="connsiteX19" fmla="*/ 738407 w 1555246"/>
                  <a:gd name="connsiteY19" fmla="*/ 170455 h 1551620"/>
                  <a:gd name="connsiteX20" fmla="*/ 713538 w 1555246"/>
                  <a:gd name="connsiteY20" fmla="*/ 178107 h 1551620"/>
                  <a:gd name="connsiteX21" fmla="*/ 686757 w 1555246"/>
                  <a:gd name="connsiteY21" fmla="*/ 185759 h 1551620"/>
                  <a:gd name="connsiteX22" fmla="*/ 665714 w 1555246"/>
                  <a:gd name="connsiteY22" fmla="*/ 191498 h 1551620"/>
                  <a:gd name="connsiteX23" fmla="*/ 644671 w 1555246"/>
                  <a:gd name="connsiteY23" fmla="*/ 195324 h 1551620"/>
                  <a:gd name="connsiteX24" fmla="*/ 633194 w 1555246"/>
                  <a:gd name="connsiteY24" fmla="*/ 202976 h 1551620"/>
                  <a:gd name="connsiteX25" fmla="*/ 615977 w 1555246"/>
                  <a:gd name="connsiteY25" fmla="*/ 212540 h 1551620"/>
                  <a:gd name="connsiteX26" fmla="*/ 606412 w 1555246"/>
                  <a:gd name="connsiteY26" fmla="*/ 224018 h 1551620"/>
                  <a:gd name="connsiteX27" fmla="*/ 615977 w 1555246"/>
                  <a:gd name="connsiteY27" fmla="*/ 233583 h 1551620"/>
                  <a:gd name="connsiteX28" fmla="*/ 642758 w 1555246"/>
                  <a:gd name="connsiteY28" fmla="*/ 248887 h 1551620"/>
                  <a:gd name="connsiteX29" fmla="*/ 635107 w 1555246"/>
                  <a:gd name="connsiteY29" fmla="*/ 254626 h 1551620"/>
                  <a:gd name="connsiteX30" fmla="*/ 615977 w 1555246"/>
                  <a:gd name="connsiteY30" fmla="*/ 262278 h 1551620"/>
                  <a:gd name="connsiteX31" fmla="*/ 598760 w 1555246"/>
                  <a:gd name="connsiteY31" fmla="*/ 266104 h 1551620"/>
                  <a:gd name="connsiteX32" fmla="*/ 562414 w 1555246"/>
                  <a:gd name="connsiteY32" fmla="*/ 268017 h 1551620"/>
                  <a:gd name="connsiteX33" fmla="*/ 554762 w 1555246"/>
                  <a:gd name="connsiteY33" fmla="*/ 264191 h 1551620"/>
                  <a:gd name="connsiteX34" fmla="*/ 549023 w 1555246"/>
                  <a:gd name="connsiteY34" fmla="*/ 260365 h 1551620"/>
                  <a:gd name="connsiteX35" fmla="*/ 522241 w 1555246"/>
                  <a:gd name="connsiteY35" fmla="*/ 258452 h 1551620"/>
                  <a:gd name="connsiteX36" fmla="*/ 493547 w 1555246"/>
                  <a:gd name="connsiteY36" fmla="*/ 243148 h 1551620"/>
                  <a:gd name="connsiteX37" fmla="*/ 489721 w 1555246"/>
                  <a:gd name="connsiteY37" fmla="*/ 237409 h 1551620"/>
                  <a:gd name="connsiteX38" fmla="*/ 483982 w 1555246"/>
                  <a:gd name="connsiteY38" fmla="*/ 235496 h 1551620"/>
                  <a:gd name="connsiteX39" fmla="*/ 459113 w 1555246"/>
                  <a:gd name="connsiteY39" fmla="*/ 231670 h 1551620"/>
                  <a:gd name="connsiteX40" fmla="*/ 439984 w 1555246"/>
                  <a:gd name="connsiteY40" fmla="*/ 210628 h 1551620"/>
                  <a:gd name="connsiteX41" fmla="*/ 462939 w 1555246"/>
                  <a:gd name="connsiteY41" fmla="*/ 197237 h 1551620"/>
                  <a:gd name="connsiteX42" fmla="*/ 441897 w 1555246"/>
                  <a:gd name="connsiteY42" fmla="*/ 191498 h 1551620"/>
                  <a:gd name="connsiteX43" fmla="*/ 428506 w 1555246"/>
                  <a:gd name="connsiteY43" fmla="*/ 183846 h 1551620"/>
                  <a:gd name="connsiteX44" fmla="*/ 420854 w 1555246"/>
                  <a:gd name="connsiteY44" fmla="*/ 181933 h 1551620"/>
                  <a:gd name="connsiteX45" fmla="*/ 403637 w 1555246"/>
                  <a:gd name="connsiteY45" fmla="*/ 176194 h 1551620"/>
                  <a:gd name="connsiteX46" fmla="*/ 392159 w 1555246"/>
                  <a:gd name="connsiteY46" fmla="*/ 168542 h 1551620"/>
                  <a:gd name="connsiteX47" fmla="*/ 382594 w 1555246"/>
                  <a:gd name="connsiteY47" fmla="*/ 162803 h 1551620"/>
                  <a:gd name="connsiteX48" fmla="*/ 390246 w 1555246"/>
                  <a:gd name="connsiteY48" fmla="*/ 176194 h 1551620"/>
                  <a:gd name="connsiteX49" fmla="*/ 386420 w 1555246"/>
                  <a:gd name="connsiteY49" fmla="*/ 193411 h 1551620"/>
                  <a:gd name="connsiteX50" fmla="*/ 380682 w 1555246"/>
                  <a:gd name="connsiteY50" fmla="*/ 210628 h 1551620"/>
                  <a:gd name="connsiteX51" fmla="*/ 378769 w 1555246"/>
                  <a:gd name="connsiteY51" fmla="*/ 216366 h 1551620"/>
                  <a:gd name="connsiteX52" fmla="*/ 376856 w 1555246"/>
                  <a:gd name="connsiteY52" fmla="*/ 225931 h 1551620"/>
                  <a:gd name="connsiteX53" fmla="*/ 378769 w 1555246"/>
                  <a:gd name="connsiteY53" fmla="*/ 237409 h 1551620"/>
                  <a:gd name="connsiteX54" fmla="*/ 386420 w 1555246"/>
                  <a:gd name="connsiteY54" fmla="*/ 239322 h 1551620"/>
                  <a:gd name="connsiteX55" fmla="*/ 390246 w 1555246"/>
                  <a:gd name="connsiteY55" fmla="*/ 246974 h 1551620"/>
                  <a:gd name="connsiteX56" fmla="*/ 390246 w 1555246"/>
                  <a:gd name="connsiteY56" fmla="*/ 294798 h 1551620"/>
                  <a:gd name="connsiteX57" fmla="*/ 392159 w 1555246"/>
                  <a:gd name="connsiteY57" fmla="*/ 357926 h 1551620"/>
                  <a:gd name="connsiteX58" fmla="*/ 394072 w 1555246"/>
                  <a:gd name="connsiteY58" fmla="*/ 363665 h 1551620"/>
                  <a:gd name="connsiteX59" fmla="*/ 403637 w 1555246"/>
                  <a:gd name="connsiteY59" fmla="*/ 367491 h 1551620"/>
                  <a:gd name="connsiteX60" fmla="*/ 361552 w 1555246"/>
                  <a:gd name="connsiteY60" fmla="*/ 363665 h 1551620"/>
                  <a:gd name="connsiteX61" fmla="*/ 355813 w 1555246"/>
                  <a:gd name="connsiteY61" fmla="*/ 359839 h 1551620"/>
                  <a:gd name="connsiteX62" fmla="*/ 346248 w 1555246"/>
                  <a:gd name="connsiteY62" fmla="*/ 375143 h 1551620"/>
                  <a:gd name="connsiteX63" fmla="*/ 336683 w 1555246"/>
                  <a:gd name="connsiteY63" fmla="*/ 369404 h 1551620"/>
                  <a:gd name="connsiteX64" fmla="*/ 332857 w 1555246"/>
                  <a:gd name="connsiteY64" fmla="*/ 357926 h 1551620"/>
                  <a:gd name="connsiteX65" fmla="*/ 321379 w 1555246"/>
                  <a:gd name="connsiteY65" fmla="*/ 352187 h 1551620"/>
                  <a:gd name="connsiteX66" fmla="*/ 313728 w 1555246"/>
                  <a:gd name="connsiteY66" fmla="*/ 346448 h 1551620"/>
                  <a:gd name="connsiteX67" fmla="*/ 306076 w 1555246"/>
                  <a:gd name="connsiteY67" fmla="*/ 342623 h 1551620"/>
                  <a:gd name="connsiteX68" fmla="*/ 300337 w 1555246"/>
                  <a:gd name="connsiteY68" fmla="*/ 338797 h 1551620"/>
                  <a:gd name="connsiteX69" fmla="*/ 296511 w 1555246"/>
                  <a:gd name="connsiteY69" fmla="*/ 346448 h 1551620"/>
                  <a:gd name="connsiteX70" fmla="*/ 288859 w 1555246"/>
                  <a:gd name="connsiteY70" fmla="*/ 356013 h 1551620"/>
                  <a:gd name="connsiteX71" fmla="*/ 277381 w 1555246"/>
                  <a:gd name="connsiteY71" fmla="*/ 357926 h 1551620"/>
                  <a:gd name="connsiteX72" fmla="*/ 254425 w 1555246"/>
                  <a:gd name="connsiteY72" fmla="*/ 361752 h 1551620"/>
                  <a:gd name="connsiteX73" fmla="*/ 252512 w 1555246"/>
                  <a:gd name="connsiteY73" fmla="*/ 346448 h 1551620"/>
                  <a:gd name="connsiteX74" fmla="*/ 250600 w 1555246"/>
                  <a:gd name="connsiteY74" fmla="*/ 338797 h 1551620"/>
                  <a:gd name="connsiteX75" fmla="*/ 242948 w 1555246"/>
                  <a:gd name="connsiteY75" fmla="*/ 321580 h 1551620"/>
                  <a:gd name="connsiteX76" fmla="*/ 237209 w 1555246"/>
                  <a:gd name="connsiteY76" fmla="*/ 310102 h 1551620"/>
                  <a:gd name="connsiteX77" fmla="*/ 229557 w 1555246"/>
                  <a:gd name="connsiteY77" fmla="*/ 302450 h 1551620"/>
                  <a:gd name="connsiteX78" fmla="*/ 225731 w 1555246"/>
                  <a:gd name="connsiteY78" fmla="*/ 296711 h 1551620"/>
                  <a:gd name="connsiteX79" fmla="*/ 214253 w 1555246"/>
                  <a:gd name="connsiteY79" fmla="*/ 294798 h 1551620"/>
                  <a:gd name="connsiteX80" fmla="*/ 197036 w 1555246"/>
                  <a:gd name="connsiteY80" fmla="*/ 285233 h 1551620"/>
                  <a:gd name="connsiteX81" fmla="*/ 172168 w 1555246"/>
                  <a:gd name="connsiteY81" fmla="*/ 290972 h 1551620"/>
                  <a:gd name="connsiteX82" fmla="*/ 153038 w 1555246"/>
                  <a:gd name="connsiteY82" fmla="*/ 292885 h 1551620"/>
                  <a:gd name="connsiteX83" fmla="*/ 154951 w 1555246"/>
                  <a:gd name="connsiteY83" fmla="*/ 298624 h 1551620"/>
                  <a:gd name="connsiteX84" fmla="*/ 158777 w 1555246"/>
                  <a:gd name="connsiteY84" fmla="*/ 304363 h 1551620"/>
                  <a:gd name="connsiteX85" fmla="*/ 153038 w 1555246"/>
                  <a:gd name="connsiteY85" fmla="*/ 306276 h 1551620"/>
                  <a:gd name="connsiteX86" fmla="*/ 133908 w 1555246"/>
                  <a:gd name="connsiteY86" fmla="*/ 306276 h 1551620"/>
                  <a:gd name="connsiteX87" fmla="*/ 131995 w 1555246"/>
                  <a:gd name="connsiteY87" fmla="*/ 312015 h 1551620"/>
                  <a:gd name="connsiteX88" fmla="*/ 118605 w 1555246"/>
                  <a:gd name="connsiteY88" fmla="*/ 304363 h 1551620"/>
                  <a:gd name="connsiteX89" fmla="*/ 110953 w 1555246"/>
                  <a:gd name="connsiteY89" fmla="*/ 315841 h 1551620"/>
                  <a:gd name="connsiteX90" fmla="*/ 107127 w 1555246"/>
                  <a:gd name="connsiteY90" fmla="*/ 306276 h 1551620"/>
                  <a:gd name="connsiteX91" fmla="*/ 86084 w 1555246"/>
                  <a:gd name="connsiteY91" fmla="*/ 296711 h 1551620"/>
                  <a:gd name="connsiteX92" fmla="*/ 40173 w 1555246"/>
                  <a:gd name="connsiteY92" fmla="*/ 298624 h 1551620"/>
                  <a:gd name="connsiteX93" fmla="*/ 32521 w 1555246"/>
                  <a:gd name="connsiteY93" fmla="*/ 300537 h 1551620"/>
                  <a:gd name="connsiteX94" fmla="*/ 13391 w 1555246"/>
                  <a:gd name="connsiteY94" fmla="*/ 310102 h 1551620"/>
                  <a:gd name="connsiteX95" fmla="*/ 5739 w 1555246"/>
                  <a:gd name="connsiteY95" fmla="*/ 319667 h 1551620"/>
                  <a:gd name="connsiteX96" fmla="*/ 0 w 1555246"/>
                  <a:gd name="connsiteY96" fmla="*/ 334971 h 1551620"/>
                  <a:gd name="connsiteX97" fmla="*/ 7652 w 1555246"/>
                  <a:gd name="connsiteY97" fmla="*/ 340710 h 1551620"/>
                  <a:gd name="connsiteX98" fmla="*/ 13391 w 1555246"/>
                  <a:gd name="connsiteY98" fmla="*/ 348361 h 1551620"/>
                  <a:gd name="connsiteX99" fmla="*/ 21043 w 1555246"/>
                  <a:gd name="connsiteY99" fmla="*/ 350274 h 1551620"/>
                  <a:gd name="connsiteX100" fmla="*/ 26782 w 1555246"/>
                  <a:gd name="connsiteY100" fmla="*/ 354100 h 1551620"/>
                  <a:gd name="connsiteX101" fmla="*/ 47825 w 1555246"/>
                  <a:gd name="connsiteY101" fmla="*/ 359839 h 1551620"/>
                  <a:gd name="connsiteX102" fmla="*/ 57389 w 1555246"/>
                  <a:gd name="connsiteY102" fmla="*/ 373230 h 1551620"/>
                  <a:gd name="connsiteX103" fmla="*/ 63128 w 1555246"/>
                  <a:gd name="connsiteY103" fmla="*/ 371317 h 1551620"/>
                  <a:gd name="connsiteX104" fmla="*/ 72693 w 1555246"/>
                  <a:gd name="connsiteY104" fmla="*/ 361752 h 1551620"/>
                  <a:gd name="connsiteX105" fmla="*/ 68867 w 1555246"/>
                  <a:gd name="connsiteY105" fmla="*/ 380882 h 1551620"/>
                  <a:gd name="connsiteX106" fmla="*/ 59302 w 1555246"/>
                  <a:gd name="connsiteY106" fmla="*/ 400012 h 1551620"/>
                  <a:gd name="connsiteX107" fmla="*/ 53564 w 1555246"/>
                  <a:gd name="connsiteY107" fmla="*/ 401925 h 1551620"/>
                  <a:gd name="connsiteX108" fmla="*/ 42086 w 1555246"/>
                  <a:gd name="connsiteY108" fmla="*/ 388534 h 1551620"/>
                  <a:gd name="connsiteX109" fmla="*/ 40173 w 1555246"/>
                  <a:gd name="connsiteY109" fmla="*/ 382795 h 1551620"/>
                  <a:gd name="connsiteX110" fmla="*/ 38260 w 1555246"/>
                  <a:gd name="connsiteY110" fmla="*/ 375143 h 1551620"/>
                  <a:gd name="connsiteX111" fmla="*/ 30608 w 1555246"/>
                  <a:gd name="connsiteY111" fmla="*/ 369404 h 1551620"/>
                  <a:gd name="connsiteX112" fmla="*/ 21043 w 1555246"/>
                  <a:gd name="connsiteY112" fmla="*/ 371317 h 1551620"/>
                  <a:gd name="connsiteX113" fmla="*/ 17217 w 1555246"/>
                  <a:gd name="connsiteY113" fmla="*/ 382795 h 1551620"/>
                  <a:gd name="connsiteX114" fmla="*/ 7652 w 1555246"/>
                  <a:gd name="connsiteY114" fmla="*/ 398099 h 1551620"/>
                  <a:gd name="connsiteX115" fmla="*/ 0 w 1555246"/>
                  <a:gd name="connsiteY115" fmla="*/ 400012 h 1551620"/>
                  <a:gd name="connsiteX116" fmla="*/ 9565 w 1555246"/>
                  <a:gd name="connsiteY116" fmla="*/ 407664 h 1551620"/>
                  <a:gd name="connsiteX117" fmla="*/ 17217 w 1555246"/>
                  <a:gd name="connsiteY117" fmla="*/ 409576 h 1551620"/>
                  <a:gd name="connsiteX118" fmla="*/ 19130 w 1555246"/>
                  <a:gd name="connsiteY118" fmla="*/ 415315 h 1551620"/>
                  <a:gd name="connsiteX119" fmla="*/ 22956 w 1555246"/>
                  <a:gd name="connsiteY119" fmla="*/ 428706 h 1551620"/>
                  <a:gd name="connsiteX120" fmla="*/ 26782 w 1555246"/>
                  <a:gd name="connsiteY120" fmla="*/ 442097 h 1551620"/>
                  <a:gd name="connsiteX121" fmla="*/ 30608 w 1555246"/>
                  <a:gd name="connsiteY121" fmla="*/ 449749 h 1551620"/>
                  <a:gd name="connsiteX122" fmla="*/ 36347 w 1555246"/>
                  <a:gd name="connsiteY122" fmla="*/ 459314 h 1551620"/>
                  <a:gd name="connsiteX123" fmla="*/ 42086 w 1555246"/>
                  <a:gd name="connsiteY123" fmla="*/ 463140 h 1551620"/>
                  <a:gd name="connsiteX124" fmla="*/ 61215 w 1555246"/>
                  <a:gd name="connsiteY124" fmla="*/ 461227 h 1551620"/>
                  <a:gd name="connsiteX125" fmla="*/ 66954 w 1555246"/>
                  <a:gd name="connsiteY125" fmla="*/ 459314 h 1551620"/>
                  <a:gd name="connsiteX126" fmla="*/ 68867 w 1555246"/>
                  <a:gd name="connsiteY126" fmla="*/ 453575 h 1551620"/>
                  <a:gd name="connsiteX127" fmla="*/ 74606 w 1555246"/>
                  <a:gd name="connsiteY127" fmla="*/ 447836 h 1551620"/>
                  <a:gd name="connsiteX128" fmla="*/ 91823 w 1555246"/>
                  <a:gd name="connsiteY128" fmla="*/ 455488 h 1551620"/>
                  <a:gd name="connsiteX129" fmla="*/ 93736 w 1555246"/>
                  <a:gd name="connsiteY129" fmla="*/ 465053 h 1551620"/>
                  <a:gd name="connsiteX130" fmla="*/ 103301 w 1555246"/>
                  <a:gd name="connsiteY130" fmla="*/ 476530 h 1551620"/>
                  <a:gd name="connsiteX131" fmla="*/ 131995 w 1555246"/>
                  <a:gd name="connsiteY131" fmla="*/ 480356 h 1551620"/>
                  <a:gd name="connsiteX132" fmla="*/ 139647 w 1555246"/>
                  <a:gd name="connsiteY132" fmla="*/ 482269 h 1551620"/>
                  <a:gd name="connsiteX133" fmla="*/ 145386 w 1555246"/>
                  <a:gd name="connsiteY133" fmla="*/ 488008 h 1551620"/>
                  <a:gd name="connsiteX134" fmla="*/ 156864 w 1555246"/>
                  <a:gd name="connsiteY134" fmla="*/ 493747 h 1551620"/>
                  <a:gd name="connsiteX135" fmla="*/ 158777 w 1555246"/>
                  <a:gd name="connsiteY135" fmla="*/ 499486 h 1551620"/>
                  <a:gd name="connsiteX136" fmla="*/ 166429 w 1555246"/>
                  <a:gd name="connsiteY136" fmla="*/ 512877 h 1551620"/>
                  <a:gd name="connsiteX137" fmla="*/ 185558 w 1555246"/>
                  <a:gd name="connsiteY137" fmla="*/ 528181 h 1551620"/>
                  <a:gd name="connsiteX138" fmla="*/ 191297 w 1555246"/>
                  <a:gd name="connsiteY138" fmla="*/ 524355 h 1551620"/>
                  <a:gd name="connsiteX139" fmla="*/ 208514 w 1555246"/>
                  <a:gd name="connsiteY139" fmla="*/ 520529 h 1551620"/>
                  <a:gd name="connsiteX140" fmla="*/ 214253 w 1555246"/>
                  <a:gd name="connsiteY140" fmla="*/ 522442 h 1551620"/>
                  <a:gd name="connsiteX141" fmla="*/ 219992 w 1555246"/>
                  <a:gd name="connsiteY141" fmla="*/ 551136 h 1551620"/>
                  <a:gd name="connsiteX142" fmla="*/ 225731 w 1555246"/>
                  <a:gd name="connsiteY142" fmla="*/ 547310 h 1551620"/>
                  <a:gd name="connsiteX143" fmla="*/ 229557 w 1555246"/>
                  <a:gd name="connsiteY143" fmla="*/ 541571 h 1551620"/>
                  <a:gd name="connsiteX144" fmla="*/ 235296 w 1555246"/>
                  <a:gd name="connsiteY144" fmla="*/ 539658 h 1551620"/>
                  <a:gd name="connsiteX145" fmla="*/ 242948 w 1555246"/>
                  <a:gd name="connsiteY145" fmla="*/ 543484 h 1551620"/>
                  <a:gd name="connsiteX146" fmla="*/ 250600 w 1555246"/>
                  <a:gd name="connsiteY146" fmla="*/ 549223 h 1551620"/>
                  <a:gd name="connsiteX147" fmla="*/ 263990 w 1555246"/>
                  <a:gd name="connsiteY147" fmla="*/ 553049 h 1551620"/>
                  <a:gd name="connsiteX148" fmla="*/ 265903 w 1555246"/>
                  <a:gd name="connsiteY148" fmla="*/ 560701 h 1551620"/>
                  <a:gd name="connsiteX149" fmla="*/ 252512 w 1555246"/>
                  <a:gd name="connsiteY149" fmla="*/ 574092 h 1551620"/>
                  <a:gd name="connsiteX150" fmla="*/ 250600 w 1555246"/>
                  <a:gd name="connsiteY150" fmla="*/ 579831 h 1551620"/>
                  <a:gd name="connsiteX151" fmla="*/ 246774 w 1555246"/>
                  <a:gd name="connsiteY151" fmla="*/ 585570 h 1551620"/>
                  <a:gd name="connsiteX152" fmla="*/ 260164 w 1555246"/>
                  <a:gd name="connsiteY152" fmla="*/ 593222 h 1551620"/>
                  <a:gd name="connsiteX153" fmla="*/ 307989 w 1555246"/>
                  <a:gd name="connsiteY153" fmla="*/ 595135 h 1551620"/>
                  <a:gd name="connsiteX154" fmla="*/ 313728 w 1555246"/>
                  <a:gd name="connsiteY154" fmla="*/ 600874 h 1551620"/>
                  <a:gd name="connsiteX155" fmla="*/ 325205 w 1555246"/>
                  <a:gd name="connsiteY155" fmla="*/ 608525 h 1551620"/>
                  <a:gd name="connsiteX156" fmla="*/ 317553 w 1555246"/>
                  <a:gd name="connsiteY156" fmla="*/ 612351 h 1551620"/>
                  <a:gd name="connsiteX157" fmla="*/ 313728 w 1555246"/>
                  <a:gd name="connsiteY157" fmla="*/ 604699 h 1551620"/>
                  <a:gd name="connsiteX158" fmla="*/ 302250 w 1555246"/>
                  <a:gd name="connsiteY158" fmla="*/ 598961 h 1551620"/>
                  <a:gd name="connsiteX159" fmla="*/ 288859 w 1555246"/>
                  <a:gd name="connsiteY159" fmla="*/ 600874 h 1551620"/>
                  <a:gd name="connsiteX160" fmla="*/ 277381 w 1555246"/>
                  <a:gd name="connsiteY160" fmla="*/ 602787 h 1551620"/>
                  <a:gd name="connsiteX161" fmla="*/ 275468 w 1555246"/>
                  <a:gd name="connsiteY161" fmla="*/ 608525 h 1551620"/>
                  <a:gd name="connsiteX162" fmla="*/ 277381 w 1555246"/>
                  <a:gd name="connsiteY162" fmla="*/ 623829 h 1551620"/>
                  <a:gd name="connsiteX163" fmla="*/ 285033 w 1555246"/>
                  <a:gd name="connsiteY163" fmla="*/ 627655 h 1551620"/>
                  <a:gd name="connsiteX164" fmla="*/ 281207 w 1555246"/>
                  <a:gd name="connsiteY164" fmla="*/ 646785 h 1551620"/>
                  <a:gd name="connsiteX165" fmla="*/ 275468 w 1555246"/>
                  <a:gd name="connsiteY165" fmla="*/ 652524 h 1551620"/>
                  <a:gd name="connsiteX166" fmla="*/ 271642 w 1555246"/>
                  <a:gd name="connsiteY166" fmla="*/ 665915 h 1551620"/>
                  <a:gd name="connsiteX167" fmla="*/ 275468 w 1555246"/>
                  <a:gd name="connsiteY167" fmla="*/ 686957 h 1551620"/>
                  <a:gd name="connsiteX168" fmla="*/ 283120 w 1555246"/>
                  <a:gd name="connsiteY168" fmla="*/ 702261 h 1551620"/>
                  <a:gd name="connsiteX169" fmla="*/ 285033 w 1555246"/>
                  <a:gd name="connsiteY169" fmla="*/ 708000 h 1551620"/>
                  <a:gd name="connsiteX170" fmla="*/ 288859 w 1555246"/>
                  <a:gd name="connsiteY170" fmla="*/ 727130 h 1551620"/>
                  <a:gd name="connsiteX171" fmla="*/ 294598 w 1555246"/>
                  <a:gd name="connsiteY171" fmla="*/ 732869 h 1551620"/>
                  <a:gd name="connsiteX172" fmla="*/ 300337 w 1555246"/>
                  <a:gd name="connsiteY172" fmla="*/ 746259 h 1551620"/>
                  <a:gd name="connsiteX173" fmla="*/ 304163 w 1555246"/>
                  <a:gd name="connsiteY173" fmla="*/ 751998 h 1551620"/>
                  <a:gd name="connsiteX174" fmla="*/ 309902 w 1555246"/>
                  <a:gd name="connsiteY174" fmla="*/ 753911 h 1551620"/>
                  <a:gd name="connsiteX175" fmla="*/ 355813 w 1555246"/>
                  <a:gd name="connsiteY175" fmla="*/ 757737 h 1551620"/>
                  <a:gd name="connsiteX176" fmla="*/ 357726 w 1555246"/>
                  <a:gd name="connsiteY176" fmla="*/ 769215 h 1551620"/>
                  <a:gd name="connsiteX177" fmla="*/ 363465 w 1555246"/>
                  <a:gd name="connsiteY177" fmla="*/ 773041 h 1551620"/>
                  <a:gd name="connsiteX178" fmla="*/ 371117 w 1555246"/>
                  <a:gd name="connsiteY178" fmla="*/ 782606 h 1551620"/>
                  <a:gd name="connsiteX179" fmla="*/ 382594 w 1555246"/>
                  <a:gd name="connsiteY179" fmla="*/ 790258 h 1551620"/>
                  <a:gd name="connsiteX180" fmla="*/ 388333 w 1555246"/>
                  <a:gd name="connsiteY180" fmla="*/ 797910 h 1551620"/>
                  <a:gd name="connsiteX181" fmla="*/ 392159 w 1555246"/>
                  <a:gd name="connsiteY181" fmla="*/ 805561 h 1551620"/>
                  <a:gd name="connsiteX182" fmla="*/ 384507 w 1555246"/>
                  <a:gd name="connsiteY182" fmla="*/ 799823 h 1551620"/>
                  <a:gd name="connsiteX183" fmla="*/ 373030 w 1555246"/>
                  <a:gd name="connsiteY183" fmla="*/ 790258 h 1551620"/>
                  <a:gd name="connsiteX184" fmla="*/ 359639 w 1555246"/>
                  <a:gd name="connsiteY184" fmla="*/ 782606 h 1551620"/>
                  <a:gd name="connsiteX185" fmla="*/ 329031 w 1555246"/>
                  <a:gd name="connsiteY185" fmla="*/ 784519 h 1551620"/>
                  <a:gd name="connsiteX186" fmla="*/ 330944 w 1555246"/>
                  <a:gd name="connsiteY186" fmla="*/ 797910 h 1551620"/>
                  <a:gd name="connsiteX187" fmla="*/ 340509 w 1555246"/>
                  <a:gd name="connsiteY187" fmla="*/ 799823 h 1551620"/>
                  <a:gd name="connsiteX188" fmla="*/ 348161 w 1555246"/>
                  <a:gd name="connsiteY188" fmla="*/ 801735 h 1551620"/>
                  <a:gd name="connsiteX189" fmla="*/ 353900 w 1555246"/>
                  <a:gd name="connsiteY189" fmla="*/ 805561 h 1551620"/>
                  <a:gd name="connsiteX190" fmla="*/ 361552 w 1555246"/>
                  <a:gd name="connsiteY190" fmla="*/ 811300 h 1551620"/>
                  <a:gd name="connsiteX191" fmla="*/ 378769 w 1555246"/>
                  <a:gd name="connsiteY191" fmla="*/ 815126 h 1551620"/>
                  <a:gd name="connsiteX192" fmla="*/ 388333 w 1555246"/>
                  <a:gd name="connsiteY192" fmla="*/ 820865 h 1551620"/>
                  <a:gd name="connsiteX193" fmla="*/ 378769 w 1555246"/>
                  <a:gd name="connsiteY193" fmla="*/ 841908 h 1551620"/>
                  <a:gd name="connsiteX194" fmla="*/ 373030 w 1555246"/>
                  <a:gd name="connsiteY194" fmla="*/ 843821 h 1551620"/>
                  <a:gd name="connsiteX195" fmla="*/ 361552 w 1555246"/>
                  <a:gd name="connsiteY195" fmla="*/ 841908 h 1551620"/>
                  <a:gd name="connsiteX196" fmla="*/ 350074 w 1555246"/>
                  <a:gd name="connsiteY196" fmla="*/ 834256 h 1551620"/>
                  <a:gd name="connsiteX197" fmla="*/ 338596 w 1555246"/>
                  <a:gd name="connsiteY197" fmla="*/ 836169 h 1551620"/>
                  <a:gd name="connsiteX198" fmla="*/ 348161 w 1555246"/>
                  <a:gd name="connsiteY198" fmla="*/ 849560 h 1551620"/>
                  <a:gd name="connsiteX199" fmla="*/ 355813 w 1555246"/>
                  <a:gd name="connsiteY199" fmla="*/ 861038 h 1551620"/>
                  <a:gd name="connsiteX200" fmla="*/ 359639 w 1555246"/>
                  <a:gd name="connsiteY200" fmla="*/ 870602 h 1551620"/>
                  <a:gd name="connsiteX201" fmla="*/ 357726 w 1555246"/>
                  <a:gd name="connsiteY201" fmla="*/ 882080 h 1551620"/>
                  <a:gd name="connsiteX202" fmla="*/ 371117 w 1555246"/>
                  <a:gd name="connsiteY202" fmla="*/ 883993 h 1551620"/>
                  <a:gd name="connsiteX203" fmla="*/ 378769 w 1555246"/>
                  <a:gd name="connsiteY203" fmla="*/ 885906 h 1551620"/>
                  <a:gd name="connsiteX204" fmla="*/ 376856 w 1555246"/>
                  <a:gd name="connsiteY204" fmla="*/ 893558 h 1551620"/>
                  <a:gd name="connsiteX205" fmla="*/ 378769 w 1555246"/>
                  <a:gd name="connsiteY205" fmla="*/ 903123 h 1551620"/>
                  <a:gd name="connsiteX206" fmla="*/ 382594 w 1555246"/>
                  <a:gd name="connsiteY206" fmla="*/ 908862 h 1551620"/>
                  <a:gd name="connsiteX207" fmla="*/ 388333 w 1555246"/>
                  <a:gd name="connsiteY207" fmla="*/ 918427 h 1551620"/>
                  <a:gd name="connsiteX208" fmla="*/ 394072 w 1555246"/>
                  <a:gd name="connsiteY208" fmla="*/ 933730 h 1551620"/>
                  <a:gd name="connsiteX209" fmla="*/ 399811 w 1555246"/>
                  <a:gd name="connsiteY209" fmla="*/ 937556 h 1551620"/>
                  <a:gd name="connsiteX210" fmla="*/ 403637 w 1555246"/>
                  <a:gd name="connsiteY210" fmla="*/ 945208 h 1551620"/>
                  <a:gd name="connsiteX211" fmla="*/ 405550 w 1555246"/>
                  <a:gd name="connsiteY211" fmla="*/ 952860 h 1551620"/>
                  <a:gd name="connsiteX212" fmla="*/ 409376 w 1555246"/>
                  <a:gd name="connsiteY212" fmla="*/ 964338 h 1551620"/>
                  <a:gd name="connsiteX213" fmla="*/ 411289 w 1555246"/>
                  <a:gd name="connsiteY213" fmla="*/ 971990 h 1551620"/>
                  <a:gd name="connsiteX214" fmla="*/ 415115 w 1555246"/>
                  <a:gd name="connsiteY214" fmla="*/ 979642 h 1551620"/>
                  <a:gd name="connsiteX215" fmla="*/ 417028 w 1555246"/>
                  <a:gd name="connsiteY215" fmla="*/ 989207 h 1551620"/>
                  <a:gd name="connsiteX216" fmla="*/ 422767 w 1555246"/>
                  <a:gd name="connsiteY216" fmla="*/ 996858 h 1551620"/>
                  <a:gd name="connsiteX217" fmla="*/ 424680 w 1555246"/>
                  <a:gd name="connsiteY217" fmla="*/ 1012162 h 1551620"/>
                  <a:gd name="connsiteX218" fmla="*/ 420854 w 1555246"/>
                  <a:gd name="connsiteY218" fmla="*/ 1044683 h 1551620"/>
                  <a:gd name="connsiteX219" fmla="*/ 413202 w 1555246"/>
                  <a:gd name="connsiteY219" fmla="*/ 1037031 h 1551620"/>
                  <a:gd name="connsiteX220" fmla="*/ 409376 w 1555246"/>
                  <a:gd name="connsiteY220" fmla="*/ 1027466 h 1551620"/>
                  <a:gd name="connsiteX221" fmla="*/ 403637 w 1555246"/>
                  <a:gd name="connsiteY221" fmla="*/ 1019814 h 1551620"/>
                  <a:gd name="connsiteX222" fmla="*/ 401724 w 1555246"/>
                  <a:gd name="connsiteY222" fmla="*/ 1012162 h 1551620"/>
                  <a:gd name="connsiteX223" fmla="*/ 399811 w 1555246"/>
                  <a:gd name="connsiteY223" fmla="*/ 1002597 h 1551620"/>
                  <a:gd name="connsiteX224" fmla="*/ 395985 w 1555246"/>
                  <a:gd name="connsiteY224" fmla="*/ 994946 h 1551620"/>
                  <a:gd name="connsiteX225" fmla="*/ 392159 w 1555246"/>
                  <a:gd name="connsiteY225" fmla="*/ 973903 h 1551620"/>
                  <a:gd name="connsiteX226" fmla="*/ 386420 w 1555246"/>
                  <a:gd name="connsiteY226" fmla="*/ 968164 h 1551620"/>
                  <a:gd name="connsiteX227" fmla="*/ 384507 w 1555246"/>
                  <a:gd name="connsiteY227" fmla="*/ 954773 h 1551620"/>
                  <a:gd name="connsiteX228" fmla="*/ 380682 w 1555246"/>
                  <a:gd name="connsiteY228" fmla="*/ 949034 h 1551620"/>
                  <a:gd name="connsiteX229" fmla="*/ 371117 w 1555246"/>
                  <a:gd name="connsiteY229" fmla="*/ 937556 h 1551620"/>
                  <a:gd name="connsiteX230" fmla="*/ 357726 w 1555246"/>
                  <a:gd name="connsiteY230" fmla="*/ 939469 h 1551620"/>
                  <a:gd name="connsiteX231" fmla="*/ 344335 w 1555246"/>
                  <a:gd name="connsiteY231" fmla="*/ 954773 h 1551620"/>
                  <a:gd name="connsiteX232" fmla="*/ 342422 w 1555246"/>
                  <a:gd name="connsiteY232" fmla="*/ 968164 h 1551620"/>
                  <a:gd name="connsiteX233" fmla="*/ 338596 w 1555246"/>
                  <a:gd name="connsiteY233" fmla="*/ 973903 h 1551620"/>
                  <a:gd name="connsiteX234" fmla="*/ 336683 w 1555246"/>
                  <a:gd name="connsiteY234" fmla="*/ 981555 h 1551620"/>
                  <a:gd name="connsiteX235" fmla="*/ 334770 w 1555246"/>
                  <a:gd name="connsiteY235" fmla="*/ 991120 h 1551620"/>
                  <a:gd name="connsiteX236" fmla="*/ 329031 w 1555246"/>
                  <a:gd name="connsiteY236" fmla="*/ 1012162 h 1551620"/>
                  <a:gd name="connsiteX237" fmla="*/ 325205 w 1555246"/>
                  <a:gd name="connsiteY237" fmla="*/ 1021727 h 1551620"/>
                  <a:gd name="connsiteX238" fmla="*/ 319466 w 1555246"/>
                  <a:gd name="connsiteY238" fmla="*/ 1031292 h 1551620"/>
                  <a:gd name="connsiteX239" fmla="*/ 321379 w 1555246"/>
                  <a:gd name="connsiteY239" fmla="*/ 1056161 h 1551620"/>
                  <a:gd name="connsiteX240" fmla="*/ 350074 w 1555246"/>
                  <a:gd name="connsiteY240" fmla="*/ 1059987 h 1551620"/>
                  <a:gd name="connsiteX241" fmla="*/ 348161 w 1555246"/>
                  <a:gd name="connsiteY241" fmla="*/ 1067638 h 1551620"/>
                  <a:gd name="connsiteX242" fmla="*/ 336683 w 1555246"/>
                  <a:gd name="connsiteY242" fmla="*/ 1081029 h 1551620"/>
                  <a:gd name="connsiteX243" fmla="*/ 332857 w 1555246"/>
                  <a:gd name="connsiteY243" fmla="*/ 1096333 h 1551620"/>
                  <a:gd name="connsiteX244" fmla="*/ 329031 w 1555246"/>
                  <a:gd name="connsiteY244" fmla="*/ 1102072 h 1551620"/>
                  <a:gd name="connsiteX245" fmla="*/ 327118 w 1555246"/>
                  <a:gd name="connsiteY245" fmla="*/ 1113550 h 1551620"/>
                  <a:gd name="connsiteX246" fmla="*/ 321379 w 1555246"/>
                  <a:gd name="connsiteY246" fmla="*/ 1125028 h 1551620"/>
                  <a:gd name="connsiteX247" fmla="*/ 311815 w 1555246"/>
                  <a:gd name="connsiteY247" fmla="*/ 1140331 h 1551620"/>
                  <a:gd name="connsiteX248" fmla="*/ 309902 w 1555246"/>
                  <a:gd name="connsiteY248" fmla="*/ 1147983 h 1551620"/>
                  <a:gd name="connsiteX249" fmla="*/ 304163 w 1555246"/>
                  <a:gd name="connsiteY249" fmla="*/ 1172852 h 1551620"/>
                  <a:gd name="connsiteX250" fmla="*/ 294598 w 1555246"/>
                  <a:gd name="connsiteY250" fmla="*/ 1188156 h 1551620"/>
                  <a:gd name="connsiteX251" fmla="*/ 285033 w 1555246"/>
                  <a:gd name="connsiteY251" fmla="*/ 1211111 h 1551620"/>
                  <a:gd name="connsiteX252" fmla="*/ 283120 w 1555246"/>
                  <a:gd name="connsiteY252" fmla="*/ 1218763 h 1551620"/>
                  <a:gd name="connsiteX253" fmla="*/ 279294 w 1555246"/>
                  <a:gd name="connsiteY253" fmla="*/ 1237893 h 1551620"/>
                  <a:gd name="connsiteX254" fmla="*/ 275468 w 1555246"/>
                  <a:gd name="connsiteY254" fmla="*/ 1245545 h 1551620"/>
                  <a:gd name="connsiteX255" fmla="*/ 269729 w 1555246"/>
                  <a:gd name="connsiteY255" fmla="*/ 1258935 h 1551620"/>
                  <a:gd name="connsiteX256" fmla="*/ 260164 w 1555246"/>
                  <a:gd name="connsiteY256" fmla="*/ 1274239 h 1551620"/>
                  <a:gd name="connsiteX257" fmla="*/ 258251 w 1555246"/>
                  <a:gd name="connsiteY257" fmla="*/ 1281891 h 1551620"/>
                  <a:gd name="connsiteX258" fmla="*/ 250600 w 1555246"/>
                  <a:gd name="connsiteY258" fmla="*/ 1279978 h 1551620"/>
                  <a:gd name="connsiteX259" fmla="*/ 244861 w 1555246"/>
                  <a:gd name="connsiteY259" fmla="*/ 1278065 h 1551620"/>
                  <a:gd name="connsiteX260" fmla="*/ 246774 w 1555246"/>
                  <a:gd name="connsiteY260" fmla="*/ 1287630 h 1551620"/>
                  <a:gd name="connsiteX261" fmla="*/ 244861 w 1555246"/>
                  <a:gd name="connsiteY261" fmla="*/ 1302934 h 1551620"/>
                  <a:gd name="connsiteX262" fmla="*/ 250600 w 1555246"/>
                  <a:gd name="connsiteY262" fmla="*/ 1304847 h 1551620"/>
                  <a:gd name="connsiteX263" fmla="*/ 265903 w 1555246"/>
                  <a:gd name="connsiteY263" fmla="*/ 1318238 h 1551620"/>
                  <a:gd name="connsiteX264" fmla="*/ 263990 w 1555246"/>
                  <a:gd name="connsiteY264" fmla="*/ 1337367 h 1551620"/>
                  <a:gd name="connsiteX265" fmla="*/ 263990 w 1555246"/>
                  <a:gd name="connsiteY265" fmla="*/ 1358410 h 1551620"/>
                  <a:gd name="connsiteX266" fmla="*/ 271642 w 1555246"/>
                  <a:gd name="connsiteY266" fmla="*/ 1360323 h 1551620"/>
                  <a:gd name="connsiteX267" fmla="*/ 285033 w 1555246"/>
                  <a:gd name="connsiteY267" fmla="*/ 1364149 h 1551620"/>
                  <a:gd name="connsiteX268" fmla="*/ 290772 w 1555246"/>
                  <a:gd name="connsiteY268" fmla="*/ 1367975 h 1551620"/>
                  <a:gd name="connsiteX269" fmla="*/ 304163 w 1555246"/>
                  <a:gd name="connsiteY269" fmla="*/ 1377540 h 1551620"/>
                  <a:gd name="connsiteX270" fmla="*/ 323292 w 1555246"/>
                  <a:gd name="connsiteY270" fmla="*/ 1381366 h 1551620"/>
                  <a:gd name="connsiteX271" fmla="*/ 334770 w 1555246"/>
                  <a:gd name="connsiteY271" fmla="*/ 1389017 h 1551620"/>
                  <a:gd name="connsiteX272" fmla="*/ 346248 w 1555246"/>
                  <a:gd name="connsiteY272" fmla="*/ 1400495 h 1551620"/>
                  <a:gd name="connsiteX273" fmla="*/ 353900 w 1555246"/>
                  <a:gd name="connsiteY273" fmla="*/ 1425364 h 1551620"/>
                  <a:gd name="connsiteX274" fmla="*/ 382594 w 1555246"/>
                  <a:gd name="connsiteY274" fmla="*/ 1423451 h 1551620"/>
                  <a:gd name="connsiteX275" fmla="*/ 394072 w 1555246"/>
                  <a:gd name="connsiteY275" fmla="*/ 1419625 h 1551620"/>
                  <a:gd name="connsiteX276" fmla="*/ 413202 w 1555246"/>
                  <a:gd name="connsiteY276" fmla="*/ 1425364 h 1551620"/>
                  <a:gd name="connsiteX277" fmla="*/ 422767 w 1555246"/>
                  <a:gd name="connsiteY277" fmla="*/ 1434929 h 1551620"/>
                  <a:gd name="connsiteX278" fmla="*/ 428506 w 1555246"/>
                  <a:gd name="connsiteY278" fmla="*/ 1440668 h 1551620"/>
                  <a:gd name="connsiteX279" fmla="*/ 436158 w 1555246"/>
                  <a:gd name="connsiteY279" fmla="*/ 1452146 h 1551620"/>
                  <a:gd name="connsiteX280" fmla="*/ 455287 w 1555246"/>
                  <a:gd name="connsiteY280" fmla="*/ 1450233 h 1551620"/>
                  <a:gd name="connsiteX281" fmla="*/ 462939 w 1555246"/>
                  <a:gd name="connsiteY281" fmla="*/ 1448320 h 1551620"/>
                  <a:gd name="connsiteX282" fmla="*/ 480156 w 1555246"/>
                  <a:gd name="connsiteY282" fmla="*/ 1452146 h 1551620"/>
                  <a:gd name="connsiteX283" fmla="*/ 485895 w 1555246"/>
                  <a:gd name="connsiteY283" fmla="*/ 1455971 h 1551620"/>
                  <a:gd name="connsiteX284" fmla="*/ 493547 w 1555246"/>
                  <a:gd name="connsiteY284" fmla="*/ 1461710 h 1551620"/>
                  <a:gd name="connsiteX285" fmla="*/ 499286 w 1555246"/>
                  <a:gd name="connsiteY285" fmla="*/ 1463623 h 1551620"/>
                  <a:gd name="connsiteX286" fmla="*/ 520328 w 1555246"/>
                  <a:gd name="connsiteY286" fmla="*/ 1459797 h 1551620"/>
                  <a:gd name="connsiteX287" fmla="*/ 522241 w 1555246"/>
                  <a:gd name="connsiteY287" fmla="*/ 1454058 h 1551620"/>
                  <a:gd name="connsiteX288" fmla="*/ 529893 w 1555246"/>
                  <a:gd name="connsiteY288" fmla="*/ 1433016 h 1551620"/>
                  <a:gd name="connsiteX289" fmla="*/ 552849 w 1555246"/>
                  <a:gd name="connsiteY289" fmla="*/ 1434929 h 1551620"/>
                  <a:gd name="connsiteX290" fmla="*/ 570066 w 1555246"/>
                  <a:gd name="connsiteY290" fmla="*/ 1446407 h 1551620"/>
                  <a:gd name="connsiteX291" fmla="*/ 583456 w 1555246"/>
                  <a:gd name="connsiteY291" fmla="*/ 1455971 h 1551620"/>
                  <a:gd name="connsiteX292" fmla="*/ 600673 w 1555246"/>
                  <a:gd name="connsiteY292" fmla="*/ 1467449 h 1551620"/>
                  <a:gd name="connsiteX293" fmla="*/ 617890 w 1555246"/>
                  <a:gd name="connsiteY293" fmla="*/ 1477014 h 1551620"/>
                  <a:gd name="connsiteX294" fmla="*/ 625542 w 1555246"/>
                  <a:gd name="connsiteY294" fmla="*/ 1478927 h 1551620"/>
                  <a:gd name="connsiteX295" fmla="*/ 627455 w 1555246"/>
                  <a:gd name="connsiteY295" fmla="*/ 1484666 h 1551620"/>
                  <a:gd name="connsiteX296" fmla="*/ 633194 w 1555246"/>
                  <a:gd name="connsiteY296" fmla="*/ 1482753 h 1551620"/>
                  <a:gd name="connsiteX297" fmla="*/ 648497 w 1555246"/>
                  <a:gd name="connsiteY297" fmla="*/ 1480840 h 1551620"/>
                  <a:gd name="connsiteX298" fmla="*/ 658062 w 1555246"/>
                  <a:gd name="connsiteY298" fmla="*/ 1482753 h 1551620"/>
                  <a:gd name="connsiteX299" fmla="*/ 667627 w 1555246"/>
                  <a:gd name="connsiteY299" fmla="*/ 1494231 h 1551620"/>
                  <a:gd name="connsiteX300" fmla="*/ 669540 w 1555246"/>
                  <a:gd name="connsiteY300" fmla="*/ 1521012 h 1551620"/>
                  <a:gd name="connsiteX301" fmla="*/ 677192 w 1555246"/>
                  <a:gd name="connsiteY301" fmla="*/ 1526751 h 1551620"/>
                  <a:gd name="connsiteX302" fmla="*/ 688670 w 1555246"/>
                  <a:gd name="connsiteY302" fmla="*/ 1536316 h 1551620"/>
                  <a:gd name="connsiteX303" fmla="*/ 711625 w 1555246"/>
                  <a:gd name="connsiteY303" fmla="*/ 1528664 h 1551620"/>
                  <a:gd name="connsiteX304" fmla="*/ 734581 w 1555246"/>
                  <a:gd name="connsiteY304" fmla="*/ 1530577 h 1551620"/>
                  <a:gd name="connsiteX305" fmla="*/ 751798 w 1555246"/>
                  <a:gd name="connsiteY305" fmla="*/ 1545881 h 1551620"/>
                  <a:gd name="connsiteX306" fmla="*/ 767102 w 1555246"/>
                  <a:gd name="connsiteY306" fmla="*/ 1551620 h 1551620"/>
                  <a:gd name="connsiteX307" fmla="*/ 786231 w 1555246"/>
                  <a:gd name="connsiteY307" fmla="*/ 1547794 h 1551620"/>
                  <a:gd name="connsiteX308" fmla="*/ 793883 w 1555246"/>
                  <a:gd name="connsiteY308" fmla="*/ 1532490 h 1551620"/>
                  <a:gd name="connsiteX309" fmla="*/ 803448 w 1555246"/>
                  <a:gd name="connsiteY309" fmla="*/ 1528664 h 1551620"/>
                  <a:gd name="connsiteX310" fmla="*/ 841707 w 1555246"/>
                  <a:gd name="connsiteY310" fmla="*/ 1526751 h 1551620"/>
                  <a:gd name="connsiteX311" fmla="*/ 839794 w 1555246"/>
                  <a:gd name="connsiteY311" fmla="*/ 1494231 h 1551620"/>
                  <a:gd name="connsiteX312" fmla="*/ 832143 w 1555246"/>
                  <a:gd name="connsiteY312" fmla="*/ 1478927 h 1551620"/>
                  <a:gd name="connsiteX313" fmla="*/ 830230 w 1555246"/>
                  <a:gd name="connsiteY313" fmla="*/ 1471275 h 1551620"/>
                  <a:gd name="connsiteX314" fmla="*/ 835969 w 1555246"/>
                  <a:gd name="connsiteY314" fmla="*/ 1459797 h 1551620"/>
                  <a:gd name="connsiteX315" fmla="*/ 837882 w 1555246"/>
                  <a:gd name="connsiteY315" fmla="*/ 1440668 h 1551620"/>
                  <a:gd name="connsiteX316" fmla="*/ 839794 w 1555246"/>
                  <a:gd name="connsiteY316" fmla="*/ 1433016 h 1551620"/>
                  <a:gd name="connsiteX317" fmla="*/ 845533 w 1555246"/>
                  <a:gd name="connsiteY317" fmla="*/ 1429190 h 1551620"/>
                  <a:gd name="connsiteX318" fmla="*/ 858924 w 1555246"/>
                  <a:gd name="connsiteY318" fmla="*/ 1417712 h 1551620"/>
                  <a:gd name="connsiteX319" fmla="*/ 864663 w 1555246"/>
                  <a:gd name="connsiteY319" fmla="*/ 1415799 h 1551620"/>
                  <a:gd name="connsiteX320" fmla="*/ 870402 w 1555246"/>
                  <a:gd name="connsiteY320" fmla="*/ 1410060 h 1551620"/>
                  <a:gd name="connsiteX321" fmla="*/ 876141 w 1555246"/>
                  <a:gd name="connsiteY321" fmla="*/ 1406234 h 1551620"/>
                  <a:gd name="connsiteX322" fmla="*/ 879967 w 1555246"/>
                  <a:gd name="connsiteY322" fmla="*/ 1400495 h 1551620"/>
                  <a:gd name="connsiteX323" fmla="*/ 904835 w 1555246"/>
                  <a:gd name="connsiteY323" fmla="*/ 1387105 h 1551620"/>
                  <a:gd name="connsiteX324" fmla="*/ 910574 w 1555246"/>
                  <a:gd name="connsiteY324" fmla="*/ 1385192 h 1551620"/>
                  <a:gd name="connsiteX325" fmla="*/ 925878 w 1555246"/>
                  <a:gd name="connsiteY325" fmla="*/ 1381366 h 1551620"/>
                  <a:gd name="connsiteX326" fmla="*/ 943095 w 1555246"/>
                  <a:gd name="connsiteY326" fmla="*/ 1369888 h 1551620"/>
                  <a:gd name="connsiteX327" fmla="*/ 950747 w 1555246"/>
                  <a:gd name="connsiteY327" fmla="*/ 1366062 h 1551620"/>
                  <a:gd name="connsiteX328" fmla="*/ 971789 w 1555246"/>
                  <a:gd name="connsiteY328" fmla="*/ 1348845 h 1551620"/>
                  <a:gd name="connsiteX329" fmla="*/ 983267 w 1555246"/>
                  <a:gd name="connsiteY329" fmla="*/ 1354584 h 1551620"/>
                  <a:gd name="connsiteX330" fmla="*/ 987093 w 1555246"/>
                  <a:gd name="connsiteY330" fmla="*/ 1360323 h 1551620"/>
                  <a:gd name="connsiteX331" fmla="*/ 994745 w 1555246"/>
                  <a:gd name="connsiteY331" fmla="*/ 1362236 h 1551620"/>
                  <a:gd name="connsiteX332" fmla="*/ 1004310 w 1555246"/>
                  <a:gd name="connsiteY332" fmla="*/ 1366062 h 1551620"/>
                  <a:gd name="connsiteX333" fmla="*/ 1029179 w 1555246"/>
                  <a:gd name="connsiteY333" fmla="*/ 1369888 h 1551620"/>
                  <a:gd name="connsiteX334" fmla="*/ 1036830 w 1555246"/>
                  <a:gd name="connsiteY334" fmla="*/ 1371801 h 1551620"/>
                  <a:gd name="connsiteX335" fmla="*/ 1044482 w 1555246"/>
                  <a:gd name="connsiteY335" fmla="*/ 1375627 h 1551620"/>
                  <a:gd name="connsiteX336" fmla="*/ 1054047 w 1555246"/>
                  <a:gd name="connsiteY336" fmla="*/ 1377540 h 1551620"/>
                  <a:gd name="connsiteX337" fmla="*/ 1069351 w 1555246"/>
                  <a:gd name="connsiteY337" fmla="*/ 1383279 h 1551620"/>
                  <a:gd name="connsiteX338" fmla="*/ 1067438 w 1555246"/>
                  <a:gd name="connsiteY338" fmla="*/ 1375627 h 1551620"/>
                  <a:gd name="connsiteX339" fmla="*/ 1071264 w 1555246"/>
                  <a:gd name="connsiteY339" fmla="*/ 1383279 h 1551620"/>
                  <a:gd name="connsiteX340" fmla="*/ 1075090 w 1555246"/>
                  <a:gd name="connsiteY340" fmla="*/ 1392843 h 1551620"/>
                  <a:gd name="connsiteX341" fmla="*/ 1096133 w 1555246"/>
                  <a:gd name="connsiteY341" fmla="*/ 1390930 h 1551620"/>
                  <a:gd name="connsiteX342" fmla="*/ 1111436 w 1555246"/>
                  <a:gd name="connsiteY342" fmla="*/ 1358410 h 1551620"/>
                  <a:gd name="connsiteX343" fmla="*/ 1113349 w 1555246"/>
                  <a:gd name="connsiteY343" fmla="*/ 1392843 h 1551620"/>
                  <a:gd name="connsiteX344" fmla="*/ 1103784 w 1555246"/>
                  <a:gd name="connsiteY344" fmla="*/ 1394756 h 1551620"/>
                  <a:gd name="connsiteX345" fmla="*/ 1138218 w 1555246"/>
                  <a:gd name="connsiteY345" fmla="*/ 1396669 h 1551620"/>
                  <a:gd name="connsiteX346" fmla="*/ 1140131 w 1555246"/>
                  <a:gd name="connsiteY346" fmla="*/ 1402408 h 1551620"/>
                  <a:gd name="connsiteX347" fmla="*/ 1142044 w 1555246"/>
                  <a:gd name="connsiteY347" fmla="*/ 1415799 h 1551620"/>
                  <a:gd name="connsiteX348" fmla="*/ 1168825 w 1555246"/>
                  <a:gd name="connsiteY348" fmla="*/ 1423451 h 1551620"/>
                  <a:gd name="connsiteX349" fmla="*/ 1182216 w 1555246"/>
                  <a:gd name="connsiteY349" fmla="*/ 1427277 h 1551620"/>
                  <a:gd name="connsiteX350" fmla="*/ 1187955 w 1555246"/>
                  <a:gd name="connsiteY350" fmla="*/ 1429190 h 1551620"/>
                  <a:gd name="connsiteX351" fmla="*/ 1191781 w 1555246"/>
                  <a:gd name="connsiteY351" fmla="*/ 1434929 h 1551620"/>
                  <a:gd name="connsiteX352" fmla="*/ 1193694 w 1555246"/>
                  <a:gd name="connsiteY352" fmla="*/ 1446407 h 1551620"/>
                  <a:gd name="connsiteX353" fmla="*/ 1195607 w 1555246"/>
                  <a:gd name="connsiteY353" fmla="*/ 1454058 h 1551620"/>
                  <a:gd name="connsiteX354" fmla="*/ 1210911 w 1555246"/>
                  <a:gd name="connsiteY354" fmla="*/ 1450233 h 1551620"/>
                  <a:gd name="connsiteX355" fmla="*/ 1224302 w 1555246"/>
                  <a:gd name="connsiteY355" fmla="*/ 1452146 h 1551620"/>
                  <a:gd name="connsiteX356" fmla="*/ 1230041 w 1555246"/>
                  <a:gd name="connsiteY356" fmla="*/ 1448320 h 1551620"/>
                  <a:gd name="connsiteX357" fmla="*/ 1233866 w 1555246"/>
                  <a:gd name="connsiteY357" fmla="*/ 1455971 h 1551620"/>
                  <a:gd name="connsiteX358" fmla="*/ 1235779 w 1555246"/>
                  <a:gd name="connsiteY358" fmla="*/ 1461710 h 1551620"/>
                  <a:gd name="connsiteX359" fmla="*/ 1239605 w 1555246"/>
                  <a:gd name="connsiteY359" fmla="*/ 1467449 h 1551620"/>
                  <a:gd name="connsiteX360" fmla="*/ 1256822 w 1555246"/>
                  <a:gd name="connsiteY360" fmla="*/ 1448320 h 1551620"/>
                  <a:gd name="connsiteX361" fmla="*/ 1272126 w 1555246"/>
                  <a:gd name="connsiteY361" fmla="*/ 1444494 h 1551620"/>
                  <a:gd name="connsiteX362" fmla="*/ 1300820 w 1555246"/>
                  <a:gd name="connsiteY362" fmla="*/ 1442581 h 1551620"/>
                  <a:gd name="connsiteX363" fmla="*/ 1310385 w 1555246"/>
                  <a:gd name="connsiteY363" fmla="*/ 1440668 h 1551620"/>
                  <a:gd name="connsiteX364" fmla="*/ 1312298 w 1555246"/>
                  <a:gd name="connsiteY364" fmla="*/ 1434929 h 1551620"/>
                  <a:gd name="connsiteX365" fmla="*/ 1318037 w 1555246"/>
                  <a:gd name="connsiteY365" fmla="*/ 1421538 h 1551620"/>
                  <a:gd name="connsiteX366" fmla="*/ 1319950 w 1555246"/>
                  <a:gd name="connsiteY366" fmla="*/ 1413886 h 1551620"/>
                  <a:gd name="connsiteX367" fmla="*/ 1323776 w 1555246"/>
                  <a:gd name="connsiteY367" fmla="*/ 1408147 h 1551620"/>
                  <a:gd name="connsiteX368" fmla="*/ 1337167 w 1555246"/>
                  <a:gd name="connsiteY368" fmla="*/ 1396669 h 1551620"/>
                  <a:gd name="connsiteX369" fmla="*/ 1346732 w 1555246"/>
                  <a:gd name="connsiteY369" fmla="*/ 1390930 h 1551620"/>
                  <a:gd name="connsiteX370" fmla="*/ 1360123 w 1555246"/>
                  <a:gd name="connsiteY370" fmla="*/ 1389017 h 1551620"/>
                  <a:gd name="connsiteX371" fmla="*/ 1365861 w 1555246"/>
                  <a:gd name="connsiteY371" fmla="*/ 1387105 h 1551620"/>
                  <a:gd name="connsiteX372" fmla="*/ 1367774 w 1555246"/>
                  <a:gd name="connsiteY372" fmla="*/ 1381366 h 1551620"/>
                  <a:gd name="connsiteX373" fmla="*/ 1369687 w 1555246"/>
                  <a:gd name="connsiteY373" fmla="*/ 1367975 h 1551620"/>
                  <a:gd name="connsiteX374" fmla="*/ 1373513 w 1555246"/>
                  <a:gd name="connsiteY374" fmla="*/ 1362236 h 1551620"/>
                  <a:gd name="connsiteX375" fmla="*/ 1381165 w 1555246"/>
                  <a:gd name="connsiteY375" fmla="*/ 1352671 h 1551620"/>
                  <a:gd name="connsiteX376" fmla="*/ 1386904 w 1555246"/>
                  <a:gd name="connsiteY376" fmla="*/ 1350758 h 1551620"/>
                  <a:gd name="connsiteX377" fmla="*/ 1400295 w 1555246"/>
                  <a:gd name="connsiteY377" fmla="*/ 1345019 h 1551620"/>
                  <a:gd name="connsiteX378" fmla="*/ 1413686 w 1555246"/>
                  <a:gd name="connsiteY378" fmla="*/ 1343106 h 1551620"/>
                  <a:gd name="connsiteX379" fmla="*/ 1430902 w 1555246"/>
                  <a:gd name="connsiteY379" fmla="*/ 1327802 h 1551620"/>
                  <a:gd name="connsiteX380" fmla="*/ 1440467 w 1555246"/>
                  <a:gd name="connsiteY380" fmla="*/ 1310586 h 1551620"/>
                  <a:gd name="connsiteX381" fmla="*/ 1442380 w 1555246"/>
                  <a:gd name="connsiteY381" fmla="*/ 1304847 h 1551620"/>
                  <a:gd name="connsiteX382" fmla="*/ 1453858 w 1555246"/>
                  <a:gd name="connsiteY382" fmla="*/ 1299108 h 1551620"/>
                  <a:gd name="connsiteX383" fmla="*/ 1451945 w 1555246"/>
                  <a:gd name="connsiteY383" fmla="*/ 1270413 h 1551620"/>
                  <a:gd name="connsiteX384" fmla="*/ 1436641 w 1555246"/>
                  <a:gd name="connsiteY384" fmla="*/ 1272326 h 1551620"/>
                  <a:gd name="connsiteX385" fmla="*/ 1404121 w 1555246"/>
                  <a:gd name="connsiteY385" fmla="*/ 1268500 h 1551620"/>
                  <a:gd name="connsiteX386" fmla="*/ 1398382 w 1555246"/>
                  <a:gd name="connsiteY386" fmla="*/ 1262761 h 1551620"/>
                  <a:gd name="connsiteX387" fmla="*/ 1379252 w 1555246"/>
                  <a:gd name="connsiteY387" fmla="*/ 1255110 h 1551620"/>
                  <a:gd name="connsiteX388" fmla="*/ 1369687 w 1555246"/>
                  <a:gd name="connsiteY388" fmla="*/ 1247458 h 1551620"/>
                  <a:gd name="connsiteX389" fmla="*/ 1354384 w 1555246"/>
                  <a:gd name="connsiteY389" fmla="*/ 1218763 h 1551620"/>
                  <a:gd name="connsiteX390" fmla="*/ 1352471 w 1555246"/>
                  <a:gd name="connsiteY390" fmla="*/ 1190069 h 1551620"/>
                  <a:gd name="connsiteX391" fmla="*/ 1360123 w 1555246"/>
                  <a:gd name="connsiteY391" fmla="*/ 1188156 h 1551620"/>
                  <a:gd name="connsiteX392" fmla="*/ 1365861 w 1555246"/>
                  <a:gd name="connsiteY392" fmla="*/ 1184330 h 1551620"/>
                  <a:gd name="connsiteX393" fmla="*/ 1367774 w 1555246"/>
                  <a:gd name="connsiteY393" fmla="*/ 1174765 h 1551620"/>
                  <a:gd name="connsiteX394" fmla="*/ 1373513 w 1555246"/>
                  <a:gd name="connsiteY394" fmla="*/ 1159461 h 1551620"/>
                  <a:gd name="connsiteX395" fmla="*/ 1371600 w 1555246"/>
                  <a:gd name="connsiteY395" fmla="*/ 1144157 h 1551620"/>
                  <a:gd name="connsiteX396" fmla="*/ 1340993 w 1555246"/>
                  <a:gd name="connsiteY396" fmla="*/ 1151809 h 1551620"/>
                  <a:gd name="connsiteX397" fmla="*/ 1337167 w 1555246"/>
                  <a:gd name="connsiteY397" fmla="*/ 1140331 h 1551620"/>
                  <a:gd name="connsiteX398" fmla="*/ 1333341 w 1555246"/>
                  <a:gd name="connsiteY398" fmla="*/ 1128853 h 1551620"/>
                  <a:gd name="connsiteX399" fmla="*/ 1327602 w 1555246"/>
                  <a:gd name="connsiteY399" fmla="*/ 1107811 h 1551620"/>
                  <a:gd name="connsiteX400" fmla="*/ 1329515 w 1555246"/>
                  <a:gd name="connsiteY400" fmla="*/ 1102072 h 1551620"/>
                  <a:gd name="connsiteX401" fmla="*/ 1331428 w 1555246"/>
                  <a:gd name="connsiteY401" fmla="*/ 1092507 h 1551620"/>
                  <a:gd name="connsiteX402" fmla="*/ 1339080 w 1555246"/>
                  <a:gd name="connsiteY402" fmla="*/ 1088681 h 1551620"/>
                  <a:gd name="connsiteX403" fmla="*/ 1344819 w 1555246"/>
                  <a:gd name="connsiteY403" fmla="*/ 1090594 h 1551620"/>
                  <a:gd name="connsiteX404" fmla="*/ 1350558 w 1555246"/>
                  <a:gd name="connsiteY404" fmla="*/ 1094420 h 1551620"/>
                  <a:gd name="connsiteX405" fmla="*/ 1377339 w 1555246"/>
                  <a:gd name="connsiteY405" fmla="*/ 1092507 h 1551620"/>
                  <a:gd name="connsiteX406" fmla="*/ 1383078 w 1555246"/>
                  <a:gd name="connsiteY406" fmla="*/ 1079116 h 1551620"/>
                  <a:gd name="connsiteX407" fmla="*/ 1388817 w 1555246"/>
                  <a:gd name="connsiteY407" fmla="*/ 1075290 h 1551620"/>
                  <a:gd name="connsiteX408" fmla="*/ 1392643 w 1555246"/>
                  <a:gd name="connsiteY408" fmla="*/ 1069551 h 1551620"/>
                  <a:gd name="connsiteX409" fmla="*/ 1398382 w 1555246"/>
                  <a:gd name="connsiteY409" fmla="*/ 1065725 h 1551620"/>
                  <a:gd name="connsiteX410" fmla="*/ 1406890 w 1555246"/>
                  <a:gd name="connsiteY410" fmla="*/ 1035118 h 1551620"/>
                  <a:gd name="connsiteX411" fmla="*/ 1375426 w 1555246"/>
                  <a:gd name="connsiteY411" fmla="*/ 1019814 h 1551620"/>
                  <a:gd name="connsiteX412" fmla="*/ 1369687 w 1555246"/>
                  <a:gd name="connsiteY412" fmla="*/ 998771 h 1551620"/>
                  <a:gd name="connsiteX413" fmla="*/ 1362035 w 1555246"/>
                  <a:gd name="connsiteY413" fmla="*/ 991120 h 1551620"/>
                  <a:gd name="connsiteX414" fmla="*/ 1358210 w 1555246"/>
                  <a:gd name="connsiteY414" fmla="*/ 975816 h 1551620"/>
                  <a:gd name="connsiteX415" fmla="*/ 1362035 w 1555246"/>
                  <a:gd name="connsiteY415" fmla="*/ 956686 h 1551620"/>
                  <a:gd name="connsiteX416" fmla="*/ 1337167 w 1555246"/>
                  <a:gd name="connsiteY416" fmla="*/ 954773 h 1551620"/>
                  <a:gd name="connsiteX417" fmla="*/ 1346732 w 1555246"/>
                  <a:gd name="connsiteY417" fmla="*/ 954773 h 1551620"/>
                  <a:gd name="connsiteX418" fmla="*/ 1367774 w 1555246"/>
                  <a:gd name="connsiteY418" fmla="*/ 949034 h 1551620"/>
                  <a:gd name="connsiteX419" fmla="*/ 1386904 w 1555246"/>
                  <a:gd name="connsiteY419" fmla="*/ 941382 h 1551620"/>
                  <a:gd name="connsiteX420" fmla="*/ 1383078 w 1555246"/>
                  <a:gd name="connsiteY420" fmla="*/ 920340 h 1551620"/>
                  <a:gd name="connsiteX421" fmla="*/ 1373513 w 1555246"/>
                  <a:gd name="connsiteY421" fmla="*/ 916514 h 1551620"/>
                  <a:gd name="connsiteX422" fmla="*/ 1367774 w 1555246"/>
                  <a:gd name="connsiteY422" fmla="*/ 912688 h 1551620"/>
                  <a:gd name="connsiteX423" fmla="*/ 1363948 w 1555246"/>
                  <a:gd name="connsiteY423" fmla="*/ 905036 h 1551620"/>
                  <a:gd name="connsiteX424" fmla="*/ 1367774 w 1555246"/>
                  <a:gd name="connsiteY424" fmla="*/ 880167 h 1551620"/>
                  <a:gd name="connsiteX425" fmla="*/ 1365861 w 1555246"/>
                  <a:gd name="connsiteY425" fmla="*/ 853386 h 1551620"/>
                  <a:gd name="connsiteX426" fmla="*/ 1352471 w 1555246"/>
                  <a:gd name="connsiteY426" fmla="*/ 849560 h 1551620"/>
                  <a:gd name="connsiteX427" fmla="*/ 1346732 w 1555246"/>
                  <a:gd name="connsiteY427" fmla="*/ 845734 h 1551620"/>
                  <a:gd name="connsiteX428" fmla="*/ 1331428 w 1555246"/>
                  <a:gd name="connsiteY428" fmla="*/ 841908 h 1551620"/>
                  <a:gd name="connsiteX429" fmla="*/ 1302733 w 1555246"/>
                  <a:gd name="connsiteY429" fmla="*/ 853386 h 1551620"/>
                  <a:gd name="connsiteX430" fmla="*/ 1298907 w 1555246"/>
                  <a:gd name="connsiteY430" fmla="*/ 859125 h 1551620"/>
                  <a:gd name="connsiteX431" fmla="*/ 1293169 w 1555246"/>
                  <a:gd name="connsiteY431" fmla="*/ 868689 h 1551620"/>
                  <a:gd name="connsiteX432" fmla="*/ 1298907 w 1555246"/>
                  <a:gd name="connsiteY432" fmla="*/ 885906 h 1551620"/>
                  <a:gd name="connsiteX433" fmla="*/ 1300820 w 1555246"/>
                  <a:gd name="connsiteY433" fmla="*/ 891645 h 1551620"/>
                  <a:gd name="connsiteX434" fmla="*/ 1296994 w 1555246"/>
                  <a:gd name="connsiteY434" fmla="*/ 903123 h 1551620"/>
                  <a:gd name="connsiteX435" fmla="*/ 1289343 w 1555246"/>
                  <a:gd name="connsiteY435" fmla="*/ 905036 h 1551620"/>
                  <a:gd name="connsiteX436" fmla="*/ 1256822 w 1555246"/>
                  <a:gd name="connsiteY436" fmla="*/ 901210 h 1551620"/>
                  <a:gd name="connsiteX437" fmla="*/ 1262561 w 1555246"/>
                  <a:gd name="connsiteY437" fmla="*/ 882080 h 1551620"/>
                  <a:gd name="connsiteX438" fmla="*/ 1272126 w 1555246"/>
                  <a:gd name="connsiteY438" fmla="*/ 880167 h 1551620"/>
                  <a:gd name="connsiteX439" fmla="*/ 1283604 w 1555246"/>
                  <a:gd name="connsiteY439" fmla="*/ 828517 h 1551620"/>
                  <a:gd name="connsiteX440" fmla="*/ 1298907 w 1555246"/>
                  <a:gd name="connsiteY440" fmla="*/ 811300 h 1551620"/>
                  <a:gd name="connsiteX441" fmla="*/ 1306559 w 1555246"/>
                  <a:gd name="connsiteY441" fmla="*/ 805561 h 1551620"/>
                  <a:gd name="connsiteX442" fmla="*/ 1316124 w 1555246"/>
                  <a:gd name="connsiteY442" fmla="*/ 780693 h 1551620"/>
                  <a:gd name="connsiteX443" fmla="*/ 1342906 w 1555246"/>
                  <a:gd name="connsiteY443" fmla="*/ 757737 h 1551620"/>
                  <a:gd name="connsiteX444" fmla="*/ 1346732 w 1555246"/>
                  <a:gd name="connsiteY444" fmla="*/ 751998 h 1551620"/>
                  <a:gd name="connsiteX445" fmla="*/ 1348645 w 1555246"/>
                  <a:gd name="connsiteY445" fmla="*/ 746259 h 1551620"/>
                  <a:gd name="connsiteX446" fmla="*/ 1360123 w 1555246"/>
                  <a:gd name="connsiteY446" fmla="*/ 732869 h 1551620"/>
                  <a:gd name="connsiteX447" fmla="*/ 1363948 w 1555246"/>
                  <a:gd name="connsiteY447" fmla="*/ 727130 h 1551620"/>
                  <a:gd name="connsiteX448" fmla="*/ 1375426 w 1555246"/>
                  <a:gd name="connsiteY448" fmla="*/ 723304 h 1551620"/>
                  <a:gd name="connsiteX449" fmla="*/ 1398382 w 1555246"/>
                  <a:gd name="connsiteY449" fmla="*/ 713739 h 1551620"/>
                  <a:gd name="connsiteX450" fmla="*/ 1404121 w 1555246"/>
                  <a:gd name="connsiteY450" fmla="*/ 709913 h 1551620"/>
                  <a:gd name="connsiteX451" fmla="*/ 1394556 w 1555246"/>
                  <a:gd name="connsiteY451" fmla="*/ 700348 h 1551620"/>
                  <a:gd name="connsiteX452" fmla="*/ 1388817 w 1555246"/>
                  <a:gd name="connsiteY452" fmla="*/ 692696 h 1551620"/>
                  <a:gd name="connsiteX453" fmla="*/ 1404121 w 1555246"/>
                  <a:gd name="connsiteY453" fmla="*/ 669740 h 1551620"/>
                  <a:gd name="connsiteX454" fmla="*/ 1413686 w 1555246"/>
                  <a:gd name="connsiteY454" fmla="*/ 675479 h 1551620"/>
                  <a:gd name="connsiteX455" fmla="*/ 1450032 w 1555246"/>
                  <a:gd name="connsiteY455" fmla="*/ 673566 h 1551620"/>
                  <a:gd name="connsiteX456" fmla="*/ 1457684 w 1555246"/>
                  <a:gd name="connsiteY456" fmla="*/ 660176 h 1551620"/>
                  <a:gd name="connsiteX457" fmla="*/ 1465336 w 1555246"/>
                  <a:gd name="connsiteY457" fmla="*/ 618090 h 1551620"/>
                  <a:gd name="connsiteX458" fmla="*/ 1472988 w 1555246"/>
                  <a:gd name="connsiteY458" fmla="*/ 572179 h 1551620"/>
                  <a:gd name="connsiteX459" fmla="*/ 1474901 w 1555246"/>
                  <a:gd name="connsiteY459" fmla="*/ 554962 h 1551620"/>
                  <a:gd name="connsiteX460" fmla="*/ 1484466 w 1555246"/>
                  <a:gd name="connsiteY460" fmla="*/ 526268 h 1551620"/>
                  <a:gd name="connsiteX461" fmla="*/ 1486379 w 1555246"/>
                  <a:gd name="connsiteY461" fmla="*/ 497573 h 1551620"/>
                  <a:gd name="connsiteX462" fmla="*/ 1490205 w 1555246"/>
                  <a:gd name="connsiteY462" fmla="*/ 491834 h 1551620"/>
                  <a:gd name="connsiteX463" fmla="*/ 1492117 w 1555246"/>
                  <a:gd name="connsiteY463" fmla="*/ 480356 h 1551620"/>
                  <a:gd name="connsiteX464" fmla="*/ 1495943 w 1555246"/>
                  <a:gd name="connsiteY464" fmla="*/ 474617 h 1551620"/>
                  <a:gd name="connsiteX465" fmla="*/ 1511247 w 1555246"/>
                  <a:gd name="connsiteY465" fmla="*/ 451662 h 1551620"/>
                  <a:gd name="connsiteX466" fmla="*/ 1524638 w 1555246"/>
                  <a:gd name="connsiteY466" fmla="*/ 438271 h 1551620"/>
                  <a:gd name="connsiteX467" fmla="*/ 1534203 w 1555246"/>
                  <a:gd name="connsiteY467" fmla="*/ 428706 h 1551620"/>
                  <a:gd name="connsiteX468" fmla="*/ 1551420 w 1555246"/>
                  <a:gd name="connsiteY468" fmla="*/ 415315 h 1551620"/>
                  <a:gd name="connsiteX469" fmla="*/ 1555246 w 1555246"/>
                  <a:gd name="connsiteY469" fmla="*/ 409576 h 1551620"/>
                  <a:gd name="connsiteX470" fmla="*/ 1549507 w 1555246"/>
                  <a:gd name="connsiteY470" fmla="*/ 403838 h 1551620"/>
                  <a:gd name="connsiteX471" fmla="*/ 1524638 w 1555246"/>
                  <a:gd name="connsiteY471" fmla="*/ 400012 h 1551620"/>
                  <a:gd name="connsiteX472" fmla="*/ 1501682 w 1555246"/>
                  <a:gd name="connsiteY472" fmla="*/ 394273 h 1551620"/>
                  <a:gd name="connsiteX473" fmla="*/ 1494030 w 1555246"/>
                  <a:gd name="connsiteY473" fmla="*/ 392360 h 1551620"/>
                  <a:gd name="connsiteX474" fmla="*/ 1484466 w 1555246"/>
                  <a:gd name="connsiteY474" fmla="*/ 390447 h 1551620"/>
                  <a:gd name="connsiteX475" fmla="*/ 1471075 w 1555246"/>
                  <a:gd name="connsiteY475" fmla="*/ 384708 h 1551620"/>
                  <a:gd name="connsiteX476" fmla="*/ 1459597 w 1555246"/>
                  <a:gd name="connsiteY476" fmla="*/ 375143 h 1551620"/>
                  <a:gd name="connsiteX477" fmla="*/ 1404121 w 1555246"/>
                  <a:gd name="connsiteY477" fmla="*/ 373230 h 1551620"/>
                  <a:gd name="connsiteX478" fmla="*/ 1392643 w 1555246"/>
                  <a:gd name="connsiteY478" fmla="*/ 369404 h 1551620"/>
                  <a:gd name="connsiteX479" fmla="*/ 1377339 w 1555246"/>
                  <a:gd name="connsiteY479" fmla="*/ 371317 h 1551620"/>
                  <a:gd name="connsiteX480" fmla="*/ 1373513 w 1555246"/>
                  <a:gd name="connsiteY480" fmla="*/ 363665 h 1551620"/>
                  <a:gd name="connsiteX481" fmla="*/ 1371600 w 1555246"/>
                  <a:gd name="connsiteY481" fmla="*/ 357926 h 1551620"/>
                  <a:gd name="connsiteX482" fmla="*/ 1369687 w 1555246"/>
                  <a:gd name="connsiteY482" fmla="*/ 350274 h 1551620"/>
                  <a:gd name="connsiteX483" fmla="*/ 1358210 w 1555246"/>
                  <a:gd name="connsiteY483" fmla="*/ 334971 h 1551620"/>
                  <a:gd name="connsiteX484" fmla="*/ 1335254 w 1555246"/>
                  <a:gd name="connsiteY484" fmla="*/ 323493 h 1551620"/>
                  <a:gd name="connsiteX485" fmla="*/ 1304646 w 1555246"/>
                  <a:gd name="connsiteY485" fmla="*/ 321580 h 1551620"/>
                  <a:gd name="connsiteX486" fmla="*/ 1298907 w 1555246"/>
                  <a:gd name="connsiteY486" fmla="*/ 313928 h 1551620"/>
                  <a:gd name="connsiteX487" fmla="*/ 1293169 w 1555246"/>
                  <a:gd name="connsiteY487" fmla="*/ 312015 h 1551620"/>
                  <a:gd name="connsiteX488" fmla="*/ 1277865 w 1555246"/>
                  <a:gd name="connsiteY488" fmla="*/ 306276 h 1551620"/>
                  <a:gd name="connsiteX489" fmla="*/ 1268300 w 1555246"/>
                  <a:gd name="connsiteY489" fmla="*/ 300537 h 1551620"/>
                  <a:gd name="connsiteX490" fmla="*/ 1258735 w 1555246"/>
                  <a:gd name="connsiteY490" fmla="*/ 292885 h 1551620"/>
                  <a:gd name="connsiteX491" fmla="*/ 1203259 w 1555246"/>
                  <a:gd name="connsiteY491" fmla="*/ 289059 h 1551620"/>
                  <a:gd name="connsiteX492" fmla="*/ 1195607 w 1555246"/>
                  <a:gd name="connsiteY492" fmla="*/ 275669 h 1551620"/>
                  <a:gd name="connsiteX493" fmla="*/ 1193694 w 1555246"/>
                  <a:gd name="connsiteY493" fmla="*/ 268017 h 1551620"/>
                  <a:gd name="connsiteX494" fmla="*/ 1180303 w 1555246"/>
                  <a:gd name="connsiteY494" fmla="*/ 256539 h 1551620"/>
                  <a:gd name="connsiteX495" fmla="*/ 1166912 w 1555246"/>
                  <a:gd name="connsiteY495" fmla="*/ 233583 h 1551620"/>
                  <a:gd name="connsiteX496" fmla="*/ 1165000 w 1555246"/>
                  <a:gd name="connsiteY496" fmla="*/ 197237 h 1551620"/>
                  <a:gd name="connsiteX497" fmla="*/ 1172651 w 1555246"/>
                  <a:gd name="connsiteY497" fmla="*/ 181933 h 1551620"/>
                  <a:gd name="connsiteX498" fmla="*/ 1166912 w 1555246"/>
                  <a:gd name="connsiteY498" fmla="*/ 180020 h 1551620"/>
                  <a:gd name="connsiteX499" fmla="*/ 1153522 w 1555246"/>
                  <a:gd name="connsiteY499" fmla="*/ 178107 h 1551620"/>
                  <a:gd name="connsiteX500" fmla="*/ 1128653 w 1555246"/>
                  <a:gd name="connsiteY500" fmla="*/ 185759 h 1551620"/>
                  <a:gd name="connsiteX501" fmla="*/ 1124827 w 1555246"/>
                  <a:gd name="connsiteY501" fmla="*/ 191498 h 1551620"/>
                  <a:gd name="connsiteX502" fmla="*/ 1130566 w 1555246"/>
                  <a:gd name="connsiteY502" fmla="*/ 193411 h 1551620"/>
                  <a:gd name="connsiteX503" fmla="*/ 1111436 w 1555246"/>
                  <a:gd name="connsiteY503" fmla="*/ 202976 h 1551620"/>
                  <a:gd name="connsiteX504" fmla="*/ 1098046 w 1555246"/>
                  <a:gd name="connsiteY504" fmla="*/ 210628 h 1551620"/>
                  <a:gd name="connsiteX505" fmla="*/ 1088481 w 1555246"/>
                  <a:gd name="connsiteY505" fmla="*/ 199150 h 1551620"/>
                  <a:gd name="connsiteX506" fmla="*/ 1092307 w 1555246"/>
                  <a:gd name="connsiteY506" fmla="*/ 183846 h 1551620"/>
                  <a:gd name="connsiteX507" fmla="*/ 1080829 w 1555246"/>
                  <a:gd name="connsiteY507" fmla="*/ 151325 h 1551620"/>
                  <a:gd name="connsiteX508" fmla="*/ 1067438 w 1555246"/>
                  <a:gd name="connsiteY508" fmla="*/ 149412 h 1551620"/>
                  <a:gd name="connsiteX509" fmla="*/ 1055960 w 1555246"/>
                  <a:gd name="connsiteY509" fmla="*/ 143674 h 1551620"/>
                  <a:gd name="connsiteX510" fmla="*/ 1044482 w 1555246"/>
                  <a:gd name="connsiteY510" fmla="*/ 139848 h 1551620"/>
                  <a:gd name="connsiteX511" fmla="*/ 1033005 w 1555246"/>
                  <a:gd name="connsiteY511" fmla="*/ 124544 h 1551620"/>
                  <a:gd name="connsiteX512" fmla="*/ 1027266 w 1555246"/>
                  <a:gd name="connsiteY512" fmla="*/ 118805 h 1551620"/>
                  <a:gd name="connsiteX513" fmla="*/ 1021527 w 1555246"/>
                  <a:gd name="connsiteY513" fmla="*/ 114979 h 1551620"/>
                  <a:gd name="connsiteX514" fmla="*/ 1010049 w 1555246"/>
                  <a:gd name="connsiteY514" fmla="*/ 101588 h 1551620"/>
                  <a:gd name="connsiteX515" fmla="*/ 1008136 w 1555246"/>
                  <a:gd name="connsiteY515" fmla="*/ 90110 h 1551620"/>
                  <a:gd name="connsiteX516" fmla="*/ 998571 w 1555246"/>
                  <a:gd name="connsiteY516" fmla="*/ 74807 h 1551620"/>
                  <a:gd name="connsiteX517" fmla="*/ 996658 w 1555246"/>
                  <a:gd name="connsiteY517" fmla="*/ 48025 h 1551620"/>
                  <a:gd name="connsiteX518" fmla="*/ 989006 w 1555246"/>
                  <a:gd name="connsiteY518" fmla="*/ 42286 h 1551620"/>
                  <a:gd name="connsiteX519" fmla="*/ 950747 w 1555246"/>
                  <a:gd name="connsiteY519" fmla="*/ 40373 h 1551620"/>
                  <a:gd name="connsiteX520" fmla="*/ 943095 w 1555246"/>
                  <a:gd name="connsiteY520" fmla="*/ 34634 h 1551620"/>
                  <a:gd name="connsiteX521" fmla="*/ 925878 w 1555246"/>
                  <a:gd name="connsiteY521" fmla="*/ 23156 h 1551620"/>
                  <a:gd name="connsiteX522" fmla="*/ 922052 w 1555246"/>
                  <a:gd name="connsiteY522" fmla="*/ 13592 h 1551620"/>
                  <a:gd name="connsiteX523" fmla="*/ 918226 w 1555246"/>
                  <a:gd name="connsiteY523" fmla="*/ 7853 h 1551620"/>
                  <a:gd name="connsiteX524" fmla="*/ 920139 w 1555246"/>
                  <a:gd name="connsiteY524" fmla="*/ 2114 h 1551620"/>
                  <a:gd name="connsiteX0" fmla="*/ 920139 w 1555246"/>
                  <a:gd name="connsiteY0" fmla="*/ 2114 h 1551620"/>
                  <a:gd name="connsiteX1" fmla="*/ 872315 w 1555246"/>
                  <a:gd name="connsiteY1" fmla="*/ 201 h 1551620"/>
                  <a:gd name="connsiteX2" fmla="*/ 835969 w 1555246"/>
                  <a:gd name="connsiteY2" fmla="*/ 5940 h 1551620"/>
                  <a:gd name="connsiteX3" fmla="*/ 830230 w 1555246"/>
                  <a:gd name="connsiteY3" fmla="*/ 9766 h 1551620"/>
                  <a:gd name="connsiteX4" fmla="*/ 822578 w 1555246"/>
                  <a:gd name="connsiteY4" fmla="*/ 11679 h 1551620"/>
                  <a:gd name="connsiteX5" fmla="*/ 816839 w 1555246"/>
                  <a:gd name="connsiteY5" fmla="*/ 19330 h 1551620"/>
                  <a:gd name="connsiteX6" fmla="*/ 813013 w 1555246"/>
                  <a:gd name="connsiteY6" fmla="*/ 32721 h 1551620"/>
                  <a:gd name="connsiteX7" fmla="*/ 805361 w 1555246"/>
                  <a:gd name="connsiteY7" fmla="*/ 44199 h 1551620"/>
                  <a:gd name="connsiteX8" fmla="*/ 801535 w 1555246"/>
                  <a:gd name="connsiteY8" fmla="*/ 63329 h 1551620"/>
                  <a:gd name="connsiteX9" fmla="*/ 797709 w 1555246"/>
                  <a:gd name="connsiteY9" fmla="*/ 78633 h 1551620"/>
                  <a:gd name="connsiteX10" fmla="*/ 795796 w 1555246"/>
                  <a:gd name="connsiteY10" fmla="*/ 88197 h 1551620"/>
                  <a:gd name="connsiteX11" fmla="*/ 791970 w 1555246"/>
                  <a:gd name="connsiteY11" fmla="*/ 97762 h 1551620"/>
                  <a:gd name="connsiteX12" fmla="*/ 790057 w 1555246"/>
                  <a:gd name="connsiteY12" fmla="*/ 103501 h 1551620"/>
                  <a:gd name="connsiteX13" fmla="*/ 788144 w 1555246"/>
                  <a:gd name="connsiteY13" fmla="*/ 113066 h 1551620"/>
                  <a:gd name="connsiteX14" fmla="*/ 774753 w 1555246"/>
                  <a:gd name="connsiteY14" fmla="*/ 132196 h 1551620"/>
                  <a:gd name="connsiteX15" fmla="*/ 770928 w 1555246"/>
                  <a:gd name="connsiteY15" fmla="*/ 137935 h 1551620"/>
                  <a:gd name="connsiteX16" fmla="*/ 757537 w 1555246"/>
                  <a:gd name="connsiteY16" fmla="*/ 158977 h 1551620"/>
                  <a:gd name="connsiteX17" fmla="*/ 751798 w 1555246"/>
                  <a:gd name="connsiteY17" fmla="*/ 160890 h 1551620"/>
                  <a:gd name="connsiteX18" fmla="*/ 746059 w 1555246"/>
                  <a:gd name="connsiteY18" fmla="*/ 164716 h 1551620"/>
                  <a:gd name="connsiteX19" fmla="*/ 738407 w 1555246"/>
                  <a:gd name="connsiteY19" fmla="*/ 170455 h 1551620"/>
                  <a:gd name="connsiteX20" fmla="*/ 713538 w 1555246"/>
                  <a:gd name="connsiteY20" fmla="*/ 178107 h 1551620"/>
                  <a:gd name="connsiteX21" fmla="*/ 686757 w 1555246"/>
                  <a:gd name="connsiteY21" fmla="*/ 185759 h 1551620"/>
                  <a:gd name="connsiteX22" fmla="*/ 665714 w 1555246"/>
                  <a:gd name="connsiteY22" fmla="*/ 191498 h 1551620"/>
                  <a:gd name="connsiteX23" fmla="*/ 644671 w 1555246"/>
                  <a:gd name="connsiteY23" fmla="*/ 195324 h 1551620"/>
                  <a:gd name="connsiteX24" fmla="*/ 633194 w 1555246"/>
                  <a:gd name="connsiteY24" fmla="*/ 202976 h 1551620"/>
                  <a:gd name="connsiteX25" fmla="*/ 615977 w 1555246"/>
                  <a:gd name="connsiteY25" fmla="*/ 212540 h 1551620"/>
                  <a:gd name="connsiteX26" fmla="*/ 606412 w 1555246"/>
                  <a:gd name="connsiteY26" fmla="*/ 224018 h 1551620"/>
                  <a:gd name="connsiteX27" fmla="*/ 615977 w 1555246"/>
                  <a:gd name="connsiteY27" fmla="*/ 233583 h 1551620"/>
                  <a:gd name="connsiteX28" fmla="*/ 642758 w 1555246"/>
                  <a:gd name="connsiteY28" fmla="*/ 248887 h 1551620"/>
                  <a:gd name="connsiteX29" fmla="*/ 635107 w 1555246"/>
                  <a:gd name="connsiteY29" fmla="*/ 254626 h 1551620"/>
                  <a:gd name="connsiteX30" fmla="*/ 615977 w 1555246"/>
                  <a:gd name="connsiteY30" fmla="*/ 262278 h 1551620"/>
                  <a:gd name="connsiteX31" fmla="*/ 598760 w 1555246"/>
                  <a:gd name="connsiteY31" fmla="*/ 266104 h 1551620"/>
                  <a:gd name="connsiteX32" fmla="*/ 562414 w 1555246"/>
                  <a:gd name="connsiteY32" fmla="*/ 268017 h 1551620"/>
                  <a:gd name="connsiteX33" fmla="*/ 554762 w 1555246"/>
                  <a:gd name="connsiteY33" fmla="*/ 264191 h 1551620"/>
                  <a:gd name="connsiteX34" fmla="*/ 549023 w 1555246"/>
                  <a:gd name="connsiteY34" fmla="*/ 260365 h 1551620"/>
                  <a:gd name="connsiteX35" fmla="*/ 522241 w 1555246"/>
                  <a:gd name="connsiteY35" fmla="*/ 258452 h 1551620"/>
                  <a:gd name="connsiteX36" fmla="*/ 493547 w 1555246"/>
                  <a:gd name="connsiteY36" fmla="*/ 243148 h 1551620"/>
                  <a:gd name="connsiteX37" fmla="*/ 489721 w 1555246"/>
                  <a:gd name="connsiteY37" fmla="*/ 237409 h 1551620"/>
                  <a:gd name="connsiteX38" fmla="*/ 483982 w 1555246"/>
                  <a:gd name="connsiteY38" fmla="*/ 235496 h 1551620"/>
                  <a:gd name="connsiteX39" fmla="*/ 459113 w 1555246"/>
                  <a:gd name="connsiteY39" fmla="*/ 231670 h 1551620"/>
                  <a:gd name="connsiteX40" fmla="*/ 439984 w 1555246"/>
                  <a:gd name="connsiteY40" fmla="*/ 210628 h 1551620"/>
                  <a:gd name="connsiteX41" fmla="*/ 462939 w 1555246"/>
                  <a:gd name="connsiteY41" fmla="*/ 197237 h 1551620"/>
                  <a:gd name="connsiteX42" fmla="*/ 441897 w 1555246"/>
                  <a:gd name="connsiteY42" fmla="*/ 191498 h 1551620"/>
                  <a:gd name="connsiteX43" fmla="*/ 428506 w 1555246"/>
                  <a:gd name="connsiteY43" fmla="*/ 183846 h 1551620"/>
                  <a:gd name="connsiteX44" fmla="*/ 420854 w 1555246"/>
                  <a:gd name="connsiteY44" fmla="*/ 181933 h 1551620"/>
                  <a:gd name="connsiteX45" fmla="*/ 403637 w 1555246"/>
                  <a:gd name="connsiteY45" fmla="*/ 176194 h 1551620"/>
                  <a:gd name="connsiteX46" fmla="*/ 392159 w 1555246"/>
                  <a:gd name="connsiteY46" fmla="*/ 168542 h 1551620"/>
                  <a:gd name="connsiteX47" fmla="*/ 382594 w 1555246"/>
                  <a:gd name="connsiteY47" fmla="*/ 162803 h 1551620"/>
                  <a:gd name="connsiteX48" fmla="*/ 390246 w 1555246"/>
                  <a:gd name="connsiteY48" fmla="*/ 176194 h 1551620"/>
                  <a:gd name="connsiteX49" fmla="*/ 386420 w 1555246"/>
                  <a:gd name="connsiteY49" fmla="*/ 193411 h 1551620"/>
                  <a:gd name="connsiteX50" fmla="*/ 380682 w 1555246"/>
                  <a:gd name="connsiteY50" fmla="*/ 210628 h 1551620"/>
                  <a:gd name="connsiteX51" fmla="*/ 378769 w 1555246"/>
                  <a:gd name="connsiteY51" fmla="*/ 216366 h 1551620"/>
                  <a:gd name="connsiteX52" fmla="*/ 376856 w 1555246"/>
                  <a:gd name="connsiteY52" fmla="*/ 225931 h 1551620"/>
                  <a:gd name="connsiteX53" fmla="*/ 378769 w 1555246"/>
                  <a:gd name="connsiteY53" fmla="*/ 237409 h 1551620"/>
                  <a:gd name="connsiteX54" fmla="*/ 386420 w 1555246"/>
                  <a:gd name="connsiteY54" fmla="*/ 239322 h 1551620"/>
                  <a:gd name="connsiteX55" fmla="*/ 390246 w 1555246"/>
                  <a:gd name="connsiteY55" fmla="*/ 246974 h 1551620"/>
                  <a:gd name="connsiteX56" fmla="*/ 390246 w 1555246"/>
                  <a:gd name="connsiteY56" fmla="*/ 294798 h 1551620"/>
                  <a:gd name="connsiteX57" fmla="*/ 392159 w 1555246"/>
                  <a:gd name="connsiteY57" fmla="*/ 357926 h 1551620"/>
                  <a:gd name="connsiteX58" fmla="*/ 394072 w 1555246"/>
                  <a:gd name="connsiteY58" fmla="*/ 363665 h 1551620"/>
                  <a:gd name="connsiteX59" fmla="*/ 403637 w 1555246"/>
                  <a:gd name="connsiteY59" fmla="*/ 367491 h 1551620"/>
                  <a:gd name="connsiteX60" fmla="*/ 361552 w 1555246"/>
                  <a:gd name="connsiteY60" fmla="*/ 363665 h 1551620"/>
                  <a:gd name="connsiteX61" fmla="*/ 355813 w 1555246"/>
                  <a:gd name="connsiteY61" fmla="*/ 359839 h 1551620"/>
                  <a:gd name="connsiteX62" fmla="*/ 346248 w 1555246"/>
                  <a:gd name="connsiteY62" fmla="*/ 375143 h 1551620"/>
                  <a:gd name="connsiteX63" fmla="*/ 336683 w 1555246"/>
                  <a:gd name="connsiteY63" fmla="*/ 369404 h 1551620"/>
                  <a:gd name="connsiteX64" fmla="*/ 332857 w 1555246"/>
                  <a:gd name="connsiteY64" fmla="*/ 357926 h 1551620"/>
                  <a:gd name="connsiteX65" fmla="*/ 321379 w 1555246"/>
                  <a:gd name="connsiteY65" fmla="*/ 352187 h 1551620"/>
                  <a:gd name="connsiteX66" fmla="*/ 313728 w 1555246"/>
                  <a:gd name="connsiteY66" fmla="*/ 346448 h 1551620"/>
                  <a:gd name="connsiteX67" fmla="*/ 306076 w 1555246"/>
                  <a:gd name="connsiteY67" fmla="*/ 342623 h 1551620"/>
                  <a:gd name="connsiteX68" fmla="*/ 300337 w 1555246"/>
                  <a:gd name="connsiteY68" fmla="*/ 338797 h 1551620"/>
                  <a:gd name="connsiteX69" fmla="*/ 296511 w 1555246"/>
                  <a:gd name="connsiteY69" fmla="*/ 346448 h 1551620"/>
                  <a:gd name="connsiteX70" fmla="*/ 288859 w 1555246"/>
                  <a:gd name="connsiteY70" fmla="*/ 356013 h 1551620"/>
                  <a:gd name="connsiteX71" fmla="*/ 277381 w 1555246"/>
                  <a:gd name="connsiteY71" fmla="*/ 357926 h 1551620"/>
                  <a:gd name="connsiteX72" fmla="*/ 254425 w 1555246"/>
                  <a:gd name="connsiteY72" fmla="*/ 361752 h 1551620"/>
                  <a:gd name="connsiteX73" fmla="*/ 252512 w 1555246"/>
                  <a:gd name="connsiteY73" fmla="*/ 346448 h 1551620"/>
                  <a:gd name="connsiteX74" fmla="*/ 250600 w 1555246"/>
                  <a:gd name="connsiteY74" fmla="*/ 338797 h 1551620"/>
                  <a:gd name="connsiteX75" fmla="*/ 242948 w 1555246"/>
                  <a:gd name="connsiteY75" fmla="*/ 321580 h 1551620"/>
                  <a:gd name="connsiteX76" fmla="*/ 237209 w 1555246"/>
                  <a:gd name="connsiteY76" fmla="*/ 310102 h 1551620"/>
                  <a:gd name="connsiteX77" fmla="*/ 229557 w 1555246"/>
                  <a:gd name="connsiteY77" fmla="*/ 302450 h 1551620"/>
                  <a:gd name="connsiteX78" fmla="*/ 225731 w 1555246"/>
                  <a:gd name="connsiteY78" fmla="*/ 296711 h 1551620"/>
                  <a:gd name="connsiteX79" fmla="*/ 214253 w 1555246"/>
                  <a:gd name="connsiteY79" fmla="*/ 294798 h 1551620"/>
                  <a:gd name="connsiteX80" fmla="*/ 197036 w 1555246"/>
                  <a:gd name="connsiteY80" fmla="*/ 285233 h 1551620"/>
                  <a:gd name="connsiteX81" fmla="*/ 172168 w 1555246"/>
                  <a:gd name="connsiteY81" fmla="*/ 290972 h 1551620"/>
                  <a:gd name="connsiteX82" fmla="*/ 153038 w 1555246"/>
                  <a:gd name="connsiteY82" fmla="*/ 292885 h 1551620"/>
                  <a:gd name="connsiteX83" fmla="*/ 154951 w 1555246"/>
                  <a:gd name="connsiteY83" fmla="*/ 298624 h 1551620"/>
                  <a:gd name="connsiteX84" fmla="*/ 158777 w 1555246"/>
                  <a:gd name="connsiteY84" fmla="*/ 304363 h 1551620"/>
                  <a:gd name="connsiteX85" fmla="*/ 153038 w 1555246"/>
                  <a:gd name="connsiteY85" fmla="*/ 306276 h 1551620"/>
                  <a:gd name="connsiteX86" fmla="*/ 133908 w 1555246"/>
                  <a:gd name="connsiteY86" fmla="*/ 306276 h 1551620"/>
                  <a:gd name="connsiteX87" fmla="*/ 131995 w 1555246"/>
                  <a:gd name="connsiteY87" fmla="*/ 312015 h 1551620"/>
                  <a:gd name="connsiteX88" fmla="*/ 118605 w 1555246"/>
                  <a:gd name="connsiteY88" fmla="*/ 304363 h 1551620"/>
                  <a:gd name="connsiteX89" fmla="*/ 110953 w 1555246"/>
                  <a:gd name="connsiteY89" fmla="*/ 315841 h 1551620"/>
                  <a:gd name="connsiteX90" fmla="*/ 107127 w 1555246"/>
                  <a:gd name="connsiteY90" fmla="*/ 306276 h 1551620"/>
                  <a:gd name="connsiteX91" fmla="*/ 86084 w 1555246"/>
                  <a:gd name="connsiteY91" fmla="*/ 296711 h 1551620"/>
                  <a:gd name="connsiteX92" fmla="*/ 40173 w 1555246"/>
                  <a:gd name="connsiteY92" fmla="*/ 298624 h 1551620"/>
                  <a:gd name="connsiteX93" fmla="*/ 32521 w 1555246"/>
                  <a:gd name="connsiteY93" fmla="*/ 300537 h 1551620"/>
                  <a:gd name="connsiteX94" fmla="*/ 13391 w 1555246"/>
                  <a:gd name="connsiteY94" fmla="*/ 310102 h 1551620"/>
                  <a:gd name="connsiteX95" fmla="*/ 5739 w 1555246"/>
                  <a:gd name="connsiteY95" fmla="*/ 319667 h 1551620"/>
                  <a:gd name="connsiteX96" fmla="*/ 0 w 1555246"/>
                  <a:gd name="connsiteY96" fmla="*/ 334971 h 1551620"/>
                  <a:gd name="connsiteX97" fmla="*/ 7652 w 1555246"/>
                  <a:gd name="connsiteY97" fmla="*/ 340710 h 1551620"/>
                  <a:gd name="connsiteX98" fmla="*/ 13391 w 1555246"/>
                  <a:gd name="connsiteY98" fmla="*/ 348361 h 1551620"/>
                  <a:gd name="connsiteX99" fmla="*/ 21043 w 1555246"/>
                  <a:gd name="connsiteY99" fmla="*/ 350274 h 1551620"/>
                  <a:gd name="connsiteX100" fmla="*/ 26782 w 1555246"/>
                  <a:gd name="connsiteY100" fmla="*/ 354100 h 1551620"/>
                  <a:gd name="connsiteX101" fmla="*/ 47825 w 1555246"/>
                  <a:gd name="connsiteY101" fmla="*/ 359839 h 1551620"/>
                  <a:gd name="connsiteX102" fmla="*/ 57389 w 1555246"/>
                  <a:gd name="connsiteY102" fmla="*/ 373230 h 1551620"/>
                  <a:gd name="connsiteX103" fmla="*/ 63128 w 1555246"/>
                  <a:gd name="connsiteY103" fmla="*/ 371317 h 1551620"/>
                  <a:gd name="connsiteX104" fmla="*/ 72693 w 1555246"/>
                  <a:gd name="connsiteY104" fmla="*/ 361752 h 1551620"/>
                  <a:gd name="connsiteX105" fmla="*/ 68867 w 1555246"/>
                  <a:gd name="connsiteY105" fmla="*/ 380882 h 1551620"/>
                  <a:gd name="connsiteX106" fmla="*/ 59302 w 1555246"/>
                  <a:gd name="connsiteY106" fmla="*/ 400012 h 1551620"/>
                  <a:gd name="connsiteX107" fmla="*/ 53564 w 1555246"/>
                  <a:gd name="connsiteY107" fmla="*/ 401925 h 1551620"/>
                  <a:gd name="connsiteX108" fmla="*/ 42086 w 1555246"/>
                  <a:gd name="connsiteY108" fmla="*/ 388534 h 1551620"/>
                  <a:gd name="connsiteX109" fmla="*/ 40173 w 1555246"/>
                  <a:gd name="connsiteY109" fmla="*/ 382795 h 1551620"/>
                  <a:gd name="connsiteX110" fmla="*/ 38260 w 1555246"/>
                  <a:gd name="connsiteY110" fmla="*/ 375143 h 1551620"/>
                  <a:gd name="connsiteX111" fmla="*/ 30608 w 1555246"/>
                  <a:gd name="connsiteY111" fmla="*/ 369404 h 1551620"/>
                  <a:gd name="connsiteX112" fmla="*/ 21043 w 1555246"/>
                  <a:gd name="connsiteY112" fmla="*/ 371317 h 1551620"/>
                  <a:gd name="connsiteX113" fmla="*/ 17217 w 1555246"/>
                  <a:gd name="connsiteY113" fmla="*/ 382795 h 1551620"/>
                  <a:gd name="connsiteX114" fmla="*/ 7652 w 1555246"/>
                  <a:gd name="connsiteY114" fmla="*/ 398099 h 1551620"/>
                  <a:gd name="connsiteX115" fmla="*/ 0 w 1555246"/>
                  <a:gd name="connsiteY115" fmla="*/ 400012 h 1551620"/>
                  <a:gd name="connsiteX116" fmla="*/ 9565 w 1555246"/>
                  <a:gd name="connsiteY116" fmla="*/ 407664 h 1551620"/>
                  <a:gd name="connsiteX117" fmla="*/ 17217 w 1555246"/>
                  <a:gd name="connsiteY117" fmla="*/ 409576 h 1551620"/>
                  <a:gd name="connsiteX118" fmla="*/ 19130 w 1555246"/>
                  <a:gd name="connsiteY118" fmla="*/ 415315 h 1551620"/>
                  <a:gd name="connsiteX119" fmla="*/ 22956 w 1555246"/>
                  <a:gd name="connsiteY119" fmla="*/ 428706 h 1551620"/>
                  <a:gd name="connsiteX120" fmla="*/ 26782 w 1555246"/>
                  <a:gd name="connsiteY120" fmla="*/ 442097 h 1551620"/>
                  <a:gd name="connsiteX121" fmla="*/ 30608 w 1555246"/>
                  <a:gd name="connsiteY121" fmla="*/ 449749 h 1551620"/>
                  <a:gd name="connsiteX122" fmla="*/ 36347 w 1555246"/>
                  <a:gd name="connsiteY122" fmla="*/ 459314 h 1551620"/>
                  <a:gd name="connsiteX123" fmla="*/ 42086 w 1555246"/>
                  <a:gd name="connsiteY123" fmla="*/ 463140 h 1551620"/>
                  <a:gd name="connsiteX124" fmla="*/ 61215 w 1555246"/>
                  <a:gd name="connsiteY124" fmla="*/ 461227 h 1551620"/>
                  <a:gd name="connsiteX125" fmla="*/ 66954 w 1555246"/>
                  <a:gd name="connsiteY125" fmla="*/ 459314 h 1551620"/>
                  <a:gd name="connsiteX126" fmla="*/ 68867 w 1555246"/>
                  <a:gd name="connsiteY126" fmla="*/ 453575 h 1551620"/>
                  <a:gd name="connsiteX127" fmla="*/ 74606 w 1555246"/>
                  <a:gd name="connsiteY127" fmla="*/ 447836 h 1551620"/>
                  <a:gd name="connsiteX128" fmla="*/ 91823 w 1555246"/>
                  <a:gd name="connsiteY128" fmla="*/ 455488 h 1551620"/>
                  <a:gd name="connsiteX129" fmla="*/ 93736 w 1555246"/>
                  <a:gd name="connsiteY129" fmla="*/ 465053 h 1551620"/>
                  <a:gd name="connsiteX130" fmla="*/ 103301 w 1555246"/>
                  <a:gd name="connsiteY130" fmla="*/ 476530 h 1551620"/>
                  <a:gd name="connsiteX131" fmla="*/ 131995 w 1555246"/>
                  <a:gd name="connsiteY131" fmla="*/ 480356 h 1551620"/>
                  <a:gd name="connsiteX132" fmla="*/ 139647 w 1555246"/>
                  <a:gd name="connsiteY132" fmla="*/ 482269 h 1551620"/>
                  <a:gd name="connsiteX133" fmla="*/ 145386 w 1555246"/>
                  <a:gd name="connsiteY133" fmla="*/ 488008 h 1551620"/>
                  <a:gd name="connsiteX134" fmla="*/ 156864 w 1555246"/>
                  <a:gd name="connsiteY134" fmla="*/ 493747 h 1551620"/>
                  <a:gd name="connsiteX135" fmla="*/ 158777 w 1555246"/>
                  <a:gd name="connsiteY135" fmla="*/ 499486 h 1551620"/>
                  <a:gd name="connsiteX136" fmla="*/ 166429 w 1555246"/>
                  <a:gd name="connsiteY136" fmla="*/ 512877 h 1551620"/>
                  <a:gd name="connsiteX137" fmla="*/ 185558 w 1555246"/>
                  <a:gd name="connsiteY137" fmla="*/ 528181 h 1551620"/>
                  <a:gd name="connsiteX138" fmla="*/ 191297 w 1555246"/>
                  <a:gd name="connsiteY138" fmla="*/ 524355 h 1551620"/>
                  <a:gd name="connsiteX139" fmla="*/ 208514 w 1555246"/>
                  <a:gd name="connsiteY139" fmla="*/ 520529 h 1551620"/>
                  <a:gd name="connsiteX140" fmla="*/ 214253 w 1555246"/>
                  <a:gd name="connsiteY140" fmla="*/ 522442 h 1551620"/>
                  <a:gd name="connsiteX141" fmla="*/ 219992 w 1555246"/>
                  <a:gd name="connsiteY141" fmla="*/ 551136 h 1551620"/>
                  <a:gd name="connsiteX142" fmla="*/ 225731 w 1555246"/>
                  <a:gd name="connsiteY142" fmla="*/ 547310 h 1551620"/>
                  <a:gd name="connsiteX143" fmla="*/ 229557 w 1555246"/>
                  <a:gd name="connsiteY143" fmla="*/ 541571 h 1551620"/>
                  <a:gd name="connsiteX144" fmla="*/ 235296 w 1555246"/>
                  <a:gd name="connsiteY144" fmla="*/ 539658 h 1551620"/>
                  <a:gd name="connsiteX145" fmla="*/ 242948 w 1555246"/>
                  <a:gd name="connsiteY145" fmla="*/ 543484 h 1551620"/>
                  <a:gd name="connsiteX146" fmla="*/ 250600 w 1555246"/>
                  <a:gd name="connsiteY146" fmla="*/ 549223 h 1551620"/>
                  <a:gd name="connsiteX147" fmla="*/ 263990 w 1555246"/>
                  <a:gd name="connsiteY147" fmla="*/ 553049 h 1551620"/>
                  <a:gd name="connsiteX148" fmla="*/ 265903 w 1555246"/>
                  <a:gd name="connsiteY148" fmla="*/ 560701 h 1551620"/>
                  <a:gd name="connsiteX149" fmla="*/ 252512 w 1555246"/>
                  <a:gd name="connsiteY149" fmla="*/ 574092 h 1551620"/>
                  <a:gd name="connsiteX150" fmla="*/ 250600 w 1555246"/>
                  <a:gd name="connsiteY150" fmla="*/ 579831 h 1551620"/>
                  <a:gd name="connsiteX151" fmla="*/ 246774 w 1555246"/>
                  <a:gd name="connsiteY151" fmla="*/ 585570 h 1551620"/>
                  <a:gd name="connsiteX152" fmla="*/ 260164 w 1555246"/>
                  <a:gd name="connsiteY152" fmla="*/ 593222 h 1551620"/>
                  <a:gd name="connsiteX153" fmla="*/ 307989 w 1555246"/>
                  <a:gd name="connsiteY153" fmla="*/ 595135 h 1551620"/>
                  <a:gd name="connsiteX154" fmla="*/ 313728 w 1555246"/>
                  <a:gd name="connsiteY154" fmla="*/ 600874 h 1551620"/>
                  <a:gd name="connsiteX155" fmla="*/ 325205 w 1555246"/>
                  <a:gd name="connsiteY155" fmla="*/ 608525 h 1551620"/>
                  <a:gd name="connsiteX156" fmla="*/ 317553 w 1555246"/>
                  <a:gd name="connsiteY156" fmla="*/ 612351 h 1551620"/>
                  <a:gd name="connsiteX157" fmla="*/ 313728 w 1555246"/>
                  <a:gd name="connsiteY157" fmla="*/ 604699 h 1551620"/>
                  <a:gd name="connsiteX158" fmla="*/ 302250 w 1555246"/>
                  <a:gd name="connsiteY158" fmla="*/ 598961 h 1551620"/>
                  <a:gd name="connsiteX159" fmla="*/ 288859 w 1555246"/>
                  <a:gd name="connsiteY159" fmla="*/ 600874 h 1551620"/>
                  <a:gd name="connsiteX160" fmla="*/ 277381 w 1555246"/>
                  <a:gd name="connsiteY160" fmla="*/ 602787 h 1551620"/>
                  <a:gd name="connsiteX161" fmla="*/ 275468 w 1555246"/>
                  <a:gd name="connsiteY161" fmla="*/ 608525 h 1551620"/>
                  <a:gd name="connsiteX162" fmla="*/ 277381 w 1555246"/>
                  <a:gd name="connsiteY162" fmla="*/ 623829 h 1551620"/>
                  <a:gd name="connsiteX163" fmla="*/ 285033 w 1555246"/>
                  <a:gd name="connsiteY163" fmla="*/ 627655 h 1551620"/>
                  <a:gd name="connsiteX164" fmla="*/ 281207 w 1555246"/>
                  <a:gd name="connsiteY164" fmla="*/ 646785 h 1551620"/>
                  <a:gd name="connsiteX165" fmla="*/ 275468 w 1555246"/>
                  <a:gd name="connsiteY165" fmla="*/ 652524 h 1551620"/>
                  <a:gd name="connsiteX166" fmla="*/ 271642 w 1555246"/>
                  <a:gd name="connsiteY166" fmla="*/ 665915 h 1551620"/>
                  <a:gd name="connsiteX167" fmla="*/ 275468 w 1555246"/>
                  <a:gd name="connsiteY167" fmla="*/ 686957 h 1551620"/>
                  <a:gd name="connsiteX168" fmla="*/ 283120 w 1555246"/>
                  <a:gd name="connsiteY168" fmla="*/ 702261 h 1551620"/>
                  <a:gd name="connsiteX169" fmla="*/ 285033 w 1555246"/>
                  <a:gd name="connsiteY169" fmla="*/ 708000 h 1551620"/>
                  <a:gd name="connsiteX170" fmla="*/ 288859 w 1555246"/>
                  <a:gd name="connsiteY170" fmla="*/ 727130 h 1551620"/>
                  <a:gd name="connsiteX171" fmla="*/ 294598 w 1555246"/>
                  <a:gd name="connsiteY171" fmla="*/ 732869 h 1551620"/>
                  <a:gd name="connsiteX172" fmla="*/ 300337 w 1555246"/>
                  <a:gd name="connsiteY172" fmla="*/ 746259 h 1551620"/>
                  <a:gd name="connsiteX173" fmla="*/ 304163 w 1555246"/>
                  <a:gd name="connsiteY173" fmla="*/ 751998 h 1551620"/>
                  <a:gd name="connsiteX174" fmla="*/ 309902 w 1555246"/>
                  <a:gd name="connsiteY174" fmla="*/ 753911 h 1551620"/>
                  <a:gd name="connsiteX175" fmla="*/ 355813 w 1555246"/>
                  <a:gd name="connsiteY175" fmla="*/ 757737 h 1551620"/>
                  <a:gd name="connsiteX176" fmla="*/ 357726 w 1555246"/>
                  <a:gd name="connsiteY176" fmla="*/ 769215 h 1551620"/>
                  <a:gd name="connsiteX177" fmla="*/ 363465 w 1555246"/>
                  <a:gd name="connsiteY177" fmla="*/ 773041 h 1551620"/>
                  <a:gd name="connsiteX178" fmla="*/ 371117 w 1555246"/>
                  <a:gd name="connsiteY178" fmla="*/ 782606 h 1551620"/>
                  <a:gd name="connsiteX179" fmla="*/ 382594 w 1555246"/>
                  <a:gd name="connsiteY179" fmla="*/ 790258 h 1551620"/>
                  <a:gd name="connsiteX180" fmla="*/ 388333 w 1555246"/>
                  <a:gd name="connsiteY180" fmla="*/ 797910 h 1551620"/>
                  <a:gd name="connsiteX181" fmla="*/ 392159 w 1555246"/>
                  <a:gd name="connsiteY181" fmla="*/ 805561 h 1551620"/>
                  <a:gd name="connsiteX182" fmla="*/ 384507 w 1555246"/>
                  <a:gd name="connsiteY182" fmla="*/ 799823 h 1551620"/>
                  <a:gd name="connsiteX183" fmla="*/ 373030 w 1555246"/>
                  <a:gd name="connsiteY183" fmla="*/ 790258 h 1551620"/>
                  <a:gd name="connsiteX184" fmla="*/ 359639 w 1555246"/>
                  <a:gd name="connsiteY184" fmla="*/ 782606 h 1551620"/>
                  <a:gd name="connsiteX185" fmla="*/ 329031 w 1555246"/>
                  <a:gd name="connsiteY185" fmla="*/ 784519 h 1551620"/>
                  <a:gd name="connsiteX186" fmla="*/ 330944 w 1555246"/>
                  <a:gd name="connsiteY186" fmla="*/ 797910 h 1551620"/>
                  <a:gd name="connsiteX187" fmla="*/ 340509 w 1555246"/>
                  <a:gd name="connsiteY187" fmla="*/ 799823 h 1551620"/>
                  <a:gd name="connsiteX188" fmla="*/ 348161 w 1555246"/>
                  <a:gd name="connsiteY188" fmla="*/ 801735 h 1551620"/>
                  <a:gd name="connsiteX189" fmla="*/ 353900 w 1555246"/>
                  <a:gd name="connsiteY189" fmla="*/ 805561 h 1551620"/>
                  <a:gd name="connsiteX190" fmla="*/ 361552 w 1555246"/>
                  <a:gd name="connsiteY190" fmla="*/ 811300 h 1551620"/>
                  <a:gd name="connsiteX191" fmla="*/ 378769 w 1555246"/>
                  <a:gd name="connsiteY191" fmla="*/ 815126 h 1551620"/>
                  <a:gd name="connsiteX192" fmla="*/ 388333 w 1555246"/>
                  <a:gd name="connsiteY192" fmla="*/ 820865 h 1551620"/>
                  <a:gd name="connsiteX193" fmla="*/ 378769 w 1555246"/>
                  <a:gd name="connsiteY193" fmla="*/ 841908 h 1551620"/>
                  <a:gd name="connsiteX194" fmla="*/ 373030 w 1555246"/>
                  <a:gd name="connsiteY194" fmla="*/ 843821 h 1551620"/>
                  <a:gd name="connsiteX195" fmla="*/ 361552 w 1555246"/>
                  <a:gd name="connsiteY195" fmla="*/ 841908 h 1551620"/>
                  <a:gd name="connsiteX196" fmla="*/ 350074 w 1555246"/>
                  <a:gd name="connsiteY196" fmla="*/ 834256 h 1551620"/>
                  <a:gd name="connsiteX197" fmla="*/ 338596 w 1555246"/>
                  <a:gd name="connsiteY197" fmla="*/ 836169 h 1551620"/>
                  <a:gd name="connsiteX198" fmla="*/ 348161 w 1555246"/>
                  <a:gd name="connsiteY198" fmla="*/ 849560 h 1551620"/>
                  <a:gd name="connsiteX199" fmla="*/ 355813 w 1555246"/>
                  <a:gd name="connsiteY199" fmla="*/ 861038 h 1551620"/>
                  <a:gd name="connsiteX200" fmla="*/ 359639 w 1555246"/>
                  <a:gd name="connsiteY200" fmla="*/ 870602 h 1551620"/>
                  <a:gd name="connsiteX201" fmla="*/ 357726 w 1555246"/>
                  <a:gd name="connsiteY201" fmla="*/ 882080 h 1551620"/>
                  <a:gd name="connsiteX202" fmla="*/ 371117 w 1555246"/>
                  <a:gd name="connsiteY202" fmla="*/ 883993 h 1551620"/>
                  <a:gd name="connsiteX203" fmla="*/ 378769 w 1555246"/>
                  <a:gd name="connsiteY203" fmla="*/ 885906 h 1551620"/>
                  <a:gd name="connsiteX204" fmla="*/ 376856 w 1555246"/>
                  <a:gd name="connsiteY204" fmla="*/ 893558 h 1551620"/>
                  <a:gd name="connsiteX205" fmla="*/ 378769 w 1555246"/>
                  <a:gd name="connsiteY205" fmla="*/ 903123 h 1551620"/>
                  <a:gd name="connsiteX206" fmla="*/ 382594 w 1555246"/>
                  <a:gd name="connsiteY206" fmla="*/ 908862 h 1551620"/>
                  <a:gd name="connsiteX207" fmla="*/ 388333 w 1555246"/>
                  <a:gd name="connsiteY207" fmla="*/ 918427 h 1551620"/>
                  <a:gd name="connsiteX208" fmla="*/ 394072 w 1555246"/>
                  <a:gd name="connsiteY208" fmla="*/ 933730 h 1551620"/>
                  <a:gd name="connsiteX209" fmla="*/ 399811 w 1555246"/>
                  <a:gd name="connsiteY209" fmla="*/ 937556 h 1551620"/>
                  <a:gd name="connsiteX210" fmla="*/ 403637 w 1555246"/>
                  <a:gd name="connsiteY210" fmla="*/ 945208 h 1551620"/>
                  <a:gd name="connsiteX211" fmla="*/ 405550 w 1555246"/>
                  <a:gd name="connsiteY211" fmla="*/ 952860 h 1551620"/>
                  <a:gd name="connsiteX212" fmla="*/ 409376 w 1555246"/>
                  <a:gd name="connsiteY212" fmla="*/ 964338 h 1551620"/>
                  <a:gd name="connsiteX213" fmla="*/ 411289 w 1555246"/>
                  <a:gd name="connsiteY213" fmla="*/ 971990 h 1551620"/>
                  <a:gd name="connsiteX214" fmla="*/ 415115 w 1555246"/>
                  <a:gd name="connsiteY214" fmla="*/ 979642 h 1551620"/>
                  <a:gd name="connsiteX215" fmla="*/ 417028 w 1555246"/>
                  <a:gd name="connsiteY215" fmla="*/ 989207 h 1551620"/>
                  <a:gd name="connsiteX216" fmla="*/ 422767 w 1555246"/>
                  <a:gd name="connsiteY216" fmla="*/ 996858 h 1551620"/>
                  <a:gd name="connsiteX217" fmla="*/ 424680 w 1555246"/>
                  <a:gd name="connsiteY217" fmla="*/ 1012162 h 1551620"/>
                  <a:gd name="connsiteX218" fmla="*/ 420854 w 1555246"/>
                  <a:gd name="connsiteY218" fmla="*/ 1044683 h 1551620"/>
                  <a:gd name="connsiteX219" fmla="*/ 413202 w 1555246"/>
                  <a:gd name="connsiteY219" fmla="*/ 1037031 h 1551620"/>
                  <a:gd name="connsiteX220" fmla="*/ 409376 w 1555246"/>
                  <a:gd name="connsiteY220" fmla="*/ 1027466 h 1551620"/>
                  <a:gd name="connsiteX221" fmla="*/ 403637 w 1555246"/>
                  <a:gd name="connsiteY221" fmla="*/ 1019814 h 1551620"/>
                  <a:gd name="connsiteX222" fmla="*/ 401724 w 1555246"/>
                  <a:gd name="connsiteY222" fmla="*/ 1012162 h 1551620"/>
                  <a:gd name="connsiteX223" fmla="*/ 399811 w 1555246"/>
                  <a:gd name="connsiteY223" fmla="*/ 1002597 h 1551620"/>
                  <a:gd name="connsiteX224" fmla="*/ 395985 w 1555246"/>
                  <a:gd name="connsiteY224" fmla="*/ 994946 h 1551620"/>
                  <a:gd name="connsiteX225" fmla="*/ 392159 w 1555246"/>
                  <a:gd name="connsiteY225" fmla="*/ 973903 h 1551620"/>
                  <a:gd name="connsiteX226" fmla="*/ 386420 w 1555246"/>
                  <a:gd name="connsiteY226" fmla="*/ 968164 h 1551620"/>
                  <a:gd name="connsiteX227" fmla="*/ 384507 w 1555246"/>
                  <a:gd name="connsiteY227" fmla="*/ 954773 h 1551620"/>
                  <a:gd name="connsiteX228" fmla="*/ 380682 w 1555246"/>
                  <a:gd name="connsiteY228" fmla="*/ 949034 h 1551620"/>
                  <a:gd name="connsiteX229" fmla="*/ 371117 w 1555246"/>
                  <a:gd name="connsiteY229" fmla="*/ 937556 h 1551620"/>
                  <a:gd name="connsiteX230" fmla="*/ 357726 w 1555246"/>
                  <a:gd name="connsiteY230" fmla="*/ 939469 h 1551620"/>
                  <a:gd name="connsiteX231" fmla="*/ 344335 w 1555246"/>
                  <a:gd name="connsiteY231" fmla="*/ 954773 h 1551620"/>
                  <a:gd name="connsiteX232" fmla="*/ 342422 w 1555246"/>
                  <a:gd name="connsiteY232" fmla="*/ 968164 h 1551620"/>
                  <a:gd name="connsiteX233" fmla="*/ 338596 w 1555246"/>
                  <a:gd name="connsiteY233" fmla="*/ 973903 h 1551620"/>
                  <a:gd name="connsiteX234" fmla="*/ 336683 w 1555246"/>
                  <a:gd name="connsiteY234" fmla="*/ 981555 h 1551620"/>
                  <a:gd name="connsiteX235" fmla="*/ 334770 w 1555246"/>
                  <a:gd name="connsiteY235" fmla="*/ 991120 h 1551620"/>
                  <a:gd name="connsiteX236" fmla="*/ 329031 w 1555246"/>
                  <a:gd name="connsiteY236" fmla="*/ 1012162 h 1551620"/>
                  <a:gd name="connsiteX237" fmla="*/ 325205 w 1555246"/>
                  <a:gd name="connsiteY237" fmla="*/ 1021727 h 1551620"/>
                  <a:gd name="connsiteX238" fmla="*/ 319466 w 1555246"/>
                  <a:gd name="connsiteY238" fmla="*/ 1031292 h 1551620"/>
                  <a:gd name="connsiteX239" fmla="*/ 321379 w 1555246"/>
                  <a:gd name="connsiteY239" fmla="*/ 1056161 h 1551620"/>
                  <a:gd name="connsiteX240" fmla="*/ 350074 w 1555246"/>
                  <a:gd name="connsiteY240" fmla="*/ 1059987 h 1551620"/>
                  <a:gd name="connsiteX241" fmla="*/ 348161 w 1555246"/>
                  <a:gd name="connsiteY241" fmla="*/ 1067638 h 1551620"/>
                  <a:gd name="connsiteX242" fmla="*/ 336683 w 1555246"/>
                  <a:gd name="connsiteY242" fmla="*/ 1081029 h 1551620"/>
                  <a:gd name="connsiteX243" fmla="*/ 332857 w 1555246"/>
                  <a:gd name="connsiteY243" fmla="*/ 1096333 h 1551620"/>
                  <a:gd name="connsiteX244" fmla="*/ 329031 w 1555246"/>
                  <a:gd name="connsiteY244" fmla="*/ 1102072 h 1551620"/>
                  <a:gd name="connsiteX245" fmla="*/ 327118 w 1555246"/>
                  <a:gd name="connsiteY245" fmla="*/ 1113550 h 1551620"/>
                  <a:gd name="connsiteX246" fmla="*/ 321379 w 1555246"/>
                  <a:gd name="connsiteY246" fmla="*/ 1125028 h 1551620"/>
                  <a:gd name="connsiteX247" fmla="*/ 311815 w 1555246"/>
                  <a:gd name="connsiteY247" fmla="*/ 1140331 h 1551620"/>
                  <a:gd name="connsiteX248" fmla="*/ 309902 w 1555246"/>
                  <a:gd name="connsiteY248" fmla="*/ 1147983 h 1551620"/>
                  <a:gd name="connsiteX249" fmla="*/ 304163 w 1555246"/>
                  <a:gd name="connsiteY249" fmla="*/ 1172852 h 1551620"/>
                  <a:gd name="connsiteX250" fmla="*/ 294598 w 1555246"/>
                  <a:gd name="connsiteY250" fmla="*/ 1188156 h 1551620"/>
                  <a:gd name="connsiteX251" fmla="*/ 285033 w 1555246"/>
                  <a:gd name="connsiteY251" fmla="*/ 1211111 h 1551620"/>
                  <a:gd name="connsiteX252" fmla="*/ 283120 w 1555246"/>
                  <a:gd name="connsiteY252" fmla="*/ 1218763 h 1551620"/>
                  <a:gd name="connsiteX253" fmla="*/ 279294 w 1555246"/>
                  <a:gd name="connsiteY253" fmla="*/ 1237893 h 1551620"/>
                  <a:gd name="connsiteX254" fmla="*/ 275468 w 1555246"/>
                  <a:gd name="connsiteY254" fmla="*/ 1245545 h 1551620"/>
                  <a:gd name="connsiteX255" fmla="*/ 269729 w 1555246"/>
                  <a:gd name="connsiteY255" fmla="*/ 1258935 h 1551620"/>
                  <a:gd name="connsiteX256" fmla="*/ 260164 w 1555246"/>
                  <a:gd name="connsiteY256" fmla="*/ 1274239 h 1551620"/>
                  <a:gd name="connsiteX257" fmla="*/ 258251 w 1555246"/>
                  <a:gd name="connsiteY257" fmla="*/ 1281891 h 1551620"/>
                  <a:gd name="connsiteX258" fmla="*/ 250600 w 1555246"/>
                  <a:gd name="connsiteY258" fmla="*/ 1279978 h 1551620"/>
                  <a:gd name="connsiteX259" fmla="*/ 244861 w 1555246"/>
                  <a:gd name="connsiteY259" fmla="*/ 1278065 h 1551620"/>
                  <a:gd name="connsiteX260" fmla="*/ 246774 w 1555246"/>
                  <a:gd name="connsiteY260" fmla="*/ 1287630 h 1551620"/>
                  <a:gd name="connsiteX261" fmla="*/ 244861 w 1555246"/>
                  <a:gd name="connsiteY261" fmla="*/ 1302934 h 1551620"/>
                  <a:gd name="connsiteX262" fmla="*/ 250600 w 1555246"/>
                  <a:gd name="connsiteY262" fmla="*/ 1304847 h 1551620"/>
                  <a:gd name="connsiteX263" fmla="*/ 265903 w 1555246"/>
                  <a:gd name="connsiteY263" fmla="*/ 1318238 h 1551620"/>
                  <a:gd name="connsiteX264" fmla="*/ 263990 w 1555246"/>
                  <a:gd name="connsiteY264" fmla="*/ 1337367 h 1551620"/>
                  <a:gd name="connsiteX265" fmla="*/ 263990 w 1555246"/>
                  <a:gd name="connsiteY265" fmla="*/ 1358410 h 1551620"/>
                  <a:gd name="connsiteX266" fmla="*/ 271642 w 1555246"/>
                  <a:gd name="connsiteY266" fmla="*/ 1360323 h 1551620"/>
                  <a:gd name="connsiteX267" fmla="*/ 285033 w 1555246"/>
                  <a:gd name="connsiteY267" fmla="*/ 1364149 h 1551620"/>
                  <a:gd name="connsiteX268" fmla="*/ 290772 w 1555246"/>
                  <a:gd name="connsiteY268" fmla="*/ 1367975 h 1551620"/>
                  <a:gd name="connsiteX269" fmla="*/ 304163 w 1555246"/>
                  <a:gd name="connsiteY269" fmla="*/ 1377540 h 1551620"/>
                  <a:gd name="connsiteX270" fmla="*/ 323292 w 1555246"/>
                  <a:gd name="connsiteY270" fmla="*/ 1381366 h 1551620"/>
                  <a:gd name="connsiteX271" fmla="*/ 334770 w 1555246"/>
                  <a:gd name="connsiteY271" fmla="*/ 1389017 h 1551620"/>
                  <a:gd name="connsiteX272" fmla="*/ 346248 w 1555246"/>
                  <a:gd name="connsiteY272" fmla="*/ 1400495 h 1551620"/>
                  <a:gd name="connsiteX273" fmla="*/ 353900 w 1555246"/>
                  <a:gd name="connsiteY273" fmla="*/ 1425364 h 1551620"/>
                  <a:gd name="connsiteX274" fmla="*/ 382594 w 1555246"/>
                  <a:gd name="connsiteY274" fmla="*/ 1423451 h 1551620"/>
                  <a:gd name="connsiteX275" fmla="*/ 394072 w 1555246"/>
                  <a:gd name="connsiteY275" fmla="*/ 1419625 h 1551620"/>
                  <a:gd name="connsiteX276" fmla="*/ 413202 w 1555246"/>
                  <a:gd name="connsiteY276" fmla="*/ 1425364 h 1551620"/>
                  <a:gd name="connsiteX277" fmla="*/ 422767 w 1555246"/>
                  <a:gd name="connsiteY277" fmla="*/ 1434929 h 1551620"/>
                  <a:gd name="connsiteX278" fmla="*/ 428506 w 1555246"/>
                  <a:gd name="connsiteY278" fmla="*/ 1440668 h 1551620"/>
                  <a:gd name="connsiteX279" fmla="*/ 436158 w 1555246"/>
                  <a:gd name="connsiteY279" fmla="*/ 1452146 h 1551620"/>
                  <a:gd name="connsiteX280" fmla="*/ 455287 w 1555246"/>
                  <a:gd name="connsiteY280" fmla="*/ 1450233 h 1551620"/>
                  <a:gd name="connsiteX281" fmla="*/ 462939 w 1555246"/>
                  <a:gd name="connsiteY281" fmla="*/ 1448320 h 1551620"/>
                  <a:gd name="connsiteX282" fmla="*/ 480156 w 1555246"/>
                  <a:gd name="connsiteY282" fmla="*/ 1452146 h 1551620"/>
                  <a:gd name="connsiteX283" fmla="*/ 485895 w 1555246"/>
                  <a:gd name="connsiteY283" fmla="*/ 1455971 h 1551620"/>
                  <a:gd name="connsiteX284" fmla="*/ 493547 w 1555246"/>
                  <a:gd name="connsiteY284" fmla="*/ 1461710 h 1551620"/>
                  <a:gd name="connsiteX285" fmla="*/ 499286 w 1555246"/>
                  <a:gd name="connsiteY285" fmla="*/ 1463623 h 1551620"/>
                  <a:gd name="connsiteX286" fmla="*/ 520328 w 1555246"/>
                  <a:gd name="connsiteY286" fmla="*/ 1459797 h 1551620"/>
                  <a:gd name="connsiteX287" fmla="*/ 522241 w 1555246"/>
                  <a:gd name="connsiteY287" fmla="*/ 1454058 h 1551620"/>
                  <a:gd name="connsiteX288" fmla="*/ 529893 w 1555246"/>
                  <a:gd name="connsiteY288" fmla="*/ 1433016 h 1551620"/>
                  <a:gd name="connsiteX289" fmla="*/ 552849 w 1555246"/>
                  <a:gd name="connsiteY289" fmla="*/ 1434929 h 1551620"/>
                  <a:gd name="connsiteX290" fmla="*/ 570066 w 1555246"/>
                  <a:gd name="connsiteY290" fmla="*/ 1446407 h 1551620"/>
                  <a:gd name="connsiteX291" fmla="*/ 583456 w 1555246"/>
                  <a:gd name="connsiteY291" fmla="*/ 1455971 h 1551620"/>
                  <a:gd name="connsiteX292" fmla="*/ 600673 w 1555246"/>
                  <a:gd name="connsiteY292" fmla="*/ 1467449 h 1551620"/>
                  <a:gd name="connsiteX293" fmla="*/ 617890 w 1555246"/>
                  <a:gd name="connsiteY293" fmla="*/ 1477014 h 1551620"/>
                  <a:gd name="connsiteX294" fmla="*/ 625542 w 1555246"/>
                  <a:gd name="connsiteY294" fmla="*/ 1478927 h 1551620"/>
                  <a:gd name="connsiteX295" fmla="*/ 627455 w 1555246"/>
                  <a:gd name="connsiteY295" fmla="*/ 1484666 h 1551620"/>
                  <a:gd name="connsiteX296" fmla="*/ 633194 w 1555246"/>
                  <a:gd name="connsiteY296" fmla="*/ 1482753 h 1551620"/>
                  <a:gd name="connsiteX297" fmla="*/ 648497 w 1555246"/>
                  <a:gd name="connsiteY297" fmla="*/ 1480840 h 1551620"/>
                  <a:gd name="connsiteX298" fmla="*/ 658062 w 1555246"/>
                  <a:gd name="connsiteY298" fmla="*/ 1482753 h 1551620"/>
                  <a:gd name="connsiteX299" fmla="*/ 667627 w 1555246"/>
                  <a:gd name="connsiteY299" fmla="*/ 1494231 h 1551620"/>
                  <a:gd name="connsiteX300" fmla="*/ 669540 w 1555246"/>
                  <a:gd name="connsiteY300" fmla="*/ 1521012 h 1551620"/>
                  <a:gd name="connsiteX301" fmla="*/ 677192 w 1555246"/>
                  <a:gd name="connsiteY301" fmla="*/ 1526751 h 1551620"/>
                  <a:gd name="connsiteX302" fmla="*/ 688670 w 1555246"/>
                  <a:gd name="connsiteY302" fmla="*/ 1536316 h 1551620"/>
                  <a:gd name="connsiteX303" fmla="*/ 711625 w 1555246"/>
                  <a:gd name="connsiteY303" fmla="*/ 1528664 h 1551620"/>
                  <a:gd name="connsiteX304" fmla="*/ 734581 w 1555246"/>
                  <a:gd name="connsiteY304" fmla="*/ 1530577 h 1551620"/>
                  <a:gd name="connsiteX305" fmla="*/ 751798 w 1555246"/>
                  <a:gd name="connsiteY305" fmla="*/ 1545881 h 1551620"/>
                  <a:gd name="connsiteX306" fmla="*/ 767102 w 1555246"/>
                  <a:gd name="connsiteY306" fmla="*/ 1551620 h 1551620"/>
                  <a:gd name="connsiteX307" fmla="*/ 786231 w 1555246"/>
                  <a:gd name="connsiteY307" fmla="*/ 1547794 h 1551620"/>
                  <a:gd name="connsiteX308" fmla="*/ 793883 w 1555246"/>
                  <a:gd name="connsiteY308" fmla="*/ 1532490 h 1551620"/>
                  <a:gd name="connsiteX309" fmla="*/ 803448 w 1555246"/>
                  <a:gd name="connsiteY309" fmla="*/ 1528664 h 1551620"/>
                  <a:gd name="connsiteX310" fmla="*/ 841707 w 1555246"/>
                  <a:gd name="connsiteY310" fmla="*/ 1526751 h 1551620"/>
                  <a:gd name="connsiteX311" fmla="*/ 839794 w 1555246"/>
                  <a:gd name="connsiteY311" fmla="*/ 1494231 h 1551620"/>
                  <a:gd name="connsiteX312" fmla="*/ 832143 w 1555246"/>
                  <a:gd name="connsiteY312" fmla="*/ 1478927 h 1551620"/>
                  <a:gd name="connsiteX313" fmla="*/ 830230 w 1555246"/>
                  <a:gd name="connsiteY313" fmla="*/ 1471275 h 1551620"/>
                  <a:gd name="connsiteX314" fmla="*/ 835969 w 1555246"/>
                  <a:gd name="connsiteY314" fmla="*/ 1459797 h 1551620"/>
                  <a:gd name="connsiteX315" fmla="*/ 837882 w 1555246"/>
                  <a:gd name="connsiteY315" fmla="*/ 1440668 h 1551620"/>
                  <a:gd name="connsiteX316" fmla="*/ 839794 w 1555246"/>
                  <a:gd name="connsiteY316" fmla="*/ 1433016 h 1551620"/>
                  <a:gd name="connsiteX317" fmla="*/ 845533 w 1555246"/>
                  <a:gd name="connsiteY317" fmla="*/ 1429190 h 1551620"/>
                  <a:gd name="connsiteX318" fmla="*/ 858924 w 1555246"/>
                  <a:gd name="connsiteY318" fmla="*/ 1417712 h 1551620"/>
                  <a:gd name="connsiteX319" fmla="*/ 864663 w 1555246"/>
                  <a:gd name="connsiteY319" fmla="*/ 1415799 h 1551620"/>
                  <a:gd name="connsiteX320" fmla="*/ 870402 w 1555246"/>
                  <a:gd name="connsiteY320" fmla="*/ 1410060 h 1551620"/>
                  <a:gd name="connsiteX321" fmla="*/ 876141 w 1555246"/>
                  <a:gd name="connsiteY321" fmla="*/ 1406234 h 1551620"/>
                  <a:gd name="connsiteX322" fmla="*/ 879967 w 1555246"/>
                  <a:gd name="connsiteY322" fmla="*/ 1400495 h 1551620"/>
                  <a:gd name="connsiteX323" fmla="*/ 904835 w 1555246"/>
                  <a:gd name="connsiteY323" fmla="*/ 1387105 h 1551620"/>
                  <a:gd name="connsiteX324" fmla="*/ 910574 w 1555246"/>
                  <a:gd name="connsiteY324" fmla="*/ 1385192 h 1551620"/>
                  <a:gd name="connsiteX325" fmla="*/ 925878 w 1555246"/>
                  <a:gd name="connsiteY325" fmla="*/ 1381366 h 1551620"/>
                  <a:gd name="connsiteX326" fmla="*/ 943095 w 1555246"/>
                  <a:gd name="connsiteY326" fmla="*/ 1369888 h 1551620"/>
                  <a:gd name="connsiteX327" fmla="*/ 950747 w 1555246"/>
                  <a:gd name="connsiteY327" fmla="*/ 1366062 h 1551620"/>
                  <a:gd name="connsiteX328" fmla="*/ 971789 w 1555246"/>
                  <a:gd name="connsiteY328" fmla="*/ 1348845 h 1551620"/>
                  <a:gd name="connsiteX329" fmla="*/ 983267 w 1555246"/>
                  <a:gd name="connsiteY329" fmla="*/ 1354584 h 1551620"/>
                  <a:gd name="connsiteX330" fmla="*/ 987093 w 1555246"/>
                  <a:gd name="connsiteY330" fmla="*/ 1360323 h 1551620"/>
                  <a:gd name="connsiteX331" fmla="*/ 994745 w 1555246"/>
                  <a:gd name="connsiteY331" fmla="*/ 1362236 h 1551620"/>
                  <a:gd name="connsiteX332" fmla="*/ 1004310 w 1555246"/>
                  <a:gd name="connsiteY332" fmla="*/ 1366062 h 1551620"/>
                  <a:gd name="connsiteX333" fmla="*/ 1029179 w 1555246"/>
                  <a:gd name="connsiteY333" fmla="*/ 1369888 h 1551620"/>
                  <a:gd name="connsiteX334" fmla="*/ 1036830 w 1555246"/>
                  <a:gd name="connsiteY334" fmla="*/ 1371801 h 1551620"/>
                  <a:gd name="connsiteX335" fmla="*/ 1044482 w 1555246"/>
                  <a:gd name="connsiteY335" fmla="*/ 1375627 h 1551620"/>
                  <a:gd name="connsiteX336" fmla="*/ 1054047 w 1555246"/>
                  <a:gd name="connsiteY336" fmla="*/ 1377540 h 1551620"/>
                  <a:gd name="connsiteX337" fmla="*/ 1069351 w 1555246"/>
                  <a:gd name="connsiteY337" fmla="*/ 1383279 h 1551620"/>
                  <a:gd name="connsiteX338" fmla="*/ 1067438 w 1555246"/>
                  <a:gd name="connsiteY338" fmla="*/ 1375627 h 1551620"/>
                  <a:gd name="connsiteX339" fmla="*/ 1071264 w 1555246"/>
                  <a:gd name="connsiteY339" fmla="*/ 1383279 h 1551620"/>
                  <a:gd name="connsiteX340" fmla="*/ 1075090 w 1555246"/>
                  <a:gd name="connsiteY340" fmla="*/ 1392843 h 1551620"/>
                  <a:gd name="connsiteX341" fmla="*/ 1096133 w 1555246"/>
                  <a:gd name="connsiteY341" fmla="*/ 1390930 h 1551620"/>
                  <a:gd name="connsiteX342" fmla="*/ 1111436 w 1555246"/>
                  <a:gd name="connsiteY342" fmla="*/ 1358410 h 1551620"/>
                  <a:gd name="connsiteX343" fmla="*/ 1113349 w 1555246"/>
                  <a:gd name="connsiteY343" fmla="*/ 1392843 h 1551620"/>
                  <a:gd name="connsiteX344" fmla="*/ 1103784 w 1555246"/>
                  <a:gd name="connsiteY344" fmla="*/ 1394756 h 1551620"/>
                  <a:gd name="connsiteX345" fmla="*/ 1138218 w 1555246"/>
                  <a:gd name="connsiteY345" fmla="*/ 1396669 h 1551620"/>
                  <a:gd name="connsiteX346" fmla="*/ 1140131 w 1555246"/>
                  <a:gd name="connsiteY346" fmla="*/ 1402408 h 1551620"/>
                  <a:gd name="connsiteX347" fmla="*/ 1142044 w 1555246"/>
                  <a:gd name="connsiteY347" fmla="*/ 1415799 h 1551620"/>
                  <a:gd name="connsiteX348" fmla="*/ 1168825 w 1555246"/>
                  <a:gd name="connsiteY348" fmla="*/ 1423451 h 1551620"/>
                  <a:gd name="connsiteX349" fmla="*/ 1182216 w 1555246"/>
                  <a:gd name="connsiteY349" fmla="*/ 1427277 h 1551620"/>
                  <a:gd name="connsiteX350" fmla="*/ 1187955 w 1555246"/>
                  <a:gd name="connsiteY350" fmla="*/ 1429190 h 1551620"/>
                  <a:gd name="connsiteX351" fmla="*/ 1191781 w 1555246"/>
                  <a:gd name="connsiteY351" fmla="*/ 1434929 h 1551620"/>
                  <a:gd name="connsiteX352" fmla="*/ 1193694 w 1555246"/>
                  <a:gd name="connsiteY352" fmla="*/ 1446407 h 1551620"/>
                  <a:gd name="connsiteX353" fmla="*/ 1195607 w 1555246"/>
                  <a:gd name="connsiteY353" fmla="*/ 1454058 h 1551620"/>
                  <a:gd name="connsiteX354" fmla="*/ 1210911 w 1555246"/>
                  <a:gd name="connsiteY354" fmla="*/ 1450233 h 1551620"/>
                  <a:gd name="connsiteX355" fmla="*/ 1224302 w 1555246"/>
                  <a:gd name="connsiteY355" fmla="*/ 1452146 h 1551620"/>
                  <a:gd name="connsiteX356" fmla="*/ 1230041 w 1555246"/>
                  <a:gd name="connsiteY356" fmla="*/ 1448320 h 1551620"/>
                  <a:gd name="connsiteX357" fmla="*/ 1233866 w 1555246"/>
                  <a:gd name="connsiteY357" fmla="*/ 1455971 h 1551620"/>
                  <a:gd name="connsiteX358" fmla="*/ 1235779 w 1555246"/>
                  <a:gd name="connsiteY358" fmla="*/ 1461710 h 1551620"/>
                  <a:gd name="connsiteX359" fmla="*/ 1239605 w 1555246"/>
                  <a:gd name="connsiteY359" fmla="*/ 1467449 h 1551620"/>
                  <a:gd name="connsiteX360" fmla="*/ 1256822 w 1555246"/>
                  <a:gd name="connsiteY360" fmla="*/ 1448320 h 1551620"/>
                  <a:gd name="connsiteX361" fmla="*/ 1272126 w 1555246"/>
                  <a:gd name="connsiteY361" fmla="*/ 1444494 h 1551620"/>
                  <a:gd name="connsiteX362" fmla="*/ 1300820 w 1555246"/>
                  <a:gd name="connsiteY362" fmla="*/ 1442581 h 1551620"/>
                  <a:gd name="connsiteX363" fmla="*/ 1310385 w 1555246"/>
                  <a:gd name="connsiteY363" fmla="*/ 1440668 h 1551620"/>
                  <a:gd name="connsiteX364" fmla="*/ 1312298 w 1555246"/>
                  <a:gd name="connsiteY364" fmla="*/ 1434929 h 1551620"/>
                  <a:gd name="connsiteX365" fmla="*/ 1318037 w 1555246"/>
                  <a:gd name="connsiteY365" fmla="*/ 1421538 h 1551620"/>
                  <a:gd name="connsiteX366" fmla="*/ 1319950 w 1555246"/>
                  <a:gd name="connsiteY366" fmla="*/ 1413886 h 1551620"/>
                  <a:gd name="connsiteX367" fmla="*/ 1323776 w 1555246"/>
                  <a:gd name="connsiteY367" fmla="*/ 1408147 h 1551620"/>
                  <a:gd name="connsiteX368" fmla="*/ 1337167 w 1555246"/>
                  <a:gd name="connsiteY368" fmla="*/ 1396669 h 1551620"/>
                  <a:gd name="connsiteX369" fmla="*/ 1346732 w 1555246"/>
                  <a:gd name="connsiteY369" fmla="*/ 1390930 h 1551620"/>
                  <a:gd name="connsiteX370" fmla="*/ 1360123 w 1555246"/>
                  <a:gd name="connsiteY370" fmla="*/ 1389017 h 1551620"/>
                  <a:gd name="connsiteX371" fmla="*/ 1365861 w 1555246"/>
                  <a:gd name="connsiteY371" fmla="*/ 1387105 h 1551620"/>
                  <a:gd name="connsiteX372" fmla="*/ 1367774 w 1555246"/>
                  <a:gd name="connsiteY372" fmla="*/ 1381366 h 1551620"/>
                  <a:gd name="connsiteX373" fmla="*/ 1369687 w 1555246"/>
                  <a:gd name="connsiteY373" fmla="*/ 1367975 h 1551620"/>
                  <a:gd name="connsiteX374" fmla="*/ 1373513 w 1555246"/>
                  <a:gd name="connsiteY374" fmla="*/ 1362236 h 1551620"/>
                  <a:gd name="connsiteX375" fmla="*/ 1381165 w 1555246"/>
                  <a:gd name="connsiteY375" fmla="*/ 1352671 h 1551620"/>
                  <a:gd name="connsiteX376" fmla="*/ 1386904 w 1555246"/>
                  <a:gd name="connsiteY376" fmla="*/ 1350758 h 1551620"/>
                  <a:gd name="connsiteX377" fmla="*/ 1400295 w 1555246"/>
                  <a:gd name="connsiteY377" fmla="*/ 1345019 h 1551620"/>
                  <a:gd name="connsiteX378" fmla="*/ 1413686 w 1555246"/>
                  <a:gd name="connsiteY378" fmla="*/ 1343106 h 1551620"/>
                  <a:gd name="connsiteX379" fmla="*/ 1430902 w 1555246"/>
                  <a:gd name="connsiteY379" fmla="*/ 1327802 h 1551620"/>
                  <a:gd name="connsiteX380" fmla="*/ 1440467 w 1555246"/>
                  <a:gd name="connsiteY380" fmla="*/ 1310586 h 1551620"/>
                  <a:gd name="connsiteX381" fmla="*/ 1442380 w 1555246"/>
                  <a:gd name="connsiteY381" fmla="*/ 1304847 h 1551620"/>
                  <a:gd name="connsiteX382" fmla="*/ 1453858 w 1555246"/>
                  <a:gd name="connsiteY382" fmla="*/ 1299108 h 1551620"/>
                  <a:gd name="connsiteX383" fmla="*/ 1451945 w 1555246"/>
                  <a:gd name="connsiteY383" fmla="*/ 1270413 h 1551620"/>
                  <a:gd name="connsiteX384" fmla="*/ 1436641 w 1555246"/>
                  <a:gd name="connsiteY384" fmla="*/ 1272326 h 1551620"/>
                  <a:gd name="connsiteX385" fmla="*/ 1404121 w 1555246"/>
                  <a:gd name="connsiteY385" fmla="*/ 1268500 h 1551620"/>
                  <a:gd name="connsiteX386" fmla="*/ 1398382 w 1555246"/>
                  <a:gd name="connsiteY386" fmla="*/ 1262761 h 1551620"/>
                  <a:gd name="connsiteX387" fmla="*/ 1379252 w 1555246"/>
                  <a:gd name="connsiteY387" fmla="*/ 1255110 h 1551620"/>
                  <a:gd name="connsiteX388" fmla="*/ 1369687 w 1555246"/>
                  <a:gd name="connsiteY388" fmla="*/ 1247458 h 1551620"/>
                  <a:gd name="connsiteX389" fmla="*/ 1354384 w 1555246"/>
                  <a:gd name="connsiteY389" fmla="*/ 1218763 h 1551620"/>
                  <a:gd name="connsiteX390" fmla="*/ 1352471 w 1555246"/>
                  <a:gd name="connsiteY390" fmla="*/ 1190069 h 1551620"/>
                  <a:gd name="connsiteX391" fmla="*/ 1360123 w 1555246"/>
                  <a:gd name="connsiteY391" fmla="*/ 1188156 h 1551620"/>
                  <a:gd name="connsiteX392" fmla="*/ 1365861 w 1555246"/>
                  <a:gd name="connsiteY392" fmla="*/ 1184330 h 1551620"/>
                  <a:gd name="connsiteX393" fmla="*/ 1367774 w 1555246"/>
                  <a:gd name="connsiteY393" fmla="*/ 1174765 h 1551620"/>
                  <a:gd name="connsiteX394" fmla="*/ 1373513 w 1555246"/>
                  <a:gd name="connsiteY394" fmla="*/ 1159461 h 1551620"/>
                  <a:gd name="connsiteX395" fmla="*/ 1371600 w 1555246"/>
                  <a:gd name="connsiteY395" fmla="*/ 1144157 h 1551620"/>
                  <a:gd name="connsiteX396" fmla="*/ 1340993 w 1555246"/>
                  <a:gd name="connsiteY396" fmla="*/ 1151809 h 1551620"/>
                  <a:gd name="connsiteX397" fmla="*/ 1337167 w 1555246"/>
                  <a:gd name="connsiteY397" fmla="*/ 1140331 h 1551620"/>
                  <a:gd name="connsiteX398" fmla="*/ 1333341 w 1555246"/>
                  <a:gd name="connsiteY398" fmla="*/ 1128853 h 1551620"/>
                  <a:gd name="connsiteX399" fmla="*/ 1327602 w 1555246"/>
                  <a:gd name="connsiteY399" fmla="*/ 1107811 h 1551620"/>
                  <a:gd name="connsiteX400" fmla="*/ 1329515 w 1555246"/>
                  <a:gd name="connsiteY400" fmla="*/ 1102072 h 1551620"/>
                  <a:gd name="connsiteX401" fmla="*/ 1331428 w 1555246"/>
                  <a:gd name="connsiteY401" fmla="*/ 1092507 h 1551620"/>
                  <a:gd name="connsiteX402" fmla="*/ 1339080 w 1555246"/>
                  <a:gd name="connsiteY402" fmla="*/ 1088681 h 1551620"/>
                  <a:gd name="connsiteX403" fmla="*/ 1344819 w 1555246"/>
                  <a:gd name="connsiteY403" fmla="*/ 1090594 h 1551620"/>
                  <a:gd name="connsiteX404" fmla="*/ 1350558 w 1555246"/>
                  <a:gd name="connsiteY404" fmla="*/ 1094420 h 1551620"/>
                  <a:gd name="connsiteX405" fmla="*/ 1377339 w 1555246"/>
                  <a:gd name="connsiteY405" fmla="*/ 1092507 h 1551620"/>
                  <a:gd name="connsiteX406" fmla="*/ 1383078 w 1555246"/>
                  <a:gd name="connsiteY406" fmla="*/ 1079116 h 1551620"/>
                  <a:gd name="connsiteX407" fmla="*/ 1388817 w 1555246"/>
                  <a:gd name="connsiteY407" fmla="*/ 1075290 h 1551620"/>
                  <a:gd name="connsiteX408" fmla="*/ 1392643 w 1555246"/>
                  <a:gd name="connsiteY408" fmla="*/ 1069551 h 1551620"/>
                  <a:gd name="connsiteX409" fmla="*/ 1398382 w 1555246"/>
                  <a:gd name="connsiteY409" fmla="*/ 1065725 h 1551620"/>
                  <a:gd name="connsiteX410" fmla="*/ 1406890 w 1555246"/>
                  <a:gd name="connsiteY410" fmla="*/ 1035118 h 1551620"/>
                  <a:gd name="connsiteX411" fmla="*/ 1389713 w 1555246"/>
                  <a:gd name="connsiteY411" fmla="*/ 1010289 h 1551620"/>
                  <a:gd name="connsiteX412" fmla="*/ 1369687 w 1555246"/>
                  <a:gd name="connsiteY412" fmla="*/ 998771 h 1551620"/>
                  <a:gd name="connsiteX413" fmla="*/ 1362035 w 1555246"/>
                  <a:gd name="connsiteY413" fmla="*/ 991120 h 1551620"/>
                  <a:gd name="connsiteX414" fmla="*/ 1358210 w 1555246"/>
                  <a:gd name="connsiteY414" fmla="*/ 975816 h 1551620"/>
                  <a:gd name="connsiteX415" fmla="*/ 1362035 w 1555246"/>
                  <a:gd name="connsiteY415" fmla="*/ 956686 h 1551620"/>
                  <a:gd name="connsiteX416" fmla="*/ 1337167 w 1555246"/>
                  <a:gd name="connsiteY416" fmla="*/ 954773 h 1551620"/>
                  <a:gd name="connsiteX417" fmla="*/ 1346732 w 1555246"/>
                  <a:gd name="connsiteY417" fmla="*/ 954773 h 1551620"/>
                  <a:gd name="connsiteX418" fmla="*/ 1367774 w 1555246"/>
                  <a:gd name="connsiteY418" fmla="*/ 949034 h 1551620"/>
                  <a:gd name="connsiteX419" fmla="*/ 1386904 w 1555246"/>
                  <a:gd name="connsiteY419" fmla="*/ 941382 h 1551620"/>
                  <a:gd name="connsiteX420" fmla="*/ 1383078 w 1555246"/>
                  <a:gd name="connsiteY420" fmla="*/ 920340 h 1551620"/>
                  <a:gd name="connsiteX421" fmla="*/ 1373513 w 1555246"/>
                  <a:gd name="connsiteY421" fmla="*/ 916514 h 1551620"/>
                  <a:gd name="connsiteX422" fmla="*/ 1367774 w 1555246"/>
                  <a:gd name="connsiteY422" fmla="*/ 912688 h 1551620"/>
                  <a:gd name="connsiteX423" fmla="*/ 1363948 w 1555246"/>
                  <a:gd name="connsiteY423" fmla="*/ 905036 h 1551620"/>
                  <a:gd name="connsiteX424" fmla="*/ 1367774 w 1555246"/>
                  <a:gd name="connsiteY424" fmla="*/ 880167 h 1551620"/>
                  <a:gd name="connsiteX425" fmla="*/ 1365861 w 1555246"/>
                  <a:gd name="connsiteY425" fmla="*/ 853386 h 1551620"/>
                  <a:gd name="connsiteX426" fmla="*/ 1352471 w 1555246"/>
                  <a:gd name="connsiteY426" fmla="*/ 849560 h 1551620"/>
                  <a:gd name="connsiteX427" fmla="*/ 1346732 w 1555246"/>
                  <a:gd name="connsiteY427" fmla="*/ 845734 h 1551620"/>
                  <a:gd name="connsiteX428" fmla="*/ 1331428 w 1555246"/>
                  <a:gd name="connsiteY428" fmla="*/ 841908 h 1551620"/>
                  <a:gd name="connsiteX429" fmla="*/ 1302733 w 1555246"/>
                  <a:gd name="connsiteY429" fmla="*/ 853386 h 1551620"/>
                  <a:gd name="connsiteX430" fmla="*/ 1298907 w 1555246"/>
                  <a:gd name="connsiteY430" fmla="*/ 859125 h 1551620"/>
                  <a:gd name="connsiteX431" fmla="*/ 1293169 w 1555246"/>
                  <a:gd name="connsiteY431" fmla="*/ 868689 h 1551620"/>
                  <a:gd name="connsiteX432" fmla="*/ 1298907 w 1555246"/>
                  <a:gd name="connsiteY432" fmla="*/ 885906 h 1551620"/>
                  <a:gd name="connsiteX433" fmla="*/ 1300820 w 1555246"/>
                  <a:gd name="connsiteY433" fmla="*/ 891645 h 1551620"/>
                  <a:gd name="connsiteX434" fmla="*/ 1296994 w 1555246"/>
                  <a:gd name="connsiteY434" fmla="*/ 903123 h 1551620"/>
                  <a:gd name="connsiteX435" fmla="*/ 1289343 w 1555246"/>
                  <a:gd name="connsiteY435" fmla="*/ 905036 h 1551620"/>
                  <a:gd name="connsiteX436" fmla="*/ 1256822 w 1555246"/>
                  <a:gd name="connsiteY436" fmla="*/ 901210 h 1551620"/>
                  <a:gd name="connsiteX437" fmla="*/ 1262561 w 1555246"/>
                  <a:gd name="connsiteY437" fmla="*/ 882080 h 1551620"/>
                  <a:gd name="connsiteX438" fmla="*/ 1272126 w 1555246"/>
                  <a:gd name="connsiteY438" fmla="*/ 880167 h 1551620"/>
                  <a:gd name="connsiteX439" fmla="*/ 1283604 w 1555246"/>
                  <a:gd name="connsiteY439" fmla="*/ 828517 h 1551620"/>
                  <a:gd name="connsiteX440" fmla="*/ 1298907 w 1555246"/>
                  <a:gd name="connsiteY440" fmla="*/ 811300 h 1551620"/>
                  <a:gd name="connsiteX441" fmla="*/ 1306559 w 1555246"/>
                  <a:gd name="connsiteY441" fmla="*/ 805561 h 1551620"/>
                  <a:gd name="connsiteX442" fmla="*/ 1316124 w 1555246"/>
                  <a:gd name="connsiteY442" fmla="*/ 780693 h 1551620"/>
                  <a:gd name="connsiteX443" fmla="*/ 1342906 w 1555246"/>
                  <a:gd name="connsiteY443" fmla="*/ 757737 h 1551620"/>
                  <a:gd name="connsiteX444" fmla="*/ 1346732 w 1555246"/>
                  <a:gd name="connsiteY444" fmla="*/ 751998 h 1551620"/>
                  <a:gd name="connsiteX445" fmla="*/ 1348645 w 1555246"/>
                  <a:gd name="connsiteY445" fmla="*/ 746259 h 1551620"/>
                  <a:gd name="connsiteX446" fmla="*/ 1360123 w 1555246"/>
                  <a:gd name="connsiteY446" fmla="*/ 732869 h 1551620"/>
                  <a:gd name="connsiteX447" fmla="*/ 1363948 w 1555246"/>
                  <a:gd name="connsiteY447" fmla="*/ 727130 h 1551620"/>
                  <a:gd name="connsiteX448" fmla="*/ 1375426 w 1555246"/>
                  <a:gd name="connsiteY448" fmla="*/ 723304 h 1551620"/>
                  <a:gd name="connsiteX449" fmla="*/ 1398382 w 1555246"/>
                  <a:gd name="connsiteY449" fmla="*/ 713739 h 1551620"/>
                  <a:gd name="connsiteX450" fmla="*/ 1404121 w 1555246"/>
                  <a:gd name="connsiteY450" fmla="*/ 709913 h 1551620"/>
                  <a:gd name="connsiteX451" fmla="*/ 1394556 w 1555246"/>
                  <a:gd name="connsiteY451" fmla="*/ 700348 h 1551620"/>
                  <a:gd name="connsiteX452" fmla="*/ 1388817 w 1555246"/>
                  <a:gd name="connsiteY452" fmla="*/ 692696 h 1551620"/>
                  <a:gd name="connsiteX453" fmla="*/ 1404121 w 1555246"/>
                  <a:gd name="connsiteY453" fmla="*/ 669740 h 1551620"/>
                  <a:gd name="connsiteX454" fmla="*/ 1413686 w 1555246"/>
                  <a:gd name="connsiteY454" fmla="*/ 675479 h 1551620"/>
                  <a:gd name="connsiteX455" fmla="*/ 1450032 w 1555246"/>
                  <a:gd name="connsiteY455" fmla="*/ 673566 h 1551620"/>
                  <a:gd name="connsiteX456" fmla="*/ 1457684 w 1555246"/>
                  <a:gd name="connsiteY456" fmla="*/ 660176 h 1551620"/>
                  <a:gd name="connsiteX457" fmla="*/ 1465336 w 1555246"/>
                  <a:gd name="connsiteY457" fmla="*/ 618090 h 1551620"/>
                  <a:gd name="connsiteX458" fmla="*/ 1472988 w 1555246"/>
                  <a:gd name="connsiteY458" fmla="*/ 572179 h 1551620"/>
                  <a:gd name="connsiteX459" fmla="*/ 1474901 w 1555246"/>
                  <a:gd name="connsiteY459" fmla="*/ 554962 h 1551620"/>
                  <a:gd name="connsiteX460" fmla="*/ 1484466 w 1555246"/>
                  <a:gd name="connsiteY460" fmla="*/ 526268 h 1551620"/>
                  <a:gd name="connsiteX461" fmla="*/ 1486379 w 1555246"/>
                  <a:gd name="connsiteY461" fmla="*/ 497573 h 1551620"/>
                  <a:gd name="connsiteX462" fmla="*/ 1490205 w 1555246"/>
                  <a:gd name="connsiteY462" fmla="*/ 491834 h 1551620"/>
                  <a:gd name="connsiteX463" fmla="*/ 1492117 w 1555246"/>
                  <a:gd name="connsiteY463" fmla="*/ 480356 h 1551620"/>
                  <a:gd name="connsiteX464" fmla="*/ 1495943 w 1555246"/>
                  <a:gd name="connsiteY464" fmla="*/ 474617 h 1551620"/>
                  <a:gd name="connsiteX465" fmla="*/ 1511247 w 1555246"/>
                  <a:gd name="connsiteY465" fmla="*/ 451662 h 1551620"/>
                  <a:gd name="connsiteX466" fmla="*/ 1524638 w 1555246"/>
                  <a:gd name="connsiteY466" fmla="*/ 438271 h 1551620"/>
                  <a:gd name="connsiteX467" fmla="*/ 1534203 w 1555246"/>
                  <a:gd name="connsiteY467" fmla="*/ 428706 h 1551620"/>
                  <a:gd name="connsiteX468" fmla="*/ 1551420 w 1555246"/>
                  <a:gd name="connsiteY468" fmla="*/ 415315 h 1551620"/>
                  <a:gd name="connsiteX469" fmla="*/ 1555246 w 1555246"/>
                  <a:gd name="connsiteY469" fmla="*/ 409576 h 1551620"/>
                  <a:gd name="connsiteX470" fmla="*/ 1549507 w 1555246"/>
                  <a:gd name="connsiteY470" fmla="*/ 403838 h 1551620"/>
                  <a:gd name="connsiteX471" fmla="*/ 1524638 w 1555246"/>
                  <a:gd name="connsiteY471" fmla="*/ 400012 h 1551620"/>
                  <a:gd name="connsiteX472" fmla="*/ 1501682 w 1555246"/>
                  <a:gd name="connsiteY472" fmla="*/ 394273 h 1551620"/>
                  <a:gd name="connsiteX473" fmla="*/ 1494030 w 1555246"/>
                  <a:gd name="connsiteY473" fmla="*/ 392360 h 1551620"/>
                  <a:gd name="connsiteX474" fmla="*/ 1484466 w 1555246"/>
                  <a:gd name="connsiteY474" fmla="*/ 390447 h 1551620"/>
                  <a:gd name="connsiteX475" fmla="*/ 1471075 w 1555246"/>
                  <a:gd name="connsiteY475" fmla="*/ 384708 h 1551620"/>
                  <a:gd name="connsiteX476" fmla="*/ 1459597 w 1555246"/>
                  <a:gd name="connsiteY476" fmla="*/ 375143 h 1551620"/>
                  <a:gd name="connsiteX477" fmla="*/ 1404121 w 1555246"/>
                  <a:gd name="connsiteY477" fmla="*/ 373230 h 1551620"/>
                  <a:gd name="connsiteX478" fmla="*/ 1392643 w 1555246"/>
                  <a:gd name="connsiteY478" fmla="*/ 369404 h 1551620"/>
                  <a:gd name="connsiteX479" fmla="*/ 1377339 w 1555246"/>
                  <a:gd name="connsiteY479" fmla="*/ 371317 h 1551620"/>
                  <a:gd name="connsiteX480" fmla="*/ 1373513 w 1555246"/>
                  <a:gd name="connsiteY480" fmla="*/ 363665 h 1551620"/>
                  <a:gd name="connsiteX481" fmla="*/ 1371600 w 1555246"/>
                  <a:gd name="connsiteY481" fmla="*/ 357926 h 1551620"/>
                  <a:gd name="connsiteX482" fmla="*/ 1369687 w 1555246"/>
                  <a:gd name="connsiteY482" fmla="*/ 350274 h 1551620"/>
                  <a:gd name="connsiteX483" fmla="*/ 1358210 w 1555246"/>
                  <a:gd name="connsiteY483" fmla="*/ 334971 h 1551620"/>
                  <a:gd name="connsiteX484" fmla="*/ 1335254 w 1555246"/>
                  <a:gd name="connsiteY484" fmla="*/ 323493 h 1551620"/>
                  <a:gd name="connsiteX485" fmla="*/ 1304646 w 1555246"/>
                  <a:gd name="connsiteY485" fmla="*/ 321580 h 1551620"/>
                  <a:gd name="connsiteX486" fmla="*/ 1298907 w 1555246"/>
                  <a:gd name="connsiteY486" fmla="*/ 313928 h 1551620"/>
                  <a:gd name="connsiteX487" fmla="*/ 1293169 w 1555246"/>
                  <a:gd name="connsiteY487" fmla="*/ 312015 h 1551620"/>
                  <a:gd name="connsiteX488" fmla="*/ 1277865 w 1555246"/>
                  <a:gd name="connsiteY488" fmla="*/ 306276 h 1551620"/>
                  <a:gd name="connsiteX489" fmla="*/ 1268300 w 1555246"/>
                  <a:gd name="connsiteY489" fmla="*/ 300537 h 1551620"/>
                  <a:gd name="connsiteX490" fmla="*/ 1258735 w 1555246"/>
                  <a:gd name="connsiteY490" fmla="*/ 292885 h 1551620"/>
                  <a:gd name="connsiteX491" fmla="*/ 1203259 w 1555246"/>
                  <a:gd name="connsiteY491" fmla="*/ 289059 h 1551620"/>
                  <a:gd name="connsiteX492" fmla="*/ 1195607 w 1555246"/>
                  <a:gd name="connsiteY492" fmla="*/ 275669 h 1551620"/>
                  <a:gd name="connsiteX493" fmla="*/ 1193694 w 1555246"/>
                  <a:gd name="connsiteY493" fmla="*/ 268017 h 1551620"/>
                  <a:gd name="connsiteX494" fmla="*/ 1180303 w 1555246"/>
                  <a:gd name="connsiteY494" fmla="*/ 256539 h 1551620"/>
                  <a:gd name="connsiteX495" fmla="*/ 1166912 w 1555246"/>
                  <a:gd name="connsiteY495" fmla="*/ 233583 h 1551620"/>
                  <a:gd name="connsiteX496" fmla="*/ 1165000 w 1555246"/>
                  <a:gd name="connsiteY496" fmla="*/ 197237 h 1551620"/>
                  <a:gd name="connsiteX497" fmla="*/ 1172651 w 1555246"/>
                  <a:gd name="connsiteY497" fmla="*/ 181933 h 1551620"/>
                  <a:gd name="connsiteX498" fmla="*/ 1166912 w 1555246"/>
                  <a:gd name="connsiteY498" fmla="*/ 180020 h 1551620"/>
                  <a:gd name="connsiteX499" fmla="*/ 1153522 w 1555246"/>
                  <a:gd name="connsiteY499" fmla="*/ 178107 h 1551620"/>
                  <a:gd name="connsiteX500" fmla="*/ 1128653 w 1555246"/>
                  <a:gd name="connsiteY500" fmla="*/ 185759 h 1551620"/>
                  <a:gd name="connsiteX501" fmla="*/ 1124827 w 1555246"/>
                  <a:gd name="connsiteY501" fmla="*/ 191498 h 1551620"/>
                  <a:gd name="connsiteX502" fmla="*/ 1130566 w 1555246"/>
                  <a:gd name="connsiteY502" fmla="*/ 193411 h 1551620"/>
                  <a:gd name="connsiteX503" fmla="*/ 1111436 w 1555246"/>
                  <a:gd name="connsiteY503" fmla="*/ 202976 h 1551620"/>
                  <a:gd name="connsiteX504" fmla="*/ 1098046 w 1555246"/>
                  <a:gd name="connsiteY504" fmla="*/ 210628 h 1551620"/>
                  <a:gd name="connsiteX505" fmla="*/ 1088481 w 1555246"/>
                  <a:gd name="connsiteY505" fmla="*/ 199150 h 1551620"/>
                  <a:gd name="connsiteX506" fmla="*/ 1092307 w 1555246"/>
                  <a:gd name="connsiteY506" fmla="*/ 183846 h 1551620"/>
                  <a:gd name="connsiteX507" fmla="*/ 1080829 w 1555246"/>
                  <a:gd name="connsiteY507" fmla="*/ 151325 h 1551620"/>
                  <a:gd name="connsiteX508" fmla="*/ 1067438 w 1555246"/>
                  <a:gd name="connsiteY508" fmla="*/ 149412 h 1551620"/>
                  <a:gd name="connsiteX509" fmla="*/ 1055960 w 1555246"/>
                  <a:gd name="connsiteY509" fmla="*/ 143674 h 1551620"/>
                  <a:gd name="connsiteX510" fmla="*/ 1044482 w 1555246"/>
                  <a:gd name="connsiteY510" fmla="*/ 139848 h 1551620"/>
                  <a:gd name="connsiteX511" fmla="*/ 1033005 w 1555246"/>
                  <a:gd name="connsiteY511" fmla="*/ 124544 h 1551620"/>
                  <a:gd name="connsiteX512" fmla="*/ 1027266 w 1555246"/>
                  <a:gd name="connsiteY512" fmla="*/ 118805 h 1551620"/>
                  <a:gd name="connsiteX513" fmla="*/ 1021527 w 1555246"/>
                  <a:gd name="connsiteY513" fmla="*/ 114979 h 1551620"/>
                  <a:gd name="connsiteX514" fmla="*/ 1010049 w 1555246"/>
                  <a:gd name="connsiteY514" fmla="*/ 101588 h 1551620"/>
                  <a:gd name="connsiteX515" fmla="*/ 1008136 w 1555246"/>
                  <a:gd name="connsiteY515" fmla="*/ 90110 h 1551620"/>
                  <a:gd name="connsiteX516" fmla="*/ 998571 w 1555246"/>
                  <a:gd name="connsiteY516" fmla="*/ 74807 h 1551620"/>
                  <a:gd name="connsiteX517" fmla="*/ 996658 w 1555246"/>
                  <a:gd name="connsiteY517" fmla="*/ 48025 h 1551620"/>
                  <a:gd name="connsiteX518" fmla="*/ 989006 w 1555246"/>
                  <a:gd name="connsiteY518" fmla="*/ 42286 h 1551620"/>
                  <a:gd name="connsiteX519" fmla="*/ 950747 w 1555246"/>
                  <a:gd name="connsiteY519" fmla="*/ 40373 h 1551620"/>
                  <a:gd name="connsiteX520" fmla="*/ 943095 w 1555246"/>
                  <a:gd name="connsiteY520" fmla="*/ 34634 h 1551620"/>
                  <a:gd name="connsiteX521" fmla="*/ 925878 w 1555246"/>
                  <a:gd name="connsiteY521" fmla="*/ 23156 h 1551620"/>
                  <a:gd name="connsiteX522" fmla="*/ 922052 w 1555246"/>
                  <a:gd name="connsiteY522" fmla="*/ 13592 h 1551620"/>
                  <a:gd name="connsiteX523" fmla="*/ 918226 w 1555246"/>
                  <a:gd name="connsiteY523" fmla="*/ 7853 h 1551620"/>
                  <a:gd name="connsiteX524" fmla="*/ 920139 w 1555246"/>
                  <a:gd name="connsiteY524" fmla="*/ 2114 h 1551620"/>
                  <a:gd name="connsiteX0" fmla="*/ 920139 w 1555246"/>
                  <a:gd name="connsiteY0" fmla="*/ 2114 h 1551620"/>
                  <a:gd name="connsiteX1" fmla="*/ 872315 w 1555246"/>
                  <a:gd name="connsiteY1" fmla="*/ 201 h 1551620"/>
                  <a:gd name="connsiteX2" fmla="*/ 835969 w 1555246"/>
                  <a:gd name="connsiteY2" fmla="*/ 5940 h 1551620"/>
                  <a:gd name="connsiteX3" fmla="*/ 830230 w 1555246"/>
                  <a:gd name="connsiteY3" fmla="*/ 9766 h 1551620"/>
                  <a:gd name="connsiteX4" fmla="*/ 822578 w 1555246"/>
                  <a:gd name="connsiteY4" fmla="*/ 11679 h 1551620"/>
                  <a:gd name="connsiteX5" fmla="*/ 816839 w 1555246"/>
                  <a:gd name="connsiteY5" fmla="*/ 19330 h 1551620"/>
                  <a:gd name="connsiteX6" fmla="*/ 813013 w 1555246"/>
                  <a:gd name="connsiteY6" fmla="*/ 32721 h 1551620"/>
                  <a:gd name="connsiteX7" fmla="*/ 805361 w 1555246"/>
                  <a:gd name="connsiteY7" fmla="*/ 44199 h 1551620"/>
                  <a:gd name="connsiteX8" fmla="*/ 801535 w 1555246"/>
                  <a:gd name="connsiteY8" fmla="*/ 63329 h 1551620"/>
                  <a:gd name="connsiteX9" fmla="*/ 797709 w 1555246"/>
                  <a:gd name="connsiteY9" fmla="*/ 78633 h 1551620"/>
                  <a:gd name="connsiteX10" fmla="*/ 795796 w 1555246"/>
                  <a:gd name="connsiteY10" fmla="*/ 88197 h 1551620"/>
                  <a:gd name="connsiteX11" fmla="*/ 791970 w 1555246"/>
                  <a:gd name="connsiteY11" fmla="*/ 97762 h 1551620"/>
                  <a:gd name="connsiteX12" fmla="*/ 790057 w 1555246"/>
                  <a:gd name="connsiteY12" fmla="*/ 103501 h 1551620"/>
                  <a:gd name="connsiteX13" fmla="*/ 788144 w 1555246"/>
                  <a:gd name="connsiteY13" fmla="*/ 113066 h 1551620"/>
                  <a:gd name="connsiteX14" fmla="*/ 774753 w 1555246"/>
                  <a:gd name="connsiteY14" fmla="*/ 132196 h 1551620"/>
                  <a:gd name="connsiteX15" fmla="*/ 770928 w 1555246"/>
                  <a:gd name="connsiteY15" fmla="*/ 137935 h 1551620"/>
                  <a:gd name="connsiteX16" fmla="*/ 757537 w 1555246"/>
                  <a:gd name="connsiteY16" fmla="*/ 158977 h 1551620"/>
                  <a:gd name="connsiteX17" fmla="*/ 751798 w 1555246"/>
                  <a:gd name="connsiteY17" fmla="*/ 160890 h 1551620"/>
                  <a:gd name="connsiteX18" fmla="*/ 746059 w 1555246"/>
                  <a:gd name="connsiteY18" fmla="*/ 164716 h 1551620"/>
                  <a:gd name="connsiteX19" fmla="*/ 738407 w 1555246"/>
                  <a:gd name="connsiteY19" fmla="*/ 170455 h 1551620"/>
                  <a:gd name="connsiteX20" fmla="*/ 713538 w 1555246"/>
                  <a:gd name="connsiteY20" fmla="*/ 178107 h 1551620"/>
                  <a:gd name="connsiteX21" fmla="*/ 686757 w 1555246"/>
                  <a:gd name="connsiteY21" fmla="*/ 185759 h 1551620"/>
                  <a:gd name="connsiteX22" fmla="*/ 665714 w 1555246"/>
                  <a:gd name="connsiteY22" fmla="*/ 191498 h 1551620"/>
                  <a:gd name="connsiteX23" fmla="*/ 644671 w 1555246"/>
                  <a:gd name="connsiteY23" fmla="*/ 195324 h 1551620"/>
                  <a:gd name="connsiteX24" fmla="*/ 633194 w 1555246"/>
                  <a:gd name="connsiteY24" fmla="*/ 202976 h 1551620"/>
                  <a:gd name="connsiteX25" fmla="*/ 615977 w 1555246"/>
                  <a:gd name="connsiteY25" fmla="*/ 212540 h 1551620"/>
                  <a:gd name="connsiteX26" fmla="*/ 606412 w 1555246"/>
                  <a:gd name="connsiteY26" fmla="*/ 224018 h 1551620"/>
                  <a:gd name="connsiteX27" fmla="*/ 615977 w 1555246"/>
                  <a:gd name="connsiteY27" fmla="*/ 233583 h 1551620"/>
                  <a:gd name="connsiteX28" fmla="*/ 642758 w 1555246"/>
                  <a:gd name="connsiteY28" fmla="*/ 248887 h 1551620"/>
                  <a:gd name="connsiteX29" fmla="*/ 635107 w 1555246"/>
                  <a:gd name="connsiteY29" fmla="*/ 254626 h 1551620"/>
                  <a:gd name="connsiteX30" fmla="*/ 615977 w 1555246"/>
                  <a:gd name="connsiteY30" fmla="*/ 262278 h 1551620"/>
                  <a:gd name="connsiteX31" fmla="*/ 598760 w 1555246"/>
                  <a:gd name="connsiteY31" fmla="*/ 266104 h 1551620"/>
                  <a:gd name="connsiteX32" fmla="*/ 562414 w 1555246"/>
                  <a:gd name="connsiteY32" fmla="*/ 268017 h 1551620"/>
                  <a:gd name="connsiteX33" fmla="*/ 554762 w 1555246"/>
                  <a:gd name="connsiteY33" fmla="*/ 264191 h 1551620"/>
                  <a:gd name="connsiteX34" fmla="*/ 549023 w 1555246"/>
                  <a:gd name="connsiteY34" fmla="*/ 260365 h 1551620"/>
                  <a:gd name="connsiteX35" fmla="*/ 522241 w 1555246"/>
                  <a:gd name="connsiteY35" fmla="*/ 258452 h 1551620"/>
                  <a:gd name="connsiteX36" fmla="*/ 493547 w 1555246"/>
                  <a:gd name="connsiteY36" fmla="*/ 243148 h 1551620"/>
                  <a:gd name="connsiteX37" fmla="*/ 489721 w 1555246"/>
                  <a:gd name="connsiteY37" fmla="*/ 237409 h 1551620"/>
                  <a:gd name="connsiteX38" fmla="*/ 483982 w 1555246"/>
                  <a:gd name="connsiteY38" fmla="*/ 235496 h 1551620"/>
                  <a:gd name="connsiteX39" fmla="*/ 459113 w 1555246"/>
                  <a:gd name="connsiteY39" fmla="*/ 231670 h 1551620"/>
                  <a:gd name="connsiteX40" fmla="*/ 439984 w 1555246"/>
                  <a:gd name="connsiteY40" fmla="*/ 210628 h 1551620"/>
                  <a:gd name="connsiteX41" fmla="*/ 462939 w 1555246"/>
                  <a:gd name="connsiteY41" fmla="*/ 197237 h 1551620"/>
                  <a:gd name="connsiteX42" fmla="*/ 441897 w 1555246"/>
                  <a:gd name="connsiteY42" fmla="*/ 191498 h 1551620"/>
                  <a:gd name="connsiteX43" fmla="*/ 428506 w 1555246"/>
                  <a:gd name="connsiteY43" fmla="*/ 183846 h 1551620"/>
                  <a:gd name="connsiteX44" fmla="*/ 420854 w 1555246"/>
                  <a:gd name="connsiteY44" fmla="*/ 181933 h 1551620"/>
                  <a:gd name="connsiteX45" fmla="*/ 403637 w 1555246"/>
                  <a:gd name="connsiteY45" fmla="*/ 176194 h 1551620"/>
                  <a:gd name="connsiteX46" fmla="*/ 392159 w 1555246"/>
                  <a:gd name="connsiteY46" fmla="*/ 168542 h 1551620"/>
                  <a:gd name="connsiteX47" fmla="*/ 382594 w 1555246"/>
                  <a:gd name="connsiteY47" fmla="*/ 162803 h 1551620"/>
                  <a:gd name="connsiteX48" fmla="*/ 390246 w 1555246"/>
                  <a:gd name="connsiteY48" fmla="*/ 176194 h 1551620"/>
                  <a:gd name="connsiteX49" fmla="*/ 386420 w 1555246"/>
                  <a:gd name="connsiteY49" fmla="*/ 193411 h 1551620"/>
                  <a:gd name="connsiteX50" fmla="*/ 380682 w 1555246"/>
                  <a:gd name="connsiteY50" fmla="*/ 210628 h 1551620"/>
                  <a:gd name="connsiteX51" fmla="*/ 378769 w 1555246"/>
                  <a:gd name="connsiteY51" fmla="*/ 216366 h 1551620"/>
                  <a:gd name="connsiteX52" fmla="*/ 376856 w 1555246"/>
                  <a:gd name="connsiteY52" fmla="*/ 225931 h 1551620"/>
                  <a:gd name="connsiteX53" fmla="*/ 378769 w 1555246"/>
                  <a:gd name="connsiteY53" fmla="*/ 237409 h 1551620"/>
                  <a:gd name="connsiteX54" fmla="*/ 386420 w 1555246"/>
                  <a:gd name="connsiteY54" fmla="*/ 239322 h 1551620"/>
                  <a:gd name="connsiteX55" fmla="*/ 390246 w 1555246"/>
                  <a:gd name="connsiteY55" fmla="*/ 246974 h 1551620"/>
                  <a:gd name="connsiteX56" fmla="*/ 390246 w 1555246"/>
                  <a:gd name="connsiteY56" fmla="*/ 294798 h 1551620"/>
                  <a:gd name="connsiteX57" fmla="*/ 392159 w 1555246"/>
                  <a:gd name="connsiteY57" fmla="*/ 357926 h 1551620"/>
                  <a:gd name="connsiteX58" fmla="*/ 394072 w 1555246"/>
                  <a:gd name="connsiteY58" fmla="*/ 363665 h 1551620"/>
                  <a:gd name="connsiteX59" fmla="*/ 403637 w 1555246"/>
                  <a:gd name="connsiteY59" fmla="*/ 367491 h 1551620"/>
                  <a:gd name="connsiteX60" fmla="*/ 361552 w 1555246"/>
                  <a:gd name="connsiteY60" fmla="*/ 363665 h 1551620"/>
                  <a:gd name="connsiteX61" fmla="*/ 355813 w 1555246"/>
                  <a:gd name="connsiteY61" fmla="*/ 359839 h 1551620"/>
                  <a:gd name="connsiteX62" fmla="*/ 346248 w 1555246"/>
                  <a:gd name="connsiteY62" fmla="*/ 375143 h 1551620"/>
                  <a:gd name="connsiteX63" fmla="*/ 336683 w 1555246"/>
                  <a:gd name="connsiteY63" fmla="*/ 369404 h 1551620"/>
                  <a:gd name="connsiteX64" fmla="*/ 332857 w 1555246"/>
                  <a:gd name="connsiteY64" fmla="*/ 357926 h 1551620"/>
                  <a:gd name="connsiteX65" fmla="*/ 321379 w 1555246"/>
                  <a:gd name="connsiteY65" fmla="*/ 352187 h 1551620"/>
                  <a:gd name="connsiteX66" fmla="*/ 313728 w 1555246"/>
                  <a:gd name="connsiteY66" fmla="*/ 346448 h 1551620"/>
                  <a:gd name="connsiteX67" fmla="*/ 306076 w 1555246"/>
                  <a:gd name="connsiteY67" fmla="*/ 342623 h 1551620"/>
                  <a:gd name="connsiteX68" fmla="*/ 300337 w 1555246"/>
                  <a:gd name="connsiteY68" fmla="*/ 338797 h 1551620"/>
                  <a:gd name="connsiteX69" fmla="*/ 296511 w 1555246"/>
                  <a:gd name="connsiteY69" fmla="*/ 346448 h 1551620"/>
                  <a:gd name="connsiteX70" fmla="*/ 288859 w 1555246"/>
                  <a:gd name="connsiteY70" fmla="*/ 356013 h 1551620"/>
                  <a:gd name="connsiteX71" fmla="*/ 277381 w 1555246"/>
                  <a:gd name="connsiteY71" fmla="*/ 357926 h 1551620"/>
                  <a:gd name="connsiteX72" fmla="*/ 254425 w 1555246"/>
                  <a:gd name="connsiteY72" fmla="*/ 361752 h 1551620"/>
                  <a:gd name="connsiteX73" fmla="*/ 252512 w 1555246"/>
                  <a:gd name="connsiteY73" fmla="*/ 346448 h 1551620"/>
                  <a:gd name="connsiteX74" fmla="*/ 250600 w 1555246"/>
                  <a:gd name="connsiteY74" fmla="*/ 338797 h 1551620"/>
                  <a:gd name="connsiteX75" fmla="*/ 242948 w 1555246"/>
                  <a:gd name="connsiteY75" fmla="*/ 321580 h 1551620"/>
                  <a:gd name="connsiteX76" fmla="*/ 237209 w 1555246"/>
                  <a:gd name="connsiteY76" fmla="*/ 310102 h 1551620"/>
                  <a:gd name="connsiteX77" fmla="*/ 229557 w 1555246"/>
                  <a:gd name="connsiteY77" fmla="*/ 302450 h 1551620"/>
                  <a:gd name="connsiteX78" fmla="*/ 225731 w 1555246"/>
                  <a:gd name="connsiteY78" fmla="*/ 296711 h 1551620"/>
                  <a:gd name="connsiteX79" fmla="*/ 214253 w 1555246"/>
                  <a:gd name="connsiteY79" fmla="*/ 294798 h 1551620"/>
                  <a:gd name="connsiteX80" fmla="*/ 197036 w 1555246"/>
                  <a:gd name="connsiteY80" fmla="*/ 285233 h 1551620"/>
                  <a:gd name="connsiteX81" fmla="*/ 172168 w 1555246"/>
                  <a:gd name="connsiteY81" fmla="*/ 290972 h 1551620"/>
                  <a:gd name="connsiteX82" fmla="*/ 153038 w 1555246"/>
                  <a:gd name="connsiteY82" fmla="*/ 292885 h 1551620"/>
                  <a:gd name="connsiteX83" fmla="*/ 154951 w 1555246"/>
                  <a:gd name="connsiteY83" fmla="*/ 298624 h 1551620"/>
                  <a:gd name="connsiteX84" fmla="*/ 158777 w 1555246"/>
                  <a:gd name="connsiteY84" fmla="*/ 304363 h 1551620"/>
                  <a:gd name="connsiteX85" fmla="*/ 153038 w 1555246"/>
                  <a:gd name="connsiteY85" fmla="*/ 306276 h 1551620"/>
                  <a:gd name="connsiteX86" fmla="*/ 133908 w 1555246"/>
                  <a:gd name="connsiteY86" fmla="*/ 306276 h 1551620"/>
                  <a:gd name="connsiteX87" fmla="*/ 131995 w 1555246"/>
                  <a:gd name="connsiteY87" fmla="*/ 312015 h 1551620"/>
                  <a:gd name="connsiteX88" fmla="*/ 118605 w 1555246"/>
                  <a:gd name="connsiteY88" fmla="*/ 304363 h 1551620"/>
                  <a:gd name="connsiteX89" fmla="*/ 110953 w 1555246"/>
                  <a:gd name="connsiteY89" fmla="*/ 315841 h 1551620"/>
                  <a:gd name="connsiteX90" fmla="*/ 107127 w 1555246"/>
                  <a:gd name="connsiteY90" fmla="*/ 306276 h 1551620"/>
                  <a:gd name="connsiteX91" fmla="*/ 86084 w 1555246"/>
                  <a:gd name="connsiteY91" fmla="*/ 296711 h 1551620"/>
                  <a:gd name="connsiteX92" fmla="*/ 40173 w 1555246"/>
                  <a:gd name="connsiteY92" fmla="*/ 298624 h 1551620"/>
                  <a:gd name="connsiteX93" fmla="*/ 32521 w 1555246"/>
                  <a:gd name="connsiteY93" fmla="*/ 300537 h 1551620"/>
                  <a:gd name="connsiteX94" fmla="*/ 13391 w 1555246"/>
                  <a:gd name="connsiteY94" fmla="*/ 310102 h 1551620"/>
                  <a:gd name="connsiteX95" fmla="*/ 5739 w 1555246"/>
                  <a:gd name="connsiteY95" fmla="*/ 319667 h 1551620"/>
                  <a:gd name="connsiteX96" fmla="*/ 0 w 1555246"/>
                  <a:gd name="connsiteY96" fmla="*/ 334971 h 1551620"/>
                  <a:gd name="connsiteX97" fmla="*/ 7652 w 1555246"/>
                  <a:gd name="connsiteY97" fmla="*/ 340710 h 1551620"/>
                  <a:gd name="connsiteX98" fmla="*/ 13391 w 1555246"/>
                  <a:gd name="connsiteY98" fmla="*/ 348361 h 1551620"/>
                  <a:gd name="connsiteX99" fmla="*/ 21043 w 1555246"/>
                  <a:gd name="connsiteY99" fmla="*/ 350274 h 1551620"/>
                  <a:gd name="connsiteX100" fmla="*/ 26782 w 1555246"/>
                  <a:gd name="connsiteY100" fmla="*/ 354100 h 1551620"/>
                  <a:gd name="connsiteX101" fmla="*/ 47825 w 1555246"/>
                  <a:gd name="connsiteY101" fmla="*/ 359839 h 1551620"/>
                  <a:gd name="connsiteX102" fmla="*/ 57389 w 1555246"/>
                  <a:gd name="connsiteY102" fmla="*/ 373230 h 1551620"/>
                  <a:gd name="connsiteX103" fmla="*/ 63128 w 1555246"/>
                  <a:gd name="connsiteY103" fmla="*/ 371317 h 1551620"/>
                  <a:gd name="connsiteX104" fmla="*/ 72693 w 1555246"/>
                  <a:gd name="connsiteY104" fmla="*/ 361752 h 1551620"/>
                  <a:gd name="connsiteX105" fmla="*/ 68867 w 1555246"/>
                  <a:gd name="connsiteY105" fmla="*/ 380882 h 1551620"/>
                  <a:gd name="connsiteX106" fmla="*/ 59302 w 1555246"/>
                  <a:gd name="connsiteY106" fmla="*/ 400012 h 1551620"/>
                  <a:gd name="connsiteX107" fmla="*/ 53564 w 1555246"/>
                  <a:gd name="connsiteY107" fmla="*/ 401925 h 1551620"/>
                  <a:gd name="connsiteX108" fmla="*/ 42086 w 1555246"/>
                  <a:gd name="connsiteY108" fmla="*/ 388534 h 1551620"/>
                  <a:gd name="connsiteX109" fmla="*/ 40173 w 1555246"/>
                  <a:gd name="connsiteY109" fmla="*/ 382795 h 1551620"/>
                  <a:gd name="connsiteX110" fmla="*/ 38260 w 1555246"/>
                  <a:gd name="connsiteY110" fmla="*/ 375143 h 1551620"/>
                  <a:gd name="connsiteX111" fmla="*/ 30608 w 1555246"/>
                  <a:gd name="connsiteY111" fmla="*/ 369404 h 1551620"/>
                  <a:gd name="connsiteX112" fmla="*/ 21043 w 1555246"/>
                  <a:gd name="connsiteY112" fmla="*/ 371317 h 1551620"/>
                  <a:gd name="connsiteX113" fmla="*/ 17217 w 1555246"/>
                  <a:gd name="connsiteY113" fmla="*/ 382795 h 1551620"/>
                  <a:gd name="connsiteX114" fmla="*/ 7652 w 1555246"/>
                  <a:gd name="connsiteY114" fmla="*/ 398099 h 1551620"/>
                  <a:gd name="connsiteX115" fmla="*/ 0 w 1555246"/>
                  <a:gd name="connsiteY115" fmla="*/ 400012 h 1551620"/>
                  <a:gd name="connsiteX116" fmla="*/ 9565 w 1555246"/>
                  <a:gd name="connsiteY116" fmla="*/ 407664 h 1551620"/>
                  <a:gd name="connsiteX117" fmla="*/ 17217 w 1555246"/>
                  <a:gd name="connsiteY117" fmla="*/ 409576 h 1551620"/>
                  <a:gd name="connsiteX118" fmla="*/ 19130 w 1555246"/>
                  <a:gd name="connsiteY118" fmla="*/ 415315 h 1551620"/>
                  <a:gd name="connsiteX119" fmla="*/ 22956 w 1555246"/>
                  <a:gd name="connsiteY119" fmla="*/ 428706 h 1551620"/>
                  <a:gd name="connsiteX120" fmla="*/ 26782 w 1555246"/>
                  <a:gd name="connsiteY120" fmla="*/ 442097 h 1551620"/>
                  <a:gd name="connsiteX121" fmla="*/ 30608 w 1555246"/>
                  <a:gd name="connsiteY121" fmla="*/ 449749 h 1551620"/>
                  <a:gd name="connsiteX122" fmla="*/ 36347 w 1555246"/>
                  <a:gd name="connsiteY122" fmla="*/ 459314 h 1551620"/>
                  <a:gd name="connsiteX123" fmla="*/ 42086 w 1555246"/>
                  <a:gd name="connsiteY123" fmla="*/ 463140 h 1551620"/>
                  <a:gd name="connsiteX124" fmla="*/ 61215 w 1555246"/>
                  <a:gd name="connsiteY124" fmla="*/ 461227 h 1551620"/>
                  <a:gd name="connsiteX125" fmla="*/ 66954 w 1555246"/>
                  <a:gd name="connsiteY125" fmla="*/ 459314 h 1551620"/>
                  <a:gd name="connsiteX126" fmla="*/ 68867 w 1555246"/>
                  <a:gd name="connsiteY126" fmla="*/ 453575 h 1551620"/>
                  <a:gd name="connsiteX127" fmla="*/ 74606 w 1555246"/>
                  <a:gd name="connsiteY127" fmla="*/ 447836 h 1551620"/>
                  <a:gd name="connsiteX128" fmla="*/ 91823 w 1555246"/>
                  <a:gd name="connsiteY128" fmla="*/ 455488 h 1551620"/>
                  <a:gd name="connsiteX129" fmla="*/ 93736 w 1555246"/>
                  <a:gd name="connsiteY129" fmla="*/ 465053 h 1551620"/>
                  <a:gd name="connsiteX130" fmla="*/ 103301 w 1555246"/>
                  <a:gd name="connsiteY130" fmla="*/ 476530 h 1551620"/>
                  <a:gd name="connsiteX131" fmla="*/ 131995 w 1555246"/>
                  <a:gd name="connsiteY131" fmla="*/ 480356 h 1551620"/>
                  <a:gd name="connsiteX132" fmla="*/ 139647 w 1555246"/>
                  <a:gd name="connsiteY132" fmla="*/ 482269 h 1551620"/>
                  <a:gd name="connsiteX133" fmla="*/ 145386 w 1555246"/>
                  <a:gd name="connsiteY133" fmla="*/ 488008 h 1551620"/>
                  <a:gd name="connsiteX134" fmla="*/ 156864 w 1555246"/>
                  <a:gd name="connsiteY134" fmla="*/ 493747 h 1551620"/>
                  <a:gd name="connsiteX135" fmla="*/ 158777 w 1555246"/>
                  <a:gd name="connsiteY135" fmla="*/ 499486 h 1551620"/>
                  <a:gd name="connsiteX136" fmla="*/ 166429 w 1555246"/>
                  <a:gd name="connsiteY136" fmla="*/ 512877 h 1551620"/>
                  <a:gd name="connsiteX137" fmla="*/ 185558 w 1555246"/>
                  <a:gd name="connsiteY137" fmla="*/ 528181 h 1551620"/>
                  <a:gd name="connsiteX138" fmla="*/ 191297 w 1555246"/>
                  <a:gd name="connsiteY138" fmla="*/ 524355 h 1551620"/>
                  <a:gd name="connsiteX139" fmla="*/ 208514 w 1555246"/>
                  <a:gd name="connsiteY139" fmla="*/ 520529 h 1551620"/>
                  <a:gd name="connsiteX140" fmla="*/ 214253 w 1555246"/>
                  <a:gd name="connsiteY140" fmla="*/ 522442 h 1551620"/>
                  <a:gd name="connsiteX141" fmla="*/ 219992 w 1555246"/>
                  <a:gd name="connsiteY141" fmla="*/ 551136 h 1551620"/>
                  <a:gd name="connsiteX142" fmla="*/ 225731 w 1555246"/>
                  <a:gd name="connsiteY142" fmla="*/ 547310 h 1551620"/>
                  <a:gd name="connsiteX143" fmla="*/ 229557 w 1555246"/>
                  <a:gd name="connsiteY143" fmla="*/ 541571 h 1551620"/>
                  <a:gd name="connsiteX144" fmla="*/ 235296 w 1555246"/>
                  <a:gd name="connsiteY144" fmla="*/ 539658 h 1551620"/>
                  <a:gd name="connsiteX145" fmla="*/ 242948 w 1555246"/>
                  <a:gd name="connsiteY145" fmla="*/ 543484 h 1551620"/>
                  <a:gd name="connsiteX146" fmla="*/ 250600 w 1555246"/>
                  <a:gd name="connsiteY146" fmla="*/ 549223 h 1551620"/>
                  <a:gd name="connsiteX147" fmla="*/ 263990 w 1555246"/>
                  <a:gd name="connsiteY147" fmla="*/ 553049 h 1551620"/>
                  <a:gd name="connsiteX148" fmla="*/ 265903 w 1555246"/>
                  <a:gd name="connsiteY148" fmla="*/ 560701 h 1551620"/>
                  <a:gd name="connsiteX149" fmla="*/ 252512 w 1555246"/>
                  <a:gd name="connsiteY149" fmla="*/ 574092 h 1551620"/>
                  <a:gd name="connsiteX150" fmla="*/ 250600 w 1555246"/>
                  <a:gd name="connsiteY150" fmla="*/ 579831 h 1551620"/>
                  <a:gd name="connsiteX151" fmla="*/ 246774 w 1555246"/>
                  <a:gd name="connsiteY151" fmla="*/ 585570 h 1551620"/>
                  <a:gd name="connsiteX152" fmla="*/ 260164 w 1555246"/>
                  <a:gd name="connsiteY152" fmla="*/ 593222 h 1551620"/>
                  <a:gd name="connsiteX153" fmla="*/ 307989 w 1555246"/>
                  <a:gd name="connsiteY153" fmla="*/ 595135 h 1551620"/>
                  <a:gd name="connsiteX154" fmla="*/ 313728 w 1555246"/>
                  <a:gd name="connsiteY154" fmla="*/ 600874 h 1551620"/>
                  <a:gd name="connsiteX155" fmla="*/ 325205 w 1555246"/>
                  <a:gd name="connsiteY155" fmla="*/ 608525 h 1551620"/>
                  <a:gd name="connsiteX156" fmla="*/ 317553 w 1555246"/>
                  <a:gd name="connsiteY156" fmla="*/ 612351 h 1551620"/>
                  <a:gd name="connsiteX157" fmla="*/ 313728 w 1555246"/>
                  <a:gd name="connsiteY157" fmla="*/ 604699 h 1551620"/>
                  <a:gd name="connsiteX158" fmla="*/ 302250 w 1555246"/>
                  <a:gd name="connsiteY158" fmla="*/ 598961 h 1551620"/>
                  <a:gd name="connsiteX159" fmla="*/ 288859 w 1555246"/>
                  <a:gd name="connsiteY159" fmla="*/ 600874 h 1551620"/>
                  <a:gd name="connsiteX160" fmla="*/ 277381 w 1555246"/>
                  <a:gd name="connsiteY160" fmla="*/ 602787 h 1551620"/>
                  <a:gd name="connsiteX161" fmla="*/ 275468 w 1555246"/>
                  <a:gd name="connsiteY161" fmla="*/ 608525 h 1551620"/>
                  <a:gd name="connsiteX162" fmla="*/ 277381 w 1555246"/>
                  <a:gd name="connsiteY162" fmla="*/ 623829 h 1551620"/>
                  <a:gd name="connsiteX163" fmla="*/ 285033 w 1555246"/>
                  <a:gd name="connsiteY163" fmla="*/ 627655 h 1551620"/>
                  <a:gd name="connsiteX164" fmla="*/ 281207 w 1555246"/>
                  <a:gd name="connsiteY164" fmla="*/ 646785 h 1551620"/>
                  <a:gd name="connsiteX165" fmla="*/ 275468 w 1555246"/>
                  <a:gd name="connsiteY165" fmla="*/ 652524 h 1551620"/>
                  <a:gd name="connsiteX166" fmla="*/ 271642 w 1555246"/>
                  <a:gd name="connsiteY166" fmla="*/ 665915 h 1551620"/>
                  <a:gd name="connsiteX167" fmla="*/ 275468 w 1555246"/>
                  <a:gd name="connsiteY167" fmla="*/ 686957 h 1551620"/>
                  <a:gd name="connsiteX168" fmla="*/ 283120 w 1555246"/>
                  <a:gd name="connsiteY168" fmla="*/ 702261 h 1551620"/>
                  <a:gd name="connsiteX169" fmla="*/ 285033 w 1555246"/>
                  <a:gd name="connsiteY169" fmla="*/ 708000 h 1551620"/>
                  <a:gd name="connsiteX170" fmla="*/ 288859 w 1555246"/>
                  <a:gd name="connsiteY170" fmla="*/ 727130 h 1551620"/>
                  <a:gd name="connsiteX171" fmla="*/ 294598 w 1555246"/>
                  <a:gd name="connsiteY171" fmla="*/ 732869 h 1551620"/>
                  <a:gd name="connsiteX172" fmla="*/ 300337 w 1555246"/>
                  <a:gd name="connsiteY172" fmla="*/ 746259 h 1551620"/>
                  <a:gd name="connsiteX173" fmla="*/ 304163 w 1555246"/>
                  <a:gd name="connsiteY173" fmla="*/ 751998 h 1551620"/>
                  <a:gd name="connsiteX174" fmla="*/ 309902 w 1555246"/>
                  <a:gd name="connsiteY174" fmla="*/ 753911 h 1551620"/>
                  <a:gd name="connsiteX175" fmla="*/ 355813 w 1555246"/>
                  <a:gd name="connsiteY175" fmla="*/ 757737 h 1551620"/>
                  <a:gd name="connsiteX176" fmla="*/ 357726 w 1555246"/>
                  <a:gd name="connsiteY176" fmla="*/ 769215 h 1551620"/>
                  <a:gd name="connsiteX177" fmla="*/ 363465 w 1555246"/>
                  <a:gd name="connsiteY177" fmla="*/ 773041 h 1551620"/>
                  <a:gd name="connsiteX178" fmla="*/ 371117 w 1555246"/>
                  <a:gd name="connsiteY178" fmla="*/ 782606 h 1551620"/>
                  <a:gd name="connsiteX179" fmla="*/ 382594 w 1555246"/>
                  <a:gd name="connsiteY179" fmla="*/ 790258 h 1551620"/>
                  <a:gd name="connsiteX180" fmla="*/ 388333 w 1555246"/>
                  <a:gd name="connsiteY180" fmla="*/ 797910 h 1551620"/>
                  <a:gd name="connsiteX181" fmla="*/ 392159 w 1555246"/>
                  <a:gd name="connsiteY181" fmla="*/ 805561 h 1551620"/>
                  <a:gd name="connsiteX182" fmla="*/ 384507 w 1555246"/>
                  <a:gd name="connsiteY182" fmla="*/ 799823 h 1551620"/>
                  <a:gd name="connsiteX183" fmla="*/ 373030 w 1555246"/>
                  <a:gd name="connsiteY183" fmla="*/ 790258 h 1551620"/>
                  <a:gd name="connsiteX184" fmla="*/ 359639 w 1555246"/>
                  <a:gd name="connsiteY184" fmla="*/ 782606 h 1551620"/>
                  <a:gd name="connsiteX185" fmla="*/ 329031 w 1555246"/>
                  <a:gd name="connsiteY185" fmla="*/ 784519 h 1551620"/>
                  <a:gd name="connsiteX186" fmla="*/ 330944 w 1555246"/>
                  <a:gd name="connsiteY186" fmla="*/ 797910 h 1551620"/>
                  <a:gd name="connsiteX187" fmla="*/ 340509 w 1555246"/>
                  <a:gd name="connsiteY187" fmla="*/ 799823 h 1551620"/>
                  <a:gd name="connsiteX188" fmla="*/ 348161 w 1555246"/>
                  <a:gd name="connsiteY188" fmla="*/ 801735 h 1551620"/>
                  <a:gd name="connsiteX189" fmla="*/ 353900 w 1555246"/>
                  <a:gd name="connsiteY189" fmla="*/ 805561 h 1551620"/>
                  <a:gd name="connsiteX190" fmla="*/ 361552 w 1555246"/>
                  <a:gd name="connsiteY190" fmla="*/ 811300 h 1551620"/>
                  <a:gd name="connsiteX191" fmla="*/ 378769 w 1555246"/>
                  <a:gd name="connsiteY191" fmla="*/ 815126 h 1551620"/>
                  <a:gd name="connsiteX192" fmla="*/ 388333 w 1555246"/>
                  <a:gd name="connsiteY192" fmla="*/ 820865 h 1551620"/>
                  <a:gd name="connsiteX193" fmla="*/ 378769 w 1555246"/>
                  <a:gd name="connsiteY193" fmla="*/ 841908 h 1551620"/>
                  <a:gd name="connsiteX194" fmla="*/ 373030 w 1555246"/>
                  <a:gd name="connsiteY194" fmla="*/ 843821 h 1551620"/>
                  <a:gd name="connsiteX195" fmla="*/ 361552 w 1555246"/>
                  <a:gd name="connsiteY195" fmla="*/ 841908 h 1551620"/>
                  <a:gd name="connsiteX196" fmla="*/ 350074 w 1555246"/>
                  <a:gd name="connsiteY196" fmla="*/ 834256 h 1551620"/>
                  <a:gd name="connsiteX197" fmla="*/ 338596 w 1555246"/>
                  <a:gd name="connsiteY197" fmla="*/ 836169 h 1551620"/>
                  <a:gd name="connsiteX198" fmla="*/ 348161 w 1555246"/>
                  <a:gd name="connsiteY198" fmla="*/ 849560 h 1551620"/>
                  <a:gd name="connsiteX199" fmla="*/ 355813 w 1555246"/>
                  <a:gd name="connsiteY199" fmla="*/ 861038 h 1551620"/>
                  <a:gd name="connsiteX200" fmla="*/ 359639 w 1555246"/>
                  <a:gd name="connsiteY200" fmla="*/ 870602 h 1551620"/>
                  <a:gd name="connsiteX201" fmla="*/ 357726 w 1555246"/>
                  <a:gd name="connsiteY201" fmla="*/ 882080 h 1551620"/>
                  <a:gd name="connsiteX202" fmla="*/ 371117 w 1555246"/>
                  <a:gd name="connsiteY202" fmla="*/ 883993 h 1551620"/>
                  <a:gd name="connsiteX203" fmla="*/ 378769 w 1555246"/>
                  <a:gd name="connsiteY203" fmla="*/ 885906 h 1551620"/>
                  <a:gd name="connsiteX204" fmla="*/ 376856 w 1555246"/>
                  <a:gd name="connsiteY204" fmla="*/ 893558 h 1551620"/>
                  <a:gd name="connsiteX205" fmla="*/ 378769 w 1555246"/>
                  <a:gd name="connsiteY205" fmla="*/ 903123 h 1551620"/>
                  <a:gd name="connsiteX206" fmla="*/ 382594 w 1555246"/>
                  <a:gd name="connsiteY206" fmla="*/ 908862 h 1551620"/>
                  <a:gd name="connsiteX207" fmla="*/ 388333 w 1555246"/>
                  <a:gd name="connsiteY207" fmla="*/ 918427 h 1551620"/>
                  <a:gd name="connsiteX208" fmla="*/ 394072 w 1555246"/>
                  <a:gd name="connsiteY208" fmla="*/ 933730 h 1551620"/>
                  <a:gd name="connsiteX209" fmla="*/ 399811 w 1555246"/>
                  <a:gd name="connsiteY209" fmla="*/ 937556 h 1551620"/>
                  <a:gd name="connsiteX210" fmla="*/ 403637 w 1555246"/>
                  <a:gd name="connsiteY210" fmla="*/ 945208 h 1551620"/>
                  <a:gd name="connsiteX211" fmla="*/ 405550 w 1555246"/>
                  <a:gd name="connsiteY211" fmla="*/ 952860 h 1551620"/>
                  <a:gd name="connsiteX212" fmla="*/ 409376 w 1555246"/>
                  <a:gd name="connsiteY212" fmla="*/ 964338 h 1551620"/>
                  <a:gd name="connsiteX213" fmla="*/ 411289 w 1555246"/>
                  <a:gd name="connsiteY213" fmla="*/ 971990 h 1551620"/>
                  <a:gd name="connsiteX214" fmla="*/ 415115 w 1555246"/>
                  <a:gd name="connsiteY214" fmla="*/ 979642 h 1551620"/>
                  <a:gd name="connsiteX215" fmla="*/ 417028 w 1555246"/>
                  <a:gd name="connsiteY215" fmla="*/ 989207 h 1551620"/>
                  <a:gd name="connsiteX216" fmla="*/ 422767 w 1555246"/>
                  <a:gd name="connsiteY216" fmla="*/ 996858 h 1551620"/>
                  <a:gd name="connsiteX217" fmla="*/ 424680 w 1555246"/>
                  <a:gd name="connsiteY217" fmla="*/ 1012162 h 1551620"/>
                  <a:gd name="connsiteX218" fmla="*/ 420854 w 1555246"/>
                  <a:gd name="connsiteY218" fmla="*/ 1044683 h 1551620"/>
                  <a:gd name="connsiteX219" fmla="*/ 413202 w 1555246"/>
                  <a:gd name="connsiteY219" fmla="*/ 1037031 h 1551620"/>
                  <a:gd name="connsiteX220" fmla="*/ 409376 w 1555246"/>
                  <a:gd name="connsiteY220" fmla="*/ 1027466 h 1551620"/>
                  <a:gd name="connsiteX221" fmla="*/ 403637 w 1555246"/>
                  <a:gd name="connsiteY221" fmla="*/ 1019814 h 1551620"/>
                  <a:gd name="connsiteX222" fmla="*/ 401724 w 1555246"/>
                  <a:gd name="connsiteY222" fmla="*/ 1012162 h 1551620"/>
                  <a:gd name="connsiteX223" fmla="*/ 399811 w 1555246"/>
                  <a:gd name="connsiteY223" fmla="*/ 1002597 h 1551620"/>
                  <a:gd name="connsiteX224" fmla="*/ 395985 w 1555246"/>
                  <a:gd name="connsiteY224" fmla="*/ 994946 h 1551620"/>
                  <a:gd name="connsiteX225" fmla="*/ 392159 w 1555246"/>
                  <a:gd name="connsiteY225" fmla="*/ 973903 h 1551620"/>
                  <a:gd name="connsiteX226" fmla="*/ 386420 w 1555246"/>
                  <a:gd name="connsiteY226" fmla="*/ 968164 h 1551620"/>
                  <a:gd name="connsiteX227" fmla="*/ 384507 w 1555246"/>
                  <a:gd name="connsiteY227" fmla="*/ 954773 h 1551620"/>
                  <a:gd name="connsiteX228" fmla="*/ 380682 w 1555246"/>
                  <a:gd name="connsiteY228" fmla="*/ 949034 h 1551620"/>
                  <a:gd name="connsiteX229" fmla="*/ 371117 w 1555246"/>
                  <a:gd name="connsiteY229" fmla="*/ 937556 h 1551620"/>
                  <a:gd name="connsiteX230" fmla="*/ 357726 w 1555246"/>
                  <a:gd name="connsiteY230" fmla="*/ 939469 h 1551620"/>
                  <a:gd name="connsiteX231" fmla="*/ 344335 w 1555246"/>
                  <a:gd name="connsiteY231" fmla="*/ 954773 h 1551620"/>
                  <a:gd name="connsiteX232" fmla="*/ 342422 w 1555246"/>
                  <a:gd name="connsiteY232" fmla="*/ 968164 h 1551620"/>
                  <a:gd name="connsiteX233" fmla="*/ 338596 w 1555246"/>
                  <a:gd name="connsiteY233" fmla="*/ 973903 h 1551620"/>
                  <a:gd name="connsiteX234" fmla="*/ 336683 w 1555246"/>
                  <a:gd name="connsiteY234" fmla="*/ 981555 h 1551620"/>
                  <a:gd name="connsiteX235" fmla="*/ 334770 w 1555246"/>
                  <a:gd name="connsiteY235" fmla="*/ 991120 h 1551620"/>
                  <a:gd name="connsiteX236" fmla="*/ 329031 w 1555246"/>
                  <a:gd name="connsiteY236" fmla="*/ 1012162 h 1551620"/>
                  <a:gd name="connsiteX237" fmla="*/ 325205 w 1555246"/>
                  <a:gd name="connsiteY237" fmla="*/ 1021727 h 1551620"/>
                  <a:gd name="connsiteX238" fmla="*/ 319466 w 1555246"/>
                  <a:gd name="connsiteY238" fmla="*/ 1031292 h 1551620"/>
                  <a:gd name="connsiteX239" fmla="*/ 321379 w 1555246"/>
                  <a:gd name="connsiteY239" fmla="*/ 1056161 h 1551620"/>
                  <a:gd name="connsiteX240" fmla="*/ 350074 w 1555246"/>
                  <a:gd name="connsiteY240" fmla="*/ 1059987 h 1551620"/>
                  <a:gd name="connsiteX241" fmla="*/ 348161 w 1555246"/>
                  <a:gd name="connsiteY241" fmla="*/ 1067638 h 1551620"/>
                  <a:gd name="connsiteX242" fmla="*/ 336683 w 1555246"/>
                  <a:gd name="connsiteY242" fmla="*/ 1081029 h 1551620"/>
                  <a:gd name="connsiteX243" fmla="*/ 332857 w 1555246"/>
                  <a:gd name="connsiteY243" fmla="*/ 1096333 h 1551620"/>
                  <a:gd name="connsiteX244" fmla="*/ 329031 w 1555246"/>
                  <a:gd name="connsiteY244" fmla="*/ 1102072 h 1551620"/>
                  <a:gd name="connsiteX245" fmla="*/ 327118 w 1555246"/>
                  <a:gd name="connsiteY245" fmla="*/ 1113550 h 1551620"/>
                  <a:gd name="connsiteX246" fmla="*/ 321379 w 1555246"/>
                  <a:gd name="connsiteY246" fmla="*/ 1125028 h 1551620"/>
                  <a:gd name="connsiteX247" fmla="*/ 311815 w 1555246"/>
                  <a:gd name="connsiteY247" fmla="*/ 1140331 h 1551620"/>
                  <a:gd name="connsiteX248" fmla="*/ 309902 w 1555246"/>
                  <a:gd name="connsiteY248" fmla="*/ 1147983 h 1551620"/>
                  <a:gd name="connsiteX249" fmla="*/ 304163 w 1555246"/>
                  <a:gd name="connsiteY249" fmla="*/ 1172852 h 1551620"/>
                  <a:gd name="connsiteX250" fmla="*/ 294598 w 1555246"/>
                  <a:gd name="connsiteY250" fmla="*/ 1188156 h 1551620"/>
                  <a:gd name="connsiteX251" fmla="*/ 285033 w 1555246"/>
                  <a:gd name="connsiteY251" fmla="*/ 1211111 h 1551620"/>
                  <a:gd name="connsiteX252" fmla="*/ 283120 w 1555246"/>
                  <a:gd name="connsiteY252" fmla="*/ 1218763 h 1551620"/>
                  <a:gd name="connsiteX253" fmla="*/ 279294 w 1555246"/>
                  <a:gd name="connsiteY253" fmla="*/ 1237893 h 1551620"/>
                  <a:gd name="connsiteX254" fmla="*/ 275468 w 1555246"/>
                  <a:gd name="connsiteY254" fmla="*/ 1245545 h 1551620"/>
                  <a:gd name="connsiteX255" fmla="*/ 269729 w 1555246"/>
                  <a:gd name="connsiteY255" fmla="*/ 1258935 h 1551620"/>
                  <a:gd name="connsiteX256" fmla="*/ 260164 w 1555246"/>
                  <a:gd name="connsiteY256" fmla="*/ 1274239 h 1551620"/>
                  <a:gd name="connsiteX257" fmla="*/ 258251 w 1555246"/>
                  <a:gd name="connsiteY257" fmla="*/ 1281891 h 1551620"/>
                  <a:gd name="connsiteX258" fmla="*/ 250600 w 1555246"/>
                  <a:gd name="connsiteY258" fmla="*/ 1279978 h 1551620"/>
                  <a:gd name="connsiteX259" fmla="*/ 244861 w 1555246"/>
                  <a:gd name="connsiteY259" fmla="*/ 1278065 h 1551620"/>
                  <a:gd name="connsiteX260" fmla="*/ 246774 w 1555246"/>
                  <a:gd name="connsiteY260" fmla="*/ 1287630 h 1551620"/>
                  <a:gd name="connsiteX261" fmla="*/ 244861 w 1555246"/>
                  <a:gd name="connsiteY261" fmla="*/ 1302934 h 1551620"/>
                  <a:gd name="connsiteX262" fmla="*/ 250600 w 1555246"/>
                  <a:gd name="connsiteY262" fmla="*/ 1304847 h 1551620"/>
                  <a:gd name="connsiteX263" fmla="*/ 265903 w 1555246"/>
                  <a:gd name="connsiteY263" fmla="*/ 1318238 h 1551620"/>
                  <a:gd name="connsiteX264" fmla="*/ 263990 w 1555246"/>
                  <a:gd name="connsiteY264" fmla="*/ 1337367 h 1551620"/>
                  <a:gd name="connsiteX265" fmla="*/ 263990 w 1555246"/>
                  <a:gd name="connsiteY265" fmla="*/ 1358410 h 1551620"/>
                  <a:gd name="connsiteX266" fmla="*/ 271642 w 1555246"/>
                  <a:gd name="connsiteY266" fmla="*/ 1360323 h 1551620"/>
                  <a:gd name="connsiteX267" fmla="*/ 285033 w 1555246"/>
                  <a:gd name="connsiteY267" fmla="*/ 1364149 h 1551620"/>
                  <a:gd name="connsiteX268" fmla="*/ 290772 w 1555246"/>
                  <a:gd name="connsiteY268" fmla="*/ 1367975 h 1551620"/>
                  <a:gd name="connsiteX269" fmla="*/ 304163 w 1555246"/>
                  <a:gd name="connsiteY269" fmla="*/ 1377540 h 1551620"/>
                  <a:gd name="connsiteX270" fmla="*/ 323292 w 1555246"/>
                  <a:gd name="connsiteY270" fmla="*/ 1381366 h 1551620"/>
                  <a:gd name="connsiteX271" fmla="*/ 334770 w 1555246"/>
                  <a:gd name="connsiteY271" fmla="*/ 1389017 h 1551620"/>
                  <a:gd name="connsiteX272" fmla="*/ 346248 w 1555246"/>
                  <a:gd name="connsiteY272" fmla="*/ 1400495 h 1551620"/>
                  <a:gd name="connsiteX273" fmla="*/ 353900 w 1555246"/>
                  <a:gd name="connsiteY273" fmla="*/ 1425364 h 1551620"/>
                  <a:gd name="connsiteX274" fmla="*/ 382594 w 1555246"/>
                  <a:gd name="connsiteY274" fmla="*/ 1423451 h 1551620"/>
                  <a:gd name="connsiteX275" fmla="*/ 394072 w 1555246"/>
                  <a:gd name="connsiteY275" fmla="*/ 1419625 h 1551620"/>
                  <a:gd name="connsiteX276" fmla="*/ 413202 w 1555246"/>
                  <a:gd name="connsiteY276" fmla="*/ 1425364 h 1551620"/>
                  <a:gd name="connsiteX277" fmla="*/ 422767 w 1555246"/>
                  <a:gd name="connsiteY277" fmla="*/ 1434929 h 1551620"/>
                  <a:gd name="connsiteX278" fmla="*/ 428506 w 1555246"/>
                  <a:gd name="connsiteY278" fmla="*/ 1440668 h 1551620"/>
                  <a:gd name="connsiteX279" fmla="*/ 436158 w 1555246"/>
                  <a:gd name="connsiteY279" fmla="*/ 1452146 h 1551620"/>
                  <a:gd name="connsiteX280" fmla="*/ 455287 w 1555246"/>
                  <a:gd name="connsiteY280" fmla="*/ 1450233 h 1551620"/>
                  <a:gd name="connsiteX281" fmla="*/ 462939 w 1555246"/>
                  <a:gd name="connsiteY281" fmla="*/ 1448320 h 1551620"/>
                  <a:gd name="connsiteX282" fmla="*/ 480156 w 1555246"/>
                  <a:gd name="connsiteY282" fmla="*/ 1452146 h 1551620"/>
                  <a:gd name="connsiteX283" fmla="*/ 485895 w 1555246"/>
                  <a:gd name="connsiteY283" fmla="*/ 1455971 h 1551620"/>
                  <a:gd name="connsiteX284" fmla="*/ 493547 w 1555246"/>
                  <a:gd name="connsiteY284" fmla="*/ 1461710 h 1551620"/>
                  <a:gd name="connsiteX285" fmla="*/ 499286 w 1555246"/>
                  <a:gd name="connsiteY285" fmla="*/ 1463623 h 1551620"/>
                  <a:gd name="connsiteX286" fmla="*/ 520328 w 1555246"/>
                  <a:gd name="connsiteY286" fmla="*/ 1459797 h 1551620"/>
                  <a:gd name="connsiteX287" fmla="*/ 522241 w 1555246"/>
                  <a:gd name="connsiteY287" fmla="*/ 1454058 h 1551620"/>
                  <a:gd name="connsiteX288" fmla="*/ 529893 w 1555246"/>
                  <a:gd name="connsiteY288" fmla="*/ 1433016 h 1551620"/>
                  <a:gd name="connsiteX289" fmla="*/ 552849 w 1555246"/>
                  <a:gd name="connsiteY289" fmla="*/ 1434929 h 1551620"/>
                  <a:gd name="connsiteX290" fmla="*/ 570066 w 1555246"/>
                  <a:gd name="connsiteY290" fmla="*/ 1446407 h 1551620"/>
                  <a:gd name="connsiteX291" fmla="*/ 583456 w 1555246"/>
                  <a:gd name="connsiteY291" fmla="*/ 1455971 h 1551620"/>
                  <a:gd name="connsiteX292" fmla="*/ 600673 w 1555246"/>
                  <a:gd name="connsiteY292" fmla="*/ 1467449 h 1551620"/>
                  <a:gd name="connsiteX293" fmla="*/ 617890 w 1555246"/>
                  <a:gd name="connsiteY293" fmla="*/ 1477014 h 1551620"/>
                  <a:gd name="connsiteX294" fmla="*/ 625542 w 1555246"/>
                  <a:gd name="connsiteY294" fmla="*/ 1478927 h 1551620"/>
                  <a:gd name="connsiteX295" fmla="*/ 627455 w 1555246"/>
                  <a:gd name="connsiteY295" fmla="*/ 1484666 h 1551620"/>
                  <a:gd name="connsiteX296" fmla="*/ 633194 w 1555246"/>
                  <a:gd name="connsiteY296" fmla="*/ 1482753 h 1551620"/>
                  <a:gd name="connsiteX297" fmla="*/ 648497 w 1555246"/>
                  <a:gd name="connsiteY297" fmla="*/ 1480840 h 1551620"/>
                  <a:gd name="connsiteX298" fmla="*/ 658062 w 1555246"/>
                  <a:gd name="connsiteY298" fmla="*/ 1482753 h 1551620"/>
                  <a:gd name="connsiteX299" fmla="*/ 667627 w 1555246"/>
                  <a:gd name="connsiteY299" fmla="*/ 1494231 h 1551620"/>
                  <a:gd name="connsiteX300" fmla="*/ 669540 w 1555246"/>
                  <a:gd name="connsiteY300" fmla="*/ 1521012 h 1551620"/>
                  <a:gd name="connsiteX301" fmla="*/ 677192 w 1555246"/>
                  <a:gd name="connsiteY301" fmla="*/ 1526751 h 1551620"/>
                  <a:gd name="connsiteX302" fmla="*/ 688670 w 1555246"/>
                  <a:gd name="connsiteY302" fmla="*/ 1536316 h 1551620"/>
                  <a:gd name="connsiteX303" fmla="*/ 711625 w 1555246"/>
                  <a:gd name="connsiteY303" fmla="*/ 1528664 h 1551620"/>
                  <a:gd name="connsiteX304" fmla="*/ 734581 w 1555246"/>
                  <a:gd name="connsiteY304" fmla="*/ 1530577 h 1551620"/>
                  <a:gd name="connsiteX305" fmla="*/ 751798 w 1555246"/>
                  <a:gd name="connsiteY305" fmla="*/ 1545881 h 1551620"/>
                  <a:gd name="connsiteX306" fmla="*/ 767102 w 1555246"/>
                  <a:gd name="connsiteY306" fmla="*/ 1551620 h 1551620"/>
                  <a:gd name="connsiteX307" fmla="*/ 786231 w 1555246"/>
                  <a:gd name="connsiteY307" fmla="*/ 1547794 h 1551620"/>
                  <a:gd name="connsiteX308" fmla="*/ 793883 w 1555246"/>
                  <a:gd name="connsiteY308" fmla="*/ 1532490 h 1551620"/>
                  <a:gd name="connsiteX309" fmla="*/ 803448 w 1555246"/>
                  <a:gd name="connsiteY309" fmla="*/ 1528664 h 1551620"/>
                  <a:gd name="connsiteX310" fmla="*/ 841707 w 1555246"/>
                  <a:gd name="connsiteY310" fmla="*/ 1526751 h 1551620"/>
                  <a:gd name="connsiteX311" fmla="*/ 839794 w 1555246"/>
                  <a:gd name="connsiteY311" fmla="*/ 1494231 h 1551620"/>
                  <a:gd name="connsiteX312" fmla="*/ 832143 w 1555246"/>
                  <a:gd name="connsiteY312" fmla="*/ 1478927 h 1551620"/>
                  <a:gd name="connsiteX313" fmla="*/ 830230 w 1555246"/>
                  <a:gd name="connsiteY313" fmla="*/ 1471275 h 1551620"/>
                  <a:gd name="connsiteX314" fmla="*/ 835969 w 1555246"/>
                  <a:gd name="connsiteY314" fmla="*/ 1459797 h 1551620"/>
                  <a:gd name="connsiteX315" fmla="*/ 837882 w 1555246"/>
                  <a:gd name="connsiteY315" fmla="*/ 1440668 h 1551620"/>
                  <a:gd name="connsiteX316" fmla="*/ 839794 w 1555246"/>
                  <a:gd name="connsiteY316" fmla="*/ 1433016 h 1551620"/>
                  <a:gd name="connsiteX317" fmla="*/ 845533 w 1555246"/>
                  <a:gd name="connsiteY317" fmla="*/ 1429190 h 1551620"/>
                  <a:gd name="connsiteX318" fmla="*/ 858924 w 1555246"/>
                  <a:gd name="connsiteY318" fmla="*/ 1417712 h 1551620"/>
                  <a:gd name="connsiteX319" fmla="*/ 864663 w 1555246"/>
                  <a:gd name="connsiteY319" fmla="*/ 1415799 h 1551620"/>
                  <a:gd name="connsiteX320" fmla="*/ 870402 w 1555246"/>
                  <a:gd name="connsiteY320" fmla="*/ 1410060 h 1551620"/>
                  <a:gd name="connsiteX321" fmla="*/ 876141 w 1555246"/>
                  <a:gd name="connsiteY321" fmla="*/ 1406234 h 1551620"/>
                  <a:gd name="connsiteX322" fmla="*/ 879967 w 1555246"/>
                  <a:gd name="connsiteY322" fmla="*/ 1400495 h 1551620"/>
                  <a:gd name="connsiteX323" fmla="*/ 904835 w 1555246"/>
                  <a:gd name="connsiteY323" fmla="*/ 1387105 h 1551620"/>
                  <a:gd name="connsiteX324" fmla="*/ 910574 w 1555246"/>
                  <a:gd name="connsiteY324" fmla="*/ 1385192 h 1551620"/>
                  <a:gd name="connsiteX325" fmla="*/ 925878 w 1555246"/>
                  <a:gd name="connsiteY325" fmla="*/ 1381366 h 1551620"/>
                  <a:gd name="connsiteX326" fmla="*/ 943095 w 1555246"/>
                  <a:gd name="connsiteY326" fmla="*/ 1369888 h 1551620"/>
                  <a:gd name="connsiteX327" fmla="*/ 950747 w 1555246"/>
                  <a:gd name="connsiteY327" fmla="*/ 1366062 h 1551620"/>
                  <a:gd name="connsiteX328" fmla="*/ 971789 w 1555246"/>
                  <a:gd name="connsiteY328" fmla="*/ 1348845 h 1551620"/>
                  <a:gd name="connsiteX329" fmla="*/ 983267 w 1555246"/>
                  <a:gd name="connsiteY329" fmla="*/ 1354584 h 1551620"/>
                  <a:gd name="connsiteX330" fmla="*/ 987093 w 1555246"/>
                  <a:gd name="connsiteY330" fmla="*/ 1360323 h 1551620"/>
                  <a:gd name="connsiteX331" fmla="*/ 994745 w 1555246"/>
                  <a:gd name="connsiteY331" fmla="*/ 1362236 h 1551620"/>
                  <a:gd name="connsiteX332" fmla="*/ 1004310 w 1555246"/>
                  <a:gd name="connsiteY332" fmla="*/ 1366062 h 1551620"/>
                  <a:gd name="connsiteX333" fmla="*/ 1029179 w 1555246"/>
                  <a:gd name="connsiteY333" fmla="*/ 1369888 h 1551620"/>
                  <a:gd name="connsiteX334" fmla="*/ 1036830 w 1555246"/>
                  <a:gd name="connsiteY334" fmla="*/ 1371801 h 1551620"/>
                  <a:gd name="connsiteX335" fmla="*/ 1044482 w 1555246"/>
                  <a:gd name="connsiteY335" fmla="*/ 1375627 h 1551620"/>
                  <a:gd name="connsiteX336" fmla="*/ 1054047 w 1555246"/>
                  <a:gd name="connsiteY336" fmla="*/ 1377540 h 1551620"/>
                  <a:gd name="connsiteX337" fmla="*/ 1069351 w 1555246"/>
                  <a:gd name="connsiteY337" fmla="*/ 1383279 h 1551620"/>
                  <a:gd name="connsiteX338" fmla="*/ 1067438 w 1555246"/>
                  <a:gd name="connsiteY338" fmla="*/ 1375627 h 1551620"/>
                  <a:gd name="connsiteX339" fmla="*/ 1071264 w 1555246"/>
                  <a:gd name="connsiteY339" fmla="*/ 1383279 h 1551620"/>
                  <a:gd name="connsiteX340" fmla="*/ 1075090 w 1555246"/>
                  <a:gd name="connsiteY340" fmla="*/ 1392843 h 1551620"/>
                  <a:gd name="connsiteX341" fmla="*/ 1096133 w 1555246"/>
                  <a:gd name="connsiteY341" fmla="*/ 1390930 h 1551620"/>
                  <a:gd name="connsiteX342" fmla="*/ 1111436 w 1555246"/>
                  <a:gd name="connsiteY342" fmla="*/ 1358410 h 1551620"/>
                  <a:gd name="connsiteX343" fmla="*/ 1113349 w 1555246"/>
                  <a:gd name="connsiteY343" fmla="*/ 1392843 h 1551620"/>
                  <a:gd name="connsiteX344" fmla="*/ 1103784 w 1555246"/>
                  <a:gd name="connsiteY344" fmla="*/ 1394756 h 1551620"/>
                  <a:gd name="connsiteX345" fmla="*/ 1138218 w 1555246"/>
                  <a:gd name="connsiteY345" fmla="*/ 1396669 h 1551620"/>
                  <a:gd name="connsiteX346" fmla="*/ 1140131 w 1555246"/>
                  <a:gd name="connsiteY346" fmla="*/ 1402408 h 1551620"/>
                  <a:gd name="connsiteX347" fmla="*/ 1142044 w 1555246"/>
                  <a:gd name="connsiteY347" fmla="*/ 1415799 h 1551620"/>
                  <a:gd name="connsiteX348" fmla="*/ 1168825 w 1555246"/>
                  <a:gd name="connsiteY348" fmla="*/ 1423451 h 1551620"/>
                  <a:gd name="connsiteX349" fmla="*/ 1182216 w 1555246"/>
                  <a:gd name="connsiteY349" fmla="*/ 1427277 h 1551620"/>
                  <a:gd name="connsiteX350" fmla="*/ 1187955 w 1555246"/>
                  <a:gd name="connsiteY350" fmla="*/ 1429190 h 1551620"/>
                  <a:gd name="connsiteX351" fmla="*/ 1191781 w 1555246"/>
                  <a:gd name="connsiteY351" fmla="*/ 1434929 h 1551620"/>
                  <a:gd name="connsiteX352" fmla="*/ 1193694 w 1555246"/>
                  <a:gd name="connsiteY352" fmla="*/ 1446407 h 1551620"/>
                  <a:gd name="connsiteX353" fmla="*/ 1195607 w 1555246"/>
                  <a:gd name="connsiteY353" fmla="*/ 1454058 h 1551620"/>
                  <a:gd name="connsiteX354" fmla="*/ 1210911 w 1555246"/>
                  <a:gd name="connsiteY354" fmla="*/ 1450233 h 1551620"/>
                  <a:gd name="connsiteX355" fmla="*/ 1224302 w 1555246"/>
                  <a:gd name="connsiteY355" fmla="*/ 1452146 h 1551620"/>
                  <a:gd name="connsiteX356" fmla="*/ 1230041 w 1555246"/>
                  <a:gd name="connsiteY356" fmla="*/ 1448320 h 1551620"/>
                  <a:gd name="connsiteX357" fmla="*/ 1233866 w 1555246"/>
                  <a:gd name="connsiteY357" fmla="*/ 1455971 h 1551620"/>
                  <a:gd name="connsiteX358" fmla="*/ 1235779 w 1555246"/>
                  <a:gd name="connsiteY358" fmla="*/ 1461710 h 1551620"/>
                  <a:gd name="connsiteX359" fmla="*/ 1239605 w 1555246"/>
                  <a:gd name="connsiteY359" fmla="*/ 1467449 h 1551620"/>
                  <a:gd name="connsiteX360" fmla="*/ 1256822 w 1555246"/>
                  <a:gd name="connsiteY360" fmla="*/ 1448320 h 1551620"/>
                  <a:gd name="connsiteX361" fmla="*/ 1272126 w 1555246"/>
                  <a:gd name="connsiteY361" fmla="*/ 1444494 h 1551620"/>
                  <a:gd name="connsiteX362" fmla="*/ 1300820 w 1555246"/>
                  <a:gd name="connsiteY362" fmla="*/ 1442581 h 1551620"/>
                  <a:gd name="connsiteX363" fmla="*/ 1310385 w 1555246"/>
                  <a:gd name="connsiteY363" fmla="*/ 1440668 h 1551620"/>
                  <a:gd name="connsiteX364" fmla="*/ 1312298 w 1555246"/>
                  <a:gd name="connsiteY364" fmla="*/ 1434929 h 1551620"/>
                  <a:gd name="connsiteX365" fmla="*/ 1318037 w 1555246"/>
                  <a:gd name="connsiteY365" fmla="*/ 1421538 h 1551620"/>
                  <a:gd name="connsiteX366" fmla="*/ 1319950 w 1555246"/>
                  <a:gd name="connsiteY366" fmla="*/ 1413886 h 1551620"/>
                  <a:gd name="connsiteX367" fmla="*/ 1323776 w 1555246"/>
                  <a:gd name="connsiteY367" fmla="*/ 1408147 h 1551620"/>
                  <a:gd name="connsiteX368" fmla="*/ 1337167 w 1555246"/>
                  <a:gd name="connsiteY368" fmla="*/ 1396669 h 1551620"/>
                  <a:gd name="connsiteX369" fmla="*/ 1346732 w 1555246"/>
                  <a:gd name="connsiteY369" fmla="*/ 1390930 h 1551620"/>
                  <a:gd name="connsiteX370" fmla="*/ 1360123 w 1555246"/>
                  <a:gd name="connsiteY370" fmla="*/ 1389017 h 1551620"/>
                  <a:gd name="connsiteX371" fmla="*/ 1365861 w 1555246"/>
                  <a:gd name="connsiteY371" fmla="*/ 1387105 h 1551620"/>
                  <a:gd name="connsiteX372" fmla="*/ 1367774 w 1555246"/>
                  <a:gd name="connsiteY372" fmla="*/ 1381366 h 1551620"/>
                  <a:gd name="connsiteX373" fmla="*/ 1369687 w 1555246"/>
                  <a:gd name="connsiteY373" fmla="*/ 1367975 h 1551620"/>
                  <a:gd name="connsiteX374" fmla="*/ 1373513 w 1555246"/>
                  <a:gd name="connsiteY374" fmla="*/ 1362236 h 1551620"/>
                  <a:gd name="connsiteX375" fmla="*/ 1381165 w 1555246"/>
                  <a:gd name="connsiteY375" fmla="*/ 1352671 h 1551620"/>
                  <a:gd name="connsiteX376" fmla="*/ 1386904 w 1555246"/>
                  <a:gd name="connsiteY376" fmla="*/ 1350758 h 1551620"/>
                  <a:gd name="connsiteX377" fmla="*/ 1400295 w 1555246"/>
                  <a:gd name="connsiteY377" fmla="*/ 1345019 h 1551620"/>
                  <a:gd name="connsiteX378" fmla="*/ 1413686 w 1555246"/>
                  <a:gd name="connsiteY378" fmla="*/ 1343106 h 1551620"/>
                  <a:gd name="connsiteX379" fmla="*/ 1430902 w 1555246"/>
                  <a:gd name="connsiteY379" fmla="*/ 1327802 h 1551620"/>
                  <a:gd name="connsiteX380" fmla="*/ 1440467 w 1555246"/>
                  <a:gd name="connsiteY380" fmla="*/ 1310586 h 1551620"/>
                  <a:gd name="connsiteX381" fmla="*/ 1442380 w 1555246"/>
                  <a:gd name="connsiteY381" fmla="*/ 1304847 h 1551620"/>
                  <a:gd name="connsiteX382" fmla="*/ 1453858 w 1555246"/>
                  <a:gd name="connsiteY382" fmla="*/ 1299108 h 1551620"/>
                  <a:gd name="connsiteX383" fmla="*/ 1451945 w 1555246"/>
                  <a:gd name="connsiteY383" fmla="*/ 1270413 h 1551620"/>
                  <a:gd name="connsiteX384" fmla="*/ 1436641 w 1555246"/>
                  <a:gd name="connsiteY384" fmla="*/ 1272326 h 1551620"/>
                  <a:gd name="connsiteX385" fmla="*/ 1404121 w 1555246"/>
                  <a:gd name="connsiteY385" fmla="*/ 1268500 h 1551620"/>
                  <a:gd name="connsiteX386" fmla="*/ 1398382 w 1555246"/>
                  <a:gd name="connsiteY386" fmla="*/ 1262761 h 1551620"/>
                  <a:gd name="connsiteX387" fmla="*/ 1379252 w 1555246"/>
                  <a:gd name="connsiteY387" fmla="*/ 1255110 h 1551620"/>
                  <a:gd name="connsiteX388" fmla="*/ 1369687 w 1555246"/>
                  <a:gd name="connsiteY388" fmla="*/ 1247458 h 1551620"/>
                  <a:gd name="connsiteX389" fmla="*/ 1354384 w 1555246"/>
                  <a:gd name="connsiteY389" fmla="*/ 1218763 h 1551620"/>
                  <a:gd name="connsiteX390" fmla="*/ 1352471 w 1555246"/>
                  <a:gd name="connsiteY390" fmla="*/ 1190069 h 1551620"/>
                  <a:gd name="connsiteX391" fmla="*/ 1360123 w 1555246"/>
                  <a:gd name="connsiteY391" fmla="*/ 1188156 h 1551620"/>
                  <a:gd name="connsiteX392" fmla="*/ 1365861 w 1555246"/>
                  <a:gd name="connsiteY392" fmla="*/ 1184330 h 1551620"/>
                  <a:gd name="connsiteX393" fmla="*/ 1367774 w 1555246"/>
                  <a:gd name="connsiteY393" fmla="*/ 1174765 h 1551620"/>
                  <a:gd name="connsiteX394" fmla="*/ 1373513 w 1555246"/>
                  <a:gd name="connsiteY394" fmla="*/ 1159461 h 1551620"/>
                  <a:gd name="connsiteX395" fmla="*/ 1371600 w 1555246"/>
                  <a:gd name="connsiteY395" fmla="*/ 1144157 h 1551620"/>
                  <a:gd name="connsiteX396" fmla="*/ 1340993 w 1555246"/>
                  <a:gd name="connsiteY396" fmla="*/ 1151809 h 1551620"/>
                  <a:gd name="connsiteX397" fmla="*/ 1337167 w 1555246"/>
                  <a:gd name="connsiteY397" fmla="*/ 1140331 h 1551620"/>
                  <a:gd name="connsiteX398" fmla="*/ 1333341 w 1555246"/>
                  <a:gd name="connsiteY398" fmla="*/ 1128853 h 1551620"/>
                  <a:gd name="connsiteX399" fmla="*/ 1327602 w 1555246"/>
                  <a:gd name="connsiteY399" fmla="*/ 1107811 h 1551620"/>
                  <a:gd name="connsiteX400" fmla="*/ 1329515 w 1555246"/>
                  <a:gd name="connsiteY400" fmla="*/ 1102072 h 1551620"/>
                  <a:gd name="connsiteX401" fmla="*/ 1331428 w 1555246"/>
                  <a:gd name="connsiteY401" fmla="*/ 1092507 h 1551620"/>
                  <a:gd name="connsiteX402" fmla="*/ 1339080 w 1555246"/>
                  <a:gd name="connsiteY402" fmla="*/ 1088681 h 1551620"/>
                  <a:gd name="connsiteX403" fmla="*/ 1344819 w 1555246"/>
                  <a:gd name="connsiteY403" fmla="*/ 1090594 h 1551620"/>
                  <a:gd name="connsiteX404" fmla="*/ 1350558 w 1555246"/>
                  <a:gd name="connsiteY404" fmla="*/ 1094420 h 1551620"/>
                  <a:gd name="connsiteX405" fmla="*/ 1377339 w 1555246"/>
                  <a:gd name="connsiteY405" fmla="*/ 1092507 h 1551620"/>
                  <a:gd name="connsiteX406" fmla="*/ 1383078 w 1555246"/>
                  <a:gd name="connsiteY406" fmla="*/ 1079116 h 1551620"/>
                  <a:gd name="connsiteX407" fmla="*/ 1388817 w 1555246"/>
                  <a:gd name="connsiteY407" fmla="*/ 1075290 h 1551620"/>
                  <a:gd name="connsiteX408" fmla="*/ 1392643 w 1555246"/>
                  <a:gd name="connsiteY408" fmla="*/ 1069551 h 1551620"/>
                  <a:gd name="connsiteX409" fmla="*/ 1398382 w 1555246"/>
                  <a:gd name="connsiteY409" fmla="*/ 1065725 h 1551620"/>
                  <a:gd name="connsiteX410" fmla="*/ 1406890 w 1555246"/>
                  <a:gd name="connsiteY410" fmla="*/ 1035118 h 1551620"/>
                  <a:gd name="connsiteX411" fmla="*/ 1389713 w 1555246"/>
                  <a:gd name="connsiteY411" fmla="*/ 1010289 h 1551620"/>
                  <a:gd name="connsiteX412" fmla="*/ 1369687 w 1555246"/>
                  <a:gd name="connsiteY412" fmla="*/ 998771 h 1551620"/>
                  <a:gd name="connsiteX413" fmla="*/ 1362035 w 1555246"/>
                  <a:gd name="connsiteY413" fmla="*/ 991120 h 1551620"/>
                  <a:gd name="connsiteX414" fmla="*/ 1358210 w 1555246"/>
                  <a:gd name="connsiteY414" fmla="*/ 975816 h 1551620"/>
                  <a:gd name="connsiteX415" fmla="*/ 1362035 w 1555246"/>
                  <a:gd name="connsiteY415" fmla="*/ 956686 h 1551620"/>
                  <a:gd name="connsiteX416" fmla="*/ 1337167 w 1555246"/>
                  <a:gd name="connsiteY416" fmla="*/ 954773 h 1551620"/>
                  <a:gd name="connsiteX417" fmla="*/ 1367774 w 1555246"/>
                  <a:gd name="connsiteY417" fmla="*/ 949034 h 1551620"/>
                  <a:gd name="connsiteX418" fmla="*/ 1386904 w 1555246"/>
                  <a:gd name="connsiteY418" fmla="*/ 941382 h 1551620"/>
                  <a:gd name="connsiteX419" fmla="*/ 1383078 w 1555246"/>
                  <a:gd name="connsiteY419" fmla="*/ 920340 h 1551620"/>
                  <a:gd name="connsiteX420" fmla="*/ 1373513 w 1555246"/>
                  <a:gd name="connsiteY420" fmla="*/ 916514 h 1551620"/>
                  <a:gd name="connsiteX421" fmla="*/ 1367774 w 1555246"/>
                  <a:gd name="connsiteY421" fmla="*/ 912688 h 1551620"/>
                  <a:gd name="connsiteX422" fmla="*/ 1363948 w 1555246"/>
                  <a:gd name="connsiteY422" fmla="*/ 905036 h 1551620"/>
                  <a:gd name="connsiteX423" fmla="*/ 1367774 w 1555246"/>
                  <a:gd name="connsiteY423" fmla="*/ 880167 h 1551620"/>
                  <a:gd name="connsiteX424" fmla="*/ 1365861 w 1555246"/>
                  <a:gd name="connsiteY424" fmla="*/ 853386 h 1551620"/>
                  <a:gd name="connsiteX425" fmla="*/ 1352471 w 1555246"/>
                  <a:gd name="connsiteY425" fmla="*/ 849560 h 1551620"/>
                  <a:gd name="connsiteX426" fmla="*/ 1346732 w 1555246"/>
                  <a:gd name="connsiteY426" fmla="*/ 845734 h 1551620"/>
                  <a:gd name="connsiteX427" fmla="*/ 1331428 w 1555246"/>
                  <a:gd name="connsiteY427" fmla="*/ 841908 h 1551620"/>
                  <a:gd name="connsiteX428" fmla="*/ 1302733 w 1555246"/>
                  <a:gd name="connsiteY428" fmla="*/ 853386 h 1551620"/>
                  <a:gd name="connsiteX429" fmla="*/ 1298907 w 1555246"/>
                  <a:gd name="connsiteY429" fmla="*/ 859125 h 1551620"/>
                  <a:gd name="connsiteX430" fmla="*/ 1293169 w 1555246"/>
                  <a:gd name="connsiteY430" fmla="*/ 868689 h 1551620"/>
                  <a:gd name="connsiteX431" fmla="*/ 1298907 w 1555246"/>
                  <a:gd name="connsiteY431" fmla="*/ 885906 h 1551620"/>
                  <a:gd name="connsiteX432" fmla="*/ 1300820 w 1555246"/>
                  <a:gd name="connsiteY432" fmla="*/ 891645 h 1551620"/>
                  <a:gd name="connsiteX433" fmla="*/ 1296994 w 1555246"/>
                  <a:gd name="connsiteY433" fmla="*/ 903123 h 1551620"/>
                  <a:gd name="connsiteX434" fmla="*/ 1289343 w 1555246"/>
                  <a:gd name="connsiteY434" fmla="*/ 905036 h 1551620"/>
                  <a:gd name="connsiteX435" fmla="*/ 1256822 w 1555246"/>
                  <a:gd name="connsiteY435" fmla="*/ 901210 h 1551620"/>
                  <a:gd name="connsiteX436" fmla="*/ 1262561 w 1555246"/>
                  <a:gd name="connsiteY436" fmla="*/ 882080 h 1551620"/>
                  <a:gd name="connsiteX437" fmla="*/ 1272126 w 1555246"/>
                  <a:gd name="connsiteY437" fmla="*/ 880167 h 1551620"/>
                  <a:gd name="connsiteX438" fmla="*/ 1283604 w 1555246"/>
                  <a:gd name="connsiteY438" fmla="*/ 828517 h 1551620"/>
                  <a:gd name="connsiteX439" fmla="*/ 1298907 w 1555246"/>
                  <a:gd name="connsiteY439" fmla="*/ 811300 h 1551620"/>
                  <a:gd name="connsiteX440" fmla="*/ 1306559 w 1555246"/>
                  <a:gd name="connsiteY440" fmla="*/ 805561 h 1551620"/>
                  <a:gd name="connsiteX441" fmla="*/ 1316124 w 1555246"/>
                  <a:gd name="connsiteY441" fmla="*/ 780693 h 1551620"/>
                  <a:gd name="connsiteX442" fmla="*/ 1342906 w 1555246"/>
                  <a:gd name="connsiteY442" fmla="*/ 757737 h 1551620"/>
                  <a:gd name="connsiteX443" fmla="*/ 1346732 w 1555246"/>
                  <a:gd name="connsiteY443" fmla="*/ 751998 h 1551620"/>
                  <a:gd name="connsiteX444" fmla="*/ 1348645 w 1555246"/>
                  <a:gd name="connsiteY444" fmla="*/ 746259 h 1551620"/>
                  <a:gd name="connsiteX445" fmla="*/ 1360123 w 1555246"/>
                  <a:gd name="connsiteY445" fmla="*/ 732869 h 1551620"/>
                  <a:gd name="connsiteX446" fmla="*/ 1363948 w 1555246"/>
                  <a:gd name="connsiteY446" fmla="*/ 727130 h 1551620"/>
                  <a:gd name="connsiteX447" fmla="*/ 1375426 w 1555246"/>
                  <a:gd name="connsiteY447" fmla="*/ 723304 h 1551620"/>
                  <a:gd name="connsiteX448" fmla="*/ 1398382 w 1555246"/>
                  <a:gd name="connsiteY448" fmla="*/ 713739 h 1551620"/>
                  <a:gd name="connsiteX449" fmla="*/ 1404121 w 1555246"/>
                  <a:gd name="connsiteY449" fmla="*/ 709913 h 1551620"/>
                  <a:gd name="connsiteX450" fmla="*/ 1394556 w 1555246"/>
                  <a:gd name="connsiteY450" fmla="*/ 700348 h 1551620"/>
                  <a:gd name="connsiteX451" fmla="*/ 1388817 w 1555246"/>
                  <a:gd name="connsiteY451" fmla="*/ 692696 h 1551620"/>
                  <a:gd name="connsiteX452" fmla="*/ 1404121 w 1555246"/>
                  <a:gd name="connsiteY452" fmla="*/ 669740 h 1551620"/>
                  <a:gd name="connsiteX453" fmla="*/ 1413686 w 1555246"/>
                  <a:gd name="connsiteY453" fmla="*/ 675479 h 1551620"/>
                  <a:gd name="connsiteX454" fmla="*/ 1450032 w 1555246"/>
                  <a:gd name="connsiteY454" fmla="*/ 673566 h 1551620"/>
                  <a:gd name="connsiteX455" fmla="*/ 1457684 w 1555246"/>
                  <a:gd name="connsiteY455" fmla="*/ 660176 h 1551620"/>
                  <a:gd name="connsiteX456" fmla="*/ 1465336 w 1555246"/>
                  <a:gd name="connsiteY456" fmla="*/ 618090 h 1551620"/>
                  <a:gd name="connsiteX457" fmla="*/ 1472988 w 1555246"/>
                  <a:gd name="connsiteY457" fmla="*/ 572179 h 1551620"/>
                  <a:gd name="connsiteX458" fmla="*/ 1474901 w 1555246"/>
                  <a:gd name="connsiteY458" fmla="*/ 554962 h 1551620"/>
                  <a:gd name="connsiteX459" fmla="*/ 1484466 w 1555246"/>
                  <a:gd name="connsiteY459" fmla="*/ 526268 h 1551620"/>
                  <a:gd name="connsiteX460" fmla="*/ 1486379 w 1555246"/>
                  <a:gd name="connsiteY460" fmla="*/ 497573 h 1551620"/>
                  <a:gd name="connsiteX461" fmla="*/ 1490205 w 1555246"/>
                  <a:gd name="connsiteY461" fmla="*/ 491834 h 1551620"/>
                  <a:gd name="connsiteX462" fmla="*/ 1492117 w 1555246"/>
                  <a:gd name="connsiteY462" fmla="*/ 480356 h 1551620"/>
                  <a:gd name="connsiteX463" fmla="*/ 1495943 w 1555246"/>
                  <a:gd name="connsiteY463" fmla="*/ 474617 h 1551620"/>
                  <a:gd name="connsiteX464" fmla="*/ 1511247 w 1555246"/>
                  <a:gd name="connsiteY464" fmla="*/ 451662 h 1551620"/>
                  <a:gd name="connsiteX465" fmla="*/ 1524638 w 1555246"/>
                  <a:gd name="connsiteY465" fmla="*/ 438271 h 1551620"/>
                  <a:gd name="connsiteX466" fmla="*/ 1534203 w 1555246"/>
                  <a:gd name="connsiteY466" fmla="*/ 428706 h 1551620"/>
                  <a:gd name="connsiteX467" fmla="*/ 1551420 w 1555246"/>
                  <a:gd name="connsiteY467" fmla="*/ 415315 h 1551620"/>
                  <a:gd name="connsiteX468" fmla="*/ 1555246 w 1555246"/>
                  <a:gd name="connsiteY468" fmla="*/ 409576 h 1551620"/>
                  <a:gd name="connsiteX469" fmla="*/ 1549507 w 1555246"/>
                  <a:gd name="connsiteY469" fmla="*/ 403838 h 1551620"/>
                  <a:gd name="connsiteX470" fmla="*/ 1524638 w 1555246"/>
                  <a:gd name="connsiteY470" fmla="*/ 400012 h 1551620"/>
                  <a:gd name="connsiteX471" fmla="*/ 1501682 w 1555246"/>
                  <a:gd name="connsiteY471" fmla="*/ 394273 h 1551620"/>
                  <a:gd name="connsiteX472" fmla="*/ 1494030 w 1555246"/>
                  <a:gd name="connsiteY472" fmla="*/ 392360 h 1551620"/>
                  <a:gd name="connsiteX473" fmla="*/ 1484466 w 1555246"/>
                  <a:gd name="connsiteY473" fmla="*/ 390447 h 1551620"/>
                  <a:gd name="connsiteX474" fmla="*/ 1471075 w 1555246"/>
                  <a:gd name="connsiteY474" fmla="*/ 384708 h 1551620"/>
                  <a:gd name="connsiteX475" fmla="*/ 1459597 w 1555246"/>
                  <a:gd name="connsiteY475" fmla="*/ 375143 h 1551620"/>
                  <a:gd name="connsiteX476" fmla="*/ 1404121 w 1555246"/>
                  <a:gd name="connsiteY476" fmla="*/ 373230 h 1551620"/>
                  <a:gd name="connsiteX477" fmla="*/ 1392643 w 1555246"/>
                  <a:gd name="connsiteY477" fmla="*/ 369404 h 1551620"/>
                  <a:gd name="connsiteX478" fmla="*/ 1377339 w 1555246"/>
                  <a:gd name="connsiteY478" fmla="*/ 371317 h 1551620"/>
                  <a:gd name="connsiteX479" fmla="*/ 1373513 w 1555246"/>
                  <a:gd name="connsiteY479" fmla="*/ 363665 h 1551620"/>
                  <a:gd name="connsiteX480" fmla="*/ 1371600 w 1555246"/>
                  <a:gd name="connsiteY480" fmla="*/ 357926 h 1551620"/>
                  <a:gd name="connsiteX481" fmla="*/ 1369687 w 1555246"/>
                  <a:gd name="connsiteY481" fmla="*/ 350274 h 1551620"/>
                  <a:gd name="connsiteX482" fmla="*/ 1358210 w 1555246"/>
                  <a:gd name="connsiteY482" fmla="*/ 334971 h 1551620"/>
                  <a:gd name="connsiteX483" fmla="*/ 1335254 w 1555246"/>
                  <a:gd name="connsiteY483" fmla="*/ 323493 h 1551620"/>
                  <a:gd name="connsiteX484" fmla="*/ 1304646 w 1555246"/>
                  <a:gd name="connsiteY484" fmla="*/ 321580 h 1551620"/>
                  <a:gd name="connsiteX485" fmla="*/ 1298907 w 1555246"/>
                  <a:gd name="connsiteY485" fmla="*/ 313928 h 1551620"/>
                  <a:gd name="connsiteX486" fmla="*/ 1293169 w 1555246"/>
                  <a:gd name="connsiteY486" fmla="*/ 312015 h 1551620"/>
                  <a:gd name="connsiteX487" fmla="*/ 1277865 w 1555246"/>
                  <a:gd name="connsiteY487" fmla="*/ 306276 h 1551620"/>
                  <a:gd name="connsiteX488" fmla="*/ 1268300 w 1555246"/>
                  <a:gd name="connsiteY488" fmla="*/ 300537 h 1551620"/>
                  <a:gd name="connsiteX489" fmla="*/ 1258735 w 1555246"/>
                  <a:gd name="connsiteY489" fmla="*/ 292885 h 1551620"/>
                  <a:gd name="connsiteX490" fmla="*/ 1203259 w 1555246"/>
                  <a:gd name="connsiteY490" fmla="*/ 289059 h 1551620"/>
                  <a:gd name="connsiteX491" fmla="*/ 1195607 w 1555246"/>
                  <a:gd name="connsiteY491" fmla="*/ 275669 h 1551620"/>
                  <a:gd name="connsiteX492" fmla="*/ 1193694 w 1555246"/>
                  <a:gd name="connsiteY492" fmla="*/ 268017 h 1551620"/>
                  <a:gd name="connsiteX493" fmla="*/ 1180303 w 1555246"/>
                  <a:gd name="connsiteY493" fmla="*/ 256539 h 1551620"/>
                  <a:gd name="connsiteX494" fmla="*/ 1166912 w 1555246"/>
                  <a:gd name="connsiteY494" fmla="*/ 233583 h 1551620"/>
                  <a:gd name="connsiteX495" fmla="*/ 1165000 w 1555246"/>
                  <a:gd name="connsiteY495" fmla="*/ 197237 h 1551620"/>
                  <a:gd name="connsiteX496" fmla="*/ 1172651 w 1555246"/>
                  <a:gd name="connsiteY496" fmla="*/ 181933 h 1551620"/>
                  <a:gd name="connsiteX497" fmla="*/ 1166912 w 1555246"/>
                  <a:gd name="connsiteY497" fmla="*/ 180020 h 1551620"/>
                  <a:gd name="connsiteX498" fmla="*/ 1153522 w 1555246"/>
                  <a:gd name="connsiteY498" fmla="*/ 178107 h 1551620"/>
                  <a:gd name="connsiteX499" fmla="*/ 1128653 w 1555246"/>
                  <a:gd name="connsiteY499" fmla="*/ 185759 h 1551620"/>
                  <a:gd name="connsiteX500" fmla="*/ 1124827 w 1555246"/>
                  <a:gd name="connsiteY500" fmla="*/ 191498 h 1551620"/>
                  <a:gd name="connsiteX501" fmla="*/ 1130566 w 1555246"/>
                  <a:gd name="connsiteY501" fmla="*/ 193411 h 1551620"/>
                  <a:gd name="connsiteX502" fmla="*/ 1111436 w 1555246"/>
                  <a:gd name="connsiteY502" fmla="*/ 202976 h 1551620"/>
                  <a:gd name="connsiteX503" fmla="*/ 1098046 w 1555246"/>
                  <a:gd name="connsiteY503" fmla="*/ 210628 h 1551620"/>
                  <a:gd name="connsiteX504" fmla="*/ 1088481 w 1555246"/>
                  <a:gd name="connsiteY504" fmla="*/ 199150 h 1551620"/>
                  <a:gd name="connsiteX505" fmla="*/ 1092307 w 1555246"/>
                  <a:gd name="connsiteY505" fmla="*/ 183846 h 1551620"/>
                  <a:gd name="connsiteX506" fmla="*/ 1080829 w 1555246"/>
                  <a:gd name="connsiteY506" fmla="*/ 151325 h 1551620"/>
                  <a:gd name="connsiteX507" fmla="*/ 1067438 w 1555246"/>
                  <a:gd name="connsiteY507" fmla="*/ 149412 h 1551620"/>
                  <a:gd name="connsiteX508" fmla="*/ 1055960 w 1555246"/>
                  <a:gd name="connsiteY508" fmla="*/ 143674 h 1551620"/>
                  <a:gd name="connsiteX509" fmla="*/ 1044482 w 1555246"/>
                  <a:gd name="connsiteY509" fmla="*/ 139848 h 1551620"/>
                  <a:gd name="connsiteX510" fmla="*/ 1033005 w 1555246"/>
                  <a:gd name="connsiteY510" fmla="*/ 124544 h 1551620"/>
                  <a:gd name="connsiteX511" fmla="*/ 1027266 w 1555246"/>
                  <a:gd name="connsiteY511" fmla="*/ 118805 h 1551620"/>
                  <a:gd name="connsiteX512" fmla="*/ 1021527 w 1555246"/>
                  <a:gd name="connsiteY512" fmla="*/ 114979 h 1551620"/>
                  <a:gd name="connsiteX513" fmla="*/ 1010049 w 1555246"/>
                  <a:gd name="connsiteY513" fmla="*/ 101588 h 1551620"/>
                  <a:gd name="connsiteX514" fmla="*/ 1008136 w 1555246"/>
                  <a:gd name="connsiteY514" fmla="*/ 90110 h 1551620"/>
                  <a:gd name="connsiteX515" fmla="*/ 998571 w 1555246"/>
                  <a:gd name="connsiteY515" fmla="*/ 74807 h 1551620"/>
                  <a:gd name="connsiteX516" fmla="*/ 996658 w 1555246"/>
                  <a:gd name="connsiteY516" fmla="*/ 48025 h 1551620"/>
                  <a:gd name="connsiteX517" fmla="*/ 989006 w 1555246"/>
                  <a:gd name="connsiteY517" fmla="*/ 42286 h 1551620"/>
                  <a:gd name="connsiteX518" fmla="*/ 950747 w 1555246"/>
                  <a:gd name="connsiteY518" fmla="*/ 40373 h 1551620"/>
                  <a:gd name="connsiteX519" fmla="*/ 943095 w 1555246"/>
                  <a:gd name="connsiteY519" fmla="*/ 34634 h 1551620"/>
                  <a:gd name="connsiteX520" fmla="*/ 925878 w 1555246"/>
                  <a:gd name="connsiteY520" fmla="*/ 23156 h 1551620"/>
                  <a:gd name="connsiteX521" fmla="*/ 922052 w 1555246"/>
                  <a:gd name="connsiteY521" fmla="*/ 13592 h 1551620"/>
                  <a:gd name="connsiteX522" fmla="*/ 918226 w 1555246"/>
                  <a:gd name="connsiteY522" fmla="*/ 7853 h 1551620"/>
                  <a:gd name="connsiteX523" fmla="*/ 920139 w 1555246"/>
                  <a:gd name="connsiteY523" fmla="*/ 2114 h 1551620"/>
                  <a:gd name="connsiteX0" fmla="*/ 920139 w 1555246"/>
                  <a:gd name="connsiteY0" fmla="*/ 2114 h 1551620"/>
                  <a:gd name="connsiteX1" fmla="*/ 872315 w 1555246"/>
                  <a:gd name="connsiteY1" fmla="*/ 201 h 1551620"/>
                  <a:gd name="connsiteX2" fmla="*/ 835969 w 1555246"/>
                  <a:gd name="connsiteY2" fmla="*/ 5940 h 1551620"/>
                  <a:gd name="connsiteX3" fmla="*/ 830230 w 1555246"/>
                  <a:gd name="connsiteY3" fmla="*/ 9766 h 1551620"/>
                  <a:gd name="connsiteX4" fmla="*/ 822578 w 1555246"/>
                  <a:gd name="connsiteY4" fmla="*/ 11679 h 1551620"/>
                  <a:gd name="connsiteX5" fmla="*/ 816839 w 1555246"/>
                  <a:gd name="connsiteY5" fmla="*/ 19330 h 1551620"/>
                  <a:gd name="connsiteX6" fmla="*/ 813013 w 1555246"/>
                  <a:gd name="connsiteY6" fmla="*/ 32721 h 1551620"/>
                  <a:gd name="connsiteX7" fmla="*/ 805361 w 1555246"/>
                  <a:gd name="connsiteY7" fmla="*/ 44199 h 1551620"/>
                  <a:gd name="connsiteX8" fmla="*/ 801535 w 1555246"/>
                  <a:gd name="connsiteY8" fmla="*/ 63329 h 1551620"/>
                  <a:gd name="connsiteX9" fmla="*/ 797709 w 1555246"/>
                  <a:gd name="connsiteY9" fmla="*/ 78633 h 1551620"/>
                  <a:gd name="connsiteX10" fmla="*/ 795796 w 1555246"/>
                  <a:gd name="connsiteY10" fmla="*/ 88197 h 1551620"/>
                  <a:gd name="connsiteX11" fmla="*/ 791970 w 1555246"/>
                  <a:gd name="connsiteY11" fmla="*/ 97762 h 1551620"/>
                  <a:gd name="connsiteX12" fmla="*/ 790057 w 1555246"/>
                  <a:gd name="connsiteY12" fmla="*/ 103501 h 1551620"/>
                  <a:gd name="connsiteX13" fmla="*/ 788144 w 1555246"/>
                  <a:gd name="connsiteY13" fmla="*/ 113066 h 1551620"/>
                  <a:gd name="connsiteX14" fmla="*/ 774753 w 1555246"/>
                  <a:gd name="connsiteY14" fmla="*/ 132196 h 1551620"/>
                  <a:gd name="connsiteX15" fmla="*/ 770928 w 1555246"/>
                  <a:gd name="connsiteY15" fmla="*/ 137935 h 1551620"/>
                  <a:gd name="connsiteX16" fmla="*/ 757537 w 1555246"/>
                  <a:gd name="connsiteY16" fmla="*/ 158977 h 1551620"/>
                  <a:gd name="connsiteX17" fmla="*/ 751798 w 1555246"/>
                  <a:gd name="connsiteY17" fmla="*/ 160890 h 1551620"/>
                  <a:gd name="connsiteX18" fmla="*/ 746059 w 1555246"/>
                  <a:gd name="connsiteY18" fmla="*/ 164716 h 1551620"/>
                  <a:gd name="connsiteX19" fmla="*/ 738407 w 1555246"/>
                  <a:gd name="connsiteY19" fmla="*/ 170455 h 1551620"/>
                  <a:gd name="connsiteX20" fmla="*/ 713538 w 1555246"/>
                  <a:gd name="connsiteY20" fmla="*/ 178107 h 1551620"/>
                  <a:gd name="connsiteX21" fmla="*/ 686757 w 1555246"/>
                  <a:gd name="connsiteY21" fmla="*/ 185759 h 1551620"/>
                  <a:gd name="connsiteX22" fmla="*/ 665714 w 1555246"/>
                  <a:gd name="connsiteY22" fmla="*/ 191498 h 1551620"/>
                  <a:gd name="connsiteX23" fmla="*/ 644671 w 1555246"/>
                  <a:gd name="connsiteY23" fmla="*/ 195324 h 1551620"/>
                  <a:gd name="connsiteX24" fmla="*/ 633194 w 1555246"/>
                  <a:gd name="connsiteY24" fmla="*/ 202976 h 1551620"/>
                  <a:gd name="connsiteX25" fmla="*/ 615977 w 1555246"/>
                  <a:gd name="connsiteY25" fmla="*/ 212540 h 1551620"/>
                  <a:gd name="connsiteX26" fmla="*/ 606412 w 1555246"/>
                  <a:gd name="connsiteY26" fmla="*/ 224018 h 1551620"/>
                  <a:gd name="connsiteX27" fmla="*/ 615977 w 1555246"/>
                  <a:gd name="connsiteY27" fmla="*/ 233583 h 1551620"/>
                  <a:gd name="connsiteX28" fmla="*/ 642758 w 1555246"/>
                  <a:gd name="connsiteY28" fmla="*/ 248887 h 1551620"/>
                  <a:gd name="connsiteX29" fmla="*/ 635107 w 1555246"/>
                  <a:gd name="connsiteY29" fmla="*/ 254626 h 1551620"/>
                  <a:gd name="connsiteX30" fmla="*/ 615977 w 1555246"/>
                  <a:gd name="connsiteY30" fmla="*/ 262278 h 1551620"/>
                  <a:gd name="connsiteX31" fmla="*/ 598760 w 1555246"/>
                  <a:gd name="connsiteY31" fmla="*/ 266104 h 1551620"/>
                  <a:gd name="connsiteX32" fmla="*/ 562414 w 1555246"/>
                  <a:gd name="connsiteY32" fmla="*/ 268017 h 1551620"/>
                  <a:gd name="connsiteX33" fmla="*/ 554762 w 1555246"/>
                  <a:gd name="connsiteY33" fmla="*/ 264191 h 1551620"/>
                  <a:gd name="connsiteX34" fmla="*/ 549023 w 1555246"/>
                  <a:gd name="connsiteY34" fmla="*/ 260365 h 1551620"/>
                  <a:gd name="connsiteX35" fmla="*/ 522241 w 1555246"/>
                  <a:gd name="connsiteY35" fmla="*/ 258452 h 1551620"/>
                  <a:gd name="connsiteX36" fmla="*/ 493547 w 1555246"/>
                  <a:gd name="connsiteY36" fmla="*/ 243148 h 1551620"/>
                  <a:gd name="connsiteX37" fmla="*/ 489721 w 1555246"/>
                  <a:gd name="connsiteY37" fmla="*/ 237409 h 1551620"/>
                  <a:gd name="connsiteX38" fmla="*/ 483982 w 1555246"/>
                  <a:gd name="connsiteY38" fmla="*/ 235496 h 1551620"/>
                  <a:gd name="connsiteX39" fmla="*/ 459113 w 1555246"/>
                  <a:gd name="connsiteY39" fmla="*/ 231670 h 1551620"/>
                  <a:gd name="connsiteX40" fmla="*/ 439984 w 1555246"/>
                  <a:gd name="connsiteY40" fmla="*/ 210628 h 1551620"/>
                  <a:gd name="connsiteX41" fmla="*/ 462939 w 1555246"/>
                  <a:gd name="connsiteY41" fmla="*/ 197237 h 1551620"/>
                  <a:gd name="connsiteX42" fmla="*/ 441897 w 1555246"/>
                  <a:gd name="connsiteY42" fmla="*/ 191498 h 1551620"/>
                  <a:gd name="connsiteX43" fmla="*/ 428506 w 1555246"/>
                  <a:gd name="connsiteY43" fmla="*/ 183846 h 1551620"/>
                  <a:gd name="connsiteX44" fmla="*/ 420854 w 1555246"/>
                  <a:gd name="connsiteY44" fmla="*/ 181933 h 1551620"/>
                  <a:gd name="connsiteX45" fmla="*/ 403637 w 1555246"/>
                  <a:gd name="connsiteY45" fmla="*/ 176194 h 1551620"/>
                  <a:gd name="connsiteX46" fmla="*/ 392159 w 1555246"/>
                  <a:gd name="connsiteY46" fmla="*/ 168542 h 1551620"/>
                  <a:gd name="connsiteX47" fmla="*/ 382594 w 1555246"/>
                  <a:gd name="connsiteY47" fmla="*/ 162803 h 1551620"/>
                  <a:gd name="connsiteX48" fmla="*/ 390246 w 1555246"/>
                  <a:gd name="connsiteY48" fmla="*/ 176194 h 1551620"/>
                  <a:gd name="connsiteX49" fmla="*/ 386420 w 1555246"/>
                  <a:gd name="connsiteY49" fmla="*/ 193411 h 1551620"/>
                  <a:gd name="connsiteX50" fmla="*/ 380682 w 1555246"/>
                  <a:gd name="connsiteY50" fmla="*/ 210628 h 1551620"/>
                  <a:gd name="connsiteX51" fmla="*/ 378769 w 1555246"/>
                  <a:gd name="connsiteY51" fmla="*/ 216366 h 1551620"/>
                  <a:gd name="connsiteX52" fmla="*/ 376856 w 1555246"/>
                  <a:gd name="connsiteY52" fmla="*/ 225931 h 1551620"/>
                  <a:gd name="connsiteX53" fmla="*/ 378769 w 1555246"/>
                  <a:gd name="connsiteY53" fmla="*/ 237409 h 1551620"/>
                  <a:gd name="connsiteX54" fmla="*/ 386420 w 1555246"/>
                  <a:gd name="connsiteY54" fmla="*/ 239322 h 1551620"/>
                  <a:gd name="connsiteX55" fmla="*/ 390246 w 1555246"/>
                  <a:gd name="connsiteY55" fmla="*/ 246974 h 1551620"/>
                  <a:gd name="connsiteX56" fmla="*/ 390246 w 1555246"/>
                  <a:gd name="connsiteY56" fmla="*/ 294798 h 1551620"/>
                  <a:gd name="connsiteX57" fmla="*/ 392159 w 1555246"/>
                  <a:gd name="connsiteY57" fmla="*/ 357926 h 1551620"/>
                  <a:gd name="connsiteX58" fmla="*/ 394072 w 1555246"/>
                  <a:gd name="connsiteY58" fmla="*/ 363665 h 1551620"/>
                  <a:gd name="connsiteX59" fmla="*/ 403637 w 1555246"/>
                  <a:gd name="connsiteY59" fmla="*/ 367491 h 1551620"/>
                  <a:gd name="connsiteX60" fmla="*/ 361552 w 1555246"/>
                  <a:gd name="connsiteY60" fmla="*/ 363665 h 1551620"/>
                  <a:gd name="connsiteX61" fmla="*/ 355813 w 1555246"/>
                  <a:gd name="connsiteY61" fmla="*/ 359839 h 1551620"/>
                  <a:gd name="connsiteX62" fmla="*/ 346248 w 1555246"/>
                  <a:gd name="connsiteY62" fmla="*/ 375143 h 1551620"/>
                  <a:gd name="connsiteX63" fmla="*/ 336683 w 1555246"/>
                  <a:gd name="connsiteY63" fmla="*/ 369404 h 1551620"/>
                  <a:gd name="connsiteX64" fmla="*/ 332857 w 1555246"/>
                  <a:gd name="connsiteY64" fmla="*/ 357926 h 1551620"/>
                  <a:gd name="connsiteX65" fmla="*/ 321379 w 1555246"/>
                  <a:gd name="connsiteY65" fmla="*/ 352187 h 1551620"/>
                  <a:gd name="connsiteX66" fmla="*/ 313728 w 1555246"/>
                  <a:gd name="connsiteY66" fmla="*/ 346448 h 1551620"/>
                  <a:gd name="connsiteX67" fmla="*/ 306076 w 1555246"/>
                  <a:gd name="connsiteY67" fmla="*/ 342623 h 1551620"/>
                  <a:gd name="connsiteX68" fmla="*/ 300337 w 1555246"/>
                  <a:gd name="connsiteY68" fmla="*/ 338797 h 1551620"/>
                  <a:gd name="connsiteX69" fmla="*/ 296511 w 1555246"/>
                  <a:gd name="connsiteY69" fmla="*/ 346448 h 1551620"/>
                  <a:gd name="connsiteX70" fmla="*/ 288859 w 1555246"/>
                  <a:gd name="connsiteY70" fmla="*/ 356013 h 1551620"/>
                  <a:gd name="connsiteX71" fmla="*/ 277381 w 1555246"/>
                  <a:gd name="connsiteY71" fmla="*/ 357926 h 1551620"/>
                  <a:gd name="connsiteX72" fmla="*/ 254425 w 1555246"/>
                  <a:gd name="connsiteY72" fmla="*/ 361752 h 1551620"/>
                  <a:gd name="connsiteX73" fmla="*/ 252512 w 1555246"/>
                  <a:gd name="connsiteY73" fmla="*/ 346448 h 1551620"/>
                  <a:gd name="connsiteX74" fmla="*/ 250600 w 1555246"/>
                  <a:gd name="connsiteY74" fmla="*/ 338797 h 1551620"/>
                  <a:gd name="connsiteX75" fmla="*/ 242948 w 1555246"/>
                  <a:gd name="connsiteY75" fmla="*/ 321580 h 1551620"/>
                  <a:gd name="connsiteX76" fmla="*/ 237209 w 1555246"/>
                  <a:gd name="connsiteY76" fmla="*/ 310102 h 1551620"/>
                  <a:gd name="connsiteX77" fmla="*/ 229557 w 1555246"/>
                  <a:gd name="connsiteY77" fmla="*/ 302450 h 1551620"/>
                  <a:gd name="connsiteX78" fmla="*/ 225731 w 1555246"/>
                  <a:gd name="connsiteY78" fmla="*/ 296711 h 1551620"/>
                  <a:gd name="connsiteX79" fmla="*/ 214253 w 1555246"/>
                  <a:gd name="connsiteY79" fmla="*/ 294798 h 1551620"/>
                  <a:gd name="connsiteX80" fmla="*/ 197036 w 1555246"/>
                  <a:gd name="connsiteY80" fmla="*/ 285233 h 1551620"/>
                  <a:gd name="connsiteX81" fmla="*/ 172168 w 1555246"/>
                  <a:gd name="connsiteY81" fmla="*/ 290972 h 1551620"/>
                  <a:gd name="connsiteX82" fmla="*/ 153038 w 1555246"/>
                  <a:gd name="connsiteY82" fmla="*/ 292885 h 1551620"/>
                  <a:gd name="connsiteX83" fmla="*/ 154951 w 1555246"/>
                  <a:gd name="connsiteY83" fmla="*/ 298624 h 1551620"/>
                  <a:gd name="connsiteX84" fmla="*/ 158777 w 1555246"/>
                  <a:gd name="connsiteY84" fmla="*/ 304363 h 1551620"/>
                  <a:gd name="connsiteX85" fmla="*/ 153038 w 1555246"/>
                  <a:gd name="connsiteY85" fmla="*/ 306276 h 1551620"/>
                  <a:gd name="connsiteX86" fmla="*/ 133908 w 1555246"/>
                  <a:gd name="connsiteY86" fmla="*/ 306276 h 1551620"/>
                  <a:gd name="connsiteX87" fmla="*/ 131995 w 1555246"/>
                  <a:gd name="connsiteY87" fmla="*/ 312015 h 1551620"/>
                  <a:gd name="connsiteX88" fmla="*/ 118605 w 1555246"/>
                  <a:gd name="connsiteY88" fmla="*/ 304363 h 1551620"/>
                  <a:gd name="connsiteX89" fmla="*/ 110953 w 1555246"/>
                  <a:gd name="connsiteY89" fmla="*/ 315841 h 1551620"/>
                  <a:gd name="connsiteX90" fmla="*/ 107127 w 1555246"/>
                  <a:gd name="connsiteY90" fmla="*/ 306276 h 1551620"/>
                  <a:gd name="connsiteX91" fmla="*/ 86084 w 1555246"/>
                  <a:gd name="connsiteY91" fmla="*/ 296711 h 1551620"/>
                  <a:gd name="connsiteX92" fmla="*/ 40173 w 1555246"/>
                  <a:gd name="connsiteY92" fmla="*/ 298624 h 1551620"/>
                  <a:gd name="connsiteX93" fmla="*/ 32521 w 1555246"/>
                  <a:gd name="connsiteY93" fmla="*/ 300537 h 1551620"/>
                  <a:gd name="connsiteX94" fmla="*/ 13391 w 1555246"/>
                  <a:gd name="connsiteY94" fmla="*/ 310102 h 1551620"/>
                  <a:gd name="connsiteX95" fmla="*/ 5739 w 1555246"/>
                  <a:gd name="connsiteY95" fmla="*/ 319667 h 1551620"/>
                  <a:gd name="connsiteX96" fmla="*/ 0 w 1555246"/>
                  <a:gd name="connsiteY96" fmla="*/ 334971 h 1551620"/>
                  <a:gd name="connsiteX97" fmla="*/ 7652 w 1555246"/>
                  <a:gd name="connsiteY97" fmla="*/ 340710 h 1551620"/>
                  <a:gd name="connsiteX98" fmla="*/ 13391 w 1555246"/>
                  <a:gd name="connsiteY98" fmla="*/ 348361 h 1551620"/>
                  <a:gd name="connsiteX99" fmla="*/ 21043 w 1555246"/>
                  <a:gd name="connsiteY99" fmla="*/ 350274 h 1551620"/>
                  <a:gd name="connsiteX100" fmla="*/ 26782 w 1555246"/>
                  <a:gd name="connsiteY100" fmla="*/ 354100 h 1551620"/>
                  <a:gd name="connsiteX101" fmla="*/ 47825 w 1555246"/>
                  <a:gd name="connsiteY101" fmla="*/ 359839 h 1551620"/>
                  <a:gd name="connsiteX102" fmla="*/ 57389 w 1555246"/>
                  <a:gd name="connsiteY102" fmla="*/ 373230 h 1551620"/>
                  <a:gd name="connsiteX103" fmla="*/ 63128 w 1555246"/>
                  <a:gd name="connsiteY103" fmla="*/ 371317 h 1551620"/>
                  <a:gd name="connsiteX104" fmla="*/ 72693 w 1555246"/>
                  <a:gd name="connsiteY104" fmla="*/ 361752 h 1551620"/>
                  <a:gd name="connsiteX105" fmla="*/ 68867 w 1555246"/>
                  <a:gd name="connsiteY105" fmla="*/ 380882 h 1551620"/>
                  <a:gd name="connsiteX106" fmla="*/ 59302 w 1555246"/>
                  <a:gd name="connsiteY106" fmla="*/ 400012 h 1551620"/>
                  <a:gd name="connsiteX107" fmla="*/ 53564 w 1555246"/>
                  <a:gd name="connsiteY107" fmla="*/ 401925 h 1551620"/>
                  <a:gd name="connsiteX108" fmla="*/ 42086 w 1555246"/>
                  <a:gd name="connsiteY108" fmla="*/ 388534 h 1551620"/>
                  <a:gd name="connsiteX109" fmla="*/ 40173 w 1555246"/>
                  <a:gd name="connsiteY109" fmla="*/ 382795 h 1551620"/>
                  <a:gd name="connsiteX110" fmla="*/ 38260 w 1555246"/>
                  <a:gd name="connsiteY110" fmla="*/ 375143 h 1551620"/>
                  <a:gd name="connsiteX111" fmla="*/ 30608 w 1555246"/>
                  <a:gd name="connsiteY111" fmla="*/ 369404 h 1551620"/>
                  <a:gd name="connsiteX112" fmla="*/ 21043 w 1555246"/>
                  <a:gd name="connsiteY112" fmla="*/ 371317 h 1551620"/>
                  <a:gd name="connsiteX113" fmla="*/ 17217 w 1555246"/>
                  <a:gd name="connsiteY113" fmla="*/ 382795 h 1551620"/>
                  <a:gd name="connsiteX114" fmla="*/ 7652 w 1555246"/>
                  <a:gd name="connsiteY114" fmla="*/ 398099 h 1551620"/>
                  <a:gd name="connsiteX115" fmla="*/ 0 w 1555246"/>
                  <a:gd name="connsiteY115" fmla="*/ 400012 h 1551620"/>
                  <a:gd name="connsiteX116" fmla="*/ 9565 w 1555246"/>
                  <a:gd name="connsiteY116" fmla="*/ 407664 h 1551620"/>
                  <a:gd name="connsiteX117" fmla="*/ 17217 w 1555246"/>
                  <a:gd name="connsiteY117" fmla="*/ 409576 h 1551620"/>
                  <a:gd name="connsiteX118" fmla="*/ 19130 w 1555246"/>
                  <a:gd name="connsiteY118" fmla="*/ 415315 h 1551620"/>
                  <a:gd name="connsiteX119" fmla="*/ 22956 w 1555246"/>
                  <a:gd name="connsiteY119" fmla="*/ 428706 h 1551620"/>
                  <a:gd name="connsiteX120" fmla="*/ 26782 w 1555246"/>
                  <a:gd name="connsiteY120" fmla="*/ 442097 h 1551620"/>
                  <a:gd name="connsiteX121" fmla="*/ 30608 w 1555246"/>
                  <a:gd name="connsiteY121" fmla="*/ 449749 h 1551620"/>
                  <a:gd name="connsiteX122" fmla="*/ 36347 w 1555246"/>
                  <a:gd name="connsiteY122" fmla="*/ 459314 h 1551620"/>
                  <a:gd name="connsiteX123" fmla="*/ 42086 w 1555246"/>
                  <a:gd name="connsiteY123" fmla="*/ 463140 h 1551620"/>
                  <a:gd name="connsiteX124" fmla="*/ 61215 w 1555246"/>
                  <a:gd name="connsiteY124" fmla="*/ 461227 h 1551620"/>
                  <a:gd name="connsiteX125" fmla="*/ 66954 w 1555246"/>
                  <a:gd name="connsiteY125" fmla="*/ 459314 h 1551620"/>
                  <a:gd name="connsiteX126" fmla="*/ 68867 w 1555246"/>
                  <a:gd name="connsiteY126" fmla="*/ 453575 h 1551620"/>
                  <a:gd name="connsiteX127" fmla="*/ 74606 w 1555246"/>
                  <a:gd name="connsiteY127" fmla="*/ 447836 h 1551620"/>
                  <a:gd name="connsiteX128" fmla="*/ 91823 w 1555246"/>
                  <a:gd name="connsiteY128" fmla="*/ 455488 h 1551620"/>
                  <a:gd name="connsiteX129" fmla="*/ 93736 w 1555246"/>
                  <a:gd name="connsiteY129" fmla="*/ 465053 h 1551620"/>
                  <a:gd name="connsiteX130" fmla="*/ 103301 w 1555246"/>
                  <a:gd name="connsiteY130" fmla="*/ 476530 h 1551620"/>
                  <a:gd name="connsiteX131" fmla="*/ 131995 w 1555246"/>
                  <a:gd name="connsiteY131" fmla="*/ 480356 h 1551620"/>
                  <a:gd name="connsiteX132" fmla="*/ 139647 w 1555246"/>
                  <a:gd name="connsiteY132" fmla="*/ 482269 h 1551620"/>
                  <a:gd name="connsiteX133" fmla="*/ 145386 w 1555246"/>
                  <a:gd name="connsiteY133" fmla="*/ 488008 h 1551620"/>
                  <a:gd name="connsiteX134" fmla="*/ 156864 w 1555246"/>
                  <a:gd name="connsiteY134" fmla="*/ 493747 h 1551620"/>
                  <a:gd name="connsiteX135" fmla="*/ 158777 w 1555246"/>
                  <a:gd name="connsiteY135" fmla="*/ 499486 h 1551620"/>
                  <a:gd name="connsiteX136" fmla="*/ 166429 w 1555246"/>
                  <a:gd name="connsiteY136" fmla="*/ 512877 h 1551620"/>
                  <a:gd name="connsiteX137" fmla="*/ 185558 w 1555246"/>
                  <a:gd name="connsiteY137" fmla="*/ 528181 h 1551620"/>
                  <a:gd name="connsiteX138" fmla="*/ 191297 w 1555246"/>
                  <a:gd name="connsiteY138" fmla="*/ 524355 h 1551620"/>
                  <a:gd name="connsiteX139" fmla="*/ 208514 w 1555246"/>
                  <a:gd name="connsiteY139" fmla="*/ 520529 h 1551620"/>
                  <a:gd name="connsiteX140" fmla="*/ 214253 w 1555246"/>
                  <a:gd name="connsiteY140" fmla="*/ 522442 h 1551620"/>
                  <a:gd name="connsiteX141" fmla="*/ 219992 w 1555246"/>
                  <a:gd name="connsiteY141" fmla="*/ 551136 h 1551620"/>
                  <a:gd name="connsiteX142" fmla="*/ 225731 w 1555246"/>
                  <a:gd name="connsiteY142" fmla="*/ 547310 h 1551620"/>
                  <a:gd name="connsiteX143" fmla="*/ 229557 w 1555246"/>
                  <a:gd name="connsiteY143" fmla="*/ 541571 h 1551620"/>
                  <a:gd name="connsiteX144" fmla="*/ 235296 w 1555246"/>
                  <a:gd name="connsiteY144" fmla="*/ 539658 h 1551620"/>
                  <a:gd name="connsiteX145" fmla="*/ 242948 w 1555246"/>
                  <a:gd name="connsiteY145" fmla="*/ 543484 h 1551620"/>
                  <a:gd name="connsiteX146" fmla="*/ 250600 w 1555246"/>
                  <a:gd name="connsiteY146" fmla="*/ 549223 h 1551620"/>
                  <a:gd name="connsiteX147" fmla="*/ 263990 w 1555246"/>
                  <a:gd name="connsiteY147" fmla="*/ 553049 h 1551620"/>
                  <a:gd name="connsiteX148" fmla="*/ 265903 w 1555246"/>
                  <a:gd name="connsiteY148" fmla="*/ 560701 h 1551620"/>
                  <a:gd name="connsiteX149" fmla="*/ 252512 w 1555246"/>
                  <a:gd name="connsiteY149" fmla="*/ 574092 h 1551620"/>
                  <a:gd name="connsiteX150" fmla="*/ 250600 w 1555246"/>
                  <a:gd name="connsiteY150" fmla="*/ 579831 h 1551620"/>
                  <a:gd name="connsiteX151" fmla="*/ 246774 w 1555246"/>
                  <a:gd name="connsiteY151" fmla="*/ 585570 h 1551620"/>
                  <a:gd name="connsiteX152" fmla="*/ 260164 w 1555246"/>
                  <a:gd name="connsiteY152" fmla="*/ 593222 h 1551620"/>
                  <a:gd name="connsiteX153" fmla="*/ 307989 w 1555246"/>
                  <a:gd name="connsiteY153" fmla="*/ 595135 h 1551620"/>
                  <a:gd name="connsiteX154" fmla="*/ 313728 w 1555246"/>
                  <a:gd name="connsiteY154" fmla="*/ 600874 h 1551620"/>
                  <a:gd name="connsiteX155" fmla="*/ 325205 w 1555246"/>
                  <a:gd name="connsiteY155" fmla="*/ 608525 h 1551620"/>
                  <a:gd name="connsiteX156" fmla="*/ 317553 w 1555246"/>
                  <a:gd name="connsiteY156" fmla="*/ 612351 h 1551620"/>
                  <a:gd name="connsiteX157" fmla="*/ 313728 w 1555246"/>
                  <a:gd name="connsiteY157" fmla="*/ 604699 h 1551620"/>
                  <a:gd name="connsiteX158" fmla="*/ 302250 w 1555246"/>
                  <a:gd name="connsiteY158" fmla="*/ 598961 h 1551620"/>
                  <a:gd name="connsiteX159" fmla="*/ 288859 w 1555246"/>
                  <a:gd name="connsiteY159" fmla="*/ 600874 h 1551620"/>
                  <a:gd name="connsiteX160" fmla="*/ 277381 w 1555246"/>
                  <a:gd name="connsiteY160" fmla="*/ 602787 h 1551620"/>
                  <a:gd name="connsiteX161" fmla="*/ 275468 w 1555246"/>
                  <a:gd name="connsiteY161" fmla="*/ 608525 h 1551620"/>
                  <a:gd name="connsiteX162" fmla="*/ 277381 w 1555246"/>
                  <a:gd name="connsiteY162" fmla="*/ 623829 h 1551620"/>
                  <a:gd name="connsiteX163" fmla="*/ 285033 w 1555246"/>
                  <a:gd name="connsiteY163" fmla="*/ 627655 h 1551620"/>
                  <a:gd name="connsiteX164" fmla="*/ 281207 w 1555246"/>
                  <a:gd name="connsiteY164" fmla="*/ 646785 h 1551620"/>
                  <a:gd name="connsiteX165" fmla="*/ 275468 w 1555246"/>
                  <a:gd name="connsiteY165" fmla="*/ 652524 h 1551620"/>
                  <a:gd name="connsiteX166" fmla="*/ 271642 w 1555246"/>
                  <a:gd name="connsiteY166" fmla="*/ 665915 h 1551620"/>
                  <a:gd name="connsiteX167" fmla="*/ 275468 w 1555246"/>
                  <a:gd name="connsiteY167" fmla="*/ 686957 h 1551620"/>
                  <a:gd name="connsiteX168" fmla="*/ 283120 w 1555246"/>
                  <a:gd name="connsiteY168" fmla="*/ 702261 h 1551620"/>
                  <a:gd name="connsiteX169" fmla="*/ 285033 w 1555246"/>
                  <a:gd name="connsiteY169" fmla="*/ 708000 h 1551620"/>
                  <a:gd name="connsiteX170" fmla="*/ 288859 w 1555246"/>
                  <a:gd name="connsiteY170" fmla="*/ 727130 h 1551620"/>
                  <a:gd name="connsiteX171" fmla="*/ 294598 w 1555246"/>
                  <a:gd name="connsiteY171" fmla="*/ 732869 h 1551620"/>
                  <a:gd name="connsiteX172" fmla="*/ 300337 w 1555246"/>
                  <a:gd name="connsiteY172" fmla="*/ 746259 h 1551620"/>
                  <a:gd name="connsiteX173" fmla="*/ 304163 w 1555246"/>
                  <a:gd name="connsiteY173" fmla="*/ 751998 h 1551620"/>
                  <a:gd name="connsiteX174" fmla="*/ 309902 w 1555246"/>
                  <a:gd name="connsiteY174" fmla="*/ 753911 h 1551620"/>
                  <a:gd name="connsiteX175" fmla="*/ 355813 w 1555246"/>
                  <a:gd name="connsiteY175" fmla="*/ 757737 h 1551620"/>
                  <a:gd name="connsiteX176" fmla="*/ 357726 w 1555246"/>
                  <a:gd name="connsiteY176" fmla="*/ 769215 h 1551620"/>
                  <a:gd name="connsiteX177" fmla="*/ 363465 w 1555246"/>
                  <a:gd name="connsiteY177" fmla="*/ 773041 h 1551620"/>
                  <a:gd name="connsiteX178" fmla="*/ 371117 w 1555246"/>
                  <a:gd name="connsiteY178" fmla="*/ 782606 h 1551620"/>
                  <a:gd name="connsiteX179" fmla="*/ 382594 w 1555246"/>
                  <a:gd name="connsiteY179" fmla="*/ 790258 h 1551620"/>
                  <a:gd name="connsiteX180" fmla="*/ 388333 w 1555246"/>
                  <a:gd name="connsiteY180" fmla="*/ 797910 h 1551620"/>
                  <a:gd name="connsiteX181" fmla="*/ 392159 w 1555246"/>
                  <a:gd name="connsiteY181" fmla="*/ 805561 h 1551620"/>
                  <a:gd name="connsiteX182" fmla="*/ 384507 w 1555246"/>
                  <a:gd name="connsiteY182" fmla="*/ 799823 h 1551620"/>
                  <a:gd name="connsiteX183" fmla="*/ 373030 w 1555246"/>
                  <a:gd name="connsiteY183" fmla="*/ 790258 h 1551620"/>
                  <a:gd name="connsiteX184" fmla="*/ 359639 w 1555246"/>
                  <a:gd name="connsiteY184" fmla="*/ 782606 h 1551620"/>
                  <a:gd name="connsiteX185" fmla="*/ 329031 w 1555246"/>
                  <a:gd name="connsiteY185" fmla="*/ 784519 h 1551620"/>
                  <a:gd name="connsiteX186" fmla="*/ 330944 w 1555246"/>
                  <a:gd name="connsiteY186" fmla="*/ 797910 h 1551620"/>
                  <a:gd name="connsiteX187" fmla="*/ 340509 w 1555246"/>
                  <a:gd name="connsiteY187" fmla="*/ 799823 h 1551620"/>
                  <a:gd name="connsiteX188" fmla="*/ 348161 w 1555246"/>
                  <a:gd name="connsiteY188" fmla="*/ 801735 h 1551620"/>
                  <a:gd name="connsiteX189" fmla="*/ 353900 w 1555246"/>
                  <a:gd name="connsiteY189" fmla="*/ 805561 h 1551620"/>
                  <a:gd name="connsiteX190" fmla="*/ 361552 w 1555246"/>
                  <a:gd name="connsiteY190" fmla="*/ 811300 h 1551620"/>
                  <a:gd name="connsiteX191" fmla="*/ 378769 w 1555246"/>
                  <a:gd name="connsiteY191" fmla="*/ 815126 h 1551620"/>
                  <a:gd name="connsiteX192" fmla="*/ 388333 w 1555246"/>
                  <a:gd name="connsiteY192" fmla="*/ 820865 h 1551620"/>
                  <a:gd name="connsiteX193" fmla="*/ 378769 w 1555246"/>
                  <a:gd name="connsiteY193" fmla="*/ 841908 h 1551620"/>
                  <a:gd name="connsiteX194" fmla="*/ 373030 w 1555246"/>
                  <a:gd name="connsiteY194" fmla="*/ 843821 h 1551620"/>
                  <a:gd name="connsiteX195" fmla="*/ 361552 w 1555246"/>
                  <a:gd name="connsiteY195" fmla="*/ 841908 h 1551620"/>
                  <a:gd name="connsiteX196" fmla="*/ 350074 w 1555246"/>
                  <a:gd name="connsiteY196" fmla="*/ 834256 h 1551620"/>
                  <a:gd name="connsiteX197" fmla="*/ 338596 w 1555246"/>
                  <a:gd name="connsiteY197" fmla="*/ 836169 h 1551620"/>
                  <a:gd name="connsiteX198" fmla="*/ 348161 w 1555246"/>
                  <a:gd name="connsiteY198" fmla="*/ 849560 h 1551620"/>
                  <a:gd name="connsiteX199" fmla="*/ 355813 w 1555246"/>
                  <a:gd name="connsiteY199" fmla="*/ 861038 h 1551620"/>
                  <a:gd name="connsiteX200" fmla="*/ 359639 w 1555246"/>
                  <a:gd name="connsiteY200" fmla="*/ 870602 h 1551620"/>
                  <a:gd name="connsiteX201" fmla="*/ 357726 w 1555246"/>
                  <a:gd name="connsiteY201" fmla="*/ 882080 h 1551620"/>
                  <a:gd name="connsiteX202" fmla="*/ 371117 w 1555246"/>
                  <a:gd name="connsiteY202" fmla="*/ 883993 h 1551620"/>
                  <a:gd name="connsiteX203" fmla="*/ 378769 w 1555246"/>
                  <a:gd name="connsiteY203" fmla="*/ 885906 h 1551620"/>
                  <a:gd name="connsiteX204" fmla="*/ 376856 w 1555246"/>
                  <a:gd name="connsiteY204" fmla="*/ 893558 h 1551620"/>
                  <a:gd name="connsiteX205" fmla="*/ 378769 w 1555246"/>
                  <a:gd name="connsiteY205" fmla="*/ 903123 h 1551620"/>
                  <a:gd name="connsiteX206" fmla="*/ 382594 w 1555246"/>
                  <a:gd name="connsiteY206" fmla="*/ 908862 h 1551620"/>
                  <a:gd name="connsiteX207" fmla="*/ 388333 w 1555246"/>
                  <a:gd name="connsiteY207" fmla="*/ 918427 h 1551620"/>
                  <a:gd name="connsiteX208" fmla="*/ 394072 w 1555246"/>
                  <a:gd name="connsiteY208" fmla="*/ 933730 h 1551620"/>
                  <a:gd name="connsiteX209" fmla="*/ 399811 w 1555246"/>
                  <a:gd name="connsiteY209" fmla="*/ 937556 h 1551620"/>
                  <a:gd name="connsiteX210" fmla="*/ 403637 w 1555246"/>
                  <a:gd name="connsiteY210" fmla="*/ 945208 h 1551620"/>
                  <a:gd name="connsiteX211" fmla="*/ 405550 w 1555246"/>
                  <a:gd name="connsiteY211" fmla="*/ 952860 h 1551620"/>
                  <a:gd name="connsiteX212" fmla="*/ 409376 w 1555246"/>
                  <a:gd name="connsiteY212" fmla="*/ 964338 h 1551620"/>
                  <a:gd name="connsiteX213" fmla="*/ 411289 w 1555246"/>
                  <a:gd name="connsiteY213" fmla="*/ 971990 h 1551620"/>
                  <a:gd name="connsiteX214" fmla="*/ 415115 w 1555246"/>
                  <a:gd name="connsiteY214" fmla="*/ 979642 h 1551620"/>
                  <a:gd name="connsiteX215" fmla="*/ 417028 w 1555246"/>
                  <a:gd name="connsiteY215" fmla="*/ 989207 h 1551620"/>
                  <a:gd name="connsiteX216" fmla="*/ 422767 w 1555246"/>
                  <a:gd name="connsiteY216" fmla="*/ 996858 h 1551620"/>
                  <a:gd name="connsiteX217" fmla="*/ 424680 w 1555246"/>
                  <a:gd name="connsiteY217" fmla="*/ 1012162 h 1551620"/>
                  <a:gd name="connsiteX218" fmla="*/ 420854 w 1555246"/>
                  <a:gd name="connsiteY218" fmla="*/ 1044683 h 1551620"/>
                  <a:gd name="connsiteX219" fmla="*/ 413202 w 1555246"/>
                  <a:gd name="connsiteY219" fmla="*/ 1037031 h 1551620"/>
                  <a:gd name="connsiteX220" fmla="*/ 409376 w 1555246"/>
                  <a:gd name="connsiteY220" fmla="*/ 1027466 h 1551620"/>
                  <a:gd name="connsiteX221" fmla="*/ 403637 w 1555246"/>
                  <a:gd name="connsiteY221" fmla="*/ 1019814 h 1551620"/>
                  <a:gd name="connsiteX222" fmla="*/ 401724 w 1555246"/>
                  <a:gd name="connsiteY222" fmla="*/ 1012162 h 1551620"/>
                  <a:gd name="connsiteX223" fmla="*/ 399811 w 1555246"/>
                  <a:gd name="connsiteY223" fmla="*/ 1002597 h 1551620"/>
                  <a:gd name="connsiteX224" fmla="*/ 395985 w 1555246"/>
                  <a:gd name="connsiteY224" fmla="*/ 994946 h 1551620"/>
                  <a:gd name="connsiteX225" fmla="*/ 392159 w 1555246"/>
                  <a:gd name="connsiteY225" fmla="*/ 973903 h 1551620"/>
                  <a:gd name="connsiteX226" fmla="*/ 386420 w 1555246"/>
                  <a:gd name="connsiteY226" fmla="*/ 968164 h 1551620"/>
                  <a:gd name="connsiteX227" fmla="*/ 384507 w 1555246"/>
                  <a:gd name="connsiteY227" fmla="*/ 954773 h 1551620"/>
                  <a:gd name="connsiteX228" fmla="*/ 380682 w 1555246"/>
                  <a:gd name="connsiteY228" fmla="*/ 949034 h 1551620"/>
                  <a:gd name="connsiteX229" fmla="*/ 371117 w 1555246"/>
                  <a:gd name="connsiteY229" fmla="*/ 937556 h 1551620"/>
                  <a:gd name="connsiteX230" fmla="*/ 357726 w 1555246"/>
                  <a:gd name="connsiteY230" fmla="*/ 939469 h 1551620"/>
                  <a:gd name="connsiteX231" fmla="*/ 344335 w 1555246"/>
                  <a:gd name="connsiteY231" fmla="*/ 954773 h 1551620"/>
                  <a:gd name="connsiteX232" fmla="*/ 342422 w 1555246"/>
                  <a:gd name="connsiteY232" fmla="*/ 968164 h 1551620"/>
                  <a:gd name="connsiteX233" fmla="*/ 338596 w 1555246"/>
                  <a:gd name="connsiteY233" fmla="*/ 973903 h 1551620"/>
                  <a:gd name="connsiteX234" fmla="*/ 336683 w 1555246"/>
                  <a:gd name="connsiteY234" fmla="*/ 981555 h 1551620"/>
                  <a:gd name="connsiteX235" fmla="*/ 334770 w 1555246"/>
                  <a:gd name="connsiteY235" fmla="*/ 991120 h 1551620"/>
                  <a:gd name="connsiteX236" fmla="*/ 329031 w 1555246"/>
                  <a:gd name="connsiteY236" fmla="*/ 1012162 h 1551620"/>
                  <a:gd name="connsiteX237" fmla="*/ 325205 w 1555246"/>
                  <a:gd name="connsiteY237" fmla="*/ 1021727 h 1551620"/>
                  <a:gd name="connsiteX238" fmla="*/ 319466 w 1555246"/>
                  <a:gd name="connsiteY238" fmla="*/ 1031292 h 1551620"/>
                  <a:gd name="connsiteX239" fmla="*/ 321379 w 1555246"/>
                  <a:gd name="connsiteY239" fmla="*/ 1056161 h 1551620"/>
                  <a:gd name="connsiteX240" fmla="*/ 350074 w 1555246"/>
                  <a:gd name="connsiteY240" fmla="*/ 1059987 h 1551620"/>
                  <a:gd name="connsiteX241" fmla="*/ 348161 w 1555246"/>
                  <a:gd name="connsiteY241" fmla="*/ 1067638 h 1551620"/>
                  <a:gd name="connsiteX242" fmla="*/ 336683 w 1555246"/>
                  <a:gd name="connsiteY242" fmla="*/ 1081029 h 1551620"/>
                  <a:gd name="connsiteX243" fmla="*/ 332857 w 1555246"/>
                  <a:gd name="connsiteY243" fmla="*/ 1096333 h 1551620"/>
                  <a:gd name="connsiteX244" fmla="*/ 329031 w 1555246"/>
                  <a:gd name="connsiteY244" fmla="*/ 1102072 h 1551620"/>
                  <a:gd name="connsiteX245" fmla="*/ 327118 w 1555246"/>
                  <a:gd name="connsiteY245" fmla="*/ 1113550 h 1551620"/>
                  <a:gd name="connsiteX246" fmla="*/ 321379 w 1555246"/>
                  <a:gd name="connsiteY246" fmla="*/ 1125028 h 1551620"/>
                  <a:gd name="connsiteX247" fmla="*/ 311815 w 1555246"/>
                  <a:gd name="connsiteY247" fmla="*/ 1140331 h 1551620"/>
                  <a:gd name="connsiteX248" fmla="*/ 309902 w 1555246"/>
                  <a:gd name="connsiteY248" fmla="*/ 1147983 h 1551620"/>
                  <a:gd name="connsiteX249" fmla="*/ 304163 w 1555246"/>
                  <a:gd name="connsiteY249" fmla="*/ 1172852 h 1551620"/>
                  <a:gd name="connsiteX250" fmla="*/ 294598 w 1555246"/>
                  <a:gd name="connsiteY250" fmla="*/ 1188156 h 1551620"/>
                  <a:gd name="connsiteX251" fmla="*/ 285033 w 1555246"/>
                  <a:gd name="connsiteY251" fmla="*/ 1211111 h 1551620"/>
                  <a:gd name="connsiteX252" fmla="*/ 283120 w 1555246"/>
                  <a:gd name="connsiteY252" fmla="*/ 1218763 h 1551620"/>
                  <a:gd name="connsiteX253" fmla="*/ 279294 w 1555246"/>
                  <a:gd name="connsiteY253" fmla="*/ 1237893 h 1551620"/>
                  <a:gd name="connsiteX254" fmla="*/ 275468 w 1555246"/>
                  <a:gd name="connsiteY254" fmla="*/ 1245545 h 1551620"/>
                  <a:gd name="connsiteX255" fmla="*/ 269729 w 1555246"/>
                  <a:gd name="connsiteY255" fmla="*/ 1258935 h 1551620"/>
                  <a:gd name="connsiteX256" fmla="*/ 260164 w 1555246"/>
                  <a:gd name="connsiteY256" fmla="*/ 1274239 h 1551620"/>
                  <a:gd name="connsiteX257" fmla="*/ 258251 w 1555246"/>
                  <a:gd name="connsiteY257" fmla="*/ 1281891 h 1551620"/>
                  <a:gd name="connsiteX258" fmla="*/ 250600 w 1555246"/>
                  <a:gd name="connsiteY258" fmla="*/ 1279978 h 1551620"/>
                  <a:gd name="connsiteX259" fmla="*/ 244861 w 1555246"/>
                  <a:gd name="connsiteY259" fmla="*/ 1278065 h 1551620"/>
                  <a:gd name="connsiteX260" fmla="*/ 246774 w 1555246"/>
                  <a:gd name="connsiteY260" fmla="*/ 1287630 h 1551620"/>
                  <a:gd name="connsiteX261" fmla="*/ 244861 w 1555246"/>
                  <a:gd name="connsiteY261" fmla="*/ 1302934 h 1551620"/>
                  <a:gd name="connsiteX262" fmla="*/ 250600 w 1555246"/>
                  <a:gd name="connsiteY262" fmla="*/ 1304847 h 1551620"/>
                  <a:gd name="connsiteX263" fmla="*/ 265903 w 1555246"/>
                  <a:gd name="connsiteY263" fmla="*/ 1318238 h 1551620"/>
                  <a:gd name="connsiteX264" fmla="*/ 263990 w 1555246"/>
                  <a:gd name="connsiteY264" fmla="*/ 1337367 h 1551620"/>
                  <a:gd name="connsiteX265" fmla="*/ 263990 w 1555246"/>
                  <a:gd name="connsiteY265" fmla="*/ 1358410 h 1551620"/>
                  <a:gd name="connsiteX266" fmla="*/ 271642 w 1555246"/>
                  <a:gd name="connsiteY266" fmla="*/ 1360323 h 1551620"/>
                  <a:gd name="connsiteX267" fmla="*/ 285033 w 1555246"/>
                  <a:gd name="connsiteY267" fmla="*/ 1364149 h 1551620"/>
                  <a:gd name="connsiteX268" fmla="*/ 290772 w 1555246"/>
                  <a:gd name="connsiteY268" fmla="*/ 1367975 h 1551620"/>
                  <a:gd name="connsiteX269" fmla="*/ 304163 w 1555246"/>
                  <a:gd name="connsiteY269" fmla="*/ 1377540 h 1551620"/>
                  <a:gd name="connsiteX270" fmla="*/ 323292 w 1555246"/>
                  <a:gd name="connsiteY270" fmla="*/ 1381366 h 1551620"/>
                  <a:gd name="connsiteX271" fmla="*/ 334770 w 1555246"/>
                  <a:gd name="connsiteY271" fmla="*/ 1389017 h 1551620"/>
                  <a:gd name="connsiteX272" fmla="*/ 346248 w 1555246"/>
                  <a:gd name="connsiteY272" fmla="*/ 1400495 h 1551620"/>
                  <a:gd name="connsiteX273" fmla="*/ 353900 w 1555246"/>
                  <a:gd name="connsiteY273" fmla="*/ 1425364 h 1551620"/>
                  <a:gd name="connsiteX274" fmla="*/ 382594 w 1555246"/>
                  <a:gd name="connsiteY274" fmla="*/ 1423451 h 1551620"/>
                  <a:gd name="connsiteX275" fmla="*/ 394072 w 1555246"/>
                  <a:gd name="connsiteY275" fmla="*/ 1419625 h 1551620"/>
                  <a:gd name="connsiteX276" fmla="*/ 413202 w 1555246"/>
                  <a:gd name="connsiteY276" fmla="*/ 1425364 h 1551620"/>
                  <a:gd name="connsiteX277" fmla="*/ 422767 w 1555246"/>
                  <a:gd name="connsiteY277" fmla="*/ 1434929 h 1551620"/>
                  <a:gd name="connsiteX278" fmla="*/ 428506 w 1555246"/>
                  <a:gd name="connsiteY278" fmla="*/ 1440668 h 1551620"/>
                  <a:gd name="connsiteX279" fmla="*/ 436158 w 1555246"/>
                  <a:gd name="connsiteY279" fmla="*/ 1452146 h 1551620"/>
                  <a:gd name="connsiteX280" fmla="*/ 455287 w 1555246"/>
                  <a:gd name="connsiteY280" fmla="*/ 1450233 h 1551620"/>
                  <a:gd name="connsiteX281" fmla="*/ 462939 w 1555246"/>
                  <a:gd name="connsiteY281" fmla="*/ 1448320 h 1551620"/>
                  <a:gd name="connsiteX282" fmla="*/ 480156 w 1555246"/>
                  <a:gd name="connsiteY282" fmla="*/ 1452146 h 1551620"/>
                  <a:gd name="connsiteX283" fmla="*/ 485895 w 1555246"/>
                  <a:gd name="connsiteY283" fmla="*/ 1455971 h 1551620"/>
                  <a:gd name="connsiteX284" fmla="*/ 493547 w 1555246"/>
                  <a:gd name="connsiteY284" fmla="*/ 1461710 h 1551620"/>
                  <a:gd name="connsiteX285" fmla="*/ 499286 w 1555246"/>
                  <a:gd name="connsiteY285" fmla="*/ 1463623 h 1551620"/>
                  <a:gd name="connsiteX286" fmla="*/ 520328 w 1555246"/>
                  <a:gd name="connsiteY286" fmla="*/ 1459797 h 1551620"/>
                  <a:gd name="connsiteX287" fmla="*/ 522241 w 1555246"/>
                  <a:gd name="connsiteY287" fmla="*/ 1454058 h 1551620"/>
                  <a:gd name="connsiteX288" fmla="*/ 529893 w 1555246"/>
                  <a:gd name="connsiteY288" fmla="*/ 1433016 h 1551620"/>
                  <a:gd name="connsiteX289" fmla="*/ 552849 w 1555246"/>
                  <a:gd name="connsiteY289" fmla="*/ 1434929 h 1551620"/>
                  <a:gd name="connsiteX290" fmla="*/ 570066 w 1555246"/>
                  <a:gd name="connsiteY290" fmla="*/ 1446407 h 1551620"/>
                  <a:gd name="connsiteX291" fmla="*/ 583456 w 1555246"/>
                  <a:gd name="connsiteY291" fmla="*/ 1455971 h 1551620"/>
                  <a:gd name="connsiteX292" fmla="*/ 600673 w 1555246"/>
                  <a:gd name="connsiteY292" fmla="*/ 1467449 h 1551620"/>
                  <a:gd name="connsiteX293" fmla="*/ 617890 w 1555246"/>
                  <a:gd name="connsiteY293" fmla="*/ 1477014 h 1551620"/>
                  <a:gd name="connsiteX294" fmla="*/ 625542 w 1555246"/>
                  <a:gd name="connsiteY294" fmla="*/ 1478927 h 1551620"/>
                  <a:gd name="connsiteX295" fmla="*/ 627455 w 1555246"/>
                  <a:gd name="connsiteY295" fmla="*/ 1484666 h 1551620"/>
                  <a:gd name="connsiteX296" fmla="*/ 633194 w 1555246"/>
                  <a:gd name="connsiteY296" fmla="*/ 1482753 h 1551620"/>
                  <a:gd name="connsiteX297" fmla="*/ 648497 w 1555246"/>
                  <a:gd name="connsiteY297" fmla="*/ 1480840 h 1551620"/>
                  <a:gd name="connsiteX298" fmla="*/ 658062 w 1555246"/>
                  <a:gd name="connsiteY298" fmla="*/ 1482753 h 1551620"/>
                  <a:gd name="connsiteX299" fmla="*/ 667627 w 1555246"/>
                  <a:gd name="connsiteY299" fmla="*/ 1494231 h 1551620"/>
                  <a:gd name="connsiteX300" fmla="*/ 669540 w 1555246"/>
                  <a:gd name="connsiteY300" fmla="*/ 1521012 h 1551620"/>
                  <a:gd name="connsiteX301" fmla="*/ 677192 w 1555246"/>
                  <a:gd name="connsiteY301" fmla="*/ 1526751 h 1551620"/>
                  <a:gd name="connsiteX302" fmla="*/ 688670 w 1555246"/>
                  <a:gd name="connsiteY302" fmla="*/ 1536316 h 1551620"/>
                  <a:gd name="connsiteX303" fmla="*/ 711625 w 1555246"/>
                  <a:gd name="connsiteY303" fmla="*/ 1528664 h 1551620"/>
                  <a:gd name="connsiteX304" fmla="*/ 734581 w 1555246"/>
                  <a:gd name="connsiteY304" fmla="*/ 1530577 h 1551620"/>
                  <a:gd name="connsiteX305" fmla="*/ 751798 w 1555246"/>
                  <a:gd name="connsiteY305" fmla="*/ 1545881 h 1551620"/>
                  <a:gd name="connsiteX306" fmla="*/ 767102 w 1555246"/>
                  <a:gd name="connsiteY306" fmla="*/ 1551620 h 1551620"/>
                  <a:gd name="connsiteX307" fmla="*/ 786231 w 1555246"/>
                  <a:gd name="connsiteY307" fmla="*/ 1547794 h 1551620"/>
                  <a:gd name="connsiteX308" fmla="*/ 793883 w 1555246"/>
                  <a:gd name="connsiteY308" fmla="*/ 1532490 h 1551620"/>
                  <a:gd name="connsiteX309" fmla="*/ 803448 w 1555246"/>
                  <a:gd name="connsiteY309" fmla="*/ 1528664 h 1551620"/>
                  <a:gd name="connsiteX310" fmla="*/ 841707 w 1555246"/>
                  <a:gd name="connsiteY310" fmla="*/ 1526751 h 1551620"/>
                  <a:gd name="connsiteX311" fmla="*/ 839794 w 1555246"/>
                  <a:gd name="connsiteY311" fmla="*/ 1494231 h 1551620"/>
                  <a:gd name="connsiteX312" fmla="*/ 832143 w 1555246"/>
                  <a:gd name="connsiteY312" fmla="*/ 1478927 h 1551620"/>
                  <a:gd name="connsiteX313" fmla="*/ 830230 w 1555246"/>
                  <a:gd name="connsiteY313" fmla="*/ 1471275 h 1551620"/>
                  <a:gd name="connsiteX314" fmla="*/ 835969 w 1555246"/>
                  <a:gd name="connsiteY314" fmla="*/ 1459797 h 1551620"/>
                  <a:gd name="connsiteX315" fmla="*/ 837882 w 1555246"/>
                  <a:gd name="connsiteY315" fmla="*/ 1440668 h 1551620"/>
                  <a:gd name="connsiteX316" fmla="*/ 839794 w 1555246"/>
                  <a:gd name="connsiteY316" fmla="*/ 1433016 h 1551620"/>
                  <a:gd name="connsiteX317" fmla="*/ 845533 w 1555246"/>
                  <a:gd name="connsiteY317" fmla="*/ 1429190 h 1551620"/>
                  <a:gd name="connsiteX318" fmla="*/ 858924 w 1555246"/>
                  <a:gd name="connsiteY318" fmla="*/ 1417712 h 1551620"/>
                  <a:gd name="connsiteX319" fmla="*/ 864663 w 1555246"/>
                  <a:gd name="connsiteY319" fmla="*/ 1415799 h 1551620"/>
                  <a:gd name="connsiteX320" fmla="*/ 870402 w 1555246"/>
                  <a:gd name="connsiteY320" fmla="*/ 1410060 h 1551620"/>
                  <a:gd name="connsiteX321" fmla="*/ 876141 w 1555246"/>
                  <a:gd name="connsiteY321" fmla="*/ 1406234 h 1551620"/>
                  <a:gd name="connsiteX322" fmla="*/ 879967 w 1555246"/>
                  <a:gd name="connsiteY322" fmla="*/ 1400495 h 1551620"/>
                  <a:gd name="connsiteX323" fmla="*/ 904835 w 1555246"/>
                  <a:gd name="connsiteY323" fmla="*/ 1387105 h 1551620"/>
                  <a:gd name="connsiteX324" fmla="*/ 910574 w 1555246"/>
                  <a:gd name="connsiteY324" fmla="*/ 1385192 h 1551620"/>
                  <a:gd name="connsiteX325" fmla="*/ 925878 w 1555246"/>
                  <a:gd name="connsiteY325" fmla="*/ 1381366 h 1551620"/>
                  <a:gd name="connsiteX326" fmla="*/ 943095 w 1555246"/>
                  <a:gd name="connsiteY326" fmla="*/ 1369888 h 1551620"/>
                  <a:gd name="connsiteX327" fmla="*/ 950747 w 1555246"/>
                  <a:gd name="connsiteY327" fmla="*/ 1366062 h 1551620"/>
                  <a:gd name="connsiteX328" fmla="*/ 971789 w 1555246"/>
                  <a:gd name="connsiteY328" fmla="*/ 1348845 h 1551620"/>
                  <a:gd name="connsiteX329" fmla="*/ 983267 w 1555246"/>
                  <a:gd name="connsiteY329" fmla="*/ 1354584 h 1551620"/>
                  <a:gd name="connsiteX330" fmla="*/ 987093 w 1555246"/>
                  <a:gd name="connsiteY330" fmla="*/ 1360323 h 1551620"/>
                  <a:gd name="connsiteX331" fmla="*/ 994745 w 1555246"/>
                  <a:gd name="connsiteY331" fmla="*/ 1362236 h 1551620"/>
                  <a:gd name="connsiteX332" fmla="*/ 1004310 w 1555246"/>
                  <a:gd name="connsiteY332" fmla="*/ 1366062 h 1551620"/>
                  <a:gd name="connsiteX333" fmla="*/ 1029179 w 1555246"/>
                  <a:gd name="connsiteY333" fmla="*/ 1369888 h 1551620"/>
                  <a:gd name="connsiteX334" fmla="*/ 1036830 w 1555246"/>
                  <a:gd name="connsiteY334" fmla="*/ 1371801 h 1551620"/>
                  <a:gd name="connsiteX335" fmla="*/ 1044482 w 1555246"/>
                  <a:gd name="connsiteY335" fmla="*/ 1375627 h 1551620"/>
                  <a:gd name="connsiteX336" fmla="*/ 1054047 w 1555246"/>
                  <a:gd name="connsiteY336" fmla="*/ 1377540 h 1551620"/>
                  <a:gd name="connsiteX337" fmla="*/ 1069351 w 1555246"/>
                  <a:gd name="connsiteY337" fmla="*/ 1383279 h 1551620"/>
                  <a:gd name="connsiteX338" fmla="*/ 1067438 w 1555246"/>
                  <a:gd name="connsiteY338" fmla="*/ 1375627 h 1551620"/>
                  <a:gd name="connsiteX339" fmla="*/ 1071264 w 1555246"/>
                  <a:gd name="connsiteY339" fmla="*/ 1383279 h 1551620"/>
                  <a:gd name="connsiteX340" fmla="*/ 1075090 w 1555246"/>
                  <a:gd name="connsiteY340" fmla="*/ 1392843 h 1551620"/>
                  <a:gd name="connsiteX341" fmla="*/ 1096133 w 1555246"/>
                  <a:gd name="connsiteY341" fmla="*/ 1390930 h 1551620"/>
                  <a:gd name="connsiteX342" fmla="*/ 1111436 w 1555246"/>
                  <a:gd name="connsiteY342" fmla="*/ 1358410 h 1551620"/>
                  <a:gd name="connsiteX343" fmla="*/ 1113349 w 1555246"/>
                  <a:gd name="connsiteY343" fmla="*/ 1392843 h 1551620"/>
                  <a:gd name="connsiteX344" fmla="*/ 1103784 w 1555246"/>
                  <a:gd name="connsiteY344" fmla="*/ 1394756 h 1551620"/>
                  <a:gd name="connsiteX345" fmla="*/ 1138218 w 1555246"/>
                  <a:gd name="connsiteY345" fmla="*/ 1396669 h 1551620"/>
                  <a:gd name="connsiteX346" fmla="*/ 1140131 w 1555246"/>
                  <a:gd name="connsiteY346" fmla="*/ 1402408 h 1551620"/>
                  <a:gd name="connsiteX347" fmla="*/ 1142044 w 1555246"/>
                  <a:gd name="connsiteY347" fmla="*/ 1415799 h 1551620"/>
                  <a:gd name="connsiteX348" fmla="*/ 1168825 w 1555246"/>
                  <a:gd name="connsiteY348" fmla="*/ 1423451 h 1551620"/>
                  <a:gd name="connsiteX349" fmla="*/ 1182216 w 1555246"/>
                  <a:gd name="connsiteY349" fmla="*/ 1427277 h 1551620"/>
                  <a:gd name="connsiteX350" fmla="*/ 1187955 w 1555246"/>
                  <a:gd name="connsiteY350" fmla="*/ 1429190 h 1551620"/>
                  <a:gd name="connsiteX351" fmla="*/ 1191781 w 1555246"/>
                  <a:gd name="connsiteY351" fmla="*/ 1434929 h 1551620"/>
                  <a:gd name="connsiteX352" fmla="*/ 1193694 w 1555246"/>
                  <a:gd name="connsiteY352" fmla="*/ 1446407 h 1551620"/>
                  <a:gd name="connsiteX353" fmla="*/ 1195607 w 1555246"/>
                  <a:gd name="connsiteY353" fmla="*/ 1454058 h 1551620"/>
                  <a:gd name="connsiteX354" fmla="*/ 1210911 w 1555246"/>
                  <a:gd name="connsiteY354" fmla="*/ 1450233 h 1551620"/>
                  <a:gd name="connsiteX355" fmla="*/ 1224302 w 1555246"/>
                  <a:gd name="connsiteY355" fmla="*/ 1452146 h 1551620"/>
                  <a:gd name="connsiteX356" fmla="*/ 1230041 w 1555246"/>
                  <a:gd name="connsiteY356" fmla="*/ 1448320 h 1551620"/>
                  <a:gd name="connsiteX357" fmla="*/ 1233866 w 1555246"/>
                  <a:gd name="connsiteY357" fmla="*/ 1455971 h 1551620"/>
                  <a:gd name="connsiteX358" fmla="*/ 1235779 w 1555246"/>
                  <a:gd name="connsiteY358" fmla="*/ 1461710 h 1551620"/>
                  <a:gd name="connsiteX359" fmla="*/ 1239605 w 1555246"/>
                  <a:gd name="connsiteY359" fmla="*/ 1467449 h 1551620"/>
                  <a:gd name="connsiteX360" fmla="*/ 1256822 w 1555246"/>
                  <a:gd name="connsiteY360" fmla="*/ 1448320 h 1551620"/>
                  <a:gd name="connsiteX361" fmla="*/ 1272126 w 1555246"/>
                  <a:gd name="connsiteY361" fmla="*/ 1444494 h 1551620"/>
                  <a:gd name="connsiteX362" fmla="*/ 1300820 w 1555246"/>
                  <a:gd name="connsiteY362" fmla="*/ 1442581 h 1551620"/>
                  <a:gd name="connsiteX363" fmla="*/ 1310385 w 1555246"/>
                  <a:gd name="connsiteY363" fmla="*/ 1440668 h 1551620"/>
                  <a:gd name="connsiteX364" fmla="*/ 1312298 w 1555246"/>
                  <a:gd name="connsiteY364" fmla="*/ 1434929 h 1551620"/>
                  <a:gd name="connsiteX365" fmla="*/ 1318037 w 1555246"/>
                  <a:gd name="connsiteY365" fmla="*/ 1421538 h 1551620"/>
                  <a:gd name="connsiteX366" fmla="*/ 1319950 w 1555246"/>
                  <a:gd name="connsiteY366" fmla="*/ 1413886 h 1551620"/>
                  <a:gd name="connsiteX367" fmla="*/ 1323776 w 1555246"/>
                  <a:gd name="connsiteY367" fmla="*/ 1408147 h 1551620"/>
                  <a:gd name="connsiteX368" fmla="*/ 1337167 w 1555246"/>
                  <a:gd name="connsiteY368" fmla="*/ 1396669 h 1551620"/>
                  <a:gd name="connsiteX369" fmla="*/ 1346732 w 1555246"/>
                  <a:gd name="connsiteY369" fmla="*/ 1390930 h 1551620"/>
                  <a:gd name="connsiteX370" fmla="*/ 1360123 w 1555246"/>
                  <a:gd name="connsiteY370" fmla="*/ 1389017 h 1551620"/>
                  <a:gd name="connsiteX371" fmla="*/ 1365861 w 1555246"/>
                  <a:gd name="connsiteY371" fmla="*/ 1387105 h 1551620"/>
                  <a:gd name="connsiteX372" fmla="*/ 1367774 w 1555246"/>
                  <a:gd name="connsiteY372" fmla="*/ 1381366 h 1551620"/>
                  <a:gd name="connsiteX373" fmla="*/ 1369687 w 1555246"/>
                  <a:gd name="connsiteY373" fmla="*/ 1367975 h 1551620"/>
                  <a:gd name="connsiteX374" fmla="*/ 1373513 w 1555246"/>
                  <a:gd name="connsiteY374" fmla="*/ 1362236 h 1551620"/>
                  <a:gd name="connsiteX375" fmla="*/ 1381165 w 1555246"/>
                  <a:gd name="connsiteY375" fmla="*/ 1352671 h 1551620"/>
                  <a:gd name="connsiteX376" fmla="*/ 1386904 w 1555246"/>
                  <a:gd name="connsiteY376" fmla="*/ 1350758 h 1551620"/>
                  <a:gd name="connsiteX377" fmla="*/ 1400295 w 1555246"/>
                  <a:gd name="connsiteY377" fmla="*/ 1345019 h 1551620"/>
                  <a:gd name="connsiteX378" fmla="*/ 1413686 w 1555246"/>
                  <a:gd name="connsiteY378" fmla="*/ 1343106 h 1551620"/>
                  <a:gd name="connsiteX379" fmla="*/ 1430902 w 1555246"/>
                  <a:gd name="connsiteY379" fmla="*/ 1327802 h 1551620"/>
                  <a:gd name="connsiteX380" fmla="*/ 1440467 w 1555246"/>
                  <a:gd name="connsiteY380" fmla="*/ 1310586 h 1551620"/>
                  <a:gd name="connsiteX381" fmla="*/ 1442380 w 1555246"/>
                  <a:gd name="connsiteY381" fmla="*/ 1304847 h 1551620"/>
                  <a:gd name="connsiteX382" fmla="*/ 1453858 w 1555246"/>
                  <a:gd name="connsiteY382" fmla="*/ 1299108 h 1551620"/>
                  <a:gd name="connsiteX383" fmla="*/ 1451945 w 1555246"/>
                  <a:gd name="connsiteY383" fmla="*/ 1270413 h 1551620"/>
                  <a:gd name="connsiteX384" fmla="*/ 1436641 w 1555246"/>
                  <a:gd name="connsiteY384" fmla="*/ 1272326 h 1551620"/>
                  <a:gd name="connsiteX385" fmla="*/ 1404121 w 1555246"/>
                  <a:gd name="connsiteY385" fmla="*/ 1268500 h 1551620"/>
                  <a:gd name="connsiteX386" fmla="*/ 1398382 w 1555246"/>
                  <a:gd name="connsiteY386" fmla="*/ 1262761 h 1551620"/>
                  <a:gd name="connsiteX387" fmla="*/ 1379252 w 1555246"/>
                  <a:gd name="connsiteY387" fmla="*/ 1255110 h 1551620"/>
                  <a:gd name="connsiteX388" fmla="*/ 1369687 w 1555246"/>
                  <a:gd name="connsiteY388" fmla="*/ 1247458 h 1551620"/>
                  <a:gd name="connsiteX389" fmla="*/ 1354384 w 1555246"/>
                  <a:gd name="connsiteY389" fmla="*/ 1218763 h 1551620"/>
                  <a:gd name="connsiteX390" fmla="*/ 1352471 w 1555246"/>
                  <a:gd name="connsiteY390" fmla="*/ 1190069 h 1551620"/>
                  <a:gd name="connsiteX391" fmla="*/ 1360123 w 1555246"/>
                  <a:gd name="connsiteY391" fmla="*/ 1188156 h 1551620"/>
                  <a:gd name="connsiteX392" fmla="*/ 1365861 w 1555246"/>
                  <a:gd name="connsiteY392" fmla="*/ 1184330 h 1551620"/>
                  <a:gd name="connsiteX393" fmla="*/ 1367774 w 1555246"/>
                  <a:gd name="connsiteY393" fmla="*/ 1174765 h 1551620"/>
                  <a:gd name="connsiteX394" fmla="*/ 1373513 w 1555246"/>
                  <a:gd name="connsiteY394" fmla="*/ 1159461 h 1551620"/>
                  <a:gd name="connsiteX395" fmla="*/ 1371600 w 1555246"/>
                  <a:gd name="connsiteY395" fmla="*/ 1144157 h 1551620"/>
                  <a:gd name="connsiteX396" fmla="*/ 1340993 w 1555246"/>
                  <a:gd name="connsiteY396" fmla="*/ 1151809 h 1551620"/>
                  <a:gd name="connsiteX397" fmla="*/ 1337167 w 1555246"/>
                  <a:gd name="connsiteY397" fmla="*/ 1140331 h 1551620"/>
                  <a:gd name="connsiteX398" fmla="*/ 1333341 w 1555246"/>
                  <a:gd name="connsiteY398" fmla="*/ 1128853 h 1551620"/>
                  <a:gd name="connsiteX399" fmla="*/ 1327602 w 1555246"/>
                  <a:gd name="connsiteY399" fmla="*/ 1107811 h 1551620"/>
                  <a:gd name="connsiteX400" fmla="*/ 1329515 w 1555246"/>
                  <a:gd name="connsiteY400" fmla="*/ 1102072 h 1551620"/>
                  <a:gd name="connsiteX401" fmla="*/ 1331428 w 1555246"/>
                  <a:gd name="connsiteY401" fmla="*/ 1092507 h 1551620"/>
                  <a:gd name="connsiteX402" fmla="*/ 1339080 w 1555246"/>
                  <a:gd name="connsiteY402" fmla="*/ 1088681 h 1551620"/>
                  <a:gd name="connsiteX403" fmla="*/ 1344819 w 1555246"/>
                  <a:gd name="connsiteY403" fmla="*/ 1090594 h 1551620"/>
                  <a:gd name="connsiteX404" fmla="*/ 1350558 w 1555246"/>
                  <a:gd name="connsiteY404" fmla="*/ 1094420 h 1551620"/>
                  <a:gd name="connsiteX405" fmla="*/ 1377339 w 1555246"/>
                  <a:gd name="connsiteY405" fmla="*/ 1092507 h 1551620"/>
                  <a:gd name="connsiteX406" fmla="*/ 1383078 w 1555246"/>
                  <a:gd name="connsiteY406" fmla="*/ 1079116 h 1551620"/>
                  <a:gd name="connsiteX407" fmla="*/ 1388817 w 1555246"/>
                  <a:gd name="connsiteY407" fmla="*/ 1075290 h 1551620"/>
                  <a:gd name="connsiteX408" fmla="*/ 1392643 w 1555246"/>
                  <a:gd name="connsiteY408" fmla="*/ 1069551 h 1551620"/>
                  <a:gd name="connsiteX409" fmla="*/ 1398382 w 1555246"/>
                  <a:gd name="connsiteY409" fmla="*/ 1065725 h 1551620"/>
                  <a:gd name="connsiteX410" fmla="*/ 1406890 w 1555246"/>
                  <a:gd name="connsiteY410" fmla="*/ 1035118 h 1551620"/>
                  <a:gd name="connsiteX411" fmla="*/ 1389713 w 1555246"/>
                  <a:gd name="connsiteY411" fmla="*/ 1010289 h 1551620"/>
                  <a:gd name="connsiteX412" fmla="*/ 1369687 w 1555246"/>
                  <a:gd name="connsiteY412" fmla="*/ 998771 h 1551620"/>
                  <a:gd name="connsiteX413" fmla="*/ 1362035 w 1555246"/>
                  <a:gd name="connsiteY413" fmla="*/ 991120 h 1551620"/>
                  <a:gd name="connsiteX414" fmla="*/ 1358210 w 1555246"/>
                  <a:gd name="connsiteY414" fmla="*/ 975816 h 1551620"/>
                  <a:gd name="connsiteX415" fmla="*/ 1362035 w 1555246"/>
                  <a:gd name="connsiteY415" fmla="*/ 956686 h 1551620"/>
                  <a:gd name="connsiteX416" fmla="*/ 1367774 w 1555246"/>
                  <a:gd name="connsiteY416" fmla="*/ 949034 h 1551620"/>
                  <a:gd name="connsiteX417" fmla="*/ 1386904 w 1555246"/>
                  <a:gd name="connsiteY417" fmla="*/ 941382 h 1551620"/>
                  <a:gd name="connsiteX418" fmla="*/ 1383078 w 1555246"/>
                  <a:gd name="connsiteY418" fmla="*/ 920340 h 1551620"/>
                  <a:gd name="connsiteX419" fmla="*/ 1373513 w 1555246"/>
                  <a:gd name="connsiteY419" fmla="*/ 916514 h 1551620"/>
                  <a:gd name="connsiteX420" fmla="*/ 1367774 w 1555246"/>
                  <a:gd name="connsiteY420" fmla="*/ 912688 h 1551620"/>
                  <a:gd name="connsiteX421" fmla="*/ 1363948 w 1555246"/>
                  <a:gd name="connsiteY421" fmla="*/ 905036 h 1551620"/>
                  <a:gd name="connsiteX422" fmla="*/ 1367774 w 1555246"/>
                  <a:gd name="connsiteY422" fmla="*/ 880167 h 1551620"/>
                  <a:gd name="connsiteX423" fmla="*/ 1365861 w 1555246"/>
                  <a:gd name="connsiteY423" fmla="*/ 853386 h 1551620"/>
                  <a:gd name="connsiteX424" fmla="*/ 1352471 w 1555246"/>
                  <a:gd name="connsiteY424" fmla="*/ 849560 h 1551620"/>
                  <a:gd name="connsiteX425" fmla="*/ 1346732 w 1555246"/>
                  <a:gd name="connsiteY425" fmla="*/ 845734 h 1551620"/>
                  <a:gd name="connsiteX426" fmla="*/ 1331428 w 1555246"/>
                  <a:gd name="connsiteY426" fmla="*/ 841908 h 1551620"/>
                  <a:gd name="connsiteX427" fmla="*/ 1302733 w 1555246"/>
                  <a:gd name="connsiteY427" fmla="*/ 853386 h 1551620"/>
                  <a:gd name="connsiteX428" fmla="*/ 1298907 w 1555246"/>
                  <a:gd name="connsiteY428" fmla="*/ 859125 h 1551620"/>
                  <a:gd name="connsiteX429" fmla="*/ 1293169 w 1555246"/>
                  <a:gd name="connsiteY429" fmla="*/ 868689 h 1551620"/>
                  <a:gd name="connsiteX430" fmla="*/ 1298907 w 1555246"/>
                  <a:gd name="connsiteY430" fmla="*/ 885906 h 1551620"/>
                  <a:gd name="connsiteX431" fmla="*/ 1300820 w 1555246"/>
                  <a:gd name="connsiteY431" fmla="*/ 891645 h 1551620"/>
                  <a:gd name="connsiteX432" fmla="*/ 1296994 w 1555246"/>
                  <a:gd name="connsiteY432" fmla="*/ 903123 h 1551620"/>
                  <a:gd name="connsiteX433" fmla="*/ 1289343 w 1555246"/>
                  <a:gd name="connsiteY433" fmla="*/ 905036 h 1551620"/>
                  <a:gd name="connsiteX434" fmla="*/ 1256822 w 1555246"/>
                  <a:gd name="connsiteY434" fmla="*/ 901210 h 1551620"/>
                  <a:gd name="connsiteX435" fmla="*/ 1262561 w 1555246"/>
                  <a:gd name="connsiteY435" fmla="*/ 882080 h 1551620"/>
                  <a:gd name="connsiteX436" fmla="*/ 1272126 w 1555246"/>
                  <a:gd name="connsiteY436" fmla="*/ 880167 h 1551620"/>
                  <a:gd name="connsiteX437" fmla="*/ 1283604 w 1555246"/>
                  <a:gd name="connsiteY437" fmla="*/ 828517 h 1551620"/>
                  <a:gd name="connsiteX438" fmla="*/ 1298907 w 1555246"/>
                  <a:gd name="connsiteY438" fmla="*/ 811300 h 1551620"/>
                  <a:gd name="connsiteX439" fmla="*/ 1306559 w 1555246"/>
                  <a:gd name="connsiteY439" fmla="*/ 805561 h 1551620"/>
                  <a:gd name="connsiteX440" fmla="*/ 1316124 w 1555246"/>
                  <a:gd name="connsiteY440" fmla="*/ 780693 h 1551620"/>
                  <a:gd name="connsiteX441" fmla="*/ 1342906 w 1555246"/>
                  <a:gd name="connsiteY441" fmla="*/ 757737 h 1551620"/>
                  <a:gd name="connsiteX442" fmla="*/ 1346732 w 1555246"/>
                  <a:gd name="connsiteY442" fmla="*/ 751998 h 1551620"/>
                  <a:gd name="connsiteX443" fmla="*/ 1348645 w 1555246"/>
                  <a:gd name="connsiteY443" fmla="*/ 746259 h 1551620"/>
                  <a:gd name="connsiteX444" fmla="*/ 1360123 w 1555246"/>
                  <a:gd name="connsiteY444" fmla="*/ 732869 h 1551620"/>
                  <a:gd name="connsiteX445" fmla="*/ 1363948 w 1555246"/>
                  <a:gd name="connsiteY445" fmla="*/ 727130 h 1551620"/>
                  <a:gd name="connsiteX446" fmla="*/ 1375426 w 1555246"/>
                  <a:gd name="connsiteY446" fmla="*/ 723304 h 1551620"/>
                  <a:gd name="connsiteX447" fmla="*/ 1398382 w 1555246"/>
                  <a:gd name="connsiteY447" fmla="*/ 713739 h 1551620"/>
                  <a:gd name="connsiteX448" fmla="*/ 1404121 w 1555246"/>
                  <a:gd name="connsiteY448" fmla="*/ 709913 h 1551620"/>
                  <a:gd name="connsiteX449" fmla="*/ 1394556 w 1555246"/>
                  <a:gd name="connsiteY449" fmla="*/ 700348 h 1551620"/>
                  <a:gd name="connsiteX450" fmla="*/ 1388817 w 1555246"/>
                  <a:gd name="connsiteY450" fmla="*/ 692696 h 1551620"/>
                  <a:gd name="connsiteX451" fmla="*/ 1404121 w 1555246"/>
                  <a:gd name="connsiteY451" fmla="*/ 669740 h 1551620"/>
                  <a:gd name="connsiteX452" fmla="*/ 1413686 w 1555246"/>
                  <a:gd name="connsiteY452" fmla="*/ 675479 h 1551620"/>
                  <a:gd name="connsiteX453" fmla="*/ 1450032 w 1555246"/>
                  <a:gd name="connsiteY453" fmla="*/ 673566 h 1551620"/>
                  <a:gd name="connsiteX454" fmla="*/ 1457684 w 1555246"/>
                  <a:gd name="connsiteY454" fmla="*/ 660176 h 1551620"/>
                  <a:gd name="connsiteX455" fmla="*/ 1465336 w 1555246"/>
                  <a:gd name="connsiteY455" fmla="*/ 618090 h 1551620"/>
                  <a:gd name="connsiteX456" fmla="*/ 1472988 w 1555246"/>
                  <a:gd name="connsiteY456" fmla="*/ 572179 h 1551620"/>
                  <a:gd name="connsiteX457" fmla="*/ 1474901 w 1555246"/>
                  <a:gd name="connsiteY457" fmla="*/ 554962 h 1551620"/>
                  <a:gd name="connsiteX458" fmla="*/ 1484466 w 1555246"/>
                  <a:gd name="connsiteY458" fmla="*/ 526268 h 1551620"/>
                  <a:gd name="connsiteX459" fmla="*/ 1486379 w 1555246"/>
                  <a:gd name="connsiteY459" fmla="*/ 497573 h 1551620"/>
                  <a:gd name="connsiteX460" fmla="*/ 1490205 w 1555246"/>
                  <a:gd name="connsiteY460" fmla="*/ 491834 h 1551620"/>
                  <a:gd name="connsiteX461" fmla="*/ 1492117 w 1555246"/>
                  <a:gd name="connsiteY461" fmla="*/ 480356 h 1551620"/>
                  <a:gd name="connsiteX462" fmla="*/ 1495943 w 1555246"/>
                  <a:gd name="connsiteY462" fmla="*/ 474617 h 1551620"/>
                  <a:gd name="connsiteX463" fmla="*/ 1511247 w 1555246"/>
                  <a:gd name="connsiteY463" fmla="*/ 451662 h 1551620"/>
                  <a:gd name="connsiteX464" fmla="*/ 1524638 w 1555246"/>
                  <a:gd name="connsiteY464" fmla="*/ 438271 h 1551620"/>
                  <a:gd name="connsiteX465" fmla="*/ 1534203 w 1555246"/>
                  <a:gd name="connsiteY465" fmla="*/ 428706 h 1551620"/>
                  <a:gd name="connsiteX466" fmla="*/ 1551420 w 1555246"/>
                  <a:gd name="connsiteY466" fmla="*/ 415315 h 1551620"/>
                  <a:gd name="connsiteX467" fmla="*/ 1555246 w 1555246"/>
                  <a:gd name="connsiteY467" fmla="*/ 409576 h 1551620"/>
                  <a:gd name="connsiteX468" fmla="*/ 1549507 w 1555246"/>
                  <a:gd name="connsiteY468" fmla="*/ 403838 h 1551620"/>
                  <a:gd name="connsiteX469" fmla="*/ 1524638 w 1555246"/>
                  <a:gd name="connsiteY469" fmla="*/ 400012 h 1551620"/>
                  <a:gd name="connsiteX470" fmla="*/ 1501682 w 1555246"/>
                  <a:gd name="connsiteY470" fmla="*/ 394273 h 1551620"/>
                  <a:gd name="connsiteX471" fmla="*/ 1494030 w 1555246"/>
                  <a:gd name="connsiteY471" fmla="*/ 392360 h 1551620"/>
                  <a:gd name="connsiteX472" fmla="*/ 1484466 w 1555246"/>
                  <a:gd name="connsiteY472" fmla="*/ 390447 h 1551620"/>
                  <a:gd name="connsiteX473" fmla="*/ 1471075 w 1555246"/>
                  <a:gd name="connsiteY473" fmla="*/ 384708 h 1551620"/>
                  <a:gd name="connsiteX474" fmla="*/ 1459597 w 1555246"/>
                  <a:gd name="connsiteY474" fmla="*/ 375143 h 1551620"/>
                  <a:gd name="connsiteX475" fmla="*/ 1404121 w 1555246"/>
                  <a:gd name="connsiteY475" fmla="*/ 373230 h 1551620"/>
                  <a:gd name="connsiteX476" fmla="*/ 1392643 w 1555246"/>
                  <a:gd name="connsiteY476" fmla="*/ 369404 h 1551620"/>
                  <a:gd name="connsiteX477" fmla="*/ 1377339 w 1555246"/>
                  <a:gd name="connsiteY477" fmla="*/ 371317 h 1551620"/>
                  <a:gd name="connsiteX478" fmla="*/ 1373513 w 1555246"/>
                  <a:gd name="connsiteY478" fmla="*/ 363665 h 1551620"/>
                  <a:gd name="connsiteX479" fmla="*/ 1371600 w 1555246"/>
                  <a:gd name="connsiteY479" fmla="*/ 357926 h 1551620"/>
                  <a:gd name="connsiteX480" fmla="*/ 1369687 w 1555246"/>
                  <a:gd name="connsiteY480" fmla="*/ 350274 h 1551620"/>
                  <a:gd name="connsiteX481" fmla="*/ 1358210 w 1555246"/>
                  <a:gd name="connsiteY481" fmla="*/ 334971 h 1551620"/>
                  <a:gd name="connsiteX482" fmla="*/ 1335254 w 1555246"/>
                  <a:gd name="connsiteY482" fmla="*/ 323493 h 1551620"/>
                  <a:gd name="connsiteX483" fmla="*/ 1304646 w 1555246"/>
                  <a:gd name="connsiteY483" fmla="*/ 321580 h 1551620"/>
                  <a:gd name="connsiteX484" fmla="*/ 1298907 w 1555246"/>
                  <a:gd name="connsiteY484" fmla="*/ 313928 h 1551620"/>
                  <a:gd name="connsiteX485" fmla="*/ 1293169 w 1555246"/>
                  <a:gd name="connsiteY485" fmla="*/ 312015 h 1551620"/>
                  <a:gd name="connsiteX486" fmla="*/ 1277865 w 1555246"/>
                  <a:gd name="connsiteY486" fmla="*/ 306276 h 1551620"/>
                  <a:gd name="connsiteX487" fmla="*/ 1268300 w 1555246"/>
                  <a:gd name="connsiteY487" fmla="*/ 300537 h 1551620"/>
                  <a:gd name="connsiteX488" fmla="*/ 1258735 w 1555246"/>
                  <a:gd name="connsiteY488" fmla="*/ 292885 h 1551620"/>
                  <a:gd name="connsiteX489" fmla="*/ 1203259 w 1555246"/>
                  <a:gd name="connsiteY489" fmla="*/ 289059 h 1551620"/>
                  <a:gd name="connsiteX490" fmla="*/ 1195607 w 1555246"/>
                  <a:gd name="connsiteY490" fmla="*/ 275669 h 1551620"/>
                  <a:gd name="connsiteX491" fmla="*/ 1193694 w 1555246"/>
                  <a:gd name="connsiteY491" fmla="*/ 268017 h 1551620"/>
                  <a:gd name="connsiteX492" fmla="*/ 1180303 w 1555246"/>
                  <a:gd name="connsiteY492" fmla="*/ 256539 h 1551620"/>
                  <a:gd name="connsiteX493" fmla="*/ 1166912 w 1555246"/>
                  <a:gd name="connsiteY493" fmla="*/ 233583 h 1551620"/>
                  <a:gd name="connsiteX494" fmla="*/ 1165000 w 1555246"/>
                  <a:gd name="connsiteY494" fmla="*/ 197237 h 1551620"/>
                  <a:gd name="connsiteX495" fmla="*/ 1172651 w 1555246"/>
                  <a:gd name="connsiteY495" fmla="*/ 181933 h 1551620"/>
                  <a:gd name="connsiteX496" fmla="*/ 1166912 w 1555246"/>
                  <a:gd name="connsiteY496" fmla="*/ 180020 h 1551620"/>
                  <a:gd name="connsiteX497" fmla="*/ 1153522 w 1555246"/>
                  <a:gd name="connsiteY497" fmla="*/ 178107 h 1551620"/>
                  <a:gd name="connsiteX498" fmla="*/ 1128653 w 1555246"/>
                  <a:gd name="connsiteY498" fmla="*/ 185759 h 1551620"/>
                  <a:gd name="connsiteX499" fmla="*/ 1124827 w 1555246"/>
                  <a:gd name="connsiteY499" fmla="*/ 191498 h 1551620"/>
                  <a:gd name="connsiteX500" fmla="*/ 1130566 w 1555246"/>
                  <a:gd name="connsiteY500" fmla="*/ 193411 h 1551620"/>
                  <a:gd name="connsiteX501" fmla="*/ 1111436 w 1555246"/>
                  <a:gd name="connsiteY501" fmla="*/ 202976 h 1551620"/>
                  <a:gd name="connsiteX502" fmla="*/ 1098046 w 1555246"/>
                  <a:gd name="connsiteY502" fmla="*/ 210628 h 1551620"/>
                  <a:gd name="connsiteX503" fmla="*/ 1088481 w 1555246"/>
                  <a:gd name="connsiteY503" fmla="*/ 199150 h 1551620"/>
                  <a:gd name="connsiteX504" fmla="*/ 1092307 w 1555246"/>
                  <a:gd name="connsiteY504" fmla="*/ 183846 h 1551620"/>
                  <a:gd name="connsiteX505" fmla="*/ 1080829 w 1555246"/>
                  <a:gd name="connsiteY505" fmla="*/ 151325 h 1551620"/>
                  <a:gd name="connsiteX506" fmla="*/ 1067438 w 1555246"/>
                  <a:gd name="connsiteY506" fmla="*/ 149412 h 1551620"/>
                  <a:gd name="connsiteX507" fmla="*/ 1055960 w 1555246"/>
                  <a:gd name="connsiteY507" fmla="*/ 143674 h 1551620"/>
                  <a:gd name="connsiteX508" fmla="*/ 1044482 w 1555246"/>
                  <a:gd name="connsiteY508" fmla="*/ 139848 h 1551620"/>
                  <a:gd name="connsiteX509" fmla="*/ 1033005 w 1555246"/>
                  <a:gd name="connsiteY509" fmla="*/ 124544 h 1551620"/>
                  <a:gd name="connsiteX510" fmla="*/ 1027266 w 1555246"/>
                  <a:gd name="connsiteY510" fmla="*/ 118805 h 1551620"/>
                  <a:gd name="connsiteX511" fmla="*/ 1021527 w 1555246"/>
                  <a:gd name="connsiteY511" fmla="*/ 114979 h 1551620"/>
                  <a:gd name="connsiteX512" fmla="*/ 1010049 w 1555246"/>
                  <a:gd name="connsiteY512" fmla="*/ 101588 h 1551620"/>
                  <a:gd name="connsiteX513" fmla="*/ 1008136 w 1555246"/>
                  <a:gd name="connsiteY513" fmla="*/ 90110 h 1551620"/>
                  <a:gd name="connsiteX514" fmla="*/ 998571 w 1555246"/>
                  <a:gd name="connsiteY514" fmla="*/ 74807 h 1551620"/>
                  <a:gd name="connsiteX515" fmla="*/ 996658 w 1555246"/>
                  <a:gd name="connsiteY515" fmla="*/ 48025 h 1551620"/>
                  <a:gd name="connsiteX516" fmla="*/ 989006 w 1555246"/>
                  <a:gd name="connsiteY516" fmla="*/ 42286 h 1551620"/>
                  <a:gd name="connsiteX517" fmla="*/ 950747 w 1555246"/>
                  <a:gd name="connsiteY517" fmla="*/ 40373 h 1551620"/>
                  <a:gd name="connsiteX518" fmla="*/ 943095 w 1555246"/>
                  <a:gd name="connsiteY518" fmla="*/ 34634 h 1551620"/>
                  <a:gd name="connsiteX519" fmla="*/ 925878 w 1555246"/>
                  <a:gd name="connsiteY519" fmla="*/ 23156 h 1551620"/>
                  <a:gd name="connsiteX520" fmla="*/ 922052 w 1555246"/>
                  <a:gd name="connsiteY520" fmla="*/ 13592 h 1551620"/>
                  <a:gd name="connsiteX521" fmla="*/ 918226 w 1555246"/>
                  <a:gd name="connsiteY521" fmla="*/ 7853 h 1551620"/>
                  <a:gd name="connsiteX522" fmla="*/ 920139 w 1555246"/>
                  <a:gd name="connsiteY522" fmla="*/ 2114 h 15516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Lst>
                <a:rect l="l" t="t" r="r" b="b"/>
                <a:pathLst>
                  <a:path w="1555246" h="1551620">
                    <a:moveTo>
                      <a:pt x="920139" y="2114"/>
                    </a:moveTo>
                    <a:cubicBezTo>
                      <a:pt x="912487" y="839"/>
                      <a:pt x="888253" y="-523"/>
                      <a:pt x="872315" y="201"/>
                    </a:cubicBezTo>
                    <a:cubicBezTo>
                      <a:pt x="860062" y="758"/>
                      <a:pt x="847929" y="3222"/>
                      <a:pt x="835969" y="5940"/>
                    </a:cubicBezTo>
                    <a:cubicBezTo>
                      <a:pt x="833727" y="6450"/>
                      <a:pt x="832343" y="8860"/>
                      <a:pt x="830230" y="9766"/>
                    </a:cubicBezTo>
                    <a:cubicBezTo>
                      <a:pt x="827813" y="10802"/>
                      <a:pt x="825129" y="11041"/>
                      <a:pt x="822578" y="11679"/>
                    </a:cubicBezTo>
                    <a:cubicBezTo>
                      <a:pt x="820665" y="14229"/>
                      <a:pt x="818421" y="16562"/>
                      <a:pt x="816839" y="19330"/>
                    </a:cubicBezTo>
                    <a:cubicBezTo>
                      <a:pt x="813080" y="25907"/>
                      <a:pt x="816738" y="25272"/>
                      <a:pt x="813013" y="32721"/>
                    </a:cubicBezTo>
                    <a:cubicBezTo>
                      <a:pt x="810957" y="36834"/>
                      <a:pt x="805361" y="44199"/>
                      <a:pt x="805361" y="44199"/>
                    </a:cubicBezTo>
                    <a:cubicBezTo>
                      <a:pt x="804086" y="50576"/>
                      <a:pt x="802946" y="56981"/>
                      <a:pt x="801535" y="63329"/>
                    </a:cubicBezTo>
                    <a:cubicBezTo>
                      <a:pt x="800394" y="68462"/>
                      <a:pt x="798740" y="73477"/>
                      <a:pt x="797709" y="78633"/>
                    </a:cubicBezTo>
                    <a:cubicBezTo>
                      <a:pt x="797071" y="81821"/>
                      <a:pt x="796730" y="85083"/>
                      <a:pt x="795796" y="88197"/>
                    </a:cubicBezTo>
                    <a:cubicBezTo>
                      <a:pt x="794809" y="91486"/>
                      <a:pt x="793176" y="94547"/>
                      <a:pt x="791970" y="97762"/>
                    </a:cubicBezTo>
                    <a:cubicBezTo>
                      <a:pt x="791262" y="99650"/>
                      <a:pt x="790546" y="101545"/>
                      <a:pt x="790057" y="103501"/>
                    </a:cubicBezTo>
                    <a:cubicBezTo>
                      <a:pt x="789268" y="106655"/>
                      <a:pt x="789489" y="110106"/>
                      <a:pt x="788144" y="113066"/>
                    </a:cubicBezTo>
                    <a:cubicBezTo>
                      <a:pt x="785944" y="117906"/>
                      <a:pt x="778244" y="127308"/>
                      <a:pt x="774753" y="132196"/>
                    </a:cubicBezTo>
                    <a:cubicBezTo>
                      <a:pt x="773417" y="134067"/>
                      <a:pt x="771956" y="135879"/>
                      <a:pt x="770928" y="137935"/>
                    </a:cubicBezTo>
                    <a:cubicBezTo>
                      <a:pt x="767049" y="145694"/>
                      <a:pt x="770065" y="154801"/>
                      <a:pt x="757537" y="158977"/>
                    </a:cubicBezTo>
                    <a:cubicBezTo>
                      <a:pt x="755624" y="159615"/>
                      <a:pt x="753602" y="159988"/>
                      <a:pt x="751798" y="160890"/>
                    </a:cubicBezTo>
                    <a:cubicBezTo>
                      <a:pt x="749742" y="161918"/>
                      <a:pt x="747930" y="163380"/>
                      <a:pt x="746059" y="164716"/>
                    </a:cubicBezTo>
                    <a:cubicBezTo>
                      <a:pt x="743465" y="166569"/>
                      <a:pt x="741259" y="169029"/>
                      <a:pt x="738407" y="170455"/>
                    </a:cubicBezTo>
                    <a:cubicBezTo>
                      <a:pt x="727704" y="175807"/>
                      <a:pt x="723883" y="176038"/>
                      <a:pt x="713538" y="178107"/>
                    </a:cubicBezTo>
                    <a:cubicBezTo>
                      <a:pt x="692909" y="186948"/>
                      <a:pt x="707828" y="181928"/>
                      <a:pt x="686757" y="185759"/>
                    </a:cubicBezTo>
                    <a:cubicBezTo>
                      <a:pt x="680946" y="186815"/>
                      <a:pt x="670430" y="190450"/>
                      <a:pt x="665714" y="191498"/>
                    </a:cubicBezTo>
                    <a:cubicBezTo>
                      <a:pt x="658754" y="193045"/>
                      <a:pt x="651685" y="194049"/>
                      <a:pt x="644671" y="195324"/>
                    </a:cubicBezTo>
                    <a:cubicBezTo>
                      <a:pt x="640845" y="197875"/>
                      <a:pt x="637213" y="200743"/>
                      <a:pt x="633194" y="202976"/>
                    </a:cubicBezTo>
                    <a:cubicBezTo>
                      <a:pt x="622370" y="208990"/>
                      <a:pt x="630782" y="197735"/>
                      <a:pt x="615977" y="212540"/>
                    </a:cubicBezTo>
                    <a:cubicBezTo>
                      <a:pt x="608612" y="219905"/>
                      <a:pt x="611739" y="216028"/>
                      <a:pt x="606412" y="224018"/>
                    </a:cubicBezTo>
                    <a:cubicBezTo>
                      <a:pt x="610202" y="235388"/>
                      <a:pt x="605142" y="224718"/>
                      <a:pt x="615977" y="233583"/>
                    </a:cubicBezTo>
                    <a:cubicBezTo>
                      <a:pt x="637020" y="250800"/>
                      <a:pt x="619931" y="245626"/>
                      <a:pt x="642758" y="248887"/>
                    </a:cubicBezTo>
                    <a:cubicBezTo>
                      <a:pt x="640208" y="250800"/>
                      <a:pt x="637958" y="253200"/>
                      <a:pt x="635107" y="254626"/>
                    </a:cubicBezTo>
                    <a:cubicBezTo>
                      <a:pt x="628964" y="257698"/>
                      <a:pt x="622445" y="259968"/>
                      <a:pt x="615977" y="262278"/>
                    </a:cubicBezTo>
                    <a:cubicBezTo>
                      <a:pt x="612539" y="263506"/>
                      <a:pt x="601791" y="265498"/>
                      <a:pt x="598760" y="266104"/>
                    </a:cubicBezTo>
                    <a:cubicBezTo>
                      <a:pt x="583835" y="273566"/>
                      <a:pt x="589580" y="272306"/>
                      <a:pt x="562414" y="268017"/>
                    </a:cubicBezTo>
                    <a:cubicBezTo>
                      <a:pt x="559597" y="267572"/>
                      <a:pt x="557238" y="265606"/>
                      <a:pt x="554762" y="264191"/>
                    </a:cubicBezTo>
                    <a:cubicBezTo>
                      <a:pt x="552766" y="263050"/>
                      <a:pt x="551287" y="260765"/>
                      <a:pt x="549023" y="260365"/>
                    </a:cubicBezTo>
                    <a:cubicBezTo>
                      <a:pt x="540209" y="258810"/>
                      <a:pt x="531168" y="259090"/>
                      <a:pt x="522241" y="258452"/>
                    </a:cubicBezTo>
                    <a:cubicBezTo>
                      <a:pt x="499786" y="247224"/>
                      <a:pt x="509225" y="252555"/>
                      <a:pt x="493547" y="243148"/>
                    </a:cubicBezTo>
                    <a:cubicBezTo>
                      <a:pt x="492272" y="241235"/>
                      <a:pt x="491516" y="238845"/>
                      <a:pt x="489721" y="237409"/>
                    </a:cubicBezTo>
                    <a:cubicBezTo>
                      <a:pt x="488146" y="236149"/>
                      <a:pt x="485964" y="235868"/>
                      <a:pt x="483982" y="235496"/>
                    </a:cubicBezTo>
                    <a:cubicBezTo>
                      <a:pt x="475738" y="233950"/>
                      <a:pt x="467403" y="232945"/>
                      <a:pt x="459113" y="231670"/>
                    </a:cubicBezTo>
                    <a:cubicBezTo>
                      <a:pt x="442185" y="214740"/>
                      <a:pt x="447812" y="222368"/>
                      <a:pt x="439984" y="210628"/>
                    </a:cubicBezTo>
                    <a:cubicBezTo>
                      <a:pt x="454204" y="196407"/>
                      <a:pt x="446124" y="200039"/>
                      <a:pt x="462939" y="197237"/>
                    </a:cubicBezTo>
                    <a:cubicBezTo>
                      <a:pt x="448377" y="192383"/>
                      <a:pt x="455416" y="194202"/>
                      <a:pt x="441897" y="191498"/>
                    </a:cubicBezTo>
                    <a:cubicBezTo>
                      <a:pt x="437140" y="188326"/>
                      <a:pt x="434054" y="185926"/>
                      <a:pt x="428506" y="183846"/>
                    </a:cubicBezTo>
                    <a:cubicBezTo>
                      <a:pt x="426044" y="182923"/>
                      <a:pt x="423348" y="182764"/>
                      <a:pt x="420854" y="181933"/>
                    </a:cubicBezTo>
                    <a:cubicBezTo>
                      <a:pt x="399243" y="174729"/>
                      <a:pt x="421974" y="180778"/>
                      <a:pt x="403637" y="176194"/>
                    </a:cubicBezTo>
                    <a:cubicBezTo>
                      <a:pt x="399811" y="173643"/>
                      <a:pt x="396038" y="171011"/>
                      <a:pt x="392159" y="168542"/>
                    </a:cubicBezTo>
                    <a:cubicBezTo>
                      <a:pt x="389022" y="166546"/>
                      <a:pt x="382594" y="162803"/>
                      <a:pt x="382594" y="162803"/>
                    </a:cubicBezTo>
                    <a:cubicBezTo>
                      <a:pt x="384349" y="165436"/>
                      <a:pt x="389922" y="173281"/>
                      <a:pt x="390246" y="176194"/>
                    </a:cubicBezTo>
                    <a:cubicBezTo>
                      <a:pt x="390388" y="177476"/>
                      <a:pt x="387043" y="191387"/>
                      <a:pt x="386420" y="193411"/>
                    </a:cubicBezTo>
                    <a:cubicBezTo>
                      <a:pt x="384641" y="199193"/>
                      <a:pt x="382595" y="204889"/>
                      <a:pt x="380682" y="210628"/>
                    </a:cubicBezTo>
                    <a:cubicBezTo>
                      <a:pt x="380044" y="212541"/>
                      <a:pt x="379164" y="214389"/>
                      <a:pt x="378769" y="216366"/>
                    </a:cubicBezTo>
                    <a:lnTo>
                      <a:pt x="376856" y="225931"/>
                    </a:lnTo>
                    <a:cubicBezTo>
                      <a:pt x="377494" y="229757"/>
                      <a:pt x="376515" y="234253"/>
                      <a:pt x="378769" y="237409"/>
                    </a:cubicBezTo>
                    <a:cubicBezTo>
                      <a:pt x="380297" y="239548"/>
                      <a:pt x="384401" y="237639"/>
                      <a:pt x="386420" y="239322"/>
                    </a:cubicBezTo>
                    <a:cubicBezTo>
                      <a:pt x="388611" y="241148"/>
                      <a:pt x="388971" y="244423"/>
                      <a:pt x="390246" y="246974"/>
                    </a:cubicBezTo>
                    <a:cubicBezTo>
                      <a:pt x="395567" y="316147"/>
                      <a:pt x="390246" y="229712"/>
                      <a:pt x="390246" y="294798"/>
                    </a:cubicBezTo>
                    <a:cubicBezTo>
                      <a:pt x="390246" y="315850"/>
                      <a:pt x="390991" y="336906"/>
                      <a:pt x="392159" y="357926"/>
                    </a:cubicBezTo>
                    <a:cubicBezTo>
                      <a:pt x="392271" y="359939"/>
                      <a:pt x="392523" y="362374"/>
                      <a:pt x="394072" y="363665"/>
                    </a:cubicBezTo>
                    <a:cubicBezTo>
                      <a:pt x="396710" y="365863"/>
                      <a:pt x="407071" y="367491"/>
                      <a:pt x="403637" y="367491"/>
                    </a:cubicBezTo>
                    <a:cubicBezTo>
                      <a:pt x="389551" y="367491"/>
                      <a:pt x="375580" y="364940"/>
                      <a:pt x="361552" y="363665"/>
                    </a:cubicBezTo>
                    <a:cubicBezTo>
                      <a:pt x="359639" y="362390"/>
                      <a:pt x="357926" y="358933"/>
                      <a:pt x="355813" y="359839"/>
                    </a:cubicBezTo>
                    <a:cubicBezTo>
                      <a:pt x="349748" y="362438"/>
                      <a:pt x="348046" y="369748"/>
                      <a:pt x="346248" y="375143"/>
                    </a:cubicBezTo>
                    <a:cubicBezTo>
                      <a:pt x="343060" y="373230"/>
                      <a:pt x="338966" y="372339"/>
                      <a:pt x="336683" y="369404"/>
                    </a:cubicBezTo>
                    <a:cubicBezTo>
                      <a:pt x="334207" y="366221"/>
                      <a:pt x="334994" y="361346"/>
                      <a:pt x="332857" y="357926"/>
                    </a:cubicBezTo>
                    <a:cubicBezTo>
                      <a:pt x="330905" y="354803"/>
                      <a:pt x="324506" y="353229"/>
                      <a:pt x="321379" y="352187"/>
                    </a:cubicBezTo>
                    <a:cubicBezTo>
                      <a:pt x="318829" y="350274"/>
                      <a:pt x="316432" y="348138"/>
                      <a:pt x="313728" y="346448"/>
                    </a:cubicBezTo>
                    <a:cubicBezTo>
                      <a:pt x="311310" y="344937"/>
                      <a:pt x="308552" y="344038"/>
                      <a:pt x="306076" y="342623"/>
                    </a:cubicBezTo>
                    <a:cubicBezTo>
                      <a:pt x="304080" y="341482"/>
                      <a:pt x="302250" y="340072"/>
                      <a:pt x="300337" y="338797"/>
                    </a:cubicBezTo>
                    <a:cubicBezTo>
                      <a:pt x="299062" y="341347"/>
                      <a:pt x="297634" y="343827"/>
                      <a:pt x="296511" y="346448"/>
                    </a:cubicBezTo>
                    <a:cubicBezTo>
                      <a:pt x="294075" y="352132"/>
                      <a:pt x="296043" y="353618"/>
                      <a:pt x="288859" y="356013"/>
                    </a:cubicBezTo>
                    <a:cubicBezTo>
                      <a:pt x="285179" y="357240"/>
                      <a:pt x="281207" y="357288"/>
                      <a:pt x="277381" y="357926"/>
                    </a:cubicBezTo>
                    <a:cubicBezTo>
                      <a:pt x="271965" y="361176"/>
                      <a:pt x="261777" y="370023"/>
                      <a:pt x="254425" y="361752"/>
                    </a:cubicBezTo>
                    <a:cubicBezTo>
                      <a:pt x="251009" y="357910"/>
                      <a:pt x="253357" y="351519"/>
                      <a:pt x="252512" y="346448"/>
                    </a:cubicBezTo>
                    <a:cubicBezTo>
                      <a:pt x="252080" y="343855"/>
                      <a:pt x="251355" y="341315"/>
                      <a:pt x="250600" y="338797"/>
                    </a:cubicBezTo>
                    <a:cubicBezTo>
                      <a:pt x="244957" y="319986"/>
                      <a:pt x="249632" y="333612"/>
                      <a:pt x="242948" y="321580"/>
                    </a:cubicBezTo>
                    <a:cubicBezTo>
                      <a:pt x="240871" y="317841"/>
                      <a:pt x="239662" y="313606"/>
                      <a:pt x="237209" y="310102"/>
                    </a:cubicBezTo>
                    <a:cubicBezTo>
                      <a:pt x="235140" y="307147"/>
                      <a:pt x="231905" y="305189"/>
                      <a:pt x="229557" y="302450"/>
                    </a:cubicBezTo>
                    <a:cubicBezTo>
                      <a:pt x="228061" y="300704"/>
                      <a:pt x="227787" y="297739"/>
                      <a:pt x="225731" y="296711"/>
                    </a:cubicBezTo>
                    <a:cubicBezTo>
                      <a:pt x="222262" y="294976"/>
                      <a:pt x="218079" y="295436"/>
                      <a:pt x="214253" y="294798"/>
                    </a:cubicBezTo>
                    <a:cubicBezTo>
                      <a:pt x="213894" y="294559"/>
                      <a:pt x="201525" y="284859"/>
                      <a:pt x="197036" y="285233"/>
                    </a:cubicBezTo>
                    <a:cubicBezTo>
                      <a:pt x="169665" y="287514"/>
                      <a:pt x="188917" y="288579"/>
                      <a:pt x="172168" y="290972"/>
                    </a:cubicBezTo>
                    <a:cubicBezTo>
                      <a:pt x="165824" y="291878"/>
                      <a:pt x="159415" y="292247"/>
                      <a:pt x="153038" y="292885"/>
                    </a:cubicBezTo>
                    <a:cubicBezTo>
                      <a:pt x="153676" y="294798"/>
                      <a:pt x="154049" y="296820"/>
                      <a:pt x="154951" y="298624"/>
                    </a:cubicBezTo>
                    <a:cubicBezTo>
                      <a:pt x="155979" y="300680"/>
                      <a:pt x="159335" y="302133"/>
                      <a:pt x="158777" y="304363"/>
                    </a:cubicBezTo>
                    <a:cubicBezTo>
                      <a:pt x="158288" y="306319"/>
                      <a:pt x="154951" y="305638"/>
                      <a:pt x="153038" y="306276"/>
                    </a:cubicBezTo>
                    <a:cubicBezTo>
                      <a:pt x="148548" y="305528"/>
                      <a:pt x="138828" y="302340"/>
                      <a:pt x="133908" y="306276"/>
                    </a:cubicBezTo>
                    <a:cubicBezTo>
                      <a:pt x="132333" y="307536"/>
                      <a:pt x="132633" y="310102"/>
                      <a:pt x="131995" y="312015"/>
                    </a:cubicBezTo>
                    <a:cubicBezTo>
                      <a:pt x="130593" y="311080"/>
                      <a:pt x="119991" y="303670"/>
                      <a:pt x="118605" y="304363"/>
                    </a:cubicBezTo>
                    <a:cubicBezTo>
                      <a:pt x="114492" y="306420"/>
                      <a:pt x="113504" y="312015"/>
                      <a:pt x="110953" y="315841"/>
                    </a:cubicBezTo>
                    <a:cubicBezTo>
                      <a:pt x="109678" y="312653"/>
                      <a:pt x="108947" y="309188"/>
                      <a:pt x="107127" y="306276"/>
                    </a:cubicBezTo>
                    <a:cubicBezTo>
                      <a:pt x="101873" y="297870"/>
                      <a:pt x="95843" y="299151"/>
                      <a:pt x="86084" y="296711"/>
                    </a:cubicBezTo>
                    <a:cubicBezTo>
                      <a:pt x="70780" y="297349"/>
                      <a:pt x="55451" y="297533"/>
                      <a:pt x="40173" y="298624"/>
                    </a:cubicBezTo>
                    <a:cubicBezTo>
                      <a:pt x="37551" y="298811"/>
                      <a:pt x="34938" y="299501"/>
                      <a:pt x="32521" y="300537"/>
                    </a:cubicBezTo>
                    <a:cubicBezTo>
                      <a:pt x="25968" y="303345"/>
                      <a:pt x="13391" y="310102"/>
                      <a:pt x="13391" y="310102"/>
                    </a:cubicBezTo>
                    <a:cubicBezTo>
                      <a:pt x="8824" y="323804"/>
                      <a:pt x="15353" y="308130"/>
                      <a:pt x="5739" y="319667"/>
                    </a:cubicBezTo>
                    <a:cubicBezTo>
                      <a:pt x="2166" y="323954"/>
                      <a:pt x="1287" y="329823"/>
                      <a:pt x="0" y="334971"/>
                    </a:cubicBezTo>
                    <a:cubicBezTo>
                      <a:pt x="2551" y="336884"/>
                      <a:pt x="5397" y="338456"/>
                      <a:pt x="7652" y="340710"/>
                    </a:cubicBezTo>
                    <a:cubicBezTo>
                      <a:pt x="9906" y="342964"/>
                      <a:pt x="10797" y="346508"/>
                      <a:pt x="13391" y="348361"/>
                    </a:cubicBezTo>
                    <a:cubicBezTo>
                      <a:pt x="15531" y="349889"/>
                      <a:pt x="18492" y="349636"/>
                      <a:pt x="21043" y="350274"/>
                    </a:cubicBezTo>
                    <a:cubicBezTo>
                      <a:pt x="22956" y="351549"/>
                      <a:pt x="24564" y="353495"/>
                      <a:pt x="26782" y="354100"/>
                    </a:cubicBezTo>
                    <a:cubicBezTo>
                      <a:pt x="50962" y="360695"/>
                      <a:pt x="34859" y="351195"/>
                      <a:pt x="47825" y="359839"/>
                    </a:cubicBezTo>
                    <a:cubicBezTo>
                      <a:pt x="49590" y="363369"/>
                      <a:pt x="52737" y="371679"/>
                      <a:pt x="57389" y="373230"/>
                    </a:cubicBezTo>
                    <a:lnTo>
                      <a:pt x="63128" y="371317"/>
                    </a:lnTo>
                    <a:cubicBezTo>
                      <a:pt x="66316" y="368129"/>
                      <a:pt x="70373" y="357886"/>
                      <a:pt x="72693" y="361752"/>
                    </a:cubicBezTo>
                    <a:cubicBezTo>
                      <a:pt x="76039" y="367328"/>
                      <a:pt x="70444" y="374573"/>
                      <a:pt x="68867" y="380882"/>
                    </a:cubicBezTo>
                    <a:cubicBezTo>
                      <a:pt x="67496" y="386365"/>
                      <a:pt x="65514" y="397941"/>
                      <a:pt x="59302" y="400012"/>
                    </a:cubicBezTo>
                    <a:lnTo>
                      <a:pt x="53564" y="401925"/>
                    </a:lnTo>
                    <a:cubicBezTo>
                      <a:pt x="48857" y="397218"/>
                      <a:pt x="44999" y="394361"/>
                      <a:pt x="42086" y="388534"/>
                    </a:cubicBezTo>
                    <a:cubicBezTo>
                      <a:pt x="41184" y="386730"/>
                      <a:pt x="40727" y="384734"/>
                      <a:pt x="40173" y="382795"/>
                    </a:cubicBezTo>
                    <a:cubicBezTo>
                      <a:pt x="39451" y="380267"/>
                      <a:pt x="39788" y="377282"/>
                      <a:pt x="38260" y="375143"/>
                    </a:cubicBezTo>
                    <a:cubicBezTo>
                      <a:pt x="36407" y="372549"/>
                      <a:pt x="33159" y="371317"/>
                      <a:pt x="30608" y="369404"/>
                    </a:cubicBezTo>
                    <a:cubicBezTo>
                      <a:pt x="27420" y="370042"/>
                      <a:pt x="23342" y="369018"/>
                      <a:pt x="21043" y="371317"/>
                    </a:cubicBezTo>
                    <a:cubicBezTo>
                      <a:pt x="18191" y="374169"/>
                      <a:pt x="19021" y="379188"/>
                      <a:pt x="17217" y="382795"/>
                    </a:cubicBezTo>
                    <a:cubicBezTo>
                      <a:pt x="15173" y="386882"/>
                      <a:pt x="11515" y="395340"/>
                      <a:pt x="7652" y="398099"/>
                    </a:cubicBezTo>
                    <a:cubicBezTo>
                      <a:pt x="5513" y="399627"/>
                      <a:pt x="2551" y="399374"/>
                      <a:pt x="0" y="400012"/>
                    </a:cubicBezTo>
                    <a:cubicBezTo>
                      <a:pt x="3188" y="402563"/>
                      <a:pt x="5996" y="405681"/>
                      <a:pt x="9565" y="407664"/>
                    </a:cubicBezTo>
                    <a:cubicBezTo>
                      <a:pt x="11863" y="408941"/>
                      <a:pt x="15164" y="407934"/>
                      <a:pt x="17217" y="409576"/>
                    </a:cubicBezTo>
                    <a:cubicBezTo>
                      <a:pt x="18792" y="410836"/>
                      <a:pt x="18551" y="413384"/>
                      <a:pt x="19130" y="415315"/>
                    </a:cubicBezTo>
                    <a:cubicBezTo>
                      <a:pt x="20464" y="419762"/>
                      <a:pt x="21735" y="424227"/>
                      <a:pt x="22956" y="428706"/>
                    </a:cubicBezTo>
                    <a:cubicBezTo>
                      <a:pt x="24169" y="433155"/>
                      <a:pt x="24949" y="437821"/>
                      <a:pt x="26782" y="442097"/>
                    </a:cubicBezTo>
                    <a:cubicBezTo>
                      <a:pt x="27905" y="444718"/>
                      <a:pt x="29223" y="447256"/>
                      <a:pt x="30608" y="449749"/>
                    </a:cubicBezTo>
                    <a:cubicBezTo>
                      <a:pt x="32414" y="452999"/>
                      <a:pt x="33927" y="456491"/>
                      <a:pt x="36347" y="459314"/>
                    </a:cubicBezTo>
                    <a:cubicBezTo>
                      <a:pt x="37843" y="461060"/>
                      <a:pt x="40173" y="461865"/>
                      <a:pt x="42086" y="463140"/>
                    </a:cubicBezTo>
                    <a:cubicBezTo>
                      <a:pt x="48462" y="462502"/>
                      <a:pt x="54881" y="462201"/>
                      <a:pt x="61215" y="461227"/>
                    </a:cubicBezTo>
                    <a:cubicBezTo>
                      <a:pt x="63208" y="460920"/>
                      <a:pt x="65528" y="460740"/>
                      <a:pt x="66954" y="459314"/>
                    </a:cubicBezTo>
                    <a:cubicBezTo>
                      <a:pt x="68380" y="457888"/>
                      <a:pt x="67748" y="455253"/>
                      <a:pt x="68867" y="453575"/>
                    </a:cubicBezTo>
                    <a:cubicBezTo>
                      <a:pt x="70368" y="451324"/>
                      <a:pt x="72693" y="449749"/>
                      <a:pt x="74606" y="447836"/>
                    </a:cubicBezTo>
                    <a:cubicBezTo>
                      <a:pt x="82120" y="449088"/>
                      <a:pt x="87968" y="447777"/>
                      <a:pt x="91823" y="455488"/>
                    </a:cubicBezTo>
                    <a:cubicBezTo>
                      <a:pt x="93277" y="458396"/>
                      <a:pt x="92594" y="462009"/>
                      <a:pt x="93736" y="465053"/>
                    </a:cubicBezTo>
                    <a:cubicBezTo>
                      <a:pt x="94569" y="467275"/>
                      <a:pt x="101223" y="475953"/>
                      <a:pt x="103301" y="476530"/>
                    </a:cubicBezTo>
                    <a:cubicBezTo>
                      <a:pt x="112598" y="479112"/>
                      <a:pt x="122464" y="478851"/>
                      <a:pt x="131995" y="480356"/>
                    </a:cubicBezTo>
                    <a:cubicBezTo>
                      <a:pt x="134592" y="480766"/>
                      <a:pt x="137096" y="481631"/>
                      <a:pt x="139647" y="482269"/>
                    </a:cubicBezTo>
                    <a:cubicBezTo>
                      <a:pt x="141560" y="484182"/>
                      <a:pt x="143135" y="486507"/>
                      <a:pt x="145386" y="488008"/>
                    </a:cubicBezTo>
                    <a:cubicBezTo>
                      <a:pt x="148945" y="490381"/>
                      <a:pt x="153616" y="490963"/>
                      <a:pt x="156864" y="493747"/>
                    </a:cubicBezTo>
                    <a:cubicBezTo>
                      <a:pt x="158395" y="495059"/>
                      <a:pt x="157983" y="497633"/>
                      <a:pt x="158777" y="499486"/>
                    </a:cubicBezTo>
                    <a:cubicBezTo>
                      <a:pt x="161690" y="506282"/>
                      <a:pt x="162587" y="507113"/>
                      <a:pt x="166429" y="512877"/>
                    </a:cubicBezTo>
                    <a:cubicBezTo>
                      <a:pt x="171286" y="537163"/>
                      <a:pt x="163946" y="533584"/>
                      <a:pt x="185558" y="528181"/>
                    </a:cubicBezTo>
                    <a:cubicBezTo>
                      <a:pt x="187471" y="526906"/>
                      <a:pt x="189241" y="525383"/>
                      <a:pt x="191297" y="524355"/>
                    </a:cubicBezTo>
                    <a:cubicBezTo>
                      <a:pt x="196006" y="522000"/>
                      <a:pt x="204106" y="521264"/>
                      <a:pt x="208514" y="520529"/>
                    </a:cubicBezTo>
                    <a:cubicBezTo>
                      <a:pt x="210427" y="521167"/>
                      <a:pt x="212678" y="521182"/>
                      <a:pt x="214253" y="522442"/>
                    </a:cubicBezTo>
                    <a:cubicBezTo>
                      <a:pt x="221833" y="528506"/>
                      <a:pt x="219576" y="546141"/>
                      <a:pt x="219992" y="551136"/>
                    </a:cubicBezTo>
                    <a:cubicBezTo>
                      <a:pt x="221905" y="549861"/>
                      <a:pt x="224105" y="548936"/>
                      <a:pt x="225731" y="547310"/>
                    </a:cubicBezTo>
                    <a:cubicBezTo>
                      <a:pt x="227357" y="545684"/>
                      <a:pt x="227762" y="543007"/>
                      <a:pt x="229557" y="541571"/>
                    </a:cubicBezTo>
                    <a:cubicBezTo>
                      <a:pt x="231132" y="540311"/>
                      <a:pt x="233383" y="540296"/>
                      <a:pt x="235296" y="539658"/>
                    </a:cubicBezTo>
                    <a:cubicBezTo>
                      <a:pt x="237847" y="540933"/>
                      <a:pt x="240530" y="541973"/>
                      <a:pt x="242948" y="543484"/>
                    </a:cubicBezTo>
                    <a:cubicBezTo>
                      <a:pt x="245652" y="545174"/>
                      <a:pt x="247697" y="547904"/>
                      <a:pt x="250600" y="549223"/>
                    </a:cubicBezTo>
                    <a:cubicBezTo>
                      <a:pt x="254826" y="551144"/>
                      <a:pt x="259527" y="551774"/>
                      <a:pt x="263990" y="553049"/>
                    </a:cubicBezTo>
                    <a:cubicBezTo>
                      <a:pt x="264628" y="555600"/>
                      <a:pt x="266541" y="558150"/>
                      <a:pt x="265903" y="560701"/>
                    </a:cubicBezTo>
                    <a:cubicBezTo>
                      <a:pt x="264530" y="566195"/>
                      <a:pt x="256436" y="571149"/>
                      <a:pt x="252512" y="574092"/>
                    </a:cubicBezTo>
                    <a:cubicBezTo>
                      <a:pt x="251875" y="576005"/>
                      <a:pt x="251502" y="578027"/>
                      <a:pt x="250600" y="579831"/>
                    </a:cubicBezTo>
                    <a:cubicBezTo>
                      <a:pt x="249572" y="581887"/>
                      <a:pt x="246396" y="583302"/>
                      <a:pt x="246774" y="585570"/>
                    </a:cubicBezTo>
                    <a:cubicBezTo>
                      <a:pt x="247644" y="590790"/>
                      <a:pt x="256426" y="592964"/>
                      <a:pt x="260164" y="593222"/>
                    </a:cubicBezTo>
                    <a:cubicBezTo>
                      <a:pt x="276081" y="594320"/>
                      <a:pt x="292047" y="594497"/>
                      <a:pt x="307989" y="595135"/>
                    </a:cubicBezTo>
                    <a:cubicBezTo>
                      <a:pt x="309902" y="597048"/>
                      <a:pt x="311477" y="599373"/>
                      <a:pt x="313728" y="600874"/>
                    </a:cubicBezTo>
                    <a:cubicBezTo>
                      <a:pt x="330342" y="611951"/>
                      <a:pt x="306890" y="590214"/>
                      <a:pt x="325205" y="608525"/>
                    </a:cubicBezTo>
                    <a:cubicBezTo>
                      <a:pt x="322654" y="609800"/>
                      <a:pt x="320258" y="613253"/>
                      <a:pt x="317553" y="612351"/>
                    </a:cubicBezTo>
                    <a:cubicBezTo>
                      <a:pt x="314848" y="611449"/>
                      <a:pt x="315554" y="606890"/>
                      <a:pt x="313728" y="604699"/>
                    </a:cubicBezTo>
                    <a:cubicBezTo>
                      <a:pt x="310877" y="601278"/>
                      <a:pt x="306165" y="600266"/>
                      <a:pt x="302250" y="598961"/>
                    </a:cubicBezTo>
                    <a:lnTo>
                      <a:pt x="288859" y="600874"/>
                    </a:lnTo>
                    <a:cubicBezTo>
                      <a:pt x="285025" y="601464"/>
                      <a:pt x="280749" y="600863"/>
                      <a:pt x="277381" y="602787"/>
                    </a:cubicBezTo>
                    <a:cubicBezTo>
                      <a:pt x="275630" y="603787"/>
                      <a:pt x="276106" y="606612"/>
                      <a:pt x="275468" y="608525"/>
                    </a:cubicBezTo>
                    <a:cubicBezTo>
                      <a:pt x="276106" y="613626"/>
                      <a:pt x="275082" y="619231"/>
                      <a:pt x="277381" y="623829"/>
                    </a:cubicBezTo>
                    <a:cubicBezTo>
                      <a:pt x="278656" y="626380"/>
                      <a:pt x="284131" y="624950"/>
                      <a:pt x="285033" y="627655"/>
                    </a:cubicBezTo>
                    <a:cubicBezTo>
                      <a:pt x="285231" y="628249"/>
                      <a:pt x="283474" y="643384"/>
                      <a:pt x="281207" y="646785"/>
                    </a:cubicBezTo>
                    <a:cubicBezTo>
                      <a:pt x="279706" y="649036"/>
                      <a:pt x="277381" y="650611"/>
                      <a:pt x="275468" y="652524"/>
                    </a:cubicBezTo>
                    <a:cubicBezTo>
                      <a:pt x="274193" y="656988"/>
                      <a:pt x="271642" y="661273"/>
                      <a:pt x="271642" y="665915"/>
                    </a:cubicBezTo>
                    <a:cubicBezTo>
                      <a:pt x="271642" y="673044"/>
                      <a:pt x="273321" y="680159"/>
                      <a:pt x="275468" y="686957"/>
                    </a:cubicBezTo>
                    <a:cubicBezTo>
                      <a:pt x="277186" y="692396"/>
                      <a:pt x="281316" y="696850"/>
                      <a:pt x="283120" y="702261"/>
                    </a:cubicBezTo>
                    <a:lnTo>
                      <a:pt x="285033" y="708000"/>
                    </a:lnTo>
                    <a:cubicBezTo>
                      <a:pt x="285195" y="709134"/>
                      <a:pt x="286431" y="723488"/>
                      <a:pt x="288859" y="727130"/>
                    </a:cubicBezTo>
                    <a:cubicBezTo>
                      <a:pt x="290360" y="729381"/>
                      <a:pt x="292685" y="730956"/>
                      <a:pt x="294598" y="732869"/>
                    </a:cubicBezTo>
                    <a:cubicBezTo>
                      <a:pt x="296744" y="739306"/>
                      <a:pt x="296555" y="739641"/>
                      <a:pt x="300337" y="746259"/>
                    </a:cubicBezTo>
                    <a:cubicBezTo>
                      <a:pt x="301478" y="748255"/>
                      <a:pt x="302368" y="750562"/>
                      <a:pt x="304163" y="751998"/>
                    </a:cubicBezTo>
                    <a:cubicBezTo>
                      <a:pt x="305738" y="753258"/>
                      <a:pt x="307898" y="753688"/>
                      <a:pt x="309902" y="753911"/>
                    </a:cubicBezTo>
                    <a:cubicBezTo>
                      <a:pt x="325165" y="755607"/>
                      <a:pt x="340509" y="756462"/>
                      <a:pt x="355813" y="757737"/>
                    </a:cubicBezTo>
                    <a:cubicBezTo>
                      <a:pt x="356451" y="761563"/>
                      <a:pt x="355991" y="765746"/>
                      <a:pt x="357726" y="769215"/>
                    </a:cubicBezTo>
                    <a:cubicBezTo>
                      <a:pt x="358754" y="771271"/>
                      <a:pt x="361839" y="771415"/>
                      <a:pt x="363465" y="773041"/>
                    </a:cubicBezTo>
                    <a:cubicBezTo>
                      <a:pt x="366352" y="775928"/>
                      <a:pt x="368082" y="779874"/>
                      <a:pt x="371117" y="782606"/>
                    </a:cubicBezTo>
                    <a:cubicBezTo>
                      <a:pt x="374535" y="785682"/>
                      <a:pt x="379835" y="786580"/>
                      <a:pt x="382594" y="790258"/>
                    </a:cubicBezTo>
                    <a:cubicBezTo>
                      <a:pt x="384507" y="792809"/>
                      <a:pt x="386643" y="795206"/>
                      <a:pt x="388333" y="797910"/>
                    </a:cubicBezTo>
                    <a:cubicBezTo>
                      <a:pt x="389844" y="800328"/>
                      <a:pt x="394709" y="804286"/>
                      <a:pt x="392159" y="805561"/>
                    </a:cubicBezTo>
                    <a:cubicBezTo>
                      <a:pt x="389307" y="806987"/>
                      <a:pt x="387058" y="801736"/>
                      <a:pt x="384507" y="799823"/>
                    </a:cubicBezTo>
                    <a:cubicBezTo>
                      <a:pt x="375190" y="785843"/>
                      <a:pt x="387590" y="802391"/>
                      <a:pt x="373030" y="790258"/>
                    </a:cubicBezTo>
                    <a:cubicBezTo>
                      <a:pt x="361475" y="780628"/>
                      <a:pt x="379839" y="786646"/>
                      <a:pt x="359639" y="782606"/>
                    </a:cubicBezTo>
                    <a:cubicBezTo>
                      <a:pt x="349436" y="783244"/>
                      <a:pt x="338051" y="779708"/>
                      <a:pt x="329031" y="784519"/>
                    </a:cubicBezTo>
                    <a:cubicBezTo>
                      <a:pt x="325052" y="786641"/>
                      <a:pt x="328239" y="794303"/>
                      <a:pt x="330944" y="797910"/>
                    </a:cubicBezTo>
                    <a:cubicBezTo>
                      <a:pt x="332895" y="800511"/>
                      <a:pt x="337335" y="799118"/>
                      <a:pt x="340509" y="799823"/>
                    </a:cubicBezTo>
                    <a:cubicBezTo>
                      <a:pt x="343076" y="800393"/>
                      <a:pt x="345610" y="801098"/>
                      <a:pt x="348161" y="801735"/>
                    </a:cubicBezTo>
                    <a:cubicBezTo>
                      <a:pt x="350074" y="803010"/>
                      <a:pt x="352029" y="804225"/>
                      <a:pt x="353900" y="805561"/>
                    </a:cubicBezTo>
                    <a:cubicBezTo>
                      <a:pt x="356494" y="807414"/>
                      <a:pt x="358700" y="809874"/>
                      <a:pt x="361552" y="811300"/>
                    </a:cubicBezTo>
                    <a:cubicBezTo>
                      <a:pt x="363353" y="812201"/>
                      <a:pt x="377763" y="814925"/>
                      <a:pt x="378769" y="815126"/>
                    </a:cubicBezTo>
                    <a:cubicBezTo>
                      <a:pt x="381957" y="817039"/>
                      <a:pt x="387157" y="817338"/>
                      <a:pt x="388333" y="820865"/>
                    </a:cubicBezTo>
                    <a:cubicBezTo>
                      <a:pt x="393361" y="835951"/>
                      <a:pt x="388001" y="837951"/>
                      <a:pt x="378769" y="841908"/>
                    </a:cubicBezTo>
                    <a:cubicBezTo>
                      <a:pt x="376916" y="842702"/>
                      <a:pt x="374943" y="843183"/>
                      <a:pt x="373030" y="843821"/>
                    </a:cubicBezTo>
                    <a:cubicBezTo>
                      <a:pt x="369204" y="843183"/>
                      <a:pt x="365132" y="843400"/>
                      <a:pt x="361552" y="841908"/>
                    </a:cubicBezTo>
                    <a:cubicBezTo>
                      <a:pt x="357307" y="840139"/>
                      <a:pt x="350074" y="834256"/>
                      <a:pt x="350074" y="834256"/>
                    </a:cubicBezTo>
                    <a:cubicBezTo>
                      <a:pt x="347473" y="830354"/>
                      <a:pt x="342813" y="819300"/>
                      <a:pt x="338596" y="836169"/>
                    </a:cubicBezTo>
                    <a:cubicBezTo>
                      <a:pt x="337589" y="840198"/>
                      <a:pt x="346138" y="847537"/>
                      <a:pt x="348161" y="849560"/>
                    </a:cubicBezTo>
                    <a:cubicBezTo>
                      <a:pt x="353218" y="864730"/>
                      <a:pt x="345578" y="844663"/>
                      <a:pt x="355813" y="861038"/>
                    </a:cubicBezTo>
                    <a:cubicBezTo>
                      <a:pt x="357633" y="863950"/>
                      <a:pt x="358364" y="867414"/>
                      <a:pt x="359639" y="870602"/>
                    </a:cubicBezTo>
                    <a:cubicBezTo>
                      <a:pt x="359001" y="874428"/>
                      <a:pt x="356364" y="878448"/>
                      <a:pt x="357726" y="882080"/>
                    </a:cubicBezTo>
                    <a:cubicBezTo>
                      <a:pt x="360353" y="889084"/>
                      <a:pt x="367501" y="885198"/>
                      <a:pt x="371117" y="883993"/>
                    </a:cubicBezTo>
                    <a:cubicBezTo>
                      <a:pt x="373668" y="884631"/>
                      <a:pt x="377416" y="883652"/>
                      <a:pt x="378769" y="885906"/>
                    </a:cubicBezTo>
                    <a:cubicBezTo>
                      <a:pt x="380122" y="888160"/>
                      <a:pt x="376856" y="890929"/>
                      <a:pt x="376856" y="893558"/>
                    </a:cubicBezTo>
                    <a:cubicBezTo>
                      <a:pt x="376856" y="896809"/>
                      <a:pt x="377628" y="900078"/>
                      <a:pt x="378769" y="903123"/>
                    </a:cubicBezTo>
                    <a:cubicBezTo>
                      <a:pt x="379576" y="905276"/>
                      <a:pt x="381376" y="906912"/>
                      <a:pt x="382594" y="908862"/>
                    </a:cubicBezTo>
                    <a:cubicBezTo>
                      <a:pt x="384564" y="912015"/>
                      <a:pt x="386420" y="915239"/>
                      <a:pt x="388333" y="918427"/>
                    </a:cubicBezTo>
                    <a:cubicBezTo>
                      <a:pt x="389620" y="923576"/>
                      <a:pt x="390499" y="929443"/>
                      <a:pt x="394072" y="933730"/>
                    </a:cubicBezTo>
                    <a:cubicBezTo>
                      <a:pt x="395544" y="935496"/>
                      <a:pt x="397898" y="936281"/>
                      <a:pt x="399811" y="937556"/>
                    </a:cubicBezTo>
                    <a:cubicBezTo>
                      <a:pt x="401086" y="940107"/>
                      <a:pt x="402636" y="942538"/>
                      <a:pt x="403637" y="945208"/>
                    </a:cubicBezTo>
                    <a:cubicBezTo>
                      <a:pt x="404560" y="947670"/>
                      <a:pt x="404795" y="950342"/>
                      <a:pt x="405550" y="952860"/>
                    </a:cubicBezTo>
                    <a:cubicBezTo>
                      <a:pt x="406709" y="956723"/>
                      <a:pt x="408217" y="960475"/>
                      <a:pt x="409376" y="964338"/>
                    </a:cubicBezTo>
                    <a:cubicBezTo>
                      <a:pt x="410131" y="966856"/>
                      <a:pt x="410366" y="969528"/>
                      <a:pt x="411289" y="971990"/>
                    </a:cubicBezTo>
                    <a:cubicBezTo>
                      <a:pt x="412290" y="974660"/>
                      <a:pt x="413840" y="977091"/>
                      <a:pt x="415115" y="979642"/>
                    </a:cubicBezTo>
                    <a:cubicBezTo>
                      <a:pt x="415753" y="982830"/>
                      <a:pt x="415707" y="986236"/>
                      <a:pt x="417028" y="989207"/>
                    </a:cubicBezTo>
                    <a:cubicBezTo>
                      <a:pt x="418323" y="992120"/>
                      <a:pt x="421759" y="993834"/>
                      <a:pt x="422767" y="996858"/>
                    </a:cubicBezTo>
                    <a:cubicBezTo>
                      <a:pt x="424393" y="1001735"/>
                      <a:pt x="424042" y="1007061"/>
                      <a:pt x="424680" y="1012162"/>
                    </a:cubicBezTo>
                    <a:cubicBezTo>
                      <a:pt x="423405" y="1023002"/>
                      <a:pt x="425428" y="1034773"/>
                      <a:pt x="420854" y="1044683"/>
                    </a:cubicBezTo>
                    <a:cubicBezTo>
                      <a:pt x="419342" y="1047958"/>
                      <a:pt x="415203" y="1040032"/>
                      <a:pt x="413202" y="1037031"/>
                    </a:cubicBezTo>
                    <a:cubicBezTo>
                      <a:pt x="411297" y="1034174"/>
                      <a:pt x="411044" y="1030468"/>
                      <a:pt x="409376" y="1027466"/>
                    </a:cubicBezTo>
                    <a:cubicBezTo>
                      <a:pt x="407828" y="1024679"/>
                      <a:pt x="405550" y="1022365"/>
                      <a:pt x="403637" y="1019814"/>
                    </a:cubicBezTo>
                    <a:cubicBezTo>
                      <a:pt x="402999" y="1017263"/>
                      <a:pt x="402294" y="1014729"/>
                      <a:pt x="401724" y="1012162"/>
                    </a:cubicBezTo>
                    <a:cubicBezTo>
                      <a:pt x="401019" y="1008988"/>
                      <a:pt x="400839" y="1005682"/>
                      <a:pt x="399811" y="1002597"/>
                    </a:cubicBezTo>
                    <a:cubicBezTo>
                      <a:pt x="398909" y="999892"/>
                      <a:pt x="397260" y="997496"/>
                      <a:pt x="395985" y="994946"/>
                    </a:cubicBezTo>
                    <a:cubicBezTo>
                      <a:pt x="395930" y="994614"/>
                      <a:pt x="392827" y="975240"/>
                      <a:pt x="392159" y="973903"/>
                    </a:cubicBezTo>
                    <a:cubicBezTo>
                      <a:pt x="390949" y="971483"/>
                      <a:pt x="388333" y="970077"/>
                      <a:pt x="386420" y="968164"/>
                    </a:cubicBezTo>
                    <a:cubicBezTo>
                      <a:pt x="385782" y="963700"/>
                      <a:pt x="385802" y="959092"/>
                      <a:pt x="384507" y="954773"/>
                    </a:cubicBezTo>
                    <a:cubicBezTo>
                      <a:pt x="383847" y="952571"/>
                      <a:pt x="381822" y="951030"/>
                      <a:pt x="380682" y="949034"/>
                    </a:cubicBezTo>
                    <a:cubicBezTo>
                      <a:pt x="374709" y="938580"/>
                      <a:pt x="380131" y="943565"/>
                      <a:pt x="371117" y="937556"/>
                    </a:cubicBezTo>
                    <a:cubicBezTo>
                      <a:pt x="366653" y="938194"/>
                      <a:pt x="362045" y="938173"/>
                      <a:pt x="357726" y="939469"/>
                    </a:cubicBezTo>
                    <a:cubicBezTo>
                      <a:pt x="351084" y="941462"/>
                      <a:pt x="347417" y="950150"/>
                      <a:pt x="344335" y="954773"/>
                    </a:cubicBezTo>
                    <a:cubicBezTo>
                      <a:pt x="343697" y="959237"/>
                      <a:pt x="343718" y="963845"/>
                      <a:pt x="342422" y="968164"/>
                    </a:cubicBezTo>
                    <a:cubicBezTo>
                      <a:pt x="341761" y="970366"/>
                      <a:pt x="339502" y="971790"/>
                      <a:pt x="338596" y="973903"/>
                    </a:cubicBezTo>
                    <a:cubicBezTo>
                      <a:pt x="337560" y="976320"/>
                      <a:pt x="337253" y="978988"/>
                      <a:pt x="336683" y="981555"/>
                    </a:cubicBezTo>
                    <a:cubicBezTo>
                      <a:pt x="335978" y="984729"/>
                      <a:pt x="335501" y="987952"/>
                      <a:pt x="334770" y="991120"/>
                    </a:cubicBezTo>
                    <a:cubicBezTo>
                      <a:pt x="333183" y="997996"/>
                      <a:pt x="331560" y="1005417"/>
                      <a:pt x="329031" y="1012162"/>
                    </a:cubicBezTo>
                    <a:cubicBezTo>
                      <a:pt x="327825" y="1015377"/>
                      <a:pt x="326741" y="1018656"/>
                      <a:pt x="325205" y="1021727"/>
                    </a:cubicBezTo>
                    <a:cubicBezTo>
                      <a:pt x="323542" y="1025053"/>
                      <a:pt x="321379" y="1028104"/>
                      <a:pt x="319466" y="1031292"/>
                    </a:cubicBezTo>
                    <a:cubicBezTo>
                      <a:pt x="320104" y="1039582"/>
                      <a:pt x="315314" y="1050475"/>
                      <a:pt x="321379" y="1056161"/>
                    </a:cubicBezTo>
                    <a:cubicBezTo>
                      <a:pt x="328419" y="1062761"/>
                      <a:pt x="341204" y="1056186"/>
                      <a:pt x="350074" y="1059987"/>
                    </a:cubicBezTo>
                    <a:cubicBezTo>
                      <a:pt x="352490" y="1061022"/>
                      <a:pt x="349229" y="1065236"/>
                      <a:pt x="348161" y="1067638"/>
                    </a:cubicBezTo>
                    <a:cubicBezTo>
                      <a:pt x="343789" y="1077475"/>
                      <a:pt x="343939" y="1076192"/>
                      <a:pt x="336683" y="1081029"/>
                    </a:cubicBezTo>
                    <a:cubicBezTo>
                      <a:pt x="335955" y="1084667"/>
                      <a:pt x="334818" y="1092411"/>
                      <a:pt x="332857" y="1096333"/>
                    </a:cubicBezTo>
                    <a:cubicBezTo>
                      <a:pt x="331829" y="1098389"/>
                      <a:pt x="330306" y="1100159"/>
                      <a:pt x="329031" y="1102072"/>
                    </a:cubicBezTo>
                    <a:cubicBezTo>
                      <a:pt x="328393" y="1105898"/>
                      <a:pt x="328345" y="1109870"/>
                      <a:pt x="327118" y="1113550"/>
                    </a:cubicBezTo>
                    <a:cubicBezTo>
                      <a:pt x="325765" y="1117608"/>
                      <a:pt x="323427" y="1121273"/>
                      <a:pt x="321379" y="1125028"/>
                    </a:cubicBezTo>
                    <a:cubicBezTo>
                      <a:pt x="317917" y="1131375"/>
                      <a:pt x="315564" y="1134707"/>
                      <a:pt x="311815" y="1140331"/>
                    </a:cubicBezTo>
                    <a:cubicBezTo>
                      <a:pt x="311177" y="1142882"/>
                      <a:pt x="310418" y="1145405"/>
                      <a:pt x="309902" y="1147983"/>
                    </a:cubicBezTo>
                    <a:cubicBezTo>
                      <a:pt x="308168" y="1156655"/>
                      <a:pt x="307927" y="1164570"/>
                      <a:pt x="304163" y="1172852"/>
                    </a:cubicBezTo>
                    <a:cubicBezTo>
                      <a:pt x="295981" y="1190853"/>
                      <a:pt x="300505" y="1170436"/>
                      <a:pt x="294598" y="1188156"/>
                    </a:cubicBezTo>
                    <a:cubicBezTo>
                      <a:pt x="287239" y="1210231"/>
                      <a:pt x="295600" y="1197022"/>
                      <a:pt x="285033" y="1211111"/>
                    </a:cubicBezTo>
                    <a:cubicBezTo>
                      <a:pt x="284395" y="1213662"/>
                      <a:pt x="283636" y="1216185"/>
                      <a:pt x="283120" y="1218763"/>
                    </a:cubicBezTo>
                    <a:cubicBezTo>
                      <a:pt x="282175" y="1223486"/>
                      <a:pt x="281198" y="1232815"/>
                      <a:pt x="279294" y="1237893"/>
                    </a:cubicBezTo>
                    <a:cubicBezTo>
                      <a:pt x="278293" y="1240563"/>
                      <a:pt x="276591" y="1242924"/>
                      <a:pt x="275468" y="1245545"/>
                    </a:cubicBezTo>
                    <a:cubicBezTo>
                      <a:pt x="267028" y="1265238"/>
                      <a:pt x="282411" y="1233574"/>
                      <a:pt x="269729" y="1258935"/>
                    </a:cubicBezTo>
                    <a:cubicBezTo>
                      <a:pt x="265208" y="1277019"/>
                      <a:pt x="272053" y="1255217"/>
                      <a:pt x="260164" y="1274239"/>
                    </a:cubicBezTo>
                    <a:cubicBezTo>
                      <a:pt x="258771" y="1276469"/>
                      <a:pt x="258889" y="1279340"/>
                      <a:pt x="258251" y="1281891"/>
                    </a:cubicBezTo>
                    <a:cubicBezTo>
                      <a:pt x="255701" y="1281253"/>
                      <a:pt x="253128" y="1280700"/>
                      <a:pt x="250600" y="1279978"/>
                    </a:cubicBezTo>
                    <a:cubicBezTo>
                      <a:pt x="248661" y="1279424"/>
                      <a:pt x="245763" y="1276261"/>
                      <a:pt x="244861" y="1278065"/>
                    </a:cubicBezTo>
                    <a:cubicBezTo>
                      <a:pt x="243407" y="1280973"/>
                      <a:pt x="246136" y="1284442"/>
                      <a:pt x="246774" y="1287630"/>
                    </a:cubicBezTo>
                    <a:cubicBezTo>
                      <a:pt x="246136" y="1292731"/>
                      <a:pt x="243746" y="1297915"/>
                      <a:pt x="244861" y="1302934"/>
                    </a:cubicBezTo>
                    <a:cubicBezTo>
                      <a:pt x="245298" y="1304902"/>
                      <a:pt x="248890" y="1303778"/>
                      <a:pt x="250600" y="1304847"/>
                    </a:cubicBezTo>
                    <a:cubicBezTo>
                      <a:pt x="256826" y="1308738"/>
                      <a:pt x="260889" y="1313224"/>
                      <a:pt x="265903" y="1318238"/>
                    </a:cubicBezTo>
                    <a:cubicBezTo>
                      <a:pt x="265265" y="1324614"/>
                      <a:pt x="265333" y="1331101"/>
                      <a:pt x="263990" y="1337367"/>
                    </a:cubicBezTo>
                    <a:cubicBezTo>
                      <a:pt x="261733" y="1347897"/>
                      <a:pt x="253446" y="1344351"/>
                      <a:pt x="263990" y="1358410"/>
                    </a:cubicBezTo>
                    <a:cubicBezTo>
                      <a:pt x="265568" y="1360513"/>
                      <a:pt x="269114" y="1359601"/>
                      <a:pt x="271642" y="1360323"/>
                    </a:cubicBezTo>
                    <a:cubicBezTo>
                      <a:pt x="290853" y="1365812"/>
                      <a:pt x="261112" y="1358169"/>
                      <a:pt x="285033" y="1364149"/>
                    </a:cubicBezTo>
                    <a:cubicBezTo>
                      <a:pt x="286946" y="1365424"/>
                      <a:pt x="289006" y="1366503"/>
                      <a:pt x="290772" y="1367975"/>
                    </a:cubicBezTo>
                    <a:cubicBezTo>
                      <a:pt x="297149" y="1373289"/>
                      <a:pt x="295544" y="1375077"/>
                      <a:pt x="304163" y="1377540"/>
                    </a:cubicBezTo>
                    <a:cubicBezTo>
                      <a:pt x="310415" y="1379326"/>
                      <a:pt x="316916" y="1380091"/>
                      <a:pt x="323292" y="1381366"/>
                    </a:cubicBezTo>
                    <a:cubicBezTo>
                      <a:pt x="327118" y="1383916"/>
                      <a:pt x="331519" y="1385766"/>
                      <a:pt x="334770" y="1389017"/>
                    </a:cubicBezTo>
                    <a:lnTo>
                      <a:pt x="346248" y="1400495"/>
                    </a:lnTo>
                    <a:cubicBezTo>
                      <a:pt x="350907" y="1419130"/>
                      <a:pt x="348121" y="1410917"/>
                      <a:pt x="353900" y="1425364"/>
                    </a:cubicBezTo>
                    <a:cubicBezTo>
                      <a:pt x="363465" y="1424726"/>
                      <a:pt x="373104" y="1424807"/>
                      <a:pt x="382594" y="1423451"/>
                    </a:cubicBezTo>
                    <a:cubicBezTo>
                      <a:pt x="386586" y="1422881"/>
                      <a:pt x="390047" y="1419373"/>
                      <a:pt x="394072" y="1419625"/>
                    </a:cubicBezTo>
                    <a:cubicBezTo>
                      <a:pt x="400716" y="1420040"/>
                      <a:pt x="406825" y="1423451"/>
                      <a:pt x="413202" y="1425364"/>
                    </a:cubicBezTo>
                    <a:cubicBezTo>
                      <a:pt x="423724" y="1432378"/>
                      <a:pt x="414796" y="1425364"/>
                      <a:pt x="422767" y="1434929"/>
                    </a:cubicBezTo>
                    <a:cubicBezTo>
                      <a:pt x="424499" y="1437007"/>
                      <a:pt x="426845" y="1438532"/>
                      <a:pt x="428506" y="1440668"/>
                    </a:cubicBezTo>
                    <a:cubicBezTo>
                      <a:pt x="431329" y="1444298"/>
                      <a:pt x="436158" y="1452146"/>
                      <a:pt x="436158" y="1452146"/>
                    </a:cubicBezTo>
                    <a:cubicBezTo>
                      <a:pt x="442534" y="1451508"/>
                      <a:pt x="448943" y="1451139"/>
                      <a:pt x="455287" y="1450233"/>
                    </a:cubicBezTo>
                    <a:cubicBezTo>
                      <a:pt x="457890" y="1449861"/>
                      <a:pt x="460318" y="1448118"/>
                      <a:pt x="462939" y="1448320"/>
                    </a:cubicBezTo>
                    <a:cubicBezTo>
                      <a:pt x="468801" y="1448771"/>
                      <a:pt x="474417" y="1450871"/>
                      <a:pt x="480156" y="1452146"/>
                    </a:cubicBezTo>
                    <a:cubicBezTo>
                      <a:pt x="482069" y="1453421"/>
                      <a:pt x="484024" y="1454635"/>
                      <a:pt x="485895" y="1455971"/>
                    </a:cubicBezTo>
                    <a:cubicBezTo>
                      <a:pt x="488490" y="1457824"/>
                      <a:pt x="490779" y="1460128"/>
                      <a:pt x="493547" y="1461710"/>
                    </a:cubicBezTo>
                    <a:cubicBezTo>
                      <a:pt x="495298" y="1462710"/>
                      <a:pt x="497373" y="1462985"/>
                      <a:pt x="499286" y="1463623"/>
                    </a:cubicBezTo>
                    <a:cubicBezTo>
                      <a:pt x="506300" y="1462348"/>
                      <a:pt x="513747" y="1462539"/>
                      <a:pt x="520328" y="1459797"/>
                    </a:cubicBezTo>
                    <a:cubicBezTo>
                      <a:pt x="522189" y="1459021"/>
                      <a:pt x="521846" y="1456035"/>
                      <a:pt x="522241" y="1454058"/>
                    </a:cubicBezTo>
                    <a:cubicBezTo>
                      <a:pt x="525894" y="1435793"/>
                      <a:pt x="520537" y="1445491"/>
                      <a:pt x="529893" y="1433016"/>
                    </a:cubicBezTo>
                    <a:cubicBezTo>
                      <a:pt x="537545" y="1433654"/>
                      <a:pt x="545565" y="1432501"/>
                      <a:pt x="552849" y="1434929"/>
                    </a:cubicBezTo>
                    <a:cubicBezTo>
                      <a:pt x="559392" y="1437110"/>
                      <a:pt x="564327" y="1442581"/>
                      <a:pt x="570066" y="1446407"/>
                    </a:cubicBezTo>
                    <a:cubicBezTo>
                      <a:pt x="593860" y="1462270"/>
                      <a:pt x="552610" y="1434616"/>
                      <a:pt x="583456" y="1455971"/>
                    </a:cubicBezTo>
                    <a:cubicBezTo>
                      <a:pt x="589127" y="1459897"/>
                      <a:pt x="594871" y="1463719"/>
                      <a:pt x="600673" y="1467449"/>
                    </a:cubicBezTo>
                    <a:cubicBezTo>
                      <a:pt x="604082" y="1469641"/>
                      <a:pt x="613509" y="1475371"/>
                      <a:pt x="617890" y="1477014"/>
                    </a:cubicBezTo>
                    <a:cubicBezTo>
                      <a:pt x="620352" y="1477937"/>
                      <a:pt x="622991" y="1478289"/>
                      <a:pt x="625542" y="1478927"/>
                    </a:cubicBezTo>
                    <a:cubicBezTo>
                      <a:pt x="626180" y="1480840"/>
                      <a:pt x="625651" y="1483764"/>
                      <a:pt x="627455" y="1484666"/>
                    </a:cubicBezTo>
                    <a:cubicBezTo>
                      <a:pt x="629259" y="1485568"/>
                      <a:pt x="631210" y="1483114"/>
                      <a:pt x="633194" y="1482753"/>
                    </a:cubicBezTo>
                    <a:cubicBezTo>
                      <a:pt x="638252" y="1481833"/>
                      <a:pt x="643396" y="1481478"/>
                      <a:pt x="648497" y="1480840"/>
                    </a:cubicBezTo>
                    <a:cubicBezTo>
                      <a:pt x="651685" y="1481478"/>
                      <a:pt x="655154" y="1481299"/>
                      <a:pt x="658062" y="1482753"/>
                    </a:cubicBezTo>
                    <a:cubicBezTo>
                      <a:pt x="661744" y="1484594"/>
                      <a:pt x="665430" y="1490935"/>
                      <a:pt x="667627" y="1494231"/>
                    </a:cubicBezTo>
                    <a:cubicBezTo>
                      <a:pt x="668265" y="1503158"/>
                      <a:pt x="667015" y="1512426"/>
                      <a:pt x="669540" y="1521012"/>
                    </a:cubicBezTo>
                    <a:cubicBezTo>
                      <a:pt x="670440" y="1524071"/>
                      <a:pt x="674938" y="1524497"/>
                      <a:pt x="677192" y="1526751"/>
                    </a:cubicBezTo>
                    <a:cubicBezTo>
                      <a:pt x="688008" y="1537567"/>
                      <a:pt x="672254" y="1528108"/>
                      <a:pt x="688670" y="1536316"/>
                    </a:cubicBezTo>
                    <a:cubicBezTo>
                      <a:pt x="706740" y="1531798"/>
                      <a:pt x="699271" y="1534842"/>
                      <a:pt x="711625" y="1528664"/>
                    </a:cubicBezTo>
                    <a:cubicBezTo>
                      <a:pt x="719277" y="1529302"/>
                      <a:pt x="727132" y="1528715"/>
                      <a:pt x="734581" y="1530577"/>
                    </a:cubicBezTo>
                    <a:cubicBezTo>
                      <a:pt x="738693" y="1531605"/>
                      <a:pt x="750087" y="1544550"/>
                      <a:pt x="751798" y="1545881"/>
                    </a:cubicBezTo>
                    <a:cubicBezTo>
                      <a:pt x="756537" y="1549567"/>
                      <a:pt x="761538" y="1550229"/>
                      <a:pt x="767102" y="1551620"/>
                    </a:cubicBezTo>
                    <a:cubicBezTo>
                      <a:pt x="773478" y="1550345"/>
                      <a:pt x="780229" y="1550295"/>
                      <a:pt x="786231" y="1547794"/>
                    </a:cubicBezTo>
                    <a:cubicBezTo>
                      <a:pt x="789376" y="1546483"/>
                      <a:pt x="793065" y="1533308"/>
                      <a:pt x="793883" y="1532490"/>
                    </a:cubicBezTo>
                    <a:cubicBezTo>
                      <a:pt x="796311" y="1530062"/>
                      <a:pt x="800039" y="1529073"/>
                      <a:pt x="803448" y="1528664"/>
                    </a:cubicBezTo>
                    <a:cubicBezTo>
                      <a:pt x="816126" y="1527143"/>
                      <a:pt x="828954" y="1527389"/>
                      <a:pt x="841707" y="1526751"/>
                    </a:cubicBezTo>
                    <a:cubicBezTo>
                      <a:pt x="841069" y="1515911"/>
                      <a:pt x="841923" y="1504879"/>
                      <a:pt x="839794" y="1494231"/>
                    </a:cubicBezTo>
                    <a:cubicBezTo>
                      <a:pt x="838676" y="1488638"/>
                      <a:pt x="833526" y="1484460"/>
                      <a:pt x="832143" y="1478927"/>
                    </a:cubicBezTo>
                    <a:lnTo>
                      <a:pt x="830230" y="1471275"/>
                    </a:lnTo>
                    <a:cubicBezTo>
                      <a:pt x="832143" y="1467449"/>
                      <a:pt x="834931" y="1463947"/>
                      <a:pt x="835969" y="1459797"/>
                    </a:cubicBezTo>
                    <a:cubicBezTo>
                      <a:pt x="837523" y="1453580"/>
                      <a:pt x="836976" y="1447012"/>
                      <a:pt x="837882" y="1440668"/>
                    </a:cubicBezTo>
                    <a:cubicBezTo>
                      <a:pt x="838254" y="1438065"/>
                      <a:pt x="838336" y="1435204"/>
                      <a:pt x="839794" y="1433016"/>
                    </a:cubicBezTo>
                    <a:cubicBezTo>
                      <a:pt x="841069" y="1431103"/>
                      <a:pt x="843767" y="1430662"/>
                      <a:pt x="845533" y="1429190"/>
                    </a:cubicBezTo>
                    <a:cubicBezTo>
                      <a:pt x="852934" y="1423022"/>
                      <a:pt x="849806" y="1422922"/>
                      <a:pt x="858924" y="1417712"/>
                    </a:cubicBezTo>
                    <a:cubicBezTo>
                      <a:pt x="860675" y="1416712"/>
                      <a:pt x="862750" y="1416437"/>
                      <a:pt x="864663" y="1415799"/>
                    </a:cubicBezTo>
                    <a:cubicBezTo>
                      <a:pt x="866576" y="1413886"/>
                      <a:pt x="868324" y="1411792"/>
                      <a:pt x="870402" y="1410060"/>
                    </a:cubicBezTo>
                    <a:cubicBezTo>
                      <a:pt x="872168" y="1408588"/>
                      <a:pt x="874515" y="1407860"/>
                      <a:pt x="876141" y="1406234"/>
                    </a:cubicBezTo>
                    <a:cubicBezTo>
                      <a:pt x="877767" y="1404608"/>
                      <a:pt x="878221" y="1401991"/>
                      <a:pt x="879967" y="1400495"/>
                    </a:cubicBezTo>
                    <a:cubicBezTo>
                      <a:pt x="883462" y="1397499"/>
                      <a:pt x="903017" y="1387711"/>
                      <a:pt x="904835" y="1387105"/>
                    </a:cubicBezTo>
                    <a:cubicBezTo>
                      <a:pt x="906748" y="1386467"/>
                      <a:pt x="908618" y="1385681"/>
                      <a:pt x="910574" y="1385192"/>
                    </a:cubicBezTo>
                    <a:cubicBezTo>
                      <a:pt x="913177" y="1384541"/>
                      <a:pt x="922598" y="1383279"/>
                      <a:pt x="925878" y="1381366"/>
                    </a:cubicBezTo>
                    <a:cubicBezTo>
                      <a:pt x="931836" y="1377891"/>
                      <a:pt x="936926" y="1372973"/>
                      <a:pt x="943095" y="1369888"/>
                    </a:cubicBezTo>
                    <a:cubicBezTo>
                      <a:pt x="945646" y="1368613"/>
                      <a:pt x="948520" y="1367843"/>
                      <a:pt x="950747" y="1366062"/>
                    </a:cubicBezTo>
                    <a:cubicBezTo>
                      <a:pt x="978965" y="1343487"/>
                      <a:pt x="947889" y="1363186"/>
                      <a:pt x="971789" y="1348845"/>
                    </a:cubicBezTo>
                    <a:cubicBezTo>
                      <a:pt x="976457" y="1350401"/>
                      <a:pt x="979559" y="1350876"/>
                      <a:pt x="983267" y="1354584"/>
                    </a:cubicBezTo>
                    <a:cubicBezTo>
                      <a:pt x="984893" y="1356210"/>
                      <a:pt x="985180" y="1359048"/>
                      <a:pt x="987093" y="1360323"/>
                    </a:cubicBezTo>
                    <a:cubicBezTo>
                      <a:pt x="989281" y="1361781"/>
                      <a:pt x="992251" y="1361405"/>
                      <a:pt x="994745" y="1362236"/>
                    </a:cubicBezTo>
                    <a:cubicBezTo>
                      <a:pt x="998003" y="1363322"/>
                      <a:pt x="1001052" y="1364976"/>
                      <a:pt x="1004310" y="1366062"/>
                    </a:cubicBezTo>
                    <a:cubicBezTo>
                      <a:pt x="1012594" y="1368823"/>
                      <a:pt x="1020265" y="1368898"/>
                      <a:pt x="1029179" y="1369888"/>
                    </a:cubicBezTo>
                    <a:cubicBezTo>
                      <a:pt x="1031729" y="1370526"/>
                      <a:pt x="1034369" y="1370878"/>
                      <a:pt x="1036830" y="1371801"/>
                    </a:cubicBezTo>
                    <a:cubicBezTo>
                      <a:pt x="1039500" y="1372802"/>
                      <a:pt x="1041777" y="1374725"/>
                      <a:pt x="1044482" y="1375627"/>
                    </a:cubicBezTo>
                    <a:cubicBezTo>
                      <a:pt x="1047567" y="1376655"/>
                      <a:pt x="1050893" y="1376751"/>
                      <a:pt x="1054047" y="1377540"/>
                    </a:cubicBezTo>
                    <a:cubicBezTo>
                      <a:pt x="1058046" y="1378540"/>
                      <a:pt x="1066425" y="1382109"/>
                      <a:pt x="1069351" y="1383279"/>
                    </a:cubicBezTo>
                    <a:cubicBezTo>
                      <a:pt x="1068713" y="1380728"/>
                      <a:pt x="1064809" y="1375627"/>
                      <a:pt x="1067438" y="1375627"/>
                    </a:cubicBezTo>
                    <a:cubicBezTo>
                      <a:pt x="1070290" y="1375627"/>
                      <a:pt x="1070106" y="1380673"/>
                      <a:pt x="1071264" y="1383279"/>
                    </a:cubicBezTo>
                    <a:cubicBezTo>
                      <a:pt x="1072659" y="1386417"/>
                      <a:pt x="1073815" y="1389655"/>
                      <a:pt x="1075090" y="1392843"/>
                    </a:cubicBezTo>
                    <a:cubicBezTo>
                      <a:pt x="1082104" y="1392205"/>
                      <a:pt x="1089246" y="1392406"/>
                      <a:pt x="1096133" y="1390930"/>
                    </a:cubicBezTo>
                    <a:cubicBezTo>
                      <a:pt x="1107966" y="1388395"/>
                      <a:pt x="1111206" y="1359100"/>
                      <a:pt x="1111436" y="1358410"/>
                    </a:cubicBezTo>
                    <a:cubicBezTo>
                      <a:pt x="1125998" y="1363264"/>
                      <a:pt x="1125700" y="1361084"/>
                      <a:pt x="1113349" y="1392843"/>
                    </a:cubicBezTo>
                    <a:cubicBezTo>
                      <a:pt x="1112170" y="1395873"/>
                      <a:pt x="1106972" y="1394118"/>
                      <a:pt x="1103784" y="1394756"/>
                    </a:cubicBezTo>
                    <a:cubicBezTo>
                      <a:pt x="1115262" y="1395394"/>
                      <a:pt x="1126969" y="1394301"/>
                      <a:pt x="1138218" y="1396669"/>
                    </a:cubicBezTo>
                    <a:cubicBezTo>
                      <a:pt x="1140191" y="1397084"/>
                      <a:pt x="1139736" y="1400431"/>
                      <a:pt x="1140131" y="1402408"/>
                    </a:cubicBezTo>
                    <a:cubicBezTo>
                      <a:pt x="1141015" y="1406829"/>
                      <a:pt x="1140028" y="1411766"/>
                      <a:pt x="1142044" y="1415799"/>
                    </a:cubicBezTo>
                    <a:cubicBezTo>
                      <a:pt x="1146416" y="1424542"/>
                      <a:pt x="1163420" y="1422911"/>
                      <a:pt x="1168825" y="1423451"/>
                    </a:cubicBezTo>
                    <a:lnTo>
                      <a:pt x="1182216" y="1427277"/>
                    </a:lnTo>
                    <a:cubicBezTo>
                      <a:pt x="1184147" y="1427856"/>
                      <a:pt x="1186380" y="1427930"/>
                      <a:pt x="1187955" y="1429190"/>
                    </a:cubicBezTo>
                    <a:cubicBezTo>
                      <a:pt x="1189750" y="1430626"/>
                      <a:pt x="1190506" y="1433016"/>
                      <a:pt x="1191781" y="1434929"/>
                    </a:cubicBezTo>
                    <a:cubicBezTo>
                      <a:pt x="1192419" y="1438755"/>
                      <a:pt x="1192933" y="1442604"/>
                      <a:pt x="1193694" y="1446407"/>
                    </a:cubicBezTo>
                    <a:cubicBezTo>
                      <a:pt x="1194210" y="1448985"/>
                      <a:pt x="1193041" y="1453488"/>
                      <a:pt x="1195607" y="1454058"/>
                    </a:cubicBezTo>
                    <a:cubicBezTo>
                      <a:pt x="1200740" y="1455199"/>
                      <a:pt x="1205810" y="1451508"/>
                      <a:pt x="1210911" y="1450233"/>
                    </a:cubicBezTo>
                    <a:cubicBezTo>
                      <a:pt x="1215375" y="1450871"/>
                      <a:pt x="1220269" y="1450130"/>
                      <a:pt x="1224302" y="1452146"/>
                    </a:cubicBezTo>
                    <a:cubicBezTo>
                      <a:pt x="1229800" y="1454895"/>
                      <a:pt x="1221210" y="1470394"/>
                      <a:pt x="1230041" y="1448320"/>
                    </a:cubicBezTo>
                    <a:cubicBezTo>
                      <a:pt x="1231316" y="1450870"/>
                      <a:pt x="1232743" y="1453350"/>
                      <a:pt x="1233866" y="1455971"/>
                    </a:cubicBezTo>
                    <a:cubicBezTo>
                      <a:pt x="1234660" y="1457824"/>
                      <a:pt x="1234877" y="1459906"/>
                      <a:pt x="1235779" y="1461710"/>
                    </a:cubicBezTo>
                    <a:cubicBezTo>
                      <a:pt x="1236807" y="1463766"/>
                      <a:pt x="1238330" y="1465536"/>
                      <a:pt x="1239605" y="1467449"/>
                    </a:cubicBezTo>
                    <a:cubicBezTo>
                      <a:pt x="1244039" y="1461537"/>
                      <a:pt x="1250813" y="1451754"/>
                      <a:pt x="1256822" y="1448320"/>
                    </a:cubicBezTo>
                    <a:cubicBezTo>
                      <a:pt x="1261388" y="1445711"/>
                      <a:pt x="1267025" y="1445769"/>
                      <a:pt x="1272126" y="1444494"/>
                    </a:cubicBezTo>
                    <a:cubicBezTo>
                      <a:pt x="1285199" y="1435779"/>
                      <a:pt x="1272418" y="1442581"/>
                      <a:pt x="1300820" y="1442581"/>
                    </a:cubicBezTo>
                    <a:cubicBezTo>
                      <a:pt x="1304071" y="1442581"/>
                      <a:pt x="1307197" y="1441306"/>
                      <a:pt x="1310385" y="1440668"/>
                    </a:cubicBezTo>
                    <a:cubicBezTo>
                      <a:pt x="1311023" y="1438755"/>
                      <a:pt x="1311549" y="1436801"/>
                      <a:pt x="1312298" y="1434929"/>
                    </a:cubicBezTo>
                    <a:cubicBezTo>
                      <a:pt x="1314102" y="1430420"/>
                      <a:pt x="1316377" y="1426102"/>
                      <a:pt x="1318037" y="1421538"/>
                    </a:cubicBezTo>
                    <a:cubicBezTo>
                      <a:pt x="1318935" y="1419067"/>
                      <a:pt x="1318914" y="1416303"/>
                      <a:pt x="1319950" y="1413886"/>
                    </a:cubicBezTo>
                    <a:cubicBezTo>
                      <a:pt x="1320856" y="1411773"/>
                      <a:pt x="1322304" y="1409913"/>
                      <a:pt x="1323776" y="1408147"/>
                    </a:cubicBezTo>
                    <a:cubicBezTo>
                      <a:pt x="1327470" y="1403714"/>
                      <a:pt x="1332417" y="1399836"/>
                      <a:pt x="1337167" y="1396669"/>
                    </a:cubicBezTo>
                    <a:cubicBezTo>
                      <a:pt x="1340261" y="1394607"/>
                      <a:pt x="1343205" y="1392106"/>
                      <a:pt x="1346732" y="1390930"/>
                    </a:cubicBezTo>
                    <a:cubicBezTo>
                      <a:pt x="1351010" y="1389504"/>
                      <a:pt x="1355659" y="1389655"/>
                      <a:pt x="1360123" y="1389017"/>
                    </a:cubicBezTo>
                    <a:cubicBezTo>
                      <a:pt x="1362036" y="1388380"/>
                      <a:pt x="1364435" y="1388531"/>
                      <a:pt x="1365861" y="1387105"/>
                    </a:cubicBezTo>
                    <a:cubicBezTo>
                      <a:pt x="1367287" y="1385679"/>
                      <a:pt x="1367379" y="1383343"/>
                      <a:pt x="1367774" y="1381366"/>
                    </a:cubicBezTo>
                    <a:cubicBezTo>
                      <a:pt x="1368658" y="1376945"/>
                      <a:pt x="1368391" y="1372294"/>
                      <a:pt x="1369687" y="1367975"/>
                    </a:cubicBezTo>
                    <a:cubicBezTo>
                      <a:pt x="1370348" y="1365773"/>
                      <a:pt x="1372134" y="1364075"/>
                      <a:pt x="1373513" y="1362236"/>
                    </a:cubicBezTo>
                    <a:cubicBezTo>
                      <a:pt x="1375963" y="1358970"/>
                      <a:pt x="1378065" y="1355328"/>
                      <a:pt x="1381165" y="1352671"/>
                    </a:cubicBezTo>
                    <a:cubicBezTo>
                      <a:pt x="1382696" y="1351359"/>
                      <a:pt x="1385051" y="1351552"/>
                      <a:pt x="1386904" y="1350758"/>
                    </a:cubicBezTo>
                    <a:cubicBezTo>
                      <a:pt x="1392348" y="1348425"/>
                      <a:pt x="1394687" y="1346141"/>
                      <a:pt x="1400295" y="1345019"/>
                    </a:cubicBezTo>
                    <a:cubicBezTo>
                      <a:pt x="1404716" y="1344135"/>
                      <a:pt x="1409222" y="1343744"/>
                      <a:pt x="1413686" y="1343106"/>
                    </a:cubicBezTo>
                    <a:cubicBezTo>
                      <a:pt x="1419054" y="1338812"/>
                      <a:pt x="1426560" y="1333384"/>
                      <a:pt x="1430902" y="1327802"/>
                    </a:cubicBezTo>
                    <a:cubicBezTo>
                      <a:pt x="1433212" y="1324832"/>
                      <a:pt x="1438734" y="1314630"/>
                      <a:pt x="1440467" y="1310586"/>
                    </a:cubicBezTo>
                    <a:cubicBezTo>
                      <a:pt x="1441261" y="1308733"/>
                      <a:pt x="1441120" y="1306422"/>
                      <a:pt x="1442380" y="1304847"/>
                    </a:cubicBezTo>
                    <a:cubicBezTo>
                      <a:pt x="1445077" y="1301476"/>
                      <a:pt x="1450077" y="1300368"/>
                      <a:pt x="1453858" y="1299108"/>
                    </a:cubicBezTo>
                    <a:cubicBezTo>
                      <a:pt x="1459857" y="1290110"/>
                      <a:pt x="1465798" y="1284266"/>
                      <a:pt x="1451945" y="1270413"/>
                    </a:cubicBezTo>
                    <a:cubicBezTo>
                      <a:pt x="1448310" y="1266778"/>
                      <a:pt x="1441742" y="1271688"/>
                      <a:pt x="1436641" y="1272326"/>
                    </a:cubicBezTo>
                    <a:cubicBezTo>
                      <a:pt x="1425801" y="1271051"/>
                      <a:pt x="1414710" y="1271147"/>
                      <a:pt x="1404121" y="1268500"/>
                    </a:cubicBezTo>
                    <a:cubicBezTo>
                      <a:pt x="1401496" y="1267844"/>
                      <a:pt x="1400764" y="1264044"/>
                      <a:pt x="1398382" y="1262761"/>
                    </a:cubicBezTo>
                    <a:cubicBezTo>
                      <a:pt x="1392335" y="1259505"/>
                      <a:pt x="1385629" y="1257660"/>
                      <a:pt x="1379252" y="1255110"/>
                    </a:cubicBezTo>
                    <a:cubicBezTo>
                      <a:pt x="1376064" y="1252559"/>
                      <a:pt x="1371689" y="1251017"/>
                      <a:pt x="1369687" y="1247458"/>
                    </a:cubicBezTo>
                    <a:cubicBezTo>
                      <a:pt x="1350727" y="1213752"/>
                      <a:pt x="1372558" y="1232396"/>
                      <a:pt x="1354384" y="1218763"/>
                    </a:cubicBezTo>
                    <a:cubicBezTo>
                      <a:pt x="1351419" y="1209869"/>
                      <a:pt x="1347287" y="1199399"/>
                      <a:pt x="1352471" y="1190069"/>
                    </a:cubicBezTo>
                    <a:cubicBezTo>
                      <a:pt x="1353748" y="1187771"/>
                      <a:pt x="1357572" y="1188794"/>
                      <a:pt x="1360123" y="1188156"/>
                    </a:cubicBezTo>
                    <a:cubicBezTo>
                      <a:pt x="1362036" y="1186881"/>
                      <a:pt x="1364721" y="1186326"/>
                      <a:pt x="1365861" y="1184330"/>
                    </a:cubicBezTo>
                    <a:cubicBezTo>
                      <a:pt x="1367474" y="1181507"/>
                      <a:pt x="1366985" y="1177919"/>
                      <a:pt x="1367774" y="1174765"/>
                    </a:cubicBezTo>
                    <a:cubicBezTo>
                      <a:pt x="1368774" y="1170766"/>
                      <a:pt x="1372343" y="1162387"/>
                      <a:pt x="1373513" y="1159461"/>
                    </a:cubicBezTo>
                    <a:cubicBezTo>
                      <a:pt x="1372875" y="1154360"/>
                      <a:pt x="1376113" y="1146619"/>
                      <a:pt x="1371600" y="1144157"/>
                    </a:cubicBezTo>
                    <a:cubicBezTo>
                      <a:pt x="1368098" y="1142247"/>
                      <a:pt x="1346495" y="1149975"/>
                      <a:pt x="1340993" y="1151809"/>
                    </a:cubicBezTo>
                    <a:lnTo>
                      <a:pt x="1337167" y="1140331"/>
                    </a:lnTo>
                    <a:cubicBezTo>
                      <a:pt x="1335892" y="1136505"/>
                      <a:pt x="1334402" y="1132744"/>
                      <a:pt x="1333341" y="1128853"/>
                    </a:cubicBezTo>
                    <a:lnTo>
                      <a:pt x="1327602" y="1107811"/>
                    </a:lnTo>
                    <a:cubicBezTo>
                      <a:pt x="1328240" y="1105898"/>
                      <a:pt x="1329026" y="1104028"/>
                      <a:pt x="1329515" y="1102072"/>
                    </a:cubicBezTo>
                    <a:cubicBezTo>
                      <a:pt x="1330304" y="1098918"/>
                      <a:pt x="1329538" y="1095153"/>
                      <a:pt x="1331428" y="1092507"/>
                    </a:cubicBezTo>
                    <a:cubicBezTo>
                      <a:pt x="1333086" y="1090186"/>
                      <a:pt x="1336529" y="1089956"/>
                      <a:pt x="1339080" y="1088681"/>
                    </a:cubicBezTo>
                    <a:cubicBezTo>
                      <a:pt x="1340993" y="1089319"/>
                      <a:pt x="1343015" y="1089692"/>
                      <a:pt x="1344819" y="1090594"/>
                    </a:cubicBezTo>
                    <a:cubicBezTo>
                      <a:pt x="1346875" y="1091622"/>
                      <a:pt x="1348263" y="1094285"/>
                      <a:pt x="1350558" y="1094420"/>
                    </a:cubicBezTo>
                    <a:cubicBezTo>
                      <a:pt x="1359492" y="1094946"/>
                      <a:pt x="1368412" y="1093145"/>
                      <a:pt x="1377339" y="1092507"/>
                    </a:cubicBezTo>
                    <a:cubicBezTo>
                      <a:pt x="1378668" y="1088520"/>
                      <a:pt x="1380451" y="1082268"/>
                      <a:pt x="1383078" y="1079116"/>
                    </a:cubicBezTo>
                    <a:cubicBezTo>
                      <a:pt x="1384550" y="1077350"/>
                      <a:pt x="1386904" y="1076565"/>
                      <a:pt x="1388817" y="1075290"/>
                    </a:cubicBezTo>
                    <a:cubicBezTo>
                      <a:pt x="1390092" y="1073377"/>
                      <a:pt x="1391017" y="1071177"/>
                      <a:pt x="1392643" y="1069551"/>
                    </a:cubicBezTo>
                    <a:cubicBezTo>
                      <a:pt x="1394269" y="1067925"/>
                      <a:pt x="1396008" y="1071464"/>
                      <a:pt x="1398382" y="1065725"/>
                    </a:cubicBezTo>
                    <a:cubicBezTo>
                      <a:pt x="1400756" y="1059986"/>
                      <a:pt x="1419799" y="1046183"/>
                      <a:pt x="1406890" y="1035118"/>
                    </a:cubicBezTo>
                    <a:cubicBezTo>
                      <a:pt x="1404339" y="1030017"/>
                      <a:pt x="1395913" y="1016347"/>
                      <a:pt x="1389713" y="1010289"/>
                    </a:cubicBezTo>
                    <a:cubicBezTo>
                      <a:pt x="1383513" y="1004231"/>
                      <a:pt x="1374300" y="1001966"/>
                      <a:pt x="1369687" y="998771"/>
                    </a:cubicBezTo>
                    <a:cubicBezTo>
                      <a:pt x="1365074" y="995576"/>
                      <a:pt x="1364586" y="993670"/>
                      <a:pt x="1362035" y="991120"/>
                    </a:cubicBezTo>
                    <a:cubicBezTo>
                      <a:pt x="1360760" y="986019"/>
                      <a:pt x="1358210" y="981074"/>
                      <a:pt x="1358210" y="975816"/>
                    </a:cubicBezTo>
                    <a:cubicBezTo>
                      <a:pt x="1358210" y="969313"/>
                      <a:pt x="1360441" y="961150"/>
                      <a:pt x="1362035" y="956686"/>
                    </a:cubicBezTo>
                    <a:cubicBezTo>
                      <a:pt x="1363629" y="952222"/>
                      <a:pt x="1363629" y="951585"/>
                      <a:pt x="1367774" y="949034"/>
                    </a:cubicBezTo>
                    <a:cubicBezTo>
                      <a:pt x="1371919" y="946483"/>
                      <a:pt x="1386194" y="941686"/>
                      <a:pt x="1386904" y="941382"/>
                    </a:cubicBezTo>
                    <a:cubicBezTo>
                      <a:pt x="1385629" y="934368"/>
                      <a:pt x="1386458" y="926617"/>
                      <a:pt x="1383078" y="920340"/>
                    </a:cubicBezTo>
                    <a:cubicBezTo>
                      <a:pt x="1381450" y="917317"/>
                      <a:pt x="1376584" y="918050"/>
                      <a:pt x="1373513" y="916514"/>
                    </a:cubicBezTo>
                    <a:cubicBezTo>
                      <a:pt x="1371457" y="915486"/>
                      <a:pt x="1369687" y="913963"/>
                      <a:pt x="1367774" y="912688"/>
                    </a:cubicBezTo>
                    <a:cubicBezTo>
                      <a:pt x="1366499" y="910137"/>
                      <a:pt x="1364167" y="907879"/>
                      <a:pt x="1363948" y="905036"/>
                    </a:cubicBezTo>
                    <a:cubicBezTo>
                      <a:pt x="1363300" y="896611"/>
                      <a:pt x="1365759" y="888228"/>
                      <a:pt x="1367774" y="880167"/>
                    </a:cubicBezTo>
                    <a:cubicBezTo>
                      <a:pt x="1367136" y="871240"/>
                      <a:pt x="1369863" y="861391"/>
                      <a:pt x="1365861" y="853386"/>
                    </a:cubicBezTo>
                    <a:cubicBezTo>
                      <a:pt x="1363785" y="849234"/>
                      <a:pt x="1356781" y="851284"/>
                      <a:pt x="1352471" y="849560"/>
                    </a:cubicBezTo>
                    <a:cubicBezTo>
                      <a:pt x="1350336" y="848706"/>
                      <a:pt x="1348893" y="846520"/>
                      <a:pt x="1346732" y="845734"/>
                    </a:cubicBezTo>
                    <a:cubicBezTo>
                      <a:pt x="1341790" y="843937"/>
                      <a:pt x="1336529" y="843183"/>
                      <a:pt x="1331428" y="841908"/>
                    </a:cubicBezTo>
                    <a:cubicBezTo>
                      <a:pt x="1321359" y="844929"/>
                      <a:pt x="1310957" y="846337"/>
                      <a:pt x="1302733" y="853386"/>
                    </a:cubicBezTo>
                    <a:cubicBezTo>
                      <a:pt x="1300987" y="854882"/>
                      <a:pt x="1300126" y="857175"/>
                      <a:pt x="1298907" y="859125"/>
                    </a:cubicBezTo>
                    <a:cubicBezTo>
                      <a:pt x="1296937" y="862278"/>
                      <a:pt x="1295082" y="865501"/>
                      <a:pt x="1293169" y="868689"/>
                    </a:cubicBezTo>
                    <a:lnTo>
                      <a:pt x="1298907" y="885906"/>
                    </a:lnTo>
                    <a:lnTo>
                      <a:pt x="1300820" y="891645"/>
                    </a:lnTo>
                    <a:cubicBezTo>
                      <a:pt x="1299545" y="895471"/>
                      <a:pt x="1299618" y="900061"/>
                      <a:pt x="1296994" y="903123"/>
                    </a:cubicBezTo>
                    <a:cubicBezTo>
                      <a:pt x="1295283" y="905119"/>
                      <a:pt x="1291969" y="905161"/>
                      <a:pt x="1289343" y="905036"/>
                    </a:cubicBezTo>
                    <a:cubicBezTo>
                      <a:pt x="1278440" y="904517"/>
                      <a:pt x="1267662" y="902485"/>
                      <a:pt x="1256822" y="901210"/>
                    </a:cubicBezTo>
                    <a:cubicBezTo>
                      <a:pt x="1257364" y="897957"/>
                      <a:pt x="1258353" y="885086"/>
                      <a:pt x="1262561" y="882080"/>
                    </a:cubicBezTo>
                    <a:cubicBezTo>
                      <a:pt x="1265207" y="880190"/>
                      <a:pt x="1268938" y="880805"/>
                      <a:pt x="1272126" y="880167"/>
                    </a:cubicBezTo>
                    <a:cubicBezTo>
                      <a:pt x="1295234" y="866302"/>
                      <a:pt x="1279853" y="879153"/>
                      <a:pt x="1283604" y="828517"/>
                    </a:cubicBezTo>
                    <a:cubicBezTo>
                      <a:pt x="1284236" y="819983"/>
                      <a:pt x="1292806" y="815658"/>
                      <a:pt x="1298907" y="811300"/>
                    </a:cubicBezTo>
                    <a:cubicBezTo>
                      <a:pt x="1301501" y="809447"/>
                      <a:pt x="1304008" y="807474"/>
                      <a:pt x="1306559" y="805561"/>
                    </a:cubicBezTo>
                    <a:cubicBezTo>
                      <a:pt x="1309747" y="797272"/>
                      <a:pt x="1311272" y="788132"/>
                      <a:pt x="1316124" y="780693"/>
                    </a:cubicBezTo>
                    <a:cubicBezTo>
                      <a:pt x="1326357" y="765004"/>
                      <a:pt x="1330639" y="763870"/>
                      <a:pt x="1342906" y="757737"/>
                    </a:cubicBezTo>
                    <a:cubicBezTo>
                      <a:pt x="1344181" y="755824"/>
                      <a:pt x="1345704" y="754054"/>
                      <a:pt x="1346732" y="751998"/>
                    </a:cubicBezTo>
                    <a:cubicBezTo>
                      <a:pt x="1347634" y="750194"/>
                      <a:pt x="1347489" y="747911"/>
                      <a:pt x="1348645" y="746259"/>
                    </a:cubicBezTo>
                    <a:cubicBezTo>
                      <a:pt x="1352016" y="741443"/>
                      <a:pt x="1356451" y="737460"/>
                      <a:pt x="1360123" y="732869"/>
                    </a:cubicBezTo>
                    <a:cubicBezTo>
                      <a:pt x="1361559" y="731074"/>
                      <a:pt x="1361999" y="728349"/>
                      <a:pt x="1363948" y="727130"/>
                    </a:cubicBezTo>
                    <a:cubicBezTo>
                      <a:pt x="1367368" y="724992"/>
                      <a:pt x="1371755" y="724973"/>
                      <a:pt x="1375426" y="723304"/>
                    </a:cubicBezTo>
                    <a:cubicBezTo>
                      <a:pt x="1400642" y="711842"/>
                      <a:pt x="1366845" y="722749"/>
                      <a:pt x="1398382" y="713739"/>
                    </a:cubicBezTo>
                    <a:cubicBezTo>
                      <a:pt x="1400295" y="712464"/>
                      <a:pt x="1403267" y="712048"/>
                      <a:pt x="1404121" y="709913"/>
                    </a:cubicBezTo>
                    <a:cubicBezTo>
                      <a:pt x="1406467" y="704049"/>
                      <a:pt x="1396714" y="701427"/>
                      <a:pt x="1394556" y="700348"/>
                    </a:cubicBezTo>
                    <a:cubicBezTo>
                      <a:pt x="1392643" y="697797"/>
                      <a:pt x="1388366" y="695852"/>
                      <a:pt x="1388817" y="692696"/>
                    </a:cubicBezTo>
                    <a:cubicBezTo>
                      <a:pt x="1391047" y="677085"/>
                      <a:pt x="1395147" y="675723"/>
                      <a:pt x="1404121" y="669740"/>
                    </a:cubicBezTo>
                    <a:cubicBezTo>
                      <a:pt x="1407309" y="671653"/>
                      <a:pt x="1410360" y="673816"/>
                      <a:pt x="1413686" y="675479"/>
                    </a:cubicBezTo>
                    <a:cubicBezTo>
                      <a:pt x="1425048" y="681160"/>
                      <a:pt x="1438490" y="675009"/>
                      <a:pt x="1450032" y="673566"/>
                    </a:cubicBezTo>
                    <a:cubicBezTo>
                      <a:pt x="1452583" y="669103"/>
                      <a:pt x="1456636" y="665209"/>
                      <a:pt x="1457684" y="660176"/>
                    </a:cubicBezTo>
                    <a:cubicBezTo>
                      <a:pt x="1468114" y="610112"/>
                      <a:pt x="1451168" y="641703"/>
                      <a:pt x="1465336" y="618090"/>
                    </a:cubicBezTo>
                    <a:cubicBezTo>
                      <a:pt x="1470272" y="578608"/>
                      <a:pt x="1462798" y="635865"/>
                      <a:pt x="1472988" y="572179"/>
                    </a:cubicBezTo>
                    <a:cubicBezTo>
                      <a:pt x="1473900" y="566477"/>
                      <a:pt x="1473500" y="560564"/>
                      <a:pt x="1474901" y="554962"/>
                    </a:cubicBezTo>
                    <a:cubicBezTo>
                      <a:pt x="1477346" y="545181"/>
                      <a:pt x="1484466" y="526268"/>
                      <a:pt x="1484466" y="526268"/>
                    </a:cubicBezTo>
                    <a:cubicBezTo>
                      <a:pt x="1485104" y="516703"/>
                      <a:pt x="1484803" y="507029"/>
                      <a:pt x="1486379" y="497573"/>
                    </a:cubicBezTo>
                    <a:cubicBezTo>
                      <a:pt x="1486757" y="495305"/>
                      <a:pt x="1489478" y="494015"/>
                      <a:pt x="1490205" y="491834"/>
                    </a:cubicBezTo>
                    <a:cubicBezTo>
                      <a:pt x="1491431" y="488154"/>
                      <a:pt x="1490891" y="484036"/>
                      <a:pt x="1492117" y="480356"/>
                    </a:cubicBezTo>
                    <a:cubicBezTo>
                      <a:pt x="1492844" y="478175"/>
                      <a:pt x="1494709" y="476557"/>
                      <a:pt x="1495943" y="474617"/>
                    </a:cubicBezTo>
                    <a:cubicBezTo>
                      <a:pt x="1499148" y="469580"/>
                      <a:pt x="1506165" y="457252"/>
                      <a:pt x="1511247" y="451662"/>
                    </a:cubicBezTo>
                    <a:cubicBezTo>
                      <a:pt x="1515493" y="446991"/>
                      <a:pt x="1520174" y="442735"/>
                      <a:pt x="1524638" y="438271"/>
                    </a:cubicBezTo>
                    <a:cubicBezTo>
                      <a:pt x="1527826" y="435083"/>
                      <a:pt x="1530451" y="431207"/>
                      <a:pt x="1534203" y="428706"/>
                    </a:cubicBezTo>
                    <a:cubicBezTo>
                      <a:pt x="1542202" y="423374"/>
                      <a:pt x="1545801" y="422058"/>
                      <a:pt x="1551420" y="415315"/>
                    </a:cubicBezTo>
                    <a:cubicBezTo>
                      <a:pt x="1552892" y="413549"/>
                      <a:pt x="1553971" y="411489"/>
                      <a:pt x="1555246" y="409576"/>
                    </a:cubicBezTo>
                    <a:cubicBezTo>
                      <a:pt x="1553333" y="407663"/>
                      <a:pt x="1551979" y="404937"/>
                      <a:pt x="1549507" y="403838"/>
                    </a:cubicBezTo>
                    <a:cubicBezTo>
                      <a:pt x="1548205" y="403259"/>
                      <a:pt x="1524869" y="400061"/>
                      <a:pt x="1524638" y="400012"/>
                    </a:cubicBezTo>
                    <a:cubicBezTo>
                      <a:pt x="1516920" y="398387"/>
                      <a:pt x="1509334" y="396186"/>
                      <a:pt x="1501682" y="394273"/>
                    </a:cubicBezTo>
                    <a:cubicBezTo>
                      <a:pt x="1499131" y="393635"/>
                      <a:pt x="1496608" y="392876"/>
                      <a:pt x="1494030" y="392360"/>
                    </a:cubicBezTo>
                    <a:lnTo>
                      <a:pt x="1484466" y="390447"/>
                    </a:lnTo>
                    <a:cubicBezTo>
                      <a:pt x="1480002" y="388534"/>
                      <a:pt x="1475116" y="387402"/>
                      <a:pt x="1471075" y="384708"/>
                    </a:cubicBezTo>
                    <a:cubicBezTo>
                      <a:pt x="1463401" y="379592"/>
                      <a:pt x="1472116" y="376281"/>
                      <a:pt x="1459597" y="375143"/>
                    </a:cubicBezTo>
                    <a:cubicBezTo>
                      <a:pt x="1441170" y="373468"/>
                      <a:pt x="1422613" y="373868"/>
                      <a:pt x="1404121" y="373230"/>
                    </a:cubicBezTo>
                    <a:cubicBezTo>
                      <a:pt x="1400295" y="371955"/>
                      <a:pt x="1396666" y="369691"/>
                      <a:pt x="1392643" y="369404"/>
                    </a:cubicBezTo>
                    <a:cubicBezTo>
                      <a:pt x="1387515" y="369038"/>
                      <a:pt x="1382263" y="372794"/>
                      <a:pt x="1377339" y="371317"/>
                    </a:cubicBezTo>
                    <a:cubicBezTo>
                      <a:pt x="1374608" y="370498"/>
                      <a:pt x="1374636" y="366286"/>
                      <a:pt x="1373513" y="363665"/>
                    </a:cubicBezTo>
                    <a:cubicBezTo>
                      <a:pt x="1372719" y="361812"/>
                      <a:pt x="1372154" y="359865"/>
                      <a:pt x="1371600" y="357926"/>
                    </a:cubicBezTo>
                    <a:cubicBezTo>
                      <a:pt x="1370878" y="355398"/>
                      <a:pt x="1371012" y="352545"/>
                      <a:pt x="1369687" y="350274"/>
                    </a:cubicBezTo>
                    <a:cubicBezTo>
                      <a:pt x="1366474" y="344766"/>
                      <a:pt x="1362719" y="339480"/>
                      <a:pt x="1358210" y="334971"/>
                    </a:cubicBezTo>
                    <a:cubicBezTo>
                      <a:pt x="1353868" y="330629"/>
                      <a:pt x="1341892" y="323908"/>
                      <a:pt x="1335254" y="323493"/>
                    </a:cubicBezTo>
                    <a:lnTo>
                      <a:pt x="1304646" y="321580"/>
                    </a:lnTo>
                    <a:cubicBezTo>
                      <a:pt x="1302733" y="319029"/>
                      <a:pt x="1301356" y="315969"/>
                      <a:pt x="1298907" y="313928"/>
                    </a:cubicBezTo>
                    <a:cubicBezTo>
                      <a:pt x="1297358" y="312637"/>
                      <a:pt x="1295064" y="312704"/>
                      <a:pt x="1293169" y="312015"/>
                    </a:cubicBezTo>
                    <a:cubicBezTo>
                      <a:pt x="1288049" y="310153"/>
                      <a:pt x="1282812" y="308559"/>
                      <a:pt x="1277865" y="306276"/>
                    </a:cubicBezTo>
                    <a:cubicBezTo>
                      <a:pt x="1274489" y="304718"/>
                      <a:pt x="1271346" y="302669"/>
                      <a:pt x="1268300" y="300537"/>
                    </a:cubicBezTo>
                    <a:cubicBezTo>
                      <a:pt x="1264955" y="298196"/>
                      <a:pt x="1262756" y="293595"/>
                      <a:pt x="1258735" y="292885"/>
                    </a:cubicBezTo>
                    <a:cubicBezTo>
                      <a:pt x="1240481" y="289664"/>
                      <a:pt x="1221751" y="290334"/>
                      <a:pt x="1203259" y="289059"/>
                    </a:cubicBezTo>
                    <a:cubicBezTo>
                      <a:pt x="1200089" y="284303"/>
                      <a:pt x="1197687" y="281214"/>
                      <a:pt x="1195607" y="275669"/>
                    </a:cubicBezTo>
                    <a:cubicBezTo>
                      <a:pt x="1194684" y="273207"/>
                      <a:pt x="1195087" y="270247"/>
                      <a:pt x="1193694" y="268017"/>
                    </a:cubicBezTo>
                    <a:cubicBezTo>
                      <a:pt x="1190381" y="262715"/>
                      <a:pt x="1185242" y="259832"/>
                      <a:pt x="1180303" y="256539"/>
                    </a:cubicBezTo>
                    <a:cubicBezTo>
                      <a:pt x="1171225" y="238383"/>
                      <a:pt x="1176073" y="245798"/>
                      <a:pt x="1166912" y="233583"/>
                    </a:cubicBezTo>
                    <a:cubicBezTo>
                      <a:pt x="1163836" y="219735"/>
                      <a:pt x="1164044" y="205845"/>
                      <a:pt x="1165000" y="197237"/>
                    </a:cubicBezTo>
                    <a:cubicBezTo>
                      <a:pt x="1165956" y="188629"/>
                      <a:pt x="1172332" y="184802"/>
                      <a:pt x="1172651" y="181933"/>
                    </a:cubicBezTo>
                    <a:cubicBezTo>
                      <a:pt x="1172970" y="179064"/>
                      <a:pt x="1168889" y="180415"/>
                      <a:pt x="1166912" y="180020"/>
                    </a:cubicBezTo>
                    <a:cubicBezTo>
                      <a:pt x="1162491" y="179136"/>
                      <a:pt x="1157985" y="178745"/>
                      <a:pt x="1153522" y="178107"/>
                    </a:cubicBezTo>
                    <a:cubicBezTo>
                      <a:pt x="1141314" y="179633"/>
                      <a:pt x="1137719" y="177988"/>
                      <a:pt x="1128653" y="185759"/>
                    </a:cubicBezTo>
                    <a:cubicBezTo>
                      <a:pt x="1126907" y="187255"/>
                      <a:pt x="1126102" y="189585"/>
                      <a:pt x="1124827" y="191498"/>
                    </a:cubicBezTo>
                    <a:cubicBezTo>
                      <a:pt x="1126740" y="192136"/>
                      <a:pt x="1132097" y="192099"/>
                      <a:pt x="1130566" y="193411"/>
                    </a:cubicBezTo>
                    <a:cubicBezTo>
                      <a:pt x="1125153" y="198051"/>
                      <a:pt x="1117626" y="199439"/>
                      <a:pt x="1111436" y="202976"/>
                    </a:cubicBezTo>
                    <a:lnTo>
                      <a:pt x="1098046" y="210628"/>
                    </a:lnTo>
                    <a:cubicBezTo>
                      <a:pt x="1096949" y="209531"/>
                      <a:pt x="1088481" y="201813"/>
                      <a:pt x="1088481" y="199150"/>
                    </a:cubicBezTo>
                    <a:cubicBezTo>
                      <a:pt x="1088481" y="193892"/>
                      <a:pt x="1092307" y="183846"/>
                      <a:pt x="1092307" y="183846"/>
                    </a:cubicBezTo>
                    <a:cubicBezTo>
                      <a:pt x="1092141" y="183127"/>
                      <a:pt x="1089315" y="155568"/>
                      <a:pt x="1080829" y="151325"/>
                    </a:cubicBezTo>
                    <a:cubicBezTo>
                      <a:pt x="1076796" y="149309"/>
                      <a:pt x="1071902" y="150050"/>
                      <a:pt x="1067438" y="149412"/>
                    </a:cubicBezTo>
                    <a:cubicBezTo>
                      <a:pt x="1063612" y="147499"/>
                      <a:pt x="1059908" y="145319"/>
                      <a:pt x="1055960" y="143674"/>
                    </a:cubicBezTo>
                    <a:cubicBezTo>
                      <a:pt x="1052237" y="142123"/>
                      <a:pt x="1044482" y="139848"/>
                      <a:pt x="1044482" y="139848"/>
                    </a:cubicBezTo>
                    <a:cubicBezTo>
                      <a:pt x="1039928" y="133017"/>
                      <a:pt x="1039363" y="131811"/>
                      <a:pt x="1033005" y="124544"/>
                    </a:cubicBezTo>
                    <a:cubicBezTo>
                      <a:pt x="1031224" y="122508"/>
                      <a:pt x="1029344" y="120537"/>
                      <a:pt x="1027266" y="118805"/>
                    </a:cubicBezTo>
                    <a:cubicBezTo>
                      <a:pt x="1025500" y="117333"/>
                      <a:pt x="1023153" y="116605"/>
                      <a:pt x="1021527" y="114979"/>
                    </a:cubicBezTo>
                    <a:cubicBezTo>
                      <a:pt x="1017370" y="110822"/>
                      <a:pt x="1013875" y="106052"/>
                      <a:pt x="1010049" y="101588"/>
                    </a:cubicBezTo>
                    <a:cubicBezTo>
                      <a:pt x="1009411" y="97762"/>
                      <a:pt x="1009251" y="93825"/>
                      <a:pt x="1008136" y="90110"/>
                    </a:cubicBezTo>
                    <a:cubicBezTo>
                      <a:pt x="1006385" y="84274"/>
                      <a:pt x="1002107" y="79522"/>
                      <a:pt x="998571" y="74807"/>
                    </a:cubicBezTo>
                    <a:cubicBezTo>
                      <a:pt x="997933" y="65880"/>
                      <a:pt x="999183" y="56611"/>
                      <a:pt x="996658" y="48025"/>
                    </a:cubicBezTo>
                    <a:cubicBezTo>
                      <a:pt x="995758" y="44966"/>
                      <a:pt x="992151" y="42810"/>
                      <a:pt x="989006" y="42286"/>
                    </a:cubicBezTo>
                    <a:cubicBezTo>
                      <a:pt x="976411" y="40187"/>
                      <a:pt x="963500" y="41011"/>
                      <a:pt x="950747" y="40373"/>
                    </a:cubicBezTo>
                    <a:cubicBezTo>
                      <a:pt x="948196" y="38460"/>
                      <a:pt x="945748" y="36403"/>
                      <a:pt x="943095" y="34634"/>
                    </a:cubicBezTo>
                    <a:cubicBezTo>
                      <a:pt x="920957" y="19875"/>
                      <a:pt x="944942" y="37454"/>
                      <a:pt x="925878" y="23156"/>
                    </a:cubicBezTo>
                    <a:cubicBezTo>
                      <a:pt x="924603" y="19968"/>
                      <a:pt x="923588" y="16663"/>
                      <a:pt x="922052" y="13592"/>
                    </a:cubicBezTo>
                    <a:cubicBezTo>
                      <a:pt x="921024" y="11536"/>
                      <a:pt x="919409" y="9824"/>
                      <a:pt x="918226" y="7853"/>
                    </a:cubicBezTo>
                    <a:cubicBezTo>
                      <a:pt x="917492" y="6630"/>
                      <a:pt x="927791" y="3389"/>
                      <a:pt x="920139" y="211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856" name="Forma libre: forma 45">
                <a:extLst>
                  <a:ext uri="{FF2B5EF4-FFF2-40B4-BE49-F238E27FC236}">
                    <a16:creationId xmlns:a16="http://schemas.microsoft.com/office/drawing/2014/main" id="{97A1969B-F434-429B-9798-352DAA10975C}"/>
                  </a:ext>
                </a:extLst>
              </p:cNvPr>
              <p:cNvSpPr/>
              <p:nvPr/>
            </p:nvSpPr>
            <p:spPr>
              <a:xfrm>
                <a:off x="2676246" y="4881901"/>
                <a:ext cx="24922" cy="19130"/>
              </a:xfrm>
              <a:custGeom>
                <a:avLst/>
                <a:gdLst>
                  <a:gd name="connsiteX0" fmla="*/ 15304 w 24922"/>
                  <a:gd name="connsiteY0" fmla="*/ 5739 h 19130"/>
                  <a:gd name="connsiteX1" fmla="*/ 3826 w 24922"/>
                  <a:gd name="connsiteY1" fmla="*/ 0 h 19130"/>
                  <a:gd name="connsiteX2" fmla="*/ 0 w 24922"/>
                  <a:gd name="connsiteY2" fmla="*/ 5739 h 19130"/>
                  <a:gd name="connsiteX3" fmla="*/ 3826 w 24922"/>
                  <a:gd name="connsiteY3" fmla="*/ 13391 h 19130"/>
                  <a:gd name="connsiteX4" fmla="*/ 19130 w 24922"/>
                  <a:gd name="connsiteY4" fmla="*/ 13391 h 19130"/>
                  <a:gd name="connsiteX5" fmla="*/ 22956 w 24922"/>
                  <a:gd name="connsiteY5" fmla="*/ 19130 h 19130"/>
                  <a:gd name="connsiteX6" fmla="*/ 21043 w 24922"/>
                  <a:gd name="connsiteY6" fmla="*/ 3826 h 19130"/>
                  <a:gd name="connsiteX7" fmla="*/ 15304 w 24922"/>
                  <a:gd name="connsiteY7" fmla="*/ 5739 h 19130"/>
                  <a:gd name="connsiteX8" fmla="*/ 15304 w 24922"/>
                  <a:gd name="connsiteY8" fmla="*/ 5739 h 19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922" h="19130">
                    <a:moveTo>
                      <a:pt x="15304" y="5739"/>
                    </a:moveTo>
                    <a:cubicBezTo>
                      <a:pt x="13391" y="4783"/>
                      <a:pt x="8104" y="0"/>
                      <a:pt x="3826" y="0"/>
                    </a:cubicBezTo>
                    <a:cubicBezTo>
                      <a:pt x="1527" y="0"/>
                      <a:pt x="0" y="3440"/>
                      <a:pt x="0" y="5739"/>
                    </a:cubicBezTo>
                    <a:cubicBezTo>
                      <a:pt x="0" y="8591"/>
                      <a:pt x="2551" y="10840"/>
                      <a:pt x="3826" y="13391"/>
                    </a:cubicBezTo>
                    <a:cubicBezTo>
                      <a:pt x="9711" y="11429"/>
                      <a:pt x="12326" y="9503"/>
                      <a:pt x="19130" y="13391"/>
                    </a:cubicBezTo>
                    <a:cubicBezTo>
                      <a:pt x="21126" y="14532"/>
                      <a:pt x="21681" y="17217"/>
                      <a:pt x="22956" y="19130"/>
                    </a:cubicBezTo>
                    <a:cubicBezTo>
                      <a:pt x="24157" y="14325"/>
                      <a:pt x="27567" y="7740"/>
                      <a:pt x="21043" y="3826"/>
                    </a:cubicBezTo>
                    <a:cubicBezTo>
                      <a:pt x="19314" y="2789"/>
                      <a:pt x="17281" y="5344"/>
                      <a:pt x="15304" y="5739"/>
                    </a:cubicBezTo>
                    <a:lnTo>
                      <a:pt x="15304" y="5739"/>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857" name="Forma libre: forma 46">
                <a:extLst>
                  <a:ext uri="{FF2B5EF4-FFF2-40B4-BE49-F238E27FC236}">
                    <a16:creationId xmlns:a16="http://schemas.microsoft.com/office/drawing/2014/main" id="{F0C1B25E-DF8F-43E4-9B3A-7F6791C93247}"/>
                  </a:ext>
                </a:extLst>
              </p:cNvPr>
              <p:cNvSpPr/>
              <p:nvPr/>
            </p:nvSpPr>
            <p:spPr>
              <a:xfrm>
                <a:off x="4093757" y="5803943"/>
                <a:ext cx="131995" cy="289044"/>
              </a:xfrm>
              <a:custGeom>
                <a:avLst/>
                <a:gdLst>
                  <a:gd name="connsiteX0" fmla="*/ 109040 w 131995"/>
                  <a:gd name="connsiteY0" fmla="*/ 3496 h 292530"/>
                  <a:gd name="connsiteX1" fmla="*/ 107127 w 131995"/>
                  <a:gd name="connsiteY1" fmla="*/ 14974 h 292530"/>
                  <a:gd name="connsiteX2" fmla="*/ 103301 w 131995"/>
                  <a:gd name="connsiteY2" fmla="*/ 47494 h 292530"/>
                  <a:gd name="connsiteX3" fmla="*/ 99475 w 131995"/>
                  <a:gd name="connsiteY3" fmla="*/ 53233 h 292530"/>
                  <a:gd name="connsiteX4" fmla="*/ 97562 w 131995"/>
                  <a:gd name="connsiteY4" fmla="*/ 58972 h 292530"/>
                  <a:gd name="connsiteX5" fmla="*/ 65041 w 131995"/>
                  <a:gd name="connsiteY5" fmla="*/ 58972 h 292530"/>
                  <a:gd name="connsiteX6" fmla="*/ 63128 w 131995"/>
                  <a:gd name="connsiteY6" fmla="*/ 72363 h 292530"/>
                  <a:gd name="connsiteX7" fmla="*/ 57389 w 131995"/>
                  <a:gd name="connsiteY7" fmla="*/ 74276 h 292530"/>
                  <a:gd name="connsiteX8" fmla="*/ 38260 w 131995"/>
                  <a:gd name="connsiteY8" fmla="*/ 76189 h 292530"/>
                  <a:gd name="connsiteX9" fmla="*/ 26782 w 131995"/>
                  <a:gd name="connsiteY9" fmla="*/ 83841 h 292530"/>
                  <a:gd name="connsiteX10" fmla="*/ 24869 w 131995"/>
                  <a:gd name="connsiteY10" fmla="*/ 89580 h 292530"/>
                  <a:gd name="connsiteX11" fmla="*/ 13391 w 131995"/>
                  <a:gd name="connsiteY11" fmla="*/ 97232 h 292530"/>
                  <a:gd name="connsiteX12" fmla="*/ 17217 w 131995"/>
                  <a:gd name="connsiteY12" fmla="*/ 102971 h 292530"/>
                  <a:gd name="connsiteX13" fmla="*/ 11478 w 131995"/>
                  <a:gd name="connsiteY13" fmla="*/ 108710 h 292530"/>
                  <a:gd name="connsiteX14" fmla="*/ 7652 w 131995"/>
                  <a:gd name="connsiteY14" fmla="*/ 114448 h 292530"/>
                  <a:gd name="connsiteX15" fmla="*/ 7652 w 131995"/>
                  <a:gd name="connsiteY15" fmla="*/ 133578 h 292530"/>
                  <a:gd name="connsiteX16" fmla="*/ 15304 w 131995"/>
                  <a:gd name="connsiteY16" fmla="*/ 137404 h 292530"/>
                  <a:gd name="connsiteX17" fmla="*/ 5739 w 131995"/>
                  <a:gd name="connsiteY17" fmla="*/ 148882 h 292530"/>
                  <a:gd name="connsiteX18" fmla="*/ 11478 w 131995"/>
                  <a:gd name="connsiteY18" fmla="*/ 150795 h 292530"/>
                  <a:gd name="connsiteX19" fmla="*/ 21043 w 131995"/>
                  <a:gd name="connsiteY19" fmla="*/ 156534 h 292530"/>
                  <a:gd name="connsiteX20" fmla="*/ 19130 w 131995"/>
                  <a:gd name="connsiteY20" fmla="*/ 164186 h 292530"/>
                  <a:gd name="connsiteX21" fmla="*/ 15304 w 131995"/>
                  <a:gd name="connsiteY21" fmla="*/ 171838 h 292530"/>
                  <a:gd name="connsiteX22" fmla="*/ 19130 w 131995"/>
                  <a:gd name="connsiteY22" fmla="*/ 179489 h 292530"/>
                  <a:gd name="connsiteX23" fmla="*/ 11478 w 131995"/>
                  <a:gd name="connsiteY23" fmla="*/ 181402 h 292530"/>
                  <a:gd name="connsiteX24" fmla="*/ 5739 w 131995"/>
                  <a:gd name="connsiteY24" fmla="*/ 187141 h 292530"/>
                  <a:gd name="connsiteX25" fmla="*/ 0 w 131995"/>
                  <a:gd name="connsiteY25" fmla="*/ 190967 h 292530"/>
                  <a:gd name="connsiteX26" fmla="*/ 3826 w 131995"/>
                  <a:gd name="connsiteY26" fmla="*/ 196706 h 292530"/>
                  <a:gd name="connsiteX27" fmla="*/ 24869 w 131995"/>
                  <a:gd name="connsiteY27" fmla="*/ 206271 h 292530"/>
                  <a:gd name="connsiteX28" fmla="*/ 13391 w 131995"/>
                  <a:gd name="connsiteY28" fmla="*/ 229227 h 292530"/>
                  <a:gd name="connsiteX29" fmla="*/ 22956 w 131995"/>
                  <a:gd name="connsiteY29" fmla="*/ 234966 h 292530"/>
                  <a:gd name="connsiteX30" fmla="*/ 28695 w 131995"/>
                  <a:gd name="connsiteY30" fmla="*/ 238792 h 292530"/>
                  <a:gd name="connsiteX31" fmla="*/ 26782 w 131995"/>
                  <a:gd name="connsiteY31" fmla="*/ 246443 h 292530"/>
                  <a:gd name="connsiteX32" fmla="*/ 22956 w 131995"/>
                  <a:gd name="connsiteY32" fmla="*/ 252182 h 292530"/>
                  <a:gd name="connsiteX33" fmla="*/ 21043 w 131995"/>
                  <a:gd name="connsiteY33" fmla="*/ 265573 h 292530"/>
                  <a:gd name="connsiteX34" fmla="*/ 28695 w 131995"/>
                  <a:gd name="connsiteY34" fmla="*/ 269399 h 292530"/>
                  <a:gd name="connsiteX35" fmla="*/ 34434 w 131995"/>
                  <a:gd name="connsiteY35" fmla="*/ 273225 h 292530"/>
                  <a:gd name="connsiteX36" fmla="*/ 51651 w 131995"/>
                  <a:gd name="connsiteY36" fmla="*/ 275138 h 292530"/>
                  <a:gd name="connsiteX37" fmla="*/ 74606 w 131995"/>
                  <a:gd name="connsiteY37" fmla="*/ 284703 h 292530"/>
                  <a:gd name="connsiteX38" fmla="*/ 86084 w 131995"/>
                  <a:gd name="connsiteY38" fmla="*/ 288529 h 292530"/>
                  <a:gd name="connsiteX39" fmla="*/ 84171 w 131995"/>
                  <a:gd name="connsiteY39" fmla="*/ 277051 h 292530"/>
                  <a:gd name="connsiteX40" fmla="*/ 86084 w 131995"/>
                  <a:gd name="connsiteY40" fmla="*/ 271312 h 292530"/>
                  <a:gd name="connsiteX41" fmla="*/ 91823 w 131995"/>
                  <a:gd name="connsiteY41" fmla="*/ 269399 h 292530"/>
                  <a:gd name="connsiteX42" fmla="*/ 101388 w 131995"/>
                  <a:gd name="connsiteY42" fmla="*/ 267486 h 292530"/>
                  <a:gd name="connsiteX43" fmla="*/ 103301 w 131995"/>
                  <a:gd name="connsiteY43" fmla="*/ 261747 h 292530"/>
                  <a:gd name="connsiteX44" fmla="*/ 105214 w 131995"/>
                  <a:gd name="connsiteY44" fmla="*/ 254095 h 292530"/>
                  <a:gd name="connsiteX45" fmla="*/ 116692 w 131995"/>
                  <a:gd name="connsiteY45" fmla="*/ 242617 h 292530"/>
                  <a:gd name="connsiteX46" fmla="*/ 109040 w 131995"/>
                  <a:gd name="connsiteY46" fmla="*/ 227314 h 292530"/>
                  <a:gd name="connsiteX47" fmla="*/ 107127 w 131995"/>
                  <a:gd name="connsiteY47" fmla="*/ 219662 h 292530"/>
                  <a:gd name="connsiteX48" fmla="*/ 105214 w 131995"/>
                  <a:gd name="connsiteY48" fmla="*/ 196706 h 292530"/>
                  <a:gd name="connsiteX49" fmla="*/ 107127 w 131995"/>
                  <a:gd name="connsiteY49" fmla="*/ 183315 h 292530"/>
                  <a:gd name="connsiteX50" fmla="*/ 116692 w 131995"/>
                  <a:gd name="connsiteY50" fmla="*/ 168012 h 292530"/>
                  <a:gd name="connsiteX51" fmla="*/ 122430 w 131995"/>
                  <a:gd name="connsiteY51" fmla="*/ 164186 h 292530"/>
                  <a:gd name="connsiteX52" fmla="*/ 126256 w 131995"/>
                  <a:gd name="connsiteY52" fmla="*/ 158447 h 292530"/>
                  <a:gd name="connsiteX53" fmla="*/ 131995 w 131995"/>
                  <a:gd name="connsiteY53" fmla="*/ 141230 h 292530"/>
                  <a:gd name="connsiteX54" fmla="*/ 128169 w 131995"/>
                  <a:gd name="connsiteY54" fmla="*/ 99145 h 292530"/>
                  <a:gd name="connsiteX55" fmla="*/ 122430 w 131995"/>
                  <a:gd name="connsiteY55" fmla="*/ 87667 h 292530"/>
                  <a:gd name="connsiteX56" fmla="*/ 120517 w 131995"/>
                  <a:gd name="connsiteY56" fmla="*/ 81928 h 292530"/>
                  <a:gd name="connsiteX57" fmla="*/ 109040 w 131995"/>
                  <a:gd name="connsiteY57" fmla="*/ 3496 h 292530"/>
                  <a:gd name="connsiteX0" fmla="*/ 109040 w 131995"/>
                  <a:gd name="connsiteY0" fmla="*/ 10 h 289044"/>
                  <a:gd name="connsiteX1" fmla="*/ 107127 w 131995"/>
                  <a:gd name="connsiteY1" fmla="*/ 11488 h 289044"/>
                  <a:gd name="connsiteX2" fmla="*/ 103301 w 131995"/>
                  <a:gd name="connsiteY2" fmla="*/ 44008 h 289044"/>
                  <a:gd name="connsiteX3" fmla="*/ 99475 w 131995"/>
                  <a:gd name="connsiteY3" fmla="*/ 49747 h 289044"/>
                  <a:gd name="connsiteX4" fmla="*/ 97562 w 131995"/>
                  <a:gd name="connsiteY4" fmla="*/ 55486 h 289044"/>
                  <a:gd name="connsiteX5" fmla="*/ 65041 w 131995"/>
                  <a:gd name="connsiteY5" fmla="*/ 55486 h 289044"/>
                  <a:gd name="connsiteX6" fmla="*/ 63128 w 131995"/>
                  <a:gd name="connsiteY6" fmla="*/ 68877 h 289044"/>
                  <a:gd name="connsiteX7" fmla="*/ 57389 w 131995"/>
                  <a:gd name="connsiteY7" fmla="*/ 70790 h 289044"/>
                  <a:gd name="connsiteX8" fmla="*/ 38260 w 131995"/>
                  <a:gd name="connsiteY8" fmla="*/ 72703 h 289044"/>
                  <a:gd name="connsiteX9" fmla="*/ 26782 w 131995"/>
                  <a:gd name="connsiteY9" fmla="*/ 80355 h 289044"/>
                  <a:gd name="connsiteX10" fmla="*/ 24869 w 131995"/>
                  <a:gd name="connsiteY10" fmla="*/ 86094 h 289044"/>
                  <a:gd name="connsiteX11" fmla="*/ 13391 w 131995"/>
                  <a:gd name="connsiteY11" fmla="*/ 93746 h 289044"/>
                  <a:gd name="connsiteX12" fmla="*/ 17217 w 131995"/>
                  <a:gd name="connsiteY12" fmla="*/ 99485 h 289044"/>
                  <a:gd name="connsiteX13" fmla="*/ 11478 w 131995"/>
                  <a:gd name="connsiteY13" fmla="*/ 105224 h 289044"/>
                  <a:gd name="connsiteX14" fmla="*/ 7652 w 131995"/>
                  <a:gd name="connsiteY14" fmla="*/ 110962 h 289044"/>
                  <a:gd name="connsiteX15" fmla="*/ 7652 w 131995"/>
                  <a:gd name="connsiteY15" fmla="*/ 130092 h 289044"/>
                  <a:gd name="connsiteX16" fmla="*/ 15304 w 131995"/>
                  <a:gd name="connsiteY16" fmla="*/ 133918 h 289044"/>
                  <a:gd name="connsiteX17" fmla="*/ 5739 w 131995"/>
                  <a:gd name="connsiteY17" fmla="*/ 145396 h 289044"/>
                  <a:gd name="connsiteX18" fmla="*/ 11478 w 131995"/>
                  <a:gd name="connsiteY18" fmla="*/ 147309 h 289044"/>
                  <a:gd name="connsiteX19" fmla="*/ 21043 w 131995"/>
                  <a:gd name="connsiteY19" fmla="*/ 153048 h 289044"/>
                  <a:gd name="connsiteX20" fmla="*/ 19130 w 131995"/>
                  <a:gd name="connsiteY20" fmla="*/ 160700 h 289044"/>
                  <a:gd name="connsiteX21" fmla="*/ 15304 w 131995"/>
                  <a:gd name="connsiteY21" fmla="*/ 168352 h 289044"/>
                  <a:gd name="connsiteX22" fmla="*/ 19130 w 131995"/>
                  <a:gd name="connsiteY22" fmla="*/ 176003 h 289044"/>
                  <a:gd name="connsiteX23" fmla="*/ 11478 w 131995"/>
                  <a:gd name="connsiteY23" fmla="*/ 177916 h 289044"/>
                  <a:gd name="connsiteX24" fmla="*/ 5739 w 131995"/>
                  <a:gd name="connsiteY24" fmla="*/ 183655 h 289044"/>
                  <a:gd name="connsiteX25" fmla="*/ 0 w 131995"/>
                  <a:gd name="connsiteY25" fmla="*/ 187481 h 289044"/>
                  <a:gd name="connsiteX26" fmla="*/ 3826 w 131995"/>
                  <a:gd name="connsiteY26" fmla="*/ 193220 h 289044"/>
                  <a:gd name="connsiteX27" fmla="*/ 24869 w 131995"/>
                  <a:gd name="connsiteY27" fmla="*/ 202785 h 289044"/>
                  <a:gd name="connsiteX28" fmla="*/ 13391 w 131995"/>
                  <a:gd name="connsiteY28" fmla="*/ 225741 h 289044"/>
                  <a:gd name="connsiteX29" fmla="*/ 22956 w 131995"/>
                  <a:gd name="connsiteY29" fmla="*/ 231480 h 289044"/>
                  <a:gd name="connsiteX30" fmla="*/ 28695 w 131995"/>
                  <a:gd name="connsiteY30" fmla="*/ 235306 h 289044"/>
                  <a:gd name="connsiteX31" fmla="*/ 26782 w 131995"/>
                  <a:gd name="connsiteY31" fmla="*/ 242957 h 289044"/>
                  <a:gd name="connsiteX32" fmla="*/ 22956 w 131995"/>
                  <a:gd name="connsiteY32" fmla="*/ 248696 h 289044"/>
                  <a:gd name="connsiteX33" fmla="*/ 21043 w 131995"/>
                  <a:gd name="connsiteY33" fmla="*/ 262087 h 289044"/>
                  <a:gd name="connsiteX34" fmla="*/ 28695 w 131995"/>
                  <a:gd name="connsiteY34" fmla="*/ 265913 h 289044"/>
                  <a:gd name="connsiteX35" fmla="*/ 34434 w 131995"/>
                  <a:gd name="connsiteY35" fmla="*/ 269739 h 289044"/>
                  <a:gd name="connsiteX36" fmla="*/ 51651 w 131995"/>
                  <a:gd name="connsiteY36" fmla="*/ 271652 h 289044"/>
                  <a:gd name="connsiteX37" fmla="*/ 74606 w 131995"/>
                  <a:gd name="connsiteY37" fmla="*/ 281217 h 289044"/>
                  <a:gd name="connsiteX38" fmla="*/ 86084 w 131995"/>
                  <a:gd name="connsiteY38" fmla="*/ 285043 h 289044"/>
                  <a:gd name="connsiteX39" fmla="*/ 84171 w 131995"/>
                  <a:gd name="connsiteY39" fmla="*/ 273565 h 289044"/>
                  <a:gd name="connsiteX40" fmla="*/ 86084 w 131995"/>
                  <a:gd name="connsiteY40" fmla="*/ 267826 h 289044"/>
                  <a:gd name="connsiteX41" fmla="*/ 91823 w 131995"/>
                  <a:gd name="connsiteY41" fmla="*/ 265913 h 289044"/>
                  <a:gd name="connsiteX42" fmla="*/ 101388 w 131995"/>
                  <a:gd name="connsiteY42" fmla="*/ 264000 h 289044"/>
                  <a:gd name="connsiteX43" fmla="*/ 103301 w 131995"/>
                  <a:gd name="connsiteY43" fmla="*/ 258261 h 289044"/>
                  <a:gd name="connsiteX44" fmla="*/ 105214 w 131995"/>
                  <a:gd name="connsiteY44" fmla="*/ 250609 h 289044"/>
                  <a:gd name="connsiteX45" fmla="*/ 116692 w 131995"/>
                  <a:gd name="connsiteY45" fmla="*/ 239131 h 289044"/>
                  <a:gd name="connsiteX46" fmla="*/ 109040 w 131995"/>
                  <a:gd name="connsiteY46" fmla="*/ 223828 h 289044"/>
                  <a:gd name="connsiteX47" fmla="*/ 107127 w 131995"/>
                  <a:gd name="connsiteY47" fmla="*/ 216176 h 289044"/>
                  <a:gd name="connsiteX48" fmla="*/ 105214 w 131995"/>
                  <a:gd name="connsiteY48" fmla="*/ 193220 h 289044"/>
                  <a:gd name="connsiteX49" fmla="*/ 107127 w 131995"/>
                  <a:gd name="connsiteY49" fmla="*/ 179829 h 289044"/>
                  <a:gd name="connsiteX50" fmla="*/ 116692 w 131995"/>
                  <a:gd name="connsiteY50" fmla="*/ 164526 h 289044"/>
                  <a:gd name="connsiteX51" fmla="*/ 122430 w 131995"/>
                  <a:gd name="connsiteY51" fmla="*/ 160700 h 289044"/>
                  <a:gd name="connsiteX52" fmla="*/ 126256 w 131995"/>
                  <a:gd name="connsiteY52" fmla="*/ 154961 h 289044"/>
                  <a:gd name="connsiteX53" fmla="*/ 131995 w 131995"/>
                  <a:gd name="connsiteY53" fmla="*/ 137744 h 289044"/>
                  <a:gd name="connsiteX54" fmla="*/ 128169 w 131995"/>
                  <a:gd name="connsiteY54" fmla="*/ 95659 h 289044"/>
                  <a:gd name="connsiteX55" fmla="*/ 122430 w 131995"/>
                  <a:gd name="connsiteY55" fmla="*/ 84181 h 289044"/>
                  <a:gd name="connsiteX56" fmla="*/ 120517 w 131995"/>
                  <a:gd name="connsiteY56" fmla="*/ 78442 h 289044"/>
                  <a:gd name="connsiteX57" fmla="*/ 118674 w 131995"/>
                  <a:gd name="connsiteY57" fmla="*/ 13451 h 289044"/>
                  <a:gd name="connsiteX58" fmla="*/ 109040 w 131995"/>
                  <a:gd name="connsiteY58" fmla="*/ 10 h 2890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131995" h="289044">
                    <a:moveTo>
                      <a:pt x="109040" y="10"/>
                    </a:moveTo>
                    <a:cubicBezTo>
                      <a:pt x="107116" y="-317"/>
                      <a:pt x="107555" y="7633"/>
                      <a:pt x="107127" y="11488"/>
                    </a:cubicBezTo>
                    <a:cubicBezTo>
                      <a:pt x="106884" y="13671"/>
                      <a:pt x="105898" y="37082"/>
                      <a:pt x="103301" y="44008"/>
                    </a:cubicBezTo>
                    <a:cubicBezTo>
                      <a:pt x="102494" y="46161"/>
                      <a:pt x="100503" y="47691"/>
                      <a:pt x="99475" y="49747"/>
                    </a:cubicBezTo>
                    <a:cubicBezTo>
                      <a:pt x="98573" y="51551"/>
                      <a:pt x="98200" y="53573"/>
                      <a:pt x="97562" y="55486"/>
                    </a:cubicBezTo>
                    <a:cubicBezTo>
                      <a:pt x="86741" y="51879"/>
                      <a:pt x="76934" y="46566"/>
                      <a:pt x="65041" y="55486"/>
                    </a:cubicBezTo>
                    <a:cubicBezTo>
                      <a:pt x="61434" y="58191"/>
                      <a:pt x="65144" y="64844"/>
                      <a:pt x="63128" y="68877"/>
                    </a:cubicBezTo>
                    <a:cubicBezTo>
                      <a:pt x="62226" y="70681"/>
                      <a:pt x="59382" y="70483"/>
                      <a:pt x="57389" y="70790"/>
                    </a:cubicBezTo>
                    <a:cubicBezTo>
                      <a:pt x="51055" y="71764"/>
                      <a:pt x="44636" y="72065"/>
                      <a:pt x="38260" y="72703"/>
                    </a:cubicBezTo>
                    <a:cubicBezTo>
                      <a:pt x="26185" y="90815"/>
                      <a:pt x="44429" y="66237"/>
                      <a:pt x="26782" y="80355"/>
                    </a:cubicBezTo>
                    <a:cubicBezTo>
                      <a:pt x="25207" y="81615"/>
                      <a:pt x="26295" y="84668"/>
                      <a:pt x="24869" y="86094"/>
                    </a:cubicBezTo>
                    <a:cubicBezTo>
                      <a:pt x="21618" y="89345"/>
                      <a:pt x="17217" y="91195"/>
                      <a:pt x="13391" y="93746"/>
                    </a:cubicBezTo>
                    <a:cubicBezTo>
                      <a:pt x="14666" y="95659"/>
                      <a:pt x="17595" y="97217"/>
                      <a:pt x="17217" y="99485"/>
                    </a:cubicBezTo>
                    <a:cubicBezTo>
                      <a:pt x="16772" y="102154"/>
                      <a:pt x="13210" y="103146"/>
                      <a:pt x="11478" y="105224"/>
                    </a:cubicBezTo>
                    <a:cubicBezTo>
                      <a:pt x="10006" y="106990"/>
                      <a:pt x="8927" y="109049"/>
                      <a:pt x="7652" y="110962"/>
                    </a:cubicBezTo>
                    <a:cubicBezTo>
                      <a:pt x="5378" y="117784"/>
                      <a:pt x="3072" y="121849"/>
                      <a:pt x="7652" y="130092"/>
                    </a:cubicBezTo>
                    <a:cubicBezTo>
                      <a:pt x="9037" y="132585"/>
                      <a:pt x="12753" y="132643"/>
                      <a:pt x="15304" y="133918"/>
                    </a:cubicBezTo>
                    <a:cubicBezTo>
                      <a:pt x="12116" y="137744"/>
                      <a:pt x="7107" y="140607"/>
                      <a:pt x="5739" y="145396"/>
                    </a:cubicBezTo>
                    <a:cubicBezTo>
                      <a:pt x="5185" y="147335"/>
                      <a:pt x="9674" y="146407"/>
                      <a:pt x="11478" y="147309"/>
                    </a:cubicBezTo>
                    <a:cubicBezTo>
                      <a:pt x="14804" y="148972"/>
                      <a:pt x="17855" y="151135"/>
                      <a:pt x="21043" y="153048"/>
                    </a:cubicBezTo>
                    <a:cubicBezTo>
                      <a:pt x="20405" y="155599"/>
                      <a:pt x="21269" y="159172"/>
                      <a:pt x="19130" y="160700"/>
                    </a:cubicBezTo>
                    <a:cubicBezTo>
                      <a:pt x="9976" y="167239"/>
                      <a:pt x="54" y="156914"/>
                      <a:pt x="15304" y="168352"/>
                    </a:cubicBezTo>
                    <a:cubicBezTo>
                      <a:pt x="16579" y="170902"/>
                      <a:pt x="20189" y="173356"/>
                      <a:pt x="19130" y="176003"/>
                    </a:cubicBezTo>
                    <a:cubicBezTo>
                      <a:pt x="18153" y="178444"/>
                      <a:pt x="13761" y="176612"/>
                      <a:pt x="11478" y="177916"/>
                    </a:cubicBezTo>
                    <a:cubicBezTo>
                      <a:pt x="9129" y="179258"/>
                      <a:pt x="7817" y="181923"/>
                      <a:pt x="5739" y="183655"/>
                    </a:cubicBezTo>
                    <a:cubicBezTo>
                      <a:pt x="3973" y="185127"/>
                      <a:pt x="1913" y="186206"/>
                      <a:pt x="0" y="187481"/>
                    </a:cubicBezTo>
                    <a:cubicBezTo>
                      <a:pt x="1275" y="189394"/>
                      <a:pt x="2096" y="191706"/>
                      <a:pt x="3826" y="193220"/>
                    </a:cubicBezTo>
                    <a:cubicBezTo>
                      <a:pt x="13632" y="201800"/>
                      <a:pt x="13890" y="200589"/>
                      <a:pt x="24869" y="202785"/>
                    </a:cubicBezTo>
                    <a:cubicBezTo>
                      <a:pt x="17108" y="208994"/>
                      <a:pt x="8484" y="212247"/>
                      <a:pt x="13391" y="225741"/>
                    </a:cubicBezTo>
                    <a:cubicBezTo>
                      <a:pt x="14662" y="229235"/>
                      <a:pt x="19803" y="229509"/>
                      <a:pt x="22956" y="231480"/>
                    </a:cubicBezTo>
                    <a:cubicBezTo>
                      <a:pt x="24906" y="232699"/>
                      <a:pt x="26782" y="234031"/>
                      <a:pt x="28695" y="235306"/>
                    </a:cubicBezTo>
                    <a:cubicBezTo>
                      <a:pt x="28057" y="237856"/>
                      <a:pt x="27818" y="240541"/>
                      <a:pt x="26782" y="242957"/>
                    </a:cubicBezTo>
                    <a:cubicBezTo>
                      <a:pt x="25876" y="245070"/>
                      <a:pt x="23617" y="246494"/>
                      <a:pt x="22956" y="248696"/>
                    </a:cubicBezTo>
                    <a:cubicBezTo>
                      <a:pt x="21660" y="253015"/>
                      <a:pt x="21681" y="257623"/>
                      <a:pt x="21043" y="262087"/>
                    </a:cubicBezTo>
                    <a:cubicBezTo>
                      <a:pt x="23594" y="263362"/>
                      <a:pt x="26219" y="264498"/>
                      <a:pt x="28695" y="265913"/>
                    </a:cubicBezTo>
                    <a:cubicBezTo>
                      <a:pt x="30691" y="267054"/>
                      <a:pt x="32204" y="269181"/>
                      <a:pt x="34434" y="269739"/>
                    </a:cubicBezTo>
                    <a:cubicBezTo>
                      <a:pt x="40036" y="271139"/>
                      <a:pt x="45912" y="271014"/>
                      <a:pt x="51651" y="271652"/>
                    </a:cubicBezTo>
                    <a:cubicBezTo>
                      <a:pt x="69306" y="280480"/>
                      <a:pt x="61421" y="277921"/>
                      <a:pt x="74606" y="281217"/>
                    </a:cubicBezTo>
                    <a:cubicBezTo>
                      <a:pt x="75194" y="282098"/>
                      <a:pt x="81572" y="295570"/>
                      <a:pt x="86084" y="285043"/>
                    </a:cubicBezTo>
                    <a:cubicBezTo>
                      <a:pt x="87612" y="281478"/>
                      <a:pt x="84809" y="277391"/>
                      <a:pt x="84171" y="273565"/>
                    </a:cubicBezTo>
                    <a:cubicBezTo>
                      <a:pt x="84809" y="271652"/>
                      <a:pt x="84658" y="269252"/>
                      <a:pt x="86084" y="267826"/>
                    </a:cubicBezTo>
                    <a:cubicBezTo>
                      <a:pt x="87510" y="266400"/>
                      <a:pt x="89867" y="266402"/>
                      <a:pt x="91823" y="265913"/>
                    </a:cubicBezTo>
                    <a:cubicBezTo>
                      <a:pt x="94977" y="265124"/>
                      <a:pt x="98200" y="264638"/>
                      <a:pt x="101388" y="264000"/>
                    </a:cubicBezTo>
                    <a:cubicBezTo>
                      <a:pt x="102026" y="262087"/>
                      <a:pt x="102747" y="260200"/>
                      <a:pt x="103301" y="258261"/>
                    </a:cubicBezTo>
                    <a:cubicBezTo>
                      <a:pt x="104023" y="255733"/>
                      <a:pt x="103706" y="252763"/>
                      <a:pt x="105214" y="250609"/>
                    </a:cubicBezTo>
                    <a:cubicBezTo>
                      <a:pt x="108317" y="246176"/>
                      <a:pt x="116692" y="239131"/>
                      <a:pt x="116692" y="239131"/>
                    </a:cubicBezTo>
                    <a:cubicBezTo>
                      <a:pt x="111994" y="220343"/>
                      <a:pt x="118796" y="243339"/>
                      <a:pt x="109040" y="223828"/>
                    </a:cubicBezTo>
                    <a:cubicBezTo>
                      <a:pt x="107864" y="221476"/>
                      <a:pt x="107765" y="218727"/>
                      <a:pt x="107127" y="216176"/>
                    </a:cubicBezTo>
                    <a:cubicBezTo>
                      <a:pt x="106489" y="208524"/>
                      <a:pt x="105214" y="200899"/>
                      <a:pt x="105214" y="193220"/>
                    </a:cubicBezTo>
                    <a:cubicBezTo>
                      <a:pt x="105214" y="188711"/>
                      <a:pt x="105941" y="184179"/>
                      <a:pt x="107127" y="179829"/>
                    </a:cubicBezTo>
                    <a:cubicBezTo>
                      <a:pt x="108263" y="175663"/>
                      <a:pt x="113844" y="167374"/>
                      <a:pt x="116692" y="164526"/>
                    </a:cubicBezTo>
                    <a:cubicBezTo>
                      <a:pt x="118317" y="162900"/>
                      <a:pt x="120517" y="161975"/>
                      <a:pt x="122430" y="160700"/>
                    </a:cubicBezTo>
                    <a:cubicBezTo>
                      <a:pt x="123705" y="158787"/>
                      <a:pt x="125372" y="157083"/>
                      <a:pt x="126256" y="154961"/>
                    </a:cubicBezTo>
                    <a:cubicBezTo>
                      <a:pt x="128583" y="149377"/>
                      <a:pt x="131995" y="137744"/>
                      <a:pt x="131995" y="137744"/>
                    </a:cubicBezTo>
                    <a:cubicBezTo>
                      <a:pt x="130930" y="119633"/>
                      <a:pt x="131901" y="110585"/>
                      <a:pt x="128169" y="95659"/>
                    </a:cubicBezTo>
                    <a:cubicBezTo>
                      <a:pt x="125765" y="86042"/>
                      <a:pt x="127106" y="93532"/>
                      <a:pt x="122430" y="84181"/>
                    </a:cubicBezTo>
                    <a:cubicBezTo>
                      <a:pt x="121528" y="82377"/>
                      <a:pt x="121155" y="80355"/>
                      <a:pt x="120517" y="78442"/>
                    </a:cubicBezTo>
                    <a:cubicBezTo>
                      <a:pt x="120288" y="70622"/>
                      <a:pt x="120587" y="26523"/>
                      <a:pt x="118674" y="13451"/>
                    </a:cubicBezTo>
                    <a:cubicBezTo>
                      <a:pt x="116761" y="379"/>
                      <a:pt x="110964" y="337"/>
                      <a:pt x="109040" y="1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grpSp>
        <p:sp>
          <p:nvSpPr>
            <p:cNvPr id="316" name="Freeform: Shape 315">
              <a:extLst>
                <a:ext uri="{FF2B5EF4-FFF2-40B4-BE49-F238E27FC236}">
                  <a16:creationId xmlns:a16="http://schemas.microsoft.com/office/drawing/2014/main" id="{408E4AD7-1406-4038-B73B-07B6B535E6ED}"/>
                </a:ext>
              </a:extLst>
            </p:cNvPr>
            <p:cNvSpPr/>
            <p:nvPr/>
          </p:nvSpPr>
          <p:spPr>
            <a:xfrm>
              <a:off x="4286005" y="5256727"/>
              <a:ext cx="551161" cy="918991"/>
            </a:xfrm>
            <a:custGeom>
              <a:avLst/>
              <a:gdLst>
                <a:gd name="connsiteX0" fmla="*/ 215152 w 551161"/>
                <a:gd name="connsiteY0" fmla="*/ 38182 h 918991"/>
                <a:gd name="connsiteX1" fmla="*/ 227058 w 551161"/>
                <a:gd name="connsiteY1" fmla="*/ 31039 h 918991"/>
                <a:gd name="connsiteX2" fmla="*/ 241345 w 551161"/>
                <a:gd name="connsiteY2" fmla="*/ 26276 h 918991"/>
                <a:gd name="connsiteX3" fmla="*/ 248489 w 551161"/>
                <a:gd name="connsiteY3" fmla="*/ 19132 h 918991"/>
                <a:gd name="connsiteX4" fmla="*/ 262777 w 551161"/>
                <a:gd name="connsiteY4" fmla="*/ 14370 h 918991"/>
                <a:gd name="connsiteX5" fmla="*/ 269920 w 551161"/>
                <a:gd name="connsiteY5" fmla="*/ 9607 h 918991"/>
                <a:gd name="connsiteX6" fmla="*/ 279445 w 551161"/>
                <a:gd name="connsiteY6" fmla="*/ 7226 h 918991"/>
                <a:gd name="connsiteX7" fmla="*/ 286589 w 551161"/>
                <a:gd name="connsiteY7" fmla="*/ 4845 h 918991"/>
                <a:gd name="connsiteX8" fmla="*/ 293733 w 551161"/>
                <a:gd name="connsiteY8" fmla="*/ 82 h 918991"/>
                <a:gd name="connsiteX9" fmla="*/ 305639 w 551161"/>
                <a:gd name="connsiteY9" fmla="*/ 2464 h 918991"/>
                <a:gd name="connsiteX10" fmla="*/ 319927 w 551161"/>
                <a:gd name="connsiteY10" fmla="*/ 9607 h 918991"/>
                <a:gd name="connsiteX11" fmla="*/ 322308 w 551161"/>
                <a:gd name="connsiteY11" fmla="*/ 16751 h 918991"/>
                <a:gd name="connsiteX12" fmla="*/ 315164 w 551161"/>
                <a:gd name="connsiteY12" fmla="*/ 35801 h 918991"/>
                <a:gd name="connsiteX13" fmla="*/ 308020 w 551161"/>
                <a:gd name="connsiteY13" fmla="*/ 42945 h 918991"/>
                <a:gd name="connsiteX14" fmla="*/ 303258 w 551161"/>
                <a:gd name="connsiteY14" fmla="*/ 50089 h 918991"/>
                <a:gd name="connsiteX15" fmla="*/ 305639 w 551161"/>
                <a:gd name="connsiteY15" fmla="*/ 59614 h 918991"/>
                <a:gd name="connsiteX16" fmla="*/ 312783 w 551161"/>
                <a:gd name="connsiteY16" fmla="*/ 61995 h 918991"/>
                <a:gd name="connsiteX17" fmla="*/ 331833 w 551161"/>
                <a:gd name="connsiteY17" fmla="*/ 64376 h 918991"/>
                <a:gd name="connsiteX18" fmla="*/ 369933 w 551161"/>
                <a:gd name="connsiteY18" fmla="*/ 66757 h 918991"/>
                <a:gd name="connsiteX19" fmla="*/ 379458 w 551161"/>
                <a:gd name="connsiteY19" fmla="*/ 81045 h 918991"/>
                <a:gd name="connsiteX20" fmla="*/ 400889 w 551161"/>
                <a:gd name="connsiteY20" fmla="*/ 92951 h 918991"/>
                <a:gd name="connsiteX21" fmla="*/ 424702 w 551161"/>
                <a:gd name="connsiteY21" fmla="*/ 90570 h 918991"/>
                <a:gd name="connsiteX22" fmla="*/ 431845 w 551161"/>
                <a:gd name="connsiteY22" fmla="*/ 83426 h 918991"/>
                <a:gd name="connsiteX23" fmla="*/ 441370 w 551161"/>
                <a:gd name="connsiteY23" fmla="*/ 69139 h 918991"/>
                <a:gd name="connsiteX24" fmla="*/ 460420 w 551161"/>
                <a:gd name="connsiteY24" fmla="*/ 73901 h 918991"/>
                <a:gd name="connsiteX25" fmla="*/ 472327 w 551161"/>
                <a:gd name="connsiteY25" fmla="*/ 83426 h 918991"/>
                <a:gd name="connsiteX26" fmla="*/ 515189 w 551161"/>
                <a:gd name="connsiteY26" fmla="*/ 97714 h 918991"/>
                <a:gd name="connsiteX27" fmla="*/ 519952 w 551161"/>
                <a:gd name="connsiteY27" fmla="*/ 112001 h 918991"/>
                <a:gd name="connsiteX28" fmla="*/ 519952 w 551161"/>
                <a:gd name="connsiteY28" fmla="*/ 147720 h 918991"/>
                <a:gd name="connsiteX29" fmla="*/ 527095 w 551161"/>
                <a:gd name="connsiteY29" fmla="*/ 150101 h 918991"/>
                <a:gd name="connsiteX30" fmla="*/ 546145 w 551161"/>
                <a:gd name="connsiteY30" fmla="*/ 152482 h 918991"/>
                <a:gd name="connsiteX31" fmla="*/ 550908 w 551161"/>
                <a:gd name="connsiteY31" fmla="*/ 159626 h 918991"/>
                <a:gd name="connsiteX32" fmla="*/ 543764 w 551161"/>
                <a:gd name="connsiteY32" fmla="*/ 181057 h 918991"/>
                <a:gd name="connsiteX33" fmla="*/ 536620 w 551161"/>
                <a:gd name="connsiteY33" fmla="*/ 195345 h 918991"/>
                <a:gd name="connsiteX34" fmla="*/ 522333 w 551161"/>
                <a:gd name="connsiteY34" fmla="*/ 197726 h 918991"/>
                <a:gd name="connsiteX35" fmla="*/ 515189 w 551161"/>
                <a:gd name="connsiteY35" fmla="*/ 200107 h 918991"/>
                <a:gd name="connsiteX36" fmla="*/ 508045 w 551161"/>
                <a:gd name="connsiteY36" fmla="*/ 204870 h 918991"/>
                <a:gd name="connsiteX37" fmla="*/ 500902 w 551161"/>
                <a:gd name="connsiteY37" fmla="*/ 212014 h 918991"/>
                <a:gd name="connsiteX38" fmla="*/ 491377 w 551161"/>
                <a:gd name="connsiteY38" fmla="*/ 214395 h 918991"/>
                <a:gd name="connsiteX39" fmla="*/ 477089 w 551161"/>
                <a:gd name="connsiteY39" fmla="*/ 219157 h 918991"/>
                <a:gd name="connsiteX40" fmla="*/ 469945 w 551161"/>
                <a:gd name="connsiteY40" fmla="*/ 223920 h 918991"/>
                <a:gd name="connsiteX41" fmla="*/ 462802 w 551161"/>
                <a:gd name="connsiteY41" fmla="*/ 226301 h 918991"/>
                <a:gd name="connsiteX42" fmla="*/ 455658 w 551161"/>
                <a:gd name="connsiteY42" fmla="*/ 233445 h 918991"/>
                <a:gd name="connsiteX43" fmla="*/ 448514 w 551161"/>
                <a:gd name="connsiteY43" fmla="*/ 238207 h 918991"/>
                <a:gd name="connsiteX44" fmla="*/ 446133 w 551161"/>
                <a:gd name="connsiteY44" fmla="*/ 245351 h 918991"/>
                <a:gd name="connsiteX45" fmla="*/ 443752 w 551161"/>
                <a:gd name="connsiteY45" fmla="*/ 254876 h 918991"/>
                <a:gd name="connsiteX46" fmla="*/ 448514 w 551161"/>
                <a:gd name="connsiteY46" fmla="*/ 269164 h 918991"/>
                <a:gd name="connsiteX47" fmla="*/ 446133 w 551161"/>
                <a:gd name="connsiteY47" fmla="*/ 281070 h 918991"/>
                <a:gd name="connsiteX48" fmla="*/ 443752 w 551161"/>
                <a:gd name="connsiteY48" fmla="*/ 288214 h 918991"/>
                <a:gd name="connsiteX49" fmla="*/ 441370 w 551161"/>
                <a:gd name="connsiteY49" fmla="*/ 300120 h 918991"/>
                <a:gd name="connsiteX50" fmla="*/ 436608 w 551161"/>
                <a:gd name="connsiteY50" fmla="*/ 314407 h 918991"/>
                <a:gd name="connsiteX51" fmla="*/ 436608 w 551161"/>
                <a:gd name="connsiteY51" fmla="*/ 342982 h 918991"/>
                <a:gd name="connsiteX52" fmla="*/ 427083 w 551161"/>
                <a:gd name="connsiteY52" fmla="*/ 357270 h 918991"/>
                <a:gd name="connsiteX53" fmla="*/ 424702 w 551161"/>
                <a:gd name="connsiteY53" fmla="*/ 364414 h 918991"/>
                <a:gd name="connsiteX54" fmla="*/ 422320 w 551161"/>
                <a:gd name="connsiteY54" fmla="*/ 373939 h 918991"/>
                <a:gd name="connsiteX55" fmla="*/ 415177 w 551161"/>
                <a:gd name="connsiteY55" fmla="*/ 376320 h 918991"/>
                <a:gd name="connsiteX56" fmla="*/ 391364 w 551161"/>
                <a:gd name="connsiteY56" fmla="*/ 381082 h 918991"/>
                <a:gd name="connsiteX57" fmla="*/ 393745 w 551161"/>
                <a:gd name="connsiteY57" fmla="*/ 402514 h 918991"/>
                <a:gd name="connsiteX58" fmla="*/ 400889 w 551161"/>
                <a:gd name="connsiteY58" fmla="*/ 404895 h 918991"/>
                <a:gd name="connsiteX59" fmla="*/ 410414 w 551161"/>
                <a:gd name="connsiteY59" fmla="*/ 419182 h 918991"/>
                <a:gd name="connsiteX60" fmla="*/ 398508 w 551161"/>
                <a:gd name="connsiteY60" fmla="*/ 438232 h 918991"/>
                <a:gd name="connsiteX61" fmla="*/ 396127 w 551161"/>
                <a:gd name="connsiteY61" fmla="*/ 445376 h 918991"/>
                <a:gd name="connsiteX62" fmla="*/ 388983 w 551161"/>
                <a:gd name="connsiteY62" fmla="*/ 450139 h 918991"/>
                <a:gd name="connsiteX63" fmla="*/ 374695 w 551161"/>
                <a:gd name="connsiteY63" fmla="*/ 454901 h 918991"/>
                <a:gd name="connsiteX64" fmla="*/ 360408 w 551161"/>
                <a:gd name="connsiteY64" fmla="*/ 466807 h 918991"/>
                <a:gd name="connsiteX65" fmla="*/ 355645 w 551161"/>
                <a:gd name="connsiteY65" fmla="*/ 473951 h 918991"/>
                <a:gd name="connsiteX66" fmla="*/ 348502 w 551161"/>
                <a:gd name="connsiteY66" fmla="*/ 476332 h 918991"/>
                <a:gd name="connsiteX67" fmla="*/ 324689 w 551161"/>
                <a:gd name="connsiteY67" fmla="*/ 473951 h 918991"/>
                <a:gd name="connsiteX68" fmla="*/ 310402 w 551161"/>
                <a:gd name="connsiteY68" fmla="*/ 469189 h 918991"/>
                <a:gd name="connsiteX69" fmla="*/ 303258 w 551161"/>
                <a:gd name="connsiteY69" fmla="*/ 476332 h 918991"/>
                <a:gd name="connsiteX70" fmla="*/ 305639 w 551161"/>
                <a:gd name="connsiteY70" fmla="*/ 488239 h 918991"/>
                <a:gd name="connsiteX71" fmla="*/ 310402 w 551161"/>
                <a:gd name="connsiteY71" fmla="*/ 495382 h 918991"/>
                <a:gd name="connsiteX72" fmla="*/ 322308 w 551161"/>
                <a:gd name="connsiteY72" fmla="*/ 512051 h 918991"/>
                <a:gd name="connsiteX73" fmla="*/ 324689 w 551161"/>
                <a:gd name="connsiteY73" fmla="*/ 554914 h 918991"/>
                <a:gd name="connsiteX74" fmla="*/ 329452 w 551161"/>
                <a:gd name="connsiteY74" fmla="*/ 562057 h 918991"/>
                <a:gd name="connsiteX75" fmla="*/ 331833 w 551161"/>
                <a:gd name="connsiteY75" fmla="*/ 571582 h 918991"/>
                <a:gd name="connsiteX76" fmla="*/ 338977 w 551161"/>
                <a:gd name="connsiteY76" fmla="*/ 573964 h 918991"/>
                <a:gd name="connsiteX77" fmla="*/ 355645 w 551161"/>
                <a:gd name="connsiteY77" fmla="*/ 576345 h 918991"/>
                <a:gd name="connsiteX78" fmla="*/ 346120 w 551161"/>
                <a:gd name="connsiteY78" fmla="*/ 597776 h 918991"/>
                <a:gd name="connsiteX79" fmla="*/ 336595 w 551161"/>
                <a:gd name="connsiteY79" fmla="*/ 612064 h 918991"/>
                <a:gd name="connsiteX80" fmla="*/ 334214 w 551161"/>
                <a:gd name="connsiteY80" fmla="*/ 619207 h 918991"/>
                <a:gd name="connsiteX81" fmla="*/ 327070 w 551161"/>
                <a:gd name="connsiteY81" fmla="*/ 621589 h 918991"/>
                <a:gd name="connsiteX82" fmla="*/ 310402 w 551161"/>
                <a:gd name="connsiteY82" fmla="*/ 633495 h 918991"/>
                <a:gd name="connsiteX83" fmla="*/ 298495 w 551161"/>
                <a:gd name="connsiteY83" fmla="*/ 650164 h 918991"/>
                <a:gd name="connsiteX84" fmla="*/ 296114 w 551161"/>
                <a:gd name="connsiteY84" fmla="*/ 657307 h 918991"/>
                <a:gd name="connsiteX85" fmla="*/ 291352 w 551161"/>
                <a:gd name="connsiteY85" fmla="*/ 664451 h 918991"/>
                <a:gd name="connsiteX86" fmla="*/ 286589 w 551161"/>
                <a:gd name="connsiteY86" fmla="*/ 678739 h 918991"/>
                <a:gd name="connsiteX87" fmla="*/ 291352 w 551161"/>
                <a:gd name="connsiteY87" fmla="*/ 693026 h 918991"/>
                <a:gd name="connsiteX88" fmla="*/ 296114 w 551161"/>
                <a:gd name="connsiteY88" fmla="*/ 714457 h 918991"/>
                <a:gd name="connsiteX89" fmla="*/ 300877 w 551161"/>
                <a:gd name="connsiteY89" fmla="*/ 721601 h 918991"/>
                <a:gd name="connsiteX90" fmla="*/ 303258 w 551161"/>
                <a:gd name="connsiteY90" fmla="*/ 728745 h 918991"/>
                <a:gd name="connsiteX91" fmla="*/ 310402 w 551161"/>
                <a:gd name="connsiteY91" fmla="*/ 731126 h 918991"/>
                <a:gd name="connsiteX92" fmla="*/ 322308 w 551161"/>
                <a:gd name="connsiteY92" fmla="*/ 733507 h 918991"/>
                <a:gd name="connsiteX93" fmla="*/ 327070 w 551161"/>
                <a:gd name="connsiteY93" fmla="*/ 740651 h 918991"/>
                <a:gd name="connsiteX94" fmla="*/ 317545 w 551161"/>
                <a:gd name="connsiteY94" fmla="*/ 754939 h 918991"/>
                <a:gd name="connsiteX95" fmla="*/ 315164 w 551161"/>
                <a:gd name="connsiteY95" fmla="*/ 762082 h 918991"/>
                <a:gd name="connsiteX96" fmla="*/ 308020 w 551161"/>
                <a:gd name="connsiteY96" fmla="*/ 764464 h 918991"/>
                <a:gd name="connsiteX97" fmla="*/ 284208 w 551161"/>
                <a:gd name="connsiteY97" fmla="*/ 766845 h 918991"/>
                <a:gd name="connsiteX98" fmla="*/ 279445 w 551161"/>
                <a:gd name="connsiteY98" fmla="*/ 773989 h 918991"/>
                <a:gd name="connsiteX99" fmla="*/ 272302 w 551161"/>
                <a:gd name="connsiteY99" fmla="*/ 778751 h 918991"/>
                <a:gd name="connsiteX100" fmla="*/ 269920 w 551161"/>
                <a:gd name="connsiteY100" fmla="*/ 785895 h 918991"/>
                <a:gd name="connsiteX101" fmla="*/ 250870 w 551161"/>
                <a:gd name="connsiteY101" fmla="*/ 802564 h 918991"/>
                <a:gd name="connsiteX102" fmla="*/ 243727 w 551161"/>
                <a:gd name="connsiteY102" fmla="*/ 807326 h 918991"/>
                <a:gd name="connsiteX103" fmla="*/ 236583 w 551161"/>
                <a:gd name="connsiteY103" fmla="*/ 823995 h 918991"/>
                <a:gd name="connsiteX104" fmla="*/ 224677 w 551161"/>
                <a:gd name="connsiteY104" fmla="*/ 838282 h 918991"/>
                <a:gd name="connsiteX105" fmla="*/ 227058 w 551161"/>
                <a:gd name="connsiteY105" fmla="*/ 850189 h 918991"/>
                <a:gd name="connsiteX106" fmla="*/ 241345 w 551161"/>
                <a:gd name="connsiteY106" fmla="*/ 852570 h 918991"/>
                <a:gd name="connsiteX107" fmla="*/ 236583 w 551161"/>
                <a:gd name="connsiteY107" fmla="*/ 859714 h 918991"/>
                <a:gd name="connsiteX108" fmla="*/ 227058 w 551161"/>
                <a:gd name="connsiteY108" fmla="*/ 881145 h 918991"/>
                <a:gd name="connsiteX109" fmla="*/ 203245 w 551161"/>
                <a:gd name="connsiteY109" fmla="*/ 895432 h 918991"/>
                <a:gd name="connsiteX110" fmla="*/ 198483 w 551161"/>
                <a:gd name="connsiteY110" fmla="*/ 902576 h 918991"/>
                <a:gd name="connsiteX111" fmla="*/ 191339 w 551161"/>
                <a:gd name="connsiteY111" fmla="*/ 904957 h 918991"/>
                <a:gd name="connsiteX112" fmla="*/ 186577 w 551161"/>
                <a:gd name="connsiteY112" fmla="*/ 912101 h 918991"/>
                <a:gd name="connsiteX113" fmla="*/ 134189 w 551161"/>
                <a:gd name="connsiteY113" fmla="*/ 914482 h 918991"/>
                <a:gd name="connsiteX114" fmla="*/ 131808 w 551161"/>
                <a:gd name="connsiteY114" fmla="*/ 907339 h 918991"/>
                <a:gd name="connsiteX115" fmla="*/ 124664 w 551161"/>
                <a:gd name="connsiteY115" fmla="*/ 900195 h 918991"/>
                <a:gd name="connsiteX116" fmla="*/ 103233 w 551161"/>
                <a:gd name="connsiteY116" fmla="*/ 888289 h 918991"/>
                <a:gd name="connsiteX117" fmla="*/ 96089 w 551161"/>
                <a:gd name="connsiteY117" fmla="*/ 883526 h 918991"/>
                <a:gd name="connsiteX118" fmla="*/ 57989 w 551161"/>
                <a:gd name="connsiteY118" fmla="*/ 878764 h 918991"/>
                <a:gd name="connsiteX119" fmla="*/ 43702 w 551161"/>
                <a:gd name="connsiteY119" fmla="*/ 874001 h 918991"/>
                <a:gd name="connsiteX120" fmla="*/ 24652 w 551161"/>
                <a:gd name="connsiteY120" fmla="*/ 869239 h 918991"/>
                <a:gd name="connsiteX121" fmla="*/ 3220 w 551161"/>
                <a:gd name="connsiteY121" fmla="*/ 871620 h 918991"/>
                <a:gd name="connsiteX122" fmla="*/ 5602 w 551161"/>
                <a:gd name="connsiteY122" fmla="*/ 854951 h 918991"/>
                <a:gd name="connsiteX123" fmla="*/ 12745 w 551161"/>
                <a:gd name="connsiteY123" fmla="*/ 850189 h 918991"/>
                <a:gd name="connsiteX124" fmla="*/ 19889 w 551161"/>
                <a:gd name="connsiteY124" fmla="*/ 843045 h 918991"/>
                <a:gd name="connsiteX125" fmla="*/ 29414 w 551161"/>
                <a:gd name="connsiteY125" fmla="*/ 828757 h 918991"/>
                <a:gd name="connsiteX126" fmla="*/ 36558 w 551161"/>
                <a:gd name="connsiteY126" fmla="*/ 814470 h 918991"/>
                <a:gd name="connsiteX127" fmla="*/ 41320 w 551161"/>
                <a:gd name="connsiteY127" fmla="*/ 800182 h 918991"/>
                <a:gd name="connsiteX128" fmla="*/ 43702 w 551161"/>
                <a:gd name="connsiteY128" fmla="*/ 793039 h 918991"/>
                <a:gd name="connsiteX129" fmla="*/ 48464 w 551161"/>
                <a:gd name="connsiteY129" fmla="*/ 785895 h 918991"/>
                <a:gd name="connsiteX130" fmla="*/ 50845 w 551161"/>
                <a:gd name="connsiteY130" fmla="*/ 778751 h 918991"/>
                <a:gd name="connsiteX131" fmla="*/ 57989 w 551161"/>
                <a:gd name="connsiteY131" fmla="*/ 771607 h 918991"/>
                <a:gd name="connsiteX132" fmla="*/ 60370 w 551161"/>
                <a:gd name="connsiteY132" fmla="*/ 757320 h 918991"/>
                <a:gd name="connsiteX133" fmla="*/ 55608 w 551161"/>
                <a:gd name="connsiteY133" fmla="*/ 704932 h 918991"/>
                <a:gd name="connsiteX134" fmla="*/ 57989 w 551161"/>
                <a:gd name="connsiteY134" fmla="*/ 695407 h 918991"/>
                <a:gd name="connsiteX135" fmla="*/ 72277 w 551161"/>
                <a:gd name="connsiteY135" fmla="*/ 685882 h 918991"/>
                <a:gd name="connsiteX136" fmla="*/ 86564 w 551161"/>
                <a:gd name="connsiteY136" fmla="*/ 664451 h 918991"/>
                <a:gd name="connsiteX137" fmla="*/ 91327 w 551161"/>
                <a:gd name="connsiteY137" fmla="*/ 657307 h 918991"/>
                <a:gd name="connsiteX138" fmla="*/ 84183 w 551161"/>
                <a:gd name="connsiteY138" fmla="*/ 626351 h 918991"/>
                <a:gd name="connsiteX139" fmla="*/ 81802 w 551161"/>
                <a:gd name="connsiteY139" fmla="*/ 619207 h 918991"/>
                <a:gd name="connsiteX140" fmla="*/ 74658 w 551161"/>
                <a:gd name="connsiteY140" fmla="*/ 616826 h 918991"/>
                <a:gd name="connsiteX141" fmla="*/ 48464 w 551161"/>
                <a:gd name="connsiteY141" fmla="*/ 619207 h 918991"/>
                <a:gd name="connsiteX142" fmla="*/ 34177 w 551161"/>
                <a:gd name="connsiteY142" fmla="*/ 619207 h 918991"/>
                <a:gd name="connsiteX143" fmla="*/ 34177 w 551161"/>
                <a:gd name="connsiteY143" fmla="*/ 585870 h 918991"/>
                <a:gd name="connsiteX144" fmla="*/ 46083 w 551161"/>
                <a:gd name="connsiteY144" fmla="*/ 588251 h 918991"/>
                <a:gd name="connsiteX145" fmla="*/ 62752 w 551161"/>
                <a:gd name="connsiteY145" fmla="*/ 585870 h 918991"/>
                <a:gd name="connsiteX146" fmla="*/ 67514 w 551161"/>
                <a:gd name="connsiteY146" fmla="*/ 578726 h 918991"/>
                <a:gd name="connsiteX147" fmla="*/ 81802 w 551161"/>
                <a:gd name="connsiteY147" fmla="*/ 573964 h 918991"/>
                <a:gd name="connsiteX148" fmla="*/ 84183 w 551161"/>
                <a:gd name="connsiteY148" fmla="*/ 566820 h 918991"/>
                <a:gd name="connsiteX149" fmla="*/ 77039 w 551161"/>
                <a:gd name="connsiteY149" fmla="*/ 550151 h 918991"/>
                <a:gd name="connsiteX150" fmla="*/ 69895 w 551161"/>
                <a:gd name="connsiteY150" fmla="*/ 545389 h 918991"/>
                <a:gd name="connsiteX151" fmla="*/ 60370 w 551161"/>
                <a:gd name="connsiteY151" fmla="*/ 547770 h 918991"/>
                <a:gd name="connsiteX152" fmla="*/ 53227 w 551161"/>
                <a:gd name="connsiteY152" fmla="*/ 562057 h 918991"/>
                <a:gd name="connsiteX153" fmla="*/ 60370 w 551161"/>
                <a:gd name="connsiteY153" fmla="*/ 564439 h 918991"/>
                <a:gd name="connsiteX154" fmla="*/ 46083 w 551161"/>
                <a:gd name="connsiteY154" fmla="*/ 576345 h 918991"/>
                <a:gd name="connsiteX155" fmla="*/ 22270 w 551161"/>
                <a:gd name="connsiteY155" fmla="*/ 573964 h 918991"/>
                <a:gd name="connsiteX156" fmla="*/ 15127 w 551161"/>
                <a:gd name="connsiteY156" fmla="*/ 569201 h 918991"/>
                <a:gd name="connsiteX157" fmla="*/ 3220 w 551161"/>
                <a:gd name="connsiteY157" fmla="*/ 566820 h 918991"/>
                <a:gd name="connsiteX158" fmla="*/ 3220 w 551161"/>
                <a:gd name="connsiteY158" fmla="*/ 543007 h 918991"/>
                <a:gd name="connsiteX159" fmla="*/ 10364 w 551161"/>
                <a:gd name="connsiteY159" fmla="*/ 540626 h 918991"/>
                <a:gd name="connsiteX160" fmla="*/ 15127 w 551161"/>
                <a:gd name="connsiteY160" fmla="*/ 533482 h 918991"/>
                <a:gd name="connsiteX161" fmla="*/ 19889 w 551161"/>
                <a:gd name="connsiteY161" fmla="*/ 519195 h 918991"/>
                <a:gd name="connsiteX162" fmla="*/ 31795 w 551161"/>
                <a:gd name="connsiteY162" fmla="*/ 497764 h 918991"/>
                <a:gd name="connsiteX163" fmla="*/ 53227 w 551161"/>
                <a:gd name="connsiteY163" fmla="*/ 488239 h 918991"/>
                <a:gd name="connsiteX164" fmla="*/ 62752 w 551161"/>
                <a:gd name="connsiteY164" fmla="*/ 459664 h 918991"/>
                <a:gd name="connsiteX165" fmla="*/ 65133 w 551161"/>
                <a:gd name="connsiteY165" fmla="*/ 452520 h 918991"/>
                <a:gd name="connsiteX166" fmla="*/ 69895 w 551161"/>
                <a:gd name="connsiteY166" fmla="*/ 445376 h 918991"/>
                <a:gd name="connsiteX167" fmla="*/ 72277 w 551161"/>
                <a:gd name="connsiteY167" fmla="*/ 438232 h 918991"/>
                <a:gd name="connsiteX168" fmla="*/ 81802 w 551161"/>
                <a:gd name="connsiteY168" fmla="*/ 423945 h 918991"/>
                <a:gd name="connsiteX169" fmla="*/ 93708 w 551161"/>
                <a:gd name="connsiteY169" fmla="*/ 409657 h 918991"/>
                <a:gd name="connsiteX170" fmla="*/ 100852 w 551161"/>
                <a:gd name="connsiteY170" fmla="*/ 404895 h 918991"/>
                <a:gd name="connsiteX171" fmla="*/ 110377 w 551161"/>
                <a:gd name="connsiteY171" fmla="*/ 390607 h 918991"/>
                <a:gd name="connsiteX172" fmla="*/ 115139 w 551161"/>
                <a:gd name="connsiteY172" fmla="*/ 383464 h 918991"/>
                <a:gd name="connsiteX173" fmla="*/ 131808 w 551161"/>
                <a:gd name="connsiteY173" fmla="*/ 362032 h 918991"/>
                <a:gd name="connsiteX174" fmla="*/ 136570 w 551161"/>
                <a:gd name="connsiteY174" fmla="*/ 354889 h 918991"/>
                <a:gd name="connsiteX175" fmla="*/ 141333 w 551161"/>
                <a:gd name="connsiteY175" fmla="*/ 347745 h 918991"/>
                <a:gd name="connsiteX176" fmla="*/ 143714 w 551161"/>
                <a:gd name="connsiteY176" fmla="*/ 340601 h 918991"/>
                <a:gd name="connsiteX177" fmla="*/ 148477 w 551161"/>
                <a:gd name="connsiteY177" fmla="*/ 314407 h 918991"/>
                <a:gd name="connsiteX178" fmla="*/ 150858 w 551161"/>
                <a:gd name="connsiteY178" fmla="*/ 307264 h 918991"/>
                <a:gd name="connsiteX179" fmla="*/ 158002 w 551161"/>
                <a:gd name="connsiteY179" fmla="*/ 297739 h 918991"/>
                <a:gd name="connsiteX180" fmla="*/ 165145 w 551161"/>
                <a:gd name="connsiteY180" fmla="*/ 292976 h 918991"/>
                <a:gd name="connsiteX181" fmla="*/ 174670 w 551161"/>
                <a:gd name="connsiteY181" fmla="*/ 281070 h 918991"/>
                <a:gd name="connsiteX182" fmla="*/ 177052 w 551161"/>
                <a:gd name="connsiteY182" fmla="*/ 271545 h 918991"/>
                <a:gd name="connsiteX183" fmla="*/ 179433 w 551161"/>
                <a:gd name="connsiteY183" fmla="*/ 264401 h 918991"/>
                <a:gd name="connsiteX184" fmla="*/ 184195 w 551161"/>
                <a:gd name="connsiteY184" fmla="*/ 257257 h 918991"/>
                <a:gd name="connsiteX185" fmla="*/ 193720 w 551161"/>
                <a:gd name="connsiteY185" fmla="*/ 235826 h 918991"/>
                <a:gd name="connsiteX186" fmla="*/ 200864 w 551161"/>
                <a:gd name="connsiteY186" fmla="*/ 212014 h 918991"/>
                <a:gd name="connsiteX187" fmla="*/ 210389 w 551161"/>
                <a:gd name="connsiteY187" fmla="*/ 197726 h 918991"/>
                <a:gd name="connsiteX188" fmla="*/ 215152 w 551161"/>
                <a:gd name="connsiteY188" fmla="*/ 183439 h 918991"/>
                <a:gd name="connsiteX189" fmla="*/ 212770 w 551161"/>
                <a:gd name="connsiteY189" fmla="*/ 176295 h 918991"/>
                <a:gd name="connsiteX190" fmla="*/ 212770 w 551161"/>
                <a:gd name="connsiteY190" fmla="*/ 109620 h 918991"/>
                <a:gd name="connsiteX191" fmla="*/ 219914 w 551161"/>
                <a:gd name="connsiteY191" fmla="*/ 95332 h 918991"/>
                <a:gd name="connsiteX192" fmla="*/ 222295 w 551161"/>
                <a:gd name="connsiteY192" fmla="*/ 88189 h 918991"/>
                <a:gd name="connsiteX193" fmla="*/ 217533 w 551161"/>
                <a:gd name="connsiteY193" fmla="*/ 73901 h 918991"/>
                <a:gd name="connsiteX194" fmla="*/ 215152 w 551161"/>
                <a:gd name="connsiteY194" fmla="*/ 64376 h 918991"/>
                <a:gd name="connsiteX195" fmla="*/ 210389 w 551161"/>
                <a:gd name="connsiteY195" fmla="*/ 57232 h 918991"/>
                <a:gd name="connsiteX196" fmla="*/ 215152 w 551161"/>
                <a:gd name="connsiteY196" fmla="*/ 38182 h 9189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551161" h="918991">
                  <a:moveTo>
                    <a:pt x="215152" y="38182"/>
                  </a:moveTo>
                  <a:cubicBezTo>
                    <a:pt x="217930" y="33816"/>
                    <a:pt x="222845" y="32954"/>
                    <a:pt x="227058" y="31039"/>
                  </a:cubicBezTo>
                  <a:cubicBezTo>
                    <a:pt x="231628" y="28962"/>
                    <a:pt x="241345" y="26276"/>
                    <a:pt x="241345" y="26276"/>
                  </a:cubicBezTo>
                  <a:cubicBezTo>
                    <a:pt x="243726" y="23895"/>
                    <a:pt x="245545" y="20767"/>
                    <a:pt x="248489" y="19132"/>
                  </a:cubicBezTo>
                  <a:cubicBezTo>
                    <a:pt x="252878" y="16694"/>
                    <a:pt x="262777" y="14370"/>
                    <a:pt x="262777" y="14370"/>
                  </a:cubicBezTo>
                  <a:cubicBezTo>
                    <a:pt x="265158" y="12782"/>
                    <a:pt x="267290" y="10734"/>
                    <a:pt x="269920" y="9607"/>
                  </a:cubicBezTo>
                  <a:cubicBezTo>
                    <a:pt x="272928" y="8318"/>
                    <a:pt x="276298" y="8125"/>
                    <a:pt x="279445" y="7226"/>
                  </a:cubicBezTo>
                  <a:cubicBezTo>
                    <a:pt x="281859" y="6536"/>
                    <a:pt x="284208" y="5639"/>
                    <a:pt x="286589" y="4845"/>
                  </a:cubicBezTo>
                  <a:cubicBezTo>
                    <a:pt x="288970" y="3257"/>
                    <a:pt x="290893" y="437"/>
                    <a:pt x="293733" y="82"/>
                  </a:cubicBezTo>
                  <a:cubicBezTo>
                    <a:pt x="297749" y="-420"/>
                    <a:pt x="301713" y="1482"/>
                    <a:pt x="305639" y="2464"/>
                  </a:cubicBezTo>
                  <a:cubicBezTo>
                    <a:pt x="313527" y="4436"/>
                    <a:pt x="312941" y="4950"/>
                    <a:pt x="319927" y="9607"/>
                  </a:cubicBezTo>
                  <a:cubicBezTo>
                    <a:pt x="320721" y="11988"/>
                    <a:pt x="322308" y="14241"/>
                    <a:pt x="322308" y="16751"/>
                  </a:cubicBezTo>
                  <a:cubicBezTo>
                    <a:pt x="322308" y="24961"/>
                    <a:pt x="320091" y="29888"/>
                    <a:pt x="315164" y="35801"/>
                  </a:cubicBezTo>
                  <a:cubicBezTo>
                    <a:pt x="313008" y="38388"/>
                    <a:pt x="310176" y="40358"/>
                    <a:pt x="308020" y="42945"/>
                  </a:cubicBezTo>
                  <a:cubicBezTo>
                    <a:pt x="306188" y="45144"/>
                    <a:pt x="304845" y="47708"/>
                    <a:pt x="303258" y="50089"/>
                  </a:cubicBezTo>
                  <a:cubicBezTo>
                    <a:pt x="304052" y="53264"/>
                    <a:pt x="303595" y="57058"/>
                    <a:pt x="305639" y="59614"/>
                  </a:cubicBezTo>
                  <a:cubicBezTo>
                    <a:pt x="307207" y="61574"/>
                    <a:pt x="310313" y="61546"/>
                    <a:pt x="312783" y="61995"/>
                  </a:cubicBezTo>
                  <a:cubicBezTo>
                    <a:pt x="319079" y="63140"/>
                    <a:pt x="325456" y="63845"/>
                    <a:pt x="331833" y="64376"/>
                  </a:cubicBezTo>
                  <a:cubicBezTo>
                    <a:pt x="344514" y="65433"/>
                    <a:pt x="357233" y="65963"/>
                    <a:pt x="369933" y="66757"/>
                  </a:cubicBezTo>
                  <a:cubicBezTo>
                    <a:pt x="373108" y="71520"/>
                    <a:pt x="374695" y="77870"/>
                    <a:pt x="379458" y="81045"/>
                  </a:cubicBezTo>
                  <a:cubicBezTo>
                    <a:pt x="395834" y="91962"/>
                    <a:pt x="388315" y="88760"/>
                    <a:pt x="400889" y="92951"/>
                  </a:cubicBezTo>
                  <a:cubicBezTo>
                    <a:pt x="408827" y="92157"/>
                    <a:pt x="417078" y="92916"/>
                    <a:pt x="424702" y="90570"/>
                  </a:cubicBezTo>
                  <a:cubicBezTo>
                    <a:pt x="427921" y="89580"/>
                    <a:pt x="429778" y="86084"/>
                    <a:pt x="431845" y="83426"/>
                  </a:cubicBezTo>
                  <a:cubicBezTo>
                    <a:pt x="435359" y="78908"/>
                    <a:pt x="441370" y="69139"/>
                    <a:pt x="441370" y="69139"/>
                  </a:cubicBezTo>
                  <a:cubicBezTo>
                    <a:pt x="441963" y="69257"/>
                    <a:pt x="457979" y="71948"/>
                    <a:pt x="460420" y="73901"/>
                  </a:cubicBezTo>
                  <a:cubicBezTo>
                    <a:pt x="475806" y="86210"/>
                    <a:pt x="454373" y="77442"/>
                    <a:pt x="472327" y="83426"/>
                  </a:cubicBezTo>
                  <a:cubicBezTo>
                    <a:pt x="478896" y="109704"/>
                    <a:pt x="467751" y="77740"/>
                    <a:pt x="515189" y="97714"/>
                  </a:cubicBezTo>
                  <a:cubicBezTo>
                    <a:pt x="519816" y="99662"/>
                    <a:pt x="519952" y="112001"/>
                    <a:pt x="519952" y="112001"/>
                  </a:cubicBezTo>
                  <a:cubicBezTo>
                    <a:pt x="519134" y="119362"/>
                    <a:pt x="514979" y="139017"/>
                    <a:pt x="519952" y="147720"/>
                  </a:cubicBezTo>
                  <a:cubicBezTo>
                    <a:pt x="521197" y="149899"/>
                    <a:pt x="524626" y="149652"/>
                    <a:pt x="527095" y="150101"/>
                  </a:cubicBezTo>
                  <a:cubicBezTo>
                    <a:pt x="533391" y="151246"/>
                    <a:pt x="539795" y="151688"/>
                    <a:pt x="546145" y="152482"/>
                  </a:cubicBezTo>
                  <a:cubicBezTo>
                    <a:pt x="547733" y="154863"/>
                    <a:pt x="550592" y="156781"/>
                    <a:pt x="550908" y="159626"/>
                  </a:cubicBezTo>
                  <a:cubicBezTo>
                    <a:pt x="552131" y="170627"/>
                    <a:pt x="548791" y="173518"/>
                    <a:pt x="543764" y="181057"/>
                  </a:cubicBezTo>
                  <a:cubicBezTo>
                    <a:pt x="542637" y="184439"/>
                    <a:pt x="540314" y="193498"/>
                    <a:pt x="536620" y="195345"/>
                  </a:cubicBezTo>
                  <a:cubicBezTo>
                    <a:pt x="532302" y="197504"/>
                    <a:pt x="527046" y="196679"/>
                    <a:pt x="522333" y="197726"/>
                  </a:cubicBezTo>
                  <a:cubicBezTo>
                    <a:pt x="519883" y="198270"/>
                    <a:pt x="517570" y="199313"/>
                    <a:pt x="515189" y="200107"/>
                  </a:cubicBezTo>
                  <a:cubicBezTo>
                    <a:pt x="512808" y="201695"/>
                    <a:pt x="510244" y="203038"/>
                    <a:pt x="508045" y="204870"/>
                  </a:cubicBezTo>
                  <a:cubicBezTo>
                    <a:pt x="505458" y="207026"/>
                    <a:pt x="503826" y="210343"/>
                    <a:pt x="500902" y="212014"/>
                  </a:cubicBezTo>
                  <a:cubicBezTo>
                    <a:pt x="498061" y="213638"/>
                    <a:pt x="494512" y="213455"/>
                    <a:pt x="491377" y="214395"/>
                  </a:cubicBezTo>
                  <a:cubicBezTo>
                    <a:pt x="486568" y="215837"/>
                    <a:pt x="477089" y="219157"/>
                    <a:pt x="477089" y="219157"/>
                  </a:cubicBezTo>
                  <a:cubicBezTo>
                    <a:pt x="474708" y="220745"/>
                    <a:pt x="472505" y="222640"/>
                    <a:pt x="469945" y="223920"/>
                  </a:cubicBezTo>
                  <a:cubicBezTo>
                    <a:pt x="467700" y="225042"/>
                    <a:pt x="464890" y="224909"/>
                    <a:pt x="462802" y="226301"/>
                  </a:cubicBezTo>
                  <a:cubicBezTo>
                    <a:pt x="460000" y="228169"/>
                    <a:pt x="458245" y="231289"/>
                    <a:pt x="455658" y="233445"/>
                  </a:cubicBezTo>
                  <a:cubicBezTo>
                    <a:pt x="453459" y="235277"/>
                    <a:pt x="450895" y="236620"/>
                    <a:pt x="448514" y="238207"/>
                  </a:cubicBezTo>
                  <a:cubicBezTo>
                    <a:pt x="447720" y="240588"/>
                    <a:pt x="447908" y="243576"/>
                    <a:pt x="446133" y="245351"/>
                  </a:cubicBezTo>
                  <a:cubicBezTo>
                    <a:pt x="438903" y="252581"/>
                    <a:pt x="434598" y="241147"/>
                    <a:pt x="443752" y="254876"/>
                  </a:cubicBezTo>
                  <a:cubicBezTo>
                    <a:pt x="445339" y="259639"/>
                    <a:pt x="449498" y="264241"/>
                    <a:pt x="448514" y="269164"/>
                  </a:cubicBezTo>
                  <a:cubicBezTo>
                    <a:pt x="447720" y="273133"/>
                    <a:pt x="447115" y="277144"/>
                    <a:pt x="446133" y="281070"/>
                  </a:cubicBezTo>
                  <a:cubicBezTo>
                    <a:pt x="445524" y="283505"/>
                    <a:pt x="444361" y="285779"/>
                    <a:pt x="443752" y="288214"/>
                  </a:cubicBezTo>
                  <a:cubicBezTo>
                    <a:pt x="442770" y="292140"/>
                    <a:pt x="442435" y="296215"/>
                    <a:pt x="441370" y="300120"/>
                  </a:cubicBezTo>
                  <a:cubicBezTo>
                    <a:pt x="440049" y="304963"/>
                    <a:pt x="436608" y="314407"/>
                    <a:pt x="436608" y="314407"/>
                  </a:cubicBezTo>
                  <a:cubicBezTo>
                    <a:pt x="437785" y="325004"/>
                    <a:pt x="441779" y="333674"/>
                    <a:pt x="436608" y="342982"/>
                  </a:cubicBezTo>
                  <a:cubicBezTo>
                    <a:pt x="433828" y="347986"/>
                    <a:pt x="428893" y="351840"/>
                    <a:pt x="427083" y="357270"/>
                  </a:cubicBezTo>
                  <a:cubicBezTo>
                    <a:pt x="426289" y="359651"/>
                    <a:pt x="425392" y="362000"/>
                    <a:pt x="424702" y="364414"/>
                  </a:cubicBezTo>
                  <a:cubicBezTo>
                    <a:pt x="423803" y="367561"/>
                    <a:pt x="424365" y="371383"/>
                    <a:pt x="422320" y="373939"/>
                  </a:cubicBezTo>
                  <a:cubicBezTo>
                    <a:pt x="420752" y="375899"/>
                    <a:pt x="417623" y="375756"/>
                    <a:pt x="415177" y="376320"/>
                  </a:cubicBezTo>
                  <a:cubicBezTo>
                    <a:pt x="407289" y="378140"/>
                    <a:pt x="391364" y="381082"/>
                    <a:pt x="391364" y="381082"/>
                  </a:cubicBezTo>
                  <a:cubicBezTo>
                    <a:pt x="392158" y="388226"/>
                    <a:pt x="391076" y="395840"/>
                    <a:pt x="393745" y="402514"/>
                  </a:cubicBezTo>
                  <a:cubicBezTo>
                    <a:pt x="394677" y="404845"/>
                    <a:pt x="399114" y="403120"/>
                    <a:pt x="400889" y="404895"/>
                  </a:cubicBezTo>
                  <a:cubicBezTo>
                    <a:pt x="404936" y="408942"/>
                    <a:pt x="410414" y="419182"/>
                    <a:pt x="410414" y="419182"/>
                  </a:cubicBezTo>
                  <a:cubicBezTo>
                    <a:pt x="399093" y="426730"/>
                    <a:pt x="404175" y="421230"/>
                    <a:pt x="398508" y="438232"/>
                  </a:cubicBezTo>
                  <a:cubicBezTo>
                    <a:pt x="397714" y="440613"/>
                    <a:pt x="398215" y="443984"/>
                    <a:pt x="396127" y="445376"/>
                  </a:cubicBezTo>
                  <a:cubicBezTo>
                    <a:pt x="393746" y="446964"/>
                    <a:pt x="391598" y="448977"/>
                    <a:pt x="388983" y="450139"/>
                  </a:cubicBezTo>
                  <a:cubicBezTo>
                    <a:pt x="384395" y="452178"/>
                    <a:pt x="374695" y="454901"/>
                    <a:pt x="374695" y="454901"/>
                  </a:cubicBezTo>
                  <a:cubicBezTo>
                    <a:pt x="367674" y="459583"/>
                    <a:pt x="366136" y="459934"/>
                    <a:pt x="360408" y="466807"/>
                  </a:cubicBezTo>
                  <a:cubicBezTo>
                    <a:pt x="358576" y="469006"/>
                    <a:pt x="357880" y="472163"/>
                    <a:pt x="355645" y="473951"/>
                  </a:cubicBezTo>
                  <a:cubicBezTo>
                    <a:pt x="353685" y="475519"/>
                    <a:pt x="350883" y="475538"/>
                    <a:pt x="348502" y="476332"/>
                  </a:cubicBezTo>
                  <a:cubicBezTo>
                    <a:pt x="340564" y="475538"/>
                    <a:pt x="332530" y="475421"/>
                    <a:pt x="324689" y="473951"/>
                  </a:cubicBezTo>
                  <a:cubicBezTo>
                    <a:pt x="319755" y="473026"/>
                    <a:pt x="310402" y="469189"/>
                    <a:pt x="310402" y="469189"/>
                  </a:cubicBezTo>
                  <a:cubicBezTo>
                    <a:pt x="276802" y="473988"/>
                    <a:pt x="297198" y="467848"/>
                    <a:pt x="303258" y="476332"/>
                  </a:cubicBezTo>
                  <a:cubicBezTo>
                    <a:pt x="305611" y="479626"/>
                    <a:pt x="304218" y="484449"/>
                    <a:pt x="305639" y="488239"/>
                  </a:cubicBezTo>
                  <a:cubicBezTo>
                    <a:pt x="306644" y="490919"/>
                    <a:pt x="308814" y="493001"/>
                    <a:pt x="310402" y="495382"/>
                  </a:cubicBezTo>
                  <a:cubicBezTo>
                    <a:pt x="315958" y="512051"/>
                    <a:pt x="310401" y="508083"/>
                    <a:pt x="322308" y="512051"/>
                  </a:cubicBezTo>
                  <a:cubicBezTo>
                    <a:pt x="323102" y="526339"/>
                    <a:pt x="322665" y="540748"/>
                    <a:pt x="324689" y="554914"/>
                  </a:cubicBezTo>
                  <a:cubicBezTo>
                    <a:pt x="325094" y="557747"/>
                    <a:pt x="328325" y="559427"/>
                    <a:pt x="329452" y="562057"/>
                  </a:cubicBezTo>
                  <a:cubicBezTo>
                    <a:pt x="330741" y="565065"/>
                    <a:pt x="329789" y="569026"/>
                    <a:pt x="331833" y="571582"/>
                  </a:cubicBezTo>
                  <a:cubicBezTo>
                    <a:pt x="333401" y="573542"/>
                    <a:pt x="336516" y="573472"/>
                    <a:pt x="338977" y="573964"/>
                  </a:cubicBezTo>
                  <a:cubicBezTo>
                    <a:pt x="344480" y="575065"/>
                    <a:pt x="350089" y="575551"/>
                    <a:pt x="355645" y="576345"/>
                  </a:cubicBezTo>
                  <a:cubicBezTo>
                    <a:pt x="350976" y="609035"/>
                    <a:pt x="358895" y="583176"/>
                    <a:pt x="346120" y="597776"/>
                  </a:cubicBezTo>
                  <a:cubicBezTo>
                    <a:pt x="342351" y="602084"/>
                    <a:pt x="336595" y="612064"/>
                    <a:pt x="336595" y="612064"/>
                  </a:cubicBezTo>
                  <a:cubicBezTo>
                    <a:pt x="335801" y="614445"/>
                    <a:pt x="335989" y="617432"/>
                    <a:pt x="334214" y="619207"/>
                  </a:cubicBezTo>
                  <a:cubicBezTo>
                    <a:pt x="332439" y="620982"/>
                    <a:pt x="329315" y="620466"/>
                    <a:pt x="327070" y="621589"/>
                  </a:cubicBezTo>
                  <a:cubicBezTo>
                    <a:pt x="324365" y="622942"/>
                    <a:pt x="311481" y="632416"/>
                    <a:pt x="310402" y="633495"/>
                  </a:cubicBezTo>
                  <a:cubicBezTo>
                    <a:pt x="307449" y="636448"/>
                    <a:pt x="301199" y="646108"/>
                    <a:pt x="298495" y="650164"/>
                  </a:cubicBezTo>
                  <a:cubicBezTo>
                    <a:pt x="297701" y="652545"/>
                    <a:pt x="297236" y="655062"/>
                    <a:pt x="296114" y="657307"/>
                  </a:cubicBezTo>
                  <a:cubicBezTo>
                    <a:pt x="294834" y="659867"/>
                    <a:pt x="292514" y="661836"/>
                    <a:pt x="291352" y="664451"/>
                  </a:cubicBezTo>
                  <a:cubicBezTo>
                    <a:pt x="289313" y="669039"/>
                    <a:pt x="286589" y="678739"/>
                    <a:pt x="286589" y="678739"/>
                  </a:cubicBezTo>
                  <a:cubicBezTo>
                    <a:pt x="288177" y="683501"/>
                    <a:pt x="290368" y="688103"/>
                    <a:pt x="291352" y="693026"/>
                  </a:cubicBezTo>
                  <a:cubicBezTo>
                    <a:pt x="291776" y="695144"/>
                    <a:pt x="294853" y="711515"/>
                    <a:pt x="296114" y="714457"/>
                  </a:cubicBezTo>
                  <a:cubicBezTo>
                    <a:pt x="297241" y="717088"/>
                    <a:pt x="299289" y="719220"/>
                    <a:pt x="300877" y="721601"/>
                  </a:cubicBezTo>
                  <a:cubicBezTo>
                    <a:pt x="301671" y="723982"/>
                    <a:pt x="301483" y="726970"/>
                    <a:pt x="303258" y="728745"/>
                  </a:cubicBezTo>
                  <a:cubicBezTo>
                    <a:pt x="305033" y="730520"/>
                    <a:pt x="307967" y="730517"/>
                    <a:pt x="310402" y="731126"/>
                  </a:cubicBezTo>
                  <a:cubicBezTo>
                    <a:pt x="314328" y="732108"/>
                    <a:pt x="318339" y="732713"/>
                    <a:pt x="322308" y="733507"/>
                  </a:cubicBezTo>
                  <a:cubicBezTo>
                    <a:pt x="323895" y="735888"/>
                    <a:pt x="326600" y="737828"/>
                    <a:pt x="327070" y="740651"/>
                  </a:cubicBezTo>
                  <a:cubicBezTo>
                    <a:pt x="328055" y="746559"/>
                    <a:pt x="320520" y="751964"/>
                    <a:pt x="317545" y="754939"/>
                  </a:cubicBezTo>
                  <a:cubicBezTo>
                    <a:pt x="316751" y="757320"/>
                    <a:pt x="316939" y="760307"/>
                    <a:pt x="315164" y="762082"/>
                  </a:cubicBezTo>
                  <a:cubicBezTo>
                    <a:pt x="313389" y="763857"/>
                    <a:pt x="310501" y="764082"/>
                    <a:pt x="308020" y="764464"/>
                  </a:cubicBezTo>
                  <a:cubicBezTo>
                    <a:pt x="300136" y="765677"/>
                    <a:pt x="292145" y="766051"/>
                    <a:pt x="284208" y="766845"/>
                  </a:cubicBezTo>
                  <a:cubicBezTo>
                    <a:pt x="282620" y="769226"/>
                    <a:pt x="281469" y="771965"/>
                    <a:pt x="279445" y="773989"/>
                  </a:cubicBezTo>
                  <a:cubicBezTo>
                    <a:pt x="277422" y="776012"/>
                    <a:pt x="274090" y="776516"/>
                    <a:pt x="272302" y="778751"/>
                  </a:cubicBezTo>
                  <a:cubicBezTo>
                    <a:pt x="270734" y="780711"/>
                    <a:pt x="271139" y="783701"/>
                    <a:pt x="269920" y="785895"/>
                  </a:cubicBezTo>
                  <a:cubicBezTo>
                    <a:pt x="260774" y="802356"/>
                    <a:pt x="264693" y="799107"/>
                    <a:pt x="250870" y="802564"/>
                  </a:cubicBezTo>
                  <a:cubicBezTo>
                    <a:pt x="248489" y="804151"/>
                    <a:pt x="245559" y="805128"/>
                    <a:pt x="243727" y="807326"/>
                  </a:cubicBezTo>
                  <a:cubicBezTo>
                    <a:pt x="237530" y="814763"/>
                    <a:pt x="240307" y="816548"/>
                    <a:pt x="236583" y="823995"/>
                  </a:cubicBezTo>
                  <a:cubicBezTo>
                    <a:pt x="233268" y="830625"/>
                    <a:pt x="229942" y="833017"/>
                    <a:pt x="224677" y="838282"/>
                  </a:cubicBezTo>
                  <a:cubicBezTo>
                    <a:pt x="225471" y="842251"/>
                    <a:pt x="223985" y="847555"/>
                    <a:pt x="227058" y="850189"/>
                  </a:cubicBezTo>
                  <a:cubicBezTo>
                    <a:pt x="230724" y="853331"/>
                    <a:pt x="237931" y="849156"/>
                    <a:pt x="241345" y="852570"/>
                  </a:cubicBezTo>
                  <a:cubicBezTo>
                    <a:pt x="243369" y="854594"/>
                    <a:pt x="237745" y="857099"/>
                    <a:pt x="236583" y="859714"/>
                  </a:cubicBezTo>
                  <a:cubicBezTo>
                    <a:pt x="225248" y="885218"/>
                    <a:pt x="237835" y="864977"/>
                    <a:pt x="227058" y="881145"/>
                  </a:cubicBezTo>
                  <a:cubicBezTo>
                    <a:pt x="222487" y="904003"/>
                    <a:pt x="230086" y="885672"/>
                    <a:pt x="203245" y="895432"/>
                  </a:cubicBezTo>
                  <a:cubicBezTo>
                    <a:pt x="200555" y="896410"/>
                    <a:pt x="200718" y="900788"/>
                    <a:pt x="198483" y="902576"/>
                  </a:cubicBezTo>
                  <a:cubicBezTo>
                    <a:pt x="196523" y="904144"/>
                    <a:pt x="193720" y="904163"/>
                    <a:pt x="191339" y="904957"/>
                  </a:cubicBezTo>
                  <a:cubicBezTo>
                    <a:pt x="189752" y="907338"/>
                    <a:pt x="188601" y="910077"/>
                    <a:pt x="186577" y="912101"/>
                  </a:cubicBezTo>
                  <a:cubicBezTo>
                    <a:pt x="173109" y="925570"/>
                    <a:pt x="149357" y="915281"/>
                    <a:pt x="134189" y="914482"/>
                  </a:cubicBezTo>
                  <a:cubicBezTo>
                    <a:pt x="133395" y="912101"/>
                    <a:pt x="133200" y="909427"/>
                    <a:pt x="131808" y="907339"/>
                  </a:cubicBezTo>
                  <a:cubicBezTo>
                    <a:pt x="129940" y="904537"/>
                    <a:pt x="127322" y="902263"/>
                    <a:pt x="124664" y="900195"/>
                  </a:cubicBezTo>
                  <a:cubicBezTo>
                    <a:pt x="112382" y="890642"/>
                    <a:pt x="114012" y="891881"/>
                    <a:pt x="103233" y="888289"/>
                  </a:cubicBezTo>
                  <a:cubicBezTo>
                    <a:pt x="100852" y="886701"/>
                    <a:pt x="98649" y="884806"/>
                    <a:pt x="96089" y="883526"/>
                  </a:cubicBezTo>
                  <a:cubicBezTo>
                    <a:pt x="85811" y="878387"/>
                    <a:pt x="63890" y="879218"/>
                    <a:pt x="57989" y="878764"/>
                  </a:cubicBezTo>
                  <a:cubicBezTo>
                    <a:pt x="53227" y="877176"/>
                    <a:pt x="48625" y="874985"/>
                    <a:pt x="43702" y="874001"/>
                  </a:cubicBezTo>
                  <a:cubicBezTo>
                    <a:pt x="29334" y="871128"/>
                    <a:pt x="35635" y="872900"/>
                    <a:pt x="24652" y="869239"/>
                  </a:cubicBezTo>
                  <a:cubicBezTo>
                    <a:pt x="17508" y="870033"/>
                    <a:pt x="8970" y="875933"/>
                    <a:pt x="3220" y="871620"/>
                  </a:cubicBezTo>
                  <a:cubicBezTo>
                    <a:pt x="-1270" y="868252"/>
                    <a:pt x="3322" y="860080"/>
                    <a:pt x="5602" y="854951"/>
                  </a:cubicBezTo>
                  <a:cubicBezTo>
                    <a:pt x="6764" y="852336"/>
                    <a:pt x="10547" y="852021"/>
                    <a:pt x="12745" y="850189"/>
                  </a:cubicBezTo>
                  <a:cubicBezTo>
                    <a:pt x="15332" y="848033"/>
                    <a:pt x="17821" y="845703"/>
                    <a:pt x="19889" y="843045"/>
                  </a:cubicBezTo>
                  <a:cubicBezTo>
                    <a:pt x="23403" y="838527"/>
                    <a:pt x="27604" y="834187"/>
                    <a:pt x="29414" y="828757"/>
                  </a:cubicBezTo>
                  <a:cubicBezTo>
                    <a:pt x="32700" y="818899"/>
                    <a:pt x="30403" y="823702"/>
                    <a:pt x="36558" y="814470"/>
                  </a:cubicBezTo>
                  <a:lnTo>
                    <a:pt x="41320" y="800182"/>
                  </a:lnTo>
                  <a:cubicBezTo>
                    <a:pt x="42114" y="797801"/>
                    <a:pt x="42310" y="795127"/>
                    <a:pt x="43702" y="793039"/>
                  </a:cubicBezTo>
                  <a:cubicBezTo>
                    <a:pt x="45289" y="790658"/>
                    <a:pt x="47184" y="788455"/>
                    <a:pt x="48464" y="785895"/>
                  </a:cubicBezTo>
                  <a:cubicBezTo>
                    <a:pt x="49586" y="783650"/>
                    <a:pt x="49453" y="780840"/>
                    <a:pt x="50845" y="778751"/>
                  </a:cubicBezTo>
                  <a:cubicBezTo>
                    <a:pt x="52713" y="775949"/>
                    <a:pt x="55608" y="773988"/>
                    <a:pt x="57989" y="771607"/>
                  </a:cubicBezTo>
                  <a:cubicBezTo>
                    <a:pt x="58783" y="766845"/>
                    <a:pt x="60370" y="762148"/>
                    <a:pt x="60370" y="757320"/>
                  </a:cubicBezTo>
                  <a:cubicBezTo>
                    <a:pt x="60370" y="717109"/>
                    <a:pt x="62346" y="725150"/>
                    <a:pt x="55608" y="704932"/>
                  </a:cubicBezTo>
                  <a:cubicBezTo>
                    <a:pt x="56402" y="701757"/>
                    <a:pt x="55834" y="697870"/>
                    <a:pt x="57989" y="695407"/>
                  </a:cubicBezTo>
                  <a:cubicBezTo>
                    <a:pt x="61758" y="691099"/>
                    <a:pt x="72277" y="685882"/>
                    <a:pt x="72277" y="685882"/>
                  </a:cubicBezTo>
                  <a:lnTo>
                    <a:pt x="86564" y="664451"/>
                  </a:lnTo>
                  <a:lnTo>
                    <a:pt x="91327" y="657307"/>
                  </a:lnTo>
                  <a:cubicBezTo>
                    <a:pt x="88235" y="635669"/>
                    <a:pt x="90720" y="645964"/>
                    <a:pt x="84183" y="626351"/>
                  </a:cubicBezTo>
                  <a:cubicBezTo>
                    <a:pt x="83389" y="623970"/>
                    <a:pt x="84183" y="620001"/>
                    <a:pt x="81802" y="619207"/>
                  </a:cubicBezTo>
                  <a:lnTo>
                    <a:pt x="74658" y="616826"/>
                  </a:lnTo>
                  <a:cubicBezTo>
                    <a:pt x="65927" y="617620"/>
                    <a:pt x="57143" y="617967"/>
                    <a:pt x="48464" y="619207"/>
                  </a:cubicBezTo>
                  <a:cubicBezTo>
                    <a:pt x="35129" y="621112"/>
                    <a:pt x="47511" y="623654"/>
                    <a:pt x="34177" y="619207"/>
                  </a:cubicBezTo>
                  <a:cubicBezTo>
                    <a:pt x="30515" y="608227"/>
                    <a:pt x="26350" y="598916"/>
                    <a:pt x="34177" y="585870"/>
                  </a:cubicBezTo>
                  <a:cubicBezTo>
                    <a:pt x="36259" y="582400"/>
                    <a:pt x="42114" y="587457"/>
                    <a:pt x="46083" y="588251"/>
                  </a:cubicBezTo>
                  <a:cubicBezTo>
                    <a:pt x="51639" y="587457"/>
                    <a:pt x="57623" y="588150"/>
                    <a:pt x="62752" y="585870"/>
                  </a:cubicBezTo>
                  <a:cubicBezTo>
                    <a:pt x="65367" y="584708"/>
                    <a:pt x="65087" y="580243"/>
                    <a:pt x="67514" y="578726"/>
                  </a:cubicBezTo>
                  <a:cubicBezTo>
                    <a:pt x="71771" y="576065"/>
                    <a:pt x="81802" y="573964"/>
                    <a:pt x="81802" y="573964"/>
                  </a:cubicBezTo>
                  <a:cubicBezTo>
                    <a:pt x="82596" y="571583"/>
                    <a:pt x="84183" y="569330"/>
                    <a:pt x="84183" y="566820"/>
                  </a:cubicBezTo>
                  <a:cubicBezTo>
                    <a:pt x="84183" y="561354"/>
                    <a:pt x="80928" y="554040"/>
                    <a:pt x="77039" y="550151"/>
                  </a:cubicBezTo>
                  <a:cubicBezTo>
                    <a:pt x="75015" y="548127"/>
                    <a:pt x="72276" y="546976"/>
                    <a:pt x="69895" y="545389"/>
                  </a:cubicBezTo>
                  <a:cubicBezTo>
                    <a:pt x="66720" y="546183"/>
                    <a:pt x="63093" y="545955"/>
                    <a:pt x="60370" y="547770"/>
                  </a:cubicBezTo>
                  <a:cubicBezTo>
                    <a:pt x="56414" y="550407"/>
                    <a:pt x="54585" y="557983"/>
                    <a:pt x="53227" y="562057"/>
                  </a:cubicBezTo>
                  <a:cubicBezTo>
                    <a:pt x="55608" y="562851"/>
                    <a:pt x="60370" y="561929"/>
                    <a:pt x="60370" y="564439"/>
                  </a:cubicBezTo>
                  <a:cubicBezTo>
                    <a:pt x="60370" y="567494"/>
                    <a:pt x="48237" y="574909"/>
                    <a:pt x="46083" y="576345"/>
                  </a:cubicBezTo>
                  <a:cubicBezTo>
                    <a:pt x="38145" y="575551"/>
                    <a:pt x="30043" y="575758"/>
                    <a:pt x="22270" y="573964"/>
                  </a:cubicBezTo>
                  <a:cubicBezTo>
                    <a:pt x="19482" y="573320"/>
                    <a:pt x="17807" y="570206"/>
                    <a:pt x="15127" y="569201"/>
                  </a:cubicBezTo>
                  <a:cubicBezTo>
                    <a:pt x="11337" y="567780"/>
                    <a:pt x="7189" y="567614"/>
                    <a:pt x="3220" y="566820"/>
                  </a:cubicBezTo>
                  <a:cubicBezTo>
                    <a:pt x="288" y="558023"/>
                    <a:pt x="-2252" y="553951"/>
                    <a:pt x="3220" y="543007"/>
                  </a:cubicBezTo>
                  <a:cubicBezTo>
                    <a:pt x="4343" y="540762"/>
                    <a:pt x="7983" y="541420"/>
                    <a:pt x="10364" y="540626"/>
                  </a:cubicBezTo>
                  <a:cubicBezTo>
                    <a:pt x="11952" y="538245"/>
                    <a:pt x="13965" y="536097"/>
                    <a:pt x="15127" y="533482"/>
                  </a:cubicBezTo>
                  <a:cubicBezTo>
                    <a:pt x="17166" y="528895"/>
                    <a:pt x="18302" y="523957"/>
                    <a:pt x="19889" y="519195"/>
                  </a:cubicBezTo>
                  <a:cubicBezTo>
                    <a:pt x="21986" y="512904"/>
                    <a:pt x="25653" y="499812"/>
                    <a:pt x="31795" y="497764"/>
                  </a:cubicBezTo>
                  <a:cubicBezTo>
                    <a:pt x="48798" y="492096"/>
                    <a:pt x="41906" y="495786"/>
                    <a:pt x="53227" y="488239"/>
                  </a:cubicBezTo>
                  <a:lnTo>
                    <a:pt x="62752" y="459664"/>
                  </a:lnTo>
                  <a:cubicBezTo>
                    <a:pt x="63546" y="457283"/>
                    <a:pt x="63741" y="454609"/>
                    <a:pt x="65133" y="452520"/>
                  </a:cubicBezTo>
                  <a:cubicBezTo>
                    <a:pt x="66720" y="450139"/>
                    <a:pt x="68615" y="447936"/>
                    <a:pt x="69895" y="445376"/>
                  </a:cubicBezTo>
                  <a:cubicBezTo>
                    <a:pt x="71018" y="443131"/>
                    <a:pt x="71058" y="440426"/>
                    <a:pt x="72277" y="438232"/>
                  </a:cubicBezTo>
                  <a:cubicBezTo>
                    <a:pt x="75057" y="433229"/>
                    <a:pt x="78627" y="428707"/>
                    <a:pt x="81802" y="423945"/>
                  </a:cubicBezTo>
                  <a:cubicBezTo>
                    <a:pt x="86486" y="416919"/>
                    <a:pt x="86831" y="415388"/>
                    <a:pt x="93708" y="409657"/>
                  </a:cubicBezTo>
                  <a:cubicBezTo>
                    <a:pt x="95907" y="407825"/>
                    <a:pt x="98471" y="406482"/>
                    <a:pt x="100852" y="404895"/>
                  </a:cubicBezTo>
                  <a:cubicBezTo>
                    <a:pt x="105036" y="392341"/>
                    <a:pt x="100467" y="402498"/>
                    <a:pt x="110377" y="390607"/>
                  </a:cubicBezTo>
                  <a:cubicBezTo>
                    <a:pt x="112209" y="388409"/>
                    <a:pt x="113307" y="385662"/>
                    <a:pt x="115139" y="383464"/>
                  </a:cubicBezTo>
                  <a:cubicBezTo>
                    <a:pt x="133790" y="361083"/>
                    <a:pt x="107737" y="398140"/>
                    <a:pt x="131808" y="362032"/>
                  </a:cubicBezTo>
                  <a:lnTo>
                    <a:pt x="136570" y="354889"/>
                  </a:lnTo>
                  <a:lnTo>
                    <a:pt x="141333" y="347745"/>
                  </a:lnTo>
                  <a:cubicBezTo>
                    <a:pt x="142127" y="345364"/>
                    <a:pt x="143222" y="343062"/>
                    <a:pt x="143714" y="340601"/>
                  </a:cubicBezTo>
                  <a:cubicBezTo>
                    <a:pt x="148212" y="318110"/>
                    <a:pt x="143769" y="330883"/>
                    <a:pt x="148477" y="314407"/>
                  </a:cubicBezTo>
                  <a:cubicBezTo>
                    <a:pt x="149167" y="311994"/>
                    <a:pt x="149613" y="309443"/>
                    <a:pt x="150858" y="307264"/>
                  </a:cubicBezTo>
                  <a:cubicBezTo>
                    <a:pt x="152827" y="303818"/>
                    <a:pt x="155196" y="300545"/>
                    <a:pt x="158002" y="297739"/>
                  </a:cubicBezTo>
                  <a:cubicBezTo>
                    <a:pt x="160026" y="295715"/>
                    <a:pt x="162764" y="294564"/>
                    <a:pt x="165145" y="292976"/>
                  </a:cubicBezTo>
                  <a:cubicBezTo>
                    <a:pt x="172933" y="269618"/>
                    <a:pt x="160307" y="302613"/>
                    <a:pt x="174670" y="281070"/>
                  </a:cubicBezTo>
                  <a:cubicBezTo>
                    <a:pt x="176485" y="278347"/>
                    <a:pt x="176153" y="274692"/>
                    <a:pt x="177052" y="271545"/>
                  </a:cubicBezTo>
                  <a:cubicBezTo>
                    <a:pt x="177742" y="269131"/>
                    <a:pt x="178311" y="266646"/>
                    <a:pt x="179433" y="264401"/>
                  </a:cubicBezTo>
                  <a:cubicBezTo>
                    <a:pt x="180713" y="261841"/>
                    <a:pt x="183033" y="259872"/>
                    <a:pt x="184195" y="257257"/>
                  </a:cubicBezTo>
                  <a:cubicBezTo>
                    <a:pt x="195530" y="231753"/>
                    <a:pt x="182943" y="251994"/>
                    <a:pt x="193720" y="235826"/>
                  </a:cubicBezTo>
                  <a:cubicBezTo>
                    <a:pt x="195051" y="230504"/>
                    <a:pt x="198547" y="215489"/>
                    <a:pt x="200864" y="212014"/>
                  </a:cubicBezTo>
                  <a:cubicBezTo>
                    <a:pt x="204039" y="207251"/>
                    <a:pt x="208579" y="203156"/>
                    <a:pt x="210389" y="197726"/>
                  </a:cubicBezTo>
                  <a:lnTo>
                    <a:pt x="215152" y="183439"/>
                  </a:lnTo>
                  <a:cubicBezTo>
                    <a:pt x="214358" y="181058"/>
                    <a:pt x="213020" y="178793"/>
                    <a:pt x="212770" y="176295"/>
                  </a:cubicBezTo>
                  <a:cubicBezTo>
                    <a:pt x="209990" y="148494"/>
                    <a:pt x="209091" y="135374"/>
                    <a:pt x="212770" y="109620"/>
                  </a:cubicBezTo>
                  <a:cubicBezTo>
                    <a:pt x="213967" y="101244"/>
                    <a:pt x="216143" y="102874"/>
                    <a:pt x="219914" y="95332"/>
                  </a:cubicBezTo>
                  <a:cubicBezTo>
                    <a:pt x="221036" y="93087"/>
                    <a:pt x="221501" y="90570"/>
                    <a:pt x="222295" y="88189"/>
                  </a:cubicBezTo>
                  <a:cubicBezTo>
                    <a:pt x="220708" y="83426"/>
                    <a:pt x="218750" y="78771"/>
                    <a:pt x="217533" y="73901"/>
                  </a:cubicBezTo>
                  <a:cubicBezTo>
                    <a:pt x="216739" y="70726"/>
                    <a:pt x="216441" y="67384"/>
                    <a:pt x="215152" y="64376"/>
                  </a:cubicBezTo>
                  <a:cubicBezTo>
                    <a:pt x="214025" y="61745"/>
                    <a:pt x="211977" y="59613"/>
                    <a:pt x="210389" y="57232"/>
                  </a:cubicBezTo>
                  <a:cubicBezTo>
                    <a:pt x="207004" y="47077"/>
                    <a:pt x="212374" y="42548"/>
                    <a:pt x="215152" y="38182"/>
                  </a:cubicBezTo>
                  <a:close/>
                </a:path>
              </a:pathLst>
            </a:custGeom>
            <a:solidFill>
              <a:srgbClr val="003399"/>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17" name="Forma libre: forma 40">
              <a:extLst>
                <a:ext uri="{FF2B5EF4-FFF2-40B4-BE49-F238E27FC236}">
                  <a16:creationId xmlns:a16="http://schemas.microsoft.com/office/drawing/2014/main" id="{0D47180F-10DF-48B7-8799-C2CC969A0820}"/>
                </a:ext>
              </a:extLst>
            </p:cNvPr>
            <p:cNvSpPr/>
            <p:nvPr/>
          </p:nvSpPr>
          <p:spPr>
            <a:xfrm>
              <a:off x="4784525" y="2970810"/>
              <a:ext cx="510382" cy="645014"/>
            </a:xfrm>
            <a:custGeom>
              <a:avLst/>
              <a:gdLst>
                <a:gd name="connsiteX0" fmla="*/ 452437 w 514350"/>
                <a:gd name="connsiteY0" fmla="*/ 55562 h 620717"/>
                <a:gd name="connsiteX1" fmla="*/ 465137 w 514350"/>
                <a:gd name="connsiteY1" fmla="*/ 50800 h 620717"/>
                <a:gd name="connsiteX2" fmla="*/ 476250 w 514350"/>
                <a:gd name="connsiteY2" fmla="*/ 41275 h 620717"/>
                <a:gd name="connsiteX3" fmla="*/ 482600 w 514350"/>
                <a:gd name="connsiteY3" fmla="*/ 38100 h 620717"/>
                <a:gd name="connsiteX4" fmla="*/ 490537 w 514350"/>
                <a:gd name="connsiteY4" fmla="*/ 33337 h 620717"/>
                <a:gd name="connsiteX5" fmla="*/ 492125 w 514350"/>
                <a:gd name="connsiteY5" fmla="*/ 28575 h 620717"/>
                <a:gd name="connsiteX6" fmla="*/ 488950 w 514350"/>
                <a:gd name="connsiteY6" fmla="*/ 22225 h 620717"/>
                <a:gd name="connsiteX7" fmla="*/ 477837 w 514350"/>
                <a:gd name="connsiteY7" fmla="*/ 19050 h 620717"/>
                <a:gd name="connsiteX8" fmla="*/ 474662 w 514350"/>
                <a:gd name="connsiteY8" fmla="*/ 14287 h 620717"/>
                <a:gd name="connsiteX9" fmla="*/ 469900 w 514350"/>
                <a:gd name="connsiteY9" fmla="*/ 3175 h 620717"/>
                <a:gd name="connsiteX10" fmla="*/ 465137 w 514350"/>
                <a:gd name="connsiteY10" fmla="*/ 0 h 620717"/>
                <a:gd name="connsiteX11" fmla="*/ 460375 w 514350"/>
                <a:gd name="connsiteY11" fmla="*/ 1587 h 620717"/>
                <a:gd name="connsiteX12" fmla="*/ 447675 w 514350"/>
                <a:gd name="connsiteY12" fmla="*/ 9525 h 620717"/>
                <a:gd name="connsiteX13" fmla="*/ 428625 w 514350"/>
                <a:gd name="connsiteY13" fmla="*/ 12700 h 620717"/>
                <a:gd name="connsiteX14" fmla="*/ 427037 w 514350"/>
                <a:gd name="connsiteY14" fmla="*/ 19050 h 620717"/>
                <a:gd name="connsiteX15" fmla="*/ 409575 w 514350"/>
                <a:gd name="connsiteY15" fmla="*/ 14287 h 620717"/>
                <a:gd name="connsiteX16" fmla="*/ 401637 w 514350"/>
                <a:gd name="connsiteY16" fmla="*/ 12700 h 620717"/>
                <a:gd name="connsiteX17" fmla="*/ 352425 w 514350"/>
                <a:gd name="connsiteY17" fmla="*/ 19050 h 620717"/>
                <a:gd name="connsiteX18" fmla="*/ 350837 w 514350"/>
                <a:gd name="connsiteY18" fmla="*/ 23812 h 620717"/>
                <a:gd name="connsiteX19" fmla="*/ 352425 w 514350"/>
                <a:gd name="connsiteY19" fmla="*/ 38100 h 620717"/>
                <a:gd name="connsiteX20" fmla="*/ 357187 w 514350"/>
                <a:gd name="connsiteY20" fmla="*/ 44450 h 620717"/>
                <a:gd name="connsiteX21" fmla="*/ 349250 w 514350"/>
                <a:gd name="connsiteY21" fmla="*/ 58737 h 620717"/>
                <a:gd name="connsiteX22" fmla="*/ 328612 w 514350"/>
                <a:gd name="connsiteY22" fmla="*/ 60325 h 620717"/>
                <a:gd name="connsiteX23" fmla="*/ 307975 w 514350"/>
                <a:gd name="connsiteY23" fmla="*/ 68262 h 620717"/>
                <a:gd name="connsiteX24" fmla="*/ 295275 w 514350"/>
                <a:gd name="connsiteY24" fmla="*/ 73025 h 620717"/>
                <a:gd name="connsiteX25" fmla="*/ 292100 w 514350"/>
                <a:gd name="connsiteY25" fmla="*/ 77787 h 620717"/>
                <a:gd name="connsiteX26" fmla="*/ 296862 w 514350"/>
                <a:gd name="connsiteY26" fmla="*/ 79375 h 620717"/>
                <a:gd name="connsiteX27" fmla="*/ 311150 w 514350"/>
                <a:gd name="connsiteY27" fmla="*/ 82550 h 620717"/>
                <a:gd name="connsiteX28" fmla="*/ 319087 w 514350"/>
                <a:gd name="connsiteY28" fmla="*/ 87312 h 620717"/>
                <a:gd name="connsiteX29" fmla="*/ 323850 w 514350"/>
                <a:gd name="connsiteY29" fmla="*/ 88900 h 620717"/>
                <a:gd name="connsiteX30" fmla="*/ 336550 w 514350"/>
                <a:gd name="connsiteY30" fmla="*/ 103187 h 620717"/>
                <a:gd name="connsiteX31" fmla="*/ 334962 w 514350"/>
                <a:gd name="connsiteY31" fmla="*/ 114300 h 620717"/>
                <a:gd name="connsiteX32" fmla="*/ 330200 w 514350"/>
                <a:gd name="connsiteY32" fmla="*/ 115887 h 620717"/>
                <a:gd name="connsiteX33" fmla="*/ 315912 w 514350"/>
                <a:gd name="connsiteY33" fmla="*/ 130175 h 620717"/>
                <a:gd name="connsiteX34" fmla="*/ 307975 w 514350"/>
                <a:gd name="connsiteY34" fmla="*/ 131762 h 620717"/>
                <a:gd name="connsiteX35" fmla="*/ 300037 w 514350"/>
                <a:gd name="connsiteY35" fmla="*/ 134937 h 620717"/>
                <a:gd name="connsiteX36" fmla="*/ 296862 w 514350"/>
                <a:gd name="connsiteY36" fmla="*/ 142875 h 620717"/>
                <a:gd name="connsiteX37" fmla="*/ 282575 w 514350"/>
                <a:gd name="connsiteY37" fmla="*/ 157162 h 620717"/>
                <a:gd name="connsiteX38" fmla="*/ 273050 w 514350"/>
                <a:gd name="connsiteY38" fmla="*/ 153987 h 620717"/>
                <a:gd name="connsiteX39" fmla="*/ 261937 w 514350"/>
                <a:gd name="connsiteY39" fmla="*/ 147637 h 620717"/>
                <a:gd name="connsiteX40" fmla="*/ 242887 w 514350"/>
                <a:gd name="connsiteY40" fmla="*/ 149225 h 620717"/>
                <a:gd name="connsiteX41" fmla="*/ 236537 w 514350"/>
                <a:gd name="connsiteY41" fmla="*/ 150812 h 620717"/>
                <a:gd name="connsiteX42" fmla="*/ 231775 w 514350"/>
                <a:gd name="connsiteY42" fmla="*/ 142875 h 620717"/>
                <a:gd name="connsiteX43" fmla="*/ 225425 w 514350"/>
                <a:gd name="connsiteY43" fmla="*/ 123825 h 620717"/>
                <a:gd name="connsiteX44" fmla="*/ 219075 w 514350"/>
                <a:gd name="connsiteY44" fmla="*/ 122237 h 620717"/>
                <a:gd name="connsiteX45" fmla="*/ 204787 w 514350"/>
                <a:gd name="connsiteY45" fmla="*/ 120650 h 620717"/>
                <a:gd name="connsiteX46" fmla="*/ 190500 w 514350"/>
                <a:gd name="connsiteY46" fmla="*/ 117475 h 620717"/>
                <a:gd name="connsiteX47" fmla="*/ 182562 w 514350"/>
                <a:gd name="connsiteY47" fmla="*/ 111125 h 620717"/>
                <a:gd name="connsiteX48" fmla="*/ 174625 w 514350"/>
                <a:gd name="connsiteY48" fmla="*/ 104775 h 620717"/>
                <a:gd name="connsiteX49" fmla="*/ 152400 w 514350"/>
                <a:gd name="connsiteY49" fmla="*/ 106362 h 620717"/>
                <a:gd name="connsiteX50" fmla="*/ 150812 w 514350"/>
                <a:gd name="connsiteY50" fmla="*/ 117475 h 620717"/>
                <a:gd name="connsiteX51" fmla="*/ 133350 w 514350"/>
                <a:gd name="connsiteY51" fmla="*/ 120650 h 620717"/>
                <a:gd name="connsiteX52" fmla="*/ 138112 w 514350"/>
                <a:gd name="connsiteY52" fmla="*/ 123825 h 620717"/>
                <a:gd name="connsiteX53" fmla="*/ 139700 w 514350"/>
                <a:gd name="connsiteY53" fmla="*/ 128587 h 620717"/>
                <a:gd name="connsiteX54" fmla="*/ 146050 w 514350"/>
                <a:gd name="connsiteY54" fmla="*/ 131762 h 620717"/>
                <a:gd name="connsiteX55" fmla="*/ 147637 w 514350"/>
                <a:gd name="connsiteY55" fmla="*/ 138112 h 620717"/>
                <a:gd name="connsiteX56" fmla="*/ 123825 w 514350"/>
                <a:gd name="connsiteY56" fmla="*/ 146050 h 620717"/>
                <a:gd name="connsiteX57" fmla="*/ 117475 w 514350"/>
                <a:gd name="connsiteY57" fmla="*/ 155575 h 620717"/>
                <a:gd name="connsiteX58" fmla="*/ 112712 w 514350"/>
                <a:gd name="connsiteY58" fmla="*/ 157162 h 620717"/>
                <a:gd name="connsiteX59" fmla="*/ 125412 w 514350"/>
                <a:gd name="connsiteY59" fmla="*/ 161925 h 620717"/>
                <a:gd name="connsiteX60" fmla="*/ 130175 w 514350"/>
                <a:gd name="connsiteY60" fmla="*/ 163512 h 620717"/>
                <a:gd name="connsiteX61" fmla="*/ 142875 w 514350"/>
                <a:gd name="connsiteY61" fmla="*/ 166687 h 620717"/>
                <a:gd name="connsiteX62" fmla="*/ 147637 w 514350"/>
                <a:gd name="connsiteY62" fmla="*/ 173037 h 620717"/>
                <a:gd name="connsiteX63" fmla="*/ 152400 w 514350"/>
                <a:gd name="connsiteY63" fmla="*/ 177800 h 620717"/>
                <a:gd name="connsiteX64" fmla="*/ 146050 w 514350"/>
                <a:gd name="connsiteY64" fmla="*/ 179387 h 620717"/>
                <a:gd name="connsiteX65" fmla="*/ 149225 w 514350"/>
                <a:gd name="connsiteY65" fmla="*/ 185737 h 620717"/>
                <a:gd name="connsiteX66" fmla="*/ 153987 w 514350"/>
                <a:gd name="connsiteY66" fmla="*/ 187325 h 620717"/>
                <a:gd name="connsiteX67" fmla="*/ 168275 w 514350"/>
                <a:gd name="connsiteY67" fmla="*/ 190500 h 620717"/>
                <a:gd name="connsiteX68" fmla="*/ 165100 w 514350"/>
                <a:gd name="connsiteY68" fmla="*/ 198437 h 620717"/>
                <a:gd name="connsiteX69" fmla="*/ 160337 w 514350"/>
                <a:gd name="connsiteY69" fmla="*/ 200025 h 620717"/>
                <a:gd name="connsiteX70" fmla="*/ 139700 w 514350"/>
                <a:gd name="connsiteY70" fmla="*/ 196850 h 620717"/>
                <a:gd name="connsiteX71" fmla="*/ 153987 w 514350"/>
                <a:gd name="connsiteY71" fmla="*/ 211137 h 620717"/>
                <a:gd name="connsiteX72" fmla="*/ 152400 w 514350"/>
                <a:gd name="connsiteY72" fmla="*/ 217487 h 620717"/>
                <a:gd name="connsiteX73" fmla="*/ 138112 w 514350"/>
                <a:gd name="connsiteY73" fmla="*/ 219075 h 620717"/>
                <a:gd name="connsiteX74" fmla="*/ 142875 w 514350"/>
                <a:gd name="connsiteY74" fmla="*/ 223837 h 620717"/>
                <a:gd name="connsiteX75" fmla="*/ 141287 w 514350"/>
                <a:gd name="connsiteY75" fmla="*/ 228600 h 620717"/>
                <a:gd name="connsiteX76" fmla="*/ 107950 w 514350"/>
                <a:gd name="connsiteY76" fmla="*/ 231775 h 620717"/>
                <a:gd name="connsiteX77" fmla="*/ 95250 w 514350"/>
                <a:gd name="connsiteY77" fmla="*/ 233362 h 620717"/>
                <a:gd name="connsiteX78" fmla="*/ 92075 w 514350"/>
                <a:gd name="connsiteY78" fmla="*/ 247650 h 620717"/>
                <a:gd name="connsiteX79" fmla="*/ 93662 w 514350"/>
                <a:gd name="connsiteY79" fmla="*/ 252412 h 620717"/>
                <a:gd name="connsiteX80" fmla="*/ 109537 w 514350"/>
                <a:gd name="connsiteY80" fmla="*/ 260350 h 620717"/>
                <a:gd name="connsiteX81" fmla="*/ 114300 w 514350"/>
                <a:gd name="connsiteY81" fmla="*/ 263525 h 620717"/>
                <a:gd name="connsiteX82" fmla="*/ 119062 w 514350"/>
                <a:gd name="connsiteY82" fmla="*/ 268287 h 620717"/>
                <a:gd name="connsiteX83" fmla="*/ 123825 w 514350"/>
                <a:gd name="connsiteY83" fmla="*/ 269875 h 620717"/>
                <a:gd name="connsiteX84" fmla="*/ 128587 w 514350"/>
                <a:gd name="connsiteY84" fmla="*/ 273050 h 620717"/>
                <a:gd name="connsiteX85" fmla="*/ 114300 w 514350"/>
                <a:gd name="connsiteY85" fmla="*/ 279400 h 620717"/>
                <a:gd name="connsiteX86" fmla="*/ 109537 w 514350"/>
                <a:gd name="connsiteY86" fmla="*/ 284162 h 620717"/>
                <a:gd name="connsiteX87" fmla="*/ 111125 w 514350"/>
                <a:gd name="connsiteY87" fmla="*/ 293687 h 620717"/>
                <a:gd name="connsiteX88" fmla="*/ 125412 w 514350"/>
                <a:gd name="connsiteY88" fmla="*/ 296862 h 620717"/>
                <a:gd name="connsiteX89" fmla="*/ 136525 w 514350"/>
                <a:gd name="connsiteY89" fmla="*/ 301625 h 620717"/>
                <a:gd name="connsiteX90" fmla="*/ 142875 w 514350"/>
                <a:gd name="connsiteY90" fmla="*/ 303212 h 620717"/>
                <a:gd name="connsiteX91" fmla="*/ 146050 w 514350"/>
                <a:gd name="connsiteY91" fmla="*/ 311150 h 620717"/>
                <a:gd name="connsiteX92" fmla="*/ 158750 w 514350"/>
                <a:gd name="connsiteY92" fmla="*/ 315912 h 620717"/>
                <a:gd name="connsiteX93" fmla="*/ 193675 w 514350"/>
                <a:gd name="connsiteY93" fmla="*/ 317500 h 620717"/>
                <a:gd name="connsiteX94" fmla="*/ 209550 w 514350"/>
                <a:gd name="connsiteY94" fmla="*/ 320675 h 620717"/>
                <a:gd name="connsiteX95" fmla="*/ 204787 w 514350"/>
                <a:gd name="connsiteY95" fmla="*/ 323850 h 620717"/>
                <a:gd name="connsiteX96" fmla="*/ 200025 w 514350"/>
                <a:gd name="connsiteY96" fmla="*/ 325437 h 620717"/>
                <a:gd name="connsiteX97" fmla="*/ 190500 w 514350"/>
                <a:gd name="connsiteY97" fmla="*/ 331787 h 620717"/>
                <a:gd name="connsiteX98" fmla="*/ 182562 w 514350"/>
                <a:gd name="connsiteY98" fmla="*/ 338137 h 620717"/>
                <a:gd name="connsiteX99" fmla="*/ 176212 w 514350"/>
                <a:gd name="connsiteY99" fmla="*/ 341312 h 620717"/>
                <a:gd name="connsiteX100" fmla="*/ 171450 w 514350"/>
                <a:gd name="connsiteY100" fmla="*/ 344487 h 620717"/>
                <a:gd name="connsiteX101" fmla="*/ 161925 w 514350"/>
                <a:gd name="connsiteY101" fmla="*/ 347662 h 620717"/>
                <a:gd name="connsiteX102" fmla="*/ 149225 w 514350"/>
                <a:gd name="connsiteY102" fmla="*/ 365125 h 620717"/>
                <a:gd name="connsiteX103" fmla="*/ 139700 w 514350"/>
                <a:gd name="connsiteY103" fmla="*/ 382587 h 620717"/>
                <a:gd name="connsiteX104" fmla="*/ 134937 w 514350"/>
                <a:gd name="connsiteY104" fmla="*/ 384175 h 620717"/>
                <a:gd name="connsiteX105" fmla="*/ 133350 w 514350"/>
                <a:gd name="connsiteY105" fmla="*/ 388937 h 620717"/>
                <a:gd name="connsiteX106" fmla="*/ 128587 w 514350"/>
                <a:gd name="connsiteY106" fmla="*/ 392112 h 620717"/>
                <a:gd name="connsiteX107" fmla="*/ 120650 w 514350"/>
                <a:gd name="connsiteY107" fmla="*/ 398462 h 620717"/>
                <a:gd name="connsiteX108" fmla="*/ 114300 w 514350"/>
                <a:gd name="connsiteY108" fmla="*/ 409575 h 620717"/>
                <a:gd name="connsiteX109" fmla="*/ 109537 w 514350"/>
                <a:gd name="connsiteY109" fmla="*/ 411162 h 620717"/>
                <a:gd name="connsiteX110" fmla="*/ 92075 w 514350"/>
                <a:gd name="connsiteY110" fmla="*/ 414337 h 620717"/>
                <a:gd name="connsiteX111" fmla="*/ 92075 w 514350"/>
                <a:gd name="connsiteY111" fmla="*/ 433387 h 620717"/>
                <a:gd name="connsiteX112" fmla="*/ 79375 w 514350"/>
                <a:gd name="connsiteY112" fmla="*/ 441325 h 620717"/>
                <a:gd name="connsiteX113" fmla="*/ 73025 w 514350"/>
                <a:gd name="connsiteY113" fmla="*/ 455612 h 620717"/>
                <a:gd name="connsiteX114" fmla="*/ 69850 w 514350"/>
                <a:gd name="connsiteY114" fmla="*/ 463550 h 620717"/>
                <a:gd name="connsiteX115" fmla="*/ 65087 w 514350"/>
                <a:gd name="connsiteY115" fmla="*/ 465137 h 620717"/>
                <a:gd name="connsiteX116" fmla="*/ 38100 w 514350"/>
                <a:gd name="connsiteY116" fmla="*/ 466725 h 620717"/>
                <a:gd name="connsiteX117" fmla="*/ 34925 w 514350"/>
                <a:gd name="connsiteY117" fmla="*/ 473075 h 620717"/>
                <a:gd name="connsiteX118" fmla="*/ 30162 w 514350"/>
                <a:gd name="connsiteY118" fmla="*/ 476250 h 620717"/>
                <a:gd name="connsiteX119" fmla="*/ 0 w 514350"/>
                <a:gd name="connsiteY119" fmla="*/ 477837 h 620717"/>
                <a:gd name="connsiteX120" fmla="*/ 4762 w 514350"/>
                <a:gd name="connsiteY120" fmla="*/ 484187 h 620717"/>
                <a:gd name="connsiteX121" fmla="*/ 23812 w 514350"/>
                <a:gd name="connsiteY121" fmla="*/ 485775 h 620717"/>
                <a:gd name="connsiteX122" fmla="*/ 30162 w 514350"/>
                <a:gd name="connsiteY122" fmla="*/ 487362 h 620717"/>
                <a:gd name="connsiteX123" fmla="*/ 39687 w 514350"/>
                <a:gd name="connsiteY123" fmla="*/ 488950 h 620717"/>
                <a:gd name="connsiteX124" fmla="*/ 33337 w 514350"/>
                <a:gd name="connsiteY124" fmla="*/ 492125 h 620717"/>
                <a:gd name="connsiteX125" fmla="*/ 25400 w 514350"/>
                <a:gd name="connsiteY125" fmla="*/ 493712 h 620717"/>
                <a:gd name="connsiteX126" fmla="*/ 19050 w 514350"/>
                <a:gd name="connsiteY126" fmla="*/ 495300 h 620717"/>
                <a:gd name="connsiteX127" fmla="*/ 14287 w 514350"/>
                <a:gd name="connsiteY127" fmla="*/ 498475 h 620717"/>
                <a:gd name="connsiteX128" fmla="*/ 4762 w 514350"/>
                <a:gd name="connsiteY128" fmla="*/ 503237 h 620717"/>
                <a:gd name="connsiteX129" fmla="*/ 3175 w 514350"/>
                <a:gd name="connsiteY129" fmla="*/ 508000 h 620717"/>
                <a:gd name="connsiteX130" fmla="*/ 4762 w 514350"/>
                <a:gd name="connsiteY130" fmla="*/ 530225 h 620717"/>
                <a:gd name="connsiteX131" fmla="*/ 11112 w 514350"/>
                <a:gd name="connsiteY131" fmla="*/ 533400 h 620717"/>
                <a:gd name="connsiteX132" fmla="*/ 20637 w 514350"/>
                <a:gd name="connsiteY132" fmla="*/ 534987 h 620717"/>
                <a:gd name="connsiteX133" fmla="*/ 26987 w 514350"/>
                <a:gd name="connsiteY133" fmla="*/ 536575 h 620717"/>
                <a:gd name="connsiteX134" fmla="*/ 39687 w 514350"/>
                <a:gd name="connsiteY134" fmla="*/ 542925 h 620717"/>
                <a:gd name="connsiteX135" fmla="*/ 44450 w 514350"/>
                <a:gd name="connsiteY135" fmla="*/ 546100 h 620717"/>
                <a:gd name="connsiteX136" fmla="*/ 58737 w 514350"/>
                <a:gd name="connsiteY136" fmla="*/ 547687 h 620717"/>
                <a:gd name="connsiteX137" fmla="*/ 47625 w 514350"/>
                <a:gd name="connsiteY137" fmla="*/ 555625 h 620717"/>
                <a:gd name="connsiteX138" fmla="*/ 30162 w 514350"/>
                <a:gd name="connsiteY138" fmla="*/ 558800 h 620717"/>
                <a:gd name="connsiteX139" fmla="*/ 7937 w 514350"/>
                <a:gd name="connsiteY139" fmla="*/ 563562 h 620717"/>
                <a:gd name="connsiteX140" fmla="*/ 7937 w 514350"/>
                <a:gd name="connsiteY140" fmla="*/ 576262 h 620717"/>
                <a:gd name="connsiteX141" fmla="*/ 17462 w 514350"/>
                <a:gd name="connsiteY141" fmla="*/ 577850 h 620717"/>
                <a:gd name="connsiteX142" fmla="*/ 39687 w 514350"/>
                <a:gd name="connsiteY142" fmla="*/ 581025 h 620717"/>
                <a:gd name="connsiteX143" fmla="*/ 47625 w 514350"/>
                <a:gd name="connsiteY143" fmla="*/ 582612 h 620717"/>
                <a:gd name="connsiteX144" fmla="*/ 61912 w 514350"/>
                <a:gd name="connsiteY144" fmla="*/ 584200 h 620717"/>
                <a:gd name="connsiteX145" fmla="*/ 66675 w 514350"/>
                <a:gd name="connsiteY145" fmla="*/ 587375 h 620717"/>
                <a:gd name="connsiteX146" fmla="*/ 53975 w 514350"/>
                <a:gd name="connsiteY146" fmla="*/ 593725 h 620717"/>
                <a:gd name="connsiteX147" fmla="*/ 52387 w 514350"/>
                <a:gd name="connsiteY147" fmla="*/ 601662 h 620717"/>
                <a:gd name="connsiteX148" fmla="*/ 50800 w 514350"/>
                <a:gd name="connsiteY148" fmla="*/ 606425 h 620717"/>
                <a:gd name="connsiteX149" fmla="*/ 55562 w 514350"/>
                <a:gd name="connsiteY149" fmla="*/ 614362 h 620717"/>
                <a:gd name="connsiteX150" fmla="*/ 79375 w 514350"/>
                <a:gd name="connsiteY150" fmla="*/ 609600 h 620717"/>
                <a:gd name="connsiteX151" fmla="*/ 123825 w 514350"/>
                <a:gd name="connsiteY151" fmla="*/ 612775 h 620717"/>
                <a:gd name="connsiteX152" fmla="*/ 130175 w 514350"/>
                <a:gd name="connsiteY152" fmla="*/ 617537 h 620717"/>
                <a:gd name="connsiteX153" fmla="*/ 144462 w 514350"/>
                <a:gd name="connsiteY153" fmla="*/ 620712 h 620717"/>
                <a:gd name="connsiteX154" fmla="*/ 173037 w 514350"/>
                <a:gd name="connsiteY154" fmla="*/ 617537 h 620717"/>
                <a:gd name="connsiteX155" fmla="*/ 180975 w 514350"/>
                <a:gd name="connsiteY155" fmla="*/ 614362 h 620717"/>
                <a:gd name="connsiteX156" fmla="*/ 187325 w 514350"/>
                <a:gd name="connsiteY156" fmla="*/ 609600 h 620717"/>
                <a:gd name="connsiteX157" fmla="*/ 196850 w 514350"/>
                <a:gd name="connsiteY157" fmla="*/ 606425 h 620717"/>
                <a:gd name="connsiteX158" fmla="*/ 198437 w 514350"/>
                <a:gd name="connsiteY158" fmla="*/ 600075 h 620717"/>
                <a:gd name="connsiteX159" fmla="*/ 203200 w 514350"/>
                <a:gd name="connsiteY159" fmla="*/ 595312 h 620717"/>
                <a:gd name="connsiteX160" fmla="*/ 215900 w 514350"/>
                <a:gd name="connsiteY160" fmla="*/ 581025 h 620717"/>
                <a:gd name="connsiteX161" fmla="*/ 230187 w 514350"/>
                <a:gd name="connsiteY161" fmla="*/ 582612 h 620717"/>
                <a:gd name="connsiteX162" fmla="*/ 238125 w 514350"/>
                <a:gd name="connsiteY162" fmla="*/ 584200 h 620717"/>
                <a:gd name="connsiteX163" fmla="*/ 261937 w 514350"/>
                <a:gd name="connsiteY163" fmla="*/ 581025 h 620717"/>
                <a:gd name="connsiteX164" fmla="*/ 263525 w 514350"/>
                <a:gd name="connsiteY164" fmla="*/ 576262 h 620717"/>
                <a:gd name="connsiteX165" fmla="*/ 266700 w 514350"/>
                <a:gd name="connsiteY165" fmla="*/ 582612 h 620717"/>
                <a:gd name="connsiteX166" fmla="*/ 277812 w 514350"/>
                <a:gd name="connsiteY166" fmla="*/ 590550 h 620717"/>
                <a:gd name="connsiteX167" fmla="*/ 279400 w 514350"/>
                <a:gd name="connsiteY167" fmla="*/ 579437 h 620717"/>
                <a:gd name="connsiteX168" fmla="*/ 287337 w 514350"/>
                <a:gd name="connsiteY168" fmla="*/ 571500 h 620717"/>
                <a:gd name="connsiteX169" fmla="*/ 290512 w 514350"/>
                <a:gd name="connsiteY169" fmla="*/ 566737 h 620717"/>
                <a:gd name="connsiteX170" fmla="*/ 311150 w 514350"/>
                <a:gd name="connsiteY170" fmla="*/ 558800 h 620717"/>
                <a:gd name="connsiteX171" fmla="*/ 354012 w 514350"/>
                <a:gd name="connsiteY171" fmla="*/ 554037 h 620717"/>
                <a:gd name="connsiteX172" fmla="*/ 360362 w 514350"/>
                <a:gd name="connsiteY172" fmla="*/ 561975 h 620717"/>
                <a:gd name="connsiteX173" fmla="*/ 365125 w 514350"/>
                <a:gd name="connsiteY173" fmla="*/ 563562 h 620717"/>
                <a:gd name="connsiteX174" fmla="*/ 366712 w 514350"/>
                <a:gd name="connsiteY174" fmla="*/ 557212 h 620717"/>
                <a:gd name="connsiteX175" fmla="*/ 368300 w 514350"/>
                <a:gd name="connsiteY175" fmla="*/ 552450 h 620717"/>
                <a:gd name="connsiteX176" fmla="*/ 377825 w 514350"/>
                <a:gd name="connsiteY176" fmla="*/ 557212 h 620717"/>
                <a:gd name="connsiteX177" fmla="*/ 382587 w 514350"/>
                <a:gd name="connsiteY177" fmla="*/ 563562 h 620717"/>
                <a:gd name="connsiteX178" fmla="*/ 404812 w 514350"/>
                <a:gd name="connsiteY178" fmla="*/ 565150 h 620717"/>
                <a:gd name="connsiteX179" fmla="*/ 414337 w 514350"/>
                <a:gd name="connsiteY179" fmla="*/ 571500 h 620717"/>
                <a:gd name="connsiteX180" fmla="*/ 419100 w 514350"/>
                <a:gd name="connsiteY180" fmla="*/ 574675 h 620717"/>
                <a:gd name="connsiteX181" fmla="*/ 436562 w 514350"/>
                <a:gd name="connsiteY181" fmla="*/ 573087 h 620717"/>
                <a:gd name="connsiteX182" fmla="*/ 434975 w 514350"/>
                <a:gd name="connsiteY182" fmla="*/ 566737 h 620717"/>
                <a:gd name="connsiteX183" fmla="*/ 430212 w 514350"/>
                <a:gd name="connsiteY183" fmla="*/ 546100 h 620717"/>
                <a:gd name="connsiteX184" fmla="*/ 433387 w 514350"/>
                <a:gd name="connsiteY184" fmla="*/ 531812 h 620717"/>
                <a:gd name="connsiteX185" fmla="*/ 446087 w 514350"/>
                <a:gd name="connsiteY185" fmla="*/ 525462 h 620717"/>
                <a:gd name="connsiteX186" fmla="*/ 452437 w 514350"/>
                <a:gd name="connsiteY186" fmla="*/ 519112 h 620717"/>
                <a:gd name="connsiteX187" fmla="*/ 463550 w 514350"/>
                <a:gd name="connsiteY187" fmla="*/ 514350 h 620717"/>
                <a:gd name="connsiteX188" fmla="*/ 465137 w 514350"/>
                <a:gd name="connsiteY188" fmla="*/ 508000 h 620717"/>
                <a:gd name="connsiteX189" fmla="*/ 466725 w 514350"/>
                <a:gd name="connsiteY189" fmla="*/ 485775 h 620717"/>
                <a:gd name="connsiteX190" fmla="*/ 482600 w 514350"/>
                <a:gd name="connsiteY190" fmla="*/ 474662 h 620717"/>
                <a:gd name="connsiteX191" fmla="*/ 495300 w 514350"/>
                <a:gd name="connsiteY191" fmla="*/ 458787 h 620717"/>
                <a:gd name="connsiteX192" fmla="*/ 501650 w 514350"/>
                <a:gd name="connsiteY192" fmla="*/ 438150 h 620717"/>
                <a:gd name="connsiteX193" fmla="*/ 506412 w 514350"/>
                <a:gd name="connsiteY193" fmla="*/ 433387 h 620717"/>
                <a:gd name="connsiteX194" fmla="*/ 506412 w 514350"/>
                <a:gd name="connsiteY194" fmla="*/ 401637 h 620717"/>
                <a:gd name="connsiteX195" fmla="*/ 501650 w 514350"/>
                <a:gd name="connsiteY195" fmla="*/ 398462 h 620717"/>
                <a:gd name="connsiteX196" fmla="*/ 498475 w 514350"/>
                <a:gd name="connsiteY196" fmla="*/ 392112 h 620717"/>
                <a:gd name="connsiteX197" fmla="*/ 503237 w 514350"/>
                <a:gd name="connsiteY197" fmla="*/ 360362 h 620717"/>
                <a:gd name="connsiteX198" fmla="*/ 508000 w 514350"/>
                <a:gd name="connsiteY198" fmla="*/ 355600 h 620717"/>
                <a:gd name="connsiteX199" fmla="*/ 514350 w 514350"/>
                <a:gd name="connsiteY199" fmla="*/ 346075 h 620717"/>
                <a:gd name="connsiteX200" fmla="*/ 511175 w 514350"/>
                <a:gd name="connsiteY200" fmla="*/ 331787 h 620717"/>
                <a:gd name="connsiteX201" fmla="*/ 506412 w 514350"/>
                <a:gd name="connsiteY201" fmla="*/ 327025 h 620717"/>
                <a:gd name="connsiteX202" fmla="*/ 504825 w 514350"/>
                <a:gd name="connsiteY202" fmla="*/ 315912 h 620717"/>
                <a:gd name="connsiteX203" fmla="*/ 508000 w 514350"/>
                <a:gd name="connsiteY203" fmla="*/ 290512 h 620717"/>
                <a:gd name="connsiteX204" fmla="*/ 506412 w 514350"/>
                <a:gd name="connsiteY204" fmla="*/ 282575 h 620717"/>
                <a:gd name="connsiteX205" fmla="*/ 495300 w 514350"/>
                <a:gd name="connsiteY205" fmla="*/ 276225 h 620717"/>
                <a:gd name="connsiteX206" fmla="*/ 496887 w 514350"/>
                <a:gd name="connsiteY206" fmla="*/ 268287 h 620717"/>
                <a:gd name="connsiteX207" fmla="*/ 501650 w 514350"/>
                <a:gd name="connsiteY207" fmla="*/ 266700 h 620717"/>
                <a:gd name="connsiteX208" fmla="*/ 506412 w 514350"/>
                <a:gd name="connsiteY208" fmla="*/ 263525 h 620717"/>
                <a:gd name="connsiteX209" fmla="*/ 509587 w 514350"/>
                <a:gd name="connsiteY209" fmla="*/ 258762 h 620717"/>
                <a:gd name="connsiteX210" fmla="*/ 511175 w 514350"/>
                <a:gd name="connsiteY210" fmla="*/ 254000 h 620717"/>
                <a:gd name="connsiteX211" fmla="*/ 514350 w 514350"/>
                <a:gd name="connsiteY211" fmla="*/ 246062 h 620717"/>
                <a:gd name="connsiteX212" fmla="*/ 512762 w 514350"/>
                <a:gd name="connsiteY212" fmla="*/ 239712 h 620717"/>
                <a:gd name="connsiteX213" fmla="*/ 496887 w 514350"/>
                <a:gd name="connsiteY213" fmla="*/ 239712 h 620717"/>
                <a:gd name="connsiteX214" fmla="*/ 492125 w 514350"/>
                <a:gd name="connsiteY214" fmla="*/ 241300 h 620717"/>
                <a:gd name="connsiteX215" fmla="*/ 485775 w 514350"/>
                <a:gd name="connsiteY215" fmla="*/ 244475 h 620717"/>
                <a:gd name="connsiteX216" fmla="*/ 481012 w 514350"/>
                <a:gd name="connsiteY216" fmla="*/ 234950 h 620717"/>
                <a:gd name="connsiteX217" fmla="*/ 479425 w 514350"/>
                <a:gd name="connsiteY217" fmla="*/ 222250 h 620717"/>
                <a:gd name="connsiteX218" fmla="*/ 477837 w 514350"/>
                <a:gd name="connsiteY218" fmla="*/ 215900 h 620717"/>
                <a:gd name="connsiteX219" fmla="*/ 473075 w 514350"/>
                <a:gd name="connsiteY219" fmla="*/ 190500 h 620717"/>
                <a:gd name="connsiteX220" fmla="*/ 468312 w 514350"/>
                <a:gd name="connsiteY220" fmla="*/ 176212 h 620717"/>
                <a:gd name="connsiteX221" fmla="*/ 458787 w 514350"/>
                <a:gd name="connsiteY221" fmla="*/ 171450 h 620717"/>
                <a:gd name="connsiteX222" fmla="*/ 449262 w 514350"/>
                <a:gd name="connsiteY222" fmla="*/ 173037 h 620717"/>
                <a:gd name="connsiteX223" fmla="*/ 438150 w 514350"/>
                <a:gd name="connsiteY223" fmla="*/ 182562 h 620717"/>
                <a:gd name="connsiteX224" fmla="*/ 434975 w 514350"/>
                <a:gd name="connsiteY224" fmla="*/ 188912 h 620717"/>
                <a:gd name="connsiteX225" fmla="*/ 428625 w 514350"/>
                <a:gd name="connsiteY225" fmla="*/ 196850 h 620717"/>
                <a:gd name="connsiteX226" fmla="*/ 417512 w 514350"/>
                <a:gd name="connsiteY226" fmla="*/ 206375 h 620717"/>
                <a:gd name="connsiteX227" fmla="*/ 412750 w 514350"/>
                <a:gd name="connsiteY227" fmla="*/ 207962 h 620717"/>
                <a:gd name="connsiteX228" fmla="*/ 401637 w 514350"/>
                <a:gd name="connsiteY228" fmla="*/ 206375 h 620717"/>
                <a:gd name="connsiteX229" fmla="*/ 395287 w 514350"/>
                <a:gd name="connsiteY229" fmla="*/ 200025 h 620717"/>
                <a:gd name="connsiteX230" fmla="*/ 390525 w 514350"/>
                <a:gd name="connsiteY230" fmla="*/ 196850 h 620717"/>
                <a:gd name="connsiteX231" fmla="*/ 385762 w 514350"/>
                <a:gd name="connsiteY231" fmla="*/ 190500 h 620717"/>
                <a:gd name="connsiteX232" fmla="*/ 368300 w 514350"/>
                <a:gd name="connsiteY232" fmla="*/ 171450 h 620717"/>
                <a:gd name="connsiteX233" fmla="*/ 363537 w 514350"/>
                <a:gd name="connsiteY233" fmla="*/ 160337 h 620717"/>
                <a:gd name="connsiteX234" fmla="*/ 358775 w 514350"/>
                <a:gd name="connsiteY234" fmla="*/ 157162 h 620717"/>
                <a:gd name="connsiteX235" fmla="*/ 349250 w 514350"/>
                <a:gd name="connsiteY235" fmla="*/ 144462 h 620717"/>
                <a:gd name="connsiteX236" fmla="*/ 346075 w 514350"/>
                <a:gd name="connsiteY236" fmla="*/ 138112 h 620717"/>
                <a:gd name="connsiteX237" fmla="*/ 350837 w 514350"/>
                <a:gd name="connsiteY237" fmla="*/ 128587 h 620717"/>
                <a:gd name="connsiteX238" fmla="*/ 357187 w 514350"/>
                <a:gd name="connsiteY238" fmla="*/ 127000 h 620717"/>
                <a:gd name="connsiteX239" fmla="*/ 368300 w 514350"/>
                <a:gd name="connsiteY239" fmla="*/ 125412 h 620717"/>
                <a:gd name="connsiteX240" fmla="*/ 374650 w 514350"/>
                <a:gd name="connsiteY240" fmla="*/ 123825 h 620717"/>
                <a:gd name="connsiteX241" fmla="*/ 384175 w 514350"/>
                <a:gd name="connsiteY241" fmla="*/ 120650 h 620717"/>
                <a:gd name="connsiteX242" fmla="*/ 392112 w 514350"/>
                <a:gd name="connsiteY242" fmla="*/ 111125 h 620717"/>
                <a:gd name="connsiteX243" fmla="*/ 388937 w 514350"/>
                <a:gd name="connsiteY243" fmla="*/ 100012 h 620717"/>
                <a:gd name="connsiteX244" fmla="*/ 390525 w 514350"/>
                <a:gd name="connsiteY244" fmla="*/ 93662 h 620717"/>
                <a:gd name="connsiteX245" fmla="*/ 401637 w 514350"/>
                <a:gd name="connsiteY245" fmla="*/ 95250 h 620717"/>
                <a:gd name="connsiteX246" fmla="*/ 423862 w 514350"/>
                <a:gd name="connsiteY246" fmla="*/ 93662 h 620717"/>
                <a:gd name="connsiteX247" fmla="*/ 430212 w 514350"/>
                <a:gd name="connsiteY247" fmla="*/ 87312 h 620717"/>
                <a:gd name="connsiteX248" fmla="*/ 431800 w 514350"/>
                <a:gd name="connsiteY248" fmla="*/ 61912 h 620717"/>
                <a:gd name="connsiteX249" fmla="*/ 427037 w 514350"/>
                <a:gd name="connsiteY249" fmla="*/ 57150 h 620717"/>
                <a:gd name="connsiteX250" fmla="*/ 427037 w 514350"/>
                <a:gd name="connsiteY250" fmla="*/ 47625 h 620717"/>
                <a:gd name="connsiteX251" fmla="*/ 428625 w 514350"/>
                <a:gd name="connsiteY251" fmla="*/ 30162 h 620717"/>
                <a:gd name="connsiteX252" fmla="*/ 434975 w 514350"/>
                <a:gd name="connsiteY252" fmla="*/ 38100 h 620717"/>
                <a:gd name="connsiteX253" fmla="*/ 439737 w 514350"/>
                <a:gd name="connsiteY253" fmla="*/ 42862 h 620717"/>
                <a:gd name="connsiteX254" fmla="*/ 442912 w 514350"/>
                <a:gd name="connsiteY254" fmla="*/ 49212 h 620717"/>
                <a:gd name="connsiteX255" fmla="*/ 447675 w 514350"/>
                <a:gd name="connsiteY255" fmla="*/ 55562 h 620717"/>
                <a:gd name="connsiteX256" fmla="*/ 455612 w 514350"/>
                <a:gd name="connsiteY256" fmla="*/ 69850 h 620717"/>
                <a:gd name="connsiteX257" fmla="*/ 461962 w 514350"/>
                <a:gd name="connsiteY257" fmla="*/ 68262 h 620717"/>
                <a:gd name="connsiteX258" fmla="*/ 466725 w 514350"/>
                <a:gd name="connsiteY258" fmla="*/ 61912 h 620717"/>
                <a:gd name="connsiteX259" fmla="*/ 492125 w 514350"/>
                <a:gd name="connsiteY259" fmla="*/ 53975 h 620717"/>
                <a:gd name="connsiteX260" fmla="*/ 496887 w 514350"/>
                <a:gd name="connsiteY260" fmla="*/ 49212 h 620717"/>
                <a:gd name="connsiteX261" fmla="*/ 500062 w 514350"/>
                <a:gd name="connsiteY261" fmla="*/ 41275 h 620717"/>
                <a:gd name="connsiteX262" fmla="*/ 496887 w 514350"/>
                <a:gd name="connsiteY262" fmla="*/ 31750 h 620717"/>
                <a:gd name="connsiteX0" fmla="*/ 452437 w 514350"/>
                <a:gd name="connsiteY0" fmla="*/ 55562 h 620717"/>
                <a:gd name="connsiteX1" fmla="*/ 465137 w 514350"/>
                <a:gd name="connsiteY1" fmla="*/ 50800 h 620717"/>
                <a:gd name="connsiteX2" fmla="*/ 476250 w 514350"/>
                <a:gd name="connsiteY2" fmla="*/ 41275 h 620717"/>
                <a:gd name="connsiteX3" fmla="*/ 490537 w 514350"/>
                <a:gd name="connsiteY3" fmla="*/ 33337 h 620717"/>
                <a:gd name="connsiteX4" fmla="*/ 492125 w 514350"/>
                <a:gd name="connsiteY4" fmla="*/ 28575 h 620717"/>
                <a:gd name="connsiteX5" fmla="*/ 488950 w 514350"/>
                <a:gd name="connsiteY5" fmla="*/ 22225 h 620717"/>
                <a:gd name="connsiteX6" fmla="*/ 477837 w 514350"/>
                <a:gd name="connsiteY6" fmla="*/ 19050 h 620717"/>
                <a:gd name="connsiteX7" fmla="*/ 474662 w 514350"/>
                <a:gd name="connsiteY7" fmla="*/ 14287 h 620717"/>
                <a:gd name="connsiteX8" fmla="*/ 469900 w 514350"/>
                <a:gd name="connsiteY8" fmla="*/ 3175 h 620717"/>
                <a:gd name="connsiteX9" fmla="*/ 465137 w 514350"/>
                <a:gd name="connsiteY9" fmla="*/ 0 h 620717"/>
                <a:gd name="connsiteX10" fmla="*/ 460375 w 514350"/>
                <a:gd name="connsiteY10" fmla="*/ 1587 h 620717"/>
                <a:gd name="connsiteX11" fmla="*/ 447675 w 514350"/>
                <a:gd name="connsiteY11" fmla="*/ 9525 h 620717"/>
                <a:gd name="connsiteX12" fmla="*/ 428625 w 514350"/>
                <a:gd name="connsiteY12" fmla="*/ 12700 h 620717"/>
                <a:gd name="connsiteX13" fmla="*/ 427037 w 514350"/>
                <a:gd name="connsiteY13" fmla="*/ 19050 h 620717"/>
                <a:gd name="connsiteX14" fmla="*/ 409575 w 514350"/>
                <a:gd name="connsiteY14" fmla="*/ 14287 h 620717"/>
                <a:gd name="connsiteX15" fmla="*/ 401637 w 514350"/>
                <a:gd name="connsiteY15" fmla="*/ 12700 h 620717"/>
                <a:gd name="connsiteX16" fmla="*/ 352425 w 514350"/>
                <a:gd name="connsiteY16" fmla="*/ 19050 h 620717"/>
                <a:gd name="connsiteX17" fmla="*/ 350837 w 514350"/>
                <a:gd name="connsiteY17" fmla="*/ 23812 h 620717"/>
                <a:gd name="connsiteX18" fmla="*/ 352425 w 514350"/>
                <a:gd name="connsiteY18" fmla="*/ 38100 h 620717"/>
                <a:gd name="connsiteX19" fmla="*/ 357187 w 514350"/>
                <a:gd name="connsiteY19" fmla="*/ 44450 h 620717"/>
                <a:gd name="connsiteX20" fmla="*/ 349250 w 514350"/>
                <a:gd name="connsiteY20" fmla="*/ 58737 h 620717"/>
                <a:gd name="connsiteX21" fmla="*/ 328612 w 514350"/>
                <a:gd name="connsiteY21" fmla="*/ 60325 h 620717"/>
                <a:gd name="connsiteX22" fmla="*/ 307975 w 514350"/>
                <a:gd name="connsiteY22" fmla="*/ 68262 h 620717"/>
                <a:gd name="connsiteX23" fmla="*/ 295275 w 514350"/>
                <a:gd name="connsiteY23" fmla="*/ 73025 h 620717"/>
                <a:gd name="connsiteX24" fmla="*/ 292100 w 514350"/>
                <a:gd name="connsiteY24" fmla="*/ 77787 h 620717"/>
                <a:gd name="connsiteX25" fmla="*/ 296862 w 514350"/>
                <a:gd name="connsiteY25" fmla="*/ 79375 h 620717"/>
                <a:gd name="connsiteX26" fmla="*/ 311150 w 514350"/>
                <a:gd name="connsiteY26" fmla="*/ 82550 h 620717"/>
                <a:gd name="connsiteX27" fmla="*/ 319087 w 514350"/>
                <a:gd name="connsiteY27" fmla="*/ 87312 h 620717"/>
                <a:gd name="connsiteX28" fmla="*/ 323850 w 514350"/>
                <a:gd name="connsiteY28" fmla="*/ 88900 h 620717"/>
                <a:gd name="connsiteX29" fmla="*/ 336550 w 514350"/>
                <a:gd name="connsiteY29" fmla="*/ 103187 h 620717"/>
                <a:gd name="connsiteX30" fmla="*/ 334962 w 514350"/>
                <a:gd name="connsiteY30" fmla="*/ 114300 h 620717"/>
                <a:gd name="connsiteX31" fmla="*/ 330200 w 514350"/>
                <a:gd name="connsiteY31" fmla="*/ 115887 h 620717"/>
                <a:gd name="connsiteX32" fmla="*/ 315912 w 514350"/>
                <a:gd name="connsiteY32" fmla="*/ 130175 h 620717"/>
                <a:gd name="connsiteX33" fmla="*/ 307975 w 514350"/>
                <a:gd name="connsiteY33" fmla="*/ 131762 h 620717"/>
                <a:gd name="connsiteX34" fmla="*/ 300037 w 514350"/>
                <a:gd name="connsiteY34" fmla="*/ 134937 h 620717"/>
                <a:gd name="connsiteX35" fmla="*/ 296862 w 514350"/>
                <a:gd name="connsiteY35" fmla="*/ 142875 h 620717"/>
                <a:gd name="connsiteX36" fmla="*/ 282575 w 514350"/>
                <a:gd name="connsiteY36" fmla="*/ 157162 h 620717"/>
                <a:gd name="connsiteX37" fmla="*/ 273050 w 514350"/>
                <a:gd name="connsiteY37" fmla="*/ 153987 h 620717"/>
                <a:gd name="connsiteX38" fmla="*/ 261937 w 514350"/>
                <a:gd name="connsiteY38" fmla="*/ 147637 h 620717"/>
                <a:gd name="connsiteX39" fmla="*/ 242887 w 514350"/>
                <a:gd name="connsiteY39" fmla="*/ 149225 h 620717"/>
                <a:gd name="connsiteX40" fmla="*/ 236537 w 514350"/>
                <a:gd name="connsiteY40" fmla="*/ 150812 h 620717"/>
                <a:gd name="connsiteX41" fmla="*/ 231775 w 514350"/>
                <a:gd name="connsiteY41" fmla="*/ 142875 h 620717"/>
                <a:gd name="connsiteX42" fmla="*/ 225425 w 514350"/>
                <a:gd name="connsiteY42" fmla="*/ 123825 h 620717"/>
                <a:gd name="connsiteX43" fmla="*/ 219075 w 514350"/>
                <a:gd name="connsiteY43" fmla="*/ 122237 h 620717"/>
                <a:gd name="connsiteX44" fmla="*/ 204787 w 514350"/>
                <a:gd name="connsiteY44" fmla="*/ 120650 h 620717"/>
                <a:gd name="connsiteX45" fmla="*/ 190500 w 514350"/>
                <a:gd name="connsiteY45" fmla="*/ 117475 h 620717"/>
                <a:gd name="connsiteX46" fmla="*/ 182562 w 514350"/>
                <a:gd name="connsiteY46" fmla="*/ 111125 h 620717"/>
                <a:gd name="connsiteX47" fmla="*/ 174625 w 514350"/>
                <a:gd name="connsiteY47" fmla="*/ 104775 h 620717"/>
                <a:gd name="connsiteX48" fmla="*/ 152400 w 514350"/>
                <a:gd name="connsiteY48" fmla="*/ 106362 h 620717"/>
                <a:gd name="connsiteX49" fmla="*/ 150812 w 514350"/>
                <a:gd name="connsiteY49" fmla="*/ 117475 h 620717"/>
                <a:gd name="connsiteX50" fmla="*/ 133350 w 514350"/>
                <a:gd name="connsiteY50" fmla="*/ 120650 h 620717"/>
                <a:gd name="connsiteX51" fmla="*/ 138112 w 514350"/>
                <a:gd name="connsiteY51" fmla="*/ 123825 h 620717"/>
                <a:gd name="connsiteX52" fmla="*/ 139700 w 514350"/>
                <a:gd name="connsiteY52" fmla="*/ 128587 h 620717"/>
                <a:gd name="connsiteX53" fmla="*/ 146050 w 514350"/>
                <a:gd name="connsiteY53" fmla="*/ 131762 h 620717"/>
                <a:gd name="connsiteX54" fmla="*/ 147637 w 514350"/>
                <a:gd name="connsiteY54" fmla="*/ 138112 h 620717"/>
                <a:gd name="connsiteX55" fmla="*/ 123825 w 514350"/>
                <a:gd name="connsiteY55" fmla="*/ 146050 h 620717"/>
                <a:gd name="connsiteX56" fmla="*/ 117475 w 514350"/>
                <a:gd name="connsiteY56" fmla="*/ 155575 h 620717"/>
                <a:gd name="connsiteX57" fmla="*/ 112712 w 514350"/>
                <a:gd name="connsiteY57" fmla="*/ 157162 h 620717"/>
                <a:gd name="connsiteX58" fmla="*/ 125412 w 514350"/>
                <a:gd name="connsiteY58" fmla="*/ 161925 h 620717"/>
                <a:gd name="connsiteX59" fmla="*/ 130175 w 514350"/>
                <a:gd name="connsiteY59" fmla="*/ 163512 h 620717"/>
                <a:gd name="connsiteX60" fmla="*/ 142875 w 514350"/>
                <a:gd name="connsiteY60" fmla="*/ 166687 h 620717"/>
                <a:gd name="connsiteX61" fmla="*/ 147637 w 514350"/>
                <a:gd name="connsiteY61" fmla="*/ 173037 h 620717"/>
                <a:gd name="connsiteX62" fmla="*/ 152400 w 514350"/>
                <a:gd name="connsiteY62" fmla="*/ 177800 h 620717"/>
                <a:gd name="connsiteX63" fmla="*/ 146050 w 514350"/>
                <a:gd name="connsiteY63" fmla="*/ 179387 h 620717"/>
                <a:gd name="connsiteX64" fmla="*/ 149225 w 514350"/>
                <a:gd name="connsiteY64" fmla="*/ 185737 h 620717"/>
                <a:gd name="connsiteX65" fmla="*/ 153987 w 514350"/>
                <a:gd name="connsiteY65" fmla="*/ 187325 h 620717"/>
                <a:gd name="connsiteX66" fmla="*/ 168275 w 514350"/>
                <a:gd name="connsiteY66" fmla="*/ 190500 h 620717"/>
                <a:gd name="connsiteX67" fmla="*/ 165100 w 514350"/>
                <a:gd name="connsiteY67" fmla="*/ 198437 h 620717"/>
                <a:gd name="connsiteX68" fmla="*/ 160337 w 514350"/>
                <a:gd name="connsiteY68" fmla="*/ 200025 h 620717"/>
                <a:gd name="connsiteX69" fmla="*/ 139700 w 514350"/>
                <a:gd name="connsiteY69" fmla="*/ 196850 h 620717"/>
                <a:gd name="connsiteX70" fmla="*/ 153987 w 514350"/>
                <a:gd name="connsiteY70" fmla="*/ 211137 h 620717"/>
                <a:gd name="connsiteX71" fmla="*/ 152400 w 514350"/>
                <a:gd name="connsiteY71" fmla="*/ 217487 h 620717"/>
                <a:gd name="connsiteX72" fmla="*/ 138112 w 514350"/>
                <a:gd name="connsiteY72" fmla="*/ 219075 h 620717"/>
                <a:gd name="connsiteX73" fmla="*/ 142875 w 514350"/>
                <a:gd name="connsiteY73" fmla="*/ 223837 h 620717"/>
                <a:gd name="connsiteX74" fmla="*/ 141287 w 514350"/>
                <a:gd name="connsiteY74" fmla="*/ 228600 h 620717"/>
                <a:gd name="connsiteX75" fmla="*/ 107950 w 514350"/>
                <a:gd name="connsiteY75" fmla="*/ 231775 h 620717"/>
                <a:gd name="connsiteX76" fmla="*/ 95250 w 514350"/>
                <a:gd name="connsiteY76" fmla="*/ 233362 h 620717"/>
                <a:gd name="connsiteX77" fmla="*/ 92075 w 514350"/>
                <a:gd name="connsiteY77" fmla="*/ 247650 h 620717"/>
                <a:gd name="connsiteX78" fmla="*/ 93662 w 514350"/>
                <a:gd name="connsiteY78" fmla="*/ 252412 h 620717"/>
                <a:gd name="connsiteX79" fmla="*/ 109537 w 514350"/>
                <a:gd name="connsiteY79" fmla="*/ 260350 h 620717"/>
                <a:gd name="connsiteX80" fmla="*/ 114300 w 514350"/>
                <a:gd name="connsiteY80" fmla="*/ 263525 h 620717"/>
                <a:gd name="connsiteX81" fmla="*/ 119062 w 514350"/>
                <a:gd name="connsiteY81" fmla="*/ 268287 h 620717"/>
                <a:gd name="connsiteX82" fmla="*/ 123825 w 514350"/>
                <a:gd name="connsiteY82" fmla="*/ 269875 h 620717"/>
                <a:gd name="connsiteX83" fmla="*/ 128587 w 514350"/>
                <a:gd name="connsiteY83" fmla="*/ 273050 h 620717"/>
                <a:gd name="connsiteX84" fmla="*/ 114300 w 514350"/>
                <a:gd name="connsiteY84" fmla="*/ 279400 h 620717"/>
                <a:gd name="connsiteX85" fmla="*/ 109537 w 514350"/>
                <a:gd name="connsiteY85" fmla="*/ 284162 h 620717"/>
                <a:gd name="connsiteX86" fmla="*/ 111125 w 514350"/>
                <a:gd name="connsiteY86" fmla="*/ 293687 h 620717"/>
                <a:gd name="connsiteX87" fmla="*/ 125412 w 514350"/>
                <a:gd name="connsiteY87" fmla="*/ 296862 h 620717"/>
                <a:gd name="connsiteX88" fmla="*/ 136525 w 514350"/>
                <a:gd name="connsiteY88" fmla="*/ 301625 h 620717"/>
                <a:gd name="connsiteX89" fmla="*/ 142875 w 514350"/>
                <a:gd name="connsiteY89" fmla="*/ 303212 h 620717"/>
                <a:gd name="connsiteX90" fmla="*/ 146050 w 514350"/>
                <a:gd name="connsiteY90" fmla="*/ 311150 h 620717"/>
                <a:gd name="connsiteX91" fmla="*/ 158750 w 514350"/>
                <a:gd name="connsiteY91" fmla="*/ 315912 h 620717"/>
                <a:gd name="connsiteX92" fmla="*/ 193675 w 514350"/>
                <a:gd name="connsiteY92" fmla="*/ 317500 h 620717"/>
                <a:gd name="connsiteX93" fmla="*/ 209550 w 514350"/>
                <a:gd name="connsiteY93" fmla="*/ 320675 h 620717"/>
                <a:gd name="connsiteX94" fmla="*/ 204787 w 514350"/>
                <a:gd name="connsiteY94" fmla="*/ 323850 h 620717"/>
                <a:gd name="connsiteX95" fmla="*/ 200025 w 514350"/>
                <a:gd name="connsiteY95" fmla="*/ 325437 h 620717"/>
                <a:gd name="connsiteX96" fmla="*/ 190500 w 514350"/>
                <a:gd name="connsiteY96" fmla="*/ 331787 h 620717"/>
                <a:gd name="connsiteX97" fmla="*/ 182562 w 514350"/>
                <a:gd name="connsiteY97" fmla="*/ 338137 h 620717"/>
                <a:gd name="connsiteX98" fmla="*/ 176212 w 514350"/>
                <a:gd name="connsiteY98" fmla="*/ 341312 h 620717"/>
                <a:gd name="connsiteX99" fmla="*/ 171450 w 514350"/>
                <a:gd name="connsiteY99" fmla="*/ 344487 h 620717"/>
                <a:gd name="connsiteX100" fmla="*/ 161925 w 514350"/>
                <a:gd name="connsiteY100" fmla="*/ 347662 h 620717"/>
                <a:gd name="connsiteX101" fmla="*/ 149225 w 514350"/>
                <a:gd name="connsiteY101" fmla="*/ 365125 h 620717"/>
                <a:gd name="connsiteX102" fmla="*/ 139700 w 514350"/>
                <a:gd name="connsiteY102" fmla="*/ 382587 h 620717"/>
                <a:gd name="connsiteX103" fmla="*/ 134937 w 514350"/>
                <a:gd name="connsiteY103" fmla="*/ 384175 h 620717"/>
                <a:gd name="connsiteX104" fmla="*/ 133350 w 514350"/>
                <a:gd name="connsiteY104" fmla="*/ 388937 h 620717"/>
                <a:gd name="connsiteX105" fmla="*/ 128587 w 514350"/>
                <a:gd name="connsiteY105" fmla="*/ 392112 h 620717"/>
                <a:gd name="connsiteX106" fmla="*/ 120650 w 514350"/>
                <a:gd name="connsiteY106" fmla="*/ 398462 h 620717"/>
                <a:gd name="connsiteX107" fmla="*/ 114300 w 514350"/>
                <a:gd name="connsiteY107" fmla="*/ 409575 h 620717"/>
                <a:gd name="connsiteX108" fmla="*/ 109537 w 514350"/>
                <a:gd name="connsiteY108" fmla="*/ 411162 h 620717"/>
                <a:gd name="connsiteX109" fmla="*/ 92075 w 514350"/>
                <a:gd name="connsiteY109" fmla="*/ 414337 h 620717"/>
                <a:gd name="connsiteX110" fmla="*/ 92075 w 514350"/>
                <a:gd name="connsiteY110" fmla="*/ 433387 h 620717"/>
                <a:gd name="connsiteX111" fmla="*/ 79375 w 514350"/>
                <a:gd name="connsiteY111" fmla="*/ 441325 h 620717"/>
                <a:gd name="connsiteX112" fmla="*/ 73025 w 514350"/>
                <a:gd name="connsiteY112" fmla="*/ 455612 h 620717"/>
                <a:gd name="connsiteX113" fmla="*/ 69850 w 514350"/>
                <a:gd name="connsiteY113" fmla="*/ 463550 h 620717"/>
                <a:gd name="connsiteX114" fmla="*/ 65087 w 514350"/>
                <a:gd name="connsiteY114" fmla="*/ 465137 h 620717"/>
                <a:gd name="connsiteX115" fmla="*/ 38100 w 514350"/>
                <a:gd name="connsiteY115" fmla="*/ 466725 h 620717"/>
                <a:gd name="connsiteX116" fmla="*/ 34925 w 514350"/>
                <a:gd name="connsiteY116" fmla="*/ 473075 h 620717"/>
                <a:gd name="connsiteX117" fmla="*/ 30162 w 514350"/>
                <a:gd name="connsiteY117" fmla="*/ 476250 h 620717"/>
                <a:gd name="connsiteX118" fmla="*/ 0 w 514350"/>
                <a:gd name="connsiteY118" fmla="*/ 477837 h 620717"/>
                <a:gd name="connsiteX119" fmla="*/ 4762 w 514350"/>
                <a:gd name="connsiteY119" fmla="*/ 484187 h 620717"/>
                <a:gd name="connsiteX120" fmla="*/ 23812 w 514350"/>
                <a:gd name="connsiteY120" fmla="*/ 485775 h 620717"/>
                <a:gd name="connsiteX121" fmla="*/ 30162 w 514350"/>
                <a:gd name="connsiteY121" fmla="*/ 487362 h 620717"/>
                <a:gd name="connsiteX122" fmla="*/ 39687 w 514350"/>
                <a:gd name="connsiteY122" fmla="*/ 488950 h 620717"/>
                <a:gd name="connsiteX123" fmla="*/ 33337 w 514350"/>
                <a:gd name="connsiteY123" fmla="*/ 492125 h 620717"/>
                <a:gd name="connsiteX124" fmla="*/ 25400 w 514350"/>
                <a:gd name="connsiteY124" fmla="*/ 493712 h 620717"/>
                <a:gd name="connsiteX125" fmla="*/ 19050 w 514350"/>
                <a:gd name="connsiteY125" fmla="*/ 495300 h 620717"/>
                <a:gd name="connsiteX126" fmla="*/ 14287 w 514350"/>
                <a:gd name="connsiteY126" fmla="*/ 498475 h 620717"/>
                <a:gd name="connsiteX127" fmla="*/ 4762 w 514350"/>
                <a:gd name="connsiteY127" fmla="*/ 503237 h 620717"/>
                <a:gd name="connsiteX128" fmla="*/ 3175 w 514350"/>
                <a:gd name="connsiteY128" fmla="*/ 508000 h 620717"/>
                <a:gd name="connsiteX129" fmla="*/ 4762 w 514350"/>
                <a:gd name="connsiteY129" fmla="*/ 530225 h 620717"/>
                <a:gd name="connsiteX130" fmla="*/ 11112 w 514350"/>
                <a:gd name="connsiteY130" fmla="*/ 533400 h 620717"/>
                <a:gd name="connsiteX131" fmla="*/ 20637 w 514350"/>
                <a:gd name="connsiteY131" fmla="*/ 534987 h 620717"/>
                <a:gd name="connsiteX132" fmla="*/ 26987 w 514350"/>
                <a:gd name="connsiteY132" fmla="*/ 536575 h 620717"/>
                <a:gd name="connsiteX133" fmla="*/ 39687 w 514350"/>
                <a:gd name="connsiteY133" fmla="*/ 542925 h 620717"/>
                <a:gd name="connsiteX134" fmla="*/ 44450 w 514350"/>
                <a:gd name="connsiteY134" fmla="*/ 546100 h 620717"/>
                <a:gd name="connsiteX135" fmla="*/ 58737 w 514350"/>
                <a:gd name="connsiteY135" fmla="*/ 547687 h 620717"/>
                <a:gd name="connsiteX136" fmla="*/ 47625 w 514350"/>
                <a:gd name="connsiteY136" fmla="*/ 555625 h 620717"/>
                <a:gd name="connsiteX137" fmla="*/ 30162 w 514350"/>
                <a:gd name="connsiteY137" fmla="*/ 558800 h 620717"/>
                <a:gd name="connsiteX138" fmla="*/ 7937 w 514350"/>
                <a:gd name="connsiteY138" fmla="*/ 563562 h 620717"/>
                <a:gd name="connsiteX139" fmla="*/ 7937 w 514350"/>
                <a:gd name="connsiteY139" fmla="*/ 576262 h 620717"/>
                <a:gd name="connsiteX140" fmla="*/ 17462 w 514350"/>
                <a:gd name="connsiteY140" fmla="*/ 577850 h 620717"/>
                <a:gd name="connsiteX141" fmla="*/ 39687 w 514350"/>
                <a:gd name="connsiteY141" fmla="*/ 581025 h 620717"/>
                <a:gd name="connsiteX142" fmla="*/ 47625 w 514350"/>
                <a:gd name="connsiteY142" fmla="*/ 582612 h 620717"/>
                <a:gd name="connsiteX143" fmla="*/ 61912 w 514350"/>
                <a:gd name="connsiteY143" fmla="*/ 584200 h 620717"/>
                <a:gd name="connsiteX144" fmla="*/ 66675 w 514350"/>
                <a:gd name="connsiteY144" fmla="*/ 587375 h 620717"/>
                <a:gd name="connsiteX145" fmla="*/ 53975 w 514350"/>
                <a:gd name="connsiteY145" fmla="*/ 593725 h 620717"/>
                <a:gd name="connsiteX146" fmla="*/ 52387 w 514350"/>
                <a:gd name="connsiteY146" fmla="*/ 601662 h 620717"/>
                <a:gd name="connsiteX147" fmla="*/ 50800 w 514350"/>
                <a:gd name="connsiteY147" fmla="*/ 606425 h 620717"/>
                <a:gd name="connsiteX148" fmla="*/ 55562 w 514350"/>
                <a:gd name="connsiteY148" fmla="*/ 614362 h 620717"/>
                <a:gd name="connsiteX149" fmla="*/ 79375 w 514350"/>
                <a:gd name="connsiteY149" fmla="*/ 609600 h 620717"/>
                <a:gd name="connsiteX150" fmla="*/ 123825 w 514350"/>
                <a:gd name="connsiteY150" fmla="*/ 612775 h 620717"/>
                <a:gd name="connsiteX151" fmla="*/ 130175 w 514350"/>
                <a:gd name="connsiteY151" fmla="*/ 617537 h 620717"/>
                <a:gd name="connsiteX152" fmla="*/ 144462 w 514350"/>
                <a:gd name="connsiteY152" fmla="*/ 620712 h 620717"/>
                <a:gd name="connsiteX153" fmla="*/ 173037 w 514350"/>
                <a:gd name="connsiteY153" fmla="*/ 617537 h 620717"/>
                <a:gd name="connsiteX154" fmla="*/ 180975 w 514350"/>
                <a:gd name="connsiteY154" fmla="*/ 614362 h 620717"/>
                <a:gd name="connsiteX155" fmla="*/ 187325 w 514350"/>
                <a:gd name="connsiteY155" fmla="*/ 609600 h 620717"/>
                <a:gd name="connsiteX156" fmla="*/ 196850 w 514350"/>
                <a:gd name="connsiteY156" fmla="*/ 606425 h 620717"/>
                <a:gd name="connsiteX157" fmla="*/ 198437 w 514350"/>
                <a:gd name="connsiteY157" fmla="*/ 600075 h 620717"/>
                <a:gd name="connsiteX158" fmla="*/ 203200 w 514350"/>
                <a:gd name="connsiteY158" fmla="*/ 595312 h 620717"/>
                <a:gd name="connsiteX159" fmla="*/ 215900 w 514350"/>
                <a:gd name="connsiteY159" fmla="*/ 581025 h 620717"/>
                <a:gd name="connsiteX160" fmla="*/ 230187 w 514350"/>
                <a:gd name="connsiteY160" fmla="*/ 582612 h 620717"/>
                <a:gd name="connsiteX161" fmla="*/ 238125 w 514350"/>
                <a:gd name="connsiteY161" fmla="*/ 584200 h 620717"/>
                <a:gd name="connsiteX162" fmla="*/ 261937 w 514350"/>
                <a:gd name="connsiteY162" fmla="*/ 581025 h 620717"/>
                <a:gd name="connsiteX163" fmla="*/ 263525 w 514350"/>
                <a:gd name="connsiteY163" fmla="*/ 576262 h 620717"/>
                <a:gd name="connsiteX164" fmla="*/ 266700 w 514350"/>
                <a:gd name="connsiteY164" fmla="*/ 582612 h 620717"/>
                <a:gd name="connsiteX165" fmla="*/ 277812 w 514350"/>
                <a:gd name="connsiteY165" fmla="*/ 590550 h 620717"/>
                <a:gd name="connsiteX166" fmla="*/ 279400 w 514350"/>
                <a:gd name="connsiteY166" fmla="*/ 579437 h 620717"/>
                <a:gd name="connsiteX167" fmla="*/ 287337 w 514350"/>
                <a:gd name="connsiteY167" fmla="*/ 571500 h 620717"/>
                <a:gd name="connsiteX168" fmla="*/ 290512 w 514350"/>
                <a:gd name="connsiteY168" fmla="*/ 566737 h 620717"/>
                <a:gd name="connsiteX169" fmla="*/ 311150 w 514350"/>
                <a:gd name="connsiteY169" fmla="*/ 558800 h 620717"/>
                <a:gd name="connsiteX170" fmla="*/ 354012 w 514350"/>
                <a:gd name="connsiteY170" fmla="*/ 554037 h 620717"/>
                <a:gd name="connsiteX171" fmla="*/ 360362 w 514350"/>
                <a:gd name="connsiteY171" fmla="*/ 561975 h 620717"/>
                <a:gd name="connsiteX172" fmla="*/ 365125 w 514350"/>
                <a:gd name="connsiteY172" fmla="*/ 563562 h 620717"/>
                <a:gd name="connsiteX173" fmla="*/ 366712 w 514350"/>
                <a:gd name="connsiteY173" fmla="*/ 557212 h 620717"/>
                <a:gd name="connsiteX174" fmla="*/ 368300 w 514350"/>
                <a:gd name="connsiteY174" fmla="*/ 552450 h 620717"/>
                <a:gd name="connsiteX175" fmla="*/ 377825 w 514350"/>
                <a:gd name="connsiteY175" fmla="*/ 557212 h 620717"/>
                <a:gd name="connsiteX176" fmla="*/ 382587 w 514350"/>
                <a:gd name="connsiteY176" fmla="*/ 563562 h 620717"/>
                <a:gd name="connsiteX177" fmla="*/ 404812 w 514350"/>
                <a:gd name="connsiteY177" fmla="*/ 565150 h 620717"/>
                <a:gd name="connsiteX178" fmla="*/ 414337 w 514350"/>
                <a:gd name="connsiteY178" fmla="*/ 571500 h 620717"/>
                <a:gd name="connsiteX179" fmla="*/ 419100 w 514350"/>
                <a:gd name="connsiteY179" fmla="*/ 574675 h 620717"/>
                <a:gd name="connsiteX180" fmla="*/ 436562 w 514350"/>
                <a:gd name="connsiteY180" fmla="*/ 573087 h 620717"/>
                <a:gd name="connsiteX181" fmla="*/ 434975 w 514350"/>
                <a:gd name="connsiteY181" fmla="*/ 566737 h 620717"/>
                <a:gd name="connsiteX182" fmla="*/ 430212 w 514350"/>
                <a:gd name="connsiteY182" fmla="*/ 546100 h 620717"/>
                <a:gd name="connsiteX183" fmla="*/ 433387 w 514350"/>
                <a:gd name="connsiteY183" fmla="*/ 531812 h 620717"/>
                <a:gd name="connsiteX184" fmla="*/ 446087 w 514350"/>
                <a:gd name="connsiteY184" fmla="*/ 525462 h 620717"/>
                <a:gd name="connsiteX185" fmla="*/ 452437 w 514350"/>
                <a:gd name="connsiteY185" fmla="*/ 519112 h 620717"/>
                <a:gd name="connsiteX186" fmla="*/ 463550 w 514350"/>
                <a:gd name="connsiteY186" fmla="*/ 514350 h 620717"/>
                <a:gd name="connsiteX187" fmla="*/ 465137 w 514350"/>
                <a:gd name="connsiteY187" fmla="*/ 508000 h 620717"/>
                <a:gd name="connsiteX188" fmla="*/ 466725 w 514350"/>
                <a:gd name="connsiteY188" fmla="*/ 485775 h 620717"/>
                <a:gd name="connsiteX189" fmla="*/ 482600 w 514350"/>
                <a:gd name="connsiteY189" fmla="*/ 474662 h 620717"/>
                <a:gd name="connsiteX190" fmla="*/ 495300 w 514350"/>
                <a:gd name="connsiteY190" fmla="*/ 458787 h 620717"/>
                <a:gd name="connsiteX191" fmla="*/ 501650 w 514350"/>
                <a:gd name="connsiteY191" fmla="*/ 438150 h 620717"/>
                <a:gd name="connsiteX192" fmla="*/ 506412 w 514350"/>
                <a:gd name="connsiteY192" fmla="*/ 433387 h 620717"/>
                <a:gd name="connsiteX193" fmla="*/ 506412 w 514350"/>
                <a:gd name="connsiteY193" fmla="*/ 401637 h 620717"/>
                <a:gd name="connsiteX194" fmla="*/ 501650 w 514350"/>
                <a:gd name="connsiteY194" fmla="*/ 398462 h 620717"/>
                <a:gd name="connsiteX195" fmla="*/ 498475 w 514350"/>
                <a:gd name="connsiteY195" fmla="*/ 392112 h 620717"/>
                <a:gd name="connsiteX196" fmla="*/ 503237 w 514350"/>
                <a:gd name="connsiteY196" fmla="*/ 360362 h 620717"/>
                <a:gd name="connsiteX197" fmla="*/ 508000 w 514350"/>
                <a:gd name="connsiteY197" fmla="*/ 355600 h 620717"/>
                <a:gd name="connsiteX198" fmla="*/ 514350 w 514350"/>
                <a:gd name="connsiteY198" fmla="*/ 346075 h 620717"/>
                <a:gd name="connsiteX199" fmla="*/ 511175 w 514350"/>
                <a:gd name="connsiteY199" fmla="*/ 331787 h 620717"/>
                <a:gd name="connsiteX200" fmla="*/ 506412 w 514350"/>
                <a:gd name="connsiteY200" fmla="*/ 327025 h 620717"/>
                <a:gd name="connsiteX201" fmla="*/ 504825 w 514350"/>
                <a:gd name="connsiteY201" fmla="*/ 315912 h 620717"/>
                <a:gd name="connsiteX202" fmla="*/ 508000 w 514350"/>
                <a:gd name="connsiteY202" fmla="*/ 290512 h 620717"/>
                <a:gd name="connsiteX203" fmla="*/ 506412 w 514350"/>
                <a:gd name="connsiteY203" fmla="*/ 282575 h 620717"/>
                <a:gd name="connsiteX204" fmla="*/ 495300 w 514350"/>
                <a:gd name="connsiteY204" fmla="*/ 276225 h 620717"/>
                <a:gd name="connsiteX205" fmla="*/ 496887 w 514350"/>
                <a:gd name="connsiteY205" fmla="*/ 268287 h 620717"/>
                <a:gd name="connsiteX206" fmla="*/ 501650 w 514350"/>
                <a:gd name="connsiteY206" fmla="*/ 266700 h 620717"/>
                <a:gd name="connsiteX207" fmla="*/ 506412 w 514350"/>
                <a:gd name="connsiteY207" fmla="*/ 263525 h 620717"/>
                <a:gd name="connsiteX208" fmla="*/ 509587 w 514350"/>
                <a:gd name="connsiteY208" fmla="*/ 258762 h 620717"/>
                <a:gd name="connsiteX209" fmla="*/ 511175 w 514350"/>
                <a:gd name="connsiteY209" fmla="*/ 254000 h 620717"/>
                <a:gd name="connsiteX210" fmla="*/ 514350 w 514350"/>
                <a:gd name="connsiteY210" fmla="*/ 246062 h 620717"/>
                <a:gd name="connsiteX211" fmla="*/ 512762 w 514350"/>
                <a:gd name="connsiteY211" fmla="*/ 239712 h 620717"/>
                <a:gd name="connsiteX212" fmla="*/ 496887 w 514350"/>
                <a:gd name="connsiteY212" fmla="*/ 239712 h 620717"/>
                <a:gd name="connsiteX213" fmla="*/ 492125 w 514350"/>
                <a:gd name="connsiteY213" fmla="*/ 241300 h 620717"/>
                <a:gd name="connsiteX214" fmla="*/ 485775 w 514350"/>
                <a:gd name="connsiteY214" fmla="*/ 244475 h 620717"/>
                <a:gd name="connsiteX215" fmla="*/ 481012 w 514350"/>
                <a:gd name="connsiteY215" fmla="*/ 234950 h 620717"/>
                <a:gd name="connsiteX216" fmla="*/ 479425 w 514350"/>
                <a:gd name="connsiteY216" fmla="*/ 222250 h 620717"/>
                <a:gd name="connsiteX217" fmla="*/ 477837 w 514350"/>
                <a:gd name="connsiteY217" fmla="*/ 215900 h 620717"/>
                <a:gd name="connsiteX218" fmla="*/ 473075 w 514350"/>
                <a:gd name="connsiteY218" fmla="*/ 190500 h 620717"/>
                <a:gd name="connsiteX219" fmla="*/ 468312 w 514350"/>
                <a:gd name="connsiteY219" fmla="*/ 176212 h 620717"/>
                <a:gd name="connsiteX220" fmla="*/ 458787 w 514350"/>
                <a:gd name="connsiteY220" fmla="*/ 171450 h 620717"/>
                <a:gd name="connsiteX221" fmla="*/ 449262 w 514350"/>
                <a:gd name="connsiteY221" fmla="*/ 173037 h 620717"/>
                <a:gd name="connsiteX222" fmla="*/ 438150 w 514350"/>
                <a:gd name="connsiteY222" fmla="*/ 182562 h 620717"/>
                <a:gd name="connsiteX223" fmla="*/ 434975 w 514350"/>
                <a:gd name="connsiteY223" fmla="*/ 188912 h 620717"/>
                <a:gd name="connsiteX224" fmla="*/ 428625 w 514350"/>
                <a:gd name="connsiteY224" fmla="*/ 196850 h 620717"/>
                <a:gd name="connsiteX225" fmla="*/ 417512 w 514350"/>
                <a:gd name="connsiteY225" fmla="*/ 206375 h 620717"/>
                <a:gd name="connsiteX226" fmla="*/ 412750 w 514350"/>
                <a:gd name="connsiteY226" fmla="*/ 207962 h 620717"/>
                <a:gd name="connsiteX227" fmla="*/ 401637 w 514350"/>
                <a:gd name="connsiteY227" fmla="*/ 206375 h 620717"/>
                <a:gd name="connsiteX228" fmla="*/ 395287 w 514350"/>
                <a:gd name="connsiteY228" fmla="*/ 200025 h 620717"/>
                <a:gd name="connsiteX229" fmla="*/ 390525 w 514350"/>
                <a:gd name="connsiteY229" fmla="*/ 196850 h 620717"/>
                <a:gd name="connsiteX230" fmla="*/ 385762 w 514350"/>
                <a:gd name="connsiteY230" fmla="*/ 190500 h 620717"/>
                <a:gd name="connsiteX231" fmla="*/ 368300 w 514350"/>
                <a:gd name="connsiteY231" fmla="*/ 171450 h 620717"/>
                <a:gd name="connsiteX232" fmla="*/ 363537 w 514350"/>
                <a:gd name="connsiteY232" fmla="*/ 160337 h 620717"/>
                <a:gd name="connsiteX233" fmla="*/ 358775 w 514350"/>
                <a:gd name="connsiteY233" fmla="*/ 157162 h 620717"/>
                <a:gd name="connsiteX234" fmla="*/ 349250 w 514350"/>
                <a:gd name="connsiteY234" fmla="*/ 144462 h 620717"/>
                <a:gd name="connsiteX235" fmla="*/ 346075 w 514350"/>
                <a:gd name="connsiteY235" fmla="*/ 138112 h 620717"/>
                <a:gd name="connsiteX236" fmla="*/ 350837 w 514350"/>
                <a:gd name="connsiteY236" fmla="*/ 128587 h 620717"/>
                <a:gd name="connsiteX237" fmla="*/ 357187 w 514350"/>
                <a:gd name="connsiteY237" fmla="*/ 127000 h 620717"/>
                <a:gd name="connsiteX238" fmla="*/ 368300 w 514350"/>
                <a:gd name="connsiteY238" fmla="*/ 125412 h 620717"/>
                <a:gd name="connsiteX239" fmla="*/ 374650 w 514350"/>
                <a:gd name="connsiteY239" fmla="*/ 123825 h 620717"/>
                <a:gd name="connsiteX240" fmla="*/ 384175 w 514350"/>
                <a:gd name="connsiteY240" fmla="*/ 120650 h 620717"/>
                <a:gd name="connsiteX241" fmla="*/ 392112 w 514350"/>
                <a:gd name="connsiteY241" fmla="*/ 111125 h 620717"/>
                <a:gd name="connsiteX242" fmla="*/ 388937 w 514350"/>
                <a:gd name="connsiteY242" fmla="*/ 100012 h 620717"/>
                <a:gd name="connsiteX243" fmla="*/ 390525 w 514350"/>
                <a:gd name="connsiteY243" fmla="*/ 93662 h 620717"/>
                <a:gd name="connsiteX244" fmla="*/ 401637 w 514350"/>
                <a:gd name="connsiteY244" fmla="*/ 95250 h 620717"/>
                <a:gd name="connsiteX245" fmla="*/ 423862 w 514350"/>
                <a:gd name="connsiteY245" fmla="*/ 93662 h 620717"/>
                <a:gd name="connsiteX246" fmla="*/ 430212 w 514350"/>
                <a:gd name="connsiteY246" fmla="*/ 87312 h 620717"/>
                <a:gd name="connsiteX247" fmla="*/ 431800 w 514350"/>
                <a:gd name="connsiteY247" fmla="*/ 61912 h 620717"/>
                <a:gd name="connsiteX248" fmla="*/ 427037 w 514350"/>
                <a:gd name="connsiteY248" fmla="*/ 57150 h 620717"/>
                <a:gd name="connsiteX249" fmla="*/ 427037 w 514350"/>
                <a:gd name="connsiteY249" fmla="*/ 47625 h 620717"/>
                <a:gd name="connsiteX250" fmla="*/ 428625 w 514350"/>
                <a:gd name="connsiteY250" fmla="*/ 30162 h 620717"/>
                <a:gd name="connsiteX251" fmla="*/ 434975 w 514350"/>
                <a:gd name="connsiteY251" fmla="*/ 38100 h 620717"/>
                <a:gd name="connsiteX252" fmla="*/ 439737 w 514350"/>
                <a:gd name="connsiteY252" fmla="*/ 42862 h 620717"/>
                <a:gd name="connsiteX253" fmla="*/ 442912 w 514350"/>
                <a:gd name="connsiteY253" fmla="*/ 49212 h 620717"/>
                <a:gd name="connsiteX254" fmla="*/ 447675 w 514350"/>
                <a:gd name="connsiteY254" fmla="*/ 55562 h 620717"/>
                <a:gd name="connsiteX255" fmla="*/ 455612 w 514350"/>
                <a:gd name="connsiteY255" fmla="*/ 69850 h 620717"/>
                <a:gd name="connsiteX256" fmla="*/ 461962 w 514350"/>
                <a:gd name="connsiteY256" fmla="*/ 68262 h 620717"/>
                <a:gd name="connsiteX257" fmla="*/ 466725 w 514350"/>
                <a:gd name="connsiteY257" fmla="*/ 61912 h 620717"/>
                <a:gd name="connsiteX258" fmla="*/ 492125 w 514350"/>
                <a:gd name="connsiteY258" fmla="*/ 53975 h 620717"/>
                <a:gd name="connsiteX259" fmla="*/ 496887 w 514350"/>
                <a:gd name="connsiteY259" fmla="*/ 49212 h 620717"/>
                <a:gd name="connsiteX260" fmla="*/ 500062 w 514350"/>
                <a:gd name="connsiteY260" fmla="*/ 41275 h 620717"/>
                <a:gd name="connsiteX261" fmla="*/ 496887 w 514350"/>
                <a:gd name="connsiteY261" fmla="*/ 31750 h 620717"/>
                <a:gd name="connsiteX0" fmla="*/ 452437 w 514350"/>
                <a:gd name="connsiteY0" fmla="*/ 55562 h 620717"/>
                <a:gd name="connsiteX1" fmla="*/ 465137 w 514350"/>
                <a:gd name="connsiteY1" fmla="*/ 50800 h 620717"/>
                <a:gd name="connsiteX2" fmla="*/ 490537 w 514350"/>
                <a:gd name="connsiteY2" fmla="*/ 33337 h 620717"/>
                <a:gd name="connsiteX3" fmla="*/ 492125 w 514350"/>
                <a:gd name="connsiteY3" fmla="*/ 28575 h 620717"/>
                <a:gd name="connsiteX4" fmla="*/ 488950 w 514350"/>
                <a:gd name="connsiteY4" fmla="*/ 22225 h 620717"/>
                <a:gd name="connsiteX5" fmla="*/ 477837 w 514350"/>
                <a:gd name="connsiteY5" fmla="*/ 19050 h 620717"/>
                <a:gd name="connsiteX6" fmla="*/ 474662 w 514350"/>
                <a:gd name="connsiteY6" fmla="*/ 14287 h 620717"/>
                <a:gd name="connsiteX7" fmla="*/ 469900 w 514350"/>
                <a:gd name="connsiteY7" fmla="*/ 3175 h 620717"/>
                <a:gd name="connsiteX8" fmla="*/ 465137 w 514350"/>
                <a:gd name="connsiteY8" fmla="*/ 0 h 620717"/>
                <a:gd name="connsiteX9" fmla="*/ 460375 w 514350"/>
                <a:gd name="connsiteY9" fmla="*/ 1587 h 620717"/>
                <a:gd name="connsiteX10" fmla="*/ 447675 w 514350"/>
                <a:gd name="connsiteY10" fmla="*/ 9525 h 620717"/>
                <a:gd name="connsiteX11" fmla="*/ 428625 w 514350"/>
                <a:gd name="connsiteY11" fmla="*/ 12700 h 620717"/>
                <a:gd name="connsiteX12" fmla="*/ 427037 w 514350"/>
                <a:gd name="connsiteY12" fmla="*/ 19050 h 620717"/>
                <a:gd name="connsiteX13" fmla="*/ 409575 w 514350"/>
                <a:gd name="connsiteY13" fmla="*/ 14287 h 620717"/>
                <a:gd name="connsiteX14" fmla="*/ 401637 w 514350"/>
                <a:gd name="connsiteY14" fmla="*/ 12700 h 620717"/>
                <a:gd name="connsiteX15" fmla="*/ 352425 w 514350"/>
                <a:gd name="connsiteY15" fmla="*/ 19050 h 620717"/>
                <a:gd name="connsiteX16" fmla="*/ 350837 w 514350"/>
                <a:gd name="connsiteY16" fmla="*/ 23812 h 620717"/>
                <a:gd name="connsiteX17" fmla="*/ 352425 w 514350"/>
                <a:gd name="connsiteY17" fmla="*/ 38100 h 620717"/>
                <a:gd name="connsiteX18" fmla="*/ 357187 w 514350"/>
                <a:gd name="connsiteY18" fmla="*/ 44450 h 620717"/>
                <a:gd name="connsiteX19" fmla="*/ 349250 w 514350"/>
                <a:gd name="connsiteY19" fmla="*/ 58737 h 620717"/>
                <a:gd name="connsiteX20" fmla="*/ 328612 w 514350"/>
                <a:gd name="connsiteY20" fmla="*/ 60325 h 620717"/>
                <a:gd name="connsiteX21" fmla="*/ 307975 w 514350"/>
                <a:gd name="connsiteY21" fmla="*/ 68262 h 620717"/>
                <a:gd name="connsiteX22" fmla="*/ 295275 w 514350"/>
                <a:gd name="connsiteY22" fmla="*/ 73025 h 620717"/>
                <a:gd name="connsiteX23" fmla="*/ 292100 w 514350"/>
                <a:gd name="connsiteY23" fmla="*/ 77787 h 620717"/>
                <a:gd name="connsiteX24" fmla="*/ 296862 w 514350"/>
                <a:gd name="connsiteY24" fmla="*/ 79375 h 620717"/>
                <a:gd name="connsiteX25" fmla="*/ 311150 w 514350"/>
                <a:gd name="connsiteY25" fmla="*/ 82550 h 620717"/>
                <a:gd name="connsiteX26" fmla="*/ 319087 w 514350"/>
                <a:gd name="connsiteY26" fmla="*/ 87312 h 620717"/>
                <a:gd name="connsiteX27" fmla="*/ 323850 w 514350"/>
                <a:gd name="connsiteY27" fmla="*/ 88900 h 620717"/>
                <a:gd name="connsiteX28" fmla="*/ 336550 w 514350"/>
                <a:gd name="connsiteY28" fmla="*/ 103187 h 620717"/>
                <a:gd name="connsiteX29" fmla="*/ 334962 w 514350"/>
                <a:gd name="connsiteY29" fmla="*/ 114300 h 620717"/>
                <a:gd name="connsiteX30" fmla="*/ 330200 w 514350"/>
                <a:gd name="connsiteY30" fmla="*/ 115887 h 620717"/>
                <a:gd name="connsiteX31" fmla="*/ 315912 w 514350"/>
                <a:gd name="connsiteY31" fmla="*/ 130175 h 620717"/>
                <a:gd name="connsiteX32" fmla="*/ 307975 w 514350"/>
                <a:gd name="connsiteY32" fmla="*/ 131762 h 620717"/>
                <a:gd name="connsiteX33" fmla="*/ 300037 w 514350"/>
                <a:gd name="connsiteY33" fmla="*/ 134937 h 620717"/>
                <a:gd name="connsiteX34" fmla="*/ 296862 w 514350"/>
                <a:gd name="connsiteY34" fmla="*/ 142875 h 620717"/>
                <a:gd name="connsiteX35" fmla="*/ 282575 w 514350"/>
                <a:gd name="connsiteY35" fmla="*/ 157162 h 620717"/>
                <a:gd name="connsiteX36" fmla="*/ 273050 w 514350"/>
                <a:gd name="connsiteY36" fmla="*/ 153987 h 620717"/>
                <a:gd name="connsiteX37" fmla="*/ 261937 w 514350"/>
                <a:gd name="connsiteY37" fmla="*/ 147637 h 620717"/>
                <a:gd name="connsiteX38" fmla="*/ 242887 w 514350"/>
                <a:gd name="connsiteY38" fmla="*/ 149225 h 620717"/>
                <a:gd name="connsiteX39" fmla="*/ 236537 w 514350"/>
                <a:gd name="connsiteY39" fmla="*/ 150812 h 620717"/>
                <a:gd name="connsiteX40" fmla="*/ 231775 w 514350"/>
                <a:gd name="connsiteY40" fmla="*/ 142875 h 620717"/>
                <a:gd name="connsiteX41" fmla="*/ 225425 w 514350"/>
                <a:gd name="connsiteY41" fmla="*/ 123825 h 620717"/>
                <a:gd name="connsiteX42" fmla="*/ 219075 w 514350"/>
                <a:gd name="connsiteY42" fmla="*/ 122237 h 620717"/>
                <a:gd name="connsiteX43" fmla="*/ 204787 w 514350"/>
                <a:gd name="connsiteY43" fmla="*/ 120650 h 620717"/>
                <a:gd name="connsiteX44" fmla="*/ 190500 w 514350"/>
                <a:gd name="connsiteY44" fmla="*/ 117475 h 620717"/>
                <a:gd name="connsiteX45" fmla="*/ 182562 w 514350"/>
                <a:gd name="connsiteY45" fmla="*/ 111125 h 620717"/>
                <a:gd name="connsiteX46" fmla="*/ 174625 w 514350"/>
                <a:gd name="connsiteY46" fmla="*/ 104775 h 620717"/>
                <a:gd name="connsiteX47" fmla="*/ 152400 w 514350"/>
                <a:gd name="connsiteY47" fmla="*/ 106362 h 620717"/>
                <a:gd name="connsiteX48" fmla="*/ 150812 w 514350"/>
                <a:gd name="connsiteY48" fmla="*/ 117475 h 620717"/>
                <a:gd name="connsiteX49" fmla="*/ 133350 w 514350"/>
                <a:gd name="connsiteY49" fmla="*/ 120650 h 620717"/>
                <a:gd name="connsiteX50" fmla="*/ 138112 w 514350"/>
                <a:gd name="connsiteY50" fmla="*/ 123825 h 620717"/>
                <a:gd name="connsiteX51" fmla="*/ 139700 w 514350"/>
                <a:gd name="connsiteY51" fmla="*/ 128587 h 620717"/>
                <a:gd name="connsiteX52" fmla="*/ 146050 w 514350"/>
                <a:gd name="connsiteY52" fmla="*/ 131762 h 620717"/>
                <a:gd name="connsiteX53" fmla="*/ 147637 w 514350"/>
                <a:gd name="connsiteY53" fmla="*/ 138112 h 620717"/>
                <a:gd name="connsiteX54" fmla="*/ 123825 w 514350"/>
                <a:gd name="connsiteY54" fmla="*/ 146050 h 620717"/>
                <a:gd name="connsiteX55" fmla="*/ 117475 w 514350"/>
                <a:gd name="connsiteY55" fmla="*/ 155575 h 620717"/>
                <a:gd name="connsiteX56" fmla="*/ 112712 w 514350"/>
                <a:gd name="connsiteY56" fmla="*/ 157162 h 620717"/>
                <a:gd name="connsiteX57" fmla="*/ 125412 w 514350"/>
                <a:gd name="connsiteY57" fmla="*/ 161925 h 620717"/>
                <a:gd name="connsiteX58" fmla="*/ 130175 w 514350"/>
                <a:gd name="connsiteY58" fmla="*/ 163512 h 620717"/>
                <a:gd name="connsiteX59" fmla="*/ 142875 w 514350"/>
                <a:gd name="connsiteY59" fmla="*/ 166687 h 620717"/>
                <a:gd name="connsiteX60" fmla="*/ 147637 w 514350"/>
                <a:gd name="connsiteY60" fmla="*/ 173037 h 620717"/>
                <a:gd name="connsiteX61" fmla="*/ 152400 w 514350"/>
                <a:gd name="connsiteY61" fmla="*/ 177800 h 620717"/>
                <a:gd name="connsiteX62" fmla="*/ 146050 w 514350"/>
                <a:gd name="connsiteY62" fmla="*/ 179387 h 620717"/>
                <a:gd name="connsiteX63" fmla="*/ 149225 w 514350"/>
                <a:gd name="connsiteY63" fmla="*/ 185737 h 620717"/>
                <a:gd name="connsiteX64" fmla="*/ 153987 w 514350"/>
                <a:gd name="connsiteY64" fmla="*/ 187325 h 620717"/>
                <a:gd name="connsiteX65" fmla="*/ 168275 w 514350"/>
                <a:gd name="connsiteY65" fmla="*/ 190500 h 620717"/>
                <a:gd name="connsiteX66" fmla="*/ 165100 w 514350"/>
                <a:gd name="connsiteY66" fmla="*/ 198437 h 620717"/>
                <a:gd name="connsiteX67" fmla="*/ 160337 w 514350"/>
                <a:gd name="connsiteY67" fmla="*/ 200025 h 620717"/>
                <a:gd name="connsiteX68" fmla="*/ 139700 w 514350"/>
                <a:gd name="connsiteY68" fmla="*/ 196850 h 620717"/>
                <a:gd name="connsiteX69" fmla="*/ 153987 w 514350"/>
                <a:gd name="connsiteY69" fmla="*/ 211137 h 620717"/>
                <a:gd name="connsiteX70" fmla="*/ 152400 w 514350"/>
                <a:gd name="connsiteY70" fmla="*/ 217487 h 620717"/>
                <a:gd name="connsiteX71" fmla="*/ 138112 w 514350"/>
                <a:gd name="connsiteY71" fmla="*/ 219075 h 620717"/>
                <a:gd name="connsiteX72" fmla="*/ 142875 w 514350"/>
                <a:gd name="connsiteY72" fmla="*/ 223837 h 620717"/>
                <a:gd name="connsiteX73" fmla="*/ 141287 w 514350"/>
                <a:gd name="connsiteY73" fmla="*/ 228600 h 620717"/>
                <a:gd name="connsiteX74" fmla="*/ 107950 w 514350"/>
                <a:gd name="connsiteY74" fmla="*/ 231775 h 620717"/>
                <a:gd name="connsiteX75" fmla="*/ 95250 w 514350"/>
                <a:gd name="connsiteY75" fmla="*/ 233362 h 620717"/>
                <a:gd name="connsiteX76" fmla="*/ 92075 w 514350"/>
                <a:gd name="connsiteY76" fmla="*/ 247650 h 620717"/>
                <a:gd name="connsiteX77" fmla="*/ 93662 w 514350"/>
                <a:gd name="connsiteY77" fmla="*/ 252412 h 620717"/>
                <a:gd name="connsiteX78" fmla="*/ 109537 w 514350"/>
                <a:gd name="connsiteY78" fmla="*/ 260350 h 620717"/>
                <a:gd name="connsiteX79" fmla="*/ 114300 w 514350"/>
                <a:gd name="connsiteY79" fmla="*/ 263525 h 620717"/>
                <a:gd name="connsiteX80" fmla="*/ 119062 w 514350"/>
                <a:gd name="connsiteY80" fmla="*/ 268287 h 620717"/>
                <a:gd name="connsiteX81" fmla="*/ 123825 w 514350"/>
                <a:gd name="connsiteY81" fmla="*/ 269875 h 620717"/>
                <a:gd name="connsiteX82" fmla="*/ 128587 w 514350"/>
                <a:gd name="connsiteY82" fmla="*/ 273050 h 620717"/>
                <a:gd name="connsiteX83" fmla="*/ 114300 w 514350"/>
                <a:gd name="connsiteY83" fmla="*/ 279400 h 620717"/>
                <a:gd name="connsiteX84" fmla="*/ 109537 w 514350"/>
                <a:gd name="connsiteY84" fmla="*/ 284162 h 620717"/>
                <a:gd name="connsiteX85" fmla="*/ 111125 w 514350"/>
                <a:gd name="connsiteY85" fmla="*/ 293687 h 620717"/>
                <a:gd name="connsiteX86" fmla="*/ 125412 w 514350"/>
                <a:gd name="connsiteY86" fmla="*/ 296862 h 620717"/>
                <a:gd name="connsiteX87" fmla="*/ 136525 w 514350"/>
                <a:gd name="connsiteY87" fmla="*/ 301625 h 620717"/>
                <a:gd name="connsiteX88" fmla="*/ 142875 w 514350"/>
                <a:gd name="connsiteY88" fmla="*/ 303212 h 620717"/>
                <a:gd name="connsiteX89" fmla="*/ 146050 w 514350"/>
                <a:gd name="connsiteY89" fmla="*/ 311150 h 620717"/>
                <a:gd name="connsiteX90" fmla="*/ 158750 w 514350"/>
                <a:gd name="connsiteY90" fmla="*/ 315912 h 620717"/>
                <a:gd name="connsiteX91" fmla="*/ 193675 w 514350"/>
                <a:gd name="connsiteY91" fmla="*/ 317500 h 620717"/>
                <a:gd name="connsiteX92" fmla="*/ 209550 w 514350"/>
                <a:gd name="connsiteY92" fmla="*/ 320675 h 620717"/>
                <a:gd name="connsiteX93" fmla="*/ 204787 w 514350"/>
                <a:gd name="connsiteY93" fmla="*/ 323850 h 620717"/>
                <a:gd name="connsiteX94" fmla="*/ 200025 w 514350"/>
                <a:gd name="connsiteY94" fmla="*/ 325437 h 620717"/>
                <a:gd name="connsiteX95" fmla="*/ 190500 w 514350"/>
                <a:gd name="connsiteY95" fmla="*/ 331787 h 620717"/>
                <a:gd name="connsiteX96" fmla="*/ 182562 w 514350"/>
                <a:gd name="connsiteY96" fmla="*/ 338137 h 620717"/>
                <a:gd name="connsiteX97" fmla="*/ 176212 w 514350"/>
                <a:gd name="connsiteY97" fmla="*/ 341312 h 620717"/>
                <a:gd name="connsiteX98" fmla="*/ 171450 w 514350"/>
                <a:gd name="connsiteY98" fmla="*/ 344487 h 620717"/>
                <a:gd name="connsiteX99" fmla="*/ 161925 w 514350"/>
                <a:gd name="connsiteY99" fmla="*/ 347662 h 620717"/>
                <a:gd name="connsiteX100" fmla="*/ 149225 w 514350"/>
                <a:gd name="connsiteY100" fmla="*/ 365125 h 620717"/>
                <a:gd name="connsiteX101" fmla="*/ 139700 w 514350"/>
                <a:gd name="connsiteY101" fmla="*/ 382587 h 620717"/>
                <a:gd name="connsiteX102" fmla="*/ 134937 w 514350"/>
                <a:gd name="connsiteY102" fmla="*/ 384175 h 620717"/>
                <a:gd name="connsiteX103" fmla="*/ 133350 w 514350"/>
                <a:gd name="connsiteY103" fmla="*/ 388937 h 620717"/>
                <a:gd name="connsiteX104" fmla="*/ 128587 w 514350"/>
                <a:gd name="connsiteY104" fmla="*/ 392112 h 620717"/>
                <a:gd name="connsiteX105" fmla="*/ 120650 w 514350"/>
                <a:gd name="connsiteY105" fmla="*/ 398462 h 620717"/>
                <a:gd name="connsiteX106" fmla="*/ 114300 w 514350"/>
                <a:gd name="connsiteY106" fmla="*/ 409575 h 620717"/>
                <a:gd name="connsiteX107" fmla="*/ 109537 w 514350"/>
                <a:gd name="connsiteY107" fmla="*/ 411162 h 620717"/>
                <a:gd name="connsiteX108" fmla="*/ 92075 w 514350"/>
                <a:gd name="connsiteY108" fmla="*/ 414337 h 620717"/>
                <a:gd name="connsiteX109" fmla="*/ 92075 w 514350"/>
                <a:gd name="connsiteY109" fmla="*/ 433387 h 620717"/>
                <a:gd name="connsiteX110" fmla="*/ 79375 w 514350"/>
                <a:gd name="connsiteY110" fmla="*/ 441325 h 620717"/>
                <a:gd name="connsiteX111" fmla="*/ 73025 w 514350"/>
                <a:gd name="connsiteY111" fmla="*/ 455612 h 620717"/>
                <a:gd name="connsiteX112" fmla="*/ 69850 w 514350"/>
                <a:gd name="connsiteY112" fmla="*/ 463550 h 620717"/>
                <a:gd name="connsiteX113" fmla="*/ 65087 w 514350"/>
                <a:gd name="connsiteY113" fmla="*/ 465137 h 620717"/>
                <a:gd name="connsiteX114" fmla="*/ 38100 w 514350"/>
                <a:gd name="connsiteY114" fmla="*/ 466725 h 620717"/>
                <a:gd name="connsiteX115" fmla="*/ 34925 w 514350"/>
                <a:gd name="connsiteY115" fmla="*/ 473075 h 620717"/>
                <a:gd name="connsiteX116" fmla="*/ 30162 w 514350"/>
                <a:gd name="connsiteY116" fmla="*/ 476250 h 620717"/>
                <a:gd name="connsiteX117" fmla="*/ 0 w 514350"/>
                <a:gd name="connsiteY117" fmla="*/ 477837 h 620717"/>
                <a:gd name="connsiteX118" fmla="*/ 4762 w 514350"/>
                <a:gd name="connsiteY118" fmla="*/ 484187 h 620717"/>
                <a:gd name="connsiteX119" fmla="*/ 23812 w 514350"/>
                <a:gd name="connsiteY119" fmla="*/ 485775 h 620717"/>
                <a:gd name="connsiteX120" fmla="*/ 30162 w 514350"/>
                <a:gd name="connsiteY120" fmla="*/ 487362 h 620717"/>
                <a:gd name="connsiteX121" fmla="*/ 39687 w 514350"/>
                <a:gd name="connsiteY121" fmla="*/ 488950 h 620717"/>
                <a:gd name="connsiteX122" fmla="*/ 33337 w 514350"/>
                <a:gd name="connsiteY122" fmla="*/ 492125 h 620717"/>
                <a:gd name="connsiteX123" fmla="*/ 25400 w 514350"/>
                <a:gd name="connsiteY123" fmla="*/ 493712 h 620717"/>
                <a:gd name="connsiteX124" fmla="*/ 19050 w 514350"/>
                <a:gd name="connsiteY124" fmla="*/ 495300 h 620717"/>
                <a:gd name="connsiteX125" fmla="*/ 14287 w 514350"/>
                <a:gd name="connsiteY125" fmla="*/ 498475 h 620717"/>
                <a:gd name="connsiteX126" fmla="*/ 4762 w 514350"/>
                <a:gd name="connsiteY126" fmla="*/ 503237 h 620717"/>
                <a:gd name="connsiteX127" fmla="*/ 3175 w 514350"/>
                <a:gd name="connsiteY127" fmla="*/ 508000 h 620717"/>
                <a:gd name="connsiteX128" fmla="*/ 4762 w 514350"/>
                <a:gd name="connsiteY128" fmla="*/ 530225 h 620717"/>
                <a:gd name="connsiteX129" fmla="*/ 11112 w 514350"/>
                <a:gd name="connsiteY129" fmla="*/ 533400 h 620717"/>
                <a:gd name="connsiteX130" fmla="*/ 20637 w 514350"/>
                <a:gd name="connsiteY130" fmla="*/ 534987 h 620717"/>
                <a:gd name="connsiteX131" fmla="*/ 26987 w 514350"/>
                <a:gd name="connsiteY131" fmla="*/ 536575 h 620717"/>
                <a:gd name="connsiteX132" fmla="*/ 39687 w 514350"/>
                <a:gd name="connsiteY132" fmla="*/ 542925 h 620717"/>
                <a:gd name="connsiteX133" fmla="*/ 44450 w 514350"/>
                <a:gd name="connsiteY133" fmla="*/ 546100 h 620717"/>
                <a:gd name="connsiteX134" fmla="*/ 58737 w 514350"/>
                <a:gd name="connsiteY134" fmla="*/ 547687 h 620717"/>
                <a:gd name="connsiteX135" fmla="*/ 47625 w 514350"/>
                <a:gd name="connsiteY135" fmla="*/ 555625 h 620717"/>
                <a:gd name="connsiteX136" fmla="*/ 30162 w 514350"/>
                <a:gd name="connsiteY136" fmla="*/ 558800 h 620717"/>
                <a:gd name="connsiteX137" fmla="*/ 7937 w 514350"/>
                <a:gd name="connsiteY137" fmla="*/ 563562 h 620717"/>
                <a:gd name="connsiteX138" fmla="*/ 7937 w 514350"/>
                <a:gd name="connsiteY138" fmla="*/ 576262 h 620717"/>
                <a:gd name="connsiteX139" fmla="*/ 17462 w 514350"/>
                <a:gd name="connsiteY139" fmla="*/ 577850 h 620717"/>
                <a:gd name="connsiteX140" fmla="*/ 39687 w 514350"/>
                <a:gd name="connsiteY140" fmla="*/ 581025 h 620717"/>
                <a:gd name="connsiteX141" fmla="*/ 47625 w 514350"/>
                <a:gd name="connsiteY141" fmla="*/ 582612 h 620717"/>
                <a:gd name="connsiteX142" fmla="*/ 61912 w 514350"/>
                <a:gd name="connsiteY142" fmla="*/ 584200 h 620717"/>
                <a:gd name="connsiteX143" fmla="*/ 66675 w 514350"/>
                <a:gd name="connsiteY143" fmla="*/ 587375 h 620717"/>
                <a:gd name="connsiteX144" fmla="*/ 53975 w 514350"/>
                <a:gd name="connsiteY144" fmla="*/ 593725 h 620717"/>
                <a:gd name="connsiteX145" fmla="*/ 52387 w 514350"/>
                <a:gd name="connsiteY145" fmla="*/ 601662 h 620717"/>
                <a:gd name="connsiteX146" fmla="*/ 50800 w 514350"/>
                <a:gd name="connsiteY146" fmla="*/ 606425 h 620717"/>
                <a:gd name="connsiteX147" fmla="*/ 55562 w 514350"/>
                <a:gd name="connsiteY147" fmla="*/ 614362 h 620717"/>
                <a:gd name="connsiteX148" fmla="*/ 79375 w 514350"/>
                <a:gd name="connsiteY148" fmla="*/ 609600 h 620717"/>
                <a:gd name="connsiteX149" fmla="*/ 123825 w 514350"/>
                <a:gd name="connsiteY149" fmla="*/ 612775 h 620717"/>
                <a:gd name="connsiteX150" fmla="*/ 130175 w 514350"/>
                <a:gd name="connsiteY150" fmla="*/ 617537 h 620717"/>
                <a:gd name="connsiteX151" fmla="*/ 144462 w 514350"/>
                <a:gd name="connsiteY151" fmla="*/ 620712 h 620717"/>
                <a:gd name="connsiteX152" fmla="*/ 173037 w 514350"/>
                <a:gd name="connsiteY152" fmla="*/ 617537 h 620717"/>
                <a:gd name="connsiteX153" fmla="*/ 180975 w 514350"/>
                <a:gd name="connsiteY153" fmla="*/ 614362 h 620717"/>
                <a:gd name="connsiteX154" fmla="*/ 187325 w 514350"/>
                <a:gd name="connsiteY154" fmla="*/ 609600 h 620717"/>
                <a:gd name="connsiteX155" fmla="*/ 196850 w 514350"/>
                <a:gd name="connsiteY155" fmla="*/ 606425 h 620717"/>
                <a:gd name="connsiteX156" fmla="*/ 198437 w 514350"/>
                <a:gd name="connsiteY156" fmla="*/ 600075 h 620717"/>
                <a:gd name="connsiteX157" fmla="*/ 203200 w 514350"/>
                <a:gd name="connsiteY157" fmla="*/ 595312 h 620717"/>
                <a:gd name="connsiteX158" fmla="*/ 215900 w 514350"/>
                <a:gd name="connsiteY158" fmla="*/ 581025 h 620717"/>
                <a:gd name="connsiteX159" fmla="*/ 230187 w 514350"/>
                <a:gd name="connsiteY159" fmla="*/ 582612 h 620717"/>
                <a:gd name="connsiteX160" fmla="*/ 238125 w 514350"/>
                <a:gd name="connsiteY160" fmla="*/ 584200 h 620717"/>
                <a:gd name="connsiteX161" fmla="*/ 261937 w 514350"/>
                <a:gd name="connsiteY161" fmla="*/ 581025 h 620717"/>
                <a:gd name="connsiteX162" fmla="*/ 263525 w 514350"/>
                <a:gd name="connsiteY162" fmla="*/ 576262 h 620717"/>
                <a:gd name="connsiteX163" fmla="*/ 266700 w 514350"/>
                <a:gd name="connsiteY163" fmla="*/ 582612 h 620717"/>
                <a:gd name="connsiteX164" fmla="*/ 277812 w 514350"/>
                <a:gd name="connsiteY164" fmla="*/ 590550 h 620717"/>
                <a:gd name="connsiteX165" fmla="*/ 279400 w 514350"/>
                <a:gd name="connsiteY165" fmla="*/ 579437 h 620717"/>
                <a:gd name="connsiteX166" fmla="*/ 287337 w 514350"/>
                <a:gd name="connsiteY166" fmla="*/ 571500 h 620717"/>
                <a:gd name="connsiteX167" fmla="*/ 290512 w 514350"/>
                <a:gd name="connsiteY167" fmla="*/ 566737 h 620717"/>
                <a:gd name="connsiteX168" fmla="*/ 311150 w 514350"/>
                <a:gd name="connsiteY168" fmla="*/ 558800 h 620717"/>
                <a:gd name="connsiteX169" fmla="*/ 354012 w 514350"/>
                <a:gd name="connsiteY169" fmla="*/ 554037 h 620717"/>
                <a:gd name="connsiteX170" fmla="*/ 360362 w 514350"/>
                <a:gd name="connsiteY170" fmla="*/ 561975 h 620717"/>
                <a:gd name="connsiteX171" fmla="*/ 365125 w 514350"/>
                <a:gd name="connsiteY171" fmla="*/ 563562 h 620717"/>
                <a:gd name="connsiteX172" fmla="*/ 366712 w 514350"/>
                <a:gd name="connsiteY172" fmla="*/ 557212 h 620717"/>
                <a:gd name="connsiteX173" fmla="*/ 368300 w 514350"/>
                <a:gd name="connsiteY173" fmla="*/ 552450 h 620717"/>
                <a:gd name="connsiteX174" fmla="*/ 377825 w 514350"/>
                <a:gd name="connsiteY174" fmla="*/ 557212 h 620717"/>
                <a:gd name="connsiteX175" fmla="*/ 382587 w 514350"/>
                <a:gd name="connsiteY175" fmla="*/ 563562 h 620717"/>
                <a:gd name="connsiteX176" fmla="*/ 404812 w 514350"/>
                <a:gd name="connsiteY176" fmla="*/ 565150 h 620717"/>
                <a:gd name="connsiteX177" fmla="*/ 414337 w 514350"/>
                <a:gd name="connsiteY177" fmla="*/ 571500 h 620717"/>
                <a:gd name="connsiteX178" fmla="*/ 419100 w 514350"/>
                <a:gd name="connsiteY178" fmla="*/ 574675 h 620717"/>
                <a:gd name="connsiteX179" fmla="*/ 436562 w 514350"/>
                <a:gd name="connsiteY179" fmla="*/ 573087 h 620717"/>
                <a:gd name="connsiteX180" fmla="*/ 434975 w 514350"/>
                <a:gd name="connsiteY180" fmla="*/ 566737 h 620717"/>
                <a:gd name="connsiteX181" fmla="*/ 430212 w 514350"/>
                <a:gd name="connsiteY181" fmla="*/ 546100 h 620717"/>
                <a:gd name="connsiteX182" fmla="*/ 433387 w 514350"/>
                <a:gd name="connsiteY182" fmla="*/ 531812 h 620717"/>
                <a:gd name="connsiteX183" fmla="*/ 446087 w 514350"/>
                <a:gd name="connsiteY183" fmla="*/ 525462 h 620717"/>
                <a:gd name="connsiteX184" fmla="*/ 452437 w 514350"/>
                <a:gd name="connsiteY184" fmla="*/ 519112 h 620717"/>
                <a:gd name="connsiteX185" fmla="*/ 463550 w 514350"/>
                <a:gd name="connsiteY185" fmla="*/ 514350 h 620717"/>
                <a:gd name="connsiteX186" fmla="*/ 465137 w 514350"/>
                <a:gd name="connsiteY186" fmla="*/ 508000 h 620717"/>
                <a:gd name="connsiteX187" fmla="*/ 466725 w 514350"/>
                <a:gd name="connsiteY187" fmla="*/ 485775 h 620717"/>
                <a:gd name="connsiteX188" fmla="*/ 482600 w 514350"/>
                <a:gd name="connsiteY188" fmla="*/ 474662 h 620717"/>
                <a:gd name="connsiteX189" fmla="*/ 495300 w 514350"/>
                <a:gd name="connsiteY189" fmla="*/ 458787 h 620717"/>
                <a:gd name="connsiteX190" fmla="*/ 501650 w 514350"/>
                <a:gd name="connsiteY190" fmla="*/ 438150 h 620717"/>
                <a:gd name="connsiteX191" fmla="*/ 506412 w 514350"/>
                <a:gd name="connsiteY191" fmla="*/ 433387 h 620717"/>
                <a:gd name="connsiteX192" fmla="*/ 506412 w 514350"/>
                <a:gd name="connsiteY192" fmla="*/ 401637 h 620717"/>
                <a:gd name="connsiteX193" fmla="*/ 501650 w 514350"/>
                <a:gd name="connsiteY193" fmla="*/ 398462 h 620717"/>
                <a:gd name="connsiteX194" fmla="*/ 498475 w 514350"/>
                <a:gd name="connsiteY194" fmla="*/ 392112 h 620717"/>
                <a:gd name="connsiteX195" fmla="*/ 503237 w 514350"/>
                <a:gd name="connsiteY195" fmla="*/ 360362 h 620717"/>
                <a:gd name="connsiteX196" fmla="*/ 508000 w 514350"/>
                <a:gd name="connsiteY196" fmla="*/ 355600 h 620717"/>
                <a:gd name="connsiteX197" fmla="*/ 514350 w 514350"/>
                <a:gd name="connsiteY197" fmla="*/ 346075 h 620717"/>
                <a:gd name="connsiteX198" fmla="*/ 511175 w 514350"/>
                <a:gd name="connsiteY198" fmla="*/ 331787 h 620717"/>
                <a:gd name="connsiteX199" fmla="*/ 506412 w 514350"/>
                <a:gd name="connsiteY199" fmla="*/ 327025 h 620717"/>
                <a:gd name="connsiteX200" fmla="*/ 504825 w 514350"/>
                <a:gd name="connsiteY200" fmla="*/ 315912 h 620717"/>
                <a:gd name="connsiteX201" fmla="*/ 508000 w 514350"/>
                <a:gd name="connsiteY201" fmla="*/ 290512 h 620717"/>
                <a:gd name="connsiteX202" fmla="*/ 506412 w 514350"/>
                <a:gd name="connsiteY202" fmla="*/ 282575 h 620717"/>
                <a:gd name="connsiteX203" fmla="*/ 495300 w 514350"/>
                <a:gd name="connsiteY203" fmla="*/ 276225 h 620717"/>
                <a:gd name="connsiteX204" fmla="*/ 496887 w 514350"/>
                <a:gd name="connsiteY204" fmla="*/ 268287 h 620717"/>
                <a:gd name="connsiteX205" fmla="*/ 501650 w 514350"/>
                <a:gd name="connsiteY205" fmla="*/ 266700 h 620717"/>
                <a:gd name="connsiteX206" fmla="*/ 506412 w 514350"/>
                <a:gd name="connsiteY206" fmla="*/ 263525 h 620717"/>
                <a:gd name="connsiteX207" fmla="*/ 509587 w 514350"/>
                <a:gd name="connsiteY207" fmla="*/ 258762 h 620717"/>
                <a:gd name="connsiteX208" fmla="*/ 511175 w 514350"/>
                <a:gd name="connsiteY208" fmla="*/ 254000 h 620717"/>
                <a:gd name="connsiteX209" fmla="*/ 514350 w 514350"/>
                <a:gd name="connsiteY209" fmla="*/ 246062 h 620717"/>
                <a:gd name="connsiteX210" fmla="*/ 512762 w 514350"/>
                <a:gd name="connsiteY210" fmla="*/ 239712 h 620717"/>
                <a:gd name="connsiteX211" fmla="*/ 496887 w 514350"/>
                <a:gd name="connsiteY211" fmla="*/ 239712 h 620717"/>
                <a:gd name="connsiteX212" fmla="*/ 492125 w 514350"/>
                <a:gd name="connsiteY212" fmla="*/ 241300 h 620717"/>
                <a:gd name="connsiteX213" fmla="*/ 485775 w 514350"/>
                <a:gd name="connsiteY213" fmla="*/ 244475 h 620717"/>
                <a:gd name="connsiteX214" fmla="*/ 481012 w 514350"/>
                <a:gd name="connsiteY214" fmla="*/ 234950 h 620717"/>
                <a:gd name="connsiteX215" fmla="*/ 479425 w 514350"/>
                <a:gd name="connsiteY215" fmla="*/ 222250 h 620717"/>
                <a:gd name="connsiteX216" fmla="*/ 477837 w 514350"/>
                <a:gd name="connsiteY216" fmla="*/ 215900 h 620717"/>
                <a:gd name="connsiteX217" fmla="*/ 473075 w 514350"/>
                <a:gd name="connsiteY217" fmla="*/ 190500 h 620717"/>
                <a:gd name="connsiteX218" fmla="*/ 468312 w 514350"/>
                <a:gd name="connsiteY218" fmla="*/ 176212 h 620717"/>
                <a:gd name="connsiteX219" fmla="*/ 458787 w 514350"/>
                <a:gd name="connsiteY219" fmla="*/ 171450 h 620717"/>
                <a:gd name="connsiteX220" fmla="*/ 449262 w 514350"/>
                <a:gd name="connsiteY220" fmla="*/ 173037 h 620717"/>
                <a:gd name="connsiteX221" fmla="*/ 438150 w 514350"/>
                <a:gd name="connsiteY221" fmla="*/ 182562 h 620717"/>
                <a:gd name="connsiteX222" fmla="*/ 434975 w 514350"/>
                <a:gd name="connsiteY222" fmla="*/ 188912 h 620717"/>
                <a:gd name="connsiteX223" fmla="*/ 428625 w 514350"/>
                <a:gd name="connsiteY223" fmla="*/ 196850 h 620717"/>
                <a:gd name="connsiteX224" fmla="*/ 417512 w 514350"/>
                <a:gd name="connsiteY224" fmla="*/ 206375 h 620717"/>
                <a:gd name="connsiteX225" fmla="*/ 412750 w 514350"/>
                <a:gd name="connsiteY225" fmla="*/ 207962 h 620717"/>
                <a:gd name="connsiteX226" fmla="*/ 401637 w 514350"/>
                <a:gd name="connsiteY226" fmla="*/ 206375 h 620717"/>
                <a:gd name="connsiteX227" fmla="*/ 395287 w 514350"/>
                <a:gd name="connsiteY227" fmla="*/ 200025 h 620717"/>
                <a:gd name="connsiteX228" fmla="*/ 390525 w 514350"/>
                <a:gd name="connsiteY228" fmla="*/ 196850 h 620717"/>
                <a:gd name="connsiteX229" fmla="*/ 385762 w 514350"/>
                <a:gd name="connsiteY229" fmla="*/ 190500 h 620717"/>
                <a:gd name="connsiteX230" fmla="*/ 368300 w 514350"/>
                <a:gd name="connsiteY230" fmla="*/ 171450 h 620717"/>
                <a:gd name="connsiteX231" fmla="*/ 363537 w 514350"/>
                <a:gd name="connsiteY231" fmla="*/ 160337 h 620717"/>
                <a:gd name="connsiteX232" fmla="*/ 358775 w 514350"/>
                <a:gd name="connsiteY232" fmla="*/ 157162 h 620717"/>
                <a:gd name="connsiteX233" fmla="*/ 349250 w 514350"/>
                <a:gd name="connsiteY233" fmla="*/ 144462 h 620717"/>
                <a:gd name="connsiteX234" fmla="*/ 346075 w 514350"/>
                <a:gd name="connsiteY234" fmla="*/ 138112 h 620717"/>
                <a:gd name="connsiteX235" fmla="*/ 350837 w 514350"/>
                <a:gd name="connsiteY235" fmla="*/ 128587 h 620717"/>
                <a:gd name="connsiteX236" fmla="*/ 357187 w 514350"/>
                <a:gd name="connsiteY236" fmla="*/ 127000 h 620717"/>
                <a:gd name="connsiteX237" fmla="*/ 368300 w 514350"/>
                <a:gd name="connsiteY237" fmla="*/ 125412 h 620717"/>
                <a:gd name="connsiteX238" fmla="*/ 374650 w 514350"/>
                <a:gd name="connsiteY238" fmla="*/ 123825 h 620717"/>
                <a:gd name="connsiteX239" fmla="*/ 384175 w 514350"/>
                <a:gd name="connsiteY239" fmla="*/ 120650 h 620717"/>
                <a:gd name="connsiteX240" fmla="*/ 392112 w 514350"/>
                <a:gd name="connsiteY240" fmla="*/ 111125 h 620717"/>
                <a:gd name="connsiteX241" fmla="*/ 388937 w 514350"/>
                <a:gd name="connsiteY241" fmla="*/ 100012 h 620717"/>
                <a:gd name="connsiteX242" fmla="*/ 390525 w 514350"/>
                <a:gd name="connsiteY242" fmla="*/ 93662 h 620717"/>
                <a:gd name="connsiteX243" fmla="*/ 401637 w 514350"/>
                <a:gd name="connsiteY243" fmla="*/ 95250 h 620717"/>
                <a:gd name="connsiteX244" fmla="*/ 423862 w 514350"/>
                <a:gd name="connsiteY244" fmla="*/ 93662 h 620717"/>
                <a:gd name="connsiteX245" fmla="*/ 430212 w 514350"/>
                <a:gd name="connsiteY245" fmla="*/ 87312 h 620717"/>
                <a:gd name="connsiteX246" fmla="*/ 431800 w 514350"/>
                <a:gd name="connsiteY246" fmla="*/ 61912 h 620717"/>
                <a:gd name="connsiteX247" fmla="*/ 427037 w 514350"/>
                <a:gd name="connsiteY247" fmla="*/ 57150 h 620717"/>
                <a:gd name="connsiteX248" fmla="*/ 427037 w 514350"/>
                <a:gd name="connsiteY248" fmla="*/ 47625 h 620717"/>
                <a:gd name="connsiteX249" fmla="*/ 428625 w 514350"/>
                <a:gd name="connsiteY249" fmla="*/ 30162 h 620717"/>
                <a:gd name="connsiteX250" fmla="*/ 434975 w 514350"/>
                <a:gd name="connsiteY250" fmla="*/ 38100 h 620717"/>
                <a:gd name="connsiteX251" fmla="*/ 439737 w 514350"/>
                <a:gd name="connsiteY251" fmla="*/ 42862 h 620717"/>
                <a:gd name="connsiteX252" fmla="*/ 442912 w 514350"/>
                <a:gd name="connsiteY252" fmla="*/ 49212 h 620717"/>
                <a:gd name="connsiteX253" fmla="*/ 447675 w 514350"/>
                <a:gd name="connsiteY253" fmla="*/ 55562 h 620717"/>
                <a:gd name="connsiteX254" fmla="*/ 455612 w 514350"/>
                <a:gd name="connsiteY254" fmla="*/ 69850 h 620717"/>
                <a:gd name="connsiteX255" fmla="*/ 461962 w 514350"/>
                <a:gd name="connsiteY255" fmla="*/ 68262 h 620717"/>
                <a:gd name="connsiteX256" fmla="*/ 466725 w 514350"/>
                <a:gd name="connsiteY256" fmla="*/ 61912 h 620717"/>
                <a:gd name="connsiteX257" fmla="*/ 492125 w 514350"/>
                <a:gd name="connsiteY257" fmla="*/ 53975 h 620717"/>
                <a:gd name="connsiteX258" fmla="*/ 496887 w 514350"/>
                <a:gd name="connsiteY258" fmla="*/ 49212 h 620717"/>
                <a:gd name="connsiteX259" fmla="*/ 500062 w 514350"/>
                <a:gd name="connsiteY259" fmla="*/ 41275 h 620717"/>
                <a:gd name="connsiteX260" fmla="*/ 496887 w 514350"/>
                <a:gd name="connsiteY260" fmla="*/ 31750 h 620717"/>
                <a:gd name="connsiteX0" fmla="*/ 452437 w 514350"/>
                <a:gd name="connsiteY0" fmla="*/ 55562 h 620717"/>
                <a:gd name="connsiteX1" fmla="*/ 465137 w 514350"/>
                <a:gd name="connsiteY1" fmla="*/ 50800 h 620717"/>
                <a:gd name="connsiteX2" fmla="*/ 468732 w 514350"/>
                <a:gd name="connsiteY2" fmla="*/ 48411 h 620717"/>
                <a:gd name="connsiteX3" fmla="*/ 492125 w 514350"/>
                <a:gd name="connsiteY3" fmla="*/ 28575 h 620717"/>
                <a:gd name="connsiteX4" fmla="*/ 488950 w 514350"/>
                <a:gd name="connsiteY4" fmla="*/ 22225 h 620717"/>
                <a:gd name="connsiteX5" fmla="*/ 477837 w 514350"/>
                <a:gd name="connsiteY5" fmla="*/ 19050 h 620717"/>
                <a:gd name="connsiteX6" fmla="*/ 474662 w 514350"/>
                <a:gd name="connsiteY6" fmla="*/ 14287 h 620717"/>
                <a:gd name="connsiteX7" fmla="*/ 469900 w 514350"/>
                <a:gd name="connsiteY7" fmla="*/ 3175 h 620717"/>
                <a:gd name="connsiteX8" fmla="*/ 465137 w 514350"/>
                <a:gd name="connsiteY8" fmla="*/ 0 h 620717"/>
                <a:gd name="connsiteX9" fmla="*/ 460375 w 514350"/>
                <a:gd name="connsiteY9" fmla="*/ 1587 h 620717"/>
                <a:gd name="connsiteX10" fmla="*/ 447675 w 514350"/>
                <a:gd name="connsiteY10" fmla="*/ 9525 h 620717"/>
                <a:gd name="connsiteX11" fmla="*/ 428625 w 514350"/>
                <a:gd name="connsiteY11" fmla="*/ 12700 h 620717"/>
                <a:gd name="connsiteX12" fmla="*/ 427037 w 514350"/>
                <a:gd name="connsiteY12" fmla="*/ 19050 h 620717"/>
                <a:gd name="connsiteX13" fmla="*/ 409575 w 514350"/>
                <a:gd name="connsiteY13" fmla="*/ 14287 h 620717"/>
                <a:gd name="connsiteX14" fmla="*/ 401637 w 514350"/>
                <a:gd name="connsiteY14" fmla="*/ 12700 h 620717"/>
                <a:gd name="connsiteX15" fmla="*/ 352425 w 514350"/>
                <a:gd name="connsiteY15" fmla="*/ 19050 h 620717"/>
                <a:gd name="connsiteX16" fmla="*/ 350837 w 514350"/>
                <a:gd name="connsiteY16" fmla="*/ 23812 h 620717"/>
                <a:gd name="connsiteX17" fmla="*/ 352425 w 514350"/>
                <a:gd name="connsiteY17" fmla="*/ 38100 h 620717"/>
                <a:gd name="connsiteX18" fmla="*/ 357187 w 514350"/>
                <a:gd name="connsiteY18" fmla="*/ 44450 h 620717"/>
                <a:gd name="connsiteX19" fmla="*/ 349250 w 514350"/>
                <a:gd name="connsiteY19" fmla="*/ 58737 h 620717"/>
                <a:gd name="connsiteX20" fmla="*/ 328612 w 514350"/>
                <a:gd name="connsiteY20" fmla="*/ 60325 h 620717"/>
                <a:gd name="connsiteX21" fmla="*/ 307975 w 514350"/>
                <a:gd name="connsiteY21" fmla="*/ 68262 h 620717"/>
                <a:gd name="connsiteX22" fmla="*/ 295275 w 514350"/>
                <a:gd name="connsiteY22" fmla="*/ 73025 h 620717"/>
                <a:gd name="connsiteX23" fmla="*/ 292100 w 514350"/>
                <a:gd name="connsiteY23" fmla="*/ 77787 h 620717"/>
                <a:gd name="connsiteX24" fmla="*/ 296862 w 514350"/>
                <a:gd name="connsiteY24" fmla="*/ 79375 h 620717"/>
                <a:gd name="connsiteX25" fmla="*/ 311150 w 514350"/>
                <a:gd name="connsiteY25" fmla="*/ 82550 h 620717"/>
                <a:gd name="connsiteX26" fmla="*/ 319087 w 514350"/>
                <a:gd name="connsiteY26" fmla="*/ 87312 h 620717"/>
                <a:gd name="connsiteX27" fmla="*/ 323850 w 514350"/>
                <a:gd name="connsiteY27" fmla="*/ 88900 h 620717"/>
                <a:gd name="connsiteX28" fmla="*/ 336550 w 514350"/>
                <a:gd name="connsiteY28" fmla="*/ 103187 h 620717"/>
                <a:gd name="connsiteX29" fmla="*/ 334962 w 514350"/>
                <a:gd name="connsiteY29" fmla="*/ 114300 h 620717"/>
                <a:gd name="connsiteX30" fmla="*/ 330200 w 514350"/>
                <a:gd name="connsiteY30" fmla="*/ 115887 h 620717"/>
                <a:gd name="connsiteX31" fmla="*/ 315912 w 514350"/>
                <a:gd name="connsiteY31" fmla="*/ 130175 h 620717"/>
                <a:gd name="connsiteX32" fmla="*/ 307975 w 514350"/>
                <a:gd name="connsiteY32" fmla="*/ 131762 h 620717"/>
                <a:gd name="connsiteX33" fmla="*/ 300037 w 514350"/>
                <a:gd name="connsiteY33" fmla="*/ 134937 h 620717"/>
                <a:gd name="connsiteX34" fmla="*/ 296862 w 514350"/>
                <a:gd name="connsiteY34" fmla="*/ 142875 h 620717"/>
                <a:gd name="connsiteX35" fmla="*/ 282575 w 514350"/>
                <a:gd name="connsiteY35" fmla="*/ 157162 h 620717"/>
                <a:gd name="connsiteX36" fmla="*/ 273050 w 514350"/>
                <a:gd name="connsiteY36" fmla="*/ 153987 h 620717"/>
                <a:gd name="connsiteX37" fmla="*/ 261937 w 514350"/>
                <a:gd name="connsiteY37" fmla="*/ 147637 h 620717"/>
                <a:gd name="connsiteX38" fmla="*/ 242887 w 514350"/>
                <a:gd name="connsiteY38" fmla="*/ 149225 h 620717"/>
                <a:gd name="connsiteX39" fmla="*/ 236537 w 514350"/>
                <a:gd name="connsiteY39" fmla="*/ 150812 h 620717"/>
                <a:gd name="connsiteX40" fmla="*/ 231775 w 514350"/>
                <a:gd name="connsiteY40" fmla="*/ 142875 h 620717"/>
                <a:gd name="connsiteX41" fmla="*/ 225425 w 514350"/>
                <a:gd name="connsiteY41" fmla="*/ 123825 h 620717"/>
                <a:gd name="connsiteX42" fmla="*/ 219075 w 514350"/>
                <a:gd name="connsiteY42" fmla="*/ 122237 h 620717"/>
                <a:gd name="connsiteX43" fmla="*/ 204787 w 514350"/>
                <a:gd name="connsiteY43" fmla="*/ 120650 h 620717"/>
                <a:gd name="connsiteX44" fmla="*/ 190500 w 514350"/>
                <a:gd name="connsiteY44" fmla="*/ 117475 h 620717"/>
                <a:gd name="connsiteX45" fmla="*/ 182562 w 514350"/>
                <a:gd name="connsiteY45" fmla="*/ 111125 h 620717"/>
                <a:gd name="connsiteX46" fmla="*/ 174625 w 514350"/>
                <a:gd name="connsiteY46" fmla="*/ 104775 h 620717"/>
                <a:gd name="connsiteX47" fmla="*/ 152400 w 514350"/>
                <a:gd name="connsiteY47" fmla="*/ 106362 h 620717"/>
                <a:gd name="connsiteX48" fmla="*/ 150812 w 514350"/>
                <a:gd name="connsiteY48" fmla="*/ 117475 h 620717"/>
                <a:gd name="connsiteX49" fmla="*/ 133350 w 514350"/>
                <a:gd name="connsiteY49" fmla="*/ 120650 h 620717"/>
                <a:gd name="connsiteX50" fmla="*/ 138112 w 514350"/>
                <a:gd name="connsiteY50" fmla="*/ 123825 h 620717"/>
                <a:gd name="connsiteX51" fmla="*/ 139700 w 514350"/>
                <a:gd name="connsiteY51" fmla="*/ 128587 h 620717"/>
                <a:gd name="connsiteX52" fmla="*/ 146050 w 514350"/>
                <a:gd name="connsiteY52" fmla="*/ 131762 h 620717"/>
                <a:gd name="connsiteX53" fmla="*/ 147637 w 514350"/>
                <a:gd name="connsiteY53" fmla="*/ 138112 h 620717"/>
                <a:gd name="connsiteX54" fmla="*/ 123825 w 514350"/>
                <a:gd name="connsiteY54" fmla="*/ 146050 h 620717"/>
                <a:gd name="connsiteX55" fmla="*/ 117475 w 514350"/>
                <a:gd name="connsiteY55" fmla="*/ 155575 h 620717"/>
                <a:gd name="connsiteX56" fmla="*/ 112712 w 514350"/>
                <a:gd name="connsiteY56" fmla="*/ 157162 h 620717"/>
                <a:gd name="connsiteX57" fmla="*/ 125412 w 514350"/>
                <a:gd name="connsiteY57" fmla="*/ 161925 h 620717"/>
                <a:gd name="connsiteX58" fmla="*/ 130175 w 514350"/>
                <a:gd name="connsiteY58" fmla="*/ 163512 h 620717"/>
                <a:gd name="connsiteX59" fmla="*/ 142875 w 514350"/>
                <a:gd name="connsiteY59" fmla="*/ 166687 h 620717"/>
                <a:gd name="connsiteX60" fmla="*/ 147637 w 514350"/>
                <a:gd name="connsiteY60" fmla="*/ 173037 h 620717"/>
                <a:gd name="connsiteX61" fmla="*/ 152400 w 514350"/>
                <a:gd name="connsiteY61" fmla="*/ 177800 h 620717"/>
                <a:gd name="connsiteX62" fmla="*/ 146050 w 514350"/>
                <a:gd name="connsiteY62" fmla="*/ 179387 h 620717"/>
                <a:gd name="connsiteX63" fmla="*/ 149225 w 514350"/>
                <a:gd name="connsiteY63" fmla="*/ 185737 h 620717"/>
                <a:gd name="connsiteX64" fmla="*/ 153987 w 514350"/>
                <a:gd name="connsiteY64" fmla="*/ 187325 h 620717"/>
                <a:gd name="connsiteX65" fmla="*/ 168275 w 514350"/>
                <a:gd name="connsiteY65" fmla="*/ 190500 h 620717"/>
                <a:gd name="connsiteX66" fmla="*/ 165100 w 514350"/>
                <a:gd name="connsiteY66" fmla="*/ 198437 h 620717"/>
                <a:gd name="connsiteX67" fmla="*/ 160337 w 514350"/>
                <a:gd name="connsiteY67" fmla="*/ 200025 h 620717"/>
                <a:gd name="connsiteX68" fmla="*/ 139700 w 514350"/>
                <a:gd name="connsiteY68" fmla="*/ 196850 h 620717"/>
                <a:gd name="connsiteX69" fmla="*/ 153987 w 514350"/>
                <a:gd name="connsiteY69" fmla="*/ 211137 h 620717"/>
                <a:gd name="connsiteX70" fmla="*/ 152400 w 514350"/>
                <a:gd name="connsiteY70" fmla="*/ 217487 h 620717"/>
                <a:gd name="connsiteX71" fmla="*/ 138112 w 514350"/>
                <a:gd name="connsiteY71" fmla="*/ 219075 h 620717"/>
                <a:gd name="connsiteX72" fmla="*/ 142875 w 514350"/>
                <a:gd name="connsiteY72" fmla="*/ 223837 h 620717"/>
                <a:gd name="connsiteX73" fmla="*/ 141287 w 514350"/>
                <a:gd name="connsiteY73" fmla="*/ 228600 h 620717"/>
                <a:gd name="connsiteX74" fmla="*/ 107950 w 514350"/>
                <a:gd name="connsiteY74" fmla="*/ 231775 h 620717"/>
                <a:gd name="connsiteX75" fmla="*/ 95250 w 514350"/>
                <a:gd name="connsiteY75" fmla="*/ 233362 h 620717"/>
                <a:gd name="connsiteX76" fmla="*/ 92075 w 514350"/>
                <a:gd name="connsiteY76" fmla="*/ 247650 h 620717"/>
                <a:gd name="connsiteX77" fmla="*/ 93662 w 514350"/>
                <a:gd name="connsiteY77" fmla="*/ 252412 h 620717"/>
                <a:gd name="connsiteX78" fmla="*/ 109537 w 514350"/>
                <a:gd name="connsiteY78" fmla="*/ 260350 h 620717"/>
                <a:gd name="connsiteX79" fmla="*/ 114300 w 514350"/>
                <a:gd name="connsiteY79" fmla="*/ 263525 h 620717"/>
                <a:gd name="connsiteX80" fmla="*/ 119062 w 514350"/>
                <a:gd name="connsiteY80" fmla="*/ 268287 h 620717"/>
                <a:gd name="connsiteX81" fmla="*/ 123825 w 514350"/>
                <a:gd name="connsiteY81" fmla="*/ 269875 h 620717"/>
                <a:gd name="connsiteX82" fmla="*/ 128587 w 514350"/>
                <a:gd name="connsiteY82" fmla="*/ 273050 h 620717"/>
                <a:gd name="connsiteX83" fmla="*/ 114300 w 514350"/>
                <a:gd name="connsiteY83" fmla="*/ 279400 h 620717"/>
                <a:gd name="connsiteX84" fmla="*/ 109537 w 514350"/>
                <a:gd name="connsiteY84" fmla="*/ 284162 h 620717"/>
                <a:gd name="connsiteX85" fmla="*/ 111125 w 514350"/>
                <a:gd name="connsiteY85" fmla="*/ 293687 h 620717"/>
                <a:gd name="connsiteX86" fmla="*/ 125412 w 514350"/>
                <a:gd name="connsiteY86" fmla="*/ 296862 h 620717"/>
                <a:gd name="connsiteX87" fmla="*/ 136525 w 514350"/>
                <a:gd name="connsiteY87" fmla="*/ 301625 h 620717"/>
                <a:gd name="connsiteX88" fmla="*/ 142875 w 514350"/>
                <a:gd name="connsiteY88" fmla="*/ 303212 h 620717"/>
                <a:gd name="connsiteX89" fmla="*/ 146050 w 514350"/>
                <a:gd name="connsiteY89" fmla="*/ 311150 h 620717"/>
                <a:gd name="connsiteX90" fmla="*/ 158750 w 514350"/>
                <a:gd name="connsiteY90" fmla="*/ 315912 h 620717"/>
                <a:gd name="connsiteX91" fmla="*/ 193675 w 514350"/>
                <a:gd name="connsiteY91" fmla="*/ 317500 h 620717"/>
                <a:gd name="connsiteX92" fmla="*/ 209550 w 514350"/>
                <a:gd name="connsiteY92" fmla="*/ 320675 h 620717"/>
                <a:gd name="connsiteX93" fmla="*/ 204787 w 514350"/>
                <a:gd name="connsiteY93" fmla="*/ 323850 h 620717"/>
                <a:gd name="connsiteX94" fmla="*/ 200025 w 514350"/>
                <a:gd name="connsiteY94" fmla="*/ 325437 h 620717"/>
                <a:gd name="connsiteX95" fmla="*/ 190500 w 514350"/>
                <a:gd name="connsiteY95" fmla="*/ 331787 h 620717"/>
                <a:gd name="connsiteX96" fmla="*/ 182562 w 514350"/>
                <a:gd name="connsiteY96" fmla="*/ 338137 h 620717"/>
                <a:gd name="connsiteX97" fmla="*/ 176212 w 514350"/>
                <a:gd name="connsiteY97" fmla="*/ 341312 h 620717"/>
                <a:gd name="connsiteX98" fmla="*/ 171450 w 514350"/>
                <a:gd name="connsiteY98" fmla="*/ 344487 h 620717"/>
                <a:gd name="connsiteX99" fmla="*/ 161925 w 514350"/>
                <a:gd name="connsiteY99" fmla="*/ 347662 h 620717"/>
                <a:gd name="connsiteX100" fmla="*/ 149225 w 514350"/>
                <a:gd name="connsiteY100" fmla="*/ 365125 h 620717"/>
                <a:gd name="connsiteX101" fmla="*/ 139700 w 514350"/>
                <a:gd name="connsiteY101" fmla="*/ 382587 h 620717"/>
                <a:gd name="connsiteX102" fmla="*/ 134937 w 514350"/>
                <a:gd name="connsiteY102" fmla="*/ 384175 h 620717"/>
                <a:gd name="connsiteX103" fmla="*/ 133350 w 514350"/>
                <a:gd name="connsiteY103" fmla="*/ 388937 h 620717"/>
                <a:gd name="connsiteX104" fmla="*/ 128587 w 514350"/>
                <a:gd name="connsiteY104" fmla="*/ 392112 h 620717"/>
                <a:gd name="connsiteX105" fmla="*/ 120650 w 514350"/>
                <a:gd name="connsiteY105" fmla="*/ 398462 h 620717"/>
                <a:gd name="connsiteX106" fmla="*/ 114300 w 514350"/>
                <a:gd name="connsiteY106" fmla="*/ 409575 h 620717"/>
                <a:gd name="connsiteX107" fmla="*/ 109537 w 514350"/>
                <a:gd name="connsiteY107" fmla="*/ 411162 h 620717"/>
                <a:gd name="connsiteX108" fmla="*/ 92075 w 514350"/>
                <a:gd name="connsiteY108" fmla="*/ 414337 h 620717"/>
                <a:gd name="connsiteX109" fmla="*/ 92075 w 514350"/>
                <a:gd name="connsiteY109" fmla="*/ 433387 h 620717"/>
                <a:gd name="connsiteX110" fmla="*/ 79375 w 514350"/>
                <a:gd name="connsiteY110" fmla="*/ 441325 h 620717"/>
                <a:gd name="connsiteX111" fmla="*/ 73025 w 514350"/>
                <a:gd name="connsiteY111" fmla="*/ 455612 h 620717"/>
                <a:gd name="connsiteX112" fmla="*/ 69850 w 514350"/>
                <a:gd name="connsiteY112" fmla="*/ 463550 h 620717"/>
                <a:gd name="connsiteX113" fmla="*/ 65087 w 514350"/>
                <a:gd name="connsiteY113" fmla="*/ 465137 h 620717"/>
                <a:gd name="connsiteX114" fmla="*/ 38100 w 514350"/>
                <a:gd name="connsiteY114" fmla="*/ 466725 h 620717"/>
                <a:gd name="connsiteX115" fmla="*/ 34925 w 514350"/>
                <a:gd name="connsiteY115" fmla="*/ 473075 h 620717"/>
                <a:gd name="connsiteX116" fmla="*/ 30162 w 514350"/>
                <a:gd name="connsiteY116" fmla="*/ 476250 h 620717"/>
                <a:gd name="connsiteX117" fmla="*/ 0 w 514350"/>
                <a:gd name="connsiteY117" fmla="*/ 477837 h 620717"/>
                <a:gd name="connsiteX118" fmla="*/ 4762 w 514350"/>
                <a:gd name="connsiteY118" fmla="*/ 484187 h 620717"/>
                <a:gd name="connsiteX119" fmla="*/ 23812 w 514350"/>
                <a:gd name="connsiteY119" fmla="*/ 485775 h 620717"/>
                <a:gd name="connsiteX120" fmla="*/ 30162 w 514350"/>
                <a:gd name="connsiteY120" fmla="*/ 487362 h 620717"/>
                <a:gd name="connsiteX121" fmla="*/ 39687 w 514350"/>
                <a:gd name="connsiteY121" fmla="*/ 488950 h 620717"/>
                <a:gd name="connsiteX122" fmla="*/ 33337 w 514350"/>
                <a:gd name="connsiteY122" fmla="*/ 492125 h 620717"/>
                <a:gd name="connsiteX123" fmla="*/ 25400 w 514350"/>
                <a:gd name="connsiteY123" fmla="*/ 493712 h 620717"/>
                <a:gd name="connsiteX124" fmla="*/ 19050 w 514350"/>
                <a:gd name="connsiteY124" fmla="*/ 495300 h 620717"/>
                <a:gd name="connsiteX125" fmla="*/ 14287 w 514350"/>
                <a:gd name="connsiteY125" fmla="*/ 498475 h 620717"/>
                <a:gd name="connsiteX126" fmla="*/ 4762 w 514350"/>
                <a:gd name="connsiteY126" fmla="*/ 503237 h 620717"/>
                <a:gd name="connsiteX127" fmla="*/ 3175 w 514350"/>
                <a:gd name="connsiteY127" fmla="*/ 508000 h 620717"/>
                <a:gd name="connsiteX128" fmla="*/ 4762 w 514350"/>
                <a:gd name="connsiteY128" fmla="*/ 530225 h 620717"/>
                <a:gd name="connsiteX129" fmla="*/ 11112 w 514350"/>
                <a:gd name="connsiteY129" fmla="*/ 533400 h 620717"/>
                <a:gd name="connsiteX130" fmla="*/ 20637 w 514350"/>
                <a:gd name="connsiteY130" fmla="*/ 534987 h 620717"/>
                <a:gd name="connsiteX131" fmla="*/ 26987 w 514350"/>
                <a:gd name="connsiteY131" fmla="*/ 536575 h 620717"/>
                <a:gd name="connsiteX132" fmla="*/ 39687 w 514350"/>
                <a:gd name="connsiteY132" fmla="*/ 542925 h 620717"/>
                <a:gd name="connsiteX133" fmla="*/ 44450 w 514350"/>
                <a:gd name="connsiteY133" fmla="*/ 546100 h 620717"/>
                <a:gd name="connsiteX134" fmla="*/ 58737 w 514350"/>
                <a:gd name="connsiteY134" fmla="*/ 547687 h 620717"/>
                <a:gd name="connsiteX135" fmla="*/ 47625 w 514350"/>
                <a:gd name="connsiteY135" fmla="*/ 555625 h 620717"/>
                <a:gd name="connsiteX136" fmla="*/ 30162 w 514350"/>
                <a:gd name="connsiteY136" fmla="*/ 558800 h 620717"/>
                <a:gd name="connsiteX137" fmla="*/ 7937 w 514350"/>
                <a:gd name="connsiteY137" fmla="*/ 563562 h 620717"/>
                <a:gd name="connsiteX138" fmla="*/ 7937 w 514350"/>
                <a:gd name="connsiteY138" fmla="*/ 576262 h 620717"/>
                <a:gd name="connsiteX139" fmla="*/ 17462 w 514350"/>
                <a:gd name="connsiteY139" fmla="*/ 577850 h 620717"/>
                <a:gd name="connsiteX140" fmla="*/ 39687 w 514350"/>
                <a:gd name="connsiteY140" fmla="*/ 581025 h 620717"/>
                <a:gd name="connsiteX141" fmla="*/ 47625 w 514350"/>
                <a:gd name="connsiteY141" fmla="*/ 582612 h 620717"/>
                <a:gd name="connsiteX142" fmla="*/ 61912 w 514350"/>
                <a:gd name="connsiteY142" fmla="*/ 584200 h 620717"/>
                <a:gd name="connsiteX143" fmla="*/ 66675 w 514350"/>
                <a:gd name="connsiteY143" fmla="*/ 587375 h 620717"/>
                <a:gd name="connsiteX144" fmla="*/ 53975 w 514350"/>
                <a:gd name="connsiteY144" fmla="*/ 593725 h 620717"/>
                <a:gd name="connsiteX145" fmla="*/ 52387 w 514350"/>
                <a:gd name="connsiteY145" fmla="*/ 601662 h 620717"/>
                <a:gd name="connsiteX146" fmla="*/ 50800 w 514350"/>
                <a:gd name="connsiteY146" fmla="*/ 606425 h 620717"/>
                <a:gd name="connsiteX147" fmla="*/ 55562 w 514350"/>
                <a:gd name="connsiteY147" fmla="*/ 614362 h 620717"/>
                <a:gd name="connsiteX148" fmla="*/ 79375 w 514350"/>
                <a:gd name="connsiteY148" fmla="*/ 609600 h 620717"/>
                <a:gd name="connsiteX149" fmla="*/ 123825 w 514350"/>
                <a:gd name="connsiteY149" fmla="*/ 612775 h 620717"/>
                <a:gd name="connsiteX150" fmla="*/ 130175 w 514350"/>
                <a:gd name="connsiteY150" fmla="*/ 617537 h 620717"/>
                <a:gd name="connsiteX151" fmla="*/ 144462 w 514350"/>
                <a:gd name="connsiteY151" fmla="*/ 620712 h 620717"/>
                <a:gd name="connsiteX152" fmla="*/ 173037 w 514350"/>
                <a:gd name="connsiteY152" fmla="*/ 617537 h 620717"/>
                <a:gd name="connsiteX153" fmla="*/ 180975 w 514350"/>
                <a:gd name="connsiteY153" fmla="*/ 614362 h 620717"/>
                <a:gd name="connsiteX154" fmla="*/ 187325 w 514350"/>
                <a:gd name="connsiteY154" fmla="*/ 609600 h 620717"/>
                <a:gd name="connsiteX155" fmla="*/ 196850 w 514350"/>
                <a:gd name="connsiteY155" fmla="*/ 606425 h 620717"/>
                <a:gd name="connsiteX156" fmla="*/ 198437 w 514350"/>
                <a:gd name="connsiteY156" fmla="*/ 600075 h 620717"/>
                <a:gd name="connsiteX157" fmla="*/ 203200 w 514350"/>
                <a:gd name="connsiteY157" fmla="*/ 595312 h 620717"/>
                <a:gd name="connsiteX158" fmla="*/ 215900 w 514350"/>
                <a:gd name="connsiteY158" fmla="*/ 581025 h 620717"/>
                <a:gd name="connsiteX159" fmla="*/ 230187 w 514350"/>
                <a:gd name="connsiteY159" fmla="*/ 582612 h 620717"/>
                <a:gd name="connsiteX160" fmla="*/ 238125 w 514350"/>
                <a:gd name="connsiteY160" fmla="*/ 584200 h 620717"/>
                <a:gd name="connsiteX161" fmla="*/ 261937 w 514350"/>
                <a:gd name="connsiteY161" fmla="*/ 581025 h 620717"/>
                <a:gd name="connsiteX162" fmla="*/ 263525 w 514350"/>
                <a:gd name="connsiteY162" fmla="*/ 576262 h 620717"/>
                <a:gd name="connsiteX163" fmla="*/ 266700 w 514350"/>
                <a:gd name="connsiteY163" fmla="*/ 582612 h 620717"/>
                <a:gd name="connsiteX164" fmla="*/ 277812 w 514350"/>
                <a:gd name="connsiteY164" fmla="*/ 590550 h 620717"/>
                <a:gd name="connsiteX165" fmla="*/ 279400 w 514350"/>
                <a:gd name="connsiteY165" fmla="*/ 579437 h 620717"/>
                <a:gd name="connsiteX166" fmla="*/ 287337 w 514350"/>
                <a:gd name="connsiteY166" fmla="*/ 571500 h 620717"/>
                <a:gd name="connsiteX167" fmla="*/ 290512 w 514350"/>
                <a:gd name="connsiteY167" fmla="*/ 566737 h 620717"/>
                <a:gd name="connsiteX168" fmla="*/ 311150 w 514350"/>
                <a:gd name="connsiteY168" fmla="*/ 558800 h 620717"/>
                <a:gd name="connsiteX169" fmla="*/ 354012 w 514350"/>
                <a:gd name="connsiteY169" fmla="*/ 554037 h 620717"/>
                <a:gd name="connsiteX170" fmla="*/ 360362 w 514350"/>
                <a:gd name="connsiteY170" fmla="*/ 561975 h 620717"/>
                <a:gd name="connsiteX171" fmla="*/ 365125 w 514350"/>
                <a:gd name="connsiteY171" fmla="*/ 563562 h 620717"/>
                <a:gd name="connsiteX172" fmla="*/ 366712 w 514350"/>
                <a:gd name="connsiteY172" fmla="*/ 557212 h 620717"/>
                <a:gd name="connsiteX173" fmla="*/ 368300 w 514350"/>
                <a:gd name="connsiteY173" fmla="*/ 552450 h 620717"/>
                <a:gd name="connsiteX174" fmla="*/ 377825 w 514350"/>
                <a:gd name="connsiteY174" fmla="*/ 557212 h 620717"/>
                <a:gd name="connsiteX175" fmla="*/ 382587 w 514350"/>
                <a:gd name="connsiteY175" fmla="*/ 563562 h 620717"/>
                <a:gd name="connsiteX176" fmla="*/ 404812 w 514350"/>
                <a:gd name="connsiteY176" fmla="*/ 565150 h 620717"/>
                <a:gd name="connsiteX177" fmla="*/ 414337 w 514350"/>
                <a:gd name="connsiteY177" fmla="*/ 571500 h 620717"/>
                <a:gd name="connsiteX178" fmla="*/ 419100 w 514350"/>
                <a:gd name="connsiteY178" fmla="*/ 574675 h 620717"/>
                <a:gd name="connsiteX179" fmla="*/ 436562 w 514350"/>
                <a:gd name="connsiteY179" fmla="*/ 573087 h 620717"/>
                <a:gd name="connsiteX180" fmla="*/ 434975 w 514350"/>
                <a:gd name="connsiteY180" fmla="*/ 566737 h 620717"/>
                <a:gd name="connsiteX181" fmla="*/ 430212 w 514350"/>
                <a:gd name="connsiteY181" fmla="*/ 546100 h 620717"/>
                <a:gd name="connsiteX182" fmla="*/ 433387 w 514350"/>
                <a:gd name="connsiteY182" fmla="*/ 531812 h 620717"/>
                <a:gd name="connsiteX183" fmla="*/ 446087 w 514350"/>
                <a:gd name="connsiteY183" fmla="*/ 525462 h 620717"/>
                <a:gd name="connsiteX184" fmla="*/ 452437 w 514350"/>
                <a:gd name="connsiteY184" fmla="*/ 519112 h 620717"/>
                <a:gd name="connsiteX185" fmla="*/ 463550 w 514350"/>
                <a:gd name="connsiteY185" fmla="*/ 514350 h 620717"/>
                <a:gd name="connsiteX186" fmla="*/ 465137 w 514350"/>
                <a:gd name="connsiteY186" fmla="*/ 508000 h 620717"/>
                <a:gd name="connsiteX187" fmla="*/ 466725 w 514350"/>
                <a:gd name="connsiteY187" fmla="*/ 485775 h 620717"/>
                <a:gd name="connsiteX188" fmla="*/ 482600 w 514350"/>
                <a:gd name="connsiteY188" fmla="*/ 474662 h 620717"/>
                <a:gd name="connsiteX189" fmla="*/ 495300 w 514350"/>
                <a:gd name="connsiteY189" fmla="*/ 458787 h 620717"/>
                <a:gd name="connsiteX190" fmla="*/ 501650 w 514350"/>
                <a:gd name="connsiteY190" fmla="*/ 438150 h 620717"/>
                <a:gd name="connsiteX191" fmla="*/ 506412 w 514350"/>
                <a:gd name="connsiteY191" fmla="*/ 433387 h 620717"/>
                <a:gd name="connsiteX192" fmla="*/ 506412 w 514350"/>
                <a:gd name="connsiteY192" fmla="*/ 401637 h 620717"/>
                <a:gd name="connsiteX193" fmla="*/ 501650 w 514350"/>
                <a:gd name="connsiteY193" fmla="*/ 398462 h 620717"/>
                <a:gd name="connsiteX194" fmla="*/ 498475 w 514350"/>
                <a:gd name="connsiteY194" fmla="*/ 392112 h 620717"/>
                <a:gd name="connsiteX195" fmla="*/ 503237 w 514350"/>
                <a:gd name="connsiteY195" fmla="*/ 360362 h 620717"/>
                <a:gd name="connsiteX196" fmla="*/ 508000 w 514350"/>
                <a:gd name="connsiteY196" fmla="*/ 355600 h 620717"/>
                <a:gd name="connsiteX197" fmla="*/ 514350 w 514350"/>
                <a:gd name="connsiteY197" fmla="*/ 346075 h 620717"/>
                <a:gd name="connsiteX198" fmla="*/ 511175 w 514350"/>
                <a:gd name="connsiteY198" fmla="*/ 331787 h 620717"/>
                <a:gd name="connsiteX199" fmla="*/ 506412 w 514350"/>
                <a:gd name="connsiteY199" fmla="*/ 327025 h 620717"/>
                <a:gd name="connsiteX200" fmla="*/ 504825 w 514350"/>
                <a:gd name="connsiteY200" fmla="*/ 315912 h 620717"/>
                <a:gd name="connsiteX201" fmla="*/ 508000 w 514350"/>
                <a:gd name="connsiteY201" fmla="*/ 290512 h 620717"/>
                <a:gd name="connsiteX202" fmla="*/ 506412 w 514350"/>
                <a:gd name="connsiteY202" fmla="*/ 282575 h 620717"/>
                <a:gd name="connsiteX203" fmla="*/ 495300 w 514350"/>
                <a:gd name="connsiteY203" fmla="*/ 276225 h 620717"/>
                <a:gd name="connsiteX204" fmla="*/ 496887 w 514350"/>
                <a:gd name="connsiteY204" fmla="*/ 268287 h 620717"/>
                <a:gd name="connsiteX205" fmla="*/ 501650 w 514350"/>
                <a:gd name="connsiteY205" fmla="*/ 266700 h 620717"/>
                <a:gd name="connsiteX206" fmla="*/ 506412 w 514350"/>
                <a:gd name="connsiteY206" fmla="*/ 263525 h 620717"/>
                <a:gd name="connsiteX207" fmla="*/ 509587 w 514350"/>
                <a:gd name="connsiteY207" fmla="*/ 258762 h 620717"/>
                <a:gd name="connsiteX208" fmla="*/ 511175 w 514350"/>
                <a:gd name="connsiteY208" fmla="*/ 254000 h 620717"/>
                <a:gd name="connsiteX209" fmla="*/ 514350 w 514350"/>
                <a:gd name="connsiteY209" fmla="*/ 246062 h 620717"/>
                <a:gd name="connsiteX210" fmla="*/ 512762 w 514350"/>
                <a:gd name="connsiteY210" fmla="*/ 239712 h 620717"/>
                <a:gd name="connsiteX211" fmla="*/ 496887 w 514350"/>
                <a:gd name="connsiteY211" fmla="*/ 239712 h 620717"/>
                <a:gd name="connsiteX212" fmla="*/ 492125 w 514350"/>
                <a:gd name="connsiteY212" fmla="*/ 241300 h 620717"/>
                <a:gd name="connsiteX213" fmla="*/ 485775 w 514350"/>
                <a:gd name="connsiteY213" fmla="*/ 244475 h 620717"/>
                <a:gd name="connsiteX214" fmla="*/ 481012 w 514350"/>
                <a:gd name="connsiteY214" fmla="*/ 234950 h 620717"/>
                <a:gd name="connsiteX215" fmla="*/ 479425 w 514350"/>
                <a:gd name="connsiteY215" fmla="*/ 222250 h 620717"/>
                <a:gd name="connsiteX216" fmla="*/ 477837 w 514350"/>
                <a:gd name="connsiteY216" fmla="*/ 215900 h 620717"/>
                <a:gd name="connsiteX217" fmla="*/ 473075 w 514350"/>
                <a:gd name="connsiteY217" fmla="*/ 190500 h 620717"/>
                <a:gd name="connsiteX218" fmla="*/ 468312 w 514350"/>
                <a:gd name="connsiteY218" fmla="*/ 176212 h 620717"/>
                <a:gd name="connsiteX219" fmla="*/ 458787 w 514350"/>
                <a:gd name="connsiteY219" fmla="*/ 171450 h 620717"/>
                <a:gd name="connsiteX220" fmla="*/ 449262 w 514350"/>
                <a:gd name="connsiteY220" fmla="*/ 173037 h 620717"/>
                <a:gd name="connsiteX221" fmla="*/ 438150 w 514350"/>
                <a:gd name="connsiteY221" fmla="*/ 182562 h 620717"/>
                <a:gd name="connsiteX222" fmla="*/ 434975 w 514350"/>
                <a:gd name="connsiteY222" fmla="*/ 188912 h 620717"/>
                <a:gd name="connsiteX223" fmla="*/ 428625 w 514350"/>
                <a:gd name="connsiteY223" fmla="*/ 196850 h 620717"/>
                <a:gd name="connsiteX224" fmla="*/ 417512 w 514350"/>
                <a:gd name="connsiteY224" fmla="*/ 206375 h 620717"/>
                <a:gd name="connsiteX225" fmla="*/ 412750 w 514350"/>
                <a:gd name="connsiteY225" fmla="*/ 207962 h 620717"/>
                <a:gd name="connsiteX226" fmla="*/ 401637 w 514350"/>
                <a:gd name="connsiteY226" fmla="*/ 206375 h 620717"/>
                <a:gd name="connsiteX227" fmla="*/ 395287 w 514350"/>
                <a:gd name="connsiteY227" fmla="*/ 200025 h 620717"/>
                <a:gd name="connsiteX228" fmla="*/ 390525 w 514350"/>
                <a:gd name="connsiteY228" fmla="*/ 196850 h 620717"/>
                <a:gd name="connsiteX229" fmla="*/ 385762 w 514350"/>
                <a:gd name="connsiteY229" fmla="*/ 190500 h 620717"/>
                <a:gd name="connsiteX230" fmla="*/ 368300 w 514350"/>
                <a:gd name="connsiteY230" fmla="*/ 171450 h 620717"/>
                <a:gd name="connsiteX231" fmla="*/ 363537 w 514350"/>
                <a:gd name="connsiteY231" fmla="*/ 160337 h 620717"/>
                <a:gd name="connsiteX232" fmla="*/ 358775 w 514350"/>
                <a:gd name="connsiteY232" fmla="*/ 157162 h 620717"/>
                <a:gd name="connsiteX233" fmla="*/ 349250 w 514350"/>
                <a:gd name="connsiteY233" fmla="*/ 144462 h 620717"/>
                <a:gd name="connsiteX234" fmla="*/ 346075 w 514350"/>
                <a:gd name="connsiteY234" fmla="*/ 138112 h 620717"/>
                <a:gd name="connsiteX235" fmla="*/ 350837 w 514350"/>
                <a:gd name="connsiteY235" fmla="*/ 128587 h 620717"/>
                <a:gd name="connsiteX236" fmla="*/ 357187 w 514350"/>
                <a:gd name="connsiteY236" fmla="*/ 127000 h 620717"/>
                <a:gd name="connsiteX237" fmla="*/ 368300 w 514350"/>
                <a:gd name="connsiteY237" fmla="*/ 125412 h 620717"/>
                <a:gd name="connsiteX238" fmla="*/ 374650 w 514350"/>
                <a:gd name="connsiteY238" fmla="*/ 123825 h 620717"/>
                <a:gd name="connsiteX239" fmla="*/ 384175 w 514350"/>
                <a:gd name="connsiteY239" fmla="*/ 120650 h 620717"/>
                <a:gd name="connsiteX240" fmla="*/ 392112 w 514350"/>
                <a:gd name="connsiteY240" fmla="*/ 111125 h 620717"/>
                <a:gd name="connsiteX241" fmla="*/ 388937 w 514350"/>
                <a:gd name="connsiteY241" fmla="*/ 100012 h 620717"/>
                <a:gd name="connsiteX242" fmla="*/ 390525 w 514350"/>
                <a:gd name="connsiteY242" fmla="*/ 93662 h 620717"/>
                <a:gd name="connsiteX243" fmla="*/ 401637 w 514350"/>
                <a:gd name="connsiteY243" fmla="*/ 95250 h 620717"/>
                <a:gd name="connsiteX244" fmla="*/ 423862 w 514350"/>
                <a:gd name="connsiteY244" fmla="*/ 93662 h 620717"/>
                <a:gd name="connsiteX245" fmla="*/ 430212 w 514350"/>
                <a:gd name="connsiteY245" fmla="*/ 87312 h 620717"/>
                <a:gd name="connsiteX246" fmla="*/ 431800 w 514350"/>
                <a:gd name="connsiteY246" fmla="*/ 61912 h 620717"/>
                <a:gd name="connsiteX247" fmla="*/ 427037 w 514350"/>
                <a:gd name="connsiteY247" fmla="*/ 57150 h 620717"/>
                <a:gd name="connsiteX248" fmla="*/ 427037 w 514350"/>
                <a:gd name="connsiteY248" fmla="*/ 47625 h 620717"/>
                <a:gd name="connsiteX249" fmla="*/ 428625 w 514350"/>
                <a:gd name="connsiteY249" fmla="*/ 30162 h 620717"/>
                <a:gd name="connsiteX250" fmla="*/ 434975 w 514350"/>
                <a:gd name="connsiteY250" fmla="*/ 38100 h 620717"/>
                <a:gd name="connsiteX251" fmla="*/ 439737 w 514350"/>
                <a:gd name="connsiteY251" fmla="*/ 42862 h 620717"/>
                <a:gd name="connsiteX252" fmla="*/ 442912 w 514350"/>
                <a:gd name="connsiteY252" fmla="*/ 49212 h 620717"/>
                <a:gd name="connsiteX253" fmla="*/ 447675 w 514350"/>
                <a:gd name="connsiteY253" fmla="*/ 55562 h 620717"/>
                <a:gd name="connsiteX254" fmla="*/ 455612 w 514350"/>
                <a:gd name="connsiteY254" fmla="*/ 69850 h 620717"/>
                <a:gd name="connsiteX255" fmla="*/ 461962 w 514350"/>
                <a:gd name="connsiteY255" fmla="*/ 68262 h 620717"/>
                <a:gd name="connsiteX256" fmla="*/ 466725 w 514350"/>
                <a:gd name="connsiteY256" fmla="*/ 61912 h 620717"/>
                <a:gd name="connsiteX257" fmla="*/ 492125 w 514350"/>
                <a:gd name="connsiteY257" fmla="*/ 53975 h 620717"/>
                <a:gd name="connsiteX258" fmla="*/ 496887 w 514350"/>
                <a:gd name="connsiteY258" fmla="*/ 49212 h 620717"/>
                <a:gd name="connsiteX259" fmla="*/ 500062 w 514350"/>
                <a:gd name="connsiteY259" fmla="*/ 41275 h 620717"/>
                <a:gd name="connsiteX260" fmla="*/ 496887 w 514350"/>
                <a:gd name="connsiteY260" fmla="*/ 31750 h 620717"/>
                <a:gd name="connsiteX0" fmla="*/ 452437 w 514350"/>
                <a:gd name="connsiteY0" fmla="*/ 55562 h 620717"/>
                <a:gd name="connsiteX1" fmla="*/ 465137 w 514350"/>
                <a:gd name="connsiteY1" fmla="*/ 50800 h 620717"/>
                <a:gd name="connsiteX2" fmla="*/ 492125 w 514350"/>
                <a:gd name="connsiteY2" fmla="*/ 28575 h 620717"/>
                <a:gd name="connsiteX3" fmla="*/ 488950 w 514350"/>
                <a:gd name="connsiteY3" fmla="*/ 22225 h 620717"/>
                <a:gd name="connsiteX4" fmla="*/ 477837 w 514350"/>
                <a:gd name="connsiteY4" fmla="*/ 19050 h 620717"/>
                <a:gd name="connsiteX5" fmla="*/ 474662 w 514350"/>
                <a:gd name="connsiteY5" fmla="*/ 14287 h 620717"/>
                <a:gd name="connsiteX6" fmla="*/ 469900 w 514350"/>
                <a:gd name="connsiteY6" fmla="*/ 3175 h 620717"/>
                <a:gd name="connsiteX7" fmla="*/ 465137 w 514350"/>
                <a:gd name="connsiteY7" fmla="*/ 0 h 620717"/>
                <a:gd name="connsiteX8" fmla="*/ 460375 w 514350"/>
                <a:gd name="connsiteY8" fmla="*/ 1587 h 620717"/>
                <a:gd name="connsiteX9" fmla="*/ 447675 w 514350"/>
                <a:gd name="connsiteY9" fmla="*/ 9525 h 620717"/>
                <a:gd name="connsiteX10" fmla="*/ 428625 w 514350"/>
                <a:gd name="connsiteY10" fmla="*/ 12700 h 620717"/>
                <a:gd name="connsiteX11" fmla="*/ 427037 w 514350"/>
                <a:gd name="connsiteY11" fmla="*/ 19050 h 620717"/>
                <a:gd name="connsiteX12" fmla="*/ 409575 w 514350"/>
                <a:gd name="connsiteY12" fmla="*/ 14287 h 620717"/>
                <a:gd name="connsiteX13" fmla="*/ 401637 w 514350"/>
                <a:gd name="connsiteY13" fmla="*/ 12700 h 620717"/>
                <a:gd name="connsiteX14" fmla="*/ 352425 w 514350"/>
                <a:gd name="connsiteY14" fmla="*/ 19050 h 620717"/>
                <a:gd name="connsiteX15" fmla="*/ 350837 w 514350"/>
                <a:gd name="connsiteY15" fmla="*/ 23812 h 620717"/>
                <a:gd name="connsiteX16" fmla="*/ 352425 w 514350"/>
                <a:gd name="connsiteY16" fmla="*/ 38100 h 620717"/>
                <a:gd name="connsiteX17" fmla="*/ 357187 w 514350"/>
                <a:gd name="connsiteY17" fmla="*/ 44450 h 620717"/>
                <a:gd name="connsiteX18" fmla="*/ 349250 w 514350"/>
                <a:gd name="connsiteY18" fmla="*/ 58737 h 620717"/>
                <a:gd name="connsiteX19" fmla="*/ 328612 w 514350"/>
                <a:gd name="connsiteY19" fmla="*/ 60325 h 620717"/>
                <a:gd name="connsiteX20" fmla="*/ 307975 w 514350"/>
                <a:gd name="connsiteY20" fmla="*/ 68262 h 620717"/>
                <a:gd name="connsiteX21" fmla="*/ 295275 w 514350"/>
                <a:gd name="connsiteY21" fmla="*/ 73025 h 620717"/>
                <a:gd name="connsiteX22" fmla="*/ 292100 w 514350"/>
                <a:gd name="connsiteY22" fmla="*/ 77787 h 620717"/>
                <a:gd name="connsiteX23" fmla="*/ 296862 w 514350"/>
                <a:gd name="connsiteY23" fmla="*/ 79375 h 620717"/>
                <a:gd name="connsiteX24" fmla="*/ 311150 w 514350"/>
                <a:gd name="connsiteY24" fmla="*/ 82550 h 620717"/>
                <a:gd name="connsiteX25" fmla="*/ 319087 w 514350"/>
                <a:gd name="connsiteY25" fmla="*/ 87312 h 620717"/>
                <a:gd name="connsiteX26" fmla="*/ 323850 w 514350"/>
                <a:gd name="connsiteY26" fmla="*/ 88900 h 620717"/>
                <a:gd name="connsiteX27" fmla="*/ 336550 w 514350"/>
                <a:gd name="connsiteY27" fmla="*/ 103187 h 620717"/>
                <a:gd name="connsiteX28" fmla="*/ 334962 w 514350"/>
                <a:gd name="connsiteY28" fmla="*/ 114300 h 620717"/>
                <a:gd name="connsiteX29" fmla="*/ 330200 w 514350"/>
                <a:gd name="connsiteY29" fmla="*/ 115887 h 620717"/>
                <a:gd name="connsiteX30" fmla="*/ 315912 w 514350"/>
                <a:gd name="connsiteY30" fmla="*/ 130175 h 620717"/>
                <a:gd name="connsiteX31" fmla="*/ 307975 w 514350"/>
                <a:gd name="connsiteY31" fmla="*/ 131762 h 620717"/>
                <a:gd name="connsiteX32" fmla="*/ 300037 w 514350"/>
                <a:gd name="connsiteY32" fmla="*/ 134937 h 620717"/>
                <a:gd name="connsiteX33" fmla="*/ 296862 w 514350"/>
                <a:gd name="connsiteY33" fmla="*/ 142875 h 620717"/>
                <a:gd name="connsiteX34" fmla="*/ 282575 w 514350"/>
                <a:gd name="connsiteY34" fmla="*/ 157162 h 620717"/>
                <a:gd name="connsiteX35" fmla="*/ 273050 w 514350"/>
                <a:gd name="connsiteY35" fmla="*/ 153987 h 620717"/>
                <a:gd name="connsiteX36" fmla="*/ 261937 w 514350"/>
                <a:gd name="connsiteY36" fmla="*/ 147637 h 620717"/>
                <a:gd name="connsiteX37" fmla="*/ 242887 w 514350"/>
                <a:gd name="connsiteY37" fmla="*/ 149225 h 620717"/>
                <a:gd name="connsiteX38" fmla="*/ 236537 w 514350"/>
                <a:gd name="connsiteY38" fmla="*/ 150812 h 620717"/>
                <a:gd name="connsiteX39" fmla="*/ 231775 w 514350"/>
                <a:gd name="connsiteY39" fmla="*/ 142875 h 620717"/>
                <a:gd name="connsiteX40" fmla="*/ 225425 w 514350"/>
                <a:gd name="connsiteY40" fmla="*/ 123825 h 620717"/>
                <a:gd name="connsiteX41" fmla="*/ 219075 w 514350"/>
                <a:gd name="connsiteY41" fmla="*/ 122237 h 620717"/>
                <a:gd name="connsiteX42" fmla="*/ 204787 w 514350"/>
                <a:gd name="connsiteY42" fmla="*/ 120650 h 620717"/>
                <a:gd name="connsiteX43" fmla="*/ 190500 w 514350"/>
                <a:gd name="connsiteY43" fmla="*/ 117475 h 620717"/>
                <a:gd name="connsiteX44" fmla="*/ 182562 w 514350"/>
                <a:gd name="connsiteY44" fmla="*/ 111125 h 620717"/>
                <a:gd name="connsiteX45" fmla="*/ 174625 w 514350"/>
                <a:gd name="connsiteY45" fmla="*/ 104775 h 620717"/>
                <a:gd name="connsiteX46" fmla="*/ 152400 w 514350"/>
                <a:gd name="connsiteY46" fmla="*/ 106362 h 620717"/>
                <a:gd name="connsiteX47" fmla="*/ 150812 w 514350"/>
                <a:gd name="connsiteY47" fmla="*/ 117475 h 620717"/>
                <a:gd name="connsiteX48" fmla="*/ 133350 w 514350"/>
                <a:gd name="connsiteY48" fmla="*/ 120650 h 620717"/>
                <a:gd name="connsiteX49" fmla="*/ 138112 w 514350"/>
                <a:gd name="connsiteY49" fmla="*/ 123825 h 620717"/>
                <a:gd name="connsiteX50" fmla="*/ 139700 w 514350"/>
                <a:gd name="connsiteY50" fmla="*/ 128587 h 620717"/>
                <a:gd name="connsiteX51" fmla="*/ 146050 w 514350"/>
                <a:gd name="connsiteY51" fmla="*/ 131762 h 620717"/>
                <a:gd name="connsiteX52" fmla="*/ 147637 w 514350"/>
                <a:gd name="connsiteY52" fmla="*/ 138112 h 620717"/>
                <a:gd name="connsiteX53" fmla="*/ 123825 w 514350"/>
                <a:gd name="connsiteY53" fmla="*/ 146050 h 620717"/>
                <a:gd name="connsiteX54" fmla="*/ 117475 w 514350"/>
                <a:gd name="connsiteY54" fmla="*/ 155575 h 620717"/>
                <a:gd name="connsiteX55" fmla="*/ 112712 w 514350"/>
                <a:gd name="connsiteY55" fmla="*/ 157162 h 620717"/>
                <a:gd name="connsiteX56" fmla="*/ 125412 w 514350"/>
                <a:gd name="connsiteY56" fmla="*/ 161925 h 620717"/>
                <a:gd name="connsiteX57" fmla="*/ 130175 w 514350"/>
                <a:gd name="connsiteY57" fmla="*/ 163512 h 620717"/>
                <a:gd name="connsiteX58" fmla="*/ 142875 w 514350"/>
                <a:gd name="connsiteY58" fmla="*/ 166687 h 620717"/>
                <a:gd name="connsiteX59" fmla="*/ 147637 w 514350"/>
                <a:gd name="connsiteY59" fmla="*/ 173037 h 620717"/>
                <a:gd name="connsiteX60" fmla="*/ 152400 w 514350"/>
                <a:gd name="connsiteY60" fmla="*/ 177800 h 620717"/>
                <a:gd name="connsiteX61" fmla="*/ 146050 w 514350"/>
                <a:gd name="connsiteY61" fmla="*/ 179387 h 620717"/>
                <a:gd name="connsiteX62" fmla="*/ 149225 w 514350"/>
                <a:gd name="connsiteY62" fmla="*/ 185737 h 620717"/>
                <a:gd name="connsiteX63" fmla="*/ 153987 w 514350"/>
                <a:gd name="connsiteY63" fmla="*/ 187325 h 620717"/>
                <a:gd name="connsiteX64" fmla="*/ 168275 w 514350"/>
                <a:gd name="connsiteY64" fmla="*/ 190500 h 620717"/>
                <a:gd name="connsiteX65" fmla="*/ 165100 w 514350"/>
                <a:gd name="connsiteY65" fmla="*/ 198437 h 620717"/>
                <a:gd name="connsiteX66" fmla="*/ 160337 w 514350"/>
                <a:gd name="connsiteY66" fmla="*/ 200025 h 620717"/>
                <a:gd name="connsiteX67" fmla="*/ 139700 w 514350"/>
                <a:gd name="connsiteY67" fmla="*/ 196850 h 620717"/>
                <a:gd name="connsiteX68" fmla="*/ 153987 w 514350"/>
                <a:gd name="connsiteY68" fmla="*/ 211137 h 620717"/>
                <a:gd name="connsiteX69" fmla="*/ 152400 w 514350"/>
                <a:gd name="connsiteY69" fmla="*/ 217487 h 620717"/>
                <a:gd name="connsiteX70" fmla="*/ 138112 w 514350"/>
                <a:gd name="connsiteY70" fmla="*/ 219075 h 620717"/>
                <a:gd name="connsiteX71" fmla="*/ 142875 w 514350"/>
                <a:gd name="connsiteY71" fmla="*/ 223837 h 620717"/>
                <a:gd name="connsiteX72" fmla="*/ 141287 w 514350"/>
                <a:gd name="connsiteY72" fmla="*/ 228600 h 620717"/>
                <a:gd name="connsiteX73" fmla="*/ 107950 w 514350"/>
                <a:gd name="connsiteY73" fmla="*/ 231775 h 620717"/>
                <a:gd name="connsiteX74" fmla="*/ 95250 w 514350"/>
                <a:gd name="connsiteY74" fmla="*/ 233362 h 620717"/>
                <a:gd name="connsiteX75" fmla="*/ 92075 w 514350"/>
                <a:gd name="connsiteY75" fmla="*/ 247650 h 620717"/>
                <a:gd name="connsiteX76" fmla="*/ 93662 w 514350"/>
                <a:gd name="connsiteY76" fmla="*/ 252412 h 620717"/>
                <a:gd name="connsiteX77" fmla="*/ 109537 w 514350"/>
                <a:gd name="connsiteY77" fmla="*/ 260350 h 620717"/>
                <a:gd name="connsiteX78" fmla="*/ 114300 w 514350"/>
                <a:gd name="connsiteY78" fmla="*/ 263525 h 620717"/>
                <a:gd name="connsiteX79" fmla="*/ 119062 w 514350"/>
                <a:gd name="connsiteY79" fmla="*/ 268287 h 620717"/>
                <a:gd name="connsiteX80" fmla="*/ 123825 w 514350"/>
                <a:gd name="connsiteY80" fmla="*/ 269875 h 620717"/>
                <a:gd name="connsiteX81" fmla="*/ 128587 w 514350"/>
                <a:gd name="connsiteY81" fmla="*/ 273050 h 620717"/>
                <a:gd name="connsiteX82" fmla="*/ 114300 w 514350"/>
                <a:gd name="connsiteY82" fmla="*/ 279400 h 620717"/>
                <a:gd name="connsiteX83" fmla="*/ 109537 w 514350"/>
                <a:gd name="connsiteY83" fmla="*/ 284162 h 620717"/>
                <a:gd name="connsiteX84" fmla="*/ 111125 w 514350"/>
                <a:gd name="connsiteY84" fmla="*/ 293687 h 620717"/>
                <a:gd name="connsiteX85" fmla="*/ 125412 w 514350"/>
                <a:gd name="connsiteY85" fmla="*/ 296862 h 620717"/>
                <a:gd name="connsiteX86" fmla="*/ 136525 w 514350"/>
                <a:gd name="connsiteY86" fmla="*/ 301625 h 620717"/>
                <a:gd name="connsiteX87" fmla="*/ 142875 w 514350"/>
                <a:gd name="connsiteY87" fmla="*/ 303212 h 620717"/>
                <a:gd name="connsiteX88" fmla="*/ 146050 w 514350"/>
                <a:gd name="connsiteY88" fmla="*/ 311150 h 620717"/>
                <a:gd name="connsiteX89" fmla="*/ 158750 w 514350"/>
                <a:gd name="connsiteY89" fmla="*/ 315912 h 620717"/>
                <a:gd name="connsiteX90" fmla="*/ 193675 w 514350"/>
                <a:gd name="connsiteY90" fmla="*/ 317500 h 620717"/>
                <a:gd name="connsiteX91" fmla="*/ 209550 w 514350"/>
                <a:gd name="connsiteY91" fmla="*/ 320675 h 620717"/>
                <a:gd name="connsiteX92" fmla="*/ 204787 w 514350"/>
                <a:gd name="connsiteY92" fmla="*/ 323850 h 620717"/>
                <a:gd name="connsiteX93" fmla="*/ 200025 w 514350"/>
                <a:gd name="connsiteY93" fmla="*/ 325437 h 620717"/>
                <a:gd name="connsiteX94" fmla="*/ 190500 w 514350"/>
                <a:gd name="connsiteY94" fmla="*/ 331787 h 620717"/>
                <a:gd name="connsiteX95" fmla="*/ 182562 w 514350"/>
                <a:gd name="connsiteY95" fmla="*/ 338137 h 620717"/>
                <a:gd name="connsiteX96" fmla="*/ 176212 w 514350"/>
                <a:gd name="connsiteY96" fmla="*/ 341312 h 620717"/>
                <a:gd name="connsiteX97" fmla="*/ 171450 w 514350"/>
                <a:gd name="connsiteY97" fmla="*/ 344487 h 620717"/>
                <a:gd name="connsiteX98" fmla="*/ 161925 w 514350"/>
                <a:gd name="connsiteY98" fmla="*/ 347662 h 620717"/>
                <a:gd name="connsiteX99" fmla="*/ 149225 w 514350"/>
                <a:gd name="connsiteY99" fmla="*/ 365125 h 620717"/>
                <a:gd name="connsiteX100" fmla="*/ 139700 w 514350"/>
                <a:gd name="connsiteY100" fmla="*/ 382587 h 620717"/>
                <a:gd name="connsiteX101" fmla="*/ 134937 w 514350"/>
                <a:gd name="connsiteY101" fmla="*/ 384175 h 620717"/>
                <a:gd name="connsiteX102" fmla="*/ 133350 w 514350"/>
                <a:gd name="connsiteY102" fmla="*/ 388937 h 620717"/>
                <a:gd name="connsiteX103" fmla="*/ 128587 w 514350"/>
                <a:gd name="connsiteY103" fmla="*/ 392112 h 620717"/>
                <a:gd name="connsiteX104" fmla="*/ 120650 w 514350"/>
                <a:gd name="connsiteY104" fmla="*/ 398462 h 620717"/>
                <a:gd name="connsiteX105" fmla="*/ 114300 w 514350"/>
                <a:gd name="connsiteY105" fmla="*/ 409575 h 620717"/>
                <a:gd name="connsiteX106" fmla="*/ 109537 w 514350"/>
                <a:gd name="connsiteY106" fmla="*/ 411162 h 620717"/>
                <a:gd name="connsiteX107" fmla="*/ 92075 w 514350"/>
                <a:gd name="connsiteY107" fmla="*/ 414337 h 620717"/>
                <a:gd name="connsiteX108" fmla="*/ 92075 w 514350"/>
                <a:gd name="connsiteY108" fmla="*/ 433387 h 620717"/>
                <a:gd name="connsiteX109" fmla="*/ 79375 w 514350"/>
                <a:gd name="connsiteY109" fmla="*/ 441325 h 620717"/>
                <a:gd name="connsiteX110" fmla="*/ 73025 w 514350"/>
                <a:gd name="connsiteY110" fmla="*/ 455612 h 620717"/>
                <a:gd name="connsiteX111" fmla="*/ 69850 w 514350"/>
                <a:gd name="connsiteY111" fmla="*/ 463550 h 620717"/>
                <a:gd name="connsiteX112" fmla="*/ 65087 w 514350"/>
                <a:gd name="connsiteY112" fmla="*/ 465137 h 620717"/>
                <a:gd name="connsiteX113" fmla="*/ 38100 w 514350"/>
                <a:gd name="connsiteY113" fmla="*/ 466725 h 620717"/>
                <a:gd name="connsiteX114" fmla="*/ 34925 w 514350"/>
                <a:gd name="connsiteY114" fmla="*/ 473075 h 620717"/>
                <a:gd name="connsiteX115" fmla="*/ 30162 w 514350"/>
                <a:gd name="connsiteY115" fmla="*/ 476250 h 620717"/>
                <a:gd name="connsiteX116" fmla="*/ 0 w 514350"/>
                <a:gd name="connsiteY116" fmla="*/ 477837 h 620717"/>
                <a:gd name="connsiteX117" fmla="*/ 4762 w 514350"/>
                <a:gd name="connsiteY117" fmla="*/ 484187 h 620717"/>
                <a:gd name="connsiteX118" fmla="*/ 23812 w 514350"/>
                <a:gd name="connsiteY118" fmla="*/ 485775 h 620717"/>
                <a:gd name="connsiteX119" fmla="*/ 30162 w 514350"/>
                <a:gd name="connsiteY119" fmla="*/ 487362 h 620717"/>
                <a:gd name="connsiteX120" fmla="*/ 39687 w 514350"/>
                <a:gd name="connsiteY120" fmla="*/ 488950 h 620717"/>
                <a:gd name="connsiteX121" fmla="*/ 33337 w 514350"/>
                <a:gd name="connsiteY121" fmla="*/ 492125 h 620717"/>
                <a:gd name="connsiteX122" fmla="*/ 25400 w 514350"/>
                <a:gd name="connsiteY122" fmla="*/ 493712 h 620717"/>
                <a:gd name="connsiteX123" fmla="*/ 19050 w 514350"/>
                <a:gd name="connsiteY123" fmla="*/ 495300 h 620717"/>
                <a:gd name="connsiteX124" fmla="*/ 14287 w 514350"/>
                <a:gd name="connsiteY124" fmla="*/ 498475 h 620717"/>
                <a:gd name="connsiteX125" fmla="*/ 4762 w 514350"/>
                <a:gd name="connsiteY125" fmla="*/ 503237 h 620717"/>
                <a:gd name="connsiteX126" fmla="*/ 3175 w 514350"/>
                <a:gd name="connsiteY126" fmla="*/ 508000 h 620717"/>
                <a:gd name="connsiteX127" fmla="*/ 4762 w 514350"/>
                <a:gd name="connsiteY127" fmla="*/ 530225 h 620717"/>
                <a:gd name="connsiteX128" fmla="*/ 11112 w 514350"/>
                <a:gd name="connsiteY128" fmla="*/ 533400 h 620717"/>
                <a:gd name="connsiteX129" fmla="*/ 20637 w 514350"/>
                <a:gd name="connsiteY129" fmla="*/ 534987 h 620717"/>
                <a:gd name="connsiteX130" fmla="*/ 26987 w 514350"/>
                <a:gd name="connsiteY130" fmla="*/ 536575 h 620717"/>
                <a:gd name="connsiteX131" fmla="*/ 39687 w 514350"/>
                <a:gd name="connsiteY131" fmla="*/ 542925 h 620717"/>
                <a:gd name="connsiteX132" fmla="*/ 44450 w 514350"/>
                <a:gd name="connsiteY132" fmla="*/ 546100 h 620717"/>
                <a:gd name="connsiteX133" fmla="*/ 58737 w 514350"/>
                <a:gd name="connsiteY133" fmla="*/ 547687 h 620717"/>
                <a:gd name="connsiteX134" fmla="*/ 47625 w 514350"/>
                <a:gd name="connsiteY134" fmla="*/ 555625 h 620717"/>
                <a:gd name="connsiteX135" fmla="*/ 30162 w 514350"/>
                <a:gd name="connsiteY135" fmla="*/ 558800 h 620717"/>
                <a:gd name="connsiteX136" fmla="*/ 7937 w 514350"/>
                <a:gd name="connsiteY136" fmla="*/ 563562 h 620717"/>
                <a:gd name="connsiteX137" fmla="*/ 7937 w 514350"/>
                <a:gd name="connsiteY137" fmla="*/ 576262 h 620717"/>
                <a:gd name="connsiteX138" fmla="*/ 17462 w 514350"/>
                <a:gd name="connsiteY138" fmla="*/ 577850 h 620717"/>
                <a:gd name="connsiteX139" fmla="*/ 39687 w 514350"/>
                <a:gd name="connsiteY139" fmla="*/ 581025 h 620717"/>
                <a:gd name="connsiteX140" fmla="*/ 47625 w 514350"/>
                <a:gd name="connsiteY140" fmla="*/ 582612 h 620717"/>
                <a:gd name="connsiteX141" fmla="*/ 61912 w 514350"/>
                <a:gd name="connsiteY141" fmla="*/ 584200 h 620717"/>
                <a:gd name="connsiteX142" fmla="*/ 66675 w 514350"/>
                <a:gd name="connsiteY142" fmla="*/ 587375 h 620717"/>
                <a:gd name="connsiteX143" fmla="*/ 53975 w 514350"/>
                <a:gd name="connsiteY143" fmla="*/ 593725 h 620717"/>
                <a:gd name="connsiteX144" fmla="*/ 52387 w 514350"/>
                <a:gd name="connsiteY144" fmla="*/ 601662 h 620717"/>
                <a:gd name="connsiteX145" fmla="*/ 50800 w 514350"/>
                <a:gd name="connsiteY145" fmla="*/ 606425 h 620717"/>
                <a:gd name="connsiteX146" fmla="*/ 55562 w 514350"/>
                <a:gd name="connsiteY146" fmla="*/ 614362 h 620717"/>
                <a:gd name="connsiteX147" fmla="*/ 79375 w 514350"/>
                <a:gd name="connsiteY147" fmla="*/ 609600 h 620717"/>
                <a:gd name="connsiteX148" fmla="*/ 123825 w 514350"/>
                <a:gd name="connsiteY148" fmla="*/ 612775 h 620717"/>
                <a:gd name="connsiteX149" fmla="*/ 130175 w 514350"/>
                <a:gd name="connsiteY149" fmla="*/ 617537 h 620717"/>
                <a:gd name="connsiteX150" fmla="*/ 144462 w 514350"/>
                <a:gd name="connsiteY150" fmla="*/ 620712 h 620717"/>
                <a:gd name="connsiteX151" fmla="*/ 173037 w 514350"/>
                <a:gd name="connsiteY151" fmla="*/ 617537 h 620717"/>
                <a:gd name="connsiteX152" fmla="*/ 180975 w 514350"/>
                <a:gd name="connsiteY152" fmla="*/ 614362 h 620717"/>
                <a:gd name="connsiteX153" fmla="*/ 187325 w 514350"/>
                <a:gd name="connsiteY153" fmla="*/ 609600 h 620717"/>
                <a:gd name="connsiteX154" fmla="*/ 196850 w 514350"/>
                <a:gd name="connsiteY154" fmla="*/ 606425 h 620717"/>
                <a:gd name="connsiteX155" fmla="*/ 198437 w 514350"/>
                <a:gd name="connsiteY155" fmla="*/ 600075 h 620717"/>
                <a:gd name="connsiteX156" fmla="*/ 203200 w 514350"/>
                <a:gd name="connsiteY156" fmla="*/ 595312 h 620717"/>
                <a:gd name="connsiteX157" fmla="*/ 215900 w 514350"/>
                <a:gd name="connsiteY157" fmla="*/ 581025 h 620717"/>
                <a:gd name="connsiteX158" fmla="*/ 230187 w 514350"/>
                <a:gd name="connsiteY158" fmla="*/ 582612 h 620717"/>
                <a:gd name="connsiteX159" fmla="*/ 238125 w 514350"/>
                <a:gd name="connsiteY159" fmla="*/ 584200 h 620717"/>
                <a:gd name="connsiteX160" fmla="*/ 261937 w 514350"/>
                <a:gd name="connsiteY160" fmla="*/ 581025 h 620717"/>
                <a:gd name="connsiteX161" fmla="*/ 263525 w 514350"/>
                <a:gd name="connsiteY161" fmla="*/ 576262 h 620717"/>
                <a:gd name="connsiteX162" fmla="*/ 266700 w 514350"/>
                <a:gd name="connsiteY162" fmla="*/ 582612 h 620717"/>
                <a:gd name="connsiteX163" fmla="*/ 277812 w 514350"/>
                <a:gd name="connsiteY163" fmla="*/ 590550 h 620717"/>
                <a:gd name="connsiteX164" fmla="*/ 279400 w 514350"/>
                <a:gd name="connsiteY164" fmla="*/ 579437 h 620717"/>
                <a:gd name="connsiteX165" fmla="*/ 287337 w 514350"/>
                <a:gd name="connsiteY165" fmla="*/ 571500 h 620717"/>
                <a:gd name="connsiteX166" fmla="*/ 290512 w 514350"/>
                <a:gd name="connsiteY166" fmla="*/ 566737 h 620717"/>
                <a:gd name="connsiteX167" fmla="*/ 311150 w 514350"/>
                <a:gd name="connsiteY167" fmla="*/ 558800 h 620717"/>
                <a:gd name="connsiteX168" fmla="*/ 354012 w 514350"/>
                <a:gd name="connsiteY168" fmla="*/ 554037 h 620717"/>
                <a:gd name="connsiteX169" fmla="*/ 360362 w 514350"/>
                <a:gd name="connsiteY169" fmla="*/ 561975 h 620717"/>
                <a:gd name="connsiteX170" fmla="*/ 365125 w 514350"/>
                <a:gd name="connsiteY170" fmla="*/ 563562 h 620717"/>
                <a:gd name="connsiteX171" fmla="*/ 366712 w 514350"/>
                <a:gd name="connsiteY171" fmla="*/ 557212 h 620717"/>
                <a:gd name="connsiteX172" fmla="*/ 368300 w 514350"/>
                <a:gd name="connsiteY172" fmla="*/ 552450 h 620717"/>
                <a:gd name="connsiteX173" fmla="*/ 377825 w 514350"/>
                <a:gd name="connsiteY173" fmla="*/ 557212 h 620717"/>
                <a:gd name="connsiteX174" fmla="*/ 382587 w 514350"/>
                <a:gd name="connsiteY174" fmla="*/ 563562 h 620717"/>
                <a:gd name="connsiteX175" fmla="*/ 404812 w 514350"/>
                <a:gd name="connsiteY175" fmla="*/ 565150 h 620717"/>
                <a:gd name="connsiteX176" fmla="*/ 414337 w 514350"/>
                <a:gd name="connsiteY176" fmla="*/ 571500 h 620717"/>
                <a:gd name="connsiteX177" fmla="*/ 419100 w 514350"/>
                <a:gd name="connsiteY177" fmla="*/ 574675 h 620717"/>
                <a:gd name="connsiteX178" fmla="*/ 436562 w 514350"/>
                <a:gd name="connsiteY178" fmla="*/ 573087 h 620717"/>
                <a:gd name="connsiteX179" fmla="*/ 434975 w 514350"/>
                <a:gd name="connsiteY179" fmla="*/ 566737 h 620717"/>
                <a:gd name="connsiteX180" fmla="*/ 430212 w 514350"/>
                <a:gd name="connsiteY180" fmla="*/ 546100 h 620717"/>
                <a:gd name="connsiteX181" fmla="*/ 433387 w 514350"/>
                <a:gd name="connsiteY181" fmla="*/ 531812 h 620717"/>
                <a:gd name="connsiteX182" fmla="*/ 446087 w 514350"/>
                <a:gd name="connsiteY182" fmla="*/ 525462 h 620717"/>
                <a:gd name="connsiteX183" fmla="*/ 452437 w 514350"/>
                <a:gd name="connsiteY183" fmla="*/ 519112 h 620717"/>
                <a:gd name="connsiteX184" fmla="*/ 463550 w 514350"/>
                <a:gd name="connsiteY184" fmla="*/ 514350 h 620717"/>
                <a:gd name="connsiteX185" fmla="*/ 465137 w 514350"/>
                <a:gd name="connsiteY185" fmla="*/ 508000 h 620717"/>
                <a:gd name="connsiteX186" fmla="*/ 466725 w 514350"/>
                <a:gd name="connsiteY186" fmla="*/ 485775 h 620717"/>
                <a:gd name="connsiteX187" fmla="*/ 482600 w 514350"/>
                <a:gd name="connsiteY187" fmla="*/ 474662 h 620717"/>
                <a:gd name="connsiteX188" fmla="*/ 495300 w 514350"/>
                <a:gd name="connsiteY188" fmla="*/ 458787 h 620717"/>
                <a:gd name="connsiteX189" fmla="*/ 501650 w 514350"/>
                <a:gd name="connsiteY189" fmla="*/ 438150 h 620717"/>
                <a:gd name="connsiteX190" fmla="*/ 506412 w 514350"/>
                <a:gd name="connsiteY190" fmla="*/ 433387 h 620717"/>
                <a:gd name="connsiteX191" fmla="*/ 506412 w 514350"/>
                <a:gd name="connsiteY191" fmla="*/ 401637 h 620717"/>
                <a:gd name="connsiteX192" fmla="*/ 501650 w 514350"/>
                <a:gd name="connsiteY192" fmla="*/ 398462 h 620717"/>
                <a:gd name="connsiteX193" fmla="*/ 498475 w 514350"/>
                <a:gd name="connsiteY193" fmla="*/ 392112 h 620717"/>
                <a:gd name="connsiteX194" fmla="*/ 503237 w 514350"/>
                <a:gd name="connsiteY194" fmla="*/ 360362 h 620717"/>
                <a:gd name="connsiteX195" fmla="*/ 508000 w 514350"/>
                <a:gd name="connsiteY195" fmla="*/ 355600 h 620717"/>
                <a:gd name="connsiteX196" fmla="*/ 514350 w 514350"/>
                <a:gd name="connsiteY196" fmla="*/ 346075 h 620717"/>
                <a:gd name="connsiteX197" fmla="*/ 511175 w 514350"/>
                <a:gd name="connsiteY197" fmla="*/ 331787 h 620717"/>
                <a:gd name="connsiteX198" fmla="*/ 506412 w 514350"/>
                <a:gd name="connsiteY198" fmla="*/ 327025 h 620717"/>
                <a:gd name="connsiteX199" fmla="*/ 504825 w 514350"/>
                <a:gd name="connsiteY199" fmla="*/ 315912 h 620717"/>
                <a:gd name="connsiteX200" fmla="*/ 508000 w 514350"/>
                <a:gd name="connsiteY200" fmla="*/ 290512 h 620717"/>
                <a:gd name="connsiteX201" fmla="*/ 506412 w 514350"/>
                <a:gd name="connsiteY201" fmla="*/ 282575 h 620717"/>
                <a:gd name="connsiteX202" fmla="*/ 495300 w 514350"/>
                <a:gd name="connsiteY202" fmla="*/ 276225 h 620717"/>
                <a:gd name="connsiteX203" fmla="*/ 496887 w 514350"/>
                <a:gd name="connsiteY203" fmla="*/ 268287 h 620717"/>
                <a:gd name="connsiteX204" fmla="*/ 501650 w 514350"/>
                <a:gd name="connsiteY204" fmla="*/ 266700 h 620717"/>
                <a:gd name="connsiteX205" fmla="*/ 506412 w 514350"/>
                <a:gd name="connsiteY205" fmla="*/ 263525 h 620717"/>
                <a:gd name="connsiteX206" fmla="*/ 509587 w 514350"/>
                <a:gd name="connsiteY206" fmla="*/ 258762 h 620717"/>
                <a:gd name="connsiteX207" fmla="*/ 511175 w 514350"/>
                <a:gd name="connsiteY207" fmla="*/ 254000 h 620717"/>
                <a:gd name="connsiteX208" fmla="*/ 514350 w 514350"/>
                <a:gd name="connsiteY208" fmla="*/ 246062 h 620717"/>
                <a:gd name="connsiteX209" fmla="*/ 512762 w 514350"/>
                <a:gd name="connsiteY209" fmla="*/ 239712 h 620717"/>
                <a:gd name="connsiteX210" fmla="*/ 496887 w 514350"/>
                <a:gd name="connsiteY210" fmla="*/ 239712 h 620717"/>
                <a:gd name="connsiteX211" fmla="*/ 492125 w 514350"/>
                <a:gd name="connsiteY211" fmla="*/ 241300 h 620717"/>
                <a:gd name="connsiteX212" fmla="*/ 485775 w 514350"/>
                <a:gd name="connsiteY212" fmla="*/ 244475 h 620717"/>
                <a:gd name="connsiteX213" fmla="*/ 481012 w 514350"/>
                <a:gd name="connsiteY213" fmla="*/ 234950 h 620717"/>
                <a:gd name="connsiteX214" fmla="*/ 479425 w 514350"/>
                <a:gd name="connsiteY214" fmla="*/ 222250 h 620717"/>
                <a:gd name="connsiteX215" fmla="*/ 477837 w 514350"/>
                <a:gd name="connsiteY215" fmla="*/ 215900 h 620717"/>
                <a:gd name="connsiteX216" fmla="*/ 473075 w 514350"/>
                <a:gd name="connsiteY216" fmla="*/ 190500 h 620717"/>
                <a:gd name="connsiteX217" fmla="*/ 468312 w 514350"/>
                <a:gd name="connsiteY217" fmla="*/ 176212 h 620717"/>
                <a:gd name="connsiteX218" fmla="*/ 458787 w 514350"/>
                <a:gd name="connsiteY218" fmla="*/ 171450 h 620717"/>
                <a:gd name="connsiteX219" fmla="*/ 449262 w 514350"/>
                <a:gd name="connsiteY219" fmla="*/ 173037 h 620717"/>
                <a:gd name="connsiteX220" fmla="*/ 438150 w 514350"/>
                <a:gd name="connsiteY220" fmla="*/ 182562 h 620717"/>
                <a:gd name="connsiteX221" fmla="*/ 434975 w 514350"/>
                <a:gd name="connsiteY221" fmla="*/ 188912 h 620717"/>
                <a:gd name="connsiteX222" fmla="*/ 428625 w 514350"/>
                <a:gd name="connsiteY222" fmla="*/ 196850 h 620717"/>
                <a:gd name="connsiteX223" fmla="*/ 417512 w 514350"/>
                <a:gd name="connsiteY223" fmla="*/ 206375 h 620717"/>
                <a:gd name="connsiteX224" fmla="*/ 412750 w 514350"/>
                <a:gd name="connsiteY224" fmla="*/ 207962 h 620717"/>
                <a:gd name="connsiteX225" fmla="*/ 401637 w 514350"/>
                <a:gd name="connsiteY225" fmla="*/ 206375 h 620717"/>
                <a:gd name="connsiteX226" fmla="*/ 395287 w 514350"/>
                <a:gd name="connsiteY226" fmla="*/ 200025 h 620717"/>
                <a:gd name="connsiteX227" fmla="*/ 390525 w 514350"/>
                <a:gd name="connsiteY227" fmla="*/ 196850 h 620717"/>
                <a:gd name="connsiteX228" fmla="*/ 385762 w 514350"/>
                <a:gd name="connsiteY228" fmla="*/ 190500 h 620717"/>
                <a:gd name="connsiteX229" fmla="*/ 368300 w 514350"/>
                <a:gd name="connsiteY229" fmla="*/ 171450 h 620717"/>
                <a:gd name="connsiteX230" fmla="*/ 363537 w 514350"/>
                <a:gd name="connsiteY230" fmla="*/ 160337 h 620717"/>
                <a:gd name="connsiteX231" fmla="*/ 358775 w 514350"/>
                <a:gd name="connsiteY231" fmla="*/ 157162 h 620717"/>
                <a:gd name="connsiteX232" fmla="*/ 349250 w 514350"/>
                <a:gd name="connsiteY232" fmla="*/ 144462 h 620717"/>
                <a:gd name="connsiteX233" fmla="*/ 346075 w 514350"/>
                <a:gd name="connsiteY233" fmla="*/ 138112 h 620717"/>
                <a:gd name="connsiteX234" fmla="*/ 350837 w 514350"/>
                <a:gd name="connsiteY234" fmla="*/ 128587 h 620717"/>
                <a:gd name="connsiteX235" fmla="*/ 357187 w 514350"/>
                <a:gd name="connsiteY235" fmla="*/ 127000 h 620717"/>
                <a:gd name="connsiteX236" fmla="*/ 368300 w 514350"/>
                <a:gd name="connsiteY236" fmla="*/ 125412 h 620717"/>
                <a:gd name="connsiteX237" fmla="*/ 374650 w 514350"/>
                <a:gd name="connsiteY237" fmla="*/ 123825 h 620717"/>
                <a:gd name="connsiteX238" fmla="*/ 384175 w 514350"/>
                <a:gd name="connsiteY238" fmla="*/ 120650 h 620717"/>
                <a:gd name="connsiteX239" fmla="*/ 392112 w 514350"/>
                <a:gd name="connsiteY239" fmla="*/ 111125 h 620717"/>
                <a:gd name="connsiteX240" fmla="*/ 388937 w 514350"/>
                <a:gd name="connsiteY240" fmla="*/ 100012 h 620717"/>
                <a:gd name="connsiteX241" fmla="*/ 390525 w 514350"/>
                <a:gd name="connsiteY241" fmla="*/ 93662 h 620717"/>
                <a:gd name="connsiteX242" fmla="*/ 401637 w 514350"/>
                <a:gd name="connsiteY242" fmla="*/ 95250 h 620717"/>
                <a:gd name="connsiteX243" fmla="*/ 423862 w 514350"/>
                <a:gd name="connsiteY243" fmla="*/ 93662 h 620717"/>
                <a:gd name="connsiteX244" fmla="*/ 430212 w 514350"/>
                <a:gd name="connsiteY244" fmla="*/ 87312 h 620717"/>
                <a:gd name="connsiteX245" fmla="*/ 431800 w 514350"/>
                <a:gd name="connsiteY245" fmla="*/ 61912 h 620717"/>
                <a:gd name="connsiteX246" fmla="*/ 427037 w 514350"/>
                <a:gd name="connsiteY246" fmla="*/ 57150 h 620717"/>
                <a:gd name="connsiteX247" fmla="*/ 427037 w 514350"/>
                <a:gd name="connsiteY247" fmla="*/ 47625 h 620717"/>
                <a:gd name="connsiteX248" fmla="*/ 428625 w 514350"/>
                <a:gd name="connsiteY248" fmla="*/ 30162 h 620717"/>
                <a:gd name="connsiteX249" fmla="*/ 434975 w 514350"/>
                <a:gd name="connsiteY249" fmla="*/ 38100 h 620717"/>
                <a:gd name="connsiteX250" fmla="*/ 439737 w 514350"/>
                <a:gd name="connsiteY250" fmla="*/ 42862 h 620717"/>
                <a:gd name="connsiteX251" fmla="*/ 442912 w 514350"/>
                <a:gd name="connsiteY251" fmla="*/ 49212 h 620717"/>
                <a:gd name="connsiteX252" fmla="*/ 447675 w 514350"/>
                <a:gd name="connsiteY252" fmla="*/ 55562 h 620717"/>
                <a:gd name="connsiteX253" fmla="*/ 455612 w 514350"/>
                <a:gd name="connsiteY253" fmla="*/ 69850 h 620717"/>
                <a:gd name="connsiteX254" fmla="*/ 461962 w 514350"/>
                <a:gd name="connsiteY254" fmla="*/ 68262 h 620717"/>
                <a:gd name="connsiteX255" fmla="*/ 466725 w 514350"/>
                <a:gd name="connsiteY255" fmla="*/ 61912 h 620717"/>
                <a:gd name="connsiteX256" fmla="*/ 492125 w 514350"/>
                <a:gd name="connsiteY256" fmla="*/ 53975 h 620717"/>
                <a:gd name="connsiteX257" fmla="*/ 496887 w 514350"/>
                <a:gd name="connsiteY257" fmla="*/ 49212 h 620717"/>
                <a:gd name="connsiteX258" fmla="*/ 500062 w 514350"/>
                <a:gd name="connsiteY258" fmla="*/ 41275 h 620717"/>
                <a:gd name="connsiteX259" fmla="*/ 496887 w 514350"/>
                <a:gd name="connsiteY259" fmla="*/ 31750 h 620717"/>
                <a:gd name="connsiteX0" fmla="*/ 452437 w 514350"/>
                <a:gd name="connsiteY0" fmla="*/ 55562 h 620717"/>
                <a:gd name="connsiteX1" fmla="*/ 492125 w 514350"/>
                <a:gd name="connsiteY1" fmla="*/ 28575 h 620717"/>
                <a:gd name="connsiteX2" fmla="*/ 488950 w 514350"/>
                <a:gd name="connsiteY2" fmla="*/ 22225 h 620717"/>
                <a:gd name="connsiteX3" fmla="*/ 477837 w 514350"/>
                <a:gd name="connsiteY3" fmla="*/ 19050 h 620717"/>
                <a:gd name="connsiteX4" fmla="*/ 474662 w 514350"/>
                <a:gd name="connsiteY4" fmla="*/ 14287 h 620717"/>
                <a:gd name="connsiteX5" fmla="*/ 469900 w 514350"/>
                <a:gd name="connsiteY5" fmla="*/ 3175 h 620717"/>
                <a:gd name="connsiteX6" fmla="*/ 465137 w 514350"/>
                <a:gd name="connsiteY6" fmla="*/ 0 h 620717"/>
                <a:gd name="connsiteX7" fmla="*/ 460375 w 514350"/>
                <a:gd name="connsiteY7" fmla="*/ 1587 h 620717"/>
                <a:gd name="connsiteX8" fmla="*/ 447675 w 514350"/>
                <a:gd name="connsiteY8" fmla="*/ 9525 h 620717"/>
                <a:gd name="connsiteX9" fmla="*/ 428625 w 514350"/>
                <a:gd name="connsiteY9" fmla="*/ 12700 h 620717"/>
                <a:gd name="connsiteX10" fmla="*/ 427037 w 514350"/>
                <a:gd name="connsiteY10" fmla="*/ 19050 h 620717"/>
                <a:gd name="connsiteX11" fmla="*/ 409575 w 514350"/>
                <a:gd name="connsiteY11" fmla="*/ 14287 h 620717"/>
                <a:gd name="connsiteX12" fmla="*/ 401637 w 514350"/>
                <a:gd name="connsiteY12" fmla="*/ 12700 h 620717"/>
                <a:gd name="connsiteX13" fmla="*/ 352425 w 514350"/>
                <a:gd name="connsiteY13" fmla="*/ 19050 h 620717"/>
                <a:gd name="connsiteX14" fmla="*/ 350837 w 514350"/>
                <a:gd name="connsiteY14" fmla="*/ 23812 h 620717"/>
                <a:gd name="connsiteX15" fmla="*/ 352425 w 514350"/>
                <a:gd name="connsiteY15" fmla="*/ 38100 h 620717"/>
                <a:gd name="connsiteX16" fmla="*/ 357187 w 514350"/>
                <a:gd name="connsiteY16" fmla="*/ 44450 h 620717"/>
                <a:gd name="connsiteX17" fmla="*/ 349250 w 514350"/>
                <a:gd name="connsiteY17" fmla="*/ 58737 h 620717"/>
                <a:gd name="connsiteX18" fmla="*/ 328612 w 514350"/>
                <a:gd name="connsiteY18" fmla="*/ 60325 h 620717"/>
                <a:gd name="connsiteX19" fmla="*/ 307975 w 514350"/>
                <a:gd name="connsiteY19" fmla="*/ 68262 h 620717"/>
                <a:gd name="connsiteX20" fmla="*/ 295275 w 514350"/>
                <a:gd name="connsiteY20" fmla="*/ 73025 h 620717"/>
                <a:gd name="connsiteX21" fmla="*/ 292100 w 514350"/>
                <a:gd name="connsiteY21" fmla="*/ 77787 h 620717"/>
                <a:gd name="connsiteX22" fmla="*/ 296862 w 514350"/>
                <a:gd name="connsiteY22" fmla="*/ 79375 h 620717"/>
                <a:gd name="connsiteX23" fmla="*/ 311150 w 514350"/>
                <a:gd name="connsiteY23" fmla="*/ 82550 h 620717"/>
                <a:gd name="connsiteX24" fmla="*/ 319087 w 514350"/>
                <a:gd name="connsiteY24" fmla="*/ 87312 h 620717"/>
                <a:gd name="connsiteX25" fmla="*/ 323850 w 514350"/>
                <a:gd name="connsiteY25" fmla="*/ 88900 h 620717"/>
                <a:gd name="connsiteX26" fmla="*/ 336550 w 514350"/>
                <a:gd name="connsiteY26" fmla="*/ 103187 h 620717"/>
                <a:gd name="connsiteX27" fmla="*/ 334962 w 514350"/>
                <a:gd name="connsiteY27" fmla="*/ 114300 h 620717"/>
                <a:gd name="connsiteX28" fmla="*/ 330200 w 514350"/>
                <a:gd name="connsiteY28" fmla="*/ 115887 h 620717"/>
                <a:gd name="connsiteX29" fmla="*/ 315912 w 514350"/>
                <a:gd name="connsiteY29" fmla="*/ 130175 h 620717"/>
                <a:gd name="connsiteX30" fmla="*/ 307975 w 514350"/>
                <a:gd name="connsiteY30" fmla="*/ 131762 h 620717"/>
                <a:gd name="connsiteX31" fmla="*/ 300037 w 514350"/>
                <a:gd name="connsiteY31" fmla="*/ 134937 h 620717"/>
                <a:gd name="connsiteX32" fmla="*/ 296862 w 514350"/>
                <a:gd name="connsiteY32" fmla="*/ 142875 h 620717"/>
                <a:gd name="connsiteX33" fmla="*/ 282575 w 514350"/>
                <a:gd name="connsiteY33" fmla="*/ 157162 h 620717"/>
                <a:gd name="connsiteX34" fmla="*/ 273050 w 514350"/>
                <a:gd name="connsiteY34" fmla="*/ 153987 h 620717"/>
                <a:gd name="connsiteX35" fmla="*/ 261937 w 514350"/>
                <a:gd name="connsiteY35" fmla="*/ 147637 h 620717"/>
                <a:gd name="connsiteX36" fmla="*/ 242887 w 514350"/>
                <a:gd name="connsiteY36" fmla="*/ 149225 h 620717"/>
                <a:gd name="connsiteX37" fmla="*/ 236537 w 514350"/>
                <a:gd name="connsiteY37" fmla="*/ 150812 h 620717"/>
                <a:gd name="connsiteX38" fmla="*/ 231775 w 514350"/>
                <a:gd name="connsiteY38" fmla="*/ 142875 h 620717"/>
                <a:gd name="connsiteX39" fmla="*/ 225425 w 514350"/>
                <a:gd name="connsiteY39" fmla="*/ 123825 h 620717"/>
                <a:gd name="connsiteX40" fmla="*/ 219075 w 514350"/>
                <a:gd name="connsiteY40" fmla="*/ 122237 h 620717"/>
                <a:gd name="connsiteX41" fmla="*/ 204787 w 514350"/>
                <a:gd name="connsiteY41" fmla="*/ 120650 h 620717"/>
                <a:gd name="connsiteX42" fmla="*/ 190500 w 514350"/>
                <a:gd name="connsiteY42" fmla="*/ 117475 h 620717"/>
                <a:gd name="connsiteX43" fmla="*/ 182562 w 514350"/>
                <a:gd name="connsiteY43" fmla="*/ 111125 h 620717"/>
                <a:gd name="connsiteX44" fmla="*/ 174625 w 514350"/>
                <a:gd name="connsiteY44" fmla="*/ 104775 h 620717"/>
                <a:gd name="connsiteX45" fmla="*/ 152400 w 514350"/>
                <a:gd name="connsiteY45" fmla="*/ 106362 h 620717"/>
                <a:gd name="connsiteX46" fmla="*/ 150812 w 514350"/>
                <a:gd name="connsiteY46" fmla="*/ 117475 h 620717"/>
                <a:gd name="connsiteX47" fmla="*/ 133350 w 514350"/>
                <a:gd name="connsiteY47" fmla="*/ 120650 h 620717"/>
                <a:gd name="connsiteX48" fmla="*/ 138112 w 514350"/>
                <a:gd name="connsiteY48" fmla="*/ 123825 h 620717"/>
                <a:gd name="connsiteX49" fmla="*/ 139700 w 514350"/>
                <a:gd name="connsiteY49" fmla="*/ 128587 h 620717"/>
                <a:gd name="connsiteX50" fmla="*/ 146050 w 514350"/>
                <a:gd name="connsiteY50" fmla="*/ 131762 h 620717"/>
                <a:gd name="connsiteX51" fmla="*/ 147637 w 514350"/>
                <a:gd name="connsiteY51" fmla="*/ 138112 h 620717"/>
                <a:gd name="connsiteX52" fmla="*/ 123825 w 514350"/>
                <a:gd name="connsiteY52" fmla="*/ 146050 h 620717"/>
                <a:gd name="connsiteX53" fmla="*/ 117475 w 514350"/>
                <a:gd name="connsiteY53" fmla="*/ 155575 h 620717"/>
                <a:gd name="connsiteX54" fmla="*/ 112712 w 514350"/>
                <a:gd name="connsiteY54" fmla="*/ 157162 h 620717"/>
                <a:gd name="connsiteX55" fmla="*/ 125412 w 514350"/>
                <a:gd name="connsiteY55" fmla="*/ 161925 h 620717"/>
                <a:gd name="connsiteX56" fmla="*/ 130175 w 514350"/>
                <a:gd name="connsiteY56" fmla="*/ 163512 h 620717"/>
                <a:gd name="connsiteX57" fmla="*/ 142875 w 514350"/>
                <a:gd name="connsiteY57" fmla="*/ 166687 h 620717"/>
                <a:gd name="connsiteX58" fmla="*/ 147637 w 514350"/>
                <a:gd name="connsiteY58" fmla="*/ 173037 h 620717"/>
                <a:gd name="connsiteX59" fmla="*/ 152400 w 514350"/>
                <a:gd name="connsiteY59" fmla="*/ 177800 h 620717"/>
                <a:gd name="connsiteX60" fmla="*/ 146050 w 514350"/>
                <a:gd name="connsiteY60" fmla="*/ 179387 h 620717"/>
                <a:gd name="connsiteX61" fmla="*/ 149225 w 514350"/>
                <a:gd name="connsiteY61" fmla="*/ 185737 h 620717"/>
                <a:gd name="connsiteX62" fmla="*/ 153987 w 514350"/>
                <a:gd name="connsiteY62" fmla="*/ 187325 h 620717"/>
                <a:gd name="connsiteX63" fmla="*/ 168275 w 514350"/>
                <a:gd name="connsiteY63" fmla="*/ 190500 h 620717"/>
                <a:gd name="connsiteX64" fmla="*/ 165100 w 514350"/>
                <a:gd name="connsiteY64" fmla="*/ 198437 h 620717"/>
                <a:gd name="connsiteX65" fmla="*/ 160337 w 514350"/>
                <a:gd name="connsiteY65" fmla="*/ 200025 h 620717"/>
                <a:gd name="connsiteX66" fmla="*/ 139700 w 514350"/>
                <a:gd name="connsiteY66" fmla="*/ 196850 h 620717"/>
                <a:gd name="connsiteX67" fmla="*/ 153987 w 514350"/>
                <a:gd name="connsiteY67" fmla="*/ 211137 h 620717"/>
                <a:gd name="connsiteX68" fmla="*/ 152400 w 514350"/>
                <a:gd name="connsiteY68" fmla="*/ 217487 h 620717"/>
                <a:gd name="connsiteX69" fmla="*/ 138112 w 514350"/>
                <a:gd name="connsiteY69" fmla="*/ 219075 h 620717"/>
                <a:gd name="connsiteX70" fmla="*/ 142875 w 514350"/>
                <a:gd name="connsiteY70" fmla="*/ 223837 h 620717"/>
                <a:gd name="connsiteX71" fmla="*/ 141287 w 514350"/>
                <a:gd name="connsiteY71" fmla="*/ 228600 h 620717"/>
                <a:gd name="connsiteX72" fmla="*/ 107950 w 514350"/>
                <a:gd name="connsiteY72" fmla="*/ 231775 h 620717"/>
                <a:gd name="connsiteX73" fmla="*/ 95250 w 514350"/>
                <a:gd name="connsiteY73" fmla="*/ 233362 h 620717"/>
                <a:gd name="connsiteX74" fmla="*/ 92075 w 514350"/>
                <a:gd name="connsiteY74" fmla="*/ 247650 h 620717"/>
                <a:gd name="connsiteX75" fmla="*/ 93662 w 514350"/>
                <a:gd name="connsiteY75" fmla="*/ 252412 h 620717"/>
                <a:gd name="connsiteX76" fmla="*/ 109537 w 514350"/>
                <a:gd name="connsiteY76" fmla="*/ 260350 h 620717"/>
                <a:gd name="connsiteX77" fmla="*/ 114300 w 514350"/>
                <a:gd name="connsiteY77" fmla="*/ 263525 h 620717"/>
                <a:gd name="connsiteX78" fmla="*/ 119062 w 514350"/>
                <a:gd name="connsiteY78" fmla="*/ 268287 h 620717"/>
                <a:gd name="connsiteX79" fmla="*/ 123825 w 514350"/>
                <a:gd name="connsiteY79" fmla="*/ 269875 h 620717"/>
                <a:gd name="connsiteX80" fmla="*/ 128587 w 514350"/>
                <a:gd name="connsiteY80" fmla="*/ 273050 h 620717"/>
                <a:gd name="connsiteX81" fmla="*/ 114300 w 514350"/>
                <a:gd name="connsiteY81" fmla="*/ 279400 h 620717"/>
                <a:gd name="connsiteX82" fmla="*/ 109537 w 514350"/>
                <a:gd name="connsiteY82" fmla="*/ 284162 h 620717"/>
                <a:gd name="connsiteX83" fmla="*/ 111125 w 514350"/>
                <a:gd name="connsiteY83" fmla="*/ 293687 h 620717"/>
                <a:gd name="connsiteX84" fmla="*/ 125412 w 514350"/>
                <a:gd name="connsiteY84" fmla="*/ 296862 h 620717"/>
                <a:gd name="connsiteX85" fmla="*/ 136525 w 514350"/>
                <a:gd name="connsiteY85" fmla="*/ 301625 h 620717"/>
                <a:gd name="connsiteX86" fmla="*/ 142875 w 514350"/>
                <a:gd name="connsiteY86" fmla="*/ 303212 h 620717"/>
                <a:gd name="connsiteX87" fmla="*/ 146050 w 514350"/>
                <a:gd name="connsiteY87" fmla="*/ 311150 h 620717"/>
                <a:gd name="connsiteX88" fmla="*/ 158750 w 514350"/>
                <a:gd name="connsiteY88" fmla="*/ 315912 h 620717"/>
                <a:gd name="connsiteX89" fmla="*/ 193675 w 514350"/>
                <a:gd name="connsiteY89" fmla="*/ 317500 h 620717"/>
                <a:gd name="connsiteX90" fmla="*/ 209550 w 514350"/>
                <a:gd name="connsiteY90" fmla="*/ 320675 h 620717"/>
                <a:gd name="connsiteX91" fmla="*/ 204787 w 514350"/>
                <a:gd name="connsiteY91" fmla="*/ 323850 h 620717"/>
                <a:gd name="connsiteX92" fmla="*/ 200025 w 514350"/>
                <a:gd name="connsiteY92" fmla="*/ 325437 h 620717"/>
                <a:gd name="connsiteX93" fmla="*/ 190500 w 514350"/>
                <a:gd name="connsiteY93" fmla="*/ 331787 h 620717"/>
                <a:gd name="connsiteX94" fmla="*/ 182562 w 514350"/>
                <a:gd name="connsiteY94" fmla="*/ 338137 h 620717"/>
                <a:gd name="connsiteX95" fmla="*/ 176212 w 514350"/>
                <a:gd name="connsiteY95" fmla="*/ 341312 h 620717"/>
                <a:gd name="connsiteX96" fmla="*/ 171450 w 514350"/>
                <a:gd name="connsiteY96" fmla="*/ 344487 h 620717"/>
                <a:gd name="connsiteX97" fmla="*/ 161925 w 514350"/>
                <a:gd name="connsiteY97" fmla="*/ 347662 h 620717"/>
                <a:gd name="connsiteX98" fmla="*/ 149225 w 514350"/>
                <a:gd name="connsiteY98" fmla="*/ 365125 h 620717"/>
                <a:gd name="connsiteX99" fmla="*/ 139700 w 514350"/>
                <a:gd name="connsiteY99" fmla="*/ 382587 h 620717"/>
                <a:gd name="connsiteX100" fmla="*/ 134937 w 514350"/>
                <a:gd name="connsiteY100" fmla="*/ 384175 h 620717"/>
                <a:gd name="connsiteX101" fmla="*/ 133350 w 514350"/>
                <a:gd name="connsiteY101" fmla="*/ 388937 h 620717"/>
                <a:gd name="connsiteX102" fmla="*/ 128587 w 514350"/>
                <a:gd name="connsiteY102" fmla="*/ 392112 h 620717"/>
                <a:gd name="connsiteX103" fmla="*/ 120650 w 514350"/>
                <a:gd name="connsiteY103" fmla="*/ 398462 h 620717"/>
                <a:gd name="connsiteX104" fmla="*/ 114300 w 514350"/>
                <a:gd name="connsiteY104" fmla="*/ 409575 h 620717"/>
                <a:gd name="connsiteX105" fmla="*/ 109537 w 514350"/>
                <a:gd name="connsiteY105" fmla="*/ 411162 h 620717"/>
                <a:gd name="connsiteX106" fmla="*/ 92075 w 514350"/>
                <a:gd name="connsiteY106" fmla="*/ 414337 h 620717"/>
                <a:gd name="connsiteX107" fmla="*/ 92075 w 514350"/>
                <a:gd name="connsiteY107" fmla="*/ 433387 h 620717"/>
                <a:gd name="connsiteX108" fmla="*/ 79375 w 514350"/>
                <a:gd name="connsiteY108" fmla="*/ 441325 h 620717"/>
                <a:gd name="connsiteX109" fmla="*/ 73025 w 514350"/>
                <a:gd name="connsiteY109" fmla="*/ 455612 h 620717"/>
                <a:gd name="connsiteX110" fmla="*/ 69850 w 514350"/>
                <a:gd name="connsiteY110" fmla="*/ 463550 h 620717"/>
                <a:gd name="connsiteX111" fmla="*/ 65087 w 514350"/>
                <a:gd name="connsiteY111" fmla="*/ 465137 h 620717"/>
                <a:gd name="connsiteX112" fmla="*/ 38100 w 514350"/>
                <a:gd name="connsiteY112" fmla="*/ 466725 h 620717"/>
                <a:gd name="connsiteX113" fmla="*/ 34925 w 514350"/>
                <a:gd name="connsiteY113" fmla="*/ 473075 h 620717"/>
                <a:gd name="connsiteX114" fmla="*/ 30162 w 514350"/>
                <a:gd name="connsiteY114" fmla="*/ 476250 h 620717"/>
                <a:gd name="connsiteX115" fmla="*/ 0 w 514350"/>
                <a:gd name="connsiteY115" fmla="*/ 477837 h 620717"/>
                <a:gd name="connsiteX116" fmla="*/ 4762 w 514350"/>
                <a:gd name="connsiteY116" fmla="*/ 484187 h 620717"/>
                <a:gd name="connsiteX117" fmla="*/ 23812 w 514350"/>
                <a:gd name="connsiteY117" fmla="*/ 485775 h 620717"/>
                <a:gd name="connsiteX118" fmla="*/ 30162 w 514350"/>
                <a:gd name="connsiteY118" fmla="*/ 487362 h 620717"/>
                <a:gd name="connsiteX119" fmla="*/ 39687 w 514350"/>
                <a:gd name="connsiteY119" fmla="*/ 488950 h 620717"/>
                <a:gd name="connsiteX120" fmla="*/ 33337 w 514350"/>
                <a:gd name="connsiteY120" fmla="*/ 492125 h 620717"/>
                <a:gd name="connsiteX121" fmla="*/ 25400 w 514350"/>
                <a:gd name="connsiteY121" fmla="*/ 493712 h 620717"/>
                <a:gd name="connsiteX122" fmla="*/ 19050 w 514350"/>
                <a:gd name="connsiteY122" fmla="*/ 495300 h 620717"/>
                <a:gd name="connsiteX123" fmla="*/ 14287 w 514350"/>
                <a:gd name="connsiteY123" fmla="*/ 498475 h 620717"/>
                <a:gd name="connsiteX124" fmla="*/ 4762 w 514350"/>
                <a:gd name="connsiteY124" fmla="*/ 503237 h 620717"/>
                <a:gd name="connsiteX125" fmla="*/ 3175 w 514350"/>
                <a:gd name="connsiteY125" fmla="*/ 508000 h 620717"/>
                <a:gd name="connsiteX126" fmla="*/ 4762 w 514350"/>
                <a:gd name="connsiteY126" fmla="*/ 530225 h 620717"/>
                <a:gd name="connsiteX127" fmla="*/ 11112 w 514350"/>
                <a:gd name="connsiteY127" fmla="*/ 533400 h 620717"/>
                <a:gd name="connsiteX128" fmla="*/ 20637 w 514350"/>
                <a:gd name="connsiteY128" fmla="*/ 534987 h 620717"/>
                <a:gd name="connsiteX129" fmla="*/ 26987 w 514350"/>
                <a:gd name="connsiteY129" fmla="*/ 536575 h 620717"/>
                <a:gd name="connsiteX130" fmla="*/ 39687 w 514350"/>
                <a:gd name="connsiteY130" fmla="*/ 542925 h 620717"/>
                <a:gd name="connsiteX131" fmla="*/ 44450 w 514350"/>
                <a:gd name="connsiteY131" fmla="*/ 546100 h 620717"/>
                <a:gd name="connsiteX132" fmla="*/ 58737 w 514350"/>
                <a:gd name="connsiteY132" fmla="*/ 547687 h 620717"/>
                <a:gd name="connsiteX133" fmla="*/ 47625 w 514350"/>
                <a:gd name="connsiteY133" fmla="*/ 555625 h 620717"/>
                <a:gd name="connsiteX134" fmla="*/ 30162 w 514350"/>
                <a:gd name="connsiteY134" fmla="*/ 558800 h 620717"/>
                <a:gd name="connsiteX135" fmla="*/ 7937 w 514350"/>
                <a:gd name="connsiteY135" fmla="*/ 563562 h 620717"/>
                <a:gd name="connsiteX136" fmla="*/ 7937 w 514350"/>
                <a:gd name="connsiteY136" fmla="*/ 576262 h 620717"/>
                <a:gd name="connsiteX137" fmla="*/ 17462 w 514350"/>
                <a:gd name="connsiteY137" fmla="*/ 577850 h 620717"/>
                <a:gd name="connsiteX138" fmla="*/ 39687 w 514350"/>
                <a:gd name="connsiteY138" fmla="*/ 581025 h 620717"/>
                <a:gd name="connsiteX139" fmla="*/ 47625 w 514350"/>
                <a:gd name="connsiteY139" fmla="*/ 582612 h 620717"/>
                <a:gd name="connsiteX140" fmla="*/ 61912 w 514350"/>
                <a:gd name="connsiteY140" fmla="*/ 584200 h 620717"/>
                <a:gd name="connsiteX141" fmla="*/ 66675 w 514350"/>
                <a:gd name="connsiteY141" fmla="*/ 587375 h 620717"/>
                <a:gd name="connsiteX142" fmla="*/ 53975 w 514350"/>
                <a:gd name="connsiteY142" fmla="*/ 593725 h 620717"/>
                <a:gd name="connsiteX143" fmla="*/ 52387 w 514350"/>
                <a:gd name="connsiteY143" fmla="*/ 601662 h 620717"/>
                <a:gd name="connsiteX144" fmla="*/ 50800 w 514350"/>
                <a:gd name="connsiteY144" fmla="*/ 606425 h 620717"/>
                <a:gd name="connsiteX145" fmla="*/ 55562 w 514350"/>
                <a:gd name="connsiteY145" fmla="*/ 614362 h 620717"/>
                <a:gd name="connsiteX146" fmla="*/ 79375 w 514350"/>
                <a:gd name="connsiteY146" fmla="*/ 609600 h 620717"/>
                <a:gd name="connsiteX147" fmla="*/ 123825 w 514350"/>
                <a:gd name="connsiteY147" fmla="*/ 612775 h 620717"/>
                <a:gd name="connsiteX148" fmla="*/ 130175 w 514350"/>
                <a:gd name="connsiteY148" fmla="*/ 617537 h 620717"/>
                <a:gd name="connsiteX149" fmla="*/ 144462 w 514350"/>
                <a:gd name="connsiteY149" fmla="*/ 620712 h 620717"/>
                <a:gd name="connsiteX150" fmla="*/ 173037 w 514350"/>
                <a:gd name="connsiteY150" fmla="*/ 617537 h 620717"/>
                <a:gd name="connsiteX151" fmla="*/ 180975 w 514350"/>
                <a:gd name="connsiteY151" fmla="*/ 614362 h 620717"/>
                <a:gd name="connsiteX152" fmla="*/ 187325 w 514350"/>
                <a:gd name="connsiteY152" fmla="*/ 609600 h 620717"/>
                <a:gd name="connsiteX153" fmla="*/ 196850 w 514350"/>
                <a:gd name="connsiteY153" fmla="*/ 606425 h 620717"/>
                <a:gd name="connsiteX154" fmla="*/ 198437 w 514350"/>
                <a:gd name="connsiteY154" fmla="*/ 600075 h 620717"/>
                <a:gd name="connsiteX155" fmla="*/ 203200 w 514350"/>
                <a:gd name="connsiteY155" fmla="*/ 595312 h 620717"/>
                <a:gd name="connsiteX156" fmla="*/ 215900 w 514350"/>
                <a:gd name="connsiteY156" fmla="*/ 581025 h 620717"/>
                <a:gd name="connsiteX157" fmla="*/ 230187 w 514350"/>
                <a:gd name="connsiteY157" fmla="*/ 582612 h 620717"/>
                <a:gd name="connsiteX158" fmla="*/ 238125 w 514350"/>
                <a:gd name="connsiteY158" fmla="*/ 584200 h 620717"/>
                <a:gd name="connsiteX159" fmla="*/ 261937 w 514350"/>
                <a:gd name="connsiteY159" fmla="*/ 581025 h 620717"/>
                <a:gd name="connsiteX160" fmla="*/ 263525 w 514350"/>
                <a:gd name="connsiteY160" fmla="*/ 576262 h 620717"/>
                <a:gd name="connsiteX161" fmla="*/ 266700 w 514350"/>
                <a:gd name="connsiteY161" fmla="*/ 582612 h 620717"/>
                <a:gd name="connsiteX162" fmla="*/ 277812 w 514350"/>
                <a:gd name="connsiteY162" fmla="*/ 590550 h 620717"/>
                <a:gd name="connsiteX163" fmla="*/ 279400 w 514350"/>
                <a:gd name="connsiteY163" fmla="*/ 579437 h 620717"/>
                <a:gd name="connsiteX164" fmla="*/ 287337 w 514350"/>
                <a:gd name="connsiteY164" fmla="*/ 571500 h 620717"/>
                <a:gd name="connsiteX165" fmla="*/ 290512 w 514350"/>
                <a:gd name="connsiteY165" fmla="*/ 566737 h 620717"/>
                <a:gd name="connsiteX166" fmla="*/ 311150 w 514350"/>
                <a:gd name="connsiteY166" fmla="*/ 558800 h 620717"/>
                <a:gd name="connsiteX167" fmla="*/ 354012 w 514350"/>
                <a:gd name="connsiteY167" fmla="*/ 554037 h 620717"/>
                <a:gd name="connsiteX168" fmla="*/ 360362 w 514350"/>
                <a:gd name="connsiteY168" fmla="*/ 561975 h 620717"/>
                <a:gd name="connsiteX169" fmla="*/ 365125 w 514350"/>
                <a:gd name="connsiteY169" fmla="*/ 563562 h 620717"/>
                <a:gd name="connsiteX170" fmla="*/ 366712 w 514350"/>
                <a:gd name="connsiteY170" fmla="*/ 557212 h 620717"/>
                <a:gd name="connsiteX171" fmla="*/ 368300 w 514350"/>
                <a:gd name="connsiteY171" fmla="*/ 552450 h 620717"/>
                <a:gd name="connsiteX172" fmla="*/ 377825 w 514350"/>
                <a:gd name="connsiteY172" fmla="*/ 557212 h 620717"/>
                <a:gd name="connsiteX173" fmla="*/ 382587 w 514350"/>
                <a:gd name="connsiteY173" fmla="*/ 563562 h 620717"/>
                <a:gd name="connsiteX174" fmla="*/ 404812 w 514350"/>
                <a:gd name="connsiteY174" fmla="*/ 565150 h 620717"/>
                <a:gd name="connsiteX175" fmla="*/ 414337 w 514350"/>
                <a:gd name="connsiteY175" fmla="*/ 571500 h 620717"/>
                <a:gd name="connsiteX176" fmla="*/ 419100 w 514350"/>
                <a:gd name="connsiteY176" fmla="*/ 574675 h 620717"/>
                <a:gd name="connsiteX177" fmla="*/ 436562 w 514350"/>
                <a:gd name="connsiteY177" fmla="*/ 573087 h 620717"/>
                <a:gd name="connsiteX178" fmla="*/ 434975 w 514350"/>
                <a:gd name="connsiteY178" fmla="*/ 566737 h 620717"/>
                <a:gd name="connsiteX179" fmla="*/ 430212 w 514350"/>
                <a:gd name="connsiteY179" fmla="*/ 546100 h 620717"/>
                <a:gd name="connsiteX180" fmla="*/ 433387 w 514350"/>
                <a:gd name="connsiteY180" fmla="*/ 531812 h 620717"/>
                <a:gd name="connsiteX181" fmla="*/ 446087 w 514350"/>
                <a:gd name="connsiteY181" fmla="*/ 525462 h 620717"/>
                <a:gd name="connsiteX182" fmla="*/ 452437 w 514350"/>
                <a:gd name="connsiteY182" fmla="*/ 519112 h 620717"/>
                <a:gd name="connsiteX183" fmla="*/ 463550 w 514350"/>
                <a:gd name="connsiteY183" fmla="*/ 514350 h 620717"/>
                <a:gd name="connsiteX184" fmla="*/ 465137 w 514350"/>
                <a:gd name="connsiteY184" fmla="*/ 508000 h 620717"/>
                <a:gd name="connsiteX185" fmla="*/ 466725 w 514350"/>
                <a:gd name="connsiteY185" fmla="*/ 485775 h 620717"/>
                <a:gd name="connsiteX186" fmla="*/ 482600 w 514350"/>
                <a:gd name="connsiteY186" fmla="*/ 474662 h 620717"/>
                <a:gd name="connsiteX187" fmla="*/ 495300 w 514350"/>
                <a:gd name="connsiteY187" fmla="*/ 458787 h 620717"/>
                <a:gd name="connsiteX188" fmla="*/ 501650 w 514350"/>
                <a:gd name="connsiteY188" fmla="*/ 438150 h 620717"/>
                <a:gd name="connsiteX189" fmla="*/ 506412 w 514350"/>
                <a:gd name="connsiteY189" fmla="*/ 433387 h 620717"/>
                <a:gd name="connsiteX190" fmla="*/ 506412 w 514350"/>
                <a:gd name="connsiteY190" fmla="*/ 401637 h 620717"/>
                <a:gd name="connsiteX191" fmla="*/ 501650 w 514350"/>
                <a:gd name="connsiteY191" fmla="*/ 398462 h 620717"/>
                <a:gd name="connsiteX192" fmla="*/ 498475 w 514350"/>
                <a:gd name="connsiteY192" fmla="*/ 392112 h 620717"/>
                <a:gd name="connsiteX193" fmla="*/ 503237 w 514350"/>
                <a:gd name="connsiteY193" fmla="*/ 360362 h 620717"/>
                <a:gd name="connsiteX194" fmla="*/ 508000 w 514350"/>
                <a:gd name="connsiteY194" fmla="*/ 355600 h 620717"/>
                <a:gd name="connsiteX195" fmla="*/ 514350 w 514350"/>
                <a:gd name="connsiteY195" fmla="*/ 346075 h 620717"/>
                <a:gd name="connsiteX196" fmla="*/ 511175 w 514350"/>
                <a:gd name="connsiteY196" fmla="*/ 331787 h 620717"/>
                <a:gd name="connsiteX197" fmla="*/ 506412 w 514350"/>
                <a:gd name="connsiteY197" fmla="*/ 327025 h 620717"/>
                <a:gd name="connsiteX198" fmla="*/ 504825 w 514350"/>
                <a:gd name="connsiteY198" fmla="*/ 315912 h 620717"/>
                <a:gd name="connsiteX199" fmla="*/ 508000 w 514350"/>
                <a:gd name="connsiteY199" fmla="*/ 290512 h 620717"/>
                <a:gd name="connsiteX200" fmla="*/ 506412 w 514350"/>
                <a:gd name="connsiteY200" fmla="*/ 282575 h 620717"/>
                <a:gd name="connsiteX201" fmla="*/ 495300 w 514350"/>
                <a:gd name="connsiteY201" fmla="*/ 276225 h 620717"/>
                <a:gd name="connsiteX202" fmla="*/ 496887 w 514350"/>
                <a:gd name="connsiteY202" fmla="*/ 268287 h 620717"/>
                <a:gd name="connsiteX203" fmla="*/ 501650 w 514350"/>
                <a:gd name="connsiteY203" fmla="*/ 266700 h 620717"/>
                <a:gd name="connsiteX204" fmla="*/ 506412 w 514350"/>
                <a:gd name="connsiteY204" fmla="*/ 263525 h 620717"/>
                <a:gd name="connsiteX205" fmla="*/ 509587 w 514350"/>
                <a:gd name="connsiteY205" fmla="*/ 258762 h 620717"/>
                <a:gd name="connsiteX206" fmla="*/ 511175 w 514350"/>
                <a:gd name="connsiteY206" fmla="*/ 254000 h 620717"/>
                <a:gd name="connsiteX207" fmla="*/ 514350 w 514350"/>
                <a:gd name="connsiteY207" fmla="*/ 246062 h 620717"/>
                <a:gd name="connsiteX208" fmla="*/ 512762 w 514350"/>
                <a:gd name="connsiteY208" fmla="*/ 239712 h 620717"/>
                <a:gd name="connsiteX209" fmla="*/ 496887 w 514350"/>
                <a:gd name="connsiteY209" fmla="*/ 239712 h 620717"/>
                <a:gd name="connsiteX210" fmla="*/ 492125 w 514350"/>
                <a:gd name="connsiteY210" fmla="*/ 241300 h 620717"/>
                <a:gd name="connsiteX211" fmla="*/ 485775 w 514350"/>
                <a:gd name="connsiteY211" fmla="*/ 244475 h 620717"/>
                <a:gd name="connsiteX212" fmla="*/ 481012 w 514350"/>
                <a:gd name="connsiteY212" fmla="*/ 234950 h 620717"/>
                <a:gd name="connsiteX213" fmla="*/ 479425 w 514350"/>
                <a:gd name="connsiteY213" fmla="*/ 222250 h 620717"/>
                <a:gd name="connsiteX214" fmla="*/ 477837 w 514350"/>
                <a:gd name="connsiteY214" fmla="*/ 215900 h 620717"/>
                <a:gd name="connsiteX215" fmla="*/ 473075 w 514350"/>
                <a:gd name="connsiteY215" fmla="*/ 190500 h 620717"/>
                <a:gd name="connsiteX216" fmla="*/ 468312 w 514350"/>
                <a:gd name="connsiteY216" fmla="*/ 176212 h 620717"/>
                <a:gd name="connsiteX217" fmla="*/ 458787 w 514350"/>
                <a:gd name="connsiteY217" fmla="*/ 171450 h 620717"/>
                <a:gd name="connsiteX218" fmla="*/ 449262 w 514350"/>
                <a:gd name="connsiteY218" fmla="*/ 173037 h 620717"/>
                <a:gd name="connsiteX219" fmla="*/ 438150 w 514350"/>
                <a:gd name="connsiteY219" fmla="*/ 182562 h 620717"/>
                <a:gd name="connsiteX220" fmla="*/ 434975 w 514350"/>
                <a:gd name="connsiteY220" fmla="*/ 188912 h 620717"/>
                <a:gd name="connsiteX221" fmla="*/ 428625 w 514350"/>
                <a:gd name="connsiteY221" fmla="*/ 196850 h 620717"/>
                <a:gd name="connsiteX222" fmla="*/ 417512 w 514350"/>
                <a:gd name="connsiteY222" fmla="*/ 206375 h 620717"/>
                <a:gd name="connsiteX223" fmla="*/ 412750 w 514350"/>
                <a:gd name="connsiteY223" fmla="*/ 207962 h 620717"/>
                <a:gd name="connsiteX224" fmla="*/ 401637 w 514350"/>
                <a:gd name="connsiteY224" fmla="*/ 206375 h 620717"/>
                <a:gd name="connsiteX225" fmla="*/ 395287 w 514350"/>
                <a:gd name="connsiteY225" fmla="*/ 200025 h 620717"/>
                <a:gd name="connsiteX226" fmla="*/ 390525 w 514350"/>
                <a:gd name="connsiteY226" fmla="*/ 196850 h 620717"/>
                <a:gd name="connsiteX227" fmla="*/ 385762 w 514350"/>
                <a:gd name="connsiteY227" fmla="*/ 190500 h 620717"/>
                <a:gd name="connsiteX228" fmla="*/ 368300 w 514350"/>
                <a:gd name="connsiteY228" fmla="*/ 171450 h 620717"/>
                <a:gd name="connsiteX229" fmla="*/ 363537 w 514350"/>
                <a:gd name="connsiteY229" fmla="*/ 160337 h 620717"/>
                <a:gd name="connsiteX230" fmla="*/ 358775 w 514350"/>
                <a:gd name="connsiteY230" fmla="*/ 157162 h 620717"/>
                <a:gd name="connsiteX231" fmla="*/ 349250 w 514350"/>
                <a:gd name="connsiteY231" fmla="*/ 144462 h 620717"/>
                <a:gd name="connsiteX232" fmla="*/ 346075 w 514350"/>
                <a:gd name="connsiteY232" fmla="*/ 138112 h 620717"/>
                <a:gd name="connsiteX233" fmla="*/ 350837 w 514350"/>
                <a:gd name="connsiteY233" fmla="*/ 128587 h 620717"/>
                <a:gd name="connsiteX234" fmla="*/ 357187 w 514350"/>
                <a:gd name="connsiteY234" fmla="*/ 127000 h 620717"/>
                <a:gd name="connsiteX235" fmla="*/ 368300 w 514350"/>
                <a:gd name="connsiteY235" fmla="*/ 125412 h 620717"/>
                <a:gd name="connsiteX236" fmla="*/ 374650 w 514350"/>
                <a:gd name="connsiteY236" fmla="*/ 123825 h 620717"/>
                <a:gd name="connsiteX237" fmla="*/ 384175 w 514350"/>
                <a:gd name="connsiteY237" fmla="*/ 120650 h 620717"/>
                <a:gd name="connsiteX238" fmla="*/ 392112 w 514350"/>
                <a:gd name="connsiteY238" fmla="*/ 111125 h 620717"/>
                <a:gd name="connsiteX239" fmla="*/ 388937 w 514350"/>
                <a:gd name="connsiteY239" fmla="*/ 100012 h 620717"/>
                <a:gd name="connsiteX240" fmla="*/ 390525 w 514350"/>
                <a:gd name="connsiteY240" fmla="*/ 93662 h 620717"/>
                <a:gd name="connsiteX241" fmla="*/ 401637 w 514350"/>
                <a:gd name="connsiteY241" fmla="*/ 95250 h 620717"/>
                <a:gd name="connsiteX242" fmla="*/ 423862 w 514350"/>
                <a:gd name="connsiteY242" fmla="*/ 93662 h 620717"/>
                <a:gd name="connsiteX243" fmla="*/ 430212 w 514350"/>
                <a:gd name="connsiteY243" fmla="*/ 87312 h 620717"/>
                <a:gd name="connsiteX244" fmla="*/ 431800 w 514350"/>
                <a:gd name="connsiteY244" fmla="*/ 61912 h 620717"/>
                <a:gd name="connsiteX245" fmla="*/ 427037 w 514350"/>
                <a:gd name="connsiteY245" fmla="*/ 57150 h 620717"/>
                <a:gd name="connsiteX246" fmla="*/ 427037 w 514350"/>
                <a:gd name="connsiteY246" fmla="*/ 47625 h 620717"/>
                <a:gd name="connsiteX247" fmla="*/ 428625 w 514350"/>
                <a:gd name="connsiteY247" fmla="*/ 30162 h 620717"/>
                <a:gd name="connsiteX248" fmla="*/ 434975 w 514350"/>
                <a:gd name="connsiteY248" fmla="*/ 38100 h 620717"/>
                <a:gd name="connsiteX249" fmla="*/ 439737 w 514350"/>
                <a:gd name="connsiteY249" fmla="*/ 42862 h 620717"/>
                <a:gd name="connsiteX250" fmla="*/ 442912 w 514350"/>
                <a:gd name="connsiteY250" fmla="*/ 49212 h 620717"/>
                <a:gd name="connsiteX251" fmla="*/ 447675 w 514350"/>
                <a:gd name="connsiteY251" fmla="*/ 55562 h 620717"/>
                <a:gd name="connsiteX252" fmla="*/ 455612 w 514350"/>
                <a:gd name="connsiteY252" fmla="*/ 69850 h 620717"/>
                <a:gd name="connsiteX253" fmla="*/ 461962 w 514350"/>
                <a:gd name="connsiteY253" fmla="*/ 68262 h 620717"/>
                <a:gd name="connsiteX254" fmla="*/ 466725 w 514350"/>
                <a:gd name="connsiteY254" fmla="*/ 61912 h 620717"/>
                <a:gd name="connsiteX255" fmla="*/ 492125 w 514350"/>
                <a:gd name="connsiteY255" fmla="*/ 53975 h 620717"/>
                <a:gd name="connsiteX256" fmla="*/ 496887 w 514350"/>
                <a:gd name="connsiteY256" fmla="*/ 49212 h 620717"/>
                <a:gd name="connsiteX257" fmla="*/ 500062 w 514350"/>
                <a:gd name="connsiteY257" fmla="*/ 41275 h 620717"/>
                <a:gd name="connsiteX258" fmla="*/ 496887 w 514350"/>
                <a:gd name="connsiteY258" fmla="*/ 31750 h 620717"/>
                <a:gd name="connsiteX0" fmla="*/ 452437 w 514350"/>
                <a:gd name="connsiteY0" fmla="*/ 55562 h 620717"/>
                <a:gd name="connsiteX1" fmla="*/ 492125 w 514350"/>
                <a:gd name="connsiteY1" fmla="*/ 28575 h 620717"/>
                <a:gd name="connsiteX2" fmla="*/ 488950 w 514350"/>
                <a:gd name="connsiteY2" fmla="*/ 22225 h 620717"/>
                <a:gd name="connsiteX3" fmla="*/ 477837 w 514350"/>
                <a:gd name="connsiteY3" fmla="*/ 19050 h 620717"/>
                <a:gd name="connsiteX4" fmla="*/ 474662 w 514350"/>
                <a:gd name="connsiteY4" fmla="*/ 14287 h 620717"/>
                <a:gd name="connsiteX5" fmla="*/ 469900 w 514350"/>
                <a:gd name="connsiteY5" fmla="*/ 3175 h 620717"/>
                <a:gd name="connsiteX6" fmla="*/ 465137 w 514350"/>
                <a:gd name="connsiteY6" fmla="*/ 0 h 620717"/>
                <a:gd name="connsiteX7" fmla="*/ 460375 w 514350"/>
                <a:gd name="connsiteY7" fmla="*/ 1587 h 620717"/>
                <a:gd name="connsiteX8" fmla="*/ 447675 w 514350"/>
                <a:gd name="connsiteY8" fmla="*/ 9525 h 620717"/>
                <a:gd name="connsiteX9" fmla="*/ 428625 w 514350"/>
                <a:gd name="connsiteY9" fmla="*/ 12700 h 620717"/>
                <a:gd name="connsiteX10" fmla="*/ 427037 w 514350"/>
                <a:gd name="connsiteY10" fmla="*/ 19050 h 620717"/>
                <a:gd name="connsiteX11" fmla="*/ 409575 w 514350"/>
                <a:gd name="connsiteY11" fmla="*/ 14287 h 620717"/>
                <a:gd name="connsiteX12" fmla="*/ 401637 w 514350"/>
                <a:gd name="connsiteY12" fmla="*/ 12700 h 620717"/>
                <a:gd name="connsiteX13" fmla="*/ 352425 w 514350"/>
                <a:gd name="connsiteY13" fmla="*/ 19050 h 620717"/>
                <a:gd name="connsiteX14" fmla="*/ 350837 w 514350"/>
                <a:gd name="connsiteY14" fmla="*/ 23812 h 620717"/>
                <a:gd name="connsiteX15" fmla="*/ 352425 w 514350"/>
                <a:gd name="connsiteY15" fmla="*/ 38100 h 620717"/>
                <a:gd name="connsiteX16" fmla="*/ 357187 w 514350"/>
                <a:gd name="connsiteY16" fmla="*/ 44450 h 620717"/>
                <a:gd name="connsiteX17" fmla="*/ 349250 w 514350"/>
                <a:gd name="connsiteY17" fmla="*/ 58737 h 620717"/>
                <a:gd name="connsiteX18" fmla="*/ 328612 w 514350"/>
                <a:gd name="connsiteY18" fmla="*/ 60325 h 620717"/>
                <a:gd name="connsiteX19" fmla="*/ 307975 w 514350"/>
                <a:gd name="connsiteY19" fmla="*/ 68262 h 620717"/>
                <a:gd name="connsiteX20" fmla="*/ 295275 w 514350"/>
                <a:gd name="connsiteY20" fmla="*/ 73025 h 620717"/>
                <a:gd name="connsiteX21" fmla="*/ 292100 w 514350"/>
                <a:gd name="connsiteY21" fmla="*/ 77787 h 620717"/>
                <a:gd name="connsiteX22" fmla="*/ 296862 w 514350"/>
                <a:gd name="connsiteY22" fmla="*/ 79375 h 620717"/>
                <a:gd name="connsiteX23" fmla="*/ 311150 w 514350"/>
                <a:gd name="connsiteY23" fmla="*/ 82550 h 620717"/>
                <a:gd name="connsiteX24" fmla="*/ 319087 w 514350"/>
                <a:gd name="connsiteY24" fmla="*/ 87312 h 620717"/>
                <a:gd name="connsiteX25" fmla="*/ 323850 w 514350"/>
                <a:gd name="connsiteY25" fmla="*/ 88900 h 620717"/>
                <a:gd name="connsiteX26" fmla="*/ 336550 w 514350"/>
                <a:gd name="connsiteY26" fmla="*/ 103187 h 620717"/>
                <a:gd name="connsiteX27" fmla="*/ 334962 w 514350"/>
                <a:gd name="connsiteY27" fmla="*/ 114300 h 620717"/>
                <a:gd name="connsiteX28" fmla="*/ 330200 w 514350"/>
                <a:gd name="connsiteY28" fmla="*/ 115887 h 620717"/>
                <a:gd name="connsiteX29" fmla="*/ 315912 w 514350"/>
                <a:gd name="connsiteY29" fmla="*/ 130175 h 620717"/>
                <a:gd name="connsiteX30" fmla="*/ 307975 w 514350"/>
                <a:gd name="connsiteY30" fmla="*/ 131762 h 620717"/>
                <a:gd name="connsiteX31" fmla="*/ 300037 w 514350"/>
                <a:gd name="connsiteY31" fmla="*/ 134937 h 620717"/>
                <a:gd name="connsiteX32" fmla="*/ 296862 w 514350"/>
                <a:gd name="connsiteY32" fmla="*/ 142875 h 620717"/>
                <a:gd name="connsiteX33" fmla="*/ 282575 w 514350"/>
                <a:gd name="connsiteY33" fmla="*/ 157162 h 620717"/>
                <a:gd name="connsiteX34" fmla="*/ 273050 w 514350"/>
                <a:gd name="connsiteY34" fmla="*/ 153987 h 620717"/>
                <a:gd name="connsiteX35" fmla="*/ 261937 w 514350"/>
                <a:gd name="connsiteY35" fmla="*/ 147637 h 620717"/>
                <a:gd name="connsiteX36" fmla="*/ 242887 w 514350"/>
                <a:gd name="connsiteY36" fmla="*/ 149225 h 620717"/>
                <a:gd name="connsiteX37" fmla="*/ 236537 w 514350"/>
                <a:gd name="connsiteY37" fmla="*/ 150812 h 620717"/>
                <a:gd name="connsiteX38" fmla="*/ 231775 w 514350"/>
                <a:gd name="connsiteY38" fmla="*/ 142875 h 620717"/>
                <a:gd name="connsiteX39" fmla="*/ 225425 w 514350"/>
                <a:gd name="connsiteY39" fmla="*/ 123825 h 620717"/>
                <a:gd name="connsiteX40" fmla="*/ 219075 w 514350"/>
                <a:gd name="connsiteY40" fmla="*/ 122237 h 620717"/>
                <a:gd name="connsiteX41" fmla="*/ 204787 w 514350"/>
                <a:gd name="connsiteY41" fmla="*/ 120650 h 620717"/>
                <a:gd name="connsiteX42" fmla="*/ 190500 w 514350"/>
                <a:gd name="connsiteY42" fmla="*/ 117475 h 620717"/>
                <a:gd name="connsiteX43" fmla="*/ 182562 w 514350"/>
                <a:gd name="connsiteY43" fmla="*/ 111125 h 620717"/>
                <a:gd name="connsiteX44" fmla="*/ 174625 w 514350"/>
                <a:gd name="connsiteY44" fmla="*/ 104775 h 620717"/>
                <a:gd name="connsiteX45" fmla="*/ 152400 w 514350"/>
                <a:gd name="connsiteY45" fmla="*/ 106362 h 620717"/>
                <a:gd name="connsiteX46" fmla="*/ 150812 w 514350"/>
                <a:gd name="connsiteY46" fmla="*/ 117475 h 620717"/>
                <a:gd name="connsiteX47" fmla="*/ 133350 w 514350"/>
                <a:gd name="connsiteY47" fmla="*/ 120650 h 620717"/>
                <a:gd name="connsiteX48" fmla="*/ 138112 w 514350"/>
                <a:gd name="connsiteY48" fmla="*/ 123825 h 620717"/>
                <a:gd name="connsiteX49" fmla="*/ 139700 w 514350"/>
                <a:gd name="connsiteY49" fmla="*/ 128587 h 620717"/>
                <a:gd name="connsiteX50" fmla="*/ 146050 w 514350"/>
                <a:gd name="connsiteY50" fmla="*/ 131762 h 620717"/>
                <a:gd name="connsiteX51" fmla="*/ 147637 w 514350"/>
                <a:gd name="connsiteY51" fmla="*/ 138112 h 620717"/>
                <a:gd name="connsiteX52" fmla="*/ 123825 w 514350"/>
                <a:gd name="connsiteY52" fmla="*/ 146050 h 620717"/>
                <a:gd name="connsiteX53" fmla="*/ 117475 w 514350"/>
                <a:gd name="connsiteY53" fmla="*/ 155575 h 620717"/>
                <a:gd name="connsiteX54" fmla="*/ 112712 w 514350"/>
                <a:gd name="connsiteY54" fmla="*/ 157162 h 620717"/>
                <a:gd name="connsiteX55" fmla="*/ 125412 w 514350"/>
                <a:gd name="connsiteY55" fmla="*/ 161925 h 620717"/>
                <a:gd name="connsiteX56" fmla="*/ 130175 w 514350"/>
                <a:gd name="connsiteY56" fmla="*/ 163512 h 620717"/>
                <a:gd name="connsiteX57" fmla="*/ 142875 w 514350"/>
                <a:gd name="connsiteY57" fmla="*/ 166687 h 620717"/>
                <a:gd name="connsiteX58" fmla="*/ 147637 w 514350"/>
                <a:gd name="connsiteY58" fmla="*/ 173037 h 620717"/>
                <a:gd name="connsiteX59" fmla="*/ 152400 w 514350"/>
                <a:gd name="connsiteY59" fmla="*/ 177800 h 620717"/>
                <a:gd name="connsiteX60" fmla="*/ 146050 w 514350"/>
                <a:gd name="connsiteY60" fmla="*/ 179387 h 620717"/>
                <a:gd name="connsiteX61" fmla="*/ 149225 w 514350"/>
                <a:gd name="connsiteY61" fmla="*/ 185737 h 620717"/>
                <a:gd name="connsiteX62" fmla="*/ 153987 w 514350"/>
                <a:gd name="connsiteY62" fmla="*/ 187325 h 620717"/>
                <a:gd name="connsiteX63" fmla="*/ 168275 w 514350"/>
                <a:gd name="connsiteY63" fmla="*/ 190500 h 620717"/>
                <a:gd name="connsiteX64" fmla="*/ 165100 w 514350"/>
                <a:gd name="connsiteY64" fmla="*/ 198437 h 620717"/>
                <a:gd name="connsiteX65" fmla="*/ 160337 w 514350"/>
                <a:gd name="connsiteY65" fmla="*/ 200025 h 620717"/>
                <a:gd name="connsiteX66" fmla="*/ 139700 w 514350"/>
                <a:gd name="connsiteY66" fmla="*/ 196850 h 620717"/>
                <a:gd name="connsiteX67" fmla="*/ 153987 w 514350"/>
                <a:gd name="connsiteY67" fmla="*/ 211137 h 620717"/>
                <a:gd name="connsiteX68" fmla="*/ 152400 w 514350"/>
                <a:gd name="connsiteY68" fmla="*/ 217487 h 620717"/>
                <a:gd name="connsiteX69" fmla="*/ 138112 w 514350"/>
                <a:gd name="connsiteY69" fmla="*/ 219075 h 620717"/>
                <a:gd name="connsiteX70" fmla="*/ 142875 w 514350"/>
                <a:gd name="connsiteY70" fmla="*/ 223837 h 620717"/>
                <a:gd name="connsiteX71" fmla="*/ 141287 w 514350"/>
                <a:gd name="connsiteY71" fmla="*/ 228600 h 620717"/>
                <a:gd name="connsiteX72" fmla="*/ 107950 w 514350"/>
                <a:gd name="connsiteY72" fmla="*/ 231775 h 620717"/>
                <a:gd name="connsiteX73" fmla="*/ 95250 w 514350"/>
                <a:gd name="connsiteY73" fmla="*/ 233362 h 620717"/>
                <a:gd name="connsiteX74" fmla="*/ 92075 w 514350"/>
                <a:gd name="connsiteY74" fmla="*/ 247650 h 620717"/>
                <a:gd name="connsiteX75" fmla="*/ 93662 w 514350"/>
                <a:gd name="connsiteY75" fmla="*/ 252412 h 620717"/>
                <a:gd name="connsiteX76" fmla="*/ 109537 w 514350"/>
                <a:gd name="connsiteY76" fmla="*/ 260350 h 620717"/>
                <a:gd name="connsiteX77" fmla="*/ 114300 w 514350"/>
                <a:gd name="connsiteY77" fmla="*/ 263525 h 620717"/>
                <a:gd name="connsiteX78" fmla="*/ 119062 w 514350"/>
                <a:gd name="connsiteY78" fmla="*/ 268287 h 620717"/>
                <a:gd name="connsiteX79" fmla="*/ 123825 w 514350"/>
                <a:gd name="connsiteY79" fmla="*/ 269875 h 620717"/>
                <a:gd name="connsiteX80" fmla="*/ 128587 w 514350"/>
                <a:gd name="connsiteY80" fmla="*/ 273050 h 620717"/>
                <a:gd name="connsiteX81" fmla="*/ 114300 w 514350"/>
                <a:gd name="connsiteY81" fmla="*/ 279400 h 620717"/>
                <a:gd name="connsiteX82" fmla="*/ 109537 w 514350"/>
                <a:gd name="connsiteY82" fmla="*/ 284162 h 620717"/>
                <a:gd name="connsiteX83" fmla="*/ 111125 w 514350"/>
                <a:gd name="connsiteY83" fmla="*/ 293687 h 620717"/>
                <a:gd name="connsiteX84" fmla="*/ 125412 w 514350"/>
                <a:gd name="connsiteY84" fmla="*/ 296862 h 620717"/>
                <a:gd name="connsiteX85" fmla="*/ 136525 w 514350"/>
                <a:gd name="connsiteY85" fmla="*/ 301625 h 620717"/>
                <a:gd name="connsiteX86" fmla="*/ 142875 w 514350"/>
                <a:gd name="connsiteY86" fmla="*/ 303212 h 620717"/>
                <a:gd name="connsiteX87" fmla="*/ 146050 w 514350"/>
                <a:gd name="connsiteY87" fmla="*/ 311150 h 620717"/>
                <a:gd name="connsiteX88" fmla="*/ 158750 w 514350"/>
                <a:gd name="connsiteY88" fmla="*/ 315912 h 620717"/>
                <a:gd name="connsiteX89" fmla="*/ 193675 w 514350"/>
                <a:gd name="connsiteY89" fmla="*/ 317500 h 620717"/>
                <a:gd name="connsiteX90" fmla="*/ 209550 w 514350"/>
                <a:gd name="connsiteY90" fmla="*/ 320675 h 620717"/>
                <a:gd name="connsiteX91" fmla="*/ 204787 w 514350"/>
                <a:gd name="connsiteY91" fmla="*/ 323850 h 620717"/>
                <a:gd name="connsiteX92" fmla="*/ 200025 w 514350"/>
                <a:gd name="connsiteY92" fmla="*/ 325437 h 620717"/>
                <a:gd name="connsiteX93" fmla="*/ 190500 w 514350"/>
                <a:gd name="connsiteY93" fmla="*/ 331787 h 620717"/>
                <a:gd name="connsiteX94" fmla="*/ 182562 w 514350"/>
                <a:gd name="connsiteY94" fmla="*/ 338137 h 620717"/>
                <a:gd name="connsiteX95" fmla="*/ 176212 w 514350"/>
                <a:gd name="connsiteY95" fmla="*/ 341312 h 620717"/>
                <a:gd name="connsiteX96" fmla="*/ 171450 w 514350"/>
                <a:gd name="connsiteY96" fmla="*/ 344487 h 620717"/>
                <a:gd name="connsiteX97" fmla="*/ 161925 w 514350"/>
                <a:gd name="connsiteY97" fmla="*/ 347662 h 620717"/>
                <a:gd name="connsiteX98" fmla="*/ 149225 w 514350"/>
                <a:gd name="connsiteY98" fmla="*/ 365125 h 620717"/>
                <a:gd name="connsiteX99" fmla="*/ 139700 w 514350"/>
                <a:gd name="connsiteY99" fmla="*/ 382587 h 620717"/>
                <a:gd name="connsiteX100" fmla="*/ 134937 w 514350"/>
                <a:gd name="connsiteY100" fmla="*/ 384175 h 620717"/>
                <a:gd name="connsiteX101" fmla="*/ 133350 w 514350"/>
                <a:gd name="connsiteY101" fmla="*/ 388937 h 620717"/>
                <a:gd name="connsiteX102" fmla="*/ 128587 w 514350"/>
                <a:gd name="connsiteY102" fmla="*/ 392112 h 620717"/>
                <a:gd name="connsiteX103" fmla="*/ 120650 w 514350"/>
                <a:gd name="connsiteY103" fmla="*/ 398462 h 620717"/>
                <a:gd name="connsiteX104" fmla="*/ 114300 w 514350"/>
                <a:gd name="connsiteY104" fmla="*/ 409575 h 620717"/>
                <a:gd name="connsiteX105" fmla="*/ 109537 w 514350"/>
                <a:gd name="connsiteY105" fmla="*/ 411162 h 620717"/>
                <a:gd name="connsiteX106" fmla="*/ 92075 w 514350"/>
                <a:gd name="connsiteY106" fmla="*/ 414337 h 620717"/>
                <a:gd name="connsiteX107" fmla="*/ 92075 w 514350"/>
                <a:gd name="connsiteY107" fmla="*/ 433387 h 620717"/>
                <a:gd name="connsiteX108" fmla="*/ 79375 w 514350"/>
                <a:gd name="connsiteY108" fmla="*/ 441325 h 620717"/>
                <a:gd name="connsiteX109" fmla="*/ 73025 w 514350"/>
                <a:gd name="connsiteY109" fmla="*/ 455612 h 620717"/>
                <a:gd name="connsiteX110" fmla="*/ 69850 w 514350"/>
                <a:gd name="connsiteY110" fmla="*/ 463550 h 620717"/>
                <a:gd name="connsiteX111" fmla="*/ 65087 w 514350"/>
                <a:gd name="connsiteY111" fmla="*/ 465137 h 620717"/>
                <a:gd name="connsiteX112" fmla="*/ 38100 w 514350"/>
                <a:gd name="connsiteY112" fmla="*/ 466725 h 620717"/>
                <a:gd name="connsiteX113" fmla="*/ 34925 w 514350"/>
                <a:gd name="connsiteY113" fmla="*/ 473075 h 620717"/>
                <a:gd name="connsiteX114" fmla="*/ 30162 w 514350"/>
                <a:gd name="connsiteY114" fmla="*/ 476250 h 620717"/>
                <a:gd name="connsiteX115" fmla="*/ 0 w 514350"/>
                <a:gd name="connsiteY115" fmla="*/ 477837 h 620717"/>
                <a:gd name="connsiteX116" fmla="*/ 4762 w 514350"/>
                <a:gd name="connsiteY116" fmla="*/ 484187 h 620717"/>
                <a:gd name="connsiteX117" fmla="*/ 23812 w 514350"/>
                <a:gd name="connsiteY117" fmla="*/ 485775 h 620717"/>
                <a:gd name="connsiteX118" fmla="*/ 30162 w 514350"/>
                <a:gd name="connsiteY118" fmla="*/ 487362 h 620717"/>
                <a:gd name="connsiteX119" fmla="*/ 39687 w 514350"/>
                <a:gd name="connsiteY119" fmla="*/ 488950 h 620717"/>
                <a:gd name="connsiteX120" fmla="*/ 33337 w 514350"/>
                <a:gd name="connsiteY120" fmla="*/ 492125 h 620717"/>
                <a:gd name="connsiteX121" fmla="*/ 25400 w 514350"/>
                <a:gd name="connsiteY121" fmla="*/ 493712 h 620717"/>
                <a:gd name="connsiteX122" fmla="*/ 19050 w 514350"/>
                <a:gd name="connsiteY122" fmla="*/ 495300 h 620717"/>
                <a:gd name="connsiteX123" fmla="*/ 14287 w 514350"/>
                <a:gd name="connsiteY123" fmla="*/ 498475 h 620717"/>
                <a:gd name="connsiteX124" fmla="*/ 4762 w 514350"/>
                <a:gd name="connsiteY124" fmla="*/ 503237 h 620717"/>
                <a:gd name="connsiteX125" fmla="*/ 3175 w 514350"/>
                <a:gd name="connsiteY125" fmla="*/ 508000 h 620717"/>
                <a:gd name="connsiteX126" fmla="*/ 4762 w 514350"/>
                <a:gd name="connsiteY126" fmla="*/ 530225 h 620717"/>
                <a:gd name="connsiteX127" fmla="*/ 11112 w 514350"/>
                <a:gd name="connsiteY127" fmla="*/ 533400 h 620717"/>
                <a:gd name="connsiteX128" fmla="*/ 20637 w 514350"/>
                <a:gd name="connsiteY128" fmla="*/ 534987 h 620717"/>
                <a:gd name="connsiteX129" fmla="*/ 26987 w 514350"/>
                <a:gd name="connsiteY129" fmla="*/ 536575 h 620717"/>
                <a:gd name="connsiteX130" fmla="*/ 39687 w 514350"/>
                <a:gd name="connsiteY130" fmla="*/ 542925 h 620717"/>
                <a:gd name="connsiteX131" fmla="*/ 44450 w 514350"/>
                <a:gd name="connsiteY131" fmla="*/ 546100 h 620717"/>
                <a:gd name="connsiteX132" fmla="*/ 58737 w 514350"/>
                <a:gd name="connsiteY132" fmla="*/ 547687 h 620717"/>
                <a:gd name="connsiteX133" fmla="*/ 47625 w 514350"/>
                <a:gd name="connsiteY133" fmla="*/ 555625 h 620717"/>
                <a:gd name="connsiteX134" fmla="*/ 30162 w 514350"/>
                <a:gd name="connsiteY134" fmla="*/ 558800 h 620717"/>
                <a:gd name="connsiteX135" fmla="*/ 7937 w 514350"/>
                <a:gd name="connsiteY135" fmla="*/ 563562 h 620717"/>
                <a:gd name="connsiteX136" fmla="*/ 7937 w 514350"/>
                <a:gd name="connsiteY136" fmla="*/ 576262 h 620717"/>
                <a:gd name="connsiteX137" fmla="*/ 17462 w 514350"/>
                <a:gd name="connsiteY137" fmla="*/ 577850 h 620717"/>
                <a:gd name="connsiteX138" fmla="*/ 39687 w 514350"/>
                <a:gd name="connsiteY138" fmla="*/ 581025 h 620717"/>
                <a:gd name="connsiteX139" fmla="*/ 47625 w 514350"/>
                <a:gd name="connsiteY139" fmla="*/ 582612 h 620717"/>
                <a:gd name="connsiteX140" fmla="*/ 61912 w 514350"/>
                <a:gd name="connsiteY140" fmla="*/ 584200 h 620717"/>
                <a:gd name="connsiteX141" fmla="*/ 66675 w 514350"/>
                <a:gd name="connsiteY141" fmla="*/ 587375 h 620717"/>
                <a:gd name="connsiteX142" fmla="*/ 53975 w 514350"/>
                <a:gd name="connsiteY142" fmla="*/ 593725 h 620717"/>
                <a:gd name="connsiteX143" fmla="*/ 52387 w 514350"/>
                <a:gd name="connsiteY143" fmla="*/ 601662 h 620717"/>
                <a:gd name="connsiteX144" fmla="*/ 50800 w 514350"/>
                <a:gd name="connsiteY144" fmla="*/ 606425 h 620717"/>
                <a:gd name="connsiteX145" fmla="*/ 55562 w 514350"/>
                <a:gd name="connsiteY145" fmla="*/ 614362 h 620717"/>
                <a:gd name="connsiteX146" fmla="*/ 79375 w 514350"/>
                <a:gd name="connsiteY146" fmla="*/ 609600 h 620717"/>
                <a:gd name="connsiteX147" fmla="*/ 123825 w 514350"/>
                <a:gd name="connsiteY147" fmla="*/ 612775 h 620717"/>
                <a:gd name="connsiteX148" fmla="*/ 130175 w 514350"/>
                <a:gd name="connsiteY148" fmla="*/ 617537 h 620717"/>
                <a:gd name="connsiteX149" fmla="*/ 144462 w 514350"/>
                <a:gd name="connsiteY149" fmla="*/ 620712 h 620717"/>
                <a:gd name="connsiteX150" fmla="*/ 173037 w 514350"/>
                <a:gd name="connsiteY150" fmla="*/ 617537 h 620717"/>
                <a:gd name="connsiteX151" fmla="*/ 180975 w 514350"/>
                <a:gd name="connsiteY151" fmla="*/ 614362 h 620717"/>
                <a:gd name="connsiteX152" fmla="*/ 187325 w 514350"/>
                <a:gd name="connsiteY152" fmla="*/ 609600 h 620717"/>
                <a:gd name="connsiteX153" fmla="*/ 196850 w 514350"/>
                <a:gd name="connsiteY153" fmla="*/ 606425 h 620717"/>
                <a:gd name="connsiteX154" fmla="*/ 198437 w 514350"/>
                <a:gd name="connsiteY154" fmla="*/ 600075 h 620717"/>
                <a:gd name="connsiteX155" fmla="*/ 203200 w 514350"/>
                <a:gd name="connsiteY155" fmla="*/ 595312 h 620717"/>
                <a:gd name="connsiteX156" fmla="*/ 215900 w 514350"/>
                <a:gd name="connsiteY156" fmla="*/ 581025 h 620717"/>
                <a:gd name="connsiteX157" fmla="*/ 230187 w 514350"/>
                <a:gd name="connsiteY157" fmla="*/ 582612 h 620717"/>
                <a:gd name="connsiteX158" fmla="*/ 238125 w 514350"/>
                <a:gd name="connsiteY158" fmla="*/ 584200 h 620717"/>
                <a:gd name="connsiteX159" fmla="*/ 261937 w 514350"/>
                <a:gd name="connsiteY159" fmla="*/ 581025 h 620717"/>
                <a:gd name="connsiteX160" fmla="*/ 263525 w 514350"/>
                <a:gd name="connsiteY160" fmla="*/ 576262 h 620717"/>
                <a:gd name="connsiteX161" fmla="*/ 266700 w 514350"/>
                <a:gd name="connsiteY161" fmla="*/ 582612 h 620717"/>
                <a:gd name="connsiteX162" fmla="*/ 277812 w 514350"/>
                <a:gd name="connsiteY162" fmla="*/ 590550 h 620717"/>
                <a:gd name="connsiteX163" fmla="*/ 279400 w 514350"/>
                <a:gd name="connsiteY163" fmla="*/ 579437 h 620717"/>
                <a:gd name="connsiteX164" fmla="*/ 287337 w 514350"/>
                <a:gd name="connsiteY164" fmla="*/ 571500 h 620717"/>
                <a:gd name="connsiteX165" fmla="*/ 290512 w 514350"/>
                <a:gd name="connsiteY165" fmla="*/ 566737 h 620717"/>
                <a:gd name="connsiteX166" fmla="*/ 311150 w 514350"/>
                <a:gd name="connsiteY166" fmla="*/ 558800 h 620717"/>
                <a:gd name="connsiteX167" fmla="*/ 354012 w 514350"/>
                <a:gd name="connsiteY167" fmla="*/ 554037 h 620717"/>
                <a:gd name="connsiteX168" fmla="*/ 360362 w 514350"/>
                <a:gd name="connsiteY168" fmla="*/ 561975 h 620717"/>
                <a:gd name="connsiteX169" fmla="*/ 365125 w 514350"/>
                <a:gd name="connsiteY169" fmla="*/ 563562 h 620717"/>
                <a:gd name="connsiteX170" fmla="*/ 366712 w 514350"/>
                <a:gd name="connsiteY170" fmla="*/ 557212 h 620717"/>
                <a:gd name="connsiteX171" fmla="*/ 368300 w 514350"/>
                <a:gd name="connsiteY171" fmla="*/ 552450 h 620717"/>
                <a:gd name="connsiteX172" fmla="*/ 377825 w 514350"/>
                <a:gd name="connsiteY172" fmla="*/ 557212 h 620717"/>
                <a:gd name="connsiteX173" fmla="*/ 382587 w 514350"/>
                <a:gd name="connsiteY173" fmla="*/ 563562 h 620717"/>
                <a:gd name="connsiteX174" fmla="*/ 404812 w 514350"/>
                <a:gd name="connsiteY174" fmla="*/ 565150 h 620717"/>
                <a:gd name="connsiteX175" fmla="*/ 414337 w 514350"/>
                <a:gd name="connsiteY175" fmla="*/ 571500 h 620717"/>
                <a:gd name="connsiteX176" fmla="*/ 419100 w 514350"/>
                <a:gd name="connsiteY176" fmla="*/ 574675 h 620717"/>
                <a:gd name="connsiteX177" fmla="*/ 436562 w 514350"/>
                <a:gd name="connsiteY177" fmla="*/ 573087 h 620717"/>
                <a:gd name="connsiteX178" fmla="*/ 434975 w 514350"/>
                <a:gd name="connsiteY178" fmla="*/ 566737 h 620717"/>
                <a:gd name="connsiteX179" fmla="*/ 430212 w 514350"/>
                <a:gd name="connsiteY179" fmla="*/ 546100 h 620717"/>
                <a:gd name="connsiteX180" fmla="*/ 433387 w 514350"/>
                <a:gd name="connsiteY180" fmla="*/ 531812 h 620717"/>
                <a:gd name="connsiteX181" fmla="*/ 446087 w 514350"/>
                <a:gd name="connsiteY181" fmla="*/ 525462 h 620717"/>
                <a:gd name="connsiteX182" fmla="*/ 452437 w 514350"/>
                <a:gd name="connsiteY182" fmla="*/ 519112 h 620717"/>
                <a:gd name="connsiteX183" fmla="*/ 463550 w 514350"/>
                <a:gd name="connsiteY183" fmla="*/ 514350 h 620717"/>
                <a:gd name="connsiteX184" fmla="*/ 465137 w 514350"/>
                <a:gd name="connsiteY184" fmla="*/ 508000 h 620717"/>
                <a:gd name="connsiteX185" fmla="*/ 466725 w 514350"/>
                <a:gd name="connsiteY185" fmla="*/ 485775 h 620717"/>
                <a:gd name="connsiteX186" fmla="*/ 482600 w 514350"/>
                <a:gd name="connsiteY186" fmla="*/ 474662 h 620717"/>
                <a:gd name="connsiteX187" fmla="*/ 495300 w 514350"/>
                <a:gd name="connsiteY187" fmla="*/ 458787 h 620717"/>
                <a:gd name="connsiteX188" fmla="*/ 501650 w 514350"/>
                <a:gd name="connsiteY188" fmla="*/ 438150 h 620717"/>
                <a:gd name="connsiteX189" fmla="*/ 506412 w 514350"/>
                <a:gd name="connsiteY189" fmla="*/ 433387 h 620717"/>
                <a:gd name="connsiteX190" fmla="*/ 506412 w 514350"/>
                <a:gd name="connsiteY190" fmla="*/ 401637 h 620717"/>
                <a:gd name="connsiteX191" fmla="*/ 501650 w 514350"/>
                <a:gd name="connsiteY191" fmla="*/ 398462 h 620717"/>
                <a:gd name="connsiteX192" fmla="*/ 498475 w 514350"/>
                <a:gd name="connsiteY192" fmla="*/ 392112 h 620717"/>
                <a:gd name="connsiteX193" fmla="*/ 503237 w 514350"/>
                <a:gd name="connsiteY193" fmla="*/ 360362 h 620717"/>
                <a:gd name="connsiteX194" fmla="*/ 508000 w 514350"/>
                <a:gd name="connsiteY194" fmla="*/ 355600 h 620717"/>
                <a:gd name="connsiteX195" fmla="*/ 514350 w 514350"/>
                <a:gd name="connsiteY195" fmla="*/ 346075 h 620717"/>
                <a:gd name="connsiteX196" fmla="*/ 511175 w 514350"/>
                <a:gd name="connsiteY196" fmla="*/ 331787 h 620717"/>
                <a:gd name="connsiteX197" fmla="*/ 506412 w 514350"/>
                <a:gd name="connsiteY197" fmla="*/ 327025 h 620717"/>
                <a:gd name="connsiteX198" fmla="*/ 504825 w 514350"/>
                <a:gd name="connsiteY198" fmla="*/ 315912 h 620717"/>
                <a:gd name="connsiteX199" fmla="*/ 508000 w 514350"/>
                <a:gd name="connsiteY199" fmla="*/ 290512 h 620717"/>
                <a:gd name="connsiteX200" fmla="*/ 506412 w 514350"/>
                <a:gd name="connsiteY200" fmla="*/ 282575 h 620717"/>
                <a:gd name="connsiteX201" fmla="*/ 495300 w 514350"/>
                <a:gd name="connsiteY201" fmla="*/ 276225 h 620717"/>
                <a:gd name="connsiteX202" fmla="*/ 496887 w 514350"/>
                <a:gd name="connsiteY202" fmla="*/ 268287 h 620717"/>
                <a:gd name="connsiteX203" fmla="*/ 501650 w 514350"/>
                <a:gd name="connsiteY203" fmla="*/ 266700 h 620717"/>
                <a:gd name="connsiteX204" fmla="*/ 506412 w 514350"/>
                <a:gd name="connsiteY204" fmla="*/ 263525 h 620717"/>
                <a:gd name="connsiteX205" fmla="*/ 509587 w 514350"/>
                <a:gd name="connsiteY205" fmla="*/ 258762 h 620717"/>
                <a:gd name="connsiteX206" fmla="*/ 511175 w 514350"/>
                <a:gd name="connsiteY206" fmla="*/ 254000 h 620717"/>
                <a:gd name="connsiteX207" fmla="*/ 514350 w 514350"/>
                <a:gd name="connsiteY207" fmla="*/ 246062 h 620717"/>
                <a:gd name="connsiteX208" fmla="*/ 512762 w 514350"/>
                <a:gd name="connsiteY208" fmla="*/ 239712 h 620717"/>
                <a:gd name="connsiteX209" fmla="*/ 496887 w 514350"/>
                <a:gd name="connsiteY209" fmla="*/ 239712 h 620717"/>
                <a:gd name="connsiteX210" fmla="*/ 492125 w 514350"/>
                <a:gd name="connsiteY210" fmla="*/ 241300 h 620717"/>
                <a:gd name="connsiteX211" fmla="*/ 485775 w 514350"/>
                <a:gd name="connsiteY211" fmla="*/ 244475 h 620717"/>
                <a:gd name="connsiteX212" fmla="*/ 481012 w 514350"/>
                <a:gd name="connsiteY212" fmla="*/ 234950 h 620717"/>
                <a:gd name="connsiteX213" fmla="*/ 479425 w 514350"/>
                <a:gd name="connsiteY213" fmla="*/ 222250 h 620717"/>
                <a:gd name="connsiteX214" fmla="*/ 477837 w 514350"/>
                <a:gd name="connsiteY214" fmla="*/ 215900 h 620717"/>
                <a:gd name="connsiteX215" fmla="*/ 473075 w 514350"/>
                <a:gd name="connsiteY215" fmla="*/ 190500 h 620717"/>
                <a:gd name="connsiteX216" fmla="*/ 468312 w 514350"/>
                <a:gd name="connsiteY216" fmla="*/ 176212 h 620717"/>
                <a:gd name="connsiteX217" fmla="*/ 458787 w 514350"/>
                <a:gd name="connsiteY217" fmla="*/ 171450 h 620717"/>
                <a:gd name="connsiteX218" fmla="*/ 449262 w 514350"/>
                <a:gd name="connsiteY218" fmla="*/ 173037 h 620717"/>
                <a:gd name="connsiteX219" fmla="*/ 438150 w 514350"/>
                <a:gd name="connsiteY219" fmla="*/ 182562 h 620717"/>
                <a:gd name="connsiteX220" fmla="*/ 434975 w 514350"/>
                <a:gd name="connsiteY220" fmla="*/ 188912 h 620717"/>
                <a:gd name="connsiteX221" fmla="*/ 428625 w 514350"/>
                <a:gd name="connsiteY221" fmla="*/ 196850 h 620717"/>
                <a:gd name="connsiteX222" fmla="*/ 417512 w 514350"/>
                <a:gd name="connsiteY222" fmla="*/ 206375 h 620717"/>
                <a:gd name="connsiteX223" fmla="*/ 412750 w 514350"/>
                <a:gd name="connsiteY223" fmla="*/ 207962 h 620717"/>
                <a:gd name="connsiteX224" fmla="*/ 401637 w 514350"/>
                <a:gd name="connsiteY224" fmla="*/ 206375 h 620717"/>
                <a:gd name="connsiteX225" fmla="*/ 395287 w 514350"/>
                <a:gd name="connsiteY225" fmla="*/ 200025 h 620717"/>
                <a:gd name="connsiteX226" fmla="*/ 390525 w 514350"/>
                <a:gd name="connsiteY226" fmla="*/ 196850 h 620717"/>
                <a:gd name="connsiteX227" fmla="*/ 385762 w 514350"/>
                <a:gd name="connsiteY227" fmla="*/ 190500 h 620717"/>
                <a:gd name="connsiteX228" fmla="*/ 368300 w 514350"/>
                <a:gd name="connsiteY228" fmla="*/ 171450 h 620717"/>
                <a:gd name="connsiteX229" fmla="*/ 363537 w 514350"/>
                <a:gd name="connsiteY229" fmla="*/ 160337 h 620717"/>
                <a:gd name="connsiteX230" fmla="*/ 358775 w 514350"/>
                <a:gd name="connsiteY230" fmla="*/ 157162 h 620717"/>
                <a:gd name="connsiteX231" fmla="*/ 349250 w 514350"/>
                <a:gd name="connsiteY231" fmla="*/ 144462 h 620717"/>
                <a:gd name="connsiteX232" fmla="*/ 346075 w 514350"/>
                <a:gd name="connsiteY232" fmla="*/ 138112 h 620717"/>
                <a:gd name="connsiteX233" fmla="*/ 350837 w 514350"/>
                <a:gd name="connsiteY233" fmla="*/ 128587 h 620717"/>
                <a:gd name="connsiteX234" fmla="*/ 357187 w 514350"/>
                <a:gd name="connsiteY234" fmla="*/ 127000 h 620717"/>
                <a:gd name="connsiteX235" fmla="*/ 368300 w 514350"/>
                <a:gd name="connsiteY235" fmla="*/ 125412 h 620717"/>
                <a:gd name="connsiteX236" fmla="*/ 374650 w 514350"/>
                <a:gd name="connsiteY236" fmla="*/ 123825 h 620717"/>
                <a:gd name="connsiteX237" fmla="*/ 384175 w 514350"/>
                <a:gd name="connsiteY237" fmla="*/ 120650 h 620717"/>
                <a:gd name="connsiteX238" fmla="*/ 392112 w 514350"/>
                <a:gd name="connsiteY238" fmla="*/ 111125 h 620717"/>
                <a:gd name="connsiteX239" fmla="*/ 388937 w 514350"/>
                <a:gd name="connsiteY239" fmla="*/ 100012 h 620717"/>
                <a:gd name="connsiteX240" fmla="*/ 390525 w 514350"/>
                <a:gd name="connsiteY240" fmla="*/ 93662 h 620717"/>
                <a:gd name="connsiteX241" fmla="*/ 401637 w 514350"/>
                <a:gd name="connsiteY241" fmla="*/ 95250 h 620717"/>
                <a:gd name="connsiteX242" fmla="*/ 423862 w 514350"/>
                <a:gd name="connsiteY242" fmla="*/ 93662 h 620717"/>
                <a:gd name="connsiteX243" fmla="*/ 430212 w 514350"/>
                <a:gd name="connsiteY243" fmla="*/ 87312 h 620717"/>
                <a:gd name="connsiteX244" fmla="*/ 431800 w 514350"/>
                <a:gd name="connsiteY244" fmla="*/ 61912 h 620717"/>
                <a:gd name="connsiteX245" fmla="*/ 427037 w 514350"/>
                <a:gd name="connsiteY245" fmla="*/ 57150 h 620717"/>
                <a:gd name="connsiteX246" fmla="*/ 427037 w 514350"/>
                <a:gd name="connsiteY246" fmla="*/ 47625 h 620717"/>
                <a:gd name="connsiteX247" fmla="*/ 428625 w 514350"/>
                <a:gd name="connsiteY247" fmla="*/ 30162 h 620717"/>
                <a:gd name="connsiteX248" fmla="*/ 434975 w 514350"/>
                <a:gd name="connsiteY248" fmla="*/ 38100 h 620717"/>
                <a:gd name="connsiteX249" fmla="*/ 439737 w 514350"/>
                <a:gd name="connsiteY249" fmla="*/ 42862 h 620717"/>
                <a:gd name="connsiteX250" fmla="*/ 442912 w 514350"/>
                <a:gd name="connsiteY250" fmla="*/ 49212 h 620717"/>
                <a:gd name="connsiteX251" fmla="*/ 455612 w 514350"/>
                <a:gd name="connsiteY251" fmla="*/ 69850 h 620717"/>
                <a:gd name="connsiteX252" fmla="*/ 461962 w 514350"/>
                <a:gd name="connsiteY252" fmla="*/ 68262 h 620717"/>
                <a:gd name="connsiteX253" fmla="*/ 466725 w 514350"/>
                <a:gd name="connsiteY253" fmla="*/ 61912 h 620717"/>
                <a:gd name="connsiteX254" fmla="*/ 492125 w 514350"/>
                <a:gd name="connsiteY254" fmla="*/ 53975 h 620717"/>
                <a:gd name="connsiteX255" fmla="*/ 496887 w 514350"/>
                <a:gd name="connsiteY255" fmla="*/ 49212 h 620717"/>
                <a:gd name="connsiteX256" fmla="*/ 500062 w 514350"/>
                <a:gd name="connsiteY256" fmla="*/ 41275 h 620717"/>
                <a:gd name="connsiteX257" fmla="*/ 496887 w 514350"/>
                <a:gd name="connsiteY257"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27037 w 514350"/>
                <a:gd name="connsiteY9" fmla="*/ 19050 h 620717"/>
                <a:gd name="connsiteX10" fmla="*/ 409575 w 514350"/>
                <a:gd name="connsiteY10" fmla="*/ 14287 h 620717"/>
                <a:gd name="connsiteX11" fmla="*/ 401637 w 514350"/>
                <a:gd name="connsiteY11" fmla="*/ 12700 h 620717"/>
                <a:gd name="connsiteX12" fmla="*/ 352425 w 514350"/>
                <a:gd name="connsiteY12" fmla="*/ 19050 h 620717"/>
                <a:gd name="connsiteX13" fmla="*/ 350837 w 514350"/>
                <a:gd name="connsiteY13" fmla="*/ 23812 h 620717"/>
                <a:gd name="connsiteX14" fmla="*/ 352425 w 514350"/>
                <a:gd name="connsiteY14" fmla="*/ 38100 h 620717"/>
                <a:gd name="connsiteX15" fmla="*/ 357187 w 514350"/>
                <a:gd name="connsiteY15" fmla="*/ 44450 h 620717"/>
                <a:gd name="connsiteX16" fmla="*/ 349250 w 514350"/>
                <a:gd name="connsiteY16" fmla="*/ 58737 h 620717"/>
                <a:gd name="connsiteX17" fmla="*/ 328612 w 514350"/>
                <a:gd name="connsiteY17" fmla="*/ 60325 h 620717"/>
                <a:gd name="connsiteX18" fmla="*/ 307975 w 514350"/>
                <a:gd name="connsiteY18" fmla="*/ 68262 h 620717"/>
                <a:gd name="connsiteX19" fmla="*/ 295275 w 514350"/>
                <a:gd name="connsiteY19" fmla="*/ 73025 h 620717"/>
                <a:gd name="connsiteX20" fmla="*/ 292100 w 514350"/>
                <a:gd name="connsiteY20" fmla="*/ 77787 h 620717"/>
                <a:gd name="connsiteX21" fmla="*/ 296862 w 514350"/>
                <a:gd name="connsiteY21" fmla="*/ 79375 h 620717"/>
                <a:gd name="connsiteX22" fmla="*/ 311150 w 514350"/>
                <a:gd name="connsiteY22" fmla="*/ 82550 h 620717"/>
                <a:gd name="connsiteX23" fmla="*/ 319087 w 514350"/>
                <a:gd name="connsiteY23" fmla="*/ 87312 h 620717"/>
                <a:gd name="connsiteX24" fmla="*/ 323850 w 514350"/>
                <a:gd name="connsiteY24" fmla="*/ 88900 h 620717"/>
                <a:gd name="connsiteX25" fmla="*/ 336550 w 514350"/>
                <a:gd name="connsiteY25" fmla="*/ 103187 h 620717"/>
                <a:gd name="connsiteX26" fmla="*/ 334962 w 514350"/>
                <a:gd name="connsiteY26" fmla="*/ 114300 h 620717"/>
                <a:gd name="connsiteX27" fmla="*/ 330200 w 514350"/>
                <a:gd name="connsiteY27" fmla="*/ 115887 h 620717"/>
                <a:gd name="connsiteX28" fmla="*/ 315912 w 514350"/>
                <a:gd name="connsiteY28" fmla="*/ 130175 h 620717"/>
                <a:gd name="connsiteX29" fmla="*/ 307975 w 514350"/>
                <a:gd name="connsiteY29" fmla="*/ 131762 h 620717"/>
                <a:gd name="connsiteX30" fmla="*/ 300037 w 514350"/>
                <a:gd name="connsiteY30" fmla="*/ 134937 h 620717"/>
                <a:gd name="connsiteX31" fmla="*/ 296862 w 514350"/>
                <a:gd name="connsiteY31" fmla="*/ 142875 h 620717"/>
                <a:gd name="connsiteX32" fmla="*/ 282575 w 514350"/>
                <a:gd name="connsiteY32" fmla="*/ 157162 h 620717"/>
                <a:gd name="connsiteX33" fmla="*/ 273050 w 514350"/>
                <a:gd name="connsiteY33" fmla="*/ 153987 h 620717"/>
                <a:gd name="connsiteX34" fmla="*/ 261937 w 514350"/>
                <a:gd name="connsiteY34" fmla="*/ 147637 h 620717"/>
                <a:gd name="connsiteX35" fmla="*/ 242887 w 514350"/>
                <a:gd name="connsiteY35" fmla="*/ 149225 h 620717"/>
                <a:gd name="connsiteX36" fmla="*/ 236537 w 514350"/>
                <a:gd name="connsiteY36" fmla="*/ 150812 h 620717"/>
                <a:gd name="connsiteX37" fmla="*/ 231775 w 514350"/>
                <a:gd name="connsiteY37" fmla="*/ 142875 h 620717"/>
                <a:gd name="connsiteX38" fmla="*/ 225425 w 514350"/>
                <a:gd name="connsiteY38" fmla="*/ 123825 h 620717"/>
                <a:gd name="connsiteX39" fmla="*/ 219075 w 514350"/>
                <a:gd name="connsiteY39" fmla="*/ 122237 h 620717"/>
                <a:gd name="connsiteX40" fmla="*/ 204787 w 514350"/>
                <a:gd name="connsiteY40" fmla="*/ 120650 h 620717"/>
                <a:gd name="connsiteX41" fmla="*/ 190500 w 514350"/>
                <a:gd name="connsiteY41" fmla="*/ 117475 h 620717"/>
                <a:gd name="connsiteX42" fmla="*/ 182562 w 514350"/>
                <a:gd name="connsiteY42" fmla="*/ 111125 h 620717"/>
                <a:gd name="connsiteX43" fmla="*/ 174625 w 514350"/>
                <a:gd name="connsiteY43" fmla="*/ 104775 h 620717"/>
                <a:gd name="connsiteX44" fmla="*/ 152400 w 514350"/>
                <a:gd name="connsiteY44" fmla="*/ 106362 h 620717"/>
                <a:gd name="connsiteX45" fmla="*/ 150812 w 514350"/>
                <a:gd name="connsiteY45" fmla="*/ 117475 h 620717"/>
                <a:gd name="connsiteX46" fmla="*/ 133350 w 514350"/>
                <a:gd name="connsiteY46" fmla="*/ 120650 h 620717"/>
                <a:gd name="connsiteX47" fmla="*/ 138112 w 514350"/>
                <a:gd name="connsiteY47" fmla="*/ 123825 h 620717"/>
                <a:gd name="connsiteX48" fmla="*/ 139700 w 514350"/>
                <a:gd name="connsiteY48" fmla="*/ 128587 h 620717"/>
                <a:gd name="connsiteX49" fmla="*/ 146050 w 514350"/>
                <a:gd name="connsiteY49" fmla="*/ 131762 h 620717"/>
                <a:gd name="connsiteX50" fmla="*/ 147637 w 514350"/>
                <a:gd name="connsiteY50" fmla="*/ 138112 h 620717"/>
                <a:gd name="connsiteX51" fmla="*/ 123825 w 514350"/>
                <a:gd name="connsiteY51" fmla="*/ 146050 h 620717"/>
                <a:gd name="connsiteX52" fmla="*/ 117475 w 514350"/>
                <a:gd name="connsiteY52" fmla="*/ 155575 h 620717"/>
                <a:gd name="connsiteX53" fmla="*/ 112712 w 514350"/>
                <a:gd name="connsiteY53" fmla="*/ 157162 h 620717"/>
                <a:gd name="connsiteX54" fmla="*/ 125412 w 514350"/>
                <a:gd name="connsiteY54" fmla="*/ 161925 h 620717"/>
                <a:gd name="connsiteX55" fmla="*/ 130175 w 514350"/>
                <a:gd name="connsiteY55" fmla="*/ 163512 h 620717"/>
                <a:gd name="connsiteX56" fmla="*/ 142875 w 514350"/>
                <a:gd name="connsiteY56" fmla="*/ 166687 h 620717"/>
                <a:gd name="connsiteX57" fmla="*/ 147637 w 514350"/>
                <a:gd name="connsiteY57" fmla="*/ 173037 h 620717"/>
                <a:gd name="connsiteX58" fmla="*/ 152400 w 514350"/>
                <a:gd name="connsiteY58" fmla="*/ 177800 h 620717"/>
                <a:gd name="connsiteX59" fmla="*/ 146050 w 514350"/>
                <a:gd name="connsiteY59" fmla="*/ 179387 h 620717"/>
                <a:gd name="connsiteX60" fmla="*/ 149225 w 514350"/>
                <a:gd name="connsiteY60" fmla="*/ 185737 h 620717"/>
                <a:gd name="connsiteX61" fmla="*/ 153987 w 514350"/>
                <a:gd name="connsiteY61" fmla="*/ 187325 h 620717"/>
                <a:gd name="connsiteX62" fmla="*/ 168275 w 514350"/>
                <a:gd name="connsiteY62" fmla="*/ 190500 h 620717"/>
                <a:gd name="connsiteX63" fmla="*/ 165100 w 514350"/>
                <a:gd name="connsiteY63" fmla="*/ 198437 h 620717"/>
                <a:gd name="connsiteX64" fmla="*/ 160337 w 514350"/>
                <a:gd name="connsiteY64" fmla="*/ 200025 h 620717"/>
                <a:gd name="connsiteX65" fmla="*/ 139700 w 514350"/>
                <a:gd name="connsiteY65" fmla="*/ 196850 h 620717"/>
                <a:gd name="connsiteX66" fmla="*/ 153987 w 514350"/>
                <a:gd name="connsiteY66" fmla="*/ 211137 h 620717"/>
                <a:gd name="connsiteX67" fmla="*/ 152400 w 514350"/>
                <a:gd name="connsiteY67" fmla="*/ 217487 h 620717"/>
                <a:gd name="connsiteX68" fmla="*/ 138112 w 514350"/>
                <a:gd name="connsiteY68" fmla="*/ 219075 h 620717"/>
                <a:gd name="connsiteX69" fmla="*/ 142875 w 514350"/>
                <a:gd name="connsiteY69" fmla="*/ 223837 h 620717"/>
                <a:gd name="connsiteX70" fmla="*/ 141287 w 514350"/>
                <a:gd name="connsiteY70" fmla="*/ 228600 h 620717"/>
                <a:gd name="connsiteX71" fmla="*/ 107950 w 514350"/>
                <a:gd name="connsiteY71" fmla="*/ 231775 h 620717"/>
                <a:gd name="connsiteX72" fmla="*/ 95250 w 514350"/>
                <a:gd name="connsiteY72" fmla="*/ 233362 h 620717"/>
                <a:gd name="connsiteX73" fmla="*/ 92075 w 514350"/>
                <a:gd name="connsiteY73" fmla="*/ 247650 h 620717"/>
                <a:gd name="connsiteX74" fmla="*/ 93662 w 514350"/>
                <a:gd name="connsiteY74" fmla="*/ 252412 h 620717"/>
                <a:gd name="connsiteX75" fmla="*/ 109537 w 514350"/>
                <a:gd name="connsiteY75" fmla="*/ 260350 h 620717"/>
                <a:gd name="connsiteX76" fmla="*/ 114300 w 514350"/>
                <a:gd name="connsiteY76" fmla="*/ 263525 h 620717"/>
                <a:gd name="connsiteX77" fmla="*/ 119062 w 514350"/>
                <a:gd name="connsiteY77" fmla="*/ 268287 h 620717"/>
                <a:gd name="connsiteX78" fmla="*/ 123825 w 514350"/>
                <a:gd name="connsiteY78" fmla="*/ 269875 h 620717"/>
                <a:gd name="connsiteX79" fmla="*/ 128587 w 514350"/>
                <a:gd name="connsiteY79" fmla="*/ 273050 h 620717"/>
                <a:gd name="connsiteX80" fmla="*/ 114300 w 514350"/>
                <a:gd name="connsiteY80" fmla="*/ 279400 h 620717"/>
                <a:gd name="connsiteX81" fmla="*/ 109537 w 514350"/>
                <a:gd name="connsiteY81" fmla="*/ 284162 h 620717"/>
                <a:gd name="connsiteX82" fmla="*/ 111125 w 514350"/>
                <a:gd name="connsiteY82" fmla="*/ 293687 h 620717"/>
                <a:gd name="connsiteX83" fmla="*/ 125412 w 514350"/>
                <a:gd name="connsiteY83" fmla="*/ 296862 h 620717"/>
                <a:gd name="connsiteX84" fmla="*/ 136525 w 514350"/>
                <a:gd name="connsiteY84" fmla="*/ 301625 h 620717"/>
                <a:gd name="connsiteX85" fmla="*/ 142875 w 514350"/>
                <a:gd name="connsiteY85" fmla="*/ 303212 h 620717"/>
                <a:gd name="connsiteX86" fmla="*/ 146050 w 514350"/>
                <a:gd name="connsiteY86" fmla="*/ 311150 h 620717"/>
                <a:gd name="connsiteX87" fmla="*/ 158750 w 514350"/>
                <a:gd name="connsiteY87" fmla="*/ 315912 h 620717"/>
                <a:gd name="connsiteX88" fmla="*/ 193675 w 514350"/>
                <a:gd name="connsiteY88" fmla="*/ 317500 h 620717"/>
                <a:gd name="connsiteX89" fmla="*/ 209550 w 514350"/>
                <a:gd name="connsiteY89" fmla="*/ 320675 h 620717"/>
                <a:gd name="connsiteX90" fmla="*/ 204787 w 514350"/>
                <a:gd name="connsiteY90" fmla="*/ 323850 h 620717"/>
                <a:gd name="connsiteX91" fmla="*/ 200025 w 514350"/>
                <a:gd name="connsiteY91" fmla="*/ 325437 h 620717"/>
                <a:gd name="connsiteX92" fmla="*/ 190500 w 514350"/>
                <a:gd name="connsiteY92" fmla="*/ 331787 h 620717"/>
                <a:gd name="connsiteX93" fmla="*/ 182562 w 514350"/>
                <a:gd name="connsiteY93" fmla="*/ 338137 h 620717"/>
                <a:gd name="connsiteX94" fmla="*/ 176212 w 514350"/>
                <a:gd name="connsiteY94" fmla="*/ 341312 h 620717"/>
                <a:gd name="connsiteX95" fmla="*/ 171450 w 514350"/>
                <a:gd name="connsiteY95" fmla="*/ 344487 h 620717"/>
                <a:gd name="connsiteX96" fmla="*/ 161925 w 514350"/>
                <a:gd name="connsiteY96" fmla="*/ 347662 h 620717"/>
                <a:gd name="connsiteX97" fmla="*/ 149225 w 514350"/>
                <a:gd name="connsiteY97" fmla="*/ 365125 h 620717"/>
                <a:gd name="connsiteX98" fmla="*/ 139700 w 514350"/>
                <a:gd name="connsiteY98" fmla="*/ 382587 h 620717"/>
                <a:gd name="connsiteX99" fmla="*/ 134937 w 514350"/>
                <a:gd name="connsiteY99" fmla="*/ 384175 h 620717"/>
                <a:gd name="connsiteX100" fmla="*/ 133350 w 514350"/>
                <a:gd name="connsiteY100" fmla="*/ 388937 h 620717"/>
                <a:gd name="connsiteX101" fmla="*/ 128587 w 514350"/>
                <a:gd name="connsiteY101" fmla="*/ 392112 h 620717"/>
                <a:gd name="connsiteX102" fmla="*/ 120650 w 514350"/>
                <a:gd name="connsiteY102" fmla="*/ 398462 h 620717"/>
                <a:gd name="connsiteX103" fmla="*/ 114300 w 514350"/>
                <a:gd name="connsiteY103" fmla="*/ 409575 h 620717"/>
                <a:gd name="connsiteX104" fmla="*/ 109537 w 514350"/>
                <a:gd name="connsiteY104" fmla="*/ 411162 h 620717"/>
                <a:gd name="connsiteX105" fmla="*/ 92075 w 514350"/>
                <a:gd name="connsiteY105" fmla="*/ 414337 h 620717"/>
                <a:gd name="connsiteX106" fmla="*/ 92075 w 514350"/>
                <a:gd name="connsiteY106" fmla="*/ 433387 h 620717"/>
                <a:gd name="connsiteX107" fmla="*/ 79375 w 514350"/>
                <a:gd name="connsiteY107" fmla="*/ 441325 h 620717"/>
                <a:gd name="connsiteX108" fmla="*/ 73025 w 514350"/>
                <a:gd name="connsiteY108" fmla="*/ 455612 h 620717"/>
                <a:gd name="connsiteX109" fmla="*/ 69850 w 514350"/>
                <a:gd name="connsiteY109" fmla="*/ 463550 h 620717"/>
                <a:gd name="connsiteX110" fmla="*/ 65087 w 514350"/>
                <a:gd name="connsiteY110" fmla="*/ 465137 h 620717"/>
                <a:gd name="connsiteX111" fmla="*/ 38100 w 514350"/>
                <a:gd name="connsiteY111" fmla="*/ 466725 h 620717"/>
                <a:gd name="connsiteX112" fmla="*/ 34925 w 514350"/>
                <a:gd name="connsiteY112" fmla="*/ 473075 h 620717"/>
                <a:gd name="connsiteX113" fmla="*/ 30162 w 514350"/>
                <a:gd name="connsiteY113" fmla="*/ 476250 h 620717"/>
                <a:gd name="connsiteX114" fmla="*/ 0 w 514350"/>
                <a:gd name="connsiteY114" fmla="*/ 477837 h 620717"/>
                <a:gd name="connsiteX115" fmla="*/ 4762 w 514350"/>
                <a:gd name="connsiteY115" fmla="*/ 484187 h 620717"/>
                <a:gd name="connsiteX116" fmla="*/ 23812 w 514350"/>
                <a:gd name="connsiteY116" fmla="*/ 485775 h 620717"/>
                <a:gd name="connsiteX117" fmla="*/ 30162 w 514350"/>
                <a:gd name="connsiteY117" fmla="*/ 487362 h 620717"/>
                <a:gd name="connsiteX118" fmla="*/ 39687 w 514350"/>
                <a:gd name="connsiteY118" fmla="*/ 488950 h 620717"/>
                <a:gd name="connsiteX119" fmla="*/ 33337 w 514350"/>
                <a:gd name="connsiteY119" fmla="*/ 492125 h 620717"/>
                <a:gd name="connsiteX120" fmla="*/ 25400 w 514350"/>
                <a:gd name="connsiteY120" fmla="*/ 493712 h 620717"/>
                <a:gd name="connsiteX121" fmla="*/ 19050 w 514350"/>
                <a:gd name="connsiteY121" fmla="*/ 495300 h 620717"/>
                <a:gd name="connsiteX122" fmla="*/ 14287 w 514350"/>
                <a:gd name="connsiteY122" fmla="*/ 498475 h 620717"/>
                <a:gd name="connsiteX123" fmla="*/ 4762 w 514350"/>
                <a:gd name="connsiteY123" fmla="*/ 503237 h 620717"/>
                <a:gd name="connsiteX124" fmla="*/ 3175 w 514350"/>
                <a:gd name="connsiteY124" fmla="*/ 508000 h 620717"/>
                <a:gd name="connsiteX125" fmla="*/ 4762 w 514350"/>
                <a:gd name="connsiteY125" fmla="*/ 530225 h 620717"/>
                <a:gd name="connsiteX126" fmla="*/ 11112 w 514350"/>
                <a:gd name="connsiteY126" fmla="*/ 533400 h 620717"/>
                <a:gd name="connsiteX127" fmla="*/ 20637 w 514350"/>
                <a:gd name="connsiteY127" fmla="*/ 534987 h 620717"/>
                <a:gd name="connsiteX128" fmla="*/ 26987 w 514350"/>
                <a:gd name="connsiteY128" fmla="*/ 536575 h 620717"/>
                <a:gd name="connsiteX129" fmla="*/ 39687 w 514350"/>
                <a:gd name="connsiteY129" fmla="*/ 542925 h 620717"/>
                <a:gd name="connsiteX130" fmla="*/ 44450 w 514350"/>
                <a:gd name="connsiteY130" fmla="*/ 546100 h 620717"/>
                <a:gd name="connsiteX131" fmla="*/ 58737 w 514350"/>
                <a:gd name="connsiteY131" fmla="*/ 547687 h 620717"/>
                <a:gd name="connsiteX132" fmla="*/ 47625 w 514350"/>
                <a:gd name="connsiteY132" fmla="*/ 555625 h 620717"/>
                <a:gd name="connsiteX133" fmla="*/ 30162 w 514350"/>
                <a:gd name="connsiteY133" fmla="*/ 558800 h 620717"/>
                <a:gd name="connsiteX134" fmla="*/ 7937 w 514350"/>
                <a:gd name="connsiteY134" fmla="*/ 563562 h 620717"/>
                <a:gd name="connsiteX135" fmla="*/ 7937 w 514350"/>
                <a:gd name="connsiteY135" fmla="*/ 576262 h 620717"/>
                <a:gd name="connsiteX136" fmla="*/ 17462 w 514350"/>
                <a:gd name="connsiteY136" fmla="*/ 577850 h 620717"/>
                <a:gd name="connsiteX137" fmla="*/ 39687 w 514350"/>
                <a:gd name="connsiteY137" fmla="*/ 581025 h 620717"/>
                <a:gd name="connsiteX138" fmla="*/ 47625 w 514350"/>
                <a:gd name="connsiteY138" fmla="*/ 582612 h 620717"/>
                <a:gd name="connsiteX139" fmla="*/ 61912 w 514350"/>
                <a:gd name="connsiteY139" fmla="*/ 584200 h 620717"/>
                <a:gd name="connsiteX140" fmla="*/ 66675 w 514350"/>
                <a:gd name="connsiteY140" fmla="*/ 587375 h 620717"/>
                <a:gd name="connsiteX141" fmla="*/ 53975 w 514350"/>
                <a:gd name="connsiteY141" fmla="*/ 593725 h 620717"/>
                <a:gd name="connsiteX142" fmla="*/ 52387 w 514350"/>
                <a:gd name="connsiteY142" fmla="*/ 601662 h 620717"/>
                <a:gd name="connsiteX143" fmla="*/ 50800 w 514350"/>
                <a:gd name="connsiteY143" fmla="*/ 606425 h 620717"/>
                <a:gd name="connsiteX144" fmla="*/ 55562 w 514350"/>
                <a:gd name="connsiteY144" fmla="*/ 614362 h 620717"/>
                <a:gd name="connsiteX145" fmla="*/ 79375 w 514350"/>
                <a:gd name="connsiteY145" fmla="*/ 609600 h 620717"/>
                <a:gd name="connsiteX146" fmla="*/ 123825 w 514350"/>
                <a:gd name="connsiteY146" fmla="*/ 612775 h 620717"/>
                <a:gd name="connsiteX147" fmla="*/ 130175 w 514350"/>
                <a:gd name="connsiteY147" fmla="*/ 617537 h 620717"/>
                <a:gd name="connsiteX148" fmla="*/ 144462 w 514350"/>
                <a:gd name="connsiteY148" fmla="*/ 620712 h 620717"/>
                <a:gd name="connsiteX149" fmla="*/ 173037 w 514350"/>
                <a:gd name="connsiteY149" fmla="*/ 617537 h 620717"/>
                <a:gd name="connsiteX150" fmla="*/ 180975 w 514350"/>
                <a:gd name="connsiteY150" fmla="*/ 614362 h 620717"/>
                <a:gd name="connsiteX151" fmla="*/ 187325 w 514350"/>
                <a:gd name="connsiteY151" fmla="*/ 609600 h 620717"/>
                <a:gd name="connsiteX152" fmla="*/ 196850 w 514350"/>
                <a:gd name="connsiteY152" fmla="*/ 606425 h 620717"/>
                <a:gd name="connsiteX153" fmla="*/ 198437 w 514350"/>
                <a:gd name="connsiteY153" fmla="*/ 600075 h 620717"/>
                <a:gd name="connsiteX154" fmla="*/ 203200 w 514350"/>
                <a:gd name="connsiteY154" fmla="*/ 595312 h 620717"/>
                <a:gd name="connsiteX155" fmla="*/ 215900 w 514350"/>
                <a:gd name="connsiteY155" fmla="*/ 581025 h 620717"/>
                <a:gd name="connsiteX156" fmla="*/ 230187 w 514350"/>
                <a:gd name="connsiteY156" fmla="*/ 582612 h 620717"/>
                <a:gd name="connsiteX157" fmla="*/ 238125 w 514350"/>
                <a:gd name="connsiteY157" fmla="*/ 584200 h 620717"/>
                <a:gd name="connsiteX158" fmla="*/ 261937 w 514350"/>
                <a:gd name="connsiteY158" fmla="*/ 581025 h 620717"/>
                <a:gd name="connsiteX159" fmla="*/ 263525 w 514350"/>
                <a:gd name="connsiteY159" fmla="*/ 576262 h 620717"/>
                <a:gd name="connsiteX160" fmla="*/ 266700 w 514350"/>
                <a:gd name="connsiteY160" fmla="*/ 582612 h 620717"/>
                <a:gd name="connsiteX161" fmla="*/ 277812 w 514350"/>
                <a:gd name="connsiteY161" fmla="*/ 590550 h 620717"/>
                <a:gd name="connsiteX162" fmla="*/ 279400 w 514350"/>
                <a:gd name="connsiteY162" fmla="*/ 579437 h 620717"/>
                <a:gd name="connsiteX163" fmla="*/ 287337 w 514350"/>
                <a:gd name="connsiteY163" fmla="*/ 571500 h 620717"/>
                <a:gd name="connsiteX164" fmla="*/ 290512 w 514350"/>
                <a:gd name="connsiteY164" fmla="*/ 566737 h 620717"/>
                <a:gd name="connsiteX165" fmla="*/ 311150 w 514350"/>
                <a:gd name="connsiteY165" fmla="*/ 558800 h 620717"/>
                <a:gd name="connsiteX166" fmla="*/ 354012 w 514350"/>
                <a:gd name="connsiteY166" fmla="*/ 554037 h 620717"/>
                <a:gd name="connsiteX167" fmla="*/ 360362 w 514350"/>
                <a:gd name="connsiteY167" fmla="*/ 561975 h 620717"/>
                <a:gd name="connsiteX168" fmla="*/ 365125 w 514350"/>
                <a:gd name="connsiteY168" fmla="*/ 563562 h 620717"/>
                <a:gd name="connsiteX169" fmla="*/ 366712 w 514350"/>
                <a:gd name="connsiteY169" fmla="*/ 557212 h 620717"/>
                <a:gd name="connsiteX170" fmla="*/ 368300 w 514350"/>
                <a:gd name="connsiteY170" fmla="*/ 552450 h 620717"/>
                <a:gd name="connsiteX171" fmla="*/ 377825 w 514350"/>
                <a:gd name="connsiteY171" fmla="*/ 557212 h 620717"/>
                <a:gd name="connsiteX172" fmla="*/ 382587 w 514350"/>
                <a:gd name="connsiteY172" fmla="*/ 563562 h 620717"/>
                <a:gd name="connsiteX173" fmla="*/ 404812 w 514350"/>
                <a:gd name="connsiteY173" fmla="*/ 565150 h 620717"/>
                <a:gd name="connsiteX174" fmla="*/ 414337 w 514350"/>
                <a:gd name="connsiteY174" fmla="*/ 571500 h 620717"/>
                <a:gd name="connsiteX175" fmla="*/ 419100 w 514350"/>
                <a:gd name="connsiteY175" fmla="*/ 574675 h 620717"/>
                <a:gd name="connsiteX176" fmla="*/ 436562 w 514350"/>
                <a:gd name="connsiteY176" fmla="*/ 573087 h 620717"/>
                <a:gd name="connsiteX177" fmla="*/ 434975 w 514350"/>
                <a:gd name="connsiteY177" fmla="*/ 566737 h 620717"/>
                <a:gd name="connsiteX178" fmla="*/ 430212 w 514350"/>
                <a:gd name="connsiteY178" fmla="*/ 546100 h 620717"/>
                <a:gd name="connsiteX179" fmla="*/ 433387 w 514350"/>
                <a:gd name="connsiteY179" fmla="*/ 531812 h 620717"/>
                <a:gd name="connsiteX180" fmla="*/ 446087 w 514350"/>
                <a:gd name="connsiteY180" fmla="*/ 525462 h 620717"/>
                <a:gd name="connsiteX181" fmla="*/ 452437 w 514350"/>
                <a:gd name="connsiteY181" fmla="*/ 519112 h 620717"/>
                <a:gd name="connsiteX182" fmla="*/ 463550 w 514350"/>
                <a:gd name="connsiteY182" fmla="*/ 514350 h 620717"/>
                <a:gd name="connsiteX183" fmla="*/ 465137 w 514350"/>
                <a:gd name="connsiteY183" fmla="*/ 508000 h 620717"/>
                <a:gd name="connsiteX184" fmla="*/ 466725 w 514350"/>
                <a:gd name="connsiteY184" fmla="*/ 485775 h 620717"/>
                <a:gd name="connsiteX185" fmla="*/ 482600 w 514350"/>
                <a:gd name="connsiteY185" fmla="*/ 474662 h 620717"/>
                <a:gd name="connsiteX186" fmla="*/ 495300 w 514350"/>
                <a:gd name="connsiteY186" fmla="*/ 458787 h 620717"/>
                <a:gd name="connsiteX187" fmla="*/ 501650 w 514350"/>
                <a:gd name="connsiteY187" fmla="*/ 438150 h 620717"/>
                <a:gd name="connsiteX188" fmla="*/ 506412 w 514350"/>
                <a:gd name="connsiteY188" fmla="*/ 433387 h 620717"/>
                <a:gd name="connsiteX189" fmla="*/ 506412 w 514350"/>
                <a:gd name="connsiteY189" fmla="*/ 401637 h 620717"/>
                <a:gd name="connsiteX190" fmla="*/ 501650 w 514350"/>
                <a:gd name="connsiteY190" fmla="*/ 398462 h 620717"/>
                <a:gd name="connsiteX191" fmla="*/ 498475 w 514350"/>
                <a:gd name="connsiteY191" fmla="*/ 392112 h 620717"/>
                <a:gd name="connsiteX192" fmla="*/ 503237 w 514350"/>
                <a:gd name="connsiteY192" fmla="*/ 360362 h 620717"/>
                <a:gd name="connsiteX193" fmla="*/ 508000 w 514350"/>
                <a:gd name="connsiteY193" fmla="*/ 355600 h 620717"/>
                <a:gd name="connsiteX194" fmla="*/ 514350 w 514350"/>
                <a:gd name="connsiteY194" fmla="*/ 346075 h 620717"/>
                <a:gd name="connsiteX195" fmla="*/ 511175 w 514350"/>
                <a:gd name="connsiteY195" fmla="*/ 331787 h 620717"/>
                <a:gd name="connsiteX196" fmla="*/ 506412 w 514350"/>
                <a:gd name="connsiteY196" fmla="*/ 327025 h 620717"/>
                <a:gd name="connsiteX197" fmla="*/ 504825 w 514350"/>
                <a:gd name="connsiteY197" fmla="*/ 315912 h 620717"/>
                <a:gd name="connsiteX198" fmla="*/ 508000 w 514350"/>
                <a:gd name="connsiteY198" fmla="*/ 290512 h 620717"/>
                <a:gd name="connsiteX199" fmla="*/ 506412 w 514350"/>
                <a:gd name="connsiteY199" fmla="*/ 282575 h 620717"/>
                <a:gd name="connsiteX200" fmla="*/ 495300 w 514350"/>
                <a:gd name="connsiteY200" fmla="*/ 276225 h 620717"/>
                <a:gd name="connsiteX201" fmla="*/ 496887 w 514350"/>
                <a:gd name="connsiteY201" fmla="*/ 268287 h 620717"/>
                <a:gd name="connsiteX202" fmla="*/ 501650 w 514350"/>
                <a:gd name="connsiteY202" fmla="*/ 266700 h 620717"/>
                <a:gd name="connsiteX203" fmla="*/ 506412 w 514350"/>
                <a:gd name="connsiteY203" fmla="*/ 263525 h 620717"/>
                <a:gd name="connsiteX204" fmla="*/ 509587 w 514350"/>
                <a:gd name="connsiteY204" fmla="*/ 258762 h 620717"/>
                <a:gd name="connsiteX205" fmla="*/ 511175 w 514350"/>
                <a:gd name="connsiteY205" fmla="*/ 254000 h 620717"/>
                <a:gd name="connsiteX206" fmla="*/ 514350 w 514350"/>
                <a:gd name="connsiteY206" fmla="*/ 246062 h 620717"/>
                <a:gd name="connsiteX207" fmla="*/ 512762 w 514350"/>
                <a:gd name="connsiteY207" fmla="*/ 239712 h 620717"/>
                <a:gd name="connsiteX208" fmla="*/ 496887 w 514350"/>
                <a:gd name="connsiteY208" fmla="*/ 239712 h 620717"/>
                <a:gd name="connsiteX209" fmla="*/ 492125 w 514350"/>
                <a:gd name="connsiteY209" fmla="*/ 241300 h 620717"/>
                <a:gd name="connsiteX210" fmla="*/ 485775 w 514350"/>
                <a:gd name="connsiteY210" fmla="*/ 244475 h 620717"/>
                <a:gd name="connsiteX211" fmla="*/ 481012 w 514350"/>
                <a:gd name="connsiteY211" fmla="*/ 234950 h 620717"/>
                <a:gd name="connsiteX212" fmla="*/ 479425 w 514350"/>
                <a:gd name="connsiteY212" fmla="*/ 222250 h 620717"/>
                <a:gd name="connsiteX213" fmla="*/ 477837 w 514350"/>
                <a:gd name="connsiteY213" fmla="*/ 215900 h 620717"/>
                <a:gd name="connsiteX214" fmla="*/ 473075 w 514350"/>
                <a:gd name="connsiteY214" fmla="*/ 190500 h 620717"/>
                <a:gd name="connsiteX215" fmla="*/ 468312 w 514350"/>
                <a:gd name="connsiteY215" fmla="*/ 176212 h 620717"/>
                <a:gd name="connsiteX216" fmla="*/ 458787 w 514350"/>
                <a:gd name="connsiteY216" fmla="*/ 171450 h 620717"/>
                <a:gd name="connsiteX217" fmla="*/ 449262 w 514350"/>
                <a:gd name="connsiteY217" fmla="*/ 173037 h 620717"/>
                <a:gd name="connsiteX218" fmla="*/ 438150 w 514350"/>
                <a:gd name="connsiteY218" fmla="*/ 182562 h 620717"/>
                <a:gd name="connsiteX219" fmla="*/ 434975 w 514350"/>
                <a:gd name="connsiteY219" fmla="*/ 188912 h 620717"/>
                <a:gd name="connsiteX220" fmla="*/ 428625 w 514350"/>
                <a:gd name="connsiteY220" fmla="*/ 196850 h 620717"/>
                <a:gd name="connsiteX221" fmla="*/ 417512 w 514350"/>
                <a:gd name="connsiteY221" fmla="*/ 206375 h 620717"/>
                <a:gd name="connsiteX222" fmla="*/ 412750 w 514350"/>
                <a:gd name="connsiteY222" fmla="*/ 207962 h 620717"/>
                <a:gd name="connsiteX223" fmla="*/ 401637 w 514350"/>
                <a:gd name="connsiteY223" fmla="*/ 206375 h 620717"/>
                <a:gd name="connsiteX224" fmla="*/ 395287 w 514350"/>
                <a:gd name="connsiteY224" fmla="*/ 200025 h 620717"/>
                <a:gd name="connsiteX225" fmla="*/ 390525 w 514350"/>
                <a:gd name="connsiteY225" fmla="*/ 196850 h 620717"/>
                <a:gd name="connsiteX226" fmla="*/ 385762 w 514350"/>
                <a:gd name="connsiteY226" fmla="*/ 190500 h 620717"/>
                <a:gd name="connsiteX227" fmla="*/ 368300 w 514350"/>
                <a:gd name="connsiteY227" fmla="*/ 171450 h 620717"/>
                <a:gd name="connsiteX228" fmla="*/ 363537 w 514350"/>
                <a:gd name="connsiteY228" fmla="*/ 160337 h 620717"/>
                <a:gd name="connsiteX229" fmla="*/ 358775 w 514350"/>
                <a:gd name="connsiteY229" fmla="*/ 157162 h 620717"/>
                <a:gd name="connsiteX230" fmla="*/ 349250 w 514350"/>
                <a:gd name="connsiteY230" fmla="*/ 144462 h 620717"/>
                <a:gd name="connsiteX231" fmla="*/ 346075 w 514350"/>
                <a:gd name="connsiteY231" fmla="*/ 138112 h 620717"/>
                <a:gd name="connsiteX232" fmla="*/ 350837 w 514350"/>
                <a:gd name="connsiteY232" fmla="*/ 128587 h 620717"/>
                <a:gd name="connsiteX233" fmla="*/ 357187 w 514350"/>
                <a:gd name="connsiteY233" fmla="*/ 127000 h 620717"/>
                <a:gd name="connsiteX234" fmla="*/ 368300 w 514350"/>
                <a:gd name="connsiteY234" fmla="*/ 125412 h 620717"/>
                <a:gd name="connsiteX235" fmla="*/ 374650 w 514350"/>
                <a:gd name="connsiteY235" fmla="*/ 123825 h 620717"/>
                <a:gd name="connsiteX236" fmla="*/ 384175 w 514350"/>
                <a:gd name="connsiteY236" fmla="*/ 120650 h 620717"/>
                <a:gd name="connsiteX237" fmla="*/ 392112 w 514350"/>
                <a:gd name="connsiteY237" fmla="*/ 111125 h 620717"/>
                <a:gd name="connsiteX238" fmla="*/ 388937 w 514350"/>
                <a:gd name="connsiteY238" fmla="*/ 100012 h 620717"/>
                <a:gd name="connsiteX239" fmla="*/ 390525 w 514350"/>
                <a:gd name="connsiteY239" fmla="*/ 93662 h 620717"/>
                <a:gd name="connsiteX240" fmla="*/ 401637 w 514350"/>
                <a:gd name="connsiteY240" fmla="*/ 95250 h 620717"/>
                <a:gd name="connsiteX241" fmla="*/ 423862 w 514350"/>
                <a:gd name="connsiteY241" fmla="*/ 93662 h 620717"/>
                <a:gd name="connsiteX242" fmla="*/ 430212 w 514350"/>
                <a:gd name="connsiteY242" fmla="*/ 87312 h 620717"/>
                <a:gd name="connsiteX243" fmla="*/ 431800 w 514350"/>
                <a:gd name="connsiteY243" fmla="*/ 61912 h 620717"/>
                <a:gd name="connsiteX244" fmla="*/ 427037 w 514350"/>
                <a:gd name="connsiteY244" fmla="*/ 57150 h 620717"/>
                <a:gd name="connsiteX245" fmla="*/ 427037 w 514350"/>
                <a:gd name="connsiteY245" fmla="*/ 47625 h 620717"/>
                <a:gd name="connsiteX246" fmla="*/ 428625 w 514350"/>
                <a:gd name="connsiteY246" fmla="*/ 30162 h 620717"/>
                <a:gd name="connsiteX247" fmla="*/ 434975 w 514350"/>
                <a:gd name="connsiteY247" fmla="*/ 38100 h 620717"/>
                <a:gd name="connsiteX248" fmla="*/ 439737 w 514350"/>
                <a:gd name="connsiteY248" fmla="*/ 42862 h 620717"/>
                <a:gd name="connsiteX249" fmla="*/ 442912 w 514350"/>
                <a:gd name="connsiteY249" fmla="*/ 49212 h 620717"/>
                <a:gd name="connsiteX250" fmla="*/ 455612 w 514350"/>
                <a:gd name="connsiteY250" fmla="*/ 69850 h 620717"/>
                <a:gd name="connsiteX251" fmla="*/ 461962 w 514350"/>
                <a:gd name="connsiteY251" fmla="*/ 68262 h 620717"/>
                <a:gd name="connsiteX252" fmla="*/ 466725 w 514350"/>
                <a:gd name="connsiteY252" fmla="*/ 61912 h 620717"/>
                <a:gd name="connsiteX253" fmla="*/ 492125 w 514350"/>
                <a:gd name="connsiteY253" fmla="*/ 53975 h 620717"/>
                <a:gd name="connsiteX254" fmla="*/ 496887 w 514350"/>
                <a:gd name="connsiteY254" fmla="*/ 49212 h 620717"/>
                <a:gd name="connsiteX255" fmla="*/ 500062 w 514350"/>
                <a:gd name="connsiteY255" fmla="*/ 41275 h 620717"/>
                <a:gd name="connsiteX256" fmla="*/ 496887 w 514350"/>
                <a:gd name="connsiteY256"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27037 w 514350"/>
                <a:gd name="connsiteY9" fmla="*/ 19050 h 620717"/>
                <a:gd name="connsiteX10" fmla="*/ 409575 w 514350"/>
                <a:gd name="connsiteY10" fmla="*/ 14287 h 620717"/>
                <a:gd name="connsiteX11" fmla="*/ 401637 w 514350"/>
                <a:gd name="connsiteY11" fmla="*/ 12700 h 620717"/>
                <a:gd name="connsiteX12" fmla="*/ 352425 w 514350"/>
                <a:gd name="connsiteY12" fmla="*/ 19050 h 620717"/>
                <a:gd name="connsiteX13" fmla="*/ 350837 w 514350"/>
                <a:gd name="connsiteY13" fmla="*/ 23812 h 620717"/>
                <a:gd name="connsiteX14" fmla="*/ 352425 w 514350"/>
                <a:gd name="connsiteY14" fmla="*/ 38100 h 620717"/>
                <a:gd name="connsiteX15" fmla="*/ 357187 w 514350"/>
                <a:gd name="connsiteY15" fmla="*/ 44450 h 620717"/>
                <a:gd name="connsiteX16" fmla="*/ 349250 w 514350"/>
                <a:gd name="connsiteY16" fmla="*/ 58737 h 620717"/>
                <a:gd name="connsiteX17" fmla="*/ 328612 w 514350"/>
                <a:gd name="connsiteY17" fmla="*/ 60325 h 620717"/>
                <a:gd name="connsiteX18" fmla="*/ 307975 w 514350"/>
                <a:gd name="connsiteY18" fmla="*/ 68262 h 620717"/>
                <a:gd name="connsiteX19" fmla="*/ 295275 w 514350"/>
                <a:gd name="connsiteY19" fmla="*/ 73025 h 620717"/>
                <a:gd name="connsiteX20" fmla="*/ 292100 w 514350"/>
                <a:gd name="connsiteY20" fmla="*/ 77787 h 620717"/>
                <a:gd name="connsiteX21" fmla="*/ 296862 w 514350"/>
                <a:gd name="connsiteY21" fmla="*/ 79375 h 620717"/>
                <a:gd name="connsiteX22" fmla="*/ 311150 w 514350"/>
                <a:gd name="connsiteY22" fmla="*/ 82550 h 620717"/>
                <a:gd name="connsiteX23" fmla="*/ 319087 w 514350"/>
                <a:gd name="connsiteY23" fmla="*/ 87312 h 620717"/>
                <a:gd name="connsiteX24" fmla="*/ 323850 w 514350"/>
                <a:gd name="connsiteY24" fmla="*/ 88900 h 620717"/>
                <a:gd name="connsiteX25" fmla="*/ 336550 w 514350"/>
                <a:gd name="connsiteY25" fmla="*/ 103187 h 620717"/>
                <a:gd name="connsiteX26" fmla="*/ 334962 w 514350"/>
                <a:gd name="connsiteY26" fmla="*/ 114300 h 620717"/>
                <a:gd name="connsiteX27" fmla="*/ 330200 w 514350"/>
                <a:gd name="connsiteY27" fmla="*/ 115887 h 620717"/>
                <a:gd name="connsiteX28" fmla="*/ 315912 w 514350"/>
                <a:gd name="connsiteY28" fmla="*/ 130175 h 620717"/>
                <a:gd name="connsiteX29" fmla="*/ 307975 w 514350"/>
                <a:gd name="connsiteY29" fmla="*/ 131762 h 620717"/>
                <a:gd name="connsiteX30" fmla="*/ 300037 w 514350"/>
                <a:gd name="connsiteY30" fmla="*/ 134937 h 620717"/>
                <a:gd name="connsiteX31" fmla="*/ 296862 w 514350"/>
                <a:gd name="connsiteY31" fmla="*/ 142875 h 620717"/>
                <a:gd name="connsiteX32" fmla="*/ 282575 w 514350"/>
                <a:gd name="connsiteY32" fmla="*/ 157162 h 620717"/>
                <a:gd name="connsiteX33" fmla="*/ 273050 w 514350"/>
                <a:gd name="connsiteY33" fmla="*/ 153987 h 620717"/>
                <a:gd name="connsiteX34" fmla="*/ 261937 w 514350"/>
                <a:gd name="connsiteY34" fmla="*/ 147637 h 620717"/>
                <a:gd name="connsiteX35" fmla="*/ 242887 w 514350"/>
                <a:gd name="connsiteY35" fmla="*/ 149225 h 620717"/>
                <a:gd name="connsiteX36" fmla="*/ 236537 w 514350"/>
                <a:gd name="connsiteY36" fmla="*/ 150812 h 620717"/>
                <a:gd name="connsiteX37" fmla="*/ 231775 w 514350"/>
                <a:gd name="connsiteY37" fmla="*/ 142875 h 620717"/>
                <a:gd name="connsiteX38" fmla="*/ 225425 w 514350"/>
                <a:gd name="connsiteY38" fmla="*/ 123825 h 620717"/>
                <a:gd name="connsiteX39" fmla="*/ 219075 w 514350"/>
                <a:gd name="connsiteY39" fmla="*/ 122237 h 620717"/>
                <a:gd name="connsiteX40" fmla="*/ 204787 w 514350"/>
                <a:gd name="connsiteY40" fmla="*/ 120650 h 620717"/>
                <a:gd name="connsiteX41" fmla="*/ 190500 w 514350"/>
                <a:gd name="connsiteY41" fmla="*/ 117475 h 620717"/>
                <a:gd name="connsiteX42" fmla="*/ 182562 w 514350"/>
                <a:gd name="connsiteY42" fmla="*/ 111125 h 620717"/>
                <a:gd name="connsiteX43" fmla="*/ 174625 w 514350"/>
                <a:gd name="connsiteY43" fmla="*/ 104775 h 620717"/>
                <a:gd name="connsiteX44" fmla="*/ 152400 w 514350"/>
                <a:gd name="connsiteY44" fmla="*/ 106362 h 620717"/>
                <a:gd name="connsiteX45" fmla="*/ 150812 w 514350"/>
                <a:gd name="connsiteY45" fmla="*/ 117475 h 620717"/>
                <a:gd name="connsiteX46" fmla="*/ 133350 w 514350"/>
                <a:gd name="connsiteY46" fmla="*/ 120650 h 620717"/>
                <a:gd name="connsiteX47" fmla="*/ 138112 w 514350"/>
                <a:gd name="connsiteY47" fmla="*/ 123825 h 620717"/>
                <a:gd name="connsiteX48" fmla="*/ 139700 w 514350"/>
                <a:gd name="connsiteY48" fmla="*/ 128587 h 620717"/>
                <a:gd name="connsiteX49" fmla="*/ 146050 w 514350"/>
                <a:gd name="connsiteY49" fmla="*/ 131762 h 620717"/>
                <a:gd name="connsiteX50" fmla="*/ 147637 w 514350"/>
                <a:gd name="connsiteY50" fmla="*/ 138112 h 620717"/>
                <a:gd name="connsiteX51" fmla="*/ 123825 w 514350"/>
                <a:gd name="connsiteY51" fmla="*/ 146050 h 620717"/>
                <a:gd name="connsiteX52" fmla="*/ 117475 w 514350"/>
                <a:gd name="connsiteY52" fmla="*/ 155575 h 620717"/>
                <a:gd name="connsiteX53" fmla="*/ 112712 w 514350"/>
                <a:gd name="connsiteY53" fmla="*/ 157162 h 620717"/>
                <a:gd name="connsiteX54" fmla="*/ 125412 w 514350"/>
                <a:gd name="connsiteY54" fmla="*/ 161925 h 620717"/>
                <a:gd name="connsiteX55" fmla="*/ 130175 w 514350"/>
                <a:gd name="connsiteY55" fmla="*/ 163512 h 620717"/>
                <a:gd name="connsiteX56" fmla="*/ 142875 w 514350"/>
                <a:gd name="connsiteY56" fmla="*/ 166687 h 620717"/>
                <a:gd name="connsiteX57" fmla="*/ 147637 w 514350"/>
                <a:gd name="connsiteY57" fmla="*/ 173037 h 620717"/>
                <a:gd name="connsiteX58" fmla="*/ 152400 w 514350"/>
                <a:gd name="connsiteY58" fmla="*/ 177800 h 620717"/>
                <a:gd name="connsiteX59" fmla="*/ 146050 w 514350"/>
                <a:gd name="connsiteY59" fmla="*/ 179387 h 620717"/>
                <a:gd name="connsiteX60" fmla="*/ 149225 w 514350"/>
                <a:gd name="connsiteY60" fmla="*/ 185737 h 620717"/>
                <a:gd name="connsiteX61" fmla="*/ 153987 w 514350"/>
                <a:gd name="connsiteY61" fmla="*/ 187325 h 620717"/>
                <a:gd name="connsiteX62" fmla="*/ 168275 w 514350"/>
                <a:gd name="connsiteY62" fmla="*/ 190500 h 620717"/>
                <a:gd name="connsiteX63" fmla="*/ 165100 w 514350"/>
                <a:gd name="connsiteY63" fmla="*/ 198437 h 620717"/>
                <a:gd name="connsiteX64" fmla="*/ 160337 w 514350"/>
                <a:gd name="connsiteY64" fmla="*/ 200025 h 620717"/>
                <a:gd name="connsiteX65" fmla="*/ 139700 w 514350"/>
                <a:gd name="connsiteY65" fmla="*/ 196850 h 620717"/>
                <a:gd name="connsiteX66" fmla="*/ 153987 w 514350"/>
                <a:gd name="connsiteY66" fmla="*/ 211137 h 620717"/>
                <a:gd name="connsiteX67" fmla="*/ 152400 w 514350"/>
                <a:gd name="connsiteY67" fmla="*/ 217487 h 620717"/>
                <a:gd name="connsiteX68" fmla="*/ 138112 w 514350"/>
                <a:gd name="connsiteY68" fmla="*/ 219075 h 620717"/>
                <a:gd name="connsiteX69" fmla="*/ 142875 w 514350"/>
                <a:gd name="connsiteY69" fmla="*/ 223837 h 620717"/>
                <a:gd name="connsiteX70" fmla="*/ 141287 w 514350"/>
                <a:gd name="connsiteY70" fmla="*/ 228600 h 620717"/>
                <a:gd name="connsiteX71" fmla="*/ 107950 w 514350"/>
                <a:gd name="connsiteY71" fmla="*/ 231775 h 620717"/>
                <a:gd name="connsiteX72" fmla="*/ 95250 w 514350"/>
                <a:gd name="connsiteY72" fmla="*/ 233362 h 620717"/>
                <a:gd name="connsiteX73" fmla="*/ 92075 w 514350"/>
                <a:gd name="connsiteY73" fmla="*/ 247650 h 620717"/>
                <a:gd name="connsiteX74" fmla="*/ 93662 w 514350"/>
                <a:gd name="connsiteY74" fmla="*/ 252412 h 620717"/>
                <a:gd name="connsiteX75" fmla="*/ 109537 w 514350"/>
                <a:gd name="connsiteY75" fmla="*/ 260350 h 620717"/>
                <a:gd name="connsiteX76" fmla="*/ 114300 w 514350"/>
                <a:gd name="connsiteY76" fmla="*/ 263525 h 620717"/>
                <a:gd name="connsiteX77" fmla="*/ 119062 w 514350"/>
                <a:gd name="connsiteY77" fmla="*/ 268287 h 620717"/>
                <a:gd name="connsiteX78" fmla="*/ 123825 w 514350"/>
                <a:gd name="connsiteY78" fmla="*/ 269875 h 620717"/>
                <a:gd name="connsiteX79" fmla="*/ 128587 w 514350"/>
                <a:gd name="connsiteY79" fmla="*/ 273050 h 620717"/>
                <a:gd name="connsiteX80" fmla="*/ 114300 w 514350"/>
                <a:gd name="connsiteY80" fmla="*/ 279400 h 620717"/>
                <a:gd name="connsiteX81" fmla="*/ 109537 w 514350"/>
                <a:gd name="connsiteY81" fmla="*/ 284162 h 620717"/>
                <a:gd name="connsiteX82" fmla="*/ 111125 w 514350"/>
                <a:gd name="connsiteY82" fmla="*/ 293687 h 620717"/>
                <a:gd name="connsiteX83" fmla="*/ 125412 w 514350"/>
                <a:gd name="connsiteY83" fmla="*/ 296862 h 620717"/>
                <a:gd name="connsiteX84" fmla="*/ 136525 w 514350"/>
                <a:gd name="connsiteY84" fmla="*/ 301625 h 620717"/>
                <a:gd name="connsiteX85" fmla="*/ 142875 w 514350"/>
                <a:gd name="connsiteY85" fmla="*/ 303212 h 620717"/>
                <a:gd name="connsiteX86" fmla="*/ 146050 w 514350"/>
                <a:gd name="connsiteY86" fmla="*/ 311150 h 620717"/>
                <a:gd name="connsiteX87" fmla="*/ 158750 w 514350"/>
                <a:gd name="connsiteY87" fmla="*/ 315912 h 620717"/>
                <a:gd name="connsiteX88" fmla="*/ 193675 w 514350"/>
                <a:gd name="connsiteY88" fmla="*/ 317500 h 620717"/>
                <a:gd name="connsiteX89" fmla="*/ 209550 w 514350"/>
                <a:gd name="connsiteY89" fmla="*/ 320675 h 620717"/>
                <a:gd name="connsiteX90" fmla="*/ 204787 w 514350"/>
                <a:gd name="connsiteY90" fmla="*/ 323850 h 620717"/>
                <a:gd name="connsiteX91" fmla="*/ 200025 w 514350"/>
                <a:gd name="connsiteY91" fmla="*/ 325437 h 620717"/>
                <a:gd name="connsiteX92" fmla="*/ 190500 w 514350"/>
                <a:gd name="connsiteY92" fmla="*/ 331787 h 620717"/>
                <a:gd name="connsiteX93" fmla="*/ 182562 w 514350"/>
                <a:gd name="connsiteY93" fmla="*/ 338137 h 620717"/>
                <a:gd name="connsiteX94" fmla="*/ 176212 w 514350"/>
                <a:gd name="connsiteY94" fmla="*/ 341312 h 620717"/>
                <a:gd name="connsiteX95" fmla="*/ 171450 w 514350"/>
                <a:gd name="connsiteY95" fmla="*/ 344487 h 620717"/>
                <a:gd name="connsiteX96" fmla="*/ 161925 w 514350"/>
                <a:gd name="connsiteY96" fmla="*/ 347662 h 620717"/>
                <a:gd name="connsiteX97" fmla="*/ 149225 w 514350"/>
                <a:gd name="connsiteY97" fmla="*/ 365125 h 620717"/>
                <a:gd name="connsiteX98" fmla="*/ 139700 w 514350"/>
                <a:gd name="connsiteY98" fmla="*/ 382587 h 620717"/>
                <a:gd name="connsiteX99" fmla="*/ 134937 w 514350"/>
                <a:gd name="connsiteY99" fmla="*/ 384175 h 620717"/>
                <a:gd name="connsiteX100" fmla="*/ 133350 w 514350"/>
                <a:gd name="connsiteY100" fmla="*/ 388937 h 620717"/>
                <a:gd name="connsiteX101" fmla="*/ 128587 w 514350"/>
                <a:gd name="connsiteY101" fmla="*/ 392112 h 620717"/>
                <a:gd name="connsiteX102" fmla="*/ 120650 w 514350"/>
                <a:gd name="connsiteY102" fmla="*/ 398462 h 620717"/>
                <a:gd name="connsiteX103" fmla="*/ 114300 w 514350"/>
                <a:gd name="connsiteY103" fmla="*/ 409575 h 620717"/>
                <a:gd name="connsiteX104" fmla="*/ 109537 w 514350"/>
                <a:gd name="connsiteY104" fmla="*/ 411162 h 620717"/>
                <a:gd name="connsiteX105" fmla="*/ 92075 w 514350"/>
                <a:gd name="connsiteY105" fmla="*/ 414337 h 620717"/>
                <a:gd name="connsiteX106" fmla="*/ 92075 w 514350"/>
                <a:gd name="connsiteY106" fmla="*/ 433387 h 620717"/>
                <a:gd name="connsiteX107" fmla="*/ 79375 w 514350"/>
                <a:gd name="connsiteY107" fmla="*/ 441325 h 620717"/>
                <a:gd name="connsiteX108" fmla="*/ 73025 w 514350"/>
                <a:gd name="connsiteY108" fmla="*/ 455612 h 620717"/>
                <a:gd name="connsiteX109" fmla="*/ 69850 w 514350"/>
                <a:gd name="connsiteY109" fmla="*/ 463550 h 620717"/>
                <a:gd name="connsiteX110" fmla="*/ 65087 w 514350"/>
                <a:gd name="connsiteY110" fmla="*/ 465137 h 620717"/>
                <a:gd name="connsiteX111" fmla="*/ 38100 w 514350"/>
                <a:gd name="connsiteY111" fmla="*/ 466725 h 620717"/>
                <a:gd name="connsiteX112" fmla="*/ 34925 w 514350"/>
                <a:gd name="connsiteY112" fmla="*/ 473075 h 620717"/>
                <a:gd name="connsiteX113" fmla="*/ 30162 w 514350"/>
                <a:gd name="connsiteY113" fmla="*/ 476250 h 620717"/>
                <a:gd name="connsiteX114" fmla="*/ 0 w 514350"/>
                <a:gd name="connsiteY114" fmla="*/ 477837 h 620717"/>
                <a:gd name="connsiteX115" fmla="*/ 4762 w 514350"/>
                <a:gd name="connsiteY115" fmla="*/ 484187 h 620717"/>
                <a:gd name="connsiteX116" fmla="*/ 23812 w 514350"/>
                <a:gd name="connsiteY116" fmla="*/ 485775 h 620717"/>
                <a:gd name="connsiteX117" fmla="*/ 30162 w 514350"/>
                <a:gd name="connsiteY117" fmla="*/ 487362 h 620717"/>
                <a:gd name="connsiteX118" fmla="*/ 39687 w 514350"/>
                <a:gd name="connsiteY118" fmla="*/ 488950 h 620717"/>
                <a:gd name="connsiteX119" fmla="*/ 33337 w 514350"/>
                <a:gd name="connsiteY119" fmla="*/ 492125 h 620717"/>
                <a:gd name="connsiteX120" fmla="*/ 25400 w 514350"/>
                <a:gd name="connsiteY120" fmla="*/ 493712 h 620717"/>
                <a:gd name="connsiteX121" fmla="*/ 19050 w 514350"/>
                <a:gd name="connsiteY121" fmla="*/ 495300 h 620717"/>
                <a:gd name="connsiteX122" fmla="*/ 14287 w 514350"/>
                <a:gd name="connsiteY122" fmla="*/ 498475 h 620717"/>
                <a:gd name="connsiteX123" fmla="*/ 4762 w 514350"/>
                <a:gd name="connsiteY123" fmla="*/ 503237 h 620717"/>
                <a:gd name="connsiteX124" fmla="*/ 3175 w 514350"/>
                <a:gd name="connsiteY124" fmla="*/ 508000 h 620717"/>
                <a:gd name="connsiteX125" fmla="*/ 4762 w 514350"/>
                <a:gd name="connsiteY125" fmla="*/ 530225 h 620717"/>
                <a:gd name="connsiteX126" fmla="*/ 11112 w 514350"/>
                <a:gd name="connsiteY126" fmla="*/ 533400 h 620717"/>
                <a:gd name="connsiteX127" fmla="*/ 20637 w 514350"/>
                <a:gd name="connsiteY127" fmla="*/ 534987 h 620717"/>
                <a:gd name="connsiteX128" fmla="*/ 26987 w 514350"/>
                <a:gd name="connsiteY128" fmla="*/ 536575 h 620717"/>
                <a:gd name="connsiteX129" fmla="*/ 39687 w 514350"/>
                <a:gd name="connsiteY129" fmla="*/ 542925 h 620717"/>
                <a:gd name="connsiteX130" fmla="*/ 44450 w 514350"/>
                <a:gd name="connsiteY130" fmla="*/ 546100 h 620717"/>
                <a:gd name="connsiteX131" fmla="*/ 58737 w 514350"/>
                <a:gd name="connsiteY131" fmla="*/ 547687 h 620717"/>
                <a:gd name="connsiteX132" fmla="*/ 47625 w 514350"/>
                <a:gd name="connsiteY132" fmla="*/ 555625 h 620717"/>
                <a:gd name="connsiteX133" fmla="*/ 30162 w 514350"/>
                <a:gd name="connsiteY133" fmla="*/ 558800 h 620717"/>
                <a:gd name="connsiteX134" fmla="*/ 7937 w 514350"/>
                <a:gd name="connsiteY134" fmla="*/ 563562 h 620717"/>
                <a:gd name="connsiteX135" fmla="*/ 7937 w 514350"/>
                <a:gd name="connsiteY135" fmla="*/ 576262 h 620717"/>
                <a:gd name="connsiteX136" fmla="*/ 17462 w 514350"/>
                <a:gd name="connsiteY136" fmla="*/ 577850 h 620717"/>
                <a:gd name="connsiteX137" fmla="*/ 39687 w 514350"/>
                <a:gd name="connsiteY137" fmla="*/ 581025 h 620717"/>
                <a:gd name="connsiteX138" fmla="*/ 47625 w 514350"/>
                <a:gd name="connsiteY138" fmla="*/ 582612 h 620717"/>
                <a:gd name="connsiteX139" fmla="*/ 61912 w 514350"/>
                <a:gd name="connsiteY139" fmla="*/ 584200 h 620717"/>
                <a:gd name="connsiteX140" fmla="*/ 66675 w 514350"/>
                <a:gd name="connsiteY140" fmla="*/ 587375 h 620717"/>
                <a:gd name="connsiteX141" fmla="*/ 53975 w 514350"/>
                <a:gd name="connsiteY141" fmla="*/ 593725 h 620717"/>
                <a:gd name="connsiteX142" fmla="*/ 52387 w 514350"/>
                <a:gd name="connsiteY142" fmla="*/ 601662 h 620717"/>
                <a:gd name="connsiteX143" fmla="*/ 50800 w 514350"/>
                <a:gd name="connsiteY143" fmla="*/ 606425 h 620717"/>
                <a:gd name="connsiteX144" fmla="*/ 55562 w 514350"/>
                <a:gd name="connsiteY144" fmla="*/ 614362 h 620717"/>
                <a:gd name="connsiteX145" fmla="*/ 79375 w 514350"/>
                <a:gd name="connsiteY145" fmla="*/ 609600 h 620717"/>
                <a:gd name="connsiteX146" fmla="*/ 123825 w 514350"/>
                <a:gd name="connsiteY146" fmla="*/ 612775 h 620717"/>
                <a:gd name="connsiteX147" fmla="*/ 130175 w 514350"/>
                <a:gd name="connsiteY147" fmla="*/ 617537 h 620717"/>
                <a:gd name="connsiteX148" fmla="*/ 144462 w 514350"/>
                <a:gd name="connsiteY148" fmla="*/ 620712 h 620717"/>
                <a:gd name="connsiteX149" fmla="*/ 173037 w 514350"/>
                <a:gd name="connsiteY149" fmla="*/ 617537 h 620717"/>
                <a:gd name="connsiteX150" fmla="*/ 180975 w 514350"/>
                <a:gd name="connsiteY150" fmla="*/ 614362 h 620717"/>
                <a:gd name="connsiteX151" fmla="*/ 187325 w 514350"/>
                <a:gd name="connsiteY151" fmla="*/ 609600 h 620717"/>
                <a:gd name="connsiteX152" fmla="*/ 196850 w 514350"/>
                <a:gd name="connsiteY152" fmla="*/ 606425 h 620717"/>
                <a:gd name="connsiteX153" fmla="*/ 198437 w 514350"/>
                <a:gd name="connsiteY153" fmla="*/ 600075 h 620717"/>
                <a:gd name="connsiteX154" fmla="*/ 203200 w 514350"/>
                <a:gd name="connsiteY154" fmla="*/ 595312 h 620717"/>
                <a:gd name="connsiteX155" fmla="*/ 215900 w 514350"/>
                <a:gd name="connsiteY155" fmla="*/ 581025 h 620717"/>
                <a:gd name="connsiteX156" fmla="*/ 230187 w 514350"/>
                <a:gd name="connsiteY156" fmla="*/ 582612 h 620717"/>
                <a:gd name="connsiteX157" fmla="*/ 238125 w 514350"/>
                <a:gd name="connsiteY157" fmla="*/ 584200 h 620717"/>
                <a:gd name="connsiteX158" fmla="*/ 261937 w 514350"/>
                <a:gd name="connsiteY158" fmla="*/ 581025 h 620717"/>
                <a:gd name="connsiteX159" fmla="*/ 263525 w 514350"/>
                <a:gd name="connsiteY159" fmla="*/ 576262 h 620717"/>
                <a:gd name="connsiteX160" fmla="*/ 266700 w 514350"/>
                <a:gd name="connsiteY160" fmla="*/ 582612 h 620717"/>
                <a:gd name="connsiteX161" fmla="*/ 277812 w 514350"/>
                <a:gd name="connsiteY161" fmla="*/ 590550 h 620717"/>
                <a:gd name="connsiteX162" fmla="*/ 279400 w 514350"/>
                <a:gd name="connsiteY162" fmla="*/ 579437 h 620717"/>
                <a:gd name="connsiteX163" fmla="*/ 287337 w 514350"/>
                <a:gd name="connsiteY163" fmla="*/ 571500 h 620717"/>
                <a:gd name="connsiteX164" fmla="*/ 290512 w 514350"/>
                <a:gd name="connsiteY164" fmla="*/ 566737 h 620717"/>
                <a:gd name="connsiteX165" fmla="*/ 311150 w 514350"/>
                <a:gd name="connsiteY165" fmla="*/ 558800 h 620717"/>
                <a:gd name="connsiteX166" fmla="*/ 354012 w 514350"/>
                <a:gd name="connsiteY166" fmla="*/ 554037 h 620717"/>
                <a:gd name="connsiteX167" fmla="*/ 360362 w 514350"/>
                <a:gd name="connsiteY167" fmla="*/ 561975 h 620717"/>
                <a:gd name="connsiteX168" fmla="*/ 365125 w 514350"/>
                <a:gd name="connsiteY168" fmla="*/ 563562 h 620717"/>
                <a:gd name="connsiteX169" fmla="*/ 366712 w 514350"/>
                <a:gd name="connsiteY169" fmla="*/ 557212 h 620717"/>
                <a:gd name="connsiteX170" fmla="*/ 368300 w 514350"/>
                <a:gd name="connsiteY170" fmla="*/ 552450 h 620717"/>
                <a:gd name="connsiteX171" fmla="*/ 377825 w 514350"/>
                <a:gd name="connsiteY171" fmla="*/ 557212 h 620717"/>
                <a:gd name="connsiteX172" fmla="*/ 382587 w 514350"/>
                <a:gd name="connsiteY172" fmla="*/ 563562 h 620717"/>
                <a:gd name="connsiteX173" fmla="*/ 404812 w 514350"/>
                <a:gd name="connsiteY173" fmla="*/ 565150 h 620717"/>
                <a:gd name="connsiteX174" fmla="*/ 414337 w 514350"/>
                <a:gd name="connsiteY174" fmla="*/ 571500 h 620717"/>
                <a:gd name="connsiteX175" fmla="*/ 419100 w 514350"/>
                <a:gd name="connsiteY175" fmla="*/ 574675 h 620717"/>
                <a:gd name="connsiteX176" fmla="*/ 436562 w 514350"/>
                <a:gd name="connsiteY176" fmla="*/ 573087 h 620717"/>
                <a:gd name="connsiteX177" fmla="*/ 434975 w 514350"/>
                <a:gd name="connsiteY177" fmla="*/ 566737 h 620717"/>
                <a:gd name="connsiteX178" fmla="*/ 430212 w 514350"/>
                <a:gd name="connsiteY178" fmla="*/ 546100 h 620717"/>
                <a:gd name="connsiteX179" fmla="*/ 433387 w 514350"/>
                <a:gd name="connsiteY179" fmla="*/ 531812 h 620717"/>
                <a:gd name="connsiteX180" fmla="*/ 446087 w 514350"/>
                <a:gd name="connsiteY180" fmla="*/ 525462 h 620717"/>
                <a:gd name="connsiteX181" fmla="*/ 452437 w 514350"/>
                <a:gd name="connsiteY181" fmla="*/ 519112 h 620717"/>
                <a:gd name="connsiteX182" fmla="*/ 463550 w 514350"/>
                <a:gd name="connsiteY182" fmla="*/ 514350 h 620717"/>
                <a:gd name="connsiteX183" fmla="*/ 465137 w 514350"/>
                <a:gd name="connsiteY183" fmla="*/ 508000 h 620717"/>
                <a:gd name="connsiteX184" fmla="*/ 466725 w 514350"/>
                <a:gd name="connsiteY184" fmla="*/ 485775 h 620717"/>
                <a:gd name="connsiteX185" fmla="*/ 482600 w 514350"/>
                <a:gd name="connsiteY185" fmla="*/ 474662 h 620717"/>
                <a:gd name="connsiteX186" fmla="*/ 495300 w 514350"/>
                <a:gd name="connsiteY186" fmla="*/ 458787 h 620717"/>
                <a:gd name="connsiteX187" fmla="*/ 501650 w 514350"/>
                <a:gd name="connsiteY187" fmla="*/ 438150 h 620717"/>
                <a:gd name="connsiteX188" fmla="*/ 506412 w 514350"/>
                <a:gd name="connsiteY188" fmla="*/ 433387 h 620717"/>
                <a:gd name="connsiteX189" fmla="*/ 506412 w 514350"/>
                <a:gd name="connsiteY189" fmla="*/ 401637 h 620717"/>
                <a:gd name="connsiteX190" fmla="*/ 501650 w 514350"/>
                <a:gd name="connsiteY190" fmla="*/ 398462 h 620717"/>
                <a:gd name="connsiteX191" fmla="*/ 498475 w 514350"/>
                <a:gd name="connsiteY191" fmla="*/ 392112 h 620717"/>
                <a:gd name="connsiteX192" fmla="*/ 503237 w 514350"/>
                <a:gd name="connsiteY192" fmla="*/ 360362 h 620717"/>
                <a:gd name="connsiteX193" fmla="*/ 508000 w 514350"/>
                <a:gd name="connsiteY193" fmla="*/ 355600 h 620717"/>
                <a:gd name="connsiteX194" fmla="*/ 514350 w 514350"/>
                <a:gd name="connsiteY194" fmla="*/ 346075 h 620717"/>
                <a:gd name="connsiteX195" fmla="*/ 511175 w 514350"/>
                <a:gd name="connsiteY195" fmla="*/ 331787 h 620717"/>
                <a:gd name="connsiteX196" fmla="*/ 506412 w 514350"/>
                <a:gd name="connsiteY196" fmla="*/ 327025 h 620717"/>
                <a:gd name="connsiteX197" fmla="*/ 504825 w 514350"/>
                <a:gd name="connsiteY197" fmla="*/ 315912 h 620717"/>
                <a:gd name="connsiteX198" fmla="*/ 508000 w 514350"/>
                <a:gd name="connsiteY198" fmla="*/ 290512 h 620717"/>
                <a:gd name="connsiteX199" fmla="*/ 506412 w 514350"/>
                <a:gd name="connsiteY199" fmla="*/ 282575 h 620717"/>
                <a:gd name="connsiteX200" fmla="*/ 495300 w 514350"/>
                <a:gd name="connsiteY200" fmla="*/ 276225 h 620717"/>
                <a:gd name="connsiteX201" fmla="*/ 496887 w 514350"/>
                <a:gd name="connsiteY201" fmla="*/ 268287 h 620717"/>
                <a:gd name="connsiteX202" fmla="*/ 501650 w 514350"/>
                <a:gd name="connsiteY202" fmla="*/ 266700 h 620717"/>
                <a:gd name="connsiteX203" fmla="*/ 506412 w 514350"/>
                <a:gd name="connsiteY203" fmla="*/ 263525 h 620717"/>
                <a:gd name="connsiteX204" fmla="*/ 509587 w 514350"/>
                <a:gd name="connsiteY204" fmla="*/ 258762 h 620717"/>
                <a:gd name="connsiteX205" fmla="*/ 511175 w 514350"/>
                <a:gd name="connsiteY205" fmla="*/ 254000 h 620717"/>
                <a:gd name="connsiteX206" fmla="*/ 514350 w 514350"/>
                <a:gd name="connsiteY206" fmla="*/ 246062 h 620717"/>
                <a:gd name="connsiteX207" fmla="*/ 512762 w 514350"/>
                <a:gd name="connsiteY207" fmla="*/ 239712 h 620717"/>
                <a:gd name="connsiteX208" fmla="*/ 496887 w 514350"/>
                <a:gd name="connsiteY208" fmla="*/ 239712 h 620717"/>
                <a:gd name="connsiteX209" fmla="*/ 492125 w 514350"/>
                <a:gd name="connsiteY209" fmla="*/ 241300 h 620717"/>
                <a:gd name="connsiteX210" fmla="*/ 485775 w 514350"/>
                <a:gd name="connsiteY210" fmla="*/ 244475 h 620717"/>
                <a:gd name="connsiteX211" fmla="*/ 481012 w 514350"/>
                <a:gd name="connsiteY211" fmla="*/ 234950 h 620717"/>
                <a:gd name="connsiteX212" fmla="*/ 479425 w 514350"/>
                <a:gd name="connsiteY212" fmla="*/ 222250 h 620717"/>
                <a:gd name="connsiteX213" fmla="*/ 477837 w 514350"/>
                <a:gd name="connsiteY213" fmla="*/ 215900 h 620717"/>
                <a:gd name="connsiteX214" fmla="*/ 473075 w 514350"/>
                <a:gd name="connsiteY214" fmla="*/ 190500 h 620717"/>
                <a:gd name="connsiteX215" fmla="*/ 468312 w 514350"/>
                <a:gd name="connsiteY215" fmla="*/ 176212 h 620717"/>
                <a:gd name="connsiteX216" fmla="*/ 458787 w 514350"/>
                <a:gd name="connsiteY216" fmla="*/ 171450 h 620717"/>
                <a:gd name="connsiteX217" fmla="*/ 449262 w 514350"/>
                <a:gd name="connsiteY217" fmla="*/ 173037 h 620717"/>
                <a:gd name="connsiteX218" fmla="*/ 438150 w 514350"/>
                <a:gd name="connsiteY218" fmla="*/ 182562 h 620717"/>
                <a:gd name="connsiteX219" fmla="*/ 434975 w 514350"/>
                <a:gd name="connsiteY219" fmla="*/ 188912 h 620717"/>
                <a:gd name="connsiteX220" fmla="*/ 428625 w 514350"/>
                <a:gd name="connsiteY220" fmla="*/ 196850 h 620717"/>
                <a:gd name="connsiteX221" fmla="*/ 417512 w 514350"/>
                <a:gd name="connsiteY221" fmla="*/ 206375 h 620717"/>
                <a:gd name="connsiteX222" fmla="*/ 412750 w 514350"/>
                <a:gd name="connsiteY222" fmla="*/ 207962 h 620717"/>
                <a:gd name="connsiteX223" fmla="*/ 401637 w 514350"/>
                <a:gd name="connsiteY223" fmla="*/ 206375 h 620717"/>
                <a:gd name="connsiteX224" fmla="*/ 395287 w 514350"/>
                <a:gd name="connsiteY224" fmla="*/ 200025 h 620717"/>
                <a:gd name="connsiteX225" fmla="*/ 390525 w 514350"/>
                <a:gd name="connsiteY225" fmla="*/ 196850 h 620717"/>
                <a:gd name="connsiteX226" fmla="*/ 385762 w 514350"/>
                <a:gd name="connsiteY226" fmla="*/ 190500 h 620717"/>
                <a:gd name="connsiteX227" fmla="*/ 368300 w 514350"/>
                <a:gd name="connsiteY227" fmla="*/ 171450 h 620717"/>
                <a:gd name="connsiteX228" fmla="*/ 363537 w 514350"/>
                <a:gd name="connsiteY228" fmla="*/ 160337 h 620717"/>
                <a:gd name="connsiteX229" fmla="*/ 358775 w 514350"/>
                <a:gd name="connsiteY229" fmla="*/ 157162 h 620717"/>
                <a:gd name="connsiteX230" fmla="*/ 349250 w 514350"/>
                <a:gd name="connsiteY230" fmla="*/ 144462 h 620717"/>
                <a:gd name="connsiteX231" fmla="*/ 346075 w 514350"/>
                <a:gd name="connsiteY231" fmla="*/ 138112 h 620717"/>
                <a:gd name="connsiteX232" fmla="*/ 350837 w 514350"/>
                <a:gd name="connsiteY232" fmla="*/ 128587 h 620717"/>
                <a:gd name="connsiteX233" fmla="*/ 357187 w 514350"/>
                <a:gd name="connsiteY233" fmla="*/ 127000 h 620717"/>
                <a:gd name="connsiteX234" fmla="*/ 368300 w 514350"/>
                <a:gd name="connsiteY234" fmla="*/ 125412 h 620717"/>
                <a:gd name="connsiteX235" fmla="*/ 374650 w 514350"/>
                <a:gd name="connsiteY235" fmla="*/ 123825 h 620717"/>
                <a:gd name="connsiteX236" fmla="*/ 384175 w 514350"/>
                <a:gd name="connsiteY236" fmla="*/ 120650 h 620717"/>
                <a:gd name="connsiteX237" fmla="*/ 392112 w 514350"/>
                <a:gd name="connsiteY237" fmla="*/ 111125 h 620717"/>
                <a:gd name="connsiteX238" fmla="*/ 388937 w 514350"/>
                <a:gd name="connsiteY238" fmla="*/ 100012 h 620717"/>
                <a:gd name="connsiteX239" fmla="*/ 390525 w 514350"/>
                <a:gd name="connsiteY239" fmla="*/ 93662 h 620717"/>
                <a:gd name="connsiteX240" fmla="*/ 401637 w 514350"/>
                <a:gd name="connsiteY240" fmla="*/ 95250 h 620717"/>
                <a:gd name="connsiteX241" fmla="*/ 423862 w 514350"/>
                <a:gd name="connsiteY241" fmla="*/ 93662 h 620717"/>
                <a:gd name="connsiteX242" fmla="*/ 430212 w 514350"/>
                <a:gd name="connsiteY242" fmla="*/ 87312 h 620717"/>
                <a:gd name="connsiteX243" fmla="*/ 431800 w 514350"/>
                <a:gd name="connsiteY243" fmla="*/ 61912 h 620717"/>
                <a:gd name="connsiteX244" fmla="*/ 427037 w 514350"/>
                <a:gd name="connsiteY244" fmla="*/ 57150 h 620717"/>
                <a:gd name="connsiteX245" fmla="*/ 427037 w 514350"/>
                <a:gd name="connsiteY245" fmla="*/ 47625 h 620717"/>
                <a:gd name="connsiteX246" fmla="*/ 428625 w 514350"/>
                <a:gd name="connsiteY246" fmla="*/ 30162 h 620717"/>
                <a:gd name="connsiteX247" fmla="*/ 451852 w 514350"/>
                <a:gd name="connsiteY247" fmla="*/ 72772 h 620717"/>
                <a:gd name="connsiteX248" fmla="*/ 439737 w 514350"/>
                <a:gd name="connsiteY248" fmla="*/ 42862 h 620717"/>
                <a:gd name="connsiteX249" fmla="*/ 442912 w 514350"/>
                <a:gd name="connsiteY249" fmla="*/ 49212 h 620717"/>
                <a:gd name="connsiteX250" fmla="*/ 455612 w 514350"/>
                <a:gd name="connsiteY250" fmla="*/ 69850 h 620717"/>
                <a:gd name="connsiteX251" fmla="*/ 461962 w 514350"/>
                <a:gd name="connsiteY251" fmla="*/ 68262 h 620717"/>
                <a:gd name="connsiteX252" fmla="*/ 466725 w 514350"/>
                <a:gd name="connsiteY252" fmla="*/ 61912 h 620717"/>
                <a:gd name="connsiteX253" fmla="*/ 492125 w 514350"/>
                <a:gd name="connsiteY253" fmla="*/ 53975 h 620717"/>
                <a:gd name="connsiteX254" fmla="*/ 496887 w 514350"/>
                <a:gd name="connsiteY254" fmla="*/ 49212 h 620717"/>
                <a:gd name="connsiteX255" fmla="*/ 500062 w 514350"/>
                <a:gd name="connsiteY255" fmla="*/ 41275 h 620717"/>
                <a:gd name="connsiteX256" fmla="*/ 496887 w 514350"/>
                <a:gd name="connsiteY256"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27037 w 514350"/>
                <a:gd name="connsiteY9" fmla="*/ 19050 h 620717"/>
                <a:gd name="connsiteX10" fmla="*/ 409575 w 514350"/>
                <a:gd name="connsiteY10" fmla="*/ 14287 h 620717"/>
                <a:gd name="connsiteX11" fmla="*/ 401637 w 514350"/>
                <a:gd name="connsiteY11" fmla="*/ 12700 h 620717"/>
                <a:gd name="connsiteX12" fmla="*/ 352425 w 514350"/>
                <a:gd name="connsiteY12" fmla="*/ 19050 h 620717"/>
                <a:gd name="connsiteX13" fmla="*/ 350837 w 514350"/>
                <a:gd name="connsiteY13" fmla="*/ 23812 h 620717"/>
                <a:gd name="connsiteX14" fmla="*/ 352425 w 514350"/>
                <a:gd name="connsiteY14" fmla="*/ 38100 h 620717"/>
                <a:gd name="connsiteX15" fmla="*/ 357187 w 514350"/>
                <a:gd name="connsiteY15" fmla="*/ 44450 h 620717"/>
                <a:gd name="connsiteX16" fmla="*/ 349250 w 514350"/>
                <a:gd name="connsiteY16" fmla="*/ 58737 h 620717"/>
                <a:gd name="connsiteX17" fmla="*/ 328612 w 514350"/>
                <a:gd name="connsiteY17" fmla="*/ 60325 h 620717"/>
                <a:gd name="connsiteX18" fmla="*/ 307975 w 514350"/>
                <a:gd name="connsiteY18" fmla="*/ 68262 h 620717"/>
                <a:gd name="connsiteX19" fmla="*/ 295275 w 514350"/>
                <a:gd name="connsiteY19" fmla="*/ 73025 h 620717"/>
                <a:gd name="connsiteX20" fmla="*/ 292100 w 514350"/>
                <a:gd name="connsiteY20" fmla="*/ 77787 h 620717"/>
                <a:gd name="connsiteX21" fmla="*/ 296862 w 514350"/>
                <a:gd name="connsiteY21" fmla="*/ 79375 h 620717"/>
                <a:gd name="connsiteX22" fmla="*/ 311150 w 514350"/>
                <a:gd name="connsiteY22" fmla="*/ 82550 h 620717"/>
                <a:gd name="connsiteX23" fmla="*/ 319087 w 514350"/>
                <a:gd name="connsiteY23" fmla="*/ 87312 h 620717"/>
                <a:gd name="connsiteX24" fmla="*/ 323850 w 514350"/>
                <a:gd name="connsiteY24" fmla="*/ 88900 h 620717"/>
                <a:gd name="connsiteX25" fmla="*/ 336550 w 514350"/>
                <a:gd name="connsiteY25" fmla="*/ 103187 h 620717"/>
                <a:gd name="connsiteX26" fmla="*/ 334962 w 514350"/>
                <a:gd name="connsiteY26" fmla="*/ 114300 h 620717"/>
                <a:gd name="connsiteX27" fmla="*/ 330200 w 514350"/>
                <a:gd name="connsiteY27" fmla="*/ 115887 h 620717"/>
                <a:gd name="connsiteX28" fmla="*/ 315912 w 514350"/>
                <a:gd name="connsiteY28" fmla="*/ 130175 h 620717"/>
                <a:gd name="connsiteX29" fmla="*/ 307975 w 514350"/>
                <a:gd name="connsiteY29" fmla="*/ 131762 h 620717"/>
                <a:gd name="connsiteX30" fmla="*/ 300037 w 514350"/>
                <a:gd name="connsiteY30" fmla="*/ 134937 h 620717"/>
                <a:gd name="connsiteX31" fmla="*/ 296862 w 514350"/>
                <a:gd name="connsiteY31" fmla="*/ 142875 h 620717"/>
                <a:gd name="connsiteX32" fmla="*/ 282575 w 514350"/>
                <a:gd name="connsiteY32" fmla="*/ 157162 h 620717"/>
                <a:gd name="connsiteX33" fmla="*/ 273050 w 514350"/>
                <a:gd name="connsiteY33" fmla="*/ 153987 h 620717"/>
                <a:gd name="connsiteX34" fmla="*/ 261937 w 514350"/>
                <a:gd name="connsiteY34" fmla="*/ 147637 h 620717"/>
                <a:gd name="connsiteX35" fmla="*/ 242887 w 514350"/>
                <a:gd name="connsiteY35" fmla="*/ 149225 h 620717"/>
                <a:gd name="connsiteX36" fmla="*/ 236537 w 514350"/>
                <a:gd name="connsiteY36" fmla="*/ 150812 h 620717"/>
                <a:gd name="connsiteX37" fmla="*/ 231775 w 514350"/>
                <a:gd name="connsiteY37" fmla="*/ 142875 h 620717"/>
                <a:gd name="connsiteX38" fmla="*/ 225425 w 514350"/>
                <a:gd name="connsiteY38" fmla="*/ 123825 h 620717"/>
                <a:gd name="connsiteX39" fmla="*/ 219075 w 514350"/>
                <a:gd name="connsiteY39" fmla="*/ 122237 h 620717"/>
                <a:gd name="connsiteX40" fmla="*/ 204787 w 514350"/>
                <a:gd name="connsiteY40" fmla="*/ 120650 h 620717"/>
                <a:gd name="connsiteX41" fmla="*/ 190500 w 514350"/>
                <a:gd name="connsiteY41" fmla="*/ 117475 h 620717"/>
                <a:gd name="connsiteX42" fmla="*/ 182562 w 514350"/>
                <a:gd name="connsiteY42" fmla="*/ 111125 h 620717"/>
                <a:gd name="connsiteX43" fmla="*/ 174625 w 514350"/>
                <a:gd name="connsiteY43" fmla="*/ 104775 h 620717"/>
                <a:gd name="connsiteX44" fmla="*/ 152400 w 514350"/>
                <a:gd name="connsiteY44" fmla="*/ 106362 h 620717"/>
                <a:gd name="connsiteX45" fmla="*/ 150812 w 514350"/>
                <a:gd name="connsiteY45" fmla="*/ 117475 h 620717"/>
                <a:gd name="connsiteX46" fmla="*/ 133350 w 514350"/>
                <a:gd name="connsiteY46" fmla="*/ 120650 h 620717"/>
                <a:gd name="connsiteX47" fmla="*/ 138112 w 514350"/>
                <a:gd name="connsiteY47" fmla="*/ 123825 h 620717"/>
                <a:gd name="connsiteX48" fmla="*/ 139700 w 514350"/>
                <a:gd name="connsiteY48" fmla="*/ 128587 h 620717"/>
                <a:gd name="connsiteX49" fmla="*/ 146050 w 514350"/>
                <a:gd name="connsiteY49" fmla="*/ 131762 h 620717"/>
                <a:gd name="connsiteX50" fmla="*/ 147637 w 514350"/>
                <a:gd name="connsiteY50" fmla="*/ 138112 h 620717"/>
                <a:gd name="connsiteX51" fmla="*/ 123825 w 514350"/>
                <a:gd name="connsiteY51" fmla="*/ 146050 h 620717"/>
                <a:gd name="connsiteX52" fmla="*/ 117475 w 514350"/>
                <a:gd name="connsiteY52" fmla="*/ 155575 h 620717"/>
                <a:gd name="connsiteX53" fmla="*/ 112712 w 514350"/>
                <a:gd name="connsiteY53" fmla="*/ 157162 h 620717"/>
                <a:gd name="connsiteX54" fmla="*/ 125412 w 514350"/>
                <a:gd name="connsiteY54" fmla="*/ 161925 h 620717"/>
                <a:gd name="connsiteX55" fmla="*/ 130175 w 514350"/>
                <a:gd name="connsiteY55" fmla="*/ 163512 h 620717"/>
                <a:gd name="connsiteX56" fmla="*/ 142875 w 514350"/>
                <a:gd name="connsiteY56" fmla="*/ 166687 h 620717"/>
                <a:gd name="connsiteX57" fmla="*/ 147637 w 514350"/>
                <a:gd name="connsiteY57" fmla="*/ 173037 h 620717"/>
                <a:gd name="connsiteX58" fmla="*/ 152400 w 514350"/>
                <a:gd name="connsiteY58" fmla="*/ 177800 h 620717"/>
                <a:gd name="connsiteX59" fmla="*/ 146050 w 514350"/>
                <a:gd name="connsiteY59" fmla="*/ 179387 h 620717"/>
                <a:gd name="connsiteX60" fmla="*/ 149225 w 514350"/>
                <a:gd name="connsiteY60" fmla="*/ 185737 h 620717"/>
                <a:gd name="connsiteX61" fmla="*/ 153987 w 514350"/>
                <a:gd name="connsiteY61" fmla="*/ 187325 h 620717"/>
                <a:gd name="connsiteX62" fmla="*/ 168275 w 514350"/>
                <a:gd name="connsiteY62" fmla="*/ 190500 h 620717"/>
                <a:gd name="connsiteX63" fmla="*/ 165100 w 514350"/>
                <a:gd name="connsiteY63" fmla="*/ 198437 h 620717"/>
                <a:gd name="connsiteX64" fmla="*/ 160337 w 514350"/>
                <a:gd name="connsiteY64" fmla="*/ 200025 h 620717"/>
                <a:gd name="connsiteX65" fmla="*/ 139700 w 514350"/>
                <a:gd name="connsiteY65" fmla="*/ 196850 h 620717"/>
                <a:gd name="connsiteX66" fmla="*/ 153987 w 514350"/>
                <a:gd name="connsiteY66" fmla="*/ 211137 h 620717"/>
                <a:gd name="connsiteX67" fmla="*/ 152400 w 514350"/>
                <a:gd name="connsiteY67" fmla="*/ 217487 h 620717"/>
                <a:gd name="connsiteX68" fmla="*/ 138112 w 514350"/>
                <a:gd name="connsiteY68" fmla="*/ 219075 h 620717"/>
                <a:gd name="connsiteX69" fmla="*/ 142875 w 514350"/>
                <a:gd name="connsiteY69" fmla="*/ 223837 h 620717"/>
                <a:gd name="connsiteX70" fmla="*/ 141287 w 514350"/>
                <a:gd name="connsiteY70" fmla="*/ 228600 h 620717"/>
                <a:gd name="connsiteX71" fmla="*/ 107950 w 514350"/>
                <a:gd name="connsiteY71" fmla="*/ 231775 h 620717"/>
                <a:gd name="connsiteX72" fmla="*/ 95250 w 514350"/>
                <a:gd name="connsiteY72" fmla="*/ 233362 h 620717"/>
                <a:gd name="connsiteX73" fmla="*/ 92075 w 514350"/>
                <a:gd name="connsiteY73" fmla="*/ 247650 h 620717"/>
                <a:gd name="connsiteX74" fmla="*/ 93662 w 514350"/>
                <a:gd name="connsiteY74" fmla="*/ 252412 h 620717"/>
                <a:gd name="connsiteX75" fmla="*/ 109537 w 514350"/>
                <a:gd name="connsiteY75" fmla="*/ 260350 h 620717"/>
                <a:gd name="connsiteX76" fmla="*/ 114300 w 514350"/>
                <a:gd name="connsiteY76" fmla="*/ 263525 h 620717"/>
                <a:gd name="connsiteX77" fmla="*/ 119062 w 514350"/>
                <a:gd name="connsiteY77" fmla="*/ 268287 h 620717"/>
                <a:gd name="connsiteX78" fmla="*/ 123825 w 514350"/>
                <a:gd name="connsiteY78" fmla="*/ 269875 h 620717"/>
                <a:gd name="connsiteX79" fmla="*/ 128587 w 514350"/>
                <a:gd name="connsiteY79" fmla="*/ 273050 h 620717"/>
                <a:gd name="connsiteX80" fmla="*/ 114300 w 514350"/>
                <a:gd name="connsiteY80" fmla="*/ 279400 h 620717"/>
                <a:gd name="connsiteX81" fmla="*/ 109537 w 514350"/>
                <a:gd name="connsiteY81" fmla="*/ 284162 h 620717"/>
                <a:gd name="connsiteX82" fmla="*/ 111125 w 514350"/>
                <a:gd name="connsiteY82" fmla="*/ 293687 h 620717"/>
                <a:gd name="connsiteX83" fmla="*/ 125412 w 514350"/>
                <a:gd name="connsiteY83" fmla="*/ 296862 h 620717"/>
                <a:gd name="connsiteX84" fmla="*/ 136525 w 514350"/>
                <a:gd name="connsiteY84" fmla="*/ 301625 h 620717"/>
                <a:gd name="connsiteX85" fmla="*/ 142875 w 514350"/>
                <a:gd name="connsiteY85" fmla="*/ 303212 h 620717"/>
                <a:gd name="connsiteX86" fmla="*/ 146050 w 514350"/>
                <a:gd name="connsiteY86" fmla="*/ 311150 h 620717"/>
                <a:gd name="connsiteX87" fmla="*/ 158750 w 514350"/>
                <a:gd name="connsiteY87" fmla="*/ 315912 h 620717"/>
                <a:gd name="connsiteX88" fmla="*/ 193675 w 514350"/>
                <a:gd name="connsiteY88" fmla="*/ 317500 h 620717"/>
                <a:gd name="connsiteX89" fmla="*/ 209550 w 514350"/>
                <a:gd name="connsiteY89" fmla="*/ 320675 h 620717"/>
                <a:gd name="connsiteX90" fmla="*/ 204787 w 514350"/>
                <a:gd name="connsiteY90" fmla="*/ 323850 h 620717"/>
                <a:gd name="connsiteX91" fmla="*/ 200025 w 514350"/>
                <a:gd name="connsiteY91" fmla="*/ 325437 h 620717"/>
                <a:gd name="connsiteX92" fmla="*/ 190500 w 514350"/>
                <a:gd name="connsiteY92" fmla="*/ 331787 h 620717"/>
                <a:gd name="connsiteX93" fmla="*/ 182562 w 514350"/>
                <a:gd name="connsiteY93" fmla="*/ 338137 h 620717"/>
                <a:gd name="connsiteX94" fmla="*/ 176212 w 514350"/>
                <a:gd name="connsiteY94" fmla="*/ 341312 h 620717"/>
                <a:gd name="connsiteX95" fmla="*/ 171450 w 514350"/>
                <a:gd name="connsiteY95" fmla="*/ 344487 h 620717"/>
                <a:gd name="connsiteX96" fmla="*/ 161925 w 514350"/>
                <a:gd name="connsiteY96" fmla="*/ 347662 h 620717"/>
                <a:gd name="connsiteX97" fmla="*/ 149225 w 514350"/>
                <a:gd name="connsiteY97" fmla="*/ 365125 h 620717"/>
                <a:gd name="connsiteX98" fmla="*/ 139700 w 514350"/>
                <a:gd name="connsiteY98" fmla="*/ 382587 h 620717"/>
                <a:gd name="connsiteX99" fmla="*/ 134937 w 514350"/>
                <a:gd name="connsiteY99" fmla="*/ 384175 h 620717"/>
                <a:gd name="connsiteX100" fmla="*/ 133350 w 514350"/>
                <a:gd name="connsiteY100" fmla="*/ 388937 h 620717"/>
                <a:gd name="connsiteX101" fmla="*/ 128587 w 514350"/>
                <a:gd name="connsiteY101" fmla="*/ 392112 h 620717"/>
                <a:gd name="connsiteX102" fmla="*/ 120650 w 514350"/>
                <a:gd name="connsiteY102" fmla="*/ 398462 h 620717"/>
                <a:gd name="connsiteX103" fmla="*/ 114300 w 514350"/>
                <a:gd name="connsiteY103" fmla="*/ 409575 h 620717"/>
                <a:gd name="connsiteX104" fmla="*/ 109537 w 514350"/>
                <a:gd name="connsiteY104" fmla="*/ 411162 h 620717"/>
                <a:gd name="connsiteX105" fmla="*/ 92075 w 514350"/>
                <a:gd name="connsiteY105" fmla="*/ 414337 h 620717"/>
                <a:gd name="connsiteX106" fmla="*/ 92075 w 514350"/>
                <a:gd name="connsiteY106" fmla="*/ 433387 h 620717"/>
                <a:gd name="connsiteX107" fmla="*/ 79375 w 514350"/>
                <a:gd name="connsiteY107" fmla="*/ 441325 h 620717"/>
                <a:gd name="connsiteX108" fmla="*/ 73025 w 514350"/>
                <a:gd name="connsiteY108" fmla="*/ 455612 h 620717"/>
                <a:gd name="connsiteX109" fmla="*/ 69850 w 514350"/>
                <a:gd name="connsiteY109" fmla="*/ 463550 h 620717"/>
                <a:gd name="connsiteX110" fmla="*/ 65087 w 514350"/>
                <a:gd name="connsiteY110" fmla="*/ 465137 h 620717"/>
                <a:gd name="connsiteX111" fmla="*/ 38100 w 514350"/>
                <a:gd name="connsiteY111" fmla="*/ 466725 h 620717"/>
                <a:gd name="connsiteX112" fmla="*/ 34925 w 514350"/>
                <a:gd name="connsiteY112" fmla="*/ 473075 h 620717"/>
                <a:gd name="connsiteX113" fmla="*/ 30162 w 514350"/>
                <a:gd name="connsiteY113" fmla="*/ 476250 h 620717"/>
                <a:gd name="connsiteX114" fmla="*/ 0 w 514350"/>
                <a:gd name="connsiteY114" fmla="*/ 477837 h 620717"/>
                <a:gd name="connsiteX115" fmla="*/ 4762 w 514350"/>
                <a:gd name="connsiteY115" fmla="*/ 484187 h 620717"/>
                <a:gd name="connsiteX116" fmla="*/ 23812 w 514350"/>
                <a:gd name="connsiteY116" fmla="*/ 485775 h 620717"/>
                <a:gd name="connsiteX117" fmla="*/ 30162 w 514350"/>
                <a:gd name="connsiteY117" fmla="*/ 487362 h 620717"/>
                <a:gd name="connsiteX118" fmla="*/ 39687 w 514350"/>
                <a:gd name="connsiteY118" fmla="*/ 488950 h 620717"/>
                <a:gd name="connsiteX119" fmla="*/ 33337 w 514350"/>
                <a:gd name="connsiteY119" fmla="*/ 492125 h 620717"/>
                <a:gd name="connsiteX120" fmla="*/ 25400 w 514350"/>
                <a:gd name="connsiteY120" fmla="*/ 493712 h 620717"/>
                <a:gd name="connsiteX121" fmla="*/ 19050 w 514350"/>
                <a:gd name="connsiteY121" fmla="*/ 495300 h 620717"/>
                <a:gd name="connsiteX122" fmla="*/ 14287 w 514350"/>
                <a:gd name="connsiteY122" fmla="*/ 498475 h 620717"/>
                <a:gd name="connsiteX123" fmla="*/ 4762 w 514350"/>
                <a:gd name="connsiteY123" fmla="*/ 503237 h 620717"/>
                <a:gd name="connsiteX124" fmla="*/ 3175 w 514350"/>
                <a:gd name="connsiteY124" fmla="*/ 508000 h 620717"/>
                <a:gd name="connsiteX125" fmla="*/ 4762 w 514350"/>
                <a:gd name="connsiteY125" fmla="*/ 530225 h 620717"/>
                <a:gd name="connsiteX126" fmla="*/ 11112 w 514350"/>
                <a:gd name="connsiteY126" fmla="*/ 533400 h 620717"/>
                <a:gd name="connsiteX127" fmla="*/ 20637 w 514350"/>
                <a:gd name="connsiteY127" fmla="*/ 534987 h 620717"/>
                <a:gd name="connsiteX128" fmla="*/ 26987 w 514350"/>
                <a:gd name="connsiteY128" fmla="*/ 536575 h 620717"/>
                <a:gd name="connsiteX129" fmla="*/ 39687 w 514350"/>
                <a:gd name="connsiteY129" fmla="*/ 542925 h 620717"/>
                <a:gd name="connsiteX130" fmla="*/ 44450 w 514350"/>
                <a:gd name="connsiteY130" fmla="*/ 546100 h 620717"/>
                <a:gd name="connsiteX131" fmla="*/ 58737 w 514350"/>
                <a:gd name="connsiteY131" fmla="*/ 547687 h 620717"/>
                <a:gd name="connsiteX132" fmla="*/ 47625 w 514350"/>
                <a:gd name="connsiteY132" fmla="*/ 555625 h 620717"/>
                <a:gd name="connsiteX133" fmla="*/ 30162 w 514350"/>
                <a:gd name="connsiteY133" fmla="*/ 558800 h 620717"/>
                <a:gd name="connsiteX134" fmla="*/ 7937 w 514350"/>
                <a:gd name="connsiteY134" fmla="*/ 563562 h 620717"/>
                <a:gd name="connsiteX135" fmla="*/ 7937 w 514350"/>
                <a:gd name="connsiteY135" fmla="*/ 576262 h 620717"/>
                <a:gd name="connsiteX136" fmla="*/ 17462 w 514350"/>
                <a:gd name="connsiteY136" fmla="*/ 577850 h 620717"/>
                <a:gd name="connsiteX137" fmla="*/ 39687 w 514350"/>
                <a:gd name="connsiteY137" fmla="*/ 581025 h 620717"/>
                <a:gd name="connsiteX138" fmla="*/ 47625 w 514350"/>
                <a:gd name="connsiteY138" fmla="*/ 582612 h 620717"/>
                <a:gd name="connsiteX139" fmla="*/ 61912 w 514350"/>
                <a:gd name="connsiteY139" fmla="*/ 584200 h 620717"/>
                <a:gd name="connsiteX140" fmla="*/ 66675 w 514350"/>
                <a:gd name="connsiteY140" fmla="*/ 587375 h 620717"/>
                <a:gd name="connsiteX141" fmla="*/ 53975 w 514350"/>
                <a:gd name="connsiteY141" fmla="*/ 593725 h 620717"/>
                <a:gd name="connsiteX142" fmla="*/ 52387 w 514350"/>
                <a:gd name="connsiteY142" fmla="*/ 601662 h 620717"/>
                <a:gd name="connsiteX143" fmla="*/ 50800 w 514350"/>
                <a:gd name="connsiteY143" fmla="*/ 606425 h 620717"/>
                <a:gd name="connsiteX144" fmla="*/ 55562 w 514350"/>
                <a:gd name="connsiteY144" fmla="*/ 614362 h 620717"/>
                <a:gd name="connsiteX145" fmla="*/ 79375 w 514350"/>
                <a:gd name="connsiteY145" fmla="*/ 609600 h 620717"/>
                <a:gd name="connsiteX146" fmla="*/ 123825 w 514350"/>
                <a:gd name="connsiteY146" fmla="*/ 612775 h 620717"/>
                <a:gd name="connsiteX147" fmla="*/ 130175 w 514350"/>
                <a:gd name="connsiteY147" fmla="*/ 617537 h 620717"/>
                <a:gd name="connsiteX148" fmla="*/ 144462 w 514350"/>
                <a:gd name="connsiteY148" fmla="*/ 620712 h 620717"/>
                <a:gd name="connsiteX149" fmla="*/ 173037 w 514350"/>
                <a:gd name="connsiteY149" fmla="*/ 617537 h 620717"/>
                <a:gd name="connsiteX150" fmla="*/ 180975 w 514350"/>
                <a:gd name="connsiteY150" fmla="*/ 614362 h 620717"/>
                <a:gd name="connsiteX151" fmla="*/ 187325 w 514350"/>
                <a:gd name="connsiteY151" fmla="*/ 609600 h 620717"/>
                <a:gd name="connsiteX152" fmla="*/ 196850 w 514350"/>
                <a:gd name="connsiteY152" fmla="*/ 606425 h 620717"/>
                <a:gd name="connsiteX153" fmla="*/ 198437 w 514350"/>
                <a:gd name="connsiteY153" fmla="*/ 600075 h 620717"/>
                <a:gd name="connsiteX154" fmla="*/ 203200 w 514350"/>
                <a:gd name="connsiteY154" fmla="*/ 595312 h 620717"/>
                <a:gd name="connsiteX155" fmla="*/ 215900 w 514350"/>
                <a:gd name="connsiteY155" fmla="*/ 581025 h 620717"/>
                <a:gd name="connsiteX156" fmla="*/ 230187 w 514350"/>
                <a:gd name="connsiteY156" fmla="*/ 582612 h 620717"/>
                <a:gd name="connsiteX157" fmla="*/ 238125 w 514350"/>
                <a:gd name="connsiteY157" fmla="*/ 584200 h 620717"/>
                <a:gd name="connsiteX158" fmla="*/ 261937 w 514350"/>
                <a:gd name="connsiteY158" fmla="*/ 581025 h 620717"/>
                <a:gd name="connsiteX159" fmla="*/ 263525 w 514350"/>
                <a:gd name="connsiteY159" fmla="*/ 576262 h 620717"/>
                <a:gd name="connsiteX160" fmla="*/ 266700 w 514350"/>
                <a:gd name="connsiteY160" fmla="*/ 582612 h 620717"/>
                <a:gd name="connsiteX161" fmla="*/ 277812 w 514350"/>
                <a:gd name="connsiteY161" fmla="*/ 590550 h 620717"/>
                <a:gd name="connsiteX162" fmla="*/ 279400 w 514350"/>
                <a:gd name="connsiteY162" fmla="*/ 579437 h 620717"/>
                <a:gd name="connsiteX163" fmla="*/ 287337 w 514350"/>
                <a:gd name="connsiteY163" fmla="*/ 571500 h 620717"/>
                <a:gd name="connsiteX164" fmla="*/ 290512 w 514350"/>
                <a:gd name="connsiteY164" fmla="*/ 566737 h 620717"/>
                <a:gd name="connsiteX165" fmla="*/ 311150 w 514350"/>
                <a:gd name="connsiteY165" fmla="*/ 558800 h 620717"/>
                <a:gd name="connsiteX166" fmla="*/ 354012 w 514350"/>
                <a:gd name="connsiteY166" fmla="*/ 554037 h 620717"/>
                <a:gd name="connsiteX167" fmla="*/ 360362 w 514350"/>
                <a:gd name="connsiteY167" fmla="*/ 561975 h 620717"/>
                <a:gd name="connsiteX168" fmla="*/ 365125 w 514350"/>
                <a:gd name="connsiteY168" fmla="*/ 563562 h 620717"/>
                <a:gd name="connsiteX169" fmla="*/ 366712 w 514350"/>
                <a:gd name="connsiteY169" fmla="*/ 557212 h 620717"/>
                <a:gd name="connsiteX170" fmla="*/ 368300 w 514350"/>
                <a:gd name="connsiteY170" fmla="*/ 552450 h 620717"/>
                <a:gd name="connsiteX171" fmla="*/ 377825 w 514350"/>
                <a:gd name="connsiteY171" fmla="*/ 557212 h 620717"/>
                <a:gd name="connsiteX172" fmla="*/ 382587 w 514350"/>
                <a:gd name="connsiteY172" fmla="*/ 563562 h 620717"/>
                <a:gd name="connsiteX173" fmla="*/ 404812 w 514350"/>
                <a:gd name="connsiteY173" fmla="*/ 565150 h 620717"/>
                <a:gd name="connsiteX174" fmla="*/ 414337 w 514350"/>
                <a:gd name="connsiteY174" fmla="*/ 571500 h 620717"/>
                <a:gd name="connsiteX175" fmla="*/ 419100 w 514350"/>
                <a:gd name="connsiteY175" fmla="*/ 574675 h 620717"/>
                <a:gd name="connsiteX176" fmla="*/ 436562 w 514350"/>
                <a:gd name="connsiteY176" fmla="*/ 573087 h 620717"/>
                <a:gd name="connsiteX177" fmla="*/ 434975 w 514350"/>
                <a:gd name="connsiteY177" fmla="*/ 566737 h 620717"/>
                <a:gd name="connsiteX178" fmla="*/ 430212 w 514350"/>
                <a:gd name="connsiteY178" fmla="*/ 546100 h 620717"/>
                <a:gd name="connsiteX179" fmla="*/ 433387 w 514350"/>
                <a:gd name="connsiteY179" fmla="*/ 531812 h 620717"/>
                <a:gd name="connsiteX180" fmla="*/ 446087 w 514350"/>
                <a:gd name="connsiteY180" fmla="*/ 525462 h 620717"/>
                <a:gd name="connsiteX181" fmla="*/ 452437 w 514350"/>
                <a:gd name="connsiteY181" fmla="*/ 519112 h 620717"/>
                <a:gd name="connsiteX182" fmla="*/ 463550 w 514350"/>
                <a:gd name="connsiteY182" fmla="*/ 514350 h 620717"/>
                <a:gd name="connsiteX183" fmla="*/ 465137 w 514350"/>
                <a:gd name="connsiteY183" fmla="*/ 508000 h 620717"/>
                <a:gd name="connsiteX184" fmla="*/ 466725 w 514350"/>
                <a:gd name="connsiteY184" fmla="*/ 485775 h 620717"/>
                <a:gd name="connsiteX185" fmla="*/ 482600 w 514350"/>
                <a:gd name="connsiteY185" fmla="*/ 474662 h 620717"/>
                <a:gd name="connsiteX186" fmla="*/ 495300 w 514350"/>
                <a:gd name="connsiteY186" fmla="*/ 458787 h 620717"/>
                <a:gd name="connsiteX187" fmla="*/ 501650 w 514350"/>
                <a:gd name="connsiteY187" fmla="*/ 438150 h 620717"/>
                <a:gd name="connsiteX188" fmla="*/ 506412 w 514350"/>
                <a:gd name="connsiteY188" fmla="*/ 433387 h 620717"/>
                <a:gd name="connsiteX189" fmla="*/ 506412 w 514350"/>
                <a:gd name="connsiteY189" fmla="*/ 401637 h 620717"/>
                <a:gd name="connsiteX190" fmla="*/ 501650 w 514350"/>
                <a:gd name="connsiteY190" fmla="*/ 398462 h 620717"/>
                <a:gd name="connsiteX191" fmla="*/ 498475 w 514350"/>
                <a:gd name="connsiteY191" fmla="*/ 392112 h 620717"/>
                <a:gd name="connsiteX192" fmla="*/ 503237 w 514350"/>
                <a:gd name="connsiteY192" fmla="*/ 360362 h 620717"/>
                <a:gd name="connsiteX193" fmla="*/ 508000 w 514350"/>
                <a:gd name="connsiteY193" fmla="*/ 355600 h 620717"/>
                <a:gd name="connsiteX194" fmla="*/ 514350 w 514350"/>
                <a:gd name="connsiteY194" fmla="*/ 346075 h 620717"/>
                <a:gd name="connsiteX195" fmla="*/ 511175 w 514350"/>
                <a:gd name="connsiteY195" fmla="*/ 331787 h 620717"/>
                <a:gd name="connsiteX196" fmla="*/ 506412 w 514350"/>
                <a:gd name="connsiteY196" fmla="*/ 327025 h 620717"/>
                <a:gd name="connsiteX197" fmla="*/ 504825 w 514350"/>
                <a:gd name="connsiteY197" fmla="*/ 315912 h 620717"/>
                <a:gd name="connsiteX198" fmla="*/ 508000 w 514350"/>
                <a:gd name="connsiteY198" fmla="*/ 290512 h 620717"/>
                <a:gd name="connsiteX199" fmla="*/ 506412 w 514350"/>
                <a:gd name="connsiteY199" fmla="*/ 282575 h 620717"/>
                <a:gd name="connsiteX200" fmla="*/ 495300 w 514350"/>
                <a:gd name="connsiteY200" fmla="*/ 276225 h 620717"/>
                <a:gd name="connsiteX201" fmla="*/ 496887 w 514350"/>
                <a:gd name="connsiteY201" fmla="*/ 268287 h 620717"/>
                <a:gd name="connsiteX202" fmla="*/ 501650 w 514350"/>
                <a:gd name="connsiteY202" fmla="*/ 266700 h 620717"/>
                <a:gd name="connsiteX203" fmla="*/ 506412 w 514350"/>
                <a:gd name="connsiteY203" fmla="*/ 263525 h 620717"/>
                <a:gd name="connsiteX204" fmla="*/ 509587 w 514350"/>
                <a:gd name="connsiteY204" fmla="*/ 258762 h 620717"/>
                <a:gd name="connsiteX205" fmla="*/ 511175 w 514350"/>
                <a:gd name="connsiteY205" fmla="*/ 254000 h 620717"/>
                <a:gd name="connsiteX206" fmla="*/ 514350 w 514350"/>
                <a:gd name="connsiteY206" fmla="*/ 246062 h 620717"/>
                <a:gd name="connsiteX207" fmla="*/ 512762 w 514350"/>
                <a:gd name="connsiteY207" fmla="*/ 239712 h 620717"/>
                <a:gd name="connsiteX208" fmla="*/ 496887 w 514350"/>
                <a:gd name="connsiteY208" fmla="*/ 239712 h 620717"/>
                <a:gd name="connsiteX209" fmla="*/ 492125 w 514350"/>
                <a:gd name="connsiteY209" fmla="*/ 241300 h 620717"/>
                <a:gd name="connsiteX210" fmla="*/ 485775 w 514350"/>
                <a:gd name="connsiteY210" fmla="*/ 244475 h 620717"/>
                <a:gd name="connsiteX211" fmla="*/ 481012 w 514350"/>
                <a:gd name="connsiteY211" fmla="*/ 234950 h 620717"/>
                <a:gd name="connsiteX212" fmla="*/ 479425 w 514350"/>
                <a:gd name="connsiteY212" fmla="*/ 222250 h 620717"/>
                <a:gd name="connsiteX213" fmla="*/ 477837 w 514350"/>
                <a:gd name="connsiteY213" fmla="*/ 215900 h 620717"/>
                <a:gd name="connsiteX214" fmla="*/ 473075 w 514350"/>
                <a:gd name="connsiteY214" fmla="*/ 190500 h 620717"/>
                <a:gd name="connsiteX215" fmla="*/ 468312 w 514350"/>
                <a:gd name="connsiteY215" fmla="*/ 176212 h 620717"/>
                <a:gd name="connsiteX216" fmla="*/ 458787 w 514350"/>
                <a:gd name="connsiteY216" fmla="*/ 171450 h 620717"/>
                <a:gd name="connsiteX217" fmla="*/ 449262 w 514350"/>
                <a:gd name="connsiteY217" fmla="*/ 173037 h 620717"/>
                <a:gd name="connsiteX218" fmla="*/ 438150 w 514350"/>
                <a:gd name="connsiteY218" fmla="*/ 182562 h 620717"/>
                <a:gd name="connsiteX219" fmla="*/ 434975 w 514350"/>
                <a:gd name="connsiteY219" fmla="*/ 188912 h 620717"/>
                <a:gd name="connsiteX220" fmla="*/ 428625 w 514350"/>
                <a:gd name="connsiteY220" fmla="*/ 196850 h 620717"/>
                <a:gd name="connsiteX221" fmla="*/ 417512 w 514350"/>
                <a:gd name="connsiteY221" fmla="*/ 206375 h 620717"/>
                <a:gd name="connsiteX222" fmla="*/ 412750 w 514350"/>
                <a:gd name="connsiteY222" fmla="*/ 207962 h 620717"/>
                <a:gd name="connsiteX223" fmla="*/ 401637 w 514350"/>
                <a:gd name="connsiteY223" fmla="*/ 206375 h 620717"/>
                <a:gd name="connsiteX224" fmla="*/ 395287 w 514350"/>
                <a:gd name="connsiteY224" fmla="*/ 200025 h 620717"/>
                <a:gd name="connsiteX225" fmla="*/ 390525 w 514350"/>
                <a:gd name="connsiteY225" fmla="*/ 196850 h 620717"/>
                <a:gd name="connsiteX226" fmla="*/ 385762 w 514350"/>
                <a:gd name="connsiteY226" fmla="*/ 190500 h 620717"/>
                <a:gd name="connsiteX227" fmla="*/ 368300 w 514350"/>
                <a:gd name="connsiteY227" fmla="*/ 171450 h 620717"/>
                <a:gd name="connsiteX228" fmla="*/ 363537 w 514350"/>
                <a:gd name="connsiteY228" fmla="*/ 160337 h 620717"/>
                <a:gd name="connsiteX229" fmla="*/ 358775 w 514350"/>
                <a:gd name="connsiteY229" fmla="*/ 157162 h 620717"/>
                <a:gd name="connsiteX230" fmla="*/ 349250 w 514350"/>
                <a:gd name="connsiteY230" fmla="*/ 144462 h 620717"/>
                <a:gd name="connsiteX231" fmla="*/ 346075 w 514350"/>
                <a:gd name="connsiteY231" fmla="*/ 138112 h 620717"/>
                <a:gd name="connsiteX232" fmla="*/ 350837 w 514350"/>
                <a:gd name="connsiteY232" fmla="*/ 128587 h 620717"/>
                <a:gd name="connsiteX233" fmla="*/ 357187 w 514350"/>
                <a:gd name="connsiteY233" fmla="*/ 127000 h 620717"/>
                <a:gd name="connsiteX234" fmla="*/ 368300 w 514350"/>
                <a:gd name="connsiteY234" fmla="*/ 125412 h 620717"/>
                <a:gd name="connsiteX235" fmla="*/ 374650 w 514350"/>
                <a:gd name="connsiteY235" fmla="*/ 123825 h 620717"/>
                <a:gd name="connsiteX236" fmla="*/ 384175 w 514350"/>
                <a:gd name="connsiteY236" fmla="*/ 120650 h 620717"/>
                <a:gd name="connsiteX237" fmla="*/ 392112 w 514350"/>
                <a:gd name="connsiteY237" fmla="*/ 111125 h 620717"/>
                <a:gd name="connsiteX238" fmla="*/ 388937 w 514350"/>
                <a:gd name="connsiteY238" fmla="*/ 100012 h 620717"/>
                <a:gd name="connsiteX239" fmla="*/ 390525 w 514350"/>
                <a:gd name="connsiteY239" fmla="*/ 93662 h 620717"/>
                <a:gd name="connsiteX240" fmla="*/ 401637 w 514350"/>
                <a:gd name="connsiteY240" fmla="*/ 95250 h 620717"/>
                <a:gd name="connsiteX241" fmla="*/ 423862 w 514350"/>
                <a:gd name="connsiteY241" fmla="*/ 93662 h 620717"/>
                <a:gd name="connsiteX242" fmla="*/ 430212 w 514350"/>
                <a:gd name="connsiteY242" fmla="*/ 87312 h 620717"/>
                <a:gd name="connsiteX243" fmla="*/ 431800 w 514350"/>
                <a:gd name="connsiteY243" fmla="*/ 61912 h 620717"/>
                <a:gd name="connsiteX244" fmla="*/ 427037 w 514350"/>
                <a:gd name="connsiteY244" fmla="*/ 57150 h 620717"/>
                <a:gd name="connsiteX245" fmla="*/ 427037 w 514350"/>
                <a:gd name="connsiteY245" fmla="*/ 47625 h 620717"/>
                <a:gd name="connsiteX246" fmla="*/ 428625 w 514350"/>
                <a:gd name="connsiteY246" fmla="*/ 30162 h 620717"/>
                <a:gd name="connsiteX247" fmla="*/ 451852 w 514350"/>
                <a:gd name="connsiteY247" fmla="*/ 72772 h 620717"/>
                <a:gd name="connsiteX248" fmla="*/ 439737 w 514350"/>
                <a:gd name="connsiteY248" fmla="*/ 79845 h 620717"/>
                <a:gd name="connsiteX249" fmla="*/ 442912 w 514350"/>
                <a:gd name="connsiteY249" fmla="*/ 49212 h 620717"/>
                <a:gd name="connsiteX250" fmla="*/ 455612 w 514350"/>
                <a:gd name="connsiteY250" fmla="*/ 69850 h 620717"/>
                <a:gd name="connsiteX251" fmla="*/ 461962 w 514350"/>
                <a:gd name="connsiteY251" fmla="*/ 68262 h 620717"/>
                <a:gd name="connsiteX252" fmla="*/ 466725 w 514350"/>
                <a:gd name="connsiteY252" fmla="*/ 61912 h 620717"/>
                <a:gd name="connsiteX253" fmla="*/ 492125 w 514350"/>
                <a:gd name="connsiteY253" fmla="*/ 53975 h 620717"/>
                <a:gd name="connsiteX254" fmla="*/ 496887 w 514350"/>
                <a:gd name="connsiteY254" fmla="*/ 49212 h 620717"/>
                <a:gd name="connsiteX255" fmla="*/ 500062 w 514350"/>
                <a:gd name="connsiteY255" fmla="*/ 41275 h 620717"/>
                <a:gd name="connsiteX256" fmla="*/ 496887 w 514350"/>
                <a:gd name="connsiteY256"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27037 w 514350"/>
                <a:gd name="connsiteY9" fmla="*/ 19050 h 620717"/>
                <a:gd name="connsiteX10" fmla="*/ 409575 w 514350"/>
                <a:gd name="connsiteY10" fmla="*/ 14287 h 620717"/>
                <a:gd name="connsiteX11" fmla="*/ 401637 w 514350"/>
                <a:gd name="connsiteY11" fmla="*/ 12700 h 620717"/>
                <a:gd name="connsiteX12" fmla="*/ 352425 w 514350"/>
                <a:gd name="connsiteY12" fmla="*/ 19050 h 620717"/>
                <a:gd name="connsiteX13" fmla="*/ 350837 w 514350"/>
                <a:gd name="connsiteY13" fmla="*/ 23812 h 620717"/>
                <a:gd name="connsiteX14" fmla="*/ 352425 w 514350"/>
                <a:gd name="connsiteY14" fmla="*/ 38100 h 620717"/>
                <a:gd name="connsiteX15" fmla="*/ 357187 w 514350"/>
                <a:gd name="connsiteY15" fmla="*/ 44450 h 620717"/>
                <a:gd name="connsiteX16" fmla="*/ 349250 w 514350"/>
                <a:gd name="connsiteY16" fmla="*/ 58737 h 620717"/>
                <a:gd name="connsiteX17" fmla="*/ 328612 w 514350"/>
                <a:gd name="connsiteY17" fmla="*/ 60325 h 620717"/>
                <a:gd name="connsiteX18" fmla="*/ 307975 w 514350"/>
                <a:gd name="connsiteY18" fmla="*/ 68262 h 620717"/>
                <a:gd name="connsiteX19" fmla="*/ 295275 w 514350"/>
                <a:gd name="connsiteY19" fmla="*/ 73025 h 620717"/>
                <a:gd name="connsiteX20" fmla="*/ 292100 w 514350"/>
                <a:gd name="connsiteY20" fmla="*/ 77787 h 620717"/>
                <a:gd name="connsiteX21" fmla="*/ 296862 w 514350"/>
                <a:gd name="connsiteY21" fmla="*/ 79375 h 620717"/>
                <a:gd name="connsiteX22" fmla="*/ 311150 w 514350"/>
                <a:gd name="connsiteY22" fmla="*/ 82550 h 620717"/>
                <a:gd name="connsiteX23" fmla="*/ 319087 w 514350"/>
                <a:gd name="connsiteY23" fmla="*/ 87312 h 620717"/>
                <a:gd name="connsiteX24" fmla="*/ 323850 w 514350"/>
                <a:gd name="connsiteY24" fmla="*/ 88900 h 620717"/>
                <a:gd name="connsiteX25" fmla="*/ 336550 w 514350"/>
                <a:gd name="connsiteY25" fmla="*/ 103187 h 620717"/>
                <a:gd name="connsiteX26" fmla="*/ 334962 w 514350"/>
                <a:gd name="connsiteY26" fmla="*/ 114300 h 620717"/>
                <a:gd name="connsiteX27" fmla="*/ 330200 w 514350"/>
                <a:gd name="connsiteY27" fmla="*/ 115887 h 620717"/>
                <a:gd name="connsiteX28" fmla="*/ 315912 w 514350"/>
                <a:gd name="connsiteY28" fmla="*/ 130175 h 620717"/>
                <a:gd name="connsiteX29" fmla="*/ 307975 w 514350"/>
                <a:gd name="connsiteY29" fmla="*/ 131762 h 620717"/>
                <a:gd name="connsiteX30" fmla="*/ 300037 w 514350"/>
                <a:gd name="connsiteY30" fmla="*/ 134937 h 620717"/>
                <a:gd name="connsiteX31" fmla="*/ 296862 w 514350"/>
                <a:gd name="connsiteY31" fmla="*/ 142875 h 620717"/>
                <a:gd name="connsiteX32" fmla="*/ 282575 w 514350"/>
                <a:gd name="connsiteY32" fmla="*/ 157162 h 620717"/>
                <a:gd name="connsiteX33" fmla="*/ 273050 w 514350"/>
                <a:gd name="connsiteY33" fmla="*/ 153987 h 620717"/>
                <a:gd name="connsiteX34" fmla="*/ 261937 w 514350"/>
                <a:gd name="connsiteY34" fmla="*/ 147637 h 620717"/>
                <a:gd name="connsiteX35" fmla="*/ 242887 w 514350"/>
                <a:gd name="connsiteY35" fmla="*/ 149225 h 620717"/>
                <a:gd name="connsiteX36" fmla="*/ 236537 w 514350"/>
                <a:gd name="connsiteY36" fmla="*/ 150812 h 620717"/>
                <a:gd name="connsiteX37" fmla="*/ 231775 w 514350"/>
                <a:gd name="connsiteY37" fmla="*/ 142875 h 620717"/>
                <a:gd name="connsiteX38" fmla="*/ 225425 w 514350"/>
                <a:gd name="connsiteY38" fmla="*/ 123825 h 620717"/>
                <a:gd name="connsiteX39" fmla="*/ 219075 w 514350"/>
                <a:gd name="connsiteY39" fmla="*/ 122237 h 620717"/>
                <a:gd name="connsiteX40" fmla="*/ 204787 w 514350"/>
                <a:gd name="connsiteY40" fmla="*/ 120650 h 620717"/>
                <a:gd name="connsiteX41" fmla="*/ 190500 w 514350"/>
                <a:gd name="connsiteY41" fmla="*/ 117475 h 620717"/>
                <a:gd name="connsiteX42" fmla="*/ 182562 w 514350"/>
                <a:gd name="connsiteY42" fmla="*/ 111125 h 620717"/>
                <a:gd name="connsiteX43" fmla="*/ 174625 w 514350"/>
                <a:gd name="connsiteY43" fmla="*/ 104775 h 620717"/>
                <a:gd name="connsiteX44" fmla="*/ 152400 w 514350"/>
                <a:gd name="connsiteY44" fmla="*/ 106362 h 620717"/>
                <a:gd name="connsiteX45" fmla="*/ 150812 w 514350"/>
                <a:gd name="connsiteY45" fmla="*/ 117475 h 620717"/>
                <a:gd name="connsiteX46" fmla="*/ 133350 w 514350"/>
                <a:gd name="connsiteY46" fmla="*/ 120650 h 620717"/>
                <a:gd name="connsiteX47" fmla="*/ 138112 w 514350"/>
                <a:gd name="connsiteY47" fmla="*/ 123825 h 620717"/>
                <a:gd name="connsiteX48" fmla="*/ 139700 w 514350"/>
                <a:gd name="connsiteY48" fmla="*/ 128587 h 620717"/>
                <a:gd name="connsiteX49" fmla="*/ 146050 w 514350"/>
                <a:gd name="connsiteY49" fmla="*/ 131762 h 620717"/>
                <a:gd name="connsiteX50" fmla="*/ 147637 w 514350"/>
                <a:gd name="connsiteY50" fmla="*/ 138112 h 620717"/>
                <a:gd name="connsiteX51" fmla="*/ 123825 w 514350"/>
                <a:gd name="connsiteY51" fmla="*/ 146050 h 620717"/>
                <a:gd name="connsiteX52" fmla="*/ 117475 w 514350"/>
                <a:gd name="connsiteY52" fmla="*/ 155575 h 620717"/>
                <a:gd name="connsiteX53" fmla="*/ 112712 w 514350"/>
                <a:gd name="connsiteY53" fmla="*/ 157162 h 620717"/>
                <a:gd name="connsiteX54" fmla="*/ 125412 w 514350"/>
                <a:gd name="connsiteY54" fmla="*/ 161925 h 620717"/>
                <a:gd name="connsiteX55" fmla="*/ 130175 w 514350"/>
                <a:gd name="connsiteY55" fmla="*/ 163512 h 620717"/>
                <a:gd name="connsiteX56" fmla="*/ 142875 w 514350"/>
                <a:gd name="connsiteY56" fmla="*/ 166687 h 620717"/>
                <a:gd name="connsiteX57" fmla="*/ 147637 w 514350"/>
                <a:gd name="connsiteY57" fmla="*/ 173037 h 620717"/>
                <a:gd name="connsiteX58" fmla="*/ 152400 w 514350"/>
                <a:gd name="connsiteY58" fmla="*/ 177800 h 620717"/>
                <a:gd name="connsiteX59" fmla="*/ 146050 w 514350"/>
                <a:gd name="connsiteY59" fmla="*/ 179387 h 620717"/>
                <a:gd name="connsiteX60" fmla="*/ 149225 w 514350"/>
                <a:gd name="connsiteY60" fmla="*/ 185737 h 620717"/>
                <a:gd name="connsiteX61" fmla="*/ 153987 w 514350"/>
                <a:gd name="connsiteY61" fmla="*/ 187325 h 620717"/>
                <a:gd name="connsiteX62" fmla="*/ 168275 w 514350"/>
                <a:gd name="connsiteY62" fmla="*/ 190500 h 620717"/>
                <a:gd name="connsiteX63" fmla="*/ 165100 w 514350"/>
                <a:gd name="connsiteY63" fmla="*/ 198437 h 620717"/>
                <a:gd name="connsiteX64" fmla="*/ 160337 w 514350"/>
                <a:gd name="connsiteY64" fmla="*/ 200025 h 620717"/>
                <a:gd name="connsiteX65" fmla="*/ 139700 w 514350"/>
                <a:gd name="connsiteY65" fmla="*/ 196850 h 620717"/>
                <a:gd name="connsiteX66" fmla="*/ 153987 w 514350"/>
                <a:gd name="connsiteY66" fmla="*/ 211137 h 620717"/>
                <a:gd name="connsiteX67" fmla="*/ 152400 w 514350"/>
                <a:gd name="connsiteY67" fmla="*/ 217487 h 620717"/>
                <a:gd name="connsiteX68" fmla="*/ 138112 w 514350"/>
                <a:gd name="connsiteY68" fmla="*/ 219075 h 620717"/>
                <a:gd name="connsiteX69" fmla="*/ 142875 w 514350"/>
                <a:gd name="connsiteY69" fmla="*/ 223837 h 620717"/>
                <a:gd name="connsiteX70" fmla="*/ 141287 w 514350"/>
                <a:gd name="connsiteY70" fmla="*/ 228600 h 620717"/>
                <a:gd name="connsiteX71" fmla="*/ 107950 w 514350"/>
                <a:gd name="connsiteY71" fmla="*/ 231775 h 620717"/>
                <a:gd name="connsiteX72" fmla="*/ 95250 w 514350"/>
                <a:gd name="connsiteY72" fmla="*/ 233362 h 620717"/>
                <a:gd name="connsiteX73" fmla="*/ 92075 w 514350"/>
                <a:gd name="connsiteY73" fmla="*/ 247650 h 620717"/>
                <a:gd name="connsiteX74" fmla="*/ 93662 w 514350"/>
                <a:gd name="connsiteY74" fmla="*/ 252412 h 620717"/>
                <a:gd name="connsiteX75" fmla="*/ 109537 w 514350"/>
                <a:gd name="connsiteY75" fmla="*/ 260350 h 620717"/>
                <a:gd name="connsiteX76" fmla="*/ 114300 w 514350"/>
                <a:gd name="connsiteY76" fmla="*/ 263525 h 620717"/>
                <a:gd name="connsiteX77" fmla="*/ 119062 w 514350"/>
                <a:gd name="connsiteY77" fmla="*/ 268287 h 620717"/>
                <a:gd name="connsiteX78" fmla="*/ 123825 w 514350"/>
                <a:gd name="connsiteY78" fmla="*/ 269875 h 620717"/>
                <a:gd name="connsiteX79" fmla="*/ 128587 w 514350"/>
                <a:gd name="connsiteY79" fmla="*/ 273050 h 620717"/>
                <a:gd name="connsiteX80" fmla="*/ 114300 w 514350"/>
                <a:gd name="connsiteY80" fmla="*/ 279400 h 620717"/>
                <a:gd name="connsiteX81" fmla="*/ 109537 w 514350"/>
                <a:gd name="connsiteY81" fmla="*/ 284162 h 620717"/>
                <a:gd name="connsiteX82" fmla="*/ 111125 w 514350"/>
                <a:gd name="connsiteY82" fmla="*/ 293687 h 620717"/>
                <a:gd name="connsiteX83" fmla="*/ 125412 w 514350"/>
                <a:gd name="connsiteY83" fmla="*/ 296862 h 620717"/>
                <a:gd name="connsiteX84" fmla="*/ 136525 w 514350"/>
                <a:gd name="connsiteY84" fmla="*/ 301625 h 620717"/>
                <a:gd name="connsiteX85" fmla="*/ 142875 w 514350"/>
                <a:gd name="connsiteY85" fmla="*/ 303212 h 620717"/>
                <a:gd name="connsiteX86" fmla="*/ 146050 w 514350"/>
                <a:gd name="connsiteY86" fmla="*/ 311150 h 620717"/>
                <a:gd name="connsiteX87" fmla="*/ 158750 w 514350"/>
                <a:gd name="connsiteY87" fmla="*/ 315912 h 620717"/>
                <a:gd name="connsiteX88" fmla="*/ 193675 w 514350"/>
                <a:gd name="connsiteY88" fmla="*/ 317500 h 620717"/>
                <a:gd name="connsiteX89" fmla="*/ 209550 w 514350"/>
                <a:gd name="connsiteY89" fmla="*/ 320675 h 620717"/>
                <a:gd name="connsiteX90" fmla="*/ 204787 w 514350"/>
                <a:gd name="connsiteY90" fmla="*/ 323850 h 620717"/>
                <a:gd name="connsiteX91" fmla="*/ 200025 w 514350"/>
                <a:gd name="connsiteY91" fmla="*/ 325437 h 620717"/>
                <a:gd name="connsiteX92" fmla="*/ 190500 w 514350"/>
                <a:gd name="connsiteY92" fmla="*/ 331787 h 620717"/>
                <a:gd name="connsiteX93" fmla="*/ 182562 w 514350"/>
                <a:gd name="connsiteY93" fmla="*/ 338137 h 620717"/>
                <a:gd name="connsiteX94" fmla="*/ 176212 w 514350"/>
                <a:gd name="connsiteY94" fmla="*/ 341312 h 620717"/>
                <a:gd name="connsiteX95" fmla="*/ 171450 w 514350"/>
                <a:gd name="connsiteY95" fmla="*/ 344487 h 620717"/>
                <a:gd name="connsiteX96" fmla="*/ 161925 w 514350"/>
                <a:gd name="connsiteY96" fmla="*/ 347662 h 620717"/>
                <a:gd name="connsiteX97" fmla="*/ 149225 w 514350"/>
                <a:gd name="connsiteY97" fmla="*/ 365125 h 620717"/>
                <a:gd name="connsiteX98" fmla="*/ 139700 w 514350"/>
                <a:gd name="connsiteY98" fmla="*/ 382587 h 620717"/>
                <a:gd name="connsiteX99" fmla="*/ 134937 w 514350"/>
                <a:gd name="connsiteY99" fmla="*/ 384175 h 620717"/>
                <a:gd name="connsiteX100" fmla="*/ 133350 w 514350"/>
                <a:gd name="connsiteY100" fmla="*/ 388937 h 620717"/>
                <a:gd name="connsiteX101" fmla="*/ 128587 w 514350"/>
                <a:gd name="connsiteY101" fmla="*/ 392112 h 620717"/>
                <a:gd name="connsiteX102" fmla="*/ 120650 w 514350"/>
                <a:gd name="connsiteY102" fmla="*/ 398462 h 620717"/>
                <a:gd name="connsiteX103" fmla="*/ 114300 w 514350"/>
                <a:gd name="connsiteY103" fmla="*/ 409575 h 620717"/>
                <a:gd name="connsiteX104" fmla="*/ 109537 w 514350"/>
                <a:gd name="connsiteY104" fmla="*/ 411162 h 620717"/>
                <a:gd name="connsiteX105" fmla="*/ 92075 w 514350"/>
                <a:gd name="connsiteY105" fmla="*/ 414337 h 620717"/>
                <a:gd name="connsiteX106" fmla="*/ 92075 w 514350"/>
                <a:gd name="connsiteY106" fmla="*/ 433387 h 620717"/>
                <a:gd name="connsiteX107" fmla="*/ 79375 w 514350"/>
                <a:gd name="connsiteY107" fmla="*/ 441325 h 620717"/>
                <a:gd name="connsiteX108" fmla="*/ 73025 w 514350"/>
                <a:gd name="connsiteY108" fmla="*/ 455612 h 620717"/>
                <a:gd name="connsiteX109" fmla="*/ 69850 w 514350"/>
                <a:gd name="connsiteY109" fmla="*/ 463550 h 620717"/>
                <a:gd name="connsiteX110" fmla="*/ 65087 w 514350"/>
                <a:gd name="connsiteY110" fmla="*/ 465137 h 620717"/>
                <a:gd name="connsiteX111" fmla="*/ 38100 w 514350"/>
                <a:gd name="connsiteY111" fmla="*/ 466725 h 620717"/>
                <a:gd name="connsiteX112" fmla="*/ 34925 w 514350"/>
                <a:gd name="connsiteY112" fmla="*/ 473075 h 620717"/>
                <a:gd name="connsiteX113" fmla="*/ 30162 w 514350"/>
                <a:gd name="connsiteY113" fmla="*/ 476250 h 620717"/>
                <a:gd name="connsiteX114" fmla="*/ 0 w 514350"/>
                <a:gd name="connsiteY114" fmla="*/ 477837 h 620717"/>
                <a:gd name="connsiteX115" fmla="*/ 4762 w 514350"/>
                <a:gd name="connsiteY115" fmla="*/ 484187 h 620717"/>
                <a:gd name="connsiteX116" fmla="*/ 23812 w 514350"/>
                <a:gd name="connsiteY116" fmla="*/ 485775 h 620717"/>
                <a:gd name="connsiteX117" fmla="*/ 30162 w 514350"/>
                <a:gd name="connsiteY117" fmla="*/ 487362 h 620717"/>
                <a:gd name="connsiteX118" fmla="*/ 39687 w 514350"/>
                <a:gd name="connsiteY118" fmla="*/ 488950 h 620717"/>
                <a:gd name="connsiteX119" fmla="*/ 33337 w 514350"/>
                <a:gd name="connsiteY119" fmla="*/ 492125 h 620717"/>
                <a:gd name="connsiteX120" fmla="*/ 25400 w 514350"/>
                <a:gd name="connsiteY120" fmla="*/ 493712 h 620717"/>
                <a:gd name="connsiteX121" fmla="*/ 19050 w 514350"/>
                <a:gd name="connsiteY121" fmla="*/ 495300 h 620717"/>
                <a:gd name="connsiteX122" fmla="*/ 14287 w 514350"/>
                <a:gd name="connsiteY122" fmla="*/ 498475 h 620717"/>
                <a:gd name="connsiteX123" fmla="*/ 4762 w 514350"/>
                <a:gd name="connsiteY123" fmla="*/ 503237 h 620717"/>
                <a:gd name="connsiteX124" fmla="*/ 3175 w 514350"/>
                <a:gd name="connsiteY124" fmla="*/ 508000 h 620717"/>
                <a:gd name="connsiteX125" fmla="*/ 4762 w 514350"/>
                <a:gd name="connsiteY125" fmla="*/ 530225 h 620717"/>
                <a:gd name="connsiteX126" fmla="*/ 11112 w 514350"/>
                <a:gd name="connsiteY126" fmla="*/ 533400 h 620717"/>
                <a:gd name="connsiteX127" fmla="*/ 20637 w 514350"/>
                <a:gd name="connsiteY127" fmla="*/ 534987 h 620717"/>
                <a:gd name="connsiteX128" fmla="*/ 26987 w 514350"/>
                <a:gd name="connsiteY128" fmla="*/ 536575 h 620717"/>
                <a:gd name="connsiteX129" fmla="*/ 39687 w 514350"/>
                <a:gd name="connsiteY129" fmla="*/ 542925 h 620717"/>
                <a:gd name="connsiteX130" fmla="*/ 44450 w 514350"/>
                <a:gd name="connsiteY130" fmla="*/ 546100 h 620717"/>
                <a:gd name="connsiteX131" fmla="*/ 58737 w 514350"/>
                <a:gd name="connsiteY131" fmla="*/ 547687 h 620717"/>
                <a:gd name="connsiteX132" fmla="*/ 47625 w 514350"/>
                <a:gd name="connsiteY132" fmla="*/ 555625 h 620717"/>
                <a:gd name="connsiteX133" fmla="*/ 30162 w 514350"/>
                <a:gd name="connsiteY133" fmla="*/ 558800 h 620717"/>
                <a:gd name="connsiteX134" fmla="*/ 7937 w 514350"/>
                <a:gd name="connsiteY134" fmla="*/ 563562 h 620717"/>
                <a:gd name="connsiteX135" fmla="*/ 7937 w 514350"/>
                <a:gd name="connsiteY135" fmla="*/ 576262 h 620717"/>
                <a:gd name="connsiteX136" fmla="*/ 17462 w 514350"/>
                <a:gd name="connsiteY136" fmla="*/ 577850 h 620717"/>
                <a:gd name="connsiteX137" fmla="*/ 39687 w 514350"/>
                <a:gd name="connsiteY137" fmla="*/ 581025 h 620717"/>
                <a:gd name="connsiteX138" fmla="*/ 47625 w 514350"/>
                <a:gd name="connsiteY138" fmla="*/ 582612 h 620717"/>
                <a:gd name="connsiteX139" fmla="*/ 61912 w 514350"/>
                <a:gd name="connsiteY139" fmla="*/ 584200 h 620717"/>
                <a:gd name="connsiteX140" fmla="*/ 66675 w 514350"/>
                <a:gd name="connsiteY140" fmla="*/ 587375 h 620717"/>
                <a:gd name="connsiteX141" fmla="*/ 53975 w 514350"/>
                <a:gd name="connsiteY141" fmla="*/ 593725 h 620717"/>
                <a:gd name="connsiteX142" fmla="*/ 52387 w 514350"/>
                <a:gd name="connsiteY142" fmla="*/ 601662 h 620717"/>
                <a:gd name="connsiteX143" fmla="*/ 50800 w 514350"/>
                <a:gd name="connsiteY143" fmla="*/ 606425 h 620717"/>
                <a:gd name="connsiteX144" fmla="*/ 55562 w 514350"/>
                <a:gd name="connsiteY144" fmla="*/ 614362 h 620717"/>
                <a:gd name="connsiteX145" fmla="*/ 79375 w 514350"/>
                <a:gd name="connsiteY145" fmla="*/ 609600 h 620717"/>
                <a:gd name="connsiteX146" fmla="*/ 123825 w 514350"/>
                <a:gd name="connsiteY146" fmla="*/ 612775 h 620717"/>
                <a:gd name="connsiteX147" fmla="*/ 130175 w 514350"/>
                <a:gd name="connsiteY147" fmla="*/ 617537 h 620717"/>
                <a:gd name="connsiteX148" fmla="*/ 144462 w 514350"/>
                <a:gd name="connsiteY148" fmla="*/ 620712 h 620717"/>
                <a:gd name="connsiteX149" fmla="*/ 173037 w 514350"/>
                <a:gd name="connsiteY149" fmla="*/ 617537 h 620717"/>
                <a:gd name="connsiteX150" fmla="*/ 180975 w 514350"/>
                <a:gd name="connsiteY150" fmla="*/ 614362 h 620717"/>
                <a:gd name="connsiteX151" fmla="*/ 187325 w 514350"/>
                <a:gd name="connsiteY151" fmla="*/ 609600 h 620717"/>
                <a:gd name="connsiteX152" fmla="*/ 196850 w 514350"/>
                <a:gd name="connsiteY152" fmla="*/ 606425 h 620717"/>
                <a:gd name="connsiteX153" fmla="*/ 198437 w 514350"/>
                <a:gd name="connsiteY153" fmla="*/ 600075 h 620717"/>
                <a:gd name="connsiteX154" fmla="*/ 203200 w 514350"/>
                <a:gd name="connsiteY154" fmla="*/ 595312 h 620717"/>
                <a:gd name="connsiteX155" fmla="*/ 215900 w 514350"/>
                <a:gd name="connsiteY155" fmla="*/ 581025 h 620717"/>
                <a:gd name="connsiteX156" fmla="*/ 230187 w 514350"/>
                <a:gd name="connsiteY156" fmla="*/ 582612 h 620717"/>
                <a:gd name="connsiteX157" fmla="*/ 238125 w 514350"/>
                <a:gd name="connsiteY157" fmla="*/ 584200 h 620717"/>
                <a:gd name="connsiteX158" fmla="*/ 261937 w 514350"/>
                <a:gd name="connsiteY158" fmla="*/ 581025 h 620717"/>
                <a:gd name="connsiteX159" fmla="*/ 263525 w 514350"/>
                <a:gd name="connsiteY159" fmla="*/ 576262 h 620717"/>
                <a:gd name="connsiteX160" fmla="*/ 266700 w 514350"/>
                <a:gd name="connsiteY160" fmla="*/ 582612 h 620717"/>
                <a:gd name="connsiteX161" fmla="*/ 277812 w 514350"/>
                <a:gd name="connsiteY161" fmla="*/ 590550 h 620717"/>
                <a:gd name="connsiteX162" fmla="*/ 279400 w 514350"/>
                <a:gd name="connsiteY162" fmla="*/ 579437 h 620717"/>
                <a:gd name="connsiteX163" fmla="*/ 287337 w 514350"/>
                <a:gd name="connsiteY163" fmla="*/ 571500 h 620717"/>
                <a:gd name="connsiteX164" fmla="*/ 290512 w 514350"/>
                <a:gd name="connsiteY164" fmla="*/ 566737 h 620717"/>
                <a:gd name="connsiteX165" fmla="*/ 311150 w 514350"/>
                <a:gd name="connsiteY165" fmla="*/ 558800 h 620717"/>
                <a:gd name="connsiteX166" fmla="*/ 354012 w 514350"/>
                <a:gd name="connsiteY166" fmla="*/ 554037 h 620717"/>
                <a:gd name="connsiteX167" fmla="*/ 360362 w 514350"/>
                <a:gd name="connsiteY167" fmla="*/ 561975 h 620717"/>
                <a:gd name="connsiteX168" fmla="*/ 365125 w 514350"/>
                <a:gd name="connsiteY168" fmla="*/ 563562 h 620717"/>
                <a:gd name="connsiteX169" fmla="*/ 366712 w 514350"/>
                <a:gd name="connsiteY169" fmla="*/ 557212 h 620717"/>
                <a:gd name="connsiteX170" fmla="*/ 368300 w 514350"/>
                <a:gd name="connsiteY170" fmla="*/ 552450 h 620717"/>
                <a:gd name="connsiteX171" fmla="*/ 377825 w 514350"/>
                <a:gd name="connsiteY171" fmla="*/ 557212 h 620717"/>
                <a:gd name="connsiteX172" fmla="*/ 382587 w 514350"/>
                <a:gd name="connsiteY172" fmla="*/ 563562 h 620717"/>
                <a:gd name="connsiteX173" fmla="*/ 404812 w 514350"/>
                <a:gd name="connsiteY173" fmla="*/ 565150 h 620717"/>
                <a:gd name="connsiteX174" fmla="*/ 414337 w 514350"/>
                <a:gd name="connsiteY174" fmla="*/ 571500 h 620717"/>
                <a:gd name="connsiteX175" fmla="*/ 419100 w 514350"/>
                <a:gd name="connsiteY175" fmla="*/ 574675 h 620717"/>
                <a:gd name="connsiteX176" fmla="*/ 436562 w 514350"/>
                <a:gd name="connsiteY176" fmla="*/ 573087 h 620717"/>
                <a:gd name="connsiteX177" fmla="*/ 434975 w 514350"/>
                <a:gd name="connsiteY177" fmla="*/ 566737 h 620717"/>
                <a:gd name="connsiteX178" fmla="*/ 430212 w 514350"/>
                <a:gd name="connsiteY178" fmla="*/ 546100 h 620717"/>
                <a:gd name="connsiteX179" fmla="*/ 433387 w 514350"/>
                <a:gd name="connsiteY179" fmla="*/ 531812 h 620717"/>
                <a:gd name="connsiteX180" fmla="*/ 446087 w 514350"/>
                <a:gd name="connsiteY180" fmla="*/ 525462 h 620717"/>
                <a:gd name="connsiteX181" fmla="*/ 452437 w 514350"/>
                <a:gd name="connsiteY181" fmla="*/ 519112 h 620717"/>
                <a:gd name="connsiteX182" fmla="*/ 463550 w 514350"/>
                <a:gd name="connsiteY182" fmla="*/ 514350 h 620717"/>
                <a:gd name="connsiteX183" fmla="*/ 465137 w 514350"/>
                <a:gd name="connsiteY183" fmla="*/ 508000 h 620717"/>
                <a:gd name="connsiteX184" fmla="*/ 466725 w 514350"/>
                <a:gd name="connsiteY184" fmla="*/ 485775 h 620717"/>
                <a:gd name="connsiteX185" fmla="*/ 482600 w 514350"/>
                <a:gd name="connsiteY185" fmla="*/ 474662 h 620717"/>
                <a:gd name="connsiteX186" fmla="*/ 495300 w 514350"/>
                <a:gd name="connsiteY186" fmla="*/ 458787 h 620717"/>
                <a:gd name="connsiteX187" fmla="*/ 501650 w 514350"/>
                <a:gd name="connsiteY187" fmla="*/ 438150 h 620717"/>
                <a:gd name="connsiteX188" fmla="*/ 506412 w 514350"/>
                <a:gd name="connsiteY188" fmla="*/ 433387 h 620717"/>
                <a:gd name="connsiteX189" fmla="*/ 506412 w 514350"/>
                <a:gd name="connsiteY189" fmla="*/ 401637 h 620717"/>
                <a:gd name="connsiteX190" fmla="*/ 501650 w 514350"/>
                <a:gd name="connsiteY190" fmla="*/ 398462 h 620717"/>
                <a:gd name="connsiteX191" fmla="*/ 498475 w 514350"/>
                <a:gd name="connsiteY191" fmla="*/ 392112 h 620717"/>
                <a:gd name="connsiteX192" fmla="*/ 503237 w 514350"/>
                <a:gd name="connsiteY192" fmla="*/ 360362 h 620717"/>
                <a:gd name="connsiteX193" fmla="*/ 508000 w 514350"/>
                <a:gd name="connsiteY193" fmla="*/ 355600 h 620717"/>
                <a:gd name="connsiteX194" fmla="*/ 514350 w 514350"/>
                <a:gd name="connsiteY194" fmla="*/ 346075 h 620717"/>
                <a:gd name="connsiteX195" fmla="*/ 511175 w 514350"/>
                <a:gd name="connsiteY195" fmla="*/ 331787 h 620717"/>
                <a:gd name="connsiteX196" fmla="*/ 506412 w 514350"/>
                <a:gd name="connsiteY196" fmla="*/ 327025 h 620717"/>
                <a:gd name="connsiteX197" fmla="*/ 504825 w 514350"/>
                <a:gd name="connsiteY197" fmla="*/ 315912 h 620717"/>
                <a:gd name="connsiteX198" fmla="*/ 508000 w 514350"/>
                <a:gd name="connsiteY198" fmla="*/ 290512 h 620717"/>
                <a:gd name="connsiteX199" fmla="*/ 506412 w 514350"/>
                <a:gd name="connsiteY199" fmla="*/ 282575 h 620717"/>
                <a:gd name="connsiteX200" fmla="*/ 495300 w 514350"/>
                <a:gd name="connsiteY200" fmla="*/ 276225 h 620717"/>
                <a:gd name="connsiteX201" fmla="*/ 496887 w 514350"/>
                <a:gd name="connsiteY201" fmla="*/ 268287 h 620717"/>
                <a:gd name="connsiteX202" fmla="*/ 501650 w 514350"/>
                <a:gd name="connsiteY202" fmla="*/ 266700 h 620717"/>
                <a:gd name="connsiteX203" fmla="*/ 506412 w 514350"/>
                <a:gd name="connsiteY203" fmla="*/ 263525 h 620717"/>
                <a:gd name="connsiteX204" fmla="*/ 509587 w 514350"/>
                <a:gd name="connsiteY204" fmla="*/ 258762 h 620717"/>
                <a:gd name="connsiteX205" fmla="*/ 511175 w 514350"/>
                <a:gd name="connsiteY205" fmla="*/ 254000 h 620717"/>
                <a:gd name="connsiteX206" fmla="*/ 514350 w 514350"/>
                <a:gd name="connsiteY206" fmla="*/ 246062 h 620717"/>
                <a:gd name="connsiteX207" fmla="*/ 512762 w 514350"/>
                <a:gd name="connsiteY207" fmla="*/ 239712 h 620717"/>
                <a:gd name="connsiteX208" fmla="*/ 496887 w 514350"/>
                <a:gd name="connsiteY208" fmla="*/ 239712 h 620717"/>
                <a:gd name="connsiteX209" fmla="*/ 492125 w 514350"/>
                <a:gd name="connsiteY209" fmla="*/ 241300 h 620717"/>
                <a:gd name="connsiteX210" fmla="*/ 485775 w 514350"/>
                <a:gd name="connsiteY210" fmla="*/ 244475 h 620717"/>
                <a:gd name="connsiteX211" fmla="*/ 481012 w 514350"/>
                <a:gd name="connsiteY211" fmla="*/ 234950 h 620717"/>
                <a:gd name="connsiteX212" fmla="*/ 479425 w 514350"/>
                <a:gd name="connsiteY212" fmla="*/ 222250 h 620717"/>
                <a:gd name="connsiteX213" fmla="*/ 477837 w 514350"/>
                <a:gd name="connsiteY213" fmla="*/ 215900 h 620717"/>
                <a:gd name="connsiteX214" fmla="*/ 473075 w 514350"/>
                <a:gd name="connsiteY214" fmla="*/ 190500 h 620717"/>
                <a:gd name="connsiteX215" fmla="*/ 468312 w 514350"/>
                <a:gd name="connsiteY215" fmla="*/ 176212 h 620717"/>
                <a:gd name="connsiteX216" fmla="*/ 458787 w 514350"/>
                <a:gd name="connsiteY216" fmla="*/ 171450 h 620717"/>
                <a:gd name="connsiteX217" fmla="*/ 449262 w 514350"/>
                <a:gd name="connsiteY217" fmla="*/ 173037 h 620717"/>
                <a:gd name="connsiteX218" fmla="*/ 438150 w 514350"/>
                <a:gd name="connsiteY218" fmla="*/ 182562 h 620717"/>
                <a:gd name="connsiteX219" fmla="*/ 434975 w 514350"/>
                <a:gd name="connsiteY219" fmla="*/ 188912 h 620717"/>
                <a:gd name="connsiteX220" fmla="*/ 428625 w 514350"/>
                <a:gd name="connsiteY220" fmla="*/ 196850 h 620717"/>
                <a:gd name="connsiteX221" fmla="*/ 417512 w 514350"/>
                <a:gd name="connsiteY221" fmla="*/ 206375 h 620717"/>
                <a:gd name="connsiteX222" fmla="*/ 412750 w 514350"/>
                <a:gd name="connsiteY222" fmla="*/ 207962 h 620717"/>
                <a:gd name="connsiteX223" fmla="*/ 401637 w 514350"/>
                <a:gd name="connsiteY223" fmla="*/ 206375 h 620717"/>
                <a:gd name="connsiteX224" fmla="*/ 395287 w 514350"/>
                <a:gd name="connsiteY224" fmla="*/ 200025 h 620717"/>
                <a:gd name="connsiteX225" fmla="*/ 390525 w 514350"/>
                <a:gd name="connsiteY225" fmla="*/ 196850 h 620717"/>
                <a:gd name="connsiteX226" fmla="*/ 385762 w 514350"/>
                <a:gd name="connsiteY226" fmla="*/ 190500 h 620717"/>
                <a:gd name="connsiteX227" fmla="*/ 368300 w 514350"/>
                <a:gd name="connsiteY227" fmla="*/ 171450 h 620717"/>
                <a:gd name="connsiteX228" fmla="*/ 363537 w 514350"/>
                <a:gd name="connsiteY228" fmla="*/ 160337 h 620717"/>
                <a:gd name="connsiteX229" fmla="*/ 358775 w 514350"/>
                <a:gd name="connsiteY229" fmla="*/ 157162 h 620717"/>
                <a:gd name="connsiteX230" fmla="*/ 349250 w 514350"/>
                <a:gd name="connsiteY230" fmla="*/ 144462 h 620717"/>
                <a:gd name="connsiteX231" fmla="*/ 346075 w 514350"/>
                <a:gd name="connsiteY231" fmla="*/ 138112 h 620717"/>
                <a:gd name="connsiteX232" fmla="*/ 350837 w 514350"/>
                <a:gd name="connsiteY232" fmla="*/ 128587 h 620717"/>
                <a:gd name="connsiteX233" fmla="*/ 357187 w 514350"/>
                <a:gd name="connsiteY233" fmla="*/ 127000 h 620717"/>
                <a:gd name="connsiteX234" fmla="*/ 368300 w 514350"/>
                <a:gd name="connsiteY234" fmla="*/ 125412 h 620717"/>
                <a:gd name="connsiteX235" fmla="*/ 374650 w 514350"/>
                <a:gd name="connsiteY235" fmla="*/ 123825 h 620717"/>
                <a:gd name="connsiteX236" fmla="*/ 384175 w 514350"/>
                <a:gd name="connsiteY236" fmla="*/ 120650 h 620717"/>
                <a:gd name="connsiteX237" fmla="*/ 392112 w 514350"/>
                <a:gd name="connsiteY237" fmla="*/ 111125 h 620717"/>
                <a:gd name="connsiteX238" fmla="*/ 388937 w 514350"/>
                <a:gd name="connsiteY238" fmla="*/ 100012 h 620717"/>
                <a:gd name="connsiteX239" fmla="*/ 390525 w 514350"/>
                <a:gd name="connsiteY239" fmla="*/ 93662 h 620717"/>
                <a:gd name="connsiteX240" fmla="*/ 401637 w 514350"/>
                <a:gd name="connsiteY240" fmla="*/ 95250 h 620717"/>
                <a:gd name="connsiteX241" fmla="*/ 423862 w 514350"/>
                <a:gd name="connsiteY241" fmla="*/ 93662 h 620717"/>
                <a:gd name="connsiteX242" fmla="*/ 430212 w 514350"/>
                <a:gd name="connsiteY242" fmla="*/ 87312 h 620717"/>
                <a:gd name="connsiteX243" fmla="*/ 431800 w 514350"/>
                <a:gd name="connsiteY243" fmla="*/ 61912 h 620717"/>
                <a:gd name="connsiteX244" fmla="*/ 427037 w 514350"/>
                <a:gd name="connsiteY244" fmla="*/ 57150 h 620717"/>
                <a:gd name="connsiteX245" fmla="*/ 427037 w 514350"/>
                <a:gd name="connsiteY245" fmla="*/ 47625 h 620717"/>
                <a:gd name="connsiteX246" fmla="*/ 435858 w 514350"/>
                <a:gd name="connsiteY246" fmla="*/ 67146 h 620717"/>
                <a:gd name="connsiteX247" fmla="*/ 451852 w 514350"/>
                <a:gd name="connsiteY247" fmla="*/ 72772 h 620717"/>
                <a:gd name="connsiteX248" fmla="*/ 439737 w 514350"/>
                <a:gd name="connsiteY248" fmla="*/ 79845 h 620717"/>
                <a:gd name="connsiteX249" fmla="*/ 442912 w 514350"/>
                <a:gd name="connsiteY249" fmla="*/ 49212 h 620717"/>
                <a:gd name="connsiteX250" fmla="*/ 455612 w 514350"/>
                <a:gd name="connsiteY250" fmla="*/ 69850 h 620717"/>
                <a:gd name="connsiteX251" fmla="*/ 461962 w 514350"/>
                <a:gd name="connsiteY251" fmla="*/ 68262 h 620717"/>
                <a:gd name="connsiteX252" fmla="*/ 466725 w 514350"/>
                <a:gd name="connsiteY252" fmla="*/ 61912 h 620717"/>
                <a:gd name="connsiteX253" fmla="*/ 492125 w 514350"/>
                <a:gd name="connsiteY253" fmla="*/ 53975 h 620717"/>
                <a:gd name="connsiteX254" fmla="*/ 496887 w 514350"/>
                <a:gd name="connsiteY254" fmla="*/ 49212 h 620717"/>
                <a:gd name="connsiteX255" fmla="*/ 500062 w 514350"/>
                <a:gd name="connsiteY255" fmla="*/ 41275 h 620717"/>
                <a:gd name="connsiteX256" fmla="*/ 496887 w 514350"/>
                <a:gd name="connsiteY256"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27037 w 514350"/>
                <a:gd name="connsiteY9" fmla="*/ 19050 h 620717"/>
                <a:gd name="connsiteX10" fmla="*/ 409575 w 514350"/>
                <a:gd name="connsiteY10" fmla="*/ 14287 h 620717"/>
                <a:gd name="connsiteX11" fmla="*/ 401637 w 514350"/>
                <a:gd name="connsiteY11" fmla="*/ 12700 h 620717"/>
                <a:gd name="connsiteX12" fmla="*/ 352425 w 514350"/>
                <a:gd name="connsiteY12" fmla="*/ 19050 h 620717"/>
                <a:gd name="connsiteX13" fmla="*/ 350837 w 514350"/>
                <a:gd name="connsiteY13" fmla="*/ 23812 h 620717"/>
                <a:gd name="connsiteX14" fmla="*/ 352425 w 514350"/>
                <a:gd name="connsiteY14" fmla="*/ 38100 h 620717"/>
                <a:gd name="connsiteX15" fmla="*/ 357187 w 514350"/>
                <a:gd name="connsiteY15" fmla="*/ 44450 h 620717"/>
                <a:gd name="connsiteX16" fmla="*/ 349250 w 514350"/>
                <a:gd name="connsiteY16" fmla="*/ 58737 h 620717"/>
                <a:gd name="connsiteX17" fmla="*/ 328612 w 514350"/>
                <a:gd name="connsiteY17" fmla="*/ 60325 h 620717"/>
                <a:gd name="connsiteX18" fmla="*/ 307975 w 514350"/>
                <a:gd name="connsiteY18" fmla="*/ 68262 h 620717"/>
                <a:gd name="connsiteX19" fmla="*/ 295275 w 514350"/>
                <a:gd name="connsiteY19" fmla="*/ 73025 h 620717"/>
                <a:gd name="connsiteX20" fmla="*/ 292100 w 514350"/>
                <a:gd name="connsiteY20" fmla="*/ 77787 h 620717"/>
                <a:gd name="connsiteX21" fmla="*/ 296862 w 514350"/>
                <a:gd name="connsiteY21" fmla="*/ 79375 h 620717"/>
                <a:gd name="connsiteX22" fmla="*/ 311150 w 514350"/>
                <a:gd name="connsiteY22" fmla="*/ 82550 h 620717"/>
                <a:gd name="connsiteX23" fmla="*/ 319087 w 514350"/>
                <a:gd name="connsiteY23" fmla="*/ 87312 h 620717"/>
                <a:gd name="connsiteX24" fmla="*/ 323850 w 514350"/>
                <a:gd name="connsiteY24" fmla="*/ 88900 h 620717"/>
                <a:gd name="connsiteX25" fmla="*/ 336550 w 514350"/>
                <a:gd name="connsiteY25" fmla="*/ 103187 h 620717"/>
                <a:gd name="connsiteX26" fmla="*/ 334962 w 514350"/>
                <a:gd name="connsiteY26" fmla="*/ 114300 h 620717"/>
                <a:gd name="connsiteX27" fmla="*/ 330200 w 514350"/>
                <a:gd name="connsiteY27" fmla="*/ 115887 h 620717"/>
                <a:gd name="connsiteX28" fmla="*/ 315912 w 514350"/>
                <a:gd name="connsiteY28" fmla="*/ 130175 h 620717"/>
                <a:gd name="connsiteX29" fmla="*/ 307975 w 514350"/>
                <a:gd name="connsiteY29" fmla="*/ 131762 h 620717"/>
                <a:gd name="connsiteX30" fmla="*/ 300037 w 514350"/>
                <a:gd name="connsiteY30" fmla="*/ 134937 h 620717"/>
                <a:gd name="connsiteX31" fmla="*/ 296862 w 514350"/>
                <a:gd name="connsiteY31" fmla="*/ 142875 h 620717"/>
                <a:gd name="connsiteX32" fmla="*/ 282575 w 514350"/>
                <a:gd name="connsiteY32" fmla="*/ 157162 h 620717"/>
                <a:gd name="connsiteX33" fmla="*/ 273050 w 514350"/>
                <a:gd name="connsiteY33" fmla="*/ 153987 h 620717"/>
                <a:gd name="connsiteX34" fmla="*/ 261937 w 514350"/>
                <a:gd name="connsiteY34" fmla="*/ 147637 h 620717"/>
                <a:gd name="connsiteX35" fmla="*/ 242887 w 514350"/>
                <a:gd name="connsiteY35" fmla="*/ 149225 h 620717"/>
                <a:gd name="connsiteX36" fmla="*/ 236537 w 514350"/>
                <a:gd name="connsiteY36" fmla="*/ 150812 h 620717"/>
                <a:gd name="connsiteX37" fmla="*/ 231775 w 514350"/>
                <a:gd name="connsiteY37" fmla="*/ 142875 h 620717"/>
                <a:gd name="connsiteX38" fmla="*/ 225425 w 514350"/>
                <a:gd name="connsiteY38" fmla="*/ 123825 h 620717"/>
                <a:gd name="connsiteX39" fmla="*/ 219075 w 514350"/>
                <a:gd name="connsiteY39" fmla="*/ 122237 h 620717"/>
                <a:gd name="connsiteX40" fmla="*/ 204787 w 514350"/>
                <a:gd name="connsiteY40" fmla="*/ 120650 h 620717"/>
                <a:gd name="connsiteX41" fmla="*/ 190500 w 514350"/>
                <a:gd name="connsiteY41" fmla="*/ 117475 h 620717"/>
                <a:gd name="connsiteX42" fmla="*/ 182562 w 514350"/>
                <a:gd name="connsiteY42" fmla="*/ 111125 h 620717"/>
                <a:gd name="connsiteX43" fmla="*/ 174625 w 514350"/>
                <a:gd name="connsiteY43" fmla="*/ 104775 h 620717"/>
                <a:gd name="connsiteX44" fmla="*/ 152400 w 514350"/>
                <a:gd name="connsiteY44" fmla="*/ 106362 h 620717"/>
                <a:gd name="connsiteX45" fmla="*/ 150812 w 514350"/>
                <a:gd name="connsiteY45" fmla="*/ 117475 h 620717"/>
                <a:gd name="connsiteX46" fmla="*/ 133350 w 514350"/>
                <a:gd name="connsiteY46" fmla="*/ 120650 h 620717"/>
                <a:gd name="connsiteX47" fmla="*/ 138112 w 514350"/>
                <a:gd name="connsiteY47" fmla="*/ 123825 h 620717"/>
                <a:gd name="connsiteX48" fmla="*/ 139700 w 514350"/>
                <a:gd name="connsiteY48" fmla="*/ 128587 h 620717"/>
                <a:gd name="connsiteX49" fmla="*/ 146050 w 514350"/>
                <a:gd name="connsiteY49" fmla="*/ 131762 h 620717"/>
                <a:gd name="connsiteX50" fmla="*/ 147637 w 514350"/>
                <a:gd name="connsiteY50" fmla="*/ 138112 h 620717"/>
                <a:gd name="connsiteX51" fmla="*/ 123825 w 514350"/>
                <a:gd name="connsiteY51" fmla="*/ 146050 h 620717"/>
                <a:gd name="connsiteX52" fmla="*/ 117475 w 514350"/>
                <a:gd name="connsiteY52" fmla="*/ 155575 h 620717"/>
                <a:gd name="connsiteX53" fmla="*/ 112712 w 514350"/>
                <a:gd name="connsiteY53" fmla="*/ 157162 h 620717"/>
                <a:gd name="connsiteX54" fmla="*/ 125412 w 514350"/>
                <a:gd name="connsiteY54" fmla="*/ 161925 h 620717"/>
                <a:gd name="connsiteX55" fmla="*/ 130175 w 514350"/>
                <a:gd name="connsiteY55" fmla="*/ 163512 h 620717"/>
                <a:gd name="connsiteX56" fmla="*/ 142875 w 514350"/>
                <a:gd name="connsiteY56" fmla="*/ 166687 h 620717"/>
                <a:gd name="connsiteX57" fmla="*/ 147637 w 514350"/>
                <a:gd name="connsiteY57" fmla="*/ 173037 h 620717"/>
                <a:gd name="connsiteX58" fmla="*/ 152400 w 514350"/>
                <a:gd name="connsiteY58" fmla="*/ 177800 h 620717"/>
                <a:gd name="connsiteX59" fmla="*/ 146050 w 514350"/>
                <a:gd name="connsiteY59" fmla="*/ 179387 h 620717"/>
                <a:gd name="connsiteX60" fmla="*/ 149225 w 514350"/>
                <a:gd name="connsiteY60" fmla="*/ 185737 h 620717"/>
                <a:gd name="connsiteX61" fmla="*/ 153987 w 514350"/>
                <a:gd name="connsiteY61" fmla="*/ 187325 h 620717"/>
                <a:gd name="connsiteX62" fmla="*/ 168275 w 514350"/>
                <a:gd name="connsiteY62" fmla="*/ 190500 h 620717"/>
                <a:gd name="connsiteX63" fmla="*/ 165100 w 514350"/>
                <a:gd name="connsiteY63" fmla="*/ 198437 h 620717"/>
                <a:gd name="connsiteX64" fmla="*/ 160337 w 514350"/>
                <a:gd name="connsiteY64" fmla="*/ 200025 h 620717"/>
                <a:gd name="connsiteX65" fmla="*/ 139700 w 514350"/>
                <a:gd name="connsiteY65" fmla="*/ 196850 h 620717"/>
                <a:gd name="connsiteX66" fmla="*/ 153987 w 514350"/>
                <a:gd name="connsiteY66" fmla="*/ 211137 h 620717"/>
                <a:gd name="connsiteX67" fmla="*/ 152400 w 514350"/>
                <a:gd name="connsiteY67" fmla="*/ 217487 h 620717"/>
                <a:gd name="connsiteX68" fmla="*/ 138112 w 514350"/>
                <a:gd name="connsiteY68" fmla="*/ 219075 h 620717"/>
                <a:gd name="connsiteX69" fmla="*/ 142875 w 514350"/>
                <a:gd name="connsiteY69" fmla="*/ 223837 h 620717"/>
                <a:gd name="connsiteX70" fmla="*/ 141287 w 514350"/>
                <a:gd name="connsiteY70" fmla="*/ 228600 h 620717"/>
                <a:gd name="connsiteX71" fmla="*/ 107950 w 514350"/>
                <a:gd name="connsiteY71" fmla="*/ 231775 h 620717"/>
                <a:gd name="connsiteX72" fmla="*/ 95250 w 514350"/>
                <a:gd name="connsiteY72" fmla="*/ 233362 h 620717"/>
                <a:gd name="connsiteX73" fmla="*/ 92075 w 514350"/>
                <a:gd name="connsiteY73" fmla="*/ 247650 h 620717"/>
                <a:gd name="connsiteX74" fmla="*/ 93662 w 514350"/>
                <a:gd name="connsiteY74" fmla="*/ 252412 h 620717"/>
                <a:gd name="connsiteX75" fmla="*/ 109537 w 514350"/>
                <a:gd name="connsiteY75" fmla="*/ 260350 h 620717"/>
                <a:gd name="connsiteX76" fmla="*/ 114300 w 514350"/>
                <a:gd name="connsiteY76" fmla="*/ 263525 h 620717"/>
                <a:gd name="connsiteX77" fmla="*/ 119062 w 514350"/>
                <a:gd name="connsiteY77" fmla="*/ 268287 h 620717"/>
                <a:gd name="connsiteX78" fmla="*/ 123825 w 514350"/>
                <a:gd name="connsiteY78" fmla="*/ 269875 h 620717"/>
                <a:gd name="connsiteX79" fmla="*/ 128587 w 514350"/>
                <a:gd name="connsiteY79" fmla="*/ 273050 h 620717"/>
                <a:gd name="connsiteX80" fmla="*/ 114300 w 514350"/>
                <a:gd name="connsiteY80" fmla="*/ 279400 h 620717"/>
                <a:gd name="connsiteX81" fmla="*/ 109537 w 514350"/>
                <a:gd name="connsiteY81" fmla="*/ 284162 h 620717"/>
                <a:gd name="connsiteX82" fmla="*/ 111125 w 514350"/>
                <a:gd name="connsiteY82" fmla="*/ 293687 h 620717"/>
                <a:gd name="connsiteX83" fmla="*/ 125412 w 514350"/>
                <a:gd name="connsiteY83" fmla="*/ 296862 h 620717"/>
                <a:gd name="connsiteX84" fmla="*/ 136525 w 514350"/>
                <a:gd name="connsiteY84" fmla="*/ 301625 h 620717"/>
                <a:gd name="connsiteX85" fmla="*/ 142875 w 514350"/>
                <a:gd name="connsiteY85" fmla="*/ 303212 h 620717"/>
                <a:gd name="connsiteX86" fmla="*/ 146050 w 514350"/>
                <a:gd name="connsiteY86" fmla="*/ 311150 h 620717"/>
                <a:gd name="connsiteX87" fmla="*/ 158750 w 514350"/>
                <a:gd name="connsiteY87" fmla="*/ 315912 h 620717"/>
                <a:gd name="connsiteX88" fmla="*/ 193675 w 514350"/>
                <a:gd name="connsiteY88" fmla="*/ 317500 h 620717"/>
                <a:gd name="connsiteX89" fmla="*/ 209550 w 514350"/>
                <a:gd name="connsiteY89" fmla="*/ 320675 h 620717"/>
                <a:gd name="connsiteX90" fmla="*/ 204787 w 514350"/>
                <a:gd name="connsiteY90" fmla="*/ 323850 h 620717"/>
                <a:gd name="connsiteX91" fmla="*/ 200025 w 514350"/>
                <a:gd name="connsiteY91" fmla="*/ 325437 h 620717"/>
                <a:gd name="connsiteX92" fmla="*/ 190500 w 514350"/>
                <a:gd name="connsiteY92" fmla="*/ 331787 h 620717"/>
                <a:gd name="connsiteX93" fmla="*/ 182562 w 514350"/>
                <a:gd name="connsiteY93" fmla="*/ 338137 h 620717"/>
                <a:gd name="connsiteX94" fmla="*/ 176212 w 514350"/>
                <a:gd name="connsiteY94" fmla="*/ 341312 h 620717"/>
                <a:gd name="connsiteX95" fmla="*/ 171450 w 514350"/>
                <a:gd name="connsiteY95" fmla="*/ 344487 h 620717"/>
                <a:gd name="connsiteX96" fmla="*/ 161925 w 514350"/>
                <a:gd name="connsiteY96" fmla="*/ 347662 h 620717"/>
                <a:gd name="connsiteX97" fmla="*/ 149225 w 514350"/>
                <a:gd name="connsiteY97" fmla="*/ 365125 h 620717"/>
                <a:gd name="connsiteX98" fmla="*/ 139700 w 514350"/>
                <a:gd name="connsiteY98" fmla="*/ 382587 h 620717"/>
                <a:gd name="connsiteX99" fmla="*/ 134937 w 514350"/>
                <a:gd name="connsiteY99" fmla="*/ 384175 h 620717"/>
                <a:gd name="connsiteX100" fmla="*/ 133350 w 514350"/>
                <a:gd name="connsiteY100" fmla="*/ 388937 h 620717"/>
                <a:gd name="connsiteX101" fmla="*/ 128587 w 514350"/>
                <a:gd name="connsiteY101" fmla="*/ 392112 h 620717"/>
                <a:gd name="connsiteX102" fmla="*/ 120650 w 514350"/>
                <a:gd name="connsiteY102" fmla="*/ 398462 h 620717"/>
                <a:gd name="connsiteX103" fmla="*/ 114300 w 514350"/>
                <a:gd name="connsiteY103" fmla="*/ 409575 h 620717"/>
                <a:gd name="connsiteX104" fmla="*/ 109537 w 514350"/>
                <a:gd name="connsiteY104" fmla="*/ 411162 h 620717"/>
                <a:gd name="connsiteX105" fmla="*/ 92075 w 514350"/>
                <a:gd name="connsiteY105" fmla="*/ 414337 h 620717"/>
                <a:gd name="connsiteX106" fmla="*/ 92075 w 514350"/>
                <a:gd name="connsiteY106" fmla="*/ 433387 h 620717"/>
                <a:gd name="connsiteX107" fmla="*/ 79375 w 514350"/>
                <a:gd name="connsiteY107" fmla="*/ 441325 h 620717"/>
                <a:gd name="connsiteX108" fmla="*/ 73025 w 514350"/>
                <a:gd name="connsiteY108" fmla="*/ 455612 h 620717"/>
                <a:gd name="connsiteX109" fmla="*/ 69850 w 514350"/>
                <a:gd name="connsiteY109" fmla="*/ 463550 h 620717"/>
                <a:gd name="connsiteX110" fmla="*/ 65087 w 514350"/>
                <a:gd name="connsiteY110" fmla="*/ 465137 h 620717"/>
                <a:gd name="connsiteX111" fmla="*/ 38100 w 514350"/>
                <a:gd name="connsiteY111" fmla="*/ 466725 h 620717"/>
                <a:gd name="connsiteX112" fmla="*/ 34925 w 514350"/>
                <a:gd name="connsiteY112" fmla="*/ 473075 h 620717"/>
                <a:gd name="connsiteX113" fmla="*/ 30162 w 514350"/>
                <a:gd name="connsiteY113" fmla="*/ 476250 h 620717"/>
                <a:gd name="connsiteX114" fmla="*/ 0 w 514350"/>
                <a:gd name="connsiteY114" fmla="*/ 477837 h 620717"/>
                <a:gd name="connsiteX115" fmla="*/ 4762 w 514350"/>
                <a:gd name="connsiteY115" fmla="*/ 484187 h 620717"/>
                <a:gd name="connsiteX116" fmla="*/ 23812 w 514350"/>
                <a:gd name="connsiteY116" fmla="*/ 485775 h 620717"/>
                <a:gd name="connsiteX117" fmla="*/ 30162 w 514350"/>
                <a:gd name="connsiteY117" fmla="*/ 487362 h 620717"/>
                <a:gd name="connsiteX118" fmla="*/ 39687 w 514350"/>
                <a:gd name="connsiteY118" fmla="*/ 488950 h 620717"/>
                <a:gd name="connsiteX119" fmla="*/ 33337 w 514350"/>
                <a:gd name="connsiteY119" fmla="*/ 492125 h 620717"/>
                <a:gd name="connsiteX120" fmla="*/ 25400 w 514350"/>
                <a:gd name="connsiteY120" fmla="*/ 493712 h 620717"/>
                <a:gd name="connsiteX121" fmla="*/ 19050 w 514350"/>
                <a:gd name="connsiteY121" fmla="*/ 495300 h 620717"/>
                <a:gd name="connsiteX122" fmla="*/ 14287 w 514350"/>
                <a:gd name="connsiteY122" fmla="*/ 498475 h 620717"/>
                <a:gd name="connsiteX123" fmla="*/ 4762 w 514350"/>
                <a:gd name="connsiteY123" fmla="*/ 503237 h 620717"/>
                <a:gd name="connsiteX124" fmla="*/ 3175 w 514350"/>
                <a:gd name="connsiteY124" fmla="*/ 508000 h 620717"/>
                <a:gd name="connsiteX125" fmla="*/ 4762 w 514350"/>
                <a:gd name="connsiteY125" fmla="*/ 530225 h 620717"/>
                <a:gd name="connsiteX126" fmla="*/ 11112 w 514350"/>
                <a:gd name="connsiteY126" fmla="*/ 533400 h 620717"/>
                <a:gd name="connsiteX127" fmla="*/ 20637 w 514350"/>
                <a:gd name="connsiteY127" fmla="*/ 534987 h 620717"/>
                <a:gd name="connsiteX128" fmla="*/ 26987 w 514350"/>
                <a:gd name="connsiteY128" fmla="*/ 536575 h 620717"/>
                <a:gd name="connsiteX129" fmla="*/ 39687 w 514350"/>
                <a:gd name="connsiteY129" fmla="*/ 542925 h 620717"/>
                <a:gd name="connsiteX130" fmla="*/ 44450 w 514350"/>
                <a:gd name="connsiteY130" fmla="*/ 546100 h 620717"/>
                <a:gd name="connsiteX131" fmla="*/ 58737 w 514350"/>
                <a:gd name="connsiteY131" fmla="*/ 547687 h 620717"/>
                <a:gd name="connsiteX132" fmla="*/ 47625 w 514350"/>
                <a:gd name="connsiteY132" fmla="*/ 555625 h 620717"/>
                <a:gd name="connsiteX133" fmla="*/ 30162 w 514350"/>
                <a:gd name="connsiteY133" fmla="*/ 558800 h 620717"/>
                <a:gd name="connsiteX134" fmla="*/ 7937 w 514350"/>
                <a:gd name="connsiteY134" fmla="*/ 563562 h 620717"/>
                <a:gd name="connsiteX135" fmla="*/ 7937 w 514350"/>
                <a:gd name="connsiteY135" fmla="*/ 576262 h 620717"/>
                <a:gd name="connsiteX136" fmla="*/ 17462 w 514350"/>
                <a:gd name="connsiteY136" fmla="*/ 577850 h 620717"/>
                <a:gd name="connsiteX137" fmla="*/ 39687 w 514350"/>
                <a:gd name="connsiteY137" fmla="*/ 581025 h 620717"/>
                <a:gd name="connsiteX138" fmla="*/ 47625 w 514350"/>
                <a:gd name="connsiteY138" fmla="*/ 582612 h 620717"/>
                <a:gd name="connsiteX139" fmla="*/ 61912 w 514350"/>
                <a:gd name="connsiteY139" fmla="*/ 584200 h 620717"/>
                <a:gd name="connsiteX140" fmla="*/ 66675 w 514350"/>
                <a:gd name="connsiteY140" fmla="*/ 587375 h 620717"/>
                <a:gd name="connsiteX141" fmla="*/ 53975 w 514350"/>
                <a:gd name="connsiteY141" fmla="*/ 593725 h 620717"/>
                <a:gd name="connsiteX142" fmla="*/ 52387 w 514350"/>
                <a:gd name="connsiteY142" fmla="*/ 601662 h 620717"/>
                <a:gd name="connsiteX143" fmla="*/ 50800 w 514350"/>
                <a:gd name="connsiteY143" fmla="*/ 606425 h 620717"/>
                <a:gd name="connsiteX144" fmla="*/ 55562 w 514350"/>
                <a:gd name="connsiteY144" fmla="*/ 614362 h 620717"/>
                <a:gd name="connsiteX145" fmla="*/ 79375 w 514350"/>
                <a:gd name="connsiteY145" fmla="*/ 609600 h 620717"/>
                <a:gd name="connsiteX146" fmla="*/ 123825 w 514350"/>
                <a:gd name="connsiteY146" fmla="*/ 612775 h 620717"/>
                <a:gd name="connsiteX147" fmla="*/ 130175 w 514350"/>
                <a:gd name="connsiteY147" fmla="*/ 617537 h 620717"/>
                <a:gd name="connsiteX148" fmla="*/ 144462 w 514350"/>
                <a:gd name="connsiteY148" fmla="*/ 620712 h 620717"/>
                <a:gd name="connsiteX149" fmla="*/ 173037 w 514350"/>
                <a:gd name="connsiteY149" fmla="*/ 617537 h 620717"/>
                <a:gd name="connsiteX150" fmla="*/ 180975 w 514350"/>
                <a:gd name="connsiteY150" fmla="*/ 614362 h 620717"/>
                <a:gd name="connsiteX151" fmla="*/ 187325 w 514350"/>
                <a:gd name="connsiteY151" fmla="*/ 609600 h 620717"/>
                <a:gd name="connsiteX152" fmla="*/ 196850 w 514350"/>
                <a:gd name="connsiteY152" fmla="*/ 606425 h 620717"/>
                <a:gd name="connsiteX153" fmla="*/ 198437 w 514350"/>
                <a:gd name="connsiteY153" fmla="*/ 600075 h 620717"/>
                <a:gd name="connsiteX154" fmla="*/ 203200 w 514350"/>
                <a:gd name="connsiteY154" fmla="*/ 595312 h 620717"/>
                <a:gd name="connsiteX155" fmla="*/ 215900 w 514350"/>
                <a:gd name="connsiteY155" fmla="*/ 581025 h 620717"/>
                <a:gd name="connsiteX156" fmla="*/ 230187 w 514350"/>
                <a:gd name="connsiteY156" fmla="*/ 582612 h 620717"/>
                <a:gd name="connsiteX157" fmla="*/ 238125 w 514350"/>
                <a:gd name="connsiteY157" fmla="*/ 584200 h 620717"/>
                <a:gd name="connsiteX158" fmla="*/ 261937 w 514350"/>
                <a:gd name="connsiteY158" fmla="*/ 581025 h 620717"/>
                <a:gd name="connsiteX159" fmla="*/ 263525 w 514350"/>
                <a:gd name="connsiteY159" fmla="*/ 576262 h 620717"/>
                <a:gd name="connsiteX160" fmla="*/ 266700 w 514350"/>
                <a:gd name="connsiteY160" fmla="*/ 582612 h 620717"/>
                <a:gd name="connsiteX161" fmla="*/ 277812 w 514350"/>
                <a:gd name="connsiteY161" fmla="*/ 590550 h 620717"/>
                <a:gd name="connsiteX162" fmla="*/ 279400 w 514350"/>
                <a:gd name="connsiteY162" fmla="*/ 579437 h 620717"/>
                <a:gd name="connsiteX163" fmla="*/ 287337 w 514350"/>
                <a:gd name="connsiteY163" fmla="*/ 571500 h 620717"/>
                <a:gd name="connsiteX164" fmla="*/ 290512 w 514350"/>
                <a:gd name="connsiteY164" fmla="*/ 566737 h 620717"/>
                <a:gd name="connsiteX165" fmla="*/ 311150 w 514350"/>
                <a:gd name="connsiteY165" fmla="*/ 558800 h 620717"/>
                <a:gd name="connsiteX166" fmla="*/ 354012 w 514350"/>
                <a:gd name="connsiteY166" fmla="*/ 554037 h 620717"/>
                <a:gd name="connsiteX167" fmla="*/ 360362 w 514350"/>
                <a:gd name="connsiteY167" fmla="*/ 561975 h 620717"/>
                <a:gd name="connsiteX168" fmla="*/ 365125 w 514350"/>
                <a:gd name="connsiteY168" fmla="*/ 563562 h 620717"/>
                <a:gd name="connsiteX169" fmla="*/ 366712 w 514350"/>
                <a:gd name="connsiteY169" fmla="*/ 557212 h 620717"/>
                <a:gd name="connsiteX170" fmla="*/ 368300 w 514350"/>
                <a:gd name="connsiteY170" fmla="*/ 552450 h 620717"/>
                <a:gd name="connsiteX171" fmla="*/ 377825 w 514350"/>
                <a:gd name="connsiteY171" fmla="*/ 557212 h 620717"/>
                <a:gd name="connsiteX172" fmla="*/ 382587 w 514350"/>
                <a:gd name="connsiteY172" fmla="*/ 563562 h 620717"/>
                <a:gd name="connsiteX173" fmla="*/ 404812 w 514350"/>
                <a:gd name="connsiteY173" fmla="*/ 565150 h 620717"/>
                <a:gd name="connsiteX174" fmla="*/ 414337 w 514350"/>
                <a:gd name="connsiteY174" fmla="*/ 571500 h 620717"/>
                <a:gd name="connsiteX175" fmla="*/ 419100 w 514350"/>
                <a:gd name="connsiteY175" fmla="*/ 574675 h 620717"/>
                <a:gd name="connsiteX176" fmla="*/ 436562 w 514350"/>
                <a:gd name="connsiteY176" fmla="*/ 573087 h 620717"/>
                <a:gd name="connsiteX177" fmla="*/ 434975 w 514350"/>
                <a:gd name="connsiteY177" fmla="*/ 566737 h 620717"/>
                <a:gd name="connsiteX178" fmla="*/ 430212 w 514350"/>
                <a:gd name="connsiteY178" fmla="*/ 546100 h 620717"/>
                <a:gd name="connsiteX179" fmla="*/ 433387 w 514350"/>
                <a:gd name="connsiteY179" fmla="*/ 531812 h 620717"/>
                <a:gd name="connsiteX180" fmla="*/ 446087 w 514350"/>
                <a:gd name="connsiteY180" fmla="*/ 525462 h 620717"/>
                <a:gd name="connsiteX181" fmla="*/ 452437 w 514350"/>
                <a:gd name="connsiteY181" fmla="*/ 519112 h 620717"/>
                <a:gd name="connsiteX182" fmla="*/ 463550 w 514350"/>
                <a:gd name="connsiteY182" fmla="*/ 514350 h 620717"/>
                <a:gd name="connsiteX183" fmla="*/ 465137 w 514350"/>
                <a:gd name="connsiteY183" fmla="*/ 508000 h 620717"/>
                <a:gd name="connsiteX184" fmla="*/ 466725 w 514350"/>
                <a:gd name="connsiteY184" fmla="*/ 485775 h 620717"/>
                <a:gd name="connsiteX185" fmla="*/ 482600 w 514350"/>
                <a:gd name="connsiteY185" fmla="*/ 474662 h 620717"/>
                <a:gd name="connsiteX186" fmla="*/ 495300 w 514350"/>
                <a:gd name="connsiteY186" fmla="*/ 458787 h 620717"/>
                <a:gd name="connsiteX187" fmla="*/ 501650 w 514350"/>
                <a:gd name="connsiteY187" fmla="*/ 438150 h 620717"/>
                <a:gd name="connsiteX188" fmla="*/ 506412 w 514350"/>
                <a:gd name="connsiteY188" fmla="*/ 433387 h 620717"/>
                <a:gd name="connsiteX189" fmla="*/ 506412 w 514350"/>
                <a:gd name="connsiteY189" fmla="*/ 401637 h 620717"/>
                <a:gd name="connsiteX190" fmla="*/ 501650 w 514350"/>
                <a:gd name="connsiteY190" fmla="*/ 398462 h 620717"/>
                <a:gd name="connsiteX191" fmla="*/ 498475 w 514350"/>
                <a:gd name="connsiteY191" fmla="*/ 392112 h 620717"/>
                <a:gd name="connsiteX192" fmla="*/ 503237 w 514350"/>
                <a:gd name="connsiteY192" fmla="*/ 360362 h 620717"/>
                <a:gd name="connsiteX193" fmla="*/ 508000 w 514350"/>
                <a:gd name="connsiteY193" fmla="*/ 355600 h 620717"/>
                <a:gd name="connsiteX194" fmla="*/ 514350 w 514350"/>
                <a:gd name="connsiteY194" fmla="*/ 346075 h 620717"/>
                <a:gd name="connsiteX195" fmla="*/ 511175 w 514350"/>
                <a:gd name="connsiteY195" fmla="*/ 331787 h 620717"/>
                <a:gd name="connsiteX196" fmla="*/ 506412 w 514350"/>
                <a:gd name="connsiteY196" fmla="*/ 327025 h 620717"/>
                <a:gd name="connsiteX197" fmla="*/ 504825 w 514350"/>
                <a:gd name="connsiteY197" fmla="*/ 315912 h 620717"/>
                <a:gd name="connsiteX198" fmla="*/ 508000 w 514350"/>
                <a:gd name="connsiteY198" fmla="*/ 290512 h 620717"/>
                <a:gd name="connsiteX199" fmla="*/ 506412 w 514350"/>
                <a:gd name="connsiteY199" fmla="*/ 282575 h 620717"/>
                <a:gd name="connsiteX200" fmla="*/ 495300 w 514350"/>
                <a:gd name="connsiteY200" fmla="*/ 276225 h 620717"/>
                <a:gd name="connsiteX201" fmla="*/ 496887 w 514350"/>
                <a:gd name="connsiteY201" fmla="*/ 268287 h 620717"/>
                <a:gd name="connsiteX202" fmla="*/ 501650 w 514350"/>
                <a:gd name="connsiteY202" fmla="*/ 266700 h 620717"/>
                <a:gd name="connsiteX203" fmla="*/ 506412 w 514350"/>
                <a:gd name="connsiteY203" fmla="*/ 263525 h 620717"/>
                <a:gd name="connsiteX204" fmla="*/ 509587 w 514350"/>
                <a:gd name="connsiteY204" fmla="*/ 258762 h 620717"/>
                <a:gd name="connsiteX205" fmla="*/ 511175 w 514350"/>
                <a:gd name="connsiteY205" fmla="*/ 254000 h 620717"/>
                <a:gd name="connsiteX206" fmla="*/ 514350 w 514350"/>
                <a:gd name="connsiteY206" fmla="*/ 246062 h 620717"/>
                <a:gd name="connsiteX207" fmla="*/ 512762 w 514350"/>
                <a:gd name="connsiteY207" fmla="*/ 239712 h 620717"/>
                <a:gd name="connsiteX208" fmla="*/ 496887 w 514350"/>
                <a:gd name="connsiteY208" fmla="*/ 239712 h 620717"/>
                <a:gd name="connsiteX209" fmla="*/ 492125 w 514350"/>
                <a:gd name="connsiteY209" fmla="*/ 241300 h 620717"/>
                <a:gd name="connsiteX210" fmla="*/ 485775 w 514350"/>
                <a:gd name="connsiteY210" fmla="*/ 244475 h 620717"/>
                <a:gd name="connsiteX211" fmla="*/ 481012 w 514350"/>
                <a:gd name="connsiteY211" fmla="*/ 234950 h 620717"/>
                <a:gd name="connsiteX212" fmla="*/ 479425 w 514350"/>
                <a:gd name="connsiteY212" fmla="*/ 222250 h 620717"/>
                <a:gd name="connsiteX213" fmla="*/ 477837 w 514350"/>
                <a:gd name="connsiteY213" fmla="*/ 215900 h 620717"/>
                <a:gd name="connsiteX214" fmla="*/ 473075 w 514350"/>
                <a:gd name="connsiteY214" fmla="*/ 190500 h 620717"/>
                <a:gd name="connsiteX215" fmla="*/ 468312 w 514350"/>
                <a:gd name="connsiteY215" fmla="*/ 176212 h 620717"/>
                <a:gd name="connsiteX216" fmla="*/ 458787 w 514350"/>
                <a:gd name="connsiteY216" fmla="*/ 171450 h 620717"/>
                <a:gd name="connsiteX217" fmla="*/ 449262 w 514350"/>
                <a:gd name="connsiteY217" fmla="*/ 173037 h 620717"/>
                <a:gd name="connsiteX218" fmla="*/ 438150 w 514350"/>
                <a:gd name="connsiteY218" fmla="*/ 182562 h 620717"/>
                <a:gd name="connsiteX219" fmla="*/ 434975 w 514350"/>
                <a:gd name="connsiteY219" fmla="*/ 188912 h 620717"/>
                <a:gd name="connsiteX220" fmla="*/ 428625 w 514350"/>
                <a:gd name="connsiteY220" fmla="*/ 196850 h 620717"/>
                <a:gd name="connsiteX221" fmla="*/ 417512 w 514350"/>
                <a:gd name="connsiteY221" fmla="*/ 206375 h 620717"/>
                <a:gd name="connsiteX222" fmla="*/ 412750 w 514350"/>
                <a:gd name="connsiteY222" fmla="*/ 207962 h 620717"/>
                <a:gd name="connsiteX223" fmla="*/ 401637 w 514350"/>
                <a:gd name="connsiteY223" fmla="*/ 206375 h 620717"/>
                <a:gd name="connsiteX224" fmla="*/ 395287 w 514350"/>
                <a:gd name="connsiteY224" fmla="*/ 200025 h 620717"/>
                <a:gd name="connsiteX225" fmla="*/ 390525 w 514350"/>
                <a:gd name="connsiteY225" fmla="*/ 196850 h 620717"/>
                <a:gd name="connsiteX226" fmla="*/ 385762 w 514350"/>
                <a:gd name="connsiteY226" fmla="*/ 190500 h 620717"/>
                <a:gd name="connsiteX227" fmla="*/ 368300 w 514350"/>
                <a:gd name="connsiteY227" fmla="*/ 171450 h 620717"/>
                <a:gd name="connsiteX228" fmla="*/ 363537 w 514350"/>
                <a:gd name="connsiteY228" fmla="*/ 160337 h 620717"/>
                <a:gd name="connsiteX229" fmla="*/ 358775 w 514350"/>
                <a:gd name="connsiteY229" fmla="*/ 157162 h 620717"/>
                <a:gd name="connsiteX230" fmla="*/ 349250 w 514350"/>
                <a:gd name="connsiteY230" fmla="*/ 144462 h 620717"/>
                <a:gd name="connsiteX231" fmla="*/ 346075 w 514350"/>
                <a:gd name="connsiteY231" fmla="*/ 138112 h 620717"/>
                <a:gd name="connsiteX232" fmla="*/ 350837 w 514350"/>
                <a:gd name="connsiteY232" fmla="*/ 128587 h 620717"/>
                <a:gd name="connsiteX233" fmla="*/ 357187 w 514350"/>
                <a:gd name="connsiteY233" fmla="*/ 127000 h 620717"/>
                <a:gd name="connsiteX234" fmla="*/ 368300 w 514350"/>
                <a:gd name="connsiteY234" fmla="*/ 125412 h 620717"/>
                <a:gd name="connsiteX235" fmla="*/ 374650 w 514350"/>
                <a:gd name="connsiteY235" fmla="*/ 123825 h 620717"/>
                <a:gd name="connsiteX236" fmla="*/ 384175 w 514350"/>
                <a:gd name="connsiteY236" fmla="*/ 120650 h 620717"/>
                <a:gd name="connsiteX237" fmla="*/ 392112 w 514350"/>
                <a:gd name="connsiteY237" fmla="*/ 111125 h 620717"/>
                <a:gd name="connsiteX238" fmla="*/ 388937 w 514350"/>
                <a:gd name="connsiteY238" fmla="*/ 100012 h 620717"/>
                <a:gd name="connsiteX239" fmla="*/ 390525 w 514350"/>
                <a:gd name="connsiteY239" fmla="*/ 93662 h 620717"/>
                <a:gd name="connsiteX240" fmla="*/ 401637 w 514350"/>
                <a:gd name="connsiteY240" fmla="*/ 95250 h 620717"/>
                <a:gd name="connsiteX241" fmla="*/ 423862 w 514350"/>
                <a:gd name="connsiteY241" fmla="*/ 93662 h 620717"/>
                <a:gd name="connsiteX242" fmla="*/ 430212 w 514350"/>
                <a:gd name="connsiteY242" fmla="*/ 87312 h 620717"/>
                <a:gd name="connsiteX243" fmla="*/ 431800 w 514350"/>
                <a:gd name="connsiteY243" fmla="*/ 61912 h 620717"/>
                <a:gd name="connsiteX244" fmla="*/ 427037 w 514350"/>
                <a:gd name="connsiteY244" fmla="*/ 57150 h 620717"/>
                <a:gd name="connsiteX245" fmla="*/ 448737 w 514350"/>
                <a:gd name="connsiteY245" fmla="*/ 66117 h 620717"/>
                <a:gd name="connsiteX246" fmla="*/ 435858 w 514350"/>
                <a:gd name="connsiteY246" fmla="*/ 67146 h 620717"/>
                <a:gd name="connsiteX247" fmla="*/ 451852 w 514350"/>
                <a:gd name="connsiteY247" fmla="*/ 72772 h 620717"/>
                <a:gd name="connsiteX248" fmla="*/ 439737 w 514350"/>
                <a:gd name="connsiteY248" fmla="*/ 79845 h 620717"/>
                <a:gd name="connsiteX249" fmla="*/ 442912 w 514350"/>
                <a:gd name="connsiteY249" fmla="*/ 49212 h 620717"/>
                <a:gd name="connsiteX250" fmla="*/ 455612 w 514350"/>
                <a:gd name="connsiteY250" fmla="*/ 69850 h 620717"/>
                <a:gd name="connsiteX251" fmla="*/ 461962 w 514350"/>
                <a:gd name="connsiteY251" fmla="*/ 68262 h 620717"/>
                <a:gd name="connsiteX252" fmla="*/ 466725 w 514350"/>
                <a:gd name="connsiteY252" fmla="*/ 61912 h 620717"/>
                <a:gd name="connsiteX253" fmla="*/ 492125 w 514350"/>
                <a:gd name="connsiteY253" fmla="*/ 53975 h 620717"/>
                <a:gd name="connsiteX254" fmla="*/ 496887 w 514350"/>
                <a:gd name="connsiteY254" fmla="*/ 49212 h 620717"/>
                <a:gd name="connsiteX255" fmla="*/ 500062 w 514350"/>
                <a:gd name="connsiteY255" fmla="*/ 41275 h 620717"/>
                <a:gd name="connsiteX256" fmla="*/ 496887 w 514350"/>
                <a:gd name="connsiteY256"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27037 w 514350"/>
                <a:gd name="connsiteY9" fmla="*/ 19050 h 620717"/>
                <a:gd name="connsiteX10" fmla="*/ 409575 w 514350"/>
                <a:gd name="connsiteY10" fmla="*/ 14287 h 620717"/>
                <a:gd name="connsiteX11" fmla="*/ 401637 w 514350"/>
                <a:gd name="connsiteY11" fmla="*/ 12700 h 620717"/>
                <a:gd name="connsiteX12" fmla="*/ 352425 w 514350"/>
                <a:gd name="connsiteY12" fmla="*/ 19050 h 620717"/>
                <a:gd name="connsiteX13" fmla="*/ 350837 w 514350"/>
                <a:gd name="connsiteY13" fmla="*/ 23812 h 620717"/>
                <a:gd name="connsiteX14" fmla="*/ 352425 w 514350"/>
                <a:gd name="connsiteY14" fmla="*/ 38100 h 620717"/>
                <a:gd name="connsiteX15" fmla="*/ 357187 w 514350"/>
                <a:gd name="connsiteY15" fmla="*/ 44450 h 620717"/>
                <a:gd name="connsiteX16" fmla="*/ 349250 w 514350"/>
                <a:gd name="connsiteY16" fmla="*/ 58737 h 620717"/>
                <a:gd name="connsiteX17" fmla="*/ 328612 w 514350"/>
                <a:gd name="connsiteY17" fmla="*/ 60325 h 620717"/>
                <a:gd name="connsiteX18" fmla="*/ 307975 w 514350"/>
                <a:gd name="connsiteY18" fmla="*/ 68262 h 620717"/>
                <a:gd name="connsiteX19" fmla="*/ 295275 w 514350"/>
                <a:gd name="connsiteY19" fmla="*/ 73025 h 620717"/>
                <a:gd name="connsiteX20" fmla="*/ 292100 w 514350"/>
                <a:gd name="connsiteY20" fmla="*/ 77787 h 620717"/>
                <a:gd name="connsiteX21" fmla="*/ 296862 w 514350"/>
                <a:gd name="connsiteY21" fmla="*/ 79375 h 620717"/>
                <a:gd name="connsiteX22" fmla="*/ 311150 w 514350"/>
                <a:gd name="connsiteY22" fmla="*/ 82550 h 620717"/>
                <a:gd name="connsiteX23" fmla="*/ 319087 w 514350"/>
                <a:gd name="connsiteY23" fmla="*/ 87312 h 620717"/>
                <a:gd name="connsiteX24" fmla="*/ 323850 w 514350"/>
                <a:gd name="connsiteY24" fmla="*/ 88900 h 620717"/>
                <a:gd name="connsiteX25" fmla="*/ 336550 w 514350"/>
                <a:gd name="connsiteY25" fmla="*/ 103187 h 620717"/>
                <a:gd name="connsiteX26" fmla="*/ 334962 w 514350"/>
                <a:gd name="connsiteY26" fmla="*/ 114300 h 620717"/>
                <a:gd name="connsiteX27" fmla="*/ 330200 w 514350"/>
                <a:gd name="connsiteY27" fmla="*/ 115887 h 620717"/>
                <a:gd name="connsiteX28" fmla="*/ 315912 w 514350"/>
                <a:gd name="connsiteY28" fmla="*/ 130175 h 620717"/>
                <a:gd name="connsiteX29" fmla="*/ 307975 w 514350"/>
                <a:gd name="connsiteY29" fmla="*/ 131762 h 620717"/>
                <a:gd name="connsiteX30" fmla="*/ 300037 w 514350"/>
                <a:gd name="connsiteY30" fmla="*/ 134937 h 620717"/>
                <a:gd name="connsiteX31" fmla="*/ 296862 w 514350"/>
                <a:gd name="connsiteY31" fmla="*/ 142875 h 620717"/>
                <a:gd name="connsiteX32" fmla="*/ 282575 w 514350"/>
                <a:gd name="connsiteY32" fmla="*/ 157162 h 620717"/>
                <a:gd name="connsiteX33" fmla="*/ 273050 w 514350"/>
                <a:gd name="connsiteY33" fmla="*/ 153987 h 620717"/>
                <a:gd name="connsiteX34" fmla="*/ 261937 w 514350"/>
                <a:gd name="connsiteY34" fmla="*/ 147637 h 620717"/>
                <a:gd name="connsiteX35" fmla="*/ 242887 w 514350"/>
                <a:gd name="connsiteY35" fmla="*/ 149225 h 620717"/>
                <a:gd name="connsiteX36" fmla="*/ 236537 w 514350"/>
                <a:gd name="connsiteY36" fmla="*/ 150812 h 620717"/>
                <a:gd name="connsiteX37" fmla="*/ 231775 w 514350"/>
                <a:gd name="connsiteY37" fmla="*/ 142875 h 620717"/>
                <a:gd name="connsiteX38" fmla="*/ 225425 w 514350"/>
                <a:gd name="connsiteY38" fmla="*/ 123825 h 620717"/>
                <a:gd name="connsiteX39" fmla="*/ 219075 w 514350"/>
                <a:gd name="connsiteY39" fmla="*/ 122237 h 620717"/>
                <a:gd name="connsiteX40" fmla="*/ 204787 w 514350"/>
                <a:gd name="connsiteY40" fmla="*/ 120650 h 620717"/>
                <a:gd name="connsiteX41" fmla="*/ 190500 w 514350"/>
                <a:gd name="connsiteY41" fmla="*/ 117475 h 620717"/>
                <a:gd name="connsiteX42" fmla="*/ 182562 w 514350"/>
                <a:gd name="connsiteY42" fmla="*/ 111125 h 620717"/>
                <a:gd name="connsiteX43" fmla="*/ 174625 w 514350"/>
                <a:gd name="connsiteY43" fmla="*/ 104775 h 620717"/>
                <a:gd name="connsiteX44" fmla="*/ 152400 w 514350"/>
                <a:gd name="connsiteY44" fmla="*/ 106362 h 620717"/>
                <a:gd name="connsiteX45" fmla="*/ 150812 w 514350"/>
                <a:gd name="connsiteY45" fmla="*/ 117475 h 620717"/>
                <a:gd name="connsiteX46" fmla="*/ 133350 w 514350"/>
                <a:gd name="connsiteY46" fmla="*/ 120650 h 620717"/>
                <a:gd name="connsiteX47" fmla="*/ 138112 w 514350"/>
                <a:gd name="connsiteY47" fmla="*/ 123825 h 620717"/>
                <a:gd name="connsiteX48" fmla="*/ 139700 w 514350"/>
                <a:gd name="connsiteY48" fmla="*/ 128587 h 620717"/>
                <a:gd name="connsiteX49" fmla="*/ 146050 w 514350"/>
                <a:gd name="connsiteY49" fmla="*/ 131762 h 620717"/>
                <a:gd name="connsiteX50" fmla="*/ 147637 w 514350"/>
                <a:gd name="connsiteY50" fmla="*/ 138112 h 620717"/>
                <a:gd name="connsiteX51" fmla="*/ 123825 w 514350"/>
                <a:gd name="connsiteY51" fmla="*/ 146050 h 620717"/>
                <a:gd name="connsiteX52" fmla="*/ 117475 w 514350"/>
                <a:gd name="connsiteY52" fmla="*/ 155575 h 620717"/>
                <a:gd name="connsiteX53" fmla="*/ 112712 w 514350"/>
                <a:gd name="connsiteY53" fmla="*/ 157162 h 620717"/>
                <a:gd name="connsiteX54" fmla="*/ 125412 w 514350"/>
                <a:gd name="connsiteY54" fmla="*/ 161925 h 620717"/>
                <a:gd name="connsiteX55" fmla="*/ 130175 w 514350"/>
                <a:gd name="connsiteY55" fmla="*/ 163512 h 620717"/>
                <a:gd name="connsiteX56" fmla="*/ 142875 w 514350"/>
                <a:gd name="connsiteY56" fmla="*/ 166687 h 620717"/>
                <a:gd name="connsiteX57" fmla="*/ 147637 w 514350"/>
                <a:gd name="connsiteY57" fmla="*/ 173037 h 620717"/>
                <a:gd name="connsiteX58" fmla="*/ 152400 w 514350"/>
                <a:gd name="connsiteY58" fmla="*/ 177800 h 620717"/>
                <a:gd name="connsiteX59" fmla="*/ 146050 w 514350"/>
                <a:gd name="connsiteY59" fmla="*/ 179387 h 620717"/>
                <a:gd name="connsiteX60" fmla="*/ 149225 w 514350"/>
                <a:gd name="connsiteY60" fmla="*/ 185737 h 620717"/>
                <a:gd name="connsiteX61" fmla="*/ 153987 w 514350"/>
                <a:gd name="connsiteY61" fmla="*/ 187325 h 620717"/>
                <a:gd name="connsiteX62" fmla="*/ 168275 w 514350"/>
                <a:gd name="connsiteY62" fmla="*/ 190500 h 620717"/>
                <a:gd name="connsiteX63" fmla="*/ 165100 w 514350"/>
                <a:gd name="connsiteY63" fmla="*/ 198437 h 620717"/>
                <a:gd name="connsiteX64" fmla="*/ 160337 w 514350"/>
                <a:gd name="connsiteY64" fmla="*/ 200025 h 620717"/>
                <a:gd name="connsiteX65" fmla="*/ 139700 w 514350"/>
                <a:gd name="connsiteY65" fmla="*/ 196850 h 620717"/>
                <a:gd name="connsiteX66" fmla="*/ 153987 w 514350"/>
                <a:gd name="connsiteY66" fmla="*/ 211137 h 620717"/>
                <a:gd name="connsiteX67" fmla="*/ 152400 w 514350"/>
                <a:gd name="connsiteY67" fmla="*/ 217487 h 620717"/>
                <a:gd name="connsiteX68" fmla="*/ 138112 w 514350"/>
                <a:gd name="connsiteY68" fmla="*/ 219075 h 620717"/>
                <a:gd name="connsiteX69" fmla="*/ 142875 w 514350"/>
                <a:gd name="connsiteY69" fmla="*/ 223837 h 620717"/>
                <a:gd name="connsiteX70" fmla="*/ 141287 w 514350"/>
                <a:gd name="connsiteY70" fmla="*/ 228600 h 620717"/>
                <a:gd name="connsiteX71" fmla="*/ 107950 w 514350"/>
                <a:gd name="connsiteY71" fmla="*/ 231775 h 620717"/>
                <a:gd name="connsiteX72" fmla="*/ 95250 w 514350"/>
                <a:gd name="connsiteY72" fmla="*/ 233362 h 620717"/>
                <a:gd name="connsiteX73" fmla="*/ 92075 w 514350"/>
                <a:gd name="connsiteY73" fmla="*/ 247650 h 620717"/>
                <a:gd name="connsiteX74" fmla="*/ 93662 w 514350"/>
                <a:gd name="connsiteY74" fmla="*/ 252412 h 620717"/>
                <a:gd name="connsiteX75" fmla="*/ 109537 w 514350"/>
                <a:gd name="connsiteY75" fmla="*/ 260350 h 620717"/>
                <a:gd name="connsiteX76" fmla="*/ 114300 w 514350"/>
                <a:gd name="connsiteY76" fmla="*/ 263525 h 620717"/>
                <a:gd name="connsiteX77" fmla="*/ 119062 w 514350"/>
                <a:gd name="connsiteY77" fmla="*/ 268287 h 620717"/>
                <a:gd name="connsiteX78" fmla="*/ 123825 w 514350"/>
                <a:gd name="connsiteY78" fmla="*/ 269875 h 620717"/>
                <a:gd name="connsiteX79" fmla="*/ 128587 w 514350"/>
                <a:gd name="connsiteY79" fmla="*/ 273050 h 620717"/>
                <a:gd name="connsiteX80" fmla="*/ 114300 w 514350"/>
                <a:gd name="connsiteY80" fmla="*/ 279400 h 620717"/>
                <a:gd name="connsiteX81" fmla="*/ 109537 w 514350"/>
                <a:gd name="connsiteY81" fmla="*/ 284162 h 620717"/>
                <a:gd name="connsiteX82" fmla="*/ 111125 w 514350"/>
                <a:gd name="connsiteY82" fmla="*/ 293687 h 620717"/>
                <a:gd name="connsiteX83" fmla="*/ 125412 w 514350"/>
                <a:gd name="connsiteY83" fmla="*/ 296862 h 620717"/>
                <a:gd name="connsiteX84" fmla="*/ 136525 w 514350"/>
                <a:gd name="connsiteY84" fmla="*/ 301625 h 620717"/>
                <a:gd name="connsiteX85" fmla="*/ 142875 w 514350"/>
                <a:gd name="connsiteY85" fmla="*/ 303212 h 620717"/>
                <a:gd name="connsiteX86" fmla="*/ 146050 w 514350"/>
                <a:gd name="connsiteY86" fmla="*/ 311150 h 620717"/>
                <a:gd name="connsiteX87" fmla="*/ 158750 w 514350"/>
                <a:gd name="connsiteY87" fmla="*/ 315912 h 620717"/>
                <a:gd name="connsiteX88" fmla="*/ 193675 w 514350"/>
                <a:gd name="connsiteY88" fmla="*/ 317500 h 620717"/>
                <a:gd name="connsiteX89" fmla="*/ 209550 w 514350"/>
                <a:gd name="connsiteY89" fmla="*/ 320675 h 620717"/>
                <a:gd name="connsiteX90" fmla="*/ 204787 w 514350"/>
                <a:gd name="connsiteY90" fmla="*/ 323850 h 620717"/>
                <a:gd name="connsiteX91" fmla="*/ 200025 w 514350"/>
                <a:gd name="connsiteY91" fmla="*/ 325437 h 620717"/>
                <a:gd name="connsiteX92" fmla="*/ 190500 w 514350"/>
                <a:gd name="connsiteY92" fmla="*/ 331787 h 620717"/>
                <a:gd name="connsiteX93" fmla="*/ 182562 w 514350"/>
                <a:gd name="connsiteY93" fmla="*/ 338137 h 620717"/>
                <a:gd name="connsiteX94" fmla="*/ 176212 w 514350"/>
                <a:gd name="connsiteY94" fmla="*/ 341312 h 620717"/>
                <a:gd name="connsiteX95" fmla="*/ 171450 w 514350"/>
                <a:gd name="connsiteY95" fmla="*/ 344487 h 620717"/>
                <a:gd name="connsiteX96" fmla="*/ 161925 w 514350"/>
                <a:gd name="connsiteY96" fmla="*/ 347662 h 620717"/>
                <a:gd name="connsiteX97" fmla="*/ 149225 w 514350"/>
                <a:gd name="connsiteY97" fmla="*/ 365125 h 620717"/>
                <a:gd name="connsiteX98" fmla="*/ 139700 w 514350"/>
                <a:gd name="connsiteY98" fmla="*/ 382587 h 620717"/>
                <a:gd name="connsiteX99" fmla="*/ 134937 w 514350"/>
                <a:gd name="connsiteY99" fmla="*/ 384175 h 620717"/>
                <a:gd name="connsiteX100" fmla="*/ 133350 w 514350"/>
                <a:gd name="connsiteY100" fmla="*/ 388937 h 620717"/>
                <a:gd name="connsiteX101" fmla="*/ 128587 w 514350"/>
                <a:gd name="connsiteY101" fmla="*/ 392112 h 620717"/>
                <a:gd name="connsiteX102" fmla="*/ 120650 w 514350"/>
                <a:gd name="connsiteY102" fmla="*/ 398462 h 620717"/>
                <a:gd name="connsiteX103" fmla="*/ 114300 w 514350"/>
                <a:gd name="connsiteY103" fmla="*/ 409575 h 620717"/>
                <a:gd name="connsiteX104" fmla="*/ 109537 w 514350"/>
                <a:gd name="connsiteY104" fmla="*/ 411162 h 620717"/>
                <a:gd name="connsiteX105" fmla="*/ 92075 w 514350"/>
                <a:gd name="connsiteY105" fmla="*/ 414337 h 620717"/>
                <a:gd name="connsiteX106" fmla="*/ 92075 w 514350"/>
                <a:gd name="connsiteY106" fmla="*/ 433387 h 620717"/>
                <a:gd name="connsiteX107" fmla="*/ 79375 w 514350"/>
                <a:gd name="connsiteY107" fmla="*/ 441325 h 620717"/>
                <a:gd name="connsiteX108" fmla="*/ 73025 w 514350"/>
                <a:gd name="connsiteY108" fmla="*/ 455612 h 620717"/>
                <a:gd name="connsiteX109" fmla="*/ 69850 w 514350"/>
                <a:gd name="connsiteY109" fmla="*/ 463550 h 620717"/>
                <a:gd name="connsiteX110" fmla="*/ 65087 w 514350"/>
                <a:gd name="connsiteY110" fmla="*/ 465137 h 620717"/>
                <a:gd name="connsiteX111" fmla="*/ 38100 w 514350"/>
                <a:gd name="connsiteY111" fmla="*/ 466725 h 620717"/>
                <a:gd name="connsiteX112" fmla="*/ 34925 w 514350"/>
                <a:gd name="connsiteY112" fmla="*/ 473075 h 620717"/>
                <a:gd name="connsiteX113" fmla="*/ 30162 w 514350"/>
                <a:gd name="connsiteY113" fmla="*/ 476250 h 620717"/>
                <a:gd name="connsiteX114" fmla="*/ 0 w 514350"/>
                <a:gd name="connsiteY114" fmla="*/ 477837 h 620717"/>
                <a:gd name="connsiteX115" fmla="*/ 4762 w 514350"/>
                <a:gd name="connsiteY115" fmla="*/ 484187 h 620717"/>
                <a:gd name="connsiteX116" fmla="*/ 23812 w 514350"/>
                <a:gd name="connsiteY116" fmla="*/ 485775 h 620717"/>
                <a:gd name="connsiteX117" fmla="*/ 30162 w 514350"/>
                <a:gd name="connsiteY117" fmla="*/ 487362 h 620717"/>
                <a:gd name="connsiteX118" fmla="*/ 39687 w 514350"/>
                <a:gd name="connsiteY118" fmla="*/ 488950 h 620717"/>
                <a:gd name="connsiteX119" fmla="*/ 33337 w 514350"/>
                <a:gd name="connsiteY119" fmla="*/ 492125 h 620717"/>
                <a:gd name="connsiteX120" fmla="*/ 25400 w 514350"/>
                <a:gd name="connsiteY120" fmla="*/ 493712 h 620717"/>
                <a:gd name="connsiteX121" fmla="*/ 19050 w 514350"/>
                <a:gd name="connsiteY121" fmla="*/ 495300 h 620717"/>
                <a:gd name="connsiteX122" fmla="*/ 14287 w 514350"/>
                <a:gd name="connsiteY122" fmla="*/ 498475 h 620717"/>
                <a:gd name="connsiteX123" fmla="*/ 4762 w 514350"/>
                <a:gd name="connsiteY123" fmla="*/ 503237 h 620717"/>
                <a:gd name="connsiteX124" fmla="*/ 3175 w 514350"/>
                <a:gd name="connsiteY124" fmla="*/ 508000 h 620717"/>
                <a:gd name="connsiteX125" fmla="*/ 4762 w 514350"/>
                <a:gd name="connsiteY125" fmla="*/ 530225 h 620717"/>
                <a:gd name="connsiteX126" fmla="*/ 11112 w 514350"/>
                <a:gd name="connsiteY126" fmla="*/ 533400 h 620717"/>
                <a:gd name="connsiteX127" fmla="*/ 20637 w 514350"/>
                <a:gd name="connsiteY127" fmla="*/ 534987 h 620717"/>
                <a:gd name="connsiteX128" fmla="*/ 26987 w 514350"/>
                <a:gd name="connsiteY128" fmla="*/ 536575 h 620717"/>
                <a:gd name="connsiteX129" fmla="*/ 39687 w 514350"/>
                <a:gd name="connsiteY129" fmla="*/ 542925 h 620717"/>
                <a:gd name="connsiteX130" fmla="*/ 44450 w 514350"/>
                <a:gd name="connsiteY130" fmla="*/ 546100 h 620717"/>
                <a:gd name="connsiteX131" fmla="*/ 58737 w 514350"/>
                <a:gd name="connsiteY131" fmla="*/ 547687 h 620717"/>
                <a:gd name="connsiteX132" fmla="*/ 47625 w 514350"/>
                <a:gd name="connsiteY132" fmla="*/ 555625 h 620717"/>
                <a:gd name="connsiteX133" fmla="*/ 30162 w 514350"/>
                <a:gd name="connsiteY133" fmla="*/ 558800 h 620717"/>
                <a:gd name="connsiteX134" fmla="*/ 7937 w 514350"/>
                <a:gd name="connsiteY134" fmla="*/ 563562 h 620717"/>
                <a:gd name="connsiteX135" fmla="*/ 7937 w 514350"/>
                <a:gd name="connsiteY135" fmla="*/ 576262 h 620717"/>
                <a:gd name="connsiteX136" fmla="*/ 17462 w 514350"/>
                <a:gd name="connsiteY136" fmla="*/ 577850 h 620717"/>
                <a:gd name="connsiteX137" fmla="*/ 39687 w 514350"/>
                <a:gd name="connsiteY137" fmla="*/ 581025 h 620717"/>
                <a:gd name="connsiteX138" fmla="*/ 47625 w 514350"/>
                <a:gd name="connsiteY138" fmla="*/ 582612 h 620717"/>
                <a:gd name="connsiteX139" fmla="*/ 61912 w 514350"/>
                <a:gd name="connsiteY139" fmla="*/ 584200 h 620717"/>
                <a:gd name="connsiteX140" fmla="*/ 66675 w 514350"/>
                <a:gd name="connsiteY140" fmla="*/ 587375 h 620717"/>
                <a:gd name="connsiteX141" fmla="*/ 53975 w 514350"/>
                <a:gd name="connsiteY141" fmla="*/ 593725 h 620717"/>
                <a:gd name="connsiteX142" fmla="*/ 52387 w 514350"/>
                <a:gd name="connsiteY142" fmla="*/ 601662 h 620717"/>
                <a:gd name="connsiteX143" fmla="*/ 50800 w 514350"/>
                <a:gd name="connsiteY143" fmla="*/ 606425 h 620717"/>
                <a:gd name="connsiteX144" fmla="*/ 55562 w 514350"/>
                <a:gd name="connsiteY144" fmla="*/ 614362 h 620717"/>
                <a:gd name="connsiteX145" fmla="*/ 79375 w 514350"/>
                <a:gd name="connsiteY145" fmla="*/ 609600 h 620717"/>
                <a:gd name="connsiteX146" fmla="*/ 123825 w 514350"/>
                <a:gd name="connsiteY146" fmla="*/ 612775 h 620717"/>
                <a:gd name="connsiteX147" fmla="*/ 130175 w 514350"/>
                <a:gd name="connsiteY147" fmla="*/ 617537 h 620717"/>
                <a:gd name="connsiteX148" fmla="*/ 144462 w 514350"/>
                <a:gd name="connsiteY148" fmla="*/ 620712 h 620717"/>
                <a:gd name="connsiteX149" fmla="*/ 173037 w 514350"/>
                <a:gd name="connsiteY149" fmla="*/ 617537 h 620717"/>
                <a:gd name="connsiteX150" fmla="*/ 180975 w 514350"/>
                <a:gd name="connsiteY150" fmla="*/ 614362 h 620717"/>
                <a:gd name="connsiteX151" fmla="*/ 187325 w 514350"/>
                <a:gd name="connsiteY151" fmla="*/ 609600 h 620717"/>
                <a:gd name="connsiteX152" fmla="*/ 196850 w 514350"/>
                <a:gd name="connsiteY152" fmla="*/ 606425 h 620717"/>
                <a:gd name="connsiteX153" fmla="*/ 198437 w 514350"/>
                <a:gd name="connsiteY153" fmla="*/ 600075 h 620717"/>
                <a:gd name="connsiteX154" fmla="*/ 203200 w 514350"/>
                <a:gd name="connsiteY154" fmla="*/ 595312 h 620717"/>
                <a:gd name="connsiteX155" fmla="*/ 215900 w 514350"/>
                <a:gd name="connsiteY155" fmla="*/ 581025 h 620717"/>
                <a:gd name="connsiteX156" fmla="*/ 230187 w 514350"/>
                <a:gd name="connsiteY156" fmla="*/ 582612 h 620717"/>
                <a:gd name="connsiteX157" fmla="*/ 238125 w 514350"/>
                <a:gd name="connsiteY157" fmla="*/ 584200 h 620717"/>
                <a:gd name="connsiteX158" fmla="*/ 261937 w 514350"/>
                <a:gd name="connsiteY158" fmla="*/ 581025 h 620717"/>
                <a:gd name="connsiteX159" fmla="*/ 263525 w 514350"/>
                <a:gd name="connsiteY159" fmla="*/ 576262 h 620717"/>
                <a:gd name="connsiteX160" fmla="*/ 266700 w 514350"/>
                <a:gd name="connsiteY160" fmla="*/ 582612 h 620717"/>
                <a:gd name="connsiteX161" fmla="*/ 277812 w 514350"/>
                <a:gd name="connsiteY161" fmla="*/ 590550 h 620717"/>
                <a:gd name="connsiteX162" fmla="*/ 279400 w 514350"/>
                <a:gd name="connsiteY162" fmla="*/ 579437 h 620717"/>
                <a:gd name="connsiteX163" fmla="*/ 287337 w 514350"/>
                <a:gd name="connsiteY163" fmla="*/ 571500 h 620717"/>
                <a:gd name="connsiteX164" fmla="*/ 290512 w 514350"/>
                <a:gd name="connsiteY164" fmla="*/ 566737 h 620717"/>
                <a:gd name="connsiteX165" fmla="*/ 311150 w 514350"/>
                <a:gd name="connsiteY165" fmla="*/ 558800 h 620717"/>
                <a:gd name="connsiteX166" fmla="*/ 354012 w 514350"/>
                <a:gd name="connsiteY166" fmla="*/ 554037 h 620717"/>
                <a:gd name="connsiteX167" fmla="*/ 360362 w 514350"/>
                <a:gd name="connsiteY167" fmla="*/ 561975 h 620717"/>
                <a:gd name="connsiteX168" fmla="*/ 365125 w 514350"/>
                <a:gd name="connsiteY168" fmla="*/ 563562 h 620717"/>
                <a:gd name="connsiteX169" fmla="*/ 366712 w 514350"/>
                <a:gd name="connsiteY169" fmla="*/ 557212 h 620717"/>
                <a:gd name="connsiteX170" fmla="*/ 368300 w 514350"/>
                <a:gd name="connsiteY170" fmla="*/ 552450 h 620717"/>
                <a:gd name="connsiteX171" fmla="*/ 377825 w 514350"/>
                <a:gd name="connsiteY171" fmla="*/ 557212 h 620717"/>
                <a:gd name="connsiteX172" fmla="*/ 382587 w 514350"/>
                <a:gd name="connsiteY172" fmla="*/ 563562 h 620717"/>
                <a:gd name="connsiteX173" fmla="*/ 404812 w 514350"/>
                <a:gd name="connsiteY173" fmla="*/ 565150 h 620717"/>
                <a:gd name="connsiteX174" fmla="*/ 414337 w 514350"/>
                <a:gd name="connsiteY174" fmla="*/ 571500 h 620717"/>
                <a:gd name="connsiteX175" fmla="*/ 419100 w 514350"/>
                <a:gd name="connsiteY175" fmla="*/ 574675 h 620717"/>
                <a:gd name="connsiteX176" fmla="*/ 436562 w 514350"/>
                <a:gd name="connsiteY176" fmla="*/ 573087 h 620717"/>
                <a:gd name="connsiteX177" fmla="*/ 434975 w 514350"/>
                <a:gd name="connsiteY177" fmla="*/ 566737 h 620717"/>
                <a:gd name="connsiteX178" fmla="*/ 430212 w 514350"/>
                <a:gd name="connsiteY178" fmla="*/ 546100 h 620717"/>
                <a:gd name="connsiteX179" fmla="*/ 433387 w 514350"/>
                <a:gd name="connsiteY179" fmla="*/ 531812 h 620717"/>
                <a:gd name="connsiteX180" fmla="*/ 446087 w 514350"/>
                <a:gd name="connsiteY180" fmla="*/ 525462 h 620717"/>
                <a:gd name="connsiteX181" fmla="*/ 452437 w 514350"/>
                <a:gd name="connsiteY181" fmla="*/ 519112 h 620717"/>
                <a:gd name="connsiteX182" fmla="*/ 463550 w 514350"/>
                <a:gd name="connsiteY182" fmla="*/ 514350 h 620717"/>
                <a:gd name="connsiteX183" fmla="*/ 465137 w 514350"/>
                <a:gd name="connsiteY183" fmla="*/ 508000 h 620717"/>
                <a:gd name="connsiteX184" fmla="*/ 466725 w 514350"/>
                <a:gd name="connsiteY184" fmla="*/ 485775 h 620717"/>
                <a:gd name="connsiteX185" fmla="*/ 482600 w 514350"/>
                <a:gd name="connsiteY185" fmla="*/ 474662 h 620717"/>
                <a:gd name="connsiteX186" fmla="*/ 495300 w 514350"/>
                <a:gd name="connsiteY186" fmla="*/ 458787 h 620717"/>
                <a:gd name="connsiteX187" fmla="*/ 501650 w 514350"/>
                <a:gd name="connsiteY187" fmla="*/ 438150 h 620717"/>
                <a:gd name="connsiteX188" fmla="*/ 506412 w 514350"/>
                <a:gd name="connsiteY188" fmla="*/ 433387 h 620717"/>
                <a:gd name="connsiteX189" fmla="*/ 506412 w 514350"/>
                <a:gd name="connsiteY189" fmla="*/ 401637 h 620717"/>
                <a:gd name="connsiteX190" fmla="*/ 501650 w 514350"/>
                <a:gd name="connsiteY190" fmla="*/ 398462 h 620717"/>
                <a:gd name="connsiteX191" fmla="*/ 498475 w 514350"/>
                <a:gd name="connsiteY191" fmla="*/ 392112 h 620717"/>
                <a:gd name="connsiteX192" fmla="*/ 503237 w 514350"/>
                <a:gd name="connsiteY192" fmla="*/ 360362 h 620717"/>
                <a:gd name="connsiteX193" fmla="*/ 508000 w 514350"/>
                <a:gd name="connsiteY193" fmla="*/ 355600 h 620717"/>
                <a:gd name="connsiteX194" fmla="*/ 514350 w 514350"/>
                <a:gd name="connsiteY194" fmla="*/ 346075 h 620717"/>
                <a:gd name="connsiteX195" fmla="*/ 511175 w 514350"/>
                <a:gd name="connsiteY195" fmla="*/ 331787 h 620717"/>
                <a:gd name="connsiteX196" fmla="*/ 506412 w 514350"/>
                <a:gd name="connsiteY196" fmla="*/ 327025 h 620717"/>
                <a:gd name="connsiteX197" fmla="*/ 504825 w 514350"/>
                <a:gd name="connsiteY197" fmla="*/ 315912 h 620717"/>
                <a:gd name="connsiteX198" fmla="*/ 508000 w 514350"/>
                <a:gd name="connsiteY198" fmla="*/ 290512 h 620717"/>
                <a:gd name="connsiteX199" fmla="*/ 506412 w 514350"/>
                <a:gd name="connsiteY199" fmla="*/ 282575 h 620717"/>
                <a:gd name="connsiteX200" fmla="*/ 495300 w 514350"/>
                <a:gd name="connsiteY200" fmla="*/ 276225 h 620717"/>
                <a:gd name="connsiteX201" fmla="*/ 496887 w 514350"/>
                <a:gd name="connsiteY201" fmla="*/ 268287 h 620717"/>
                <a:gd name="connsiteX202" fmla="*/ 501650 w 514350"/>
                <a:gd name="connsiteY202" fmla="*/ 266700 h 620717"/>
                <a:gd name="connsiteX203" fmla="*/ 506412 w 514350"/>
                <a:gd name="connsiteY203" fmla="*/ 263525 h 620717"/>
                <a:gd name="connsiteX204" fmla="*/ 509587 w 514350"/>
                <a:gd name="connsiteY204" fmla="*/ 258762 h 620717"/>
                <a:gd name="connsiteX205" fmla="*/ 511175 w 514350"/>
                <a:gd name="connsiteY205" fmla="*/ 254000 h 620717"/>
                <a:gd name="connsiteX206" fmla="*/ 514350 w 514350"/>
                <a:gd name="connsiteY206" fmla="*/ 246062 h 620717"/>
                <a:gd name="connsiteX207" fmla="*/ 512762 w 514350"/>
                <a:gd name="connsiteY207" fmla="*/ 239712 h 620717"/>
                <a:gd name="connsiteX208" fmla="*/ 496887 w 514350"/>
                <a:gd name="connsiteY208" fmla="*/ 239712 h 620717"/>
                <a:gd name="connsiteX209" fmla="*/ 492125 w 514350"/>
                <a:gd name="connsiteY209" fmla="*/ 241300 h 620717"/>
                <a:gd name="connsiteX210" fmla="*/ 485775 w 514350"/>
                <a:gd name="connsiteY210" fmla="*/ 244475 h 620717"/>
                <a:gd name="connsiteX211" fmla="*/ 481012 w 514350"/>
                <a:gd name="connsiteY211" fmla="*/ 234950 h 620717"/>
                <a:gd name="connsiteX212" fmla="*/ 479425 w 514350"/>
                <a:gd name="connsiteY212" fmla="*/ 222250 h 620717"/>
                <a:gd name="connsiteX213" fmla="*/ 477837 w 514350"/>
                <a:gd name="connsiteY213" fmla="*/ 215900 h 620717"/>
                <a:gd name="connsiteX214" fmla="*/ 473075 w 514350"/>
                <a:gd name="connsiteY214" fmla="*/ 190500 h 620717"/>
                <a:gd name="connsiteX215" fmla="*/ 468312 w 514350"/>
                <a:gd name="connsiteY215" fmla="*/ 176212 h 620717"/>
                <a:gd name="connsiteX216" fmla="*/ 458787 w 514350"/>
                <a:gd name="connsiteY216" fmla="*/ 171450 h 620717"/>
                <a:gd name="connsiteX217" fmla="*/ 449262 w 514350"/>
                <a:gd name="connsiteY217" fmla="*/ 173037 h 620717"/>
                <a:gd name="connsiteX218" fmla="*/ 438150 w 514350"/>
                <a:gd name="connsiteY218" fmla="*/ 182562 h 620717"/>
                <a:gd name="connsiteX219" fmla="*/ 434975 w 514350"/>
                <a:gd name="connsiteY219" fmla="*/ 188912 h 620717"/>
                <a:gd name="connsiteX220" fmla="*/ 428625 w 514350"/>
                <a:gd name="connsiteY220" fmla="*/ 196850 h 620717"/>
                <a:gd name="connsiteX221" fmla="*/ 417512 w 514350"/>
                <a:gd name="connsiteY221" fmla="*/ 206375 h 620717"/>
                <a:gd name="connsiteX222" fmla="*/ 412750 w 514350"/>
                <a:gd name="connsiteY222" fmla="*/ 207962 h 620717"/>
                <a:gd name="connsiteX223" fmla="*/ 401637 w 514350"/>
                <a:gd name="connsiteY223" fmla="*/ 206375 h 620717"/>
                <a:gd name="connsiteX224" fmla="*/ 395287 w 514350"/>
                <a:gd name="connsiteY224" fmla="*/ 200025 h 620717"/>
                <a:gd name="connsiteX225" fmla="*/ 390525 w 514350"/>
                <a:gd name="connsiteY225" fmla="*/ 196850 h 620717"/>
                <a:gd name="connsiteX226" fmla="*/ 385762 w 514350"/>
                <a:gd name="connsiteY226" fmla="*/ 190500 h 620717"/>
                <a:gd name="connsiteX227" fmla="*/ 368300 w 514350"/>
                <a:gd name="connsiteY227" fmla="*/ 171450 h 620717"/>
                <a:gd name="connsiteX228" fmla="*/ 363537 w 514350"/>
                <a:gd name="connsiteY228" fmla="*/ 160337 h 620717"/>
                <a:gd name="connsiteX229" fmla="*/ 358775 w 514350"/>
                <a:gd name="connsiteY229" fmla="*/ 157162 h 620717"/>
                <a:gd name="connsiteX230" fmla="*/ 349250 w 514350"/>
                <a:gd name="connsiteY230" fmla="*/ 144462 h 620717"/>
                <a:gd name="connsiteX231" fmla="*/ 346075 w 514350"/>
                <a:gd name="connsiteY231" fmla="*/ 138112 h 620717"/>
                <a:gd name="connsiteX232" fmla="*/ 350837 w 514350"/>
                <a:gd name="connsiteY232" fmla="*/ 128587 h 620717"/>
                <a:gd name="connsiteX233" fmla="*/ 357187 w 514350"/>
                <a:gd name="connsiteY233" fmla="*/ 127000 h 620717"/>
                <a:gd name="connsiteX234" fmla="*/ 368300 w 514350"/>
                <a:gd name="connsiteY234" fmla="*/ 125412 h 620717"/>
                <a:gd name="connsiteX235" fmla="*/ 374650 w 514350"/>
                <a:gd name="connsiteY235" fmla="*/ 123825 h 620717"/>
                <a:gd name="connsiteX236" fmla="*/ 384175 w 514350"/>
                <a:gd name="connsiteY236" fmla="*/ 120650 h 620717"/>
                <a:gd name="connsiteX237" fmla="*/ 392112 w 514350"/>
                <a:gd name="connsiteY237" fmla="*/ 111125 h 620717"/>
                <a:gd name="connsiteX238" fmla="*/ 388937 w 514350"/>
                <a:gd name="connsiteY238" fmla="*/ 100012 h 620717"/>
                <a:gd name="connsiteX239" fmla="*/ 390525 w 514350"/>
                <a:gd name="connsiteY239" fmla="*/ 93662 h 620717"/>
                <a:gd name="connsiteX240" fmla="*/ 401637 w 514350"/>
                <a:gd name="connsiteY240" fmla="*/ 95250 h 620717"/>
                <a:gd name="connsiteX241" fmla="*/ 423862 w 514350"/>
                <a:gd name="connsiteY241" fmla="*/ 93662 h 620717"/>
                <a:gd name="connsiteX242" fmla="*/ 430212 w 514350"/>
                <a:gd name="connsiteY242" fmla="*/ 87312 h 620717"/>
                <a:gd name="connsiteX243" fmla="*/ 431800 w 514350"/>
                <a:gd name="connsiteY243" fmla="*/ 61912 h 620717"/>
                <a:gd name="connsiteX244" fmla="*/ 443914 w 514350"/>
                <a:gd name="connsiteY244" fmla="*/ 64084 h 620717"/>
                <a:gd name="connsiteX245" fmla="*/ 448737 w 514350"/>
                <a:gd name="connsiteY245" fmla="*/ 66117 h 620717"/>
                <a:gd name="connsiteX246" fmla="*/ 435858 w 514350"/>
                <a:gd name="connsiteY246" fmla="*/ 67146 h 620717"/>
                <a:gd name="connsiteX247" fmla="*/ 451852 w 514350"/>
                <a:gd name="connsiteY247" fmla="*/ 72772 h 620717"/>
                <a:gd name="connsiteX248" fmla="*/ 439737 w 514350"/>
                <a:gd name="connsiteY248" fmla="*/ 79845 h 620717"/>
                <a:gd name="connsiteX249" fmla="*/ 442912 w 514350"/>
                <a:gd name="connsiteY249" fmla="*/ 49212 h 620717"/>
                <a:gd name="connsiteX250" fmla="*/ 455612 w 514350"/>
                <a:gd name="connsiteY250" fmla="*/ 69850 h 620717"/>
                <a:gd name="connsiteX251" fmla="*/ 461962 w 514350"/>
                <a:gd name="connsiteY251" fmla="*/ 68262 h 620717"/>
                <a:gd name="connsiteX252" fmla="*/ 466725 w 514350"/>
                <a:gd name="connsiteY252" fmla="*/ 61912 h 620717"/>
                <a:gd name="connsiteX253" fmla="*/ 492125 w 514350"/>
                <a:gd name="connsiteY253" fmla="*/ 53975 h 620717"/>
                <a:gd name="connsiteX254" fmla="*/ 496887 w 514350"/>
                <a:gd name="connsiteY254" fmla="*/ 49212 h 620717"/>
                <a:gd name="connsiteX255" fmla="*/ 500062 w 514350"/>
                <a:gd name="connsiteY255" fmla="*/ 41275 h 620717"/>
                <a:gd name="connsiteX256" fmla="*/ 496887 w 514350"/>
                <a:gd name="connsiteY256"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34270 w 514350"/>
                <a:gd name="connsiteY9" fmla="*/ 49099 h 620717"/>
                <a:gd name="connsiteX10" fmla="*/ 409575 w 514350"/>
                <a:gd name="connsiteY10" fmla="*/ 14287 h 620717"/>
                <a:gd name="connsiteX11" fmla="*/ 401637 w 514350"/>
                <a:gd name="connsiteY11" fmla="*/ 12700 h 620717"/>
                <a:gd name="connsiteX12" fmla="*/ 352425 w 514350"/>
                <a:gd name="connsiteY12" fmla="*/ 19050 h 620717"/>
                <a:gd name="connsiteX13" fmla="*/ 350837 w 514350"/>
                <a:gd name="connsiteY13" fmla="*/ 23812 h 620717"/>
                <a:gd name="connsiteX14" fmla="*/ 352425 w 514350"/>
                <a:gd name="connsiteY14" fmla="*/ 38100 h 620717"/>
                <a:gd name="connsiteX15" fmla="*/ 357187 w 514350"/>
                <a:gd name="connsiteY15" fmla="*/ 44450 h 620717"/>
                <a:gd name="connsiteX16" fmla="*/ 349250 w 514350"/>
                <a:gd name="connsiteY16" fmla="*/ 58737 h 620717"/>
                <a:gd name="connsiteX17" fmla="*/ 328612 w 514350"/>
                <a:gd name="connsiteY17" fmla="*/ 60325 h 620717"/>
                <a:gd name="connsiteX18" fmla="*/ 307975 w 514350"/>
                <a:gd name="connsiteY18" fmla="*/ 68262 h 620717"/>
                <a:gd name="connsiteX19" fmla="*/ 295275 w 514350"/>
                <a:gd name="connsiteY19" fmla="*/ 73025 h 620717"/>
                <a:gd name="connsiteX20" fmla="*/ 292100 w 514350"/>
                <a:gd name="connsiteY20" fmla="*/ 77787 h 620717"/>
                <a:gd name="connsiteX21" fmla="*/ 296862 w 514350"/>
                <a:gd name="connsiteY21" fmla="*/ 79375 h 620717"/>
                <a:gd name="connsiteX22" fmla="*/ 311150 w 514350"/>
                <a:gd name="connsiteY22" fmla="*/ 82550 h 620717"/>
                <a:gd name="connsiteX23" fmla="*/ 319087 w 514350"/>
                <a:gd name="connsiteY23" fmla="*/ 87312 h 620717"/>
                <a:gd name="connsiteX24" fmla="*/ 323850 w 514350"/>
                <a:gd name="connsiteY24" fmla="*/ 88900 h 620717"/>
                <a:gd name="connsiteX25" fmla="*/ 336550 w 514350"/>
                <a:gd name="connsiteY25" fmla="*/ 103187 h 620717"/>
                <a:gd name="connsiteX26" fmla="*/ 334962 w 514350"/>
                <a:gd name="connsiteY26" fmla="*/ 114300 h 620717"/>
                <a:gd name="connsiteX27" fmla="*/ 330200 w 514350"/>
                <a:gd name="connsiteY27" fmla="*/ 115887 h 620717"/>
                <a:gd name="connsiteX28" fmla="*/ 315912 w 514350"/>
                <a:gd name="connsiteY28" fmla="*/ 130175 h 620717"/>
                <a:gd name="connsiteX29" fmla="*/ 307975 w 514350"/>
                <a:gd name="connsiteY29" fmla="*/ 131762 h 620717"/>
                <a:gd name="connsiteX30" fmla="*/ 300037 w 514350"/>
                <a:gd name="connsiteY30" fmla="*/ 134937 h 620717"/>
                <a:gd name="connsiteX31" fmla="*/ 296862 w 514350"/>
                <a:gd name="connsiteY31" fmla="*/ 142875 h 620717"/>
                <a:gd name="connsiteX32" fmla="*/ 282575 w 514350"/>
                <a:gd name="connsiteY32" fmla="*/ 157162 h 620717"/>
                <a:gd name="connsiteX33" fmla="*/ 273050 w 514350"/>
                <a:gd name="connsiteY33" fmla="*/ 153987 h 620717"/>
                <a:gd name="connsiteX34" fmla="*/ 261937 w 514350"/>
                <a:gd name="connsiteY34" fmla="*/ 147637 h 620717"/>
                <a:gd name="connsiteX35" fmla="*/ 242887 w 514350"/>
                <a:gd name="connsiteY35" fmla="*/ 149225 h 620717"/>
                <a:gd name="connsiteX36" fmla="*/ 236537 w 514350"/>
                <a:gd name="connsiteY36" fmla="*/ 150812 h 620717"/>
                <a:gd name="connsiteX37" fmla="*/ 231775 w 514350"/>
                <a:gd name="connsiteY37" fmla="*/ 142875 h 620717"/>
                <a:gd name="connsiteX38" fmla="*/ 225425 w 514350"/>
                <a:gd name="connsiteY38" fmla="*/ 123825 h 620717"/>
                <a:gd name="connsiteX39" fmla="*/ 219075 w 514350"/>
                <a:gd name="connsiteY39" fmla="*/ 122237 h 620717"/>
                <a:gd name="connsiteX40" fmla="*/ 204787 w 514350"/>
                <a:gd name="connsiteY40" fmla="*/ 120650 h 620717"/>
                <a:gd name="connsiteX41" fmla="*/ 190500 w 514350"/>
                <a:gd name="connsiteY41" fmla="*/ 117475 h 620717"/>
                <a:gd name="connsiteX42" fmla="*/ 182562 w 514350"/>
                <a:gd name="connsiteY42" fmla="*/ 111125 h 620717"/>
                <a:gd name="connsiteX43" fmla="*/ 174625 w 514350"/>
                <a:gd name="connsiteY43" fmla="*/ 104775 h 620717"/>
                <a:gd name="connsiteX44" fmla="*/ 152400 w 514350"/>
                <a:gd name="connsiteY44" fmla="*/ 106362 h 620717"/>
                <a:gd name="connsiteX45" fmla="*/ 150812 w 514350"/>
                <a:gd name="connsiteY45" fmla="*/ 117475 h 620717"/>
                <a:gd name="connsiteX46" fmla="*/ 133350 w 514350"/>
                <a:gd name="connsiteY46" fmla="*/ 120650 h 620717"/>
                <a:gd name="connsiteX47" fmla="*/ 138112 w 514350"/>
                <a:gd name="connsiteY47" fmla="*/ 123825 h 620717"/>
                <a:gd name="connsiteX48" fmla="*/ 139700 w 514350"/>
                <a:gd name="connsiteY48" fmla="*/ 128587 h 620717"/>
                <a:gd name="connsiteX49" fmla="*/ 146050 w 514350"/>
                <a:gd name="connsiteY49" fmla="*/ 131762 h 620717"/>
                <a:gd name="connsiteX50" fmla="*/ 147637 w 514350"/>
                <a:gd name="connsiteY50" fmla="*/ 138112 h 620717"/>
                <a:gd name="connsiteX51" fmla="*/ 123825 w 514350"/>
                <a:gd name="connsiteY51" fmla="*/ 146050 h 620717"/>
                <a:gd name="connsiteX52" fmla="*/ 117475 w 514350"/>
                <a:gd name="connsiteY52" fmla="*/ 155575 h 620717"/>
                <a:gd name="connsiteX53" fmla="*/ 112712 w 514350"/>
                <a:gd name="connsiteY53" fmla="*/ 157162 h 620717"/>
                <a:gd name="connsiteX54" fmla="*/ 125412 w 514350"/>
                <a:gd name="connsiteY54" fmla="*/ 161925 h 620717"/>
                <a:gd name="connsiteX55" fmla="*/ 130175 w 514350"/>
                <a:gd name="connsiteY55" fmla="*/ 163512 h 620717"/>
                <a:gd name="connsiteX56" fmla="*/ 142875 w 514350"/>
                <a:gd name="connsiteY56" fmla="*/ 166687 h 620717"/>
                <a:gd name="connsiteX57" fmla="*/ 147637 w 514350"/>
                <a:gd name="connsiteY57" fmla="*/ 173037 h 620717"/>
                <a:gd name="connsiteX58" fmla="*/ 152400 w 514350"/>
                <a:gd name="connsiteY58" fmla="*/ 177800 h 620717"/>
                <a:gd name="connsiteX59" fmla="*/ 146050 w 514350"/>
                <a:gd name="connsiteY59" fmla="*/ 179387 h 620717"/>
                <a:gd name="connsiteX60" fmla="*/ 149225 w 514350"/>
                <a:gd name="connsiteY60" fmla="*/ 185737 h 620717"/>
                <a:gd name="connsiteX61" fmla="*/ 153987 w 514350"/>
                <a:gd name="connsiteY61" fmla="*/ 187325 h 620717"/>
                <a:gd name="connsiteX62" fmla="*/ 168275 w 514350"/>
                <a:gd name="connsiteY62" fmla="*/ 190500 h 620717"/>
                <a:gd name="connsiteX63" fmla="*/ 165100 w 514350"/>
                <a:gd name="connsiteY63" fmla="*/ 198437 h 620717"/>
                <a:gd name="connsiteX64" fmla="*/ 160337 w 514350"/>
                <a:gd name="connsiteY64" fmla="*/ 200025 h 620717"/>
                <a:gd name="connsiteX65" fmla="*/ 139700 w 514350"/>
                <a:gd name="connsiteY65" fmla="*/ 196850 h 620717"/>
                <a:gd name="connsiteX66" fmla="*/ 153987 w 514350"/>
                <a:gd name="connsiteY66" fmla="*/ 211137 h 620717"/>
                <a:gd name="connsiteX67" fmla="*/ 152400 w 514350"/>
                <a:gd name="connsiteY67" fmla="*/ 217487 h 620717"/>
                <a:gd name="connsiteX68" fmla="*/ 138112 w 514350"/>
                <a:gd name="connsiteY68" fmla="*/ 219075 h 620717"/>
                <a:gd name="connsiteX69" fmla="*/ 142875 w 514350"/>
                <a:gd name="connsiteY69" fmla="*/ 223837 h 620717"/>
                <a:gd name="connsiteX70" fmla="*/ 141287 w 514350"/>
                <a:gd name="connsiteY70" fmla="*/ 228600 h 620717"/>
                <a:gd name="connsiteX71" fmla="*/ 107950 w 514350"/>
                <a:gd name="connsiteY71" fmla="*/ 231775 h 620717"/>
                <a:gd name="connsiteX72" fmla="*/ 95250 w 514350"/>
                <a:gd name="connsiteY72" fmla="*/ 233362 h 620717"/>
                <a:gd name="connsiteX73" fmla="*/ 92075 w 514350"/>
                <a:gd name="connsiteY73" fmla="*/ 247650 h 620717"/>
                <a:gd name="connsiteX74" fmla="*/ 93662 w 514350"/>
                <a:gd name="connsiteY74" fmla="*/ 252412 h 620717"/>
                <a:gd name="connsiteX75" fmla="*/ 109537 w 514350"/>
                <a:gd name="connsiteY75" fmla="*/ 260350 h 620717"/>
                <a:gd name="connsiteX76" fmla="*/ 114300 w 514350"/>
                <a:gd name="connsiteY76" fmla="*/ 263525 h 620717"/>
                <a:gd name="connsiteX77" fmla="*/ 119062 w 514350"/>
                <a:gd name="connsiteY77" fmla="*/ 268287 h 620717"/>
                <a:gd name="connsiteX78" fmla="*/ 123825 w 514350"/>
                <a:gd name="connsiteY78" fmla="*/ 269875 h 620717"/>
                <a:gd name="connsiteX79" fmla="*/ 128587 w 514350"/>
                <a:gd name="connsiteY79" fmla="*/ 273050 h 620717"/>
                <a:gd name="connsiteX80" fmla="*/ 114300 w 514350"/>
                <a:gd name="connsiteY80" fmla="*/ 279400 h 620717"/>
                <a:gd name="connsiteX81" fmla="*/ 109537 w 514350"/>
                <a:gd name="connsiteY81" fmla="*/ 284162 h 620717"/>
                <a:gd name="connsiteX82" fmla="*/ 111125 w 514350"/>
                <a:gd name="connsiteY82" fmla="*/ 293687 h 620717"/>
                <a:gd name="connsiteX83" fmla="*/ 125412 w 514350"/>
                <a:gd name="connsiteY83" fmla="*/ 296862 h 620717"/>
                <a:gd name="connsiteX84" fmla="*/ 136525 w 514350"/>
                <a:gd name="connsiteY84" fmla="*/ 301625 h 620717"/>
                <a:gd name="connsiteX85" fmla="*/ 142875 w 514350"/>
                <a:gd name="connsiteY85" fmla="*/ 303212 h 620717"/>
                <a:gd name="connsiteX86" fmla="*/ 146050 w 514350"/>
                <a:gd name="connsiteY86" fmla="*/ 311150 h 620717"/>
                <a:gd name="connsiteX87" fmla="*/ 158750 w 514350"/>
                <a:gd name="connsiteY87" fmla="*/ 315912 h 620717"/>
                <a:gd name="connsiteX88" fmla="*/ 193675 w 514350"/>
                <a:gd name="connsiteY88" fmla="*/ 317500 h 620717"/>
                <a:gd name="connsiteX89" fmla="*/ 209550 w 514350"/>
                <a:gd name="connsiteY89" fmla="*/ 320675 h 620717"/>
                <a:gd name="connsiteX90" fmla="*/ 204787 w 514350"/>
                <a:gd name="connsiteY90" fmla="*/ 323850 h 620717"/>
                <a:gd name="connsiteX91" fmla="*/ 200025 w 514350"/>
                <a:gd name="connsiteY91" fmla="*/ 325437 h 620717"/>
                <a:gd name="connsiteX92" fmla="*/ 190500 w 514350"/>
                <a:gd name="connsiteY92" fmla="*/ 331787 h 620717"/>
                <a:gd name="connsiteX93" fmla="*/ 182562 w 514350"/>
                <a:gd name="connsiteY93" fmla="*/ 338137 h 620717"/>
                <a:gd name="connsiteX94" fmla="*/ 176212 w 514350"/>
                <a:gd name="connsiteY94" fmla="*/ 341312 h 620717"/>
                <a:gd name="connsiteX95" fmla="*/ 171450 w 514350"/>
                <a:gd name="connsiteY95" fmla="*/ 344487 h 620717"/>
                <a:gd name="connsiteX96" fmla="*/ 161925 w 514350"/>
                <a:gd name="connsiteY96" fmla="*/ 347662 h 620717"/>
                <a:gd name="connsiteX97" fmla="*/ 149225 w 514350"/>
                <a:gd name="connsiteY97" fmla="*/ 365125 h 620717"/>
                <a:gd name="connsiteX98" fmla="*/ 139700 w 514350"/>
                <a:gd name="connsiteY98" fmla="*/ 382587 h 620717"/>
                <a:gd name="connsiteX99" fmla="*/ 134937 w 514350"/>
                <a:gd name="connsiteY99" fmla="*/ 384175 h 620717"/>
                <a:gd name="connsiteX100" fmla="*/ 133350 w 514350"/>
                <a:gd name="connsiteY100" fmla="*/ 388937 h 620717"/>
                <a:gd name="connsiteX101" fmla="*/ 128587 w 514350"/>
                <a:gd name="connsiteY101" fmla="*/ 392112 h 620717"/>
                <a:gd name="connsiteX102" fmla="*/ 120650 w 514350"/>
                <a:gd name="connsiteY102" fmla="*/ 398462 h 620717"/>
                <a:gd name="connsiteX103" fmla="*/ 114300 w 514350"/>
                <a:gd name="connsiteY103" fmla="*/ 409575 h 620717"/>
                <a:gd name="connsiteX104" fmla="*/ 109537 w 514350"/>
                <a:gd name="connsiteY104" fmla="*/ 411162 h 620717"/>
                <a:gd name="connsiteX105" fmla="*/ 92075 w 514350"/>
                <a:gd name="connsiteY105" fmla="*/ 414337 h 620717"/>
                <a:gd name="connsiteX106" fmla="*/ 92075 w 514350"/>
                <a:gd name="connsiteY106" fmla="*/ 433387 h 620717"/>
                <a:gd name="connsiteX107" fmla="*/ 79375 w 514350"/>
                <a:gd name="connsiteY107" fmla="*/ 441325 h 620717"/>
                <a:gd name="connsiteX108" fmla="*/ 73025 w 514350"/>
                <a:gd name="connsiteY108" fmla="*/ 455612 h 620717"/>
                <a:gd name="connsiteX109" fmla="*/ 69850 w 514350"/>
                <a:gd name="connsiteY109" fmla="*/ 463550 h 620717"/>
                <a:gd name="connsiteX110" fmla="*/ 65087 w 514350"/>
                <a:gd name="connsiteY110" fmla="*/ 465137 h 620717"/>
                <a:gd name="connsiteX111" fmla="*/ 38100 w 514350"/>
                <a:gd name="connsiteY111" fmla="*/ 466725 h 620717"/>
                <a:gd name="connsiteX112" fmla="*/ 34925 w 514350"/>
                <a:gd name="connsiteY112" fmla="*/ 473075 h 620717"/>
                <a:gd name="connsiteX113" fmla="*/ 30162 w 514350"/>
                <a:gd name="connsiteY113" fmla="*/ 476250 h 620717"/>
                <a:gd name="connsiteX114" fmla="*/ 0 w 514350"/>
                <a:gd name="connsiteY114" fmla="*/ 477837 h 620717"/>
                <a:gd name="connsiteX115" fmla="*/ 4762 w 514350"/>
                <a:gd name="connsiteY115" fmla="*/ 484187 h 620717"/>
                <a:gd name="connsiteX116" fmla="*/ 23812 w 514350"/>
                <a:gd name="connsiteY116" fmla="*/ 485775 h 620717"/>
                <a:gd name="connsiteX117" fmla="*/ 30162 w 514350"/>
                <a:gd name="connsiteY117" fmla="*/ 487362 h 620717"/>
                <a:gd name="connsiteX118" fmla="*/ 39687 w 514350"/>
                <a:gd name="connsiteY118" fmla="*/ 488950 h 620717"/>
                <a:gd name="connsiteX119" fmla="*/ 33337 w 514350"/>
                <a:gd name="connsiteY119" fmla="*/ 492125 h 620717"/>
                <a:gd name="connsiteX120" fmla="*/ 25400 w 514350"/>
                <a:gd name="connsiteY120" fmla="*/ 493712 h 620717"/>
                <a:gd name="connsiteX121" fmla="*/ 19050 w 514350"/>
                <a:gd name="connsiteY121" fmla="*/ 495300 h 620717"/>
                <a:gd name="connsiteX122" fmla="*/ 14287 w 514350"/>
                <a:gd name="connsiteY122" fmla="*/ 498475 h 620717"/>
                <a:gd name="connsiteX123" fmla="*/ 4762 w 514350"/>
                <a:gd name="connsiteY123" fmla="*/ 503237 h 620717"/>
                <a:gd name="connsiteX124" fmla="*/ 3175 w 514350"/>
                <a:gd name="connsiteY124" fmla="*/ 508000 h 620717"/>
                <a:gd name="connsiteX125" fmla="*/ 4762 w 514350"/>
                <a:gd name="connsiteY125" fmla="*/ 530225 h 620717"/>
                <a:gd name="connsiteX126" fmla="*/ 11112 w 514350"/>
                <a:gd name="connsiteY126" fmla="*/ 533400 h 620717"/>
                <a:gd name="connsiteX127" fmla="*/ 20637 w 514350"/>
                <a:gd name="connsiteY127" fmla="*/ 534987 h 620717"/>
                <a:gd name="connsiteX128" fmla="*/ 26987 w 514350"/>
                <a:gd name="connsiteY128" fmla="*/ 536575 h 620717"/>
                <a:gd name="connsiteX129" fmla="*/ 39687 w 514350"/>
                <a:gd name="connsiteY129" fmla="*/ 542925 h 620717"/>
                <a:gd name="connsiteX130" fmla="*/ 44450 w 514350"/>
                <a:gd name="connsiteY130" fmla="*/ 546100 h 620717"/>
                <a:gd name="connsiteX131" fmla="*/ 58737 w 514350"/>
                <a:gd name="connsiteY131" fmla="*/ 547687 h 620717"/>
                <a:gd name="connsiteX132" fmla="*/ 47625 w 514350"/>
                <a:gd name="connsiteY132" fmla="*/ 555625 h 620717"/>
                <a:gd name="connsiteX133" fmla="*/ 30162 w 514350"/>
                <a:gd name="connsiteY133" fmla="*/ 558800 h 620717"/>
                <a:gd name="connsiteX134" fmla="*/ 7937 w 514350"/>
                <a:gd name="connsiteY134" fmla="*/ 563562 h 620717"/>
                <a:gd name="connsiteX135" fmla="*/ 7937 w 514350"/>
                <a:gd name="connsiteY135" fmla="*/ 576262 h 620717"/>
                <a:gd name="connsiteX136" fmla="*/ 17462 w 514350"/>
                <a:gd name="connsiteY136" fmla="*/ 577850 h 620717"/>
                <a:gd name="connsiteX137" fmla="*/ 39687 w 514350"/>
                <a:gd name="connsiteY137" fmla="*/ 581025 h 620717"/>
                <a:gd name="connsiteX138" fmla="*/ 47625 w 514350"/>
                <a:gd name="connsiteY138" fmla="*/ 582612 h 620717"/>
                <a:gd name="connsiteX139" fmla="*/ 61912 w 514350"/>
                <a:gd name="connsiteY139" fmla="*/ 584200 h 620717"/>
                <a:gd name="connsiteX140" fmla="*/ 66675 w 514350"/>
                <a:gd name="connsiteY140" fmla="*/ 587375 h 620717"/>
                <a:gd name="connsiteX141" fmla="*/ 53975 w 514350"/>
                <a:gd name="connsiteY141" fmla="*/ 593725 h 620717"/>
                <a:gd name="connsiteX142" fmla="*/ 52387 w 514350"/>
                <a:gd name="connsiteY142" fmla="*/ 601662 h 620717"/>
                <a:gd name="connsiteX143" fmla="*/ 50800 w 514350"/>
                <a:gd name="connsiteY143" fmla="*/ 606425 h 620717"/>
                <a:gd name="connsiteX144" fmla="*/ 55562 w 514350"/>
                <a:gd name="connsiteY144" fmla="*/ 614362 h 620717"/>
                <a:gd name="connsiteX145" fmla="*/ 79375 w 514350"/>
                <a:gd name="connsiteY145" fmla="*/ 609600 h 620717"/>
                <a:gd name="connsiteX146" fmla="*/ 123825 w 514350"/>
                <a:gd name="connsiteY146" fmla="*/ 612775 h 620717"/>
                <a:gd name="connsiteX147" fmla="*/ 130175 w 514350"/>
                <a:gd name="connsiteY147" fmla="*/ 617537 h 620717"/>
                <a:gd name="connsiteX148" fmla="*/ 144462 w 514350"/>
                <a:gd name="connsiteY148" fmla="*/ 620712 h 620717"/>
                <a:gd name="connsiteX149" fmla="*/ 173037 w 514350"/>
                <a:gd name="connsiteY149" fmla="*/ 617537 h 620717"/>
                <a:gd name="connsiteX150" fmla="*/ 180975 w 514350"/>
                <a:gd name="connsiteY150" fmla="*/ 614362 h 620717"/>
                <a:gd name="connsiteX151" fmla="*/ 187325 w 514350"/>
                <a:gd name="connsiteY151" fmla="*/ 609600 h 620717"/>
                <a:gd name="connsiteX152" fmla="*/ 196850 w 514350"/>
                <a:gd name="connsiteY152" fmla="*/ 606425 h 620717"/>
                <a:gd name="connsiteX153" fmla="*/ 198437 w 514350"/>
                <a:gd name="connsiteY153" fmla="*/ 600075 h 620717"/>
                <a:gd name="connsiteX154" fmla="*/ 203200 w 514350"/>
                <a:gd name="connsiteY154" fmla="*/ 595312 h 620717"/>
                <a:gd name="connsiteX155" fmla="*/ 215900 w 514350"/>
                <a:gd name="connsiteY155" fmla="*/ 581025 h 620717"/>
                <a:gd name="connsiteX156" fmla="*/ 230187 w 514350"/>
                <a:gd name="connsiteY156" fmla="*/ 582612 h 620717"/>
                <a:gd name="connsiteX157" fmla="*/ 238125 w 514350"/>
                <a:gd name="connsiteY157" fmla="*/ 584200 h 620717"/>
                <a:gd name="connsiteX158" fmla="*/ 261937 w 514350"/>
                <a:gd name="connsiteY158" fmla="*/ 581025 h 620717"/>
                <a:gd name="connsiteX159" fmla="*/ 263525 w 514350"/>
                <a:gd name="connsiteY159" fmla="*/ 576262 h 620717"/>
                <a:gd name="connsiteX160" fmla="*/ 266700 w 514350"/>
                <a:gd name="connsiteY160" fmla="*/ 582612 h 620717"/>
                <a:gd name="connsiteX161" fmla="*/ 277812 w 514350"/>
                <a:gd name="connsiteY161" fmla="*/ 590550 h 620717"/>
                <a:gd name="connsiteX162" fmla="*/ 279400 w 514350"/>
                <a:gd name="connsiteY162" fmla="*/ 579437 h 620717"/>
                <a:gd name="connsiteX163" fmla="*/ 287337 w 514350"/>
                <a:gd name="connsiteY163" fmla="*/ 571500 h 620717"/>
                <a:gd name="connsiteX164" fmla="*/ 290512 w 514350"/>
                <a:gd name="connsiteY164" fmla="*/ 566737 h 620717"/>
                <a:gd name="connsiteX165" fmla="*/ 311150 w 514350"/>
                <a:gd name="connsiteY165" fmla="*/ 558800 h 620717"/>
                <a:gd name="connsiteX166" fmla="*/ 354012 w 514350"/>
                <a:gd name="connsiteY166" fmla="*/ 554037 h 620717"/>
                <a:gd name="connsiteX167" fmla="*/ 360362 w 514350"/>
                <a:gd name="connsiteY167" fmla="*/ 561975 h 620717"/>
                <a:gd name="connsiteX168" fmla="*/ 365125 w 514350"/>
                <a:gd name="connsiteY168" fmla="*/ 563562 h 620717"/>
                <a:gd name="connsiteX169" fmla="*/ 366712 w 514350"/>
                <a:gd name="connsiteY169" fmla="*/ 557212 h 620717"/>
                <a:gd name="connsiteX170" fmla="*/ 368300 w 514350"/>
                <a:gd name="connsiteY170" fmla="*/ 552450 h 620717"/>
                <a:gd name="connsiteX171" fmla="*/ 377825 w 514350"/>
                <a:gd name="connsiteY171" fmla="*/ 557212 h 620717"/>
                <a:gd name="connsiteX172" fmla="*/ 382587 w 514350"/>
                <a:gd name="connsiteY172" fmla="*/ 563562 h 620717"/>
                <a:gd name="connsiteX173" fmla="*/ 404812 w 514350"/>
                <a:gd name="connsiteY173" fmla="*/ 565150 h 620717"/>
                <a:gd name="connsiteX174" fmla="*/ 414337 w 514350"/>
                <a:gd name="connsiteY174" fmla="*/ 571500 h 620717"/>
                <a:gd name="connsiteX175" fmla="*/ 419100 w 514350"/>
                <a:gd name="connsiteY175" fmla="*/ 574675 h 620717"/>
                <a:gd name="connsiteX176" fmla="*/ 436562 w 514350"/>
                <a:gd name="connsiteY176" fmla="*/ 573087 h 620717"/>
                <a:gd name="connsiteX177" fmla="*/ 434975 w 514350"/>
                <a:gd name="connsiteY177" fmla="*/ 566737 h 620717"/>
                <a:gd name="connsiteX178" fmla="*/ 430212 w 514350"/>
                <a:gd name="connsiteY178" fmla="*/ 546100 h 620717"/>
                <a:gd name="connsiteX179" fmla="*/ 433387 w 514350"/>
                <a:gd name="connsiteY179" fmla="*/ 531812 h 620717"/>
                <a:gd name="connsiteX180" fmla="*/ 446087 w 514350"/>
                <a:gd name="connsiteY180" fmla="*/ 525462 h 620717"/>
                <a:gd name="connsiteX181" fmla="*/ 452437 w 514350"/>
                <a:gd name="connsiteY181" fmla="*/ 519112 h 620717"/>
                <a:gd name="connsiteX182" fmla="*/ 463550 w 514350"/>
                <a:gd name="connsiteY182" fmla="*/ 514350 h 620717"/>
                <a:gd name="connsiteX183" fmla="*/ 465137 w 514350"/>
                <a:gd name="connsiteY183" fmla="*/ 508000 h 620717"/>
                <a:gd name="connsiteX184" fmla="*/ 466725 w 514350"/>
                <a:gd name="connsiteY184" fmla="*/ 485775 h 620717"/>
                <a:gd name="connsiteX185" fmla="*/ 482600 w 514350"/>
                <a:gd name="connsiteY185" fmla="*/ 474662 h 620717"/>
                <a:gd name="connsiteX186" fmla="*/ 495300 w 514350"/>
                <a:gd name="connsiteY186" fmla="*/ 458787 h 620717"/>
                <a:gd name="connsiteX187" fmla="*/ 501650 w 514350"/>
                <a:gd name="connsiteY187" fmla="*/ 438150 h 620717"/>
                <a:gd name="connsiteX188" fmla="*/ 506412 w 514350"/>
                <a:gd name="connsiteY188" fmla="*/ 433387 h 620717"/>
                <a:gd name="connsiteX189" fmla="*/ 506412 w 514350"/>
                <a:gd name="connsiteY189" fmla="*/ 401637 h 620717"/>
                <a:gd name="connsiteX190" fmla="*/ 501650 w 514350"/>
                <a:gd name="connsiteY190" fmla="*/ 398462 h 620717"/>
                <a:gd name="connsiteX191" fmla="*/ 498475 w 514350"/>
                <a:gd name="connsiteY191" fmla="*/ 392112 h 620717"/>
                <a:gd name="connsiteX192" fmla="*/ 503237 w 514350"/>
                <a:gd name="connsiteY192" fmla="*/ 360362 h 620717"/>
                <a:gd name="connsiteX193" fmla="*/ 508000 w 514350"/>
                <a:gd name="connsiteY193" fmla="*/ 355600 h 620717"/>
                <a:gd name="connsiteX194" fmla="*/ 514350 w 514350"/>
                <a:gd name="connsiteY194" fmla="*/ 346075 h 620717"/>
                <a:gd name="connsiteX195" fmla="*/ 511175 w 514350"/>
                <a:gd name="connsiteY195" fmla="*/ 331787 h 620717"/>
                <a:gd name="connsiteX196" fmla="*/ 506412 w 514350"/>
                <a:gd name="connsiteY196" fmla="*/ 327025 h 620717"/>
                <a:gd name="connsiteX197" fmla="*/ 504825 w 514350"/>
                <a:gd name="connsiteY197" fmla="*/ 315912 h 620717"/>
                <a:gd name="connsiteX198" fmla="*/ 508000 w 514350"/>
                <a:gd name="connsiteY198" fmla="*/ 290512 h 620717"/>
                <a:gd name="connsiteX199" fmla="*/ 506412 w 514350"/>
                <a:gd name="connsiteY199" fmla="*/ 282575 h 620717"/>
                <a:gd name="connsiteX200" fmla="*/ 495300 w 514350"/>
                <a:gd name="connsiteY200" fmla="*/ 276225 h 620717"/>
                <a:gd name="connsiteX201" fmla="*/ 496887 w 514350"/>
                <a:gd name="connsiteY201" fmla="*/ 268287 h 620717"/>
                <a:gd name="connsiteX202" fmla="*/ 501650 w 514350"/>
                <a:gd name="connsiteY202" fmla="*/ 266700 h 620717"/>
                <a:gd name="connsiteX203" fmla="*/ 506412 w 514350"/>
                <a:gd name="connsiteY203" fmla="*/ 263525 h 620717"/>
                <a:gd name="connsiteX204" fmla="*/ 509587 w 514350"/>
                <a:gd name="connsiteY204" fmla="*/ 258762 h 620717"/>
                <a:gd name="connsiteX205" fmla="*/ 511175 w 514350"/>
                <a:gd name="connsiteY205" fmla="*/ 254000 h 620717"/>
                <a:gd name="connsiteX206" fmla="*/ 514350 w 514350"/>
                <a:gd name="connsiteY206" fmla="*/ 246062 h 620717"/>
                <a:gd name="connsiteX207" fmla="*/ 512762 w 514350"/>
                <a:gd name="connsiteY207" fmla="*/ 239712 h 620717"/>
                <a:gd name="connsiteX208" fmla="*/ 496887 w 514350"/>
                <a:gd name="connsiteY208" fmla="*/ 239712 h 620717"/>
                <a:gd name="connsiteX209" fmla="*/ 492125 w 514350"/>
                <a:gd name="connsiteY209" fmla="*/ 241300 h 620717"/>
                <a:gd name="connsiteX210" fmla="*/ 485775 w 514350"/>
                <a:gd name="connsiteY210" fmla="*/ 244475 h 620717"/>
                <a:gd name="connsiteX211" fmla="*/ 481012 w 514350"/>
                <a:gd name="connsiteY211" fmla="*/ 234950 h 620717"/>
                <a:gd name="connsiteX212" fmla="*/ 479425 w 514350"/>
                <a:gd name="connsiteY212" fmla="*/ 222250 h 620717"/>
                <a:gd name="connsiteX213" fmla="*/ 477837 w 514350"/>
                <a:gd name="connsiteY213" fmla="*/ 215900 h 620717"/>
                <a:gd name="connsiteX214" fmla="*/ 473075 w 514350"/>
                <a:gd name="connsiteY214" fmla="*/ 190500 h 620717"/>
                <a:gd name="connsiteX215" fmla="*/ 468312 w 514350"/>
                <a:gd name="connsiteY215" fmla="*/ 176212 h 620717"/>
                <a:gd name="connsiteX216" fmla="*/ 458787 w 514350"/>
                <a:gd name="connsiteY216" fmla="*/ 171450 h 620717"/>
                <a:gd name="connsiteX217" fmla="*/ 449262 w 514350"/>
                <a:gd name="connsiteY217" fmla="*/ 173037 h 620717"/>
                <a:gd name="connsiteX218" fmla="*/ 438150 w 514350"/>
                <a:gd name="connsiteY218" fmla="*/ 182562 h 620717"/>
                <a:gd name="connsiteX219" fmla="*/ 434975 w 514350"/>
                <a:gd name="connsiteY219" fmla="*/ 188912 h 620717"/>
                <a:gd name="connsiteX220" fmla="*/ 428625 w 514350"/>
                <a:gd name="connsiteY220" fmla="*/ 196850 h 620717"/>
                <a:gd name="connsiteX221" fmla="*/ 417512 w 514350"/>
                <a:gd name="connsiteY221" fmla="*/ 206375 h 620717"/>
                <a:gd name="connsiteX222" fmla="*/ 412750 w 514350"/>
                <a:gd name="connsiteY222" fmla="*/ 207962 h 620717"/>
                <a:gd name="connsiteX223" fmla="*/ 401637 w 514350"/>
                <a:gd name="connsiteY223" fmla="*/ 206375 h 620717"/>
                <a:gd name="connsiteX224" fmla="*/ 395287 w 514350"/>
                <a:gd name="connsiteY224" fmla="*/ 200025 h 620717"/>
                <a:gd name="connsiteX225" fmla="*/ 390525 w 514350"/>
                <a:gd name="connsiteY225" fmla="*/ 196850 h 620717"/>
                <a:gd name="connsiteX226" fmla="*/ 385762 w 514350"/>
                <a:gd name="connsiteY226" fmla="*/ 190500 h 620717"/>
                <a:gd name="connsiteX227" fmla="*/ 368300 w 514350"/>
                <a:gd name="connsiteY227" fmla="*/ 171450 h 620717"/>
                <a:gd name="connsiteX228" fmla="*/ 363537 w 514350"/>
                <a:gd name="connsiteY228" fmla="*/ 160337 h 620717"/>
                <a:gd name="connsiteX229" fmla="*/ 358775 w 514350"/>
                <a:gd name="connsiteY229" fmla="*/ 157162 h 620717"/>
                <a:gd name="connsiteX230" fmla="*/ 349250 w 514350"/>
                <a:gd name="connsiteY230" fmla="*/ 144462 h 620717"/>
                <a:gd name="connsiteX231" fmla="*/ 346075 w 514350"/>
                <a:gd name="connsiteY231" fmla="*/ 138112 h 620717"/>
                <a:gd name="connsiteX232" fmla="*/ 350837 w 514350"/>
                <a:gd name="connsiteY232" fmla="*/ 128587 h 620717"/>
                <a:gd name="connsiteX233" fmla="*/ 357187 w 514350"/>
                <a:gd name="connsiteY233" fmla="*/ 127000 h 620717"/>
                <a:gd name="connsiteX234" fmla="*/ 368300 w 514350"/>
                <a:gd name="connsiteY234" fmla="*/ 125412 h 620717"/>
                <a:gd name="connsiteX235" fmla="*/ 374650 w 514350"/>
                <a:gd name="connsiteY235" fmla="*/ 123825 h 620717"/>
                <a:gd name="connsiteX236" fmla="*/ 384175 w 514350"/>
                <a:gd name="connsiteY236" fmla="*/ 120650 h 620717"/>
                <a:gd name="connsiteX237" fmla="*/ 392112 w 514350"/>
                <a:gd name="connsiteY237" fmla="*/ 111125 h 620717"/>
                <a:gd name="connsiteX238" fmla="*/ 388937 w 514350"/>
                <a:gd name="connsiteY238" fmla="*/ 100012 h 620717"/>
                <a:gd name="connsiteX239" fmla="*/ 390525 w 514350"/>
                <a:gd name="connsiteY239" fmla="*/ 93662 h 620717"/>
                <a:gd name="connsiteX240" fmla="*/ 401637 w 514350"/>
                <a:gd name="connsiteY240" fmla="*/ 95250 h 620717"/>
                <a:gd name="connsiteX241" fmla="*/ 423862 w 514350"/>
                <a:gd name="connsiteY241" fmla="*/ 93662 h 620717"/>
                <a:gd name="connsiteX242" fmla="*/ 430212 w 514350"/>
                <a:gd name="connsiteY242" fmla="*/ 87312 h 620717"/>
                <a:gd name="connsiteX243" fmla="*/ 431800 w 514350"/>
                <a:gd name="connsiteY243" fmla="*/ 61912 h 620717"/>
                <a:gd name="connsiteX244" fmla="*/ 443914 w 514350"/>
                <a:gd name="connsiteY244" fmla="*/ 64084 h 620717"/>
                <a:gd name="connsiteX245" fmla="*/ 448737 w 514350"/>
                <a:gd name="connsiteY245" fmla="*/ 66117 h 620717"/>
                <a:gd name="connsiteX246" fmla="*/ 435858 w 514350"/>
                <a:gd name="connsiteY246" fmla="*/ 67146 h 620717"/>
                <a:gd name="connsiteX247" fmla="*/ 451852 w 514350"/>
                <a:gd name="connsiteY247" fmla="*/ 72772 h 620717"/>
                <a:gd name="connsiteX248" fmla="*/ 439737 w 514350"/>
                <a:gd name="connsiteY248" fmla="*/ 79845 h 620717"/>
                <a:gd name="connsiteX249" fmla="*/ 442912 w 514350"/>
                <a:gd name="connsiteY249" fmla="*/ 49212 h 620717"/>
                <a:gd name="connsiteX250" fmla="*/ 455612 w 514350"/>
                <a:gd name="connsiteY250" fmla="*/ 69850 h 620717"/>
                <a:gd name="connsiteX251" fmla="*/ 461962 w 514350"/>
                <a:gd name="connsiteY251" fmla="*/ 68262 h 620717"/>
                <a:gd name="connsiteX252" fmla="*/ 466725 w 514350"/>
                <a:gd name="connsiteY252" fmla="*/ 61912 h 620717"/>
                <a:gd name="connsiteX253" fmla="*/ 492125 w 514350"/>
                <a:gd name="connsiteY253" fmla="*/ 53975 h 620717"/>
                <a:gd name="connsiteX254" fmla="*/ 496887 w 514350"/>
                <a:gd name="connsiteY254" fmla="*/ 49212 h 620717"/>
                <a:gd name="connsiteX255" fmla="*/ 500062 w 514350"/>
                <a:gd name="connsiteY255" fmla="*/ 41275 h 620717"/>
                <a:gd name="connsiteX256" fmla="*/ 496887 w 514350"/>
                <a:gd name="connsiteY256"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34270 w 514350"/>
                <a:gd name="connsiteY9" fmla="*/ 49099 h 620717"/>
                <a:gd name="connsiteX10" fmla="*/ 414695 w 514350"/>
                <a:gd name="connsiteY10" fmla="*/ 29278 h 620717"/>
                <a:gd name="connsiteX11" fmla="*/ 409575 w 514350"/>
                <a:gd name="connsiteY11" fmla="*/ 14287 h 620717"/>
                <a:gd name="connsiteX12" fmla="*/ 401637 w 514350"/>
                <a:gd name="connsiteY12" fmla="*/ 12700 h 620717"/>
                <a:gd name="connsiteX13" fmla="*/ 352425 w 514350"/>
                <a:gd name="connsiteY13" fmla="*/ 19050 h 620717"/>
                <a:gd name="connsiteX14" fmla="*/ 350837 w 514350"/>
                <a:gd name="connsiteY14" fmla="*/ 23812 h 620717"/>
                <a:gd name="connsiteX15" fmla="*/ 352425 w 514350"/>
                <a:gd name="connsiteY15" fmla="*/ 38100 h 620717"/>
                <a:gd name="connsiteX16" fmla="*/ 357187 w 514350"/>
                <a:gd name="connsiteY16" fmla="*/ 44450 h 620717"/>
                <a:gd name="connsiteX17" fmla="*/ 349250 w 514350"/>
                <a:gd name="connsiteY17" fmla="*/ 58737 h 620717"/>
                <a:gd name="connsiteX18" fmla="*/ 328612 w 514350"/>
                <a:gd name="connsiteY18" fmla="*/ 60325 h 620717"/>
                <a:gd name="connsiteX19" fmla="*/ 307975 w 514350"/>
                <a:gd name="connsiteY19" fmla="*/ 68262 h 620717"/>
                <a:gd name="connsiteX20" fmla="*/ 295275 w 514350"/>
                <a:gd name="connsiteY20" fmla="*/ 73025 h 620717"/>
                <a:gd name="connsiteX21" fmla="*/ 292100 w 514350"/>
                <a:gd name="connsiteY21" fmla="*/ 77787 h 620717"/>
                <a:gd name="connsiteX22" fmla="*/ 296862 w 514350"/>
                <a:gd name="connsiteY22" fmla="*/ 79375 h 620717"/>
                <a:gd name="connsiteX23" fmla="*/ 311150 w 514350"/>
                <a:gd name="connsiteY23" fmla="*/ 82550 h 620717"/>
                <a:gd name="connsiteX24" fmla="*/ 319087 w 514350"/>
                <a:gd name="connsiteY24" fmla="*/ 87312 h 620717"/>
                <a:gd name="connsiteX25" fmla="*/ 323850 w 514350"/>
                <a:gd name="connsiteY25" fmla="*/ 88900 h 620717"/>
                <a:gd name="connsiteX26" fmla="*/ 336550 w 514350"/>
                <a:gd name="connsiteY26" fmla="*/ 103187 h 620717"/>
                <a:gd name="connsiteX27" fmla="*/ 334962 w 514350"/>
                <a:gd name="connsiteY27" fmla="*/ 114300 h 620717"/>
                <a:gd name="connsiteX28" fmla="*/ 330200 w 514350"/>
                <a:gd name="connsiteY28" fmla="*/ 115887 h 620717"/>
                <a:gd name="connsiteX29" fmla="*/ 315912 w 514350"/>
                <a:gd name="connsiteY29" fmla="*/ 130175 h 620717"/>
                <a:gd name="connsiteX30" fmla="*/ 307975 w 514350"/>
                <a:gd name="connsiteY30" fmla="*/ 131762 h 620717"/>
                <a:gd name="connsiteX31" fmla="*/ 300037 w 514350"/>
                <a:gd name="connsiteY31" fmla="*/ 134937 h 620717"/>
                <a:gd name="connsiteX32" fmla="*/ 296862 w 514350"/>
                <a:gd name="connsiteY32" fmla="*/ 142875 h 620717"/>
                <a:gd name="connsiteX33" fmla="*/ 282575 w 514350"/>
                <a:gd name="connsiteY33" fmla="*/ 157162 h 620717"/>
                <a:gd name="connsiteX34" fmla="*/ 273050 w 514350"/>
                <a:gd name="connsiteY34" fmla="*/ 153987 h 620717"/>
                <a:gd name="connsiteX35" fmla="*/ 261937 w 514350"/>
                <a:gd name="connsiteY35" fmla="*/ 147637 h 620717"/>
                <a:gd name="connsiteX36" fmla="*/ 242887 w 514350"/>
                <a:gd name="connsiteY36" fmla="*/ 149225 h 620717"/>
                <a:gd name="connsiteX37" fmla="*/ 236537 w 514350"/>
                <a:gd name="connsiteY37" fmla="*/ 150812 h 620717"/>
                <a:gd name="connsiteX38" fmla="*/ 231775 w 514350"/>
                <a:gd name="connsiteY38" fmla="*/ 142875 h 620717"/>
                <a:gd name="connsiteX39" fmla="*/ 225425 w 514350"/>
                <a:gd name="connsiteY39" fmla="*/ 123825 h 620717"/>
                <a:gd name="connsiteX40" fmla="*/ 219075 w 514350"/>
                <a:gd name="connsiteY40" fmla="*/ 122237 h 620717"/>
                <a:gd name="connsiteX41" fmla="*/ 204787 w 514350"/>
                <a:gd name="connsiteY41" fmla="*/ 120650 h 620717"/>
                <a:gd name="connsiteX42" fmla="*/ 190500 w 514350"/>
                <a:gd name="connsiteY42" fmla="*/ 117475 h 620717"/>
                <a:gd name="connsiteX43" fmla="*/ 182562 w 514350"/>
                <a:gd name="connsiteY43" fmla="*/ 111125 h 620717"/>
                <a:gd name="connsiteX44" fmla="*/ 174625 w 514350"/>
                <a:gd name="connsiteY44" fmla="*/ 104775 h 620717"/>
                <a:gd name="connsiteX45" fmla="*/ 152400 w 514350"/>
                <a:gd name="connsiteY45" fmla="*/ 106362 h 620717"/>
                <a:gd name="connsiteX46" fmla="*/ 150812 w 514350"/>
                <a:gd name="connsiteY46" fmla="*/ 117475 h 620717"/>
                <a:gd name="connsiteX47" fmla="*/ 133350 w 514350"/>
                <a:gd name="connsiteY47" fmla="*/ 120650 h 620717"/>
                <a:gd name="connsiteX48" fmla="*/ 138112 w 514350"/>
                <a:gd name="connsiteY48" fmla="*/ 123825 h 620717"/>
                <a:gd name="connsiteX49" fmla="*/ 139700 w 514350"/>
                <a:gd name="connsiteY49" fmla="*/ 128587 h 620717"/>
                <a:gd name="connsiteX50" fmla="*/ 146050 w 514350"/>
                <a:gd name="connsiteY50" fmla="*/ 131762 h 620717"/>
                <a:gd name="connsiteX51" fmla="*/ 147637 w 514350"/>
                <a:gd name="connsiteY51" fmla="*/ 138112 h 620717"/>
                <a:gd name="connsiteX52" fmla="*/ 123825 w 514350"/>
                <a:gd name="connsiteY52" fmla="*/ 146050 h 620717"/>
                <a:gd name="connsiteX53" fmla="*/ 117475 w 514350"/>
                <a:gd name="connsiteY53" fmla="*/ 155575 h 620717"/>
                <a:gd name="connsiteX54" fmla="*/ 112712 w 514350"/>
                <a:gd name="connsiteY54" fmla="*/ 157162 h 620717"/>
                <a:gd name="connsiteX55" fmla="*/ 125412 w 514350"/>
                <a:gd name="connsiteY55" fmla="*/ 161925 h 620717"/>
                <a:gd name="connsiteX56" fmla="*/ 130175 w 514350"/>
                <a:gd name="connsiteY56" fmla="*/ 163512 h 620717"/>
                <a:gd name="connsiteX57" fmla="*/ 142875 w 514350"/>
                <a:gd name="connsiteY57" fmla="*/ 166687 h 620717"/>
                <a:gd name="connsiteX58" fmla="*/ 147637 w 514350"/>
                <a:gd name="connsiteY58" fmla="*/ 173037 h 620717"/>
                <a:gd name="connsiteX59" fmla="*/ 152400 w 514350"/>
                <a:gd name="connsiteY59" fmla="*/ 177800 h 620717"/>
                <a:gd name="connsiteX60" fmla="*/ 146050 w 514350"/>
                <a:gd name="connsiteY60" fmla="*/ 179387 h 620717"/>
                <a:gd name="connsiteX61" fmla="*/ 149225 w 514350"/>
                <a:gd name="connsiteY61" fmla="*/ 185737 h 620717"/>
                <a:gd name="connsiteX62" fmla="*/ 153987 w 514350"/>
                <a:gd name="connsiteY62" fmla="*/ 187325 h 620717"/>
                <a:gd name="connsiteX63" fmla="*/ 168275 w 514350"/>
                <a:gd name="connsiteY63" fmla="*/ 190500 h 620717"/>
                <a:gd name="connsiteX64" fmla="*/ 165100 w 514350"/>
                <a:gd name="connsiteY64" fmla="*/ 198437 h 620717"/>
                <a:gd name="connsiteX65" fmla="*/ 160337 w 514350"/>
                <a:gd name="connsiteY65" fmla="*/ 200025 h 620717"/>
                <a:gd name="connsiteX66" fmla="*/ 139700 w 514350"/>
                <a:gd name="connsiteY66" fmla="*/ 196850 h 620717"/>
                <a:gd name="connsiteX67" fmla="*/ 153987 w 514350"/>
                <a:gd name="connsiteY67" fmla="*/ 211137 h 620717"/>
                <a:gd name="connsiteX68" fmla="*/ 152400 w 514350"/>
                <a:gd name="connsiteY68" fmla="*/ 217487 h 620717"/>
                <a:gd name="connsiteX69" fmla="*/ 138112 w 514350"/>
                <a:gd name="connsiteY69" fmla="*/ 219075 h 620717"/>
                <a:gd name="connsiteX70" fmla="*/ 142875 w 514350"/>
                <a:gd name="connsiteY70" fmla="*/ 223837 h 620717"/>
                <a:gd name="connsiteX71" fmla="*/ 141287 w 514350"/>
                <a:gd name="connsiteY71" fmla="*/ 228600 h 620717"/>
                <a:gd name="connsiteX72" fmla="*/ 107950 w 514350"/>
                <a:gd name="connsiteY72" fmla="*/ 231775 h 620717"/>
                <a:gd name="connsiteX73" fmla="*/ 95250 w 514350"/>
                <a:gd name="connsiteY73" fmla="*/ 233362 h 620717"/>
                <a:gd name="connsiteX74" fmla="*/ 92075 w 514350"/>
                <a:gd name="connsiteY74" fmla="*/ 247650 h 620717"/>
                <a:gd name="connsiteX75" fmla="*/ 93662 w 514350"/>
                <a:gd name="connsiteY75" fmla="*/ 252412 h 620717"/>
                <a:gd name="connsiteX76" fmla="*/ 109537 w 514350"/>
                <a:gd name="connsiteY76" fmla="*/ 260350 h 620717"/>
                <a:gd name="connsiteX77" fmla="*/ 114300 w 514350"/>
                <a:gd name="connsiteY77" fmla="*/ 263525 h 620717"/>
                <a:gd name="connsiteX78" fmla="*/ 119062 w 514350"/>
                <a:gd name="connsiteY78" fmla="*/ 268287 h 620717"/>
                <a:gd name="connsiteX79" fmla="*/ 123825 w 514350"/>
                <a:gd name="connsiteY79" fmla="*/ 269875 h 620717"/>
                <a:gd name="connsiteX80" fmla="*/ 128587 w 514350"/>
                <a:gd name="connsiteY80" fmla="*/ 273050 h 620717"/>
                <a:gd name="connsiteX81" fmla="*/ 114300 w 514350"/>
                <a:gd name="connsiteY81" fmla="*/ 279400 h 620717"/>
                <a:gd name="connsiteX82" fmla="*/ 109537 w 514350"/>
                <a:gd name="connsiteY82" fmla="*/ 284162 h 620717"/>
                <a:gd name="connsiteX83" fmla="*/ 111125 w 514350"/>
                <a:gd name="connsiteY83" fmla="*/ 293687 h 620717"/>
                <a:gd name="connsiteX84" fmla="*/ 125412 w 514350"/>
                <a:gd name="connsiteY84" fmla="*/ 296862 h 620717"/>
                <a:gd name="connsiteX85" fmla="*/ 136525 w 514350"/>
                <a:gd name="connsiteY85" fmla="*/ 301625 h 620717"/>
                <a:gd name="connsiteX86" fmla="*/ 142875 w 514350"/>
                <a:gd name="connsiteY86" fmla="*/ 303212 h 620717"/>
                <a:gd name="connsiteX87" fmla="*/ 146050 w 514350"/>
                <a:gd name="connsiteY87" fmla="*/ 311150 h 620717"/>
                <a:gd name="connsiteX88" fmla="*/ 158750 w 514350"/>
                <a:gd name="connsiteY88" fmla="*/ 315912 h 620717"/>
                <a:gd name="connsiteX89" fmla="*/ 193675 w 514350"/>
                <a:gd name="connsiteY89" fmla="*/ 317500 h 620717"/>
                <a:gd name="connsiteX90" fmla="*/ 209550 w 514350"/>
                <a:gd name="connsiteY90" fmla="*/ 320675 h 620717"/>
                <a:gd name="connsiteX91" fmla="*/ 204787 w 514350"/>
                <a:gd name="connsiteY91" fmla="*/ 323850 h 620717"/>
                <a:gd name="connsiteX92" fmla="*/ 200025 w 514350"/>
                <a:gd name="connsiteY92" fmla="*/ 325437 h 620717"/>
                <a:gd name="connsiteX93" fmla="*/ 190500 w 514350"/>
                <a:gd name="connsiteY93" fmla="*/ 331787 h 620717"/>
                <a:gd name="connsiteX94" fmla="*/ 182562 w 514350"/>
                <a:gd name="connsiteY94" fmla="*/ 338137 h 620717"/>
                <a:gd name="connsiteX95" fmla="*/ 176212 w 514350"/>
                <a:gd name="connsiteY95" fmla="*/ 341312 h 620717"/>
                <a:gd name="connsiteX96" fmla="*/ 171450 w 514350"/>
                <a:gd name="connsiteY96" fmla="*/ 344487 h 620717"/>
                <a:gd name="connsiteX97" fmla="*/ 161925 w 514350"/>
                <a:gd name="connsiteY97" fmla="*/ 347662 h 620717"/>
                <a:gd name="connsiteX98" fmla="*/ 149225 w 514350"/>
                <a:gd name="connsiteY98" fmla="*/ 365125 h 620717"/>
                <a:gd name="connsiteX99" fmla="*/ 139700 w 514350"/>
                <a:gd name="connsiteY99" fmla="*/ 382587 h 620717"/>
                <a:gd name="connsiteX100" fmla="*/ 134937 w 514350"/>
                <a:gd name="connsiteY100" fmla="*/ 384175 h 620717"/>
                <a:gd name="connsiteX101" fmla="*/ 133350 w 514350"/>
                <a:gd name="connsiteY101" fmla="*/ 388937 h 620717"/>
                <a:gd name="connsiteX102" fmla="*/ 128587 w 514350"/>
                <a:gd name="connsiteY102" fmla="*/ 392112 h 620717"/>
                <a:gd name="connsiteX103" fmla="*/ 120650 w 514350"/>
                <a:gd name="connsiteY103" fmla="*/ 398462 h 620717"/>
                <a:gd name="connsiteX104" fmla="*/ 114300 w 514350"/>
                <a:gd name="connsiteY104" fmla="*/ 409575 h 620717"/>
                <a:gd name="connsiteX105" fmla="*/ 109537 w 514350"/>
                <a:gd name="connsiteY105" fmla="*/ 411162 h 620717"/>
                <a:gd name="connsiteX106" fmla="*/ 92075 w 514350"/>
                <a:gd name="connsiteY106" fmla="*/ 414337 h 620717"/>
                <a:gd name="connsiteX107" fmla="*/ 92075 w 514350"/>
                <a:gd name="connsiteY107" fmla="*/ 433387 h 620717"/>
                <a:gd name="connsiteX108" fmla="*/ 79375 w 514350"/>
                <a:gd name="connsiteY108" fmla="*/ 441325 h 620717"/>
                <a:gd name="connsiteX109" fmla="*/ 73025 w 514350"/>
                <a:gd name="connsiteY109" fmla="*/ 455612 h 620717"/>
                <a:gd name="connsiteX110" fmla="*/ 69850 w 514350"/>
                <a:gd name="connsiteY110" fmla="*/ 463550 h 620717"/>
                <a:gd name="connsiteX111" fmla="*/ 65087 w 514350"/>
                <a:gd name="connsiteY111" fmla="*/ 465137 h 620717"/>
                <a:gd name="connsiteX112" fmla="*/ 38100 w 514350"/>
                <a:gd name="connsiteY112" fmla="*/ 466725 h 620717"/>
                <a:gd name="connsiteX113" fmla="*/ 34925 w 514350"/>
                <a:gd name="connsiteY113" fmla="*/ 473075 h 620717"/>
                <a:gd name="connsiteX114" fmla="*/ 30162 w 514350"/>
                <a:gd name="connsiteY114" fmla="*/ 476250 h 620717"/>
                <a:gd name="connsiteX115" fmla="*/ 0 w 514350"/>
                <a:gd name="connsiteY115" fmla="*/ 477837 h 620717"/>
                <a:gd name="connsiteX116" fmla="*/ 4762 w 514350"/>
                <a:gd name="connsiteY116" fmla="*/ 484187 h 620717"/>
                <a:gd name="connsiteX117" fmla="*/ 23812 w 514350"/>
                <a:gd name="connsiteY117" fmla="*/ 485775 h 620717"/>
                <a:gd name="connsiteX118" fmla="*/ 30162 w 514350"/>
                <a:gd name="connsiteY118" fmla="*/ 487362 h 620717"/>
                <a:gd name="connsiteX119" fmla="*/ 39687 w 514350"/>
                <a:gd name="connsiteY119" fmla="*/ 488950 h 620717"/>
                <a:gd name="connsiteX120" fmla="*/ 33337 w 514350"/>
                <a:gd name="connsiteY120" fmla="*/ 492125 h 620717"/>
                <a:gd name="connsiteX121" fmla="*/ 25400 w 514350"/>
                <a:gd name="connsiteY121" fmla="*/ 493712 h 620717"/>
                <a:gd name="connsiteX122" fmla="*/ 19050 w 514350"/>
                <a:gd name="connsiteY122" fmla="*/ 495300 h 620717"/>
                <a:gd name="connsiteX123" fmla="*/ 14287 w 514350"/>
                <a:gd name="connsiteY123" fmla="*/ 498475 h 620717"/>
                <a:gd name="connsiteX124" fmla="*/ 4762 w 514350"/>
                <a:gd name="connsiteY124" fmla="*/ 503237 h 620717"/>
                <a:gd name="connsiteX125" fmla="*/ 3175 w 514350"/>
                <a:gd name="connsiteY125" fmla="*/ 508000 h 620717"/>
                <a:gd name="connsiteX126" fmla="*/ 4762 w 514350"/>
                <a:gd name="connsiteY126" fmla="*/ 530225 h 620717"/>
                <a:gd name="connsiteX127" fmla="*/ 11112 w 514350"/>
                <a:gd name="connsiteY127" fmla="*/ 533400 h 620717"/>
                <a:gd name="connsiteX128" fmla="*/ 20637 w 514350"/>
                <a:gd name="connsiteY128" fmla="*/ 534987 h 620717"/>
                <a:gd name="connsiteX129" fmla="*/ 26987 w 514350"/>
                <a:gd name="connsiteY129" fmla="*/ 536575 h 620717"/>
                <a:gd name="connsiteX130" fmla="*/ 39687 w 514350"/>
                <a:gd name="connsiteY130" fmla="*/ 542925 h 620717"/>
                <a:gd name="connsiteX131" fmla="*/ 44450 w 514350"/>
                <a:gd name="connsiteY131" fmla="*/ 546100 h 620717"/>
                <a:gd name="connsiteX132" fmla="*/ 58737 w 514350"/>
                <a:gd name="connsiteY132" fmla="*/ 547687 h 620717"/>
                <a:gd name="connsiteX133" fmla="*/ 47625 w 514350"/>
                <a:gd name="connsiteY133" fmla="*/ 555625 h 620717"/>
                <a:gd name="connsiteX134" fmla="*/ 30162 w 514350"/>
                <a:gd name="connsiteY134" fmla="*/ 558800 h 620717"/>
                <a:gd name="connsiteX135" fmla="*/ 7937 w 514350"/>
                <a:gd name="connsiteY135" fmla="*/ 563562 h 620717"/>
                <a:gd name="connsiteX136" fmla="*/ 7937 w 514350"/>
                <a:gd name="connsiteY136" fmla="*/ 576262 h 620717"/>
                <a:gd name="connsiteX137" fmla="*/ 17462 w 514350"/>
                <a:gd name="connsiteY137" fmla="*/ 577850 h 620717"/>
                <a:gd name="connsiteX138" fmla="*/ 39687 w 514350"/>
                <a:gd name="connsiteY138" fmla="*/ 581025 h 620717"/>
                <a:gd name="connsiteX139" fmla="*/ 47625 w 514350"/>
                <a:gd name="connsiteY139" fmla="*/ 582612 h 620717"/>
                <a:gd name="connsiteX140" fmla="*/ 61912 w 514350"/>
                <a:gd name="connsiteY140" fmla="*/ 584200 h 620717"/>
                <a:gd name="connsiteX141" fmla="*/ 66675 w 514350"/>
                <a:gd name="connsiteY141" fmla="*/ 587375 h 620717"/>
                <a:gd name="connsiteX142" fmla="*/ 53975 w 514350"/>
                <a:gd name="connsiteY142" fmla="*/ 593725 h 620717"/>
                <a:gd name="connsiteX143" fmla="*/ 52387 w 514350"/>
                <a:gd name="connsiteY143" fmla="*/ 601662 h 620717"/>
                <a:gd name="connsiteX144" fmla="*/ 50800 w 514350"/>
                <a:gd name="connsiteY144" fmla="*/ 606425 h 620717"/>
                <a:gd name="connsiteX145" fmla="*/ 55562 w 514350"/>
                <a:gd name="connsiteY145" fmla="*/ 614362 h 620717"/>
                <a:gd name="connsiteX146" fmla="*/ 79375 w 514350"/>
                <a:gd name="connsiteY146" fmla="*/ 609600 h 620717"/>
                <a:gd name="connsiteX147" fmla="*/ 123825 w 514350"/>
                <a:gd name="connsiteY147" fmla="*/ 612775 h 620717"/>
                <a:gd name="connsiteX148" fmla="*/ 130175 w 514350"/>
                <a:gd name="connsiteY148" fmla="*/ 617537 h 620717"/>
                <a:gd name="connsiteX149" fmla="*/ 144462 w 514350"/>
                <a:gd name="connsiteY149" fmla="*/ 620712 h 620717"/>
                <a:gd name="connsiteX150" fmla="*/ 173037 w 514350"/>
                <a:gd name="connsiteY150" fmla="*/ 617537 h 620717"/>
                <a:gd name="connsiteX151" fmla="*/ 180975 w 514350"/>
                <a:gd name="connsiteY151" fmla="*/ 614362 h 620717"/>
                <a:gd name="connsiteX152" fmla="*/ 187325 w 514350"/>
                <a:gd name="connsiteY152" fmla="*/ 609600 h 620717"/>
                <a:gd name="connsiteX153" fmla="*/ 196850 w 514350"/>
                <a:gd name="connsiteY153" fmla="*/ 606425 h 620717"/>
                <a:gd name="connsiteX154" fmla="*/ 198437 w 514350"/>
                <a:gd name="connsiteY154" fmla="*/ 600075 h 620717"/>
                <a:gd name="connsiteX155" fmla="*/ 203200 w 514350"/>
                <a:gd name="connsiteY155" fmla="*/ 595312 h 620717"/>
                <a:gd name="connsiteX156" fmla="*/ 215900 w 514350"/>
                <a:gd name="connsiteY156" fmla="*/ 581025 h 620717"/>
                <a:gd name="connsiteX157" fmla="*/ 230187 w 514350"/>
                <a:gd name="connsiteY157" fmla="*/ 582612 h 620717"/>
                <a:gd name="connsiteX158" fmla="*/ 238125 w 514350"/>
                <a:gd name="connsiteY158" fmla="*/ 584200 h 620717"/>
                <a:gd name="connsiteX159" fmla="*/ 261937 w 514350"/>
                <a:gd name="connsiteY159" fmla="*/ 581025 h 620717"/>
                <a:gd name="connsiteX160" fmla="*/ 263525 w 514350"/>
                <a:gd name="connsiteY160" fmla="*/ 576262 h 620717"/>
                <a:gd name="connsiteX161" fmla="*/ 266700 w 514350"/>
                <a:gd name="connsiteY161" fmla="*/ 582612 h 620717"/>
                <a:gd name="connsiteX162" fmla="*/ 277812 w 514350"/>
                <a:gd name="connsiteY162" fmla="*/ 590550 h 620717"/>
                <a:gd name="connsiteX163" fmla="*/ 279400 w 514350"/>
                <a:gd name="connsiteY163" fmla="*/ 579437 h 620717"/>
                <a:gd name="connsiteX164" fmla="*/ 287337 w 514350"/>
                <a:gd name="connsiteY164" fmla="*/ 571500 h 620717"/>
                <a:gd name="connsiteX165" fmla="*/ 290512 w 514350"/>
                <a:gd name="connsiteY165" fmla="*/ 566737 h 620717"/>
                <a:gd name="connsiteX166" fmla="*/ 311150 w 514350"/>
                <a:gd name="connsiteY166" fmla="*/ 558800 h 620717"/>
                <a:gd name="connsiteX167" fmla="*/ 354012 w 514350"/>
                <a:gd name="connsiteY167" fmla="*/ 554037 h 620717"/>
                <a:gd name="connsiteX168" fmla="*/ 360362 w 514350"/>
                <a:gd name="connsiteY168" fmla="*/ 561975 h 620717"/>
                <a:gd name="connsiteX169" fmla="*/ 365125 w 514350"/>
                <a:gd name="connsiteY169" fmla="*/ 563562 h 620717"/>
                <a:gd name="connsiteX170" fmla="*/ 366712 w 514350"/>
                <a:gd name="connsiteY170" fmla="*/ 557212 h 620717"/>
                <a:gd name="connsiteX171" fmla="*/ 368300 w 514350"/>
                <a:gd name="connsiteY171" fmla="*/ 552450 h 620717"/>
                <a:gd name="connsiteX172" fmla="*/ 377825 w 514350"/>
                <a:gd name="connsiteY172" fmla="*/ 557212 h 620717"/>
                <a:gd name="connsiteX173" fmla="*/ 382587 w 514350"/>
                <a:gd name="connsiteY173" fmla="*/ 563562 h 620717"/>
                <a:gd name="connsiteX174" fmla="*/ 404812 w 514350"/>
                <a:gd name="connsiteY174" fmla="*/ 565150 h 620717"/>
                <a:gd name="connsiteX175" fmla="*/ 414337 w 514350"/>
                <a:gd name="connsiteY175" fmla="*/ 571500 h 620717"/>
                <a:gd name="connsiteX176" fmla="*/ 419100 w 514350"/>
                <a:gd name="connsiteY176" fmla="*/ 574675 h 620717"/>
                <a:gd name="connsiteX177" fmla="*/ 436562 w 514350"/>
                <a:gd name="connsiteY177" fmla="*/ 573087 h 620717"/>
                <a:gd name="connsiteX178" fmla="*/ 434975 w 514350"/>
                <a:gd name="connsiteY178" fmla="*/ 566737 h 620717"/>
                <a:gd name="connsiteX179" fmla="*/ 430212 w 514350"/>
                <a:gd name="connsiteY179" fmla="*/ 546100 h 620717"/>
                <a:gd name="connsiteX180" fmla="*/ 433387 w 514350"/>
                <a:gd name="connsiteY180" fmla="*/ 531812 h 620717"/>
                <a:gd name="connsiteX181" fmla="*/ 446087 w 514350"/>
                <a:gd name="connsiteY181" fmla="*/ 525462 h 620717"/>
                <a:gd name="connsiteX182" fmla="*/ 452437 w 514350"/>
                <a:gd name="connsiteY182" fmla="*/ 519112 h 620717"/>
                <a:gd name="connsiteX183" fmla="*/ 463550 w 514350"/>
                <a:gd name="connsiteY183" fmla="*/ 514350 h 620717"/>
                <a:gd name="connsiteX184" fmla="*/ 465137 w 514350"/>
                <a:gd name="connsiteY184" fmla="*/ 508000 h 620717"/>
                <a:gd name="connsiteX185" fmla="*/ 466725 w 514350"/>
                <a:gd name="connsiteY185" fmla="*/ 485775 h 620717"/>
                <a:gd name="connsiteX186" fmla="*/ 482600 w 514350"/>
                <a:gd name="connsiteY186" fmla="*/ 474662 h 620717"/>
                <a:gd name="connsiteX187" fmla="*/ 495300 w 514350"/>
                <a:gd name="connsiteY187" fmla="*/ 458787 h 620717"/>
                <a:gd name="connsiteX188" fmla="*/ 501650 w 514350"/>
                <a:gd name="connsiteY188" fmla="*/ 438150 h 620717"/>
                <a:gd name="connsiteX189" fmla="*/ 506412 w 514350"/>
                <a:gd name="connsiteY189" fmla="*/ 433387 h 620717"/>
                <a:gd name="connsiteX190" fmla="*/ 506412 w 514350"/>
                <a:gd name="connsiteY190" fmla="*/ 401637 h 620717"/>
                <a:gd name="connsiteX191" fmla="*/ 501650 w 514350"/>
                <a:gd name="connsiteY191" fmla="*/ 398462 h 620717"/>
                <a:gd name="connsiteX192" fmla="*/ 498475 w 514350"/>
                <a:gd name="connsiteY192" fmla="*/ 392112 h 620717"/>
                <a:gd name="connsiteX193" fmla="*/ 503237 w 514350"/>
                <a:gd name="connsiteY193" fmla="*/ 360362 h 620717"/>
                <a:gd name="connsiteX194" fmla="*/ 508000 w 514350"/>
                <a:gd name="connsiteY194" fmla="*/ 355600 h 620717"/>
                <a:gd name="connsiteX195" fmla="*/ 514350 w 514350"/>
                <a:gd name="connsiteY195" fmla="*/ 346075 h 620717"/>
                <a:gd name="connsiteX196" fmla="*/ 511175 w 514350"/>
                <a:gd name="connsiteY196" fmla="*/ 331787 h 620717"/>
                <a:gd name="connsiteX197" fmla="*/ 506412 w 514350"/>
                <a:gd name="connsiteY197" fmla="*/ 327025 h 620717"/>
                <a:gd name="connsiteX198" fmla="*/ 504825 w 514350"/>
                <a:gd name="connsiteY198" fmla="*/ 315912 h 620717"/>
                <a:gd name="connsiteX199" fmla="*/ 508000 w 514350"/>
                <a:gd name="connsiteY199" fmla="*/ 290512 h 620717"/>
                <a:gd name="connsiteX200" fmla="*/ 506412 w 514350"/>
                <a:gd name="connsiteY200" fmla="*/ 282575 h 620717"/>
                <a:gd name="connsiteX201" fmla="*/ 495300 w 514350"/>
                <a:gd name="connsiteY201" fmla="*/ 276225 h 620717"/>
                <a:gd name="connsiteX202" fmla="*/ 496887 w 514350"/>
                <a:gd name="connsiteY202" fmla="*/ 268287 h 620717"/>
                <a:gd name="connsiteX203" fmla="*/ 501650 w 514350"/>
                <a:gd name="connsiteY203" fmla="*/ 266700 h 620717"/>
                <a:gd name="connsiteX204" fmla="*/ 506412 w 514350"/>
                <a:gd name="connsiteY204" fmla="*/ 263525 h 620717"/>
                <a:gd name="connsiteX205" fmla="*/ 509587 w 514350"/>
                <a:gd name="connsiteY205" fmla="*/ 258762 h 620717"/>
                <a:gd name="connsiteX206" fmla="*/ 511175 w 514350"/>
                <a:gd name="connsiteY206" fmla="*/ 254000 h 620717"/>
                <a:gd name="connsiteX207" fmla="*/ 514350 w 514350"/>
                <a:gd name="connsiteY207" fmla="*/ 246062 h 620717"/>
                <a:gd name="connsiteX208" fmla="*/ 512762 w 514350"/>
                <a:gd name="connsiteY208" fmla="*/ 239712 h 620717"/>
                <a:gd name="connsiteX209" fmla="*/ 496887 w 514350"/>
                <a:gd name="connsiteY209" fmla="*/ 239712 h 620717"/>
                <a:gd name="connsiteX210" fmla="*/ 492125 w 514350"/>
                <a:gd name="connsiteY210" fmla="*/ 241300 h 620717"/>
                <a:gd name="connsiteX211" fmla="*/ 485775 w 514350"/>
                <a:gd name="connsiteY211" fmla="*/ 244475 h 620717"/>
                <a:gd name="connsiteX212" fmla="*/ 481012 w 514350"/>
                <a:gd name="connsiteY212" fmla="*/ 234950 h 620717"/>
                <a:gd name="connsiteX213" fmla="*/ 479425 w 514350"/>
                <a:gd name="connsiteY213" fmla="*/ 222250 h 620717"/>
                <a:gd name="connsiteX214" fmla="*/ 477837 w 514350"/>
                <a:gd name="connsiteY214" fmla="*/ 215900 h 620717"/>
                <a:gd name="connsiteX215" fmla="*/ 473075 w 514350"/>
                <a:gd name="connsiteY215" fmla="*/ 190500 h 620717"/>
                <a:gd name="connsiteX216" fmla="*/ 468312 w 514350"/>
                <a:gd name="connsiteY216" fmla="*/ 176212 h 620717"/>
                <a:gd name="connsiteX217" fmla="*/ 458787 w 514350"/>
                <a:gd name="connsiteY217" fmla="*/ 171450 h 620717"/>
                <a:gd name="connsiteX218" fmla="*/ 449262 w 514350"/>
                <a:gd name="connsiteY218" fmla="*/ 173037 h 620717"/>
                <a:gd name="connsiteX219" fmla="*/ 438150 w 514350"/>
                <a:gd name="connsiteY219" fmla="*/ 182562 h 620717"/>
                <a:gd name="connsiteX220" fmla="*/ 434975 w 514350"/>
                <a:gd name="connsiteY220" fmla="*/ 188912 h 620717"/>
                <a:gd name="connsiteX221" fmla="*/ 428625 w 514350"/>
                <a:gd name="connsiteY221" fmla="*/ 196850 h 620717"/>
                <a:gd name="connsiteX222" fmla="*/ 417512 w 514350"/>
                <a:gd name="connsiteY222" fmla="*/ 206375 h 620717"/>
                <a:gd name="connsiteX223" fmla="*/ 412750 w 514350"/>
                <a:gd name="connsiteY223" fmla="*/ 207962 h 620717"/>
                <a:gd name="connsiteX224" fmla="*/ 401637 w 514350"/>
                <a:gd name="connsiteY224" fmla="*/ 206375 h 620717"/>
                <a:gd name="connsiteX225" fmla="*/ 395287 w 514350"/>
                <a:gd name="connsiteY225" fmla="*/ 200025 h 620717"/>
                <a:gd name="connsiteX226" fmla="*/ 390525 w 514350"/>
                <a:gd name="connsiteY226" fmla="*/ 196850 h 620717"/>
                <a:gd name="connsiteX227" fmla="*/ 385762 w 514350"/>
                <a:gd name="connsiteY227" fmla="*/ 190500 h 620717"/>
                <a:gd name="connsiteX228" fmla="*/ 368300 w 514350"/>
                <a:gd name="connsiteY228" fmla="*/ 171450 h 620717"/>
                <a:gd name="connsiteX229" fmla="*/ 363537 w 514350"/>
                <a:gd name="connsiteY229" fmla="*/ 160337 h 620717"/>
                <a:gd name="connsiteX230" fmla="*/ 358775 w 514350"/>
                <a:gd name="connsiteY230" fmla="*/ 157162 h 620717"/>
                <a:gd name="connsiteX231" fmla="*/ 349250 w 514350"/>
                <a:gd name="connsiteY231" fmla="*/ 144462 h 620717"/>
                <a:gd name="connsiteX232" fmla="*/ 346075 w 514350"/>
                <a:gd name="connsiteY232" fmla="*/ 138112 h 620717"/>
                <a:gd name="connsiteX233" fmla="*/ 350837 w 514350"/>
                <a:gd name="connsiteY233" fmla="*/ 128587 h 620717"/>
                <a:gd name="connsiteX234" fmla="*/ 357187 w 514350"/>
                <a:gd name="connsiteY234" fmla="*/ 127000 h 620717"/>
                <a:gd name="connsiteX235" fmla="*/ 368300 w 514350"/>
                <a:gd name="connsiteY235" fmla="*/ 125412 h 620717"/>
                <a:gd name="connsiteX236" fmla="*/ 374650 w 514350"/>
                <a:gd name="connsiteY236" fmla="*/ 123825 h 620717"/>
                <a:gd name="connsiteX237" fmla="*/ 384175 w 514350"/>
                <a:gd name="connsiteY237" fmla="*/ 120650 h 620717"/>
                <a:gd name="connsiteX238" fmla="*/ 392112 w 514350"/>
                <a:gd name="connsiteY238" fmla="*/ 111125 h 620717"/>
                <a:gd name="connsiteX239" fmla="*/ 388937 w 514350"/>
                <a:gd name="connsiteY239" fmla="*/ 100012 h 620717"/>
                <a:gd name="connsiteX240" fmla="*/ 390525 w 514350"/>
                <a:gd name="connsiteY240" fmla="*/ 93662 h 620717"/>
                <a:gd name="connsiteX241" fmla="*/ 401637 w 514350"/>
                <a:gd name="connsiteY241" fmla="*/ 95250 h 620717"/>
                <a:gd name="connsiteX242" fmla="*/ 423862 w 514350"/>
                <a:gd name="connsiteY242" fmla="*/ 93662 h 620717"/>
                <a:gd name="connsiteX243" fmla="*/ 430212 w 514350"/>
                <a:gd name="connsiteY243" fmla="*/ 87312 h 620717"/>
                <a:gd name="connsiteX244" fmla="*/ 431800 w 514350"/>
                <a:gd name="connsiteY244" fmla="*/ 61912 h 620717"/>
                <a:gd name="connsiteX245" fmla="*/ 443914 w 514350"/>
                <a:gd name="connsiteY245" fmla="*/ 64084 h 620717"/>
                <a:gd name="connsiteX246" fmla="*/ 448737 w 514350"/>
                <a:gd name="connsiteY246" fmla="*/ 66117 h 620717"/>
                <a:gd name="connsiteX247" fmla="*/ 435858 w 514350"/>
                <a:gd name="connsiteY247" fmla="*/ 67146 h 620717"/>
                <a:gd name="connsiteX248" fmla="*/ 451852 w 514350"/>
                <a:gd name="connsiteY248" fmla="*/ 72772 h 620717"/>
                <a:gd name="connsiteX249" fmla="*/ 439737 w 514350"/>
                <a:gd name="connsiteY249" fmla="*/ 79845 h 620717"/>
                <a:gd name="connsiteX250" fmla="*/ 442912 w 514350"/>
                <a:gd name="connsiteY250" fmla="*/ 49212 h 620717"/>
                <a:gd name="connsiteX251" fmla="*/ 455612 w 514350"/>
                <a:gd name="connsiteY251" fmla="*/ 69850 h 620717"/>
                <a:gd name="connsiteX252" fmla="*/ 461962 w 514350"/>
                <a:gd name="connsiteY252" fmla="*/ 68262 h 620717"/>
                <a:gd name="connsiteX253" fmla="*/ 466725 w 514350"/>
                <a:gd name="connsiteY253" fmla="*/ 61912 h 620717"/>
                <a:gd name="connsiteX254" fmla="*/ 492125 w 514350"/>
                <a:gd name="connsiteY254" fmla="*/ 53975 h 620717"/>
                <a:gd name="connsiteX255" fmla="*/ 496887 w 514350"/>
                <a:gd name="connsiteY255" fmla="*/ 49212 h 620717"/>
                <a:gd name="connsiteX256" fmla="*/ 500062 w 514350"/>
                <a:gd name="connsiteY256" fmla="*/ 41275 h 620717"/>
                <a:gd name="connsiteX257" fmla="*/ 496887 w 514350"/>
                <a:gd name="connsiteY257"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34270 w 514350"/>
                <a:gd name="connsiteY9" fmla="*/ 49099 h 620717"/>
                <a:gd name="connsiteX10" fmla="*/ 414695 w 514350"/>
                <a:gd name="connsiteY10" fmla="*/ 29278 h 620717"/>
                <a:gd name="connsiteX11" fmla="*/ 409575 w 514350"/>
                <a:gd name="connsiteY11" fmla="*/ 14287 h 620717"/>
                <a:gd name="connsiteX12" fmla="*/ 401637 w 514350"/>
                <a:gd name="connsiteY12" fmla="*/ 12700 h 620717"/>
                <a:gd name="connsiteX13" fmla="*/ 352425 w 514350"/>
                <a:gd name="connsiteY13" fmla="*/ 19050 h 620717"/>
                <a:gd name="connsiteX14" fmla="*/ 350837 w 514350"/>
                <a:gd name="connsiteY14" fmla="*/ 23812 h 620717"/>
                <a:gd name="connsiteX15" fmla="*/ 352425 w 514350"/>
                <a:gd name="connsiteY15" fmla="*/ 38100 h 620717"/>
                <a:gd name="connsiteX16" fmla="*/ 357187 w 514350"/>
                <a:gd name="connsiteY16" fmla="*/ 44450 h 620717"/>
                <a:gd name="connsiteX17" fmla="*/ 349250 w 514350"/>
                <a:gd name="connsiteY17" fmla="*/ 58737 h 620717"/>
                <a:gd name="connsiteX18" fmla="*/ 328612 w 514350"/>
                <a:gd name="connsiteY18" fmla="*/ 60325 h 620717"/>
                <a:gd name="connsiteX19" fmla="*/ 307975 w 514350"/>
                <a:gd name="connsiteY19" fmla="*/ 68262 h 620717"/>
                <a:gd name="connsiteX20" fmla="*/ 295275 w 514350"/>
                <a:gd name="connsiteY20" fmla="*/ 73025 h 620717"/>
                <a:gd name="connsiteX21" fmla="*/ 292100 w 514350"/>
                <a:gd name="connsiteY21" fmla="*/ 77787 h 620717"/>
                <a:gd name="connsiteX22" fmla="*/ 296862 w 514350"/>
                <a:gd name="connsiteY22" fmla="*/ 79375 h 620717"/>
                <a:gd name="connsiteX23" fmla="*/ 311150 w 514350"/>
                <a:gd name="connsiteY23" fmla="*/ 82550 h 620717"/>
                <a:gd name="connsiteX24" fmla="*/ 319087 w 514350"/>
                <a:gd name="connsiteY24" fmla="*/ 87312 h 620717"/>
                <a:gd name="connsiteX25" fmla="*/ 323850 w 514350"/>
                <a:gd name="connsiteY25" fmla="*/ 88900 h 620717"/>
                <a:gd name="connsiteX26" fmla="*/ 336550 w 514350"/>
                <a:gd name="connsiteY26" fmla="*/ 103187 h 620717"/>
                <a:gd name="connsiteX27" fmla="*/ 334962 w 514350"/>
                <a:gd name="connsiteY27" fmla="*/ 114300 h 620717"/>
                <a:gd name="connsiteX28" fmla="*/ 330200 w 514350"/>
                <a:gd name="connsiteY28" fmla="*/ 115887 h 620717"/>
                <a:gd name="connsiteX29" fmla="*/ 315912 w 514350"/>
                <a:gd name="connsiteY29" fmla="*/ 130175 h 620717"/>
                <a:gd name="connsiteX30" fmla="*/ 307975 w 514350"/>
                <a:gd name="connsiteY30" fmla="*/ 131762 h 620717"/>
                <a:gd name="connsiteX31" fmla="*/ 300037 w 514350"/>
                <a:gd name="connsiteY31" fmla="*/ 134937 h 620717"/>
                <a:gd name="connsiteX32" fmla="*/ 296862 w 514350"/>
                <a:gd name="connsiteY32" fmla="*/ 142875 h 620717"/>
                <a:gd name="connsiteX33" fmla="*/ 282575 w 514350"/>
                <a:gd name="connsiteY33" fmla="*/ 157162 h 620717"/>
                <a:gd name="connsiteX34" fmla="*/ 273050 w 514350"/>
                <a:gd name="connsiteY34" fmla="*/ 153987 h 620717"/>
                <a:gd name="connsiteX35" fmla="*/ 261937 w 514350"/>
                <a:gd name="connsiteY35" fmla="*/ 147637 h 620717"/>
                <a:gd name="connsiteX36" fmla="*/ 242887 w 514350"/>
                <a:gd name="connsiteY36" fmla="*/ 149225 h 620717"/>
                <a:gd name="connsiteX37" fmla="*/ 236537 w 514350"/>
                <a:gd name="connsiteY37" fmla="*/ 150812 h 620717"/>
                <a:gd name="connsiteX38" fmla="*/ 231775 w 514350"/>
                <a:gd name="connsiteY38" fmla="*/ 142875 h 620717"/>
                <a:gd name="connsiteX39" fmla="*/ 225425 w 514350"/>
                <a:gd name="connsiteY39" fmla="*/ 123825 h 620717"/>
                <a:gd name="connsiteX40" fmla="*/ 219075 w 514350"/>
                <a:gd name="connsiteY40" fmla="*/ 122237 h 620717"/>
                <a:gd name="connsiteX41" fmla="*/ 204787 w 514350"/>
                <a:gd name="connsiteY41" fmla="*/ 120650 h 620717"/>
                <a:gd name="connsiteX42" fmla="*/ 190500 w 514350"/>
                <a:gd name="connsiteY42" fmla="*/ 117475 h 620717"/>
                <a:gd name="connsiteX43" fmla="*/ 182562 w 514350"/>
                <a:gd name="connsiteY43" fmla="*/ 111125 h 620717"/>
                <a:gd name="connsiteX44" fmla="*/ 174625 w 514350"/>
                <a:gd name="connsiteY44" fmla="*/ 104775 h 620717"/>
                <a:gd name="connsiteX45" fmla="*/ 152400 w 514350"/>
                <a:gd name="connsiteY45" fmla="*/ 106362 h 620717"/>
                <a:gd name="connsiteX46" fmla="*/ 150812 w 514350"/>
                <a:gd name="connsiteY46" fmla="*/ 117475 h 620717"/>
                <a:gd name="connsiteX47" fmla="*/ 133350 w 514350"/>
                <a:gd name="connsiteY47" fmla="*/ 120650 h 620717"/>
                <a:gd name="connsiteX48" fmla="*/ 138112 w 514350"/>
                <a:gd name="connsiteY48" fmla="*/ 123825 h 620717"/>
                <a:gd name="connsiteX49" fmla="*/ 139700 w 514350"/>
                <a:gd name="connsiteY49" fmla="*/ 128587 h 620717"/>
                <a:gd name="connsiteX50" fmla="*/ 146050 w 514350"/>
                <a:gd name="connsiteY50" fmla="*/ 131762 h 620717"/>
                <a:gd name="connsiteX51" fmla="*/ 147637 w 514350"/>
                <a:gd name="connsiteY51" fmla="*/ 138112 h 620717"/>
                <a:gd name="connsiteX52" fmla="*/ 123825 w 514350"/>
                <a:gd name="connsiteY52" fmla="*/ 146050 h 620717"/>
                <a:gd name="connsiteX53" fmla="*/ 117475 w 514350"/>
                <a:gd name="connsiteY53" fmla="*/ 155575 h 620717"/>
                <a:gd name="connsiteX54" fmla="*/ 112712 w 514350"/>
                <a:gd name="connsiteY54" fmla="*/ 157162 h 620717"/>
                <a:gd name="connsiteX55" fmla="*/ 125412 w 514350"/>
                <a:gd name="connsiteY55" fmla="*/ 161925 h 620717"/>
                <a:gd name="connsiteX56" fmla="*/ 130175 w 514350"/>
                <a:gd name="connsiteY56" fmla="*/ 163512 h 620717"/>
                <a:gd name="connsiteX57" fmla="*/ 142875 w 514350"/>
                <a:gd name="connsiteY57" fmla="*/ 166687 h 620717"/>
                <a:gd name="connsiteX58" fmla="*/ 147637 w 514350"/>
                <a:gd name="connsiteY58" fmla="*/ 173037 h 620717"/>
                <a:gd name="connsiteX59" fmla="*/ 152400 w 514350"/>
                <a:gd name="connsiteY59" fmla="*/ 177800 h 620717"/>
                <a:gd name="connsiteX60" fmla="*/ 146050 w 514350"/>
                <a:gd name="connsiteY60" fmla="*/ 179387 h 620717"/>
                <a:gd name="connsiteX61" fmla="*/ 149225 w 514350"/>
                <a:gd name="connsiteY61" fmla="*/ 185737 h 620717"/>
                <a:gd name="connsiteX62" fmla="*/ 153987 w 514350"/>
                <a:gd name="connsiteY62" fmla="*/ 187325 h 620717"/>
                <a:gd name="connsiteX63" fmla="*/ 168275 w 514350"/>
                <a:gd name="connsiteY63" fmla="*/ 190500 h 620717"/>
                <a:gd name="connsiteX64" fmla="*/ 165100 w 514350"/>
                <a:gd name="connsiteY64" fmla="*/ 198437 h 620717"/>
                <a:gd name="connsiteX65" fmla="*/ 160337 w 514350"/>
                <a:gd name="connsiteY65" fmla="*/ 200025 h 620717"/>
                <a:gd name="connsiteX66" fmla="*/ 139700 w 514350"/>
                <a:gd name="connsiteY66" fmla="*/ 196850 h 620717"/>
                <a:gd name="connsiteX67" fmla="*/ 153987 w 514350"/>
                <a:gd name="connsiteY67" fmla="*/ 211137 h 620717"/>
                <a:gd name="connsiteX68" fmla="*/ 152400 w 514350"/>
                <a:gd name="connsiteY68" fmla="*/ 217487 h 620717"/>
                <a:gd name="connsiteX69" fmla="*/ 138112 w 514350"/>
                <a:gd name="connsiteY69" fmla="*/ 219075 h 620717"/>
                <a:gd name="connsiteX70" fmla="*/ 142875 w 514350"/>
                <a:gd name="connsiteY70" fmla="*/ 223837 h 620717"/>
                <a:gd name="connsiteX71" fmla="*/ 141287 w 514350"/>
                <a:gd name="connsiteY71" fmla="*/ 228600 h 620717"/>
                <a:gd name="connsiteX72" fmla="*/ 107950 w 514350"/>
                <a:gd name="connsiteY72" fmla="*/ 231775 h 620717"/>
                <a:gd name="connsiteX73" fmla="*/ 95250 w 514350"/>
                <a:gd name="connsiteY73" fmla="*/ 233362 h 620717"/>
                <a:gd name="connsiteX74" fmla="*/ 92075 w 514350"/>
                <a:gd name="connsiteY74" fmla="*/ 247650 h 620717"/>
                <a:gd name="connsiteX75" fmla="*/ 93662 w 514350"/>
                <a:gd name="connsiteY75" fmla="*/ 252412 h 620717"/>
                <a:gd name="connsiteX76" fmla="*/ 109537 w 514350"/>
                <a:gd name="connsiteY76" fmla="*/ 260350 h 620717"/>
                <a:gd name="connsiteX77" fmla="*/ 114300 w 514350"/>
                <a:gd name="connsiteY77" fmla="*/ 263525 h 620717"/>
                <a:gd name="connsiteX78" fmla="*/ 119062 w 514350"/>
                <a:gd name="connsiteY78" fmla="*/ 268287 h 620717"/>
                <a:gd name="connsiteX79" fmla="*/ 123825 w 514350"/>
                <a:gd name="connsiteY79" fmla="*/ 269875 h 620717"/>
                <a:gd name="connsiteX80" fmla="*/ 128587 w 514350"/>
                <a:gd name="connsiteY80" fmla="*/ 273050 h 620717"/>
                <a:gd name="connsiteX81" fmla="*/ 114300 w 514350"/>
                <a:gd name="connsiteY81" fmla="*/ 279400 h 620717"/>
                <a:gd name="connsiteX82" fmla="*/ 109537 w 514350"/>
                <a:gd name="connsiteY82" fmla="*/ 284162 h 620717"/>
                <a:gd name="connsiteX83" fmla="*/ 111125 w 514350"/>
                <a:gd name="connsiteY83" fmla="*/ 293687 h 620717"/>
                <a:gd name="connsiteX84" fmla="*/ 125412 w 514350"/>
                <a:gd name="connsiteY84" fmla="*/ 296862 h 620717"/>
                <a:gd name="connsiteX85" fmla="*/ 136525 w 514350"/>
                <a:gd name="connsiteY85" fmla="*/ 301625 h 620717"/>
                <a:gd name="connsiteX86" fmla="*/ 142875 w 514350"/>
                <a:gd name="connsiteY86" fmla="*/ 303212 h 620717"/>
                <a:gd name="connsiteX87" fmla="*/ 146050 w 514350"/>
                <a:gd name="connsiteY87" fmla="*/ 311150 h 620717"/>
                <a:gd name="connsiteX88" fmla="*/ 158750 w 514350"/>
                <a:gd name="connsiteY88" fmla="*/ 315912 h 620717"/>
                <a:gd name="connsiteX89" fmla="*/ 193675 w 514350"/>
                <a:gd name="connsiteY89" fmla="*/ 317500 h 620717"/>
                <a:gd name="connsiteX90" fmla="*/ 209550 w 514350"/>
                <a:gd name="connsiteY90" fmla="*/ 320675 h 620717"/>
                <a:gd name="connsiteX91" fmla="*/ 204787 w 514350"/>
                <a:gd name="connsiteY91" fmla="*/ 323850 h 620717"/>
                <a:gd name="connsiteX92" fmla="*/ 200025 w 514350"/>
                <a:gd name="connsiteY92" fmla="*/ 325437 h 620717"/>
                <a:gd name="connsiteX93" fmla="*/ 190500 w 514350"/>
                <a:gd name="connsiteY93" fmla="*/ 331787 h 620717"/>
                <a:gd name="connsiteX94" fmla="*/ 182562 w 514350"/>
                <a:gd name="connsiteY94" fmla="*/ 338137 h 620717"/>
                <a:gd name="connsiteX95" fmla="*/ 176212 w 514350"/>
                <a:gd name="connsiteY95" fmla="*/ 341312 h 620717"/>
                <a:gd name="connsiteX96" fmla="*/ 171450 w 514350"/>
                <a:gd name="connsiteY96" fmla="*/ 344487 h 620717"/>
                <a:gd name="connsiteX97" fmla="*/ 161925 w 514350"/>
                <a:gd name="connsiteY97" fmla="*/ 347662 h 620717"/>
                <a:gd name="connsiteX98" fmla="*/ 149225 w 514350"/>
                <a:gd name="connsiteY98" fmla="*/ 365125 h 620717"/>
                <a:gd name="connsiteX99" fmla="*/ 139700 w 514350"/>
                <a:gd name="connsiteY99" fmla="*/ 382587 h 620717"/>
                <a:gd name="connsiteX100" fmla="*/ 134937 w 514350"/>
                <a:gd name="connsiteY100" fmla="*/ 384175 h 620717"/>
                <a:gd name="connsiteX101" fmla="*/ 133350 w 514350"/>
                <a:gd name="connsiteY101" fmla="*/ 388937 h 620717"/>
                <a:gd name="connsiteX102" fmla="*/ 128587 w 514350"/>
                <a:gd name="connsiteY102" fmla="*/ 392112 h 620717"/>
                <a:gd name="connsiteX103" fmla="*/ 120650 w 514350"/>
                <a:gd name="connsiteY103" fmla="*/ 398462 h 620717"/>
                <a:gd name="connsiteX104" fmla="*/ 114300 w 514350"/>
                <a:gd name="connsiteY104" fmla="*/ 409575 h 620717"/>
                <a:gd name="connsiteX105" fmla="*/ 109537 w 514350"/>
                <a:gd name="connsiteY105" fmla="*/ 411162 h 620717"/>
                <a:gd name="connsiteX106" fmla="*/ 92075 w 514350"/>
                <a:gd name="connsiteY106" fmla="*/ 414337 h 620717"/>
                <a:gd name="connsiteX107" fmla="*/ 92075 w 514350"/>
                <a:gd name="connsiteY107" fmla="*/ 433387 h 620717"/>
                <a:gd name="connsiteX108" fmla="*/ 79375 w 514350"/>
                <a:gd name="connsiteY108" fmla="*/ 441325 h 620717"/>
                <a:gd name="connsiteX109" fmla="*/ 73025 w 514350"/>
                <a:gd name="connsiteY109" fmla="*/ 455612 h 620717"/>
                <a:gd name="connsiteX110" fmla="*/ 69850 w 514350"/>
                <a:gd name="connsiteY110" fmla="*/ 463550 h 620717"/>
                <a:gd name="connsiteX111" fmla="*/ 65087 w 514350"/>
                <a:gd name="connsiteY111" fmla="*/ 465137 h 620717"/>
                <a:gd name="connsiteX112" fmla="*/ 38100 w 514350"/>
                <a:gd name="connsiteY112" fmla="*/ 466725 h 620717"/>
                <a:gd name="connsiteX113" fmla="*/ 34925 w 514350"/>
                <a:gd name="connsiteY113" fmla="*/ 473075 h 620717"/>
                <a:gd name="connsiteX114" fmla="*/ 30162 w 514350"/>
                <a:gd name="connsiteY114" fmla="*/ 476250 h 620717"/>
                <a:gd name="connsiteX115" fmla="*/ 0 w 514350"/>
                <a:gd name="connsiteY115" fmla="*/ 477837 h 620717"/>
                <a:gd name="connsiteX116" fmla="*/ 4762 w 514350"/>
                <a:gd name="connsiteY116" fmla="*/ 484187 h 620717"/>
                <a:gd name="connsiteX117" fmla="*/ 23812 w 514350"/>
                <a:gd name="connsiteY117" fmla="*/ 485775 h 620717"/>
                <a:gd name="connsiteX118" fmla="*/ 30162 w 514350"/>
                <a:gd name="connsiteY118" fmla="*/ 487362 h 620717"/>
                <a:gd name="connsiteX119" fmla="*/ 39687 w 514350"/>
                <a:gd name="connsiteY119" fmla="*/ 488950 h 620717"/>
                <a:gd name="connsiteX120" fmla="*/ 33337 w 514350"/>
                <a:gd name="connsiteY120" fmla="*/ 492125 h 620717"/>
                <a:gd name="connsiteX121" fmla="*/ 25400 w 514350"/>
                <a:gd name="connsiteY121" fmla="*/ 493712 h 620717"/>
                <a:gd name="connsiteX122" fmla="*/ 19050 w 514350"/>
                <a:gd name="connsiteY122" fmla="*/ 495300 h 620717"/>
                <a:gd name="connsiteX123" fmla="*/ 14287 w 514350"/>
                <a:gd name="connsiteY123" fmla="*/ 498475 h 620717"/>
                <a:gd name="connsiteX124" fmla="*/ 4762 w 514350"/>
                <a:gd name="connsiteY124" fmla="*/ 503237 h 620717"/>
                <a:gd name="connsiteX125" fmla="*/ 3175 w 514350"/>
                <a:gd name="connsiteY125" fmla="*/ 508000 h 620717"/>
                <a:gd name="connsiteX126" fmla="*/ 4762 w 514350"/>
                <a:gd name="connsiteY126" fmla="*/ 530225 h 620717"/>
                <a:gd name="connsiteX127" fmla="*/ 11112 w 514350"/>
                <a:gd name="connsiteY127" fmla="*/ 533400 h 620717"/>
                <a:gd name="connsiteX128" fmla="*/ 20637 w 514350"/>
                <a:gd name="connsiteY128" fmla="*/ 534987 h 620717"/>
                <a:gd name="connsiteX129" fmla="*/ 26987 w 514350"/>
                <a:gd name="connsiteY129" fmla="*/ 536575 h 620717"/>
                <a:gd name="connsiteX130" fmla="*/ 39687 w 514350"/>
                <a:gd name="connsiteY130" fmla="*/ 542925 h 620717"/>
                <a:gd name="connsiteX131" fmla="*/ 44450 w 514350"/>
                <a:gd name="connsiteY131" fmla="*/ 546100 h 620717"/>
                <a:gd name="connsiteX132" fmla="*/ 58737 w 514350"/>
                <a:gd name="connsiteY132" fmla="*/ 547687 h 620717"/>
                <a:gd name="connsiteX133" fmla="*/ 47625 w 514350"/>
                <a:gd name="connsiteY133" fmla="*/ 555625 h 620717"/>
                <a:gd name="connsiteX134" fmla="*/ 30162 w 514350"/>
                <a:gd name="connsiteY134" fmla="*/ 558800 h 620717"/>
                <a:gd name="connsiteX135" fmla="*/ 7937 w 514350"/>
                <a:gd name="connsiteY135" fmla="*/ 563562 h 620717"/>
                <a:gd name="connsiteX136" fmla="*/ 7937 w 514350"/>
                <a:gd name="connsiteY136" fmla="*/ 576262 h 620717"/>
                <a:gd name="connsiteX137" fmla="*/ 17462 w 514350"/>
                <a:gd name="connsiteY137" fmla="*/ 577850 h 620717"/>
                <a:gd name="connsiteX138" fmla="*/ 39687 w 514350"/>
                <a:gd name="connsiteY138" fmla="*/ 581025 h 620717"/>
                <a:gd name="connsiteX139" fmla="*/ 47625 w 514350"/>
                <a:gd name="connsiteY139" fmla="*/ 582612 h 620717"/>
                <a:gd name="connsiteX140" fmla="*/ 61912 w 514350"/>
                <a:gd name="connsiteY140" fmla="*/ 584200 h 620717"/>
                <a:gd name="connsiteX141" fmla="*/ 66675 w 514350"/>
                <a:gd name="connsiteY141" fmla="*/ 587375 h 620717"/>
                <a:gd name="connsiteX142" fmla="*/ 53975 w 514350"/>
                <a:gd name="connsiteY142" fmla="*/ 593725 h 620717"/>
                <a:gd name="connsiteX143" fmla="*/ 52387 w 514350"/>
                <a:gd name="connsiteY143" fmla="*/ 601662 h 620717"/>
                <a:gd name="connsiteX144" fmla="*/ 50800 w 514350"/>
                <a:gd name="connsiteY144" fmla="*/ 606425 h 620717"/>
                <a:gd name="connsiteX145" fmla="*/ 55562 w 514350"/>
                <a:gd name="connsiteY145" fmla="*/ 614362 h 620717"/>
                <a:gd name="connsiteX146" fmla="*/ 79375 w 514350"/>
                <a:gd name="connsiteY146" fmla="*/ 609600 h 620717"/>
                <a:gd name="connsiteX147" fmla="*/ 123825 w 514350"/>
                <a:gd name="connsiteY147" fmla="*/ 612775 h 620717"/>
                <a:gd name="connsiteX148" fmla="*/ 130175 w 514350"/>
                <a:gd name="connsiteY148" fmla="*/ 617537 h 620717"/>
                <a:gd name="connsiteX149" fmla="*/ 144462 w 514350"/>
                <a:gd name="connsiteY149" fmla="*/ 620712 h 620717"/>
                <a:gd name="connsiteX150" fmla="*/ 173037 w 514350"/>
                <a:gd name="connsiteY150" fmla="*/ 617537 h 620717"/>
                <a:gd name="connsiteX151" fmla="*/ 180975 w 514350"/>
                <a:gd name="connsiteY151" fmla="*/ 614362 h 620717"/>
                <a:gd name="connsiteX152" fmla="*/ 187325 w 514350"/>
                <a:gd name="connsiteY152" fmla="*/ 609600 h 620717"/>
                <a:gd name="connsiteX153" fmla="*/ 196850 w 514350"/>
                <a:gd name="connsiteY153" fmla="*/ 606425 h 620717"/>
                <a:gd name="connsiteX154" fmla="*/ 198437 w 514350"/>
                <a:gd name="connsiteY154" fmla="*/ 600075 h 620717"/>
                <a:gd name="connsiteX155" fmla="*/ 203200 w 514350"/>
                <a:gd name="connsiteY155" fmla="*/ 595312 h 620717"/>
                <a:gd name="connsiteX156" fmla="*/ 215900 w 514350"/>
                <a:gd name="connsiteY156" fmla="*/ 581025 h 620717"/>
                <a:gd name="connsiteX157" fmla="*/ 230187 w 514350"/>
                <a:gd name="connsiteY157" fmla="*/ 582612 h 620717"/>
                <a:gd name="connsiteX158" fmla="*/ 238125 w 514350"/>
                <a:gd name="connsiteY158" fmla="*/ 584200 h 620717"/>
                <a:gd name="connsiteX159" fmla="*/ 261937 w 514350"/>
                <a:gd name="connsiteY159" fmla="*/ 581025 h 620717"/>
                <a:gd name="connsiteX160" fmla="*/ 263525 w 514350"/>
                <a:gd name="connsiteY160" fmla="*/ 576262 h 620717"/>
                <a:gd name="connsiteX161" fmla="*/ 266700 w 514350"/>
                <a:gd name="connsiteY161" fmla="*/ 582612 h 620717"/>
                <a:gd name="connsiteX162" fmla="*/ 277812 w 514350"/>
                <a:gd name="connsiteY162" fmla="*/ 590550 h 620717"/>
                <a:gd name="connsiteX163" fmla="*/ 279400 w 514350"/>
                <a:gd name="connsiteY163" fmla="*/ 579437 h 620717"/>
                <a:gd name="connsiteX164" fmla="*/ 287337 w 514350"/>
                <a:gd name="connsiteY164" fmla="*/ 571500 h 620717"/>
                <a:gd name="connsiteX165" fmla="*/ 290512 w 514350"/>
                <a:gd name="connsiteY165" fmla="*/ 566737 h 620717"/>
                <a:gd name="connsiteX166" fmla="*/ 311150 w 514350"/>
                <a:gd name="connsiteY166" fmla="*/ 558800 h 620717"/>
                <a:gd name="connsiteX167" fmla="*/ 354012 w 514350"/>
                <a:gd name="connsiteY167" fmla="*/ 554037 h 620717"/>
                <a:gd name="connsiteX168" fmla="*/ 360362 w 514350"/>
                <a:gd name="connsiteY168" fmla="*/ 561975 h 620717"/>
                <a:gd name="connsiteX169" fmla="*/ 365125 w 514350"/>
                <a:gd name="connsiteY169" fmla="*/ 563562 h 620717"/>
                <a:gd name="connsiteX170" fmla="*/ 366712 w 514350"/>
                <a:gd name="connsiteY170" fmla="*/ 557212 h 620717"/>
                <a:gd name="connsiteX171" fmla="*/ 368300 w 514350"/>
                <a:gd name="connsiteY171" fmla="*/ 552450 h 620717"/>
                <a:gd name="connsiteX172" fmla="*/ 377825 w 514350"/>
                <a:gd name="connsiteY172" fmla="*/ 557212 h 620717"/>
                <a:gd name="connsiteX173" fmla="*/ 382587 w 514350"/>
                <a:gd name="connsiteY173" fmla="*/ 563562 h 620717"/>
                <a:gd name="connsiteX174" fmla="*/ 404812 w 514350"/>
                <a:gd name="connsiteY174" fmla="*/ 565150 h 620717"/>
                <a:gd name="connsiteX175" fmla="*/ 414337 w 514350"/>
                <a:gd name="connsiteY175" fmla="*/ 571500 h 620717"/>
                <a:gd name="connsiteX176" fmla="*/ 419100 w 514350"/>
                <a:gd name="connsiteY176" fmla="*/ 574675 h 620717"/>
                <a:gd name="connsiteX177" fmla="*/ 436562 w 514350"/>
                <a:gd name="connsiteY177" fmla="*/ 573087 h 620717"/>
                <a:gd name="connsiteX178" fmla="*/ 434975 w 514350"/>
                <a:gd name="connsiteY178" fmla="*/ 566737 h 620717"/>
                <a:gd name="connsiteX179" fmla="*/ 430212 w 514350"/>
                <a:gd name="connsiteY179" fmla="*/ 546100 h 620717"/>
                <a:gd name="connsiteX180" fmla="*/ 433387 w 514350"/>
                <a:gd name="connsiteY180" fmla="*/ 531812 h 620717"/>
                <a:gd name="connsiteX181" fmla="*/ 446087 w 514350"/>
                <a:gd name="connsiteY181" fmla="*/ 525462 h 620717"/>
                <a:gd name="connsiteX182" fmla="*/ 452437 w 514350"/>
                <a:gd name="connsiteY182" fmla="*/ 519112 h 620717"/>
                <a:gd name="connsiteX183" fmla="*/ 463550 w 514350"/>
                <a:gd name="connsiteY183" fmla="*/ 514350 h 620717"/>
                <a:gd name="connsiteX184" fmla="*/ 465137 w 514350"/>
                <a:gd name="connsiteY184" fmla="*/ 508000 h 620717"/>
                <a:gd name="connsiteX185" fmla="*/ 466725 w 514350"/>
                <a:gd name="connsiteY185" fmla="*/ 485775 h 620717"/>
                <a:gd name="connsiteX186" fmla="*/ 482600 w 514350"/>
                <a:gd name="connsiteY186" fmla="*/ 474662 h 620717"/>
                <a:gd name="connsiteX187" fmla="*/ 495300 w 514350"/>
                <a:gd name="connsiteY187" fmla="*/ 458787 h 620717"/>
                <a:gd name="connsiteX188" fmla="*/ 501650 w 514350"/>
                <a:gd name="connsiteY188" fmla="*/ 438150 h 620717"/>
                <a:gd name="connsiteX189" fmla="*/ 506412 w 514350"/>
                <a:gd name="connsiteY189" fmla="*/ 433387 h 620717"/>
                <a:gd name="connsiteX190" fmla="*/ 506412 w 514350"/>
                <a:gd name="connsiteY190" fmla="*/ 401637 h 620717"/>
                <a:gd name="connsiteX191" fmla="*/ 501650 w 514350"/>
                <a:gd name="connsiteY191" fmla="*/ 398462 h 620717"/>
                <a:gd name="connsiteX192" fmla="*/ 498475 w 514350"/>
                <a:gd name="connsiteY192" fmla="*/ 392112 h 620717"/>
                <a:gd name="connsiteX193" fmla="*/ 503237 w 514350"/>
                <a:gd name="connsiteY193" fmla="*/ 360362 h 620717"/>
                <a:gd name="connsiteX194" fmla="*/ 508000 w 514350"/>
                <a:gd name="connsiteY194" fmla="*/ 355600 h 620717"/>
                <a:gd name="connsiteX195" fmla="*/ 514350 w 514350"/>
                <a:gd name="connsiteY195" fmla="*/ 346075 h 620717"/>
                <a:gd name="connsiteX196" fmla="*/ 511175 w 514350"/>
                <a:gd name="connsiteY196" fmla="*/ 331787 h 620717"/>
                <a:gd name="connsiteX197" fmla="*/ 506412 w 514350"/>
                <a:gd name="connsiteY197" fmla="*/ 327025 h 620717"/>
                <a:gd name="connsiteX198" fmla="*/ 504825 w 514350"/>
                <a:gd name="connsiteY198" fmla="*/ 315912 h 620717"/>
                <a:gd name="connsiteX199" fmla="*/ 508000 w 514350"/>
                <a:gd name="connsiteY199" fmla="*/ 290512 h 620717"/>
                <a:gd name="connsiteX200" fmla="*/ 506412 w 514350"/>
                <a:gd name="connsiteY200" fmla="*/ 282575 h 620717"/>
                <a:gd name="connsiteX201" fmla="*/ 495300 w 514350"/>
                <a:gd name="connsiteY201" fmla="*/ 276225 h 620717"/>
                <a:gd name="connsiteX202" fmla="*/ 496887 w 514350"/>
                <a:gd name="connsiteY202" fmla="*/ 268287 h 620717"/>
                <a:gd name="connsiteX203" fmla="*/ 501650 w 514350"/>
                <a:gd name="connsiteY203" fmla="*/ 266700 h 620717"/>
                <a:gd name="connsiteX204" fmla="*/ 506412 w 514350"/>
                <a:gd name="connsiteY204" fmla="*/ 263525 h 620717"/>
                <a:gd name="connsiteX205" fmla="*/ 509587 w 514350"/>
                <a:gd name="connsiteY205" fmla="*/ 258762 h 620717"/>
                <a:gd name="connsiteX206" fmla="*/ 511175 w 514350"/>
                <a:gd name="connsiteY206" fmla="*/ 254000 h 620717"/>
                <a:gd name="connsiteX207" fmla="*/ 514350 w 514350"/>
                <a:gd name="connsiteY207" fmla="*/ 246062 h 620717"/>
                <a:gd name="connsiteX208" fmla="*/ 512762 w 514350"/>
                <a:gd name="connsiteY208" fmla="*/ 239712 h 620717"/>
                <a:gd name="connsiteX209" fmla="*/ 496887 w 514350"/>
                <a:gd name="connsiteY209" fmla="*/ 239712 h 620717"/>
                <a:gd name="connsiteX210" fmla="*/ 492125 w 514350"/>
                <a:gd name="connsiteY210" fmla="*/ 241300 h 620717"/>
                <a:gd name="connsiteX211" fmla="*/ 485775 w 514350"/>
                <a:gd name="connsiteY211" fmla="*/ 244475 h 620717"/>
                <a:gd name="connsiteX212" fmla="*/ 481012 w 514350"/>
                <a:gd name="connsiteY212" fmla="*/ 234950 h 620717"/>
                <a:gd name="connsiteX213" fmla="*/ 479425 w 514350"/>
                <a:gd name="connsiteY213" fmla="*/ 222250 h 620717"/>
                <a:gd name="connsiteX214" fmla="*/ 477837 w 514350"/>
                <a:gd name="connsiteY214" fmla="*/ 215900 h 620717"/>
                <a:gd name="connsiteX215" fmla="*/ 473075 w 514350"/>
                <a:gd name="connsiteY215" fmla="*/ 190500 h 620717"/>
                <a:gd name="connsiteX216" fmla="*/ 468312 w 514350"/>
                <a:gd name="connsiteY216" fmla="*/ 176212 h 620717"/>
                <a:gd name="connsiteX217" fmla="*/ 458787 w 514350"/>
                <a:gd name="connsiteY217" fmla="*/ 171450 h 620717"/>
                <a:gd name="connsiteX218" fmla="*/ 449262 w 514350"/>
                <a:gd name="connsiteY218" fmla="*/ 173037 h 620717"/>
                <a:gd name="connsiteX219" fmla="*/ 438150 w 514350"/>
                <a:gd name="connsiteY219" fmla="*/ 182562 h 620717"/>
                <a:gd name="connsiteX220" fmla="*/ 434975 w 514350"/>
                <a:gd name="connsiteY220" fmla="*/ 188912 h 620717"/>
                <a:gd name="connsiteX221" fmla="*/ 428625 w 514350"/>
                <a:gd name="connsiteY221" fmla="*/ 196850 h 620717"/>
                <a:gd name="connsiteX222" fmla="*/ 417512 w 514350"/>
                <a:gd name="connsiteY222" fmla="*/ 206375 h 620717"/>
                <a:gd name="connsiteX223" fmla="*/ 412750 w 514350"/>
                <a:gd name="connsiteY223" fmla="*/ 207962 h 620717"/>
                <a:gd name="connsiteX224" fmla="*/ 401637 w 514350"/>
                <a:gd name="connsiteY224" fmla="*/ 206375 h 620717"/>
                <a:gd name="connsiteX225" fmla="*/ 395287 w 514350"/>
                <a:gd name="connsiteY225" fmla="*/ 200025 h 620717"/>
                <a:gd name="connsiteX226" fmla="*/ 390525 w 514350"/>
                <a:gd name="connsiteY226" fmla="*/ 196850 h 620717"/>
                <a:gd name="connsiteX227" fmla="*/ 385762 w 514350"/>
                <a:gd name="connsiteY227" fmla="*/ 190500 h 620717"/>
                <a:gd name="connsiteX228" fmla="*/ 368300 w 514350"/>
                <a:gd name="connsiteY228" fmla="*/ 171450 h 620717"/>
                <a:gd name="connsiteX229" fmla="*/ 363537 w 514350"/>
                <a:gd name="connsiteY229" fmla="*/ 160337 h 620717"/>
                <a:gd name="connsiteX230" fmla="*/ 358775 w 514350"/>
                <a:gd name="connsiteY230" fmla="*/ 157162 h 620717"/>
                <a:gd name="connsiteX231" fmla="*/ 349250 w 514350"/>
                <a:gd name="connsiteY231" fmla="*/ 144462 h 620717"/>
                <a:gd name="connsiteX232" fmla="*/ 346075 w 514350"/>
                <a:gd name="connsiteY232" fmla="*/ 138112 h 620717"/>
                <a:gd name="connsiteX233" fmla="*/ 350837 w 514350"/>
                <a:gd name="connsiteY233" fmla="*/ 128587 h 620717"/>
                <a:gd name="connsiteX234" fmla="*/ 357187 w 514350"/>
                <a:gd name="connsiteY234" fmla="*/ 127000 h 620717"/>
                <a:gd name="connsiteX235" fmla="*/ 368300 w 514350"/>
                <a:gd name="connsiteY235" fmla="*/ 125412 h 620717"/>
                <a:gd name="connsiteX236" fmla="*/ 374650 w 514350"/>
                <a:gd name="connsiteY236" fmla="*/ 123825 h 620717"/>
                <a:gd name="connsiteX237" fmla="*/ 384175 w 514350"/>
                <a:gd name="connsiteY237" fmla="*/ 120650 h 620717"/>
                <a:gd name="connsiteX238" fmla="*/ 392112 w 514350"/>
                <a:gd name="connsiteY238" fmla="*/ 111125 h 620717"/>
                <a:gd name="connsiteX239" fmla="*/ 388937 w 514350"/>
                <a:gd name="connsiteY239" fmla="*/ 100012 h 620717"/>
                <a:gd name="connsiteX240" fmla="*/ 390525 w 514350"/>
                <a:gd name="connsiteY240" fmla="*/ 93662 h 620717"/>
                <a:gd name="connsiteX241" fmla="*/ 401637 w 514350"/>
                <a:gd name="connsiteY241" fmla="*/ 95250 h 620717"/>
                <a:gd name="connsiteX242" fmla="*/ 423862 w 514350"/>
                <a:gd name="connsiteY242" fmla="*/ 93662 h 620717"/>
                <a:gd name="connsiteX243" fmla="*/ 430212 w 514350"/>
                <a:gd name="connsiteY243" fmla="*/ 87312 h 620717"/>
                <a:gd name="connsiteX244" fmla="*/ 431800 w 514350"/>
                <a:gd name="connsiteY244" fmla="*/ 61912 h 620717"/>
                <a:gd name="connsiteX245" fmla="*/ 443914 w 514350"/>
                <a:gd name="connsiteY245" fmla="*/ 64084 h 620717"/>
                <a:gd name="connsiteX246" fmla="*/ 448737 w 514350"/>
                <a:gd name="connsiteY246" fmla="*/ 66117 h 620717"/>
                <a:gd name="connsiteX247" fmla="*/ 435858 w 514350"/>
                <a:gd name="connsiteY247" fmla="*/ 67146 h 620717"/>
                <a:gd name="connsiteX248" fmla="*/ 451852 w 514350"/>
                <a:gd name="connsiteY248" fmla="*/ 72772 h 620717"/>
                <a:gd name="connsiteX249" fmla="*/ 439737 w 514350"/>
                <a:gd name="connsiteY249" fmla="*/ 79845 h 620717"/>
                <a:gd name="connsiteX250" fmla="*/ 435679 w 514350"/>
                <a:gd name="connsiteY250" fmla="*/ 49212 h 620717"/>
                <a:gd name="connsiteX251" fmla="*/ 455612 w 514350"/>
                <a:gd name="connsiteY251" fmla="*/ 69850 h 620717"/>
                <a:gd name="connsiteX252" fmla="*/ 461962 w 514350"/>
                <a:gd name="connsiteY252" fmla="*/ 68262 h 620717"/>
                <a:gd name="connsiteX253" fmla="*/ 466725 w 514350"/>
                <a:gd name="connsiteY253" fmla="*/ 61912 h 620717"/>
                <a:gd name="connsiteX254" fmla="*/ 492125 w 514350"/>
                <a:gd name="connsiteY254" fmla="*/ 53975 h 620717"/>
                <a:gd name="connsiteX255" fmla="*/ 496887 w 514350"/>
                <a:gd name="connsiteY255" fmla="*/ 49212 h 620717"/>
                <a:gd name="connsiteX256" fmla="*/ 500062 w 514350"/>
                <a:gd name="connsiteY256" fmla="*/ 41275 h 620717"/>
                <a:gd name="connsiteX257" fmla="*/ 496887 w 514350"/>
                <a:gd name="connsiteY257"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34270 w 514350"/>
                <a:gd name="connsiteY9" fmla="*/ 49099 h 620717"/>
                <a:gd name="connsiteX10" fmla="*/ 414695 w 514350"/>
                <a:gd name="connsiteY10" fmla="*/ 29278 h 620717"/>
                <a:gd name="connsiteX11" fmla="*/ 409575 w 514350"/>
                <a:gd name="connsiteY11" fmla="*/ 14287 h 620717"/>
                <a:gd name="connsiteX12" fmla="*/ 401637 w 514350"/>
                <a:gd name="connsiteY12" fmla="*/ 12700 h 620717"/>
                <a:gd name="connsiteX13" fmla="*/ 352425 w 514350"/>
                <a:gd name="connsiteY13" fmla="*/ 19050 h 620717"/>
                <a:gd name="connsiteX14" fmla="*/ 350837 w 514350"/>
                <a:gd name="connsiteY14" fmla="*/ 23812 h 620717"/>
                <a:gd name="connsiteX15" fmla="*/ 352425 w 514350"/>
                <a:gd name="connsiteY15" fmla="*/ 38100 h 620717"/>
                <a:gd name="connsiteX16" fmla="*/ 357187 w 514350"/>
                <a:gd name="connsiteY16" fmla="*/ 44450 h 620717"/>
                <a:gd name="connsiteX17" fmla="*/ 349250 w 514350"/>
                <a:gd name="connsiteY17" fmla="*/ 58737 h 620717"/>
                <a:gd name="connsiteX18" fmla="*/ 328612 w 514350"/>
                <a:gd name="connsiteY18" fmla="*/ 60325 h 620717"/>
                <a:gd name="connsiteX19" fmla="*/ 307975 w 514350"/>
                <a:gd name="connsiteY19" fmla="*/ 68262 h 620717"/>
                <a:gd name="connsiteX20" fmla="*/ 295275 w 514350"/>
                <a:gd name="connsiteY20" fmla="*/ 73025 h 620717"/>
                <a:gd name="connsiteX21" fmla="*/ 292100 w 514350"/>
                <a:gd name="connsiteY21" fmla="*/ 77787 h 620717"/>
                <a:gd name="connsiteX22" fmla="*/ 296862 w 514350"/>
                <a:gd name="connsiteY22" fmla="*/ 79375 h 620717"/>
                <a:gd name="connsiteX23" fmla="*/ 311150 w 514350"/>
                <a:gd name="connsiteY23" fmla="*/ 82550 h 620717"/>
                <a:gd name="connsiteX24" fmla="*/ 319087 w 514350"/>
                <a:gd name="connsiteY24" fmla="*/ 87312 h 620717"/>
                <a:gd name="connsiteX25" fmla="*/ 323850 w 514350"/>
                <a:gd name="connsiteY25" fmla="*/ 88900 h 620717"/>
                <a:gd name="connsiteX26" fmla="*/ 336550 w 514350"/>
                <a:gd name="connsiteY26" fmla="*/ 103187 h 620717"/>
                <a:gd name="connsiteX27" fmla="*/ 334962 w 514350"/>
                <a:gd name="connsiteY27" fmla="*/ 114300 h 620717"/>
                <a:gd name="connsiteX28" fmla="*/ 330200 w 514350"/>
                <a:gd name="connsiteY28" fmla="*/ 115887 h 620717"/>
                <a:gd name="connsiteX29" fmla="*/ 315912 w 514350"/>
                <a:gd name="connsiteY29" fmla="*/ 130175 h 620717"/>
                <a:gd name="connsiteX30" fmla="*/ 307975 w 514350"/>
                <a:gd name="connsiteY30" fmla="*/ 131762 h 620717"/>
                <a:gd name="connsiteX31" fmla="*/ 300037 w 514350"/>
                <a:gd name="connsiteY31" fmla="*/ 134937 h 620717"/>
                <a:gd name="connsiteX32" fmla="*/ 296862 w 514350"/>
                <a:gd name="connsiteY32" fmla="*/ 142875 h 620717"/>
                <a:gd name="connsiteX33" fmla="*/ 282575 w 514350"/>
                <a:gd name="connsiteY33" fmla="*/ 157162 h 620717"/>
                <a:gd name="connsiteX34" fmla="*/ 273050 w 514350"/>
                <a:gd name="connsiteY34" fmla="*/ 153987 h 620717"/>
                <a:gd name="connsiteX35" fmla="*/ 261937 w 514350"/>
                <a:gd name="connsiteY35" fmla="*/ 147637 h 620717"/>
                <a:gd name="connsiteX36" fmla="*/ 242887 w 514350"/>
                <a:gd name="connsiteY36" fmla="*/ 149225 h 620717"/>
                <a:gd name="connsiteX37" fmla="*/ 236537 w 514350"/>
                <a:gd name="connsiteY37" fmla="*/ 150812 h 620717"/>
                <a:gd name="connsiteX38" fmla="*/ 231775 w 514350"/>
                <a:gd name="connsiteY38" fmla="*/ 142875 h 620717"/>
                <a:gd name="connsiteX39" fmla="*/ 225425 w 514350"/>
                <a:gd name="connsiteY39" fmla="*/ 123825 h 620717"/>
                <a:gd name="connsiteX40" fmla="*/ 219075 w 514350"/>
                <a:gd name="connsiteY40" fmla="*/ 122237 h 620717"/>
                <a:gd name="connsiteX41" fmla="*/ 204787 w 514350"/>
                <a:gd name="connsiteY41" fmla="*/ 120650 h 620717"/>
                <a:gd name="connsiteX42" fmla="*/ 190500 w 514350"/>
                <a:gd name="connsiteY42" fmla="*/ 117475 h 620717"/>
                <a:gd name="connsiteX43" fmla="*/ 182562 w 514350"/>
                <a:gd name="connsiteY43" fmla="*/ 111125 h 620717"/>
                <a:gd name="connsiteX44" fmla="*/ 174625 w 514350"/>
                <a:gd name="connsiteY44" fmla="*/ 104775 h 620717"/>
                <a:gd name="connsiteX45" fmla="*/ 152400 w 514350"/>
                <a:gd name="connsiteY45" fmla="*/ 106362 h 620717"/>
                <a:gd name="connsiteX46" fmla="*/ 150812 w 514350"/>
                <a:gd name="connsiteY46" fmla="*/ 117475 h 620717"/>
                <a:gd name="connsiteX47" fmla="*/ 133350 w 514350"/>
                <a:gd name="connsiteY47" fmla="*/ 120650 h 620717"/>
                <a:gd name="connsiteX48" fmla="*/ 138112 w 514350"/>
                <a:gd name="connsiteY48" fmla="*/ 123825 h 620717"/>
                <a:gd name="connsiteX49" fmla="*/ 139700 w 514350"/>
                <a:gd name="connsiteY49" fmla="*/ 128587 h 620717"/>
                <a:gd name="connsiteX50" fmla="*/ 146050 w 514350"/>
                <a:gd name="connsiteY50" fmla="*/ 131762 h 620717"/>
                <a:gd name="connsiteX51" fmla="*/ 147637 w 514350"/>
                <a:gd name="connsiteY51" fmla="*/ 138112 h 620717"/>
                <a:gd name="connsiteX52" fmla="*/ 123825 w 514350"/>
                <a:gd name="connsiteY52" fmla="*/ 146050 h 620717"/>
                <a:gd name="connsiteX53" fmla="*/ 117475 w 514350"/>
                <a:gd name="connsiteY53" fmla="*/ 155575 h 620717"/>
                <a:gd name="connsiteX54" fmla="*/ 112712 w 514350"/>
                <a:gd name="connsiteY54" fmla="*/ 157162 h 620717"/>
                <a:gd name="connsiteX55" fmla="*/ 125412 w 514350"/>
                <a:gd name="connsiteY55" fmla="*/ 161925 h 620717"/>
                <a:gd name="connsiteX56" fmla="*/ 130175 w 514350"/>
                <a:gd name="connsiteY56" fmla="*/ 163512 h 620717"/>
                <a:gd name="connsiteX57" fmla="*/ 142875 w 514350"/>
                <a:gd name="connsiteY57" fmla="*/ 166687 h 620717"/>
                <a:gd name="connsiteX58" fmla="*/ 147637 w 514350"/>
                <a:gd name="connsiteY58" fmla="*/ 173037 h 620717"/>
                <a:gd name="connsiteX59" fmla="*/ 152400 w 514350"/>
                <a:gd name="connsiteY59" fmla="*/ 177800 h 620717"/>
                <a:gd name="connsiteX60" fmla="*/ 146050 w 514350"/>
                <a:gd name="connsiteY60" fmla="*/ 179387 h 620717"/>
                <a:gd name="connsiteX61" fmla="*/ 149225 w 514350"/>
                <a:gd name="connsiteY61" fmla="*/ 185737 h 620717"/>
                <a:gd name="connsiteX62" fmla="*/ 153987 w 514350"/>
                <a:gd name="connsiteY62" fmla="*/ 187325 h 620717"/>
                <a:gd name="connsiteX63" fmla="*/ 168275 w 514350"/>
                <a:gd name="connsiteY63" fmla="*/ 190500 h 620717"/>
                <a:gd name="connsiteX64" fmla="*/ 165100 w 514350"/>
                <a:gd name="connsiteY64" fmla="*/ 198437 h 620717"/>
                <a:gd name="connsiteX65" fmla="*/ 160337 w 514350"/>
                <a:gd name="connsiteY65" fmla="*/ 200025 h 620717"/>
                <a:gd name="connsiteX66" fmla="*/ 139700 w 514350"/>
                <a:gd name="connsiteY66" fmla="*/ 196850 h 620717"/>
                <a:gd name="connsiteX67" fmla="*/ 153987 w 514350"/>
                <a:gd name="connsiteY67" fmla="*/ 211137 h 620717"/>
                <a:gd name="connsiteX68" fmla="*/ 152400 w 514350"/>
                <a:gd name="connsiteY68" fmla="*/ 217487 h 620717"/>
                <a:gd name="connsiteX69" fmla="*/ 138112 w 514350"/>
                <a:gd name="connsiteY69" fmla="*/ 219075 h 620717"/>
                <a:gd name="connsiteX70" fmla="*/ 142875 w 514350"/>
                <a:gd name="connsiteY70" fmla="*/ 223837 h 620717"/>
                <a:gd name="connsiteX71" fmla="*/ 141287 w 514350"/>
                <a:gd name="connsiteY71" fmla="*/ 228600 h 620717"/>
                <a:gd name="connsiteX72" fmla="*/ 107950 w 514350"/>
                <a:gd name="connsiteY72" fmla="*/ 231775 h 620717"/>
                <a:gd name="connsiteX73" fmla="*/ 95250 w 514350"/>
                <a:gd name="connsiteY73" fmla="*/ 233362 h 620717"/>
                <a:gd name="connsiteX74" fmla="*/ 92075 w 514350"/>
                <a:gd name="connsiteY74" fmla="*/ 247650 h 620717"/>
                <a:gd name="connsiteX75" fmla="*/ 93662 w 514350"/>
                <a:gd name="connsiteY75" fmla="*/ 252412 h 620717"/>
                <a:gd name="connsiteX76" fmla="*/ 109537 w 514350"/>
                <a:gd name="connsiteY76" fmla="*/ 260350 h 620717"/>
                <a:gd name="connsiteX77" fmla="*/ 114300 w 514350"/>
                <a:gd name="connsiteY77" fmla="*/ 263525 h 620717"/>
                <a:gd name="connsiteX78" fmla="*/ 119062 w 514350"/>
                <a:gd name="connsiteY78" fmla="*/ 268287 h 620717"/>
                <a:gd name="connsiteX79" fmla="*/ 123825 w 514350"/>
                <a:gd name="connsiteY79" fmla="*/ 269875 h 620717"/>
                <a:gd name="connsiteX80" fmla="*/ 128587 w 514350"/>
                <a:gd name="connsiteY80" fmla="*/ 273050 h 620717"/>
                <a:gd name="connsiteX81" fmla="*/ 114300 w 514350"/>
                <a:gd name="connsiteY81" fmla="*/ 279400 h 620717"/>
                <a:gd name="connsiteX82" fmla="*/ 109537 w 514350"/>
                <a:gd name="connsiteY82" fmla="*/ 284162 h 620717"/>
                <a:gd name="connsiteX83" fmla="*/ 111125 w 514350"/>
                <a:gd name="connsiteY83" fmla="*/ 293687 h 620717"/>
                <a:gd name="connsiteX84" fmla="*/ 125412 w 514350"/>
                <a:gd name="connsiteY84" fmla="*/ 296862 h 620717"/>
                <a:gd name="connsiteX85" fmla="*/ 136525 w 514350"/>
                <a:gd name="connsiteY85" fmla="*/ 301625 h 620717"/>
                <a:gd name="connsiteX86" fmla="*/ 142875 w 514350"/>
                <a:gd name="connsiteY86" fmla="*/ 303212 h 620717"/>
                <a:gd name="connsiteX87" fmla="*/ 146050 w 514350"/>
                <a:gd name="connsiteY87" fmla="*/ 311150 h 620717"/>
                <a:gd name="connsiteX88" fmla="*/ 158750 w 514350"/>
                <a:gd name="connsiteY88" fmla="*/ 315912 h 620717"/>
                <a:gd name="connsiteX89" fmla="*/ 193675 w 514350"/>
                <a:gd name="connsiteY89" fmla="*/ 317500 h 620717"/>
                <a:gd name="connsiteX90" fmla="*/ 209550 w 514350"/>
                <a:gd name="connsiteY90" fmla="*/ 320675 h 620717"/>
                <a:gd name="connsiteX91" fmla="*/ 204787 w 514350"/>
                <a:gd name="connsiteY91" fmla="*/ 323850 h 620717"/>
                <a:gd name="connsiteX92" fmla="*/ 200025 w 514350"/>
                <a:gd name="connsiteY92" fmla="*/ 325437 h 620717"/>
                <a:gd name="connsiteX93" fmla="*/ 190500 w 514350"/>
                <a:gd name="connsiteY93" fmla="*/ 331787 h 620717"/>
                <a:gd name="connsiteX94" fmla="*/ 182562 w 514350"/>
                <a:gd name="connsiteY94" fmla="*/ 338137 h 620717"/>
                <a:gd name="connsiteX95" fmla="*/ 176212 w 514350"/>
                <a:gd name="connsiteY95" fmla="*/ 341312 h 620717"/>
                <a:gd name="connsiteX96" fmla="*/ 171450 w 514350"/>
                <a:gd name="connsiteY96" fmla="*/ 344487 h 620717"/>
                <a:gd name="connsiteX97" fmla="*/ 161925 w 514350"/>
                <a:gd name="connsiteY97" fmla="*/ 347662 h 620717"/>
                <a:gd name="connsiteX98" fmla="*/ 149225 w 514350"/>
                <a:gd name="connsiteY98" fmla="*/ 365125 h 620717"/>
                <a:gd name="connsiteX99" fmla="*/ 139700 w 514350"/>
                <a:gd name="connsiteY99" fmla="*/ 382587 h 620717"/>
                <a:gd name="connsiteX100" fmla="*/ 134937 w 514350"/>
                <a:gd name="connsiteY100" fmla="*/ 384175 h 620717"/>
                <a:gd name="connsiteX101" fmla="*/ 133350 w 514350"/>
                <a:gd name="connsiteY101" fmla="*/ 388937 h 620717"/>
                <a:gd name="connsiteX102" fmla="*/ 128587 w 514350"/>
                <a:gd name="connsiteY102" fmla="*/ 392112 h 620717"/>
                <a:gd name="connsiteX103" fmla="*/ 120650 w 514350"/>
                <a:gd name="connsiteY103" fmla="*/ 398462 h 620717"/>
                <a:gd name="connsiteX104" fmla="*/ 114300 w 514350"/>
                <a:gd name="connsiteY104" fmla="*/ 409575 h 620717"/>
                <a:gd name="connsiteX105" fmla="*/ 109537 w 514350"/>
                <a:gd name="connsiteY105" fmla="*/ 411162 h 620717"/>
                <a:gd name="connsiteX106" fmla="*/ 92075 w 514350"/>
                <a:gd name="connsiteY106" fmla="*/ 414337 h 620717"/>
                <a:gd name="connsiteX107" fmla="*/ 92075 w 514350"/>
                <a:gd name="connsiteY107" fmla="*/ 433387 h 620717"/>
                <a:gd name="connsiteX108" fmla="*/ 79375 w 514350"/>
                <a:gd name="connsiteY108" fmla="*/ 441325 h 620717"/>
                <a:gd name="connsiteX109" fmla="*/ 73025 w 514350"/>
                <a:gd name="connsiteY109" fmla="*/ 455612 h 620717"/>
                <a:gd name="connsiteX110" fmla="*/ 69850 w 514350"/>
                <a:gd name="connsiteY110" fmla="*/ 463550 h 620717"/>
                <a:gd name="connsiteX111" fmla="*/ 65087 w 514350"/>
                <a:gd name="connsiteY111" fmla="*/ 465137 h 620717"/>
                <a:gd name="connsiteX112" fmla="*/ 38100 w 514350"/>
                <a:gd name="connsiteY112" fmla="*/ 466725 h 620717"/>
                <a:gd name="connsiteX113" fmla="*/ 34925 w 514350"/>
                <a:gd name="connsiteY113" fmla="*/ 473075 h 620717"/>
                <a:gd name="connsiteX114" fmla="*/ 30162 w 514350"/>
                <a:gd name="connsiteY114" fmla="*/ 476250 h 620717"/>
                <a:gd name="connsiteX115" fmla="*/ 0 w 514350"/>
                <a:gd name="connsiteY115" fmla="*/ 477837 h 620717"/>
                <a:gd name="connsiteX116" fmla="*/ 4762 w 514350"/>
                <a:gd name="connsiteY116" fmla="*/ 484187 h 620717"/>
                <a:gd name="connsiteX117" fmla="*/ 23812 w 514350"/>
                <a:gd name="connsiteY117" fmla="*/ 485775 h 620717"/>
                <a:gd name="connsiteX118" fmla="*/ 30162 w 514350"/>
                <a:gd name="connsiteY118" fmla="*/ 487362 h 620717"/>
                <a:gd name="connsiteX119" fmla="*/ 39687 w 514350"/>
                <a:gd name="connsiteY119" fmla="*/ 488950 h 620717"/>
                <a:gd name="connsiteX120" fmla="*/ 33337 w 514350"/>
                <a:gd name="connsiteY120" fmla="*/ 492125 h 620717"/>
                <a:gd name="connsiteX121" fmla="*/ 25400 w 514350"/>
                <a:gd name="connsiteY121" fmla="*/ 493712 h 620717"/>
                <a:gd name="connsiteX122" fmla="*/ 19050 w 514350"/>
                <a:gd name="connsiteY122" fmla="*/ 495300 h 620717"/>
                <a:gd name="connsiteX123" fmla="*/ 14287 w 514350"/>
                <a:gd name="connsiteY123" fmla="*/ 498475 h 620717"/>
                <a:gd name="connsiteX124" fmla="*/ 4762 w 514350"/>
                <a:gd name="connsiteY124" fmla="*/ 503237 h 620717"/>
                <a:gd name="connsiteX125" fmla="*/ 3175 w 514350"/>
                <a:gd name="connsiteY125" fmla="*/ 508000 h 620717"/>
                <a:gd name="connsiteX126" fmla="*/ 4762 w 514350"/>
                <a:gd name="connsiteY126" fmla="*/ 530225 h 620717"/>
                <a:gd name="connsiteX127" fmla="*/ 11112 w 514350"/>
                <a:gd name="connsiteY127" fmla="*/ 533400 h 620717"/>
                <a:gd name="connsiteX128" fmla="*/ 20637 w 514350"/>
                <a:gd name="connsiteY128" fmla="*/ 534987 h 620717"/>
                <a:gd name="connsiteX129" fmla="*/ 26987 w 514350"/>
                <a:gd name="connsiteY129" fmla="*/ 536575 h 620717"/>
                <a:gd name="connsiteX130" fmla="*/ 39687 w 514350"/>
                <a:gd name="connsiteY130" fmla="*/ 542925 h 620717"/>
                <a:gd name="connsiteX131" fmla="*/ 44450 w 514350"/>
                <a:gd name="connsiteY131" fmla="*/ 546100 h 620717"/>
                <a:gd name="connsiteX132" fmla="*/ 58737 w 514350"/>
                <a:gd name="connsiteY132" fmla="*/ 547687 h 620717"/>
                <a:gd name="connsiteX133" fmla="*/ 47625 w 514350"/>
                <a:gd name="connsiteY133" fmla="*/ 555625 h 620717"/>
                <a:gd name="connsiteX134" fmla="*/ 30162 w 514350"/>
                <a:gd name="connsiteY134" fmla="*/ 558800 h 620717"/>
                <a:gd name="connsiteX135" fmla="*/ 7937 w 514350"/>
                <a:gd name="connsiteY135" fmla="*/ 563562 h 620717"/>
                <a:gd name="connsiteX136" fmla="*/ 7937 w 514350"/>
                <a:gd name="connsiteY136" fmla="*/ 576262 h 620717"/>
                <a:gd name="connsiteX137" fmla="*/ 17462 w 514350"/>
                <a:gd name="connsiteY137" fmla="*/ 577850 h 620717"/>
                <a:gd name="connsiteX138" fmla="*/ 39687 w 514350"/>
                <a:gd name="connsiteY138" fmla="*/ 581025 h 620717"/>
                <a:gd name="connsiteX139" fmla="*/ 47625 w 514350"/>
                <a:gd name="connsiteY139" fmla="*/ 582612 h 620717"/>
                <a:gd name="connsiteX140" fmla="*/ 61912 w 514350"/>
                <a:gd name="connsiteY140" fmla="*/ 584200 h 620717"/>
                <a:gd name="connsiteX141" fmla="*/ 66675 w 514350"/>
                <a:gd name="connsiteY141" fmla="*/ 587375 h 620717"/>
                <a:gd name="connsiteX142" fmla="*/ 53975 w 514350"/>
                <a:gd name="connsiteY142" fmla="*/ 593725 h 620717"/>
                <a:gd name="connsiteX143" fmla="*/ 52387 w 514350"/>
                <a:gd name="connsiteY143" fmla="*/ 601662 h 620717"/>
                <a:gd name="connsiteX144" fmla="*/ 50800 w 514350"/>
                <a:gd name="connsiteY144" fmla="*/ 606425 h 620717"/>
                <a:gd name="connsiteX145" fmla="*/ 55562 w 514350"/>
                <a:gd name="connsiteY145" fmla="*/ 614362 h 620717"/>
                <a:gd name="connsiteX146" fmla="*/ 79375 w 514350"/>
                <a:gd name="connsiteY146" fmla="*/ 609600 h 620717"/>
                <a:gd name="connsiteX147" fmla="*/ 123825 w 514350"/>
                <a:gd name="connsiteY147" fmla="*/ 612775 h 620717"/>
                <a:gd name="connsiteX148" fmla="*/ 130175 w 514350"/>
                <a:gd name="connsiteY148" fmla="*/ 617537 h 620717"/>
                <a:gd name="connsiteX149" fmla="*/ 144462 w 514350"/>
                <a:gd name="connsiteY149" fmla="*/ 620712 h 620717"/>
                <a:gd name="connsiteX150" fmla="*/ 173037 w 514350"/>
                <a:gd name="connsiteY150" fmla="*/ 617537 h 620717"/>
                <a:gd name="connsiteX151" fmla="*/ 180975 w 514350"/>
                <a:gd name="connsiteY151" fmla="*/ 614362 h 620717"/>
                <a:gd name="connsiteX152" fmla="*/ 187325 w 514350"/>
                <a:gd name="connsiteY152" fmla="*/ 609600 h 620717"/>
                <a:gd name="connsiteX153" fmla="*/ 196850 w 514350"/>
                <a:gd name="connsiteY153" fmla="*/ 606425 h 620717"/>
                <a:gd name="connsiteX154" fmla="*/ 198437 w 514350"/>
                <a:gd name="connsiteY154" fmla="*/ 600075 h 620717"/>
                <a:gd name="connsiteX155" fmla="*/ 203200 w 514350"/>
                <a:gd name="connsiteY155" fmla="*/ 595312 h 620717"/>
                <a:gd name="connsiteX156" fmla="*/ 215900 w 514350"/>
                <a:gd name="connsiteY156" fmla="*/ 581025 h 620717"/>
                <a:gd name="connsiteX157" fmla="*/ 230187 w 514350"/>
                <a:gd name="connsiteY157" fmla="*/ 582612 h 620717"/>
                <a:gd name="connsiteX158" fmla="*/ 238125 w 514350"/>
                <a:gd name="connsiteY158" fmla="*/ 584200 h 620717"/>
                <a:gd name="connsiteX159" fmla="*/ 261937 w 514350"/>
                <a:gd name="connsiteY159" fmla="*/ 581025 h 620717"/>
                <a:gd name="connsiteX160" fmla="*/ 263525 w 514350"/>
                <a:gd name="connsiteY160" fmla="*/ 576262 h 620717"/>
                <a:gd name="connsiteX161" fmla="*/ 266700 w 514350"/>
                <a:gd name="connsiteY161" fmla="*/ 582612 h 620717"/>
                <a:gd name="connsiteX162" fmla="*/ 277812 w 514350"/>
                <a:gd name="connsiteY162" fmla="*/ 590550 h 620717"/>
                <a:gd name="connsiteX163" fmla="*/ 279400 w 514350"/>
                <a:gd name="connsiteY163" fmla="*/ 579437 h 620717"/>
                <a:gd name="connsiteX164" fmla="*/ 287337 w 514350"/>
                <a:gd name="connsiteY164" fmla="*/ 571500 h 620717"/>
                <a:gd name="connsiteX165" fmla="*/ 290512 w 514350"/>
                <a:gd name="connsiteY165" fmla="*/ 566737 h 620717"/>
                <a:gd name="connsiteX166" fmla="*/ 311150 w 514350"/>
                <a:gd name="connsiteY166" fmla="*/ 558800 h 620717"/>
                <a:gd name="connsiteX167" fmla="*/ 354012 w 514350"/>
                <a:gd name="connsiteY167" fmla="*/ 554037 h 620717"/>
                <a:gd name="connsiteX168" fmla="*/ 360362 w 514350"/>
                <a:gd name="connsiteY168" fmla="*/ 561975 h 620717"/>
                <a:gd name="connsiteX169" fmla="*/ 365125 w 514350"/>
                <a:gd name="connsiteY169" fmla="*/ 563562 h 620717"/>
                <a:gd name="connsiteX170" fmla="*/ 366712 w 514350"/>
                <a:gd name="connsiteY170" fmla="*/ 557212 h 620717"/>
                <a:gd name="connsiteX171" fmla="*/ 368300 w 514350"/>
                <a:gd name="connsiteY171" fmla="*/ 552450 h 620717"/>
                <a:gd name="connsiteX172" fmla="*/ 377825 w 514350"/>
                <a:gd name="connsiteY172" fmla="*/ 557212 h 620717"/>
                <a:gd name="connsiteX173" fmla="*/ 382587 w 514350"/>
                <a:gd name="connsiteY173" fmla="*/ 563562 h 620717"/>
                <a:gd name="connsiteX174" fmla="*/ 404812 w 514350"/>
                <a:gd name="connsiteY174" fmla="*/ 565150 h 620717"/>
                <a:gd name="connsiteX175" fmla="*/ 414337 w 514350"/>
                <a:gd name="connsiteY175" fmla="*/ 571500 h 620717"/>
                <a:gd name="connsiteX176" fmla="*/ 419100 w 514350"/>
                <a:gd name="connsiteY176" fmla="*/ 574675 h 620717"/>
                <a:gd name="connsiteX177" fmla="*/ 436562 w 514350"/>
                <a:gd name="connsiteY177" fmla="*/ 573087 h 620717"/>
                <a:gd name="connsiteX178" fmla="*/ 434975 w 514350"/>
                <a:gd name="connsiteY178" fmla="*/ 566737 h 620717"/>
                <a:gd name="connsiteX179" fmla="*/ 430212 w 514350"/>
                <a:gd name="connsiteY179" fmla="*/ 546100 h 620717"/>
                <a:gd name="connsiteX180" fmla="*/ 433387 w 514350"/>
                <a:gd name="connsiteY180" fmla="*/ 531812 h 620717"/>
                <a:gd name="connsiteX181" fmla="*/ 446087 w 514350"/>
                <a:gd name="connsiteY181" fmla="*/ 525462 h 620717"/>
                <a:gd name="connsiteX182" fmla="*/ 452437 w 514350"/>
                <a:gd name="connsiteY182" fmla="*/ 519112 h 620717"/>
                <a:gd name="connsiteX183" fmla="*/ 463550 w 514350"/>
                <a:gd name="connsiteY183" fmla="*/ 514350 h 620717"/>
                <a:gd name="connsiteX184" fmla="*/ 465137 w 514350"/>
                <a:gd name="connsiteY184" fmla="*/ 508000 h 620717"/>
                <a:gd name="connsiteX185" fmla="*/ 466725 w 514350"/>
                <a:gd name="connsiteY185" fmla="*/ 485775 h 620717"/>
                <a:gd name="connsiteX186" fmla="*/ 482600 w 514350"/>
                <a:gd name="connsiteY186" fmla="*/ 474662 h 620717"/>
                <a:gd name="connsiteX187" fmla="*/ 495300 w 514350"/>
                <a:gd name="connsiteY187" fmla="*/ 458787 h 620717"/>
                <a:gd name="connsiteX188" fmla="*/ 501650 w 514350"/>
                <a:gd name="connsiteY188" fmla="*/ 438150 h 620717"/>
                <a:gd name="connsiteX189" fmla="*/ 506412 w 514350"/>
                <a:gd name="connsiteY189" fmla="*/ 433387 h 620717"/>
                <a:gd name="connsiteX190" fmla="*/ 506412 w 514350"/>
                <a:gd name="connsiteY190" fmla="*/ 401637 h 620717"/>
                <a:gd name="connsiteX191" fmla="*/ 501650 w 514350"/>
                <a:gd name="connsiteY191" fmla="*/ 398462 h 620717"/>
                <a:gd name="connsiteX192" fmla="*/ 498475 w 514350"/>
                <a:gd name="connsiteY192" fmla="*/ 392112 h 620717"/>
                <a:gd name="connsiteX193" fmla="*/ 503237 w 514350"/>
                <a:gd name="connsiteY193" fmla="*/ 360362 h 620717"/>
                <a:gd name="connsiteX194" fmla="*/ 508000 w 514350"/>
                <a:gd name="connsiteY194" fmla="*/ 355600 h 620717"/>
                <a:gd name="connsiteX195" fmla="*/ 514350 w 514350"/>
                <a:gd name="connsiteY195" fmla="*/ 346075 h 620717"/>
                <a:gd name="connsiteX196" fmla="*/ 511175 w 514350"/>
                <a:gd name="connsiteY196" fmla="*/ 331787 h 620717"/>
                <a:gd name="connsiteX197" fmla="*/ 506412 w 514350"/>
                <a:gd name="connsiteY197" fmla="*/ 327025 h 620717"/>
                <a:gd name="connsiteX198" fmla="*/ 504825 w 514350"/>
                <a:gd name="connsiteY198" fmla="*/ 315912 h 620717"/>
                <a:gd name="connsiteX199" fmla="*/ 508000 w 514350"/>
                <a:gd name="connsiteY199" fmla="*/ 290512 h 620717"/>
                <a:gd name="connsiteX200" fmla="*/ 506412 w 514350"/>
                <a:gd name="connsiteY200" fmla="*/ 282575 h 620717"/>
                <a:gd name="connsiteX201" fmla="*/ 495300 w 514350"/>
                <a:gd name="connsiteY201" fmla="*/ 276225 h 620717"/>
                <a:gd name="connsiteX202" fmla="*/ 496887 w 514350"/>
                <a:gd name="connsiteY202" fmla="*/ 268287 h 620717"/>
                <a:gd name="connsiteX203" fmla="*/ 501650 w 514350"/>
                <a:gd name="connsiteY203" fmla="*/ 266700 h 620717"/>
                <a:gd name="connsiteX204" fmla="*/ 506412 w 514350"/>
                <a:gd name="connsiteY204" fmla="*/ 263525 h 620717"/>
                <a:gd name="connsiteX205" fmla="*/ 509587 w 514350"/>
                <a:gd name="connsiteY205" fmla="*/ 258762 h 620717"/>
                <a:gd name="connsiteX206" fmla="*/ 511175 w 514350"/>
                <a:gd name="connsiteY206" fmla="*/ 254000 h 620717"/>
                <a:gd name="connsiteX207" fmla="*/ 514350 w 514350"/>
                <a:gd name="connsiteY207" fmla="*/ 246062 h 620717"/>
                <a:gd name="connsiteX208" fmla="*/ 512762 w 514350"/>
                <a:gd name="connsiteY208" fmla="*/ 239712 h 620717"/>
                <a:gd name="connsiteX209" fmla="*/ 496887 w 514350"/>
                <a:gd name="connsiteY209" fmla="*/ 239712 h 620717"/>
                <a:gd name="connsiteX210" fmla="*/ 492125 w 514350"/>
                <a:gd name="connsiteY210" fmla="*/ 241300 h 620717"/>
                <a:gd name="connsiteX211" fmla="*/ 485775 w 514350"/>
                <a:gd name="connsiteY211" fmla="*/ 244475 h 620717"/>
                <a:gd name="connsiteX212" fmla="*/ 481012 w 514350"/>
                <a:gd name="connsiteY212" fmla="*/ 234950 h 620717"/>
                <a:gd name="connsiteX213" fmla="*/ 479425 w 514350"/>
                <a:gd name="connsiteY213" fmla="*/ 222250 h 620717"/>
                <a:gd name="connsiteX214" fmla="*/ 477837 w 514350"/>
                <a:gd name="connsiteY214" fmla="*/ 215900 h 620717"/>
                <a:gd name="connsiteX215" fmla="*/ 473075 w 514350"/>
                <a:gd name="connsiteY215" fmla="*/ 190500 h 620717"/>
                <a:gd name="connsiteX216" fmla="*/ 468312 w 514350"/>
                <a:gd name="connsiteY216" fmla="*/ 176212 h 620717"/>
                <a:gd name="connsiteX217" fmla="*/ 458787 w 514350"/>
                <a:gd name="connsiteY217" fmla="*/ 171450 h 620717"/>
                <a:gd name="connsiteX218" fmla="*/ 449262 w 514350"/>
                <a:gd name="connsiteY218" fmla="*/ 173037 h 620717"/>
                <a:gd name="connsiteX219" fmla="*/ 438150 w 514350"/>
                <a:gd name="connsiteY219" fmla="*/ 182562 h 620717"/>
                <a:gd name="connsiteX220" fmla="*/ 434975 w 514350"/>
                <a:gd name="connsiteY220" fmla="*/ 188912 h 620717"/>
                <a:gd name="connsiteX221" fmla="*/ 428625 w 514350"/>
                <a:gd name="connsiteY221" fmla="*/ 196850 h 620717"/>
                <a:gd name="connsiteX222" fmla="*/ 417512 w 514350"/>
                <a:gd name="connsiteY222" fmla="*/ 206375 h 620717"/>
                <a:gd name="connsiteX223" fmla="*/ 412750 w 514350"/>
                <a:gd name="connsiteY223" fmla="*/ 207962 h 620717"/>
                <a:gd name="connsiteX224" fmla="*/ 401637 w 514350"/>
                <a:gd name="connsiteY224" fmla="*/ 206375 h 620717"/>
                <a:gd name="connsiteX225" fmla="*/ 395287 w 514350"/>
                <a:gd name="connsiteY225" fmla="*/ 200025 h 620717"/>
                <a:gd name="connsiteX226" fmla="*/ 390525 w 514350"/>
                <a:gd name="connsiteY226" fmla="*/ 196850 h 620717"/>
                <a:gd name="connsiteX227" fmla="*/ 385762 w 514350"/>
                <a:gd name="connsiteY227" fmla="*/ 190500 h 620717"/>
                <a:gd name="connsiteX228" fmla="*/ 368300 w 514350"/>
                <a:gd name="connsiteY228" fmla="*/ 171450 h 620717"/>
                <a:gd name="connsiteX229" fmla="*/ 363537 w 514350"/>
                <a:gd name="connsiteY229" fmla="*/ 160337 h 620717"/>
                <a:gd name="connsiteX230" fmla="*/ 358775 w 514350"/>
                <a:gd name="connsiteY230" fmla="*/ 157162 h 620717"/>
                <a:gd name="connsiteX231" fmla="*/ 349250 w 514350"/>
                <a:gd name="connsiteY231" fmla="*/ 144462 h 620717"/>
                <a:gd name="connsiteX232" fmla="*/ 346075 w 514350"/>
                <a:gd name="connsiteY232" fmla="*/ 138112 h 620717"/>
                <a:gd name="connsiteX233" fmla="*/ 350837 w 514350"/>
                <a:gd name="connsiteY233" fmla="*/ 128587 h 620717"/>
                <a:gd name="connsiteX234" fmla="*/ 357187 w 514350"/>
                <a:gd name="connsiteY234" fmla="*/ 127000 h 620717"/>
                <a:gd name="connsiteX235" fmla="*/ 368300 w 514350"/>
                <a:gd name="connsiteY235" fmla="*/ 125412 h 620717"/>
                <a:gd name="connsiteX236" fmla="*/ 374650 w 514350"/>
                <a:gd name="connsiteY236" fmla="*/ 123825 h 620717"/>
                <a:gd name="connsiteX237" fmla="*/ 384175 w 514350"/>
                <a:gd name="connsiteY237" fmla="*/ 120650 h 620717"/>
                <a:gd name="connsiteX238" fmla="*/ 392112 w 514350"/>
                <a:gd name="connsiteY238" fmla="*/ 111125 h 620717"/>
                <a:gd name="connsiteX239" fmla="*/ 388937 w 514350"/>
                <a:gd name="connsiteY239" fmla="*/ 100012 h 620717"/>
                <a:gd name="connsiteX240" fmla="*/ 390525 w 514350"/>
                <a:gd name="connsiteY240" fmla="*/ 93662 h 620717"/>
                <a:gd name="connsiteX241" fmla="*/ 401637 w 514350"/>
                <a:gd name="connsiteY241" fmla="*/ 95250 h 620717"/>
                <a:gd name="connsiteX242" fmla="*/ 423862 w 514350"/>
                <a:gd name="connsiteY242" fmla="*/ 93662 h 620717"/>
                <a:gd name="connsiteX243" fmla="*/ 430212 w 514350"/>
                <a:gd name="connsiteY243" fmla="*/ 87312 h 620717"/>
                <a:gd name="connsiteX244" fmla="*/ 431800 w 514350"/>
                <a:gd name="connsiteY244" fmla="*/ 61912 h 620717"/>
                <a:gd name="connsiteX245" fmla="*/ 443914 w 514350"/>
                <a:gd name="connsiteY245" fmla="*/ 64084 h 620717"/>
                <a:gd name="connsiteX246" fmla="*/ 448737 w 514350"/>
                <a:gd name="connsiteY246" fmla="*/ 66117 h 620717"/>
                <a:gd name="connsiteX247" fmla="*/ 435858 w 514350"/>
                <a:gd name="connsiteY247" fmla="*/ 67146 h 620717"/>
                <a:gd name="connsiteX248" fmla="*/ 451852 w 514350"/>
                <a:gd name="connsiteY248" fmla="*/ 72772 h 620717"/>
                <a:gd name="connsiteX249" fmla="*/ 439737 w 514350"/>
                <a:gd name="connsiteY249" fmla="*/ 79845 h 620717"/>
                <a:gd name="connsiteX250" fmla="*/ 424114 w 514350"/>
                <a:gd name="connsiteY250" fmla="*/ 33553 h 620717"/>
                <a:gd name="connsiteX251" fmla="*/ 455612 w 514350"/>
                <a:gd name="connsiteY251" fmla="*/ 69850 h 620717"/>
                <a:gd name="connsiteX252" fmla="*/ 461962 w 514350"/>
                <a:gd name="connsiteY252" fmla="*/ 68262 h 620717"/>
                <a:gd name="connsiteX253" fmla="*/ 466725 w 514350"/>
                <a:gd name="connsiteY253" fmla="*/ 61912 h 620717"/>
                <a:gd name="connsiteX254" fmla="*/ 492125 w 514350"/>
                <a:gd name="connsiteY254" fmla="*/ 53975 h 620717"/>
                <a:gd name="connsiteX255" fmla="*/ 496887 w 514350"/>
                <a:gd name="connsiteY255" fmla="*/ 49212 h 620717"/>
                <a:gd name="connsiteX256" fmla="*/ 500062 w 514350"/>
                <a:gd name="connsiteY256" fmla="*/ 41275 h 620717"/>
                <a:gd name="connsiteX257" fmla="*/ 496887 w 514350"/>
                <a:gd name="connsiteY257"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34270 w 514350"/>
                <a:gd name="connsiteY9" fmla="*/ 49099 h 620717"/>
                <a:gd name="connsiteX10" fmla="*/ 414695 w 514350"/>
                <a:gd name="connsiteY10" fmla="*/ 29278 h 620717"/>
                <a:gd name="connsiteX11" fmla="*/ 409575 w 514350"/>
                <a:gd name="connsiteY11" fmla="*/ 14287 h 620717"/>
                <a:gd name="connsiteX12" fmla="*/ 401637 w 514350"/>
                <a:gd name="connsiteY12" fmla="*/ 12700 h 620717"/>
                <a:gd name="connsiteX13" fmla="*/ 352425 w 514350"/>
                <a:gd name="connsiteY13" fmla="*/ 19050 h 620717"/>
                <a:gd name="connsiteX14" fmla="*/ 350837 w 514350"/>
                <a:gd name="connsiteY14" fmla="*/ 23812 h 620717"/>
                <a:gd name="connsiteX15" fmla="*/ 352425 w 514350"/>
                <a:gd name="connsiteY15" fmla="*/ 38100 h 620717"/>
                <a:gd name="connsiteX16" fmla="*/ 357187 w 514350"/>
                <a:gd name="connsiteY16" fmla="*/ 44450 h 620717"/>
                <a:gd name="connsiteX17" fmla="*/ 349250 w 514350"/>
                <a:gd name="connsiteY17" fmla="*/ 58737 h 620717"/>
                <a:gd name="connsiteX18" fmla="*/ 328612 w 514350"/>
                <a:gd name="connsiteY18" fmla="*/ 60325 h 620717"/>
                <a:gd name="connsiteX19" fmla="*/ 307975 w 514350"/>
                <a:gd name="connsiteY19" fmla="*/ 68262 h 620717"/>
                <a:gd name="connsiteX20" fmla="*/ 295275 w 514350"/>
                <a:gd name="connsiteY20" fmla="*/ 73025 h 620717"/>
                <a:gd name="connsiteX21" fmla="*/ 292100 w 514350"/>
                <a:gd name="connsiteY21" fmla="*/ 77787 h 620717"/>
                <a:gd name="connsiteX22" fmla="*/ 296862 w 514350"/>
                <a:gd name="connsiteY22" fmla="*/ 79375 h 620717"/>
                <a:gd name="connsiteX23" fmla="*/ 311150 w 514350"/>
                <a:gd name="connsiteY23" fmla="*/ 82550 h 620717"/>
                <a:gd name="connsiteX24" fmla="*/ 319087 w 514350"/>
                <a:gd name="connsiteY24" fmla="*/ 87312 h 620717"/>
                <a:gd name="connsiteX25" fmla="*/ 323850 w 514350"/>
                <a:gd name="connsiteY25" fmla="*/ 88900 h 620717"/>
                <a:gd name="connsiteX26" fmla="*/ 336550 w 514350"/>
                <a:gd name="connsiteY26" fmla="*/ 103187 h 620717"/>
                <a:gd name="connsiteX27" fmla="*/ 334962 w 514350"/>
                <a:gd name="connsiteY27" fmla="*/ 114300 h 620717"/>
                <a:gd name="connsiteX28" fmla="*/ 330200 w 514350"/>
                <a:gd name="connsiteY28" fmla="*/ 115887 h 620717"/>
                <a:gd name="connsiteX29" fmla="*/ 315912 w 514350"/>
                <a:gd name="connsiteY29" fmla="*/ 130175 h 620717"/>
                <a:gd name="connsiteX30" fmla="*/ 307975 w 514350"/>
                <a:gd name="connsiteY30" fmla="*/ 131762 h 620717"/>
                <a:gd name="connsiteX31" fmla="*/ 300037 w 514350"/>
                <a:gd name="connsiteY31" fmla="*/ 134937 h 620717"/>
                <a:gd name="connsiteX32" fmla="*/ 296862 w 514350"/>
                <a:gd name="connsiteY32" fmla="*/ 142875 h 620717"/>
                <a:gd name="connsiteX33" fmla="*/ 282575 w 514350"/>
                <a:gd name="connsiteY33" fmla="*/ 157162 h 620717"/>
                <a:gd name="connsiteX34" fmla="*/ 273050 w 514350"/>
                <a:gd name="connsiteY34" fmla="*/ 153987 h 620717"/>
                <a:gd name="connsiteX35" fmla="*/ 261937 w 514350"/>
                <a:gd name="connsiteY35" fmla="*/ 147637 h 620717"/>
                <a:gd name="connsiteX36" fmla="*/ 242887 w 514350"/>
                <a:gd name="connsiteY36" fmla="*/ 149225 h 620717"/>
                <a:gd name="connsiteX37" fmla="*/ 236537 w 514350"/>
                <a:gd name="connsiteY37" fmla="*/ 150812 h 620717"/>
                <a:gd name="connsiteX38" fmla="*/ 231775 w 514350"/>
                <a:gd name="connsiteY38" fmla="*/ 142875 h 620717"/>
                <a:gd name="connsiteX39" fmla="*/ 225425 w 514350"/>
                <a:gd name="connsiteY39" fmla="*/ 123825 h 620717"/>
                <a:gd name="connsiteX40" fmla="*/ 219075 w 514350"/>
                <a:gd name="connsiteY40" fmla="*/ 122237 h 620717"/>
                <a:gd name="connsiteX41" fmla="*/ 204787 w 514350"/>
                <a:gd name="connsiteY41" fmla="*/ 120650 h 620717"/>
                <a:gd name="connsiteX42" fmla="*/ 190500 w 514350"/>
                <a:gd name="connsiteY42" fmla="*/ 117475 h 620717"/>
                <a:gd name="connsiteX43" fmla="*/ 182562 w 514350"/>
                <a:gd name="connsiteY43" fmla="*/ 111125 h 620717"/>
                <a:gd name="connsiteX44" fmla="*/ 174625 w 514350"/>
                <a:gd name="connsiteY44" fmla="*/ 104775 h 620717"/>
                <a:gd name="connsiteX45" fmla="*/ 152400 w 514350"/>
                <a:gd name="connsiteY45" fmla="*/ 106362 h 620717"/>
                <a:gd name="connsiteX46" fmla="*/ 150812 w 514350"/>
                <a:gd name="connsiteY46" fmla="*/ 117475 h 620717"/>
                <a:gd name="connsiteX47" fmla="*/ 133350 w 514350"/>
                <a:gd name="connsiteY47" fmla="*/ 120650 h 620717"/>
                <a:gd name="connsiteX48" fmla="*/ 138112 w 514350"/>
                <a:gd name="connsiteY48" fmla="*/ 123825 h 620717"/>
                <a:gd name="connsiteX49" fmla="*/ 139700 w 514350"/>
                <a:gd name="connsiteY49" fmla="*/ 128587 h 620717"/>
                <a:gd name="connsiteX50" fmla="*/ 146050 w 514350"/>
                <a:gd name="connsiteY50" fmla="*/ 131762 h 620717"/>
                <a:gd name="connsiteX51" fmla="*/ 147637 w 514350"/>
                <a:gd name="connsiteY51" fmla="*/ 138112 h 620717"/>
                <a:gd name="connsiteX52" fmla="*/ 123825 w 514350"/>
                <a:gd name="connsiteY52" fmla="*/ 146050 h 620717"/>
                <a:gd name="connsiteX53" fmla="*/ 117475 w 514350"/>
                <a:gd name="connsiteY53" fmla="*/ 155575 h 620717"/>
                <a:gd name="connsiteX54" fmla="*/ 112712 w 514350"/>
                <a:gd name="connsiteY54" fmla="*/ 157162 h 620717"/>
                <a:gd name="connsiteX55" fmla="*/ 125412 w 514350"/>
                <a:gd name="connsiteY55" fmla="*/ 161925 h 620717"/>
                <a:gd name="connsiteX56" fmla="*/ 130175 w 514350"/>
                <a:gd name="connsiteY56" fmla="*/ 163512 h 620717"/>
                <a:gd name="connsiteX57" fmla="*/ 142875 w 514350"/>
                <a:gd name="connsiteY57" fmla="*/ 166687 h 620717"/>
                <a:gd name="connsiteX58" fmla="*/ 147637 w 514350"/>
                <a:gd name="connsiteY58" fmla="*/ 173037 h 620717"/>
                <a:gd name="connsiteX59" fmla="*/ 152400 w 514350"/>
                <a:gd name="connsiteY59" fmla="*/ 177800 h 620717"/>
                <a:gd name="connsiteX60" fmla="*/ 146050 w 514350"/>
                <a:gd name="connsiteY60" fmla="*/ 179387 h 620717"/>
                <a:gd name="connsiteX61" fmla="*/ 149225 w 514350"/>
                <a:gd name="connsiteY61" fmla="*/ 185737 h 620717"/>
                <a:gd name="connsiteX62" fmla="*/ 153987 w 514350"/>
                <a:gd name="connsiteY62" fmla="*/ 187325 h 620717"/>
                <a:gd name="connsiteX63" fmla="*/ 168275 w 514350"/>
                <a:gd name="connsiteY63" fmla="*/ 190500 h 620717"/>
                <a:gd name="connsiteX64" fmla="*/ 165100 w 514350"/>
                <a:gd name="connsiteY64" fmla="*/ 198437 h 620717"/>
                <a:gd name="connsiteX65" fmla="*/ 160337 w 514350"/>
                <a:gd name="connsiteY65" fmla="*/ 200025 h 620717"/>
                <a:gd name="connsiteX66" fmla="*/ 139700 w 514350"/>
                <a:gd name="connsiteY66" fmla="*/ 196850 h 620717"/>
                <a:gd name="connsiteX67" fmla="*/ 153987 w 514350"/>
                <a:gd name="connsiteY67" fmla="*/ 211137 h 620717"/>
                <a:gd name="connsiteX68" fmla="*/ 152400 w 514350"/>
                <a:gd name="connsiteY68" fmla="*/ 217487 h 620717"/>
                <a:gd name="connsiteX69" fmla="*/ 138112 w 514350"/>
                <a:gd name="connsiteY69" fmla="*/ 219075 h 620717"/>
                <a:gd name="connsiteX70" fmla="*/ 142875 w 514350"/>
                <a:gd name="connsiteY70" fmla="*/ 223837 h 620717"/>
                <a:gd name="connsiteX71" fmla="*/ 141287 w 514350"/>
                <a:gd name="connsiteY71" fmla="*/ 228600 h 620717"/>
                <a:gd name="connsiteX72" fmla="*/ 107950 w 514350"/>
                <a:gd name="connsiteY72" fmla="*/ 231775 h 620717"/>
                <a:gd name="connsiteX73" fmla="*/ 95250 w 514350"/>
                <a:gd name="connsiteY73" fmla="*/ 233362 h 620717"/>
                <a:gd name="connsiteX74" fmla="*/ 92075 w 514350"/>
                <a:gd name="connsiteY74" fmla="*/ 247650 h 620717"/>
                <a:gd name="connsiteX75" fmla="*/ 93662 w 514350"/>
                <a:gd name="connsiteY75" fmla="*/ 252412 h 620717"/>
                <a:gd name="connsiteX76" fmla="*/ 109537 w 514350"/>
                <a:gd name="connsiteY76" fmla="*/ 260350 h 620717"/>
                <a:gd name="connsiteX77" fmla="*/ 114300 w 514350"/>
                <a:gd name="connsiteY77" fmla="*/ 263525 h 620717"/>
                <a:gd name="connsiteX78" fmla="*/ 119062 w 514350"/>
                <a:gd name="connsiteY78" fmla="*/ 268287 h 620717"/>
                <a:gd name="connsiteX79" fmla="*/ 123825 w 514350"/>
                <a:gd name="connsiteY79" fmla="*/ 269875 h 620717"/>
                <a:gd name="connsiteX80" fmla="*/ 128587 w 514350"/>
                <a:gd name="connsiteY80" fmla="*/ 273050 h 620717"/>
                <a:gd name="connsiteX81" fmla="*/ 114300 w 514350"/>
                <a:gd name="connsiteY81" fmla="*/ 279400 h 620717"/>
                <a:gd name="connsiteX82" fmla="*/ 109537 w 514350"/>
                <a:gd name="connsiteY82" fmla="*/ 284162 h 620717"/>
                <a:gd name="connsiteX83" fmla="*/ 111125 w 514350"/>
                <a:gd name="connsiteY83" fmla="*/ 293687 h 620717"/>
                <a:gd name="connsiteX84" fmla="*/ 125412 w 514350"/>
                <a:gd name="connsiteY84" fmla="*/ 296862 h 620717"/>
                <a:gd name="connsiteX85" fmla="*/ 136525 w 514350"/>
                <a:gd name="connsiteY85" fmla="*/ 301625 h 620717"/>
                <a:gd name="connsiteX86" fmla="*/ 142875 w 514350"/>
                <a:gd name="connsiteY86" fmla="*/ 303212 h 620717"/>
                <a:gd name="connsiteX87" fmla="*/ 146050 w 514350"/>
                <a:gd name="connsiteY87" fmla="*/ 311150 h 620717"/>
                <a:gd name="connsiteX88" fmla="*/ 158750 w 514350"/>
                <a:gd name="connsiteY88" fmla="*/ 315912 h 620717"/>
                <a:gd name="connsiteX89" fmla="*/ 193675 w 514350"/>
                <a:gd name="connsiteY89" fmla="*/ 317500 h 620717"/>
                <a:gd name="connsiteX90" fmla="*/ 209550 w 514350"/>
                <a:gd name="connsiteY90" fmla="*/ 320675 h 620717"/>
                <a:gd name="connsiteX91" fmla="*/ 204787 w 514350"/>
                <a:gd name="connsiteY91" fmla="*/ 323850 h 620717"/>
                <a:gd name="connsiteX92" fmla="*/ 200025 w 514350"/>
                <a:gd name="connsiteY92" fmla="*/ 325437 h 620717"/>
                <a:gd name="connsiteX93" fmla="*/ 190500 w 514350"/>
                <a:gd name="connsiteY93" fmla="*/ 331787 h 620717"/>
                <a:gd name="connsiteX94" fmla="*/ 182562 w 514350"/>
                <a:gd name="connsiteY94" fmla="*/ 338137 h 620717"/>
                <a:gd name="connsiteX95" fmla="*/ 176212 w 514350"/>
                <a:gd name="connsiteY95" fmla="*/ 341312 h 620717"/>
                <a:gd name="connsiteX96" fmla="*/ 171450 w 514350"/>
                <a:gd name="connsiteY96" fmla="*/ 344487 h 620717"/>
                <a:gd name="connsiteX97" fmla="*/ 161925 w 514350"/>
                <a:gd name="connsiteY97" fmla="*/ 347662 h 620717"/>
                <a:gd name="connsiteX98" fmla="*/ 149225 w 514350"/>
                <a:gd name="connsiteY98" fmla="*/ 365125 h 620717"/>
                <a:gd name="connsiteX99" fmla="*/ 139700 w 514350"/>
                <a:gd name="connsiteY99" fmla="*/ 382587 h 620717"/>
                <a:gd name="connsiteX100" fmla="*/ 134937 w 514350"/>
                <a:gd name="connsiteY100" fmla="*/ 384175 h 620717"/>
                <a:gd name="connsiteX101" fmla="*/ 133350 w 514350"/>
                <a:gd name="connsiteY101" fmla="*/ 388937 h 620717"/>
                <a:gd name="connsiteX102" fmla="*/ 128587 w 514350"/>
                <a:gd name="connsiteY102" fmla="*/ 392112 h 620717"/>
                <a:gd name="connsiteX103" fmla="*/ 120650 w 514350"/>
                <a:gd name="connsiteY103" fmla="*/ 398462 h 620717"/>
                <a:gd name="connsiteX104" fmla="*/ 114300 w 514350"/>
                <a:gd name="connsiteY104" fmla="*/ 409575 h 620717"/>
                <a:gd name="connsiteX105" fmla="*/ 109537 w 514350"/>
                <a:gd name="connsiteY105" fmla="*/ 411162 h 620717"/>
                <a:gd name="connsiteX106" fmla="*/ 92075 w 514350"/>
                <a:gd name="connsiteY106" fmla="*/ 414337 h 620717"/>
                <a:gd name="connsiteX107" fmla="*/ 92075 w 514350"/>
                <a:gd name="connsiteY107" fmla="*/ 433387 h 620717"/>
                <a:gd name="connsiteX108" fmla="*/ 79375 w 514350"/>
                <a:gd name="connsiteY108" fmla="*/ 441325 h 620717"/>
                <a:gd name="connsiteX109" fmla="*/ 73025 w 514350"/>
                <a:gd name="connsiteY109" fmla="*/ 455612 h 620717"/>
                <a:gd name="connsiteX110" fmla="*/ 69850 w 514350"/>
                <a:gd name="connsiteY110" fmla="*/ 463550 h 620717"/>
                <a:gd name="connsiteX111" fmla="*/ 65087 w 514350"/>
                <a:gd name="connsiteY111" fmla="*/ 465137 h 620717"/>
                <a:gd name="connsiteX112" fmla="*/ 38100 w 514350"/>
                <a:gd name="connsiteY112" fmla="*/ 466725 h 620717"/>
                <a:gd name="connsiteX113" fmla="*/ 34925 w 514350"/>
                <a:gd name="connsiteY113" fmla="*/ 473075 h 620717"/>
                <a:gd name="connsiteX114" fmla="*/ 30162 w 514350"/>
                <a:gd name="connsiteY114" fmla="*/ 476250 h 620717"/>
                <a:gd name="connsiteX115" fmla="*/ 0 w 514350"/>
                <a:gd name="connsiteY115" fmla="*/ 477837 h 620717"/>
                <a:gd name="connsiteX116" fmla="*/ 4762 w 514350"/>
                <a:gd name="connsiteY116" fmla="*/ 484187 h 620717"/>
                <a:gd name="connsiteX117" fmla="*/ 23812 w 514350"/>
                <a:gd name="connsiteY117" fmla="*/ 485775 h 620717"/>
                <a:gd name="connsiteX118" fmla="*/ 30162 w 514350"/>
                <a:gd name="connsiteY118" fmla="*/ 487362 h 620717"/>
                <a:gd name="connsiteX119" fmla="*/ 39687 w 514350"/>
                <a:gd name="connsiteY119" fmla="*/ 488950 h 620717"/>
                <a:gd name="connsiteX120" fmla="*/ 33337 w 514350"/>
                <a:gd name="connsiteY120" fmla="*/ 492125 h 620717"/>
                <a:gd name="connsiteX121" fmla="*/ 25400 w 514350"/>
                <a:gd name="connsiteY121" fmla="*/ 493712 h 620717"/>
                <a:gd name="connsiteX122" fmla="*/ 19050 w 514350"/>
                <a:gd name="connsiteY122" fmla="*/ 495300 h 620717"/>
                <a:gd name="connsiteX123" fmla="*/ 14287 w 514350"/>
                <a:gd name="connsiteY123" fmla="*/ 498475 h 620717"/>
                <a:gd name="connsiteX124" fmla="*/ 4762 w 514350"/>
                <a:gd name="connsiteY124" fmla="*/ 503237 h 620717"/>
                <a:gd name="connsiteX125" fmla="*/ 3175 w 514350"/>
                <a:gd name="connsiteY125" fmla="*/ 508000 h 620717"/>
                <a:gd name="connsiteX126" fmla="*/ 4762 w 514350"/>
                <a:gd name="connsiteY126" fmla="*/ 530225 h 620717"/>
                <a:gd name="connsiteX127" fmla="*/ 11112 w 514350"/>
                <a:gd name="connsiteY127" fmla="*/ 533400 h 620717"/>
                <a:gd name="connsiteX128" fmla="*/ 20637 w 514350"/>
                <a:gd name="connsiteY128" fmla="*/ 534987 h 620717"/>
                <a:gd name="connsiteX129" fmla="*/ 26987 w 514350"/>
                <a:gd name="connsiteY129" fmla="*/ 536575 h 620717"/>
                <a:gd name="connsiteX130" fmla="*/ 39687 w 514350"/>
                <a:gd name="connsiteY130" fmla="*/ 542925 h 620717"/>
                <a:gd name="connsiteX131" fmla="*/ 44450 w 514350"/>
                <a:gd name="connsiteY131" fmla="*/ 546100 h 620717"/>
                <a:gd name="connsiteX132" fmla="*/ 58737 w 514350"/>
                <a:gd name="connsiteY132" fmla="*/ 547687 h 620717"/>
                <a:gd name="connsiteX133" fmla="*/ 47625 w 514350"/>
                <a:gd name="connsiteY133" fmla="*/ 555625 h 620717"/>
                <a:gd name="connsiteX134" fmla="*/ 30162 w 514350"/>
                <a:gd name="connsiteY134" fmla="*/ 558800 h 620717"/>
                <a:gd name="connsiteX135" fmla="*/ 7937 w 514350"/>
                <a:gd name="connsiteY135" fmla="*/ 563562 h 620717"/>
                <a:gd name="connsiteX136" fmla="*/ 7937 w 514350"/>
                <a:gd name="connsiteY136" fmla="*/ 576262 h 620717"/>
                <a:gd name="connsiteX137" fmla="*/ 17462 w 514350"/>
                <a:gd name="connsiteY137" fmla="*/ 577850 h 620717"/>
                <a:gd name="connsiteX138" fmla="*/ 39687 w 514350"/>
                <a:gd name="connsiteY138" fmla="*/ 581025 h 620717"/>
                <a:gd name="connsiteX139" fmla="*/ 47625 w 514350"/>
                <a:gd name="connsiteY139" fmla="*/ 582612 h 620717"/>
                <a:gd name="connsiteX140" fmla="*/ 61912 w 514350"/>
                <a:gd name="connsiteY140" fmla="*/ 584200 h 620717"/>
                <a:gd name="connsiteX141" fmla="*/ 66675 w 514350"/>
                <a:gd name="connsiteY141" fmla="*/ 587375 h 620717"/>
                <a:gd name="connsiteX142" fmla="*/ 53975 w 514350"/>
                <a:gd name="connsiteY142" fmla="*/ 593725 h 620717"/>
                <a:gd name="connsiteX143" fmla="*/ 52387 w 514350"/>
                <a:gd name="connsiteY143" fmla="*/ 601662 h 620717"/>
                <a:gd name="connsiteX144" fmla="*/ 50800 w 514350"/>
                <a:gd name="connsiteY144" fmla="*/ 606425 h 620717"/>
                <a:gd name="connsiteX145" fmla="*/ 55562 w 514350"/>
                <a:gd name="connsiteY145" fmla="*/ 614362 h 620717"/>
                <a:gd name="connsiteX146" fmla="*/ 79375 w 514350"/>
                <a:gd name="connsiteY146" fmla="*/ 609600 h 620717"/>
                <a:gd name="connsiteX147" fmla="*/ 123825 w 514350"/>
                <a:gd name="connsiteY147" fmla="*/ 612775 h 620717"/>
                <a:gd name="connsiteX148" fmla="*/ 130175 w 514350"/>
                <a:gd name="connsiteY148" fmla="*/ 617537 h 620717"/>
                <a:gd name="connsiteX149" fmla="*/ 144462 w 514350"/>
                <a:gd name="connsiteY149" fmla="*/ 620712 h 620717"/>
                <a:gd name="connsiteX150" fmla="*/ 173037 w 514350"/>
                <a:gd name="connsiteY150" fmla="*/ 617537 h 620717"/>
                <a:gd name="connsiteX151" fmla="*/ 180975 w 514350"/>
                <a:gd name="connsiteY151" fmla="*/ 614362 h 620717"/>
                <a:gd name="connsiteX152" fmla="*/ 187325 w 514350"/>
                <a:gd name="connsiteY152" fmla="*/ 609600 h 620717"/>
                <a:gd name="connsiteX153" fmla="*/ 196850 w 514350"/>
                <a:gd name="connsiteY153" fmla="*/ 606425 h 620717"/>
                <a:gd name="connsiteX154" fmla="*/ 198437 w 514350"/>
                <a:gd name="connsiteY154" fmla="*/ 600075 h 620717"/>
                <a:gd name="connsiteX155" fmla="*/ 203200 w 514350"/>
                <a:gd name="connsiteY155" fmla="*/ 595312 h 620717"/>
                <a:gd name="connsiteX156" fmla="*/ 215900 w 514350"/>
                <a:gd name="connsiteY156" fmla="*/ 581025 h 620717"/>
                <a:gd name="connsiteX157" fmla="*/ 230187 w 514350"/>
                <a:gd name="connsiteY157" fmla="*/ 582612 h 620717"/>
                <a:gd name="connsiteX158" fmla="*/ 238125 w 514350"/>
                <a:gd name="connsiteY158" fmla="*/ 584200 h 620717"/>
                <a:gd name="connsiteX159" fmla="*/ 261937 w 514350"/>
                <a:gd name="connsiteY159" fmla="*/ 581025 h 620717"/>
                <a:gd name="connsiteX160" fmla="*/ 263525 w 514350"/>
                <a:gd name="connsiteY160" fmla="*/ 576262 h 620717"/>
                <a:gd name="connsiteX161" fmla="*/ 266700 w 514350"/>
                <a:gd name="connsiteY161" fmla="*/ 582612 h 620717"/>
                <a:gd name="connsiteX162" fmla="*/ 277812 w 514350"/>
                <a:gd name="connsiteY162" fmla="*/ 590550 h 620717"/>
                <a:gd name="connsiteX163" fmla="*/ 279400 w 514350"/>
                <a:gd name="connsiteY163" fmla="*/ 579437 h 620717"/>
                <a:gd name="connsiteX164" fmla="*/ 287337 w 514350"/>
                <a:gd name="connsiteY164" fmla="*/ 571500 h 620717"/>
                <a:gd name="connsiteX165" fmla="*/ 290512 w 514350"/>
                <a:gd name="connsiteY165" fmla="*/ 566737 h 620717"/>
                <a:gd name="connsiteX166" fmla="*/ 311150 w 514350"/>
                <a:gd name="connsiteY166" fmla="*/ 558800 h 620717"/>
                <a:gd name="connsiteX167" fmla="*/ 354012 w 514350"/>
                <a:gd name="connsiteY167" fmla="*/ 554037 h 620717"/>
                <a:gd name="connsiteX168" fmla="*/ 360362 w 514350"/>
                <a:gd name="connsiteY168" fmla="*/ 561975 h 620717"/>
                <a:gd name="connsiteX169" fmla="*/ 365125 w 514350"/>
                <a:gd name="connsiteY169" fmla="*/ 563562 h 620717"/>
                <a:gd name="connsiteX170" fmla="*/ 366712 w 514350"/>
                <a:gd name="connsiteY170" fmla="*/ 557212 h 620717"/>
                <a:gd name="connsiteX171" fmla="*/ 368300 w 514350"/>
                <a:gd name="connsiteY171" fmla="*/ 552450 h 620717"/>
                <a:gd name="connsiteX172" fmla="*/ 377825 w 514350"/>
                <a:gd name="connsiteY172" fmla="*/ 557212 h 620717"/>
                <a:gd name="connsiteX173" fmla="*/ 382587 w 514350"/>
                <a:gd name="connsiteY173" fmla="*/ 563562 h 620717"/>
                <a:gd name="connsiteX174" fmla="*/ 404812 w 514350"/>
                <a:gd name="connsiteY174" fmla="*/ 565150 h 620717"/>
                <a:gd name="connsiteX175" fmla="*/ 414337 w 514350"/>
                <a:gd name="connsiteY175" fmla="*/ 571500 h 620717"/>
                <a:gd name="connsiteX176" fmla="*/ 419100 w 514350"/>
                <a:gd name="connsiteY176" fmla="*/ 574675 h 620717"/>
                <a:gd name="connsiteX177" fmla="*/ 436562 w 514350"/>
                <a:gd name="connsiteY177" fmla="*/ 573087 h 620717"/>
                <a:gd name="connsiteX178" fmla="*/ 434975 w 514350"/>
                <a:gd name="connsiteY178" fmla="*/ 566737 h 620717"/>
                <a:gd name="connsiteX179" fmla="*/ 430212 w 514350"/>
                <a:gd name="connsiteY179" fmla="*/ 546100 h 620717"/>
                <a:gd name="connsiteX180" fmla="*/ 433387 w 514350"/>
                <a:gd name="connsiteY180" fmla="*/ 531812 h 620717"/>
                <a:gd name="connsiteX181" fmla="*/ 446087 w 514350"/>
                <a:gd name="connsiteY181" fmla="*/ 525462 h 620717"/>
                <a:gd name="connsiteX182" fmla="*/ 452437 w 514350"/>
                <a:gd name="connsiteY182" fmla="*/ 519112 h 620717"/>
                <a:gd name="connsiteX183" fmla="*/ 463550 w 514350"/>
                <a:gd name="connsiteY183" fmla="*/ 514350 h 620717"/>
                <a:gd name="connsiteX184" fmla="*/ 465137 w 514350"/>
                <a:gd name="connsiteY184" fmla="*/ 508000 h 620717"/>
                <a:gd name="connsiteX185" fmla="*/ 466725 w 514350"/>
                <a:gd name="connsiteY185" fmla="*/ 485775 h 620717"/>
                <a:gd name="connsiteX186" fmla="*/ 482600 w 514350"/>
                <a:gd name="connsiteY186" fmla="*/ 474662 h 620717"/>
                <a:gd name="connsiteX187" fmla="*/ 495300 w 514350"/>
                <a:gd name="connsiteY187" fmla="*/ 458787 h 620717"/>
                <a:gd name="connsiteX188" fmla="*/ 501650 w 514350"/>
                <a:gd name="connsiteY188" fmla="*/ 438150 h 620717"/>
                <a:gd name="connsiteX189" fmla="*/ 506412 w 514350"/>
                <a:gd name="connsiteY189" fmla="*/ 433387 h 620717"/>
                <a:gd name="connsiteX190" fmla="*/ 506412 w 514350"/>
                <a:gd name="connsiteY190" fmla="*/ 401637 h 620717"/>
                <a:gd name="connsiteX191" fmla="*/ 501650 w 514350"/>
                <a:gd name="connsiteY191" fmla="*/ 398462 h 620717"/>
                <a:gd name="connsiteX192" fmla="*/ 498475 w 514350"/>
                <a:gd name="connsiteY192" fmla="*/ 392112 h 620717"/>
                <a:gd name="connsiteX193" fmla="*/ 503237 w 514350"/>
                <a:gd name="connsiteY193" fmla="*/ 360362 h 620717"/>
                <a:gd name="connsiteX194" fmla="*/ 508000 w 514350"/>
                <a:gd name="connsiteY194" fmla="*/ 355600 h 620717"/>
                <a:gd name="connsiteX195" fmla="*/ 514350 w 514350"/>
                <a:gd name="connsiteY195" fmla="*/ 346075 h 620717"/>
                <a:gd name="connsiteX196" fmla="*/ 511175 w 514350"/>
                <a:gd name="connsiteY196" fmla="*/ 331787 h 620717"/>
                <a:gd name="connsiteX197" fmla="*/ 506412 w 514350"/>
                <a:gd name="connsiteY197" fmla="*/ 327025 h 620717"/>
                <a:gd name="connsiteX198" fmla="*/ 504825 w 514350"/>
                <a:gd name="connsiteY198" fmla="*/ 315912 h 620717"/>
                <a:gd name="connsiteX199" fmla="*/ 508000 w 514350"/>
                <a:gd name="connsiteY199" fmla="*/ 290512 h 620717"/>
                <a:gd name="connsiteX200" fmla="*/ 506412 w 514350"/>
                <a:gd name="connsiteY200" fmla="*/ 282575 h 620717"/>
                <a:gd name="connsiteX201" fmla="*/ 495300 w 514350"/>
                <a:gd name="connsiteY201" fmla="*/ 276225 h 620717"/>
                <a:gd name="connsiteX202" fmla="*/ 496887 w 514350"/>
                <a:gd name="connsiteY202" fmla="*/ 268287 h 620717"/>
                <a:gd name="connsiteX203" fmla="*/ 501650 w 514350"/>
                <a:gd name="connsiteY203" fmla="*/ 266700 h 620717"/>
                <a:gd name="connsiteX204" fmla="*/ 506412 w 514350"/>
                <a:gd name="connsiteY204" fmla="*/ 263525 h 620717"/>
                <a:gd name="connsiteX205" fmla="*/ 509587 w 514350"/>
                <a:gd name="connsiteY205" fmla="*/ 258762 h 620717"/>
                <a:gd name="connsiteX206" fmla="*/ 511175 w 514350"/>
                <a:gd name="connsiteY206" fmla="*/ 254000 h 620717"/>
                <a:gd name="connsiteX207" fmla="*/ 514350 w 514350"/>
                <a:gd name="connsiteY207" fmla="*/ 246062 h 620717"/>
                <a:gd name="connsiteX208" fmla="*/ 512762 w 514350"/>
                <a:gd name="connsiteY208" fmla="*/ 239712 h 620717"/>
                <a:gd name="connsiteX209" fmla="*/ 496887 w 514350"/>
                <a:gd name="connsiteY209" fmla="*/ 239712 h 620717"/>
                <a:gd name="connsiteX210" fmla="*/ 492125 w 514350"/>
                <a:gd name="connsiteY210" fmla="*/ 241300 h 620717"/>
                <a:gd name="connsiteX211" fmla="*/ 485775 w 514350"/>
                <a:gd name="connsiteY211" fmla="*/ 244475 h 620717"/>
                <a:gd name="connsiteX212" fmla="*/ 481012 w 514350"/>
                <a:gd name="connsiteY212" fmla="*/ 234950 h 620717"/>
                <a:gd name="connsiteX213" fmla="*/ 479425 w 514350"/>
                <a:gd name="connsiteY213" fmla="*/ 222250 h 620717"/>
                <a:gd name="connsiteX214" fmla="*/ 477837 w 514350"/>
                <a:gd name="connsiteY214" fmla="*/ 215900 h 620717"/>
                <a:gd name="connsiteX215" fmla="*/ 473075 w 514350"/>
                <a:gd name="connsiteY215" fmla="*/ 190500 h 620717"/>
                <a:gd name="connsiteX216" fmla="*/ 468312 w 514350"/>
                <a:gd name="connsiteY216" fmla="*/ 176212 h 620717"/>
                <a:gd name="connsiteX217" fmla="*/ 458787 w 514350"/>
                <a:gd name="connsiteY217" fmla="*/ 171450 h 620717"/>
                <a:gd name="connsiteX218" fmla="*/ 449262 w 514350"/>
                <a:gd name="connsiteY218" fmla="*/ 173037 h 620717"/>
                <a:gd name="connsiteX219" fmla="*/ 438150 w 514350"/>
                <a:gd name="connsiteY219" fmla="*/ 182562 h 620717"/>
                <a:gd name="connsiteX220" fmla="*/ 434975 w 514350"/>
                <a:gd name="connsiteY220" fmla="*/ 188912 h 620717"/>
                <a:gd name="connsiteX221" fmla="*/ 428625 w 514350"/>
                <a:gd name="connsiteY221" fmla="*/ 196850 h 620717"/>
                <a:gd name="connsiteX222" fmla="*/ 417512 w 514350"/>
                <a:gd name="connsiteY222" fmla="*/ 206375 h 620717"/>
                <a:gd name="connsiteX223" fmla="*/ 412750 w 514350"/>
                <a:gd name="connsiteY223" fmla="*/ 207962 h 620717"/>
                <a:gd name="connsiteX224" fmla="*/ 401637 w 514350"/>
                <a:gd name="connsiteY224" fmla="*/ 206375 h 620717"/>
                <a:gd name="connsiteX225" fmla="*/ 395287 w 514350"/>
                <a:gd name="connsiteY225" fmla="*/ 200025 h 620717"/>
                <a:gd name="connsiteX226" fmla="*/ 390525 w 514350"/>
                <a:gd name="connsiteY226" fmla="*/ 196850 h 620717"/>
                <a:gd name="connsiteX227" fmla="*/ 385762 w 514350"/>
                <a:gd name="connsiteY227" fmla="*/ 190500 h 620717"/>
                <a:gd name="connsiteX228" fmla="*/ 368300 w 514350"/>
                <a:gd name="connsiteY228" fmla="*/ 171450 h 620717"/>
                <a:gd name="connsiteX229" fmla="*/ 363537 w 514350"/>
                <a:gd name="connsiteY229" fmla="*/ 160337 h 620717"/>
                <a:gd name="connsiteX230" fmla="*/ 358775 w 514350"/>
                <a:gd name="connsiteY230" fmla="*/ 157162 h 620717"/>
                <a:gd name="connsiteX231" fmla="*/ 349250 w 514350"/>
                <a:gd name="connsiteY231" fmla="*/ 144462 h 620717"/>
                <a:gd name="connsiteX232" fmla="*/ 346075 w 514350"/>
                <a:gd name="connsiteY232" fmla="*/ 138112 h 620717"/>
                <a:gd name="connsiteX233" fmla="*/ 350837 w 514350"/>
                <a:gd name="connsiteY233" fmla="*/ 128587 h 620717"/>
                <a:gd name="connsiteX234" fmla="*/ 357187 w 514350"/>
                <a:gd name="connsiteY234" fmla="*/ 127000 h 620717"/>
                <a:gd name="connsiteX235" fmla="*/ 368300 w 514350"/>
                <a:gd name="connsiteY235" fmla="*/ 125412 h 620717"/>
                <a:gd name="connsiteX236" fmla="*/ 374650 w 514350"/>
                <a:gd name="connsiteY236" fmla="*/ 123825 h 620717"/>
                <a:gd name="connsiteX237" fmla="*/ 384175 w 514350"/>
                <a:gd name="connsiteY237" fmla="*/ 120650 h 620717"/>
                <a:gd name="connsiteX238" fmla="*/ 392112 w 514350"/>
                <a:gd name="connsiteY238" fmla="*/ 111125 h 620717"/>
                <a:gd name="connsiteX239" fmla="*/ 388937 w 514350"/>
                <a:gd name="connsiteY239" fmla="*/ 100012 h 620717"/>
                <a:gd name="connsiteX240" fmla="*/ 390525 w 514350"/>
                <a:gd name="connsiteY240" fmla="*/ 93662 h 620717"/>
                <a:gd name="connsiteX241" fmla="*/ 401637 w 514350"/>
                <a:gd name="connsiteY241" fmla="*/ 95250 h 620717"/>
                <a:gd name="connsiteX242" fmla="*/ 423862 w 514350"/>
                <a:gd name="connsiteY242" fmla="*/ 93662 h 620717"/>
                <a:gd name="connsiteX243" fmla="*/ 430212 w 514350"/>
                <a:gd name="connsiteY243" fmla="*/ 87312 h 620717"/>
                <a:gd name="connsiteX244" fmla="*/ 431800 w 514350"/>
                <a:gd name="connsiteY244" fmla="*/ 61912 h 620717"/>
                <a:gd name="connsiteX245" fmla="*/ 443914 w 514350"/>
                <a:gd name="connsiteY245" fmla="*/ 64084 h 620717"/>
                <a:gd name="connsiteX246" fmla="*/ 448737 w 514350"/>
                <a:gd name="connsiteY246" fmla="*/ 66117 h 620717"/>
                <a:gd name="connsiteX247" fmla="*/ 435858 w 514350"/>
                <a:gd name="connsiteY247" fmla="*/ 67146 h 620717"/>
                <a:gd name="connsiteX248" fmla="*/ 451852 w 514350"/>
                <a:gd name="connsiteY248" fmla="*/ 72772 h 620717"/>
                <a:gd name="connsiteX249" fmla="*/ 439737 w 514350"/>
                <a:gd name="connsiteY249" fmla="*/ 79845 h 620717"/>
                <a:gd name="connsiteX250" fmla="*/ 450399 w 514350"/>
                <a:gd name="connsiteY250" fmla="*/ 73819 h 620717"/>
                <a:gd name="connsiteX251" fmla="*/ 455612 w 514350"/>
                <a:gd name="connsiteY251" fmla="*/ 69850 h 620717"/>
                <a:gd name="connsiteX252" fmla="*/ 461962 w 514350"/>
                <a:gd name="connsiteY252" fmla="*/ 68262 h 620717"/>
                <a:gd name="connsiteX253" fmla="*/ 466725 w 514350"/>
                <a:gd name="connsiteY253" fmla="*/ 61912 h 620717"/>
                <a:gd name="connsiteX254" fmla="*/ 492125 w 514350"/>
                <a:gd name="connsiteY254" fmla="*/ 53975 h 620717"/>
                <a:gd name="connsiteX255" fmla="*/ 496887 w 514350"/>
                <a:gd name="connsiteY255" fmla="*/ 49212 h 620717"/>
                <a:gd name="connsiteX256" fmla="*/ 500062 w 514350"/>
                <a:gd name="connsiteY256" fmla="*/ 41275 h 620717"/>
                <a:gd name="connsiteX257" fmla="*/ 496887 w 514350"/>
                <a:gd name="connsiteY257"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29013 w 514350"/>
                <a:gd name="connsiteY9" fmla="*/ 42388 h 620717"/>
                <a:gd name="connsiteX10" fmla="*/ 414695 w 514350"/>
                <a:gd name="connsiteY10" fmla="*/ 29278 h 620717"/>
                <a:gd name="connsiteX11" fmla="*/ 409575 w 514350"/>
                <a:gd name="connsiteY11" fmla="*/ 14287 h 620717"/>
                <a:gd name="connsiteX12" fmla="*/ 401637 w 514350"/>
                <a:gd name="connsiteY12" fmla="*/ 12700 h 620717"/>
                <a:gd name="connsiteX13" fmla="*/ 352425 w 514350"/>
                <a:gd name="connsiteY13" fmla="*/ 19050 h 620717"/>
                <a:gd name="connsiteX14" fmla="*/ 350837 w 514350"/>
                <a:gd name="connsiteY14" fmla="*/ 23812 h 620717"/>
                <a:gd name="connsiteX15" fmla="*/ 352425 w 514350"/>
                <a:gd name="connsiteY15" fmla="*/ 38100 h 620717"/>
                <a:gd name="connsiteX16" fmla="*/ 357187 w 514350"/>
                <a:gd name="connsiteY16" fmla="*/ 44450 h 620717"/>
                <a:gd name="connsiteX17" fmla="*/ 349250 w 514350"/>
                <a:gd name="connsiteY17" fmla="*/ 58737 h 620717"/>
                <a:gd name="connsiteX18" fmla="*/ 328612 w 514350"/>
                <a:gd name="connsiteY18" fmla="*/ 60325 h 620717"/>
                <a:gd name="connsiteX19" fmla="*/ 307975 w 514350"/>
                <a:gd name="connsiteY19" fmla="*/ 68262 h 620717"/>
                <a:gd name="connsiteX20" fmla="*/ 295275 w 514350"/>
                <a:gd name="connsiteY20" fmla="*/ 73025 h 620717"/>
                <a:gd name="connsiteX21" fmla="*/ 292100 w 514350"/>
                <a:gd name="connsiteY21" fmla="*/ 77787 h 620717"/>
                <a:gd name="connsiteX22" fmla="*/ 296862 w 514350"/>
                <a:gd name="connsiteY22" fmla="*/ 79375 h 620717"/>
                <a:gd name="connsiteX23" fmla="*/ 311150 w 514350"/>
                <a:gd name="connsiteY23" fmla="*/ 82550 h 620717"/>
                <a:gd name="connsiteX24" fmla="*/ 319087 w 514350"/>
                <a:gd name="connsiteY24" fmla="*/ 87312 h 620717"/>
                <a:gd name="connsiteX25" fmla="*/ 323850 w 514350"/>
                <a:gd name="connsiteY25" fmla="*/ 88900 h 620717"/>
                <a:gd name="connsiteX26" fmla="*/ 336550 w 514350"/>
                <a:gd name="connsiteY26" fmla="*/ 103187 h 620717"/>
                <a:gd name="connsiteX27" fmla="*/ 334962 w 514350"/>
                <a:gd name="connsiteY27" fmla="*/ 114300 h 620717"/>
                <a:gd name="connsiteX28" fmla="*/ 330200 w 514350"/>
                <a:gd name="connsiteY28" fmla="*/ 115887 h 620717"/>
                <a:gd name="connsiteX29" fmla="*/ 315912 w 514350"/>
                <a:gd name="connsiteY29" fmla="*/ 130175 h 620717"/>
                <a:gd name="connsiteX30" fmla="*/ 307975 w 514350"/>
                <a:gd name="connsiteY30" fmla="*/ 131762 h 620717"/>
                <a:gd name="connsiteX31" fmla="*/ 300037 w 514350"/>
                <a:gd name="connsiteY31" fmla="*/ 134937 h 620717"/>
                <a:gd name="connsiteX32" fmla="*/ 296862 w 514350"/>
                <a:gd name="connsiteY32" fmla="*/ 142875 h 620717"/>
                <a:gd name="connsiteX33" fmla="*/ 282575 w 514350"/>
                <a:gd name="connsiteY33" fmla="*/ 157162 h 620717"/>
                <a:gd name="connsiteX34" fmla="*/ 273050 w 514350"/>
                <a:gd name="connsiteY34" fmla="*/ 153987 h 620717"/>
                <a:gd name="connsiteX35" fmla="*/ 261937 w 514350"/>
                <a:gd name="connsiteY35" fmla="*/ 147637 h 620717"/>
                <a:gd name="connsiteX36" fmla="*/ 242887 w 514350"/>
                <a:gd name="connsiteY36" fmla="*/ 149225 h 620717"/>
                <a:gd name="connsiteX37" fmla="*/ 236537 w 514350"/>
                <a:gd name="connsiteY37" fmla="*/ 150812 h 620717"/>
                <a:gd name="connsiteX38" fmla="*/ 231775 w 514350"/>
                <a:gd name="connsiteY38" fmla="*/ 142875 h 620717"/>
                <a:gd name="connsiteX39" fmla="*/ 225425 w 514350"/>
                <a:gd name="connsiteY39" fmla="*/ 123825 h 620717"/>
                <a:gd name="connsiteX40" fmla="*/ 219075 w 514350"/>
                <a:gd name="connsiteY40" fmla="*/ 122237 h 620717"/>
                <a:gd name="connsiteX41" fmla="*/ 204787 w 514350"/>
                <a:gd name="connsiteY41" fmla="*/ 120650 h 620717"/>
                <a:gd name="connsiteX42" fmla="*/ 190500 w 514350"/>
                <a:gd name="connsiteY42" fmla="*/ 117475 h 620717"/>
                <a:gd name="connsiteX43" fmla="*/ 182562 w 514350"/>
                <a:gd name="connsiteY43" fmla="*/ 111125 h 620717"/>
                <a:gd name="connsiteX44" fmla="*/ 174625 w 514350"/>
                <a:gd name="connsiteY44" fmla="*/ 104775 h 620717"/>
                <a:gd name="connsiteX45" fmla="*/ 152400 w 514350"/>
                <a:gd name="connsiteY45" fmla="*/ 106362 h 620717"/>
                <a:gd name="connsiteX46" fmla="*/ 150812 w 514350"/>
                <a:gd name="connsiteY46" fmla="*/ 117475 h 620717"/>
                <a:gd name="connsiteX47" fmla="*/ 133350 w 514350"/>
                <a:gd name="connsiteY47" fmla="*/ 120650 h 620717"/>
                <a:gd name="connsiteX48" fmla="*/ 138112 w 514350"/>
                <a:gd name="connsiteY48" fmla="*/ 123825 h 620717"/>
                <a:gd name="connsiteX49" fmla="*/ 139700 w 514350"/>
                <a:gd name="connsiteY49" fmla="*/ 128587 h 620717"/>
                <a:gd name="connsiteX50" fmla="*/ 146050 w 514350"/>
                <a:gd name="connsiteY50" fmla="*/ 131762 h 620717"/>
                <a:gd name="connsiteX51" fmla="*/ 147637 w 514350"/>
                <a:gd name="connsiteY51" fmla="*/ 138112 h 620717"/>
                <a:gd name="connsiteX52" fmla="*/ 123825 w 514350"/>
                <a:gd name="connsiteY52" fmla="*/ 146050 h 620717"/>
                <a:gd name="connsiteX53" fmla="*/ 117475 w 514350"/>
                <a:gd name="connsiteY53" fmla="*/ 155575 h 620717"/>
                <a:gd name="connsiteX54" fmla="*/ 112712 w 514350"/>
                <a:gd name="connsiteY54" fmla="*/ 157162 h 620717"/>
                <a:gd name="connsiteX55" fmla="*/ 125412 w 514350"/>
                <a:gd name="connsiteY55" fmla="*/ 161925 h 620717"/>
                <a:gd name="connsiteX56" fmla="*/ 130175 w 514350"/>
                <a:gd name="connsiteY56" fmla="*/ 163512 h 620717"/>
                <a:gd name="connsiteX57" fmla="*/ 142875 w 514350"/>
                <a:gd name="connsiteY57" fmla="*/ 166687 h 620717"/>
                <a:gd name="connsiteX58" fmla="*/ 147637 w 514350"/>
                <a:gd name="connsiteY58" fmla="*/ 173037 h 620717"/>
                <a:gd name="connsiteX59" fmla="*/ 152400 w 514350"/>
                <a:gd name="connsiteY59" fmla="*/ 177800 h 620717"/>
                <a:gd name="connsiteX60" fmla="*/ 146050 w 514350"/>
                <a:gd name="connsiteY60" fmla="*/ 179387 h 620717"/>
                <a:gd name="connsiteX61" fmla="*/ 149225 w 514350"/>
                <a:gd name="connsiteY61" fmla="*/ 185737 h 620717"/>
                <a:gd name="connsiteX62" fmla="*/ 153987 w 514350"/>
                <a:gd name="connsiteY62" fmla="*/ 187325 h 620717"/>
                <a:gd name="connsiteX63" fmla="*/ 168275 w 514350"/>
                <a:gd name="connsiteY63" fmla="*/ 190500 h 620717"/>
                <a:gd name="connsiteX64" fmla="*/ 165100 w 514350"/>
                <a:gd name="connsiteY64" fmla="*/ 198437 h 620717"/>
                <a:gd name="connsiteX65" fmla="*/ 160337 w 514350"/>
                <a:gd name="connsiteY65" fmla="*/ 200025 h 620717"/>
                <a:gd name="connsiteX66" fmla="*/ 139700 w 514350"/>
                <a:gd name="connsiteY66" fmla="*/ 196850 h 620717"/>
                <a:gd name="connsiteX67" fmla="*/ 153987 w 514350"/>
                <a:gd name="connsiteY67" fmla="*/ 211137 h 620717"/>
                <a:gd name="connsiteX68" fmla="*/ 152400 w 514350"/>
                <a:gd name="connsiteY68" fmla="*/ 217487 h 620717"/>
                <a:gd name="connsiteX69" fmla="*/ 138112 w 514350"/>
                <a:gd name="connsiteY69" fmla="*/ 219075 h 620717"/>
                <a:gd name="connsiteX70" fmla="*/ 142875 w 514350"/>
                <a:gd name="connsiteY70" fmla="*/ 223837 h 620717"/>
                <a:gd name="connsiteX71" fmla="*/ 141287 w 514350"/>
                <a:gd name="connsiteY71" fmla="*/ 228600 h 620717"/>
                <a:gd name="connsiteX72" fmla="*/ 107950 w 514350"/>
                <a:gd name="connsiteY72" fmla="*/ 231775 h 620717"/>
                <a:gd name="connsiteX73" fmla="*/ 95250 w 514350"/>
                <a:gd name="connsiteY73" fmla="*/ 233362 h 620717"/>
                <a:gd name="connsiteX74" fmla="*/ 92075 w 514350"/>
                <a:gd name="connsiteY74" fmla="*/ 247650 h 620717"/>
                <a:gd name="connsiteX75" fmla="*/ 93662 w 514350"/>
                <a:gd name="connsiteY75" fmla="*/ 252412 h 620717"/>
                <a:gd name="connsiteX76" fmla="*/ 109537 w 514350"/>
                <a:gd name="connsiteY76" fmla="*/ 260350 h 620717"/>
                <a:gd name="connsiteX77" fmla="*/ 114300 w 514350"/>
                <a:gd name="connsiteY77" fmla="*/ 263525 h 620717"/>
                <a:gd name="connsiteX78" fmla="*/ 119062 w 514350"/>
                <a:gd name="connsiteY78" fmla="*/ 268287 h 620717"/>
                <a:gd name="connsiteX79" fmla="*/ 123825 w 514350"/>
                <a:gd name="connsiteY79" fmla="*/ 269875 h 620717"/>
                <a:gd name="connsiteX80" fmla="*/ 128587 w 514350"/>
                <a:gd name="connsiteY80" fmla="*/ 273050 h 620717"/>
                <a:gd name="connsiteX81" fmla="*/ 114300 w 514350"/>
                <a:gd name="connsiteY81" fmla="*/ 279400 h 620717"/>
                <a:gd name="connsiteX82" fmla="*/ 109537 w 514350"/>
                <a:gd name="connsiteY82" fmla="*/ 284162 h 620717"/>
                <a:gd name="connsiteX83" fmla="*/ 111125 w 514350"/>
                <a:gd name="connsiteY83" fmla="*/ 293687 h 620717"/>
                <a:gd name="connsiteX84" fmla="*/ 125412 w 514350"/>
                <a:gd name="connsiteY84" fmla="*/ 296862 h 620717"/>
                <a:gd name="connsiteX85" fmla="*/ 136525 w 514350"/>
                <a:gd name="connsiteY85" fmla="*/ 301625 h 620717"/>
                <a:gd name="connsiteX86" fmla="*/ 142875 w 514350"/>
                <a:gd name="connsiteY86" fmla="*/ 303212 h 620717"/>
                <a:gd name="connsiteX87" fmla="*/ 146050 w 514350"/>
                <a:gd name="connsiteY87" fmla="*/ 311150 h 620717"/>
                <a:gd name="connsiteX88" fmla="*/ 158750 w 514350"/>
                <a:gd name="connsiteY88" fmla="*/ 315912 h 620717"/>
                <a:gd name="connsiteX89" fmla="*/ 193675 w 514350"/>
                <a:gd name="connsiteY89" fmla="*/ 317500 h 620717"/>
                <a:gd name="connsiteX90" fmla="*/ 209550 w 514350"/>
                <a:gd name="connsiteY90" fmla="*/ 320675 h 620717"/>
                <a:gd name="connsiteX91" fmla="*/ 204787 w 514350"/>
                <a:gd name="connsiteY91" fmla="*/ 323850 h 620717"/>
                <a:gd name="connsiteX92" fmla="*/ 200025 w 514350"/>
                <a:gd name="connsiteY92" fmla="*/ 325437 h 620717"/>
                <a:gd name="connsiteX93" fmla="*/ 190500 w 514350"/>
                <a:gd name="connsiteY93" fmla="*/ 331787 h 620717"/>
                <a:gd name="connsiteX94" fmla="*/ 182562 w 514350"/>
                <a:gd name="connsiteY94" fmla="*/ 338137 h 620717"/>
                <a:gd name="connsiteX95" fmla="*/ 176212 w 514350"/>
                <a:gd name="connsiteY95" fmla="*/ 341312 h 620717"/>
                <a:gd name="connsiteX96" fmla="*/ 171450 w 514350"/>
                <a:gd name="connsiteY96" fmla="*/ 344487 h 620717"/>
                <a:gd name="connsiteX97" fmla="*/ 161925 w 514350"/>
                <a:gd name="connsiteY97" fmla="*/ 347662 h 620717"/>
                <a:gd name="connsiteX98" fmla="*/ 149225 w 514350"/>
                <a:gd name="connsiteY98" fmla="*/ 365125 h 620717"/>
                <a:gd name="connsiteX99" fmla="*/ 139700 w 514350"/>
                <a:gd name="connsiteY99" fmla="*/ 382587 h 620717"/>
                <a:gd name="connsiteX100" fmla="*/ 134937 w 514350"/>
                <a:gd name="connsiteY100" fmla="*/ 384175 h 620717"/>
                <a:gd name="connsiteX101" fmla="*/ 133350 w 514350"/>
                <a:gd name="connsiteY101" fmla="*/ 388937 h 620717"/>
                <a:gd name="connsiteX102" fmla="*/ 128587 w 514350"/>
                <a:gd name="connsiteY102" fmla="*/ 392112 h 620717"/>
                <a:gd name="connsiteX103" fmla="*/ 120650 w 514350"/>
                <a:gd name="connsiteY103" fmla="*/ 398462 h 620717"/>
                <a:gd name="connsiteX104" fmla="*/ 114300 w 514350"/>
                <a:gd name="connsiteY104" fmla="*/ 409575 h 620717"/>
                <a:gd name="connsiteX105" fmla="*/ 109537 w 514350"/>
                <a:gd name="connsiteY105" fmla="*/ 411162 h 620717"/>
                <a:gd name="connsiteX106" fmla="*/ 92075 w 514350"/>
                <a:gd name="connsiteY106" fmla="*/ 414337 h 620717"/>
                <a:gd name="connsiteX107" fmla="*/ 92075 w 514350"/>
                <a:gd name="connsiteY107" fmla="*/ 433387 h 620717"/>
                <a:gd name="connsiteX108" fmla="*/ 79375 w 514350"/>
                <a:gd name="connsiteY108" fmla="*/ 441325 h 620717"/>
                <a:gd name="connsiteX109" fmla="*/ 73025 w 514350"/>
                <a:gd name="connsiteY109" fmla="*/ 455612 h 620717"/>
                <a:gd name="connsiteX110" fmla="*/ 69850 w 514350"/>
                <a:gd name="connsiteY110" fmla="*/ 463550 h 620717"/>
                <a:gd name="connsiteX111" fmla="*/ 65087 w 514350"/>
                <a:gd name="connsiteY111" fmla="*/ 465137 h 620717"/>
                <a:gd name="connsiteX112" fmla="*/ 38100 w 514350"/>
                <a:gd name="connsiteY112" fmla="*/ 466725 h 620717"/>
                <a:gd name="connsiteX113" fmla="*/ 34925 w 514350"/>
                <a:gd name="connsiteY113" fmla="*/ 473075 h 620717"/>
                <a:gd name="connsiteX114" fmla="*/ 30162 w 514350"/>
                <a:gd name="connsiteY114" fmla="*/ 476250 h 620717"/>
                <a:gd name="connsiteX115" fmla="*/ 0 w 514350"/>
                <a:gd name="connsiteY115" fmla="*/ 477837 h 620717"/>
                <a:gd name="connsiteX116" fmla="*/ 4762 w 514350"/>
                <a:gd name="connsiteY116" fmla="*/ 484187 h 620717"/>
                <a:gd name="connsiteX117" fmla="*/ 23812 w 514350"/>
                <a:gd name="connsiteY117" fmla="*/ 485775 h 620717"/>
                <a:gd name="connsiteX118" fmla="*/ 30162 w 514350"/>
                <a:gd name="connsiteY118" fmla="*/ 487362 h 620717"/>
                <a:gd name="connsiteX119" fmla="*/ 39687 w 514350"/>
                <a:gd name="connsiteY119" fmla="*/ 488950 h 620717"/>
                <a:gd name="connsiteX120" fmla="*/ 33337 w 514350"/>
                <a:gd name="connsiteY120" fmla="*/ 492125 h 620717"/>
                <a:gd name="connsiteX121" fmla="*/ 25400 w 514350"/>
                <a:gd name="connsiteY121" fmla="*/ 493712 h 620717"/>
                <a:gd name="connsiteX122" fmla="*/ 19050 w 514350"/>
                <a:gd name="connsiteY122" fmla="*/ 495300 h 620717"/>
                <a:gd name="connsiteX123" fmla="*/ 14287 w 514350"/>
                <a:gd name="connsiteY123" fmla="*/ 498475 h 620717"/>
                <a:gd name="connsiteX124" fmla="*/ 4762 w 514350"/>
                <a:gd name="connsiteY124" fmla="*/ 503237 h 620717"/>
                <a:gd name="connsiteX125" fmla="*/ 3175 w 514350"/>
                <a:gd name="connsiteY125" fmla="*/ 508000 h 620717"/>
                <a:gd name="connsiteX126" fmla="*/ 4762 w 514350"/>
                <a:gd name="connsiteY126" fmla="*/ 530225 h 620717"/>
                <a:gd name="connsiteX127" fmla="*/ 11112 w 514350"/>
                <a:gd name="connsiteY127" fmla="*/ 533400 h 620717"/>
                <a:gd name="connsiteX128" fmla="*/ 20637 w 514350"/>
                <a:gd name="connsiteY128" fmla="*/ 534987 h 620717"/>
                <a:gd name="connsiteX129" fmla="*/ 26987 w 514350"/>
                <a:gd name="connsiteY129" fmla="*/ 536575 h 620717"/>
                <a:gd name="connsiteX130" fmla="*/ 39687 w 514350"/>
                <a:gd name="connsiteY130" fmla="*/ 542925 h 620717"/>
                <a:gd name="connsiteX131" fmla="*/ 44450 w 514350"/>
                <a:gd name="connsiteY131" fmla="*/ 546100 h 620717"/>
                <a:gd name="connsiteX132" fmla="*/ 58737 w 514350"/>
                <a:gd name="connsiteY132" fmla="*/ 547687 h 620717"/>
                <a:gd name="connsiteX133" fmla="*/ 47625 w 514350"/>
                <a:gd name="connsiteY133" fmla="*/ 555625 h 620717"/>
                <a:gd name="connsiteX134" fmla="*/ 30162 w 514350"/>
                <a:gd name="connsiteY134" fmla="*/ 558800 h 620717"/>
                <a:gd name="connsiteX135" fmla="*/ 7937 w 514350"/>
                <a:gd name="connsiteY135" fmla="*/ 563562 h 620717"/>
                <a:gd name="connsiteX136" fmla="*/ 7937 w 514350"/>
                <a:gd name="connsiteY136" fmla="*/ 576262 h 620717"/>
                <a:gd name="connsiteX137" fmla="*/ 17462 w 514350"/>
                <a:gd name="connsiteY137" fmla="*/ 577850 h 620717"/>
                <a:gd name="connsiteX138" fmla="*/ 39687 w 514350"/>
                <a:gd name="connsiteY138" fmla="*/ 581025 h 620717"/>
                <a:gd name="connsiteX139" fmla="*/ 47625 w 514350"/>
                <a:gd name="connsiteY139" fmla="*/ 582612 h 620717"/>
                <a:gd name="connsiteX140" fmla="*/ 61912 w 514350"/>
                <a:gd name="connsiteY140" fmla="*/ 584200 h 620717"/>
                <a:gd name="connsiteX141" fmla="*/ 66675 w 514350"/>
                <a:gd name="connsiteY141" fmla="*/ 587375 h 620717"/>
                <a:gd name="connsiteX142" fmla="*/ 53975 w 514350"/>
                <a:gd name="connsiteY142" fmla="*/ 593725 h 620717"/>
                <a:gd name="connsiteX143" fmla="*/ 52387 w 514350"/>
                <a:gd name="connsiteY143" fmla="*/ 601662 h 620717"/>
                <a:gd name="connsiteX144" fmla="*/ 50800 w 514350"/>
                <a:gd name="connsiteY144" fmla="*/ 606425 h 620717"/>
                <a:gd name="connsiteX145" fmla="*/ 55562 w 514350"/>
                <a:gd name="connsiteY145" fmla="*/ 614362 h 620717"/>
                <a:gd name="connsiteX146" fmla="*/ 79375 w 514350"/>
                <a:gd name="connsiteY146" fmla="*/ 609600 h 620717"/>
                <a:gd name="connsiteX147" fmla="*/ 123825 w 514350"/>
                <a:gd name="connsiteY147" fmla="*/ 612775 h 620717"/>
                <a:gd name="connsiteX148" fmla="*/ 130175 w 514350"/>
                <a:gd name="connsiteY148" fmla="*/ 617537 h 620717"/>
                <a:gd name="connsiteX149" fmla="*/ 144462 w 514350"/>
                <a:gd name="connsiteY149" fmla="*/ 620712 h 620717"/>
                <a:gd name="connsiteX150" fmla="*/ 173037 w 514350"/>
                <a:gd name="connsiteY150" fmla="*/ 617537 h 620717"/>
                <a:gd name="connsiteX151" fmla="*/ 180975 w 514350"/>
                <a:gd name="connsiteY151" fmla="*/ 614362 h 620717"/>
                <a:gd name="connsiteX152" fmla="*/ 187325 w 514350"/>
                <a:gd name="connsiteY152" fmla="*/ 609600 h 620717"/>
                <a:gd name="connsiteX153" fmla="*/ 196850 w 514350"/>
                <a:gd name="connsiteY153" fmla="*/ 606425 h 620717"/>
                <a:gd name="connsiteX154" fmla="*/ 198437 w 514350"/>
                <a:gd name="connsiteY154" fmla="*/ 600075 h 620717"/>
                <a:gd name="connsiteX155" fmla="*/ 203200 w 514350"/>
                <a:gd name="connsiteY155" fmla="*/ 595312 h 620717"/>
                <a:gd name="connsiteX156" fmla="*/ 215900 w 514350"/>
                <a:gd name="connsiteY156" fmla="*/ 581025 h 620717"/>
                <a:gd name="connsiteX157" fmla="*/ 230187 w 514350"/>
                <a:gd name="connsiteY157" fmla="*/ 582612 h 620717"/>
                <a:gd name="connsiteX158" fmla="*/ 238125 w 514350"/>
                <a:gd name="connsiteY158" fmla="*/ 584200 h 620717"/>
                <a:gd name="connsiteX159" fmla="*/ 261937 w 514350"/>
                <a:gd name="connsiteY159" fmla="*/ 581025 h 620717"/>
                <a:gd name="connsiteX160" fmla="*/ 263525 w 514350"/>
                <a:gd name="connsiteY160" fmla="*/ 576262 h 620717"/>
                <a:gd name="connsiteX161" fmla="*/ 266700 w 514350"/>
                <a:gd name="connsiteY161" fmla="*/ 582612 h 620717"/>
                <a:gd name="connsiteX162" fmla="*/ 277812 w 514350"/>
                <a:gd name="connsiteY162" fmla="*/ 590550 h 620717"/>
                <a:gd name="connsiteX163" fmla="*/ 279400 w 514350"/>
                <a:gd name="connsiteY163" fmla="*/ 579437 h 620717"/>
                <a:gd name="connsiteX164" fmla="*/ 287337 w 514350"/>
                <a:gd name="connsiteY164" fmla="*/ 571500 h 620717"/>
                <a:gd name="connsiteX165" fmla="*/ 290512 w 514350"/>
                <a:gd name="connsiteY165" fmla="*/ 566737 h 620717"/>
                <a:gd name="connsiteX166" fmla="*/ 311150 w 514350"/>
                <a:gd name="connsiteY166" fmla="*/ 558800 h 620717"/>
                <a:gd name="connsiteX167" fmla="*/ 354012 w 514350"/>
                <a:gd name="connsiteY167" fmla="*/ 554037 h 620717"/>
                <a:gd name="connsiteX168" fmla="*/ 360362 w 514350"/>
                <a:gd name="connsiteY168" fmla="*/ 561975 h 620717"/>
                <a:gd name="connsiteX169" fmla="*/ 365125 w 514350"/>
                <a:gd name="connsiteY169" fmla="*/ 563562 h 620717"/>
                <a:gd name="connsiteX170" fmla="*/ 366712 w 514350"/>
                <a:gd name="connsiteY170" fmla="*/ 557212 h 620717"/>
                <a:gd name="connsiteX171" fmla="*/ 368300 w 514350"/>
                <a:gd name="connsiteY171" fmla="*/ 552450 h 620717"/>
                <a:gd name="connsiteX172" fmla="*/ 377825 w 514350"/>
                <a:gd name="connsiteY172" fmla="*/ 557212 h 620717"/>
                <a:gd name="connsiteX173" fmla="*/ 382587 w 514350"/>
                <a:gd name="connsiteY173" fmla="*/ 563562 h 620717"/>
                <a:gd name="connsiteX174" fmla="*/ 404812 w 514350"/>
                <a:gd name="connsiteY174" fmla="*/ 565150 h 620717"/>
                <a:gd name="connsiteX175" fmla="*/ 414337 w 514350"/>
                <a:gd name="connsiteY175" fmla="*/ 571500 h 620717"/>
                <a:gd name="connsiteX176" fmla="*/ 419100 w 514350"/>
                <a:gd name="connsiteY176" fmla="*/ 574675 h 620717"/>
                <a:gd name="connsiteX177" fmla="*/ 436562 w 514350"/>
                <a:gd name="connsiteY177" fmla="*/ 573087 h 620717"/>
                <a:gd name="connsiteX178" fmla="*/ 434975 w 514350"/>
                <a:gd name="connsiteY178" fmla="*/ 566737 h 620717"/>
                <a:gd name="connsiteX179" fmla="*/ 430212 w 514350"/>
                <a:gd name="connsiteY179" fmla="*/ 546100 h 620717"/>
                <a:gd name="connsiteX180" fmla="*/ 433387 w 514350"/>
                <a:gd name="connsiteY180" fmla="*/ 531812 h 620717"/>
                <a:gd name="connsiteX181" fmla="*/ 446087 w 514350"/>
                <a:gd name="connsiteY181" fmla="*/ 525462 h 620717"/>
                <a:gd name="connsiteX182" fmla="*/ 452437 w 514350"/>
                <a:gd name="connsiteY182" fmla="*/ 519112 h 620717"/>
                <a:gd name="connsiteX183" fmla="*/ 463550 w 514350"/>
                <a:gd name="connsiteY183" fmla="*/ 514350 h 620717"/>
                <a:gd name="connsiteX184" fmla="*/ 465137 w 514350"/>
                <a:gd name="connsiteY184" fmla="*/ 508000 h 620717"/>
                <a:gd name="connsiteX185" fmla="*/ 466725 w 514350"/>
                <a:gd name="connsiteY185" fmla="*/ 485775 h 620717"/>
                <a:gd name="connsiteX186" fmla="*/ 482600 w 514350"/>
                <a:gd name="connsiteY186" fmla="*/ 474662 h 620717"/>
                <a:gd name="connsiteX187" fmla="*/ 495300 w 514350"/>
                <a:gd name="connsiteY187" fmla="*/ 458787 h 620717"/>
                <a:gd name="connsiteX188" fmla="*/ 501650 w 514350"/>
                <a:gd name="connsiteY188" fmla="*/ 438150 h 620717"/>
                <a:gd name="connsiteX189" fmla="*/ 506412 w 514350"/>
                <a:gd name="connsiteY189" fmla="*/ 433387 h 620717"/>
                <a:gd name="connsiteX190" fmla="*/ 506412 w 514350"/>
                <a:gd name="connsiteY190" fmla="*/ 401637 h 620717"/>
                <a:gd name="connsiteX191" fmla="*/ 501650 w 514350"/>
                <a:gd name="connsiteY191" fmla="*/ 398462 h 620717"/>
                <a:gd name="connsiteX192" fmla="*/ 498475 w 514350"/>
                <a:gd name="connsiteY192" fmla="*/ 392112 h 620717"/>
                <a:gd name="connsiteX193" fmla="*/ 503237 w 514350"/>
                <a:gd name="connsiteY193" fmla="*/ 360362 h 620717"/>
                <a:gd name="connsiteX194" fmla="*/ 508000 w 514350"/>
                <a:gd name="connsiteY194" fmla="*/ 355600 h 620717"/>
                <a:gd name="connsiteX195" fmla="*/ 514350 w 514350"/>
                <a:gd name="connsiteY195" fmla="*/ 346075 h 620717"/>
                <a:gd name="connsiteX196" fmla="*/ 511175 w 514350"/>
                <a:gd name="connsiteY196" fmla="*/ 331787 h 620717"/>
                <a:gd name="connsiteX197" fmla="*/ 506412 w 514350"/>
                <a:gd name="connsiteY197" fmla="*/ 327025 h 620717"/>
                <a:gd name="connsiteX198" fmla="*/ 504825 w 514350"/>
                <a:gd name="connsiteY198" fmla="*/ 315912 h 620717"/>
                <a:gd name="connsiteX199" fmla="*/ 508000 w 514350"/>
                <a:gd name="connsiteY199" fmla="*/ 290512 h 620717"/>
                <a:gd name="connsiteX200" fmla="*/ 506412 w 514350"/>
                <a:gd name="connsiteY200" fmla="*/ 282575 h 620717"/>
                <a:gd name="connsiteX201" fmla="*/ 495300 w 514350"/>
                <a:gd name="connsiteY201" fmla="*/ 276225 h 620717"/>
                <a:gd name="connsiteX202" fmla="*/ 496887 w 514350"/>
                <a:gd name="connsiteY202" fmla="*/ 268287 h 620717"/>
                <a:gd name="connsiteX203" fmla="*/ 501650 w 514350"/>
                <a:gd name="connsiteY203" fmla="*/ 266700 h 620717"/>
                <a:gd name="connsiteX204" fmla="*/ 506412 w 514350"/>
                <a:gd name="connsiteY204" fmla="*/ 263525 h 620717"/>
                <a:gd name="connsiteX205" fmla="*/ 509587 w 514350"/>
                <a:gd name="connsiteY205" fmla="*/ 258762 h 620717"/>
                <a:gd name="connsiteX206" fmla="*/ 511175 w 514350"/>
                <a:gd name="connsiteY206" fmla="*/ 254000 h 620717"/>
                <a:gd name="connsiteX207" fmla="*/ 514350 w 514350"/>
                <a:gd name="connsiteY207" fmla="*/ 246062 h 620717"/>
                <a:gd name="connsiteX208" fmla="*/ 512762 w 514350"/>
                <a:gd name="connsiteY208" fmla="*/ 239712 h 620717"/>
                <a:gd name="connsiteX209" fmla="*/ 496887 w 514350"/>
                <a:gd name="connsiteY209" fmla="*/ 239712 h 620717"/>
                <a:gd name="connsiteX210" fmla="*/ 492125 w 514350"/>
                <a:gd name="connsiteY210" fmla="*/ 241300 h 620717"/>
                <a:gd name="connsiteX211" fmla="*/ 485775 w 514350"/>
                <a:gd name="connsiteY211" fmla="*/ 244475 h 620717"/>
                <a:gd name="connsiteX212" fmla="*/ 481012 w 514350"/>
                <a:gd name="connsiteY212" fmla="*/ 234950 h 620717"/>
                <a:gd name="connsiteX213" fmla="*/ 479425 w 514350"/>
                <a:gd name="connsiteY213" fmla="*/ 222250 h 620717"/>
                <a:gd name="connsiteX214" fmla="*/ 477837 w 514350"/>
                <a:gd name="connsiteY214" fmla="*/ 215900 h 620717"/>
                <a:gd name="connsiteX215" fmla="*/ 473075 w 514350"/>
                <a:gd name="connsiteY215" fmla="*/ 190500 h 620717"/>
                <a:gd name="connsiteX216" fmla="*/ 468312 w 514350"/>
                <a:gd name="connsiteY216" fmla="*/ 176212 h 620717"/>
                <a:gd name="connsiteX217" fmla="*/ 458787 w 514350"/>
                <a:gd name="connsiteY217" fmla="*/ 171450 h 620717"/>
                <a:gd name="connsiteX218" fmla="*/ 449262 w 514350"/>
                <a:gd name="connsiteY218" fmla="*/ 173037 h 620717"/>
                <a:gd name="connsiteX219" fmla="*/ 438150 w 514350"/>
                <a:gd name="connsiteY219" fmla="*/ 182562 h 620717"/>
                <a:gd name="connsiteX220" fmla="*/ 434975 w 514350"/>
                <a:gd name="connsiteY220" fmla="*/ 188912 h 620717"/>
                <a:gd name="connsiteX221" fmla="*/ 428625 w 514350"/>
                <a:gd name="connsiteY221" fmla="*/ 196850 h 620717"/>
                <a:gd name="connsiteX222" fmla="*/ 417512 w 514350"/>
                <a:gd name="connsiteY222" fmla="*/ 206375 h 620717"/>
                <a:gd name="connsiteX223" fmla="*/ 412750 w 514350"/>
                <a:gd name="connsiteY223" fmla="*/ 207962 h 620717"/>
                <a:gd name="connsiteX224" fmla="*/ 401637 w 514350"/>
                <a:gd name="connsiteY224" fmla="*/ 206375 h 620717"/>
                <a:gd name="connsiteX225" fmla="*/ 395287 w 514350"/>
                <a:gd name="connsiteY225" fmla="*/ 200025 h 620717"/>
                <a:gd name="connsiteX226" fmla="*/ 390525 w 514350"/>
                <a:gd name="connsiteY226" fmla="*/ 196850 h 620717"/>
                <a:gd name="connsiteX227" fmla="*/ 385762 w 514350"/>
                <a:gd name="connsiteY227" fmla="*/ 190500 h 620717"/>
                <a:gd name="connsiteX228" fmla="*/ 368300 w 514350"/>
                <a:gd name="connsiteY228" fmla="*/ 171450 h 620717"/>
                <a:gd name="connsiteX229" fmla="*/ 363537 w 514350"/>
                <a:gd name="connsiteY229" fmla="*/ 160337 h 620717"/>
                <a:gd name="connsiteX230" fmla="*/ 358775 w 514350"/>
                <a:gd name="connsiteY230" fmla="*/ 157162 h 620717"/>
                <a:gd name="connsiteX231" fmla="*/ 349250 w 514350"/>
                <a:gd name="connsiteY231" fmla="*/ 144462 h 620717"/>
                <a:gd name="connsiteX232" fmla="*/ 346075 w 514350"/>
                <a:gd name="connsiteY232" fmla="*/ 138112 h 620717"/>
                <a:gd name="connsiteX233" fmla="*/ 350837 w 514350"/>
                <a:gd name="connsiteY233" fmla="*/ 128587 h 620717"/>
                <a:gd name="connsiteX234" fmla="*/ 357187 w 514350"/>
                <a:gd name="connsiteY234" fmla="*/ 127000 h 620717"/>
                <a:gd name="connsiteX235" fmla="*/ 368300 w 514350"/>
                <a:gd name="connsiteY235" fmla="*/ 125412 h 620717"/>
                <a:gd name="connsiteX236" fmla="*/ 374650 w 514350"/>
                <a:gd name="connsiteY236" fmla="*/ 123825 h 620717"/>
                <a:gd name="connsiteX237" fmla="*/ 384175 w 514350"/>
                <a:gd name="connsiteY237" fmla="*/ 120650 h 620717"/>
                <a:gd name="connsiteX238" fmla="*/ 392112 w 514350"/>
                <a:gd name="connsiteY238" fmla="*/ 111125 h 620717"/>
                <a:gd name="connsiteX239" fmla="*/ 388937 w 514350"/>
                <a:gd name="connsiteY239" fmla="*/ 100012 h 620717"/>
                <a:gd name="connsiteX240" fmla="*/ 390525 w 514350"/>
                <a:gd name="connsiteY240" fmla="*/ 93662 h 620717"/>
                <a:gd name="connsiteX241" fmla="*/ 401637 w 514350"/>
                <a:gd name="connsiteY241" fmla="*/ 95250 h 620717"/>
                <a:gd name="connsiteX242" fmla="*/ 423862 w 514350"/>
                <a:gd name="connsiteY242" fmla="*/ 93662 h 620717"/>
                <a:gd name="connsiteX243" fmla="*/ 430212 w 514350"/>
                <a:gd name="connsiteY243" fmla="*/ 87312 h 620717"/>
                <a:gd name="connsiteX244" fmla="*/ 431800 w 514350"/>
                <a:gd name="connsiteY244" fmla="*/ 61912 h 620717"/>
                <a:gd name="connsiteX245" fmla="*/ 443914 w 514350"/>
                <a:gd name="connsiteY245" fmla="*/ 64084 h 620717"/>
                <a:gd name="connsiteX246" fmla="*/ 448737 w 514350"/>
                <a:gd name="connsiteY246" fmla="*/ 66117 h 620717"/>
                <a:gd name="connsiteX247" fmla="*/ 435858 w 514350"/>
                <a:gd name="connsiteY247" fmla="*/ 67146 h 620717"/>
                <a:gd name="connsiteX248" fmla="*/ 451852 w 514350"/>
                <a:gd name="connsiteY248" fmla="*/ 72772 h 620717"/>
                <a:gd name="connsiteX249" fmla="*/ 439737 w 514350"/>
                <a:gd name="connsiteY249" fmla="*/ 79845 h 620717"/>
                <a:gd name="connsiteX250" fmla="*/ 450399 w 514350"/>
                <a:gd name="connsiteY250" fmla="*/ 73819 h 620717"/>
                <a:gd name="connsiteX251" fmla="*/ 455612 w 514350"/>
                <a:gd name="connsiteY251" fmla="*/ 69850 h 620717"/>
                <a:gd name="connsiteX252" fmla="*/ 461962 w 514350"/>
                <a:gd name="connsiteY252" fmla="*/ 68262 h 620717"/>
                <a:gd name="connsiteX253" fmla="*/ 466725 w 514350"/>
                <a:gd name="connsiteY253" fmla="*/ 61912 h 620717"/>
                <a:gd name="connsiteX254" fmla="*/ 492125 w 514350"/>
                <a:gd name="connsiteY254" fmla="*/ 53975 h 620717"/>
                <a:gd name="connsiteX255" fmla="*/ 496887 w 514350"/>
                <a:gd name="connsiteY255" fmla="*/ 49212 h 620717"/>
                <a:gd name="connsiteX256" fmla="*/ 500062 w 514350"/>
                <a:gd name="connsiteY256" fmla="*/ 41275 h 620717"/>
                <a:gd name="connsiteX257" fmla="*/ 496887 w 514350"/>
                <a:gd name="connsiteY257"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29013 w 514350"/>
                <a:gd name="connsiteY9" fmla="*/ 42388 h 620717"/>
                <a:gd name="connsiteX10" fmla="*/ 422054 w 514350"/>
                <a:gd name="connsiteY10" fmla="*/ 32634 h 620717"/>
                <a:gd name="connsiteX11" fmla="*/ 409575 w 514350"/>
                <a:gd name="connsiteY11" fmla="*/ 14287 h 620717"/>
                <a:gd name="connsiteX12" fmla="*/ 401637 w 514350"/>
                <a:gd name="connsiteY12" fmla="*/ 12700 h 620717"/>
                <a:gd name="connsiteX13" fmla="*/ 352425 w 514350"/>
                <a:gd name="connsiteY13" fmla="*/ 19050 h 620717"/>
                <a:gd name="connsiteX14" fmla="*/ 350837 w 514350"/>
                <a:gd name="connsiteY14" fmla="*/ 23812 h 620717"/>
                <a:gd name="connsiteX15" fmla="*/ 352425 w 514350"/>
                <a:gd name="connsiteY15" fmla="*/ 38100 h 620717"/>
                <a:gd name="connsiteX16" fmla="*/ 357187 w 514350"/>
                <a:gd name="connsiteY16" fmla="*/ 44450 h 620717"/>
                <a:gd name="connsiteX17" fmla="*/ 349250 w 514350"/>
                <a:gd name="connsiteY17" fmla="*/ 58737 h 620717"/>
                <a:gd name="connsiteX18" fmla="*/ 328612 w 514350"/>
                <a:gd name="connsiteY18" fmla="*/ 60325 h 620717"/>
                <a:gd name="connsiteX19" fmla="*/ 307975 w 514350"/>
                <a:gd name="connsiteY19" fmla="*/ 68262 h 620717"/>
                <a:gd name="connsiteX20" fmla="*/ 295275 w 514350"/>
                <a:gd name="connsiteY20" fmla="*/ 73025 h 620717"/>
                <a:gd name="connsiteX21" fmla="*/ 292100 w 514350"/>
                <a:gd name="connsiteY21" fmla="*/ 77787 h 620717"/>
                <a:gd name="connsiteX22" fmla="*/ 296862 w 514350"/>
                <a:gd name="connsiteY22" fmla="*/ 79375 h 620717"/>
                <a:gd name="connsiteX23" fmla="*/ 311150 w 514350"/>
                <a:gd name="connsiteY23" fmla="*/ 82550 h 620717"/>
                <a:gd name="connsiteX24" fmla="*/ 319087 w 514350"/>
                <a:gd name="connsiteY24" fmla="*/ 87312 h 620717"/>
                <a:gd name="connsiteX25" fmla="*/ 323850 w 514350"/>
                <a:gd name="connsiteY25" fmla="*/ 88900 h 620717"/>
                <a:gd name="connsiteX26" fmla="*/ 336550 w 514350"/>
                <a:gd name="connsiteY26" fmla="*/ 103187 h 620717"/>
                <a:gd name="connsiteX27" fmla="*/ 334962 w 514350"/>
                <a:gd name="connsiteY27" fmla="*/ 114300 h 620717"/>
                <a:gd name="connsiteX28" fmla="*/ 330200 w 514350"/>
                <a:gd name="connsiteY28" fmla="*/ 115887 h 620717"/>
                <a:gd name="connsiteX29" fmla="*/ 315912 w 514350"/>
                <a:gd name="connsiteY29" fmla="*/ 130175 h 620717"/>
                <a:gd name="connsiteX30" fmla="*/ 307975 w 514350"/>
                <a:gd name="connsiteY30" fmla="*/ 131762 h 620717"/>
                <a:gd name="connsiteX31" fmla="*/ 300037 w 514350"/>
                <a:gd name="connsiteY31" fmla="*/ 134937 h 620717"/>
                <a:gd name="connsiteX32" fmla="*/ 296862 w 514350"/>
                <a:gd name="connsiteY32" fmla="*/ 142875 h 620717"/>
                <a:gd name="connsiteX33" fmla="*/ 282575 w 514350"/>
                <a:gd name="connsiteY33" fmla="*/ 157162 h 620717"/>
                <a:gd name="connsiteX34" fmla="*/ 273050 w 514350"/>
                <a:gd name="connsiteY34" fmla="*/ 153987 h 620717"/>
                <a:gd name="connsiteX35" fmla="*/ 261937 w 514350"/>
                <a:gd name="connsiteY35" fmla="*/ 147637 h 620717"/>
                <a:gd name="connsiteX36" fmla="*/ 242887 w 514350"/>
                <a:gd name="connsiteY36" fmla="*/ 149225 h 620717"/>
                <a:gd name="connsiteX37" fmla="*/ 236537 w 514350"/>
                <a:gd name="connsiteY37" fmla="*/ 150812 h 620717"/>
                <a:gd name="connsiteX38" fmla="*/ 231775 w 514350"/>
                <a:gd name="connsiteY38" fmla="*/ 142875 h 620717"/>
                <a:gd name="connsiteX39" fmla="*/ 225425 w 514350"/>
                <a:gd name="connsiteY39" fmla="*/ 123825 h 620717"/>
                <a:gd name="connsiteX40" fmla="*/ 219075 w 514350"/>
                <a:gd name="connsiteY40" fmla="*/ 122237 h 620717"/>
                <a:gd name="connsiteX41" fmla="*/ 204787 w 514350"/>
                <a:gd name="connsiteY41" fmla="*/ 120650 h 620717"/>
                <a:gd name="connsiteX42" fmla="*/ 190500 w 514350"/>
                <a:gd name="connsiteY42" fmla="*/ 117475 h 620717"/>
                <a:gd name="connsiteX43" fmla="*/ 182562 w 514350"/>
                <a:gd name="connsiteY43" fmla="*/ 111125 h 620717"/>
                <a:gd name="connsiteX44" fmla="*/ 174625 w 514350"/>
                <a:gd name="connsiteY44" fmla="*/ 104775 h 620717"/>
                <a:gd name="connsiteX45" fmla="*/ 152400 w 514350"/>
                <a:gd name="connsiteY45" fmla="*/ 106362 h 620717"/>
                <a:gd name="connsiteX46" fmla="*/ 150812 w 514350"/>
                <a:gd name="connsiteY46" fmla="*/ 117475 h 620717"/>
                <a:gd name="connsiteX47" fmla="*/ 133350 w 514350"/>
                <a:gd name="connsiteY47" fmla="*/ 120650 h 620717"/>
                <a:gd name="connsiteX48" fmla="*/ 138112 w 514350"/>
                <a:gd name="connsiteY48" fmla="*/ 123825 h 620717"/>
                <a:gd name="connsiteX49" fmla="*/ 139700 w 514350"/>
                <a:gd name="connsiteY49" fmla="*/ 128587 h 620717"/>
                <a:gd name="connsiteX50" fmla="*/ 146050 w 514350"/>
                <a:gd name="connsiteY50" fmla="*/ 131762 h 620717"/>
                <a:gd name="connsiteX51" fmla="*/ 147637 w 514350"/>
                <a:gd name="connsiteY51" fmla="*/ 138112 h 620717"/>
                <a:gd name="connsiteX52" fmla="*/ 123825 w 514350"/>
                <a:gd name="connsiteY52" fmla="*/ 146050 h 620717"/>
                <a:gd name="connsiteX53" fmla="*/ 117475 w 514350"/>
                <a:gd name="connsiteY53" fmla="*/ 155575 h 620717"/>
                <a:gd name="connsiteX54" fmla="*/ 112712 w 514350"/>
                <a:gd name="connsiteY54" fmla="*/ 157162 h 620717"/>
                <a:gd name="connsiteX55" fmla="*/ 125412 w 514350"/>
                <a:gd name="connsiteY55" fmla="*/ 161925 h 620717"/>
                <a:gd name="connsiteX56" fmla="*/ 130175 w 514350"/>
                <a:gd name="connsiteY56" fmla="*/ 163512 h 620717"/>
                <a:gd name="connsiteX57" fmla="*/ 142875 w 514350"/>
                <a:gd name="connsiteY57" fmla="*/ 166687 h 620717"/>
                <a:gd name="connsiteX58" fmla="*/ 147637 w 514350"/>
                <a:gd name="connsiteY58" fmla="*/ 173037 h 620717"/>
                <a:gd name="connsiteX59" fmla="*/ 152400 w 514350"/>
                <a:gd name="connsiteY59" fmla="*/ 177800 h 620717"/>
                <a:gd name="connsiteX60" fmla="*/ 146050 w 514350"/>
                <a:gd name="connsiteY60" fmla="*/ 179387 h 620717"/>
                <a:gd name="connsiteX61" fmla="*/ 149225 w 514350"/>
                <a:gd name="connsiteY61" fmla="*/ 185737 h 620717"/>
                <a:gd name="connsiteX62" fmla="*/ 153987 w 514350"/>
                <a:gd name="connsiteY62" fmla="*/ 187325 h 620717"/>
                <a:gd name="connsiteX63" fmla="*/ 168275 w 514350"/>
                <a:gd name="connsiteY63" fmla="*/ 190500 h 620717"/>
                <a:gd name="connsiteX64" fmla="*/ 165100 w 514350"/>
                <a:gd name="connsiteY64" fmla="*/ 198437 h 620717"/>
                <a:gd name="connsiteX65" fmla="*/ 160337 w 514350"/>
                <a:gd name="connsiteY65" fmla="*/ 200025 h 620717"/>
                <a:gd name="connsiteX66" fmla="*/ 139700 w 514350"/>
                <a:gd name="connsiteY66" fmla="*/ 196850 h 620717"/>
                <a:gd name="connsiteX67" fmla="*/ 153987 w 514350"/>
                <a:gd name="connsiteY67" fmla="*/ 211137 h 620717"/>
                <a:gd name="connsiteX68" fmla="*/ 152400 w 514350"/>
                <a:gd name="connsiteY68" fmla="*/ 217487 h 620717"/>
                <a:gd name="connsiteX69" fmla="*/ 138112 w 514350"/>
                <a:gd name="connsiteY69" fmla="*/ 219075 h 620717"/>
                <a:gd name="connsiteX70" fmla="*/ 142875 w 514350"/>
                <a:gd name="connsiteY70" fmla="*/ 223837 h 620717"/>
                <a:gd name="connsiteX71" fmla="*/ 141287 w 514350"/>
                <a:gd name="connsiteY71" fmla="*/ 228600 h 620717"/>
                <a:gd name="connsiteX72" fmla="*/ 107950 w 514350"/>
                <a:gd name="connsiteY72" fmla="*/ 231775 h 620717"/>
                <a:gd name="connsiteX73" fmla="*/ 95250 w 514350"/>
                <a:gd name="connsiteY73" fmla="*/ 233362 h 620717"/>
                <a:gd name="connsiteX74" fmla="*/ 92075 w 514350"/>
                <a:gd name="connsiteY74" fmla="*/ 247650 h 620717"/>
                <a:gd name="connsiteX75" fmla="*/ 93662 w 514350"/>
                <a:gd name="connsiteY75" fmla="*/ 252412 h 620717"/>
                <a:gd name="connsiteX76" fmla="*/ 109537 w 514350"/>
                <a:gd name="connsiteY76" fmla="*/ 260350 h 620717"/>
                <a:gd name="connsiteX77" fmla="*/ 114300 w 514350"/>
                <a:gd name="connsiteY77" fmla="*/ 263525 h 620717"/>
                <a:gd name="connsiteX78" fmla="*/ 119062 w 514350"/>
                <a:gd name="connsiteY78" fmla="*/ 268287 h 620717"/>
                <a:gd name="connsiteX79" fmla="*/ 123825 w 514350"/>
                <a:gd name="connsiteY79" fmla="*/ 269875 h 620717"/>
                <a:gd name="connsiteX80" fmla="*/ 128587 w 514350"/>
                <a:gd name="connsiteY80" fmla="*/ 273050 h 620717"/>
                <a:gd name="connsiteX81" fmla="*/ 114300 w 514350"/>
                <a:gd name="connsiteY81" fmla="*/ 279400 h 620717"/>
                <a:gd name="connsiteX82" fmla="*/ 109537 w 514350"/>
                <a:gd name="connsiteY82" fmla="*/ 284162 h 620717"/>
                <a:gd name="connsiteX83" fmla="*/ 111125 w 514350"/>
                <a:gd name="connsiteY83" fmla="*/ 293687 h 620717"/>
                <a:gd name="connsiteX84" fmla="*/ 125412 w 514350"/>
                <a:gd name="connsiteY84" fmla="*/ 296862 h 620717"/>
                <a:gd name="connsiteX85" fmla="*/ 136525 w 514350"/>
                <a:gd name="connsiteY85" fmla="*/ 301625 h 620717"/>
                <a:gd name="connsiteX86" fmla="*/ 142875 w 514350"/>
                <a:gd name="connsiteY86" fmla="*/ 303212 h 620717"/>
                <a:gd name="connsiteX87" fmla="*/ 146050 w 514350"/>
                <a:gd name="connsiteY87" fmla="*/ 311150 h 620717"/>
                <a:gd name="connsiteX88" fmla="*/ 158750 w 514350"/>
                <a:gd name="connsiteY88" fmla="*/ 315912 h 620717"/>
                <a:gd name="connsiteX89" fmla="*/ 193675 w 514350"/>
                <a:gd name="connsiteY89" fmla="*/ 317500 h 620717"/>
                <a:gd name="connsiteX90" fmla="*/ 209550 w 514350"/>
                <a:gd name="connsiteY90" fmla="*/ 320675 h 620717"/>
                <a:gd name="connsiteX91" fmla="*/ 204787 w 514350"/>
                <a:gd name="connsiteY91" fmla="*/ 323850 h 620717"/>
                <a:gd name="connsiteX92" fmla="*/ 200025 w 514350"/>
                <a:gd name="connsiteY92" fmla="*/ 325437 h 620717"/>
                <a:gd name="connsiteX93" fmla="*/ 190500 w 514350"/>
                <a:gd name="connsiteY93" fmla="*/ 331787 h 620717"/>
                <a:gd name="connsiteX94" fmla="*/ 182562 w 514350"/>
                <a:gd name="connsiteY94" fmla="*/ 338137 h 620717"/>
                <a:gd name="connsiteX95" fmla="*/ 176212 w 514350"/>
                <a:gd name="connsiteY95" fmla="*/ 341312 h 620717"/>
                <a:gd name="connsiteX96" fmla="*/ 171450 w 514350"/>
                <a:gd name="connsiteY96" fmla="*/ 344487 h 620717"/>
                <a:gd name="connsiteX97" fmla="*/ 161925 w 514350"/>
                <a:gd name="connsiteY97" fmla="*/ 347662 h 620717"/>
                <a:gd name="connsiteX98" fmla="*/ 149225 w 514350"/>
                <a:gd name="connsiteY98" fmla="*/ 365125 h 620717"/>
                <a:gd name="connsiteX99" fmla="*/ 139700 w 514350"/>
                <a:gd name="connsiteY99" fmla="*/ 382587 h 620717"/>
                <a:gd name="connsiteX100" fmla="*/ 134937 w 514350"/>
                <a:gd name="connsiteY100" fmla="*/ 384175 h 620717"/>
                <a:gd name="connsiteX101" fmla="*/ 133350 w 514350"/>
                <a:gd name="connsiteY101" fmla="*/ 388937 h 620717"/>
                <a:gd name="connsiteX102" fmla="*/ 128587 w 514350"/>
                <a:gd name="connsiteY102" fmla="*/ 392112 h 620717"/>
                <a:gd name="connsiteX103" fmla="*/ 120650 w 514350"/>
                <a:gd name="connsiteY103" fmla="*/ 398462 h 620717"/>
                <a:gd name="connsiteX104" fmla="*/ 114300 w 514350"/>
                <a:gd name="connsiteY104" fmla="*/ 409575 h 620717"/>
                <a:gd name="connsiteX105" fmla="*/ 109537 w 514350"/>
                <a:gd name="connsiteY105" fmla="*/ 411162 h 620717"/>
                <a:gd name="connsiteX106" fmla="*/ 92075 w 514350"/>
                <a:gd name="connsiteY106" fmla="*/ 414337 h 620717"/>
                <a:gd name="connsiteX107" fmla="*/ 92075 w 514350"/>
                <a:gd name="connsiteY107" fmla="*/ 433387 h 620717"/>
                <a:gd name="connsiteX108" fmla="*/ 79375 w 514350"/>
                <a:gd name="connsiteY108" fmla="*/ 441325 h 620717"/>
                <a:gd name="connsiteX109" fmla="*/ 73025 w 514350"/>
                <a:gd name="connsiteY109" fmla="*/ 455612 h 620717"/>
                <a:gd name="connsiteX110" fmla="*/ 69850 w 514350"/>
                <a:gd name="connsiteY110" fmla="*/ 463550 h 620717"/>
                <a:gd name="connsiteX111" fmla="*/ 65087 w 514350"/>
                <a:gd name="connsiteY111" fmla="*/ 465137 h 620717"/>
                <a:gd name="connsiteX112" fmla="*/ 38100 w 514350"/>
                <a:gd name="connsiteY112" fmla="*/ 466725 h 620717"/>
                <a:gd name="connsiteX113" fmla="*/ 34925 w 514350"/>
                <a:gd name="connsiteY113" fmla="*/ 473075 h 620717"/>
                <a:gd name="connsiteX114" fmla="*/ 30162 w 514350"/>
                <a:gd name="connsiteY114" fmla="*/ 476250 h 620717"/>
                <a:gd name="connsiteX115" fmla="*/ 0 w 514350"/>
                <a:gd name="connsiteY115" fmla="*/ 477837 h 620717"/>
                <a:gd name="connsiteX116" fmla="*/ 4762 w 514350"/>
                <a:gd name="connsiteY116" fmla="*/ 484187 h 620717"/>
                <a:gd name="connsiteX117" fmla="*/ 23812 w 514350"/>
                <a:gd name="connsiteY117" fmla="*/ 485775 h 620717"/>
                <a:gd name="connsiteX118" fmla="*/ 30162 w 514350"/>
                <a:gd name="connsiteY118" fmla="*/ 487362 h 620717"/>
                <a:gd name="connsiteX119" fmla="*/ 39687 w 514350"/>
                <a:gd name="connsiteY119" fmla="*/ 488950 h 620717"/>
                <a:gd name="connsiteX120" fmla="*/ 33337 w 514350"/>
                <a:gd name="connsiteY120" fmla="*/ 492125 h 620717"/>
                <a:gd name="connsiteX121" fmla="*/ 25400 w 514350"/>
                <a:gd name="connsiteY121" fmla="*/ 493712 h 620717"/>
                <a:gd name="connsiteX122" fmla="*/ 19050 w 514350"/>
                <a:gd name="connsiteY122" fmla="*/ 495300 h 620717"/>
                <a:gd name="connsiteX123" fmla="*/ 14287 w 514350"/>
                <a:gd name="connsiteY123" fmla="*/ 498475 h 620717"/>
                <a:gd name="connsiteX124" fmla="*/ 4762 w 514350"/>
                <a:gd name="connsiteY124" fmla="*/ 503237 h 620717"/>
                <a:gd name="connsiteX125" fmla="*/ 3175 w 514350"/>
                <a:gd name="connsiteY125" fmla="*/ 508000 h 620717"/>
                <a:gd name="connsiteX126" fmla="*/ 4762 w 514350"/>
                <a:gd name="connsiteY126" fmla="*/ 530225 h 620717"/>
                <a:gd name="connsiteX127" fmla="*/ 11112 w 514350"/>
                <a:gd name="connsiteY127" fmla="*/ 533400 h 620717"/>
                <a:gd name="connsiteX128" fmla="*/ 20637 w 514350"/>
                <a:gd name="connsiteY128" fmla="*/ 534987 h 620717"/>
                <a:gd name="connsiteX129" fmla="*/ 26987 w 514350"/>
                <a:gd name="connsiteY129" fmla="*/ 536575 h 620717"/>
                <a:gd name="connsiteX130" fmla="*/ 39687 w 514350"/>
                <a:gd name="connsiteY130" fmla="*/ 542925 h 620717"/>
                <a:gd name="connsiteX131" fmla="*/ 44450 w 514350"/>
                <a:gd name="connsiteY131" fmla="*/ 546100 h 620717"/>
                <a:gd name="connsiteX132" fmla="*/ 58737 w 514350"/>
                <a:gd name="connsiteY132" fmla="*/ 547687 h 620717"/>
                <a:gd name="connsiteX133" fmla="*/ 47625 w 514350"/>
                <a:gd name="connsiteY133" fmla="*/ 555625 h 620717"/>
                <a:gd name="connsiteX134" fmla="*/ 30162 w 514350"/>
                <a:gd name="connsiteY134" fmla="*/ 558800 h 620717"/>
                <a:gd name="connsiteX135" fmla="*/ 7937 w 514350"/>
                <a:gd name="connsiteY135" fmla="*/ 563562 h 620717"/>
                <a:gd name="connsiteX136" fmla="*/ 7937 w 514350"/>
                <a:gd name="connsiteY136" fmla="*/ 576262 h 620717"/>
                <a:gd name="connsiteX137" fmla="*/ 17462 w 514350"/>
                <a:gd name="connsiteY137" fmla="*/ 577850 h 620717"/>
                <a:gd name="connsiteX138" fmla="*/ 39687 w 514350"/>
                <a:gd name="connsiteY138" fmla="*/ 581025 h 620717"/>
                <a:gd name="connsiteX139" fmla="*/ 47625 w 514350"/>
                <a:gd name="connsiteY139" fmla="*/ 582612 h 620717"/>
                <a:gd name="connsiteX140" fmla="*/ 61912 w 514350"/>
                <a:gd name="connsiteY140" fmla="*/ 584200 h 620717"/>
                <a:gd name="connsiteX141" fmla="*/ 66675 w 514350"/>
                <a:gd name="connsiteY141" fmla="*/ 587375 h 620717"/>
                <a:gd name="connsiteX142" fmla="*/ 53975 w 514350"/>
                <a:gd name="connsiteY142" fmla="*/ 593725 h 620717"/>
                <a:gd name="connsiteX143" fmla="*/ 52387 w 514350"/>
                <a:gd name="connsiteY143" fmla="*/ 601662 h 620717"/>
                <a:gd name="connsiteX144" fmla="*/ 50800 w 514350"/>
                <a:gd name="connsiteY144" fmla="*/ 606425 h 620717"/>
                <a:gd name="connsiteX145" fmla="*/ 55562 w 514350"/>
                <a:gd name="connsiteY145" fmla="*/ 614362 h 620717"/>
                <a:gd name="connsiteX146" fmla="*/ 79375 w 514350"/>
                <a:gd name="connsiteY146" fmla="*/ 609600 h 620717"/>
                <a:gd name="connsiteX147" fmla="*/ 123825 w 514350"/>
                <a:gd name="connsiteY147" fmla="*/ 612775 h 620717"/>
                <a:gd name="connsiteX148" fmla="*/ 130175 w 514350"/>
                <a:gd name="connsiteY148" fmla="*/ 617537 h 620717"/>
                <a:gd name="connsiteX149" fmla="*/ 144462 w 514350"/>
                <a:gd name="connsiteY149" fmla="*/ 620712 h 620717"/>
                <a:gd name="connsiteX150" fmla="*/ 173037 w 514350"/>
                <a:gd name="connsiteY150" fmla="*/ 617537 h 620717"/>
                <a:gd name="connsiteX151" fmla="*/ 180975 w 514350"/>
                <a:gd name="connsiteY151" fmla="*/ 614362 h 620717"/>
                <a:gd name="connsiteX152" fmla="*/ 187325 w 514350"/>
                <a:gd name="connsiteY152" fmla="*/ 609600 h 620717"/>
                <a:gd name="connsiteX153" fmla="*/ 196850 w 514350"/>
                <a:gd name="connsiteY153" fmla="*/ 606425 h 620717"/>
                <a:gd name="connsiteX154" fmla="*/ 198437 w 514350"/>
                <a:gd name="connsiteY154" fmla="*/ 600075 h 620717"/>
                <a:gd name="connsiteX155" fmla="*/ 203200 w 514350"/>
                <a:gd name="connsiteY155" fmla="*/ 595312 h 620717"/>
                <a:gd name="connsiteX156" fmla="*/ 215900 w 514350"/>
                <a:gd name="connsiteY156" fmla="*/ 581025 h 620717"/>
                <a:gd name="connsiteX157" fmla="*/ 230187 w 514350"/>
                <a:gd name="connsiteY157" fmla="*/ 582612 h 620717"/>
                <a:gd name="connsiteX158" fmla="*/ 238125 w 514350"/>
                <a:gd name="connsiteY158" fmla="*/ 584200 h 620717"/>
                <a:gd name="connsiteX159" fmla="*/ 261937 w 514350"/>
                <a:gd name="connsiteY159" fmla="*/ 581025 h 620717"/>
                <a:gd name="connsiteX160" fmla="*/ 263525 w 514350"/>
                <a:gd name="connsiteY160" fmla="*/ 576262 h 620717"/>
                <a:gd name="connsiteX161" fmla="*/ 266700 w 514350"/>
                <a:gd name="connsiteY161" fmla="*/ 582612 h 620717"/>
                <a:gd name="connsiteX162" fmla="*/ 277812 w 514350"/>
                <a:gd name="connsiteY162" fmla="*/ 590550 h 620717"/>
                <a:gd name="connsiteX163" fmla="*/ 279400 w 514350"/>
                <a:gd name="connsiteY163" fmla="*/ 579437 h 620717"/>
                <a:gd name="connsiteX164" fmla="*/ 287337 w 514350"/>
                <a:gd name="connsiteY164" fmla="*/ 571500 h 620717"/>
                <a:gd name="connsiteX165" fmla="*/ 290512 w 514350"/>
                <a:gd name="connsiteY165" fmla="*/ 566737 h 620717"/>
                <a:gd name="connsiteX166" fmla="*/ 311150 w 514350"/>
                <a:gd name="connsiteY166" fmla="*/ 558800 h 620717"/>
                <a:gd name="connsiteX167" fmla="*/ 354012 w 514350"/>
                <a:gd name="connsiteY167" fmla="*/ 554037 h 620717"/>
                <a:gd name="connsiteX168" fmla="*/ 360362 w 514350"/>
                <a:gd name="connsiteY168" fmla="*/ 561975 h 620717"/>
                <a:gd name="connsiteX169" fmla="*/ 365125 w 514350"/>
                <a:gd name="connsiteY169" fmla="*/ 563562 h 620717"/>
                <a:gd name="connsiteX170" fmla="*/ 366712 w 514350"/>
                <a:gd name="connsiteY170" fmla="*/ 557212 h 620717"/>
                <a:gd name="connsiteX171" fmla="*/ 368300 w 514350"/>
                <a:gd name="connsiteY171" fmla="*/ 552450 h 620717"/>
                <a:gd name="connsiteX172" fmla="*/ 377825 w 514350"/>
                <a:gd name="connsiteY172" fmla="*/ 557212 h 620717"/>
                <a:gd name="connsiteX173" fmla="*/ 382587 w 514350"/>
                <a:gd name="connsiteY173" fmla="*/ 563562 h 620717"/>
                <a:gd name="connsiteX174" fmla="*/ 404812 w 514350"/>
                <a:gd name="connsiteY174" fmla="*/ 565150 h 620717"/>
                <a:gd name="connsiteX175" fmla="*/ 414337 w 514350"/>
                <a:gd name="connsiteY175" fmla="*/ 571500 h 620717"/>
                <a:gd name="connsiteX176" fmla="*/ 419100 w 514350"/>
                <a:gd name="connsiteY176" fmla="*/ 574675 h 620717"/>
                <a:gd name="connsiteX177" fmla="*/ 436562 w 514350"/>
                <a:gd name="connsiteY177" fmla="*/ 573087 h 620717"/>
                <a:gd name="connsiteX178" fmla="*/ 434975 w 514350"/>
                <a:gd name="connsiteY178" fmla="*/ 566737 h 620717"/>
                <a:gd name="connsiteX179" fmla="*/ 430212 w 514350"/>
                <a:gd name="connsiteY179" fmla="*/ 546100 h 620717"/>
                <a:gd name="connsiteX180" fmla="*/ 433387 w 514350"/>
                <a:gd name="connsiteY180" fmla="*/ 531812 h 620717"/>
                <a:gd name="connsiteX181" fmla="*/ 446087 w 514350"/>
                <a:gd name="connsiteY181" fmla="*/ 525462 h 620717"/>
                <a:gd name="connsiteX182" fmla="*/ 452437 w 514350"/>
                <a:gd name="connsiteY182" fmla="*/ 519112 h 620717"/>
                <a:gd name="connsiteX183" fmla="*/ 463550 w 514350"/>
                <a:gd name="connsiteY183" fmla="*/ 514350 h 620717"/>
                <a:gd name="connsiteX184" fmla="*/ 465137 w 514350"/>
                <a:gd name="connsiteY184" fmla="*/ 508000 h 620717"/>
                <a:gd name="connsiteX185" fmla="*/ 466725 w 514350"/>
                <a:gd name="connsiteY185" fmla="*/ 485775 h 620717"/>
                <a:gd name="connsiteX186" fmla="*/ 482600 w 514350"/>
                <a:gd name="connsiteY186" fmla="*/ 474662 h 620717"/>
                <a:gd name="connsiteX187" fmla="*/ 495300 w 514350"/>
                <a:gd name="connsiteY187" fmla="*/ 458787 h 620717"/>
                <a:gd name="connsiteX188" fmla="*/ 501650 w 514350"/>
                <a:gd name="connsiteY188" fmla="*/ 438150 h 620717"/>
                <a:gd name="connsiteX189" fmla="*/ 506412 w 514350"/>
                <a:gd name="connsiteY189" fmla="*/ 433387 h 620717"/>
                <a:gd name="connsiteX190" fmla="*/ 506412 w 514350"/>
                <a:gd name="connsiteY190" fmla="*/ 401637 h 620717"/>
                <a:gd name="connsiteX191" fmla="*/ 501650 w 514350"/>
                <a:gd name="connsiteY191" fmla="*/ 398462 h 620717"/>
                <a:gd name="connsiteX192" fmla="*/ 498475 w 514350"/>
                <a:gd name="connsiteY192" fmla="*/ 392112 h 620717"/>
                <a:gd name="connsiteX193" fmla="*/ 503237 w 514350"/>
                <a:gd name="connsiteY193" fmla="*/ 360362 h 620717"/>
                <a:gd name="connsiteX194" fmla="*/ 508000 w 514350"/>
                <a:gd name="connsiteY194" fmla="*/ 355600 h 620717"/>
                <a:gd name="connsiteX195" fmla="*/ 514350 w 514350"/>
                <a:gd name="connsiteY195" fmla="*/ 346075 h 620717"/>
                <a:gd name="connsiteX196" fmla="*/ 511175 w 514350"/>
                <a:gd name="connsiteY196" fmla="*/ 331787 h 620717"/>
                <a:gd name="connsiteX197" fmla="*/ 506412 w 514350"/>
                <a:gd name="connsiteY197" fmla="*/ 327025 h 620717"/>
                <a:gd name="connsiteX198" fmla="*/ 504825 w 514350"/>
                <a:gd name="connsiteY198" fmla="*/ 315912 h 620717"/>
                <a:gd name="connsiteX199" fmla="*/ 508000 w 514350"/>
                <a:gd name="connsiteY199" fmla="*/ 290512 h 620717"/>
                <a:gd name="connsiteX200" fmla="*/ 506412 w 514350"/>
                <a:gd name="connsiteY200" fmla="*/ 282575 h 620717"/>
                <a:gd name="connsiteX201" fmla="*/ 495300 w 514350"/>
                <a:gd name="connsiteY201" fmla="*/ 276225 h 620717"/>
                <a:gd name="connsiteX202" fmla="*/ 496887 w 514350"/>
                <a:gd name="connsiteY202" fmla="*/ 268287 h 620717"/>
                <a:gd name="connsiteX203" fmla="*/ 501650 w 514350"/>
                <a:gd name="connsiteY203" fmla="*/ 266700 h 620717"/>
                <a:gd name="connsiteX204" fmla="*/ 506412 w 514350"/>
                <a:gd name="connsiteY204" fmla="*/ 263525 h 620717"/>
                <a:gd name="connsiteX205" fmla="*/ 509587 w 514350"/>
                <a:gd name="connsiteY205" fmla="*/ 258762 h 620717"/>
                <a:gd name="connsiteX206" fmla="*/ 511175 w 514350"/>
                <a:gd name="connsiteY206" fmla="*/ 254000 h 620717"/>
                <a:gd name="connsiteX207" fmla="*/ 514350 w 514350"/>
                <a:gd name="connsiteY207" fmla="*/ 246062 h 620717"/>
                <a:gd name="connsiteX208" fmla="*/ 512762 w 514350"/>
                <a:gd name="connsiteY208" fmla="*/ 239712 h 620717"/>
                <a:gd name="connsiteX209" fmla="*/ 496887 w 514350"/>
                <a:gd name="connsiteY209" fmla="*/ 239712 h 620717"/>
                <a:gd name="connsiteX210" fmla="*/ 492125 w 514350"/>
                <a:gd name="connsiteY210" fmla="*/ 241300 h 620717"/>
                <a:gd name="connsiteX211" fmla="*/ 485775 w 514350"/>
                <a:gd name="connsiteY211" fmla="*/ 244475 h 620717"/>
                <a:gd name="connsiteX212" fmla="*/ 481012 w 514350"/>
                <a:gd name="connsiteY212" fmla="*/ 234950 h 620717"/>
                <a:gd name="connsiteX213" fmla="*/ 479425 w 514350"/>
                <a:gd name="connsiteY213" fmla="*/ 222250 h 620717"/>
                <a:gd name="connsiteX214" fmla="*/ 477837 w 514350"/>
                <a:gd name="connsiteY214" fmla="*/ 215900 h 620717"/>
                <a:gd name="connsiteX215" fmla="*/ 473075 w 514350"/>
                <a:gd name="connsiteY215" fmla="*/ 190500 h 620717"/>
                <a:gd name="connsiteX216" fmla="*/ 468312 w 514350"/>
                <a:gd name="connsiteY216" fmla="*/ 176212 h 620717"/>
                <a:gd name="connsiteX217" fmla="*/ 458787 w 514350"/>
                <a:gd name="connsiteY217" fmla="*/ 171450 h 620717"/>
                <a:gd name="connsiteX218" fmla="*/ 449262 w 514350"/>
                <a:gd name="connsiteY218" fmla="*/ 173037 h 620717"/>
                <a:gd name="connsiteX219" fmla="*/ 438150 w 514350"/>
                <a:gd name="connsiteY219" fmla="*/ 182562 h 620717"/>
                <a:gd name="connsiteX220" fmla="*/ 434975 w 514350"/>
                <a:gd name="connsiteY220" fmla="*/ 188912 h 620717"/>
                <a:gd name="connsiteX221" fmla="*/ 428625 w 514350"/>
                <a:gd name="connsiteY221" fmla="*/ 196850 h 620717"/>
                <a:gd name="connsiteX222" fmla="*/ 417512 w 514350"/>
                <a:gd name="connsiteY222" fmla="*/ 206375 h 620717"/>
                <a:gd name="connsiteX223" fmla="*/ 412750 w 514350"/>
                <a:gd name="connsiteY223" fmla="*/ 207962 h 620717"/>
                <a:gd name="connsiteX224" fmla="*/ 401637 w 514350"/>
                <a:gd name="connsiteY224" fmla="*/ 206375 h 620717"/>
                <a:gd name="connsiteX225" fmla="*/ 395287 w 514350"/>
                <a:gd name="connsiteY225" fmla="*/ 200025 h 620717"/>
                <a:gd name="connsiteX226" fmla="*/ 390525 w 514350"/>
                <a:gd name="connsiteY226" fmla="*/ 196850 h 620717"/>
                <a:gd name="connsiteX227" fmla="*/ 385762 w 514350"/>
                <a:gd name="connsiteY227" fmla="*/ 190500 h 620717"/>
                <a:gd name="connsiteX228" fmla="*/ 368300 w 514350"/>
                <a:gd name="connsiteY228" fmla="*/ 171450 h 620717"/>
                <a:gd name="connsiteX229" fmla="*/ 363537 w 514350"/>
                <a:gd name="connsiteY229" fmla="*/ 160337 h 620717"/>
                <a:gd name="connsiteX230" fmla="*/ 358775 w 514350"/>
                <a:gd name="connsiteY230" fmla="*/ 157162 h 620717"/>
                <a:gd name="connsiteX231" fmla="*/ 349250 w 514350"/>
                <a:gd name="connsiteY231" fmla="*/ 144462 h 620717"/>
                <a:gd name="connsiteX232" fmla="*/ 346075 w 514350"/>
                <a:gd name="connsiteY232" fmla="*/ 138112 h 620717"/>
                <a:gd name="connsiteX233" fmla="*/ 350837 w 514350"/>
                <a:gd name="connsiteY233" fmla="*/ 128587 h 620717"/>
                <a:gd name="connsiteX234" fmla="*/ 357187 w 514350"/>
                <a:gd name="connsiteY234" fmla="*/ 127000 h 620717"/>
                <a:gd name="connsiteX235" fmla="*/ 368300 w 514350"/>
                <a:gd name="connsiteY235" fmla="*/ 125412 h 620717"/>
                <a:gd name="connsiteX236" fmla="*/ 374650 w 514350"/>
                <a:gd name="connsiteY236" fmla="*/ 123825 h 620717"/>
                <a:gd name="connsiteX237" fmla="*/ 384175 w 514350"/>
                <a:gd name="connsiteY237" fmla="*/ 120650 h 620717"/>
                <a:gd name="connsiteX238" fmla="*/ 392112 w 514350"/>
                <a:gd name="connsiteY238" fmla="*/ 111125 h 620717"/>
                <a:gd name="connsiteX239" fmla="*/ 388937 w 514350"/>
                <a:gd name="connsiteY239" fmla="*/ 100012 h 620717"/>
                <a:gd name="connsiteX240" fmla="*/ 390525 w 514350"/>
                <a:gd name="connsiteY240" fmla="*/ 93662 h 620717"/>
                <a:gd name="connsiteX241" fmla="*/ 401637 w 514350"/>
                <a:gd name="connsiteY241" fmla="*/ 95250 h 620717"/>
                <a:gd name="connsiteX242" fmla="*/ 423862 w 514350"/>
                <a:gd name="connsiteY242" fmla="*/ 93662 h 620717"/>
                <a:gd name="connsiteX243" fmla="*/ 430212 w 514350"/>
                <a:gd name="connsiteY243" fmla="*/ 87312 h 620717"/>
                <a:gd name="connsiteX244" fmla="*/ 431800 w 514350"/>
                <a:gd name="connsiteY244" fmla="*/ 61912 h 620717"/>
                <a:gd name="connsiteX245" fmla="*/ 443914 w 514350"/>
                <a:gd name="connsiteY245" fmla="*/ 64084 h 620717"/>
                <a:gd name="connsiteX246" fmla="*/ 448737 w 514350"/>
                <a:gd name="connsiteY246" fmla="*/ 66117 h 620717"/>
                <a:gd name="connsiteX247" fmla="*/ 435858 w 514350"/>
                <a:gd name="connsiteY247" fmla="*/ 67146 h 620717"/>
                <a:gd name="connsiteX248" fmla="*/ 451852 w 514350"/>
                <a:gd name="connsiteY248" fmla="*/ 72772 h 620717"/>
                <a:gd name="connsiteX249" fmla="*/ 439737 w 514350"/>
                <a:gd name="connsiteY249" fmla="*/ 79845 h 620717"/>
                <a:gd name="connsiteX250" fmla="*/ 450399 w 514350"/>
                <a:gd name="connsiteY250" fmla="*/ 73819 h 620717"/>
                <a:gd name="connsiteX251" fmla="*/ 455612 w 514350"/>
                <a:gd name="connsiteY251" fmla="*/ 69850 h 620717"/>
                <a:gd name="connsiteX252" fmla="*/ 461962 w 514350"/>
                <a:gd name="connsiteY252" fmla="*/ 68262 h 620717"/>
                <a:gd name="connsiteX253" fmla="*/ 466725 w 514350"/>
                <a:gd name="connsiteY253" fmla="*/ 61912 h 620717"/>
                <a:gd name="connsiteX254" fmla="*/ 492125 w 514350"/>
                <a:gd name="connsiteY254" fmla="*/ 53975 h 620717"/>
                <a:gd name="connsiteX255" fmla="*/ 496887 w 514350"/>
                <a:gd name="connsiteY255" fmla="*/ 49212 h 620717"/>
                <a:gd name="connsiteX256" fmla="*/ 500062 w 514350"/>
                <a:gd name="connsiteY256" fmla="*/ 41275 h 620717"/>
                <a:gd name="connsiteX257" fmla="*/ 496887 w 514350"/>
                <a:gd name="connsiteY257"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29013 w 514350"/>
                <a:gd name="connsiteY9" fmla="*/ 42388 h 620717"/>
                <a:gd name="connsiteX10" fmla="*/ 422054 w 514350"/>
                <a:gd name="connsiteY10" fmla="*/ 32634 h 620717"/>
                <a:gd name="connsiteX11" fmla="*/ 415884 w 514350"/>
                <a:gd name="connsiteY11" fmla="*/ 9813 h 620717"/>
                <a:gd name="connsiteX12" fmla="*/ 401637 w 514350"/>
                <a:gd name="connsiteY12" fmla="*/ 12700 h 620717"/>
                <a:gd name="connsiteX13" fmla="*/ 352425 w 514350"/>
                <a:gd name="connsiteY13" fmla="*/ 19050 h 620717"/>
                <a:gd name="connsiteX14" fmla="*/ 350837 w 514350"/>
                <a:gd name="connsiteY14" fmla="*/ 23812 h 620717"/>
                <a:gd name="connsiteX15" fmla="*/ 352425 w 514350"/>
                <a:gd name="connsiteY15" fmla="*/ 38100 h 620717"/>
                <a:gd name="connsiteX16" fmla="*/ 357187 w 514350"/>
                <a:gd name="connsiteY16" fmla="*/ 44450 h 620717"/>
                <a:gd name="connsiteX17" fmla="*/ 349250 w 514350"/>
                <a:gd name="connsiteY17" fmla="*/ 58737 h 620717"/>
                <a:gd name="connsiteX18" fmla="*/ 328612 w 514350"/>
                <a:gd name="connsiteY18" fmla="*/ 60325 h 620717"/>
                <a:gd name="connsiteX19" fmla="*/ 307975 w 514350"/>
                <a:gd name="connsiteY19" fmla="*/ 68262 h 620717"/>
                <a:gd name="connsiteX20" fmla="*/ 295275 w 514350"/>
                <a:gd name="connsiteY20" fmla="*/ 73025 h 620717"/>
                <a:gd name="connsiteX21" fmla="*/ 292100 w 514350"/>
                <a:gd name="connsiteY21" fmla="*/ 77787 h 620717"/>
                <a:gd name="connsiteX22" fmla="*/ 296862 w 514350"/>
                <a:gd name="connsiteY22" fmla="*/ 79375 h 620717"/>
                <a:gd name="connsiteX23" fmla="*/ 311150 w 514350"/>
                <a:gd name="connsiteY23" fmla="*/ 82550 h 620717"/>
                <a:gd name="connsiteX24" fmla="*/ 319087 w 514350"/>
                <a:gd name="connsiteY24" fmla="*/ 87312 h 620717"/>
                <a:gd name="connsiteX25" fmla="*/ 323850 w 514350"/>
                <a:gd name="connsiteY25" fmla="*/ 88900 h 620717"/>
                <a:gd name="connsiteX26" fmla="*/ 336550 w 514350"/>
                <a:gd name="connsiteY26" fmla="*/ 103187 h 620717"/>
                <a:gd name="connsiteX27" fmla="*/ 334962 w 514350"/>
                <a:gd name="connsiteY27" fmla="*/ 114300 h 620717"/>
                <a:gd name="connsiteX28" fmla="*/ 330200 w 514350"/>
                <a:gd name="connsiteY28" fmla="*/ 115887 h 620717"/>
                <a:gd name="connsiteX29" fmla="*/ 315912 w 514350"/>
                <a:gd name="connsiteY29" fmla="*/ 130175 h 620717"/>
                <a:gd name="connsiteX30" fmla="*/ 307975 w 514350"/>
                <a:gd name="connsiteY30" fmla="*/ 131762 h 620717"/>
                <a:gd name="connsiteX31" fmla="*/ 300037 w 514350"/>
                <a:gd name="connsiteY31" fmla="*/ 134937 h 620717"/>
                <a:gd name="connsiteX32" fmla="*/ 296862 w 514350"/>
                <a:gd name="connsiteY32" fmla="*/ 142875 h 620717"/>
                <a:gd name="connsiteX33" fmla="*/ 282575 w 514350"/>
                <a:gd name="connsiteY33" fmla="*/ 157162 h 620717"/>
                <a:gd name="connsiteX34" fmla="*/ 273050 w 514350"/>
                <a:gd name="connsiteY34" fmla="*/ 153987 h 620717"/>
                <a:gd name="connsiteX35" fmla="*/ 261937 w 514350"/>
                <a:gd name="connsiteY35" fmla="*/ 147637 h 620717"/>
                <a:gd name="connsiteX36" fmla="*/ 242887 w 514350"/>
                <a:gd name="connsiteY36" fmla="*/ 149225 h 620717"/>
                <a:gd name="connsiteX37" fmla="*/ 236537 w 514350"/>
                <a:gd name="connsiteY37" fmla="*/ 150812 h 620717"/>
                <a:gd name="connsiteX38" fmla="*/ 231775 w 514350"/>
                <a:gd name="connsiteY38" fmla="*/ 142875 h 620717"/>
                <a:gd name="connsiteX39" fmla="*/ 225425 w 514350"/>
                <a:gd name="connsiteY39" fmla="*/ 123825 h 620717"/>
                <a:gd name="connsiteX40" fmla="*/ 219075 w 514350"/>
                <a:gd name="connsiteY40" fmla="*/ 122237 h 620717"/>
                <a:gd name="connsiteX41" fmla="*/ 204787 w 514350"/>
                <a:gd name="connsiteY41" fmla="*/ 120650 h 620717"/>
                <a:gd name="connsiteX42" fmla="*/ 190500 w 514350"/>
                <a:gd name="connsiteY42" fmla="*/ 117475 h 620717"/>
                <a:gd name="connsiteX43" fmla="*/ 182562 w 514350"/>
                <a:gd name="connsiteY43" fmla="*/ 111125 h 620717"/>
                <a:gd name="connsiteX44" fmla="*/ 174625 w 514350"/>
                <a:gd name="connsiteY44" fmla="*/ 104775 h 620717"/>
                <a:gd name="connsiteX45" fmla="*/ 152400 w 514350"/>
                <a:gd name="connsiteY45" fmla="*/ 106362 h 620717"/>
                <a:gd name="connsiteX46" fmla="*/ 150812 w 514350"/>
                <a:gd name="connsiteY46" fmla="*/ 117475 h 620717"/>
                <a:gd name="connsiteX47" fmla="*/ 133350 w 514350"/>
                <a:gd name="connsiteY47" fmla="*/ 120650 h 620717"/>
                <a:gd name="connsiteX48" fmla="*/ 138112 w 514350"/>
                <a:gd name="connsiteY48" fmla="*/ 123825 h 620717"/>
                <a:gd name="connsiteX49" fmla="*/ 139700 w 514350"/>
                <a:gd name="connsiteY49" fmla="*/ 128587 h 620717"/>
                <a:gd name="connsiteX50" fmla="*/ 146050 w 514350"/>
                <a:gd name="connsiteY50" fmla="*/ 131762 h 620717"/>
                <a:gd name="connsiteX51" fmla="*/ 147637 w 514350"/>
                <a:gd name="connsiteY51" fmla="*/ 138112 h 620717"/>
                <a:gd name="connsiteX52" fmla="*/ 123825 w 514350"/>
                <a:gd name="connsiteY52" fmla="*/ 146050 h 620717"/>
                <a:gd name="connsiteX53" fmla="*/ 117475 w 514350"/>
                <a:gd name="connsiteY53" fmla="*/ 155575 h 620717"/>
                <a:gd name="connsiteX54" fmla="*/ 112712 w 514350"/>
                <a:gd name="connsiteY54" fmla="*/ 157162 h 620717"/>
                <a:gd name="connsiteX55" fmla="*/ 125412 w 514350"/>
                <a:gd name="connsiteY55" fmla="*/ 161925 h 620717"/>
                <a:gd name="connsiteX56" fmla="*/ 130175 w 514350"/>
                <a:gd name="connsiteY56" fmla="*/ 163512 h 620717"/>
                <a:gd name="connsiteX57" fmla="*/ 142875 w 514350"/>
                <a:gd name="connsiteY57" fmla="*/ 166687 h 620717"/>
                <a:gd name="connsiteX58" fmla="*/ 147637 w 514350"/>
                <a:gd name="connsiteY58" fmla="*/ 173037 h 620717"/>
                <a:gd name="connsiteX59" fmla="*/ 152400 w 514350"/>
                <a:gd name="connsiteY59" fmla="*/ 177800 h 620717"/>
                <a:gd name="connsiteX60" fmla="*/ 146050 w 514350"/>
                <a:gd name="connsiteY60" fmla="*/ 179387 h 620717"/>
                <a:gd name="connsiteX61" fmla="*/ 149225 w 514350"/>
                <a:gd name="connsiteY61" fmla="*/ 185737 h 620717"/>
                <a:gd name="connsiteX62" fmla="*/ 153987 w 514350"/>
                <a:gd name="connsiteY62" fmla="*/ 187325 h 620717"/>
                <a:gd name="connsiteX63" fmla="*/ 168275 w 514350"/>
                <a:gd name="connsiteY63" fmla="*/ 190500 h 620717"/>
                <a:gd name="connsiteX64" fmla="*/ 165100 w 514350"/>
                <a:gd name="connsiteY64" fmla="*/ 198437 h 620717"/>
                <a:gd name="connsiteX65" fmla="*/ 160337 w 514350"/>
                <a:gd name="connsiteY65" fmla="*/ 200025 h 620717"/>
                <a:gd name="connsiteX66" fmla="*/ 139700 w 514350"/>
                <a:gd name="connsiteY66" fmla="*/ 196850 h 620717"/>
                <a:gd name="connsiteX67" fmla="*/ 153987 w 514350"/>
                <a:gd name="connsiteY67" fmla="*/ 211137 h 620717"/>
                <a:gd name="connsiteX68" fmla="*/ 152400 w 514350"/>
                <a:gd name="connsiteY68" fmla="*/ 217487 h 620717"/>
                <a:gd name="connsiteX69" fmla="*/ 138112 w 514350"/>
                <a:gd name="connsiteY69" fmla="*/ 219075 h 620717"/>
                <a:gd name="connsiteX70" fmla="*/ 142875 w 514350"/>
                <a:gd name="connsiteY70" fmla="*/ 223837 h 620717"/>
                <a:gd name="connsiteX71" fmla="*/ 141287 w 514350"/>
                <a:gd name="connsiteY71" fmla="*/ 228600 h 620717"/>
                <a:gd name="connsiteX72" fmla="*/ 107950 w 514350"/>
                <a:gd name="connsiteY72" fmla="*/ 231775 h 620717"/>
                <a:gd name="connsiteX73" fmla="*/ 95250 w 514350"/>
                <a:gd name="connsiteY73" fmla="*/ 233362 h 620717"/>
                <a:gd name="connsiteX74" fmla="*/ 92075 w 514350"/>
                <a:gd name="connsiteY74" fmla="*/ 247650 h 620717"/>
                <a:gd name="connsiteX75" fmla="*/ 93662 w 514350"/>
                <a:gd name="connsiteY75" fmla="*/ 252412 h 620717"/>
                <a:gd name="connsiteX76" fmla="*/ 109537 w 514350"/>
                <a:gd name="connsiteY76" fmla="*/ 260350 h 620717"/>
                <a:gd name="connsiteX77" fmla="*/ 114300 w 514350"/>
                <a:gd name="connsiteY77" fmla="*/ 263525 h 620717"/>
                <a:gd name="connsiteX78" fmla="*/ 119062 w 514350"/>
                <a:gd name="connsiteY78" fmla="*/ 268287 h 620717"/>
                <a:gd name="connsiteX79" fmla="*/ 123825 w 514350"/>
                <a:gd name="connsiteY79" fmla="*/ 269875 h 620717"/>
                <a:gd name="connsiteX80" fmla="*/ 128587 w 514350"/>
                <a:gd name="connsiteY80" fmla="*/ 273050 h 620717"/>
                <a:gd name="connsiteX81" fmla="*/ 114300 w 514350"/>
                <a:gd name="connsiteY81" fmla="*/ 279400 h 620717"/>
                <a:gd name="connsiteX82" fmla="*/ 109537 w 514350"/>
                <a:gd name="connsiteY82" fmla="*/ 284162 h 620717"/>
                <a:gd name="connsiteX83" fmla="*/ 111125 w 514350"/>
                <a:gd name="connsiteY83" fmla="*/ 293687 h 620717"/>
                <a:gd name="connsiteX84" fmla="*/ 125412 w 514350"/>
                <a:gd name="connsiteY84" fmla="*/ 296862 h 620717"/>
                <a:gd name="connsiteX85" fmla="*/ 136525 w 514350"/>
                <a:gd name="connsiteY85" fmla="*/ 301625 h 620717"/>
                <a:gd name="connsiteX86" fmla="*/ 142875 w 514350"/>
                <a:gd name="connsiteY86" fmla="*/ 303212 h 620717"/>
                <a:gd name="connsiteX87" fmla="*/ 146050 w 514350"/>
                <a:gd name="connsiteY87" fmla="*/ 311150 h 620717"/>
                <a:gd name="connsiteX88" fmla="*/ 158750 w 514350"/>
                <a:gd name="connsiteY88" fmla="*/ 315912 h 620717"/>
                <a:gd name="connsiteX89" fmla="*/ 193675 w 514350"/>
                <a:gd name="connsiteY89" fmla="*/ 317500 h 620717"/>
                <a:gd name="connsiteX90" fmla="*/ 209550 w 514350"/>
                <a:gd name="connsiteY90" fmla="*/ 320675 h 620717"/>
                <a:gd name="connsiteX91" fmla="*/ 204787 w 514350"/>
                <a:gd name="connsiteY91" fmla="*/ 323850 h 620717"/>
                <a:gd name="connsiteX92" fmla="*/ 200025 w 514350"/>
                <a:gd name="connsiteY92" fmla="*/ 325437 h 620717"/>
                <a:gd name="connsiteX93" fmla="*/ 190500 w 514350"/>
                <a:gd name="connsiteY93" fmla="*/ 331787 h 620717"/>
                <a:gd name="connsiteX94" fmla="*/ 182562 w 514350"/>
                <a:gd name="connsiteY94" fmla="*/ 338137 h 620717"/>
                <a:gd name="connsiteX95" fmla="*/ 176212 w 514350"/>
                <a:gd name="connsiteY95" fmla="*/ 341312 h 620717"/>
                <a:gd name="connsiteX96" fmla="*/ 171450 w 514350"/>
                <a:gd name="connsiteY96" fmla="*/ 344487 h 620717"/>
                <a:gd name="connsiteX97" fmla="*/ 161925 w 514350"/>
                <a:gd name="connsiteY97" fmla="*/ 347662 h 620717"/>
                <a:gd name="connsiteX98" fmla="*/ 149225 w 514350"/>
                <a:gd name="connsiteY98" fmla="*/ 365125 h 620717"/>
                <a:gd name="connsiteX99" fmla="*/ 139700 w 514350"/>
                <a:gd name="connsiteY99" fmla="*/ 382587 h 620717"/>
                <a:gd name="connsiteX100" fmla="*/ 134937 w 514350"/>
                <a:gd name="connsiteY100" fmla="*/ 384175 h 620717"/>
                <a:gd name="connsiteX101" fmla="*/ 133350 w 514350"/>
                <a:gd name="connsiteY101" fmla="*/ 388937 h 620717"/>
                <a:gd name="connsiteX102" fmla="*/ 128587 w 514350"/>
                <a:gd name="connsiteY102" fmla="*/ 392112 h 620717"/>
                <a:gd name="connsiteX103" fmla="*/ 120650 w 514350"/>
                <a:gd name="connsiteY103" fmla="*/ 398462 h 620717"/>
                <a:gd name="connsiteX104" fmla="*/ 114300 w 514350"/>
                <a:gd name="connsiteY104" fmla="*/ 409575 h 620717"/>
                <a:gd name="connsiteX105" fmla="*/ 109537 w 514350"/>
                <a:gd name="connsiteY105" fmla="*/ 411162 h 620717"/>
                <a:gd name="connsiteX106" fmla="*/ 92075 w 514350"/>
                <a:gd name="connsiteY106" fmla="*/ 414337 h 620717"/>
                <a:gd name="connsiteX107" fmla="*/ 92075 w 514350"/>
                <a:gd name="connsiteY107" fmla="*/ 433387 h 620717"/>
                <a:gd name="connsiteX108" fmla="*/ 79375 w 514350"/>
                <a:gd name="connsiteY108" fmla="*/ 441325 h 620717"/>
                <a:gd name="connsiteX109" fmla="*/ 73025 w 514350"/>
                <a:gd name="connsiteY109" fmla="*/ 455612 h 620717"/>
                <a:gd name="connsiteX110" fmla="*/ 69850 w 514350"/>
                <a:gd name="connsiteY110" fmla="*/ 463550 h 620717"/>
                <a:gd name="connsiteX111" fmla="*/ 65087 w 514350"/>
                <a:gd name="connsiteY111" fmla="*/ 465137 h 620717"/>
                <a:gd name="connsiteX112" fmla="*/ 38100 w 514350"/>
                <a:gd name="connsiteY112" fmla="*/ 466725 h 620717"/>
                <a:gd name="connsiteX113" fmla="*/ 34925 w 514350"/>
                <a:gd name="connsiteY113" fmla="*/ 473075 h 620717"/>
                <a:gd name="connsiteX114" fmla="*/ 30162 w 514350"/>
                <a:gd name="connsiteY114" fmla="*/ 476250 h 620717"/>
                <a:gd name="connsiteX115" fmla="*/ 0 w 514350"/>
                <a:gd name="connsiteY115" fmla="*/ 477837 h 620717"/>
                <a:gd name="connsiteX116" fmla="*/ 4762 w 514350"/>
                <a:gd name="connsiteY116" fmla="*/ 484187 h 620717"/>
                <a:gd name="connsiteX117" fmla="*/ 23812 w 514350"/>
                <a:gd name="connsiteY117" fmla="*/ 485775 h 620717"/>
                <a:gd name="connsiteX118" fmla="*/ 30162 w 514350"/>
                <a:gd name="connsiteY118" fmla="*/ 487362 h 620717"/>
                <a:gd name="connsiteX119" fmla="*/ 39687 w 514350"/>
                <a:gd name="connsiteY119" fmla="*/ 488950 h 620717"/>
                <a:gd name="connsiteX120" fmla="*/ 33337 w 514350"/>
                <a:gd name="connsiteY120" fmla="*/ 492125 h 620717"/>
                <a:gd name="connsiteX121" fmla="*/ 25400 w 514350"/>
                <a:gd name="connsiteY121" fmla="*/ 493712 h 620717"/>
                <a:gd name="connsiteX122" fmla="*/ 19050 w 514350"/>
                <a:gd name="connsiteY122" fmla="*/ 495300 h 620717"/>
                <a:gd name="connsiteX123" fmla="*/ 14287 w 514350"/>
                <a:gd name="connsiteY123" fmla="*/ 498475 h 620717"/>
                <a:gd name="connsiteX124" fmla="*/ 4762 w 514350"/>
                <a:gd name="connsiteY124" fmla="*/ 503237 h 620717"/>
                <a:gd name="connsiteX125" fmla="*/ 3175 w 514350"/>
                <a:gd name="connsiteY125" fmla="*/ 508000 h 620717"/>
                <a:gd name="connsiteX126" fmla="*/ 4762 w 514350"/>
                <a:gd name="connsiteY126" fmla="*/ 530225 h 620717"/>
                <a:gd name="connsiteX127" fmla="*/ 11112 w 514350"/>
                <a:gd name="connsiteY127" fmla="*/ 533400 h 620717"/>
                <a:gd name="connsiteX128" fmla="*/ 20637 w 514350"/>
                <a:gd name="connsiteY128" fmla="*/ 534987 h 620717"/>
                <a:gd name="connsiteX129" fmla="*/ 26987 w 514350"/>
                <a:gd name="connsiteY129" fmla="*/ 536575 h 620717"/>
                <a:gd name="connsiteX130" fmla="*/ 39687 w 514350"/>
                <a:gd name="connsiteY130" fmla="*/ 542925 h 620717"/>
                <a:gd name="connsiteX131" fmla="*/ 44450 w 514350"/>
                <a:gd name="connsiteY131" fmla="*/ 546100 h 620717"/>
                <a:gd name="connsiteX132" fmla="*/ 58737 w 514350"/>
                <a:gd name="connsiteY132" fmla="*/ 547687 h 620717"/>
                <a:gd name="connsiteX133" fmla="*/ 47625 w 514350"/>
                <a:gd name="connsiteY133" fmla="*/ 555625 h 620717"/>
                <a:gd name="connsiteX134" fmla="*/ 30162 w 514350"/>
                <a:gd name="connsiteY134" fmla="*/ 558800 h 620717"/>
                <a:gd name="connsiteX135" fmla="*/ 7937 w 514350"/>
                <a:gd name="connsiteY135" fmla="*/ 563562 h 620717"/>
                <a:gd name="connsiteX136" fmla="*/ 7937 w 514350"/>
                <a:gd name="connsiteY136" fmla="*/ 576262 h 620717"/>
                <a:gd name="connsiteX137" fmla="*/ 17462 w 514350"/>
                <a:gd name="connsiteY137" fmla="*/ 577850 h 620717"/>
                <a:gd name="connsiteX138" fmla="*/ 39687 w 514350"/>
                <a:gd name="connsiteY138" fmla="*/ 581025 h 620717"/>
                <a:gd name="connsiteX139" fmla="*/ 47625 w 514350"/>
                <a:gd name="connsiteY139" fmla="*/ 582612 h 620717"/>
                <a:gd name="connsiteX140" fmla="*/ 61912 w 514350"/>
                <a:gd name="connsiteY140" fmla="*/ 584200 h 620717"/>
                <a:gd name="connsiteX141" fmla="*/ 66675 w 514350"/>
                <a:gd name="connsiteY141" fmla="*/ 587375 h 620717"/>
                <a:gd name="connsiteX142" fmla="*/ 53975 w 514350"/>
                <a:gd name="connsiteY142" fmla="*/ 593725 h 620717"/>
                <a:gd name="connsiteX143" fmla="*/ 52387 w 514350"/>
                <a:gd name="connsiteY143" fmla="*/ 601662 h 620717"/>
                <a:gd name="connsiteX144" fmla="*/ 50800 w 514350"/>
                <a:gd name="connsiteY144" fmla="*/ 606425 h 620717"/>
                <a:gd name="connsiteX145" fmla="*/ 55562 w 514350"/>
                <a:gd name="connsiteY145" fmla="*/ 614362 h 620717"/>
                <a:gd name="connsiteX146" fmla="*/ 79375 w 514350"/>
                <a:gd name="connsiteY146" fmla="*/ 609600 h 620717"/>
                <a:gd name="connsiteX147" fmla="*/ 123825 w 514350"/>
                <a:gd name="connsiteY147" fmla="*/ 612775 h 620717"/>
                <a:gd name="connsiteX148" fmla="*/ 130175 w 514350"/>
                <a:gd name="connsiteY148" fmla="*/ 617537 h 620717"/>
                <a:gd name="connsiteX149" fmla="*/ 144462 w 514350"/>
                <a:gd name="connsiteY149" fmla="*/ 620712 h 620717"/>
                <a:gd name="connsiteX150" fmla="*/ 173037 w 514350"/>
                <a:gd name="connsiteY150" fmla="*/ 617537 h 620717"/>
                <a:gd name="connsiteX151" fmla="*/ 180975 w 514350"/>
                <a:gd name="connsiteY151" fmla="*/ 614362 h 620717"/>
                <a:gd name="connsiteX152" fmla="*/ 187325 w 514350"/>
                <a:gd name="connsiteY152" fmla="*/ 609600 h 620717"/>
                <a:gd name="connsiteX153" fmla="*/ 196850 w 514350"/>
                <a:gd name="connsiteY153" fmla="*/ 606425 h 620717"/>
                <a:gd name="connsiteX154" fmla="*/ 198437 w 514350"/>
                <a:gd name="connsiteY154" fmla="*/ 600075 h 620717"/>
                <a:gd name="connsiteX155" fmla="*/ 203200 w 514350"/>
                <a:gd name="connsiteY155" fmla="*/ 595312 h 620717"/>
                <a:gd name="connsiteX156" fmla="*/ 215900 w 514350"/>
                <a:gd name="connsiteY156" fmla="*/ 581025 h 620717"/>
                <a:gd name="connsiteX157" fmla="*/ 230187 w 514350"/>
                <a:gd name="connsiteY157" fmla="*/ 582612 h 620717"/>
                <a:gd name="connsiteX158" fmla="*/ 238125 w 514350"/>
                <a:gd name="connsiteY158" fmla="*/ 584200 h 620717"/>
                <a:gd name="connsiteX159" fmla="*/ 261937 w 514350"/>
                <a:gd name="connsiteY159" fmla="*/ 581025 h 620717"/>
                <a:gd name="connsiteX160" fmla="*/ 263525 w 514350"/>
                <a:gd name="connsiteY160" fmla="*/ 576262 h 620717"/>
                <a:gd name="connsiteX161" fmla="*/ 266700 w 514350"/>
                <a:gd name="connsiteY161" fmla="*/ 582612 h 620717"/>
                <a:gd name="connsiteX162" fmla="*/ 277812 w 514350"/>
                <a:gd name="connsiteY162" fmla="*/ 590550 h 620717"/>
                <a:gd name="connsiteX163" fmla="*/ 279400 w 514350"/>
                <a:gd name="connsiteY163" fmla="*/ 579437 h 620717"/>
                <a:gd name="connsiteX164" fmla="*/ 287337 w 514350"/>
                <a:gd name="connsiteY164" fmla="*/ 571500 h 620717"/>
                <a:gd name="connsiteX165" fmla="*/ 290512 w 514350"/>
                <a:gd name="connsiteY165" fmla="*/ 566737 h 620717"/>
                <a:gd name="connsiteX166" fmla="*/ 311150 w 514350"/>
                <a:gd name="connsiteY166" fmla="*/ 558800 h 620717"/>
                <a:gd name="connsiteX167" fmla="*/ 354012 w 514350"/>
                <a:gd name="connsiteY167" fmla="*/ 554037 h 620717"/>
                <a:gd name="connsiteX168" fmla="*/ 360362 w 514350"/>
                <a:gd name="connsiteY168" fmla="*/ 561975 h 620717"/>
                <a:gd name="connsiteX169" fmla="*/ 365125 w 514350"/>
                <a:gd name="connsiteY169" fmla="*/ 563562 h 620717"/>
                <a:gd name="connsiteX170" fmla="*/ 366712 w 514350"/>
                <a:gd name="connsiteY170" fmla="*/ 557212 h 620717"/>
                <a:gd name="connsiteX171" fmla="*/ 368300 w 514350"/>
                <a:gd name="connsiteY171" fmla="*/ 552450 h 620717"/>
                <a:gd name="connsiteX172" fmla="*/ 377825 w 514350"/>
                <a:gd name="connsiteY172" fmla="*/ 557212 h 620717"/>
                <a:gd name="connsiteX173" fmla="*/ 382587 w 514350"/>
                <a:gd name="connsiteY173" fmla="*/ 563562 h 620717"/>
                <a:gd name="connsiteX174" fmla="*/ 404812 w 514350"/>
                <a:gd name="connsiteY174" fmla="*/ 565150 h 620717"/>
                <a:gd name="connsiteX175" fmla="*/ 414337 w 514350"/>
                <a:gd name="connsiteY175" fmla="*/ 571500 h 620717"/>
                <a:gd name="connsiteX176" fmla="*/ 419100 w 514350"/>
                <a:gd name="connsiteY176" fmla="*/ 574675 h 620717"/>
                <a:gd name="connsiteX177" fmla="*/ 436562 w 514350"/>
                <a:gd name="connsiteY177" fmla="*/ 573087 h 620717"/>
                <a:gd name="connsiteX178" fmla="*/ 434975 w 514350"/>
                <a:gd name="connsiteY178" fmla="*/ 566737 h 620717"/>
                <a:gd name="connsiteX179" fmla="*/ 430212 w 514350"/>
                <a:gd name="connsiteY179" fmla="*/ 546100 h 620717"/>
                <a:gd name="connsiteX180" fmla="*/ 433387 w 514350"/>
                <a:gd name="connsiteY180" fmla="*/ 531812 h 620717"/>
                <a:gd name="connsiteX181" fmla="*/ 446087 w 514350"/>
                <a:gd name="connsiteY181" fmla="*/ 525462 h 620717"/>
                <a:gd name="connsiteX182" fmla="*/ 452437 w 514350"/>
                <a:gd name="connsiteY182" fmla="*/ 519112 h 620717"/>
                <a:gd name="connsiteX183" fmla="*/ 463550 w 514350"/>
                <a:gd name="connsiteY183" fmla="*/ 514350 h 620717"/>
                <a:gd name="connsiteX184" fmla="*/ 465137 w 514350"/>
                <a:gd name="connsiteY184" fmla="*/ 508000 h 620717"/>
                <a:gd name="connsiteX185" fmla="*/ 466725 w 514350"/>
                <a:gd name="connsiteY185" fmla="*/ 485775 h 620717"/>
                <a:gd name="connsiteX186" fmla="*/ 482600 w 514350"/>
                <a:gd name="connsiteY186" fmla="*/ 474662 h 620717"/>
                <a:gd name="connsiteX187" fmla="*/ 495300 w 514350"/>
                <a:gd name="connsiteY187" fmla="*/ 458787 h 620717"/>
                <a:gd name="connsiteX188" fmla="*/ 501650 w 514350"/>
                <a:gd name="connsiteY188" fmla="*/ 438150 h 620717"/>
                <a:gd name="connsiteX189" fmla="*/ 506412 w 514350"/>
                <a:gd name="connsiteY189" fmla="*/ 433387 h 620717"/>
                <a:gd name="connsiteX190" fmla="*/ 506412 w 514350"/>
                <a:gd name="connsiteY190" fmla="*/ 401637 h 620717"/>
                <a:gd name="connsiteX191" fmla="*/ 501650 w 514350"/>
                <a:gd name="connsiteY191" fmla="*/ 398462 h 620717"/>
                <a:gd name="connsiteX192" fmla="*/ 498475 w 514350"/>
                <a:gd name="connsiteY192" fmla="*/ 392112 h 620717"/>
                <a:gd name="connsiteX193" fmla="*/ 503237 w 514350"/>
                <a:gd name="connsiteY193" fmla="*/ 360362 h 620717"/>
                <a:gd name="connsiteX194" fmla="*/ 508000 w 514350"/>
                <a:gd name="connsiteY194" fmla="*/ 355600 h 620717"/>
                <a:gd name="connsiteX195" fmla="*/ 514350 w 514350"/>
                <a:gd name="connsiteY195" fmla="*/ 346075 h 620717"/>
                <a:gd name="connsiteX196" fmla="*/ 511175 w 514350"/>
                <a:gd name="connsiteY196" fmla="*/ 331787 h 620717"/>
                <a:gd name="connsiteX197" fmla="*/ 506412 w 514350"/>
                <a:gd name="connsiteY197" fmla="*/ 327025 h 620717"/>
                <a:gd name="connsiteX198" fmla="*/ 504825 w 514350"/>
                <a:gd name="connsiteY198" fmla="*/ 315912 h 620717"/>
                <a:gd name="connsiteX199" fmla="*/ 508000 w 514350"/>
                <a:gd name="connsiteY199" fmla="*/ 290512 h 620717"/>
                <a:gd name="connsiteX200" fmla="*/ 506412 w 514350"/>
                <a:gd name="connsiteY200" fmla="*/ 282575 h 620717"/>
                <a:gd name="connsiteX201" fmla="*/ 495300 w 514350"/>
                <a:gd name="connsiteY201" fmla="*/ 276225 h 620717"/>
                <a:gd name="connsiteX202" fmla="*/ 496887 w 514350"/>
                <a:gd name="connsiteY202" fmla="*/ 268287 h 620717"/>
                <a:gd name="connsiteX203" fmla="*/ 501650 w 514350"/>
                <a:gd name="connsiteY203" fmla="*/ 266700 h 620717"/>
                <a:gd name="connsiteX204" fmla="*/ 506412 w 514350"/>
                <a:gd name="connsiteY204" fmla="*/ 263525 h 620717"/>
                <a:gd name="connsiteX205" fmla="*/ 509587 w 514350"/>
                <a:gd name="connsiteY205" fmla="*/ 258762 h 620717"/>
                <a:gd name="connsiteX206" fmla="*/ 511175 w 514350"/>
                <a:gd name="connsiteY206" fmla="*/ 254000 h 620717"/>
                <a:gd name="connsiteX207" fmla="*/ 514350 w 514350"/>
                <a:gd name="connsiteY207" fmla="*/ 246062 h 620717"/>
                <a:gd name="connsiteX208" fmla="*/ 512762 w 514350"/>
                <a:gd name="connsiteY208" fmla="*/ 239712 h 620717"/>
                <a:gd name="connsiteX209" fmla="*/ 496887 w 514350"/>
                <a:gd name="connsiteY209" fmla="*/ 239712 h 620717"/>
                <a:gd name="connsiteX210" fmla="*/ 492125 w 514350"/>
                <a:gd name="connsiteY210" fmla="*/ 241300 h 620717"/>
                <a:gd name="connsiteX211" fmla="*/ 485775 w 514350"/>
                <a:gd name="connsiteY211" fmla="*/ 244475 h 620717"/>
                <a:gd name="connsiteX212" fmla="*/ 481012 w 514350"/>
                <a:gd name="connsiteY212" fmla="*/ 234950 h 620717"/>
                <a:gd name="connsiteX213" fmla="*/ 479425 w 514350"/>
                <a:gd name="connsiteY213" fmla="*/ 222250 h 620717"/>
                <a:gd name="connsiteX214" fmla="*/ 477837 w 514350"/>
                <a:gd name="connsiteY214" fmla="*/ 215900 h 620717"/>
                <a:gd name="connsiteX215" fmla="*/ 473075 w 514350"/>
                <a:gd name="connsiteY215" fmla="*/ 190500 h 620717"/>
                <a:gd name="connsiteX216" fmla="*/ 468312 w 514350"/>
                <a:gd name="connsiteY216" fmla="*/ 176212 h 620717"/>
                <a:gd name="connsiteX217" fmla="*/ 458787 w 514350"/>
                <a:gd name="connsiteY217" fmla="*/ 171450 h 620717"/>
                <a:gd name="connsiteX218" fmla="*/ 449262 w 514350"/>
                <a:gd name="connsiteY218" fmla="*/ 173037 h 620717"/>
                <a:gd name="connsiteX219" fmla="*/ 438150 w 514350"/>
                <a:gd name="connsiteY219" fmla="*/ 182562 h 620717"/>
                <a:gd name="connsiteX220" fmla="*/ 434975 w 514350"/>
                <a:gd name="connsiteY220" fmla="*/ 188912 h 620717"/>
                <a:gd name="connsiteX221" fmla="*/ 428625 w 514350"/>
                <a:gd name="connsiteY221" fmla="*/ 196850 h 620717"/>
                <a:gd name="connsiteX222" fmla="*/ 417512 w 514350"/>
                <a:gd name="connsiteY222" fmla="*/ 206375 h 620717"/>
                <a:gd name="connsiteX223" fmla="*/ 412750 w 514350"/>
                <a:gd name="connsiteY223" fmla="*/ 207962 h 620717"/>
                <a:gd name="connsiteX224" fmla="*/ 401637 w 514350"/>
                <a:gd name="connsiteY224" fmla="*/ 206375 h 620717"/>
                <a:gd name="connsiteX225" fmla="*/ 395287 w 514350"/>
                <a:gd name="connsiteY225" fmla="*/ 200025 h 620717"/>
                <a:gd name="connsiteX226" fmla="*/ 390525 w 514350"/>
                <a:gd name="connsiteY226" fmla="*/ 196850 h 620717"/>
                <a:gd name="connsiteX227" fmla="*/ 385762 w 514350"/>
                <a:gd name="connsiteY227" fmla="*/ 190500 h 620717"/>
                <a:gd name="connsiteX228" fmla="*/ 368300 w 514350"/>
                <a:gd name="connsiteY228" fmla="*/ 171450 h 620717"/>
                <a:gd name="connsiteX229" fmla="*/ 363537 w 514350"/>
                <a:gd name="connsiteY229" fmla="*/ 160337 h 620717"/>
                <a:gd name="connsiteX230" fmla="*/ 358775 w 514350"/>
                <a:gd name="connsiteY230" fmla="*/ 157162 h 620717"/>
                <a:gd name="connsiteX231" fmla="*/ 349250 w 514350"/>
                <a:gd name="connsiteY231" fmla="*/ 144462 h 620717"/>
                <a:gd name="connsiteX232" fmla="*/ 346075 w 514350"/>
                <a:gd name="connsiteY232" fmla="*/ 138112 h 620717"/>
                <a:gd name="connsiteX233" fmla="*/ 350837 w 514350"/>
                <a:gd name="connsiteY233" fmla="*/ 128587 h 620717"/>
                <a:gd name="connsiteX234" fmla="*/ 357187 w 514350"/>
                <a:gd name="connsiteY234" fmla="*/ 127000 h 620717"/>
                <a:gd name="connsiteX235" fmla="*/ 368300 w 514350"/>
                <a:gd name="connsiteY235" fmla="*/ 125412 h 620717"/>
                <a:gd name="connsiteX236" fmla="*/ 374650 w 514350"/>
                <a:gd name="connsiteY236" fmla="*/ 123825 h 620717"/>
                <a:gd name="connsiteX237" fmla="*/ 384175 w 514350"/>
                <a:gd name="connsiteY237" fmla="*/ 120650 h 620717"/>
                <a:gd name="connsiteX238" fmla="*/ 392112 w 514350"/>
                <a:gd name="connsiteY238" fmla="*/ 111125 h 620717"/>
                <a:gd name="connsiteX239" fmla="*/ 388937 w 514350"/>
                <a:gd name="connsiteY239" fmla="*/ 100012 h 620717"/>
                <a:gd name="connsiteX240" fmla="*/ 390525 w 514350"/>
                <a:gd name="connsiteY240" fmla="*/ 93662 h 620717"/>
                <a:gd name="connsiteX241" fmla="*/ 401637 w 514350"/>
                <a:gd name="connsiteY241" fmla="*/ 95250 h 620717"/>
                <a:gd name="connsiteX242" fmla="*/ 423862 w 514350"/>
                <a:gd name="connsiteY242" fmla="*/ 93662 h 620717"/>
                <a:gd name="connsiteX243" fmla="*/ 430212 w 514350"/>
                <a:gd name="connsiteY243" fmla="*/ 87312 h 620717"/>
                <a:gd name="connsiteX244" fmla="*/ 431800 w 514350"/>
                <a:gd name="connsiteY244" fmla="*/ 61912 h 620717"/>
                <a:gd name="connsiteX245" fmla="*/ 443914 w 514350"/>
                <a:gd name="connsiteY245" fmla="*/ 64084 h 620717"/>
                <a:gd name="connsiteX246" fmla="*/ 448737 w 514350"/>
                <a:gd name="connsiteY246" fmla="*/ 66117 h 620717"/>
                <a:gd name="connsiteX247" fmla="*/ 435858 w 514350"/>
                <a:gd name="connsiteY247" fmla="*/ 67146 h 620717"/>
                <a:gd name="connsiteX248" fmla="*/ 451852 w 514350"/>
                <a:gd name="connsiteY248" fmla="*/ 72772 h 620717"/>
                <a:gd name="connsiteX249" fmla="*/ 439737 w 514350"/>
                <a:gd name="connsiteY249" fmla="*/ 79845 h 620717"/>
                <a:gd name="connsiteX250" fmla="*/ 450399 w 514350"/>
                <a:gd name="connsiteY250" fmla="*/ 73819 h 620717"/>
                <a:gd name="connsiteX251" fmla="*/ 455612 w 514350"/>
                <a:gd name="connsiteY251" fmla="*/ 69850 h 620717"/>
                <a:gd name="connsiteX252" fmla="*/ 461962 w 514350"/>
                <a:gd name="connsiteY252" fmla="*/ 68262 h 620717"/>
                <a:gd name="connsiteX253" fmla="*/ 466725 w 514350"/>
                <a:gd name="connsiteY253" fmla="*/ 61912 h 620717"/>
                <a:gd name="connsiteX254" fmla="*/ 492125 w 514350"/>
                <a:gd name="connsiteY254" fmla="*/ 53975 h 620717"/>
                <a:gd name="connsiteX255" fmla="*/ 496887 w 514350"/>
                <a:gd name="connsiteY255" fmla="*/ 49212 h 620717"/>
                <a:gd name="connsiteX256" fmla="*/ 500062 w 514350"/>
                <a:gd name="connsiteY256" fmla="*/ 41275 h 620717"/>
                <a:gd name="connsiteX257" fmla="*/ 496887 w 514350"/>
                <a:gd name="connsiteY257"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29013 w 514350"/>
                <a:gd name="connsiteY9" fmla="*/ 42388 h 620717"/>
                <a:gd name="connsiteX10" fmla="*/ 417848 w 514350"/>
                <a:gd name="connsiteY10" fmla="*/ 33753 h 620717"/>
                <a:gd name="connsiteX11" fmla="*/ 415884 w 514350"/>
                <a:gd name="connsiteY11" fmla="*/ 9813 h 620717"/>
                <a:gd name="connsiteX12" fmla="*/ 401637 w 514350"/>
                <a:gd name="connsiteY12" fmla="*/ 12700 h 620717"/>
                <a:gd name="connsiteX13" fmla="*/ 352425 w 514350"/>
                <a:gd name="connsiteY13" fmla="*/ 19050 h 620717"/>
                <a:gd name="connsiteX14" fmla="*/ 350837 w 514350"/>
                <a:gd name="connsiteY14" fmla="*/ 23812 h 620717"/>
                <a:gd name="connsiteX15" fmla="*/ 352425 w 514350"/>
                <a:gd name="connsiteY15" fmla="*/ 38100 h 620717"/>
                <a:gd name="connsiteX16" fmla="*/ 357187 w 514350"/>
                <a:gd name="connsiteY16" fmla="*/ 44450 h 620717"/>
                <a:gd name="connsiteX17" fmla="*/ 349250 w 514350"/>
                <a:gd name="connsiteY17" fmla="*/ 58737 h 620717"/>
                <a:gd name="connsiteX18" fmla="*/ 328612 w 514350"/>
                <a:gd name="connsiteY18" fmla="*/ 60325 h 620717"/>
                <a:gd name="connsiteX19" fmla="*/ 307975 w 514350"/>
                <a:gd name="connsiteY19" fmla="*/ 68262 h 620717"/>
                <a:gd name="connsiteX20" fmla="*/ 295275 w 514350"/>
                <a:gd name="connsiteY20" fmla="*/ 73025 h 620717"/>
                <a:gd name="connsiteX21" fmla="*/ 292100 w 514350"/>
                <a:gd name="connsiteY21" fmla="*/ 77787 h 620717"/>
                <a:gd name="connsiteX22" fmla="*/ 296862 w 514350"/>
                <a:gd name="connsiteY22" fmla="*/ 79375 h 620717"/>
                <a:gd name="connsiteX23" fmla="*/ 311150 w 514350"/>
                <a:gd name="connsiteY23" fmla="*/ 82550 h 620717"/>
                <a:gd name="connsiteX24" fmla="*/ 319087 w 514350"/>
                <a:gd name="connsiteY24" fmla="*/ 87312 h 620717"/>
                <a:gd name="connsiteX25" fmla="*/ 323850 w 514350"/>
                <a:gd name="connsiteY25" fmla="*/ 88900 h 620717"/>
                <a:gd name="connsiteX26" fmla="*/ 336550 w 514350"/>
                <a:gd name="connsiteY26" fmla="*/ 103187 h 620717"/>
                <a:gd name="connsiteX27" fmla="*/ 334962 w 514350"/>
                <a:gd name="connsiteY27" fmla="*/ 114300 h 620717"/>
                <a:gd name="connsiteX28" fmla="*/ 330200 w 514350"/>
                <a:gd name="connsiteY28" fmla="*/ 115887 h 620717"/>
                <a:gd name="connsiteX29" fmla="*/ 315912 w 514350"/>
                <a:gd name="connsiteY29" fmla="*/ 130175 h 620717"/>
                <a:gd name="connsiteX30" fmla="*/ 307975 w 514350"/>
                <a:gd name="connsiteY30" fmla="*/ 131762 h 620717"/>
                <a:gd name="connsiteX31" fmla="*/ 300037 w 514350"/>
                <a:gd name="connsiteY31" fmla="*/ 134937 h 620717"/>
                <a:gd name="connsiteX32" fmla="*/ 296862 w 514350"/>
                <a:gd name="connsiteY32" fmla="*/ 142875 h 620717"/>
                <a:gd name="connsiteX33" fmla="*/ 282575 w 514350"/>
                <a:gd name="connsiteY33" fmla="*/ 157162 h 620717"/>
                <a:gd name="connsiteX34" fmla="*/ 273050 w 514350"/>
                <a:gd name="connsiteY34" fmla="*/ 153987 h 620717"/>
                <a:gd name="connsiteX35" fmla="*/ 261937 w 514350"/>
                <a:gd name="connsiteY35" fmla="*/ 147637 h 620717"/>
                <a:gd name="connsiteX36" fmla="*/ 242887 w 514350"/>
                <a:gd name="connsiteY36" fmla="*/ 149225 h 620717"/>
                <a:gd name="connsiteX37" fmla="*/ 236537 w 514350"/>
                <a:gd name="connsiteY37" fmla="*/ 150812 h 620717"/>
                <a:gd name="connsiteX38" fmla="*/ 231775 w 514350"/>
                <a:gd name="connsiteY38" fmla="*/ 142875 h 620717"/>
                <a:gd name="connsiteX39" fmla="*/ 225425 w 514350"/>
                <a:gd name="connsiteY39" fmla="*/ 123825 h 620717"/>
                <a:gd name="connsiteX40" fmla="*/ 219075 w 514350"/>
                <a:gd name="connsiteY40" fmla="*/ 122237 h 620717"/>
                <a:gd name="connsiteX41" fmla="*/ 204787 w 514350"/>
                <a:gd name="connsiteY41" fmla="*/ 120650 h 620717"/>
                <a:gd name="connsiteX42" fmla="*/ 190500 w 514350"/>
                <a:gd name="connsiteY42" fmla="*/ 117475 h 620717"/>
                <a:gd name="connsiteX43" fmla="*/ 182562 w 514350"/>
                <a:gd name="connsiteY43" fmla="*/ 111125 h 620717"/>
                <a:gd name="connsiteX44" fmla="*/ 174625 w 514350"/>
                <a:gd name="connsiteY44" fmla="*/ 104775 h 620717"/>
                <a:gd name="connsiteX45" fmla="*/ 152400 w 514350"/>
                <a:gd name="connsiteY45" fmla="*/ 106362 h 620717"/>
                <a:gd name="connsiteX46" fmla="*/ 150812 w 514350"/>
                <a:gd name="connsiteY46" fmla="*/ 117475 h 620717"/>
                <a:gd name="connsiteX47" fmla="*/ 133350 w 514350"/>
                <a:gd name="connsiteY47" fmla="*/ 120650 h 620717"/>
                <a:gd name="connsiteX48" fmla="*/ 138112 w 514350"/>
                <a:gd name="connsiteY48" fmla="*/ 123825 h 620717"/>
                <a:gd name="connsiteX49" fmla="*/ 139700 w 514350"/>
                <a:gd name="connsiteY49" fmla="*/ 128587 h 620717"/>
                <a:gd name="connsiteX50" fmla="*/ 146050 w 514350"/>
                <a:gd name="connsiteY50" fmla="*/ 131762 h 620717"/>
                <a:gd name="connsiteX51" fmla="*/ 147637 w 514350"/>
                <a:gd name="connsiteY51" fmla="*/ 138112 h 620717"/>
                <a:gd name="connsiteX52" fmla="*/ 123825 w 514350"/>
                <a:gd name="connsiteY52" fmla="*/ 146050 h 620717"/>
                <a:gd name="connsiteX53" fmla="*/ 117475 w 514350"/>
                <a:gd name="connsiteY53" fmla="*/ 155575 h 620717"/>
                <a:gd name="connsiteX54" fmla="*/ 112712 w 514350"/>
                <a:gd name="connsiteY54" fmla="*/ 157162 h 620717"/>
                <a:gd name="connsiteX55" fmla="*/ 125412 w 514350"/>
                <a:gd name="connsiteY55" fmla="*/ 161925 h 620717"/>
                <a:gd name="connsiteX56" fmla="*/ 130175 w 514350"/>
                <a:gd name="connsiteY56" fmla="*/ 163512 h 620717"/>
                <a:gd name="connsiteX57" fmla="*/ 142875 w 514350"/>
                <a:gd name="connsiteY57" fmla="*/ 166687 h 620717"/>
                <a:gd name="connsiteX58" fmla="*/ 147637 w 514350"/>
                <a:gd name="connsiteY58" fmla="*/ 173037 h 620717"/>
                <a:gd name="connsiteX59" fmla="*/ 152400 w 514350"/>
                <a:gd name="connsiteY59" fmla="*/ 177800 h 620717"/>
                <a:gd name="connsiteX60" fmla="*/ 146050 w 514350"/>
                <a:gd name="connsiteY60" fmla="*/ 179387 h 620717"/>
                <a:gd name="connsiteX61" fmla="*/ 149225 w 514350"/>
                <a:gd name="connsiteY61" fmla="*/ 185737 h 620717"/>
                <a:gd name="connsiteX62" fmla="*/ 153987 w 514350"/>
                <a:gd name="connsiteY62" fmla="*/ 187325 h 620717"/>
                <a:gd name="connsiteX63" fmla="*/ 168275 w 514350"/>
                <a:gd name="connsiteY63" fmla="*/ 190500 h 620717"/>
                <a:gd name="connsiteX64" fmla="*/ 165100 w 514350"/>
                <a:gd name="connsiteY64" fmla="*/ 198437 h 620717"/>
                <a:gd name="connsiteX65" fmla="*/ 160337 w 514350"/>
                <a:gd name="connsiteY65" fmla="*/ 200025 h 620717"/>
                <a:gd name="connsiteX66" fmla="*/ 139700 w 514350"/>
                <a:gd name="connsiteY66" fmla="*/ 196850 h 620717"/>
                <a:gd name="connsiteX67" fmla="*/ 153987 w 514350"/>
                <a:gd name="connsiteY67" fmla="*/ 211137 h 620717"/>
                <a:gd name="connsiteX68" fmla="*/ 152400 w 514350"/>
                <a:gd name="connsiteY68" fmla="*/ 217487 h 620717"/>
                <a:gd name="connsiteX69" fmla="*/ 138112 w 514350"/>
                <a:gd name="connsiteY69" fmla="*/ 219075 h 620717"/>
                <a:gd name="connsiteX70" fmla="*/ 142875 w 514350"/>
                <a:gd name="connsiteY70" fmla="*/ 223837 h 620717"/>
                <a:gd name="connsiteX71" fmla="*/ 141287 w 514350"/>
                <a:gd name="connsiteY71" fmla="*/ 228600 h 620717"/>
                <a:gd name="connsiteX72" fmla="*/ 107950 w 514350"/>
                <a:gd name="connsiteY72" fmla="*/ 231775 h 620717"/>
                <a:gd name="connsiteX73" fmla="*/ 95250 w 514350"/>
                <a:gd name="connsiteY73" fmla="*/ 233362 h 620717"/>
                <a:gd name="connsiteX74" fmla="*/ 92075 w 514350"/>
                <a:gd name="connsiteY74" fmla="*/ 247650 h 620717"/>
                <a:gd name="connsiteX75" fmla="*/ 93662 w 514350"/>
                <a:gd name="connsiteY75" fmla="*/ 252412 h 620717"/>
                <a:gd name="connsiteX76" fmla="*/ 109537 w 514350"/>
                <a:gd name="connsiteY76" fmla="*/ 260350 h 620717"/>
                <a:gd name="connsiteX77" fmla="*/ 114300 w 514350"/>
                <a:gd name="connsiteY77" fmla="*/ 263525 h 620717"/>
                <a:gd name="connsiteX78" fmla="*/ 119062 w 514350"/>
                <a:gd name="connsiteY78" fmla="*/ 268287 h 620717"/>
                <a:gd name="connsiteX79" fmla="*/ 123825 w 514350"/>
                <a:gd name="connsiteY79" fmla="*/ 269875 h 620717"/>
                <a:gd name="connsiteX80" fmla="*/ 128587 w 514350"/>
                <a:gd name="connsiteY80" fmla="*/ 273050 h 620717"/>
                <a:gd name="connsiteX81" fmla="*/ 114300 w 514350"/>
                <a:gd name="connsiteY81" fmla="*/ 279400 h 620717"/>
                <a:gd name="connsiteX82" fmla="*/ 109537 w 514350"/>
                <a:gd name="connsiteY82" fmla="*/ 284162 h 620717"/>
                <a:gd name="connsiteX83" fmla="*/ 111125 w 514350"/>
                <a:gd name="connsiteY83" fmla="*/ 293687 h 620717"/>
                <a:gd name="connsiteX84" fmla="*/ 125412 w 514350"/>
                <a:gd name="connsiteY84" fmla="*/ 296862 h 620717"/>
                <a:gd name="connsiteX85" fmla="*/ 136525 w 514350"/>
                <a:gd name="connsiteY85" fmla="*/ 301625 h 620717"/>
                <a:gd name="connsiteX86" fmla="*/ 142875 w 514350"/>
                <a:gd name="connsiteY86" fmla="*/ 303212 h 620717"/>
                <a:gd name="connsiteX87" fmla="*/ 146050 w 514350"/>
                <a:gd name="connsiteY87" fmla="*/ 311150 h 620717"/>
                <a:gd name="connsiteX88" fmla="*/ 158750 w 514350"/>
                <a:gd name="connsiteY88" fmla="*/ 315912 h 620717"/>
                <a:gd name="connsiteX89" fmla="*/ 193675 w 514350"/>
                <a:gd name="connsiteY89" fmla="*/ 317500 h 620717"/>
                <a:gd name="connsiteX90" fmla="*/ 209550 w 514350"/>
                <a:gd name="connsiteY90" fmla="*/ 320675 h 620717"/>
                <a:gd name="connsiteX91" fmla="*/ 204787 w 514350"/>
                <a:gd name="connsiteY91" fmla="*/ 323850 h 620717"/>
                <a:gd name="connsiteX92" fmla="*/ 200025 w 514350"/>
                <a:gd name="connsiteY92" fmla="*/ 325437 h 620717"/>
                <a:gd name="connsiteX93" fmla="*/ 190500 w 514350"/>
                <a:gd name="connsiteY93" fmla="*/ 331787 h 620717"/>
                <a:gd name="connsiteX94" fmla="*/ 182562 w 514350"/>
                <a:gd name="connsiteY94" fmla="*/ 338137 h 620717"/>
                <a:gd name="connsiteX95" fmla="*/ 176212 w 514350"/>
                <a:gd name="connsiteY95" fmla="*/ 341312 h 620717"/>
                <a:gd name="connsiteX96" fmla="*/ 171450 w 514350"/>
                <a:gd name="connsiteY96" fmla="*/ 344487 h 620717"/>
                <a:gd name="connsiteX97" fmla="*/ 161925 w 514350"/>
                <a:gd name="connsiteY97" fmla="*/ 347662 h 620717"/>
                <a:gd name="connsiteX98" fmla="*/ 149225 w 514350"/>
                <a:gd name="connsiteY98" fmla="*/ 365125 h 620717"/>
                <a:gd name="connsiteX99" fmla="*/ 139700 w 514350"/>
                <a:gd name="connsiteY99" fmla="*/ 382587 h 620717"/>
                <a:gd name="connsiteX100" fmla="*/ 134937 w 514350"/>
                <a:gd name="connsiteY100" fmla="*/ 384175 h 620717"/>
                <a:gd name="connsiteX101" fmla="*/ 133350 w 514350"/>
                <a:gd name="connsiteY101" fmla="*/ 388937 h 620717"/>
                <a:gd name="connsiteX102" fmla="*/ 128587 w 514350"/>
                <a:gd name="connsiteY102" fmla="*/ 392112 h 620717"/>
                <a:gd name="connsiteX103" fmla="*/ 120650 w 514350"/>
                <a:gd name="connsiteY103" fmla="*/ 398462 h 620717"/>
                <a:gd name="connsiteX104" fmla="*/ 114300 w 514350"/>
                <a:gd name="connsiteY104" fmla="*/ 409575 h 620717"/>
                <a:gd name="connsiteX105" fmla="*/ 109537 w 514350"/>
                <a:gd name="connsiteY105" fmla="*/ 411162 h 620717"/>
                <a:gd name="connsiteX106" fmla="*/ 92075 w 514350"/>
                <a:gd name="connsiteY106" fmla="*/ 414337 h 620717"/>
                <a:gd name="connsiteX107" fmla="*/ 92075 w 514350"/>
                <a:gd name="connsiteY107" fmla="*/ 433387 h 620717"/>
                <a:gd name="connsiteX108" fmla="*/ 79375 w 514350"/>
                <a:gd name="connsiteY108" fmla="*/ 441325 h 620717"/>
                <a:gd name="connsiteX109" fmla="*/ 73025 w 514350"/>
                <a:gd name="connsiteY109" fmla="*/ 455612 h 620717"/>
                <a:gd name="connsiteX110" fmla="*/ 69850 w 514350"/>
                <a:gd name="connsiteY110" fmla="*/ 463550 h 620717"/>
                <a:gd name="connsiteX111" fmla="*/ 65087 w 514350"/>
                <a:gd name="connsiteY111" fmla="*/ 465137 h 620717"/>
                <a:gd name="connsiteX112" fmla="*/ 38100 w 514350"/>
                <a:gd name="connsiteY112" fmla="*/ 466725 h 620717"/>
                <a:gd name="connsiteX113" fmla="*/ 34925 w 514350"/>
                <a:gd name="connsiteY113" fmla="*/ 473075 h 620717"/>
                <a:gd name="connsiteX114" fmla="*/ 30162 w 514350"/>
                <a:gd name="connsiteY114" fmla="*/ 476250 h 620717"/>
                <a:gd name="connsiteX115" fmla="*/ 0 w 514350"/>
                <a:gd name="connsiteY115" fmla="*/ 477837 h 620717"/>
                <a:gd name="connsiteX116" fmla="*/ 4762 w 514350"/>
                <a:gd name="connsiteY116" fmla="*/ 484187 h 620717"/>
                <a:gd name="connsiteX117" fmla="*/ 23812 w 514350"/>
                <a:gd name="connsiteY117" fmla="*/ 485775 h 620717"/>
                <a:gd name="connsiteX118" fmla="*/ 30162 w 514350"/>
                <a:gd name="connsiteY118" fmla="*/ 487362 h 620717"/>
                <a:gd name="connsiteX119" fmla="*/ 39687 w 514350"/>
                <a:gd name="connsiteY119" fmla="*/ 488950 h 620717"/>
                <a:gd name="connsiteX120" fmla="*/ 33337 w 514350"/>
                <a:gd name="connsiteY120" fmla="*/ 492125 h 620717"/>
                <a:gd name="connsiteX121" fmla="*/ 25400 w 514350"/>
                <a:gd name="connsiteY121" fmla="*/ 493712 h 620717"/>
                <a:gd name="connsiteX122" fmla="*/ 19050 w 514350"/>
                <a:gd name="connsiteY122" fmla="*/ 495300 h 620717"/>
                <a:gd name="connsiteX123" fmla="*/ 14287 w 514350"/>
                <a:gd name="connsiteY123" fmla="*/ 498475 h 620717"/>
                <a:gd name="connsiteX124" fmla="*/ 4762 w 514350"/>
                <a:gd name="connsiteY124" fmla="*/ 503237 h 620717"/>
                <a:gd name="connsiteX125" fmla="*/ 3175 w 514350"/>
                <a:gd name="connsiteY125" fmla="*/ 508000 h 620717"/>
                <a:gd name="connsiteX126" fmla="*/ 4762 w 514350"/>
                <a:gd name="connsiteY126" fmla="*/ 530225 h 620717"/>
                <a:gd name="connsiteX127" fmla="*/ 11112 w 514350"/>
                <a:gd name="connsiteY127" fmla="*/ 533400 h 620717"/>
                <a:gd name="connsiteX128" fmla="*/ 20637 w 514350"/>
                <a:gd name="connsiteY128" fmla="*/ 534987 h 620717"/>
                <a:gd name="connsiteX129" fmla="*/ 26987 w 514350"/>
                <a:gd name="connsiteY129" fmla="*/ 536575 h 620717"/>
                <a:gd name="connsiteX130" fmla="*/ 39687 w 514350"/>
                <a:gd name="connsiteY130" fmla="*/ 542925 h 620717"/>
                <a:gd name="connsiteX131" fmla="*/ 44450 w 514350"/>
                <a:gd name="connsiteY131" fmla="*/ 546100 h 620717"/>
                <a:gd name="connsiteX132" fmla="*/ 58737 w 514350"/>
                <a:gd name="connsiteY132" fmla="*/ 547687 h 620717"/>
                <a:gd name="connsiteX133" fmla="*/ 47625 w 514350"/>
                <a:gd name="connsiteY133" fmla="*/ 555625 h 620717"/>
                <a:gd name="connsiteX134" fmla="*/ 30162 w 514350"/>
                <a:gd name="connsiteY134" fmla="*/ 558800 h 620717"/>
                <a:gd name="connsiteX135" fmla="*/ 7937 w 514350"/>
                <a:gd name="connsiteY135" fmla="*/ 563562 h 620717"/>
                <a:gd name="connsiteX136" fmla="*/ 7937 w 514350"/>
                <a:gd name="connsiteY136" fmla="*/ 576262 h 620717"/>
                <a:gd name="connsiteX137" fmla="*/ 17462 w 514350"/>
                <a:gd name="connsiteY137" fmla="*/ 577850 h 620717"/>
                <a:gd name="connsiteX138" fmla="*/ 39687 w 514350"/>
                <a:gd name="connsiteY138" fmla="*/ 581025 h 620717"/>
                <a:gd name="connsiteX139" fmla="*/ 47625 w 514350"/>
                <a:gd name="connsiteY139" fmla="*/ 582612 h 620717"/>
                <a:gd name="connsiteX140" fmla="*/ 61912 w 514350"/>
                <a:gd name="connsiteY140" fmla="*/ 584200 h 620717"/>
                <a:gd name="connsiteX141" fmla="*/ 66675 w 514350"/>
                <a:gd name="connsiteY141" fmla="*/ 587375 h 620717"/>
                <a:gd name="connsiteX142" fmla="*/ 53975 w 514350"/>
                <a:gd name="connsiteY142" fmla="*/ 593725 h 620717"/>
                <a:gd name="connsiteX143" fmla="*/ 52387 w 514350"/>
                <a:gd name="connsiteY143" fmla="*/ 601662 h 620717"/>
                <a:gd name="connsiteX144" fmla="*/ 50800 w 514350"/>
                <a:gd name="connsiteY144" fmla="*/ 606425 h 620717"/>
                <a:gd name="connsiteX145" fmla="*/ 55562 w 514350"/>
                <a:gd name="connsiteY145" fmla="*/ 614362 h 620717"/>
                <a:gd name="connsiteX146" fmla="*/ 79375 w 514350"/>
                <a:gd name="connsiteY146" fmla="*/ 609600 h 620717"/>
                <a:gd name="connsiteX147" fmla="*/ 123825 w 514350"/>
                <a:gd name="connsiteY147" fmla="*/ 612775 h 620717"/>
                <a:gd name="connsiteX148" fmla="*/ 130175 w 514350"/>
                <a:gd name="connsiteY148" fmla="*/ 617537 h 620717"/>
                <a:gd name="connsiteX149" fmla="*/ 144462 w 514350"/>
                <a:gd name="connsiteY149" fmla="*/ 620712 h 620717"/>
                <a:gd name="connsiteX150" fmla="*/ 173037 w 514350"/>
                <a:gd name="connsiteY150" fmla="*/ 617537 h 620717"/>
                <a:gd name="connsiteX151" fmla="*/ 180975 w 514350"/>
                <a:gd name="connsiteY151" fmla="*/ 614362 h 620717"/>
                <a:gd name="connsiteX152" fmla="*/ 187325 w 514350"/>
                <a:gd name="connsiteY152" fmla="*/ 609600 h 620717"/>
                <a:gd name="connsiteX153" fmla="*/ 196850 w 514350"/>
                <a:gd name="connsiteY153" fmla="*/ 606425 h 620717"/>
                <a:gd name="connsiteX154" fmla="*/ 198437 w 514350"/>
                <a:gd name="connsiteY154" fmla="*/ 600075 h 620717"/>
                <a:gd name="connsiteX155" fmla="*/ 203200 w 514350"/>
                <a:gd name="connsiteY155" fmla="*/ 595312 h 620717"/>
                <a:gd name="connsiteX156" fmla="*/ 215900 w 514350"/>
                <a:gd name="connsiteY156" fmla="*/ 581025 h 620717"/>
                <a:gd name="connsiteX157" fmla="*/ 230187 w 514350"/>
                <a:gd name="connsiteY157" fmla="*/ 582612 h 620717"/>
                <a:gd name="connsiteX158" fmla="*/ 238125 w 514350"/>
                <a:gd name="connsiteY158" fmla="*/ 584200 h 620717"/>
                <a:gd name="connsiteX159" fmla="*/ 261937 w 514350"/>
                <a:gd name="connsiteY159" fmla="*/ 581025 h 620717"/>
                <a:gd name="connsiteX160" fmla="*/ 263525 w 514350"/>
                <a:gd name="connsiteY160" fmla="*/ 576262 h 620717"/>
                <a:gd name="connsiteX161" fmla="*/ 266700 w 514350"/>
                <a:gd name="connsiteY161" fmla="*/ 582612 h 620717"/>
                <a:gd name="connsiteX162" fmla="*/ 277812 w 514350"/>
                <a:gd name="connsiteY162" fmla="*/ 590550 h 620717"/>
                <a:gd name="connsiteX163" fmla="*/ 279400 w 514350"/>
                <a:gd name="connsiteY163" fmla="*/ 579437 h 620717"/>
                <a:gd name="connsiteX164" fmla="*/ 287337 w 514350"/>
                <a:gd name="connsiteY164" fmla="*/ 571500 h 620717"/>
                <a:gd name="connsiteX165" fmla="*/ 290512 w 514350"/>
                <a:gd name="connsiteY165" fmla="*/ 566737 h 620717"/>
                <a:gd name="connsiteX166" fmla="*/ 311150 w 514350"/>
                <a:gd name="connsiteY166" fmla="*/ 558800 h 620717"/>
                <a:gd name="connsiteX167" fmla="*/ 354012 w 514350"/>
                <a:gd name="connsiteY167" fmla="*/ 554037 h 620717"/>
                <a:gd name="connsiteX168" fmla="*/ 360362 w 514350"/>
                <a:gd name="connsiteY168" fmla="*/ 561975 h 620717"/>
                <a:gd name="connsiteX169" fmla="*/ 365125 w 514350"/>
                <a:gd name="connsiteY169" fmla="*/ 563562 h 620717"/>
                <a:gd name="connsiteX170" fmla="*/ 366712 w 514350"/>
                <a:gd name="connsiteY170" fmla="*/ 557212 h 620717"/>
                <a:gd name="connsiteX171" fmla="*/ 368300 w 514350"/>
                <a:gd name="connsiteY171" fmla="*/ 552450 h 620717"/>
                <a:gd name="connsiteX172" fmla="*/ 377825 w 514350"/>
                <a:gd name="connsiteY172" fmla="*/ 557212 h 620717"/>
                <a:gd name="connsiteX173" fmla="*/ 382587 w 514350"/>
                <a:gd name="connsiteY173" fmla="*/ 563562 h 620717"/>
                <a:gd name="connsiteX174" fmla="*/ 404812 w 514350"/>
                <a:gd name="connsiteY174" fmla="*/ 565150 h 620717"/>
                <a:gd name="connsiteX175" fmla="*/ 414337 w 514350"/>
                <a:gd name="connsiteY175" fmla="*/ 571500 h 620717"/>
                <a:gd name="connsiteX176" fmla="*/ 419100 w 514350"/>
                <a:gd name="connsiteY176" fmla="*/ 574675 h 620717"/>
                <a:gd name="connsiteX177" fmla="*/ 436562 w 514350"/>
                <a:gd name="connsiteY177" fmla="*/ 573087 h 620717"/>
                <a:gd name="connsiteX178" fmla="*/ 434975 w 514350"/>
                <a:gd name="connsiteY178" fmla="*/ 566737 h 620717"/>
                <a:gd name="connsiteX179" fmla="*/ 430212 w 514350"/>
                <a:gd name="connsiteY179" fmla="*/ 546100 h 620717"/>
                <a:gd name="connsiteX180" fmla="*/ 433387 w 514350"/>
                <a:gd name="connsiteY180" fmla="*/ 531812 h 620717"/>
                <a:gd name="connsiteX181" fmla="*/ 446087 w 514350"/>
                <a:gd name="connsiteY181" fmla="*/ 525462 h 620717"/>
                <a:gd name="connsiteX182" fmla="*/ 452437 w 514350"/>
                <a:gd name="connsiteY182" fmla="*/ 519112 h 620717"/>
                <a:gd name="connsiteX183" fmla="*/ 463550 w 514350"/>
                <a:gd name="connsiteY183" fmla="*/ 514350 h 620717"/>
                <a:gd name="connsiteX184" fmla="*/ 465137 w 514350"/>
                <a:gd name="connsiteY184" fmla="*/ 508000 h 620717"/>
                <a:gd name="connsiteX185" fmla="*/ 466725 w 514350"/>
                <a:gd name="connsiteY185" fmla="*/ 485775 h 620717"/>
                <a:gd name="connsiteX186" fmla="*/ 482600 w 514350"/>
                <a:gd name="connsiteY186" fmla="*/ 474662 h 620717"/>
                <a:gd name="connsiteX187" fmla="*/ 495300 w 514350"/>
                <a:gd name="connsiteY187" fmla="*/ 458787 h 620717"/>
                <a:gd name="connsiteX188" fmla="*/ 501650 w 514350"/>
                <a:gd name="connsiteY188" fmla="*/ 438150 h 620717"/>
                <a:gd name="connsiteX189" fmla="*/ 506412 w 514350"/>
                <a:gd name="connsiteY189" fmla="*/ 433387 h 620717"/>
                <a:gd name="connsiteX190" fmla="*/ 506412 w 514350"/>
                <a:gd name="connsiteY190" fmla="*/ 401637 h 620717"/>
                <a:gd name="connsiteX191" fmla="*/ 501650 w 514350"/>
                <a:gd name="connsiteY191" fmla="*/ 398462 h 620717"/>
                <a:gd name="connsiteX192" fmla="*/ 498475 w 514350"/>
                <a:gd name="connsiteY192" fmla="*/ 392112 h 620717"/>
                <a:gd name="connsiteX193" fmla="*/ 503237 w 514350"/>
                <a:gd name="connsiteY193" fmla="*/ 360362 h 620717"/>
                <a:gd name="connsiteX194" fmla="*/ 508000 w 514350"/>
                <a:gd name="connsiteY194" fmla="*/ 355600 h 620717"/>
                <a:gd name="connsiteX195" fmla="*/ 514350 w 514350"/>
                <a:gd name="connsiteY195" fmla="*/ 346075 h 620717"/>
                <a:gd name="connsiteX196" fmla="*/ 511175 w 514350"/>
                <a:gd name="connsiteY196" fmla="*/ 331787 h 620717"/>
                <a:gd name="connsiteX197" fmla="*/ 506412 w 514350"/>
                <a:gd name="connsiteY197" fmla="*/ 327025 h 620717"/>
                <a:gd name="connsiteX198" fmla="*/ 504825 w 514350"/>
                <a:gd name="connsiteY198" fmla="*/ 315912 h 620717"/>
                <a:gd name="connsiteX199" fmla="*/ 508000 w 514350"/>
                <a:gd name="connsiteY199" fmla="*/ 290512 h 620717"/>
                <a:gd name="connsiteX200" fmla="*/ 506412 w 514350"/>
                <a:gd name="connsiteY200" fmla="*/ 282575 h 620717"/>
                <a:gd name="connsiteX201" fmla="*/ 495300 w 514350"/>
                <a:gd name="connsiteY201" fmla="*/ 276225 h 620717"/>
                <a:gd name="connsiteX202" fmla="*/ 496887 w 514350"/>
                <a:gd name="connsiteY202" fmla="*/ 268287 h 620717"/>
                <a:gd name="connsiteX203" fmla="*/ 501650 w 514350"/>
                <a:gd name="connsiteY203" fmla="*/ 266700 h 620717"/>
                <a:gd name="connsiteX204" fmla="*/ 506412 w 514350"/>
                <a:gd name="connsiteY204" fmla="*/ 263525 h 620717"/>
                <a:gd name="connsiteX205" fmla="*/ 509587 w 514350"/>
                <a:gd name="connsiteY205" fmla="*/ 258762 h 620717"/>
                <a:gd name="connsiteX206" fmla="*/ 511175 w 514350"/>
                <a:gd name="connsiteY206" fmla="*/ 254000 h 620717"/>
                <a:gd name="connsiteX207" fmla="*/ 514350 w 514350"/>
                <a:gd name="connsiteY207" fmla="*/ 246062 h 620717"/>
                <a:gd name="connsiteX208" fmla="*/ 512762 w 514350"/>
                <a:gd name="connsiteY208" fmla="*/ 239712 h 620717"/>
                <a:gd name="connsiteX209" fmla="*/ 496887 w 514350"/>
                <a:gd name="connsiteY209" fmla="*/ 239712 h 620717"/>
                <a:gd name="connsiteX210" fmla="*/ 492125 w 514350"/>
                <a:gd name="connsiteY210" fmla="*/ 241300 h 620717"/>
                <a:gd name="connsiteX211" fmla="*/ 485775 w 514350"/>
                <a:gd name="connsiteY211" fmla="*/ 244475 h 620717"/>
                <a:gd name="connsiteX212" fmla="*/ 481012 w 514350"/>
                <a:gd name="connsiteY212" fmla="*/ 234950 h 620717"/>
                <a:gd name="connsiteX213" fmla="*/ 479425 w 514350"/>
                <a:gd name="connsiteY213" fmla="*/ 222250 h 620717"/>
                <a:gd name="connsiteX214" fmla="*/ 477837 w 514350"/>
                <a:gd name="connsiteY214" fmla="*/ 215900 h 620717"/>
                <a:gd name="connsiteX215" fmla="*/ 473075 w 514350"/>
                <a:gd name="connsiteY215" fmla="*/ 190500 h 620717"/>
                <a:gd name="connsiteX216" fmla="*/ 468312 w 514350"/>
                <a:gd name="connsiteY216" fmla="*/ 176212 h 620717"/>
                <a:gd name="connsiteX217" fmla="*/ 458787 w 514350"/>
                <a:gd name="connsiteY217" fmla="*/ 171450 h 620717"/>
                <a:gd name="connsiteX218" fmla="*/ 449262 w 514350"/>
                <a:gd name="connsiteY218" fmla="*/ 173037 h 620717"/>
                <a:gd name="connsiteX219" fmla="*/ 438150 w 514350"/>
                <a:gd name="connsiteY219" fmla="*/ 182562 h 620717"/>
                <a:gd name="connsiteX220" fmla="*/ 434975 w 514350"/>
                <a:gd name="connsiteY220" fmla="*/ 188912 h 620717"/>
                <a:gd name="connsiteX221" fmla="*/ 428625 w 514350"/>
                <a:gd name="connsiteY221" fmla="*/ 196850 h 620717"/>
                <a:gd name="connsiteX222" fmla="*/ 417512 w 514350"/>
                <a:gd name="connsiteY222" fmla="*/ 206375 h 620717"/>
                <a:gd name="connsiteX223" fmla="*/ 412750 w 514350"/>
                <a:gd name="connsiteY223" fmla="*/ 207962 h 620717"/>
                <a:gd name="connsiteX224" fmla="*/ 401637 w 514350"/>
                <a:gd name="connsiteY224" fmla="*/ 206375 h 620717"/>
                <a:gd name="connsiteX225" fmla="*/ 395287 w 514350"/>
                <a:gd name="connsiteY225" fmla="*/ 200025 h 620717"/>
                <a:gd name="connsiteX226" fmla="*/ 390525 w 514350"/>
                <a:gd name="connsiteY226" fmla="*/ 196850 h 620717"/>
                <a:gd name="connsiteX227" fmla="*/ 385762 w 514350"/>
                <a:gd name="connsiteY227" fmla="*/ 190500 h 620717"/>
                <a:gd name="connsiteX228" fmla="*/ 368300 w 514350"/>
                <a:gd name="connsiteY228" fmla="*/ 171450 h 620717"/>
                <a:gd name="connsiteX229" fmla="*/ 363537 w 514350"/>
                <a:gd name="connsiteY229" fmla="*/ 160337 h 620717"/>
                <a:gd name="connsiteX230" fmla="*/ 358775 w 514350"/>
                <a:gd name="connsiteY230" fmla="*/ 157162 h 620717"/>
                <a:gd name="connsiteX231" fmla="*/ 349250 w 514350"/>
                <a:gd name="connsiteY231" fmla="*/ 144462 h 620717"/>
                <a:gd name="connsiteX232" fmla="*/ 346075 w 514350"/>
                <a:gd name="connsiteY232" fmla="*/ 138112 h 620717"/>
                <a:gd name="connsiteX233" fmla="*/ 350837 w 514350"/>
                <a:gd name="connsiteY233" fmla="*/ 128587 h 620717"/>
                <a:gd name="connsiteX234" fmla="*/ 357187 w 514350"/>
                <a:gd name="connsiteY234" fmla="*/ 127000 h 620717"/>
                <a:gd name="connsiteX235" fmla="*/ 368300 w 514350"/>
                <a:gd name="connsiteY235" fmla="*/ 125412 h 620717"/>
                <a:gd name="connsiteX236" fmla="*/ 374650 w 514350"/>
                <a:gd name="connsiteY236" fmla="*/ 123825 h 620717"/>
                <a:gd name="connsiteX237" fmla="*/ 384175 w 514350"/>
                <a:gd name="connsiteY237" fmla="*/ 120650 h 620717"/>
                <a:gd name="connsiteX238" fmla="*/ 392112 w 514350"/>
                <a:gd name="connsiteY238" fmla="*/ 111125 h 620717"/>
                <a:gd name="connsiteX239" fmla="*/ 388937 w 514350"/>
                <a:gd name="connsiteY239" fmla="*/ 100012 h 620717"/>
                <a:gd name="connsiteX240" fmla="*/ 390525 w 514350"/>
                <a:gd name="connsiteY240" fmla="*/ 93662 h 620717"/>
                <a:gd name="connsiteX241" fmla="*/ 401637 w 514350"/>
                <a:gd name="connsiteY241" fmla="*/ 95250 h 620717"/>
                <a:gd name="connsiteX242" fmla="*/ 423862 w 514350"/>
                <a:gd name="connsiteY242" fmla="*/ 93662 h 620717"/>
                <a:gd name="connsiteX243" fmla="*/ 430212 w 514350"/>
                <a:gd name="connsiteY243" fmla="*/ 87312 h 620717"/>
                <a:gd name="connsiteX244" fmla="*/ 431800 w 514350"/>
                <a:gd name="connsiteY244" fmla="*/ 61912 h 620717"/>
                <a:gd name="connsiteX245" fmla="*/ 443914 w 514350"/>
                <a:gd name="connsiteY245" fmla="*/ 64084 h 620717"/>
                <a:gd name="connsiteX246" fmla="*/ 448737 w 514350"/>
                <a:gd name="connsiteY246" fmla="*/ 66117 h 620717"/>
                <a:gd name="connsiteX247" fmla="*/ 435858 w 514350"/>
                <a:gd name="connsiteY247" fmla="*/ 67146 h 620717"/>
                <a:gd name="connsiteX248" fmla="*/ 451852 w 514350"/>
                <a:gd name="connsiteY248" fmla="*/ 72772 h 620717"/>
                <a:gd name="connsiteX249" fmla="*/ 439737 w 514350"/>
                <a:gd name="connsiteY249" fmla="*/ 79845 h 620717"/>
                <a:gd name="connsiteX250" fmla="*/ 450399 w 514350"/>
                <a:gd name="connsiteY250" fmla="*/ 73819 h 620717"/>
                <a:gd name="connsiteX251" fmla="*/ 455612 w 514350"/>
                <a:gd name="connsiteY251" fmla="*/ 69850 h 620717"/>
                <a:gd name="connsiteX252" fmla="*/ 461962 w 514350"/>
                <a:gd name="connsiteY252" fmla="*/ 68262 h 620717"/>
                <a:gd name="connsiteX253" fmla="*/ 466725 w 514350"/>
                <a:gd name="connsiteY253" fmla="*/ 61912 h 620717"/>
                <a:gd name="connsiteX254" fmla="*/ 492125 w 514350"/>
                <a:gd name="connsiteY254" fmla="*/ 53975 h 620717"/>
                <a:gd name="connsiteX255" fmla="*/ 496887 w 514350"/>
                <a:gd name="connsiteY255" fmla="*/ 49212 h 620717"/>
                <a:gd name="connsiteX256" fmla="*/ 500062 w 514350"/>
                <a:gd name="connsiteY256" fmla="*/ 41275 h 620717"/>
                <a:gd name="connsiteX257" fmla="*/ 496887 w 514350"/>
                <a:gd name="connsiteY257"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31990 w 514350"/>
                <a:gd name="connsiteY9" fmla="*/ 30292 h 620717"/>
                <a:gd name="connsiteX10" fmla="*/ 429013 w 514350"/>
                <a:gd name="connsiteY10" fmla="*/ 42388 h 620717"/>
                <a:gd name="connsiteX11" fmla="*/ 417848 w 514350"/>
                <a:gd name="connsiteY11" fmla="*/ 33753 h 620717"/>
                <a:gd name="connsiteX12" fmla="*/ 415884 w 514350"/>
                <a:gd name="connsiteY12" fmla="*/ 9813 h 620717"/>
                <a:gd name="connsiteX13" fmla="*/ 401637 w 514350"/>
                <a:gd name="connsiteY13" fmla="*/ 12700 h 620717"/>
                <a:gd name="connsiteX14" fmla="*/ 352425 w 514350"/>
                <a:gd name="connsiteY14" fmla="*/ 19050 h 620717"/>
                <a:gd name="connsiteX15" fmla="*/ 350837 w 514350"/>
                <a:gd name="connsiteY15" fmla="*/ 23812 h 620717"/>
                <a:gd name="connsiteX16" fmla="*/ 352425 w 514350"/>
                <a:gd name="connsiteY16" fmla="*/ 38100 h 620717"/>
                <a:gd name="connsiteX17" fmla="*/ 357187 w 514350"/>
                <a:gd name="connsiteY17" fmla="*/ 44450 h 620717"/>
                <a:gd name="connsiteX18" fmla="*/ 349250 w 514350"/>
                <a:gd name="connsiteY18" fmla="*/ 58737 h 620717"/>
                <a:gd name="connsiteX19" fmla="*/ 328612 w 514350"/>
                <a:gd name="connsiteY19" fmla="*/ 60325 h 620717"/>
                <a:gd name="connsiteX20" fmla="*/ 307975 w 514350"/>
                <a:gd name="connsiteY20" fmla="*/ 68262 h 620717"/>
                <a:gd name="connsiteX21" fmla="*/ 295275 w 514350"/>
                <a:gd name="connsiteY21" fmla="*/ 73025 h 620717"/>
                <a:gd name="connsiteX22" fmla="*/ 292100 w 514350"/>
                <a:gd name="connsiteY22" fmla="*/ 77787 h 620717"/>
                <a:gd name="connsiteX23" fmla="*/ 296862 w 514350"/>
                <a:gd name="connsiteY23" fmla="*/ 79375 h 620717"/>
                <a:gd name="connsiteX24" fmla="*/ 311150 w 514350"/>
                <a:gd name="connsiteY24" fmla="*/ 82550 h 620717"/>
                <a:gd name="connsiteX25" fmla="*/ 319087 w 514350"/>
                <a:gd name="connsiteY25" fmla="*/ 87312 h 620717"/>
                <a:gd name="connsiteX26" fmla="*/ 323850 w 514350"/>
                <a:gd name="connsiteY26" fmla="*/ 88900 h 620717"/>
                <a:gd name="connsiteX27" fmla="*/ 336550 w 514350"/>
                <a:gd name="connsiteY27" fmla="*/ 103187 h 620717"/>
                <a:gd name="connsiteX28" fmla="*/ 334962 w 514350"/>
                <a:gd name="connsiteY28" fmla="*/ 114300 h 620717"/>
                <a:gd name="connsiteX29" fmla="*/ 330200 w 514350"/>
                <a:gd name="connsiteY29" fmla="*/ 115887 h 620717"/>
                <a:gd name="connsiteX30" fmla="*/ 315912 w 514350"/>
                <a:gd name="connsiteY30" fmla="*/ 130175 h 620717"/>
                <a:gd name="connsiteX31" fmla="*/ 307975 w 514350"/>
                <a:gd name="connsiteY31" fmla="*/ 131762 h 620717"/>
                <a:gd name="connsiteX32" fmla="*/ 300037 w 514350"/>
                <a:gd name="connsiteY32" fmla="*/ 134937 h 620717"/>
                <a:gd name="connsiteX33" fmla="*/ 296862 w 514350"/>
                <a:gd name="connsiteY33" fmla="*/ 142875 h 620717"/>
                <a:gd name="connsiteX34" fmla="*/ 282575 w 514350"/>
                <a:gd name="connsiteY34" fmla="*/ 157162 h 620717"/>
                <a:gd name="connsiteX35" fmla="*/ 273050 w 514350"/>
                <a:gd name="connsiteY35" fmla="*/ 153987 h 620717"/>
                <a:gd name="connsiteX36" fmla="*/ 261937 w 514350"/>
                <a:gd name="connsiteY36" fmla="*/ 147637 h 620717"/>
                <a:gd name="connsiteX37" fmla="*/ 242887 w 514350"/>
                <a:gd name="connsiteY37" fmla="*/ 149225 h 620717"/>
                <a:gd name="connsiteX38" fmla="*/ 236537 w 514350"/>
                <a:gd name="connsiteY38" fmla="*/ 150812 h 620717"/>
                <a:gd name="connsiteX39" fmla="*/ 231775 w 514350"/>
                <a:gd name="connsiteY39" fmla="*/ 142875 h 620717"/>
                <a:gd name="connsiteX40" fmla="*/ 225425 w 514350"/>
                <a:gd name="connsiteY40" fmla="*/ 123825 h 620717"/>
                <a:gd name="connsiteX41" fmla="*/ 219075 w 514350"/>
                <a:gd name="connsiteY41" fmla="*/ 122237 h 620717"/>
                <a:gd name="connsiteX42" fmla="*/ 204787 w 514350"/>
                <a:gd name="connsiteY42" fmla="*/ 120650 h 620717"/>
                <a:gd name="connsiteX43" fmla="*/ 190500 w 514350"/>
                <a:gd name="connsiteY43" fmla="*/ 117475 h 620717"/>
                <a:gd name="connsiteX44" fmla="*/ 182562 w 514350"/>
                <a:gd name="connsiteY44" fmla="*/ 111125 h 620717"/>
                <a:gd name="connsiteX45" fmla="*/ 174625 w 514350"/>
                <a:gd name="connsiteY45" fmla="*/ 104775 h 620717"/>
                <a:gd name="connsiteX46" fmla="*/ 152400 w 514350"/>
                <a:gd name="connsiteY46" fmla="*/ 106362 h 620717"/>
                <a:gd name="connsiteX47" fmla="*/ 150812 w 514350"/>
                <a:gd name="connsiteY47" fmla="*/ 117475 h 620717"/>
                <a:gd name="connsiteX48" fmla="*/ 133350 w 514350"/>
                <a:gd name="connsiteY48" fmla="*/ 120650 h 620717"/>
                <a:gd name="connsiteX49" fmla="*/ 138112 w 514350"/>
                <a:gd name="connsiteY49" fmla="*/ 123825 h 620717"/>
                <a:gd name="connsiteX50" fmla="*/ 139700 w 514350"/>
                <a:gd name="connsiteY50" fmla="*/ 128587 h 620717"/>
                <a:gd name="connsiteX51" fmla="*/ 146050 w 514350"/>
                <a:gd name="connsiteY51" fmla="*/ 131762 h 620717"/>
                <a:gd name="connsiteX52" fmla="*/ 147637 w 514350"/>
                <a:gd name="connsiteY52" fmla="*/ 138112 h 620717"/>
                <a:gd name="connsiteX53" fmla="*/ 123825 w 514350"/>
                <a:gd name="connsiteY53" fmla="*/ 146050 h 620717"/>
                <a:gd name="connsiteX54" fmla="*/ 117475 w 514350"/>
                <a:gd name="connsiteY54" fmla="*/ 155575 h 620717"/>
                <a:gd name="connsiteX55" fmla="*/ 112712 w 514350"/>
                <a:gd name="connsiteY55" fmla="*/ 157162 h 620717"/>
                <a:gd name="connsiteX56" fmla="*/ 125412 w 514350"/>
                <a:gd name="connsiteY56" fmla="*/ 161925 h 620717"/>
                <a:gd name="connsiteX57" fmla="*/ 130175 w 514350"/>
                <a:gd name="connsiteY57" fmla="*/ 163512 h 620717"/>
                <a:gd name="connsiteX58" fmla="*/ 142875 w 514350"/>
                <a:gd name="connsiteY58" fmla="*/ 166687 h 620717"/>
                <a:gd name="connsiteX59" fmla="*/ 147637 w 514350"/>
                <a:gd name="connsiteY59" fmla="*/ 173037 h 620717"/>
                <a:gd name="connsiteX60" fmla="*/ 152400 w 514350"/>
                <a:gd name="connsiteY60" fmla="*/ 177800 h 620717"/>
                <a:gd name="connsiteX61" fmla="*/ 146050 w 514350"/>
                <a:gd name="connsiteY61" fmla="*/ 179387 h 620717"/>
                <a:gd name="connsiteX62" fmla="*/ 149225 w 514350"/>
                <a:gd name="connsiteY62" fmla="*/ 185737 h 620717"/>
                <a:gd name="connsiteX63" fmla="*/ 153987 w 514350"/>
                <a:gd name="connsiteY63" fmla="*/ 187325 h 620717"/>
                <a:gd name="connsiteX64" fmla="*/ 168275 w 514350"/>
                <a:gd name="connsiteY64" fmla="*/ 190500 h 620717"/>
                <a:gd name="connsiteX65" fmla="*/ 165100 w 514350"/>
                <a:gd name="connsiteY65" fmla="*/ 198437 h 620717"/>
                <a:gd name="connsiteX66" fmla="*/ 160337 w 514350"/>
                <a:gd name="connsiteY66" fmla="*/ 200025 h 620717"/>
                <a:gd name="connsiteX67" fmla="*/ 139700 w 514350"/>
                <a:gd name="connsiteY67" fmla="*/ 196850 h 620717"/>
                <a:gd name="connsiteX68" fmla="*/ 153987 w 514350"/>
                <a:gd name="connsiteY68" fmla="*/ 211137 h 620717"/>
                <a:gd name="connsiteX69" fmla="*/ 152400 w 514350"/>
                <a:gd name="connsiteY69" fmla="*/ 217487 h 620717"/>
                <a:gd name="connsiteX70" fmla="*/ 138112 w 514350"/>
                <a:gd name="connsiteY70" fmla="*/ 219075 h 620717"/>
                <a:gd name="connsiteX71" fmla="*/ 142875 w 514350"/>
                <a:gd name="connsiteY71" fmla="*/ 223837 h 620717"/>
                <a:gd name="connsiteX72" fmla="*/ 141287 w 514350"/>
                <a:gd name="connsiteY72" fmla="*/ 228600 h 620717"/>
                <a:gd name="connsiteX73" fmla="*/ 107950 w 514350"/>
                <a:gd name="connsiteY73" fmla="*/ 231775 h 620717"/>
                <a:gd name="connsiteX74" fmla="*/ 95250 w 514350"/>
                <a:gd name="connsiteY74" fmla="*/ 233362 h 620717"/>
                <a:gd name="connsiteX75" fmla="*/ 92075 w 514350"/>
                <a:gd name="connsiteY75" fmla="*/ 247650 h 620717"/>
                <a:gd name="connsiteX76" fmla="*/ 93662 w 514350"/>
                <a:gd name="connsiteY76" fmla="*/ 252412 h 620717"/>
                <a:gd name="connsiteX77" fmla="*/ 109537 w 514350"/>
                <a:gd name="connsiteY77" fmla="*/ 260350 h 620717"/>
                <a:gd name="connsiteX78" fmla="*/ 114300 w 514350"/>
                <a:gd name="connsiteY78" fmla="*/ 263525 h 620717"/>
                <a:gd name="connsiteX79" fmla="*/ 119062 w 514350"/>
                <a:gd name="connsiteY79" fmla="*/ 268287 h 620717"/>
                <a:gd name="connsiteX80" fmla="*/ 123825 w 514350"/>
                <a:gd name="connsiteY80" fmla="*/ 269875 h 620717"/>
                <a:gd name="connsiteX81" fmla="*/ 128587 w 514350"/>
                <a:gd name="connsiteY81" fmla="*/ 273050 h 620717"/>
                <a:gd name="connsiteX82" fmla="*/ 114300 w 514350"/>
                <a:gd name="connsiteY82" fmla="*/ 279400 h 620717"/>
                <a:gd name="connsiteX83" fmla="*/ 109537 w 514350"/>
                <a:gd name="connsiteY83" fmla="*/ 284162 h 620717"/>
                <a:gd name="connsiteX84" fmla="*/ 111125 w 514350"/>
                <a:gd name="connsiteY84" fmla="*/ 293687 h 620717"/>
                <a:gd name="connsiteX85" fmla="*/ 125412 w 514350"/>
                <a:gd name="connsiteY85" fmla="*/ 296862 h 620717"/>
                <a:gd name="connsiteX86" fmla="*/ 136525 w 514350"/>
                <a:gd name="connsiteY86" fmla="*/ 301625 h 620717"/>
                <a:gd name="connsiteX87" fmla="*/ 142875 w 514350"/>
                <a:gd name="connsiteY87" fmla="*/ 303212 h 620717"/>
                <a:gd name="connsiteX88" fmla="*/ 146050 w 514350"/>
                <a:gd name="connsiteY88" fmla="*/ 311150 h 620717"/>
                <a:gd name="connsiteX89" fmla="*/ 158750 w 514350"/>
                <a:gd name="connsiteY89" fmla="*/ 315912 h 620717"/>
                <a:gd name="connsiteX90" fmla="*/ 193675 w 514350"/>
                <a:gd name="connsiteY90" fmla="*/ 317500 h 620717"/>
                <a:gd name="connsiteX91" fmla="*/ 209550 w 514350"/>
                <a:gd name="connsiteY91" fmla="*/ 320675 h 620717"/>
                <a:gd name="connsiteX92" fmla="*/ 204787 w 514350"/>
                <a:gd name="connsiteY92" fmla="*/ 323850 h 620717"/>
                <a:gd name="connsiteX93" fmla="*/ 200025 w 514350"/>
                <a:gd name="connsiteY93" fmla="*/ 325437 h 620717"/>
                <a:gd name="connsiteX94" fmla="*/ 190500 w 514350"/>
                <a:gd name="connsiteY94" fmla="*/ 331787 h 620717"/>
                <a:gd name="connsiteX95" fmla="*/ 182562 w 514350"/>
                <a:gd name="connsiteY95" fmla="*/ 338137 h 620717"/>
                <a:gd name="connsiteX96" fmla="*/ 176212 w 514350"/>
                <a:gd name="connsiteY96" fmla="*/ 341312 h 620717"/>
                <a:gd name="connsiteX97" fmla="*/ 171450 w 514350"/>
                <a:gd name="connsiteY97" fmla="*/ 344487 h 620717"/>
                <a:gd name="connsiteX98" fmla="*/ 161925 w 514350"/>
                <a:gd name="connsiteY98" fmla="*/ 347662 h 620717"/>
                <a:gd name="connsiteX99" fmla="*/ 149225 w 514350"/>
                <a:gd name="connsiteY99" fmla="*/ 365125 h 620717"/>
                <a:gd name="connsiteX100" fmla="*/ 139700 w 514350"/>
                <a:gd name="connsiteY100" fmla="*/ 382587 h 620717"/>
                <a:gd name="connsiteX101" fmla="*/ 134937 w 514350"/>
                <a:gd name="connsiteY101" fmla="*/ 384175 h 620717"/>
                <a:gd name="connsiteX102" fmla="*/ 133350 w 514350"/>
                <a:gd name="connsiteY102" fmla="*/ 388937 h 620717"/>
                <a:gd name="connsiteX103" fmla="*/ 128587 w 514350"/>
                <a:gd name="connsiteY103" fmla="*/ 392112 h 620717"/>
                <a:gd name="connsiteX104" fmla="*/ 120650 w 514350"/>
                <a:gd name="connsiteY104" fmla="*/ 398462 h 620717"/>
                <a:gd name="connsiteX105" fmla="*/ 114300 w 514350"/>
                <a:gd name="connsiteY105" fmla="*/ 409575 h 620717"/>
                <a:gd name="connsiteX106" fmla="*/ 109537 w 514350"/>
                <a:gd name="connsiteY106" fmla="*/ 411162 h 620717"/>
                <a:gd name="connsiteX107" fmla="*/ 92075 w 514350"/>
                <a:gd name="connsiteY107" fmla="*/ 414337 h 620717"/>
                <a:gd name="connsiteX108" fmla="*/ 92075 w 514350"/>
                <a:gd name="connsiteY108" fmla="*/ 433387 h 620717"/>
                <a:gd name="connsiteX109" fmla="*/ 79375 w 514350"/>
                <a:gd name="connsiteY109" fmla="*/ 441325 h 620717"/>
                <a:gd name="connsiteX110" fmla="*/ 73025 w 514350"/>
                <a:gd name="connsiteY110" fmla="*/ 455612 h 620717"/>
                <a:gd name="connsiteX111" fmla="*/ 69850 w 514350"/>
                <a:gd name="connsiteY111" fmla="*/ 463550 h 620717"/>
                <a:gd name="connsiteX112" fmla="*/ 65087 w 514350"/>
                <a:gd name="connsiteY112" fmla="*/ 465137 h 620717"/>
                <a:gd name="connsiteX113" fmla="*/ 38100 w 514350"/>
                <a:gd name="connsiteY113" fmla="*/ 466725 h 620717"/>
                <a:gd name="connsiteX114" fmla="*/ 34925 w 514350"/>
                <a:gd name="connsiteY114" fmla="*/ 473075 h 620717"/>
                <a:gd name="connsiteX115" fmla="*/ 30162 w 514350"/>
                <a:gd name="connsiteY115" fmla="*/ 476250 h 620717"/>
                <a:gd name="connsiteX116" fmla="*/ 0 w 514350"/>
                <a:gd name="connsiteY116" fmla="*/ 477837 h 620717"/>
                <a:gd name="connsiteX117" fmla="*/ 4762 w 514350"/>
                <a:gd name="connsiteY117" fmla="*/ 484187 h 620717"/>
                <a:gd name="connsiteX118" fmla="*/ 23812 w 514350"/>
                <a:gd name="connsiteY118" fmla="*/ 485775 h 620717"/>
                <a:gd name="connsiteX119" fmla="*/ 30162 w 514350"/>
                <a:gd name="connsiteY119" fmla="*/ 487362 h 620717"/>
                <a:gd name="connsiteX120" fmla="*/ 39687 w 514350"/>
                <a:gd name="connsiteY120" fmla="*/ 488950 h 620717"/>
                <a:gd name="connsiteX121" fmla="*/ 33337 w 514350"/>
                <a:gd name="connsiteY121" fmla="*/ 492125 h 620717"/>
                <a:gd name="connsiteX122" fmla="*/ 25400 w 514350"/>
                <a:gd name="connsiteY122" fmla="*/ 493712 h 620717"/>
                <a:gd name="connsiteX123" fmla="*/ 19050 w 514350"/>
                <a:gd name="connsiteY123" fmla="*/ 495300 h 620717"/>
                <a:gd name="connsiteX124" fmla="*/ 14287 w 514350"/>
                <a:gd name="connsiteY124" fmla="*/ 498475 h 620717"/>
                <a:gd name="connsiteX125" fmla="*/ 4762 w 514350"/>
                <a:gd name="connsiteY125" fmla="*/ 503237 h 620717"/>
                <a:gd name="connsiteX126" fmla="*/ 3175 w 514350"/>
                <a:gd name="connsiteY126" fmla="*/ 508000 h 620717"/>
                <a:gd name="connsiteX127" fmla="*/ 4762 w 514350"/>
                <a:gd name="connsiteY127" fmla="*/ 530225 h 620717"/>
                <a:gd name="connsiteX128" fmla="*/ 11112 w 514350"/>
                <a:gd name="connsiteY128" fmla="*/ 533400 h 620717"/>
                <a:gd name="connsiteX129" fmla="*/ 20637 w 514350"/>
                <a:gd name="connsiteY129" fmla="*/ 534987 h 620717"/>
                <a:gd name="connsiteX130" fmla="*/ 26987 w 514350"/>
                <a:gd name="connsiteY130" fmla="*/ 536575 h 620717"/>
                <a:gd name="connsiteX131" fmla="*/ 39687 w 514350"/>
                <a:gd name="connsiteY131" fmla="*/ 542925 h 620717"/>
                <a:gd name="connsiteX132" fmla="*/ 44450 w 514350"/>
                <a:gd name="connsiteY132" fmla="*/ 546100 h 620717"/>
                <a:gd name="connsiteX133" fmla="*/ 58737 w 514350"/>
                <a:gd name="connsiteY133" fmla="*/ 547687 h 620717"/>
                <a:gd name="connsiteX134" fmla="*/ 47625 w 514350"/>
                <a:gd name="connsiteY134" fmla="*/ 555625 h 620717"/>
                <a:gd name="connsiteX135" fmla="*/ 30162 w 514350"/>
                <a:gd name="connsiteY135" fmla="*/ 558800 h 620717"/>
                <a:gd name="connsiteX136" fmla="*/ 7937 w 514350"/>
                <a:gd name="connsiteY136" fmla="*/ 563562 h 620717"/>
                <a:gd name="connsiteX137" fmla="*/ 7937 w 514350"/>
                <a:gd name="connsiteY137" fmla="*/ 576262 h 620717"/>
                <a:gd name="connsiteX138" fmla="*/ 17462 w 514350"/>
                <a:gd name="connsiteY138" fmla="*/ 577850 h 620717"/>
                <a:gd name="connsiteX139" fmla="*/ 39687 w 514350"/>
                <a:gd name="connsiteY139" fmla="*/ 581025 h 620717"/>
                <a:gd name="connsiteX140" fmla="*/ 47625 w 514350"/>
                <a:gd name="connsiteY140" fmla="*/ 582612 h 620717"/>
                <a:gd name="connsiteX141" fmla="*/ 61912 w 514350"/>
                <a:gd name="connsiteY141" fmla="*/ 584200 h 620717"/>
                <a:gd name="connsiteX142" fmla="*/ 66675 w 514350"/>
                <a:gd name="connsiteY142" fmla="*/ 587375 h 620717"/>
                <a:gd name="connsiteX143" fmla="*/ 53975 w 514350"/>
                <a:gd name="connsiteY143" fmla="*/ 593725 h 620717"/>
                <a:gd name="connsiteX144" fmla="*/ 52387 w 514350"/>
                <a:gd name="connsiteY144" fmla="*/ 601662 h 620717"/>
                <a:gd name="connsiteX145" fmla="*/ 50800 w 514350"/>
                <a:gd name="connsiteY145" fmla="*/ 606425 h 620717"/>
                <a:gd name="connsiteX146" fmla="*/ 55562 w 514350"/>
                <a:gd name="connsiteY146" fmla="*/ 614362 h 620717"/>
                <a:gd name="connsiteX147" fmla="*/ 79375 w 514350"/>
                <a:gd name="connsiteY147" fmla="*/ 609600 h 620717"/>
                <a:gd name="connsiteX148" fmla="*/ 123825 w 514350"/>
                <a:gd name="connsiteY148" fmla="*/ 612775 h 620717"/>
                <a:gd name="connsiteX149" fmla="*/ 130175 w 514350"/>
                <a:gd name="connsiteY149" fmla="*/ 617537 h 620717"/>
                <a:gd name="connsiteX150" fmla="*/ 144462 w 514350"/>
                <a:gd name="connsiteY150" fmla="*/ 620712 h 620717"/>
                <a:gd name="connsiteX151" fmla="*/ 173037 w 514350"/>
                <a:gd name="connsiteY151" fmla="*/ 617537 h 620717"/>
                <a:gd name="connsiteX152" fmla="*/ 180975 w 514350"/>
                <a:gd name="connsiteY152" fmla="*/ 614362 h 620717"/>
                <a:gd name="connsiteX153" fmla="*/ 187325 w 514350"/>
                <a:gd name="connsiteY153" fmla="*/ 609600 h 620717"/>
                <a:gd name="connsiteX154" fmla="*/ 196850 w 514350"/>
                <a:gd name="connsiteY154" fmla="*/ 606425 h 620717"/>
                <a:gd name="connsiteX155" fmla="*/ 198437 w 514350"/>
                <a:gd name="connsiteY155" fmla="*/ 600075 h 620717"/>
                <a:gd name="connsiteX156" fmla="*/ 203200 w 514350"/>
                <a:gd name="connsiteY156" fmla="*/ 595312 h 620717"/>
                <a:gd name="connsiteX157" fmla="*/ 215900 w 514350"/>
                <a:gd name="connsiteY157" fmla="*/ 581025 h 620717"/>
                <a:gd name="connsiteX158" fmla="*/ 230187 w 514350"/>
                <a:gd name="connsiteY158" fmla="*/ 582612 h 620717"/>
                <a:gd name="connsiteX159" fmla="*/ 238125 w 514350"/>
                <a:gd name="connsiteY159" fmla="*/ 584200 h 620717"/>
                <a:gd name="connsiteX160" fmla="*/ 261937 w 514350"/>
                <a:gd name="connsiteY160" fmla="*/ 581025 h 620717"/>
                <a:gd name="connsiteX161" fmla="*/ 263525 w 514350"/>
                <a:gd name="connsiteY161" fmla="*/ 576262 h 620717"/>
                <a:gd name="connsiteX162" fmla="*/ 266700 w 514350"/>
                <a:gd name="connsiteY162" fmla="*/ 582612 h 620717"/>
                <a:gd name="connsiteX163" fmla="*/ 277812 w 514350"/>
                <a:gd name="connsiteY163" fmla="*/ 590550 h 620717"/>
                <a:gd name="connsiteX164" fmla="*/ 279400 w 514350"/>
                <a:gd name="connsiteY164" fmla="*/ 579437 h 620717"/>
                <a:gd name="connsiteX165" fmla="*/ 287337 w 514350"/>
                <a:gd name="connsiteY165" fmla="*/ 571500 h 620717"/>
                <a:gd name="connsiteX166" fmla="*/ 290512 w 514350"/>
                <a:gd name="connsiteY166" fmla="*/ 566737 h 620717"/>
                <a:gd name="connsiteX167" fmla="*/ 311150 w 514350"/>
                <a:gd name="connsiteY167" fmla="*/ 558800 h 620717"/>
                <a:gd name="connsiteX168" fmla="*/ 354012 w 514350"/>
                <a:gd name="connsiteY168" fmla="*/ 554037 h 620717"/>
                <a:gd name="connsiteX169" fmla="*/ 360362 w 514350"/>
                <a:gd name="connsiteY169" fmla="*/ 561975 h 620717"/>
                <a:gd name="connsiteX170" fmla="*/ 365125 w 514350"/>
                <a:gd name="connsiteY170" fmla="*/ 563562 h 620717"/>
                <a:gd name="connsiteX171" fmla="*/ 366712 w 514350"/>
                <a:gd name="connsiteY171" fmla="*/ 557212 h 620717"/>
                <a:gd name="connsiteX172" fmla="*/ 368300 w 514350"/>
                <a:gd name="connsiteY172" fmla="*/ 552450 h 620717"/>
                <a:gd name="connsiteX173" fmla="*/ 377825 w 514350"/>
                <a:gd name="connsiteY173" fmla="*/ 557212 h 620717"/>
                <a:gd name="connsiteX174" fmla="*/ 382587 w 514350"/>
                <a:gd name="connsiteY174" fmla="*/ 563562 h 620717"/>
                <a:gd name="connsiteX175" fmla="*/ 404812 w 514350"/>
                <a:gd name="connsiteY175" fmla="*/ 565150 h 620717"/>
                <a:gd name="connsiteX176" fmla="*/ 414337 w 514350"/>
                <a:gd name="connsiteY176" fmla="*/ 571500 h 620717"/>
                <a:gd name="connsiteX177" fmla="*/ 419100 w 514350"/>
                <a:gd name="connsiteY177" fmla="*/ 574675 h 620717"/>
                <a:gd name="connsiteX178" fmla="*/ 436562 w 514350"/>
                <a:gd name="connsiteY178" fmla="*/ 573087 h 620717"/>
                <a:gd name="connsiteX179" fmla="*/ 434975 w 514350"/>
                <a:gd name="connsiteY179" fmla="*/ 566737 h 620717"/>
                <a:gd name="connsiteX180" fmla="*/ 430212 w 514350"/>
                <a:gd name="connsiteY180" fmla="*/ 546100 h 620717"/>
                <a:gd name="connsiteX181" fmla="*/ 433387 w 514350"/>
                <a:gd name="connsiteY181" fmla="*/ 531812 h 620717"/>
                <a:gd name="connsiteX182" fmla="*/ 446087 w 514350"/>
                <a:gd name="connsiteY182" fmla="*/ 525462 h 620717"/>
                <a:gd name="connsiteX183" fmla="*/ 452437 w 514350"/>
                <a:gd name="connsiteY183" fmla="*/ 519112 h 620717"/>
                <a:gd name="connsiteX184" fmla="*/ 463550 w 514350"/>
                <a:gd name="connsiteY184" fmla="*/ 514350 h 620717"/>
                <a:gd name="connsiteX185" fmla="*/ 465137 w 514350"/>
                <a:gd name="connsiteY185" fmla="*/ 508000 h 620717"/>
                <a:gd name="connsiteX186" fmla="*/ 466725 w 514350"/>
                <a:gd name="connsiteY186" fmla="*/ 485775 h 620717"/>
                <a:gd name="connsiteX187" fmla="*/ 482600 w 514350"/>
                <a:gd name="connsiteY187" fmla="*/ 474662 h 620717"/>
                <a:gd name="connsiteX188" fmla="*/ 495300 w 514350"/>
                <a:gd name="connsiteY188" fmla="*/ 458787 h 620717"/>
                <a:gd name="connsiteX189" fmla="*/ 501650 w 514350"/>
                <a:gd name="connsiteY189" fmla="*/ 438150 h 620717"/>
                <a:gd name="connsiteX190" fmla="*/ 506412 w 514350"/>
                <a:gd name="connsiteY190" fmla="*/ 433387 h 620717"/>
                <a:gd name="connsiteX191" fmla="*/ 506412 w 514350"/>
                <a:gd name="connsiteY191" fmla="*/ 401637 h 620717"/>
                <a:gd name="connsiteX192" fmla="*/ 501650 w 514350"/>
                <a:gd name="connsiteY192" fmla="*/ 398462 h 620717"/>
                <a:gd name="connsiteX193" fmla="*/ 498475 w 514350"/>
                <a:gd name="connsiteY193" fmla="*/ 392112 h 620717"/>
                <a:gd name="connsiteX194" fmla="*/ 503237 w 514350"/>
                <a:gd name="connsiteY194" fmla="*/ 360362 h 620717"/>
                <a:gd name="connsiteX195" fmla="*/ 508000 w 514350"/>
                <a:gd name="connsiteY195" fmla="*/ 355600 h 620717"/>
                <a:gd name="connsiteX196" fmla="*/ 514350 w 514350"/>
                <a:gd name="connsiteY196" fmla="*/ 346075 h 620717"/>
                <a:gd name="connsiteX197" fmla="*/ 511175 w 514350"/>
                <a:gd name="connsiteY197" fmla="*/ 331787 h 620717"/>
                <a:gd name="connsiteX198" fmla="*/ 506412 w 514350"/>
                <a:gd name="connsiteY198" fmla="*/ 327025 h 620717"/>
                <a:gd name="connsiteX199" fmla="*/ 504825 w 514350"/>
                <a:gd name="connsiteY199" fmla="*/ 315912 h 620717"/>
                <a:gd name="connsiteX200" fmla="*/ 508000 w 514350"/>
                <a:gd name="connsiteY200" fmla="*/ 290512 h 620717"/>
                <a:gd name="connsiteX201" fmla="*/ 506412 w 514350"/>
                <a:gd name="connsiteY201" fmla="*/ 282575 h 620717"/>
                <a:gd name="connsiteX202" fmla="*/ 495300 w 514350"/>
                <a:gd name="connsiteY202" fmla="*/ 276225 h 620717"/>
                <a:gd name="connsiteX203" fmla="*/ 496887 w 514350"/>
                <a:gd name="connsiteY203" fmla="*/ 268287 h 620717"/>
                <a:gd name="connsiteX204" fmla="*/ 501650 w 514350"/>
                <a:gd name="connsiteY204" fmla="*/ 266700 h 620717"/>
                <a:gd name="connsiteX205" fmla="*/ 506412 w 514350"/>
                <a:gd name="connsiteY205" fmla="*/ 263525 h 620717"/>
                <a:gd name="connsiteX206" fmla="*/ 509587 w 514350"/>
                <a:gd name="connsiteY206" fmla="*/ 258762 h 620717"/>
                <a:gd name="connsiteX207" fmla="*/ 511175 w 514350"/>
                <a:gd name="connsiteY207" fmla="*/ 254000 h 620717"/>
                <a:gd name="connsiteX208" fmla="*/ 514350 w 514350"/>
                <a:gd name="connsiteY208" fmla="*/ 246062 h 620717"/>
                <a:gd name="connsiteX209" fmla="*/ 512762 w 514350"/>
                <a:gd name="connsiteY209" fmla="*/ 239712 h 620717"/>
                <a:gd name="connsiteX210" fmla="*/ 496887 w 514350"/>
                <a:gd name="connsiteY210" fmla="*/ 239712 h 620717"/>
                <a:gd name="connsiteX211" fmla="*/ 492125 w 514350"/>
                <a:gd name="connsiteY211" fmla="*/ 241300 h 620717"/>
                <a:gd name="connsiteX212" fmla="*/ 485775 w 514350"/>
                <a:gd name="connsiteY212" fmla="*/ 244475 h 620717"/>
                <a:gd name="connsiteX213" fmla="*/ 481012 w 514350"/>
                <a:gd name="connsiteY213" fmla="*/ 234950 h 620717"/>
                <a:gd name="connsiteX214" fmla="*/ 479425 w 514350"/>
                <a:gd name="connsiteY214" fmla="*/ 222250 h 620717"/>
                <a:gd name="connsiteX215" fmla="*/ 477837 w 514350"/>
                <a:gd name="connsiteY215" fmla="*/ 215900 h 620717"/>
                <a:gd name="connsiteX216" fmla="*/ 473075 w 514350"/>
                <a:gd name="connsiteY216" fmla="*/ 190500 h 620717"/>
                <a:gd name="connsiteX217" fmla="*/ 468312 w 514350"/>
                <a:gd name="connsiteY217" fmla="*/ 176212 h 620717"/>
                <a:gd name="connsiteX218" fmla="*/ 458787 w 514350"/>
                <a:gd name="connsiteY218" fmla="*/ 171450 h 620717"/>
                <a:gd name="connsiteX219" fmla="*/ 449262 w 514350"/>
                <a:gd name="connsiteY219" fmla="*/ 173037 h 620717"/>
                <a:gd name="connsiteX220" fmla="*/ 438150 w 514350"/>
                <a:gd name="connsiteY220" fmla="*/ 182562 h 620717"/>
                <a:gd name="connsiteX221" fmla="*/ 434975 w 514350"/>
                <a:gd name="connsiteY221" fmla="*/ 188912 h 620717"/>
                <a:gd name="connsiteX222" fmla="*/ 428625 w 514350"/>
                <a:gd name="connsiteY222" fmla="*/ 196850 h 620717"/>
                <a:gd name="connsiteX223" fmla="*/ 417512 w 514350"/>
                <a:gd name="connsiteY223" fmla="*/ 206375 h 620717"/>
                <a:gd name="connsiteX224" fmla="*/ 412750 w 514350"/>
                <a:gd name="connsiteY224" fmla="*/ 207962 h 620717"/>
                <a:gd name="connsiteX225" fmla="*/ 401637 w 514350"/>
                <a:gd name="connsiteY225" fmla="*/ 206375 h 620717"/>
                <a:gd name="connsiteX226" fmla="*/ 395287 w 514350"/>
                <a:gd name="connsiteY226" fmla="*/ 200025 h 620717"/>
                <a:gd name="connsiteX227" fmla="*/ 390525 w 514350"/>
                <a:gd name="connsiteY227" fmla="*/ 196850 h 620717"/>
                <a:gd name="connsiteX228" fmla="*/ 385762 w 514350"/>
                <a:gd name="connsiteY228" fmla="*/ 190500 h 620717"/>
                <a:gd name="connsiteX229" fmla="*/ 368300 w 514350"/>
                <a:gd name="connsiteY229" fmla="*/ 171450 h 620717"/>
                <a:gd name="connsiteX230" fmla="*/ 363537 w 514350"/>
                <a:gd name="connsiteY230" fmla="*/ 160337 h 620717"/>
                <a:gd name="connsiteX231" fmla="*/ 358775 w 514350"/>
                <a:gd name="connsiteY231" fmla="*/ 157162 h 620717"/>
                <a:gd name="connsiteX232" fmla="*/ 349250 w 514350"/>
                <a:gd name="connsiteY232" fmla="*/ 144462 h 620717"/>
                <a:gd name="connsiteX233" fmla="*/ 346075 w 514350"/>
                <a:gd name="connsiteY233" fmla="*/ 138112 h 620717"/>
                <a:gd name="connsiteX234" fmla="*/ 350837 w 514350"/>
                <a:gd name="connsiteY234" fmla="*/ 128587 h 620717"/>
                <a:gd name="connsiteX235" fmla="*/ 357187 w 514350"/>
                <a:gd name="connsiteY235" fmla="*/ 127000 h 620717"/>
                <a:gd name="connsiteX236" fmla="*/ 368300 w 514350"/>
                <a:gd name="connsiteY236" fmla="*/ 125412 h 620717"/>
                <a:gd name="connsiteX237" fmla="*/ 374650 w 514350"/>
                <a:gd name="connsiteY237" fmla="*/ 123825 h 620717"/>
                <a:gd name="connsiteX238" fmla="*/ 384175 w 514350"/>
                <a:gd name="connsiteY238" fmla="*/ 120650 h 620717"/>
                <a:gd name="connsiteX239" fmla="*/ 392112 w 514350"/>
                <a:gd name="connsiteY239" fmla="*/ 111125 h 620717"/>
                <a:gd name="connsiteX240" fmla="*/ 388937 w 514350"/>
                <a:gd name="connsiteY240" fmla="*/ 100012 h 620717"/>
                <a:gd name="connsiteX241" fmla="*/ 390525 w 514350"/>
                <a:gd name="connsiteY241" fmla="*/ 93662 h 620717"/>
                <a:gd name="connsiteX242" fmla="*/ 401637 w 514350"/>
                <a:gd name="connsiteY242" fmla="*/ 95250 h 620717"/>
                <a:gd name="connsiteX243" fmla="*/ 423862 w 514350"/>
                <a:gd name="connsiteY243" fmla="*/ 93662 h 620717"/>
                <a:gd name="connsiteX244" fmla="*/ 430212 w 514350"/>
                <a:gd name="connsiteY244" fmla="*/ 87312 h 620717"/>
                <a:gd name="connsiteX245" fmla="*/ 431800 w 514350"/>
                <a:gd name="connsiteY245" fmla="*/ 61912 h 620717"/>
                <a:gd name="connsiteX246" fmla="*/ 443914 w 514350"/>
                <a:gd name="connsiteY246" fmla="*/ 64084 h 620717"/>
                <a:gd name="connsiteX247" fmla="*/ 448737 w 514350"/>
                <a:gd name="connsiteY247" fmla="*/ 66117 h 620717"/>
                <a:gd name="connsiteX248" fmla="*/ 435858 w 514350"/>
                <a:gd name="connsiteY248" fmla="*/ 67146 h 620717"/>
                <a:gd name="connsiteX249" fmla="*/ 451852 w 514350"/>
                <a:gd name="connsiteY249" fmla="*/ 72772 h 620717"/>
                <a:gd name="connsiteX250" fmla="*/ 439737 w 514350"/>
                <a:gd name="connsiteY250" fmla="*/ 79845 h 620717"/>
                <a:gd name="connsiteX251" fmla="*/ 450399 w 514350"/>
                <a:gd name="connsiteY251" fmla="*/ 73819 h 620717"/>
                <a:gd name="connsiteX252" fmla="*/ 455612 w 514350"/>
                <a:gd name="connsiteY252" fmla="*/ 69850 h 620717"/>
                <a:gd name="connsiteX253" fmla="*/ 461962 w 514350"/>
                <a:gd name="connsiteY253" fmla="*/ 68262 h 620717"/>
                <a:gd name="connsiteX254" fmla="*/ 466725 w 514350"/>
                <a:gd name="connsiteY254" fmla="*/ 61912 h 620717"/>
                <a:gd name="connsiteX255" fmla="*/ 492125 w 514350"/>
                <a:gd name="connsiteY255" fmla="*/ 53975 h 620717"/>
                <a:gd name="connsiteX256" fmla="*/ 496887 w 514350"/>
                <a:gd name="connsiteY256" fmla="*/ 49212 h 620717"/>
                <a:gd name="connsiteX257" fmla="*/ 500062 w 514350"/>
                <a:gd name="connsiteY257" fmla="*/ 41275 h 620717"/>
                <a:gd name="connsiteX258" fmla="*/ 496887 w 514350"/>
                <a:gd name="connsiteY258"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31990 w 514350"/>
                <a:gd name="connsiteY9" fmla="*/ 30292 h 620717"/>
                <a:gd name="connsiteX10" fmla="*/ 429013 w 514350"/>
                <a:gd name="connsiteY10" fmla="*/ 42388 h 620717"/>
                <a:gd name="connsiteX11" fmla="*/ 417848 w 514350"/>
                <a:gd name="connsiteY11" fmla="*/ 33753 h 620717"/>
                <a:gd name="connsiteX12" fmla="*/ 415884 w 514350"/>
                <a:gd name="connsiteY12" fmla="*/ 9813 h 620717"/>
                <a:gd name="connsiteX13" fmla="*/ 401637 w 514350"/>
                <a:gd name="connsiteY13" fmla="*/ 12700 h 620717"/>
                <a:gd name="connsiteX14" fmla="*/ 352425 w 514350"/>
                <a:gd name="connsiteY14" fmla="*/ 19050 h 620717"/>
                <a:gd name="connsiteX15" fmla="*/ 350837 w 514350"/>
                <a:gd name="connsiteY15" fmla="*/ 23812 h 620717"/>
                <a:gd name="connsiteX16" fmla="*/ 352425 w 514350"/>
                <a:gd name="connsiteY16" fmla="*/ 38100 h 620717"/>
                <a:gd name="connsiteX17" fmla="*/ 357187 w 514350"/>
                <a:gd name="connsiteY17" fmla="*/ 44450 h 620717"/>
                <a:gd name="connsiteX18" fmla="*/ 349250 w 514350"/>
                <a:gd name="connsiteY18" fmla="*/ 58737 h 620717"/>
                <a:gd name="connsiteX19" fmla="*/ 328612 w 514350"/>
                <a:gd name="connsiteY19" fmla="*/ 60325 h 620717"/>
                <a:gd name="connsiteX20" fmla="*/ 307975 w 514350"/>
                <a:gd name="connsiteY20" fmla="*/ 68262 h 620717"/>
                <a:gd name="connsiteX21" fmla="*/ 295275 w 514350"/>
                <a:gd name="connsiteY21" fmla="*/ 73025 h 620717"/>
                <a:gd name="connsiteX22" fmla="*/ 292100 w 514350"/>
                <a:gd name="connsiteY22" fmla="*/ 77787 h 620717"/>
                <a:gd name="connsiteX23" fmla="*/ 296862 w 514350"/>
                <a:gd name="connsiteY23" fmla="*/ 79375 h 620717"/>
                <a:gd name="connsiteX24" fmla="*/ 311150 w 514350"/>
                <a:gd name="connsiteY24" fmla="*/ 82550 h 620717"/>
                <a:gd name="connsiteX25" fmla="*/ 319087 w 514350"/>
                <a:gd name="connsiteY25" fmla="*/ 87312 h 620717"/>
                <a:gd name="connsiteX26" fmla="*/ 323850 w 514350"/>
                <a:gd name="connsiteY26" fmla="*/ 88900 h 620717"/>
                <a:gd name="connsiteX27" fmla="*/ 336550 w 514350"/>
                <a:gd name="connsiteY27" fmla="*/ 103187 h 620717"/>
                <a:gd name="connsiteX28" fmla="*/ 334962 w 514350"/>
                <a:gd name="connsiteY28" fmla="*/ 114300 h 620717"/>
                <a:gd name="connsiteX29" fmla="*/ 330200 w 514350"/>
                <a:gd name="connsiteY29" fmla="*/ 115887 h 620717"/>
                <a:gd name="connsiteX30" fmla="*/ 315912 w 514350"/>
                <a:gd name="connsiteY30" fmla="*/ 130175 h 620717"/>
                <a:gd name="connsiteX31" fmla="*/ 307975 w 514350"/>
                <a:gd name="connsiteY31" fmla="*/ 131762 h 620717"/>
                <a:gd name="connsiteX32" fmla="*/ 300037 w 514350"/>
                <a:gd name="connsiteY32" fmla="*/ 134937 h 620717"/>
                <a:gd name="connsiteX33" fmla="*/ 296862 w 514350"/>
                <a:gd name="connsiteY33" fmla="*/ 142875 h 620717"/>
                <a:gd name="connsiteX34" fmla="*/ 282575 w 514350"/>
                <a:gd name="connsiteY34" fmla="*/ 157162 h 620717"/>
                <a:gd name="connsiteX35" fmla="*/ 273050 w 514350"/>
                <a:gd name="connsiteY35" fmla="*/ 153987 h 620717"/>
                <a:gd name="connsiteX36" fmla="*/ 261937 w 514350"/>
                <a:gd name="connsiteY36" fmla="*/ 147637 h 620717"/>
                <a:gd name="connsiteX37" fmla="*/ 242887 w 514350"/>
                <a:gd name="connsiteY37" fmla="*/ 149225 h 620717"/>
                <a:gd name="connsiteX38" fmla="*/ 236537 w 514350"/>
                <a:gd name="connsiteY38" fmla="*/ 150812 h 620717"/>
                <a:gd name="connsiteX39" fmla="*/ 231775 w 514350"/>
                <a:gd name="connsiteY39" fmla="*/ 142875 h 620717"/>
                <a:gd name="connsiteX40" fmla="*/ 225425 w 514350"/>
                <a:gd name="connsiteY40" fmla="*/ 123825 h 620717"/>
                <a:gd name="connsiteX41" fmla="*/ 219075 w 514350"/>
                <a:gd name="connsiteY41" fmla="*/ 122237 h 620717"/>
                <a:gd name="connsiteX42" fmla="*/ 204787 w 514350"/>
                <a:gd name="connsiteY42" fmla="*/ 120650 h 620717"/>
                <a:gd name="connsiteX43" fmla="*/ 190500 w 514350"/>
                <a:gd name="connsiteY43" fmla="*/ 117475 h 620717"/>
                <a:gd name="connsiteX44" fmla="*/ 182562 w 514350"/>
                <a:gd name="connsiteY44" fmla="*/ 111125 h 620717"/>
                <a:gd name="connsiteX45" fmla="*/ 174625 w 514350"/>
                <a:gd name="connsiteY45" fmla="*/ 104775 h 620717"/>
                <a:gd name="connsiteX46" fmla="*/ 152400 w 514350"/>
                <a:gd name="connsiteY46" fmla="*/ 106362 h 620717"/>
                <a:gd name="connsiteX47" fmla="*/ 150812 w 514350"/>
                <a:gd name="connsiteY47" fmla="*/ 117475 h 620717"/>
                <a:gd name="connsiteX48" fmla="*/ 133350 w 514350"/>
                <a:gd name="connsiteY48" fmla="*/ 120650 h 620717"/>
                <a:gd name="connsiteX49" fmla="*/ 138112 w 514350"/>
                <a:gd name="connsiteY49" fmla="*/ 123825 h 620717"/>
                <a:gd name="connsiteX50" fmla="*/ 139700 w 514350"/>
                <a:gd name="connsiteY50" fmla="*/ 128587 h 620717"/>
                <a:gd name="connsiteX51" fmla="*/ 146050 w 514350"/>
                <a:gd name="connsiteY51" fmla="*/ 131762 h 620717"/>
                <a:gd name="connsiteX52" fmla="*/ 147637 w 514350"/>
                <a:gd name="connsiteY52" fmla="*/ 138112 h 620717"/>
                <a:gd name="connsiteX53" fmla="*/ 123825 w 514350"/>
                <a:gd name="connsiteY53" fmla="*/ 146050 h 620717"/>
                <a:gd name="connsiteX54" fmla="*/ 117475 w 514350"/>
                <a:gd name="connsiteY54" fmla="*/ 155575 h 620717"/>
                <a:gd name="connsiteX55" fmla="*/ 112712 w 514350"/>
                <a:gd name="connsiteY55" fmla="*/ 157162 h 620717"/>
                <a:gd name="connsiteX56" fmla="*/ 125412 w 514350"/>
                <a:gd name="connsiteY56" fmla="*/ 161925 h 620717"/>
                <a:gd name="connsiteX57" fmla="*/ 130175 w 514350"/>
                <a:gd name="connsiteY57" fmla="*/ 163512 h 620717"/>
                <a:gd name="connsiteX58" fmla="*/ 142875 w 514350"/>
                <a:gd name="connsiteY58" fmla="*/ 166687 h 620717"/>
                <a:gd name="connsiteX59" fmla="*/ 147637 w 514350"/>
                <a:gd name="connsiteY59" fmla="*/ 173037 h 620717"/>
                <a:gd name="connsiteX60" fmla="*/ 152400 w 514350"/>
                <a:gd name="connsiteY60" fmla="*/ 177800 h 620717"/>
                <a:gd name="connsiteX61" fmla="*/ 146050 w 514350"/>
                <a:gd name="connsiteY61" fmla="*/ 179387 h 620717"/>
                <a:gd name="connsiteX62" fmla="*/ 149225 w 514350"/>
                <a:gd name="connsiteY62" fmla="*/ 185737 h 620717"/>
                <a:gd name="connsiteX63" fmla="*/ 153987 w 514350"/>
                <a:gd name="connsiteY63" fmla="*/ 187325 h 620717"/>
                <a:gd name="connsiteX64" fmla="*/ 168275 w 514350"/>
                <a:gd name="connsiteY64" fmla="*/ 190500 h 620717"/>
                <a:gd name="connsiteX65" fmla="*/ 165100 w 514350"/>
                <a:gd name="connsiteY65" fmla="*/ 198437 h 620717"/>
                <a:gd name="connsiteX66" fmla="*/ 160337 w 514350"/>
                <a:gd name="connsiteY66" fmla="*/ 200025 h 620717"/>
                <a:gd name="connsiteX67" fmla="*/ 139700 w 514350"/>
                <a:gd name="connsiteY67" fmla="*/ 196850 h 620717"/>
                <a:gd name="connsiteX68" fmla="*/ 153987 w 514350"/>
                <a:gd name="connsiteY68" fmla="*/ 211137 h 620717"/>
                <a:gd name="connsiteX69" fmla="*/ 152400 w 514350"/>
                <a:gd name="connsiteY69" fmla="*/ 217487 h 620717"/>
                <a:gd name="connsiteX70" fmla="*/ 138112 w 514350"/>
                <a:gd name="connsiteY70" fmla="*/ 219075 h 620717"/>
                <a:gd name="connsiteX71" fmla="*/ 142875 w 514350"/>
                <a:gd name="connsiteY71" fmla="*/ 223837 h 620717"/>
                <a:gd name="connsiteX72" fmla="*/ 141287 w 514350"/>
                <a:gd name="connsiteY72" fmla="*/ 228600 h 620717"/>
                <a:gd name="connsiteX73" fmla="*/ 107950 w 514350"/>
                <a:gd name="connsiteY73" fmla="*/ 231775 h 620717"/>
                <a:gd name="connsiteX74" fmla="*/ 95250 w 514350"/>
                <a:gd name="connsiteY74" fmla="*/ 233362 h 620717"/>
                <a:gd name="connsiteX75" fmla="*/ 92075 w 514350"/>
                <a:gd name="connsiteY75" fmla="*/ 247650 h 620717"/>
                <a:gd name="connsiteX76" fmla="*/ 93662 w 514350"/>
                <a:gd name="connsiteY76" fmla="*/ 252412 h 620717"/>
                <a:gd name="connsiteX77" fmla="*/ 109537 w 514350"/>
                <a:gd name="connsiteY77" fmla="*/ 260350 h 620717"/>
                <a:gd name="connsiteX78" fmla="*/ 114300 w 514350"/>
                <a:gd name="connsiteY78" fmla="*/ 263525 h 620717"/>
                <a:gd name="connsiteX79" fmla="*/ 119062 w 514350"/>
                <a:gd name="connsiteY79" fmla="*/ 268287 h 620717"/>
                <a:gd name="connsiteX80" fmla="*/ 123825 w 514350"/>
                <a:gd name="connsiteY80" fmla="*/ 269875 h 620717"/>
                <a:gd name="connsiteX81" fmla="*/ 128587 w 514350"/>
                <a:gd name="connsiteY81" fmla="*/ 273050 h 620717"/>
                <a:gd name="connsiteX82" fmla="*/ 114300 w 514350"/>
                <a:gd name="connsiteY82" fmla="*/ 279400 h 620717"/>
                <a:gd name="connsiteX83" fmla="*/ 109537 w 514350"/>
                <a:gd name="connsiteY83" fmla="*/ 284162 h 620717"/>
                <a:gd name="connsiteX84" fmla="*/ 111125 w 514350"/>
                <a:gd name="connsiteY84" fmla="*/ 293687 h 620717"/>
                <a:gd name="connsiteX85" fmla="*/ 125412 w 514350"/>
                <a:gd name="connsiteY85" fmla="*/ 296862 h 620717"/>
                <a:gd name="connsiteX86" fmla="*/ 136525 w 514350"/>
                <a:gd name="connsiteY86" fmla="*/ 301625 h 620717"/>
                <a:gd name="connsiteX87" fmla="*/ 142875 w 514350"/>
                <a:gd name="connsiteY87" fmla="*/ 303212 h 620717"/>
                <a:gd name="connsiteX88" fmla="*/ 146050 w 514350"/>
                <a:gd name="connsiteY88" fmla="*/ 311150 h 620717"/>
                <a:gd name="connsiteX89" fmla="*/ 158750 w 514350"/>
                <a:gd name="connsiteY89" fmla="*/ 315912 h 620717"/>
                <a:gd name="connsiteX90" fmla="*/ 193675 w 514350"/>
                <a:gd name="connsiteY90" fmla="*/ 317500 h 620717"/>
                <a:gd name="connsiteX91" fmla="*/ 209550 w 514350"/>
                <a:gd name="connsiteY91" fmla="*/ 320675 h 620717"/>
                <a:gd name="connsiteX92" fmla="*/ 204787 w 514350"/>
                <a:gd name="connsiteY92" fmla="*/ 323850 h 620717"/>
                <a:gd name="connsiteX93" fmla="*/ 200025 w 514350"/>
                <a:gd name="connsiteY93" fmla="*/ 325437 h 620717"/>
                <a:gd name="connsiteX94" fmla="*/ 190500 w 514350"/>
                <a:gd name="connsiteY94" fmla="*/ 331787 h 620717"/>
                <a:gd name="connsiteX95" fmla="*/ 182562 w 514350"/>
                <a:gd name="connsiteY95" fmla="*/ 338137 h 620717"/>
                <a:gd name="connsiteX96" fmla="*/ 176212 w 514350"/>
                <a:gd name="connsiteY96" fmla="*/ 341312 h 620717"/>
                <a:gd name="connsiteX97" fmla="*/ 171450 w 514350"/>
                <a:gd name="connsiteY97" fmla="*/ 344487 h 620717"/>
                <a:gd name="connsiteX98" fmla="*/ 161925 w 514350"/>
                <a:gd name="connsiteY98" fmla="*/ 347662 h 620717"/>
                <a:gd name="connsiteX99" fmla="*/ 149225 w 514350"/>
                <a:gd name="connsiteY99" fmla="*/ 365125 h 620717"/>
                <a:gd name="connsiteX100" fmla="*/ 139700 w 514350"/>
                <a:gd name="connsiteY100" fmla="*/ 382587 h 620717"/>
                <a:gd name="connsiteX101" fmla="*/ 134937 w 514350"/>
                <a:gd name="connsiteY101" fmla="*/ 384175 h 620717"/>
                <a:gd name="connsiteX102" fmla="*/ 133350 w 514350"/>
                <a:gd name="connsiteY102" fmla="*/ 388937 h 620717"/>
                <a:gd name="connsiteX103" fmla="*/ 128587 w 514350"/>
                <a:gd name="connsiteY103" fmla="*/ 392112 h 620717"/>
                <a:gd name="connsiteX104" fmla="*/ 120650 w 514350"/>
                <a:gd name="connsiteY104" fmla="*/ 398462 h 620717"/>
                <a:gd name="connsiteX105" fmla="*/ 114300 w 514350"/>
                <a:gd name="connsiteY105" fmla="*/ 409575 h 620717"/>
                <a:gd name="connsiteX106" fmla="*/ 109537 w 514350"/>
                <a:gd name="connsiteY106" fmla="*/ 411162 h 620717"/>
                <a:gd name="connsiteX107" fmla="*/ 92075 w 514350"/>
                <a:gd name="connsiteY107" fmla="*/ 414337 h 620717"/>
                <a:gd name="connsiteX108" fmla="*/ 92075 w 514350"/>
                <a:gd name="connsiteY108" fmla="*/ 433387 h 620717"/>
                <a:gd name="connsiteX109" fmla="*/ 79375 w 514350"/>
                <a:gd name="connsiteY109" fmla="*/ 441325 h 620717"/>
                <a:gd name="connsiteX110" fmla="*/ 73025 w 514350"/>
                <a:gd name="connsiteY110" fmla="*/ 455612 h 620717"/>
                <a:gd name="connsiteX111" fmla="*/ 69850 w 514350"/>
                <a:gd name="connsiteY111" fmla="*/ 463550 h 620717"/>
                <a:gd name="connsiteX112" fmla="*/ 65087 w 514350"/>
                <a:gd name="connsiteY112" fmla="*/ 465137 h 620717"/>
                <a:gd name="connsiteX113" fmla="*/ 38100 w 514350"/>
                <a:gd name="connsiteY113" fmla="*/ 466725 h 620717"/>
                <a:gd name="connsiteX114" fmla="*/ 34925 w 514350"/>
                <a:gd name="connsiteY114" fmla="*/ 473075 h 620717"/>
                <a:gd name="connsiteX115" fmla="*/ 30162 w 514350"/>
                <a:gd name="connsiteY115" fmla="*/ 476250 h 620717"/>
                <a:gd name="connsiteX116" fmla="*/ 0 w 514350"/>
                <a:gd name="connsiteY116" fmla="*/ 477837 h 620717"/>
                <a:gd name="connsiteX117" fmla="*/ 4762 w 514350"/>
                <a:gd name="connsiteY117" fmla="*/ 484187 h 620717"/>
                <a:gd name="connsiteX118" fmla="*/ 23812 w 514350"/>
                <a:gd name="connsiteY118" fmla="*/ 485775 h 620717"/>
                <a:gd name="connsiteX119" fmla="*/ 30162 w 514350"/>
                <a:gd name="connsiteY119" fmla="*/ 487362 h 620717"/>
                <a:gd name="connsiteX120" fmla="*/ 39687 w 514350"/>
                <a:gd name="connsiteY120" fmla="*/ 488950 h 620717"/>
                <a:gd name="connsiteX121" fmla="*/ 33337 w 514350"/>
                <a:gd name="connsiteY121" fmla="*/ 492125 h 620717"/>
                <a:gd name="connsiteX122" fmla="*/ 25400 w 514350"/>
                <a:gd name="connsiteY122" fmla="*/ 493712 h 620717"/>
                <a:gd name="connsiteX123" fmla="*/ 19050 w 514350"/>
                <a:gd name="connsiteY123" fmla="*/ 495300 h 620717"/>
                <a:gd name="connsiteX124" fmla="*/ 14287 w 514350"/>
                <a:gd name="connsiteY124" fmla="*/ 498475 h 620717"/>
                <a:gd name="connsiteX125" fmla="*/ 4762 w 514350"/>
                <a:gd name="connsiteY125" fmla="*/ 503237 h 620717"/>
                <a:gd name="connsiteX126" fmla="*/ 3175 w 514350"/>
                <a:gd name="connsiteY126" fmla="*/ 508000 h 620717"/>
                <a:gd name="connsiteX127" fmla="*/ 4762 w 514350"/>
                <a:gd name="connsiteY127" fmla="*/ 530225 h 620717"/>
                <a:gd name="connsiteX128" fmla="*/ 11112 w 514350"/>
                <a:gd name="connsiteY128" fmla="*/ 533400 h 620717"/>
                <a:gd name="connsiteX129" fmla="*/ 20637 w 514350"/>
                <a:gd name="connsiteY129" fmla="*/ 534987 h 620717"/>
                <a:gd name="connsiteX130" fmla="*/ 26987 w 514350"/>
                <a:gd name="connsiteY130" fmla="*/ 536575 h 620717"/>
                <a:gd name="connsiteX131" fmla="*/ 39687 w 514350"/>
                <a:gd name="connsiteY131" fmla="*/ 542925 h 620717"/>
                <a:gd name="connsiteX132" fmla="*/ 44450 w 514350"/>
                <a:gd name="connsiteY132" fmla="*/ 546100 h 620717"/>
                <a:gd name="connsiteX133" fmla="*/ 58737 w 514350"/>
                <a:gd name="connsiteY133" fmla="*/ 547687 h 620717"/>
                <a:gd name="connsiteX134" fmla="*/ 47625 w 514350"/>
                <a:gd name="connsiteY134" fmla="*/ 555625 h 620717"/>
                <a:gd name="connsiteX135" fmla="*/ 30162 w 514350"/>
                <a:gd name="connsiteY135" fmla="*/ 558800 h 620717"/>
                <a:gd name="connsiteX136" fmla="*/ 7937 w 514350"/>
                <a:gd name="connsiteY136" fmla="*/ 563562 h 620717"/>
                <a:gd name="connsiteX137" fmla="*/ 7937 w 514350"/>
                <a:gd name="connsiteY137" fmla="*/ 576262 h 620717"/>
                <a:gd name="connsiteX138" fmla="*/ 17462 w 514350"/>
                <a:gd name="connsiteY138" fmla="*/ 577850 h 620717"/>
                <a:gd name="connsiteX139" fmla="*/ 39687 w 514350"/>
                <a:gd name="connsiteY139" fmla="*/ 581025 h 620717"/>
                <a:gd name="connsiteX140" fmla="*/ 47625 w 514350"/>
                <a:gd name="connsiteY140" fmla="*/ 582612 h 620717"/>
                <a:gd name="connsiteX141" fmla="*/ 61912 w 514350"/>
                <a:gd name="connsiteY141" fmla="*/ 584200 h 620717"/>
                <a:gd name="connsiteX142" fmla="*/ 66675 w 514350"/>
                <a:gd name="connsiteY142" fmla="*/ 587375 h 620717"/>
                <a:gd name="connsiteX143" fmla="*/ 53975 w 514350"/>
                <a:gd name="connsiteY143" fmla="*/ 593725 h 620717"/>
                <a:gd name="connsiteX144" fmla="*/ 52387 w 514350"/>
                <a:gd name="connsiteY144" fmla="*/ 601662 h 620717"/>
                <a:gd name="connsiteX145" fmla="*/ 50800 w 514350"/>
                <a:gd name="connsiteY145" fmla="*/ 606425 h 620717"/>
                <a:gd name="connsiteX146" fmla="*/ 55562 w 514350"/>
                <a:gd name="connsiteY146" fmla="*/ 614362 h 620717"/>
                <a:gd name="connsiteX147" fmla="*/ 79375 w 514350"/>
                <a:gd name="connsiteY147" fmla="*/ 609600 h 620717"/>
                <a:gd name="connsiteX148" fmla="*/ 123825 w 514350"/>
                <a:gd name="connsiteY148" fmla="*/ 612775 h 620717"/>
                <a:gd name="connsiteX149" fmla="*/ 130175 w 514350"/>
                <a:gd name="connsiteY149" fmla="*/ 617537 h 620717"/>
                <a:gd name="connsiteX150" fmla="*/ 144462 w 514350"/>
                <a:gd name="connsiteY150" fmla="*/ 620712 h 620717"/>
                <a:gd name="connsiteX151" fmla="*/ 173037 w 514350"/>
                <a:gd name="connsiteY151" fmla="*/ 617537 h 620717"/>
                <a:gd name="connsiteX152" fmla="*/ 180975 w 514350"/>
                <a:gd name="connsiteY152" fmla="*/ 614362 h 620717"/>
                <a:gd name="connsiteX153" fmla="*/ 187325 w 514350"/>
                <a:gd name="connsiteY153" fmla="*/ 609600 h 620717"/>
                <a:gd name="connsiteX154" fmla="*/ 196850 w 514350"/>
                <a:gd name="connsiteY154" fmla="*/ 606425 h 620717"/>
                <a:gd name="connsiteX155" fmla="*/ 198437 w 514350"/>
                <a:gd name="connsiteY155" fmla="*/ 600075 h 620717"/>
                <a:gd name="connsiteX156" fmla="*/ 203200 w 514350"/>
                <a:gd name="connsiteY156" fmla="*/ 595312 h 620717"/>
                <a:gd name="connsiteX157" fmla="*/ 215900 w 514350"/>
                <a:gd name="connsiteY157" fmla="*/ 581025 h 620717"/>
                <a:gd name="connsiteX158" fmla="*/ 230187 w 514350"/>
                <a:gd name="connsiteY158" fmla="*/ 582612 h 620717"/>
                <a:gd name="connsiteX159" fmla="*/ 238125 w 514350"/>
                <a:gd name="connsiteY159" fmla="*/ 584200 h 620717"/>
                <a:gd name="connsiteX160" fmla="*/ 261937 w 514350"/>
                <a:gd name="connsiteY160" fmla="*/ 581025 h 620717"/>
                <a:gd name="connsiteX161" fmla="*/ 263525 w 514350"/>
                <a:gd name="connsiteY161" fmla="*/ 576262 h 620717"/>
                <a:gd name="connsiteX162" fmla="*/ 266700 w 514350"/>
                <a:gd name="connsiteY162" fmla="*/ 582612 h 620717"/>
                <a:gd name="connsiteX163" fmla="*/ 277812 w 514350"/>
                <a:gd name="connsiteY163" fmla="*/ 590550 h 620717"/>
                <a:gd name="connsiteX164" fmla="*/ 279400 w 514350"/>
                <a:gd name="connsiteY164" fmla="*/ 579437 h 620717"/>
                <a:gd name="connsiteX165" fmla="*/ 287337 w 514350"/>
                <a:gd name="connsiteY165" fmla="*/ 571500 h 620717"/>
                <a:gd name="connsiteX166" fmla="*/ 290512 w 514350"/>
                <a:gd name="connsiteY166" fmla="*/ 566737 h 620717"/>
                <a:gd name="connsiteX167" fmla="*/ 311150 w 514350"/>
                <a:gd name="connsiteY167" fmla="*/ 558800 h 620717"/>
                <a:gd name="connsiteX168" fmla="*/ 354012 w 514350"/>
                <a:gd name="connsiteY168" fmla="*/ 554037 h 620717"/>
                <a:gd name="connsiteX169" fmla="*/ 360362 w 514350"/>
                <a:gd name="connsiteY169" fmla="*/ 561975 h 620717"/>
                <a:gd name="connsiteX170" fmla="*/ 365125 w 514350"/>
                <a:gd name="connsiteY170" fmla="*/ 563562 h 620717"/>
                <a:gd name="connsiteX171" fmla="*/ 366712 w 514350"/>
                <a:gd name="connsiteY171" fmla="*/ 557212 h 620717"/>
                <a:gd name="connsiteX172" fmla="*/ 368300 w 514350"/>
                <a:gd name="connsiteY172" fmla="*/ 552450 h 620717"/>
                <a:gd name="connsiteX173" fmla="*/ 377825 w 514350"/>
                <a:gd name="connsiteY173" fmla="*/ 557212 h 620717"/>
                <a:gd name="connsiteX174" fmla="*/ 382587 w 514350"/>
                <a:gd name="connsiteY174" fmla="*/ 563562 h 620717"/>
                <a:gd name="connsiteX175" fmla="*/ 404812 w 514350"/>
                <a:gd name="connsiteY175" fmla="*/ 565150 h 620717"/>
                <a:gd name="connsiteX176" fmla="*/ 414337 w 514350"/>
                <a:gd name="connsiteY176" fmla="*/ 571500 h 620717"/>
                <a:gd name="connsiteX177" fmla="*/ 419100 w 514350"/>
                <a:gd name="connsiteY177" fmla="*/ 574675 h 620717"/>
                <a:gd name="connsiteX178" fmla="*/ 436562 w 514350"/>
                <a:gd name="connsiteY178" fmla="*/ 573087 h 620717"/>
                <a:gd name="connsiteX179" fmla="*/ 434975 w 514350"/>
                <a:gd name="connsiteY179" fmla="*/ 566737 h 620717"/>
                <a:gd name="connsiteX180" fmla="*/ 430212 w 514350"/>
                <a:gd name="connsiteY180" fmla="*/ 546100 h 620717"/>
                <a:gd name="connsiteX181" fmla="*/ 433387 w 514350"/>
                <a:gd name="connsiteY181" fmla="*/ 531812 h 620717"/>
                <a:gd name="connsiteX182" fmla="*/ 446087 w 514350"/>
                <a:gd name="connsiteY182" fmla="*/ 525462 h 620717"/>
                <a:gd name="connsiteX183" fmla="*/ 452437 w 514350"/>
                <a:gd name="connsiteY183" fmla="*/ 519112 h 620717"/>
                <a:gd name="connsiteX184" fmla="*/ 463550 w 514350"/>
                <a:gd name="connsiteY184" fmla="*/ 514350 h 620717"/>
                <a:gd name="connsiteX185" fmla="*/ 465137 w 514350"/>
                <a:gd name="connsiteY185" fmla="*/ 508000 h 620717"/>
                <a:gd name="connsiteX186" fmla="*/ 466725 w 514350"/>
                <a:gd name="connsiteY186" fmla="*/ 485775 h 620717"/>
                <a:gd name="connsiteX187" fmla="*/ 482600 w 514350"/>
                <a:gd name="connsiteY187" fmla="*/ 474662 h 620717"/>
                <a:gd name="connsiteX188" fmla="*/ 495300 w 514350"/>
                <a:gd name="connsiteY188" fmla="*/ 458787 h 620717"/>
                <a:gd name="connsiteX189" fmla="*/ 501650 w 514350"/>
                <a:gd name="connsiteY189" fmla="*/ 438150 h 620717"/>
                <a:gd name="connsiteX190" fmla="*/ 506412 w 514350"/>
                <a:gd name="connsiteY190" fmla="*/ 433387 h 620717"/>
                <a:gd name="connsiteX191" fmla="*/ 506412 w 514350"/>
                <a:gd name="connsiteY191" fmla="*/ 401637 h 620717"/>
                <a:gd name="connsiteX192" fmla="*/ 501650 w 514350"/>
                <a:gd name="connsiteY192" fmla="*/ 398462 h 620717"/>
                <a:gd name="connsiteX193" fmla="*/ 498475 w 514350"/>
                <a:gd name="connsiteY193" fmla="*/ 392112 h 620717"/>
                <a:gd name="connsiteX194" fmla="*/ 503237 w 514350"/>
                <a:gd name="connsiteY194" fmla="*/ 360362 h 620717"/>
                <a:gd name="connsiteX195" fmla="*/ 508000 w 514350"/>
                <a:gd name="connsiteY195" fmla="*/ 355600 h 620717"/>
                <a:gd name="connsiteX196" fmla="*/ 514350 w 514350"/>
                <a:gd name="connsiteY196" fmla="*/ 346075 h 620717"/>
                <a:gd name="connsiteX197" fmla="*/ 511175 w 514350"/>
                <a:gd name="connsiteY197" fmla="*/ 331787 h 620717"/>
                <a:gd name="connsiteX198" fmla="*/ 506412 w 514350"/>
                <a:gd name="connsiteY198" fmla="*/ 327025 h 620717"/>
                <a:gd name="connsiteX199" fmla="*/ 504825 w 514350"/>
                <a:gd name="connsiteY199" fmla="*/ 315912 h 620717"/>
                <a:gd name="connsiteX200" fmla="*/ 508000 w 514350"/>
                <a:gd name="connsiteY200" fmla="*/ 290512 h 620717"/>
                <a:gd name="connsiteX201" fmla="*/ 506412 w 514350"/>
                <a:gd name="connsiteY201" fmla="*/ 282575 h 620717"/>
                <a:gd name="connsiteX202" fmla="*/ 495300 w 514350"/>
                <a:gd name="connsiteY202" fmla="*/ 276225 h 620717"/>
                <a:gd name="connsiteX203" fmla="*/ 496887 w 514350"/>
                <a:gd name="connsiteY203" fmla="*/ 268287 h 620717"/>
                <a:gd name="connsiteX204" fmla="*/ 501650 w 514350"/>
                <a:gd name="connsiteY204" fmla="*/ 266700 h 620717"/>
                <a:gd name="connsiteX205" fmla="*/ 506412 w 514350"/>
                <a:gd name="connsiteY205" fmla="*/ 263525 h 620717"/>
                <a:gd name="connsiteX206" fmla="*/ 509587 w 514350"/>
                <a:gd name="connsiteY206" fmla="*/ 258762 h 620717"/>
                <a:gd name="connsiteX207" fmla="*/ 511175 w 514350"/>
                <a:gd name="connsiteY207" fmla="*/ 254000 h 620717"/>
                <a:gd name="connsiteX208" fmla="*/ 514350 w 514350"/>
                <a:gd name="connsiteY208" fmla="*/ 246062 h 620717"/>
                <a:gd name="connsiteX209" fmla="*/ 512762 w 514350"/>
                <a:gd name="connsiteY209" fmla="*/ 239712 h 620717"/>
                <a:gd name="connsiteX210" fmla="*/ 496887 w 514350"/>
                <a:gd name="connsiteY210" fmla="*/ 239712 h 620717"/>
                <a:gd name="connsiteX211" fmla="*/ 492125 w 514350"/>
                <a:gd name="connsiteY211" fmla="*/ 241300 h 620717"/>
                <a:gd name="connsiteX212" fmla="*/ 485775 w 514350"/>
                <a:gd name="connsiteY212" fmla="*/ 244475 h 620717"/>
                <a:gd name="connsiteX213" fmla="*/ 481012 w 514350"/>
                <a:gd name="connsiteY213" fmla="*/ 234950 h 620717"/>
                <a:gd name="connsiteX214" fmla="*/ 479425 w 514350"/>
                <a:gd name="connsiteY214" fmla="*/ 222250 h 620717"/>
                <a:gd name="connsiteX215" fmla="*/ 477837 w 514350"/>
                <a:gd name="connsiteY215" fmla="*/ 215900 h 620717"/>
                <a:gd name="connsiteX216" fmla="*/ 473075 w 514350"/>
                <a:gd name="connsiteY216" fmla="*/ 190500 h 620717"/>
                <a:gd name="connsiteX217" fmla="*/ 468312 w 514350"/>
                <a:gd name="connsiteY217" fmla="*/ 176212 h 620717"/>
                <a:gd name="connsiteX218" fmla="*/ 458787 w 514350"/>
                <a:gd name="connsiteY218" fmla="*/ 171450 h 620717"/>
                <a:gd name="connsiteX219" fmla="*/ 449262 w 514350"/>
                <a:gd name="connsiteY219" fmla="*/ 173037 h 620717"/>
                <a:gd name="connsiteX220" fmla="*/ 438150 w 514350"/>
                <a:gd name="connsiteY220" fmla="*/ 182562 h 620717"/>
                <a:gd name="connsiteX221" fmla="*/ 434975 w 514350"/>
                <a:gd name="connsiteY221" fmla="*/ 188912 h 620717"/>
                <a:gd name="connsiteX222" fmla="*/ 428625 w 514350"/>
                <a:gd name="connsiteY222" fmla="*/ 196850 h 620717"/>
                <a:gd name="connsiteX223" fmla="*/ 417512 w 514350"/>
                <a:gd name="connsiteY223" fmla="*/ 206375 h 620717"/>
                <a:gd name="connsiteX224" fmla="*/ 412750 w 514350"/>
                <a:gd name="connsiteY224" fmla="*/ 207962 h 620717"/>
                <a:gd name="connsiteX225" fmla="*/ 401637 w 514350"/>
                <a:gd name="connsiteY225" fmla="*/ 206375 h 620717"/>
                <a:gd name="connsiteX226" fmla="*/ 395287 w 514350"/>
                <a:gd name="connsiteY226" fmla="*/ 200025 h 620717"/>
                <a:gd name="connsiteX227" fmla="*/ 390525 w 514350"/>
                <a:gd name="connsiteY227" fmla="*/ 196850 h 620717"/>
                <a:gd name="connsiteX228" fmla="*/ 385762 w 514350"/>
                <a:gd name="connsiteY228" fmla="*/ 190500 h 620717"/>
                <a:gd name="connsiteX229" fmla="*/ 368300 w 514350"/>
                <a:gd name="connsiteY229" fmla="*/ 171450 h 620717"/>
                <a:gd name="connsiteX230" fmla="*/ 363537 w 514350"/>
                <a:gd name="connsiteY230" fmla="*/ 160337 h 620717"/>
                <a:gd name="connsiteX231" fmla="*/ 358775 w 514350"/>
                <a:gd name="connsiteY231" fmla="*/ 157162 h 620717"/>
                <a:gd name="connsiteX232" fmla="*/ 349250 w 514350"/>
                <a:gd name="connsiteY232" fmla="*/ 144462 h 620717"/>
                <a:gd name="connsiteX233" fmla="*/ 346075 w 514350"/>
                <a:gd name="connsiteY233" fmla="*/ 138112 h 620717"/>
                <a:gd name="connsiteX234" fmla="*/ 350837 w 514350"/>
                <a:gd name="connsiteY234" fmla="*/ 128587 h 620717"/>
                <a:gd name="connsiteX235" fmla="*/ 357187 w 514350"/>
                <a:gd name="connsiteY235" fmla="*/ 127000 h 620717"/>
                <a:gd name="connsiteX236" fmla="*/ 368300 w 514350"/>
                <a:gd name="connsiteY236" fmla="*/ 125412 h 620717"/>
                <a:gd name="connsiteX237" fmla="*/ 374650 w 514350"/>
                <a:gd name="connsiteY237" fmla="*/ 123825 h 620717"/>
                <a:gd name="connsiteX238" fmla="*/ 384175 w 514350"/>
                <a:gd name="connsiteY238" fmla="*/ 120650 h 620717"/>
                <a:gd name="connsiteX239" fmla="*/ 392112 w 514350"/>
                <a:gd name="connsiteY239" fmla="*/ 111125 h 620717"/>
                <a:gd name="connsiteX240" fmla="*/ 388937 w 514350"/>
                <a:gd name="connsiteY240" fmla="*/ 100012 h 620717"/>
                <a:gd name="connsiteX241" fmla="*/ 390525 w 514350"/>
                <a:gd name="connsiteY241" fmla="*/ 93662 h 620717"/>
                <a:gd name="connsiteX242" fmla="*/ 401637 w 514350"/>
                <a:gd name="connsiteY242" fmla="*/ 95250 h 620717"/>
                <a:gd name="connsiteX243" fmla="*/ 423862 w 514350"/>
                <a:gd name="connsiteY243" fmla="*/ 93662 h 620717"/>
                <a:gd name="connsiteX244" fmla="*/ 430212 w 514350"/>
                <a:gd name="connsiteY244" fmla="*/ 87312 h 620717"/>
                <a:gd name="connsiteX245" fmla="*/ 431800 w 514350"/>
                <a:gd name="connsiteY245" fmla="*/ 61912 h 620717"/>
                <a:gd name="connsiteX246" fmla="*/ 443914 w 514350"/>
                <a:gd name="connsiteY246" fmla="*/ 64084 h 620717"/>
                <a:gd name="connsiteX247" fmla="*/ 448737 w 514350"/>
                <a:gd name="connsiteY247" fmla="*/ 66117 h 620717"/>
                <a:gd name="connsiteX248" fmla="*/ 435858 w 514350"/>
                <a:gd name="connsiteY248" fmla="*/ 67146 h 620717"/>
                <a:gd name="connsiteX249" fmla="*/ 451852 w 514350"/>
                <a:gd name="connsiteY249" fmla="*/ 72772 h 620717"/>
                <a:gd name="connsiteX250" fmla="*/ 439737 w 514350"/>
                <a:gd name="connsiteY250" fmla="*/ 79845 h 620717"/>
                <a:gd name="connsiteX251" fmla="*/ 450399 w 514350"/>
                <a:gd name="connsiteY251" fmla="*/ 73819 h 620717"/>
                <a:gd name="connsiteX252" fmla="*/ 455612 w 514350"/>
                <a:gd name="connsiteY252" fmla="*/ 69850 h 620717"/>
                <a:gd name="connsiteX253" fmla="*/ 461962 w 514350"/>
                <a:gd name="connsiteY253" fmla="*/ 68262 h 620717"/>
                <a:gd name="connsiteX254" fmla="*/ 466725 w 514350"/>
                <a:gd name="connsiteY254" fmla="*/ 61912 h 620717"/>
                <a:gd name="connsiteX255" fmla="*/ 492125 w 514350"/>
                <a:gd name="connsiteY255" fmla="*/ 53975 h 620717"/>
                <a:gd name="connsiteX256" fmla="*/ 496887 w 514350"/>
                <a:gd name="connsiteY256" fmla="*/ 49212 h 620717"/>
                <a:gd name="connsiteX257" fmla="*/ 500062 w 514350"/>
                <a:gd name="connsiteY257" fmla="*/ 41275 h 620717"/>
                <a:gd name="connsiteX258" fmla="*/ 496887 w 514350"/>
                <a:gd name="connsiteY258"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31990 w 514350"/>
                <a:gd name="connsiteY9" fmla="*/ 30292 h 620717"/>
                <a:gd name="connsiteX10" fmla="*/ 421653 w 514350"/>
                <a:gd name="connsiteY10" fmla="*/ 43507 h 620717"/>
                <a:gd name="connsiteX11" fmla="*/ 417848 w 514350"/>
                <a:gd name="connsiteY11" fmla="*/ 33753 h 620717"/>
                <a:gd name="connsiteX12" fmla="*/ 415884 w 514350"/>
                <a:gd name="connsiteY12" fmla="*/ 9813 h 620717"/>
                <a:gd name="connsiteX13" fmla="*/ 401637 w 514350"/>
                <a:gd name="connsiteY13" fmla="*/ 12700 h 620717"/>
                <a:gd name="connsiteX14" fmla="*/ 352425 w 514350"/>
                <a:gd name="connsiteY14" fmla="*/ 19050 h 620717"/>
                <a:gd name="connsiteX15" fmla="*/ 350837 w 514350"/>
                <a:gd name="connsiteY15" fmla="*/ 23812 h 620717"/>
                <a:gd name="connsiteX16" fmla="*/ 352425 w 514350"/>
                <a:gd name="connsiteY16" fmla="*/ 38100 h 620717"/>
                <a:gd name="connsiteX17" fmla="*/ 357187 w 514350"/>
                <a:gd name="connsiteY17" fmla="*/ 44450 h 620717"/>
                <a:gd name="connsiteX18" fmla="*/ 349250 w 514350"/>
                <a:gd name="connsiteY18" fmla="*/ 58737 h 620717"/>
                <a:gd name="connsiteX19" fmla="*/ 328612 w 514350"/>
                <a:gd name="connsiteY19" fmla="*/ 60325 h 620717"/>
                <a:gd name="connsiteX20" fmla="*/ 307975 w 514350"/>
                <a:gd name="connsiteY20" fmla="*/ 68262 h 620717"/>
                <a:gd name="connsiteX21" fmla="*/ 295275 w 514350"/>
                <a:gd name="connsiteY21" fmla="*/ 73025 h 620717"/>
                <a:gd name="connsiteX22" fmla="*/ 292100 w 514350"/>
                <a:gd name="connsiteY22" fmla="*/ 77787 h 620717"/>
                <a:gd name="connsiteX23" fmla="*/ 296862 w 514350"/>
                <a:gd name="connsiteY23" fmla="*/ 79375 h 620717"/>
                <a:gd name="connsiteX24" fmla="*/ 311150 w 514350"/>
                <a:gd name="connsiteY24" fmla="*/ 82550 h 620717"/>
                <a:gd name="connsiteX25" fmla="*/ 319087 w 514350"/>
                <a:gd name="connsiteY25" fmla="*/ 87312 h 620717"/>
                <a:gd name="connsiteX26" fmla="*/ 323850 w 514350"/>
                <a:gd name="connsiteY26" fmla="*/ 88900 h 620717"/>
                <a:gd name="connsiteX27" fmla="*/ 336550 w 514350"/>
                <a:gd name="connsiteY27" fmla="*/ 103187 h 620717"/>
                <a:gd name="connsiteX28" fmla="*/ 334962 w 514350"/>
                <a:gd name="connsiteY28" fmla="*/ 114300 h 620717"/>
                <a:gd name="connsiteX29" fmla="*/ 330200 w 514350"/>
                <a:gd name="connsiteY29" fmla="*/ 115887 h 620717"/>
                <a:gd name="connsiteX30" fmla="*/ 315912 w 514350"/>
                <a:gd name="connsiteY30" fmla="*/ 130175 h 620717"/>
                <a:gd name="connsiteX31" fmla="*/ 307975 w 514350"/>
                <a:gd name="connsiteY31" fmla="*/ 131762 h 620717"/>
                <a:gd name="connsiteX32" fmla="*/ 300037 w 514350"/>
                <a:gd name="connsiteY32" fmla="*/ 134937 h 620717"/>
                <a:gd name="connsiteX33" fmla="*/ 296862 w 514350"/>
                <a:gd name="connsiteY33" fmla="*/ 142875 h 620717"/>
                <a:gd name="connsiteX34" fmla="*/ 282575 w 514350"/>
                <a:gd name="connsiteY34" fmla="*/ 157162 h 620717"/>
                <a:gd name="connsiteX35" fmla="*/ 273050 w 514350"/>
                <a:gd name="connsiteY35" fmla="*/ 153987 h 620717"/>
                <a:gd name="connsiteX36" fmla="*/ 261937 w 514350"/>
                <a:gd name="connsiteY36" fmla="*/ 147637 h 620717"/>
                <a:gd name="connsiteX37" fmla="*/ 242887 w 514350"/>
                <a:gd name="connsiteY37" fmla="*/ 149225 h 620717"/>
                <a:gd name="connsiteX38" fmla="*/ 236537 w 514350"/>
                <a:gd name="connsiteY38" fmla="*/ 150812 h 620717"/>
                <a:gd name="connsiteX39" fmla="*/ 231775 w 514350"/>
                <a:gd name="connsiteY39" fmla="*/ 142875 h 620717"/>
                <a:gd name="connsiteX40" fmla="*/ 225425 w 514350"/>
                <a:gd name="connsiteY40" fmla="*/ 123825 h 620717"/>
                <a:gd name="connsiteX41" fmla="*/ 219075 w 514350"/>
                <a:gd name="connsiteY41" fmla="*/ 122237 h 620717"/>
                <a:gd name="connsiteX42" fmla="*/ 204787 w 514350"/>
                <a:gd name="connsiteY42" fmla="*/ 120650 h 620717"/>
                <a:gd name="connsiteX43" fmla="*/ 190500 w 514350"/>
                <a:gd name="connsiteY43" fmla="*/ 117475 h 620717"/>
                <a:gd name="connsiteX44" fmla="*/ 182562 w 514350"/>
                <a:gd name="connsiteY44" fmla="*/ 111125 h 620717"/>
                <a:gd name="connsiteX45" fmla="*/ 174625 w 514350"/>
                <a:gd name="connsiteY45" fmla="*/ 104775 h 620717"/>
                <a:gd name="connsiteX46" fmla="*/ 152400 w 514350"/>
                <a:gd name="connsiteY46" fmla="*/ 106362 h 620717"/>
                <a:gd name="connsiteX47" fmla="*/ 150812 w 514350"/>
                <a:gd name="connsiteY47" fmla="*/ 117475 h 620717"/>
                <a:gd name="connsiteX48" fmla="*/ 133350 w 514350"/>
                <a:gd name="connsiteY48" fmla="*/ 120650 h 620717"/>
                <a:gd name="connsiteX49" fmla="*/ 138112 w 514350"/>
                <a:gd name="connsiteY49" fmla="*/ 123825 h 620717"/>
                <a:gd name="connsiteX50" fmla="*/ 139700 w 514350"/>
                <a:gd name="connsiteY50" fmla="*/ 128587 h 620717"/>
                <a:gd name="connsiteX51" fmla="*/ 146050 w 514350"/>
                <a:gd name="connsiteY51" fmla="*/ 131762 h 620717"/>
                <a:gd name="connsiteX52" fmla="*/ 147637 w 514350"/>
                <a:gd name="connsiteY52" fmla="*/ 138112 h 620717"/>
                <a:gd name="connsiteX53" fmla="*/ 123825 w 514350"/>
                <a:gd name="connsiteY53" fmla="*/ 146050 h 620717"/>
                <a:gd name="connsiteX54" fmla="*/ 117475 w 514350"/>
                <a:gd name="connsiteY54" fmla="*/ 155575 h 620717"/>
                <a:gd name="connsiteX55" fmla="*/ 112712 w 514350"/>
                <a:gd name="connsiteY55" fmla="*/ 157162 h 620717"/>
                <a:gd name="connsiteX56" fmla="*/ 125412 w 514350"/>
                <a:gd name="connsiteY56" fmla="*/ 161925 h 620717"/>
                <a:gd name="connsiteX57" fmla="*/ 130175 w 514350"/>
                <a:gd name="connsiteY57" fmla="*/ 163512 h 620717"/>
                <a:gd name="connsiteX58" fmla="*/ 142875 w 514350"/>
                <a:gd name="connsiteY58" fmla="*/ 166687 h 620717"/>
                <a:gd name="connsiteX59" fmla="*/ 147637 w 514350"/>
                <a:gd name="connsiteY59" fmla="*/ 173037 h 620717"/>
                <a:gd name="connsiteX60" fmla="*/ 152400 w 514350"/>
                <a:gd name="connsiteY60" fmla="*/ 177800 h 620717"/>
                <a:gd name="connsiteX61" fmla="*/ 146050 w 514350"/>
                <a:gd name="connsiteY61" fmla="*/ 179387 h 620717"/>
                <a:gd name="connsiteX62" fmla="*/ 149225 w 514350"/>
                <a:gd name="connsiteY62" fmla="*/ 185737 h 620717"/>
                <a:gd name="connsiteX63" fmla="*/ 153987 w 514350"/>
                <a:gd name="connsiteY63" fmla="*/ 187325 h 620717"/>
                <a:gd name="connsiteX64" fmla="*/ 168275 w 514350"/>
                <a:gd name="connsiteY64" fmla="*/ 190500 h 620717"/>
                <a:gd name="connsiteX65" fmla="*/ 165100 w 514350"/>
                <a:gd name="connsiteY65" fmla="*/ 198437 h 620717"/>
                <a:gd name="connsiteX66" fmla="*/ 160337 w 514350"/>
                <a:gd name="connsiteY66" fmla="*/ 200025 h 620717"/>
                <a:gd name="connsiteX67" fmla="*/ 139700 w 514350"/>
                <a:gd name="connsiteY67" fmla="*/ 196850 h 620717"/>
                <a:gd name="connsiteX68" fmla="*/ 153987 w 514350"/>
                <a:gd name="connsiteY68" fmla="*/ 211137 h 620717"/>
                <a:gd name="connsiteX69" fmla="*/ 152400 w 514350"/>
                <a:gd name="connsiteY69" fmla="*/ 217487 h 620717"/>
                <a:gd name="connsiteX70" fmla="*/ 138112 w 514350"/>
                <a:gd name="connsiteY70" fmla="*/ 219075 h 620717"/>
                <a:gd name="connsiteX71" fmla="*/ 142875 w 514350"/>
                <a:gd name="connsiteY71" fmla="*/ 223837 h 620717"/>
                <a:gd name="connsiteX72" fmla="*/ 141287 w 514350"/>
                <a:gd name="connsiteY72" fmla="*/ 228600 h 620717"/>
                <a:gd name="connsiteX73" fmla="*/ 107950 w 514350"/>
                <a:gd name="connsiteY73" fmla="*/ 231775 h 620717"/>
                <a:gd name="connsiteX74" fmla="*/ 95250 w 514350"/>
                <a:gd name="connsiteY74" fmla="*/ 233362 h 620717"/>
                <a:gd name="connsiteX75" fmla="*/ 92075 w 514350"/>
                <a:gd name="connsiteY75" fmla="*/ 247650 h 620717"/>
                <a:gd name="connsiteX76" fmla="*/ 93662 w 514350"/>
                <a:gd name="connsiteY76" fmla="*/ 252412 h 620717"/>
                <a:gd name="connsiteX77" fmla="*/ 109537 w 514350"/>
                <a:gd name="connsiteY77" fmla="*/ 260350 h 620717"/>
                <a:gd name="connsiteX78" fmla="*/ 114300 w 514350"/>
                <a:gd name="connsiteY78" fmla="*/ 263525 h 620717"/>
                <a:gd name="connsiteX79" fmla="*/ 119062 w 514350"/>
                <a:gd name="connsiteY79" fmla="*/ 268287 h 620717"/>
                <a:gd name="connsiteX80" fmla="*/ 123825 w 514350"/>
                <a:gd name="connsiteY80" fmla="*/ 269875 h 620717"/>
                <a:gd name="connsiteX81" fmla="*/ 128587 w 514350"/>
                <a:gd name="connsiteY81" fmla="*/ 273050 h 620717"/>
                <a:gd name="connsiteX82" fmla="*/ 114300 w 514350"/>
                <a:gd name="connsiteY82" fmla="*/ 279400 h 620717"/>
                <a:gd name="connsiteX83" fmla="*/ 109537 w 514350"/>
                <a:gd name="connsiteY83" fmla="*/ 284162 h 620717"/>
                <a:gd name="connsiteX84" fmla="*/ 111125 w 514350"/>
                <a:gd name="connsiteY84" fmla="*/ 293687 h 620717"/>
                <a:gd name="connsiteX85" fmla="*/ 125412 w 514350"/>
                <a:gd name="connsiteY85" fmla="*/ 296862 h 620717"/>
                <a:gd name="connsiteX86" fmla="*/ 136525 w 514350"/>
                <a:gd name="connsiteY86" fmla="*/ 301625 h 620717"/>
                <a:gd name="connsiteX87" fmla="*/ 142875 w 514350"/>
                <a:gd name="connsiteY87" fmla="*/ 303212 h 620717"/>
                <a:gd name="connsiteX88" fmla="*/ 146050 w 514350"/>
                <a:gd name="connsiteY88" fmla="*/ 311150 h 620717"/>
                <a:gd name="connsiteX89" fmla="*/ 158750 w 514350"/>
                <a:gd name="connsiteY89" fmla="*/ 315912 h 620717"/>
                <a:gd name="connsiteX90" fmla="*/ 193675 w 514350"/>
                <a:gd name="connsiteY90" fmla="*/ 317500 h 620717"/>
                <a:gd name="connsiteX91" fmla="*/ 209550 w 514350"/>
                <a:gd name="connsiteY91" fmla="*/ 320675 h 620717"/>
                <a:gd name="connsiteX92" fmla="*/ 204787 w 514350"/>
                <a:gd name="connsiteY92" fmla="*/ 323850 h 620717"/>
                <a:gd name="connsiteX93" fmla="*/ 200025 w 514350"/>
                <a:gd name="connsiteY93" fmla="*/ 325437 h 620717"/>
                <a:gd name="connsiteX94" fmla="*/ 190500 w 514350"/>
                <a:gd name="connsiteY94" fmla="*/ 331787 h 620717"/>
                <a:gd name="connsiteX95" fmla="*/ 182562 w 514350"/>
                <a:gd name="connsiteY95" fmla="*/ 338137 h 620717"/>
                <a:gd name="connsiteX96" fmla="*/ 176212 w 514350"/>
                <a:gd name="connsiteY96" fmla="*/ 341312 h 620717"/>
                <a:gd name="connsiteX97" fmla="*/ 171450 w 514350"/>
                <a:gd name="connsiteY97" fmla="*/ 344487 h 620717"/>
                <a:gd name="connsiteX98" fmla="*/ 161925 w 514350"/>
                <a:gd name="connsiteY98" fmla="*/ 347662 h 620717"/>
                <a:gd name="connsiteX99" fmla="*/ 149225 w 514350"/>
                <a:gd name="connsiteY99" fmla="*/ 365125 h 620717"/>
                <a:gd name="connsiteX100" fmla="*/ 139700 w 514350"/>
                <a:gd name="connsiteY100" fmla="*/ 382587 h 620717"/>
                <a:gd name="connsiteX101" fmla="*/ 134937 w 514350"/>
                <a:gd name="connsiteY101" fmla="*/ 384175 h 620717"/>
                <a:gd name="connsiteX102" fmla="*/ 133350 w 514350"/>
                <a:gd name="connsiteY102" fmla="*/ 388937 h 620717"/>
                <a:gd name="connsiteX103" fmla="*/ 128587 w 514350"/>
                <a:gd name="connsiteY103" fmla="*/ 392112 h 620717"/>
                <a:gd name="connsiteX104" fmla="*/ 120650 w 514350"/>
                <a:gd name="connsiteY104" fmla="*/ 398462 h 620717"/>
                <a:gd name="connsiteX105" fmla="*/ 114300 w 514350"/>
                <a:gd name="connsiteY105" fmla="*/ 409575 h 620717"/>
                <a:gd name="connsiteX106" fmla="*/ 109537 w 514350"/>
                <a:gd name="connsiteY106" fmla="*/ 411162 h 620717"/>
                <a:gd name="connsiteX107" fmla="*/ 92075 w 514350"/>
                <a:gd name="connsiteY107" fmla="*/ 414337 h 620717"/>
                <a:gd name="connsiteX108" fmla="*/ 92075 w 514350"/>
                <a:gd name="connsiteY108" fmla="*/ 433387 h 620717"/>
                <a:gd name="connsiteX109" fmla="*/ 79375 w 514350"/>
                <a:gd name="connsiteY109" fmla="*/ 441325 h 620717"/>
                <a:gd name="connsiteX110" fmla="*/ 73025 w 514350"/>
                <a:gd name="connsiteY110" fmla="*/ 455612 h 620717"/>
                <a:gd name="connsiteX111" fmla="*/ 69850 w 514350"/>
                <a:gd name="connsiteY111" fmla="*/ 463550 h 620717"/>
                <a:gd name="connsiteX112" fmla="*/ 65087 w 514350"/>
                <a:gd name="connsiteY112" fmla="*/ 465137 h 620717"/>
                <a:gd name="connsiteX113" fmla="*/ 38100 w 514350"/>
                <a:gd name="connsiteY113" fmla="*/ 466725 h 620717"/>
                <a:gd name="connsiteX114" fmla="*/ 34925 w 514350"/>
                <a:gd name="connsiteY114" fmla="*/ 473075 h 620717"/>
                <a:gd name="connsiteX115" fmla="*/ 30162 w 514350"/>
                <a:gd name="connsiteY115" fmla="*/ 476250 h 620717"/>
                <a:gd name="connsiteX116" fmla="*/ 0 w 514350"/>
                <a:gd name="connsiteY116" fmla="*/ 477837 h 620717"/>
                <a:gd name="connsiteX117" fmla="*/ 4762 w 514350"/>
                <a:gd name="connsiteY117" fmla="*/ 484187 h 620717"/>
                <a:gd name="connsiteX118" fmla="*/ 23812 w 514350"/>
                <a:gd name="connsiteY118" fmla="*/ 485775 h 620717"/>
                <a:gd name="connsiteX119" fmla="*/ 30162 w 514350"/>
                <a:gd name="connsiteY119" fmla="*/ 487362 h 620717"/>
                <a:gd name="connsiteX120" fmla="*/ 39687 w 514350"/>
                <a:gd name="connsiteY120" fmla="*/ 488950 h 620717"/>
                <a:gd name="connsiteX121" fmla="*/ 33337 w 514350"/>
                <a:gd name="connsiteY121" fmla="*/ 492125 h 620717"/>
                <a:gd name="connsiteX122" fmla="*/ 25400 w 514350"/>
                <a:gd name="connsiteY122" fmla="*/ 493712 h 620717"/>
                <a:gd name="connsiteX123" fmla="*/ 19050 w 514350"/>
                <a:gd name="connsiteY123" fmla="*/ 495300 h 620717"/>
                <a:gd name="connsiteX124" fmla="*/ 14287 w 514350"/>
                <a:gd name="connsiteY124" fmla="*/ 498475 h 620717"/>
                <a:gd name="connsiteX125" fmla="*/ 4762 w 514350"/>
                <a:gd name="connsiteY125" fmla="*/ 503237 h 620717"/>
                <a:gd name="connsiteX126" fmla="*/ 3175 w 514350"/>
                <a:gd name="connsiteY126" fmla="*/ 508000 h 620717"/>
                <a:gd name="connsiteX127" fmla="*/ 4762 w 514350"/>
                <a:gd name="connsiteY127" fmla="*/ 530225 h 620717"/>
                <a:gd name="connsiteX128" fmla="*/ 11112 w 514350"/>
                <a:gd name="connsiteY128" fmla="*/ 533400 h 620717"/>
                <a:gd name="connsiteX129" fmla="*/ 20637 w 514350"/>
                <a:gd name="connsiteY129" fmla="*/ 534987 h 620717"/>
                <a:gd name="connsiteX130" fmla="*/ 26987 w 514350"/>
                <a:gd name="connsiteY130" fmla="*/ 536575 h 620717"/>
                <a:gd name="connsiteX131" fmla="*/ 39687 w 514350"/>
                <a:gd name="connsiteY131" fmla="*/ 542925 h 620717"/>
                <a:gd name="connsiteX132" fmla="*/ 44450 w 514350"/>
                <a:gd name="connsiteY132" fmla="*/ 546100 h 620717"/>
                <a:gd name="connsiteX133" fmla="*/ 58737 w 514350"/>
                <a:gd name="connsiteY133" fmla="*/ 547687 h 620717"/>
                <a:gd name="connsiteX134" fmla="*/ 47625 w 514350"/>
                <a:gd name="connsiteY134" fmla="*/ 555625 h 620717"/>
                <a:gd name="connsiteX135" fmla="*/ 30162 w 514350"/>
                <a:gd name="connsiteY135" fmla="*/ 558800 h 620717"/>
                <a:gd name="connsiteX136" fmla="*/ 7937 w 514350"/>
                <a:gd name="connsiteY136" fmla="*/ 563562 h 620717"/>
                <a:gd name="connsiteX137" fmla="*/ 7937 w 514350"/>
                <a:gd name="connsiteY137" fmla="*/ 576262 h 620717"/>
                <a:gd name="connsiteX138" fmla="*/ 17462 w 514350"/>
                <a:gd name="connsiteY138" fmla="*/ 577850 h 620717"/>
                <a:gd name="connsiteX139" fmla="*/ 39687 w 514350"/>
                <a:gd name="connsiteY139" fmla="*/ 581025 h 620717"/>
                <a:gd name="connsiteX140" fmla="*/ 47625 w 514350"/>
                <a:gd name="connsiteY140" fmla="*/ 582612 h 620717"/>
                <a:gd name="connsiteX141" fmla="*/ 61912 w 514350"/>
                <a:gd name="connsiteY141" fmla="*/ 584200 h 620717"/>
                <a:gd name="connsiteX142" fmla="*/ 66675 w 514350"/>
                <a:gd name="connsiteY142" fmla="*/ 587375 h 620717"/>
                <a:gd name="connsiteX143" fmla="*/ 53975 w 514350"/>
                <a:gd name="connsiteY143" fmla="*/ 593725 h 620717"/>
                <a:gd name="connsiteX144" fmla="*/ 52387 w 514350"/>
                <a:gd name="connsiteY144" fmla="*/ 601662 h 620717"/>
                <a:gd name="connsiteX145" fmla="*/ 50800 w 514350"/>
                <a:gd name="connsiteY145" fmla="*/ 606425 h 620717"/>
                <a:gd name="connsiteX146" fmla="*/ 55562 w 514350"/>
                <a:gd name="connsiteY146" fmla="*/ 614362 h 620717"/>
                <a:gd name="connsiteX147" fmla="*/ 79375 w 514350"/>
                <a:gd name="connsiteY147" fmla="*/ 609600 h 620717"/>
                <a:gd name="connsiteX148" fmla="*/ 123825 w 514350"/>
                <a:gd name="connsiteY148" fmla="*/ 612775 h 620717"/>
                <a:gd name="connsiteX149" fmla="*/ 130175 w 514350"/>
                <a:gd name="connsiteY149" fmla="*/ 617537 h 620717"/>
                <a:gd name="connsiteX150" fmla="*/ 144462 w 514350"/>
                <a:gd name="connsiteY150" fmla="*/ 620712 h 620717"/>
                <a:gd name="connsiteX151" fmla="*/ 173037 w 514350"/>
                <a:gd name="connsiteY151" fmla="*/ 617537 h 620717"/>
                <a:gd name="connsiteX152" fmla="*/ 180975 w 514350"/>
                <a:gd name="connsiteY152" fmla="*/ 614362 h 620717"/>
                <a:gd name="connsiteX153" fmla="*/ 187325 w 514350"/>
                <a:gd name="connsiteY153" fmla="*/ 609600 h 620717"/>
                <a:gd name="connsiteX154" fmla="*/ 196850 w 514350"/>
                <a:gd name="connsiteY154" fmla="*/ 606425 h 620717"/>
                <a:gd name="connsiteX155" fmla="*/ 198437 w 514350"/>
                <a:gd name="connsiteY155" fmla="*/ 600075 h 620717"/>
                <a:gd name="connsiteX156" fmla="*/ 203200 w 514350"/>
                <a:gd name="connsiteY156" fmla="*/ 595312 h 620717"/>
                <a:gd name="connsiteX157" fmla="*/ 215900 w 514350"/>
                <a:gd name="connsiteY157" fmla="*/ 581025 h 620717"/>
                <a:gd name="connsiteX158" fmla="*/ 230187 w 514350"/>
                <a:gd name="connsiteY158" fmla="*/ 582612 h 620717"/>
                <a:gd name="connsiteX159" fmla="*/ 238125 w 514350"/>
                <a:gd name="connsiteY159" fmla="*/ 584200 h 620717"/>
                <a:gd name="connsiteX160" fmla="*/ 261937 w 514350"/>
                <a:gd name="connsiteY160" fmla="*/ 581025 h 620717"/>
                <a:gd name="connsiteX161" fmla="*/ 263525 w 514350"/>
                <a:gd name="connsiteY161" fmla="*/ 576262 h 620717"/>
                <a:gd name="connsiteX162" fmla="*/ 266700 w 514350"/>
                <a:gd name="connsiteY162" fmla="*/ 582612 h 620717"/>
                <a:gd name="connsiteX163" fmla="*/ 277812 w 514350"/>
                <a:gd name="connsiteY163" fmla="*/ 590550 h 620717"/>
                <a:gd name="connsiteX164" fmla="*/ 279400 w 514350"/>
                <a:gd name="connsiteY164" fmla="*/ 579437 h 620717"/>
                <a:gd name="connsiteX165" fmla="*/ 287337 w 514350"/>
                <a:gd name="connsiteY165" fmla="*/ 571500 h 620717"/>
                <a:gd name="connsiteX166" fmla="*/ 290512 w 514350"/>
                <a:gd name="connsiteY166" fmla="*/ 566737 h 620717"/>
                <a:gd name="connsiteX167" fmla="*/ 311150 w 514350"/>
                <a:gd name="connsiteY167" fmla="*/ 558800 h 620717"/>
                <a:gd name="connsiteX168" fmla="*/ 354012 w 514350"/>
                <a:gd name="connsiteY168" fmla="*/ 554037 h 620717"/>
                <a:gd name="connsiteX169" fmla="*/ 360362 w 514350"/>
                <a:gd name="connsiteY169" fmla="*/ 561975 h 620717"/>
                <a:gd name="connsiteX170" fmla="*/ 365125 w 514350"/>
                <a:gd name="connsiteY170" fmla="*/ 563562 h 620717"/>
                <a:gd name="connsiteX171" fmla="*/ 366712 w 514350"/>
                <a:gd name="connsiteY171" fmla="*/ 557212 h 620717"/>
                <a:gd name="connsiteX172" fmla="*/ 368300 w 514350"/>
                <a:gd name="connsiteY172" fmla="*/ 552450 h 620717"/>
                <a:gd name="connsiteX173" fmla="*/ 377825 w 514350"/>
                <a:gd name="connsiteY173" fmla="*/ 557212 h 620717"/>
                <a:gd name="connsiteX174" fmla="*/ 382587 w 514350"/>
                <a:gd name="connsiteY174" fmla="*/ 563562 h 620717"/>
                <a:gd name="connsiteX175" fmla="*/ 404812 w 514350"/>
                <a:gd name="connsiteY175" fmla="*/ 565150 h 620717"/>
                <a:gd name="connsiteX176" fmla="*/ 414337 w 514350"/>
                <a:gd name="connsiteY176" fmla="*/ 571500 h 620717"/>
                <a:gd name="connsiteX177" fmla="*/ 419100 w 514350"/>
                <a:gd name="connsiteY177" fmla="*/ 574675 h 620717"/>
                <a:gd name="connsiteX178" fmla="*/ 436562 w 514350"/>
                <a:gd name="connsiteY178" fmla="*/ 573087 h 620717"/>
                <a:gd name="connsiteX179" fmla="*/ 434975 w 514350"/>
                <a:gd name="connsiteY179" fmla="*/ 566737 h 620717"/>
                <a:gd name="connsiteX180" fmla="*/ 430212 w 514350"/>
                <a:gd name="connsiteY180" fmla="*/ 546100 h 620717"/>
                <a:gd name="connsiteX181" fmla="*/ 433387 w 514350"/>
                <a:gd name="connsiteY181" fmla="*/ 531812 h 620717"/>
                <a:gd name="connsiteX182" fmla="*/ 446087 w 514350"/>
                <a:gd name="connsiteY182" fmla="*/ 525462 h 620717"/>
                <a:gd name="connsiteX183" fmla="*/ 452437 w 514350"/>
                <a:gd name="connsiteY183" fmla="*/ 519112 h 620717"/>
                <a:gd name="connsiteX184" fmla="*/ 463550 w 514350"/>
                <a:gd name="connsiteY184" fmla="*/ 514350 h 620717"/>
                <a:gd name="connsiteX185" fmla="*/ 465137 w 514350"/>
                <a:gd name="connsiteY185" fmla="*/ 508000 h 620717"/>
                <a:gd name="connsiteX186" fmla="*/ 466725 w 514350"/>
                <a:gd name="connsiteY186" fmla="*/ 485775 h 620717"/>
                <a:gd name="connsiteX187" fmla="*/ 482600 w 514350"/>
                <a:gd name="connsiteY187" fmla="*/ 474662 h 620717"/>
                <a:gd name="connsiteX188" fmla="*/ 495300 w 514350"/>
                <a:gd name="connsiteY188" fmla="*/ 458787 h 620717"/>
                <a:gd name="connsiteX189" fmla="*/ 501650 w 514350"/>
                <a:gd name="connsiteY189" fmla="*/ 438150 h 620717"/>
                <a:gd name="connsiteX190" fmla="*/ 506412 w 514350"/>
                <a:gd name="connsiteY190" fmla="*/ 433387 h 620717"/>
                <a:gd name="connsiteX191" fmla="*/ 506412 w 514350"/>
                <a:gd name="connsiteY191" fmla="*/ 401637 h 620717"/>
                <a:gd name="connsiteX192" fmla="*/ 501650 w 514350"/>
                <a:gd name="connsiteY192" fmla="*/ 398462 h 620717"/>
                <a:gd name="connsiteX193" fmla="*/ 498475 w 514350"/>
                <a:gd name="connsiteY193" fmla="*/ 392112 h 620717"/>
                <a:gd name="connsiteX194" fmla="*/ 503237 w 514350"/>
                <a:gd name="connsiteY194" fmla="*/ 360362 h 620717"/>
                <a:gd name="connsiteX195" fmla="*/ 508000 w 514350"/>
                <a:gd name="connsiteY195" fmla="*/ 355600 h 620717"/>
                <a:gd name="connsiteX196" fmla="*/ 514350 w 514350"/>
                <a:gd name="connsiteY196" fmla="*/ 346075 h 620717"/>
                <a:gd name="connsiteX197" fmla="*/ 511175 w 514350"/>
                <a:gd name="connsiteY197" fmla="*/ 331787 h 620717"/>
                <a:gd name="connsiteX198" fmla="*/ 506412 w 514350"/>
                <a:gd name="connsiteY198" fmla="*/ 327025 h 620717"/>
                <a:gd name="connsiteX199" fmla="*/ 504825 w 514350"/>
                <a:gd name="connsiteY199" fmla="*/ 315912 h 620717"/>
                <a:gd name="connsiteX200" fmla="*/ 508000 w 514350"/>
                <a:gd name="connsiteY200" fmla="*/ 290512 h 620717"/>
                <a:gd name="connsiteX201" fmla="*/ 506412 w 514350"/>
                <a:gd name="connsiteY201" fmla="*/ 282575 h 620717"/>
                <a:gd name="connsiteX202" fmla="*/ 495300 w 514350"/>
                <a:gd name="connsiteY202" fmla="*/ 276225 h 620717"/>
                <a:gd name="connsiteX203" fmla="*/ 496887 w 514350"/>
                <a:gd name="connsiteY203" fmla="*/ 268287 h 620717"/>
                <a:gd name="connsiteX204" fmla="*/ 501650 w 514350"/>
                <a:gd name="connsiteY204" fmla="*/ 266700 h 620717"/>
                <a:gd name="connsiteX205" fmla="*/ 506412 w 514350"/>
                <a:gd name="connsiteY205" fmla="*/ 263525 h 620717"/>
                <a:gd name="connsiteX206" fmla="*/ 509587 w 514350"/>
                <a:gd name="connsiteY206" fmla="*/ 258762 h 620717"/>
                <a:gd name="connsiteX207" fmla="*/ 511175 w 514350"/>
                <a:gd name="connsiteY207" fmla="*/ 254000 h 620717"/>
                <a:gd name="connsiteX208" fmla="*/ 514350 w 514350"/>
                <a:gd name="connsiteY208" fmla="*/ 246062 h 620717"/>
                <a:gd name="connsiteX209" fmla="*/ 512762 w 514350"/>
                <a:gd name="connsiteY209" fmla="*/ 239712 h 620717"/>
                <a:gd name="connsiteX210" fmla="*/ 496887 w 514350"/>
                <a:gd name="connsiteY210" fmla="*/ 239712 h 620717"/>
                <a:gd name="connsiteX211" fmla="*/ 492125 w 514350"/>
                <a:gd name="connsiteY211" fmla="*/ 241300 h 620717"/>
                <a:gd name="connsiteX212" fmla="*/ 485775 w 514350"/>
                <a:gd name="connsiteY212" fmla="*/ 244475 h 620717"/>
                <a:gd name="connsiteX213" fmla="*/ 481012 w 514350"/>
                <a:gd name="connsiteY213" fmla="*/ 234950 h 620717"/>
                <a:gd name="connsiteX214" fmla="*/ 479425 w 514350"/>
                <a:gd name="connsiteY214" fmla="*/ 222250 h 620717"/>
                <a:gd name="connsiteX215" fmla="*/ 477837 w 514350"/>
                <a:gd name="connsiteY215" fmla="*/ 215900 h 620717"/>
                <a:gd name="connsiteX216" fmla="*/ 473075 w 514350"/>
                <a:gd name="connsiteY216" fmla="*/ 190500 h 620717"/>
                <a:gd name="connsiteX217" fmla="*/ 468312 w 514350"/>
                <a:gd name="connsiteY217" fmla="*/ 176212 h 620717"/>
                <a:gd name="connsiteX218" fmla="*/ 458787 w 514350"/>
                <a:gd name="connsiteY218" fmla="*/ 171450 h 620717"/>
                <a:gd name="connsiteX219" fmla="*/ 449262 w 514350"/>
                <a:gd name="connsiteY219" fmla="*/ 173037 h 620717"/>
                <a:gd name="connsiteX220" fmla="*/ 438150 w 514350"/>
                <a:gd name="connsiteY220" fmla="*/ 182562 h 620717"/>
                <a:gd name="connsiteX221" fmla="*/ 434975 w 514350"/>
                <a:gd name="connsiteY221" fmla="*/ 188912 h 620717"/>
                <a:gd name="connsiteX222" fmla="*/ 428625 w 514350"/>
                <a:gd name="connsiteY222" fmla="*/ 196850 h 620717"/>
                <a:gd name="connsiteX223" fmla="*/ 417512 w 514350"/>
                <a:gd name="connsiteY223" fmla="*/ 206375 h 620717"/>
                <a:gd name="connsiteX224" fmla="*/ 412750 w 514350"/>
                <a:gd name="connsiteY224" fmla="*/ 207962 h 620717"/>
                <a:gd name="connsiteX225" fmla="*/ 401637 w 514350"/>
                <a:gd name="connsiteY225" fmla="*/ 206375 h 620717"/>
                <a:gd name="connsiteX226" fmla="*/ 395287 w 514350"/>
                <a:gd name="connsiteY226" fmla="*/ 200025 h 620717"/>
                <a:gd name="connsiteX227" fmla="*/ 390525 w 514350"/>
                <a:gd name="connsiteY227" fmla="*/ 196850 h 620717"/>
                <a:gd name="connsiteX228" fmla="*/ 385762 w 514350"/>
                <a:gd name="connsiteY228" fmla="*/ 190500 h 620717"/>
                <a:gd name="connsiteX229" fmla="*/ 368300 w 514350"/>
                <a:gd name="connsiteY229" fmla="*/ 171450 h 620717"/>
                <a:gd name="connsiteX230" fmla="*/ 363537 w 514350"/>
                <a:gd name="connsiteY230" fmla="*/ 160337 h 620717"/>
                <a:gd name="connsiteX231" fmla="*/ 358775 w 514350"/>
                <a:gd name="connsiteY231" fmla="*/ 157162 h 620717"/>
                <a:gd name="connsiteX232" fmla="*/ 349250 w 514350"/>
                <a:gd name="connsiteY232" fmla="*/ 144462 h 620717"/>
                <a:gd name="connsiteX233" fmla="*/ 346075 w 514350"/>
                <a:gd name="connsiteY233" fmla="*/ 138112 h 620717"/>
                <a:gd name="connsiteX234" fmla="*/ 350837 w 514350"/>
                <a:gd name="connsiteY234" fmla="*/ 128587 h 620717"/>
                <a:gd name="connsiteX235" fmla="*/ 357187 w 514350"/>
                <a:gd name="connsiteY235" fmla="*/ 127000 h 620717"/>
                <a:gd name="connsiteX236" fmla="*/ 368300 w 514350"/>
                <a:gd name="connsiteY236" fmla="*/ 125412 h 620717"/>
                <a:gd name="connsiteX237" fmla="*/ 374650 w 514350"/>
                <a:gd name="connsiteY237" fmla="*/ 123825 h 620717"/>
                <a:gd name="connsiteX238" fmla="*/ 384175 w 514350"/>
                <a:gd name="connsiteY238" fmla="*/ 120650 h 620717"/>
                <a:gd name="connsiteX239" fmla="*/ 392112 w 514350"/>
                <a:gd name="connsiteY239" fmla="*/ 111125 h 620717"/>
                <a:gd name="connsiteX240" fmla="*/ 388937 w 514350"/>
                <a:gd name="connsiteY240" fmla="*/ 100012 h 620717"/>
                <a:gd name="connsiteX241" fmla="*/ 390525 w 514350"/>
                <a:gd name="connsiteY241" fmla="*/ 93662 h 620717"/>
                <a:gd name="connsiteX242" fmla="*/ 401637 w 514350"/>
                <a:gd name="connsiteY242" fmla="*/ 95250 h 620717"/>
                <a:gd name="connsiteX243" fmla="*/ 423862 w 514350"/>
                <a:gd name="connsiteY243" fmla="*/ 93662 h 620717"/>
                <a:gd name="connsiteX244" fmla="*/ 430212 w 514350"/>
                <a:gd name="connsiteY244" fmla="*/ 87312 h 620717"/>
                <a:gd name="connsiteX245" fmla="*/ 431800 w 514350"/>
                <a:gd name="connsiteY245" fmla="*/ 61912 h 620717"/>
                <a:gd name="connsiteX246" fmla="*/ 443914 w 514350"/>
                <a:gd name="connsiteY246" fmla="*/ 64084 h 620717"/>
                <a:gd name="connsiteX247" fmla="*/ 448737 w 514350"/>
                <a:gd name="connsiteY247" fmla="*/ 66117 h 620717"/>
                <a:gd name="connsiteX248" fmla="*/ 435858 w 514350"/>
                <a:gd name="connsiteY248" fmla="*/ 67146 h 620717"/>
                <a:gd name="connsiteX249" fmla="*/ 451852 w 514350"/>
                <a:gd name="connsiteY249" fmla="*/ 72772 h 620717"/>
                <a:gd name="connsiteX250" fmla="*/ 439737 w 514350"/>
                <a:gd name="connsiteY250" fmla="*/ 79845 h 620717"/>
                <a:gd name="connsiteX251" fmla="*/ 450399 w 514350"/>
                <a:gd name="connsiteY251" fmla="*/ 73819 h 620717"/>
                <a:gd name="connsiteX252" fmla="*/ 455612 w 514350"/>
                <a:gd name="connsiteY252" fmla="*/ 69850 h 620717"/>
                <a:gd name="connsiteX253" fmla="*/ 461962 w 514350"/>
                <a:gd name="connsiteY253" fmla="*/ 68262 h 620717"/>
                <a:gd name="connsiteX254" fmla="*/ 466725 w 514350"/>
                <a:gd name="connsiteY254" fmla="*/ 61912 h 620717"/>
                <a:gd name="connsiteX255" fmla="*/ 492125 w 514350"/>
                <a:gd name="connsiteY255" fmla="*/ 53975 h 620717"/>
                <a:gd name="connsiteX256" fmla="*/ 496887 w 514350"/>
                <a:gd name="connsiteY256" fmla="*/ 49212 h 620717"/>
                <a:gd name="connsiteX257" fmla="*/ 500062 w 514350"/>
                <a:gd name="connsiteY257" fmla="*/ 41275 h 620717"/>
                <a:gd name="connsiteX258" fmla="*/ 496887 w 514350"/>
                <a:gd name="connsiteY258"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29887 w 514350"/>
                <a:gd name="connsiteY9" fmla="*/ 34766 h 620717"/>
                <a:gd name="connsiteX10" fmla="*/ 421653 w 514350"/>
                <a:gd name="connsiteY10" fmla="*/ 43507 h 620717"/>
                <a:gd name="connsiteX11" fmla="*/ 417848 w 514350"/>
                <a:gd name="connsiteY11" fmla="*/ 33753 h 620717"/>
                <a:gd name="connsiteX12" fmla="*/ 415884 w 514350"/>
                <a:gd name="connsiteY12" fmla="*/ 9813 h 620717"/>
                <a:gd name="connsiteX13" fmla="*/ 401637 w 514350"/>
                <a:gd name="connsiteY13" fmla="*/ 12700 h 620717"/>
                <a:gd name="connsiteX14" fmla="*/ 352425 w 514350"/>
                <a:gd name="connsiteY14" fmla="*/ 19050 h 620717"/>
                <a:gd name="connsiteX15" fmla="*/ 350837 w 514350"/>
                <a:gd name="connsiteY15" fmla="*/ 23812 h 620717"/>
                <a:gd name="connsiteX16" fmla="*/ 352425 w 514350"/>
                <a:gd name="connsiteY16" fmla="*/ 38100 h 620717"/>
                <a:gd name="connsiteX17" fmla="*/ 357187 w 514350"/>
                <a:gd name="connsiteY17" fmla="*/ 44450 h 620717"/>
                <a:gd name="connsiteX18" fmla="*/ 349250 w 514350"/>
                <a:gd name="connsiteY18" fmla="*/ 58737 h 620717"/>
                <a:gd name="connsiteX19" fmla="*/ 328612 w 514350"/>
                <a:gd name="connsiteY19" fmla="*/ 60325 h 620717"/>
                <a:gd name="connsiteX20" fmla="*/ 307975 w 514350"/>
                <a:gd name="connsiteY20" fmla="*/ 68262 h 620717"/>
                <a:gd name="connsiteX21" fmla="*/ 295275 w 514350"/>
                <a:gd name="connsiteY21" fmla="*/ 73025 h 620717"/>
                <a:gd name="connsiteX22" fmla="*/ 292100 w 514350"/>
                <a:gd name="connsiteY22" fmla="*/ 77787 h 620717"/>
                <a:gd name="connsiteX23" fmla="*/ 296862 w 514350"/>
                <a:gd name="connsiteY23" fmla="*/ 79375 h 620717"/>
                <a:gd name="connsiteX24" fmla="*/ 311150 w 514350"/>
                <a:gd name="connsiteY24" fmla="*/ 82550 h 620717"/>
                <a:gd name="connsiteX25" fmla="*/ 319087 w 514350"/>
                <a:gd name="connsiteY25" fmla="*/ 87312 h 620717"/>
                <a:gd name="connsiteX26" fmla="*/ 323850 w 514350"/>
                <a:gd name="connsiteY26" fmla="*/ 88900 h 620717"/>
                <a:gd name="connsiteX27" fmla="*/ 336550 w 514350"/>
                <a:gd name="connsiteY27" fmla="*/ 103187 h 620717"/>
                <a:gd name="connsiteX28" fmla="*/ 334962 w 514350"/>
                <a:gd name="connsiteY28" fmla="*/ 114300 h 620717"/>
                <a:gd name="connsiteX29" fmla="*/ 330200 w 514350"/>
                <a:gd name="connsiteY29" fmla="*/ 115887 h 620717"/>
                <a:gd name="connsiteX30" fmla="*/ 315912 w 514350"/>
                <a:gd name="connsiteY30" fmla="*/ 130175 h 620717"/>
                <a:gd name="connsiteX31" fmla="*/ 307975 w 514350"/>
                <a:gd name="connsiteY31" fmla="*/ 131762 h 620717"/>
                <a:gd name="connsiteX32" fmla="*/ 300037 w 514350"/>
                <a:gd name="connsiteY32" fmla="*/ 134937 h 620717"/>
                <a:gd name="connsiteX33" fmla="*/ 296862 w 514350"/>
                <a:gd name="connsiteY33" fmla="*/ 142875 h 620717"/>
                <a:gd name="connsiteX34" fmla="*/ 282575 w 514350"/>
                <a:gd name="connsiteY34" fmla="*/ 157162 h 620717"/>
                <a:gd name="connsiteX35" fmla="*/ 273050 w 514350"/>
                <a:gd name="connsiteY35" fmla="*/ 153987 h 620717"/>
                <a:gd name="connsiteX36" fmla="*/ 261937 w 514350"/>
                <a:gd name="connsiteY36" fmla="*/ 147637 h 620717"/>
                <a:gd name="connsiteX37" fmla="*/ 242887 w 514350"/>
                <a:gd name="connsiteY37" fmla="*/ 149225 h 620717"/>
                <a:gd name="connsiteX38" fmla="*/ 236537 w 514350"/>
                <a:gd name="connsiteY38" fmla="*/ 150812 h 620717"/>
                <a:gd name="connsiteX39" fmla="*/ 231775 w 514350"/>
                <a:gd name="connsiteY39" fmla="*/ 142875 h 620717"/>
                <a:gd name="connsiteX40" fmla="*/ 225425 w 514350"/>
                <a:gd name="connsiteY40" fmla="*/ 123825 h 620717"/>
                <a:gd name="connsiteX41" fmla="*/ 219075 w 514350"/>
                <a:gd name="connsiteY41" fmla="*/ 122237 h 620717"/>
                <a:gd name="connsiteX42" fmla="*/ 204787 w 514350"/>
                <a:gd name="connsiteY42" fmla="*/ 120650 h 620717"/>
                <a:gd name="connsiteX43" fmla="*/ 190500 w 514350"/>
                <a:gd name="connsiteY43" fmla="*/ 117475 h 620717"/>
                <a:gd name="connsiteX44" fmla="*/ 182562 w 514350"/>
                <a:gd name="connsiteY44" fmla="*/ 111125 h 620717"/>
                <a:gd name="connsiteX45" fmla="*/ 174625 w 514350"/>
                <a:gd name="connsiteY45" fmla="*/ 104775 h 620717"/>
                <a:gd name="connsiteX46" fmla="*/ 152400 w 514350"/>
                <a:gd name="connsiteY46" fmla="*/ 106362 h 620717"/>
                <a:gd name="connsiteX47" fmla="*/ 150812 w 514350"/>
                <a:gd name="connsiteY47" fmla="*/ 117475 h 620717"/>
                <a:gd name="connsiteX48" fmla="*/ 133350 w 514350"/>
                <a:gd name="connsiteY48" fmla="*/ 120650 h 620717"/>
                <a:gd name="connsiteX49" fmla="*/ 138112 w 514350"/>
                <a:gd name="connsiteY49" fmla="*/ 123825 h 620717"/>
                <a:gd name="connsiteX50" fmla="*/ 139700 w 514350"/>
                <a:gd name="connsiteY50" fmla="*/ 128587 h 620717"/>
                <a:gd name="connsiteX51" fmla="*/ 146050 w 514350"/>
                <a:gd name="connsiteY51" fmla="*/ 131762 h 620717"/>
                <a:gd name="connsiteX52" fmla="*/ 147637 w 514350"/>
                <a:gd name="connsiteY52" fmla="*/ 138112 h 620717"/>
                <a:gd name="connsiteX53" fmla="*/ 123825 w 514350"/>
                <a:gd name="connsiteY53" fmla="*/ 146050 h 620717"/>
                <a:gd name="connsiteX54" fmla="*/ 117475 w 514350"/>
                <a:gd name="connsiteY54" fmla="*/ 155575 h 620717"/>
                <a:gd name="connsiteX55" fmla="*/ 112712 w 514350"/>
                <a:gd name="connsiteY55" fmla="*/ 157162 h 620717"/>
                <a:gd name="connsiteX56" fmla="*/ 125412 w 514350"/>
                <a:gd name="connsiteY56" fmla="*/ 161925 h 620717"/>
                <a:gd name="connsiteX57" fmla="*/ 130175 w 514350"/>
                <a:gd name="connsiteY57" fmla="*/ 163512 h 620717"/>
                <a:gd name="connsiteX58" fmla="*/ 142875 w 514350"/>
                <a:gd name="connsiteY58" fmla="*/ 166687 h 620717"/>
                <a:gd name="connsiteX59" fmla="*/ 147637 w 514350"/>
                <a:gd name="connsiteY59" fmla="*/ 173037 h 620717"/>
                <a:gd name="connsiteX60" fmla="*/ 152400 w 514350"/>
                <a:gd name="connsiteY60" fmla="*/ 177800 h 620717"/>
                <a:gd name="connsiteX61" fmla="*/ 146050 w 514350"/>
                <a:gd name="connsiteY61" fmla="*/ 179387 h 620717"/>
                <a:gd name="connsiteX62" fmla="*/ 149225 w 514350"/>
                <a:gd name="connsiteY62" fmla="*/ 185737 h 620717"/>
                <a:gd name="connsiteX63" fmla="*/ 153987 w 514350"/>
                <a:gd name="connsiteY63" fmla="*/ 187325 h 620717"/>
                <a:gd name="connsiteX64" fmla="*/ 168275 w 514350"/>
                <a:gd name="connsiteY64" fmla="*/ 190500 h 620717"/>
                <a:gd name="connsiteX65" fmla="*/ 165100 w 514350"/>
                <a:gd name="connsiteY65" fmla="*/ 198437 h 620717"/>
                <a:gd name="connsiteX66" fmla="*/ 160337 w 514350"/>
                <a:gd name="connsiteY66" fmla="*/ 200025 h 620717"/>
                <a:gd name="connsiteX67" fmla="*/ 139700 w 514350"/>
                <a:gd name="connsiteY67" fmla="*/ 196850 h 620717"/>
                <a:gd name="connsiteX68" fmla="*/ 153987 w 514350"/>
                <a:gd name="connsiteY68" fmla="*/ 211137 h 620717"/>
                <a:gd name="connsiteX69" fmla="*/ 152400 w 514350"/>
                <a:gd name="connsiteY69" fmla="*/ 217487 h 620717"/>
                <a:gd name="connsiteX70" fmla="*/ 138112 w 514350"/>
                <a:gd name="connsiteY70" fmla="*/ 219075 h 620717"/>
                <a:gd name="connsiteX71" fmla="*/ 142875 w 514350"/>
                <a:gd name="connsiteY71" fmla="*/ 223837 h 620717"/>
                <a:gd name="connsiteX72" fmla="*/ 141287 w 514350"/>
                <a:gd name="connsiteY72" fmla="*/ 228600 h 620717"/>
                <a:gd name="connsiteX73" fmla="*/ 107950 w 514350"/>
                <a:gd name="connsiteY73" fmla="*/ 231775 h 620717"/>
                <a:gd name="connsiteX74" fmla="*/ 95250 w 514350"/>
                <a:gd name="connsiteY74" fmla="*/ 233362 h 620717"/>
                <a:gd name="connsiteX75" fmla="*/ 92075 w 514350"/>
                <a:gd name="connsiteY75" fmla="*/ 247650 h 620717"/>
                <a:gd name="connsiteX76" fmla="*/ 93662 w 514350"/>
                <a:gd name="connsiteY76" fmla="*/ 252412 h 620717"/>
                <a:gd name="connsiteX77" fmla="*/ 109537 w 514350"/>
                <a:gd name="connsiteY77" fmla="*/ 260350 h 620717"/>
                <a:gd name="connsiteX78" fmla="*/ 114300 w 514350"/>
                <a:gd name="connsiteY78" fmla="*/ 263525 h 620717"/>
                <a:gd name="connsiteX79" fmla="*/ 119062 w 514350"/>
                <a:gd name="connsiteY79" fmla="*/ 268287 h 620717"/>
                <a:gd name="connsiteX80" fmla="*/ 123825 w 514350"/>
                <a:gd name="connsiteY80" fmla="*/ 269875 h 620717"/>
                <a:gd name="connsiteX81" fmla="*/ 128587 w 514350"/>
                <a:gd name="connsiteY81" fmla="*/ 273050 h 620717"/>
                <a:gd name="connsiteX82" fmla="*/ 114300 w 514350"/>
                <a:gd name="connsiteY82" fmla="*/ 279400 h 620717"/>
                <a:gd name="connsiteX83" fmla="*/ 109537 w 514350"/>
                <a:gd name="connsiteY83" fmla="*/ 284162 h 620717"/>
                <a:gd name="connsiteX84" fmla="*/ 111125 w 514350"/>
                <a:gd name="connsiteY84" fmla="*/ 293687 h 620717"/>
                <a:gd name="connsiteX85" fmla="*/ 125412 w 514350"/>
                <a:gd name="connsiteY85" fmla="*/ 296862 h 620717"/>
                <a:gd name="connsiteX86" fmla="*/ 136525 w 514350"/>
                <a:gd name="connsiteY86" fmla="*/ 301625 h 620717"/>
                <a:gd name="connsiteX87" fmla="*/ 142875 w 514350"/>
                <a:gd name="connsiteY87" fmla="*/ 303212 h 620717"/>
                <a:gd name="connsiteX88" fmla="*/ 146050 w 514350"/>
                <a:gd name="connsiteY88" fmla="*/ 311150 h 620717"/>
                <a:gd name="connsiteX89" fmla="*/ 158750 w 514350"/>
                <a:gd name="connsiteY89" fmla="*/ 315912 h 620717"/>
                <a:gd name="connsiteX90" fmla="*/ 193675 w 514350"/>
                <a:gd name="connsiteY90" fmla="*/ 317500 h 620717"/>
                <a:gd name="connsiteX91" fmla="*/ 209550 w 514350"/>
                <a:gd name="connsiteY91" fmla="*/ 320675 h 620717"/>
                <a:gd name="connsiteX92" fmla="*/ 204787 w 514350"/>
                <a:gd name="connsiteY92" fmla="*/ 323850 h 620717"/>
                <a:gd name="connsiteX93" fmla="*/ 200025 w 514350"/>
                <a:gd name="connsiteY93" fmla="*/ 325437 h 620717"/>
                <a:gd name="connsiteX94" fmla="*/ 190500 w 514350"/>
                <a:gd name="connsiteY94" fmla="*/ 331787 h 620717"/>
                <a:gd name="connsiteX95" fmla="*/ 182562 w 514350"/>
                <a:gd name="connsiteY95" fmla="*/ 338137 h 620717"/>
                <a:gd name="connsiteX96" fmla="*/ 176212 w 514350"/>
                <a:gd name="connsiteY96" fmla="*/ 341312 h 620717"/>
                <a:gd name="connsiteX97" fmla="*/ 171450 w 514350"/>
                <a:gd name="connsiteY97" fmla="*/ 344487 h 620717"/>
                <a:gd name="connsiteX98" fmla="*/ 161925 w 514350"/>
                <a:gd name="connsiteY98" fmla="*/ 347662 h 620717"/>
                <a:gd name="connsiteX99" fmla="*/ 149225 w 514350"/>
                <a:gd name="connsiteY99" fmla="*/ 365125 h 620717"/>
                <a:gd name="connsiteX100" fmla="*/ 139700 w 514350"/>
                <a:gd name="connsiteY100" fmla="*/ 382587 h 620717"/>
                <a:gd name="connsiteX101" fmla="*/ 134937 w 514350"/>
                <a:gd name="connsiteY101" fmla="*/ 384175 h 620717"/>
                <a:gd name="connsiteX102" fmla="*/ 133350 w 514350"/>
                <a:gd name="connsiteY102" fmla="*/ 388937 h 620717"/>
                <a:gd name="connsiteX103" fmla="*/ 128587 w 514350"/>
                <a:gd name="connsiteY103" fmla="*/ 392112 h 620717"/>
                <a:gd name="connsiteX104" fmla="*/ 120650 w 514350"/>
                <a:gd name="connsiteY104" fmla="*/ 398462 h 620717"/>
                <a:gd name="connsiteX105" fmla="*/ 114300 w 514350"/>
                <a:gd name="connsiteY105" fmla="*/ 409575 h 620717"/>
                <a:gd name="connsiteX106" fmla="*/ 109537 w 514350"/>
                <a:gd name="connsiteY106" fmla="*/ 411162 h 620717"/>
                <a:gd name="connsiteX107" fmla="*/ 92075 w 514350"/>
                <a:gd name="connsiteY107" fmla="*/ 414337 h 620717"/>
                <a:gd name="connsiteX108" fmla="*/ 92075 w 514350"/>
                <a:gd name="connsiteY108" fmla="*/ 433387 h 620717"/>
                <a:gd name="connsiteX109" fmla="*/ 79375 w 514350"/>
                <a:gd name="connsiteY109" fmla="*/ 441325 h 620717"/>
                <a:gd name="connsiteX110" fmla="*/ 73025 w 514350"/>
                <a:gd name="connsiteY110" fmla="*/ 455612 h 620717"/>
                <a:gd name="connsiteX111" fmla="*/ 69850 w 514350"/>
                <a:gd name="connsiteY111" fmla="*/ 463550 h 620717"/>
                <a:gd name="connsiteX112" fmla="*/ 65087 w 514350"/>
                <a:gd name="connsiteY112" fmla="*/ 465137 h 620717"/>
                <a:gd name="connsiteX113" fmla="*/ 38100 w 514350"/>
                <a:gd name="connsiteY113" fmla="*/ 466725 h 620717"/>
                <a:gd name="connsiteX114" fmla="*/ 34925 w 514350"/>
                <a:gd name="connsiteY114" fmla="*/ 473075 h 620717"/>
                <a:gd name="connsiteX115" fmla="*/ 30162 w 514350"/>
                <a:gd name="connsiteY115" fmla="*/ 476250 h 620717"/>
                <a:gd name="connsiteX116" fmla="*/ 0 w 514350"/>
                <a:gd name="connsiteY116" fmla="*/ 477837 h 620717"/>
                <a:gd name="connsiteX117" fmla="*/ 4762 w 514350"/>
                <a:gd name="connsiteY117" fmla="*/ 484187 h 620717"/>
                <a:gd name="connsiteX118" fmla="*/ 23812 w 514350"/>
                <a:gd name="connsiteY118" fmla="*/ 485775 h 620717"/>
                <a:gd name="connsiteX119" fmla="*/ 30162 w 514350"/>
                <a:gd name="connsiteY119" fmla="*/ 487362 h 620717"/>
                <a:gd name="connsiteX120" fmla="*/ 39687 w 514350"/>
                <a:gd name="connsiteY120" fmla="*/ 488950 h 620717"/>
                <a:gd name="connsiteX121" fmla="*/ 33337 w 514350"/>
                <a:gd name="connsiteY121" fmla="*/ 492125 h 620717"/>
                <a:gd name="connsiteX122" fmla="*/ 25400 w 514350"/>
                <a:gd name="connsiteY122" fmla="*/ 493712 h 620717"/>
                <a:gd name="connsiteX123" fmla="*/ 19050 w 514350"/>
                <a:gd name="connsiteY123" fmla="*/ 495300 h 620717"/>
                <a:gd name="connsiteX124" fmla="*/ 14287 w 514350"/>
                <a:gd name="connsiteY124" fmla="*/ 498475 h 620717"/>
                <a:gd name="connsiteX125" fmla="*/ 4762 w 514350"/>
                <a:gd name="connsiteY125" fmla="*/ 503237 h 620717"/>
                <a:gd name="connsiteX126" fmla="*/ 3175 w 514350"/>
                <a:gd name="connsiteY126" fmla="*/ 508000 h 620717"/>
                <a:gd name="connsiteX127" fmla="*/ 4762 w 514350"/>
                <a:gd name="connsiteY127" fmla="*/ 530225 h 620717"/>
                <a:gd name="connsiteX128" fmla="*/ 11112 w 514350"/>
                <a:gd name="connsiteY128" fmla="*/ 533400 h 620717"/>
                <a:gd name="connsiteX129" fmla="*/ 20637 w 514350"/>
                <a:gd name="connsiteY129" fmla="*/ 534987 h 620717"/>
                <a:gd name="connsiteX130" fmla="*/ 26987 w 514350"/>
                <a:gd name="connsiteY130" fmla="*/ 536575 h 620717"/>
                <a:gd name="connsiteX131" fmla="*/ 39687 w 514350"/>
                <a:gd name="connsiteY131" fmla="*/ 542925 h 620717"/>
                <a:gd name="connsiteX132" fmla="*/ 44450 w 514350"/>
                <a:gd name="connsiteY132" fmla="*/ 546100 h 620717"/>
                <a:gd name="connsiteX133" fmla="*/ 58737 w 514350"/>
                <a:gd name="connsiteY133" fmla="*/ 547687 h 620717"/>
                <a:gd name="connsiteX134" fmla="*/ 47625 w 514350"/>
                <a:gd name="connsiteY134" fmla="*/ 555625 h 620717"/>
                <a:gd name="connsiteX135" fmla="*/ 30162 w 514350"/>
                <a:gd name="connsiteY135" fmla="*/ 558800 h 620717"/>
                <a:gd name="connsiteX136" fmla="*/ 7937 w 514350"/>
                <a:gd name="connsiteY136" fmla="*/ 563562 h 620717"/>
                <a:gd name="connsiteX137" fmla="*/ 7937 w 514350"/>
                <a:gd name="connsiteY137" fmla="*/ 576262 h 620717"/>
                <a:gd name="connsiteX138" fmla="*/ 17462 w 514350"/>
                <a:gd name="connsiteY138" fmla="*/ 577850 h 620717"/>
                <a:gd name="connsiteX139" fmla="*/ 39687 w 514350"/>
                <a:gd name="connsiteY139" fmla="*/ 581025 h 620717"/>
                <a:gd name="connsiteX140" fmla="*/ 47625 w 514350"/>
                <a:gd name="connsiteY140" fmla="*/ 582612 h 620717"/>
                <a:gd name="connsiteX141" fmla="*/ 61912 w 514350"/>
                <a:gd name="connsiteY141" fmla="*/ 584200 h 620717"/>
                <a:gd name="connsiteX142" fmla="*/ 66675 w 514350"/>
                <a:gd name="connsiteY142" fmla="*/ 587375 h 620717"/>
                <a:gd name="connsiteX143" fmla="*/ 53975 w 514350"/>
                <a:gd name="connsiteY143" fmla="*/ 593725 h 620717"/>
                <a:gd name="connsiteX144" fmla="*/ 52387 w 514350"/>
                <a:gd name="connsiteY144" fmla="*/ 601662 h 620717"/>
                <a:gd name="connsiteX145" fmla="*/ 50800 w 514350"/>
                <a:gd name="connsiteY145" fmla="*/ 606425 h 620717"/>
                <a:gd name="connsiteX146" fmla="*/ 55562 w 514350"/>
                <a:gd name="connsiteY146" fmla="*/ 614362 h 620717"/>
                <a:gd name="connsiteX147" fmla="*/ 79375 w 514350"/>
                <a:gd name="connsiteY147" fmla="*/ 609600 h 620717"/>
                <a:gd name="connsiteX148" fmla="*/ 123825 w 514350"/>
                <a:gd name="connsiteY148" fmla="*/ 612775 h 620717"/>
                <a:gd name="connsiteX149" fmla="*/ 130175 w 514350"/>
                <a:gd name="connsiteY149" fmla="*/ 617537 h 620717"/>
                <a:gd name="connsiteX150" fmla="*/ 144462 w 514350"/>
                <a:gd name="connsiteY150" fmla="*/ 620712 h 620717"/>
                <a:gd name="connsiteX151" fmla="*/ 173037 w 514350"/>
                <a:gd name="connsiteY151" fmla="*/ 617537 h 620717"/>
                <a:gd name="connsiteX152" fmla="*/ 180975 w 514350"/>
                <a:gd name="connsiteY152" fmla="*/ 614362 h 620717"/>
                <a:gd name="connsiteX153" fmla="*/ 187325 w 514350"/>
                <a:gd name="connsiteY153" fmla="*/ 609600 h 620717"/>
                <a:gd name="connsiteX154" fmla="*/ 196850 w 514350"/>
                <a:gd name="connsiteY154" fmla="*/ 606425 h 620717"/>
                <a:gd name="connsiteX155" fmla="*/ 198437 w 514350"/>
                <a:gd name="connsiteY155" fmla="*/ 600075 h 620717"/>
                <a:gd name="connsiteX156" fmla="*/ 203200 w 514350"/>
                <a:gd name="connsiteY156" fmla="*/ 595312 h 620717"/>
                <a:gd name="connsiteX157" fmla="*/ 215900 w 514350"/>
                <a:gd name="connsiteY157" fmla="*/ 581025 h 620717"/>
                <a:gd name="connsiteX158" fmla="*/ 230187 w 514350"/>
                <a:gd name="connsiteY158" fmla="*/ 582612 h 620717"/>
                <a:gd name="connsiteX159" fmla="*/ 238125 w 514350"/>
                <a:gd name="connsiteY159" fmla="*/ 584200 h 620717"/>
                <a:gd name="connsiteX160" fmla="*/ 261937 w 514350"/>
                <a:gd name="connsiteY160" fmla="*/ 581025 h 620717"/>
                <a:gd name="connsiteX161" fmla="*/ 263525 w 514350"/>
                <a:gd name="connsiteY161" fmla="*/ 576262 h 620717"/>
                <a:gd name="connsiteX162" fmla="*/ 266700 w 514350"/>
                <a:gd name="connsiteY162" fmla="*/ 582612 h 620717"/>
                <a:gd name="connsiteX163" fmla="*/ 277812 w 514350"/>
                <a:gd name="connsiteY163" fmla="*/ 590550 h 620717"/>
                <a:gd name="connsiteX164" fmla="*/ 279400 w 514350"/>
                <a:gd name="connsiteY164" fmla="*/ 579437 h 620717"/>
                <a:gd name="connsiteX165" fmla="*/ 287337 w 514350"/>
                <a:gd name="connsiteY165" fmla="*/ 571500 h 620717"/>
                <a:gd name="connsiteX166" fmla="*/ 290512 w 514350"/>
                <a:gd name="connsiteY166" fmla="*/ 566737 h 620717"/>
                <a:gd name="connsiteX167" fmla="*/ 311150 w 514350"/>
                <a:gd name="connsiteY167" fmla="*/ 558800 h 620717"/>
                <a:gd name="connsiteX168" fmla="*/ 354012 w 514350"/>
                <a:gd name="connsiteY168" fmla="*/ 554037 h 620717"/>
                <a:gd name="connsiteX169" fmla="*/ 360362 w 514350"/>
                <a:gd name="connsiteY169" fmla="*/ 561975 h 620717"/>
                <a:gd name="connsiteX170" fmla="*/ 365125 w 514350"/>
                <a:gd name="connsiteY170" fmla="*/ 563562 h 620717"/>
                <a:gd name="connsiteX171" fmla="*/ 366712 w 514350"/>
                <a:gd name="connsiteY171" fmla="*/ 557212 h 620717"/>
                <a:gd name="connsiteX172" fmla="*/ 368300 w 514350"/>
                <a:gd name="connsiteY172" fmla="*/ 552450 h 620717"/>
                <a:gd name="connsiteX173" fmla="*/ 377825 w 514350"/>
                <a:gd name="connsiteY173" fmla="*/ 557212 h 620717"/>
                <a:gd name="connsiteX174" fmla="*/ 382587 w 514350"/>
                <a:gd name="connsiteY174" fmla="*/ 563562 h 620717"/>
                <a:gd name="connsiteX175" fmla="*/ 404812 w 514350"/>
                <a:gd name="connsiteY175" fmla="*/ 565150 h 620717"/>
                <a:gd name="connsiteX176" fmla="*/ 414337 w 514350"/>
                <a:gd name="connsiteY176" fmla="*/ 571500 h 620717"/>
                <a:gd name="connsiteX177" fmla="*/ 419100 w 514350"/>
                <a:gd name="connsiteY177" fmla="*/ 574675 h 620717"/>
                <a:gd name="connsiteX178" fmla="*/ 436562 w 514350"/>
                <a:gd name="connsiteY178" fmla="*/ 573087 h 620717"/>
                <a:gd name="connsiteX179" fmla="*/ 434975 w 514350"/>
                <a:gd name="connsiteY179" fmla="*/ 566737 h 620717"/>
                <a:gd name="connsiteX180" fmla="*/ 430212 w 514350"/>
                <a:gd name="connsiteY180" fmla="*/ 546100 h 620717"/>
                <a:gd name="connsiteX181" fmla="*/ 433387 w 514350"/>
                <a:gd name="connsiteY181" fmla="*/ 531812 h 620717"/>
                <a:gd name="connsiteX182" fmla="*/ 446087 w 514350"/>
                <a:gd name="connsiteY182" fmla="*/ 525462 h 620717"/>
                <a:gd name="connsiteX183" fmla="*/ 452437 w 514350"/>
                <a:gd name="connsiteY183" fmla="*/ 519112 h 620717"/>
                <a:gd name="connsiteX184" fmla="*/ 463550 w 514350"/>
                <a:gd name="connsiteY184" fmla="*/ 514350 h 620717"/>
                <a:gd name="connsiteX185" fmla="*/ 465137 w 514350"/>
                <a:gd name="connsiteY185" fmla="*/ 508000 h 620717"/>
                <a:gd name="connsiteX186" fmla="*/ 466725 w 514350"/>
                <a:gd name="connsiteY186" fmla="*/ 485775 h 620717"/>
                <a:gd name="connsiteX187" fmla="*/ 482600 w 514350"/>
                <a:gd name="connsiteY187" fmla="*/ 474662 h 620717"/>
                <a:gd name="connsiteX188" fmla="*/ 495300 w 514350"/>
                <a:gd name="connsiteY188" fmla="*/ 458787 h 620717"/>
                <a:gd name="connsiteX189" fmla="*/ 501650 w 514350"/>
                <a:gd name="connsiteY189" fmla="*/ 438150 h 620717"/>
                <a:gd name="connsiteX190" fmla="*/ 506412 w 514350"/>
                <a:gd name="connsiteY190" fmla="*/ 433387 h 620717"/>
                <a:gd name="connsiteX191" fmla="*/ 506412 w 514350"/>
                <a:gd name="connsiteY191" fmla="*/ 401637 h 620717"/>
                <a:gd name="connsiteX192" fmla="*/ 501650 w 514350"/>
                <a:gd name="connsiteY192" fmla="*/ 398462 h 620717"/>
                <a:gd name="connsiteX193" fmla="*/ 498475 w 514350"/>
                <a:gd name="connsiteY193" fmla="*/ 392112 h 620717"/>
                <a:gd name="connsiteX194" fmla="*/ 503237 w 514350"/>
                <a:gd name="connsiteY194" fmla="*/ 360362 h 620717"/>
                <a:gd name="connsiteX195" fmla="*/ 508000 w 514350"/>
                <a:gd name="connsiteY195" fmla="*/ 355600 h 620717"/>
                <a:gd name="connsiteX196" fmla="*/ 514350 w 514350"/>
                <a:gd name="connsiteY196" fmla="*/ 346075 h 620717"/>
                <a:gd name="connsiteX197" fmla="*/ 511175 w 514350"/>
                <a:gd name="connsiteY197" fmla="*/ 331787 h 620717"/>
                <a:gd name="connsiteX198" fmla="*/ 506412 w 514350"/>
                <a:gd name="connsiteY198" fmla="*/ 327025 h 620717"/>
                <a:gd name="connsiteX199" fmla="*/ 504825 w 514350"/>
                <a:gd name="connsiteY199" fmla="*/ 315912 h 620717"/>
                <a:gd name="connsiteX200" fmla="*/ 508000 w 514350"/>
                <a:gd name="connsiteY200" fmla="*/ 290512 h 620717"/>
                <a:gd name="connsiteX201" fmla="*/ 506412 w 514350"/>
                <a:gd name="connsiteY201" fmla="*/ 282575 h 620717"/>
                <a:gd name="connsiteX202" fmla="*/ 495300 w 514350"/>
                <a:gd name="connsiteY202" fmla="*/ 276225 h 620717"/>
                <a:gd name="connsiteX203" fmla="*/ 496887 w 514350"/>
                <a:gd name="connsiteY203" fmla="*/ 268287 h 620717"/>
                <a:gd name="connsiteX204" fmla="*/ 501650 w 514350"/>
                <a:gd name="connsiteY204" fmla="*/ 266700 h 620717"/>
                <a:gd name="connsiteX205" fmla="*/ 506412 w 514350"/>
                <a:gd name="connsiteY205" fmla="*/ 263525 h 620717"/>
                <a:gd name="connsiteX206" fmla="*/ 509587 w 514350"/>
                <a:gd name="connsiteY206" fmla="*/ 258762 h 620717"/>
                <a:gd name="connsiteX207" fmla="*/ 511175 w 514350"/>
                <a:gd name="connsiteY207" fmla="*/ 254000 h 620717"/>
                <a:gd name="connsiteX208" fmla="*/ 514350 w 514350"/>
                <a:gd name="connsiteY208" fmla="*/ 246062 h 620717"/>
                <a:gd name="connsiteX209" fmla="*/ 512762 w 514350"/>
                <a:gd name="connsiteY209" fmla="*/ 239712 h 620717"/>
                <a:gd name="connsiteX210" fmla="*/ 496887 w 514350"/>
                <a:gd name="connsiteY210" fmla="*/ 239712 h 620717"/>
                <a:gd name="connsiteX211" fmla="*/ 492125 w 514350"/>
                <a:gd name="connsiteY211" fmla="*/ 241300 h 620717"/>
                <a:gd name="connsiteX212" fmla="*/ 485775 w 514350"/>
                <a:gd name="connsiteY212" fmla="*/ 244475 h 620717"/>
                <a:gd name="connsiteX213" fmla="*/ 481012 w 514350"/>
                <a:gd name="connsiteY213" fmla="*/ 234950 h 620717"/>
                <a:gd name="connsiteX214" fmla="*/ 479425 w 514350"/>
                <a:gd name="connsiteY214" fmla="*/ 222250 h 620717"/>
                <a:gd name="connsiteX215" fmla="*/ 477837 w 514350"/>
                <a:gd name="connsiteY215" fmla="*/ 215900 h 620717"/>
                <a:gd name="connsiteX216" fmla="*/ 473075 w 514350"/>
                <a:gd name="connsiteY216" fmla="*/ 190500 h 620717"/>
                <a:gd name="connsiteX217" fmla="*/ 468312 w 514350"/>
                <a:gd name="connsiteY217" fmla="*/ 176212 h 620717"/>
                <a:gd name="connsiteX218" fmla="*/ 458787 w 514350"/>
                <a:gd name="connsiteY218" fmla="*/ 171450 h 620717"/>
                <a:gd name="connsiteX219" fmla="*/ 449262 w 514350"/>
                <a:gd name="connsiteY219" fmla="*/ 173037 h 620717"/>
                <a:gd name="connsiteX220" fmla="*/ 438150 w 514350"/>
                <a:gd name="connsiteY220" fmla="*/ 182562 h 620717"/>
                <a:gd name="connsiteX221" fmla="*/ 434975 w 514350"/>
                <a:gd name="connsiteY221" fmla="*/ 188912 h 620717"/>
                <a:gd name="connsiteX222" fmla="*/ 428625 w 514350"/>
                <a:gd name="connsiteY222" fmla="*/ 196850 h 620717"/>
                <a:gd name="connsiteX223" fmla="*/ 417512 w 514350"/>
                <a:gd name="connsiteY223" fmla="*/ 206375 h 620717"/>
                <a:gd name="connsiteX224" fmla="*/ 412750 w 514350"/>
                <a:gd name="connsiteY224" fmla="*/ 207962 h 620717"/>
                <a:gd name="connsiteX225" fmla="*/ 401637 w 514350"/>
                <a:gd name="connsiteY225" fmla="*/ 206375 h 620717"/>
                <a:gd name="connsiteX226" fmla="*/ 395287 w 514350"/>
                <a:gd name="connsiteY226" fmla="*/ 200025 h 620717"/>
                <a:gd name="connsiteX227" fmla="*/ 390525 w 514350"/>
                <a:gd name="connsiteY227" fmla="*/ 196850 h 620717"/>
                <a:gd name="connsiteX228" fmla="*/ 385762 w 514350"/>
                <a:gd name="connsiteY228" fmla="*/ 190500 h 620717"/>
                <a:gd name="connsiteX229" fmla="*/ 368300 w 514350"/>
                <a:gd name="connsiteY229" fmla="*/ 171450 h 620717"/>
                <a:gd name="connsiteX230" fmla="*/ 363537 w 514350"/>
                <a:gd name="connsiteY230" fmla="*/ 160337 h 620717"/>
                <a:gd name="connsiteX231" fmla="*/ 358775 w 514350"/>
                <a:gd name="connsiteY231" fmla="*/ 157162 h 620717"/>
                <a:gd name="connsiteX232" fmla="*/ 349250 w 514350"/>
                <a:gd name="connsiteY232" fmla="*/ 144462 h 620717"/>
                <a:gd name="connsiteX233" fmla="*/ 346075 w 514350"/>
                <a:gd name="connsiteY233" fmla="*/ 138112 h 620717"/>
                <a:gd name="connsiteX234" fmla="*/ 350837 w 514350"/>
                <a:gd name="connsiteY234" fmla="*/ 128587 h 620717"/>
                <a:gd name="connsiteX235" fmla="*/ 357187 w 514350"/>
                <a:gd name="connsiteY235" fmla="*/ 127000 h 620717"/>
                <a:gd name="connsiteX236" fmla="*/ 368300 w 514350"/>
                <a:gd name="connsiteY236" fmla="*/ 125412 h 620717"/>
                <a:gd name="connsiteX237" fmla="*/ 374650 w 514350"/>
                <a:gd name="connsiteY237" fmla="*/ 123825 h 620717"/>
                <a:gd name="connsiteX238" fmla="*/ 384175 w 514350"/>
                <a:gd name="connsiteY238" fmla="*/ 120650 h 620717"/>
                <a:gd name="connsiteX239" fmla="*/ 392112 w 514350"/>
                <a:gd name="connsiteY239" fmla="*/ 111125 h 620717"/>
                <a:gd name="connsiteX240" fmla="*/ 388937 w 514350"/>
                <a:gd name="connsiteY240" fmla="*/ 100012 h 620717"/>
                <a:gd name="connsiteX241" fmla="*/ 390525 w 514350"/>
                <a:gd name="connsiteY241" fmla="*/ 93662 h 620717"/>
                <a:gd name="connsiteX242" fmla="*/ 401637 w 514350"/>
                <a:gd name="connsiteY242" fmla="*/ 95250 h 620717"/>
                <a:gd name="connsiteX243" fmla="*/ 423862 w 514350"/>
                <a:gd name="connsiteY243" fmla="*/ 93662 h 620717"/>
                <a:gd name="connsiteX244" fmla="*/ 430212 w 514350"/>
                <a:gd name="connsiteY244" fmla="*/ 87312 h 620717"/>
                <a:gd name="connsiteX245" fmla="*/ 431800 w 514350"/>
                <a:gd name="connsiteY245" fmla="*/ 61912 h 620717"/>
                <a:gd name="connsiteX246" fmla="*/ 443914 w 514350"/>
                <a:gd name="connsiteY246" fmla="*/ 64084 h 620717"/>
                <a:gd name="connsiteX247" fmla="*/ 448737 w 514350"/>
                <a:gd name="connsiteY247" fmla="*/ 66117 h 620717"/>
                <a:gd name="connsiteX248" fmla="*/ 435858 w 514350"/>
                <a:gd name="connsiteY248" fmla="*/ 67146 h 620717"/>
                <a:gd name="connsiteX249" fmla="*/ 451852 w 514350"/>
                <a:gd name="connsiteY249" fmla="*/ 72772 h 620717"/>
                <a:gd name="connsiteX250" fmla="*/ 439737 w 514350"/>
                <a:gd name="connsiteY250" fmla="*/ 79845 h 620717"/>
                <a:gd name="connsiteX251" fmla="*/ 450399 w 514350"/>
                <a:gd name="connsiteY251" fmla="*/ 73819 h 620717"/>
                <a:gd name="connsiteX252" fmla="*/ 455612 w 514350"/>
                <a:gd name="connsiteY252" fmla="*/ 69850 h 620717"/>
                <a:gd name="connsiteX253" fmla="*/ 461962 w 514350"/>
                <a:gd name="connsiteY253" fmla="*/ 68262 h 620717"/>
                <a:gd name="connsiteX254" fmla="*/ 466725 w 514350"/>
                <a:gd name="connsiteY254" fmla="*/ 61912 h 620717"/>
                <a:gd name="connsiteX255" fmla="*/ 492125 w 514350"/>
                <a:gd name="connsiteY255" fmla="*/ 53975 h 620717"/>
                <a:gd name="connsiteX256" fmla="*/ 496887 w 514350"/>
                <a:gd name="connsiteY256" fmla="*/ 49212 h 620717"/>
                <a:gd name="connsiteX257" fmla="*/ 500062 w 514350"/>
                <a:gd name="connsiteY257" fmla="*/ 41275 h 620717"/>
                <a:gd name="connsiteX258" fmla="*/ 496887 w 514350"/>
                <a:gd name="connsiteY258"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29887 w 514350"/>
                <a:gd name="connsiteY9" fmla="*/ 34766 h 620717"/>
                <a:gd name="connsiteX10" fmla="*/ 421653 w 514350"/>
                <a:gd name="connsiteY10" fmla="*/ 43507 h 620717"/>
                <a:gd name="connsiteX11" fmla="*/ 424157 w 514350"/>
                <a:gd name="connsiteY11" fmla="*/ 31516 h 620717"/>
                <a:gd name="connsiteX12" fmla="*/ 415884 w 514350"/>
                <a:gd name="connsiteY12" fmla="*/ 9813 h 620717"/>
                <a:gd name="connsiteX13" fmla="*/ 401637 w 514350"/>
                <a:gd name="connsiteY13" fmla="*/ 12700 h 620717"/>
                <a:gd name="connsiteX14" fmla="*/ 352425 w 514350"/>
                <a:gd name="connsiteY14" fmla="*/ 19050 h 620717"/>
                <a:gd name="connsiteX15" fmla="*/ 350837 w 514350"/>
                <a:gd name="connsiteY15" fmla="*/ 23812 h 620717"/>
                <a:gd name="connsiteX16" fmla="*/ 352425 w 514350"/>
                <a:gd name="connsiteY16" fmla="*/ 38100 h 620717"/>
                <a:gd name="connsiteX17" fmla="*/ 357187 w 514350"/>
                <a:gd name="connsiteY17" fmla="*/ 44450 h 620717"/>
                <a:gd name="connsiteX18" fmla="*/ 349250 w 514350"/>
                <a:gd name="connsiteY18" fmla="*/ 58737 h 620717"/>
                <a:gd name="connsiteX19" fmla="*/ 328612 w 514350"/>
                <a:gd name="connsiteY19" fmla="*/ 60325 h 620717"/>
                <a:gd name="connsiteX20" fmla="*/ 307975 w 514350"/>
                <a:gd name="connsiteY20" fmla="*/ 68262 h 620717"/>
                <a:gd name="connsiteX21" fmla="*/ 295275 w 514350"/>
                <a:gd name="connsiteY21" fmla="*/ 73025 h 620717"/>
                <a:gd name="connsiteX22" fmla="*/ 292100 w 514350"/>
                <a:gd name="connsiteY22" fmla="*/ 77787 h 620717"/>
                <a:gd name="connsiteX23" fmla="*/ 296862 w 514350"/>
                <a:gd name="connsiteY23" fmla="*/ 79375 h 620717"/>
                <a:gd name="connsiteX24" fmla="*/ 311150 w 514350"/>
                <a:gd name="connsiteY24" fmla="*/ 82550 h 620717"/>
                <a:gd name="connsiteX25" fmla="*/ 319087 w 514350"/>
                <a:gd name="connsiteY25" fmla="*/ 87312 h 620717"/>
                <a:gd name="connsiteX26" fmla="*/ 323850 w 514350"/>
                <a:gd name="connsiteY26" fmla="*/ 88900 h 620717"/>
                <a:gd name="connsiteX27" fmla="*/ 336550 w 514350"/>
                <a:gd name="connsiteY27" fmla="*/ 103187 h 620717"/>
                <a:gd name="connsiteX28" fmla="*/ 334962 w 514350"/>
                <a:gd name="connsiteY28" fmla="*/ 114300 h 620717"/>
                <a:gd name="connsiteX29" fmla="*/ 330200 w 514350"/>
                <a:gd name="connsiteY29" fmla="*/ 115887 h 620717"/>
                <a:gd name="connsiteX30" fmla="*/ 315912 w 514350"/>
                <a:gd name="connsiteY30" fmla="*/ 130175 h 620717"/>
                <a:gd name="connsiteX31" fmla="*/ 307975 w 514350"/>
                <a:gd name="connsiteY31" fmla="*/ 131762 h 620717"/>
                <a:gd name="connsiteX32" fmla="*/ 300037 w 514350"/>
                <a:gd name="connsiteY32" fmla="*/ 134937 h 620717"/>
                <a:gd name="connsiteX33" fmla="*/ 296862 w 514350"/>
                <a:gd name="connsiteY33" fmla="*/ 142875 h 620717"/>
                <a:gd name="connsiteX34" fmla="*/ 282575 w 514350"/>
                <a:gd name="connsiteY34" fmla="*/ 157162 h 620717"/>
                <a:gd name="connsiteX35" fmla="*/ 273050 w 514350"/>
                <a:gd name="connsiteY35" fmla="*/ 153987 h 620717"/>
                <a:gd name="connsiteX36" fmla="*/ 261937 w 514350"/>
                <a:gd name="connsiteY36" fmla="*/ 147637 h 620717"/>
                <a:gd name="connsiteX37" fmla="*/ 242887 w 514350"/>
                <a:gd name="connsiteY37" fmla="*/ 149225 h 620717"/>
                <a:gd name="connsiteX38" fmla="*/ 236537 w 514350"/>
                <a:gd name="connsiteY38" fmla="*/ 150812 h 620717"/>
                <a:gd name="connsiteX39" fmla="*/ 231775 w 514350"/>
                <a:gd name="connsiteY39" fmla="*/ 142875 h 620717"/>
                <a:gd name="connsiteX40" fmla="*/ 225425 w 514350"/>
                <a:gd name="connsiteY40" fmla="*/ 123825 h 620717"/>
                <a:gd name="connsiteX41" fmla="*/ 219075 w 514350"/>
                <a:gd name="connsiteY41" fmla="*/ 122237 h 620717"/>
                <a:gd name="connsiteX42" fmla="*/ 204787 w 514350"/>
                <a:gd name="connsiteY42" fmla="*/ 120650 h 620717"/>
                <a:gd name="connsiteX43" fmla="*/ 190500 w 514350"/>
                <a:gd name="connsiteY43" fmla="*/ 117475 h 620717"/>
                <a:gd name="connsiteX44" fmla="*/ 182562 w 514350"/>
                <a:gd name="connsiteY44" fmla="*/ 111125 h 620717"/>
                <a:gd name="connsiteX45" fmla="*/ 174625 w 514350"/>
                <a:gd name="connsiteY45" fmla="*/ 104775 h 620717"/>
                <a:gd name="connsiteX46" fmla="*/ 152400 w 514350"/>
                <a:gd name="connsiteY46" fmla="*/ 106362 h 620717"/>
                <a:gd name="connsiteX47" fmla="*/ 150812 w 514350"/>
                <a:gd name="connsiteY47" fmla="*/ 117475 h 620717"/>
                <a:gd name="connsiteX48" fmla="*/ 133350 w 514350"/>
                <a:gd name="connsiteY48" fmla="*/ 120650 h 620717"/>
                <a:gd name="connsiteX49" fmla="*/ 138112 w 514350"/>
                <a:gd name="connsiteY49" fmla="*/ 123825 h 620717"/>
                <a:gd name="connsiteX50" fmla="*/ 139700 w 514350"/>
                <a:gd name="connsiteY50" fmla="*/ 128587 h 620717"/>
                <a:gd name="connsiteX51" fmla="*/ 146050 w 514350"/>
                <a:gd name="connsiteY51" fmla="*/ 131762 h 620717"/>
                <a:gd name="connsiteX52" fmla="*/ 147637 w 514350"/>
                <a:gd name="connsiteY52" fmla="*/ 138112 h 620717"/>
                <a:gd name="connsiteX53" fmla="*/ 123825 w 514350"/>
                <a:gd name="connsiteY53" fmla="*/ 146050 h 620717"/>
                <a:gd name="connsiteX54" fmla="*/ 117475 w 514350"/>
                <a:gd name="connsiteY54" fmla="*/ 155575 h 620717"/>
                <a:gd name="connsiteX55" fmla="*/ 112712 w 514350"/>
                <a:gd name="connsiteY55" fmla="*/ 157162 h 620717"/>
                <a:gd name="connsiteX56" fmla="*/ 125412 w 514350"/>
                <a:gd name="connsiteY56" fmla="*/ 161925 h 620717"/>
                <a:gd name="connsiteX57" fmla="*/ 130175 w 514350"/>
                <a:gd name="connsiteY57" fmla="*/ 163512 h 620717"/>
                <a:gd name="connsiteX58" fmla="*/ 142875 w 514350"/>
                <a:gd name="connsiteY58" fmla="*/ 166687 h 620717"/>
                <a:gd name="connsiteX59" fmla="*/ 147637 w 514350"/>
                <a:gd name="connsiteY59" fmla="*/ 173037 h 620717"/>
                <a:gd name="connsiteX60" fmla="*/ 152400 w 514350"/>
                <a:gd name="connsiteY60" fmla="*/ 177800 h 620717"/>
                <a:gd name="connsiteX61" fmla="*/ 146050 w 514350"/>
                <a:gd name="connsiteY61" fmla="*/ 179387 h 620717"/>
                <a:gd name="connsiteX62" fmla="*/ 149225 w 514350"/>
                <a:gd name="connsiteY62" fmla="*/ 185737 h 620717"/>
                <a:gd name="connsiteX63" fmla="*/ 153987 w 514350"/>
                <a:gd name="connsiteY63" fmla="*/ 187325 h 620717"/>
                <a:gd name="connsiteX64" fmla="*/ 168275 w 514350"/>
                <a:gd name="connsiteY64" fmla="*/ 190500 h 620717"/>
                <a:gd name="connsiteX65" fmla="*/ 165100 w 514350"/>
                <a:gd name="connsiteY65" fmla="*/ 198437 h 620717"/>
                <a:gd name="connsiteX66" fmla="*/ 160337 w 514350"/>
                <a:gd name="connsiteY66" fmla="*/ 200025 h 620717"/>
                <a:gd name="connsiteX67" fmla="*/ 139700 w 514350"/>
                <a:gd name="connsiteY67" fmla="*/ 196850 h 620717"/>
                <a:gd name="connsiteX68" fmla="*/ 153987 w 514350"/>
                <a:gd name="connsiteY68" fmla="*/ 211137 h 620717"/>
                <a:gd name="connsiteX69" fmla="*/ 152400 w 514350"/>
                <a:gd name="connsiteY69" fmla="*/ 217487 h 620717"/>
                <a:gd name="connsiteX70" fmla="*/ 138112 w 514350"/>
                <a:gd name="connsiteY70" fmla="*/ 219075 h 620717"/>
                <a:gd name="connsiteX71" fmla="*/ 142875 w 514350"/>
                <a:gd name="connsiteY71" fmla="*/ 223837 h 620717"/>
                <a:gd name="connsiteX72" fmla="*/ 141287 w 514350"/>
                <a:gd name="connsiteY72" fmla="*/ 228600 h 620717"/>
                <a:gd name="connsiteX73" fmla="*/ 107950 w 514350"/>
                <a:gd name="connsiteY73" fmla="*/ 231775 h 620717"/>
                <a:gd name="connsiteX74" fmla="*/ 95250 w 514350"/>
                <a:gd name="connsiteY74" fmla="*/ 233362 h 620717"/>
                <a:gd name="connsiteX75" fmla="*/ 92075 w 514350"/>
                <a:gd name="connsiteY75" fmla="*/ 247650 h 620717"/>
                <a:gd name="connsiteX76" fmla="*/ 93662 w 514350"/>
                <a:gd name="connsiteY76" fmla="*/ 252412 h 620717"/>
                <a:gd name="connsiteX77" fmla="*/ 109537 w 514350"/>
                <a:gd name="connsiteY77" fmla="*/ 260350 h 620717"/>
                <a:gd name="connsiteX78" fmla="*/ 114300 w 514350"/>
                <a:gd name="connsiteY78" fmla="*/ 263525 h 620717"/>
                <a:gd name="connsiteX79" fmla="*/ 119062 w 514350"/>
                <a:gd name="connsiteY79" fmla="*/ 268287 h 620717"/>
                <a:gd name="connsiteX80" fmla="*/ 123825 w 514350"/>
                <a:gd name="connsiteY80" fmla="*/ 269875 h 620717"/>
                <a:gd name="connsiteX81" fmla="*/ 128587 w 514350"/>
                <a:gd name="connsiteY81" fmla="*/ 273050 h 620717"/>
                <a:gd name="connsiteX82" fmla="*/ 114300 w 514350"/>
                <a:gd name="connsiteY82" fmla="*/ 279400 h 620717"/>
                <a:gd name="connsiteX83" fmla="*/ 109537 w 514350"/>
                <a:gd name="connsiteY83" fmla="*/ 284162 h 620717"/>
                <a:gd name="connsiteX84" fmla="*/ 111125 w 514350"/>
                <a:gd name="connsiteY84" fmla="*/ 293687 h 620717"/>
                <a:gd name="connsiteX85" fmla="*/ 125412 w 514350"/>
                <a:gd name="connsiteY85" fmla="*/ 296862 h 620717"/>
                <a:gd name="connsiteX86" fmla="*/ 136525 w 514350"/>
                <a:gd name="connsiteY86" fmla="*/ 301625 h 620717"/>
                <a:gd name="connsiteX87" fmla="*/ 142875 w 514350"/>
                <a:gd name="connsiteY87" fmla="*/ 303212 h 620717"/>
                <a:gd name="connsiteX88" fmla="*/ 146050 w 514350"/>
                <a:gd name="connsiteY88" fmla="*/ 311150 h 620717"/>
                <a:gd name="connsiteX89" fmla="*/ 158750 w 514350"/>
                <a:gd name="connsiteY89" fmla="*/ 315912 h 620717"/>
                <a:gd name="connsiteX90" fmla="*/ 193675 w 514350"/>
                <a:gd name="connsiteY90" fmla="*/ 317500 h 620717"/>
                <a:gd name="connsiteX91" fmla="*/ 209550 w 514350"/>
                <a:gd name="connsiteY91" fmla="*/ 320675 h 620717"/>
                <a:gd name="connsiteX92" fmla="*/ 204787 w 514350"/>
                <a:gd name="connsiteY92" fmla="*/ 323850 h 620717"/>
                <a:gd name="connsiteX93" fmla="*/ 200025 w 514350"/>
                <a:gd name="connsiteY93" fmla="*/ 325437 h 620717"/>
                <a:gd name="connsiteX94" fmla="*/ 190500 w 514350"/>
                <a:gd name="connsiteY94" fmla="*/ 331787 h 620717"/>
                <a:gd name="connsiteX95" fmla="*/ 182562 w 514350"/>
                <a:gd name="connsiteY95" fmla="*/ 338137 h 620717"/>
                <a:gd name="connsiteX96" fmla="*/ 176212 w 514350"/>
                <a:gd name="connsiteY96" fmla="*/ 341312 h 620717"/>
                <a:gd name="connsiteX97" fmla="*/ 171450 w 514350"/>
                <a:gd name="connsiteY97" fmla="*/ 344487 h 620717"/>
                <a:gd name="connsiteX98" fmla="*/ 161925 w 514350"/>
                <a:gd name="connsiteY98" fmla="*/ 347662 h 620717"/>
                <a:gd name="connsiteX99" fmla="*/ 149225 w 514350"/>
                <a:gd name="connsiteY99" fmla="*/ 365125 h 620717"/>
                <a:gd name="connsiteX100" fmla="*/ 139700 w 514350"/>
                <a:gd name="connsiteY100" fmla="*/ 382587 h 620717"/>
                <a:gd name="connsiteX101" fmla="*/ 134937 w 514350"/>
                <a:gd name="connsiteY101" fmla="*/ 384175 h 620717"/>
                <a:gd name="connsiteX102" fmla="*/ 133350 w 514350"/>
                <a:gd name="connsiteY102" fmla="*/ 388937 h 620717"/>
                <a:gd name="connsiteX103" fmla="*/ 128587 w 514350"/>
                <a:gd name="connsiteY103" fmla="*/ 392112 h 620717"/>
                <a:gd name="connsiteX104" fmla="*/ 120650 w 514350"/>
                <a:gd name="connsiteY104" fmla="*/ 398462 h 620717"/>
                <a:gd name="connsiteX105" fmla="*/ 114300 w 514350"/>
                <a:gd name="connsiteY105" fmla="*/ 409575 h 620717"/>
                <a:gd name="connsiteX106" fmla="*/ 109537 w 514350"/>
                <a:gd name="connsiteY106" fmla="*/ 411162 h 620717"/>
                <a:gd name="connsiteX107" fmla="*/ 92075 w 514350"/>
                <a:gd name="connsiteY107" fmla="*/ 414337 h 620717"/>
                <a:gd name="connsiteX108" fmla="*/ 92075 w 514350"/>
                <a:gd name="connsiteY108" fmla="*/ 433387 h 620717"/>
                <a:gd name="connsiteX109" fmla="*/ 79375 w 514350"/>
                <a:gd name="connsiteY109" fmla="*/ 441325 h 620717"/>
                <a:gd name="connsiteX110" fmla="*/ 73025 w 514350"/>
                <a:gd name="connsiteY110" fmla="*/ 455612 h 620717"/>
                <a:gd name="connsiteX111" fmla="*/ 69850 w 514350"/>
                <a:gd name="connsiteY111" fmla="*/ 463550 h 620717"/>
                <a:gd name="connsiteX112" fmla="*/ 65087 w 514350"/>
                <a:gd name="connsiteY112" fmla="*/ 465137 h 620717"/>
                <a:gd name="connsiteX113" fmla="*/ 38100 w 514350"/>
                <a:gd name="connsiteY113" fmla="*/ 466725 h 620717"/>
                <a:gd name="connsiteX114" fmla="*/ 34925 w 514350"/>
                <a:gd name="connsiteY114" fmla="*/ 473075 h 620717"/>
                <a:gd name="connsiteX115" fmla="*/ 30162 w 514350"/>
                <a:gd name="connsiteY115" fmla="*/ 476250 h 620717"/>
                <a:gd name="connsiteX116" fmla="*/ 0 w 514350"/>
                <a:gd name="connsiteY116" fmla="*/ 477837 h 620717"/>
                <a:gd name="connsiteX117" fmla="*/ 4762 w 514350"/>
                <a:gd name="connsiteY117" fmla="*/ 484187 h 620717"/>
                <a:gd name="connsiteX118" fmla="*/ 23812 w 514350"/>
                <a:gd name="connsiteY118" fmla="*/ 485775 h 620717"/>
                <a:gd name="connsiteX119" fmla="*/ 30162 w 514350"/>
                <a:gd name="connsiteY119" fmla="*/ 487362 h 620717"/>
                <a:gd name="connsiteX120" fmla="*/ 39687 w 514350"/>
                <a:gd name="connsiteY120" fmla="*/ 488950 h 620717"/>
                <a:gd name="connsiteX121" fmla="*/ 33337 w 514350"/>
                <a:gd name="connsiteY121" fmla="*/ 492125 h 620717"/>
                <a:gd name="connsiteX122" fmla="*/ 25400 w 514350"/>
                <a:gd name="connsiteY122" fmla="*/ 493712 h 620717"/>
                <a:gd name="connsiteX123" fmla="*/ 19050 w 514350"/>
                <a:gd name="connsiteY123" fmla="*/ 495300 h 620717"/>
                <a:gd name="connsiteX124" fmla="*/ 14287 w 514350"/>
                <a:gd name="connsiteY124" fmla="*/ 498475 h 620717"/>
                <a:gd name="connsiteX125" fmla="*/ 4762 w 514350"/>
                <a:gd name="connsiteY125" fmla="*/ 503237 h 620717"/>
                <a:gd name="connsiteX126" fmla="*/ 3175 w 514350"/>
                <a:gd name="connsiteY126" fmla="*/ 508000 h 620717"/>
                <a:gd name="connsiteX127" fmla="*/ 4762 w 514350"/>
                <a:gd name="connsiteY127" fmla="*/ 530225 h 620717"/>
                <a:gd name="connsiteX128" fmla="*/ 11112 w 514350"/>
                <a:gd name="connsiteY128" fmla="*/ 533400 h 620717"/>
                <a:gd name="connsiteX129" fmla="*/ 20637 w 514350"/>
                <a:gd name="connsiteY129" fmla="*/ 534987 h 620717"/>
                <a:gd name="connsiteX130" fmla="*/ 26987 w 514350"/>
                <a:gd name="connsiteY130" fmla="*/ 536575 h 620717"/>
                <a:gd name="connsiteX131" fmla="*/ 39687 w 514350"/>
                <a:gd name="connsiteY131" fmla="*/ 542925 h 620717"/>
                <a:gd name="connsiteX132" fmla="*/ 44450 w 514350"/>
                <a:gd name="connsiteY132" fmla="*/ 546100 h 620717"/>
                <a:gd name="connsiteX133" fmla="*/ 58737 w 514350"/>
                <a:gd name="connsiteY133" fmla="*/ 547687 h 620717"/>
                <a:gd name="connsiteX134" fmla="*/ 47625 w 514350"/>
                <a:gd name="connsiteY134" fmla="*/ 555625 h 620717"/>
                <a:gd name="connsiteX135" fmla="*/ 30162 w 514350"/>
                <a:gd name="connsiteY135" fmla="*/ 558800 h 620717"/>
                <a:gd name="connsiteX136" fmla="*/ 7937 w 514350"/>
                <a:gd name="connsiteY136" fmla="*/ 563562 h 620717"/>
                <a:gd name="connsiteX137" fmla="*/ 7937 w 514350"/>
                <a:gd name="connsiteY137" fmla="*/ 576262 h 620717"/>
                <a:gd name="connsiteX138" fmla="*/ 17462 w 514350"/>
                <a:gd name="connsiteY138" fmla="*/ 577850 h 620717"/>
                <a:gd name="connsiteX139" fmla="*/ 39687 w 514350"/>
                <a:gd name="connsiteY139" fmla="*/ 581025 h 620717"/>
                <a:gd name="connsiteX140" fmla="*/ 47625 w 514350"/>
                <a:gd name="connsiteY140" fmla="*/ 582612 h 620717"/>
                <a:gd name="connsiteX141" fmla="*/ 61912 w 514350"/>
                <a:gd name="connsiteY141" fmla="*/ 584200 h 620717"/>
                <a:gd name="connsiteX142" fmla="*/ 66675 w 514350"/>
                <a:gd name="connsiteY142" fmla="*/ 587375 h 620717"/>
                <a:gd name="connsiteX143" fmla="*/ 53975 w 514350"/>
                <a:gd name="connsiteY143" fmla="*/ 593725 h 620717"/>
                <a:gd name="connsiteX144" fmla="*/ 52387 w 514350"/>
                <a:gd name="connsiteY144" fmla="*/ 601662 h 620717"/>
                <a:gd name="connsiteX145" fmla="*/ 50800 w 514350"/>
                <a:gd name="connsiteY145" fmla="*/ 606425 h 620717"/>
                <a:gd name="connsiteX146" fmla="*/ 55562 w 514350"/>
                <a:gd name="connsiteY146" fmla="*/ 614362 h 620717"/>
                <a:gd name="connsiteX147" fmla="*/ 79375 w 514350"/>
                <a:gd name="connsiteY147" fmla="*/ 609600 h 620717"/>
                <a:gd name="connsiteX148" fmla="*/ 123825 w 514350"/>
                <a:gd name="connsiteY148" fmla="*/ 612775 h 620717"/>
                <a:gd name="connsiteX149" fmla="*/ 130175 w 514350"/>
                <a:gd name="connsiteY149" fmla="*/ 617537 h 620717"/>
                <a:gd name="connsiteX150" fmla="*/ 144462 w 514350"/>
                <a:gd name="connsiteY150" fmla="*/ 620712 h 620717"/>
                <a:gd name="connsiteX151" fmla="*/ 173037 w 514350"/>
                <a:gd name="connsiteY151" fmla="*/ 617537 h 620717"/>
                <a:gd name="connsiteX152" fmla="*/ 180975 w 514350"/>
                <a:gd name="connsiteY152" fmla="*/ 614362 h 620717"/>
                <a:gd name="connsiteX153" fmla="*/ 187325 w 514350"/>
                <a:gd name="connsiteY153" fmla="*/ 609600 h 620717"/>
                <a:gd name="connsiteX154" fmla="*/ 196850 w 514350"/>
                <a:gd name="connsiteY154" fmla="*/ 606425 h 620717"/>
                <a:gd name="connsiteX155" fmla="*/ 198437 w 514350"/>
                <a:gd name="connsiteY155" fmla="*/ 600075 h 620717"/>
                <a:gd name="connsiteX156" fmla="*/ 203200 w 514350"/>
                <a:gd name="connsiteY156" fmla="*/ 595312 h 620717"/>
                <a:gd name="connsiteX157" fmla="*/ 215900 w 514350"/>
                <a:gd name="connsiteY157" fmla="*/ 581025 h 620717"/>
                <a:gd name="connsiteX158" fmla="*/ 230187 w 514350"/>
                <a:gd name="connsiteY158" fmla="*/ 582612 h 620717"/>
                <a:gd name="connsiteX159" fmla="*/ 238125 w 514350"/>
                <a:gd name="connsiteY159" fmla="*/ 584200 h 620717"/>
                <a:gd name="connsiteX160" fmla="*/ 261937 w 514350"/>
                <a:gd name="connsiteY160" fmla="*/ 581025 h 620717"/>
                <a:gd name="connsiteX161" fmla="*/ 263525 w 514350"/>
                <a:gd name="connsiteY161" fmla="*/ 576262 h 620717"/>
                <a:gd name="connsiteX162" fmla="*/ 266700 w 514350"/>
                <a:gd name="connsiteY162" fmla="*/ 582612 h 620717"/>
                <a:gd name="connsiteX163" fmla="*/ 277812 w 514350"/>
                <a:gd name="connsiteY163" fmla="*/ 590550 h 620717"/>
                <a:gd name="connsiteX164" fmla="*/ 279400 w 514350"/>
                <a:gd name="connsiteY164" fmla="*/ 579437 h 620717"/>
                <a:gd name="connsiteX165" fmla="*/ 287337 w 514350"/>
                <a:gd name="connsiteY165" fmla="*/ 571500 h 620717"/>
                <a:gd name="connsiteX166" fmla="*/ 290512 w 514350"/>
                <a:gd name="connsiteY166" fmla="*/ 566737 h 620717"/>
                <a:gd name="connsiteX167" fmla="*/ 311150 w 514350"/>
                <a:gd name="connsiteY167" fmla="*/ 558800 h 620717"/>
                <a:gd name="connsiteX168" fmla="*/ 354012 w 514350"/>
                <a:gd name="connsiteY168" fmla="*/ 554037 h 620717"/>
                <a:gd name="connsiteX169" fmla="*/ 360362 w 514350"/>
                <a:gd name="connsiteY169" fmla="*/ 561975 h 620717"/>
                <a:gd name="connsiteX170" fmla="*/ 365125 w 514350"/>
                <a:gd name="connsiteY170" fmla="*/ 563562 h 620717"/>
                <a:gd name="connsiteX171" fmla="*/ 366712 w 514350"/>
                <a:gd name="connsiteY171" fmla="*/ 557212 h 620717"/>
                <a:gd name="connsiteX172" fmla="*/ 368300 w 514350"/>
                <a:gd name="connsiteY172" fmla="*/ 552450 h 620717"/>
                <a:gd name="connsiteX173" fmla="*/ 377825 w 514350"/>
                <a:gd name="connsiteY173" fmla="*/ 557212 h 620717"/>
                <a:gd name="connsiteX174" fmla="*/ 382587 w 514350"/>
                <a:gd name="connsiteY174" fmla="*/ 563562 h 620717"/>
                <a:gd name="connsiteX175" fmla="*/ 404812 w 514350"/>
                <a:gd name="connsiteY175" fmla="*/ 565150 h 620717"/>
                <a:gd name="connsiteX176" fmla="*/ 414337 w 514350"/>
                <a:gd name="connsiteY176" fmla="*/ 571500 h 620717"/>
                <a:gd name="connsiteX177" fmla="*/ 419100 w 514350"/>
                <a:gd name="connsiteY177" fmla="*/ 574675 h 620717"/>
                <a:gd name="connsiteX178" fmla="*/ 436562 w 514350"/>
                <a:gd name="connsiteY178" fmla="*/ 573087 h 620717"/>
                <a:gd name="connsiteX179" fmla="*/ 434975 w 514350"/>
                <a:gd name="connsiteY179" fmla="*/ 566737 h 620717"/>
                <a:gd name="connsiteX180" fmla="*/ 430212 w 514350"/>
                <a:gd name="connsiteY180" fmla="*/ 546100 h 620717"/>
                <a:gd name="connsiteX181" fmla="*/ 433387 w 514350"/>
                <a:gd name="connsiteY181" fmla="*/ 531812 h 620717"/>
                <a:gd name="connsiteX182" fmla="*/ 446087 w 514350"/>
                <a:gd name="connsiteY182" fmla="*/ 525462 h 620717"/>
                <a:gd name="connsiteX183" fmla="*/ 452437 w 514350"/>
                <a:gd name="connsiteY183" fmla="*/ 519112 h 620717"/>
                <a:gd name="connsiteX184" fmla="*/ 463550 w 514350"/>
                <a:gd name="connsiteY184" fmla="*/ 514350 h 620717"/>
                <a:gd name="connsiteX185" fmla="*/ 465137 w 514350"/>
                <a:gd name="connsiteY185" fmla="*/ 508000 h 620717"/>
                <a:gd name="connsiteX186" fmla="*/ 466725 w 514350"/>
                <a:gd name="connsiteY186" fmla="*/ 485775 h 620717"/>
                <a:gd name="connsiteX187" fmla="*/ 482600 w 514350"/>
                <a:gd name="connsiteY187" fmla="*/ 474662 h 620717"/>
                <a:gd name="connsiteX188" fmla="*/ 495300 w 514350"/>
                <a:gd name="connsiteY188" fmla="*/ 458787 h 620717"/>
                <a:gd name="connsiteX189" fmla="*/ 501650 w 514350"/>
                <a:gd name="connsiteY189" fmla="*/ 438150 h 620717"/>
                <a:gd name="connsiteX190" fmla="*/ 506412 w 514350"/>
                <a:gd name="connsiteY190" fmla="*/ 433387 h 620717"/>
                <a:gd name="connsiteX191" fmla="*/ 506412 w 514350"/>
                <a:gd name="connsiteY191" fmla="*/ 401637 h 620717"/>
                <a:gd name="connsiteX192" fmla="*/ 501650 w 514350"/>
                <a:gd name="connsiteY192" fmla="*/ 398462 h 620717"/>
                <a:gd name="connsiteX193" fmla="*/ 498475 w 514350"/>
                <a:gd name="connsiteY193" fmla="*/ 392112 h 620717"/>
                <a:gd name="connsiteX194" fmla="*/ 503237 w 514350"/>
                <a:gd name="connsiteY194" fmla="*/ 360362 h 620717"/>
                <a:gd name="connsiteX195" fmla="*/ 508000 w 514350"/>
                <a:gd name="connsiteY195" fmla="*/ 355600 h 620717"/>
                <a:gd name="connsiteX196" fmla="*/ 514350 w 514350"/>
                <a:gd name="connsiteY196" fmla="*/ 346075 h 620717"/>
                <a:gd name="connsiteX197" fmla="*/ 511175 w 514350"/>
                <a:gd name="connsiteY197" fmla="*/ 331787 h 620717"/>
                <a:gd name="connsiteX198" fmla="*/ 506412 w 514350"/>
                <a:gd name="connsiteY198" fmla="*/ 327025 h 620717"/>
                <a:gd name="connsiteX199" fmla="*/ 504825 w 514350"/>
                <a:gd name="connsiteY199" fmla="*/ 315912 h 620717"/>
                <a:gd name="connsiteX200" fmla="*/ 508000 w 514350"/>
                <a:gd name="connsiteY200" fmla="*/ 290512 h 620717"/>
                <a:gd name="connsiteX201" fmla="*/ 506412 w 514350"/>
                <a:gd name="connsiteY201" fmla="*/ 282575 h 620717"/>
                <a:gd name="connsiteX202" fmla="*/ 495300 w 514350"/>
                <a:gd name="connsiteY202" fmla="*/ 276225 h 620717"/>
                <a:gd name="connsiteX203" fmla="*/ 496887 w 514350"/>
                <a:gd name="connsiteY203" fmla="*/ 268287 h 620717"/>
                <a:gd name="connsiteX204" fmla="*/ 501650 w 514350"/>
                <a:gd name="connsiteY204" fmla="*/ 266700 h 620717"/>
                <a:gd name="connsiteX205" fmla="*/ 506412 w 514350"/>
                <a:gd name="connsiteY205" fmla="*/ 263525 h 620717"/>
                <a:gd name="connsiteX206" fmla="*/ 509587 w 514350"/>
                <a:gd name="connsiteY206" fmla="*/ 258762 h 620717"/>
                <a:gd name="connsiteX207" fmla="*/ 511175 w 514350"/>
                <a:gd name="connsiteY207" fmla="*/ 254000 h 620717"/>
                <a:gd name="connsiteX208" fmla="*/ 514350 w 514350"/>
                <a:gd name="connsiteY208" fmla="*/ 246062 h 620717"/>
                <a:gd name="connsiteX209" fmla="*/ 512762 w 514350"/>
                <a:gd name="connsiteY209" fmla="*/ 239712 h 620717"/>
                <a:gd name="connsiteX210" fmla="*/ 496887 w 514350"/>
                <a:gd name="connsiteY210" fmla="*/ 239712 h 620717"/>
                <a:gd name="connsiteX211" fmla="*/ 492125 w 514350"/>
                <a:gd name="connsiteY211" fmla="*/ 241300 h 620717"/>
                <a:gd name="connsiteX212" fmla="*/ 485775 w 514350"/>
                <a:gd name="connsiteY212" fmla="*/ 244475 h 620717"/>
                <a:gd name="connsiteX213" fmla="*/ 481012 w 514350"/>
                <a:gd name="connsiteY213" fmla="*/ 234950 h 620717"/>
                <a:gd name="connsiteX214" fmla="*/ 479425 w 514350"/>
                <a:gd name="connsiteY214" fmla="*/ 222250 h 620717"/>
                <a:gd name="connsiteX215" fmla="*/ 477837 w 514350"/>
                <a:gd name="connsiteY215" fmla="*/ 215900 h 620717"/>
                <a:gd name="connsiteX216" fmla="*/ 473075 w 514350"/>
                <a:gd name="connsiteY216" fmla="*/ 190500 h 620717"/>
                <a:gd name="connsiteX217" fmla="*/ 468312 w 514350"/>
                <a:gd name="connsiteY217" fmla="*/ 176212 h 620717"/>
                <a:gd name="connsiteX218" fmla="*/ 458787 w 514350"/>
                <a:gd name="connsiteY218" fmla="*/ 171450 h 620717"/>
                <a:gd name="connsiteX219" fmla="*/ 449262 w 514350"/>
                <a:gd name="connsiteY219" fmla="*/ 173037 h 620717"/>
                <a:gd name="connsiteX220" fmla="*/ 438150 w 514350"/>
                <a:gd name="connsiteY220" fmla="*/ 182562 h 620717"/>
                <a:gd name="connsiteX221" fmla="*/ 434975 w 514350"/>
                <a:gd name="connsiteY221" fmla="*/ 188912 h 620717"/>
                <a:gd name="connsiteX222" fmla="*/ 428625 w 514350"/>
                <a:gd name="connsiteY222" fmla="*/ 196850 h 620717"/>
                <a:gd name="connsiteX223" fmla="*/ 417512 w 514350"/>
                <a:gd name="connsiteY223" fmla="*/ 206375 h 620717"/>
                <a:gd name="connsiteX224" fmla="*/ 412750 w 514350"/>
                <a:gd name="connsiteY224" fmla="*/ 207962 h 620717"/>
                <a:gd name="connsiteX225" fmla="*/ 401637 w 514350"/>
                <a:gd name="connsiteY225" fmla="*/ 206375 h 620717"/>
                <a:gd name="connsiteX226" fmla="*/ 395287 w 514350"/>
                <a:gd name="connsiteY226" fmla="*/ 200025 h 620717"/>
                <a:gd name="connsiteX227" fmla="*/ 390525 w 514350"/>
                <a:gd name="connsiteY227" fmla="*/ 196850 h 620717"/>
                <a:gd name="connsiteX228" fmla="*/ 385762 w 514350"/>
                <a:gd name="connsiteY228" fmla="*/ 190500 h 620717"/>
                <a:gd name="connsiteX229" fmla="*/ 368300 w 514350"/>
                <a:gd name="connsiteY229" fmla="*/ 171450 h 620717"/>
                <a:gd name="connsiteX230" fmla="*/ 363537 w 514350"/>
                <a:gd name="connsiteY230" fmla="*/ 160337 h 620717"/>
                <a:gd name="connsiteX231" fmla="*/ 358775 w 514350"/>
                <a:gd name="connsiteY231" fmla="*/ 157162 h 620717"/>
                <a:gd name="connsiteX232" fmla="*/ 349250 w 514350"/>
                <a:gd name="connsiteY232" fmla="*/ 144462 h 620717"/>
                <a:gd name="connsiteX233" fmla="*/ 346075 w 514350"/>
                <a:gd name="connsiteY233" fmla="*/ 138112 h 620717"/>
                <a:gd name="connsiteX234" fmla="*/ 350837 w 514350"/>
                <a:gd name="connsiteY234" fmla="*/ 128587 h 620717"/>
                <a:gd name="connsiteX235" fmla="*/ 357187 w 514350"/>
                <a:gd name="connsiteY235" fmla="*/ 127000 h 620717"/>
                <a:gd name="connsiteX236" fmla="*/ 368300 w 514350"/>
                <a:gd name="connsiteY236" fmla="*/ 125412 h 620717"/>
                <a:gd name="connsiteX237" fmla="*/ 374650 w 514350"/>
                <a:gd name="connsiteY237" fmla="*/ 123825 h 620717"/>
                <a:gd name="connsiteX238" fmla="*/ 384175 w 514350"/>
                <a:gd name="connsiteY238" fmla="*/ 120650 h 620717"/>
                <a:gd name="connsiteX239" fmla="*/ 392112 w 514350"/>
                <a:gd name="connsiteY239" fmla="*/ 111125 h 620717"/>
                <a:gd name="connsiteX240" fmla="*/ 388937 w 514350"/>
                <a:gd name="connsiteY240" fmla="*/ 100012 h 620717"/>
                <a:gd name="connsiteX241" fmla="*/ 390525 w 514350"/>
                <a:gd name="connsiteY241" fmla="*/ 93662 h 620717"/>
                <a:gd name="connsiteX242" fmla="*/ 401637 w 514350"/>
                <a:gd name="connsiteY242" fmla="*/ 95250 h 620717"/>
                <a:gd name="connsiteX243" fmla="*/ 423862 w 514350"/>
                <a:gd name="connsiteY243" fmla="*/ 93662 h 620717"/>
                <a:gd name="connsiteX244" fmla="*/ 430212 w 514350"/>
                <a:gd name="connsiteY244" fmla="*/ 87312 h 620717"/>
                <a:gd name="connsiteX245" fmla="*/ 431800 w 514350"/>
                <a:gd name="connsiteY245" fmla="*/ 61912 h 620717"/>
                <a:gd name="connsiteX246" fmla="*/ 443914 w 514350"/>
                <a:gd name="connsiteY246" fmla="*/ 64084 h 620717"/>
                <a:gd name="connsiteX247" fmla="*/ 448737 w 514350"/>
                <a:gd name="connsiteY247" fmla="*/ 66117 h 620717"/>
                <a:gd name="connsiteX248" fmla="*/ 435858 w 514350"/>
                <a:gd name="connsiteY248" fmla="*/ 67146 h 620717"/>
                <a:gd name="connsiteX249" fmla="*/ 451852 w 514350"/>
                <a:gd name="connsiteY249" fmla="*/ 72772 h 620717"/>
                <a:gd name="connsiteX250" fmla="*/ 439737 w 514350"/>
                <a:gd name="connsiteY250" fmla="*/ 79845 h 620717"/>
                <a:gd name="connsiteX251" fmla="*/ 450399 w 514350"/>
                <a:gd name="connsiteY251" fmla="*/ 73819 h 620717"/>
                <a:gd name="connsiteX252" fmla="*/ 455612 w 514350"/>
                <a:gd name="connsiteY252" fmla="*/ 69850 h 620717"/>
                <a:gd name="connsiteX253" fmla="*/ 461962 w 514350"/>
                <a:gd name="connsiteY253" fmla="*/ 68262 h 620717"/>
                <a:gd name="connsiteX254" fmla="*/ 466725 w 514350"/>
                <a:gd name="connsiteY254" fmla="*/ 61912 h 620717"/>
                <a:gd name="connsiteX255" fmla="*/ 492125 w 514350"/>
                <a:gd name="connsiteY255" fmla="*/ 53975 h 620717"/>
                <a:gd name="connsiteX256" fmla="*/ 496887 w 514350"/>
                <a:gd name="connsiteY256" fmla="*/ 49212 h 620717"/>
                <a:gd name="connsiteX257" fmla="*/ 500062 w 514350"/>
                <a:gd name="connsiteY257" fmla="*/ 41275 h 620717"/>
                <a:gd name="connsiteX258" fmla="*/ 496887 w 514350"/>
                <a:gd name="connsiteY258"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29887 w 514350"/>
                <a:gd name="connsiteY9" fmla="*/ 34766 h 620717"/>
                <a:gd name="connsiteX10" fmla="*/ 421653 w 514350"/>
                <a:gd name="connsiteY10" fmla="*/ 43507 h 620717"/>
                <a:gd name="connsiteX11" fmla="*/ 421003 w 514350"/>
                <a:gd name="connsiteY11" fmla="*/ 30397 h 620717"/>
                <a:gd name="connsiteX12" fmla="*/ 415884 w 514350"/>
                <a:gd name="connsiteY12" fmla="*/ 9813 h 620717"/>
                <a:gd name="connsiteX13" fmla="*/ 401637 w 514350"/>
                <a:gd name="connsiteY13" fmla="*/ 12700 h 620717"/>
                <a:gd name="connsiteX14" fmla="*/ 352425 w 514350"/>
                <a:gd name="connsiteY14" fmla="*/ 19050 h 620717"/>
                <a:gd name="connsiteX15" fmla="*/ 350837 w 514350"/>
                <a:gd name="connsiteY15" fmla="*/ 23812 h 620717"/>
                <a:gd name="connsiteX16" fmla="*/ 352425 w 514350"/>
                <a:gd name="connsiteY16" fmla="*/ 38100 h 620717"/>
                <a:gd name="connsiteX17" fmla="*/ 357187 w 514350"/>
                <a:gd name="connsiteY17" fmla="*/ 44450 h 620717"/>
                <a:gd name="connsiteX18" fmla="*/ 349250 w 514350"/>
                <a:gd name="connsiteY18" fmla="*/ 58737 h 620717"/>
                <a:gd name="connsiteX19" fmla="*/ 328612 w 514350"/>
                <a:gd name="connsiteY19" fmla="*/ 60325 h 620717"/>
                <a:gd name="connsiteX20" fmla="*/ 307975 w 514350"/>
                <a:gd name="connsiteY20" fmla="*/ 68262 h 620717"/>
                <a:gd name="connsiteX21" fmla="*/ 295275 w 514350"/>
                <a:gd name="connsiteY21" fmla="*/ 73025 h 620717"/>
                <a:gd name="connsiteX22" fmla="*/ 292100 w 514350"/>
                <a:gd name="connsiteY22" fmla="*/ 77787 h 620717"/>
                <a:gd name="connsiteX23" fmla="*/ 296862 w 514350"/>
                <a:gd name="connsiteY23" fmla="*/ 79375 h 620717"/>
                <a:gd name="connsiteX24" fmla="*/ 311150 w 514350"/>
                <a:gd name="connsiteY24" fmla="*/ 82550 h 620717"/>
                <a:gd name="connsiteX25" fmla="*/ 319087 w 514350"/>
                <a:gd name="connsiteY25" fmla="*/ 87312 h 620717"/>
                <a:gd name="connsiteX26" fmla="*/ 323850 w 514350"/>
                <a:gd name="connsiteY26" fmla="*/ 88900 h 620717"/>
                <a:gd name="connsiteX27" fmla="*/ 336550 w 514350"/>
                <a:gd name="connsiteY27" fmla="*/ 103187 h 620717"/>
                <a:gd name="connsiteX28" fmla="*/ 334962 w 514350"/>
                <a:gd name="connsiteY28" fmla="*/ 114300 h 620717"/>
                <a:gd name="connsiteX29" fmla="*/ 330200 w 514350"/>
                <a:gd name="connsiteY29" fmla="*/ 115887 h 620717"/>
                <a:gd name="connsiteX30" fmla="*/ 315912 w 514350"/>
                <a:gd name="connsiteY30" fmla="*/ 130175 h 620717"/>
                <a:gd name="connsiteX31" fmla="*/ 307975 w 514350"/>
                <a:gd name="connsiteY31" fmla="*/ 131762 h 620717"/>
                <a:gd name="connsiteX32" fmla="*/ 300037 w 514350"/>
                <a:gd name="connsiteY32" fmla="*/ 134937 h 620717"/>
                <a:gd name="connsiteX33" fmla="*/ 296862 w 514350"/>
                <a:gd name="connsiteY33" fmla="*/ 142875 h 620717"/>
                <a:gd name="connsiteX34" fmla="*/ 282575 w 514350"/>
                <a:gd name="connsiteY34" fmla="*/ 157162 h 620717"/>
                <a:gd name="connsiteX35" fmla="*/ 273050 w 514350"/>
                <a:gd name="connsiteY35" fmla="*/ 153987 h 620717"/>
                <a:gd name="connsiteX36" fmla="*/ 261937 w 514350"/>
                <a:gd name="connsiteY36" fmla="*/ 147637 h 620717"/>
                <a:gd name="connsiteX37" fmla="*/ 242887 w 514350"/>
                <a:gd name="connsiteY37" fmla="*/ 149225 h 620717"/>
                <a:gd name="connsiteX38" fmla="*/ 236537 w 514350"/>
                <a:gd name="connsiteY38" fmla="*/ 150812 h 620717"/>
                <a:gd name="connsiteX39" fmla="*/ 231775 w 514350"/>
                <a:gd name="connsiteY39" fmla="*/ 142875 h 620717"/>
                <a:gd name="connsiteX40" fmla="*/ 225425 w 514350"/>
                <a:gd name="connsiteY40" fmla="*/ 123825 h 620717"/>
                <a:gd name="connsiteX41" fmla="*/ 219075 w 514350"/>
                <a:gd name="connsiteY41" fmla="*/ 122237 h 620717"/>
                <a:gd name="connsiteX42" fmla="*/ 204787 w 514350"/>
                <a:gd name="connsiteY42" fmla="*/ 120650 h 620717"/>
                <a:gd name="connsiteX43" fmla="*/ 190500 w 514350"/>
                <a:gd name="connsiteY43" fmla="*/ 117475 h 620717"/>
                <a:gd name="connsiteX44" fmla="*/ 182562 w 514350"/>
                <a:gd name="connsiteY44" fmla="*/ 111125 h 620717"/>
                <a:gd name="connsiteX45" fmla="*/ 174625 w 514350"/>
                <a:gd name="connsiteY45" fmla="*/ 104775 h 620717"/>
                <a:gd name="connsiteX46" fmla="*/ 152400 w 514350"/>
                <a:gd name="connsiteY46" fmla="*/ 106362 h 620717"/>
                <a:gd name="connsiteX47" fmla="*/ 150812 w 514350"/>
                <a:gd name="connsiteY47" fmla="*/ 117475 h 620717"/>
                <a:gd name="connsiteX48" fmla="*/ 133350 w 514350"/>
                <a:gd name="connsiteY48" fmla="*/ 120650 h 620717"/>
                <a:gd name="connsiteX49" fmla="*/ 138112 w 514350"/>
                <a:gd name="connsiteY49" fmla="*/ 123825 h 620717"/>
                <a:gd name="connsiteX50" fmla="*/ 139700 w 514350"/>
                <a:gd name="connsiteY50" fmla="*/ 128587 h 620717"/>
                <a:gd name="connsiteX51" fmla="*/ 146050 w 514350"/>
                <a:gd name="connsiteY51" fmla="*/ 131762 h 620717"/>
                <a:gd name="connsiteX52" fmla="*/ 147637 w 514350"/>
                <a:gd name="connsiteY52" fmla="*/ 138112 h 620717"/>
                <a:gd name="connsiteX53" fmla="*/ 123825 w 514350"/>
                <a:gd name="connsiteY53" fmla="*/ 146050 h 620717"/>
                <a:gd name="connsiteX54" fmla="*/ 117475 w 514350"/>
                <a:gd name="connsiteY54" fmla="*/ 155575 h 620717"/>
                <a:gd name="connsiteX55" fmla="*/ 112712 w 514350"/>
                <a:gd name="connsiteY55" fmla="*/ 157162 h 620717"/>
                <a:gd name="connsiteX56" fmla="*/ 125412 w 514350"/>
                <a:gd name="connsiteY56" fmla="*/ 161925 h 620717"/>
                <a:gd name="connsiteX57" fmla="*/ 130175 w 514350"/>
                <a:gd name="connsiteY57" fmla="*/ 163512 h 620717"/>
                <a:gd name="connsiteX58" fmla="*/ 142875 w 514350"/>
                <a:gd name="connsiteY58" fmla="*/ 166687 h 620717"/>
                <a:gd name="connsiteX59" fmla="*/ 147637 w 514350"/>
                <a:gd name="connsiteY59" fmla="*/ 173037 h 620717"/>
                <a:gd name="connsiteX60" fmla="*/ 152400 w 514350"/>
                <a:gd name="connsiteY60" fmla="*/ 177800 h 620717"/>
                <a:gd name="connsiteX61" fmla="*/ 146050 w 514350"/>
                <a:gd name="connsiteY61" fmla="*/ 179387 h 620717"/>
                <a:gd name="connsiteX62" fmla="*/ 149225 w 514350"/>
                <a:gd name="connsiteY62" fmla="*/ 185737 h 620717"/>
                <a:gd name="connsiteX63" fmla="*/ 153987 w 514350"/>
                <a:gd name="connsiteY63" fmla="*/ 187325 h 620717"/>
                <a:gd name="connsiteX64" fmla="*/ 168275 w 514350"/>
                <a:gd name="connsiteY64" fmla="*/ 190500 h 620717"/>
                <a:gd name="connsiteX65" fmla="*/ 165100 w 514350"/>
                <a:gd name="connsiteY65" fmla="*/ 198437 h 620717"/>
                <a:gd name="connsiteX66" fmla="*/ 160337 w 514350"/>
                <a:gd name="connsiteY66" fmla="*/ 200025 h 620717"/>
                <a:gd name="connsiteX67" fmla="*/ 139700 w 514350"/>
                <a:gd name="connsiteY67" fmla="*/ 196850 h 620717"/>
                <a:gd name="connsiteX68" fmla="*/ 153987 w 514350"/>
                <a:gd name="connsiteY68" fmla="*/ 211137 h 620717"/>
                <a:gd name="connsiteX69" fmla="*/ 152400 w 514350"/>
                <a:gd name="connsiteY69" fmla="*/ 217487 h 620717"/>
                <a:gd name="connsiteX70" fmla="*/ 138112 w 514350"/>
                <a:gd name="connsiteY70" fmla="*/ 219075 h 620717"/>
                <a:gd name="connsiteX71" fmla="*/ 142875 w 514350"/>
                <a:gd name="connsiteY71" fmla="*/ 223837 h 620717"/>
                <a:gd name="connsiteX72" fmla="*/ 141287 w 514350"/>
                <a:gd name="connsiteY72" fmla="*/ 228600 h 620717"/>
                <a:gd name="connsiteX73" fmla="*/ 107950 w 514350"/>
                <a:gd name="connsiteY73" fmla="*/ 231775 h 620717"/>
                <a:gd name="connsiteX74" fmla="*/ 95250 w 514350"/>
                <a:gd name="connsiteY74" fmla="*/ 233362 h 620717"/>
                <a:gd name="connsiteX75" fmla="*/ 92075 w 514350"/>
                <a:gd name="connsiteY75" fmla="*/ 247650 h 620717"/>
                <a:gd name="connsiteX76" fmla="*/ 93662 w 514350"/>
                <a:gd name="connsiteY76" fmla="*/ 252412 h 620717"/>
                <a:gd name="connsiteX77" fmla="*/ 109537 w 514350"/>
                <a:gd name="connsiteY77" fmla="*/ 260350 h 620717"/>
                <a:gd name="connsiteX78" fmla="*/ 114300 w 514350"/>
                <a:gd name="connsiteY78" fmla="*/ 263525 h 620717"/>
                <a:gd name="connsiteX79" fmla="*/ 119062 w 514350"/>
                <a:gd name="connsiteY79" fmla="*/ 268287 h 620717"/>
                <a:gd name="connsiteX80" fmla="*/ 123825 w 514350"/>
                <a:gd name="connsiteY80" fmla="*/ 269875 h 620717"/>
                <a:gd name="connsiteX81" fmla="*/ 128587 w 514350"/>
                <a:gd name="connsiteY81" fmla="*/ 273050 h 620717"/>
                <a:gd name="connsiteX82" fmla="*/ 114300 w 514350"/>
                <a:gd name="connsiteY82" fmla="*/ 279400 h 620717"/>
                <a:gd name="connsiteX83" fmla="*/ 109537 w 514350"/>
                <a:gd name="connsiteY83" fmla="*/ 284162 h 620717"/>
                <a:gd name="connsiteX84" fmla="*/ 111125 w 514350"/>
                <a:gd name="connsiteY84" fmla="*/ 293687 h 620717"/>
                <a:gd name="connsiteX85" fmla="*/ 125412 w 514350"/>
                <a:gd name="connsiteY85" fmla="*/ 296862 h 620717"/>
                <a:gd name="connsiteX86" fmla="*/ 136525 w 514350"/>
                <a:gd name="connsiteY86" fmla="*/ 301625 h 620717"/>
                <a:gd name="connsiteX87" fmla="*/ 142875 w 514350"/>
                <a:gd name="connsiteY87" fmla="*/ 303212 h 620717"/>
                <a:gd name="connsiteX88" fmla="*/ 146050 w 514350"/>
                <a:gd name="connsiteY88" fmla="*/ 311150 h 620717"/>
                <a:gd name="connsiteX89" fmla="*/ 158750 w 514350"/>
                <a:gd name="connsiteY89" fmla="*/ 315912 h 620717"/>
                <a:gd name="connsiteX90" fmla="*/ 193675 w 514350"/>
                <a:gd name="connsiteY90" fmla="*/ 317500 h 620717"/>
                <a:gd name="connsiteX91" fmla="*/ 209550 w 514350"/>
                <a:gd name="connsiteY91" fmla="*/ 320675 h 620717"/>
                <a:gd name="connsiteX92" fmla="*/ 204787 w 514350"/>
                <a:gd name="connsiteY92" fmla="*/ 323850 h 620717"/>
                <a:gd name="connsiteX93" fmla="*/ 200025 w 514350"/>
                <a:gd name="connsiteY93" fmla="*/ 325437 h 620717"/>
                <a:gd name="connsiteX94" fmla="*/ 190500 w 514350"/>
                <a:gd name="connsiteY94" fmla="*/ 331787 h 620717"/>
                <a:gd name="connsiteX95" fmla="*/ 182562 w 514350"/>
                <a:gd name="connsiteY95" fmla="*/ 338137 h 620717"/>
                <a:gd name="connsiteX96" fmla="*/ 176212 w 514350"/>
                <a:gd name="connsiteY96" fmla="*/ 341312 h 620717"/>
                <a:gd name="connsiteX97" fmla="*/ 171450 w 514350"/>
                <a:gd name="connsiteY97" fmla="*/ 344487 h 620717"/>
                <a:gd name="connsiteX98" fmla="*/ 161925 w 514350"/>
                <a:gd name="connsiteY98" fmla="*/ 347662 h 620717"/>
                <a:gd name="connsiteX99" fmla="*/ 149225 w 514350"/>
                <a:gd name="connsiteY99" fmla="*/ 365125 h 620717"/>
                <a:gd name="connsiteX100" fmla="*/ 139700 w 514350"/>
                <a:gd name="connsiteY100" fmla="*/ 382587 h 620717"/>
                <a:gd name="connsiteX101" fmla="*/ 134937 w 514350"/>
                <a:gd name="connsiteY101" fmla="*/ 384175 h 620717"/>
                <a:gd name="connsiteX102" fmla="*/ 133350 w 514350"/>
                <a:gd name="connsiteY102" fmla="*/ 388937 h 620717"/>
                <a:gd name="connsiteX103" fmla="*/ 128587 w 514350"/>
                <a:gd name="connsiteY103" fmla="*/ 392112 h 620717"/>
                <a:gd name="connsiteX104" fmla="*/ 120650 w 514350"/>
                <a:gd name="connsiteY104" fmla="*/ 398462 h 620717"/>
                <a:gd name="connsiteX105" fmla="*/ 114300 w 514350"/>
                <a:gd name="connsiteY105" fmla="*/ 409575 h 620717"/>
                <a:gd name="connsiteX106" fmla="*/ 109537 w 514350"/>
                <a:gd name="connsiteY106" fmla="*/ 411162 h 620717"/>
                <a:gd name="connsiteX107" fmla="*/ 92075 w 514350"/>
                <a:gd name="connsiteY107" fmla="*/ 414337 h 620717"/>
                <a:gd name="connsiteX108" fmla="*/ 92075 w 514350"/>
                <a:gd name="connsiteY108" fmla="*/ 433387 h 620717"/>
                <a:gd name="connsiteX109" fmla="*/ 79375 w 514350"/>
                <a:gd name="connsiteY109" fmla="*/ 441325 h 620717"/>
                <a:gd name="connsiteX110" fmla="*/ 73025 w 514350"/>
                <a:gd name="connsiteY110" fmla="*/ 455612 h 620717"/>
                <a:gd name="connsiteX111" fmla="*/ 69850 w 514350"/>
                <a:gd name="connsiteY111" fmla="*/ 463550 h 620717"/>
                <a:gd name="connsiteX112" fmla="*/ 65087 w 514350"/>
                <a:gd name="connsiteY112" fmla="*/ 465137 h 620717"/>
                <a:gd name="connsiteX113" fmla="*/ 38100 w 514350"/>
                <a:gd name="connsiteY113" fmla="*/ 466725 h 620717"/>
                <a:gd name="connsiteX114" fmla="*/ 34925 w 514350"/>
                <a:gd name="connsiteY114" fmla="*/ 473075 h 620717"/>
                <a:gd name="connsiteX115" fmla="*/ 30162 w 514350"/>
                <a:gd name="connsiteY115" fmla="*/ 476250 h 620717"/>
                <a:gd name="connsiteX116" fmla="*/ 0 w 514350"/>
                <a:gd name="connsiteY116" fmla="*/ 477837 h 620717"/>
                <a:gd name="connsiteX117" fmla="*/ 4762 w 514350"/>
                <a:gd name="connsiteY117" fmla="*/ 484187 h 620717"/>
                <a:gd name="connsiteX118" fmla="*/ 23812 w 514350"/>
                <a:gd name="connsiteY118" fmla="*/ 485775 h 620717"/>
                <a:gd name="connsiteX119" fmla="*/ 30162 w 514350"/>
                <a:gd name="connsiteY119" fmla="*/ 487362 h 620717"/>
                <a:gd name="connsiteX120" fmla="*/ 39687 w 514350"/>
                <a:gd name="connsiteY120" fmla="*/ 488950 h 620717"/>
                <a:gd name="connsiteX121" fmla="*/ 33337 w 514350"/>
                <a:gd name="connsiteY121" fmla="*/ 492125 h 620717"/>
                <a:gd name="connsiteX122" fmla="*/ 25400 w 514350"/>
                <a:gd name="connsiteY122" fmla="*/ 493712 h 620717"/>
                <a:gd name="connsiteX123" fmla="*/ 19050 w 514350"/>
                <a:gd name="connsiteY123" fmla="*/ 495300 h 620717"/>
                <a:gd name="connsiteX124" fmla="*/ 14287 w 514350"/>
                <a:gd name="connsiteY124" fmla="*/ 498475 h 620717"/>
                <a:gd name="connsiteX125" fmla="*/ 4762 w 514350"/>
                <a:gd name="connsiteY125" fmla="*/ 503237 h 620717"/>
                <a:gd name="connsiteX126" fmla="*/ 3175 w 514350"/>
                <a:gd name="connsiteY126" fmla="*/ 508000 h 620717"/>
                <a:gd name="connsiteX127" fmla="*/ 4762 w 514350"/>
                <a:gd name="connsiteY127" fmla="*/ 530225 h 620717"/>
                <a:gd name="connsiteX128" fmla="*/ 11112 w 514350"/>
                <a:gd name="connsiteY128" fmla="*/ 533400 h 620717"/>
                <a:gd name="connsiteX129" fmla="*/ 20637 w 514350"/>
                <a:gd name="connsiteY129" fmla="*/ 534987 h 620717"/>
                <a:gd name="connsiteX130" fmla="*/ 26987 w 514350"/>
                <a:gd name="connsiteY130" fmla="*/ 536575 h 620717"/>
                <a:gd name="connsiteX131" fmla="*/ 39687 w 514350"/>
                <a:gd name="connsiteY131" fmla="*/ 542925 h 620717"/>
                <a:gd name="connsiteX132" fmla="*/ 44450 w 514350"/>
                <a:gd name="connsiteY132" fmla="*/ 546100 h 620717"/>
                <a:gd name="connsiteX133" fmla="*/ 58737 w 514350"/>
                <a:gd name="connsiteY133" fmla="*/ 547687 h 620717"/>
                <a:gd name="connsiteX134" fmla="*/ 47625 w 514350"/>
                <a:gd name="connsiteY134" fmla="*/ 555625 h 620717"/>
                <a:gd name="connsiteX135" fmla="*/ 30162 w 514350"/>
                <a:gd name="connsiteY135" fmla="*/ 558800 h 620717"/>
                <a:gd name="connsiteX136" fmla="*/ 7937 w 514350"/>
                <a:gd name="connsiteY136" fmla="*/ 563562 h 620717"/>
                <a:gd name="connsiteX137" fmla="*/ 7937 w 514350"/>
                <a:gd name="connsiteY137" fmla="*/ 576262 h 620717"/>
                <a:gd name="connsiteX138" fmla="*/ 17462 w 514350"/>
                <a:gd name="connsiteY138" fmla="*/ 577850 h 620717"/>
                <a:gd name="connsiteX139" fmla="*/ 39687 w 514350"/>
                <a:gd name="connsiteY139" fmla="*/ 581025 h 620717"/>
                <a:gd name="connsiteX140" fmla="*/ 47625 w 514350"/>
                <a:gd name="connsiteY140" fmla="*/ 582612 h 620717"/>
                <a:gd name="connsiteX141" fmla="*/ 61912 w 514350"/>
                <a:gd name="connsiteY141" fmla="*/ 584200 h 620717"/>
                <a:gd name="connsiteX142" fmla="*/ 66675 w 514350"/>
                <a:gd name="connsiteY142" fmla="*/ 587375 h 620717"/>
                <a:gd name="connsiteX143" fmla="*/ 53975 w 514350"/>
                <a:gd name="connsiteY143" fmla="*/ 593725 h 620717"/>
                <a:gd name="connsiteX144" fmla="*/ 52387 w 514350"/>
                <a:gd name="connsiteY144" fmla="*/ 601662 h 620717"/>
                <a:gd name="connsiteX145" fmla="*/ 50800 w 514350"/>
                <a:gd name="connsiteY145" fmla="*/ 606425 h 620717"/>
                <a:gd name="connsiteX146" fmla="*/ 55562 w 514350"/>
                <a:gd name="connsiteY146" fmla="*/ 614362 h 620717"/>
                <a:gd name="connsiteX147" fmla="*/ 79375 w 514350"/>
                <a:gd name="connsiteY147" fmla="*/ 609600 h 620717"/>
                <a:gd name="connsiteX148" fmla="*/ 123825 w 514350"/>
                <a:gd name="connsiteY148" fmla="*/ 612775 h 620717"/>
                <a:gd name="connsiteX149" fmla="*/ 130175 w 514350"/>
                <a:gd name="connsiteY149" fmla="*/ 617537 h 620717"/>
                <a:gd name="connsiteX150" fmla="*/ 144462 w 514350"/>
                <a:gd name="connsiteY150" fmla="*/ 620712 h 620717"/>
                <a:gd name="connsiteX151" fmla="*/ 173037 w 514350"/>
                <a:gd name="connsiteY151" fmla="*/ 617537 h 620717"/>
                <a:gd name="connsiteX152" fmla="*/ 180975 w 514350"/>
                <a:gd name="connsiteY152" fmla="*/ 614362 h 620717"/>
                <a:gd name="connsiteX153" fmla="*/ 187325 w 514350"/>
                <a:gd name="connsiteY153" fmla="*/ 609600 h 620717"/>
                <a:gd name="connsiteX154" fmla="*/ 196850 w 514350"/>
                <a:gd name="connsiteY154" fmla="*/ 606425 h 620717"/>
                <a:gd name="connsiteX155" fmla="*/ 198437 w 514350"/>
                <a:gd name="connsiteY155" fmla="*/ 600075 h 620717"/>
                <a:gd name="connsiteX156" fmla="*/ 203200 w 514350"/>
                <a:gd name="connsiteY156" fmla="*/ 595312 h 620717"/>
                <a:gd name="connsiteX157" fmla="*/ 215900 w 514350"/>
                <a:gd name="connsiteY157" fmla="*/ 581025 h 620717"/>
                <a:gd name="connsiteX158" fmla="*/ 230187 w 514350"/>
                <a:gd name="connsiteY158" fmla="*/ 582612 h 620717"/>
                <a:gd name="connsiteX159" fmla="*/ 238125 w 514350"/>
                <a:gd name="connsiteY159" fmla="*/ 584200 h 620717"/>
                <a:gd name="connsiteX160" fmla="*/ 261937 w 514350"/>
                <a:gd name="connsiteY160" fmla="*/ 581025 h 620717"/>
                <a:gd name="connsiteX161" fmla="*/ 263525 w 514350"/>
                <a:gd name="connsiteY161" fmla="*/ 576262 h 620717"/>
                <a:gd name="connsiteX162" fmla="*/ 266700 w 514350"/>
                <a:gd name="connsiteY162" fmla="*/ 582612 h 620717"/>
                <a:gd name="connsiteX163" fmla="*/ 277812 w 514350"/>
                <a:gd name="connsiteY163" fmla="*/ 590550 h 620717"/>
                <a:gd name="connsiteX164" fmla="*/ 279400 w 514350"/>
                <a:gd name="connsiteY164" fmla="*/ 579437 h 620717"/>
                <a:gd name="connsiteX165" fmla="*/ 287337 w 514350"/>
                <a:gd name="connsiteY165" fmla="*/ 571500 h 620717"/>
                <a:gd name="connsiteX166" fmla="*/ 290512 w 514350"/>
                <a:gd name="connsiteY166" fmla="*/ 566737 h 620717"/>
                <a:gd name="connsiteX167" fmla="*/ 311150 w 514350"/>
                <a:gd name="connsiteY167" fmla="*/ 558800 h 620717"/>
                <a:gd name="connsiteX168" fmla="*/ 354012 w 514350"/>
                <a:gd name="connsiteY168" fmla="*/ 554037 h 620717"/>
                <a:gd name="connsiteX169" fmla="*/ 360362 w 514350"/>
                <a:gd name="connsiteY169" fmla="*/ 561975 h 620717"/>
                <a:gd name="connsiteX170" fmla="*/ 365125 w 514350"/>
                <a:gd name="connsiteY170" fmla="*/ 563562 h 620717"/>
                <a:gd name="connsiteX171" fmla="*/ 366712 w 514350"/>
                <a:gd name="connsiteY171" fmla="*/ 557212 h 620717"/>
                <a:gd name="connsiteX172" fmla="*/ 368300 w 514350"/>
                <a:gd name="connsiteY172" fmla="*/ 552450 h 620717"/>
                <a:gd name="connsiteX173" fmla="*/ 377825 w 514350"/>
                <a:gd name="connsiteY173" fmla="*/ 557212 h 620717"/>
                <a:gd name="connsiteX174" fmla="*/ 382587 w 514350"/>
                <a:gd name="connsiteY174" fmla="*/ 563562 h 620717"/>
                <a:gd name="connsiteX175" fmla="*/ 404812 w 514350"/>
                <a:gd name="connsiteY175" fmla="*/ 565150 h 620717"/>
                <a:gd name="connsiteX176" fmla="*/ 414337 w 514350"/>
                <a:gd name="connsiteY176" fmla="*/ 571500 h 620717"/>
                <a:gd name="connsiteX177" fmla="*/ 419100 w 514350"/>
                <a:gd name="connsiteY177" fmla="*/ 574675 h 620717"/>
                <a:gd name="connsiteX178" fmla="*/ 436562 w 514350"/>
                <a:gd name="connsiteY178" fmla="*/ 573087 h 620717"/>
                <a:gd name="connsiteX179" fmla="*/ 434975 w 514350"/>
                <a:gd name="connsiteY179" fmla="*/ 566737 h 620717"/>
                <a:gd name="connsiteX180" fmla="*/ 430212 w 514350"/>
                <a:gd name="connsiteY180" fmla="*/ 546100 h 620717"/>
                <a:gd name="connsiteX181" fmla="*/ 433387 w 514350"/>
                <a:gd name="connsiteY181" fmla="*/ 531812 h 620717"/>
                <a:gd name="connsiteX182" fmla="*/ 446087 w 514350"/>
                <a:gd name="connsiteY182" fmla="*/ 525462 h 620717"/>
                <a:gd name="connsiteX183" fmla="*/ 452437 w 514350"/>
                <a:gd name="connsiteY183" fmla="*/ 519112 h 620717"/>
                <a:gd name="connsiteX184" fmla="*/ 463550 w 514350"/>
                <a:gd name="connsiteY184" fmla="*/ 514350 h 620717"/>
                <a:gd name="connsiteX185" fmla="*/ 465137 w 514350"/>
                <a:gd name="connsiteY185" fmla="*/ 508000 h 620717"/>
                <a:gd name="connsiteX186" fmla="*/ 466725 w 514350"/>
                <a:gd name="connsiteY186" fmla="*/ 485775 h 620717"/>
                <a:gd name="connsiteX187" fmla="*/ 482600 w 514350"/>
                <a:gd name="connsiteY187" fmla="*/ 474662 h 620717"/>
                <a:gd name="connsiteX188" fmla="*/ 495300 w 514350"/>
                <a:gd name="connsiteY188" fmla="*/ 458787 h 620717"/>
                <a:gd name="connsiteX189" fmla="*/ 501650 w 514350"/>
                <a:gd name="connsiteY189" fmla="*/ 438150 h 620717"/>
                <a:gd name="connsiteX190" fmla="*/ 506412 w 514350"/>
                <a:gd name="connsiteY190" fmla="*/ 433387 h 620717"/>
                <a:gd name="connsiteX191" fmla="*/ 506412 w 514350"/>
                <a:gd name="connsiteY191" fmla="*/ 401637 h 620717"/>
                <a:gd name="connsiteX192" fmla="*/ 501650 w 514350"/>
                <a:gd name="connsiteY192" fmla="*/ 398462 h 620717"/>
                <a:gd name="connsiteX193" fmla="*/ 498475 w 514350"/>
                <a:gd name="connsiteY193" fmla="*/ 392112 h 620717"/>
                <a:gd name="connsiteX194" fmla="*/ 503237 w 514350"/>
                <a:gd name="connsiteY194" fmla="*/ 360362 h 620717"/>
                <a:gd name="connsiteX195" fmla="*/ 508000 w 514350"/>
                <a:gd name="connsiteY195" fmla="*/ 355600 h 620717"/>
                <a:gd name="connsiteX196" fmla="*/ 514350 w 514350"/>
                <a:gd name="connsiteY196" fmla="*/ 346075 h 620717"/>
                <a:gd name="connsiteX197" fmla="*/ 511175 w 514350"/>
                <a:gd name="connsiteY197" fmla="*/ 331787 h 620717"/>
                <a:gd name="connsiteX198" fmla="*/ 506412 w 514350"/>
                <a:gd name="connsiteY198" fmla="*/ 327025 h 620717"/>
                <a:gd name="connsiteX199" fmla="*/ 504825 w 514350"/>
                <a:gd name="connsiteY199" fmla="*/ 315912 h 620717"/>
                <a:gd name="connsiteX200" fmla="*/ 508000 w 514350"/>
                <a:gd name="connsiteY200" fmla="*/ 290512 h 620717"/>
                <a:gd name="connsiteX201" fmla="*/ 506412 w 514350"/>
                <a:gd name="connsiteY201" fmla="*/ 282575 h 620717"/>
                <a:gd name="connsiteX202" fmla="*/ 495300 w 514350"/>
                <a:gd name="connsiteY202" fmla="*/ 276225 h 620717"/>
                <a:gd name="connsiteX203" fmla="*/ 496887 w 514350"/>
                <a:gd name="connsiteY203" fmla="*/ 268287 h 620717"/>
                <a:gd name="connsiteX204" fmla="*/ 501650 w 514350"/>
                <a:gd name="connsiteY204" fmla="*/ 266700 h 620717"/>
                <a:gd name="connsiteX205" fmla="*/ 506412 w 514350"/>
                <a:gd name="connsiteY205" fmla="*/ 263525 h 620717"/>
                <a:gd name="connsiteX206" fmla="*/ 509587 w 514350"/>
                <a:gd name="connsiteY206" fmla="*/ 258762 h 620717"/>
                <a:gd name="connsiteX207" fmla="*/ 511175 w 514350"/>
                <a:gd name="connsiteY207" fmla="*/ 254000 h 620717"/>
                <a:gd name="connsiteX208" fmla="*/ 514350 w 514350"/>
                <a:gd name="connsiteY208" fmla="*/ 246062 h 620717"/>
                <a:gd name="connsiteX209" fmla="*/ 512762 w 514350"/>
                <a:gd name="connsiteY209" fmla="*/ 239712 h 620717"/>
                <a:gd name="connsiteX210" fmla="*/ 496887 w 514350"/>
                <a:gd name="connsiteY210" fmla="*/ 239712 h 620717"/>
                <a:gd name="connsiteX211" fmla="*/ 492125 w 514350"/>
                <a:gd name="connsiteY211" fmla="*/ 241300 h 620717"/>
                <a:gd name="connsiteX212" fmla="*/ 485775 w 514350"/>
                <a:gd name="connsiteY212" fmla="*/ 244475 h 620717"/>
                <a:gd name="connsiteX213" fmla="*/ 481012 w 514350"/>
                <a:gd name="connsiteY213" fmla="*/ 234950 h 620717"/>
                <a:gd name="connsiteX214" fmla="*/ 479425 w 514350"/>
                <a:gd name="connsiteY214" fmla="*/ 222250 h 620717"/>
                <a:gd name="connsiteX215" fmla="*/ 477837 w 514350"/>
                <a:gd name="connsiteY215" fmla="*/ 215900 h 620717"/>
                <a:gd name="connsiteX216" fmla="*/ 473075 w 514350"/>
                <a:gd name="connsiteY216" fmla="*/ 190500 h 620717"/>
                <a:gd name="connsiteX217" fmla="*/ 468312 w 514350"/>
                <a:gd name="connsiteY217" fmla="*/ 176212 h 620717"/>
                <a:gd name="connsiteX218" fmla="*/ 458787 w 514350"/>
                <a:gd name="connsiteY218" fmla="*/ 171450 h 620717"/>
                <a:gd name="connsiteX219" fmla="*/ 449262 w 514350"/>
                <a:gd name="connsiteY219" fmla="*/ 173037 h 620717"/>
                <a:gd name="connsiteX220" fmla="*/ 438150 w 514350"/>
                <a:gd name="connsiteY220" fmla="*/ 182562 h 620717"/>
                <a:gd name="connsiteX221" fmla="*/ 434975 w 514350"/>
                <a:gd name="connsiteY221" fmla="*/ 188912 h 620717"/>
                <a:gd name="connsiteX222" fmla="*/ 428625 w 514350"/>
                <a:gd name="connsiteY222" fmla="*/ 196850 h 620717"/>
                <a:gd name="connsiteX223" fmla="*/ 417512 w 514350"/>
                <a:gd name="connsiteY223" fmla="*/ 206375 h 620717"/>
                <a:gd name="connsiteX224" fmla="*/ 412750 w 514350"/>
                <a:gd name="connsiteY224" fmla="*/ 207962 h 620717"/>
                <a:gd name="connsiteX225" fmla="*/ 401637 w 514350"/>
                <a:gd name="connsiteY225" fmla="*/ 206375 h 620717"/>
                <a:gd name="connsiteX226" fmla="*/ 395287 w 514350"/>
                <a:gd name="connsiteY226" fmla="*/ 200025 h 620717"/>
                <a:gd name="connsiteX227" fmla="*/ 390525 w 514350"/>
                <a:gd name="connsiteY227" fmla="*/ 196850 h 620717"/>
                <a:gd name="connsiteX228" fmla="*/ 385762 w 514350"/>
                <a:gd name="connsiteY228" fmla="*/ 190500 h 620717"/>
                <a:gd name="connsiteX229" fmla="*/ 368300 w 514350"/>
                <a:gd name="connsiteY229" fmla="*/ 171450 h 620717"/>
                <a:gd name="connsiteX230" fmla="*/ 363537 w 514350"/>
                <a:gd name="connsiteY230" fmla="*/ 160337 h 620717"/>
                <a:gd name="connsiteX231" fmla="*/ 358775 w 514350"/>
                <a:gd name="connsiteY231" fmla="*/ 157162 h 620717"/>
                <a:gd name="connsiteX232" fmla="*/ 349250 w 514350"/>
                <a:gd name="connsiteY232" fmla="*/ 144462 h 620717"/>
                <a:gd name="connsiteX233" fmla="*/ 346075 w 514350"/>
                <a:gd name="connsiteY233" fmla="*/ 138112 h 620717"/>
                <a:gd name="connsiteX234" fmla="*/ 350837 w 514350"/>
                <a:gd name="connsiteY234" fmla="*/ 128587 h 620717"/>
                <a:gd name="connsiteX235" fmla="*/ 357187 w 514350"/>
                <a:gd name="connsiteY235" fmla="*/ 127000 h 620717"/>
                <a:gd name="connsiteX236" fmla="*/ 368300 w 514350"/>
                <a:gd name="connsiteY236" fmla="*/ 125412 h 620717"/>
                <a:gd name="connsiteX237" fmla="*/ 374650 w 514350"/>
                <a:gd name="connsiteY237" fmla="*/ 123825 h 620717"/>
                <a:gd name="connsiteX238" fmla="*/ 384175 w 514350"/>
                <a:gd name="connsiteY238" fmla="*/ 120650 h 620717"/>
                <a:gd name="connsiteX239" fmla="*/ 392112 w 514350"/>
                <a:gd name="connsiteY239" fmla="*/ 111125 h 620717"/>
                <a:gd name="connsiteX240" fmla="*/ 388937 w 514350"/>
                <a:gd name="connsiteY240" fmla="*/ 100012 h 620717"/>
                <a:gd name="connsiteX241" fmla="*/ 390525 w 514350"/>
                <a:gd name="connsiteY241" fmla="*/ 93662 h 620717"/>
                <a:gd name="connsiteX242" fmla="*/ 401637 w 514350"/>
                <a:gd name="connsiteY242" fmla="*/ 95250 h 620717"/>
                <a:gd name="connsiteX243" fmla="*/ 423862 w 514350"/>
                <a:gd name="connsiteY243" fmla="*/ 93662 h 620717"/>
                <a:gd name="connsiteX244" fmla="*/ 430212 w 514350"/>
                <a:gd name="connsiteY244" fmla="*/ 87312 h 620717"/>
                <a:gd name="connsiteX245" fmla="*/ 431800 w 514350"/>
                <a:gd name="connsiteY245" fmla="*/ 61912 h 620717"/>
                <a:gd name="connsiteX246" fmla="*/ 443914 w 514350"/>
                <a:gd name="connsiteY246" fmla="*/ 64084 h 620717"/>
                <a:gd name="connsiteX247" fmla="*/ 448737 w 514350"/>
                <a:gd name="connsiteY247" fmla="*/ 66117 h 620717"/>
                <a:gd name="connsiteX248" fmla="*/ 435858 w 514350"/>
                <a:gd name="connsiteY248" fmla="*/ 67146 h 620717"/>
                <a:gd name="connsiteX249" fmla="*/ 451852 w 514350"/>
                <a:gd name="connsiteY249" fmla="*/ 72772 h 620717"/>
                <a:gd name="connsiteX250" fmla="*/ 439737 w 514350"/>
                <a:gd name="connsiteY250" fmla="*/ 79845 h 620717"/>
                <a:gd name="connsiteX251" fmla="*/ 450399 w 514350"/>
                <a:gd name="connsiteY251" fmla="*/ 73819 h 620717"/>
                <a:gd name="connsiteX252" fmla="*/ 455612 w 514350"/>
                <a:gd name="connsiteY252" fmla="*/ 69850 h 620717"/>
                <a:gd name="connsiteX253" fmla="*/ 461962 w 514350"/>
                <a:gd name="connsiteY253" fmla="*/ 68262 h 620717"/>
                <a:gd name="connsiteX254" fmla="*/ 466725 w 514350"/>
                <a:gd name="connsiteY254" fmla="*/ 61912 h 620717"/>
                <a:gd name="connsiteX255" fmla="*/ 492125 w 514350"/>
                <a:gd name="connsiteY255" fmla="*/ 53975 h 620717"/>
                <a:gd name="connsiteX256" fmla="*/ 496887 w 514350"/>
                <a:gd name="connsiteY256" fmla="*/ 49212 h 620717"/>
                <a:gd name="connsiteX257" fmla="*/ 500062 w 514350"/>
                <a:gd name="connsiteY257" fmla="*/ 41275 h 620717"/>
                <a:gd name="connsiteX258" fmla="*/ 496887 w 514350"/>
                <a:gd name="connsiteY258"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29887 w 514350"/>
                <a:gd name="connsiteY9" fmla="*/ 34766 h 620717"/>
                <a:gd name="connsiteX10" fmla="*/ 421653 w 514350"/>
                <a:gd name="connsiteY10" fmla="*/ 43507 h 620717"/>
                <a:gd name="connsiteX11" fmla="*/ 421003 w 514350"/>
                <a:gd name="connsiteY11" fmla="*/ 30397 h 620717"/>
                <a:gd name="connsiteX12" fmla="*/ 415884 w 514350"/>
                <a:gd name="connsiteY12" fmla="*/ 9813 h 620717"/>
                <a:gd name="connsiteX13" fmla="*/ 401637 w 514350"/>
                <a:gd name="connsiteY13" fmla="*/ 12700 h 620717"/>
                <a:gd name="connsiteX14" fmla="*/ 352425 w 514350"/>
                <a:gd name="connsiteY14" fmla="*/ 19050 h 620717"/>
                <a:gd name="connsiteX15" fmla="*/ 350837 w 514350"/>
                <a:gd name="connsiteY15" fmla="*/ 23812 h 620717"/>
                <a:gd name="connsiteX16" fmla="*/ 352425 w 514350"/>
                <a:gd name="connsiteY16" fmla="*/ 38100 h 620717"/>
                <a:gd name="connsiteX17" fmla="*/ 357187 w 514350"/>
                <a:gd name="connsiteY17" fmla="*/ 44450 h 620717"/>
                <a:gd name="connsiteX18" fmla="*/ 349250 w 514350"/>
                <a:gd name="connsiteY18" fmla="*/ 58737 h 620717"/>
                <a:gd name="connsiteX19" fmla="*/ 328612 w 514350"/>
                <a:gd name="connsiteY19" fmla="*/ 60325 h 620717"/>
                <a:gd name="connsiteX20" fmla="*/ 307975 w 514350"/>
                <a:gd name="connsiteY20" fmla="*/ 68262 h 620717"/>
                <a:gd name="connsiteX21" fmla="*/ 295275 w 514350"/>
                <a:gd name="connsiteY21" fmla="*/ 73025 h 620717"/>
                <a:gd name="connsiteX22" fmla="*/ 292100 w 514350"/>
                <a:gd name="connsiteY22" fmla="*/ 77787 h 620717"/>
                <a:gd name="connsiteX23" fmla="*/ 296862 w 514350"/>
                <a:gd name="connsiteY23" fmla="*/ 79375 h 620717"/>
                <a:gd name="connsiteX24" fmla="*/ 311150 w 514350"/>
                <a:gd name="connsiteY24" fmla="*/ 82550 h 620717"/>
                <a:gd name="connsiteX25" fmla="*/ 319087 w 514350"/>
                <a:gd name="connsiteY25" fmla="*/ 87312 h 620717"/>
                <a:gd name="connsiteX26" fmla="*/ 323850 w 514350"/>
                <a:gd name="connsiteY26" fmla="*/ 88900 h 620717"/>
                <a:gd name="connsiteX27" fmla="*/ 336550 w 514350"/>
                <a:gd name="connsiteY27" fmla="*/ 103187 h 620717"/>
                <a:gd name="connsiteX28" fmla="*/ 334962 w 514350"/>
                <a:gd name="connsiteY28" fmla="*/ 114300 h 620717"/>
                <a:gd name="connsiteX29" fmla="*/ 330200 w 514350"/>
                <a:gd name="connsiteY29" fmla="*/ 115887 h 620717"/>
                <a:gd name="connsiteX30" fmla="*/ 315912 w 514350"/>
                <a:gd name="connsiteY30" fmla="*/ 130175 h 620717"/>
                <a:gd name="connsiteX31" fmla="*/ 307975 w 514350"/>
                <a:gd name="connsiteY31" fmla="*/ 131762 h 620717"/>
                <a:gd name="connsiteX32" fmla="*/ 300037 w 514350"/>
                <a:gd name="connsiteY32" fmla="*/ 134937 h 620717"/>
                <a:gd name="connsiteX33" fmla="*/ 296862 w 514350"/>
                <a:gd name="connsiteY33" fmla="*/ 142875 h 620717"/>
                <a:gd name="connsiteX34" fmla="*/ 282575 w 514350"/>
                <a:gd name="connsiteY34" fmla="*/ 157162 h 620717"/>
                <a:gd name="connsiteX35" fmla="*/ 273050 w 514350"/>
                <a:gd name="connsiteY35" fmla="*/ 153987 h 620717"/>
                <a:gd name="connsiteX36" fmla="*/ 261937 w 514350"/>
                <a:gd name="connsiteY36" fmla="*/ 147637 h 620717"/>
                <a:gd name="connsiteX37" fmla="*/ 242887 w 514350"/>
                <a:gd name="connsiteY37" fmla="*/ 149225 h 620717"/>
                <a:gd name="connsiteX38" fmla="*/ 236537 w 514350"/>
                <a:gd name="connsiteY38" fmla="*/ 150812 h 620717"/>
                <a:gd name="connsiteX39" fmla="*/ 231775 w 514350"/>
                <a:gd name="connsiteY39" fmla="*/ 142875 h 620717"/>
                <a:gd name="connsiteX40" fmla="*/ 225425 w 514350"/>
                <a:gd name="connsiteY40" fmla="*/ 123825 h 620717"/>
                <a:gd name="connsiteX41" fmla="*/ 219075 w 514350"/>
                <a:gd name="connsiteY41" fmla="*/ 122237 h 620717"/>
                <a:gd name="connsiteX42" fmla="*/ 204787 w 514350"/>
                <a:gd name="connsiteY42" fmla="*/ 120650 h 620717"/>
                <a:gd name="connsiteX43" fmla="*/ 190500 w 514350"/>
                <a:gd name="connsiteY43" fmla="*/ 117475 h 620717"/>
                <a:gd name="connsiteX44" fmla="*/ 182562 w 514350"/>
                <a:gd name="connsiteY44" fmla="*/ 111125 h 620717"/>
                <a:gd name="connsiteX45" fmla="*/ 174625 w 514350"/>
                <a:gd name="connsiteY45" fmla="*/ 104775 h 620717"/>
                <a:gd name="connsiteX46" fmla="*/ 152400 w 514350"/>
                <a:gd name="connsiteY46" fmla="*/ 106362 h 620717"/>
                <a:gd name="connsiteX47" fmla="*/ 150812 w 514350"/>
                <a:gd name="connsiteY47" fmla="*/ 117475 h 620717"/>
                <a:gd name="connsiteX48" fmla="*/ 133350 w 514350"/>
                <a:gd name="connsiteY48" fmla="*/ 120650 h 620717"/>
                <a:gd name="connsiteX49" fmla="*/ 138112 w 514350"/>
                <a:gd name="connsiteY49" fmla="*/ 123825 h 620717"/>
                <a:gd name="connsiteX50" fmla="*/ 139700 w 514350"/>
                <a:gd name="connsiteY50" fmla="*/ 128587 h 620717"/>
                <a:gd name="connsiteX51" fmla="*/ 146050 w 514350"/>
                <a:gd name="connsiteY51" fmla="*/ 131762 h 620717"/>
                <a:gd name="connsiteX52" fmla="*/ 147637 w 514350"/>
                <a:gd name="connsiteY52" fmla="*/ 138112 h 620717"/>
                <a:gd name="connsiteX53" fmla="*/ 123825 w 514350"/>
                <a:gd name="connsiteY53" fmla="*/ 146050 h 620717"/>
                <a:gd name="connsiteX54" fmla="*/ 117475 w 514350"/>
                <a:gd name="connsiteY54" fmla="*/ 155575 h 620717"/>
                <a:gd name="connsiteX55" fmla="*/ 112712 w 514350"/>
                <a:gd name="connsiteY55" fmla="*/ 157162 h 620717"/>
                <a:gd name="connsiteX56" fmla="*/ 125412 w 514350"/>
                <a:gd name="connsiteY56" fmla="*/ 161925 h 620717"/>
                <a:gd name="connsiteX57" fmla="*/ 130175 w 514350"/>
                <a:gd name="connsiteY57" fmla="*/ 163512 h 620717"/>
                <a:gd name="connsiteX58" fmla="*/ 142875 w 514350"/>
                <a:gd name="connsiteY58" fmla="*/ 166687 h 620717"/>
                <a:gd name="connsiteX59" fmla="*/ 147637 w 514350"/>
                <a:gd name="connsiteY59" fmla="*/ 173037 h 620717"/>
                <a:gd name="connsiteX60" fmla="*/ 152400 w 514350"/>
                <a:gd name="connsiteY60" fmla="*/ 177800 h 620717"/>
                <a:gd name="connsiteX61" fmla="*/ 146050 w 514350"/>
                <a:gd name="connsiteY61" fmla="*/ 179387 h 620717"/>
                <a:gd name="connsiteX62" fmla="*/ 149225 w 514350"/>
                <a:gd name="connsiteY62" fmla="*/ 185737 h 620717"/>
                <a:gd name="connsiteX63" fmla="*/ 153987 w 514350"/>
                <a:gd name="connsiteY63" fmla="*/ 187325 h 620717"/>
                <a:gd name="connsiteX64" fmla="*/ 168275 w 514350"/>
                <a:gd name="connsiteY64" fmla="*/ 190500 h 620717"/>
                <a:gd name="connsiteX65" fmla="*/ 165100 w 514350"/>
                <a:gd name="connsiteY65" fmla="*/ 198437 h 620717"/>
                <a:gd name="connsiteX66" fmla="*/ 160337 w 514350"/>
                <a:gd name="connsiteY66" fmla="*/ 200025 h 620717"/>
                <a:gd name="connsiteX67" fmla="*/ 139700 w 514350"/>
                <a:gd name="connsiteY67" fmla="*/ 196850 h 620717"/>
                <a:gd name="connsiteX68" fmla="*/ 153987 w 514350"/>
                <a:gd name="connsiteY68" fmla="*/ 211137 h 620717"/>
                <a:gd name="connsiteX69" fmla="*/ 152400 w 514350"/>
                <a:gd name="connsiteY69" fmla="*/ 217487 h 620717"/>
                <a:gd name="connsiteX70" fmla="*/ 138112 w 514350"/>
                <a:gd name="connsiteY70" fmla="*/ 219075 h 620717"/>
                <a:gd name="connsiteX71" fmla="*/ 142875 w 514350"/>
                <a:gd name="connsiteY71" fmla="*/ 223837 h 620717"/>
                <a:gd name="connsiteX72" fmla="*/ 141287 w 514350"/>
                <a:gd name="connsiteY72" fmla="*/ 228600 h 620717"/>
                <a:gd name="connsiteX73" fmla="*/ 107950 w 514350"/>
                <a:gd name="connsiteY73" fmla="*/ 231775 h 620717"/>
                <a:gd name="connsiteX74" fmla="*/ 95250 w 514350"/>
                <a:gd name="connsiteY74" fmla="*/ 233362 h 620717"/>
                <a:gd name="connsiteX75" fmla="*/ 92075 w 514350"/>
                <a:gd name="connsiteY75" fmla="*/ 247650 h 620717"/>
                <a:gd name="connsiteX76" fmla="*/ 93662 w 514350"/>
                <a:gd name="connsiteY76" fmla="*/ 252412 h 620717"/>
                <a:gd name="connsiteX77" fmla="*/ 109537 w 514350"/>
                <a:gd name="connsiteY77" fmla="*/ 260350 h 620717"/>
                <a:gd name="connsiteX78" fmla="*/ 114300 w 514350"/>
                <a:gd name="connsiteY78" fmla="*/ 263525 h 620717"/>
                <a:gd name="connsiteX79" fmla="*/ 119062 w 514350"/>
                <a:gd name="connsiteY79" fmla="*/ 268287 h 620717"/>
                <a:gd name="connsiteX80" fmla="*/ 123825 w 514350"/>
                <a:gd name="connsiteY80" fmla="*/ 269875 h 620717"/>
                <a:gd name="connsiteX81" fmla="*/ 128587 w 514350"/>
                <a:gd name="connsiteY81" fmla="*/ 273050 h 620717"/>
                <a:gd name="connsiteX82" fmla="*/ 114300 w 514350"/>
                <a:gd name="connsiteY82" fmla="*/ 279400 h 620717"/>
                <a:gd name="connsiteX83" fmla="*/ 109537 w 514350"/>
                <a:gd name="connsiteY83" fmla="*/ 284162 h 620717"/>
                <a:gd name="connsiteX84" fmla="*/ 111125 w 514350"/>
                <a:gd name="connsiteY84" fmla="*/ 293687 h 620717"/>
                <a:gd name="connsiteX85" fmla="*/ 125412 w 514350"/>
                <a:gd name="connsiteY85" fmla="*/ 296862 h 620717"/>
                <a:gd name="connsiteX86" fmla="*/ 136525 w 514350"/>
                <a:gd name="connsiteY86" fmla="*/ 301625 h 620717"/>
                <a:gd name="connsiteX87" fmla="*/ 142875 w 514350"/>
                <a:gd name="connsiteY87" fmla="*/ 303212 h 620717"/>
                <a:gd name="connsiteX88" fmla="*/ 146050 w 514350"/>
                <a:gd name="connsiteY88" fmla="*/ 311150 h 620717"/>
                <a:gd name="connsiteX89" fmla="*/ 158750 w 514350"/>
                <a:gd name="connsiteY89" fmla="*/ 315912 h 620717"/>
                <a:gd name="connsiteX90" fmla="*/ 193675 w 514350"/>
                <a:gd name="connsiteY90" fmla="*/ 317500 h 620717"/>
                <a:gd name="connsiteX91" fmla="*/ 209550 w 514350"/>
                <a:gd name="connsiteY91" fmla="*/ 320675 h 620717"/>
                <a:gd name="connsiteX92" fmla="*/ 204787 w 514350"/>
                <a:gd name="connsiteY92" fmla="*/ 323850 h 620717"/>
                <a:gd name="connsiteX93" fmla="*/ 200025 w 514350"/>
                <a:gd name="connsiteY93" fmla="*/ 325437 h 620717"/>
                <a:gd name="connsiteX94" fmla="*/ 190500 w 514350"/>
                <a:gd name="connsiteY94" fmla="*/ 331787 h 620717"/>
                <a:gd name="connsiteX95" fmla="*/ 182562 w 514350"/>
                <a:gd name="connsiteY95" fmla="*/ 338137 h 620717"/>
                <a:gd name="connsiteX96" fmla="*/ 176212 w 514350"/>
                <a:gd name="connsiteY96" fmla="*/ 341312 h 620717"/>
                <a:gd name="connsiteX97" fmla="*/ 171450 w 514350"/>
                <a:gd name="connsiteY97" fmla="*/ 344487 h 620717"/>
                <a:gd name="connsiteX98" fmla="*/ 161925 w 514350"/>
                <a:gd name="connsiteY98" fmla="*/ 347662 h 620717"/>
                <a:gd name="connsiteX99" fmla="*/ 149225 w 514350"/>
                <a:gd name="connsiteY99" fmla="*/ 365125 h 620717"/>
                <a:gd name="connsiteX100" fmla="*/ 139700 w 514350"/>
                <a:gd name="connsiteY100" fmla="*/ 382587 h 620717"/>
                <a:gd name="connsiteX101" fmla="*/ 134937 w 514350"/>
                <a:gd name="connsiteY101" fmla="*/ 384175 h 620717"/>
                <a:gd name="connsiteX102" fmla="*/ 133350 w 514350"/>
                <a:gd name="connsiteY102" fmla="*/ 388937 h 620717"/>
                <a:gd name="connsiteX103" fmla="*/ 128587 w 514350"/>
                <a:gd name="connsiteY103" fmla="*/ 392112 h 620717"/>
                <a:gd name="connsiteX104" fmla="*/ 120650 w 514350"/>
                <a:gd name="connsiteY104" fmla="*/ 398462 h 620717"/>
                <a:gd name="connsiteX105" fmla="*/ 114300 w 514350"/>
                <a:gd name="connsiteY105" fmla="*/ 409575 h 620717"/>
                <a:gd name="connsiteX106" fmla="*/ 109537 w 514350"/>
                <a:gd name="connsiteY106" fmla="*/ 411162 h 620717"/>
                <a:gd name="connsiteX107" fmla="*/ 92075 w 514350"/>
                <a:gd name="connsiteY107" fmla="*/ 414337 h 620717"/>
                <a:gd name="connsiteX108" fmla="*/ 92075 w 514350"/>
                <a:gd name="connsiteY108" fmla="*/ 433387 h 620717"/>
                <a:gd name="connsiteX109" fmla="*/ 79375 w 514350"/>
                <a:gd name="connsiteY109" fmla="*/ 441325 h 620717"/>
                <a:gd name="connsiteX110" fmla="*/ 73025 w 514350"/>
                <a:gd name="connsiteY110" fmla="*/ 455612 h 620717"/>
                <a:gd name="connsiteX111" fmla="*/ 69850 w 514350"/>
                <a:gd name="connsiteY111" fmla="*/ 463550 h 620717"/>
                <a:gd name="connsiteX112" fmla="*/ 65087 w 514350"/>
                <a:gd name="connsiteY112" fmla="*/ 465137 h 620717"/>
                <a:gd name="connsiteX113" fmla="*/ 38100 w 514350"/>
                <a:gd name="connsiteY113" fmla="*/ 466725 h 620717"/>
                <a:gd name="connsiteX114" fmla="*/ 34925 w 514350"/>
                <a:gd name="connsiteY114" fmla="*/ 473075 h 620717"/>
                <a:gd name="connsiteX115" fmla="*/ 30162 w 514350"/>
                <a:gd name="connsiteY115" fmla="*/ 476250 h 620717"/>
                <a:gd name="connsiteX116" fmla="*/ 0 w 514350"/>
                <a:gd name="connsiteY116" fmla="*/ 477837 h 620717"/>
                <a:gd name="connsiteX117" fmla="*/ 4762 w 514350"/>
                <a:gd name="connsiteY117" fmla="*/ 484187 h 620717"/>
                <a:gd name="connsiteX118" fmla="*/ 23812 w 514350"/>
                <a:gd name="connsiteY118" fmla="*/ 485775 h 620717"/>
                <a:gd name="connsiteX119" fmla="*/ 30162 w 514350"/>
                <a:gd name="connsiteY119" fmla="*/ 487362 h 620717"/>
                <a:gd name="connsiteX120" fmla="*/ 39687 w 514350"/>
                <a:gd name="connsiteY120" fmla="*/ 488950 h 620717"/>
                <a:gd name="connsiteX121" fmla="*/ 33337 w 514350"/>
                <a:gd name="connsiteY121" fmla="*/ 492125 h 620717"/>
                <a:gd name="connsiteX122" fmla="*/ 25400 w 514350"/>
                <a:gd name="connsiteY122" fmla="*/ 493712 h 620717"/>
                <a:gd name="connsiteX123" fmla="*/ 19050 w 514350"/>
                <a:gd name="connsiteY123" fmla="*/ 495300 h 620717"/>
                <a:gd name="connsiteX124" fmla="*/ 14287 w 514350"/>
                <a:gd name="connsiteY124" fmla="*/ 498475 h 620717"/>
                <a:gd name="connsiteX125" fmla="*/ 4762 w 514350"/>
                <a:gd name="connsiteY125" fmla="*/ 503237 h 620717"/>
                <a:gd name="connsiteX126" fmla="*/ 3175 w 514350"/>
                <a:gd name="connsiteY126" fmla="*/ 508000 h 620717"/>
                <a:gd name="connsiteX127" fmla="*/ 4762 w 514350"/>
                <a:gd name="connsiteY127" fmla="*/ 530225 h 620717"/>
                <a:gd name="connsiteX128" fmla="*/ 11112 w 514350"/>
                <a:gd name="connsiteY128" fmla="*/ 533400 h 620717"/>
                <a:gd name="connsiteX129" fmla="*/ 20637 w 514350"/>
                <a:gd name="connsiteY129" fmla="*/ 534987 h 620717"/>
                <a:gd name="connsiteX130" fmla="*/ 26987 w 514350"/>
                <a:gd name="connsiteY130" fmla="*/ 536575 h 620717"/>
                <a:gd name="connsiteX131" fmla="*/ 39687 w 514350"/>
                <a:gd name="connsiteY131" fmla="*/ 542925 h 620717"/>
                <a:gd name="connsiteX132" fmla="*/ 44450 w 514350"/>
                <a:gd name="connsiteY132" fmla="*/ 546100 h 620717"/>
                <a:gd name="connsiteX133" fmla="*/ 58737 w 514350"/>
                <a:gd name="connsiteY133" fmla="*/ 547687 h 620717"/>
                <a:gd name="connsiteX134" fmla="*/ 47625 w 514350"/>
                <a:gd name="connsiteY134" fmla="*/ 555625 h 620717"/>
                <a:gd name="connsiteX135" fmla="*/ 30162 w 514350"/>
                <a:gd name="connsiteY135" fmla="*/ 558800 h 620717"/>
                <a:gd name="connsiteX136" fmla="*/ 7937 w 514350"/>
                <a:gd name="connsiteY136" fmla="*/ 563562 h 620717"/>
                <a:gd name="connsiteX137" fmla="*/ 7937 w 514350"/>
                <a:gd name="connsiteY137" fmla="*/ 576262 h 620717"/>
                <a:gd name="connsiteX138" fmla="*/ 17462 w 514350"/>
                <a:gd name="connsiteY138" fmla="*/ 577850 h 620717"/>
                <a:gd name="connsiteX139" fmla="*/ 39687 w 514350"/>
                <a:gd name="connsiteY139" fmla="*/ 581025 h 620717"/>
                <a:gd name="connsiteX140" fmla="*/ 47625 w 514350"/>
                <a:gd name="connsiteY140" fmla="*/ 582612 h 620717"/>
                <a:gd name="connsiteX141" fmla="*/ 61912 w 514350"/>
                <a:gd name="connsiteY141" fmla="*/ 584200 h 620717"/>
                <a:gd name="connsiteX142" fmla="*/ 66675 w 514350"/>
                <a:gd name="connsiteY142" fmla="*/ 587375 h 620717"/>
                <a:gd name="connsiteX143" fmla="*/ 53975 w 514350"/>
                <a:gd name="connsiteY143" fmla="*/ 593725 h 620717"/>
                <a:gd name="connsiteX144" fmla="*/ 52387 w 514350"/>
                <a:gd name="connsiteY144" fmla="*/ 601662 h 620717"/>
                <a:gd name="connsiteX145" fmla="*/ 50800 w 514350"/>
                <a:gd name="connsiteY145" fmla="*/ 606425 h 620717"/>
                <a:gd name="connsiteX146" fmla="*/ 55562 w 514350"/>
                <a:gd name="connsiteY146" fmla="*/ 614362 h 620717"/>
                <a:gd name="connsiteX147" fmla="*/ 79375 w 514350"/>
                <a:gd name="connsiteY147" fmla="*/ 609600 h 620717"/>
                <a:gd name="connsiteX148" fmla="*/ 123825 w 514350"/>
                <a:gd name="connsiteY148" fmla="*/ 612775 h 620717"/>
                <a:gd name="connsiteX149" fmla="*/ 130175 w 514350"/>
                <a:gd name="connsiteY149" fmla="*/ 617537 h 620717"/>
                <a:gd name="connsiteX150" fmla="*/ 144462 w 514350"/>
                <a:gd name="connsiteY150" fmla="*/ 620712 h 620717"/>
                <a:gd name="connsiteX151" fmla="*/ 173037 w 514350"/>
                <a:gd name="connsiteY151" fmla="*/ 617537 h 620717"/>
                <a:gd name="connsiteX152" fmla="*/ 180975 w 514350"/>
                <a:gd name="connsiteY152" fmla="*/ 614362 h 620717"/>
                <a:gd name="connsiteX153" fmla="*/ 187325 w 514350"/>
                <a:gd name="connsiteY153" fmla="*/ 609600 h 620717"/>
                <a:gd name="connsiteX154" fmla="*/ 196850 w 514350"/>
                <a:gd name="connsiteY154" fmla="*/ 606425 h 620717"/>
                <a:gd name="connsiteX155" fmla="*/ 198437 w 514350"/>
                <a:gd name="connsiteY155" fmla="*/ 600075 h 620717"/>
                <a:gd name="connsiteX156" fmla="*/ 203200 w 514350"/>
                <a:gd name="connsiteY156" fmla="*/ 595312 h 620717"/>
                <a:gd name="connsiteX157" fmla="*/ 215900 w 514350"/>
                <a:gd name="connsiteY157" fmla="*/ 581025 h 620717"/>
                <a:gd name="connsiteX158" fmla="*/ 230187 w 514350"/>
                <a:gd name="connsiteY158" fmla="*/ 582612 h 620717"/>
                <a:gd name="connsiteX159" fmla="*/ 238125 w 514350"/>
                <a:gd name="connsiteY159" fmla="*/ 584200 h 620717"/>
                <a:gd name="connsiteX160" fmla="*/ 261937 w 514350"/>
                <a:gd name="connsiteY160" fmla="*/ 581025 h 620717"/>
                <a:gd name="connsiteX161" fmla="*/ 263525 w 514350"/>
                <a:gd name="connsiteY161" fmla="*/ 576262 h 620717"/>
                <a:gd name="connsiteX162" fmla="*/ 266700 w 514350"/>
                <a:gd name="connsiteY162" fmla="*/ 582612 h 620717"/>
                <a:gd name="connsiteX163" fmla="*/ 277812 w 514350"/>
                <a:gd name="connsiteY163" fmla="*/ 590550 h 620717"/>
                <a:gd name="connsiteX164" fmla="*/ 279400 w 514350"/>
                <a:gd name="connsiteY164" fmla="*/ 579437 h 620717"/>
                <a:gd name="connsiteX165" fmla="*/ 287337 w 514350"/>
                <a:gd name="connsiteY165" fmla="*/ 571500 h 620717"/>
                <a:gd name="connsiteX166" fmla="*/ 290512 w 514350"/>
                <a:gd name="connsiteY166" fmla="*/ 566737 h 620717"/>
                <a:gd name="connsiteX167" fmla="*/ 311150 w 514350"/>
                <a:gd name="connsiteY167" fmla="*/ 558800 h 620717"/>
                <a:gd name="connsiteX168" fmla="*/ 354012 w 514350"/>
                <a:gd name="connsiteY168" fmla="*/ 554037 h 620717"/>
                <a:gd name="connsiteX169" fmla="*/ 360362 w 514350"/>
                <a:gd name="connsiteY169" fmla="*/ 561975 h 620717"/>
                <a:gd name="connsiteX170" fmla="*/ 365125 w 514350"/>
                <a:gd name="connsiteY170" fmla="*/ 563562 h 620717"/>
                <a:gd name="connsiteX171" fmla="*/ 366712 w 514350"/>
                <a:gd name="connsiteY171" fmla="*/ 557212 h 620717"/>
                <a:gd name="connsiteX172" fmla="*/ 368300 w 514350"/>
                <a:gd name="connsiteY172" fmla="*/ 552450 h 620717"/>
                <a:gd name="connsiteX173" fmla="*/ 377825 w 514350"/>
                <a:gd name="connsiteY173" fmla="*/ 557212 h 620717"/>
                <a:gd name="connsiteX174" fmla="*/ 382587 w 514350"/>
                <a:gd name="connsiteY174" fmla="*/ 563562 h 620717"/>
                <a:gd name="connsiteX175" fmla="*/ 404812 w 514350"/>
                <a:gd name="connsiteY175" fmla="*/ 565150 h 620717"/>
                <a:gd name="connsiteX176" fmla="*/ 414337 w 514350"/>
                <a:gd name="connsiteY176" fmla="*/ 571500 h 620717"/>
                <a:gd name="connsiteX177" fmla="*/ 419100 w 514350"/>
                <a:gd name="connsiteY177" fmla="*/ 574675 h 620717"/>
                <a:gd name="connsiteX178" fmla="*/ 436562 w 514350"/>
                <a:gd name="connsiteY178" fmla="*/ 573087 h 620717"/>
                <a:gd name="connsiteX179" fmla="*/ 434975 w 514350"/>
                <a:gd name="connsiteY179" fmla="*/ 566737 h 620717"/>
                <a:gd name="connsiteX180" fmla="*/ 430212 w 514350"/>
                <a:gd name="connsiteY180" fmla="*/ 546100 h 620717"/>
                <a:gd name="connsiteX181" fmla="*/ 433387 w 514350"/>
                <a:gd name="connsiteY181" fmla="*/ 531812 h 620717"/>
                <a:gd name="connsiteX182" fmla="*/ 446087 w 514350"/>
                <a:gd name="connsiteY182" fmla="*/ 525462 h 620717"/>
                <a:gd name="connsiteX183" fmla="*/ 452437 w 514350"/>
                <a:gd name="connsiteY183" fmla="*/ 519112 h 620717"/>
                <a:gd name="connsiteX184" fmla="*/ 463550 w 514350"/>
                <a:gd name="connsiteY184" fmla="*/ 514350 h 620717"/>
                <a:gd name="connsiteX185" fmla="*/ 465137 w 514350"/>
                <a:gd name="connsiteY185" fmla="*/ 508000 h 620717"/>
                <a:gd name="connsiteX186" fmla="*/ 466725 w 514350"/>
                <a:gd name="connsiteY186" fmla="*/ 485775 h 620717"/>
                <a:gd name="connsiteX187" fmla="*/ 482600 w 514350"/>
                <a:gd name="connsiteY187" fmla="*/ 474662 h 620717"/>
                <a:gd name="connsiteX188" fmla="*/ 495300 w 514350"/>
                <a:gd name="connsiteY188" fmla="*/ 458787 h 620717"/>
                <a:gd name="connsiteX189" fmla="*/ 501650 w 514350"/>
                <a:gd name="connsiteY189" fmla="*/ 438150 h 620717"/>
                <a:gd name="connsiteX190" fmla="*/ 506412 w 514350"/>
                <a:gd name="connsiteY190" fmla="*/ 433387 h 620717"/>
                <a:gd name="connsiteX191" fmla="*/ 506412 w 514350"/>
                <a:gd name="connsiteY191" fmla="*/ 401637 h 620717"/>
                <a:gd name="connsiteX192" fmla="*/ 501650 w 514350"/>
                <a:gd name="connsiteY192" fmla="*/ 398462 h 620717"/>
                <a:gd name="connsiteX193" fmla="*/ 498475 w 514350"/>
                <a:gd name="connsiteY193" fmla="*/ 392112 h 620717"/>
                <a:gd name="connsiteX194" fmla="*/ 503237 w 514350"/>
                <a:gd name="connsiteY194" fmla="*/ 360362 h 620717"/>
                <a:gd name="connsiteX195" fmla="*/ 508000 w 514350"/>
                <a:gd name="connsiteY195" fmla="*/ 355600 h 620717"/>
                <a:gd name="connsiteX196" fmla="*/ 514350 w 514350"/>
                <a:gd name="connsiteY196" fmla="*/ 346075 h 620717"/>
                <a:gd name="connsiteX197" fmla="*/ 511175 w 514350"/>
                <a:gd name="connsiteY197" fmla="*/ 331787 h 620717"/>
                <a:gd name="connsiteX198" fmla="*/ 506412 w 514350"/>
                <a:gd name="connsiteY198" fmla="*/ 327025 h 620717"/>
                <a:gd name="connsiteX199" fmla="*/ 504825 w 514350"/>
                <a:gd name="connsiteY199" fmla="*/ 315912 h 620717"/>
                <a:gd name="connsiteX200" fmla="*/ 508000 w 514350"/>
                <a:gd name="connsiteY200" fmla="*/ 290512 h 620717"/>
                <a:gd name="connsiteX201" fmla="*/ 506412 w 514350"/>
                <a:gd name="connsiteY201" fmla="*/ 282575 h 620717"/>
                <a:gd name="connsiteX202" fmla="*/ 495300 w 514350"/>
                <a:gd name="connsiteY202" fmla="*/ 276225 h 620717"/>
                <a:gd name="connsiteX203" fmla="*/ 496887 w 514350"/>
                <a:gd name="connsiteY203" fmla="*/ 268287 h 620717"/>
                <a:gd name="connsiteX204" fmla="*/ 501650 w 514350"/>
                <a:gd name="connsiteY204" fmla="*/ 266700 h 620717"/>
                <a:gd name="connsiteX205" fmla="*/ 506412 w 514350"/>
                <a:gd name="connsiteY205" fmla="*/ 263525 h 620717"/>
                <a:gd name="connsiteX206" fmla="*/ 509587 w 514350"/>
                <a:gd name="connsiteY206" fmla="*/ 258762 h 620717"/>
                <a:gd name="connsiteX207" fmla="*/ 511175 w 514350"/>
                <a:gd name="connsiteY207" fmla="*/ 254000 h 620717"/>
                <a:gd name="connsiteX208" fmla="*/ 514350 w 514350"/>
                <a:gd name="connsiteY208" fmla="*/ 246062 h 620717"/>
                <a:gd name="connsiteX209" fmla="*/ 512762 w 514350"/>
                <a:gd name="connsiteY209" fmla="*/ 239712 h 620717"/>
                <a:gd name="connsiteX210" fmla="*/ 496887 w 514350"/>
                <a:gd name="connsiteY210" fmla="*/ 239712 h 620717"/>
                <a:gd name="connsiteX211" fmla="*/ 492125 w 514350"/>
                <a:gd name="connsiteY211" fmla="*/ 241300 h 620717"/>
                <a:gd name="connsiteX212" fmla="*/ 485775 w 514350"/>
                <a:gd name="connsiteY212" fmla="*/ 244475 h 620717"/>
                <a:gd name="connsiteX213" fmla="*/ 481012 w 514350"/>
                <a:gd name="connsiteY213" fmla="*/ 234950 h 620717"/>
                <a:gd name="connsiteX214" fmla="*/ 479425 w 514350"/>
                <a:gd name="connsiteY214" fmla="*/ 222250 h 620717"/>
                <a:gd name="connsiteX215" fmla="*/ 477837 w 514350"/>
                <a:gd name="connsiteY215" fmla="*/ 215900 h 620717"/>
                <a:gd name="connsiteX216" fmla="*/ 473075 w 514350"/>
                <a:gd name="connsiteY216" fmla="*/ 190500 h 620717"/>
                <a:gd name="connsiteX217" fmla="*/ 468312 w 514350"/>
                <a:gd name="connsiteY217" fmla="*/ 176212 h 620717"/>
                <a:gd name="connsiteX218" fmla="*/ 458787 w 514350"/>
                <a:gd name="connsiteY218" fmla="*/ 171450 h 620717"/>
                <a:gd name="connsiteX219" fmla="*/ 449262 w 514350"/>
                <a:gd name="connsiteY219" fmla="*/ 173037 h 620717"/>
                <a:gd name="connsiteX220" fmla="*/ 438150 w 514350"/>
                <a:gd name="connsiteY220" fmla="*/ 182562 h 620717"/>
                <a:gd name="connsiteX221" fmla="*/ 434975 w 514350"/>
                <a:gd name="connsiteY221" fmla="*/ 188912 h 620717"/>
                <a:gd name="connsiteX222" fmla="*/ 428625 w 514350"/>
                <a:gd name="connsiteY222" fmla="*/ 196850 h 620717"/>
                <a:gd name="connsiteX223" fmla="*/ 417512 w 514350"/>
                <a:gd name="connsiteY223" fmla="*/ 206375 h 620717"/>
                <a:gd name="connsiteX224" fmla="*/ 412750 w 514350"/>
                <a:gd name="connsiteY224" fmla="*/ 207962 h 620717"/>
                <a:gd name="connsiteX225" fmla="*/ 401637 w 514350"/>
                <a:gd name="connsiteY225" fmla="*/ 206375 h 620717"/>
                <a:gd name="connsiteX226" fmla="*/ 395287 w 514350"/>
                <a:gd name="connsiteY226" fmla="*/ 200025 h 620717"/>
                <a:gd name="connsiteX227" fmla="*/ 390525 w 514350"/>
                <a:gd name="connsiteY227" fmla="*/ 196850 h 620717"/>
                <a:gd name="connsiteX228" fmla="*/ 385762 w 514350"/>
                <a:gd name="connsiteY228" fmla="*/ 190500 h 620717"/>
                <a:gd name="connsiteX229" fmla="*/ 368300 w 514350"/>
                <a:gd name="connsiteY229" fmla="*/ 171450 h 620717"/>
                <a:gd name="connsiteX230" fmla="*/ 363537 w 514350"/>
                <a:gd name="connsiteY230" fmla="*/ 160337 h 620717"/>
                <a:gd name="connsiteX231" fmla="*/ 358775 w 514350"/>
                <a:gd name="connsiteY231" fmla="*/ 157162 h 620717"/>
                <a:gd name="connsiteX232" fmla="*/ 349250 w 514350"/>
                <a:gd name="connsiteY232" fmla="*/ 144462 h 620717"/>
                <a:gd name="connsiteX233" fmla="*/ 346075 w 514350"/>
                <a:gd name="connsiteY233" fmla="*/ 138112 h 620717"/>
                <a:gd name="connsiteX234" fmla="*/ 350837 w 514350"/>
                <a:gd name="connsiteY234" fmla="*/ 128587 h 620717"/>
                <a:gd name="connsiteX235" fmla="*/ 357187 w 514350"/>
                <a:gd name="connsiteY235" fmla="*/ 127000 h 620717"/>
                <a:gd name="connsiteX236" fmla="*/ 368300 w 514350"/>
                <a:gd name="connsiteY236" fmla="*/ 125412 h 620717"/>
                <a:gd name="connsiteX237" fmla="*/ 374650 w 514350"/>
                <a:gd name="connsiteY237" fmla="*/ 123825 h 620717"/>
                <a:gd name="connsiteX238" fmla="*/ 384175 w 514350"/>
                <a:gd name="connsiteY238" fmla="*/ 120650 h 620717"/>
                <a:gd name="connsiteX239" fmla="*/ 392112 w 514350"/>
                <a:gd name="connsiteY239" fmla="*/ 111125 h 620717"/>
                <a:gd name="connsiteX240" fmla="*/ 388937 w 514350"/>
                <a:gd name="connsiteY240" fmla="*/ 100012 h 620717"/>
                <a:gd name="connsiteX241" fmla="*/ 390525 w 514350"/>
                <a:gd name="connsiteY241" fmla="*/ 93662 h 620717"/>
                <a:gd name="connsiteX242" fmla="*/ 401637 w 514350"/>
                <a:gd name="connsiteY242" fmla="*/ 95250 h 620717"/>
                <a:gd name="connsiteX243" fmla="*/ 423862 w 514350"/>
                <a:gd name="connsiteY243" fmla="*/ 93662 h 620717"/>
                <a:gd name="connsiteX244" fmla="*/ 430212 w 514350"/>
                <a:gd name="connsiteY244" fmla="*/ 87312 h 620717"/>
                <a:gd name="connsiteX245" fmla="*/ 431800 w 514350"/>
                <a:gd name="connsiteY245" fmla="*/ 61912 h 620717"/>
                <a:gd name="connsiteX246" fmla="*/ 443914 w 514350"/>
                <a:gd name="connsiteY246" fmla="*/ 64084 h 620717"/>
                <a:gd name="connsiteX247" fmla="*/ 448737 w 514350"/>
                <a:gd name="connsiteY247" fmla="*/ 66117 h 620717"/>
                <a:gd name="connsiteX248" fmla="*/ 451852 w 514350"/>
                <a:gd name="connsiteY248" fmla="*/ 72772 h 620717"/>
                <a:gd name="connsiteX249" fmla="*/ 439737 w 514350"/>
                <a:gd name="connsiteY249" fmla="*/ 79845 h 620717"/>
                <a:gd name="connsiteX250" fmla="*/ 450399 w 514350"/>
                <a:gd name="connsiteY250" fmla="*/ 73819 h 620717"/>
                <a:gd name="connsiteX251" fmla="*/ 455612 w 514350"/>
                <a:gd name="connsiteY251" fmla="*/ 69850 h 620717"/>
                <a:gd name="connsiteX252" fmla="*/ 461962 w 514350"/>
                <a:gd name="connsiteY252" fmla="*/ 68262 h 620717"/>
                <a:gd name="connsiteX253" fmla="*/ 466725 w 514350"/>
                <a:gd name="connsiteY253" fmla="*/ 61912 h 620717"/>
                <a:gd name="connsiteX254" fmla="*/ 492125 w 514350"/>
                <a:gd name="connsiteY254" fmla="*/ 53975 h 620717"/>
                <a:gd name="connsiteX255" fmla="*/ 496887 w 514350"/>
                <a:gd name="connsiteY255" fmla="*/ 49212 h 620717"/>
                <a:gd name="connsiteX256" fmla="*/ 500062 w 514350"/>
                <a:gd name="connsiteY256" fmla="*/ 41275 h 620717"/>
                <a:gd name="connsiteX257" fmla="*/ 496887 w 514350"/>
                <a:gd name="connsiteY257"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29887 w 514350"/>
                <a:gd name="connsiteY9" fmla="*/ 34766 h 620717"/>
                <a:gd name="connsiteX10" fmla="*/ 421653 w 514350"/>
                <a:gd name="connsiteY10" fmla="*/ 43507 h 620717"/>
                <a:gd name="connsiteX11" fmla="*/ 421003 w 514350"/>
                <a:gd name="connsiteY11" fmla="*/ 30397 h 620717"/>
                <a:gd name="connsiteX12" fmla="*/ 415884 w 514350"/>
                <a:gd name="connsiteY12" fmla="*/ 9813 h 620717"/>
                <a:gd name="connsiteX13" fmla="*/ 401637 w 514350"/>
                <a:gd name="connsiteY13" fmla="*/ 12700 h 620717"/>
                <a:gd name="connsiteX14" fmla="*/ 352425 w 514350"/>
                <a:gd name="connsiteY14" fmla="*/ 19050 h 620717"/>
                <a:gd name="connsiteX15" fmla="*/ 350837 w 514350"/>
                <a:gd name="connsiteY15" fmla="*/ 23812 h 620717"/>
                <a:gd name="connsiteX16" fmla="*/ 352425 w 514350"/>
                <a:gd name="connsiteY16" fmla="*/ 38100 h 620717"/>
                <a:gd name="connsiteX17" fmla="*/ 357187 w 514350"/>
                <a:gd name="connsiteY17" fmla="*/ 44450 h 620717"/>
                <a:gd name="connsiteX18" fmla="*/ 349250 w 514350"/>
                <a:gd name="connsiteY18" fmla="*/ 58737 h 620717"/>
                <a:gd name="connsiteX19" fmla="*/ 328612 w 514350"/>
                <a:gd name="connsiteY19" fmla="*/ 60325 h 620717"/>
                <a:gd name="connsiteX20" fmla="*/ 307975 w 514350"/>
                <a:gd name="connsiteY20" fmla="*/ 68262 h 620717"/>
                <a:gd name="connsiteX21" fmla="*/ 295275 w 514350"/>
                <a:gd name="connsiteY21" fmla="*/ 73025 h 620717"/>
                <a:gd name="connsiteX22" fmla="*/ 292100 w 514350"/>
                <a:gd name="connsiteY22" fmla="*/ 77787 h 620717"/>
                <a:gd name="connsiteX23" fmla="*/ 296862 w 514350"/>
                <a:gd name="connsiteY23" fmla="*/ 79375 h 620717"/>
                <a:gd name="connsiteX24" fmla="*/ 311150 w 514350"/>
                <a:gd name="connsiteY24" fmla="*/ 82550 h 620717"/>
                <a:gd name="connsiteX25" fmla="*/ 319087 w 514350"/>
                <a:gd name="connsiteY25" fmla="*/ 87312 h 620717"/>
                <a:gd name="connsiteX26" fmla="*/ 323850 w 514350"/>
                <a:gd name="connsiteY26" fmla="*/ 88900 h 620717"/>
                <a:gd name="connsiteX27" fmla="*/ 336550 w 514350"/>
                <a:gd name="connsiteY27" fmla="*/ 103187 h 620717"/>
                <a:gd name="connsiteX28" fmla="*/ 334962 w 514350"/>
                <a:gd name="connsiteY28" fmla="*/ 114300 h 620717"/>
                <a:gd name="connsiteX29" fmla="*/ 330200 w 514350"/>
                <a:gd name="connsiteY29" fmla="*/ 115887 h 620717"/>
                <a:gd name="connsiteX30" fmla="*/ 315912 w 514350"/>
                <a:gd name="connsiteY30" fmla="*/ 130175 h 620717"/>
                <a:gd name="connsiteX31" fmla="*/ 307975 w 514350"/>
                <a:gd name="connsiteY31" fmla="*/ 131762 h 620717"/>
                <a:gd name="connsiteX32" fmla="*/ 300037 w 514350"/>
                <a:gd name="connsiteY32" fmla="*/ 134937 h 620717"/>
                <a:gd name="connsiteX33" fmla="*/ 296862 w 514350"/>
                <a:gd name="connsiteY33" fmla="*/ 142875 h 620717"/>
                <a:gd name="connsiteX34" fmla="*/ 282575 w 514350"/>
                <a:gd name="connsiteY34" fmla="*/ 157162 h 620717"/>
                <a:gd name="connsiteX35" fmla="*/ 273050 w 514350"/>
                <a:gd name="connsiteY35" fmla="*/ 153987 h 620717"/>
                <a:gd name="connsiteX36" fmla="*/ 261937 w 514350"/>
                <a:gd name="connsiteY36" fmla="*/ 147637 h 620717"/>
                <a:gd name="connsiteX37" fmla="*/ 242887 w 514350"/>
                <a:gd name="connsiteY37" fmla="*/ 149225 h 620717"/>
                <a:gd name="connsiteX38" fmla="*/ 236537 w 514350"/>
                <a:gd name="connsiteY38" fmla="*/ 150812 h 620717"/>
                <a:gd name="connsiteX39" fmla="*/ 231775 w 514350"/>
                <a:gd name="connsiteY39" fmla="*/ 142875 h 620717"/>
                <a:gd name="connsiteX40" fmla="*/ 225425 w 514350"/>
                <a:gd name="connsiteY40" fmla="*/ 123825 h 620717"/>
                <a:gd name="connsiteX41" fmla="*/ 219075 w 514350"/>
                <a:gd name="connsiteY41" fmla="*/ 122237 h 620717"/>
                <a:gd name="connsiteX42" fmla="*/ 204787 w 514350"/>
                <a:gd name="connsiteY42" fmla="*/ 120650 h 620717"/>
                <a:gd name="connsiteX43" fmla="*/ 190500 w 514350"/>
                <a:gd name="connsiteY43" fmla="*/ 117475 h 620717"/>
                <a:gd name="connsiteX44" fmla="*/ 182562 w 514350"/>
                <a:gd name="connsiteY44" fmla="*/ 111125 h 620717"/>
                <a:gd name="connsiteX45" fmla="*/ 174625 w 514350"/>
                <a:gd name="connsiteY45" fmla="*/ 104775 h 620717"/>
                <a:gd name="connsiteX46" fmla="*/ 152400 w 514350"/>
                <a:gd name="connsiteY46" fmla="*/ 106362 h 620717"/>
                <a:gd name="connsiteX47" fmla="*/ 150812 w 514350"/>
                <a:gd name="connsiteY47" fmla="*/ 117475 h 620717"/>
                <a:gd name="connsiteX48" fmla="*/ 133350 w 514350"/>
                <a:gd name="connsiteY48" fmla="*/ 120650 h 620717"/>
                <a:gd name="connsiteX49" fmla="*/ 138112 w 514350"/>
                <a:gd name="connsiteY49" fmla="*/ 123825 h 620717"/>
                <a:gd name="connsiteX50" fmla="*/ 139700 w 514350"/>
                <a:gd name="connsiteY50" fmla="*/ 128587 h 620717"/>
                <a:gd name="connsiteX51" fmla="*/ 146050 w 514350"/>
                <a:gd name="connsiteY51" fmla="*/ 131762 h 620717"/>
                <a:gd name="connsiteX52" fmla="*/ 147637 w 514350"/>
                <a:gd name="connsiteY52" fmla="*/ 138112 h 620717"/>
                <a:gd name="connsiteX53" fmla="*/ 123825 w 514350"/>
                <a:gd name="connsiteY53" fmla="*/ 146050 h 620717"/>
                <a:gd name="connsiteX54" fmla="*/ 117475 w 514350"/>
                <a:gd name="connsiteY54" fmla="*/ 155575 h 620717"/>
                <a:gd name="connsiteX55" fmla="*/ 112712 w 514350"/>
                <a:gd name="connsiteY55" fmla="*/ 157162 h 620717"/>
                <a:gd name="connsiteX56" fmla="*/ 125412 w 514350"/>
                <a:gd name="connsiteY56" fmla="*/ 161925 h 620717"/>
                <a:gd name="connsiteX57" fmla="*/ 130175 w 514350"/>
                <a:gd name="connsiteY57" fmla="*/ 163512 h 620717"/>
                <a:gd name="connsiteX58" fmla="*/ 142875 w 514350"/>
                <a:gd name="connsiteY58" fmla="*/ 166687 h 620717"/>
                <a:gd name="connsiteX59" fmla="*/ 147637 w 514350"/>
                <a:gd name="connsiteY59" fmla="*/ 173037 h 620717"/>
                <a:gd name="connsiteX60" fmla="*/ 152400 w 514350"/>
                <a:gd name="connsiteY60" fmla="*/ 177800 h 620717"/>
                <a:gd name="connsiteX61" fmla="*/ 146050 w 514350"/>
                <a:gd name="connsiteY61" fmla="*/ 179387 h 620717"/>
                <a:gd name="connsiteX62" fmla="*/ 149225 w 514350"/>
                <a:gd name="connsiteY62" fmla="*/ 185737 h 620717"/>
                <a:gd name="connsiteX63" fmla="*/ 153987 w 514350"/>
                <a:gd name="connsiteY63" fmla="*/ 187325 h 620717"/>
                <a:gd name="connsiteX64" fmla="*/ 168275 w 514350"/>
                <a:gd name="connsiteY64" fmla="*/ 190500 h 620717"/>
                <a:gd name="connsiteX65" fmla="*/ 165100 w 514350"/>
                <a:gd name="connsiteY65" fmla="*/ 198437 h 620717"/>
                <a:gd name="connsiteX66" fmla="*/ 160337 w 514350"/>
                <a:gd name="connsiteY66" fmla="*/ 200025 h 620717"/>
                <a:gd name="connsiteX67" fmla="*/ 139700 w 514350"/>
                <a:gd name="connsiteY67" fmla="*/ 196850 h 620717"/>
                <a:gd name="connsiteX68" fmla="*/ 153987 w 514350"/>
                <a:gd name="connsiteY68" fmla="*/ 211137 h 620717"/>
                <a:gd name="connsiteX69" fmla="*/ 152400 w 514350"/>
                <a:gd name="connsiteY69" fmla="*/ 217487 h 620717"/>
                <a:gd name="connsiteX70" fmla="*/ 138112 w 514350"/>
                <a:gd name="connsiteY70" fmla="*/ 219075 h 620717"/>
                <a:gd name="connsiteX71" fmla="*/ 142875 w 514350"/>
                <a:gd name="connsiteY71" fmla="*/ 223837 h 620717"/>
                <a:gd name="connsiteX72" fmla="*/ 141287 w 514350"/>
                <a:gd name="connsiteY72" fmla="*/ 228600 h 620717"/>
                <a:gd name="connsiteX73" fmla="*/ 107950 w 514350"/>
                <a:gd name="connsiteY73" fmla="*/ 231775 h 620717"/>
                <a:gd name="connsiteX74" fmla="*/ 95250 w 514350"/>
                <a:gd name="connsiteY74" fmla="*/ 233362 h 620717"/>
                <a:gd name="connsiteX75" fmla="*/ 92075 w 514350"/>
                <a:gd name="connsiteY75" fmla="*/ 247650 h 620717"/>
                <a:gd name="connsiteX76" fmla="*/ 93662 w 514350"/>
                <a:gd name="connsiteY76" fmla="*/ 252412 h 620717"/>
                <a:gd name="connsiteX77" fmla="*/ 109537 w 514350"/>
                <a:gd name="connsiteY77" fmla="*/ 260350 h 620717"/>
                <a:gd name="connsiteX78" fmla="*/ 114300 w 514350"/>
                <a:gd name="connsiteY78" fmla="*/ 263525 h 620717"/>
                <a:gd name="connsiteX79" fmla="*/ 119062 w 514350"/>
                <a:gd name="connsiteY79" fmla="*/ 268287 h 620717"/>
                <a:gd name="connsiteX80" fmla="*/ 123825 w 514350"/>
                <a:gd name="connsiteY80" fmla="*/ 269875 h 620717"/>
                <a:gd name="connsiteX81" fmla="*/ 128587 w 514350"/>
                <a:gd name="connsiteY81" fmla="*/ 273050 h 620717"/>
                <a:gd name="connsiteX82" fmla="*/ 114300 w 514350"/>
                <a:gd name="connsiteY82" fmla="*/ 279400 h 620717"/>
                <a:gd name="connsiteX83" fmla="*/ 109537 w 514350"/>
                <a:gd name="connsiteY83" fmla="*/ 284162 h 620717"/>
                <a:gd name="connsiteX84" fmla="*/ 111125 w 514350"/>
                <a:gd name="connsiteY84" fmla="*/ 293687 h 620717"/>
                <a:gd name="connsiteX85" fmla="*/ 125412 w 514350"/>
                <a:gd name="connsiteY85" fmla="*/ 296862 h 620717"/>
                <a:gd name="connsiteX86" fmla="*/ 136525 w 514350"/>
                <a:gd name="connsiteY86" fmla="*/ 301625 h 620717"/>
                <a:gd name="connsiteX87" fmla="*/ 142875 w 514350"/>
                <a:gd name="connsiteY87" fmla="*/ 303212 h 620717"/>
                <a:gd name="connsiteX88" fmla="*/ 146050 w 514350"/>
                <a:gd name="connsiteY88" fmla="*/ 311150 h 620717"/>
                <a:gd name="connsiteX89" fmla="*/ 158750 w 514350"/>
                <a:gd name="connsiteY89" fmla="*/ 315912 h 620717"/>
                <a:gd name="connsiteX90" fmla="*/ 193675 w 514350"/>
                <a:gd name="connsiteY90" fmla="*/ 317500 h 620717"/>
                <a:gd name="connsiteX91" fmla="*/ 209550 w 514350"/>
                <a:gd name="connsiteY91" fmla="*/ 320675 h 620717"/>
                <a:gd name="connsiteX92" fmla="*/ 204787 w 514350"/>
                <a:gd name="connsiteY92" fmla="*/ 323850 h 620717"/>
                <a:gd name="connsiteX93" fmla="*/ 200025 w 514350"/>
                <a:gd name="connsiteY93" fmla="*/ 325437 h 620717"/>
                <a:gd name="connsiteX94" fmla="*/ 190500 w 514350"/>
                <a:gd name="connsiteY94" fmla="*/ 331787 h 620717"/>
                <a:gd name="connsiteX95" fmla="*/ 182562 w 514350"/>
                <a:gd name="connsiteY95" fmla="*/ 338137 h 620717"/>
                <a:gd name="connsiteX96" fmla="*/ 176212 w 514350"/>
                <a:gd name="connsiteY96" fmla="*/ 341312 h 620717"/>
                <a:gd name="connsiteX97" fmla="*/ 171450 w 514350"/>
                <a:gd name="connsiteY97" fmla="*/ 344487 h 620717"/>
                <a:gd name="connsiteX98" fmla="*/ 161925 w 514350"/>
                <a:gd name="connsiteY98" fmla="*/ 347662 h 620717"/>
                <a:gd name="connsiteX99" fmla="*/ 149225 w 514350"/>
                <a:gd name="connsiteY99" fmla="*/ 365125 h 620717"/>
                <a:gd name="connsiteX100" fmla="*/ 139700 w 514350"/>
                <a:gd name="connsiteY100" fmla="*/ 382587 h 620717"/>
                <a:gd name="connsiteX101" fmla="*/ 134937 w 514350"/>
                <a:gd name="connsiteY101" fmla="*/ 384175 h 620717"/>
                <a:gd name="connsiteX102" fmla="*/ 133350 w 514350"/>
                <a:gd name="connsiteY102" fmla="*/ 388937 h 620717"/>
                <a:gd name="connsiteX103" fmla="*/ 128587 w 514350"/>
                <a:gd name="connsiteY103" fmla="*/ 392112 h 620717"/>
                <a:gd name="connsiteX104" fmla="*/ 120650 w 514350"/>
                <a:gd name="connsiteY104" fmla="*/ 398462 h 620717"/>
                <a:gd name="connsiteX105" fmla="*/ 114300 w 514350"/>
                <a:gd name="connsiteY105" fmla="*/ 409575 h 620717"/>
                <a:gd name="connsiteX106" fmla="*/ 109537 w 514350"/>
                <a:gd name="connsiteY106" fmla="*/ 411162 h 620717"/>
                <a:gd name="connsiteX107" fmla="*/ 92075 w 514350"/>
                <a:gd name="connsiteY107" fmla="*/ 414337 h 620717"/>
                <a:gd name="connsiteX108" fmla="*/ 92075 w 514350"/>
                <a:gd name="connsiteY108" fmla="*/ 433387 h 620717"/>
                <a:gd name="connsiteX109" fmla="*/ 79375 w 514350"/>
                <a:gd name="connsiteY109" fmla="*/ 441325 h 620717"/>
                <a:gd name="connsiteX110" fmla="*/ 73025 w 514350"/>
                <a:gd name="connsiteY110" fmla="*/ 455612 h 620717"/>
                <a:gd name="connsiteX111" fmla="*/ 69850 w 514350"/>
                <a:gd name="connsiteY111" fmla="*/ 463550 h 620717"/>
                <a:gd name="connsiteX112" fmla="*/ 65087 w 514350"/>
                <a:gd name="connsiteY112" fmla="*/ 465137 h 620717"/>
                <a:gd name="connsiteX113" fmla="*/ 38100 w 514350"/>
                <a:gd name="connsiteY113" fmla="*/ 466725 h 620717"/>
                <a:gd name="connsiteX114" fmla="*/ 34925 w 514350"/>
                <a:gd name="connsiteY114" fmla="*/ 473075 h 620717"/>
                <a:gd name="connsiteX115" fmla="*/ 30162 w 514350"/>
                <a:gd name="connsiteY115" fmla="*/ 476250 h 620717"/>
                <a:gd name="connsiteX116" fmla="*/ 0 w 514350"/>
                <a:gd name="connsiteY116" fmla="*/ 477837 h 620717"/>
                <a:gd name="connsiteX117" fmla="*/ 4762 w 514350"/>
                <a:gd name="connsiteY117" fmla="*/ 484187 h 620717"/>
                <a:gd name="connsiteX118" fmla="*/ 23812 w 514350"/>
                <a:gd name="connsiteY118" fmla="*/ 485775 h 620717"/>
                <a:gd name="connsiteX119" fmla="*/ 30162 w 514350"/>
                <a:gd name="connsiteY119" fmla="*/ 487362 h 620717"/>
                <a:gd name="connsiteX120" fmla="*/ 39687 w 514350"/>
                <a:gd name="connsiteY120" fmla="*/ 488950 h 620717"/>
                <a:gd name="connsiteX121" fmla="*/ 33337 w 514350"/>
                <a:gd name="connsiteY121" fmla="*/ 492125 h 620717"/>
                <a:gd name="connsiteX122" fmla="*/ 25400 w 514350"/>
                <a:gd name="connsiteY122" fmla="*/ 493712 h 620717"/>
                <a:gd name="connsiteX123" fmla="*/ 19050 w 514350"/>
                <a:gd name="connsiteY123" fmla="*/ 495300 h 620717"/>
                <a:gd name="connsiteX124" fmla="*/ 14287 w 514350"/>
                <a:gd name="connsiteY124" fmla="*/ 498475 h 620717"/>
                <a:gd name="connsiteX125" fmla="*/ 4762 w 514350"/>
                <a:gd name="connsiteY125" fmla="*/ 503237 h 620717"/>
                <a:gd name="connsiteX126" fmla="*/ 3175 w 514350"/>
                <a:gd name="connsiteY126" fmla="*/ 508000 h 620717"/>
                <a:gd name="connsiteX127" fmla="*/ 4762 w 514350"/>
                <a:gd name="connsiteY127" fmla="*/ 530225 h 620717"/>
                <a:gd name="connsiteX128" fmla="*/ 11112 w 514350"/>
                <a:gd name="connsiteY128" fmla="*/ 533400 h 620717"/>
                <a:gd name="connsiteX129" fmla="*/ 20637 w 514350"/>
                <a:gd name="connsiteY129" fmla="*/ 534987 h 620717"/>
                <a:gd name="connsiteX130" fmla="*/ 26987 w 514350"/>
                <a:gd name="connsiteY130" fmla="*/ 536575 h 620717"/>
                <a:gd name="connsiteX131" fmla="*/ 39687 w 514350"/>
                <a:gd name="connsiteY131" fmla="*/ 542925 h 620717"/>
                <a:gd name="connsiteX132" fmla="*/ 44450 w 514350"/>
                <a:gd name="connsiteY132" fmla="*/ 546100 h 620717"/>
                <a:gd name="connsiteX133" fmla="*/ 58737 w 514350"/>
                <a:gd name="connsiteY133" fmla="*/ 547687 h 620717"/>
                <a:gd name="connsiteX134" fmla="*/ 47625 w 514350"/>
                <a:gd name="connsiteY134" fmla="*/ 555625 h 620717"/>
                <a:gd name="connsiteX135" fmla="*/ 30162 w 514350"/>
                <a:gd name="connsiteY135" fmla="*/ 558800 h 620717"/>
                <a:gd name="connsiteX136" fmla="*/ 7937 w 514350"/>
                <a:gd name="connsiteY136" fmla="*/ 563562 h 620717"/>
                <a:gd name="connsiteX137" fmla="*/ 7937 w 514350"/>
                <a:gd name="connsiteY137" fmla="*/ 576262 h 620717"/>
                <a:gd name="connsiteX138" fmla="*/ 17462 w 514350"/>
                <a:gd name="connsiteY138" fmla="*/ 577850 h 620717"/>
                <a:gd name="connsiteX139" fmla="*/ 39687 w 514350"/>
                <a:gd name="connsiteY139" fmla="*/ 581025 h 620717"/>
                <a:gd name="connsiteX140" fmla="*/ 47625 w 514350"/>
                <a:gd name="connsiteY140" fmla="*/ 582612 h 620717"/>
                <a:gd name="connsiteX141" fmla="*/ 61912 w 514350"/>
                <a:gd name="connsiteY141" fmla="*/ 584200 h 620717"/>
                <a:gd name="connsiteX142" fmla="*/ 66675 w 514350"/>
                <a:gd name="connsiteY142" fmla="*/ 587375 h 620717"/>
                <a:gd name="connsiteX143" fmla="*/ 53975 w 514350"/>
                <a:gd name="connsiteY143" fmla="*/ 593725 h 620717"/>
                <a:gd name="connsiteX144" fmla="*/ 52387 w 514350"/>
                <a:gd name="connsiteY144" fmla="*/ 601662 h 620717"/>
                <a:gd name="connsiteX145" fmla="*/ 50800 w 514350"/>
                <a:gd name="connsiteY145" fmla="*/ 606425 h 620717"/>
                <a:gd name="connsiteX146" fmla="*/ 55562 w 514350"/>
                <a:gd name="connsiteY146" fmla="*/ 614362 h 620717"/>
                <a:gd name="connsiteX147" fmla="*/ 79375 w 514350"/>
                <a:gd name="connsiteY147" fmla="*/ 609600 h 620717"/>
                <a:gd name="connsiteX148" fmla="*/ 123825 w 514350"/>
                <a:gd name="connsiteY148" fmla="*/ 612775 h 620717"/>
                <a:gd name="connsiteX149" fmla="*/ 130175 w 514350"/>
                <a:gd name="connsiteY149" fmla="*/ 617537 h 620717"/>
                <a:gd name="connsiteX150" fmla="*/ 144462 w 514350"/>
                <a:gd name="connsiteY150" fmla="*/ 620712 h 620717"/>
                <a:gd name="connsiteX151" fmla="*/ 173037 w 514350"/>
                <a:gd name="connsiteY151" fmla="*/ 617537 h 620717"/>
                <a:gd name="connsiteX152" fmla="*/ 180975 w 514350"/>
                <a:gd name="connsiteY152" fmla="*/ 614362 h 620717"/>
                <a:gd name="connsiteX153" fmla="*/ 187325 w 514350"/>
                <a:gd name="connsiteY153" fmla="*/ 609600 h 620717"/>
                <a:gd name="connsiteX154" fmla="*/ 196850 w 514350"/>
                <a:gd name="connsiteY154" fmla="*/ 606425 h 620717"/>
                <a:gd name="connsiteX155" fmla="*/ 198437 w 514350"/>
                <a:gd name="connsiteY155" fmla="*/ 600075 h 620717"/>
                <a:gd name="connsiteX156" fmla="*/ 203200 w 514350"/>
                <a:gd name="connsiteY156" fmla="*/ 595312 h 620717"/>
                <a:gd name="connsiteX157" fmla="*/ 215900 w 514350"/>
                <a:gd name="connsiteY157" fmla="*/ 581025 h 620717"/>
                <a:gd name="connsiteX158" fmla="*/ 230187 w 514350"/>
                <a:gd name="connsiteY158" fmla="*/ 582612 h 620717"/>
                <a:gd name="connsiteX159" fmla="*/ 238125 w 514350"/>
                <a:gd name="connsiteY159" fmla="*/ 584200 h 620717"/>
                <a:gd name="connsiteX160" fmla="*/ 261937 w 514350"/>
                <a:gd name="connsiteY160" fmla="*/ 581025 h 620717"/>
                <a:gd name="connsiteX161" fmla="*/ 263525 w 514350"/>
                <a:gd name="connsiteY161" fmla="*/ 576262 h 620717"/>
                <a:gd name="connsiteX162" fmla="*/ 266700 w 514350"/>
                <a:gd name="connsiteY162" fmla="*/ 582612 h 620717"/>
                <a:gd name="connsiteX163" fmla="*/ 277812 w 514350"/>
                <a:gd name="connsiteY163" fmla="*/ 590550 h 620717"/>
                <a:gd name="connsiteX164" fmla="*/ 279400 w 514350"/>
                <a:gd name="connsiteY164" fmla="*/ 579437 h 620717"/>
                <a:gd name="connsiteX165" fmla="*/ 287337 w 514350"/>
                <a:gd name="connsiteY165" fmla="*/ 571500 h 620717"/>
                <a:gd name="connsiteX166" fmla="*/ 290512 w 514350"/>
                <a:gd name="connsiteY166" fmla="*/ 566737 h 620717"/>
                <a:gd name="connsiteX167" fmla="*/ 311150 w 514350"/>
                <a:gd name="connsiteY167" fmla="*/ 558800 h 620717"/>
                <a:gd name="connsiteX168" fmla="*/ 354012 w 514350"/>
                <a:gd name="connsiteY168" fmla="*/ 554037 h 620717"/>
                <a:gd name="connsiteX169" fmla="*/ 360362 w 514350"/>
                <a:gd name="connsiteY169" fmla="*/ 561975 h 620717"/>
                <a:gd name="connsiteX170" fmla="*/ 365125 w 514350"/>
                <a:gd name="connsiteY170" fmla="*/ 563562 h 620717"/>
                <a:gd name="connsiteX171" fmla="*/ 366712 w 514350"/>
                <a:gd name="connsiteY171" fmla="*/ 557212 h 620717"/>
                <a:gd name="connsiteX172" fmla="*/ 368300 w 514350"/>
                <a:gd name="connsiteY172" fmla="*/ 552450 h 620717"/>
                <a:gd name="connsiteX173" fmla="*/ 377825 w 514350"/>
                <a:gd name="connsiteY173" fmla="*/ 557212 h 620717"/>
                <a:gd name="connsiteX174" fmla="*/ 382587 w 514350"/>
                <a:gd name="connsiteY174" fmla="*/ 563562 h 620717"/>
                <a:gd name="connsiteX175" fmla="*/ 404812 w 514350"/>
                <a:gd name="connsiteY175" fmla="*/ 565150 h 620717"/>
                <a:gd name="connsiteX176" fmla="*/ 414337 w 514350"/>
                <a:gd name="connsiteY176" fmla="*/ 571500 h 620717"/>
                <a:gd name="connsiteX177" fmla="*/ 419100 w 514350"/>
                <a:gd name="connsiteY177" fmla="*/ 574675 h 620717"/>
                <a:gd name="connsiteX178" fmla="*/ 436562 w 514350"/>
                <a:gd name="connsiteY178" fmla="*/ 573087 h 620717"/>
                <a:gd name="connsiteX179" fmla="*/ 434975 w 514350"/>
                <a:gd name="connsiteY179" fmla="*/ 566737 h 620717"/>
                <a:gd name="connsiteX180" fmla="*/ 430212 w 514350"/>
                <a:gd name="connsiteY180" fmla="*/ 546100 h 620717"/>
                <a:gd name="connsiteX181" fmla="*/ 433387 w 514350"/>
                <a:gd name="connsiteY181" fmla="*/ 531812 h 620717"/>
                <a:gd name="connsiteX182" fmla="*/ 446087 w 514350"/>
                <a:gd name="connsiteY182" fmla="*/ 525462 h 620717"/>
                <a:gd name="connsiteX183" fmla="*/ 452437 w 514350"/>
                <a:gd name="connsiteY183" fmla="*/ 519112 h 620717"/>
                <a:gd name="connsiteX184" fmla="*/ 463550 w 514350"/>
                <a:gd name="connsiteY184" fmla="*/ 514350 h 620717"/>
                <a:gd name="connsiteX185" fmla="*/ 465137 w 514350"/>
                <a:gd name="connsiteY185" fmla="*/ 508000 h 620717"/>
                <a:gd name="connsiteX186" fmla="*/ 466725 w 514350"/>
                <a:gd name="connsiteY186" fmla="*/ 485775 h 620717"/>
                <a:gd name="connsiteX187" fmla="*/ 482600 w 514350"/>
                <a:gd name="connsiteY187" fmla="*/ 474662 h 620717"/>
                <a:gd name="connsiteX188" fmla="*/ 495300 w 514350"/>
                <a:gd name="connsiteY188" fmla="*/ 458787 h 620717"/>
                <a:gd name="connsiteX189" fmla="*/ 501650 w 514350"/>
                <a:gd name="connsiteY189" fmla="*/ 438150 h 620717"/>
                <a:gd name="connsiteX190" fmla="*/ 506412 w 514350"/>
                <a:gd name="connsiteY190" fmla="*/ 433387 h 620717"/>
                <a:gd name="connsiteX191" fmla="*/ 506412 w 514350"/>
                <a:gd name="connsiteY191" fmla="*/ 401637 h 620717"/>
                <a:gd name="connsiteX192" fmla="*/ 501650 w 514350"/>
                <a:gd name="connsiteY192" fmla="*/ 398462 h 620717"/>
                <a:gd name="connsiteX193" fmla="*/ 498475 w 514350"/>
                <a:gd name="connsiteY193" fmla="*/ 392112 h 620717"/>
                <a:gd name="connsiteX194" fmla="*/ 503237 w 514350"/>
                <a:gd name="connsiteY194" fmla="*/ 360362 h 620717"/>
                <a:gd name="connsiteX195" fmla="*/ 508000 w 514350"/>
                <a:gd name="connsiteY195" fmla="*/ 355600 h 620717"/>
                <a:gd name="connsiteX196" fmla="*/ 514350 w 514350"/>
                <a:gd name="connsiteY196" fmla="*/ 346075 h 620717"/>
                <a:gd name="connsiteX197" fmla="*/ 511175 w 514350"/>
                <a:gd name="connsiteY197" fmla="*/ 331787 h 620717"/>
                <a:gd name="connsiteX198" fmla="*/ 506412 w 514350"/>
                <a:gd name="connsiteY198" fmla="*/ 327025 h 620717"/>
                <a:gd name="connsiteX199" fmla="*/ 504825 w 514350"/>
                <a:gd name="connsiteY199" fmla="*/ 315912 h 620717"/>
                <a:gd name="connsiteX200" fmla="*/ 508000 w 514350"/>
                <a:gd name="connsiteY200" fmla="*/ 290512 h 620717"/>
                <a:gd name="connsiteX201" fmla="*/ 506412 w 514350"/>
                <a:gd name="connsiteY201" fmla="*/ 282575 h 620717"/>
                <a:gd name="connsiteX202" fmla="*/ 495300 w 514350"/>
                <a:gd name="connsiteY202" fmla="*/ 276225 h 620717"/>
                <a:gd name="connsiteX203" fmla="*/ 496887 w 514350"/>
                <a:gd name="connsiteY203" fmla="*/ 268287 h 620717"/>
                <a:gd name="connsiteX204" fmla="*/ 501650 w 514350"/>
                <a:gd name="connsiteY204" fmla="*/ 266700 h 620717"/>
                <a:gd name="connsiteX205" fmla="*/ 506412 w 514350"/>
                <a:gd name="connsiteY205" fmla="*/ 263525 h 620717"/>
                <a:gd name="connsiteX206" fmla="*/ 509587 w 514350"/>
                <a:gd name="connsiteY206" fmla="*/ 258762 h 620717"/>
                <a:gd name="connsiteX207" fmla="*/ 511175 w 514350"/>
                <a:gd name="connsiteY207" fmla="*/ 254000 h 620717"/>
                <a:gd name="connsiteX208" fmla="*/ 514350 w 514350"/>
                <a:gd name="connsiteY208" fmla="*/ 246062 h 620717"/>
                <a:gd name="connsiteX209" fmla="*/ 512762 w 514350"/>
                <a:gd name="connsiteY209" fmla="*/ 239712 h 620717"/>
                <a:gd name="connsiteX210" fmla="*/ 496887 w 514350"/>
                <a:gd name="connsiteY210" fmla="*/ 239712 h 620717"/>
                <a:gd name="connsiteX211" fmla="*/ 492125 w 514350"/>
                <a:gd name="connsiteY211" fmla="*/ 241300 h 620717"/>
                <a:gd name="connsiteX212" fmla="*/ 485775 w 514350"/>
                <a:gd name="connsiteY212" fmla="*/ 244475 h 620717"/>
                <a:gd name="connsiteX213" fmla="*/ 481012 w 514350"/>
                <a:gd name="connsiteY213" fmla="*/ 234950 h 620717"/>
                <a:gd name="connsiteX214" fmla="*/ 479425 w 514350"/>
                <a:gd name="connsiteY214" fmla="*/ 222250 h 620717"/>
                <a:gd name="connsiteX215" fmla="*/ 477837 w 514350"/>
                <a:gd name="connsiteY215" fmla="*/ 215900 h 620717"/>
                <a:gd name="connsiteX216" fmla="*/ 473075 w 514350"/>
                <a:gd name="connsiteY216" fmla="*/ 190500 h 620717"/>
                <a:gd name="connsiteX217" fmla="*/ 468312 w 514350"/>
                <a:gd name="connsiteY217" fmla="*/ 176212 h 620717"/>
                <a:gd name="connsiteX218" fmla="*/ 458787 w 514350"/>
                <a:gd name="connsiteY218" fmla="*/ 171450 h 620717"/>
                <a:gd name="connsiteX219" fmla="*/ 449262 w 514350"/>
                <a:gd name="connsiteY219" fmla="*/ 173037 h 620717"/>
                <a:gd name="connsiteX220" fmla="*/ 438150 w 514350"/>
                <a:gd name="connsiteY220" fmla="*/ 182562 h 620717"/>
                <a:gd name="connsiteX221" fmla="*/ 434975 w 514350"/>
                <a:gd name="connsiteY221" fmla="*/ 188912 h 620717"/>
                <a:gd name="connsiteX222" fmla="*/ 428625 w 514350"/>
                <a:gd name="connsiteY222" fmla="*/ 196850 h 620717"/>
                <a:gd name="connsiteX223" fmla="*/ 417512 w 514350"/>
                <a:gd name="connsiteY223" fmla="*/ 206375 h 620717"/>
                <a:gd name="connsiteX224" fmla="*/ 412750 w 514350"/>
                <a:gd name="connsiteY224" fmla="*/ 207962 h 620717"/>
                <a:gd name="connsiteX225" fmla="*/ 401637 w 514350"/>
                <a:gd name="connsiteY225" fmla="*/ 206375 h 620717"/>
                <a:gd name="connsiteX226" fmla="*/ 395287 w 514350"/>
                <a:gd name="connsiteY226" fmla="*/ 200025 h 620717"/>
                <a:gd name="connsiteX227" fmla="*/ 390525 w 514350"/>
                <a:gd name="connsiteY227" fmla="*/ 196850 h 620717"/>
                <a:gd name="connsiteX228" fmla="*/ 385762 w 514350"/>
                <a:gd name="connsiteY228" fmla="*/ 190500 h 620717"/>
                <a:gd name="connsiteX229" fmla="*/ 368300 w 514350"/>
                <a:gd name="connsiteY229" fmla="*/ 171450 h 620717"/>
                <a:gd name="connsiteX230" fmla="*/ 363537 w 514350"/>
                <a:gd name="connsiteY230" fmla="*/ 160337 h 620717"/>
                <a:gd name="connsiteX231" fmla="*/ 358775 w 514350"/>
                <a:gd name="connsiteY231" fmla="*/ 157162 h 620717"/>
                <a:gd name="connsiteX232" fmla="*/ 349250 w 514350"/>
                <a:gd name="connsiteY232" fmla="*/ 144462 h 620717"/>
                <a:gd name="connsiteX233" fmla="*/ 346075 w 514350"/>
                <a:gd name="connsiteY233" fmla="*/ 138112 h 620717"/>
                <a:gd name="connsiteX234" fmla="*/ 350837 w 514350"/>
                <a:gd name="connsiteY234" fmla="*/ 128587 h 620717"/>
                <a:gd name="connsiteX235" fmla="*/ 357187 w 514350"/>
                <a:gd name="connsiteY235" fmla="*/ 127000 h 620717"/>
                <a:gd name="connsiteX236" fmla="*/ 368300 w 514350"/>
                <a:gd name="connsiteY236" fmla="*/ 125412 h 620717"/>
                <a:gd name="connsiteX237" fmla="*/ 374650 w 514350"/>
                <a:gd name="connsiteY237" fmla="*/ 123825 h 620717"/>
                <a:gd name="connsiteX238" fmla="*/ 384175 w 514350"/>
                <a:gd name="connsiteY238" fmla="*/ 120650 h 620717"/>
                <a:gd name="connsiteX239" fmla="*/ 392112 w 514350"/>
                <a:gd name="connsiteY239" fmla="*/ 111125 h 620717"/>
                <a:gd name="connsiteX240" fmla="*/ 388937 w 514350"/>
                <a:gd name="connsiteY240" fmla="*/ 100012 h 620717"/>
                <a:gd name="connsiteX241" fmla="*/ 390525 w 514350"/>
                <a:gd name="connsiteY241" fmla="*/ 93662 h 620717"/>
                <a:gd name="connsiteX242" fmla="*/ 401637 w 514350"/>
                <a:gd name="connsiteY242" fmla="*/ 95250 h 620717"/>
                <a:gd name="connsiteX243" fmla="*/ 423862 w 514350"/>
                <a:gd name="connsiteY243" fmla="*/ 93662 h 620717"/>
                <a:gd name="connsiteX244" fmla="*/ 430212 w 514350"/>
                <a:gd name="connsiteY244" fmla="*/ 87312 h 620717"/>
                <a:gd name="connsiteX245" fmla="*/ 431800 w 514350"/>
                <a:gd name="connsiteY245" fmla="*/ 61912 h 620717"/>
                <a:gd name="connsiteX246" fmla="*/ 443914 w 514350"/>
                <a:gd name="connsiteY246" fmla="*/ 64084 h 620717"/>
                <a:gd name="connsiteX247" fmla="*/ 451852 w 514350"/>
                <a:gd name="connsiteY247" fmla="*/ 72772 h 620717"/>
                <a:gd name="connsiteX248" fmla="*/ 439737 w 514350"/>
                <a:gd name="connsiteY248" fmla="*/ 79845 h 620717"/>
                <a:gd name="connsiteX249" fmla="*/ 450399 w 514350"/>
                <a:gd name="connsiteY249" fmla="*/ 73819 h 620717"/>
                <a:gd name="connsiteX250" fmla="*/ 455612 w 514350"/>
                <a:gd name="connsiteY250" fmla="*/ 69850 h 620717"/>
                <a:gd name="connsiteX251" fmla="*/ 461962 w 514350"/>
                <a:gd name="connsiteY251" fmla="*/ 68262 h 620717"/>
                <a:gd name="connsiteX252" fmla="*/ 466725 w 514350"/>
                <a:gd name="connsiteY252" fmla="*/ 61912 h 620717"/>
                <a:gd name="connsiteX253" fmla="*/ 492125 w 514350"/>
                <a:gd name="connsiteY253" fmla="*/ 53975 h 620717"/>
                <a:gd name="connsiteX254" fmla="*/ 496887 w 514350"/>
                <a:gd name="connsiteY254" fmla="*/ 49212 h 620717"/>
                <a:gd name="connsiteX255" fmla="*/ 500062 w 514350"/>
                <a:gd name="connsiteY255" fmla="*/ 41275 h 620717"/>
                <a:gd name="connsiteX256" fmla="*/ 496887 w 514350"/>
                <a:gd name="connsiteY256"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29887 w 514350"/>
                <a:gd name="connsiteY9" fmla="*/ 34766 h 620717"/>
                <a:gd name="connsiteX10" fmla="*/ 421653 w 514350"/>
                <a:gd name="connsiteY10" fmla="*/ 43507 h 620717"/>
                <a:gd name="connsiteX11" fmla="*/ 421003 w 514350"/>
                <a:gd name="connsiteY11" fmla="*/ 30397 h 620717"/>
                <a:gd name="connsiteX12" fmla="*/ 415884 w 514350"/>
                <a:gd name="connsiteY12" fmla="*/ 9813 h 620717"/>
                <a:gd name="connsiteX13" fmla="*/ 401637 w 514350"/>
                <a:gd name="connsiteY13" fmla="*/ 12700 h 620717"/>
                <a:gd name="connsiteX14" fmla="*/ 352425 w 514350"/>
                <a:gd name="connsiteY14" fmla="*/ 19050 h 620717"/>
                <a:gd name="connsiteX15" fmla="*/ 350837 w 514350"/>
                <a:gd name="connsiteY15" fmla="*/ 23812 h 620717"/>
                <a:gd name="connsiteX16" fmla="*/ 352425 w 514350"/>
                <a:gd name="connsiteY16" fmla="*/ 38100 h 620717"/>
                <a:gd name="connsiteX17" fmla="*/ 357187 w 514350"/>
                <a:gd name="connsiteY17" fmla="*/ 44450 h 620717"/>
                <a:gd name="connsiteX18" fmla="*/ 349250 w 514350"/>
                <a:gd name="connsiteY18" fmla="*/ 58737 h 620717"/>
                <a:gd name="connsiteX19" fmla="*/ 328612 w 514350"/>
                <a:gd name="connsiteY19" fmla="*/ 60325 h 620717"/>
                <a:gd name="connsiteX20" fmla="*/ 307975 w 514350"/>
                <a:gd name="connsiteY20" fmla="*/ 68262 h 620717"/>
                <a:gd name="connsiteX21" fmla="*/ 295275 w 514350"/>
                <a:gd name="connsiteY21" fmla="*/ 73025 h 620717"/>
                <a:gd name="connsiteX22" fmla="*/ 292100 w 514350"/>
                <a:gd name="connsiteY22" fmla="*/ 77787 h 620717"/>
                <a:gd name="connsiteX23" fmla="*/ 296862 w 514350"/>
                <a:gd name="connsiteY23" fmla="*/ 79375 h 620717"/>
                <a:gd name="connsiteX24" fmla="*/ 311150 w 514350"/>
                <a:gd name="connsiteY24" fmla="*/ 82550 h 620717"/>
                <a:gd name="connsiteX25" fmla="*/ 319087 w 514350"/>
                <a:gd name="connsiteY25" fmla="*/ 87312 h 620717"/>
                <a:gd name="connsiteX26" fmla="*/ 323850 w 514350"/>
                <a:gd name="connsiteY26" fmla="*/ 88900 h 620717"/>
                <a:gd name="connsiteX27" fmla="*/ 336550 w 514350"/>
                <a:gd name="connsiteY27" fmla="*/ 103187 h 620717"/>
                <a:gd name="connsiteX28" fmla="*/ 334962 w 514350"/>
                <a:gd name="connsiteY28" fmla="*/ 114300 h 620717"/>
                <a:gd name="connsiteX29" fmla="*/ 330200 w 514350"/>
                <a:gd name="connsiteY29" fmla="*/ 115887 h 620717"/>
                <a:gd name="connsiteX30" fmla="*/ 315912 w 514350"/>
                <a:gd name="connsiteY30" fmla="*/ 130175 h 620717"/>
                <a:gd name="connsiteX31" fmla="*/ 307975 w 514350"/>
                <a:gd name="connsiteY31" fmla="*/ 131762 h 620717"/>
                <a:gd name="connsiteX32" fmla="*/ 300037 w 514350"/>
                <a:gd name="connsiteY32" fmla="*/ 134937 h 620717"/>
                <a:gd name="connsiteX33" fmla="*/ 296862 w 514350"/>
                <a:gd name="connsiteY33" fmla="*/ 142875 h 620717"/>
                <a:gd name="connsiteX34" fmla="*/ 282575 w 514350"/>
                <a:gd name="connsiteY34" fmla="*/ 157162 h 620717"/>
                <a:gd name="connsiteX35" fmla="*/ 273050 w 514350"/>
                <a:gd name="connsiteY35" fmla="*/ 153987 h 620717"/>
                <a:gd name="connsiteX36" fmla="*/ 261937 w 514350"/>
                <a:gd name="connsiteY36" fmla="*/ 147637 h 620717"/>
                <a:gd name="connsiteX37" fmla="*/ 242887 w 514350"/>
                <a:gd name="connsiteY37" fmla="*/ 149225 h 620717"/>
                <a:gd name="connsiteX38" fmla="*/ 236537 w 514350"/>
                <a:gd name="connsiteY38" fmla="*/ 150812 h 620717"/>
                <a:gd name="connsiteX39" fmla="*/ 231775 w 514350"/>
                <a:gd name="connsiteY39" fmla="*/ 142875 h 620717"/>
                <a:gd name="connsiteX40" fmla="*/ 225425 w 514350"/>
                <a:gd name="connsiteY40" fmla="*/ 123825 h 620717"/>
                <a:gd name="connsiteX41" fmla="*/ 219075 w 514350"/>
                <a:gd name="connsiteY41" fmla="*/ 122237 h 620717"/>
                <a:gd name="connsiteX42" fmla="*/ 204787 w 514350"/>
                <a:gd name="connsiteY42" fmla="*/ 120650 h 620717"/>
                <a:gd name="connsiteX43" fmla="*/ 190500 w 514350"/>
                <a:gd name="connsiteY43" fmla="*/ 117475 h 620717"/>
                <a:gd name="connsiteX44" fmla="*/ 182562 w 514350"/>
                <a:gd name="connsiteY44" fmla="*/ 111125 h 620717"/>
                <a:gd name="connsiteX45" fmla="*/ 174625 w 514350"/>
                <a:gd name="connsiteY45" fmla="*/ 104775 h 620717"/>
                <a:gd name="connsiteX46" fmla="*/ 152400 w 514350"/>
                <a:gd name="connsiteY46" fmla="*/ 106362 h 620717"/>
                <a:gd name="connsiteX47" fmla="*/ 150812 w 514350"/>
                <a:gd name="connsiteY47" fmla="*/ 117475 h 620717"/>
                <a:gd name="connsiteX48" fmla="*/ 133350 w 514350"/>
                <a:gd name="connsiteY48" fmla="*/ 120650 h 620717"/>
                <a:gd name="connsiteX49" fmla="*/ 138112 w 514350"/>
                <a:gd name="connsiteY49" fmla="*/ 123825 h 620717"/>
                <a:gd name="connsiteX50" fmla="*/ 139700 w 514350"/>
                <a:gd name="connsiteY50" fmla="*/ 128587 h 620717"/>
                <a:gd name="connsiteX51" fmla="*/ 146050 w 514350"/>
                <a:gd name="connsiteY51" fmla="*/ 131762 h 620717"/>
                <a:gd name="connsiteX52" fmla="*/ 147637 w 514350"/>
                <a:gd name="connsiteY52" fmla="*/ 138112 h 620717"/>
                <a:gd name="connsiteX53" fmla="*/ 123825 w 514350"/>
                <a:gd name="connsiteY53" fmla="*/ 146050 h 620717"/>
                <a:gd name="connsiteX54" fmla="*/ 117475 w 514350"/>
                <a:gd name="connsiteY54" fmla="*/ 155575 h 620717"/>
                <a:gd name="connsiteX55" fmla="*/ 112712 w 514350"/>
                <a:gd name="connsiteY55" fmla="*/ 157162 h 620717"/>
                <a:gd name="connsiteX56" fmla="*/ 125412 w 514350"/>
                <a:gd name="connsiteY56" fmla="*/ 161925 h 620717"/>
                <a:gd name="connsiteX57" fmla="*/ 130175 w 514350"/>
                <a:gd name="connsiteY57" fmla="*/ 163512 h 620717"/>
                <a:gd name="connsiteX58" fmla="*/ 142875 w 514350"/>
                <a:gd name="connsiteY58" fmla="*/ 166687 h 620717"/>
                <a:gd name="connsiteX59" fmla="*/ 147637 w 514350"/>
                <a:gd name="connsiteY59" fmla="*/ 173037 h 620717"/>
                <a:gd name="connsiteX60" fmla="*/ 152400 w 514350"/>
                <a:gd name="connsiteY60" fmla="*/ 177800 h 620717"/>
                <a:gd name="connsiteX61" fmla="*/ 146050 w 514350"/>
                <a:gd name="connsiteY61" fmla="*/ 179387 h 620717"/>
                <a:gd name="connsiteX62" fmla="*/ 149225 w 514350"/>
                <a:gd name="connsiteY62" fmla="*/ 185737 h 620717"/>
                <a:gd name="connsiteX63" fmla="*/ 153987 w 514350"/>
                <a:gd name="connsiteY63" fmla="*/ 187325 h 620717"/>
                <a:gd name="connsiteX64" fmla="*/ 168275 w 514350"/>
                <a:gd name="connsiteY64" fmla="*/ 190500 h 620717"/>
                <a:gd name="connsiteX65" fmla="*/ 165100 w 514350"/>
                <a:gd name="connsiteY65" fmla="*/ 198437 h 620717"/>
                <a:gd name="connsiteX66" fmla="*/ 160337 w 514350"/>
                <a:gd name="connsiteY66" fmla="*/ 200025 h 620717"/>
                <a:gd name="connsiteX67" fmla="*/ 139700 w 514350"/>
                <a:gd name="connsiteY67" fmla="*/ 196850 h 620717"/>
                <a:gd name="connsiteX68" fmla="*/ 153987 w 514350"/>
                <a:gd name="connsiteY68" fmla="*/ 211137 h 620717"/>
                <a:gd name="connsiteX69" fmla="*/ 152400 w 514350"/>
                <a:gd name="connsiteY69" fmla="*/ 217487 h 620717"/>
                <a:gd name="connsiteX70" fmla="*/ 138112 w 514350"/>
                <a:gd name="connsiteY70" fmla="*/ 219075 h 620717"/>
                <a:gd name="connsiteX71" fmla="*/ 142875 w 514350"/>
                <a:gd name="connsiteY71" fmla="*/ 223837 h 620717"/>
                <a:gd name="connsiteX72" fmla="*/ 141287 w 514350"/>
                <a:gd name="connsiteY72" fmla="*/ 228600 h 620717"/>
                <a:gd name="connsiteX73" fmla="*/ 107950 w 514350"/>
                <a:gd name="connsiteY73" fmla="*/ 231775 h 620717"/>
                <a:gd name="connsiteX74" fmla="*/ 95250 w 514350"/>
                <a:gd name="connsiteY74" fmla="*/ 233362 h 620717"/>
                <a:gd name="connsiteX75" fmla="*/ 92075 w 514350"/>
                <a:gd name="connsiteY75" fmla="*/ 247650 h 620717"/>
                <a:gd name="connsiteX76" fmla="*/ 93662 w 514350"/>
                <a:gd name="connsiteY76" fmla="*/ 252412 h 620717"/>
                <a:gd name="connsiteX77" fmla="*/ 109537 w 514350"/>
                <a:gd name="connsiteY77" fmla="*/ 260350 h 620717"/>
                <a:gd name="connsiteX78" fmla="*/ 114300 w 514350"/>
                <a:gd name="connsiteY78" fmla="*/ 263525 h 620717"/>
                <a:gd name="connsiteX79" fmla="*/ 119062 w 514350"/>
                <a:gd name="connsiteY79" fmla="*/ 268287 h 620717"/>
                <a:gd name="connsiteX80" fmla="*/ 123825 w 514350"/>
                <a:gd name="connsiteY80" fmla="*/ 269875 h 620717"/>
                <a:gd name="connsiteX81" fmla="*/ 128587 w 514350"/>
                <a:gd name="connsiteY81" fmla="*/ 273050 h 620717"/>
                <a:gd name="connsiteX82" fmla="*/ 114300 w 514350"/>
                <a:gd name="connsiteY82" fmla="*/ 279400 h 620717"/>
                <a:gd name="connsiteX83" fmla="*/ 109537 w 514350"/>
                <a:gd name="connsiteY83" fmla="*/ 284162 h 620717"/>
                <a:gd name="connsiteX84" fmla="*/ 111125 w 514350"/>
                <a:gd name="connsiteY84" fmla="*/ 293687 h 620717"/>
                <a:gd name="connsiteX85" fmla="*/ 125412 w 514350"/>
                <a:gd name="connsiteY85" fmla="*/ 296862 h 620717"/>
                <a:gd name="connsiteX86" fmla="*/ 136525 w 514350"/>
                <a:gd name="connsiteY86" fmla="*/ 301625 h 620717"/>
                <a:gd name="connsiteX87" fmla="*/ 142875 w 514350"/>
                <a:gd name="connsiteY87" fmla="*/ 303212 h 620717"/>
                <a:gd name="connsiteX88" fmla="*/ 146050 w 514350"/>
                <a:gd name="connsiteY88" fmla="*/ 311150 h 620717"/>
                <a:gd name="connsiteX89" fmla="*/ 158750 w 514350"/>
                <a:gd name="connsiteY89" fmla="*/ 315912 h 620717"/>
                <a:gd name="connsiteX90" fmla="*/ 193675 w 514350"/>
                <a:gd name="connsiteY90" fmla="*/ 317500 h 620717"/>
                <a:gd name="connsiteX91" fmla="*/ 209550 w 514350"/>
                <a:gd name="connsiteY91" fmla="*/ 320675 h 620717"/>
                <a:gd name="connsiteX92" fmla="*/ 204787 w 514350"/>
                <a:gd name="connsiteY92" fmla="*/ 323850 h 620717"/>
                <a:gd name="connsiteX93" fmla="*/ 200025 w 514350"/>
                <a:gd name="connsiteY93" fmla="*/ 325437 h 620717"/>
                <a:gd name="connsiteX94" fmla="*/ 190500 w 514350"/>
                <a:gd name="connsiteY94" fmla="*/ 331787 h 620717"/>
                <a:gd name="connsiteX95" fmla="*/ 182562 w 514350"/>
                <a:gd name="connsiteY95" fmla="*/ 338137 h 620717"/>
                <a:gd name="connsiteX96" fmla="*/ 176212 w 514350"/>
                <a:gd name="connsiteY96" fmla="*/ 341312 h 620717"/>
                <a:gd name="connsiteX97" fmla="*/ 171450 w 514350"/>
                <a:gd name="connsiteY97" fmla="*/ 344487 h 620717"/>
                <a:gd name="connsiteX98" fmla="*/ 161925 w 514350"/>
                <a:gd name="connsiteY98" fmla="*/ 347662 h 620717"/>
                <a:gd name="connsiteX99" fmla="*/ 149225 w 514350"/>
                <a:gd name="connsiteY99" fmla="*/ 365125 h 620717"/>
                <a:gd name="connsiteX100" fmla="*/ 139700 w 514350"/>
                <a:gd name="connsiteY100" fmla="*/ 382587 h 620717"/>
                <a:gd name="connsiteX101" fmla="*/ 134937 w 514350"/>
                <a:gd name="connsiteY101" fmla="*/ 384175 h 620717"/>
                <a:gd name="connsiteX102" fmla="*/ 133350 w 514350"/>
                <a:gd name="connsiteY102" fmla="*/ 388937 h 620717"/>
                <a:gd name="connsiteX103" fmla="*/ 128587 w 514350"/>
                <a:gd name="connsiteY103" fmla="*/ 392112 h 620717"/>
                <a:gd name="connsiteX104" fmla="*/ 120650 w 514350"/>
                <a:gd name="connsiteY104" fmla="*/ 398462 h 620717"/>
                <a:gd name="connsiteX105" fmla="*/ 114300 w 514350"/>
                <a:gd name="connsiteY105" fmla="*/ 409575 h 620717"/>
                <a:gd name="connsiteX106" fmla="*/ 109537 w 514350"/>
                <a:gd name="connsiteY106" fmla="*/ 411162 h 620717"/>
                <a:gd name="connsiteX107" fmla="*/ 92075 w 514350"/>
                <a:gd name="connsiteY107" fmla="*/ 414337 h 620717"/>
                <a:gd name="connsiteX108" fmla="*/ 92075 w 514350"/>
                <a:gd name="connsiteY108" fmla="*/ 433387 h 620717"/>
                <a:gd name="connsiteX109" fmla="*/ 79375 w 514350"/>
                <a:gd name="connsiteY109" fmla="*/ 441325 h 620717"/>
                <a:gd name="connsiteX110" fmla="*/ 73025 w 514350"/>
                <a:gd name="connsiteY110" fmla="*/ 455612 h 620717"/>
                <a:gd name="connsiteX111" fmla="*/ 69850 w 514350"/>
                <a:gd name="connsiteY111" fmla="*/ 463550 h 620717"/>
                <a:gd name="connsiteX112" fmla="*/ 65087 w 514350"/>
                <a:gd name="connsiteY112" fmla="*/ 465137 h 620717"/>
                <a:gd name="connsiteX113" fmla="*/ 38100 w 514350"/>
                <a:gd name="connsiteY113" fmla="*/ 466725 h 620717"/>
                <a:gd name="connsiteX114" fmla="*/ 34925 w 514350"/>
                <a:gd name="connsiteY114" fmla="*/ 473075 h 620717"/>
                <a:gd name="connsiteX115" fmla="*/ 30162 w 514350"/>
                <a:gd name="connsiteY115" fmla="*/ 476250 h 620717"/>
                <a:gd name="connsiteX116" fmla="*/ 0 w 514350"/>
                <a:gd name="connsiteY116" fmla="*/ 477837 h 620717"/>
                <a:gd name="connsiteX117" fmla="*/ 4762 w 514350"/>
                <a:gd name="connsiteY117" fmla="*/ 484187 h 620717"/>
                <a:gd name="connsiteX118" fmla="*/ 23812 w 514350"/>
                <a:gd name="connsiteY118" fmla="*/ 485775 h 620717"/>
                <a:gd name="connsiteX119" fmla="*/ 30162 w 514350"/>
                <a:gd name="connsiteY119" fmla="*/ 487362 h 620717"/>
                <a:gd name="connsiteX120" fmla="*/ 39687 w 514350"/>
                <a:gd name="connsiteY120" fmla="*/ 488950 h 620717"/>
                <a:gd name="connsiteX121" fmla="*/ 33337 w 514350"/>
                <a:gd name="connsiteY121" fmla="*/ 492125 h 620717"/>
                <a:gd name="connsiteX122" fmla="*/ 25400 w 514350"/>
                <a:gd name="connsiteY122" fmla="*/ 493712 h 620717"/>
                <a:gd name="connsiteX123" fmla="*/ 19050 w 514350"/>
                <a:gd name="connsiteY123" fmla="*/ 495300 h 620717"/>
                <a:gd name="connsiteX124" fmla="*/ 14287 w 514350"/>
                <a:gd name="connsiteY124" fmla="*/ 498475 h 620717"/>
                <a:gd name="connsiteX125" fmla="*/ 4762 w 514350"/>
                <a:gd name="connsiteY125" fmla="*/ 503237 h 620717"/>
                <a:gd name="connsiteX126" fmla="*/ 3175 w 514350"/>
                <a:gd name="connsiteY126" fmla="*/ 508000 h 620717"/>
                <a:gd name="connsiteX127" fmla="*/ 4762 w 514350"/>
                <a:gd name="connsiteY127" fmla="*/ 530225 h 620717"/>
                <a:gd name="connsiteX128" fmla="*/ 11112 w 514350"/>
                <a:gd name="connsiteY128" fmla="*/ 533400 h 620717"/>
                <a:gd name="connsiteX129" fmla="*/ 20637 w 514350"/>
                <a:gd name="connsiteY129" fmla="*/ 534987 h 620717"/>
                <a:gd name="connsiteX130" fmla="*/ 26987 w 514350"/>
                <a:gd name="connsiteY130" fmla="*/ 536575 h 620717"/>
                <a:gd name="connsiteX131" fmla="*/ 39687 w 514350"/>
                <a:gd name="connsiteY131" fmla="*/ 542925 h 620717"/>
                <a:gd name="connsiteX132" fmla="*/ 44450 w 514350"/>
                <a:gd name="connsiteY132" fmla="*/ 546100 h 620717"/>
                <a:gd name="connsiteX133" fmla="*/ 58737 w 514350"/>
                <a:gd name="connsiteY133" fmla="*/ 547687 h 620717"/>
                <a:gd name="connsiteX134" fmla="*/ 47625 w 514350"/>
                <a:gd name="connsiteY134" fmla="*/ 555625 h 620717"/>
                <a:gd name="connsiteX135" fmla="*/ 30162 w 514350"/>
                <a:gd name="connsiteY135" fmla="*/ 558800 h 620717"/>
                <a:gd name="connsiteX136" fmla="*/ 7937 w 514350"/>
                <a:gd name="connsiteY136" fmla="*/ 563562 h 620717"/>
                <a:gd name="connsiteX137" fmla="*/ 7937 w 514350"/>
                <a:gd name="connsiteY137" fmla="*/ 576262 h 620717"/>
                <a:gd name="connsiteX138" fmla="*/ 17462 w 514350"/>
                <a:gd name="connsiteY138" fmla="*/ 577850 h 620717"/>
                <a:gd name="connsiteX139" fmla="*/ 39687 w 514350"/>
                <a:gd name="connsiteY139" fmla="*/ 581025 h 620717"/>
                <a:gd name="connsiteX140" fmla="*/ 47625 w 514350"/>
                <a:gd name="connsiteY140" fmla="*/ 582612 h 620717"/>
                <a:gd name="connsiteX141" fmla="*/ 61912 w 514350"/>
                <a:gd name="connsiteY141" fmla="*/ 584200 h 620717"/>
                <a:gd name="connsiteX142" fmla="*/ 66675 w 514350"/>
                <a:gd name="connsiteY142" fmla="*/ 587375 h 620717"/>
                <a:gd name="connsiteX143" fmla="*/ 53975 w 514350"/>
                <a:gd name="connsiteY143" fmla="*/ 593725 h 620717"/>
                <a:gd name="connsiteX144" fmla="*/ 52387 w 514350"/>
                <a:gd name="connsiteY144" fmla="*/ 601662 h 620717"/>
                <a:gd name="connsiteX145" fmla="*/ 50800 w 514350"/>
                <a:gd name="connsiteY145" fmla="*/ 606425 h 620717"/>
                <a:gd name="connsiteX146" fmla="*/ 55562 w 514350"/>
                <a:gd name="connsiteY146" fmla="*/ 614362 h 620717"/>
                <a:gd name="connsiteX147" fmla="*/ 79375 w 514350"/>
                <a:gd name="connsiteY147" fmla="*/ 609600 h 620717"/>
                <a:gd name="connsiteX148" fmla="*/ 123825 w 514350"/>
                <a:gd name="connsiteY148" fmla="*/ 612775 h 620717"/>
                <a:gd name="connsiteX149" fmla="*/ 130175 w 514350"/>
                <a:gd name="connsiteY149" fmla="*/ 617537 h 620717"/>
                <a:gd name="connsiteX150" fmla="*/ 144462 w 514350"/>
                <a:gd name="connsiteY150" fmla="*/ 620712 h 620717"/>
                <a:gd name="connsiteX151" fmla="*/ 173037 w 514350"/>
                <a:gd name="connsiteY151" fmla="*/ 617537 h 620717"/>
                <a:gd name="connsiteX152" fmla="*/ 180975 w 514350"/>
                <a:gd name="connsiteY152" fmla="*/ 614362 h 620717"/>
                <a:gd name="connsiteX153" fmla="*/ 187325 w 514350"/>
                <a:gd name="connsiteY153" fmla="*/ 609600 h 620717"/>
                <a:gd name="connsiteX154" fmla="*/ 196850 w 514350"/>
                <a:gd name="connsiteY154" fmla="*/ 606425 h 620717"/>
                <a:gd name="connsiteX155" fmla="*/ 198437 w 514350"/>
                <a:gd name="connsiteY155" fmla="*/ 600075 h 620717"/>
                <a:gd name="connsiteX156" fmla="*/ 203200 w 514350"/>
                <a:gd name="connsiteY156" fmla="*/ 595312 h 620717"/>
                <a:gd name="connsiteX157" fmla="*/ 215900 w 514350"/>
                <a:gd name="connsiteY157" fmla="*/ 581025 h 620717"/>
                <a:gd name="connsiteX158" fmla="*/ 230187 w 514350"/>
                <a:gd name="connsiteY158" fmla="*/ 582612 h 620717"/>
                <a:gd name="connsiteX159" fmla="*/ 238125 w 514350"/>
                <a:gd name="connsiteY159" fmla="*/ 584200 h 620717"/>
                <a:gd name="connsiteX160" fmla="*/ 261937 w 514350"/>
                <a:gd name="connsiteY160" fmla="*/ 581025 h 620717"/>
                <a:gd name="connsiteX161" fmla="*/ 263525 w 514350"/>
                <a:gd name="connsiteY161" fmla="*/ 576262 h 620717"/>
                <a:gd name="connsiteX162" fmla="*/ 266700 w 514350"/>
                <a:gd name="connsiteY162" fmla="*/ 582612 h 620717"/>
                <a:gd name="connsiteX163" fmla="*/ 277812 w 514350"/>
                <a:gd name="connsiteY163" fmla="*/ 590550 h 620717"/>
                <a:gd name="connsiteX164" fmla="*/ 279400 w 514350"/>
                <a:gd name="connsiteY164" fmla="*/ 579437 h 620717"/>
                <a:gd name="connsiteX165" fmla="*/ 287337 w 514350"/>
                <a:gd name="connsiteY165" fmla="*/ 571500 h 620717"/>
                <a:gd name="connsiteX166" fmla="*/ 290512 w 514350"/>
                <a:gd name="connsiteY166" fmla="*/ 566737 h 620717"/>
                <a:gd name="connsiteX167" fmla="*/ 311150 w 514350"/>
                <a:gd name="connsiteY167" fmla="*/ 558800 h 620717"/>
                <a:gd name="connsiteX168" fmla="*/ 354012 w 514350"/>
                <a:gd name="connsiteY168" fmla="*/ 554037 h 620717"/>
                <a:gd name="connsiteX169" fmla="*/ 360362 w 514350"/>
                <a:gd name="connsiteY169" fmla="*/ 561975 h 620717"/>
                <a:gd name="connsiteX170" fmla="*/ 365125 w 514350"/>
                <a:gd name="connsiteY170" fmla="*/ 563562 h 620717"/>
                <a:gd name="connsiteX171" fmla="*/ 366712 w 514350"/>
                <a:gd name="connsiteY171" fmla="*/ 557212 h 620717"/>
                <a:gd name="connsiteX172" fmla="*/ 368300 w 514350"/>
                <a:gd name="connsiteY172" fmla="*/ 552450 h 620717"/>
                <a:gd name="connsiteX173" fmla="*/ 377825 w 514350"/>
                <a:gd name="connsiteY173" fmla="*/ 557212 h 620717"/>
                <a:gd name="connsiteX174" fmla="*/ 382587 w 514350"/>
                <a:gd name="connsiteY174" fmla="*/ 563562 h 620717"/>
                <a:gd name="connsiteX175" fmla="*/ 404812 w 514350"/>
                <a:gd name="connsiteY175" fmla="*/ 565150 h 620717"/>
                <a:gd name="connsiteX176" fmla="*/ 414337 w 514350"/>
                <a:gd name="connsiteY176" fmla="*/ 571500 h 620717"/>
                <a:gd name="connsiteX177" fmla="*/ 419100 w 514350"/>
                <a:gd name="connsiteY177" fmla="*/ 574675 h 620717"/>
                <a:gd name="connsiteX178" fmla="*/ 436562 w 514350"/>
                <a:gd name="connsiteY178" fmla="*/ 573087 h 620717"/>
                <a:gd name="connsiteX179" fmla="*/ 434975 w 514350"/>
                <a:gd name="connsiteY179" fmla="*/ 566737 h 620717"/>
                <a:gd name="connsiteX180" fmla="*/ 430212 w 514350"/>
                <a:gd name="connsiteY180" fmla="*/ 546100 h 620717"/>
                <a:gd name="connsiteX181" fmla="*/ 433387 w 514350"/>
                <a:gd name="connsiteY181" fmla="*/ 531812 h 620717"/>
                <a:gd name="connsiteX182" fmla="*/ 446087 w 514350"/>
                <a:gd name="connsiteY182" fmla="*/ 525462 h 620717"/>
                <a:gd name="connsiteX183" fmla="*/ 452437 w 514350"/>
                <a:gd name="connsiteY183" fmla="*/ 519112 h 620717"/>
                <a:gd name="connsiteX184" fmla="*/ 463550 w 514350"/>
                <a:gd name="connsiteY184" fmla="*/ 514350 h 620717"/>
                <a:gd name="connsiteX185" fmla="*/ 465137 w 514350"/>
                <a:gd name="connsiteY185" fmla="*/ 508000 h 620717"/>
                <a:gd name="connsiteX186" fmla="*/ 466725 w 514350"/>
                <a:gd name="connsiteY186" fmla="*/ 485775 h 620717"/>
                <a:gd name="connsiteX187" fmla="*/ 482600 w 514350"/>
                <a:gd name="connsiteY187" fmla="*/ 474662 h 620717"/>
                <a:gd name="connsiteX188" fmla="*/ 495300 w 514350"/>
                <a:gd name="connsiteY188" fmla="*/ 458787 h 620717"/>
                <a:gd name="connsiteX189" fmla="*/ 501650 w 514350"/>
                <a:gd name="connsiteY189" fmla="*/ 438150 h 620717"/>
                <a:gd name="connsiteX190" fmla="*/ 506412 w 514350"/>
                <a:gd name="connsiteY190" fmla="*/ 433387 h 620717"/>
                <a:gd name="connsiteX191" fmla="*/ 506412 w 514350"/>
                <a:gd name="connsiteY191" fmla="*/ 401637 h 620717"/>
                <a:gd name="connsiteX192" fmla="*/ 501650 w 514350"/>
                <a:gd name="connsiteY192" fmla="*/ 398462 h 620717"/>
                <a:gd name="connsiteX193" fmla="*/ 498475 w 514350"/>
                <a:gd name="connsiteY193" fmla="*/ 392112 h 620717"/>
                <a:gd name="connsiteX194" fmla="*/ 503237 w 514350"/>
                <a:gd name="connsiteY194" fmla="*/ 360362 h 620717"/>
                <a:gd name="connsiteX195" fmla="*/ 508000 w 514350"/>
                <a:gd name="connsiteY195" fmla="*/ 355600 h 620717"/>
                <a:gd name="connsiteX196" fmla="*/ 514350 w 514350"/>
                <a:gd name="connsiteY196" fmla="*/ 346075 h 620717"/>
                <a:gd name="connsiteX197" fmla="*/ 511175 w 514350"/>
                <a:gd name="connsiteY197" fmla="*/ 331787 h 620717"/>
                <a:gd name="connsiteX198" fmla="*/ 506412 w 514350"/>
                <a:gd name="connsiteY198" fmla="*/ 327025 h 620717"/>
                <a:gd name="connsiteX199" fmla="*/ 504825 w 514350"/>
                <a:gd name="connsiteY199" fmla="*/ 315912 h 620717"/>
                <a:gd name="connsiteX200" fmla="*/ 508000 w 514350"/>
                <a:gd name="connsiteY200" fmla="*/ 290512 h 620717"/>
                <a:gd name="connsiteX201" fmla="*/ 506412 w 514350"/>
                <a:gd name="connsiteY201" fmla="*/ 282575 h 620717"/>
                <a:gd name="connsiteX202" fmla="*/ 495300 w 514350"/>
                <a:gd name="connsiteY202" fmla="*/ 276225 h 620717"/>
                <a:gd name="connsiteX203" fmla="*/ 496887 w 514350"/>
                <a:gd name="connsiteY203" fmla="*/ 268287 h 620717"/>
                <a:gd name="connsiteX204" fmla="*/ 501650 w 514350"/>
                <a:gd name="connsiteY204" fmla="*/ 266700 h 620717"/>
                <a:gd name="connsiteX205" fmla="*/ 506412 w 514350"/>
                <a:gd name="connsiteY205" fmla="*/ 263525 h 620717"/>
                <a:gd name="connsiteX206" fmla="*/ 509587 w 514350"/>
                <a:gd name="connsiteY206" fmla="*/ 258762 h 620717"/>
                <a:gd name="connsiteX207" fmla="*/ 511175 w 514350"/>
                <a:gd name="connsiteY207" fmla="*/ 254000 h 620717"/>
                <a:gd name="connsiteX208" fmla="*/ 514350 w 514350"/>
                <a:gd name="connsiteY208" fmla="*/ 246062 h 620717"/>
                <a:gd name="connsiteX209" fmla="*/ 512762 w 514350"/>
                <a:gd name="connsiteY209" fmla="*/ 239712 h 620717"/>
                <a:gd name="connsiteX210" fmla="*/ 496887 w 514350"/>
                <a:gd name="connsiteY210" fmla="*/ 239712 h 620717"/>
                <a:gd name="connsiteX211" fmla="*/ 492125 w 514350"/>
                <a:gd name="connsiteY211" fmla="*/ 241300 h 620717"/>
                <a:gd name="connsiteX212" fmla="*/ 485775 w 514350"/>
                <a:gd name="connsiteY212" fmla="*/ 244475 h 620717"/>
                <a:gd name="connsiteX213" fmla="*/ 481012 w 514350"/>
                <a:gd name="connsiteY213" fmla="*/ 234950 h 620717"/>
                <a:gd name="connsiteX214" fmla="*/ 479425 w 514350"/>
                <a:gd name="connsiteY214" fmla="*/ 222250 h 620717"/>
                <a:gd name="connsiteX215" fmla="*/ 477837 w 514350"/>
                <a:gd name="connsiteY215" fmla="*/ 215900 h 620717"/>
                <a:gd name="connsiteX216" fmla="*/ 473075 w 514350"/>
                <a:gd name="connsiteY216" fmla="*/ 190500 h 620717"/>
                <a:gd name="connsiteX217" fmla="*/ 468312 w 514350"/>
                <a:gd name="connsiteY217" fmla="*/ 176212 h 620717"/>
                <a:gd name="connsiteX218" fmla="*/ 458787 w 514350"/>
                <a:gd name="connsiteY218" fmla="*/ 171450 h 620717"/>
                <a:gd name="connsiteX219" fmla="*/ 449262 w 514350"/>
                <a:gd name="connsiteY219" fmla="*/ 173037 h 620717"/>
                <a:gd name="connsiteX220" fmla="*/ 438150 w 514350"/>
                <a:gd name="connsiteY220" fmla="*/ 182562 h 620717"/>
                <a:gd name="connsiteX221" fmla="*/ 434975 w 514350"/>
                <a:gd name="connsiteY221" fmla="*/ 188912 h 620717"/>
                <a:gd name="connsiteX222" fmla="*/ 428625 w 514350"/>
                <a:gd name="connsiteY222" fmla="*/ 196850 h 620717"/>
                <a:gd name="connsiteX223" fmla="*/ 417512 w 514350"/>
                <a:gd name="connsiteY223" fmla="*/ 206375 h 620717"/>
                <a:gd name="connsiteX224" fmla="*/ 412750 w 514350"/>
                <a:gd name="connsiteY224" fmla="*/ 207962 h 620717"/>
                <a:gd name="connsiteX225" fmla="*/ 401637 w 514350"/>
                <a:gd name="connsiteY225" fmla="*/ 206375 h 620717"/>
                <a:gd name="connsiteX226" fmla="*/ 395287 w 514350"/>
                <a:gd name="connsiteY226" fmla="*/ 200025 h 620717"/>
                <a:gd name="connsiteX227" fmla="*/ 390525 w 514350"/>
                <a:gd name="connsiteY227" fmla="*/ 196850 h 620717"/>
                <a:gd name="connsiteX228" fmla="*/ 385762 w 514350"/>
                <a:gd name="connsiteY228" fmla="*/ 190500 h 620717"/>
                <a:gd name="connsiteX229" fmla="*/ 368300 w 514350"/>
                <a:gd name="connsiteY229" fmla="*/ 171450 h 620717"/>
                <a:gd name="connsiteX230" fmla="*/ 363537 w 514350"/>
                <a:gd name="connsiteY230" fmla="*/ 160337 h 620717"/>
                <a:gd name="connsiteX231" fmla="*/ 358775 w 514350"/>
                <a:gd name="connsiteY231" fmla="*/ 157162 h 620717"/>
                <a:gd name="connsiteX232" fmla="*/ 349250 w 514350"/>
                <a:gd name="connsiteY232" fmla="*/ 144462 h 620717"/>
                <a:gd name="connsiteX233" fmla="*/ 346075 w 514350"/>
                <a:gd name="connsiteY233" fmla="*/ 138112 h 620717"/>
                <a:gd name="connsiteX234" fmla="*/ 350837 w 514350"/>
                <a:gd name="connsiteY234" fmla="*/ 128587 h 620717"/>
                <a:gd name="connsiteX235" fmla="*/ 357187 w 514350"/>
                <a:gd name="connsiteY235" fmla="*/ 127000 h 620717"/>
                <a:gd name="connsiteX236" fmla="*/ 368300 w 514350"/>
                <a:gd name="connsiteY236" fmla="*/ 125412 h 620717"/>
                <a:gd name="connsiteX237" fmla="*/ 374650 w 514350"/>
                <a:gd name="connsiteY237" fmla="*/ 123825 h 620717"/>
                <a:gd name="connsiteX238" fmla="*/ 384175 w 514350"/>
                <a:gd name="connsiteY238" fmla="*/ 120650 h 620717"/>
                <a:gd name="connsiteX239" fmla="*/ 392112 w 514350"/>
                <a:gd name="connsiteY239" fmla="*/ 111125 h 620717"/>
                <a:gd name="connsiteX240" fmla="*/ 388937 w 514350"/>
                <a:gd name="connsiteY240" fmla="*/ 100012 h 620717"/>
                <a:gd name="connsiteX241" fmla="*/ 390525 w 514350"/>
                <a:gd name="connsiteY241" fmla="*/ 93662 h 620717"/>
                <a:gd name="connsiteX242" fmla="*/ 401637 w 514350"/>
                <a:gd name="connsiteY242" fmla="*/ 95250 h 620717"/>
                <a:gd name="connsiteX243" fmla="*/ 423862 w 514350"/>
                <a:gd name="connsiteY243" fmla="*/ 93662 h 620717"/>
                <a:gd name="connsiteX244" fmla="*/ 430212 w 514350"/>
                <a:gd name="connsiteY244" fmla="*/ 87312 h 620717"/>
                <a:gd name="connsiteX245" fmla="*/ 431800 w 514350"/>
                <a:gd name="connsiteY245" fmla="*/ 61912 h 620717"/>
                <a:gd name="connsiteX246" fmla="*/ 443914 w 514350"/>
                <a:gd name="connsiteY246" fmla="*/ 64084 h 620717"/>
                <a:gd name="connsiteX247" fmla="*/ 451852 w 514350"/>
                <a:gd name="connsiteY247" fmla="*/ 72772 h 620717"/>
                <a:gd name="connsiteX248" fmla="*/ 450399 w 514350"/>
                <a:gd name="connsiteY248" fmla="*/ 73819 h 620717"/>
                <a:gd name="connsiteX249" fmla="*/ 455612 w 514350"/>
                <a:gd name="connsiteY249" fmla="*/ 69850 h 620717"/>
                <a:gd name="connsiteX250" fmla="*/ 461962 w 514350"/>
                <a:gd name="connsiteY250" fmla="*/ 68262 h 620717"/>
                <a:gd name="connsiteX251" fmla="*/ 466725 w 514350"/>
                <a:gd name="connsiteY251" fmla="*/ 61912 h 620717"/>
                <a:gd name="connsiteX252" fmla="*/ 492125 w 514350"/>
                <a:gd name="connsiteY252" fmla="*/ 53975 h 620717"/>
                <a:gd name="connsiteX253" fmla="*/ 496887 w 514350"/>
                <a:gd name="connsiteY253" fmla="*/ 49212 h 620717"/>
                <a:gd name="connsiteX254" fmla="*/ 500062 w 514350"/>
                <a:gd name="connsiteY254" fmla="*/ 41275 h 620717"/>
                <a:gd name="connsiteX255" fmla="*/ 496887 w 514350"/>
                <a:gd name="connsiteY255"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29887 w 514350"/>
                <a:gd name="connsiteY9" fmla="*/ 34766 h 620717"/>
                <a:gd name="connsiteX10" fmla="*/ 421653 w 514350"/>
                <a:gd name="connsiteY10" fmla="*/ 43507 h 620717"/>
                <a:gd name="connsiteX11" fmla="*/ 421003 w 514350"/>
                <a:gd name="connsiteY11" fmla="*/ 30397 h 620717"/>
                <a:gd name="connsiteX12" fmla="*/ 415884 w 514350"/>
                <a:gd name="connsiteY12" fmla="*/ 9813 h 620717"/>
                <a:gd name="connsiteX13" fmla="*/ 401637 w 514350"/>
                <a:gd name="connsiteY13" fmla="*/ 12700 h 620717"/>
                <a:gd name="connsiteX14" fmla="*/ 352425 w 514350"/>
                <a:gd name="connsiteY14" fmla="*/ 19050 h 620717"/>
                <a:gd name="connsiteX15" fmla="*/ 350837 w 514350"/>
                <a:gd name="connsiteY15" fmla="*/ 23812 h 620717"/>
                <a:gd name="connsiteX16" fmla="*/ 352425 w 514350"/>
                <a:gd name="connsiteY16" fmla="*/ 38100 h 620717"/>
                <a:gd name="connsiteX17" fmla="*/ 357187 w 514350"/>
                <a:gd name="connsiteY17" fmla="*/ 44450 h 620717"/>
                <a:gd name="connsiteX18" fmla="*/ 349250 w 514350"/>
                <a:gd name="connsiteY18" fmla="*/ 58737 h 620717"/>
                <a:gd name="connsiteX19" fmla="*/ 328612 w 514350"/>
                <a:gd name="connsiteY19" fmla="*/ 60325 h 620717"/>
                <a:gd name="connsiteX20" fmla="*/ 307975 w 514350"/>
                <a:gd name="connsiteY20" fmla="*/ 68262 h 620717"/>
                <a:gd name="connsiteX21" fmla="*/ 295275 w 514350"/>
                <a:gd name="connsiteY21" fmla="*/ 73025 h 620717"/>
                <a:gd name="connsiteX22" fmla="*/ 292100 w 514350"/>
                <a:gd name="connsiteY22" fmla="*/ 77787 h 620717"/>
                <a:gd name="connsiteX23" fmla="*/ 296862 w 514350"/>
                <a:gd name="connsiteY23" fmla="*/ 79375 h 620717"/>
                <a:gd name="connsiteX24" fmla="*/ 311150 w 514350"/>
                <a:gd name="connsiteY24" fmla="*/ 82550 h 620717"/>
                <a:gd name="connsiteX25" fmla="*/ 319087 w 514350"/>
                <a:gd name="connsiteY25" fmla="*/ 87312 h 620717"/>
                <a:gd name="connsiteX26" fmla="*/ 323850 w 514350"/>
                <a:gd name="connsiteY26" fmla="*/ 88900 h 620717"/>
                <a:gd name="connsiteX27" fmla="*/ 336550 w 514350"/>
                <a:gd name="connsiteY27" fmla="*/ 103187 h 620717"/>
                <a:gd name="connsiteX28" fmla="*/ 334962 w 514350"/>
                <a:gd name="connsiteY28" fmla="*/ 114300 h 620717"/>
                <a:gd name="connsiteX29" fmla="*/ 330200 w 514350"/>
                <a:gd name="connsiteY29" fmla="*/ 115887 h 620717"/>
                <a:gd name="connsiteX30" fmla="*/ 315912 w 514350"/>
                <a:gd name="connsiteY30" fmla="*/ 130175 h 620717"/>
                <a:gd name="connsiteX31" fmla="*/ 307975 w 514350"/>
                <a:gd name="connsiteY31" fmla="*/ 131762 h 620717"/>
                <a:gd name="connsiteX32" fmla="*/ 300037 w 514350"/>
                <a:gd name="connsiteY32" fmla="*/ 134937 h 620717"/>
                <a:gd name="connsiteX33" fmla="*/ 296862 w 514350"/>
                <a:gd name="connsiteY33" fmla="*/ 142875 h 620717"/>
                <a:gd name="connsiteX34" fmla="*/ 282575 w 514350"/>
                <a:gd name="connsiteY34" fmla="*/ 157162 h 620717"/>
                <a:gd name="connsiteX35" fmla="*/ 273050 w 514350"/>
                <a:gd name="connsiteY35" fmla="*/ 153987 h 620717"/>
                <a:gd name="connsiteX36" fmla="*/ 261937 w 514350"/>
                <a:gd name="connsiteY36" fmla="*/ 147637 h 620717"/>
                <a:gd name="connsiteX37" fmla="*/ 242887 w 514350"/>
                <a:gd name="connsiteY37" fmla="*/ 149225 h 620717"/>
                <a:gd name="connsiteX38" fmla="*/ 236537 w 514350"/>
                <a:gd name="connsiteY38" fmla="*/ 150812 h 620717"/>
                <a:gd name="connsiteX39" fmla="*/ 231775 w 514350"/>
                <a:gd name="connsiteY39" fmla="*/ 142875 h 620717"/>
                <a:gd name="connsiteX40" fmla="*/ 225425 w 514350"/>
                <a:gd name="connsiteY40" fmla="*/ 123825 h 620717"/>
                <a:gd name="connsiteX41" fmla="*/ 219075 w 514350"/>
                <a:gd name="connsiteY41" fmla="*/ 122237 h 620717"/>
                <a:gd name="connsiteX42" fmla="*/ 204787 w 514350"/>
                <a:gd name="connsiteY42" fmla="*/ 120650 h 620717"/>
                <a:gd name="connsiteX43" fmla="*/ 190500 w 514350"/>
                <a:gd name="connsiteY43" fmla="*/ 117475 h 620717"/>
                <a:gd name="connsiteX44" fmla="*/ 182562 w 514350"/>
                <a:gd name="connsiteY44" fmla="*/ 111125 h 620717"/>
                <a:gd name="connsiteX45" fmla="*/ 174625 w 514350"/>
                <a:gd name="connsiteY45" fmla="*/ 104775 h 620717"/>
                <a:gd name="connsiteX46" fmla="*/ 152400 w 514350"/>
                <a:gd name="connsiteY46" fmla="*/ 106362 h 620717"/>
                <a:gd name="connsiteX47" fmla="*/ 150812 w 514350"/>
                <a:gd name="connsiteY47" fmla="*/ 117475 h 620717"/>
                <a:gd name="connsiteX48" fmla="*/ 133350 w 514350"/>
                <a:gd name="connsiteY48" fmla="*/ 120650 h 620717"/>
                <a:gd name="connsiteX49" fmla="*/ 138112 w 514350"/>
                <a:gd name="connsiteY49" fmla="*/ 123825 h 620717"/>
                <a:gd name="connsiteX50" fmla="*/ 139700 w 514350"/>
                <a:gd name="connsiteY50" fmla="*/ 128587 h 620717"/>
                <a:gd name="connsiteX51" fmla="*/ 146050 w 514350"/>
                <a:gd name="connsiteY51" fmla="*/ 131762 h 620717"/>
                <a:gd name="connsiteX52" fmla="*/ 147637 w 514350"/>
                <a:gd name="connsiteY52" fmla="*/ 138112 h 620717"/>
                <a:gd name="connsiteX53" fmla="*/ 123825 w 514350"/>
                <a:gd name="connsiteY53" fmla="*/ 146050 h 620717"/>
                <a:gd name="connsiteX54" fmla="*/ 117475 w 514350"/>
                <a:gd name="connsiteY54" fmla="*/ 155575 h 620717"/>
                <a:gd name="connsiteX55" fmla="*/ 112712 w 514350"/>
                <a:gd name="connsiteY55" fmla="*/ 157162 h 620717"/>
                <a:gd name="connsiteX56" fmla="*/ 125412 w 514350"/>
                <a:gd name="connsiteY56" fmla="*/ 161925 h 620717"/>
                <a:gd name="connsiteX57" fmla="*/ 130175 w 514350"/>
                <a:gd name="connsiteY57" fmla="*/ 163512 h 620717"/>
                <a:gd name="connsiteX58" fmla="*/ 142875 w 514350"/>
                <a:gd name="connsiteY58" fmla="*/ 166687 h 620717"/>
                <a:gd name="connsiteX59" fmla="*/ 147637 w 514350"/>
                <a:gd name="connsiteY59" fmla="*/ 173037 h 620717"/>
                <a:gd name="connsiteX60" fmla="*/ 152400 w 514350"/>
                <a:gd name="connsiteY60" fmla="*/ 177800 h 620717"/>
                <a:gd name="connsiteX61" fmla="*/ 146050 w 514350"/>
                <a:gd name="connsiteY61" fmla="*/ 179387 h 620717"/>
                <a:gd name="connsiteX62" fmla="*/ 149225 w 514350"/>
                <a:gd name="connsiteY62" fmla="*/ 185737 h 620717"/>
                <a:gd name="connsiteX63" fmla="*/ 153987 w 514350"/>
                <a:gd name="connsiteY63" fmla="*/ 187325 h 620717"/>
                <a:gd name="connsiteX64" fmla="*/ 168275 w 514350"/>
                <a:gd name="connsiteY64" fmla="*/ 190500 h 620717"/>
                <a:gd name="connsiteX65" fmla="*/ 165100 w 514350"/>
                <a:gd name="connsiteY65" fmla="*/ 198437 h 620717"/>
                <a:gd name="connsiteX66" fmla="*/ 160337 w 514350"/>
                <a:gd name="connsiteY66" fmla="*/ 200025 h 620717"/>
                <a:gd name="connsiteX67" fmla="*/ 139700 w 514350"/>
                <a:gd name="connsiteY67" fmla="*/ 196850 h 620717"/>
                <a:gd name="connsiteX68" fmla="*/ 153987 w 514350"/>
                <a:gd name="connsiteY68" fmla="*/ 211137 h 620717"/>
                <a:gd name="connsiteX69" fmla="*/ 152400 w 514350"/>
                <a:gd name="connsiteY69" fmla="*/ 217487 h 620717"/>
                <a:gd name="connsiteX70" fmla="*/ 138112 w 514350"/>
                <a:gd name="connsiteY70" fmla="*/ 219075 h 620717"/>
                <a:gd name="connsiteX71" fmla="*/ 142875 w 514350"/>
                <a:gd name="connsiteY71" fmla="*/ 223837 h 620717"/>
                <a:gd name="connsiteX72" fmla="*/ 141287 w 514350"/>
                <a:gd name="connsiteY72" fmla="*/ 228600 h 620717"/>
                <a:gd name="connsiteX73" fmla="*/ 107950 w 514350"/>
                <a:gd name="connsiteY73" fmla="*/ 231775 h 620717"/>
                <a:gd name="connsiteX74" fmla="*/ 95250 w 514350"/>
                <a:gd name="connsiteY74" fmla="*/ 233362 h 620717"/>
                <a:gd name="connsiteX75" fmla="*/ 92075 w 514350"/>
                <a:gd name="connsiteY75" fmla="*/ 247650 h 620717"/>
                <a:gd name="connsiteX76" fmla="*/ 93662 w 514350"/>
                <a:gd name="connsiteY76" fmla="*/ 252412 h 620717"/>
                <a:gd name="connsiteX77" fmla="*/ 109537 w 514350"/>
                <a:gd name="connsiteY77" fmla="*/ 260350 h 620717"/>
                <a:gd name="connsiteX78" fmla="*/ 114300 w 514350"/>
                <a:gd name="connsiteY78" fmla="*/ 263525 h 620717"/>
                <a:gd name="connsiteX79" fmla="*/ 119062 w 514350"/>
                <a:gd name="connsiteY79" fmla="*/ 268287 h 620717"/>
                <a:gd name="connsiteX80" fmla="*/ 123825 w 514350"/>
                <a:gd name="connsiteY80" fmla="*/ 269875 h 620717"/>
                <a:gd name="connsiteX81" fmla="*/ 128587 w 514350"/>
                <a:gd name="connsiteY81" fmla="*/ 273050 h 620717"/>
                <a:gd name="connsiteX82" fmla="*/ 114300 w 514350"/>
                <a:gd name="connsiteY82" fmla="*/ 279400 h 620717"/>
                <a:gd name="connsiteX83" fmla="*/ 109537 w 514350"/>
                <a:gd name="connsiteY83" fmla="*/ 284162 h 620717"/>
                <a:gd name="connsiteX84" fmla="*/ 111125 w 514350"/>
                <a:gd name="connsiteY84" fmla="*/ 293687 h 620717"/>
                <a:gd name="connsiteX85" fmla="*/ 125412 w 514350"/>
                <a:gd name="connsiteY85" fmla="*/ 296862 h 620717"/>
                <a:gd name="connsiteX86" fmla="*/ 136525 w 514350"/>
                <a:gd name="connsiteY86" fmla="*/ 301625 h 620717"/>
                <a:gd name="connsiteX87" fmla="*/ 142875 w 514350"/>
                <a:gd name="connsiteY87" fmla="*/ 303212 h 620717"/>
                <a:gd name="connsiteX88" fmla="*/ 146050 w 514350"/>
                <a:gd name="connsiteY88" fmla="*/ 311150 h 620717"/>
                <a:gd name="connsiteX89" fmla="*/ 158750 w 514350"/>
                <a:gd name="connsiteY89" fmla="*/ 315912 h 620717"/>
                <a:gd name="connsiteX90" fmla="*/ 193675 w 514350"/>
                <a:gd name="connsiteY90" fmla="*/ 317500 h 620717"/>
                <a:gd name="connsiteX91" fmla="*/ 209550 w 514350"/>
                <a:gd name="connsiteY91" fmla="*/ 320675 h 620717"/>
                <a:gd name="connsiteX92" fmla="*/ 204787 w 514350"/>
                <a:gd name="connsiteY92" fmla="*/ 323850 h 620717"/>
                <a:gd name="connsiteX93" fmla="*/ 200025 w 514350"/>
                <a:gd name="connsiteY93" fmla="*/ 325437 h 620717"/>
                <a:gd name="connsiteX94" fmla="*/ 190500 w 514350"/>
                <a:gd name="connsiteY94" fmla="*/ 331787 h 620717"/>
                <a:gd name="connsiteX95" fmla="*/ 182562 w 514350"/>
                <a:gd name="connsiteY95" fmla="*/ 338137 h 620717"/>
                <a:gd name="connsiteX96" fmla="*/ 176212 w 514350"/>
                <a:gd name="connsiteY96" fmla="*/ 341312 h 620717"/>
                <a:gd name="connsiteX97" fmla="*/ 171450 w 514350"/>
                <a:gd name="connsiteY97" fmla="*/ 344487 h 620717"/>
                <a:gd name="connsiteX98" fmla="*/ 161925 w 514350"/>
                <a:gd name="connsiteY98" fmla="*/ 347662 h 620717"/>
                <a:gd name="connsiteX99" fmla="*/ 149225 w 514350"/>
                <a:gd name="connsiteY99" fmla="*/ 365125 h 620717"/>
                <a:gd name="connsiteX100" fmla="*/ 139700 w 514350"/>
                <a:gd name="connsiteY100" fmla="*/ 382587 h 620717"/>
                <a:gd name="connsiteX101" fmla="*/ 134937 w 514350"/>
                <a:gd name="connsiteY101" fmla="*/ 384175 h 620717"/>
                <a:gd name="connsiteX102" fmla="*/ 133350 w 514350"/>
                <a:gd name="connsiteY102" fmla="*/ 388937 h 620717"/>
                <a:gd name="connsiteX103" fmla="*/ 128587 w 514350"/>
                <a:gd name="connsiteY103" fmla="*/ 392112 h 620717"/>
                <a:gd name="connsiteX104" fmla="*/ 120650 w 514350"/>
                <a:gd name="connsiteY104" fmla="*/ 398462 h 620717"/>
                <a:gd name="connsiteX105" fmla="*/ 114300 w 514350"/>
                <a:gd name="connsiteY105" fmla="*/ 409575 h 620717"/>
                <a:gd name="connsiteX106" fmla="*/ 109537 w 514350"/>
                <a:gd name="connsiteY106" fmla="*/ 411162 h 620717"/>
                <a:gd name="connsiteX107" fmla="*/ 92075 w 514350"/>
                <a:gd name="connsiteY107" fmla="*/ 414337 h 620717"/>
                <a:gd name="connsiteX108" fmla="*/ 92075 w 514350"/>
                <a:gd name="connsiteY108" fmla="*/ 433387 h 620717"/>
                <a:gd name="connsiteX109" fmla="*/ 79375 w 514350"/>
                <a:gd name="connsiteY109" fmla="*/ 441325 h 620717"/>
                <a:gd name="connsiteX110" fmla="*/ 73025 w 514350"/>
                <a:gd name="connsiteY110" fmla="*/ 455612 h 620717"/>
                <a:gd name="connsiteX111" fmla="*/ 69850 w 514350"/>
                <a:gd name="connsiteY111" fmla="*/ 463550 h 620717"/>
                <a:gd name="connsiteX112" fmla="*/ 65087 w 514350"/>
                <a:gd name="connsiteY112" fmla="*/ 465137 h 620717"/>
                <a:gd name="connsiteX113" fmla="*/ 38100 w 514350"/>
                <a:gd name="connsiteY113" fmla="*/ 466725 h 620717"/>
                <a:gd name="connsiteX114" fmla="*/ 34925 w 514350"/>
                <a:gd name="connsiteY114" fmla="*/ 473075 h 620717"/>
                <a:gd name="connsiteX115" fmla="*/ 30162 w 514350"/>
                <a:gd name="connsiteY115" fmla="*/ 476250 h 620717"/>
                <a:gd name="connsiteX116" fmla="*/ 0 w 514350"/>
                <a:gd name="connsiteY116" fmla="*/ 477837 h 620717"/>
                <a:gd name="connsiteX117" fmla="*/ 4762 w 514350"/>
                <a:gd name="connsiteY117" fmla="*/ 484187 h 620717"/>
                <a:gd name="connsiteX118" fmla="*/ 23812 w 514350"/>
                <a:gd name="connsiteY118" fmla="*/ 485775 h 620717"/>
                <a:gd name="connsiteX119" fmla="*/ 30162 w 514350"/>
                <a:gd name="connsiteY119" fmla="*/ 487362 h 620717"/>
                <a:gd name="connsiteX120" fmla="*/ 39687 w 514350"/>
                <a:gd name="connsiteY120" fmla="*/ 488950 h 620717"/>
                <a:gd name="connsiteX121" fmla="*/ 33337 w 514350"/>
                <a:gd name="connsiteY121" fmla="*/ 492125 h 620717"/>
                <a:gd name="connsiteX122" fmla="*/ 25400 w 514350"/>
                <a:gd name="connsiteY122" fmla="*/ 493712 h 620717"/>
                <a:gd name="connsiteX123" fmla="*/ 19050 w 514350"/>
                <a:gd name="connsiteY123" fmla="*/ 495300 h 620717"/>
                <a:gd name="connsiteX124" fmla="*/ 14287 w 514350"/>
                <a:gd name="connsiteY124" fmla="*/ 498475 h 620717"/>
                <a:gd name="connsiteX125" fmla="*/ 4762 w 514350"/>
                <a:gd name="connsiteY125" fmla="*/ 503237 h 620717"/>
                <a:gd name="connsiteX126" fmla="*/ 3175 w 514350"/>
                <a:gd name="connsiteY126" fmla="*/ 508000 h 620717"/>
                <a:gd name="connsiteX127" fmla="*/ 4762 w 514350"/>
                <a:gd name="connsiteY127" fmla="*/ 530225 h 620717"/>
                <a:gd name="connsiteX128" fmla="*/ 11112 w 514350"/>
                <a:gd name="connsiteY128" fmla="*/ 533400 h 620717"/>
                <a:gd name="connsiteX129" fmla="*/ 20637 w 514350"/>
                <a:gd name="connsiteY129" fmla="*/ 534987 h 620717"/>
                <a:gd name="connsiteX130" fmla="*/ 26987 w 514350"/>
                <a:gd name="connsiteY130" fmla="*/ 536575 h 620717"/>
                <a:gd name="connsiteX131" fmla="*/ 39687 w 514350"/>
                <a:gd name="connsiteY131" fmla="*/ 542925 h 620717"/>
                <a:gd name="connsiteX132" fmla="*/ 44450 w 514350"/>
                <a:gd name="connsiteY132" fmla="*/ 546100 h 620717"/>
                <a:gd name="connsiteX133" fmla="*/ 58737 w 514350"/>
                <a:gd name="connsiteY133" fmla="*/ 547687 h 620717"/>
                <a:gd name="connsiteX134" fmla="*/ 47625 w 514350"/>
                <a:gd name="connsiteY134" fmla="*/ 555625 h 620717"/>
                <a:gd name="connsiteX135" fmla="*/ 30162 w 514350"/>
                <a:gd name="connsiteY135" fmla="*/ 558800 h 620717"/>
                <a:gd name="connsiteX136" fmla="*/ 7937 w 514350"/>
                <a:gd name="connsiteY136" fmla="*/ 563562 h 620717"/>
                <a:gd name="connsiteX137" fmla="*/ 7937 w 514350"/>
                <a:gd name="connsiteY137" fmla="*/ 576262 h 620717"/>
                <a:gd name="connsiteX138" fmla="*/ 17462 w 514350"/>
                <a:gd name="connsiteY138" fmla="*/ 577850 h 620717"/>
                <a:gd name="connsiteX139" fmla="*/ 39687 w 514350"/>
                <a:gd name="connsiteY139" fmla="*/ 581025 h 620717"/>
                <a:gd name="connsiteX140" fmla="*/ 47625 w 514350"/>
                <a:gd name="connsiteY140" fmla="*/ 582612 h 620717"/>
                <a:gd name="connsiteX141" fmla="*/ 61912 w 514350"/>
                <a:gd name="connsiteY141" fmla="*/ 584200 h 620717"/>
                <a:gd name="connsiteX142" fmla="*/ 66675 w 514350"/>
                <a:gd name="connsiteY142" fmla="*/ 587375 h 620717"/>
                <a:gd name="connsiteX143" fmla="*/ 53975 w 514350"/>
                <a:gd name="connsiteY143" fmla="*/ 593725 h 620717"/>
                <a:gd name="connsiteX144" fmla="*/ 52387 w 514350"/>
                <a:gd name="connsiteY144" fmla="*/ 601662 h 620717"/>
                <a:gd name="connsiteX145" fmla="*/ 50800 w 514350"/>
                <a:gd name="connsiteY145" fmla="*/ 606425 h 620717"/>
                <a:gd name="connsiteX146" fmla="*/ 55562 w 514350"/>
                <a:gd name="connsiteY146" fmla="*/ 614362 h 620717"/>
                <a:gd name="connsiteX147" fmla="*/ 79375 w 514350"/>
                <a:gd name="connsiteY147" fmla="*/ 609600 h 620717"/>
                <a:gd name="connsiteX148" fmla="*/ 123825 w 514350"/>
                <a:gd name="connsiteY148" fmla="*/ 612775 h 620717"/>
                <a:gd name="connsiteX149" fmla="*/ 130175 w 514350"/>
                <a:gd name="connsiteY149" fmla="*/ 617537 h 620717"/>
                <a:gd name="connsiteX150" fmla="*/ 144462 w 514350"/>
                <a:gd name="connsiteY150" fmla="*/ 620712 h 620717"/>
                <a:gd name="connsiteX151" fmla="*/ 173037 w 514350"/>
                <a:gd name="connsiteY151" fmla="*/ 617537 h 620717"/>
                <a:gd name="connsiteX152" fmla="*/ 180975 w 514350"/>
                <a:gd name="connsiteY152" fmla="*/ 614362 h 620717"/>
                <a:gd name="connsiteX153" fmla="*/ 187325 w 514350"/>
                <a:gd name="connsiteY153" fmla="*/ 609600 h 620717"/>
                <a:gd name="connsiteX154" fmla="*/ 196850 w 514350"/>
                <a:gd name="connsiteY154" fmla="*/ 606425 h 620717"/>
                <a:gd name="connsiteX155" fmla="*/ 198437 w 514350"/>
                <a:gd name="connsiteY155" fmla="*/ 600075 h 620717"/>
                <a:gd name="connsiteX156" fmla="*/ 203200 w 514350"/>
                <a:gd name="connsiteY156" fmla="*/ 595312 h 620717"/>
                <a:gd name="connsiteX157" fmla="*/ 215900 w 514350"/>
                <a:gd name="connsiteY157" fmla="*/ 581025 h 620717"/>
                <a:gd name="connsiteX158" fmla="*/ 230187 w 514350"/>
                <a:gd name="connsiteY158" fmla="*/ 582612 h 620717"/>
                <a:gd name="connsiteX159" fmla="*/ 238125 w 514350"/>
                <a:gd name="connsiteY159" fmla="*/ 584200 h 620717"/>
                <a:gd name="connsiteX160" fmla="*/ 261937 w 514350"/>
                <a:gd name="connsiteY160" fmla="*/ 581025 h 620717"/>
                <a:gd name="connsiteX161" fmla="*/ 263525 w 514350"/>
                <a:gd name="connsiteY161" fmla="*/ 576262 h 620717"/>
                <a:gd name="connsiteX162" fmla="*/ 266700 w 514350"/>
                <a:gd name="connsiteY162" fmla="*/ 582612 h 620717"/>
                <a:gd name="connsiteX163" fmla="*/ 277812 w 514350"/>
                <a:gd name="connsiteY163" fmla="*/ 590550 h 620717"/>
                <a:gd name="connsiteX164" fmla="*/ 279400 w 514350"/>
                <a:gd name="connsiteY164" fmla="*/ 579437 h 620717"/>
                <a:gd name="connsiteX165" fmla="*/ 287337 w 514350"/>
                <a:gd name="connsiteY165" fmla="*/ 571500 h 620717"/>
                <a:gd name="connsiteX166" fmla="*/ 290512 w 514350"/>
                <a:gd name="connsiteY166" fmla="*/ 566737 h 620717"/>
                <a:gd name="connsiteX167" fmla="*/ 311150 w 514350"/>
                <a:gd name="connsiteY167" fmla="*/ 558800 h 620717"/>
                <a:gd name="connsiteX168" fmla="*/ 354012 w 514350"/>
                <a:gd name="connsiteY168" fmla="*/ 554037 h 620717"/>
                <a:gd name="connsiteX169" fmla="*/ 360362 w 514350"/>
                <a:gd name="connsiteY169" fmla="*/ 561975 h 620717"/>
                <a:gd name="connsiteX170" fmla="*/ 365125 w 514350"/>
                <a:gd name="connsiteY170" fmla="*/ 563562 h 620717"/>
                <a:gd name="connsiteX171" fmla="*/ 366712 w 514350"/>
                <a:gd name="connsiteY171" fmla="*/ 557212 h 620717"/>
                <a:gd name="connsiteX172" fmla="*/ 368300 w 514350"/>
                <a:gd name="connsiteY172" fmla="*/ 552450 h 620717"/>
                <a:gd name="connsiteX173" fmla="*/ 377825 w 514350"/>
                <a:gd name="connsiteY173" fmla="*/ 557212 h 620717"/>
                <a:gd name="connsiteX174" fmla="*/ 382587 w 514350"/>
                <a:gd name="connsiteY174" fmla="*/ 563562 h 620717"/>
                <a:gd name="connsiteX175" fmla="*/ 404812 w 514350"/>
                <a:gd name="connsiteY175" fmla="*/ 565150 h 620717"/>
                <a:gd name="connsiteX176" fmla="*/ 414337 w 514350"/>
                <a:gd name="connsiteY176" fmla="*/ 571500 h 620717"/>
                <a:gd name="connsiteX177" fmla="*/ 419100 w 514350"/>
                <a:gd name="connsiteY177" fmla="*/ 574675 h 620717"/>
                <a:gd name="connsiteX178" fmla="*/ 436562 w 514350"/>
                <a:gd name="connsiteY178" fmla="*/ 573087 h 620717"/>
                <a:gd name="connsiteX179" fmla="*/ 434975 w 514350"/>
                <a:gd name="connsiteY179" fmla="*/ 566737 h 620717"/>
                <a:gd name="connsiteX180" fmla="*/ 430212 w 514350"/>
                <a:gd name="connsiteY180" fmla="*/ 546100 h 620717"/>
                <a:gd name="connsiteX181" fmla="*/ 433387 w 514350"/>
                <a:gd name="connsiteY181" fmla="*/ 531812 h 620717"/>
                <a:gd name="connsiteX182" fmla="*/ 446087 w 514350"/>
                <a:gd name="connsiteY182" fmla="*/ 525462 h 620717"/>
                <a:gd name="connsiteX183" fmla="*/ 452437 w 514350"/>
                <a:gd name="connsiteY183" fmla="*/ 519112 h 620717"/>
                <a:gd name="connsiteX184" fmla="*/ 463550 w 514350"/>
                <a:gd name="connsiteY184" fmla="*/ 514350 h 620717"/>
                <a:gd name="connsiteX185" fmla="*/ 465137 w 514350"/>
                <a:gd name="connsiteY185" fmla="*/ 508000 h 620717"/>
                <a:gd name="connsiteX186" fmla="*/ 466725 w 514350"/>
                <a:gd name="connsiteY186" fmla="*/ 485775 h 620717"/>
                <a:gd name="connsiteX187" fmla="*/ 482600 w 514350"/>
                <a:gd name="connsiteY187" fmla="*/ 474662 h 620717"/>
                <a:gd name="connsiteX188" fmla="*/ 495300 w 514350"/>
                <a:gd name="connsiteY188" fmla="*/ 458787 h 620717"/>
                <a:gd name="connsiteX189" fmla="*/ 501650 w 514350"/>
                <a:gd name="connsiteY189" fmla="*/ 438150 h 620717"/>
                <a:gd name="connsiteX190" fmla="*/ 506412 w 514350"/>
                <a:gd name="connsiteY190" fmla="*/ 433387 h 620717"/>
                <a:gd name="connsiteX191" fmla="*/ 506412 w 514350"/>
                <a:gd name="connsiteY191" fmla="*/ 401637 h 620717"/>
                <a:gd name="connsiteX192" fmla="*/ 501650 w 514350"/>
                <a:gd name="connsiteY192" fmla="*/ 398462 h 620717"/>
                <a:gd name="connsiteX193" fmla="*/ 498475 w 514350"/>
                <a:gd name="connsiteY193" fmla="*/ 392112 h 620717"/>
                <a:gd name="connsiteX194" fmla="*/ 503237 w 514350"/>
                <a:gd name="connsiteY194" fmla="*/ 360362 h 620717"/>
                <a:gd name="connsiteX195" fmla="*/ 508000 w 514350"/>
                <a:gd name="connsiteY195" fmla="*/ 355600 h 620717"/>
                <a:gd name="connsiteX196" fmla="*/ 514350 w 514350"/>
                <a:gd name="connsiteY196" fmla="*/ 346075 h 620717"/>
                <a:gd name="connsiteX197" fmla="*/ 511175 w 514350"/>
                <a:gd name="connsiteY197" fmla="*/ 331787 h 620717"/>
                <a:gd name="connsiteX198" fmla="*/ 506412 w 514350"/>
                <a:gd name="connsiteY198" fmla="*/ 327025 h 620717"/>
                <a:gd name="connsiteX199" fmla="*/ 504825 w 514350"/>
                <a:gd name="connsiteY199" fmla="*/ 315912 h 620717"/>
                <a:gd name="connsiteX200" fmla="*/ 508000 w 514350"/>
                <a:gd name="connsiteY200" fmla="*/ 290512 h 620717"/>
                <a:gd name="connsiteX201" fmla="*/ 506412 w 514350"/>
                <a:gd name="connsiteY201" fmla="*/ 282575 h 620717"/>
                <a:gd name="connsiteX202" fmla="*/ 495300 w 514350"/>
                <a:gd name="connsiteY202" fmla="*/ 276225 h 620717"/>
                <a:gd name="connsiteX203" fmla="*/ 496887 w 514350"/>
                <a:gd name="connsiteY203" fmla="*/ 268287 h 620717"/>
                <a:gd name="connsiteX204" fmla="*/ 501650 w 514350"/>
                <a:gd name="connsiteY204" fmla="*/ 266700 h 620717"/>
                <a:gd name="connsiteX205" fmla="*/ 506412 w 514350"/>
                <a:gd name="connsiteY205" fmla="*/ 263525 h 620717"/>
                <a:gd name="connsiteX206" fmla="*/ 509587 w 514350"/>
                <a:gd name="connsiteY206" fmla="*/ 258762 h 620717"/>
                <a:gd name="connsiteX207" fmla="*/ 511175 w 514350"/>
                <a:gd name="connsiteY207" fmla="*/ 254000 h 620717"/>
                <a:gd name="connsiteX208" fmla="*/ 514350 w 514350"/>
                <a:gd name="connsiteY208" fmla="*/ 246062 h 620717"/>
                <a:gd name="connsiteX209" fmla="*/ 512762 w 514350"/>
                <a:gd name="connsiteY209" fmla="*/ 239712 h 620717"/>
                <a:gd name="connsiteX210" fmla="*/ 496887 w 514350"/>
                <a:gd name="connsiteY210" fmla="*/ 239712 h 620717"/>
                <a:gd name="connsiteX211" fmla="*/ 492125 w 514350"/>
                <a:gd name="connsiteY211" fmla="*/ 241300 h 620717"/>
                <a:gd name="connsiteX212" fmla="*/ 485775 w 514350"/>
                <a:gd name="connsiteY212" fmla="*/ 244475 h 620717"/>
                <a:gd name="connsiteX213" fmla="*/ 481012 w 514350"/>
                <a:gd name="connsiteY213" fmla="*/ 234950 h 620717"/>
                <a:gd name="connsiteX214" fmla="*/ 479425 w 514350"/>
                <a:gd name="connsiteY214" fmla="*/ 222250 h 620717"/>
                <a:gd name="connsiteX215" fmla="*/ 477837 w 514350"/>
                <a:gd name="connsiteY215" fmla="*/ 215900 h 620717"/>
                <a:gd name="connsiteX216" fmla="*/ 473075 w 514350"/>
                <a:gd name="connsiteY216" fmla="*/ 190500 h 620717"/>
                <a:gd name="connsiteX217" fmla="*/ 468312 w 514350"/>
                <a:gd name="connsiteY217" fmla="*/ 176212 h 620717"/>
                <a:gd name="connsiteX218" fmla="*/ 458787 w 514350"/>
                <a:gd name="connsiteY218" fmla="*/ 171450 h 620717"/>
                <a:gd name="connsiteX219" fmla="*/ 449262 w 514350"/>
                <a:gd name="connsiteY219" fmla="*/ 173037 h 620717"/>
                <a:gd name="connsiteX220" fmla="*/ 438150 w 514350"/>
                <a:gd name="connsiteY220" fmla="*/ 182562 h 620717"/>
                <a:gd name="connsiteX221" fmla="*/ 434975 w 514350"/>
                <a:gd name="connsiteY221" fmla="*/ 188912 h 620717"/>
                <a:gd name="connsiteX222" fmla="*/ 428625 w 514350"/>
                <a:gd name="connsiteY222" fmla="*/ 196850 h 620717"/>
                <a:gd name="connsiteX223" fmla="*/ 417512 w 514350"/>
                <a:gd name="connsiteY223" fmla="*/ 206375 h 620717"/>
                <a:gd name="connsiteX224" fmla="*/ 412750 w 514350"/>
                <a:gd name="connsiteY224" fmla="*/ 207962 h 620717"/>
                <a:gd name="connsiteX225" fmla="*/ 401637 w 514350"/>
                <a:gd name="connsiteY225" fmla="*/ 206375 h 620717"/>
                <a:gd name="connsiteX226" fmla="*/ 395287 w 514350"/>
                <a:gd name="connsiteY226" fmla="*/ 200025 h 620717"/>
                <a:gd name="connsiteX227" fmla="*/ 390525 w 514350"/>
                <a:gd name="connsiteY227" fmla="*/ 196850 h 620717"/>
                <a:gd name="connsiteX228" fmla="*/ 385762 w 514350"/>
                <a:gd name="connsiteY228" fmla="*/ 190500 h 620717"/>
                <a:gd name="connsiteX229" fmla="*/ 368300 w 514350"/>
                <a:gd name="connsiteY229" fmla="*/ 171450 h 620717"/>
                <a:gd name="connsiteX230" fmla="*/ 363537 w 514350"/>
                <a:gd name="connsiteY230" fmla="*/ 160337 h 620717"/>
                <a:gd name="connsiteX231" fmla="*/ 358775 w 514350"/>
                <a:gd name="connsiteY231" fmla="*/ 157162 h 620717"/>
                <a:gd name="connsiteX232" fmla="*/ 349250 w 514350"/>
                <a:gd name="connsiteY232" fmla="*/ 144462 h 620717"/>
                <a:gd name="connsiteX233" fmla="*/ 346075 w 514350"/>
                <a:gd name="connsiteY233" fmla="*/ 138112 h 620717"/>
                <a:gd name="connsiteX234" fmla="*/ 350837 w 514350"/>
                <a:gd name="connsiteY234" fmla="*/ 128587 h 620717"/>
                <a:gd name="connsiteX235" fmla="*/ 357187 w 514350"/>
                <a:gd name="connsiteY235" fmla="*/ 127000 h 620717"/>
                <a:gd name="connsiteX236" fmla="*/ 368300 w 514350"/>
                <a:gd name="connsiteY236" fmla="*/ 125412 h 620717"/>
                <a:gd name="connsiteX237" fmla="*/ 374650 w 514350"/>
                <a:gd name="connsiteY237" fmla="*/ 123825 h 620717"/>
                <a:gd name="connsiteX238" fmla="*/ 384175 w 514350"/>
                <a:gd name="connsiteY238" fmla="*/ 120650 h 620717"/>
                <a:gd name="connsiteX239" fmla="*/ 392112 w 514350"/>
                <a:gd name="connsiteY239" fmla="*/ 111125 h 620717"/>
                <a:gd name="connsiteX240" fmla="*/ 388937 w 514350"/>
                <a:gd name="connsiteY240" fmla="*/ 100012 h 620717"/>
                <a:gd name="connsiteX241" fmla="*/ 390525 w 514350"/>
                <a:gd name="connsiteY241" fmla="*/ 93662 h 620717"/>
                <a:gd name="connsiteX242" fmla="*/ 401637 w 514350"/>
                <a:gd name="connsiteY242" fmla="*/ 95250 h 620717"/>
                <a:gd name="connsiteX243" fmla="*/ 423862 w 514350"/>
                <a:gd name="connsiteY243" fmla="*/ 93662 h 620717"/>
                <a:gd name="connsiteX244" fmla="*/ 430212 w 514350"/>
                <a:gd name="connsiteY244" fmla="*/ 87312 h 620717"/>
                <a:gd name="connsiteX245" fmla="*/ 437057 w 514350"/>
                <a:gd name="connsiteY245" fmla="*/ 70860 h 620717"/>
                <a:gd name="connsiteX246" fmla="*/ 443914 w 514350"/>
                <a:gd name="connsiteY246" fmla="*/ 64084 h 620717"/>
                <a:gd name="connsiteX247" fmla="*/ 451852 w 514350"/>
                <a:gd name="connsiteY247" fmla="*/ 72772 h 620717"/>
                <a:gd name="connsiteX248" fmla="*/ 450399 w 514350"/>
                <a:gd name="connsiteY248" fmla="*/ 73819 h 620717"/>
                <a:gd name="connsiteX249" fmla="*/ 455612 w 514350"/>
                <a:gd name="connsiteY249" fmla="*/ 69850 h 620717"/>
                <a:gd name="connsiteX250" fmla="*/ 461962 w 514350"/>
                <a:gd name="connsiteY250" fmla="*/ 68262 h 620717"/>
                <a:gd name="connsiteX251" fmla="*/ 466725 w 514350"/>
                <a:gd name="connsiteY251" fmla="*/ 61912 h 620717"/>
                <a:gd name="connsiteX252" fmla="*/ 492125 w 514350"/>
                <a:gd name="connsiteY252" fmla="*/ 53975 h 620717"/>
                <a:gd name="connsiteX253" fmla="*/ 496887 w 514350"/>
                <a:gd name="connsiteY253" fmla="*/ 49212 h 620717"/>
                <a:gd name="connsiteX254" fmla="*/ 500062 w 514350"/>
                <a:gd name="connsiteY254" fmla="*/ 41275 h 620717"/>
                <a:gd name="connsiteX255" fmla="*/ 496887 w 514350"/>
                <a:gd name="connsiteY255"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29887 w 514350"/>
                <a:gd name="connsiteY9" fmla="*/ 34766 h 620717"/>
                <a:gd name="connsiteX10" fmla="*/ 421653 w 514350"/>
                <a:gd name="connsiteY10" fmla="*/ 43507 h 620717"/>
                <a:gd name="connsiteX11" fmla="*/ 421003 w 514350"/>
                <a:gd name="connsiteY11" fmla="*/ 30397 h 620717"/>
                <a:gd name="connsiteX12" fmla="*/ 415884 w 514350"/>
                <a:gd name="connsiteY12" fmla="*/ 9813 h 620717"/>
                <a:gd name="connsiteX13" fmla="*/ 401637 w 514350"/>
                <a:gd name="connsiteY13" fmla="*/ 12700 h 620717"/>
                <a:gd name="connsiteX14" fmla="*/ 352425 w 514350"/>
                <a:gd name="connsiteY14" fmla="*/ 19050 h 620717"/>
                <a:gd name="connsiteX15" fmla="*/ 350837 w 514350"/>
                <a:gd name="connsiteY15" fmla="*/ 23812 h 620717"/>
                <a:gd name="connsiteX16" fmla="*/ 352425 w 514350"/>
                <a:gd name="connsiteY16" fmla="*/ 38100 h 620717"/>
                <a:gd name="connsiteX17" fmla="*/ 357187 w 514350"/>
                <a:gd name="connsiteY17" fmla="*/ 44450 h 620717"/>
                <a:gd name="connsiteX18" fmla="*/ 349250 w 514350"/>
                <a:gd name="connsiteY18" fmla="*/ 58737 h 620717"/>
                <a:gd name="connsiteX19" fmla="*/ 328612 w 514350"/>
                <a:gd name="connsiteY19" fmla="*/ 60325 h 620717"/>
                <a:gd name="connsiteX20" fmla="*/ 307975 w 514350"/>
                <a:gd name="connsiteY20" fmla="*/ 68262 h 620717"/>
                <a:gd name="connsiteX21" fmla="*/ 295275 w 514350"/>
                <a:gd name="connsiteY21" fmla="*/ 73025 h 620717"/>
                <a:gd name="connsiteX22" fmla="*/ 292100 w 514350"/>
                <a:gd name="connsiteY22" fmla="*/ 77787 h 620717"/>
                <a:gd name="connsiteX23" fmla="*/ 296862 w 514350"/>
                <a:gd name="connsiteY23" fmla="*/ 79375 h 620717"/>
                <a:gd name="connsiteX24" fmla="*/ 311150 w 514350"/>
                <a:gd name="connsiteY24" fmla="*/ 82550 h 620717"/>
                <a:gd name="connsiteX25" fmla="*/ 319087 w 514350"/>
                <a:gd name="connsiteY25" fmla="*/ 87312 h 620717"/>
                <a:gd name="connsiteX26" fmla="*/ 323850 w 514350"/>
                <a:gd name="connsiteY26" fmla="*/ 88900 h 620717"/>
                <a:gd name="connsiteX27" fmla="*/ 336550 w 514350"/>
                <a:gd name="connsiteY27" fmla="*/ 103187 h 620717"/>
                <a:gd name="connsiteX28" fmla="*/ 334962 w 514350"/>
                <a:gd name="connsiteY28" fmla="*/ 114300 h 620717"/>
                <a:gd name="connsiteX29" fmla="*/ 330200 w 514350"/>
                <a:gd name="connsiteY29" fmla="*/ 115887 h 620717"/>
                <a:gd name="connsiteX30" fmla="*/ 315912 w 514350"/>
                <a:gd name="connsiteY30" fmla="*/ 130175 h 620717"/>
                <a:gd name="connsiteX31" fmla="*/ 307975 w 514350"/>
                <a:gd name="connsiteY31" fmla="*/ 131762 h 620717"/>
                <a:gd name="connsiteX32" fmla="*/ 300037 w 514350"/>
                <a:gd name="connsiteY32" fmla="*/ 134937 h 620717"/>
                <a:gd name="connsiteX33" fmla="*/ 296862 w 514350"/>
                <a:gd name="connsiteY33" fmla="*/ 142875 h 620717"/>
                <a:gd name="connsiteX34" fmla="*/ 282575 w 514350"/>
                <a:gd name="connsiteY34" fmla="*/ 157162 h 620717"/>
                <a:gd name="connsiteX35" fmla="*/ 273050 w 514350"/>
                <a:gd name="connsiteY35" fmla="*/ 153987 h 620717"/>
                <a:gd name="connsiteX36" fmla="*/ 261937 w 514350"/>
                <a:gd name="connsiteY36" fmla="*/ 147637 h 620717"/>
                <a:gd name="connsiteX37" fmla="*/ 242887 w 514350"/>
                <a:gd name="connsiteY37" fmla="*/ 149225 h 620717"/>
                <a:gd name="connsiteX38" fmla="*/ 236537 w 514350"/>
                <a:gd name="connsiteY38" fmla="*/ 150812 h 620717"/>
                <a:gd name="connsiteX39" fmla="*/ 231775 w 514350"/>
                <a:gd name="connsiteY39" fmla="*/ 142875 h 620717"/>
                <a:gd name="connsiteX40" fmla="*/ 225425 w 514350"/>
                <a:gd name="connsiteY40" fmla="*/ 123825 h 620717"/>
                <a:gd name="connsiteX41" fmla="*/ 219075 w 514350"/>
                <a:gd name="connsiteY41" fmla="*/ 122237 h 620717"/>
                <a:gd name="connsiteX42" fmla="*/ 204787 w 514350"/>
                <a:gd name="connsiteY42" fmla="*/ 120650 h 620717"/>
                <a:gd name="connsiteX43" fmla="*/ 190500 w 514350"/>
                <a:gd name="connsiteY43" fmla="*/ 117475 h 620717"/>
                <a:gd name="connsiteX44" fmla="*/ 182562 w 514350"/>
                <a:gd name="connsiteY44" fmla="*/ 111125 h 620717"/>
                <a:gd name="connsiteX45" fmla="*/ 174625 w 514350"/>
                <a:gd name="connsiteY45" fmla="*/ 104775 h 620717"/>
                <a:gd name="connsiteX46" fmla="*/ 152400 w 514350"/>
                <a:gd name="connsiteY46" fmla="*/ 106362 h 620717"/>
                <a:gd name="connsiteX47" fmla="*/ 150812 w 514350"/>
                <a:gd name="connsiteY47" fmla="*/ 117475 h 620717"/>
                <a:gd name="connsiteX48" fmla="*/ 133350 w 514350"/>
                <a:gd name="connsiteY48" fmla="*/ 120650 h 620717"/>
                <a:gd name="connsiteX49" fmla="*/ 138112 w 514350"/>
                <a:gd name="connsiteY49" fmla="*/ 123825 h 620717"/>
                <a:gd name="connsiteX50" fmla="*/ 139700 w 514350"/>
                <a:gd name="connsiteY50" fmla="*/ 128587 h 620717"/>
                <a:gd name="connsiteX51" fmla="*/ 146050 w 514350"/>
                <a:gd name="connsiteY51" fmla="*/ 131762 h 620717"/>
                <a:gd name="connsiteX52" fmla="*/ 147637 w 514350"/>
                <a:gd name="connsiteY52" fmla="*/ 138112 h 620717"/>
                <a:gd name="connsiteX53" fmla="*/ 123825 w 514350"/>
                <a:gd name="connsiteY53" fmla="*/ 146050 h 620717"/>
                <a:gd name="connsiteX54" fmla="*/ 117475 w 514350"/>
                <a:gd name="connsiteY54" fmla="*/ 155575 h 620717"/>
                <a:gd name="connsiteX55" fmla="*/ 112712 w 514350"/>
                <a:gd name="connsiteY55" fmla="*/ 157162 h 620717"/>
                <a:gd name="connsiteX56" fmla="*/ 125412 w 514350"/>
                <a:gd name="connsiteY56" fmla="*/ 161925 h 620717"/>
                <a:gd name="connsiteX57" fmla="*/ 130175 w 514350"/>
                <a:gd name="connsiteY57" fmla="*/ 163512 h 620717"/>
                <a:gd name="connsiteX58" fmla="*/ 142875 w 514350"/>
                <a:gd name="connsiteY58" fmla="*/ 166687 h 620717"/>
                <a:gd name="connsiteX59" fmla="*/ 147637 w 514350"/>
                <a:gd name="connsiteY59" fmla="*/ 173037 h 620717"/>
                <a:gd name="connsiteX60" fmla="*/ 152400 w 514350"/>
                <a:gd name="connsiteY60" fmla="*/ 177800 h 620717"/>
                <a:gd name="connsiteX61" fmla="*/ 146050 w 514350"/>
                <a:gd name="connsiteY61" fmla="*/ 179387 h 620717"/>
                <a:gd name="connsiteX62" fmla="*/ 149225 w 514350"/>
                <a:gd name="connsiteY62" fmla="*/ 185737 h 620717"/>
                <a:gd name="connsiteX63" fmla="*/ 153987 w 514350"/>
                <a:gd name="connsiteY63" fmla="*/ 187325 h 620717"/>
                <a:gd name="connsiteX64" fmla="*/ 168275 w 514350"/>
                <a:gd name="connsiteY64" fmla="*/ 190500 h 620717"/>
                <a:gd name="connsiteX65" fmla="*/ 165100 w 514350"/>
                <a:gd name="connsiteY65" fmla="*/ 198437 h 620717"/>
                <a:gd name="connsiteX66" fmla="*/ 160337 w 514350"/>
                <a:gd name="connsiteY66" fmla="*/ 200025 h 620717"/>
                <a:gd name="connsiteX67" fmla="*/ 139700 w 514350"/>
                <a:gd name="connsiteY67" fmla="*/ 196850 h 620717"/>
                <a:gd name="connsiteX68" fmla="*/ 153987 w 514350"/>
                <a:gd name="connsiteY68" fmla="*/ 211137 h 620717"/>
                <a:gd name="connsiteX69" fmla="*/ 152400 w 514350"/>
                <a:gd name="connsiteY69" fmla="*/ 217487 h 620717"/>
                <a:gd name="connsiteX70" fmla="*/ 138112 w 514350"/>
                <a:gd name="connsiteY70" fmla="*/ 219075 h 620717"/>
                <a:gd name="connsiteX71" fmla="*/ 142875 w 514350"/>
                <a:gd name="connsiteY71" fmla="*/ 223837 h 620717"/>
                <a:gd name="connsiteX72" fmla="*/ 141287 w 514350"/>
                <a:gd name="connsiteY72" fmla="*/ 228600 h 620717"/>
                <a:gd name="connsiteX73" fmla="*/ 107950 w 514350"/>
                <a:gd name="connsiteY73" fmla="*/ 231775 h 620717"/>
                <a:gd name="connsiteX74" fmla="*/ 95250 w 514350"/>
                <a:gd name="connsiteY74" fmla="*/ 233362 h 620717"/>
                <a:gd name="connsiteX75" fmla="*/ 92075 w 514350"/>
                <a:gd name="connsiteY75" fmla="*/ 247650 h 620717"/>
                <a:gd name="connsiteX76" fmla="*/ 93662 w 514350"/>
                <a:gd name="connsiteY76" fmla="*/ 252412 h 620717"/>
                <a:gd name="connsiteX77" fmla="*/ 109537 w 514350"/>
                <a:gd name="connsiteY77" fmla="*/ 260350 h 620717"/>
                <a:gd name="connsiteX78" fmla="*/ 114300 w 514350"/>
                <a:gd name="connsiteY78" fmla="*/ 263525 h 620717"/>
                <a:gd name="connsiteX79" fmla="*/ 119062 w 514350"/>
                <a:gd name="connsiteY79" fmla="*/ 268287 h 620717"/>
                <a:gd name="connsiteX80" fmla="*/ 123825 w 514350"/>
                <a:gd name="connsiteY80" fmla="*/ 269875 h 620717"/>
                <a:gd name="connsiteX81" fmla="*/ 128587 w 514350"/>
                <a:gd name="connsiteY81" fmla="*/ 273050 h 620717"/>
                <a:gd name="connsiteX82" fmla="*/ 114300 w 514350"/>
                <a:gd name="connsiteY82" fmla="*/ 279400 h 620717"/>
                <a:gd name="connsiteX83" fmla="*/ 109537 w 514350"/>
                <a:gd name="connsiteY83" fmla="*/ 284162 h 620717"/>
                <a:gd name="connsiteX84" fmla="*/ 111125 w 514350"/>
                <a:gd name="connsiteY84" fmla="*/ 293687 h 620717"/>
                <a:gd name="connsiteX85" fmla="*/ 125412 w 514350"/>
                <a:gd name="connsiteY85" fmla="*/ 296862 h 620717"/>
                <a:gd name="connsiteX86" fmla="*/ 136525 w 514350"/>
                <a:gd name="connsiteY86" fmla="*/ 301625 h 620717"/>
                <a:gd name="connsiteX87" fmla="*/ 142875 w 514350"/>
                <a:gd name="connsiteY87" fmla="*/ 303212 h 620717"/>
                <a:gd name="connsiteX88" fmla="*/ 146050 w 514350"/>
                <a:gd name="connsiteY88" fmla="*/ 311150 h 620717"/>
                <a:gd name="connsiteX89" fmla="*/ 158750 w 514350"/>
                <a:gd name="connsiteY89" fmla="*/ 315912 h 620717"/>
                <a:gd name="connsiteX90" fmla="*/ 193675 w 514350"/>
                <a:gd name="connsiteY90" fmla="*/ 317500 h 620717"/>
                <a:gd name="connsiteX91" fmla="*/ 209550 w 514350"/>
                <a:gd name="connsiteY91" fmla="*/ 320675 h 620717"/>
                <a:gd name="connsiteX92" fmla="*/ 204787 w 514350"/>
                <a:gd name="connsiteY92" fmla="*/ 323850 h 620717"/>
                <a:gd name="connsiteX93" fmla="*/ 200025 w 514350"/>
                <a:gd name="connsiteY93" fmla="*/ 325437 h 620717"/>
                <a:gd name="connsiteX94" fmla="*/ 190500 w 514350"/>
                <a:gd name="connsiteY94" fmla="*/ 331787 h 620717"/>
                <a:gd name="connsiteX95" fmla="*/ 182562 w 514350"/>
                <a:gd name="connsiteY95" fmla="*/ 338137 h 620717"/>
                <a:gd name="connsiteX96" fmla="*/ 176212 w 514350"/>
                <a:gd name="connsiteY96" fmla="*/ 341312 h 620717"/>
                <a:gd name="connsiteX97" fmla="*/ 171450 w 514350"/>
                <a:gd name="connsiteY97" fmla="*/ 344487 h 620717"/>
                <a:gd name="connsiteX98" fmla="*/ 161925 w 514350"/>
                <a:gd name="connsiteY98" fmla="*/ 347662 h 620717"/>
                <a:gd name="connsiteX99" fmla="*/ 149225 w 514350"/>
                <a:gd name="connsiteY99" fmla="*/ 365125 h 620717"/>
                <a:gd name="connsiteX100" fmla="*/ 139700 w 514350"/>
                <a:gd name="connsiteY100" fmla="*/ 382587 h 620717"/>
                <a:gd name="connsiteX101" fmla="*/ 134937 w 514350"/>
                <a:gd name="connsiteY101" fmla="*/ 384175 h 620717"/>
                <a:gd name="connsiteX102" fmla="*/ 133350 w 514350"/>
                <a:gd name="connsiteY102" fmla="*/ 388937 h 620717"/>
                <a:gd name="connsiteX103" fmla="*/ 128587 w 514350"/>
                <a:gd name="connsiteY103" fmla="*/ 392112 h 620717"/>
                <a:gd name="connsiteX104" fmla="*/ 120650 w 514350"/>
                <a:gd name="connsiteY104" fmla="*/ 398462 h 620717"/>
                <a:gd name="connsiteX105" fmla="*/ 114300 w 514350"/>
                <a:gd name="connsiteY105" fmla="*/ 409575 h 620717"/>
                <a:gd name="connsiteX106" fmla="*/ 109537 w 514350"/>
                <a:gd name="connsiteY106" fmla="*/ 411162 h 620717"/>
                <a:gd name="connsiteX107" fmla="*/ 92075 w 514350"/>
                <a:gd name="connsiteY107" fmla="*/ 414337 h 620717"/>
                <a:gd name="connsiteX108" fmla="*/ 92075 w 514350"/>
                <a:gd name="connsiteY108" fmla="*/ 433387 h 620717"/>
                <a:gd name="connsiteX109" fmla="*/ 79375 w 514350"/>
                <a:gd name="connsiteY109" fmla="*/ 441325 h 620717"/>
                <a:gd name="connsiteX110" fmla="*/ 73025 w 514350"/>
                <a:gd name="connsiteY110" fmla="*/ 455612 h 620717"/>
                <a:gd name="connsiteX111" fmla="*/ 69850 w 514350"/>
                <a:gd name="connsiteY111" fmla="*/ 463550 h 620717"/>
                <a:gd name="connsiteX112" fmla="*/ 65087 w 514350"/>
                <a:gd name="connsiteY112" fmla="*/ 465137 h 620717"/>
                <a:gd name="connsiteX113" fmla="*/ 38100 w 514350"/>
                <a:gd name="connsiteY113" fmla="*/ 466725 h 620717"/>
                <a:gd name="connsiteX114" fmla="*/ 34925 w 514350"/>
                <a:gd name="connsiteY114" fmla="*/ 473075 h 620717"/>
                <a:gd name="connsiteX115" fmla="*/ 30162 w 514350"/>
                <a:gd name="connsiteY115" fmla="*/ 476250 h 620717"/>
                <a:gd name="connsiteX116" fmla="*/ 0 w 514350"/>
                <a:gd name="connsiteY116" fmla="*/ 477837 h 620717"/>
                <a:gd name="connsiteX117" fmla="*/ 4762 w 514350"/>
                <a:gd name="connsiteY117" fmla="*/ 484187 h 620717"/>
                <a:gd name="connsiteX118" fmla="*/ 23812 w 514350"/>
                <a:gd name="connsiteY118" fmla="*/ 485775 h 620717"/>
                <a:gd name="connsiteX119" fmla="*/ 30162 w 514350"/>
                <a:gd name="connsiteY119" fmla="*/ 487362 h 620717"/>
                <a:gd name="connsiteX120" fmla="*/ 39687 w 514350"/>
                <a:gd name="connsiteY120" fmla="*/ 488950 h 620717"/>
                <a:gd name="connsiteX121" fmla="*/ 33337 w 514350"/>
                <a:gd name="connsiteY121" fmla="*/ 492125 h 620717"/>
                <a:gd name="connsiteX122" fmla="*/ 25400 w 514350"/>
                <a:gd name="connsiteY122" fmla="*/ 493712 h 620717"/>
                <a:gd name="connsiteX123" fmla="*/ 19050 w 514350"/>
                <a:gd name="connsiteY123" fmla="*/ 495300 h 620717"/>
                <a:gd name="connsiteX124" fmla="*/ 14287 w 514350"/>
                <a:gd name="connsiteY124" fmla="*/ 498475 h 620717"/>
                <a:gd name="connsiteX125" fmla="*/ 4762 w 514350"/>
                <a:gd name="connsiteY125" fmla="*/ 503237 h 620717"/>
                <a:gd name="connsiteX126" fmla="*/ 3175 w 514350"/>
                <a:gd name="connsiteY126" fmla="*/ 508000 h 620717"/>
                <a:gd name="connsiteX127" fmla="*/ 4762 w 514350"/>
                <a:gd name="connsiteY127" fmla="*/ 530225 h 620717"/>
                <a:gd name="connsiteX128" fmla="*/ 11112 w 514350"/>
                <a:gd name="connsiteY128" fmla="*/ 533400 h 620717"/>
                <a:gd name="connsiteX129" fmla="*/ 20637 w 514350"/>
                <a:gd name="connsiteY129" fmla="*/ 534987 h 620717"/>
                <a:gd name="connsiteX130" fmla="*/ 26987 w 514350"/>
                <a:gd name="connsiteY130" fmla="*/ 536575 h 620717"/>
                <a:gd name="connsiteX131" fmla="*/ 39687 w 514350"/>
                <a:gd name="connsiteY131" fmla="*/ 542925 h 620717"/>
                <a:gd name="connsiteX132" fmla="*/ 44450 w 514350"/>
                <a:gd name="connsiteY132" fmla="*/ 546100 h 620717"/>
                <a:gd name="connsiteX133" fmla="*/ 58737 w 514350"/>
                <a:gd name="connsiteY133" fmla="*/ 547687 h 620717"/>
                <a:gd name="connsiteX134" fmla="*/ 47625 w 514350"/>
                <a:gd name="connsiteY134" fmla="*/ 555625 h 620717"/>
                <a:gd name="connsiteX135" fmla="*/ 30162 w 514350"/>
                <a:gd name="connsiteY135" fmla="*/ 558800 h 620717"/>
                <a:gd name="connsiteX136" fmla="*/ 7937 w 514350"/>
                <a:gd name="connsiteY136" fmla="*/ 563562 h 620717"/>
                <a:gd name="connsiteX137" fmla="*/ 7937 w 514350"/>
                <a:gd name="connsiteY137" fmla="*/ 576262 h 620717"/>
                <a:gd name="connsiteX138" fmla="*/ 17462 w 514350"/>
                <a:gd name="connsiteY138" fmla="*/ 577850 h 620717"/>
                <a:gd name="connsiteX139" fmla="*/ 39687 w 514350"/>
                <a:gd name="connsiteY139" fmla="*/ 581025 h 620717"/>
                <a:gd name="connsiteX140" fmla="*/ 47625 w 514350"/>
                <a:gd name="connsiteY140" fmla="*/ 582612 h 620717"/>
                <a:gd name="connsiteX141" fmla="*/ 61912 w 514350"/>
                <a:gd name="connsiteY141" fmla="*/ 584200 h 620717"/>
                <a:gd name="connsiteX142" fmla="*/ 66675 w 514350"/>
                <a:gd name="connsiteY142" fmla="*/ 587375 h 620717"/>
                <a:gd name="connsiteX143" fmla="*/ 53975 w 514350"/>
                <a:gd name="connsiteY143" fmla="*/ 593725 h 620717"/>
                <a:gd name="connsiteX144" fmla="*/ 52387 w 514350"/>
                <a:gd name="connsiteY144" fmla="*/ 601662 h 620717"/>
                <a:gd name="connsiteX145" fmla="*/ 50800 w 514350"/>
                <a:gd name="connsiteY145" fmla="*/ 606425 h 620717"/>
                <a:gd name="connsiteX146" fmla="*/ 55562 w 514350"/>
                <a:gd name="connsiteY146" fmla="*/ 614362 h 620717"/>
                <a:gd name="connsiteX147" fmla="*/ 79375 w 514350"/>
                <a:gd name="connsiteY147" fmla="*/ 609600 h 620717"/>
                <a:gd name="connsiteX148" fmla="*/ 123825 w 514350"/>
                <a:gd name="connsiteY148" fmla="*/ 612775 h 620717"/>
                <a:gd name="connsiteX149" fmla="*/ 130175 w 514350"/>
                <a:gd name="connsiteY149" fmla="*/ 617537 h 620717"/>
                <a:gd name="connsiteX150" fmla="*/ 144462 w 514350"/>
                <a:gd name="connsiteY150" fmla="*/ 620712 h 620717"/>
                <a:gd name="connsiteX151" fmla="*/ 173037 w 514350"/>
                <a:gd name="connsiteY151" fmla="*/ 617537 h 620717"/>
                <a:gd name="connsiteX152" fmla="*/ 180975 w 514350"/>
                <a:gd name="connsiteY152" fmla="*/ 614362 h 620717"/>
                <a:gd name="connsiteX153" fmla="*/ 187325 w 514350"/>
                <a:gd name="connsiteY153" fmla="*/ 609600 h 620717"/>
                <a:gd name="connsiteX154" fmla="*/ 196850 w 514350"/>
                <a:gd name="connsiteY154" fmla="*/ 606425 h 620717"/>
                <a:gd name="connsiteX155" fmla="*/ 198437 w 514350"/>
                <a:gd name="connsiteY155" fmla="*/ 600075 h 620717"/>
                <a:gd name="connsiteX156" fmla="*/ 203200 w 514350"/>
                <a:gd name="connsiteY156" fmla="*/ 595312 h 620717"/>
                <a:gd name="connsiteX157" fmla="*/ 215900 w 514350"/>
                <a:gd name="connsiteY157" fmla="*/ 581025 h 620717"/>
                <a:gd name="connsiteX158" fmla="*/ 230187 w 514350"/>
                <a:gd name="connsiteY158" fmla="*/ 582612 h 620717"/>
                <a:gd name="connsiteX159" fmla="*/ 238125 w 514350"/>
                <a:gd name="connsiteY159" fmla="*/ 584200 h 620717"/>
                <a:gd name="connsiteX160" fmla="*/ 261937 w 514350"/>
                <a:gd name="connsiteY160" fmla="*/ 581025 h 620717"/>
                <a:gd name="connsiteX161" fmla="*/ 263525 w 514350"/>
                <a:gd name="connsiteY161" fmla="*/ 576262 h 620717"/>
                <a:gd name="connsiteX162" fmla="*/ 266700 w 514350"/>
                <a:gd name="connsiteY162" fmla="*/ 582612 h 620717"/>
                <a:gd name="connsiteX163" fmla="*/ 277812 w 514350"/>
                <a:gd name="connsiteY163" fmla="*/ 590550 h 620717"/>
                <a:gd name="connsiteX164" fmla="*/ 279400 w 514350"/>
                <a:gd name="connsiteY164" fmla="*/ 579437 h 620717"/>
                <a:gd name="connsiteX165" fmla="*/ 287337 w 514350"/>
                <a:gd name="connsiteY165" fmla="*/ 571500 h 620717"/>
                <a:gd name="connsiteX166" fmla="*/ 290512 w 514350"/>
                <a:gd name="connsiteY166" fmla="*/ 566737 h 620717"/>
                <a:gd name="connsiteX167" fmla="*/ 311150 w 514350"/>
                <a:gd name="connsiteY167" fmla="*/ 558800 h 620717"/>
                <a:gd name="connsiteX168" fmla="*/ 354012 w 514350"/>
                <a:gd name="connsiteY168" fmla="*/ 554037 h 620717"/>
                <a:gd name="connsiteX169" fmla="*/ 360362 w 514350"/>
                <a:gd name="connsiteY169" fmla="*/ 561975 h 620717"/>
                <a:gd name="connsiteX170" fmla="*/ 365125 w 514350"/>
                <a:gd name="connsiteY170" fmla="*/ 563562 h 620717"/>
                <a:gd name="connsiteX171" fmla="*/ 366712 w 514350"/>
                <a:gd name="connsiteY171" fmla="*/ 557212 h 620717"/>
                <a:gd name="connsiteX172" fmla="*/ 368300 w 514350"/>
                <a:gd name="connsiteY172" fmla="*/ 552450 h 620717"/>
                <a:gd name="connsiteX173" fmla="*/ 377825 w 514350"/>
                <a:gd name="connsiteY173" fmla="*/ 557212 h 620717"/>
                <a:gd name="connsiteX174" fmla="*/ 382587 w 514350"/>
                <a:gd name="connsiteY174" fmla="*/ 563562 h 620717"/>
                <a:gd name="connsiteX175" fmla="*/ 404812 w 514350"/>
                <a:gd name="connsiteY175" fmla="*/ 565150 h 620717"/>
                <a:gd name="connsiteX176" fmla="*/ 414337 w 514350"/>
                <a:gd name="connsiteY176" fmla="*/ 571500 h 620717"/>
                <a:gd name="connsiteX177" fmla="*/ 419100 w 514350"/>
                <a:gd name="connsiteY177" fmla="*/ 574675 h 620717"/>
                <a:gd name="connsiteX178" fmla="*/ 436562 w 514350"/>
                <a:gd name="connsiteY178" fmla="*/ 573087 h 620717"/>
                <a:gd name="connsiteX179" fmla="*/ 434975 w 514350"/>
                <a:gd name="connsiteY179" fmla="*/ 566737 h 620717"/>
                <a:gd name="connsiteX180" fmla="*/ 430212 w 514350"/>
                <a:gd name="connsiteY180" fmla="*/ 546100 h 620717"/>
                <a:gd name="connsiteX181" fmla="*/ 433387 w 514350"/>
                <a:gd name="connsiteY181" fmla="*/ 531812 h 620717"/>
                <a:gd name="connsiteX182" fmla="*/ 446087 w 514350"/>
                <a:gd name="connsiteY182" fmla="*/ 525462 h 620717"/>
                <a:gd name="connsiteX183" fmla="*/ 452437 w 514350"/>
                <a:gd name="connsiteY183" fmla="*/ 519112 h 620717"/>
                <a:gd name="connsiteX184" fmla="*/ 463550 w 514350"/>
                <a:gd name="connsiteY184" fmla="*/ 514350 h 620717"/>
                <a:gd name="connsiteX185" fmla="*/ 465137 w 514350"/>
                <a:gd name="connsiteY185" fmla="*/ 508000 h 620717"/>
                <a:gd name="connsiteX186" fmla="*/ 466725 w 514350"/>
                <a:gd name="connsiteY186" fmla="*/ 485775 h 620717"/>
                <a:gd name="connsiteX187" fmla="*/ 482600 w 514350"/>
                <a:gd name="connsiteY187" fmla="*/ 474662 h 620717"/>
                <a:gd name="connsiteX188" fmla="*/ 495300 w 514350"/>
                <a:gd name="connsiteY188" fmla="*/ 458787 h 620717"/>
                <a:gd name="connsiteX189" fmla="*/ 501650 w 514350"/>
                <a:gd name="connsiteY189" fmla="*/ 438150 h 620717"/>
                <a:gd name="connsiteX190" fmla="*/ 506412 w 514350"/>
                <a:gd name="connsiteY190" fmla="*/ 433387 h 620717"/>
                <a:gd name="connsiteX191" fmla="*/ 506412 w 514350"/>
                <a:gd name="connsiteY191" fmla="*/ 401637 h 620717"/>
                <a:gd name="connsiteX192" fmla="*/ 501650 w 514350"/>
                <a:gd name="connsiteY192" fmla="*/ 398462 h 620717"/>
                <a:gd name="connsiteX193" fmla="*/ 498475 w 514350"/>
                <a:gd name="connsiteY193" fmla="*/ 392112 h 620717"/>
                <a:gd name="connsiteX194" fmla="*/ 503237 w 514350"/>
                <a:gd name="connsiteY194" fmla="*/ 360362 h 620717"/>
                <a:gd name="connsiteX195" fmla="*/ 508000 w 514350"/>
                <a:gd name="connsiteY195" fmla="*/ 355600 h 620717"/>
                <a:gd name="connsiteX196" fmla="*/ 514350 w 514350"/>
                <a:gd name="connsiteY196" fmla="*/ 346075 h 620717"/>
                <a:gd name="connsiteX197" fmla="*/ 511175 w 514350"/>
                <a:gd name="connsiteY197" fmla="*/ 331787 h 620717"/>
                <a:gd name="connsiteX198" fmla="*/ 506412 w 514350"/>
                <a:gd name="connsiteY198" fmla="*/ 327025 h 620717"/>
                <a:gd name="connsiteX199" fmla="*/ 504825 w 514350"/>
                <a:gd name="connsiteY199" fmla="*/ 315912 h 620717"/>
                <a:gd name="connsiteX200" fmla="*/ 508000 w 514350"/>
                <a:gd name="connsiteY200" fmla="*/ 290512 h 620717"/>
                <a:gd name="connsiteX201" fmla="*/ 506412 w 514350"/>
                <a:gd name="connsiteY201" fmla="*/ 282575 h 620717"/>
                <a:gd name="connsiteX202" fmla="*/ 495300 w 514350"/>
                <a:gd name="connsiteY202" fmla="*/ 276225 h 620717"/>
                <a:gd name="connsiteX203" fmla="*/ 496887 w 514350"/>
                <a:gd name="connsiteY203" fmla="*/ 268287 h 620717"/>
                <a:gd name="connsiteX204" fmla="*/ 501650 w 514350"/>
                <a:gd name="connsiteY204" fmla="*/ 266700 h 620717"/>
                <a:gd name="connsiteX205" fmla="*/ 506412 w 514350"/>
                <a:gd name="connsiteY205" fmla="*/ 263525 h 620717"/>
                <a:gd name="connsiteX206" fmla="*/ 509587 w 514350"/>
                <a:gd name="connsiteY206" fmla="*/ 258762 h 620717"/>
                <a:gd name="connsiteX207" fmla="*/ 511175 w 514350"/>
                <a:gd name="connsiteY207" fmla="*/ 254000 h 620717"/>
                <a:gd name="connsiteX208" fmla="*/ 514350 w 514350"/>
                <a:gd name="connsiteY208" fmla="*/ 246062 h 620717"/>
                <a:gd name="connsiteX209" fmla="*/ 512762 w 514350"/>
                <a:gd name="connsiteY209" fmla="*/ 239712 h 620717"/>
                <a:gd name="connsiteX210" fmla="*/ 496887 w 514350"/>
                <a:gd name="connsiteY210" fmla="*/ 239712 h 620717"/>
                <a:gd name="connsiteX211" fmla="*/ 492125 w 514350"/>
                <a:gd name="connsiteY211" fmla="*/ 241300 h 620717"/>
                <a:gd name="connsiteX212" fmla="*/ 485775 w 514350"/>
                <a:gd name="connsiteY212" fmla="*/ 244475 h 620717"/>
                <a:gd name="connsiteX213" fmla="*/ 481012 w 514350"/>
                <a:gd name="connsiteY213" fmla="*/ 234950 h 620717"/>
                <a:gd name="connsiteX214" fmla="*/ 479425 w 514350"/>
                <a:gd name="connsiteY214" fmla="*/ 222250 h 620717"/>
                <a:gd name="connsiteX215" fmla="*/ 477837 w 514350"/>
                <a:gd name="connsiteY215" fmla="*/ 215900 h 620717"/>
                <a:gd name="connsiteX216" fmla="*/ 473075 w 514350"/>
                <a:gd name="connsiteY216" fmla="*/ 190500 h 620717"/>
                <a:gd name="connsiteX217" fmla="*/ 468312 w 514350"/>
                <a:gd name="connsiteY217" fmla="*/ 176212 h 620717"/>
                <a:gd name="connsiteX218" fmla="*/ 458787 w 514350"/>
                <a:gd name="connsiteY218" fmla="*/ 171450 h 620717"/>
                <a:gd name="connsiteX219" fmla="*/ 449262 w 514350"/>
                <a:gd name="connsiteY219" fmla="*/ 173037 h 620717"/>
                <a:gd name="connsiteX220" fmla="*/ 438150 w 514350"/>
                <a:gd name="connsiteY220" fmla="*/ 182562 h 620717"/>
                <a:gd name="connsiteX221" fmla="*/ 434975 w 514350"/>
                <a:gd name="connsiteY221" fmla="*/ 188912 h 620717"/>
                <a:gd name="connsiteX222" fmla="*/ 428625 w 514350"/>
                <a:gd name="connsiteY222" fmla="*/ 196850 h 620717"/>
                <a:gd name="connsiteX223" fmla="*/ 417512 w 514350"/>
                <a:gd name="connsiteY223" fmla="*/ 206375 h 620717"/>
                <a:gd name="connsiteX224" fmla="*/ 412750 w 514350"/>
                <a:gd name="connsiteY224" fmla="*/ 207962 h 620717"/>
                <a:gd name="connsiteX225" fmla="*/ 401637 w 514350"/>
                <a:gd name="connsiteY225" fmla="*/ 206375 h 620717"/>
                <a:gd name="connsiteX226" fmla="*/ 395287 w 514350"/>
                <a:gd name="connsiteY226" fmla="*/ 200025 h 620717"/>
                <a:gd name="connsiteX227" fmla="*/ 390525 w 514350"/>
                <a:gd name="connsiteY227" fmla="*/ 196850 h 620717"/>
                <a:gd name="connsiteX228" fmla="*/ 385762 w 514350"/>
                <a:gd name="connsiteY228" fmla="*/ 190500 h 620717"/>
                <a:gd name="connsiteX229" fmla="*/ 368300 w 514350"/>
                <a:gd name="connsiteY229" fmla="*/ 171450 h 620717"/>
                <a:gd name="connsiteX230" fmla="*/ 363537 w 514350"/>
                <a:gd name="connsiteY230" fmla="*/ 160337 h 620717"/>
                <a:gd name="connsiteX231" fmla="*/ 358775 w 514350"/>
                <a:gd name="connsiteY231" fmla="*/ 157162 h 620717"/>
                <a:gd name="connsiteX232" fmla="*/ 349250 w 514350"/>
                <a:gd name="connsiteY232" fmla="*/ 144462 h 620717"/>
                <a:gd name="connsiteX233" fmla="*/ 346075 w 514350"/>
                <a:gd name="connsiteY233" fmla="*/ 138112 h 620717"/>
                <a:gd name="connsiteX234" fmla="*/ 350837 w 514350"/>
                <a:gd name="connsiteY234" fmla="*/ 128587 h 620717"/>
                <a:gd name="connsiteX235" fmla="*/ 357187 w 514350"/>
                <a:gd name="connsiteY235" fmla="*/ 127000 h 620717"/>
                <a:gd name="connsiteX236" fmla="*/ 368300 w 514350"/>
                <a:gd name="connsiteY236" fmla="*/ 125412 h 620717"/>
                <a:gd name="connsiteX237" fmla="*/ 374650 w 514350"/>
                <a:gd name="connsiteY237" fmla="*/ 123825 h 620717"/>
                <a:gd name="connsiteX238" fmla="*/ 384175 w 514350"/>
                <a:gd name="connsiteY238" fmla="*/ 120650 h 620717"/>
                <a:gd name="connsiteX239" fmla="*/ 392112 w 514350"/>
                <a:gd name="connsiteY239" fmla="*/ 111125 h 620717"/>
                <a:gd name="connsiteX240" fmla="*/ 388937 w 514350"/>
                <a:gd name="connsiteY240" fmla="*/ 100012 h 620717"/>
                <a:gd name="connsiteX241" fmla="*/ 390525 w 514350"/>
                <a:gd name="connsiteY241" fmla="*/ 93662 h 620717"/>
                <a:gd name="connsiteX242" fmla="*/ 401637 w 514350"/>
                <a:gd name="connsiteY242" fmla="*/ 95250 h 620717"/>
                <a:gd name="connsiteX243" fmla="*/ 423862 w 514350"/>
                <a:gd name="connsiteY243" fmla="*/ 93662 h 620717"/>
                <a:gd name="connsiteX244" fmla="*/ 430212 w 514350"/>
                <a:gd name="connsiteY244" fmla="*/ 87312 h 620717"/>
                <a:gd name="connsiteX245" fmla="*/ 437057 w 514350"/>
                <a:gd name="connsiteY245" fmla="*/ 70860 h 620717"/>
                <a:gd name="connsiteX246" fmla="*/ 443914 w 514350"/>
                <a:gd name="connsiteY246" fmla="*/ 64084 h 620717"/>
                <a:gd name="connsiteX247" fmla="*/ 451852 w 514350"/>
                <a:gd name="connsiteY247" fmla="*/ 72772 h 620717"/>
                <a:gd name="connsiteX248" fmla="*/ 450399 w 514350"/>
                <a:gd name="connsiteY248" fmla="*/ 73819 h 620717"/>
                <a:gd name="connsiteX249" fmla="*/ 455612 w 514350"/>
                <a:gd name="connsiteY249" fmla="*/ 69850 h 620717"/>
                <a:gd name="connsiteX250" fmla="*/ 461962 w 514350"/>
                <a:gd name="connsiteY250" fmla="*/ 68262 h 620717"/>
                <a:gd name="connsiteX251" fmla="*/ 466725 w 514350"/>
                <a:gd name="connsiteY251" fmla="*/ 61912 h 620717"/>
                <a:gd name="connsiteX252" fmla="*/ 492125 w 514350"/>
                <a:gd name="connsiteY252" fmla="*/ 53975 h 620717"/>
                <a:gd name="connsiteX253" fmla="*/ 496887 w 514350"/>
                <a:gd name="connsiteY253" fmla="*/ 49212 h 620717"/>
                <a:gd name="connsiteX254" fmla="*/ 500062 w 514350"/>
                <a:gd name="connsiteY254" fmla="*/ 41275 h 620717"/>
                <a:gd name="connsiteX255" fmla="*/ 496887 w 514350"/>
                <a:gd name="connsiteY255"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29887 w 514350"/>
                <a:gd name="connsiteY9" fmla="*/ 34766 h 620717"/>
                <a:gd name="connsiteX10" fmla="*/ 421653 w 514350"/>
                <a:gd name="connsiteY10" fmla="*/ 43507 h 620717"/>
                <a:gd name="connsiteX11" fmla="*/ 421003 w 514350"/>
                <a:gd name="connsiteY11" fmla="*/ 30397 h 620717"/>
                <a:gd name="connsiteX12" fmla="*/ 415884 w 514350"/>
                <a:gd name="connsiteY12" fmla="*/ 9813 h 620717"/>
                <a:gd name="connsiteX13" fmla="*/ 401637 w 514350"/>
                <a:gd name="connsiteY13" fmla="*/ 12700 h 620717"/>
                <a:gd name="connsiteX14" fmla="*/ 352425 w 514350"/>
                <a:gd name="connsiteY14" fmla="*/ 19050 h 620717"/>
                <a:gd name="connsiteX15" fmla="*/ 350837 w 514350"/>
                <a:gd name="connsiteY15" fmla="*/ 23812 h 620717"/>
                <a:gd name="connsiteX16" fmla="*/ 352425 w 514350"/>
                <a:gd name="connsiteY16" fmla="*/ 38100 h 620717"/>
                <a:gd name="connsiteX17" fmla="*/ 357187 w 514350"/>
                <a:gd name="connsiteY17" fmla="*/ 44450 h 620717"/>
                <a:gd name="connsiteX18" fmla="*/ 349250 w 514350"/>
                <a:gd name="connsiteY18" fmla="*/ 58737 h 620717"/>
                <a:gd name="connsiteX19" fmla="*/ 328612 w 514350"/>
                <a:gd name="connsiteY19" fmla="*/ 60325 h 620717"/>
                <a:gd name="connsiteX20" fmla="*/ 307975 w 514350"/>
                <a:gd name="connsiteY20" fmla="*/ 68262 h 620717"/>
                <a:gd name="connsiteX21" fmla="*/ 295275 w 514350"/>
                <a:gd name="connsiteY21" fmla="*/ 73025 h 620717"/>
                <a:gd name="connsiteX22" fmla="*/ 292100 w 514350"/>
                <a:gd name="connsiteY22" fmla="*/ 77787 h 620717"/>
                <a:gd name="connsiteX23" fmla="*/ 296862 w 514350"/>
                <a:gd name="connsiteY23" fmla="*/ 79375 h 620717"/>
                <a:gd name="connsiteX24" fmla="*/ 311150 w 514350"/>
                <a:gd name="connsiteY24" fmla="*/ 82550 h 620717"/>
                <a:gd name="connsiteX25" fmla="*/ 319087 w 514350"/>
                <a:gd name="connsiteY25" fmla="*/ 87312 h 620717"/>
                <a:gd name="connsiteX26" fmla="*/ 323850 w 514350"/>
                <a:gd name="connsiteY26" fmla="*/ 88900 h 620717"/>
                <a:gd name="connsiteX27" fmla="*/ 336550 w 514350"/>
                <a:gd name="connsiteY27" fmla="*/ 103187 h 620717"/>
                <a:gd name="connsiteX28" fmla="*/ 334962 w 514350"/>
                <a:gd name="connsiteY28" fmla="*/ 114300 h 620717"/>
                <a:gd name="connsiteX29" fmla="*/ 330200 w 514350"/>
                <a:gd name="connsiteY29" fmla="*/ 115887 h 620717"/>
                <a:gd name="connsiteX30" fmla="*/ 315912 w 514350"/>
                <a:gd name="connsiteY30" fmla="*/ 130175 h 620717"/>
                <a:gd name="connsiteX31" fmla="*/ 307975 w 514350"/>
                <a:gd name="connsiteY31" fmla="*/ 131762 h 620717"/>
                <a:gd name="connsiteX32" fmla="*/ 300037 w 514350"/>
                <a:gd name="connsiteY32" fmla="*/ 134937 h 620717"/>
                <a:gd name="connsiteX33" fmla="*/ 296862 w 514350"/>
                <a:gd name="connsiteY33" fmla="*/ 142875 h 620717"/>
                <a:gd name="connsiteX34" fmla="*/ 282575 w 514350"/>
                <a:gd name="connsiteY34" fmla="*/ 157162 h 620717"/>
                <a:gd name="connsiteX35" fmla="*/ 273050 w 514350"/>
                <a:gd name="connsiteY35" fmla="*/ 153987 h 620717"/>
                <a:gd name="connsiteX36" fmla="*/ 261937 w 514350"/>
                <a:gd name="connsiteY36" fmla="*/ 147637 h 620717"/>
                <a:gd name="connsiteX37" fmla="*/ 242887 w 514350"/>
                <a:gd name="connsiteY37" fmla="*/ 149225 h 620717"/>
                <a:gd name="connsiteX38" fmla="*/ 236537 w 514350"/>
                <a:gd name="connsiteY38" fmla="*/ 150812 h 620717"/>
                <a:gd name="connsiteX39" fmla="*/ 231775 w 514350"/>
                <a:gd name="connsiteY39" fmla="*/ 142875 h 620717"/>
                <a:gd name="connsiteX40" fmla="*/ 225425 w 514350"/>
                <a:gd name="connsiteY40" fmla="*/ 123825 h 620717"/>
                <a:gd name="connsiteX41" fmla="*/ 219075 w 514350"/>
                <a:gd name="connsiteY41" fmla="*/ 122237 h 620717"/>
                <a:gd name="connsiteX42" fmla="*/ 204787 w 514350"/>
                <a:gd name="connsiteY42" fmla="*/ 120650 h 620717"/>
                <a:gd name="connsiteX43" fmla="*/ 190500 w 514350"/>
                <a:gd name="connsiteY43" fmla="*/ 117475 h 620717"/>
                <a:gd name="connsiteX44" fmla="*/ 182562 w 514350"/>
                <a:gd name="connsiteY44" fmla="*/ 111125 h 620717"/>
                <a:gd name="connsiteX45" fmla="*/ 174625 w 514350"/>
                <a:gd name="connsiteY45" fmla="*/ 104775 h 620717"/>
                <a:gd name="connsiteX46" fmla="*/ 152400 w 514350"/>
                <a:gd name="connsiteY46" fmla="*/ 106362 h 620717"/>
                <a:gd name="connsiteX47" fmla="*/ 150812 w 514350"/>
                <a:gd name="connsiteY47" fmla="*/ 117475 h 620717"/>
                <a:gd name="connsiteX48" fmla="*/ 133350 w 514350"/>
                <a:gd name="connsiteY48" fmla="*/ 120650 h 620717"/>
                <a:gd name="connsiteX49" fmla="*/ 138112 w 514350"/>
                <a:gd name="connsiteY49" fmla="*/ 123825 h 620717"/>
                <a:gd name="connsiteX50" fmla="*/ 139700 w 514350"/>
                <a:gd name="connsiteY50" fmla="*/ 128587 h 620717"/>
                <a:gd name="connsiteX51" fmla="*/ 146050 w 514350"/>
                <a:gd name="connsiteY51" fmla="*/ 131762 h 620717"/>
                <a:gd name="connsiteX52" fmla="*/ 147637 w 514350"/>
                <a:gd name="connsiteY52" fmla="*/ 138112 h 620717"/>
                <a:gd name="connsiteX53" fmla="*/ 123825 w 514350"/>
                <a:gd name="connsiteY53" fmla="*/ 146050 h 620717"/>
                <a:gd name="connsiteX54" fmla="*/ 117475 w 514350"/>
                <a:gd name="connsiteY54" fmla="*/ 155575 h 620717"/>
                <a:gd name="connsiteX55" fmla="*/ 112712 w 514350"/>
                <a:gd name="connsiteY55" fmla="*/ 157162 h 620717"/>
                <a:gd name="connsiteX56" fmla="*/ 125412 w 514350"/>
                <a:gd name="connsiteY56" fmla="*/ 161925 h 620717"/>
                <a:gd name="connsiteX57" fmla="*/ 130175 w 514350"/>
                <a:gd name="connsiteY57" fmla="*/ 163512 h 620717"/>
                <a:gd name="connsiteX58" fmla="*/ 142875 w 514350"/>
                <a:gd name="connsiteY58" fmla="*/ 166687 h 620717"/>
                <a:gd name="connsiteX59" fmla="*/ 147637 w 514350"/>
                <a:gd name="connsiteY59" fmla="*/ 173037 h 620717"/>
                <a:gd name="connsiteX60" fmla="*/ 152400 w 514350"/>
                <a:gd name="connsiteY60" fmla="*/ 177800 h 620717"/>
                <a:gd name="connsiteX61" fmla="*/ 146050 w 514350"/>
                <a:gd name="connsiteY61" fmla="*/ 179387 h 620717"/>
                <a:gd name="connsiteX62" fmla="*/ 149225 w 514350"/>
                <a:gd name="connsiteY62" fmla="*/ 185737 h 620717"/>
                <a:gd name="connsiteX63" fmla="*/ 153987 w 514350"/>
                <a:gd name="connsiteY63" fmla="*/ 187325 h 620717"/>
                <a:gd name="connsiteX64" fmla="*/ 168275 w 514350"/>
                <a:gd name="connsiteY64" fmla="*/ 190500 h 620717"/>
                <a:gd name="connsiteX65" fmla="*/ 165100 w 514350"/>
                <a:gd name="connsiteY65" fmla="*/ 198437 h 620717"/>
                <a:gd name="connsiteX66" fmla="*/ 160337 w 514350"/>
                <a:gd name="connsiteY66" fmla="*/ 200025 h 620717"/>
                <a:gd name="connsiteX67" fmla="*/ 139700 w 514350"/>
                <a:gd name="connsiteY67" fmla="*/ 196850 h 620717"/>
                <a:gd name="connsiteX68" fmla="*/ 153987 w 514350"/>
                <a:gd name="connsiteY68" fmla="*/ 211137 h 620717"/>
                <a:gd name="connsiteX69" fmla="*/ 152400 w 514350"/>
                <a:gd name="connsiteY69" fmla="*/ 217487 h 620717"/>
                <a:gd name="connsiteX70" fmla="*/ 138112 w 514350"/>
                <a:gd name="connsiteY70" fmla="*/ 219075 h 620717"/>
                <a:gd name="connsiteX71" fmla="*/ 142875 w 514350"/>
                <a:gd name="connsiteY71" fmla="*/ 223837 h 620717"/>
                <a:gd name="connsiteX72" fmla="*/ 141287 w 514350"/>
                <a:gd name="connsiteY72" fmla="*/ 228600 h 620717"/>
                <a:gd name="connsiteX73" fmla="*/ 107950 w 514350"/>
                <a:gd name="connsiteY73" fmla="*/ 231775 h 620717"/>
                <a:gd name="connsiteX74" fmla="*/ 95250 w 514350"/>
                <a:gd name="connsiteY74" fmla="*/ 233362 h 620717"/>
                <a:gd name="connsiteX75" fmla="*/ 92075 w 514350"/>
                <a:gd name="connsiteY75" fmla="*/ 247650 h 620717"/>
                <a:gd name="connsiteX76" fmla="*/ 93662 w 514350"/>
                <a:gd name="connsiteY76" fmla="*/ 252412 h 620717"/>
                <a:gd name="connsiteX77" fmla="*/ 109537 w 514350"/>
                <a:gd name="connsiteY77" fmla="*/ 260350 h 620717"/>
                <a:gd name="connsiteX78" fmla="*/ 114300 w 514350"/>
                <a:gd name="connsiteY78" fmla="*/ 263525 h 620717"/>
                <a:gd name="connsiteX79" fmla="*/ 119062 w 514350"/>
                <a:gd name="connsiteY79" fmla="*/ 268287 h 620717"/>
                <a:gd name="connsiteX80" fmla="*/ 123825 w 514350"/>
                <a:gd name="connsiteY80" fmla="*/ 269875 h 620717"/>
                <a:gd name="connsiteX81" fmla="*/ 128587 w 514350"/>
                <a:gd name="connsiteY81" fmla="*/ 273050 h 620717"/>
                <a:gd name="connsiteX82" fmla="*/ 114300 w 514350"/>
                <a:gd name="connsiteY82" fmla="*/ 279400 h 620717"/>
                <a:gd name="connsiteX83" fmla="*/ 109537 w 514350"/>
                <a:gd name="connsiteY83" fmla="*/ 284162 h 620717"/>
                <a:gd name="connsiteX84" fmla="*/ 111125 w 514350"/>
                <a:gd name="connsiteY84" fmla="*/ 293687 h 620717"/>
                <a:gd name="connsiteX85" fmla="*/ 125412 w 514350"/>
                <a:gd name="connsiteY85" fmla="*/ 296862 h 620717"/>
                <a:gd name="connsiteX86" fmla="*/ 136525 w 514350"/>
                <a:gd name="connsiteY86" fmla="*/ 301625 h 620717"/>
                <a:gd name="connsiteX87" fmla="*/ 142875 w 514350"/>
                <a:gd name="connsiteY87" fmla="*/ 303212 h 620717"/>
                <a:gd name="connsiteX88" fmla="*/ 146050 w 514350"/>
                <a:gd name="connsiteY88" fmla="*/ 311150 h 620717"/>
                <a:gd name="connsiteX89" fmla="*/ 158750 w 514350"/>
                <a:gd name="connsiteY89" fmla="*/ 315912 h 620717"/>
                <a:gd name="connsiteX90" fmla="*/ 193675 w 514350"/>
                <a:gd name="connsiteY90" fmla="*/ 317500 h 620717"/>
                <a:gd name="connsiteX91" fmla="*/ 209550 w 514350"/>
                <a:gd name="connsiteY91" fmla="*/ 320675 h 620717"/>
                <a:gd name="connsiteX92" fmla="*/ 204787 w 514350"/>
                <a:gd name="connsiteY92" fmla="*/ 323850 h 620717"/>
                <a:gd name="connsiteX93" fmla="*/ 200025 w 514350"/>
                <a:gd name="connsiteY93" fmla="*/ 325437 h 620717"/>
                <a:gd name="connsiteX94" fmla="*/ 190500 w 514350"/>
                <a:gd name="connsiteY94" fmla="*/ 331787 h 620717"/>
                <a:gd name="connsiteX95" fmla="*/ 182562 w 514350"/>
                <a:gd name="connsiteY95" fmla="*/ 338137 h 620717"/>
                <a:gd name="connsiteX96" fmla="*/ 176212 w 514350"/>
                <a:gd name="connsiteY96" fmla="*/ 341312 h 620717"/>
                <a:gd name="connsiteX97" fmla="*/ 171450 w 514350"/>
                <a:gd name="connsiteY97" fmla="*/ 344487 h 620717"/>
                <a:gd name="connsiteX98" fmla="*/ 161925 w 514350"/>
                <a:gd name="connsiteY98" fmla="*/ 347662 h 620717"/>
                <a:gd name="connsiteX99" fmla="*/ 149225 w 514350"/>
                <a:gd name="connsiteY99" fmla="*/ 365125 h 620717"/>
                <a:gd name="connsiteX100" fmla="*/ 139700 w 514350"/>
                <a:gd name="connsiteY100" fmla="*/ 382587 h 620717"/>
                <a:gd name="connsiteX101" fmla="*/ 134937 w 514350"/>
                <a:gd name="connsiteY101" fmla="*/ 384175 h 620717"/>
                <a:gd name="connsiteX102" fmla="*/ 133350 w 514350"/>
                <a:gd name="connsiteY102" fmla="*/ 388937 h 620717"/>
                <a:gd name="connsiteX103" fmla="*/ 128587 w 514350"/>
                <a:gd name="connsiteY103" fmla="*/ 392112 h 620717"/>
                <a:gd name="connsiteX104" fmla="*/ 120650 w 514350"/>
                <a:gd name="connsiteY104" fmla="*/ 398462 h 620717"/>
                <a:gd name="connsiteX105" fmla="*/ 114300 w 514350"/>
                <a:gd name="connsiteY105" fmla="*/ 409575 h 620717"/>
                <a:gd name="connsiteX106" fmla="*/ 109537 w 514350"/>
                <a:gd name="connsiteY106" fmla="*/ 411162 h 620717"/>
                <a:gd name="connsiteX107" fmla="*/ 92075 w 514350"/>
                <a:gd name="connsiteY107" fmla="*/ 414337 h 620717"/>
                <a:gd name="connsiteX108" fmla="*/ 92075 w 514350"/>
                <a:gd name="connsiteY108" fmla="*/ 433387 h 620717"/>
                <a:gd name="connsiteX109" fmla="*/ 79375 w 514350"/>
                <a:gd name="connsiteY109" fmla="*/ 441325 h 620717"/>
                <a:gd name="connsiteX110" fmla="*/ 73025 w 514350"/>
                <a:gd name="connsiteY110" fmla="*/ 455612 h 620717"/>
                <a:gd name="connsiteX111" fmla="*/ 69850 w 514350"/>
                <a:gd name="connsiteY111" fmla="*/ 463550 h 620717"/>
                <a:gd name="connsiteX112" fmla="*/ 65087 w 514350"/>
                <a:gd name="connsiteY112" fmla="*/ 465137 h 620717"/>
                <a:gd name="connsiteX113" fmla="*/ 38100 w 514350"/>
                <a:gd name="connsiteY113" fmla="*/ 466725 h 620717"/>
                <a:gd name="connsiteX114" fmla="*/ 34925 w 514350"/>
                <a:gd name="connsiteY114" fmla="*/ 473075 h 620717"/>
                <a:gd name="connsiteX115" fmla="*/ 30162 w 514350"/>
                <a:gd name="connsiteY115" fmla="*/ 476250 h 620717"/>
                <a:gd name="connsiteX116" fmla="*/ 0 w 514350"/>
                <a:gd name="connsiteY116" fmla="*/ 477837 h 620717"/>
                <a:gd name="connsiteX117" fmla="*/ 4762 w 514350"/>
                <a:gd name="connsiteY117" fmla="*/ 484187 h 620717"/>
                <a:gd name="connsiteX118" fmla="*/ 23812 w 514350"/>
                <a:gd name="connsiteY118" fmla="*/ 485775 h 620717"/>
                <a:gd name="connsiteX119" fmla="*/ 30162 w 514350"/>
                <a:gd name="connsiteY119" fmla="*/ 487362 h 620717"/>
                <a:gd name="connsiteX120" fmla="*/ 39687 w 514350"/>
                <a:gd name="connsiteY120" fmla="*/ 488950 h 620717"/>
                <a:gd name="connsiteX121" fmla="*/ 33337 w 514350"/>
                <a:gd name="connsiteY121" fmla="*/ 492125 h 620717"/>
                <a:gd name="connsiteX122" fmla="*/ 25400 w 514350"/>
                <a:gd name="connsiteY122" fmla="*/ 493712 h 620717"/>
                <a:gd name="connsiteX123" fmla="*/ 19050 w 514350"/>
                <a:gd name="connsiteY123" fmla="*/ 495300 h 620717"/>
                <a:gd name="connsiteX124" fmla="*/ 14287 w 514350"/>
                <a:gd name="connsiteY124" fmla="*/ 498475 h 620717"/>
                <a:gd name="connsiteX125" fmla="*/ 4762 w 514350"/>
                <a:gd name="connsiteY125" fmla="*/ 503237 h 620717"/>
                <a:gd name="connsiteX126" fmla="*/ 3175 w 514350"/>
                <a:gd name="connsiteY126" fmla="*/ 508000 h 620717"/>
                <a:gd name="connsiteX127" fmla="*/ 4762 w 514350"/>
                <a:gd name="connsiteY127" fmla="*/ 530225 h 620717"/>
                <a:gd name="connsiteX128" fmla="*/ 11112 w 514350"/>
                <a:gd name="connsiteY128" fmla="*/ 533400 h 620717"/>
                <a:gd name="connsiteX129" fmla="*/ 20637 w 514350"/>
                <a:gd name="connsiteY129" fmla="*/ 534987 h 620717"/>
                <a:gd name="connsiteX130" fmla="*/ 26987 w 514350"/>
                <a:gd name="connsiteY130" fmla="*/ 536575 h 620717"/>
                <a:gd name="connsiteX131" fmla="*/ 39687 w 514350"/>
                <a:gd name="connsiteY131" fmla="*/ 542925 h 620717"/>
                <a:gd name="connsiteX132" fmla="*/ 44450 w 514350"/>
                <a:gd name="connsiteY132" fmla="*/ 546100 h 620717"/>
                <a:gd name="connsiteX133" fmla="*/ 58737 w 514350"/>
                <a:gd name="connsiteY133" fmla="*/ 547687 h 620717"/>
                <a:gd name="connsiteX134" fmla="*/ 47625 w 514350"/>
                <a:gd name="connsiteY134" fmla="*/ 555625 h 620717"/>
                <a:gd name="connsiteX135" fmla="*/ 30162 w 514350"/>
                <a:gd name="connsiteY135" fmla="*/ 558800 h 620717"/>
                <a:gd name="connsiteX136" fmla="*/ 7937 w 514350"/>
                <a:gd name="connsiteY136" fmla="*/ 563562 h 620717"/>
                <a:gd name="connsiteX137" fmla="*/ 7937 w 514350"/>
                <a:gd name="connsiteY137" fmla="*/ 576262 h 620717"/>
                <a:gd name="connsiteX138" fmla="*/ 17462 w 514350"/>
                <a:gd name="connsiteY138" fmla="*/ 577850 h 620717"/>
                <a:gd name="connsiteX139" fmla="*/ 39687 w 514350"/>
                <a:gd name="connsiteY139" fmla="*/ 581025 h 620717"/>
                <a:gd name="connsiteX140" fmla="*/ 47625 w 514350"/>
                <a:gd name="connsiteY140" fmla="*/ 582612 h 620717"/>
                <a:gd name="connsiteX141" fmla="*/ 61912 w 514350"/>
                <a:gd name="connsiteY141" fmla="*/ 584200 h 620717"/>
                <a:gd name="connsiteX142" fmla="*/ 66675 w 514350"/>
                <a:gd name="connsiteY142" fmla="*/ 587375 h 620717"/>
                <a:gd name="connsiteX143" fmla="*/ 53975 w 514350"/>
                <a:gd name="connsiteY143" fmla="*/ 593725 h 620717"/>
                <a:gd name="connsiteX144" fmla="*/ 52387 w 514350"/>
                <a:gd name="connsiteY144" fmla="*/ 601662 h 620717"/>
                <a:gd name="connsiteX145" fmla="*/ 50800 w 514350"/>
                <a:gd name="connsiteY145" fmla="*/ 606425 h 620717"/>
                <a:gd name="connsiteX146" fmla="*/ 55562 w 514350"/>
                <a:gd name="connsiteY146" fmla="*/ 614362 h 620717"/>
                <a:gd name="connsiteX147" fmla="*/ 79375 w 514350"/>
                <a:gd name="connsiteY147" fmla="*/ 609600 h 620717"/>
                <a:gd name="connsiteX148" fmla="*/ 123825 w 514350"/>
                <a:gd name="connsiteY148" fmla="*/ 612775 h 620717"/>
                <a:gd name="connsiteX149" fmla="*/ 130175 w 514350"/>
                <a:gd name="connsiteY149" fmla="*/ 617537 h 620717"/>
                <a:gd name="connsiteX150" fmla="*/ 144462 w 514350"/>
                <a:gd name="connsiteY150" fmla="*/ 620712 h 620717"/>
                <a:gd name="connsiteX151" fmla="*/ 173037 w 514350"/>
                <a:gd name="connsiteY151" fmla="*/ 617537 h 620717"/>
                <a:gd name="connsiteX152" fmla="*/ 180975 w 514350"/>
                <a:gd name="connsiteY152" fmla="*/ 614362 h 620717"/>
                <a:gd name="connsiteX153" fmla="*/ 187325 w 514350"/>
                <a:gd name="connsiteY153" fmla="*/ 609600 h 620717"/>
                <a:gd name="connsiteX154" fmla="*/ 196850 w 514350"/>
                <a:gd name="connsiteY154" fmla="*/ 606425 h 620717"/>
                <a:gd name="connsiteX155" fmla="*/ 198437 w 514350"/>
                <a:gd name="connsiteY155" fmla="*/ 600075 h 620717"/>
                <a:gd name="connsiteX156" fmla="*/ 203200 w 514350"/>
                <a:gd name="connsiteY156" fmla="*/ 595312 h 620717"/>
                <a:gd name="connsiteX157" fmla="*/ 215900 w 514350"/>
                <a:gd name="connsiteY157" fmla="*/ 581025 h 620717"/>
                <a:gd name="connsiteX158" fmla="*/ 230187 w 514350"/>
                <a:gd name="connsiteY158" fmla="*/ 582612 h 620717"/>
                <a:gd name="connsiteX159" fmla="*/ 238125 w 514350"/>
                <a:gd name="connsiteY159" fmla="*/ 584200 h 620717"/>
                <a:gd name="connsiteX160" fmla="*/ 261937 w 514350"/>
                <a:gd name="connsiteY160" fmla="*/ 581025 h 620717"/>
                <a:gd name="connsiteX161" fmla="*/ 263525 w 514350"/>
                <a:gd name="connsiteY161" fmla="*/ 576262 h 620717"/>
                <a:gd name="connsiteX162" fmla="*/ 266700 w 514350"/>
                <a:gd name="connsiteY162" fmla="*/ 582612 h 620717"/>
                <a:gd name="connsiteX163" fmla="*/ 277812 w 514350"/>
                <a:gd name="connsiteY163" fmla="*/ 590550 h 620717"/>
                <a:gd name="connsiteX164" fmla="*/ 279400 w 514350"/>
                <a:gd name="connsiteY164" fmla="*/ 579437 h 620717"/>
                <a:gd name="connsiteX165" fmla="*/ 287337 w 514350"/>
                <a:gd name="connsiteY165" fmla="*/ 571500 h 620717"/>
                <a:gd name="connsiteX166" fmla="*/ 290512 w 514350"/>
                <a:gd name="connsiteY166" fmla="*/ 566737 h 620717"/>
                <a:gd name="connsiteX167" fmla="*/ 311150 w 514350"/>
                <a:gd name="connsiteY167" fmla="*/ 558800 h 620717"/>
                <a:gd name="connsiteX168" fmla="*/ 354012 w 514350"/>
                <a:gd name="connsiteY168" fmla="*/ 554037 h 620717"/>
                <a:gd name="connsiteX169" fmla="*/ 360362 w 514350"/>
                <a:gd name="connsiteY169" fmla="*/ 561975 h 620717"/>
                <a:gd name="connsiteX170" fmla="*/ 365125 w 514350"/>
                <a:gd name="connsiteY170" fmla="*/ 563562 h 620717"/>
                <a:gd name="connsiteX171" fmla="*/ 366712 w 514350"/>
                <a:gd name="connsiteY171" fmla="*/ 557212 h 620717"/>
                <a:gd name="connsiteX172" fmla="*/ 368300 w 514350"/>
                <a:gd name="connsiteY172" fmla="*/ 552450 h 620717"/>
                <a:gd name="connsiteX173" fmla="*/ 377825 w 514350"/>
                <a:gd name="connsiteY173" fmla="*/ 557212 h 620717"/>
                <a:gd name="connsiteX174" fmla="*/ 382587 w 514350"/>
                <a:gd name="connsiteY174" fmla="*/ 563562 h 620717"/>
                <a:gd name="connsiteX175" fmla="*/ 404812 w 514350"/>
                <a:gd name="connsiteY175" fmla="*/ 565150 h 620717"/>
                <a:gd name="connsiteX176" fmla="*/ 414337 w 514350"/>
                <a:gd name="connsiteY176" fmla="*/ 571500 h 620717"/>
                <a:gd name="connsiteX177" fmla="*/ 419100 w 514350"/>
                <a:gd name="connsiteY177" fmla="*/ 574675 h 620717"/>
                <a:gd name="connsiteX178" fmla="*/ 436562 w 514350"/>
                <a:gd name="connsiteY178" fmla="*/ 573087 h 620717"/>
                <a:gd name="connsiteX179" fmla="*/ 434975 w 514350"/>
                <a:gd name="connsiteY179" fmla="*/ 566737 h 620717"/>
                <a:gd name="connsiteX180" fmla="*/ 430212 w 514350"/>
                <a:gd name="connsiteY180" fmla="*/ 546100 h 620717"/>
                <a:gd name="connsiteX181" fmla="*/ 433387 w 514350"/>
                <a:gd name="connsiteY181" fmla="*/ 531812 h 620717"/>
                <a:gd name="connsiteX182" fmla="*/ 446087 w 514350"/>
                <a:gd name="connsiteY182" fmla="*/ 525462 h 620717"/>
                <a:gd name="connsiteX183" fmla="*/ 452437 w 514350"/>
                <a:gd name="connsiteY183" fmla="*/ 519112 h 620717"/>
                <a:gd name="connsiteX184" fmla="*/ 463550 w 514350"/>
                <a:gd name="connsiteY184" fmla="*/ 514350 h 620717"/>
                <a:gd name="connsiteX185" fmla="*/ 465137 w 514350"/>
                <a:gd name="connsiteY185" fmla="*/ 508000 h 620717"/>
                <a:gd name="connsiteX186" fmla="*/ 466725 w 514350"/>
                <a:gd name="connsiteY186" fmla="*/ 485775 h 620717"/>
                <a:gd name="connsiteX187" fmla="*/ 482600 w 514350"/>
                <a:gd name="connsiteY187" fmla="*/ 474662 h 620717"/>
                <a:gd name="connsiteX188" fmla="*/ 495300 w 514350"/>
                <a:gd name="connsiteY188" fmla="*/ 458787 h 620717"/>
                <a:gd name="connsiteX189" fmla="*/ 501650 w 514350"/>
                <a:gd name="connsiteY189" fmla="*/ 438150 h 620717"/>
                <a:gd name="connsiteX190" fmla="*/ 506412 w 514350"/>
                <a:gd name="connsiteY190" fmla="*/ 433387 h 620717"/>
                <a:gd name="connsiteX191" fmla="*/ 506412 w 514350"/>
                <a:gd name="connsiteY191" fmla="*/ 401637 h 620717"/>
                <a:gd name="connsiteX192" fmla="*/ 501650 w 514350"/>
                <a:gd name="connsiteY192" fmla="*/ 398462 h 620717"/>
                <a:gd name="connsiteX193" fmla="*/ 498475 w 514350"/>
                <a:gd name="connsiteY193" fmla="*/ 392112 h 620717"/>
                <a:gd name="connsiteX194" fmla="*/ 503237 w 514350"/>
                <a:gd name="connsiteY194" fmla="*/ 360362 h 620717"/>
                <a:gd name="connsiteX195" fmla="*/ 508000 w 514350"/>
                <a:gd name="connsiteY195" fmla="*/ 355600 h 620717"/>
                <a:gd name="connsiteX196" fmla="*/ 514350 w 514350"/>
                <a:gd name="connsiteY196" fmla="*/ 346075 h 620717"/>
                <a:gd name="connsiteX197" fmla="*/ 511175 w 514350"/>
                <a:gd name="connsiteY197" fmla="*/ 331787 h 620717"/>
                <a:gd name="connsiteX198" fmla="*/ 506412 w 514350"/>
                <a:gd name="connsiteY198" fmla="*/ 327025 h 620717"/>
                <a:gd name="connsiteX199" fmla="*/ 504825 w 514350"/>
                <a:gd name="connsiteY199" fmla="*/ 315912 h 620717"/>
                <a:gd name="connsiteX200" fmla="*/ 508000 w 514350"/>
                <a:gd name="connsiteY200" fmla="*/ 290512 h 620717"/>
                <a:gd name="connsiteX201" fmla="*/ 506412 w 514350"/>
                <a:gd name="connsiteY201" fmla="*/ 282575 h 620717"/>
                <a:gd name="connsiteX202" fmla="*/ 495300 w 514350"/>
                <a:gd name="connsiteY202" fmla="*/ 276225 h 620717"/>
                <a:gd name="connsiteX203" fmla="*/ 496887 w 514350"/>
                <a:gd name="connsiteY203" fmla="*/ 268287 h 620717"/>
                <a:gd name="connsiteX204" fmla="*/ 501650 w 514350"/>
                <a:gd name="connsiteY204" fmla="*/ 266700 h 620717"/>
                <a:gd name="connsiteX205" fmla="*/ 506412 w 514350"/>
                <a:gd name="connsiteY205" fmla="*/ 263525 h 620717"/>
                <a:gd name="connsiteX206" fmla="*/ 509587 w 514350"/>
                <a:gd name="connsiteY206" fmla="*/ 258762 h 620717"/>
                <a:gd name="connsiteX207" fmla="*/ 511175 w 514350"/>
                <a:gd name="connsiteY207" fmla="*/ 254000 h 620717"/>
                <a:gd name="connsiteX208" fmla="*/ 514350 w 514350"/>
                <a:gd name="connsiteY208" fmla="*/ 246062 h 620717"/>
                <a:gd name="connsiteX209" fmla="*/ 512762 w 514350"/>
                <a:gd name="connsiteY209" fmla="*/ 239712 h 620717"/>
                <a:gd name="connsiteX210" fmla="*/ 496887 w 514350"/>
                <a:gd name="connsiteY210" fmla="*/ 239712 h 620717"/>
                <a:gd name="connsiteX211" fmla="*/ 492125 w 514350"/>
                <a:gd name="connsiteY211" fmla="*/ 241300 h 620717"/>
                <a:gd name="connsiteX212" fmla="*/ 485775 w 514350"/>
                <a:gd name="connsiteY212" fmla="*/ 244475 h 620717"/>
                <a:gd name="connsiteX213" fmla="*/ 481012 w 514350"/>
                <a:gd name="connsiteY213" fmla="*/ 234950 h 620717"/>
                <a:gd name="connsiteX214" fmla="*/ 479425 w 514350"/>
                <a:gd name="connsiteY214" fmla="*/ 222250 h 620717"/>
                <a:gd name="connsiteX215" fmla="*/ 477837 w 514350"/>
                <a:gd name="connsiteY215" fmla="*/ 215900 h 620717"/>
                <a:gd name="connsiteX216" fmla="*/ 473075 w 514350"/>
                <a:gd name="connsiteY216" fmla="*/ 190500 h 620717"/>
                <a:gd name="connsiteX217" fmla="*/ 468312 w 514350"/>
                <a:gd name="connsiteY217" fmla="*/ 176212 h 620717"/>
                <a:gd name="connsiteX218" fmla="*/ 458787 w 514350"/>
                <a:gd name="connsiteY218" fmla="*/ 171450 h 620717"/>
                <a:gd name="connsiteX219" fmla="*/ 449262 w 514350"/>
                <a:gd name="connsiteY219" fmla="*/ 173037 h 620717"/>
                <a:gd name="connsiteX220" fmla="*/ 438150 w 514350"/>
                <a:gd name="connsiteY220" fmla="*/ 182562 h 620717"/>
                <a:gd name="connsiteX221" fmla="*/ 434975 w 514350"/>
                <a:gd name="connsiteY221" fmla="*/ 188912 h 620717"/>
                <a:gd name="connsiteX222" fmla="*/ 428625 w 514350"/>
                <a:gd name="connsiteY222" fmla="*/ 196850 h 620717"/>
                <a:gd name="connsiteX223" fmla="*/ 417512 w 514350"/>
                <a:gd name="connsiteY223" fmla="*/ 206375 h 620717"/>
                <a:gd name="connsiteX224" fmla="*/ 412750 w 514350"/>
                <a:gd name="connsiteY224" fmla="*/ 207962 h 620717"/>
                <a:gd name="connsiteX225" fmla="*/ 401637 w 514350"/>
                <a:gd name="connsiteY225" fmla="*/ 206375 h 620717"/>
                <a:gd name="connsiteX226" fmla="*/ 395287 w 514350"/>
                <a:gd name="connsiteY226" fmla="*/ 200025 h 620717"/>
                <a:gd name="connsiteX227" fmla="*/ 390525 w 514350"/>
                <a:gd name="connsiteY227" fmla="*/ 196850 h 620717"/>
                <a:gd name="connsiteX228" fmla="*/ 385762 w 514350"/>
                <a:gd name="connsiteY228" fmla="*/ 190500 h 620717"/>
                <a:gd name="connsiteX229" fmla="*/ 368300 w 514350"/>
                <a:gd name="connsiteY229" fmla="*/ 171450 h 620717"/>
                <a:gd name="connsiteX230" fmla="*/ 363537 w 514350"/>
                <a:gd name="connsiteY230" fmla="*/ 160337 h 620717"/>
                <a:gd name="connsiteX231" fmla="*/ 358775 w 514350"/>
                <a:gd name="connsiteY231" fmla="*/ 157162 h 620717"/>
                <a:gd name="connsiteX232" fmla="*/ 349250 w 514350"/>
                <a:gd name="connsiteY232" fmla="*/ 144462 h 620717"/>
                <a:gd name="connsiteX233" fmla="*/ 346075 w 514350"/>
                <a:gd name="connsiteY233" fmla="*/ 138112 h 620717"/>
                <a:gd name="connsiteX234" fmla="*/ 350837 w 514350"/>
                <a:gd name="connsiteY234" fmla="*/ 128587 h 620717"/>
                <a:gd name="connsiteX235" fmla="*/ 357187 w 514350"/>
                <a:gd name="connsiteY235" fmla="*/ 127000 h 620717"/>
                <a:gd name="connsiteX236" fmla="*/ 368300 w 514350"/>
                <a:gd name="connsiteY236" fmla="*/ 125412 h 620717"/>
                <a:gd name="connsiteX237" fmla="*/ 374650 w 514350"/>
                <a:gd name="connsiteY237" fmla="*/ 123825 h 620717"/>
                <a:gd name="connsiteX238" fmla="*/ 384175 w 514350"/>
                <a:gd name="connsiteY238" fmla="*/ 120650 h 620717"/>
                <a:gd name="connsiteX239" fmla="*/ 392112 w 514350"/>
                <a:gd name="connsiteY239" fmla="*/ 111125 h 620717"/>
                <a:gd name="connsiteX240" fmla="*/ 388937 w 514350"/>
                <a:gd name="connsiteY240" fmla="*/ 100012 h 620717"/>
                <a:gd name="connsiteX241" fmla="*/ 390525 w 514350"/>
                <a:gd name="connsiteY241" fmla="*/ 93662 h 620717"/>
                <a:gd name="connsiteX242" fmla="*/ 401637 w 514350"/>
                <a:gd name="connsiteY242" fmla="*/ 95250 h 620717"/>
                <a:gd name="connsiteX243" fmla="*/ 423862 w 514350"/>
                <a:gd name="connsiteY243" fmla="*/ 93662 h 620717"/>
                <a:gd name="connsiteX244" fmla="*/ 430212 w 514350"/>
                <a:gd name="connsiteY244" fmla="*/ 87312 h 620717"/>
                <a:gd name="connsiteX245" fmla="*/ 437057 w 514350"/>
                <a:gd name="connsiteY245" fmla="*/ 70860 h 620717"/>
                <a:gd name="connsiteX246" fmla="*/ 451852 w 514350"/>
                <a:gd name="connsiteY246" fmla="*/ 72772 h 620717"/>
                <a:gd name="connsiteX247" fmla="*/ 450399 w 514350"/>
                <a:gd name="connsiteY247" fmla="*/ 73819 h 620717"/>
                <a:gd name="connsiteX248" fmla="*/ 455612 w 514350"/>
                <a:gd name="connsiteY248" fmla="*/ 69850 h 620717"/>
                <a:gd name="connsiteX249" fmla="*/ 461962 w 514350"/>
                <a:gd name="connsiteY249" fmla="*/ 68262 h 620717"/>
                <a:gd name="connsiteX250" fmla="*/ 466725 w 514350"/>
                <a:gd name="connsiteY250" fmla="*/ 61912 h 620717"/>
                <a:gd name="connsiteX251" fmla="*/ 492125 w 514350"/>
                <a:gd name="connsiteY251" fmla="*/ 53975 h 620717"/>
                <a:gd name="connsiteX252" fmla="*/ 496887 w 514350"/>
                <a:gd name="connsiteY252" fmla="*/ 49212 h 620717"/>
                <a:gd name="connsiteX253" fmla="*/ 500062 w 514350"/>
                <a:gd name="connsiteY253" fmla="*/ 41275 h 620717"/>
                <a:gd name="connsiteX254" fmla="*/ 496887 w 514350"/>
                <a:gd name="connsiteY254" fmla="*/ 31750 h 620717"/>
                <a:gd name="connsiteX0" fmla="*/ 492125 w 514350"/>
                <a:gd name="connsiteY0" fmla="*/ 28575 h 620717"/>
                <a:gd name="connsiteX1" fmla="*/ 488950 w 514350"/>
                <a:gd name="connsiteY1" fmla="*/ 22225 h 620717"/>
                <a:gd name="connsiteX2" fmla="*/ 477837 w 514350"/>
                <a:gd name="connsiteY2" fmla="*/ 19050 h 620717"/>
                <a:gd name="connsiteX3" fmla="*/ 474662 w 514350"/>
                <a:gd name="connsiteY3" fmla="*/ 14287 h 620717"/>
                <a:gd name="connsiteX4" fmla="*/ 469900 w 514350"/>
                <a:gd name="connsiteY4" fmla="*/ 3175 h 620717"/>
                <a:gd name="connsiteX5" fmla="*/ 465137 w 514350"/>
                <a:gd name="connsiteY5" fmla="*/ 0 h 620717"/>
                <a:gd name="connsiteX6" fmla="*/ 460375 w 514350"/>
                <a:gd name="connsiteY6" fmla="*/ 1587 h 620717"/>
                <a:gd name="connsiteX7" fmla="*/ 447675 w 514350"/>
                <a:gd name="connsiteY7" fmla="*/ 9525 h 620717"/>
                <a:gd name="connsiteX8" fmla="*/ 428625 w 514350"/>
                <a:gd name="connsiteY8" fmla="*/ 12700 h 620717"/>
                <a:gd name="connsiteX9" fmla="*/ 429887 w 514350"/>
                <a:gd name="connsiteY9" fmla="*/ 34766 h 620717"/>
                <a:gd name="connsiteX10" fmla="*/ 416854 w 514350"/>
                <a:gd name="connsiteY10" fmla="*/ 57257 h 620717"/>
                <a:gd name="connsiteX11" fmla="*/ 421003 w 514350"/>
                <a:gd name="connsiteY11" fmla="*/ 30397 h 620717"/>
                <a:gd name="connsiteX12" fmla="*/ 415884 w 514350"/>
                <a:gd name="connsiteY12" fmla="*/ 9813 h 620717"/>
                <a:gd name="connsiteX13" fmla="*/ 401637 w 514350"/>
                <a:gd name="connsiteY13" fmla="*/ 12700 h 620717"/>
                <a:gd name="connsiteX14" fmla="*/ 352425 w 514350"/>
                <a:gd name="connsiteY14" fmla="*/ 19050 h 620717"/>
                <a:gd name="connsiteX15" fmla="*/ 350837 w 514350"/>
                <a:gd name="connsiteY15" fmla="*/ 23812 h 620717"/>
                <a:gd name="connsiteX16" fmla="*/ 352425 w 514350"/>
                <a:gd name="connsiteY16" fmla="*/ 38100 h 620717"/>
                <a:gd name="connsiteX17" fmla="*/ 357187 w 514350"/>
                <a:gd name="connsiteY17" fmla="*/ 44450 h 620717"/>
                <a:gd name="connsiteX18" fmla="*/ 349250 w 514350"/>
                <a:gd name="connsiteY18" fmla="*/ 58737 h 620717"/>
                <a:gd name="connsiteX19" fmla="*/ 328612 w 514350"/>
                <a:gd name="connsiteY19" fmla="*/ 60325 h 620717"/>
                <a:gd name="connsiteX20" fmla="*/ 307975 w 514350"/>
                <a:gd name="connsiteY20" fmla="*/ 68262 h 620717"/>
                <a:gd name="connsiteX21" fmla="*/ 295275 w 514350"/>
                <a:gd name="connsiteY21" fmla="*/ 73025 h 620717"/>
                <a:gd name="connsiteX22" fmla="*/ 292100 w 514350"/>
                <a:gd name="connsiteY22" fmla="*/ 77787 h 620717"/>
                <a:gd name="connsiteX23" fmla="*/ 296862 w 514350"/>
                <a:gd name="connsiteY23" fmla="*/ 79375 h 620717"/>
                <a:gd name="connsiteX24" fmla="*/ 311150 w 514350"/>
                <a:gd name="connsiteY24" fmla="*/ 82550 h 620717"/>
                <a:gd name="connsiteX25" fmla="*/ 319087 w 514350"/>
                <a:gd name="connsiteY25" fmla="*/ 87312 h 620717"/>
                <a:gd name="connsiteX26" fmla="*/ 323850 w 514350"/>
                <a:gd name="connsiteY26" fmla="*/ 88900 h 620717"/>
                <a:gd name="connsiteX27" fmla="*/ 336550 w 514350"/>
                <a:gd name="connsiteY27" fmla="*/ 103187 h 620717"/>
                <a:gd name="connsiteX28" fmla="*/ 334962 w 514350"/>
                <a:gd name="connsiteY28" fmla="*/ 114300 h 620717"/>
                <a:gd name="connsiteX29" fmla="*/ 330200 w 514350"/>
                <a:gd name="connsiteY29" fmla="*/ 115887 h 620717"/>
                <a:gd name="connsiteX30" fmla="*/ 315912 w 514350"/>
                <a:gd name="connsiteY30" fmla="*/ 130175 h 620717"/>
                <a:gd name="connsiteX31" fmla="*/ 307975 w 514350"/>
                <a:gd name="connsiteY31" fmla="*/ 131762 h 620717"/>
                <a:gd name="connsiteX32" fmla="*/ 300037 w 514350"/>
                <a:gd name="connsiteY32" fmla="*/ 134937 h 620717"/>
                <a:gd name="connsiteX33" fmla="*/ 296862 w 514350"/>
                <a:gd name="connsiteY33" fmla="*/ 142875 h 620717"/>
                <a:gd name="connsiteX34" fmla="*/ 282575 w 514350"/>
                <a:gd name="connsiteY34" fmla="*/ 157162 h 620717"/>
                <a:gd name="connsiteX35" fmla="*/ 273050 w 514350"/>
                <a:gd name="connsiteY35" fmla="*/ 153987 h 620717"/>
                <a:gd name="connsiteX36" fmla="*/ 261937 w 514350"/>
                <a:gd name="connsiteY36" fmla="*/ 147637 h 620717"/>
                <a:gd name="connsiteX37" fmla="*/ 242887 w 514350"/>
                <a:gd name="connsiteY37" fmla="*/ 149225 h 620717"/>
                <a:gd name="connsiteX38" fmla="*/ 236537 w 514350"/>
                <a:gd name="connsiteY38" fmla="*/ 150812 h 620717"/>
                <a:gd name="connsiteX39" fmla="*/ 231775 w 514350"/>
                <a:gd name="connsiteY39" fmla="*/ 142875 h 620717"/>
                <a:gd name="connsiteX40" fmla="*/ 225425 w 514350"/>
                <a:gd name="connsiteY40" fmla="*/ 123825 h 620717"/>
                <a:gd name="connsiteX41" fmla="*/ 219075 w 514350"/>
                <a:gd name="connsiteY41" fmla="*/ 122237 h 620717"/>
                <a:gd name="connsiteX42" fmla="*/ 204787 w 514350"/>
                <a:gd name="connsiteY42" fmla="*/ 120650 h 620717"/>
                <a:gd name="connsiteX43" fmla="*/ 190500 w 514350"/>
                <a:gd name="connsiteY43" fmla="*/ 117475 h 620717"/>
                <a:gd name="connsiteX44" fmla="*/ 182562 w 514350"/>
                <a:gd name="connsiteY44" fmla="*/ 111125 h 620717"/>
                <a:gd name="connsiteX45" fmla="*/ 174625 w 514350"/>
                <a:gd name="connsiteY45" fmla="*/ 104775 h 620717"/>
                <a:gd name="connsiteX46" fmla="*/ 152400 w 514350"/>
                <a:gd name="connsiteY46" fmla="*/ 106362 h 620717"/>
                <a:gd name="connsiteX47" fmla="*/ 150812 w 514350"/>
                <a:gd name="connsiteY47" fmla="*/ 117475 h 620717"/>
                <a:gd name="connsiteX48" fmla="*/ 133350 w 514350"/>
                <a:gd name="connsiteY48" fmla="*/ 120650 h 620717"/>
                <a:gd name="connsiteX49" fmla="*/ 138112 w 514350"/>
                <a:gd name="connsiteY49" fmla="*/ 123825 h 620717"/>
                <a:gd name="connsiteX50" fmla="*/ 139700 w 514350"/>
                <a:gd name="connsiteY50" fmla="*/ 128587 h 620717"/>
                <a:gd name="connsiteX51" fmla="*/ 146050 w 514350"/>
                <a:gd name="connsiteY51" fmla="*/ 131762 h 620717"/>
                <a:gd name="connsiteX52" fmla="*/ 147637 w 514350"/>
                <a:gd name="connsiteY52" fmla="*/ 138112 h 620717"/>
                <a:gd name="connsiteX53" fmla="*/ 123825 w 514350"/>
                <a:gd name="connsiteY53" fmla="*/ 146050 h 620717"/>
                <a:gd name="connsiteX54" fmla="*/ 117475 w 514350"/>
                <a:gd name="connsiteY54" fmla="*/ 155575 h 620717"/>
                <a:gd name="connsiteX55" fmla="*/ 112712 w 514350"/>
                <a:gd name="connsiteY55" fmla="*/ 157162 h 620717"/>
                <a:gd name="connsiteX56" fmla="*/ 125412 w 514350"/>
                <a:gd name="connsiteY56" fmla="*/ 161925 h 620717"/>
                <a:gd name="connsiteX57" fmla="*/ 130175 w 514350"/>
                <a:gd name="connsiteY57" fmla="*/ 163512 h 620717"/>
                <a:gd name="connsiteX58" fmla="*/ 142875 w 514350"/>
                <a:gd name="connsiteY58" fmla="*/ 166687 h 620717"/>
                <a:gd name="connsiteX59" fmla="*/ 147637 w 514350"/>
                <a:gd name="connsiteY59" fmla="*/ 173037 h 620717"/>
                <a:gd name="connsiteX60" fmla="*/ 152400 w 514350"/>
                <a:gd name="connsiteY60" fmla="*/ 177800 h 620717"/>
                <a:gd name="connsiteX61" fmla="*/ 146050 w 514350"/>
                <a:gd name="connsiteY61" fmla="*/ 179387 h 620717"/>
                <a:gd name="connsiteX62" fmla="*/ 149225 w 514350"/>
                <a:gd name="connsiteY62" fmla="*/ 185737 h 620717"/>
                <a:gd name="connsiteX63" fmla="*/ 153987 w 514350"/>
                <a:gd name="connsiteY63" fmla="*/ 187325 h 620717"/>
                <a:gd name="connsiteX64" fmla="*/ 168275 w 514350"/>
                <a:gd name="connsiteY64" fmla="*/ 190500 h 620717"/>
                <a:gd name="connsiteX65" fmla="*/ 165100 w 514350"/>
                <a:gd name="connsiteY65" fmla="*/ 198437 h 620717"/>
                <a:gd name="connsiteX66" fmla="*/ 160337 w 514350"/>
                <a:gd name="connsiteY66" fmla="*/ 200025 h 620717"/>
                <a:gd name="connsiteX67" fmla="*/ 139700 w 514350"/>
                <a:gd name="connsiteY67" fmla="*/ 196850 h 620717"/>
                <a:gd name="connsiteX68" fmla="*/ 153987 w 514350"/>
                <a:gd name="connsiteY68" fmla="*/ 211137 h 620717"/>
                <a:gd name="connsiteX69" fmla="*/ 152400 w 514350"/>
                <a:gd name="connsiteY69" fmla="*/ 217487 h 620717"/>
                <a:gd name="connsiteX70" fmla="*/ 138112 w 514350"/>
                <a:gd name="connsiteY70" fmla="*/ 219075 h 620717"/>
                <a:gd name="connsiteX71" fmla="*/ 142875 w 514350"/>
                <a:gd name="connsiteY71" fmla="*/ 223837 h 620717"/>
                <a:gd name="connsiteX72" fmla="*/ 141287 w 514350"/>
                <a:gd name="connsiteY72" fmla="*/ 228600 h 620717"/>
                <a:gd name="connsiteX73" fmla="*/ 107950 w 514350"/>
                <a:gd name="connsiteY73" fmla="*/ 231775 h 620717"/>
                <a:gd name="connsiteX74" fmla="*/ 95250 w 514350"/>
                <a:gd name="connsiteY74" fmla="*/ 233362 h 620717"/>
                <a:gd name="connsiteX75" fmla="*/ 92075 w 514350"/>
                <a:gd name="connsiteY75" fmla="*/ 247650 h 620717"/>
                <a:gd name="connsiteX76" fmla="*/ 93662 w 514350"/>
                <a:gd name="connsiteY76" fmla="*/ 252412 h 620717"/>
                <a:gd name="connsiteX77" fmla="*/ 109537 w 514350"/>
                <a:gd name="connsiteY77" fmla="*/ 260350 h 620717"/>
                <a:gd name="connsiteX78" fmla="*/ 114300 w 514350"/>
                <a:gd name="connsiteY78" fmla="*/ 263525 h 620717"/>
                <a:gd name="connsiteX79" fmla="*/ 119062 w 514350"/>
                <a:gd name="connsiteY79" fmla="*/ 268287 h 620717"/>
                <a:gd name="connsiteX80" fmla="*/ 123825 w 514350"/>
                <a:gd name="connsiteY80" fmla="*/ 269875 h 620717"/>
                <a:gd name="connsiteX81" fmla="*/ 128587 w 514350"/>
                <a:gd name="connsiteY81" fmla="*/ 273050 h 620717"/>
                <a:gd name="connsiteX82" fmla="*/ 114300 w 514350"/>
                <a:gd name="connsiteY82" fmla="*/ 279400 h 620717"/>
                <a:gd name="connsiteX83" fmla="*/ 109537 w 514350"/>
                <a:gd name="connsiteY83" fmla="*/ 284162 h 620717"/>
                <a:gd name="connsiteX84" fmla="*/ 111125 w 514350"/>
                <a:gd name="connsiteY84" fmla="*/ 293687 h 620717"/>
                <a:gd name="connsiteX85" fmla="*/ 125412 w 514350"/>
                <a:gd name="connsiteY85" fmla="*/ 296862 h 620717"/>
                <a:gd name="connsiteX86" fmla="*/ 136525 w 514350"/>
                <a:gd name="connsiteY86" fmla="*/ 301625 h 620717"/>
                <a:gd name="connsiteX87" fmla="*/ 142875 w 514350"/>
                <a:gd name="connsiteY87" fmla="*/ 303212 h 620717"/>
                <a:gd name="connsiteX88" fmla="*/ 146050 w 514350"/>
                <a:gd name="connsiteY88" fmla="*/ 311150 h 620717"/>
                <a:gd name="connsiteX89" fmla="*/ 158750 w 514350"/>
                <a:gd name="connsiteY89" fmla="*/ 315912 h 620717"/>
                <a:gd name="connsiteX90" fmla="*/ 193675 w 514350"/>
                <a:gd name="connsiteY90" fmla="*/ 317500 h 620717"/>
                <a:gd name="connsiteX91" fmla="*/ 209550 w 514350"/>
                <a:gd name="connsiteY91" fmla="*/ 320675 h 620717"/>
                <a:gd name="connsiteX92" fmla="*/ 204787 w 514350"/>
                <a:gd name="connsiteY92" fmla="*/ 323850 h 620717"/>
                <a:gd name="connsiteX93" fmla="*/ 200025 w 514350"/>
                <a:gd name="connsiteY93" fmla="*/ 325437 h 620717"/>
                <a:gd name="connsiteX94" fmla="*/ 190500 w 514350"/>
                <a:gd name="connsiteY94" fmla="*/ 331787 h 620717"/>
                <a:gd name="connsiteX95" fmla="*/ 182562 w 514350"/>
                <a:gd name="connsiteY95" fmla="*/ 338137 h 620717"/>
                <a:gd name="connsiteX96" fmla="*/ 176212 w 514350"/>
                <a:gd name="connsiteY96" fmla="*/ 341312 h 620717"/>
                <a:gd name="connsiteX97" fmla="*/ 171450 w 514350"/>
                <a:gd name="connsiteY97" fmla="*/ 344487 h 620717"/>
                <a:gd name="connsiteX98" fmla="*/ 161925 w 514350"/>
                <a:gd name="connsiteY98" fmla="*/ 347662 h 620717"/>
                <a:gd name="connsiteX99" fmla="*/ 149225 w 514350"/>
                <a:gd name="connsiteY99" fmla="*/ 365125 h 620717"/>
                <a:gd name="connsiteX100" fmla="*/ 139700 w 514350"/>
                <a:gd name="connsiteY100" fmla="*/ 382587 h 620717"/>
                <a:gd name="connsiteX101" fmla="*/ 134937 w 514350"/>
                <a:gd name="connsiteY101" fmla="*/ 384175 h 620717"/>
                <a:gd name="connsiteX102" fmla="*/ 133350 w 514350"/>
                <a:gd name="connsiteY102" fmla="*/ 388937 h 620717"/>
                <a:gd name="connsiteX103" fmla="*/ 128587 w 514350"/>
                <a:gd name="connsiteY103" fmla="*/ 392112 h 620717"/>
                <a:gd name="connsiteX104" fmla="*/ 120650 w 514350"/>
                <a:gd name="connsiteY104" fmla="*/ 398462 h 620717"/>
                <a:gd name="connsiteX105" fmla="*/ 114300 w 514350"/>
                <a:gd name="connsiteY105" fmla="*/ 409575 h 620717"/>
                <a:gd name="connsiteX106" fmla="*/ 109537 w 514350"/>
                <a:gd name="connsiteY106" fmla="*/ 411162 h 620717"/>
                <a:gd name="connsiteX107" fmla="*/ 92075 w 514350"/>
                <a:gd name="connsiteY107" fmla="*/ 414337 h 620717"/>
                <a:gd name="connsiteX108" fmla="*/ 92075 w 514350"/>
                <a:gd name="connsiteY108" fmla="*/ 433387 h 620717"/>
                <a:gd name="connsiteX109" fmla="*/ 79375 w 514350"/>
                <a:gd name="connsiteY109" fmla="*/ 441325 h 620717"/>
                <a:gd name="connsiteX110" fmla="*/ 73025 w 514350"/>
                <a:gd name="connsiteY110" fmla="*/ 455612 h 620717"/>
                <a:gd name="connsiteX111" fmla="*/ 69850 w 514350"/>
                <a:gd name="connsiteY111" fmla="*/ 463550 h 620717"/>
                <a:gd name="connsiteX112" fmla="*/ 65087 w 514350"/>
                <a:gd name="connsiteY112" fmla="*/ 465137 h 620717"/>
                <a:gd name="connsiteX113" fmla="*/ 38100 w 514350"/>
                <a:gd name="connsiteY113" fmla="*/ 466725 h 620717"/>
                <a:gd name="connsiteX114" fmla="*/ 34925 w 514350"/>
                <a:gd name="connsiteY114" fmla="*/ 473075 h 620717"/>
                <a:gd name="connsiteX115" fmla="*/ 30162 w 514350"/>
                <a:gd name="connsiteY115" fmla="*/ 476250 h 620717"/>
                <a:gd name="connsiteX116" fmla="*/ 0 w 514350"/>
                <a:gd name="connsiteY116" fmla="*/ 477837 h 620717"/>
                <a:gd name="connsiteX117" fmla="*/ 4762 w 514350"/>
                <a:gd name="connsiteY117" fmla="*/ 484187 h 620717"/>
                <a:gd name="connsiteX118" fmla="*/ 23812 w 514350"/>
                <a:gd name="connsiteY118" fmla="*/ 485775 h 620717"/>
                <a:gd name="connsiteX119" fmla="*/ 30162 w 514350"/>
                <a:gd name="connsiteY119" fmla="*/ 487362 h 620717"/>
                <a:gd name="connsiteX120" fmla="*/ 39687 w 514350"/>
                <a:gd name="connsiteY120" fmla="*/ 488950 h 620717"/>
                <a:gd name="connsiteX121" fmla="*/ 33337 w 514350"/>
                <a:gd name="connsiteY121" fmla="*/ 492125 h 620717"/>
                <a:gd name="connsiteX122" fmla="*/ 25400 w 514350"/>
                <a:gd name="connsiteY122" fmla="*/ 493712 h 620717"/>
                <a:gd name="connsiteX123" fmla="*/ 19050 w 514350"/>
                <a:gd name="connsiteY123" fmla="*/ 495300 h 620717"/>
                <a:gd name="connsiteX124" fmla="*/ 14287 w 514350"/>
                <a:gd name="connsiteY124" fmla="*/ 498475 h 620717"/>
                <a:gd name="connsiteX125" fmla="*/ 4762 w 514350"/>
                <a:gd name="connsiteY125" fmla="*/ 503237 h 620717"/>
                <a:gd name="connsiteX126" fmla="*/ 3175 w 514350"/>
                <a:gd name="connsiteY126" fmla="*/ 508000 h 620717"/>
                <a:gd name="connsiteX127" fmla="*/ 4762 w 514350"/>
                <a:gd name="connsiteY127" fmla="*/ 530225 h 620717"/>
                <a:gd name="connsiteX128" fmla="*/ 11112 w 514350"/>
                <a:gd name="connsiteY128" fmla="*/ 533400 h 620717"/>
                <a:gd name="connsiteX129" fmla="*/ 20637 w 514350"/>
                <a:gd name="connsiteY129" fmla="*/ 534987 h 620717"/>
                <a:gd name="connsiteX130" fmla="*/ 26987 w 514350"/>
                <a:gd name="connsiteY130" fmla="*/ 536575 h 620717"/>
                <a:gd name="connsiteX131" fmla="*/ 39687 w 514350"/>
                <a:gd name="connsiteY131" fmla="*/ 542925 h 620717"/>
                <a:gd name="connsiteX132" fmla="*/ 44450 w 514350"/>
                <a:gd name="connsiteY132" fmla="*/ 546100 h 620717"/>
                <a:gd name="connsiteX133" fmla="*/ 58737 w 514350"/>
                <a:gd name="connsiteY133" fmla="*/ 547687 h 620717"/>
                <a:gd name="connsiteX134" fmla="*/ 47625 w 514350"/>
                <a:gd name="connsiteY134" fmla="*/ 555625 h 620717"/>
                <a:gd name="connsiteX135" fmla="*/ 30162 w 514350"/>
                <a:gd name="connsiteY135" fmla="*/ 558800 h 620717"/>
                <a:gd name="connsiteX136" fmla="*/ 7937 w 514350"/>
                <a:gd name="connsiteY136" fmla="*/ 563562 h 620717"/>
                <a:gd name="connsiteX137" fmla="*/ 7937 w 514350"/>
                <a:gd name="connsiteY137" fmla="*/ 576262 h 620717"/>
                <a:gd name="connsiteX138" fmla="*/ 17462 w 514350"/>
                <a:gd name="connsiteY138" fmla="*/ 577850 h 620717"/>
                <a:gd name="connsiteX139" fmla="*/ 39687 w 514350"/>
                <a:gd name="connsiteY139" fmla="*/ 581025 h 620717"/>
                <a:gd name="connsiteX140" fmla="*/ 47625 w 514350"/>
                <a:gd name="connsiteY140" fmla="*/ 582612 h 620717"/>
                <a:gd name="connsiteX141" fmla="*/ 61912 w 514350"/>
                <a:gd name="connsiteY141" fmla="*/ 584200 h 620717"/>
                <a:gd name="connsiteX142" fmla="*/ 66675 w 514350"/>
                <a:gd name="connsiteY142" fmla="*/ 587375 h 620717"/>
                <a:gd name="connsiteX143" fmla="*/ 53975 w 514350"/>
                <a:gd name="connsiteY143" fmla="*/ 593725 h 620717"/>
                <a:gd name="connsiteX144" fmla="*/ 52387 w 514350"/>
                <a:gd name="connsiteY144" fmla="*/ 601662 h 620717"/>
                <a:gd name="connsiteX145" fmla="*/ 50800 w 514350"/>
                <a:gd name="connsiteY145" fmla="*/ 606425 h 620717"/>
                <a:gd name="connsiteX146" fmla="*/ 55562 w 514350"/>
                <a:gd name="connsiteY146" fmla="*/ 614362 h 620717"/>
                <a:gd name="connsiteX147" fmla="*/ 79375 w 514350"/>
                <a:gd name="connsiteY147" fmla="*/ 609600 h 620717"/>
                <a:gd name="connsiteX148" fmla="*/ 123825 w 514350"/>
                <a:gd name="connsiteY148" fmla="*/ 612775 h 620717"/>
                <a:gd name="connsiteX149" fmla="*/ 130175 w 514350"/>
                <a:gd name="connsiteY149" fmla="*/ 617537 h 620717"/>
                <a:gd name="connsiteX150" fmla="*/ 144462 w 514350"/>
                <a:gd name="connsiteY150" fmla="*/ 620712 h 620717"/>
                <a:gd name="connsiteX151" fmla="*/ 173037 w 514350"/>
                <a:gd name="connsiteY151" fmla="*/ 617537 h 620717"/>
                <a:gd name="connsiteX152" fmla="*/ 180975 w 514350"/>
                <a:gd name="connsiteY152" fmla="*/ 614362 h 620717"/>
                <a:gd name="connsiteX153" fmla="*/ 187325 w 514350"/>
                <a:gd name="connsiteY153" fmla="*/ 609600 h 620717"/>
                <a:gd name="connsiteX154" fmla="*/ 196850 w 514350"/>
                <a:gd name="connsiteY154" fmla="*/ 606425 h 620717"/>
                <a:gd name="connsiteX155" fmla="*/ 198437 w 514350"/>
                <a:gd name="connsiteY155" fmla="*/ 600075 h 620717"/>
                <a:gd name="connsiteX156" fmla="*/ 203200 w 514350"/>
                <a:gd name="connsiteY156" fmla="*/ 595312 h 620717"/>
                <a:gd name="connsiteX157" fmla="*/ 215900 w 514350"/>
                <a:gd name="connsiteY157" fmla="*/ 581025 h 620717"/>
                <a:gd name="connsiteX158" fmla="*/ 230187 w 514350"/>
                <a:gd name="connsiteY158" fmla="*/ 582612 h 620717"/>
                <a:gd name="connsiteX159" fmla="*/ 238125 w 514350"/>
                <a:gd name="connsiteY159" fmla="*/ 584200 h 620717"/>
                <a:gd name="connsiteX160" fmla="*/ 261937 w 514350"/>
                <a:gd name="connsiteY160" fmla="*/ 581025 h 620717"/>
                <a:gd name="connsiteX161" fmla="*/ 263525 w 514350"/>
                <a:gd name="connsiteY161" fmla="*/ 576262 h 620717"/>
                <a:gd name="connsiteX162" fmla="*/ 266700 w 514350"/>
                <a:gd name="connsiteY162" fmla="*/ 582612 h 620717"/>
                <a:gd name="connsiteX163" fmla="*/ 277812 w 514350"/>
                <a:gd name="connsiteY163" fmla="*/ 590550 h 620717"/>
                <a:gd name="connsiteX164" fmla="*/ 279400 w 514350"/>
                <a:gd name="connsiteY164" fmla="*/ 579437 h 620717"/>
                <a:gd name="connsiteX165" fmla="*/ 287337 w 514350"/>
                <a:gd name="connsiteY165" fmla="*/ 571500 h 620717"/>
                <a:gd name="connsiteX166" fmla="*/ 290512 w 514350"/>
                <a:gd name="connsiteY166" fmla="*/ 566737 h 620717"/>
                <a:gd name="connsiteX167" fmla="*/ 311150 w 514350"/>
                <a:gd name="connsiteY167" fmla="*/ 558800 h 620717"/>
                <a:gd name="connsiteX168" fmla="*/ 354012 w 514350"/>
                <a:gd name="connsiteY168" fmla="*/ 554037 h 620717"/>
                <a:gd name="connsiteX169" fmla="*/ 360362 w 514350"/>
                <a:gd name="connsiteY169" fmla="*/ 561975 h 620717"/>
                <a:gd name="connsiteX170" fmla="*/ 365125 w 514350"/>
                <a:gd name="connsiteY170" fmla="*/ 563562 h 620717"/>
                <a:gd name="connsiteX171" fmla="*/ 366712 w 514350"/>
                <a:gd name="connsiteY171" fmla="*/ 557212 h 620717"/>
                <a:gd name="connsiteX172" fmla="*/ 368300 w 514350"/>
                <a:gd name="connsiteY172" fmla="*/ 552450 h 620717"/>
                <a:gd name="connsiteX173" fmla="*/ 377825 w 514350"/>
                <a:gd name="connsiteY173" fmla="*/ 557212 h 620717"/>
                <a:gd name="connsiteX174" fmla="*/ 382587 w 514350"/>
                <a:gd name="connsiteY174" fmla="*/ 563562 h 620717"/>
                <a:gd name="connsiteX175" fmla="*/ 404812 w 514350"/>
                <a:gd name="connsiteY175" fmla="*/ 565150 h 620717"/>
                <a:gd name="connsiteX176" fmla="*/ 414337 w 514350"/>
                <a:gd name="connsiteY176" fmla="*/ 571500 h 620717"/>
                <a:gd name="connsiteX177" fmla="*/ 419100 w 514350"/>
                <a:gd name="connsiteY177" fmla="*/ 574675 h 620717"/>
                <a:gd name="connsiteX178" fmla="*/ 436562 w 514350"/>
                <a:gd name="connsiteY178" fmla="*/ 573087 h 620717"/>
                <a:gd name="connsiteX179" fmla="*/ 434975 w 514350"/>
                <a:gd name="connsiteY179" fmla="*/ 566737 h 620717"/>
                <a:gd name="connsiteX180" fmla="*/ 430212 w 514350"/>
                <a:gd name="connsiteY180" fmla="*/ 546100 h 620717"/>
                <a:gd name="connsiteX181" fmla="*/ 433387 w 514350"/>
                <a:gd name="connsiteY181" fmla="*/ 531812 h 620717"/>
                <a:gd name="connsiteX182" fmla="*/ 446087 w 514350"/>
                <a:gd name="connsiteY182" fmla="*/ 525462 h 620717"/>
                <a:gd name="connsiteX183" fmla="*/ 452437 w 514350"/>
                <a:gd name="connsiteY183" fmla="*/ 519112 h 620717"/>
                <a:gd name="connsiteX184" fmla="*/ 463550 w 514350"/>
                <a:gd name="connsiteY184" fmla="*/ 514350 h 620717"/>
                <a:gd name="connsiteX185" fmla="*/ 465137 w 514350"/>
                <a:gd name="connsiteY185" fmla="*/ 508000 h 620717"/>
                <a:gd name="connsiteX186" fmla="*/ 466725 w 514350"/>
                <a:gd name="connsiteY186" fmla="*/ 485775 h 620717"/>
                <a:gd name="connsiteX187" fmla="*/ 482600 w 514350"/>
                <a:gd name="connsiteY187" fmla="*/ 474662 h 620717"/>
                <a:gd name="connsiteX188" fmla="*/ 495300 w 514350"/>
                <a:gd name="connsiteY188" fmla="*/ 458787 h 620717"/>
                <a:gd name="connsiteX189" fmla="*/ 501650 w 514350"/>
                <a:gd name="connsiteY189" fmla="*/ 438150 h 620717"/>
                <a:gd name="connsiteX190" fmla="*/ 506412 w 514350"/>
                <a:gd name="connsiteY190" fmla="*/ 433387 h 620717"/>
                <a:gd name="connsiteX191" fmla="*/ 506412 w 514350"/>
                <a:gd name="connsiteY191" fmla="*/ 401637 h 620717"/>
                <a:gd name="connsiteX192" fmla="*/ 501650 w 514350"/>
                <a:gd name="connsiteY192" fmla="*/ 398462 h 620717"/>
                <a:gd name="connsiteX193" fmla="*/ 498475 w 514350"/>
                <a:gd name="connsiteY193" fmla="*/ 392112 h 620717"/>
                <a:gd name="connsiteX194" fmla="*/ 503237 w 514350"/>
                <a:gd name="connsiteY194" fmla="*/ 360362 h 620717"/>
                <a:gd name="connsiteX195" fmla="*/ 508000 w 514350"/>
                <a:gd name="connsiteY195" fmla="*/ 355600 h 620717"/>
                <a:gd name="connsiteX196" fmla="*/ 514350 w 514350"/>
                <a:gd name="connsiteY196" fmla="*/ 346075 h 620717"/>
                <a:gd name="connsiteX197" fmla="*/ 511175 w 514350"/>
                <a:gd name="connsiteY197" fmla="*/ 331787 h 620717"/>
                <a:gd name="connsiteX198" fmla="*/ 506412 w 514350"/>
                <a:gd name="connsiteY198" fmla="*/ 327025 h 620717"/>
                <a:gd name="connsiteX199" fmla="*/ 504825 w 514350"/>
                <a:gd name="connsiteY199" fmla="*/ 315912 h 620717"/>
                <a:gd name="connsiteX200" fmla="*/ 508000 w 514350"/>
                <a:gd name="connsiteY200" fmla="*/ 290512 h 620717"/>
                <a:gd name="connsiteX201" fmla="*/ 506412 w 514350"/>
                <a:gd name="connsiteY201" fmla="*/ 282575 h 620717"/>
                <a:gd name="connsiteX202" fmla="*/ 495300 w 514350"/>
                <a:gd name="connsiteY202" fmla="*/ 276225 h 620717"/>
                <a:gd name="connsiteX203" fmla="*/ 496887 w 514350"/>
                <a:gd name="connsiteY203" fmla="*/ 268287 h 620717"/>
                <a:gd name="connsiteX204" fmla="*/ 501650 w 514350"/>
                <a:gd name="connsiteY204" fmla="*/ 266700 h 620717"/>
                <a:gd name="connsiteX205" fmla="*/ 506412 w 514350"/>
                <a:gd name="connsiteY205" fmla="*/ 263525 h 620717"/>
                <a:gd name="connsiteX206" fmla="*/ 509587 w 514350"/>
                <a:gd name="connsiteY206" fmla="*/ 258762 h 620717"/>
                <a:gd name="connsiteX207" fmla="*/ 511175 w 514350"/>
                <a:gd name="connsiteY207" fmla="*/ 254000 h 620717"/>
                <a:gd name="connsiteX208" fmla="*/ 514350 w 514350"/>
                <a:gd name="connsiteY208" fmla="*/ 246062 h 620717"/>
                <a:gd name="connsiteX209" fmla="*/ 512762 w 514350"/>
                <a:gd name="connsiteY209" fmla="*/ 239712 h 620717"/>
                <a:gd name="connsiteX210" fmla="*/ 496887 w 514350"/>
                <a:gd name="connsiteY210" fmla="*/ 239712 h 620717"/>
                <a:gd name="connsiteX211" fmla="*/ 492125 w 514350"/>
                <a:gd name="connsiteY211" fmla="*/ 241300 h 620717"/>
                <a:gd name="connsiteX212" fmla="*/ 485775 w 514350"/>
                <a:gd name="connsiteY212" fmla="*/ 244475 h 620717"/>
                <a:gd name="connsiteX213" fmla="*/ 481012 w 514350"/>
                <a:gd name="connsiteY213" fmla="*/ 234950 h 620717"/>
                <a:gd name="connsiteX214" fmla="*/ 479425 w 514350"/>
                <a:gd name="connsiteY214" fmla="*/ 222250 h 620717"/>
                <a:gd name="connsiteX215" fmla="*/ 477837 w 514350"/>
                <a:gd name="connsiteY215" fmla="*/ 215900 h 620717"/>
                <a:gd name="connsiteX216" fmla="*/ 473075 w 514350"/>
                <a:gd name="connsiteY216" fmla="*/ 190500 h 620717"/>
                <a:gd name="connsiteX217" fmla="*/ 468312 w 514350"/>
                <a:gd name="connsiteY217" fmla="*/ 176212 h 620717"/>
                <a:gd name="connsiteX218" fmla="*/ 458787 w 514350"/>
                <a:gd name="connsiteY218" fmla="*/ 171450 h 620717"/>
                <a:gd name="connsiteX219" fmla="*/ 449262 w 514350"/>
                <a:gd name="connsiteY219" fmla="*/ 173037 h 620717"/>
                <a:gd name="connsiteX220" fmla="*/ 438150 w 514350"/>
                <a:gd name="connsiteY220" fmla="*/ 182562 h 620717"/>
                <a:gd name="connsiteX221" fmla="*/ 434975 w 514350"/>
                <a:gd name="connsiteY221" fmla="*/ 188912 h 620717"/>
                <a:gd name="connsiteX222" fmla="*/ 428625 w 514350"/>
                <a:gd name="connsiteY222" fmla="*/ 196850 h 620717"/>
                <a:gd name="connsiteX223" fmla="*/ 417512 w 514350"/>
                <a:gd name="connsiteY223" fmla="*/ 206375 h 620717"/>
                <a:gd name="connsiteX224" fmla="*/ 412750 w 514350"/>
                <a:gd name="connsiteY224" fmla="*/ 207962 h 620717"/>
                <a:gd name="connsiteX225" fmla="*/ 401637 w 514350"/>
                <a:gd name="connsiteY225" fmla="*/ 206375 h 620717"/>
                <a:gd name="connsiteX226" fmla="*/ 395287 w 514350"/>
                <a:gd name="connsiteY226" fmla="*/ 200025 h 620717"/>
                <a:gd name="connsiteX227" fmla="*/ 390525 w 514350"/>
                <a:gd name="connsiteY227" fmla="*/ 196850 h 620717"/>
                <a:gd name="connsiteX228" fmla="*/ 385762 w 514350"/>
                <a:gd name="connsiteY228" fmla="*/ 190500 h 620717"/>
                <a:gd name="connsiteX229" fmla="*/ 368300 w 514350"/>
                <a:gd name="connsiteY229" fmla="*/ 171450 h 620717"/>
                <a:gd name="connsiteX230" fmla="*/ 363537 w 514350"/>
                <a:gd name="connsiteY230" fmla="*/ 160337 h 620717"/>
                <a:gd name="connsiteX231" fmla="*/ 358775 w 514350"/>
                <a:gd name="connsiteY231" fmla="*/ 157162 h 620717"/>
                <a:gd name="connsiteX232" fmla="*/ 349250 w 514350"/>
                <a:gd name="connsiteY232" fmla="*/ 144462 h 620717"/>
                <a:gd name="connsiteX233" fmla="*/ 346075 w 514350"/>
                <a:gd name="connsiteY233" fmla="*/ 138112 h 620717"/>
                <a:gd name="connsiteX234" fmla="*/ 350837 w 514350"/>
                <a:gd name="connsiteY234" fmla="*/ 128587 h 620717"/>
                <a:gd name="connsiteX235" fmla="*/ 357187 w 514350"/>
                <a:gd name="connsiteY235" fmla="*/ 127000 h 620717"/>
                <a:gd name="connsiteX236" fmla="*/ 368300 w 514350"/>
                <a:gd name="connsiteY236" fmla="*/ 125412 h 620717"/>
                <a:gd name="connsiteX237" fmla="*/ 374650 w 514350"/>
                <a:gd name="connsiteY237" fmla="*/ 123825 h 620717"/>
                <a:gd name="connsiteX238" fmla="*/ 384175 w 514350"/>
                <a:gd name="connsiteY238" fmla="*/ 120650 h 620717"/>
                <a:gd name="connsiteX239" fmla="*/ 392112 w 514350"/>
                <a:gd name="connsiteY239" fmla="*/ 111125 h 620717"/>
                <a:gd name="connsiteX240" fmla="*/ 388937 w 514350"/>
                <a:gd name="connsiteY240" fmla="*/ 100012 h 620717"/>
                <a:gd name="connsiteX241" fmla="*/ 390525 w 514350"/>
                <a:gd name="connsiteY241" fmla="*/ 93662 h 620717"/>
                <a:gd name="connsiteX242" fmla="*/ 401637 w 514350"/>
                <a:gd name="connsiteY242" fmla="*/ 95250 h 620717"/>
                <a:gd name="connsiteX243" fmla="*/ 423862 w 514350"/>
                <a:gd name="connsiteY243" fmla="*/ 93662 h 620717"/>
                <a:gd name="connsiteX244" fmla="*/ 430212 w 514350"/>
                <a:gd name="connsiteY244" fmla="*/ 87312 h 620717"/>
                <a:gd name="connsiteX245" fmla="*/ 437057 w 514350"/>
                <a:gd name="connsiteY245" fmla="*/ 70860 h 620717"/>
                <a:gd name="connsiteX246" fmla="*/ 451852 w 514350"/>
                <a:gd name="connsiteY246" fmla="*/ 72772 h 620717"/>
                <a:gd name="connsiteX247" fmla="*/ 450399 w 514350"/>
                <a:gd name="connsiteY247" fmla="*/ 73819 h 620717"/>
                <a:gd name="connsiteX248" fmla="*/ 455612 w 514350"/>
                <a:gd name="connsiteY248" fmla="*/ 69850 h 620717"/>
                <a:gd name="connsiteX249" fmla="*/ 461962 w 514350"/>
                <a:gd name="connsiteY249" fmla="*/ 68262 h 620717"/>
                <a:gd name="connsiteX250" fmla="*/ 466725 w 514350"/>
                <a:gd name="connsiteY250" fmla="*/ 61912 h 620717"/>
                <a:gd name="connsiteX251" fmla="*/ 492125 w 514350"/>
                <a:gd name="connsiteY251" fmla="*/ 53975 h 620717"/>
                <a:gd name="connsiteX252" fmla="*/ 496887 w 514350"/>
                <a:gd name="connsiteY252" fmla="*/ 49212 h 620717"/>
                <a:gd name="connsiteX253" fmla="*/ 500062 w 514350"/>
                <a:gd name="connsiteY253" fmla="*/ 41275 h 620717"/>
                <a:gd name="connsiteX254" fmla="*/ 496887 w 514350"/>
                <a:gd name="connsiteY254" fmla="*/ 31750 h 6207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Lst>
              <a:rect l="l" t="t" r="r" b="b"/>
              <a:pathLst>
                <a:path w="514350" h="620717">
                  <a:moveTo>
                    <a:pt x="492125" y="28575"/>
                  </a:moveTo>
                  <a:cubicBezTo>
                    <a:pt x="498211" y="23019"/>
                    <a:pt x="490623" y="23898"/>
                    <a:pt x="488950" y="22225"/>
                  </a:cubicBezTo>
                  <a:cubicBezTo>
                    <a:pt x="488190" y="21465"/>
                    <a:pt x="477894" y="19064"/>
                    <a:pt x="477837" y="19050"/>
                  </a:cubicBezTo>
                  <a:cubicBezTo>
                    <a:pt x="476779" y="17462"/>
                    <a:pt x="475515" y="15994"/>
                    <a:pt x="474662" y="14287"/>
                  </a:cubicBezTo>
                  <a:cubicBezTo>
                    <a:pt x="472181" y="9324"/>
                    <a:pt x="474030" y="8131"/>
                    <a:pt x="469900" y="3175"/>
                  </a:cubicBezTo>
                  <a:cubicBezTo>
                    <a:pt x="468678" y="1709"/>
                    <a:pt x="466725" y="1058"/>
                    <a:pt x="465137" y="0"/>
                  </a:cubicBezTo>
                  <a:cubicBezTo>
                    <a:pt x="463550" y="529"/>
                    <a:pt x="461828" y="757"/>
                    <a:pt x="460375" y="1587"/>
                  </a:cubicBezTo>
                  <a:cubicBezTo>
                    <a:pt x="455131" y="4584"/>
                    <a:pt x="453709" y="8016"/>
                    <a:pt x="447675" y="9525"/>
                  </a:cubicBezTo>
                  <a:cubicBezTo>
                    <a:pt x="441430" y="11086"/>
                    <a:pt x="434975" y="11642"/>
                    <a:pt x="428625" y="12700"/>
                  </a:cubicBezTo>
                  <a:cubicBezTo>
                    <a:pt x="425485" y="15602"/>
                    <a:pt x="429822" y="29818"/>
                    <a:pt x="429887" y="34766"/>
                  </a:cubicBezTo>
                  <a:cubicBezTo>
                    <a:pt x="429952" y="39714"/>
                    <a:pt x="418335" y="57985"/>
                    <a:pt x="416854" y="57257"/>
                  </a:cubicBezTo>
                  <a:cubicBezTo>
                    <a:pt x="415373" y="56529"/>
                    <a:pt x="425119" y="36199"/>
                    <a:pt x="421003" y="30397"/>
                  </a:cubicBezTo>
                  <a:cubicBezTo>
                    <a:pt x="416887" y="24595"/>
                    <a:pt x="419112" y="12763"/>
                    <a:pt x="415884" y="9813"/>
                  </a:cubicBezTo>
                  <a:cubicBezTo>
                    <a:pt x="412656" y="6863"/>
                    <a:pt x="404283" y="13229"/>
                    <a:pt x="401637" y="12700"/>
                  </a:cubicBezTo>
                  <a:cubicBezTo>
                    <a:pt x="377612" y="13528"/>
                    <a:pt x="361144" y="1613"/>
                    <a:pt x="352425" y="19050"/>
                  </a:cubicBezTo>
                  <a:cubicBezTo>
                    <a:pt x="351677" y="20547"/>
                    <a:pt x="351366" y="22225"/>
                    <a:pt x="350837" y="23812"/>
                  </a:cubicBezTo>
                  <a:cubicBezTo>
                    <a:pt x="351366" y="28575"/>
                    <a:pt x="351016" y="33520"/>
                    <a:pt x="352425" y="38100"/>
                  </a:cubicBezTo>
                  <a:cubicBezTo>
                    <a:pt x="353203" y="40629"/>
                    <a:pt x="356924" y="41817"/>
                    <a:pt x="357187" y="44450"/>
                  </a:cubicBezTo>
                  <a:cubicBezTo>
                    <a:pt x="357452" y="47097"/>
                    <a:pt x="353595" y="57651"/>
                    <a:pt x="349250" y="58737"/>
                  </a:cubicBezTo>
                  <a:cubicBezTo>
                    <a:pt x="342556" y="60410"/>
                    <a:pt x="335491" y="59796"/>
                    <a:pt x="328612" y="60325"/>
                  </a:cubicBezTo>
                  <a:cubicBezTo>
                    <a:pt x="321512" y="62691"/>
                    <a:pt x="314951" y="64774"/>
                    <a:pt x="307975" y="68262"/>
                  </a:cubicBezTo>
                  <a:cubicBezTo>
                    <a:pt x="299673" y="72413"/>
                    <a:pt x="303921" y="70863"/>
                    <a:pt x="295275" y="73025"/>
                  </a:cubicBezTo>
                  <a:cubicBezTo>
                    <a:pt x="294217" y="74612"/>
                    <a:pt x="291637" y="75936"/>
                    <a:pt x="292100" y="77787"/>
                  </a:cubicBezTo>
                  <a:cubicBezTo>
                    <a:pt x="292506" y="79410"/>
                    <a:pt x="295239" y="78969"/>
                    <a:pt x="296862" y="79375"/>
                  </a:cubicBezTo>
                  <a:cubicBezTo>
                    <a:pt x="301595" y="80558"/>
                    <a:pt x="306387" y="81492"/>
                    <a:pt x="311150" y="82550"/>
                  </a:cubicBezTo>
                  <a:cubicBezTo>
                    <a:pt x="313796" y="84137"/>
                    <a:pt x="316327" y="85932"/>
                    <a:pt x="319087" y="87312"/>
                  </a:cubicBezTo>
                  <a:cubicBezTo>
                    <a:pt x="320584" y="88060"/>
                    <a:pt x="322529" y="87873"/>
                    <a:pt x="323850" y="88900"/>
                  </a:cubicBezTo>
                  <a:cubicBezTo>
                    <a:pt x="331378" y="94755"/>
                    <a:pt x="332306" y="96822"/>
                    <a:pt x="336550" y="103187"/>
                  </a:cubicBezTo>
                  <a:cubicBezTo>
                    <a:pt x="336021" y="106891"/>
                    <a:pt x="336635" y="110953"/>
                    <a:pt x="334962" y="114300"/>
                  </a:cubicBezTo>
                  <a:cubicBezTo>
                    <a:pt x="334214" y="115797"/>
                    <a:pt x="331383" y="114704"/>
                    <a:pt x="330200" y="115887"/>
                  </a:cubicBezTo>
                  <a:cubicBezTo>
                    <a:pt x="320042" y="126045"/>
                    <a:pt x="328818" y="125013"/>
                    <a:pt x="315912" y="130175"/>
                  </a:cubicBezTo>
                  <a:cubicBezTo>
                    <a:pt x="313407" y="131177"/>
                    <a:pt x="310621" y="131233"/>
                    <a:pt x="307975" y="131762"/>
                  </a:cubicBezTo>
                  <a:cubicBezTo>
                    <a:pt x="305329" y="132820"/>
                    <a:pt x="302052" y="132922"/>
                    <a:pt x="300037" y="134937"/>
                  </a:cubicBezTo>
                  <a:cubicBezTo>
                    <a:pt x="298022" y="136952"/>
                    <a:pt x="298328" y="140431"/>
                    <a:pt x="296862" y="142875"/>
                  </a:cubicBezTo>
                  <a:cubicBezTo>
                    <a:pt x="292467" y="150200"/>
                    <a:pt x="289086" y="151953"/>
                    <a:pt x="282575" y="157162"/>
                  </a:cubicBezTo>
                  <a:cubicBezTo>
                    <a:pt x="279400" y="156104"/>
                    <a:pt x="275976" y="155612"/>
                    <a:pt x="273050" y="153987"/>
                  </a:cubicBezTo>
                  <a:cubicBezTo>
                    <a:pt x="257571" y="145388"/>
                    <a:pt x="279380" y="151999"/>
                    <a:pt x="261937" y="147637"/>
                  </a:cubicBezTo>
                  <a:cubicBezTo>
                    <a:pt x="255587" y="148166"/>
                    <a:pt x="249210" y="148435"/>
                    <a:pt x="242887" y="149225"/>
                  </a:cubicBezTo>
                  <a:cubicBezTo>
                    <a:pt x="240722" y="149496"/>
                    <a:pt x="238431" y="151894"/>
                    <a:pt x="236537" y="150812"/>
                  </a:cubicBezTo>
                  <a:cubicBezTo>
                    <a:pt x="233858" y="149281"/>
                    <a:pt x="233362" y="145521"/>
                    <a:pt x="231775" y="142875"/>
                  </a:cubicBezTo>
                  <a:cubicBezTo>
                    <a:pt x="230729" y="136598"/>
                    <a:pt x="230385" y="128786"/>
                    <a:pt x="225425" y="123825"/>
                  </a:cubicBezTo>
                  <a:cubicBezTo>
                    <a:pt x="223882" y="122282"/>
                    <a:pt x="221231" y="122569"/>
                    <a:pt x="219075" y="122237"/>
                  </a:cubicBezTo>
                  <a:cubicBezTo>
                    <a:pt x="214339" y="121508"/>
                    <a:pt x="209531" y="121328"/>
                    <a:pt x="204787" y="120650"/>
                  </a:cubicBezTo>
                  <a:cubicBezTo>
                    <a:pt x="200096" y="119980"/>
                    <a:pt x="195113" y="118628"/>
                    <a:pt x="190500" y="117475"/>
                  </a:cubicBezTo>
                  <a:cubicBezTo>
                    <a:pt x="187854" y="115358"/>
                    <a:pt x="185435" y="112921"/>
                    <a:pt x="182562" y="111125"/>
                  </a:cubicBezTo>
                  <a:cubicBezTo>
                    <a:pt x="173800" y="105648"/>
                    <a:pt x="181226" y="114675"/>
                    <a:pt x="174625" y="104775"/>
                  </a:cubicBezTo>
                  <a:cubicBezTo>
                    <a:pt x="167217" y="105304"/>
                    <a:pt x="158953" y="102867"/>
                    <a:pt x="152400" y="106362"/>
                  </a:cubicBezTo>
                  <a:cubicBezTo>
                    <a:pt x="149098" y="108123"/>
                    <a:pt x="153806" y="115230"/>
                    <a:pt x="150812" y="117475"/>
                  </a:cubicBezTo>
                  <a:cubicBezTo>
                    <a:pt x="146079" y="121025"/>
                    <a:pt x="139171" y="119592"/>
                    <a:pt x="133350" y="120650"/>
                  </a:cubicBezTo>
                  <a:cubicBezTo>
                    <a:pt x="134937" y="121708"/>
                    <a:pt x="136920" y="122335"/>
                    <a:pt x="138112" y="123825"/>
                  </a:cubicBezTo>
                  <a:cubicBezTo>
                    <a:pt x="139157" y="125132"/>
                    <a:pt x="138517" y="127404"/>
                    <a:pt x="139700" y="128587"/>
                  </a:cubicBezTo>
                  <a:cubicBezTo>
                    <a:pt x="141373" y="130260"/>
                    <a:pt x="143933" y="130704"/>
                    <a:pt x="146050" y="131762"/>
                  </a:cubicBezTo>
                  <a:cubicBezTo>
                    <a:pt x="146579" y="133879"/>
                    <a:pt x="147908" y="135947"/>
                    <a:pt x="147637" y="138112"/>
                  </a:cubicBezTo>
                  <a:cubicBezTo>
                    <a:pt x="146117" y="150268"/>
                    <a:pt x="133001" y="145344"/>
                    <a:pt x="123825" y="146050"/>
                  </a:cubicBezTo>
                  <a:cubicBezTo>
                    <a:pt x="122161" y="151041"/>
                    <a:pt x="122570" y="152178"/>
                    <a:pt x="117475" y="155575"/>
                  </a:cubicBezTo>
                  <a:cubicBezTo>
                    <a:pt x="116083" y="156503"/>
                    <a:pt x="114300" y="156633"/>
                    <a:pt x="112712" y="157162"/>
                  </a:cubicBezTo>
                  <a:cubicBezTo>
                    <a:pt x="128033" y="160227"/>
                    <a:pt x="114508" y="156473"/>
                    <a:pt x="125412" y="161925"/>
                  </a:cubicBezTo>
                  <a:cubicBezTo>
                    <a:pt x="126909" y="162673"/>
                    <a:pt x="128560" y="163072"/>
                    <a:pt x="130175" y="163512"/>
                  </a:cubicBezTo>
                  <a:cubicBezTo>
                    <a:pt x="134385" y="164660"/>
                    <a:pt x="138642" y="165629"/>
                    <a:pt x="142875" y="166687"/>
                  </a:cubicBezTo>
                  <a:cubicBezTo>
                    <a:pt x="144462" y="168804"/>
                    <a:pt x="145915" y="171028"/>
                    <a:pt x="147637" y="173037"/>
                  </a:cubicBezTo>
                  <a:cubicBezTo>
                    <a:pt x="149098" y="174742"/>
                    <a:pt x="152944" y="175622"/>
                    <a:pt x="152400" y="177800"/>
                  </a:cubicBezTo>
                  <a:cubicBezTo>
                    <a:pt x="151871" y="179917"/>
                    <a:pt x="148167" y="178858"/>
                    <a:pt x="146050" y="179387"/>
                  </a:cubicBezTo>
                  <a:cubicBezTo>
                    <a:pt x="147108" y="181504"/>
                    <a:pt x="147552" y="184064"/>
                    <a:pt x="149225" y="185737"/>
                  </a:cubicBezTo>
                  <a:cubicBezTo>
                    <a:pt x="150408" y="186920"/>
                    <a:pt x="152364" y="186919"/>
                    <a:pt x="153987" y="187325"/>
                  </a:cubicBezTo>
                  <a:cubicBezTo>
                    <a:pt x="158720" y="188508"/>
                    <a:pt x="163512" y="189442"/>
                    <a:pt x="168275" y="190500"/>
                  </a:cubicBezTo>
                  <a:cubicBezTo>
                    <a:pt x="167217" y="193146"/>
                    <a:pt x="166924" y="196248"/>
                    <a:pt x="165100" y="198437"/>
                  </a:cubicBezTo>
                  <a:cubicBezTo>
                    <a:pt x="164029" y="199723"/>
                    <a:pt x="162007" y="200129"/>
                    <a:pt x="160337" y="200025"/>
                  </a:cubicBezTo>
                  <a:cubicBezTo>
                    <a:pt x="153391" y="199591"/>
                    <a:pt x="146579" y="197908"/>
                    <a:pt x="139700" y="196850"/>
                  </a:cubicBezTo>
                  <a:cubicBezTo>
                    <a:pt x="146538" y="200952"/>
                    <a:pt x="151332" y="202289"/>
                    <a:pt x="153987" y="211137"/>
                  </a:cubicBezTo>
                  <a:cubicBezTo>
                    <a:pt x="154614" y="213227"/>
                    <a:pt x="154351" y="216511"/>
                    <a:pt x="152400" y="217487"/>
                  </a:cubicBezTo>
                  <a:cubicBezTo>
                    <a:pt x="148114" y="219630"/>
                    <a:pt x="142875" y="218546"/>
                    <a:pt x="138112" y="219075"/>
                  </a:cubicBezTo>
                  <a:cubicBezTo>
                    <a:pt x="139700" y="220662"/>
                    <a:pt x="142165" y="221707"/>
                    <a:pt x="142875" y="223837"/>
                  </a:cubicBezTo>
                  <a:cubicBezTo>
                    <a:pt x="143404" y="225425"/>
                    <a:pt x="142919" y="228229"/>
                    <a:pt x="141287" y="228600"/>
                  </a:cubicBezTo>
                  <a:cubicBezTo>
                    <a:pt x="130402" y="231074"/>
                    <a:pt x="119053" y="230626"/>
                    <a:pt x="107950" y="231775"/>
                  </a:cubicBezTo>
                  <a:cubicBezTo>
                    <a:pt x="103706" y="232214"/>
                    <a:pt x="99483" y="232833"/>
                    <a:pt x="95250" y="233362"/>
                  </a:cubicBezTo>
                  <a:cubicBezTo>
                    <a:pt x="94636" y="235815"/>
                    <a:pt x="92075" y="245629"/>
                    <a:pt x="92075" y="247650"/>
                  </a:cubicBezTo>
                  <a:cubicBezTo>
                    <a:pt x="92075" y="249323"/>
                    <a:pt x="92309" y="251428"/>
                    <a:pt x="93662" y="252412"/>
                  </a:cubicBezTo>
                  <a:cubicBezTo>
                    <a:pt x="98447" y="255892"/>
                    <a:pt x="104614" y="257068"/>
                    <a:pt x="109537" y="260350"/>
                  </a:cubicBezTo>
                  <a:cubicBezTo>
                    <a:pt x="111125" y="261408"/>
                    <a:pt x="112834" y="262304"/>
                    <a:pt x="114300" y="263525"/>
                  </a:cubicBezTo>
                  <a:cubicBezTo>
                    <a:pt x="116025" y="264962"/>
                    <a:pt x="117194" y="267042"/>
                    <a:pt x="119062" y="268287"/>
                  </a:cubicBezTo>
                  <a:cubicBezTo>
                    <a:pt x="120455" y="269215"/>
                    <a:pt x="122328" y="269126"/>
                    <a:pt x="123825" y="269875"/>
                  </a:cubicBezTo>
                  <a:cubicBezTo>
                    <a:pt x="125531" y="270728"/>
                    <a:pt x="127000" y="271992"/>
                    <a:pt x="128587" y="273050"/>
                  </a:cubicBezTo>
                  <a:cubicBezTo>
                    <a:pt x="125758" y="274182"/>
                    <a:pt x="117132" y="277378"/>
                    <a:pt x="114300" y="279400"/>
                  </a:cubicBezTo>
                  <a:cubicBezTo>
                    <a:pt x="112473" y="280705"/>
                    <a:pt x="111125" y="282575"/>
                    <a:pt x="109537" y="284162"/>
                  </a:cubicBezTo>
                  <a:cubicBezTo>
                    <a:pt x="110066" y="287337"/>
                    <a:pt x="108612" y="291676"/>
                    <a:pt x="111125" y="293687"/>
                  </a:cubicBezTo>
                  <a:cubicBezTo>
                    <a:pt x="114934" y="296735"/>
                    <a:pt x="120679" y="295679"/>
                    <a:pt x="125412" y="296862"/>
                  </a:cubicBezTo>
                  <a:cubicBezTo>
                    <a:pt x="133297" y="298833"/>
                    <a:pt x="127438" y="298218"/>
                    <a:pt x="136525" y="301625"/>
                  </a:cubicBezTo>
                  <a:cubicBezTo>
                    <a:pt x="138568" y="302391"/>
                    <a:pt x="140758" y="302683"/>
                    <a:pt x="142875" y="303212"/>
                  </a:cubicBezTo>
                  <a:cubicBezTo>
                    <a:pt x="143933" y="305858"/>
                    <a:pt x="144394" y="308831"/>
                    <a:pt x="146050" y="311150"/>
                  </a:cubicBezTo>
                  <a:cubicBezTo>
                    <a:pt x="148524" y="314613"/>
                    <a:pt x="155353" y="315660"/>
                    <a:pt x="158750" y="315912"/>
                  </a:cubicBezTo>
                  <a:cubicBezTo>
                    <a:pt x="170372" y="316773"/>
                    <a:pt x="182033" y="316971"/>
                    <a:pt x="193675" y="317500"/>
                  </a:cubicBezTo>
                  <a:cubicBezTo>
                    <a:pt x="198967" y="318558"/>
                    <a:pt x="204865" y="317998"/>
                    <a:pt x="209550" y="320675"/>
                  </a:cubicBezTo>
                  <a:cubicBezTo>
                    <a:pt x="211207" y="321622"/>
                    <a:pt x="206494" y="322997"/>
                    <a:pt x="204787" y="323850"/>
                  </a:cubicBezTo>
                  <a:cubicBezTo>
                    <a:pt x="203290" y="324598"/>
                    <a:pt x="201612" y="324908"/>
                    <a:pt x="200025" y="325437"/>
                  </a:cubicBezTo>
                  <a:cubicBezTo>
                    <a:pt x="186885" y="338577"/>
                    <a:pt x="202753" y="324130"/>
                    <a:pt x="190500" y="331787"/>
                  </a:cubicBezTo>
                  <a:cubicBezTo>
                    <a:pt x="187627" y="333583"/>
                    <a:pt x="185381" y="336257"/>
                    <a:pt x="182562" y="338137"/>
                  </a:cubicBezTo>
                  <a:cubicBezTo>
                    <a:pt x="180593" y="339450"/>
                    <a:pt x="178267" y="340138"/>
                    <a:pt x="176212" y="341312"/>
                  </a:cubicBezTo>
                  <a:cubicBezTo>
                    <a:pt x="174556" y="342259"/>
                    <a:pt x="173193" y="343712"/>
                    <a:pt x="171450" y="344487"/>
                  </a:cubicBezTo>
                  <a:cubicBezTo>
                    <a:pt x="168392" y="345846"/>
                    <a:pt x="161925" y="347662"/>
                    <a:pt x="161925" y="347662"/>
                  </a:cubicBezTo>
                  <a:cubicBezTo>
                    <a:pt x="157367" y="353359"/>
                    <a:pt x="152752" y="358660"/>
                    <a:pt x="149225" y="365125"/>
                  </a:cubicBezTo>
                  <a:cubicBezTo>
                    <a:pt x="147198" y="368841"/>
                    <a:pt x="144195" y="381088"/>
                    <a:pt x="139700" y="382587"/>
                  </a:cubicBezTo>
                  <a:lnTo>
                    <a:pt x="134937" y="384175"/>
                  </a:lnTo>
                  <a:cubicBezTo>
                    <a:pt x="134408" y="385762"/>
                    <a:pt x="134395" y="387631"/>
                    <a:pt x="133350" y="388937"/>
                  </a:cubicBezTo>
                  <a:cubicBezTo>
                    <a:pt x="132158" y="390427"/>
                    <a:pt x="130113" y="390967"/>
                    <a:pt x="128587" y="392112"/>
                  </a:cubicBezTo>
                  <a:cubicBezTo>
                    <a:pt x="125876" y="394145"/>
                    <a:pt x="123296" y="396345"/>
                    <a:pt x="120650" y="398462"/>
                  </a:cubicBezTo>
                  <a:cubicBezTo>
                    <a:pt x="118533" y="402166"/>
                    <a:pt x="117110" y="406364"/>
                    <a:pt x="114300" y="409575"/>
                  </a:cubicBezTo>
                  <a:cubicBezTo>
                    <a:pt x="113198" y="410834"/>
                    <a:pt x="111173" y="410811"/>
                    <a:pt x="109537" y="411162"/>
                  </a:cubicBezTo>
                  <a:cubicBezTo>
                    <a:pt x="103752" y="412401"/>
                    <a:pt x="97896" y="413279"/>
                    <a:pt x="92075" y="414337"/>
                  </a:cubicBezTo>
                  <a:cubicBezTo>
                    <a:pt x="93552" y="420249"/>
                    <a:pt x="96169" y="427472"/>
                    <a:pt x="92075" y="433387"/>
                  </a:cubicBezTo>
                  <a:cubicBezTo>
                    <a:pt x="89233" y="437492"/>
                    <a:pt x="79375" y="441325"/>
                    <a:pt x="79375" y="441325"/>
                  </a:cubicBezTo>
                  <a:cubicBezTo>
                    <a:pt x="69957" y="464869"/>
                    <a:pt x="81929" y="435577"/>
                    <a:pt x="73025" y="455612"/>
                  </a:cubicBezTo>
                  <a:cubicBezTo>
                    <a:pt x="71868" y="458216"/>
                    <a:pt x="71674" y="461361"/>
                    <a:pt x="69850" y="463550"/>
                  </a:cubicBezTo>
                  <a:cubicBezTo>
                    <a:pt x="68779" y="464836"/>
                    <a:pt x="66752" y="464970"/>
                    <a:pt x="65087" y="465137"/>
                  </a:cubicBezTo>
                  <a:cubicBezTo>
                    <a:pt x="56120" y="466034"/>
                    <a:pt x="47096" y="466196"/>
                    <a:pt x="38100" y="466725"/>
                  </a:cubicBezTo>
                  <a:cubicBezTo>
                    <a:pt x="37042" y="468842"/>
                    <a:pt x="36440" y="471257"/>
                    <a:pt x="34925" y="473075"/>
                  </a:cubicBezTo>
                  <a:cubicBezTo>
                    <a:pt x="33703" y="474541"/>
                    <a:pt x="32053" y="475992"/>
                    <a:pt x="30162" y="476250"/>
                  </a:cubicBezTo>
                  <a:cubicBezTo>
                    <a:pt x="20186" y="477610"/>
                    <a:pt x="10054" y="477308"/>
                    <a:pt x="0" y="477837"/>
                  </a:cubicBezTo>
                  <a:cubicBezTo>
                    <a:pt x="1587" y="479954"/>
                    <a:pt x="2252" y="483350"/>
                    <a:pt x="4762" y="484187"/>
                  </a:cubicBezTo>
                  <a:cubicBezTo>
                    <a:pt x="10807" y="486202"/>
                    <a:pt x="17489" y="484985"/>
                    <a:pt x="23812" y="485775"/>
                  </a:cubicBezTo>
                  <a:cubicBezTo>
                    <a:pt x="25977" y="486046"/>
                    <a:pt x="28023" y="486934"/>
                    <a:pt x="30162" y="487362"/>
                  </a:cubicBezTo>
                  <a:cubicBezTo>
                    <a:pt x="33318" y="487993"/>
                    <a:pt x="36512" y="488421"/>
                    <a:pt x="39687" y="488950"/>
                  </a:cubicBezTo>
                  <a:cubicBezTo>
                    <a:pt x="37570" y="490008"/>
                    <a:pt x="35582" y="491377"/>
                    <a:pt x="33337" y="492125"/>
                  </a:cubicBezTo>
                  <a:cubicBezTo>
                    <a:pt x="30777" y="492978"/>
                    <a:pt x="28034" y="493127"/>
                    <a:pt x="25400" y="493712"/>
                  </a:cubicBezTo>
                  <a:cubicBezTo>
                    <a:pt x="23270" y="494185"/>
                    <a:pt x="21167" y="494771"/>
                    <a:pt x="19050" y="495300"/>
                  </a:cubicBezTo>
                  <a:cubicBezTo>
                    <a:pt x="17462" y="496358"/>
                    <a:pt x="15994" y="497622"/>
                    <a:pt x="14287" y="498475"/>
                  </a:cubicBezTo>
                  <a:cubicBezTo>
                    <a:pt x="1141" y="505047"/>
                    <a:pt x="18414" y="494137"/>
                    <a:pt x="4762" y="503237"/>
                  </a:cubicBezTo>
                  <a:cubicBezTo>
                    <a:pt x="4233" y="504825"/>
                    <a:pt x="3538" y="506366"/>
                    <a:pt x="3175" y="508000"/>
                  </a:cubicBezTo>
                  <a:cubicBezTo>
                    <a:pt x="1413" y="515927"/>
                    <a:pt x="69" y="522403"/>
                    <a:pt x="4762" y="530225"/>
                  </a:cubicBezTo>
                  <a:cubicBezTo>
                    <a:pt x="5980" y="532254"/>
                    <a:pt x="8845" y="532720"/>
                    <a:pt x="11112" y="533400"/>
                  </a:cubicBezTo>
                  <a:cubicBezTo>
                    <a:pt x="14195" y="534325"/>
                    <a:pt x="17481" y="534356"/>
                    <a:pt x="20637" y="534987"/>
                  </a:cubicBezTo>
                  <a:cubicBezTo>
                    <a:pt x="22776" y="535415"/>
                    <a:pt x="24870" y="536046"/>
                    <a:pt x="26987" y="536575"/>
                  </a:cubicBezTo>
                  <a:cubicBezTo>
                    <a:pt x="41090" y="547151"/>
                    <a:pt x="25816" y="536980"/>
                    <a:pt x="39687" y="542925"/>
                  </a:cubicBezTo>
                  <a:cubicBezTo>
                    <a:pt x="41441" y="543677"/>
                    <a:pt x="42599" y="545637"/>
                    <a:pt x="44450" y="546100"/>
                  </a:cubicBezTo>
                  <a:cubicBezTo>
                    <a:pt x="49099" y="547262"/>
                    <a:pt x="53975" y="547158"/>
                    <a:pt x="58737" y="547687"/>
                  </a:cubicBezTo>
                  <a:cubicBezTo>
                    <a:pt x="55033" y="550333"/>
                    <a:pt x="51696" y="553589"/>
                    <a:pt x="47625" y="555625"/>
                  </a:cubicBezTo>
                  <a:cubicBezTo>
                    <a:pt x="46494" y="556190"/>
                    <a:pt x="30463" y="558740"/>
                    <a:pt x="30162" y="558800"/>
                  </a:cubicBezTo>
                  <a:cubicBezTo>
                    <a:pt x="22733" y="560286"/>
                    <a:pt x="15366" y="562077"/>
                    <a:pt x="7937" y="563562"/>
                  </a:cubicBezTo>
                  <a:cubicBezTo>
                    <a:pt x="7737" y="564561"/>
                    <a:pt x="4433" y="574260"/>
                    <a:pt x="7937" y="576262"/>
                  </a:cubicBezTo>
                  <a:cubicBezTo>
                    <a:pt x="10732" y="577859"/>
                    <a:pt x="14279" y="577372"/>
                    <a:pt x="17462" y="577850"/>
                  </a:cubicBezTo>
                  <a:cubicBezTo>
                    <a:pt x="24863" y="578960"/>
                    <a:pt x="32349" y="579558"/>
                    <a:pt x="39687" y="581025"/>
                  </a:cubicBezTo>
                  <a:cubicBezTo>
                    <a:pt x="42333" y="581554"/>
                    <a:pt x="44954" y="582230"/>
                    <a:pt x="47625" y="582612"/>
                  </a:cubicBezTo>
                  <a:cubicBezTo>
                    <a:pt x="52369" y="583290"/>
                    <a:pt x="57150" y="583671"/>
                    <a:pt x="61912" y="584200"/>
                  </a:cubicBezTo>
                  <a:cubicBezTo>
                    <a:pt x="63500" y="585258"/>
                    <a:pt x="67896" y="585909"/>
                    <a:pt x="66675" y="587375"/>
                  </a:cubicBezTo>
                  <a:cubicBezTo>
                    <a:pt x="63645" y="591011"/>
                    <a:pt x="53975" y="593725"/>
                    <a:pt x="53975" y="593725"/>
                  </a:cubicBezTo>
                  <a:cubicBezTo>
                    <a:pt x="53446" y="596371"/>
                    <a:pt x="53041" y="599044"/>
                    <a:pt x="52387" y="601662"/>
                  </a:cubicBezTo>
                  <a:cubicBezTo>
                    <a:pt x="51981" y="603286"/>
                    <a:pt x="50394" y="604801"/>
                    <a:pt x="50800" y="606425"/>
                  </a:cubicBezTo>
                  <a:cubicBezTo>
                    <a:pt x="51548" y="609418"/>
                    <a:pt x="53975" y="611716"/>
                    <a:pt x="55562" y="614362"/>
                  </a:cubicBezTo>
                  <a:cubicBezTo>
                    <a:pt x="63500" y="612775"/>
                    <a:pt x="71295" y="610090"/>
                    <a:pt x="79375" y="609600"/>
                  </a:cubicBezTo>
                  <a:cubicBezTo>
                    <a:pt x="88760" y="609031"/>
                    <a:pt x="112115" y="611604"/>
                    <a:pt x="123825" y="612775"/>
                  </a:cubicBezTo>
                  <a:cubicBezTo>
                    <a:pt x="125942" y="614362"/>
                    <a:pt x="127706" y="616587"/>
                    <a:pt x="130175" y="617537"/>
                  </a:cubicBezTo>
                  <a:cubicBezTo>
                    <a:pt x="134728" y="619288"/>
                    <a:pt x="139590" y="620456"/>
                    <a:pt x="144462" y="620712"/>
                  </a:cubicBezTo>
                  <a:cubicBezTo>
                    <a:pt x="147301" y="620861"/>
                    <a:pt x="168924" y="618051"/>
                    <a:pt x="173037" y="617537"/>
                  </a:cubicBezTo>
                  <a:cubicBezTo>
                    <a:pt x="175683" y="616479"/>
                    <a:pt x="178484" y="615746"/>
                    <a:pt x="180975" y="614362"/>
                  </a:cubicBezTo>
                  <a:cubicBezTo>
                    <a:pt x="183288" y="613077"/>
                    <a:pt x="184959" y="610783"/>
                    <a:pt x="187325" y="609600"/>
                  </a:cubicBezTo>
                  <a:cubicBezTo>
                    <a:pt x="190318" y="608103"/>
                    <a:pt x="196850" y="606425"/>
                    <a:pt x="196850" y="606425"/>
                  </a:cubicBezTo>
                  <a:cubicBezTo>
                    <a:pt x="197379" y="604308"/>
                    <a:pt x="197355" y="601969"/>
                    <a:pt x="198437" y="600075"/>
                  </a:cubicBezTo>
                  <a:cubicBezTo>
                    <a:pt x="199551" y="598126"/>
                    <a:pt x="202433" y="597422"/>
                    <a:pt x="203200" y="595312"/>
                  </a:cubicBezTo>
                  <a:cubicBezTo>
                    <a:pt x="209383" y="578309"/>
                    <a:pt x="196940" y="583733"/>
                    <a:pt x="215900" y="581025"/>
                  </a:cubicBezTo>
                  <a:cubicBezTo>
                    <a:pt x="220662" y="581554"/>
                    <a:pt x="225444" y="581934"/>
                    <a:pt x="230187" y="582612"/>
                  </a:cubicBezTo>
                  <a:cubicBezTo>
                    <a:pt x="232858" y="582994"/>
                    <a:pt x="235430" y="584335"/>
                    <a:pt x="238125" y="584200"/>
                  </a:cubicBezTo>
                  <a:cubicBezTo>
                    <a:pt x="246123" y="583800"/>
                    <a:pt x="254000" y="582083"/>
                    <a:pt x="261937" y="581025"/>
                  </a:cubicBezTo>
                  <a:cubicBezTo>
                    <a:pt x="262466" y="579437"/>
                    <a:pt x="261937" y="575733"/>
                    <a:pt x="263525" y="576262"/>
                  </a:cubicBezTo>
                  <a:cubicBezTo>
                    <a:pt x="265770" y="577010"/>
                    <a:pt x="265325" y="580686"/>
                    <a:pt x="266700" y="582612"/>
                  </a:cubicBezTo>
                  <a:cubicBezTo>
                    <a:pt x="270276" y="587619"/>
                    <a:pt x="272468" y="587878"/>
                    <a:pt x="277812" y="590550"/>
                  </a:cubicBezTo>
                  <a:cubicBezTo>
                    <a:pt x="278341" y="586846"/>
                    <a:pt x="277727" y="582784"/>
                    <a:pt x="279400" y="579437"/>
                  </a:cubicBezTo>
                  <a:cubicBezTo>
                    <a:pt x="281073" y="576090"/>
                    <a:pt x="284873" y="574316"/>
                    <a:pt x="287337" y="571500"/>
                  </a:cubicBezTo>
                  <a:cubicBezTo>
                    <a:pt x="288593" y="570064"/>
                    <a:pt x="289006" y="567908"/>
                    <a:pt x="290512" y="566737"/>
                  </a:cubicBezTo>
                  <a:cubicBezTo>
                    <a:pt x="299723" y="559573"/>
                    <a:pt x="300960" y="560498"/>
                    <a:pt x="311150" y="558800"/>
                  </a:cubicBezTo>
                  <a:cubicBezTo>
                    <a:pt x="341069" y="548826"/>
                    <a:pt x="326709" y="549487"/>
                    <a:pt x="354012" y="554037"/>
                  </a:cubicBezTo>
                  <a:cubicBezTo>
                    <a:pt x="356129" y="556683"/>
                    <a:pt x="357789" y="559770"/>
                    <a:pt x="360362" y="561975"/>
                  </a:cubicBezTo>
                  <a:cubicBezTo>
                    <a:pt x="361633" y="563064"/>
                    <a:pt x="363786" y="564566"/>
                    <a:pt x="365125" y="563562"/>
                  </a:cubicBezTo>
                  <a:cubicBezTo>
                    <a:pt x="366870" y="562253"/>
                    <a:pt x="366113" y="559310"/>
                    <a:pt x="366712" y="557212"/>
                  </a:cubicBezTo>
                  <a:cubicBezTo>
                    <a:pt x="367172" y="555603"/>
                    <a:pt x="367771" y="554037"/>
                    <a:pt x="368300" y="552450"/>
                  </a:cubicBezTo>
                  <a:cubicBezTo>
                    <a:pt x="371475" y="554037"/>
                    <a:pt x="375023" y="555033"/>
                    <a:pt x="377825" y="557212"/>
                  </a:cubicBezTo>
                  <a:cubicBezTo>
                    <a:pt x="379913" y="558836"/>
                    <a:pt x="380049" y="562815"/>
                    <a:pt x="382587" y="563562"/>
                  </a:cubicBezTo>
                  <a:cubicBezTo>
                    <a:pt x="389712" y="565658"/>
                    <a:pt x="397404" y="564621"/>
                    <a:pt x="404812" y="565150"/>
                  </a:cubicBezTo>
                  <a:lnTo>
                    <a:pt x="414337" y="571500"/>
                  </a:lnTo>
                  <a:lnTo>
                    <a:pt x="419100" y="574675"/>
                  </a:lnTo>
                  <a:lnTo>
                    <a:pt x="436562" y="573087"/>
                  </a:lnTo>
                  <a:cubicBezTo>
                    <a:pt x="438513" y="572111"/>
                    <a:pt x="435284" y="568897"/>
                    <a:pt x="434975" y="566737"/>
                  </a:cubicBezTo>
                  <a:cubicBezTo>
                    <a:pt x="432228" y="547511"/>
                    <a:pt x="436685" y="555808"/>
                    <a:pt x="430212" y="546100"/>
                  </a:cubicBezTo>
                  <a:cubicBezTo>
                    <a:pt x="431270" y="541337"/>
                    <a:pt x="430412" y="535679"/>
                    <a:pt x="433387" y="531812"/>
                  </a:cubicBezTo>
                  <a:cubicBezTo>
                    <a:pt x="436273" y="528060"/>
                    <a:pt x="442740" y="528809"/>
                    <a:pt x="446087" y="525462"/>
                  </a:cubicBezTo>
                  <a:cubicBezTo>
                    <a:pt x="448204" y="523345"/>
                    <a:pt x="450042" y="520908"/>
                    <a:pt x="452437" y="519112"/>
                  </a:cubicBezTo>
                  <a:cubicBezTo>
                    <a:pt x="455577" y="516757"/>
                    <a:pt x="459870" y="515576"/>
                    <a:pt x="463550" y="514350"/>
                  </a:cubicBezTo>
                  <a:cubicBezTo>
                    <a:pt x="464079" y="512233"/>
                    <a:pt x="464896" y="510168"/>
                    <a:pt x="465137" y="508000"/>
                  </a:cubicBezTo>
                  <a:cubicBezTo>
                    <a:pt x="465957" y="500618"/>
                    <a:pt x="464737" y="492931"/>
                    <a:pt x="466725" y="485775"/>
                  </a:cubicBezTo>
                  <a:cubicBezTo>
                    <a:pt x="468316" y="480046"/>
                    <a:pt x="479017" y="477050"/>
                    <a:pt x="482600" y="474662"/>
                  </a:cubicBezTo>
                  <a:cubicBezTo>
                    <a:pt x="486953" y="471760"/>
                    <a:pt x="493414" y="461428"/>
                    <a:pt x="495300" y="458787"/>
                  </a:cubicBezTo>
                  <a:cubicBezTo>
                    <a:pt x="497473" y="447924"/>
                    <a:pt x="495968" y="444969"/>
                    <a:pt x="501650" y="438150"/>
                  </a:cubicBezTo>
                  <a:cubicBezTo>
                    <a:pt x="503087" y="436425"/>
                    <a:pt x="504825" y="434975"/>
                    <a:pt x="506412" y="433387"/>
                  </a:cubicBezTo>
                  <a:cubicBezTo>
                    <a:pt x="508434" y="421259"/>
                    <a:pt x="510046" y="416174"/>
                    <a:pt x="506412" y="401637"/>
                  </a:cubicBezTo>
                  <a:cubicBezTo>
                    <a:pt x="505949" y="399786"/>
                    <a:pt x="503237" y="399520"/>
                    <a:pt x="501650" y="398462"/>
                  </a:cubicBezTo>
                  <a:cubicBezTo>
                    <a:pt x="500592" y="396345"/>
                    <a:pt x="498599" y="394475"/>
                    <a:pt x="498475" y="392112"/>
                  </a:cubicBezTo>
                  <a:cubicBezTo>
                    <a:pt x="498067" y="384355"/>
                    <a:pt x="497891" y="368916"/>
                    <a:pt x="503237" y="360362"/>
                  </a:cubicBezTo>
                  <a:cubicBezTo>
                    <a:pt x="504427" y="358458"/>
                    <a:pt x="506622" y="357372"/>
                    <a:pt x="508000" y="355600"/>
                  </a:cubicBezTo>
                  <a:cubicBezTo>
                    <a:pt x="510343" y="352588"/>
                    <a:pt x="514350" y="346075"/>
                    <a:pt x="514350" y="346075"/>
                  </a:cubicBezTo>
                  <a:cubicBezTo>
                    <a:pt x="514255" y="345600"/>
                    <a:pt x="511863" y="332991"/>
                    <a:pt x="511175" y="331787"/>
                  </a:cubicBezTo>
                  <a:cubicBezTo>
                    <a:pt x="510061" y="329838"/>
                    <a:pt x="508000" y="328612"/>
                    <a:pt x="506412" y="327025"/>
                  </a:cubicBezTo>
                  <a:cubicBezTo>
                    <a:pt x="505883" y="323321"/>
                    <a:pt x="504662" y="319650"/>
                    <a:pt x="504825" y="315912"/>
                  </a:cubicBezTo>
                  <a:cubicBezTo>
                    <a:pt x="505196" y="307388"/>
                    <a:pt x="507594" y="299035"/>
                    <a:pt x="508000" y="290512"/>
                  </a:cubicBezTo>
                  <a:cubicBezTo>
                    <a:pt x="508128" y="287817"/>
                    <a:pt x="507842" y="284863"/>
                    <a:pt x="506412" y="282575"/>
                  </a:cubicBezTo>
                  <a:cubicBezTo>
                    <a:pt x="503882" y="278527"/>
                    <a:pt x="499310" y="277561"/>
                    <a:pt x="495300" y="276225"/>
                  </a:cubicBezTo>
                  <a:cubicBezTo>
                    <a:pt x="495829" y="273579"/>
                    <a:pt x="495390" y="270532"/>
                    <a:pt x="496887" y="268287"/>
                  </a:cubicBezTo>
                  <a:cubicBezTo>
                    <a:pt x="497815" y="266895"/>
                    <a:pt x="500153" y="267448"/>
                    <a:pt x="501650" y="266700"/>
                  </a:cubicBezTo>
                  <a:cubicBezTo>
                    <a:pt x="503356" y="265847"/>
                    <a:pt x="504825" y="264583"/>
                    <a:pt x="506412" y="263525"/>
                  </a:cubicBezTo>
                  <a:cubicBezTo>
                    <a:pt x="507470" y="261937"/>
                    <a:pt x="508734" y="260469"/>
                    <a:pt x="509587" y="258762"/>
                  </a:cubicBezTo>
                  <a:cubicBezTo>
                    <a:pt x="510335" y="257265"/>
                    <a:pt x="510587" y="255567"/>
                    <a:pt x="511175" y="254000"/>
                  </a:cubicBezTo>
                  <a:cubicBezTo>
                    <a:pt x="512176" y="251332"/>
                    <a:pt x="513292" y="248708"/>
                    <a:pt x="514350" y="246062"/>
                  </a:cubicBezTo>
                  <a:cubicBezTo>
                    <a:pt x="513821" y="243945"/>
                    <a:pt x="514125" y="241416"/>
                    <a:pt x="512762" y="239712"/>
                  </a:cubicBezTo>
                  <a:cubicBezTo>
                    <a:pt x="509921" y="236161"/>
                    <a:pt x="497421" y="239636"/>
                    <a:pt x="496887" y="239712"/>
                  </a:cubicBezTo>
                  <a:cubicBezTo>
                    <a:pt x="495300" y="240241"/>
                    <a:pt x="493663" y="240641"/>
                    <a:pt x="492125" y="241300"/>
                  </a:cubicBezTo>
                  <a:cubicBezTo>
                    <a:pt x="489950" y="242232"/>
                    <a:pt x="488109" y="244864"/>
                    <a:pt x="485775" y="244475"/>
                  </a:cubicBezTo>
                  <a:cubicBezTo>
                    <a:pt x="483604" y="244113"/>
                    <a:pt x="481509" y="236442"/>
                    <a:pt x="481012" y="234950"/>
                  </a:cubicBezTo>
                  <a:cubicBezTo>
                    <a:pt x="480483" y="230717"/>
                    <a:pt x="480126" y="226458"/>
                    <a:pt x="479425" y="222250"/>
                  </a:cubicBezTo>
                  <a:cubicBezTo>
                    <a:pt x="479066" y="220098"/>
                    <a:pt x="478239" y="218044"/>
                    <a:pt x="477837" y="215900"/>
                  </a:cubicBezTo>
                  <a:cubicBezTo>
                    <a:pt x="476521" y="208884"/>
                    <a:pt x="475471" y="198288"/>
                    <a:pt x="473075" y="190500"/>
                  </a:cubicBezTo>
                  <a:cubicBezTo>
                    <a:pt x="471599" y="185702"/>
                    <a:pt x="472489" y="178997"/>
                    <a:pt x="468312" y="176212"/>
                  </a:cubicBezTo>
                  <a:cubicBezTo>
                    <a:pt x="462158" y="172109"/>
                    <a:pt x="465360" y="173640"/>
                    <a:pt x="458787" y="171450"/>
                  </a:cubicBezTo>
                  <a:cubicBezTo>
                    <a:pt x="455612" y="171979"/>
                    <a:pt x="452251" y="171842"/>
                    <a:pt x="449262" y="173037"/>
                  </a:cubicBezTo>
                  <a:cubicBezTo>
                    <a:pt x="447095" y="173904"/>
                    <a:pt x="439710" y="180377"/>
                    <a:pt x="438150" y="182562"/>
                  </a:cubicBezTo>
                  <a:cubicBezTo>
                    <a:pt x="436775" y="184488"/>
                    <a:pt x="436288" y="186943"/>
                    <a:pt x="434975" y="188912"/>
                  </a:cubicBezTo>
                  <a:cubicBezTo>
                    <a:pt x="433095" y="191731"/>
                    <a:pt x="430856" y="194300"/>
                    <a:pt x="428625" y="196850"/>
                  </a:cubicBezTo>
                  <a:cubicBezTo>
                    <a:pt x="425812" y="200064"/>
                    <a:pt x="421154" y="204294"/>
                    <a:pt x="417512" y="206375"/>
                  </a:cubicBezTo>
                  <a:cubicBezTo>
                    <a:pt x="416059" y="207205"/>
                    <a:pt x="414337" y="207433"/>
                    <a:pt x="412750" y="207962"/>
                  </a:cubicBezTo>
                  <a:cubicBezTo>
                    <a:pt x="409046" y="207433"/>
                    <a:pt x="405044" y="207923"/>
                    <a:pt x="401637" y="206375"/>
                  </a:cubicBezTo>
                  <a:cubicBezTo>
                    <a:pt x="398912" y="205136"/>
                    <a:pt x="397560" y="201973"/>
                    <a:pt x="395287" y="200025"/>
                  </a:cubicBezTo>
                  <a:cubicBezTo>
                    <a:pt x="393839" y="198783"/>
                    <a:pt x="391874" y="198199"/>
                    <a:pt x="390525" y="196850"/>
                  </a:cubicBezTo>
                  <a:cubicBezTo>
                    <a:pt x="388654" y="194979"/>
                    <a:pt x="387542" y="192458"/>
                    <a:pt x="385762" y="190500"/>
                  </a:cubicBezTo>
                  <a:cubicBezTo>
                    <a:pt x="363248" y="165734"/>
                    <a:pt x="383748" y="190759"/>
                    <a:pt x="368300" y="171450"/>
                  </a:cubicBezTo>
                  <a:cubicBezTo>
                    <a:pt x="367197" y="168142"/>
                    <a:pt x="365716" y="162952"/>
                    <a:pt x="363537" y="160337"/>
                  </a:cubicBezTo>
                  <a:cubicBezTo>
                    <a:pt x="362316" y="158871"/>
                    <a:pt x="360124" y="158511"/>
                    <a:pt x="358775" y="157162"/>
                  </a:cubicBezTo>
                  <a:cubicBezTo>
                    <a:pt x="356736" y="155123"/>
                    <a:pt x="351205" y="147884"/>
                    <a:pt x="349250" y="144462"/>
                  </a:cubicBezTo>
                  <a:cubicBezTo>
                    <a:pt x="348076" y="142407"/>
                    <a:pt x="347133" y="140229"/>
                    <a:pt x="346075" y="138112"/>
                  </a:cubicBezTo>
                  <a:cubicBezTo>
                    <a:pt x="347662" y="134937"/>
                    <a:pt x="348327" y="131097"/>
                    <a:pt x="350837" y="128587"/>
                  </a:cubicBezTo>
                  <a:cubicBezTo>
                    <a:pt x="352380" y="127044"/>
                    <a:pt x="355040" y="127390"/>
                    <a:pt x="357187" y="127000"/>
                  </a:cubicBezTo>
                  <a:cubicBezTo>
                    <a:pt x="360869" y="126331"/>
                    <a:pt x="364618" y="126081"/>
                    <a:pt x="368300" y="125412"/>
                  </a:cubicBezTo>
                  <a:cubicBezTo>
                    <a:pt x="370447" y="125022"/>
                    <a:pt x="372560" y="124452"/>
                    <a:pt x="374650" y="123825"/>
                  </a:cubicBezTo>
                  <a:cubicBezTo>
                    <a:pt x="377856" y="122863"/>
                    <a:pt x="384175" y="120650"/>
                    <a:pt x="384175" y="120650"/>
                  </a:cubicBezTo>
                  <a:cubicBezTo>
                    <a:pt x="385517" y="119307"/>
                    <a:pt x="391744" y="113702"/>
                    <a:pt x="392112" y="111125"/>
                  </a:cubicBezTo>
                  <a:cubicBezTo>
                    <a:pt x="392312" y="109727"/>
                    <a:pt x="389533" y="101800"/>
                    <a:pt x="388937" y="100012"/>
                  </a:cubicBezTo>
                  <a:cubicBezTo>
                    <a:pt x="389466" y="97895"/>
                    <a:pt x="388482" y="94428"/>
                    <a:pt x="390525" y="93662"/>
                  </a:cubicBezTo>
                  <a:cubicBezTo>
                    <a:pt x="394028" y="92348"/>
                    <a:pt x="397895" y="95250"/>
                    <a:pt x="401637" y="95250"/>
                  </a:cubicBezTo>
                  <a:cubicBezTo>
                    <a:pt x="409064" y="95250"/>
                    <a:pt x="416454" y="94191"/>
                    <a:pt x="423862" y="93662"/>
                  </a:cubicBezTo>
                  <a:cubicBezTo>
                    <a:pt x="425979" y="91545"/>
                    <a:pt x="428013" y="91112"/>
                    <a:pt x="430212" y="87312"/>
                  </a:cubicBezTo>
                  <a:cubicBezTo>
                    <a:pt x="432411" y="83512"/>
                    <a:pt x="433450" y="73283"/>
                    <a:pt x="437057" y="70860"/>
                  </a:cubicBezTo>
                  <a:cubicBezTo>
                    <a:pt x="440664" y="68437"/>
                    <a:pt x="449628" y="72279"/>
                    <a:pt x="451852" y="72772"/>
                  </a:cubicBezTo>
                  <a:cubicBezTo>
                    <a:pt x="454076" y="73265"/>
                    <a:pt x="449772" y="74306"/>
                    <a:pt x="450399" y="73819"/>
                  </a:cubicBezTo>
                  <a:cubicBezTo>
                    <a:pt x="451026" y="73332"/>
                    <a:pt x="453685" y="70776"/>
                    <a:pt x="455612" y="69850"/>
                  </a:cubicBezTo>
                  <a:cubicBezTo>
                    <a:pt x="457539" y="68924"/>
                    <a:pt x="459845" y="68791"/>
                    <a:pt x="461962" y="68262"/>
                  </a:cubicBezTo>
                  <a:cubicBezTo>
                    <a:pt x="463550" y="66145"/>
                    <a:pt x="464716" y="63634"/>
                    <a:pt x="466725" y="61912"/>
                  </a:cubicBezTo>
                  <a:cubicBezTo>
                    <a:pt x="471751" y="57604"/>
                    <a:pt x="490634" y="54348"/>
                    <a:pt x="492125" y="53975"/>
                  </a:cubicBezTo>
                  <a:cubicBezTo>
                    <a:pt x="493712" y="52387"/>
                    <a:pt x="495697" y="51116"/>
                    <a:pt x="496887" y="49212"/>
                  </a:cubicBezTo>
                  <a:cubicBezTo>
                    <a:pt x="498397" y="46796"/>
                    <a:pt x="499747" y="44107"/>
                    <a:pt x="500062" y="41275"/>
                  </a:cubicBezTo>
                  <a:cubicBezTo>
                    <a:pt x="500403" y="38206"/>
                    <a:pt x="498250" y="34474"/>
                    <a:pt x="496887" y="31750"/>
                  </a:cubicBezTo>
                </a:path>
              </a:pathLst>
            </a:custGeom>
            <a:solidFill>
              <a:srgbClr val="003399"/>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grpSp>
          <p:nvGrpSpPr>
            <p:cNvPr id="318" name="Group 317">
              <a:extLst>
                <a:ext uri="{FF2B5EF4-FFF2-40B4-BE49-F238E27FC236}">
                  <a16:creationId xmlns:a16="http://schemas.microsoft.com/office/drawing/2014/main" id="{4BADBF43-CFCC-463A-A37B-E83BB1222CAF}"/>
                </a:ext>
              </a:extLst>
            </p:cNvPr>
            <p:cNvGrpSpPr/>
            <p:nvPr/>
          </p:nvGrpSpPr>
          <p:grpSpPr>
            <a:xfrm>
              <a:off x="7714566" y="406661"/>
              <a:ext cx="1037929" cy="1862389"/>
              <a:chOff x="4989822" y="810083"/>
              <a:chExt cx="1037929" cy="1862389"/>
            </a:xfrm>
            <a:solidFill>
              <a:srgbClr val="003399"/>
            </a:solidFill>
          </p:grpSpPr>
          <p:grpSp>
            <p:nvGrpSpPr>
              <p:cNvPr id="851" name="Grupo 19">
                <a:extLst>
                  <a:ext uri="{FF2B5EF4-FFF2-40B4-BE49-F238E27FC236}">
                    <a16:creationId xmlns:a16="http://schemas.microsoft.com/office/drawing/2014/main" id="{783621B4-3B29-4E3B-A8C8-BF176A602148}"/>
                  </a:ext>
                </a:extLst>
              </p:cNvPr>
              <p:cNvGrpSpPr/>
              <p:nvPr/>
            </p:nvGrpSpPr>
            <p:grpSpPr>
              <a:xfrm>
                <a:off x="4989822" y="810083"/>
                <a:ext cx="1037929" cy="1862389"/>
                <a:chOff x="4989822" y="810083"/>
                <a:chExt cx="1037929" cy="1862389"/>
              </a:xfrm>
              <a:grpFill/>
            </p:grpSpPr>
            <p:sp>
              <p:nvSpPr>
                <p:cNvPr id="853" name="Forma libre: forma 20">
                  <a:extLst>
                    <a:ext uri="{FF2B5EF4-FFF2-40B4-BE49-F238E27FC236}">
                      <a16:creationId xmlns:a16="http://schemas.microsoft.com/office/drawing/2014/main" id="{118EC4A4-F1DB-4C23-9C75-687CA714193E}"/>
                    </a:ext>
                  </a:extLst>
                </p:cNvPr>
                <p:cNvSpPr/>
                <p:nvPr/>
              </p:nvSpPr>
              <p:spPr>
                <a:xfrm>
                  <a:off x="4989822" y="810083"/>
                  <a:ext cx="1037929" cy="1862389"/>
                </a:xfrm>
                <a:custGeom>
                  <a:avLst/>
                  <a:gdLst>
                    <a:gd name="connsiteX0" fmla="*/ 15820 w 1037106"/>
                    <a:gd name="connsiteY0" fmla="*/ 258555 h 1857492"/>
                    <a:gd name="connsiteX1" fmla="*/ 664 w 1037106"/>
                    <a:gd name="connsiteY1" fmla="*/ 263607 h 1857492"/>
                    <a:gd name="connsiteX2" fmla="*/ 3190 w 1037106"/>
                    <a:gd name="connsiteY2" fmla="*/ 271185 h 1857492"/>
                    <a:gd name="connsiteX3" fmla="*/ 28450 w 1037106"/>
                    <a:gd name="connsiteY3" fmla="*/ 286341 h 1857492"/>
                    <a:gd name="connsiteX4" fmla="*/ 36028 w 1037106"/>
                    <a:gd name="connsiteY4" fmla="*/ 296444 h 1857492"/>
                    <a:gd name="connsiteX5" fmla="*/ 43606 w 1037106"/>
                    <a:gd name="connsiteY5" fmla="*/ 304022 h 1857492"/>
                    <a:gd name="connsiteX6" fmla="*/ 58762 w 1037106"/>
                    <a:gd name="connsiteY6" fmla="*/ 324230 h 1857492"/>
                    <a:gd name="connsiteX7" fmla="*/ 63814 w 1037106"/>
                    <a:gd name="connsiteY7" fmla="*/ 331808 h 1857492"/>
                    <a:gd name="connsiteX8" fmla="*/ 71392 w 1037106"/>
                    <a:gd name="connsiteY8" fmla="*/ 339386 h 1857492"/>
                    <a:gd name="connsiteX9" fmla="*/ 73918 w 1037106"/>
                    <a:gd name="connsiteY9" fmla="*/ 346964 h 1857492"/>
                    <a:gd name="connsiteX10" fmla="*/ 132015 w 1037106"/>
                    <a:gd name="connsiteY10" fmla="*/ 359594 h 1857492"/>
                    <a:gd name="connsiteX11" fmla="*/ 149697 w 1037106"/>
                    <a:gd name="connsiteY11" fmla="*/ 367171 h 1857492"/>
                    <a:gd name="connsiteX12" fmla="*/ 159800 w 1037106"/>
                    <a:gd name="connsiteY12" fmla="*/ 377275 h 1857492"/>
                    <a:gd name="connsiteX13" fmla="*/ 164852 w 1037106"/>
                    <a:gd name="connsiteY13" fmla="*/ 392431 h 1857492"/>
                    <a:gd name="connsiteX14" fmla="*/ 182534 w 1037106"/>
                    <a:gd name="connsiteY14" fmla="*/ 400009 h 1857492"/>
                    <a:gd name="connsiteX15" fmla="*/ 190112 w 1037106"/>
                    <a:gd name="connsiteY15" fmla="*/ 405061 h 1857492"/>
                    <a:gd name="connsiteX16" fmla="*/ 202742 w 1037106"/>
                    <a:gd name="connsiteY16" fmla="*/ 420217 h 1857492"/>
                    <a:gd name="connsiteX17" fmla="*/ 212846 w 1037106"/>
                    <a:gd name="connsiteY17" fmla="*/ 422743 h 1857492"/>
                    <a:gd name="connsiteX18" fmla="*/ 220424 w 1037106"/>
                    <a:gd name="connsiteY18" fmla="*/ 425269 h 1857492"/>
                    <a:gd name="connsiteX19" fmla="*/ 212846 w 1037106"/>
                    <a:gd name="connsiteY19" fmla="*/ 427795 h 1857492"/>
                    <a:gd name="connsiteX20" fmla="*/ 212846 w 1037106"/>
                    <a:gd name="connsiteY20" fmla="*/ 448002 h 1857492"/>
                    <a:gd name="connsiteX21" fmla="*/ 215372 w 1037106"/>
                    <a:gd name="connsiteY21" fmla="*/ 455580 h 1857492"/>
                    <a:gd name="connsiteX22" fmla="*/ 222950 w 1037106"/>
                    <a:gd name="connsiteY22" fmla="*/ 463158 h 1857492"/>
                    <a:gd name="connsiteX23" fmla="*/ 225476 w 1037106"/>
                    <a:gd name="connsiteY23" fmla="*/ 493470 h 1857492"/>
                    <a:gd name="connsiteX24" fmla="*/ 228002 w 1037106"/>
                    <a:gd name="connsiteY24" fmla="*/ 511152 h 1857492"/>
                    <a:gd name="connsiteX25" fmla="*/ 240631 w 1037106"/>
                    <a:gd name="connsiteY25" fmla="*/ 521255 h 1857492"/>
                    <a:gd name="connsiteX26" fmla="*/ 248209 w 1037106"/>
                    <a:gd name="connsiteY26" fmla="*/ 518729 h 1857492"/>
                    <a:gd name="connsiteX27" fmla="*/ 248209 w 1037106"/>
                    <a:gd name="connsiteY27" fmla="*/ 538937 h 1857492"/>
                    <a:gd name="connsiteX28" fmla="*/ 240631 w 1037106"/>
                    <a:gd name="connsiteY28" fmla="*/ 541463 h 1857492"/>
                    <a:gd name="connsiteX29" fmla="*/ 235579 w 1037106"/>
                    <a:gd name="connsiteY29" fmla="*/ 549041 h 1857492"/>
                    <a:gd name="connsiteX30" fmla="*/ 245683 w 1037106"/>
                    <a:gd name="connsiteY30" fmla="*/ 556619 h 1857492"/>
                    <a:gd name="connsiteX31" fmla="*/ 248209 w 1037106"/>
                    <a:gd name="connsiteY31" fmla="*/ 574301 h 1857492"/>
                    <a:gd name="connsiteX32" fmla="*/ 263365 w 1037106"/>
                    <a:gd name="connsiteY32" fmla="*/ 597034 h 1857492"/>
                    <a:gd name="connsiteX33" fmla="*/ 270943 w 1037106"/>
                    <a:gd name="connsiteY33" fmla="*/ 614716 h 1857492"/>
                    <a:gd name="connsiteX34" fmla="*/ 273469 w 1037106"/>
                    <a:gd name="connsiteY34" fmla="*/ 632398 h 1857492"/>
                    <a:gd name="connsiteX35" fmla="*/ 281047 w 1037106"/>
                    <a:gd name="connsiteY35" fmla="*/ 639976 h 1857492"/>
                    <a:gd name="connsiteX36" fmla="*/ 286099 w 1037106"/>
                    <a:gd name="connsiteY36" fmla="*/ 700599 h 1857492"/>
                    <a:gd name="connsiteX37" fmla="*/ 291151 w 1037106"/>
                    <a:gd name="connsiteY37" fmla="*/ 718281 h 1857492"/>
                    <a:gd name="connsiteX38" fmla="*/ 293677 w 1037106"/>
                    <a:gd name="connsiteY38" fmla="*/ 730911 h 1857492"/>
                    <a:gd name="connsiteX39" fmla="*/ 301255 w 1037106"/>
                    <a:gd name="connsiteY39" fmla="*/ 753644 h 1857492"/>
                    <a:gd name="connsiteX40" fmla="*/ 303781 w 1037106"/>
                    <a:gd name="connsiteY40" fmla="*/ 761222 h 1857492"/>
                    <a:gd name="connsiteX41" fmla="*/ 321462 w 1037106"/>
                    <a:gd name="connsiteY41" fmla="*/ 789008 h 1857492"/>
                    <a:gd name="connsiteX42" fmla="*/ 334092 w 1037106"/>
                    <a:gd name="connsiteY42" fmla="*/ 806690 h 1857492"/>
                    <a:gd name="connsiteX43" fmla="*/ 346722 w 1037106"/>
                    <a:gd name="connsiteY43" fmla="*/ 804164 h 1857492"/>
                    <a:gd name="connsiteX44" fmla="*/ 356826 w 1037106"/>
                    <a:gd name="connsiteY44" fmla="*/ 773852 h 1857492"/>
                    <a:gd name="connsiteX45" fmla="*/ 364404 w 1037106"/>
                    <a:gd name="connsiteY45" fmla="*/ 771326 h 1857492"/>
                    <a:gd name="connsiteX46" fmla="*/ 371982 w 1037106"/>
                    <a:gd name="connsiteY46" fmla="*/ 766274 h 1857492"/>
                    <a:gd name="connsiteX47" fmla="*/ 364404 w 1037106"/>
                    <a:gd name="connsiteY47" fmla="*/ 776378 h 1857492"/>
                    <a:gd name="connsiteX48" fmla="*/ 366930 w 1037106"/>
                    <a:gd name="connsiteY48" fmla="*/ 799112 h 1857492"/>
                    <a:gd name="connsiteX49" fmla="*/ 394715 w 1037106"/>
                    <a:gd name="connsiteY49" fmla="*/ 806690 h 1857492"/>
                    <a:gd name="connsiteX50" fmla="*/ 409871 w 1037106"/>
                    <a:gd name="connsiteY50" fmla="*/ 811742 h 1857492"/>
                    <a:gd name="connsiteX51" fmla="*/ 419975 w 1037106"/>
                    <a:gd name="connsiteY51" fmla="*/ 821846 h 1857492"/>
                    <a:gd name="connsiteX52" fmla="*/ 432605 w 1037106"/>
                    <a:gd name="connsiteY52" fmla="*/ 842053 h 1857492"/>
                    <a:gd name="connsiteX53" fmla="*/ 437657 w 1037106"/>
                    <a:gd name="connsiteY53" fmla="*/ 864787 h 1857492"/>
                    <a:gd name="connsiteX54" fmla="*/ 445235 w 1037106"/>
                    <a:gd name="connsiteY54" fmla="*/ 874891 h 1857492"/>
                    <a:gd name="connsiteX55" fmla="*/ 447761 w 1037106"/>
                    <a:gd name="connsiteY55" fmla="*/ 902676 h 1857492"/>
                    <a:gd name="connsiteX56" fmla="*/ 450287 w 1037106"/>
                    <a:gd name="connsiteY56" fmla="*/ 915306 h 1857492"/>
                    <a:gd name="connsiteX57" fmla="*/ 460390 w 1037106"/>
                    <a:gd name="connsiteY57" fmla="*/ 920358 h 1857492"/>
                    <a:gd name="connsiteX58" fmla="*/ 465442 w 1037106"/>
                    <a:gd name="connsiteY58" fmla="*/ 945618 h 1857492"/>
                    <a:gd name="connsiteX59" fmla="*/ 455339 w 1037106"/>
                    <a:gd name="connsiteY59" fmla="*/ 940566 h 1857492"/>
                    <a:gd name="connsiteX60" fmla="*/ 450287 w 1037106"/>
                    <a:gd name="connsiteY60" fmla="*/ 932988 h 1857492"/>
                    <a:gd name="connsiteX61" fmla="*/ 442709 w 1037106"/>
                    <a:gd name="connsiteY61" fmla="*/ 930462 h 1857492"/>
                    <a:gd name="connsiteX62" fmla="*/ 425027 w 1037106"/>
                    <a:gd name="connsiteY62" fmla="*/ 920358 h 1857492"/>
                    <a:gd name="connsiteX63" fmla="*/ 399767 w 1037106"/>
                    <a:gd name="connsiteY63" fmla="*/ 925410 h 1857492"/>
                    <a:gd name="connsiteX64" fmla="*/ 419975 w 1037106"/>
                    <a:gd name="connsiteY64" fmla="*/ 943092 h 1857492"/>
                    <a:gd name="connsiteX65" fmla="*/ 409871 w 1037106"/>
                    <a:gd name="connsiteY65" fmla="*/ 970878 h 1857492"/>
                    <a:gd name="connsiteX66" fmla="*/ 407345 w 1037106"/>
                    <a:gd name="connsiteY66" fmla="*/ 980981 h 1857492"/>
                    <a:gd name="connsiteX67" fmla="*/ 404819 w 1037106"/>
                    <a:gd name="connsiteY67" fmla="*/ 1011293 h 1857492"/>
                    <a:gd name="connsiteX68" fmla="*/ 397241 w 1037106"/>
                    <a:gd name="connsiteY68" fmla="*/ 1018871 h 1857492"/>
                    <a:gd name="connsiteX69" fmla="*/ 384611 w 1037106"/>
                    <a:gd name="connsiteY69" fmla="*/ 1044131 h 1857492"/>
                    <a:gd name="connsiteX70" fmla="*/ 379560 w 1037106"/>
                    <a:gd name="connsiteY70" fmla="*/ 1059286 h 1857492"/>
                    <a:gd name="connsiteX71" fmla="*/ 371982 w 1037106"/>
                    <a:gd name="connsiteY71" fmla="*/ 1074442 h 1857492"/>
                    <a:gd name="connsiteX72" fmla="*/ 369456 w 1037106"/>
                    <a:gd name="connsiteY72" fmla="*/ 1094650 h 1857492"/>
                    <a:gd name="connsiteX73" fmla="*/ 349248 w 1037106"/>
                    <a:gd name="connsiteY73" fmla="*/ 1117384 h 1857492"/>
                    <a:gd name="connsiteX74" fmla="*/ 331566 w 1037106"/>
                    <a:gd name="connsiteY74" fmla="*/ 1150221 h 1857492"/>
                    <a:gd name="connsiteX75" fmla="*/ 321462 w 1037106"/>
                    <a:gd name="connsiteY75" fmla="*/ 1165377 h 1857492"/>
                    <a:gd name="connsiteX76" fmla="*/ 313884 w 1037106"/>
                    <a:gd name="connsiteY76" fmla="*/ 1152747 h 1857492"/>
                    <a:gd name="connsiteX77" fmla="*/ 311358 w 1037106"/>
                    <a:gd name="connsiteY77" fmla="*/ 1145169 h 1857492"/>
                    <a:gd name="connsiteX78" fmla="*/ 301255 w 1037106"/>
                    <a:gd name="connsiteY78" fmla="*/ 1157799 h 1857492"/>
                    <a:gd name="connsiteX79" fmla="*/ 303781 w 1037106"/>
                    <a:gd name="connsiteY79" fmla="*/ 1193163 h 1857492"/>
                    <a:gd name="connsiteX80" fmla="*/ 311358 w 1037106"/>
                    <a:gd name="connsiteY80" fmla="*/ 1195689 h 1857492"/>
                    <a:gd name="connsiteX81" fmla="*/ 298729 w 1037106"/>
                    <a:gd name="connsiteY81" fmla="*/ 1198215 h 1857492"/>
                    <a:gd name="connsiteX82" fmla="*/ 293677 w 1037106"/>
                    <a:gd name="connsiteY82" fmla="*/ 1200741 h 1857492"/>
                    <a:gd name="connsiteX83" fmla="*/ 286099 w 1037106"/>
                    <a:gd name="connsiteY83" fmla="*/ 1205792 h 1857492"/>
                    <a:gd name="connsiteX84" fmla="*/ 281047 w 1037106"/>
                    <a:gd name="connsiteY84" fmla="*/ 1213370 h 1857492"/>
                    <a:gd name="connsiteX85" fmla="*/ 278521 w 1037106"/>
                    <a:gd name="connsiteY85" fmla="*/ 1228526 h 1857492"/>
                    <a:gd name="connsiteX86" fmla="*/ 275995 w 1037106"/>
                    <a:gd name="connsiteY86" fmla="*/ 1238630 h 1857492"/>
                    <a:gd name="connsiteX87" fmla="*/ 283573 w 1037106"/>
                    <a:gd name="connsiteY87" fmla="*/ 1241156 h 1857492"/>
                    <a:gd name="connsiteX88" fmla="*/ 283573 w 1037106"/>
                    <a:gd name="connsiteY88" fmla="*/ 1261364 h 1857492"/>
                    <a:gd name="connsiteX89" fmla="*/ 248209 w 1037106"/>
                    <a:gd name="connsiteY89" fmla="*/ 1273994 h 1857492"/>
                    <a:gd name="connsiteX90" fmla="*/ 240631 w 1037106"/>
                    <a:gd name="connsiteY90" fmla="*/ 1276520 h 1857492"/>
                    <a:gd name="connsiteX91" fmla="*/ 233053 w 1037106"/>
                    <a:gd name="connsiteY91" fmla="*/ 1281571 h 1857492"/>
                    <a:gd name="connsiteX92" fmla="*/ 195164 w 1037106"/>
                    <a:gd name="connsiteY92" fmla="*/ 1286623 h 1857492"/>
                    <a:gd name="connsiteX93" fmla="*/ 217898 w 1037106"/>
                    <a:gd name="connsiteY93" fmla="*/ 1289149 h 1857492"/>
                    <a:gd name="connsiteX94" fmla="*/ 228002 w 1037106"/>
                    <a:gd name="connsiteY94" fmla="*/ 1294201 h 1857492"/>
                    <a:gd name="connsiteX95" fmla="*/ 222950 w 1037106"/>
                    <a:gd name="connsiteY95" fmla="*/ 1334617 h 1857492"/>
                    <a:gd name="connsiteX96" fmla="*/ 217898 w 1037106"/>
                    <a:gd name="connsiteY96" fmla="*/ 1342195 h 1857492"/>
                    <a:gd name="connsiteX97" fmla="*/ 212846 w 1037106"/>
                    <a:gd name="connsiteY97" fmla="*/ 1354825 h 1857492"/>
                    <a:gd name="connsiteX98" fmla="*/ 207794 w 1037106"/>
                    <a:gd name="connsiteY98" fmla="*/ 1362402 h 1857492"/>
                    <a:gd name="connsiteX99" fmla="*/ 202742 w 1037106"/>
                    <a:gd name="connsiteY99" fmla="*/ 1372506 h 1857492"/>
                    <a:gd name="connsiteX100" fmla="*/ 210320 w 1037106"/>
                    <a:gd name="connsiteY100" fmla="*/ 1395240 h 1857492"/>
                    <a:gd name="connsiteX101" fmla="*/ 215372 w 1037106"/>
                    <a:gd name="connsiteY101" fmla="*/ 1402818 h 1857492"/>
                    <a:gd name="connsiteX102" fmla="*/ 217898 w 1037106"/>
                    <a:gd name="connsiteY102" fmla="*/ 1412922 h 1857492"/>
                    <a:gd name="connsiteX103" fmla="*/ 228002 w 1037106"/>
                    <a:gd name="connsiteY103" fmla="*/ 1433129 h 1857492"/>
                    <a:gd name="connsiteX104" fmla="*/ 230527 w 1037106"/>
                    <a:gd name="connsiteY104" fmla="*/ 1440707 h 1857492"/>
                    <a:gd name="connsiteX105" fmla="*/ 240631 w 1037106"/>
                    <a:gd name="connsiteY105" fmla="*/ 1458389 h 1857492"/>
                    <a:gd name="connsiteX106" fmla="*/ 245683 w 1037106"/>
                    <a:gd name="connsiteY106" fmla="*/ 1471019 h 1857492"/>
                    <a:gd name="connsiteX107" fmla="*/ 245683 w 1037106"/>
                    <a:gd name="connsiteY107" fmla="*/ 1508909 h 1857492"/>
                    <a:gd name="connsiteX108" fmla="*/ 255787 w 1037106"/>
                    <a:gd name="connsiteY108" fmla="*/ 1511434 h 1857492"/>
                    <a:gd name="connsiteX109" fmla="*/ 263365 w 1037106"/>
                    <a:gd name="connsiteY109" fmla="*/ 1521538 h 1857492"/>
                    <a:gd name="connsiteX110" fmla="*/ 268417 w 1037106"/>
                    <a:gd name="connsiteY110" fmla="*/ 1529116 h 1857492"/>
                    <a:gd name="connsiteX111" fmla="*/ 278521 w 1037106"/>
                    <a:gd name="connsiteY111" fmla="*/ 1556902 h 1857492"/>
                    <a:gd name="connsiteX112" fmla="*/ 283573 w 1037106"/>
                    <a:gd name="connsiteY112" fmla="*/ 1584688 h 1857492"/>
                    <a:gd name="connsiteX113" fmla="*/ 281047 w 1037106"/>
                    <a:gd name="connsiteY113" fmla="*/ 1592265 h 1857492"/>
                    <a:gd name="connsiteX114" fmla="*/ 281047 w 1037106"/>
                    <a:gd name="connsiteY114" fmla="*/ 1673096 h 1857492"/>
                    <a:gd name="connsiteX115" fmla="*/ 283573 w 1037106"/>
                    <a:gd name="connsiteY115" fmla="*/ 1698356 h 1857492"/>
                    <a:gd name="connsiteX116" fmla="*/ 296203 w 1037106"/>
                    <a:gd name="connsiteY116" fmla="*/ 1700882 h 1857492"/>
                    <a:gd name="connsiteX117" fmla="*/ 288625 w 1037106"/>
                    <a:gd name="connsiteY117" fmla="*/ 1708460 h 1857492"/>
                    <a:gd name="connsiteX118" fmla="*/ 293677 w 1037106"/>
                    <a:gd name="connsiteY118" fmla="*/ 1716038 h 1857492"/>
                    <a:gd name="connsiteX119" fmla="*/ 296203 w 1037106"/>
                    <a:gd name="connsiteY119" fmla="*/ 1723616 h 1857492"/>
                    <a:gd name="connsiteX120" fmla="*/ 293677 w 1037106"/>
                    <a:gd name="connsiteY120" fmla="*/ 1758979 h 1857492"/>
                    <a:gd name="connsiteX121" fmla="*/ 321462 w 1037106"/>
                    <a:gd name="connsiteY121" fmla="*/ 1753927 h 1857492"/>
                    <a:gd name="connsiteX122" fmla="*/ 329040 w 1037106"/>
                    <a:gd name="connsiteY122" fmla="*/ 1756453 h 1857492"/>
                    <a:gd name="connsiteX123" fmla="*/ 334092 w 1037106"/>
                    <a:gd name="connsiteY123" fmla="*/ 1774135 h 1857492"/>
                    <a:gd name="connsiteX124" fmla="*/ 354300 w 1037106"/>
                    <a:gd name="connsiteY124" fmla="*/ 1779187 h 1857492"/>
                    <a:gd name="connsiteX125" fmla="*/ 356826 w 1037106"/>
                    <a:gd name="connsiteY125" fmla="*/ 1789291 h 1857492"/>
                    <a:gd name="connsiteX126" fmla="*/ 379560 w 1037106"/>
                    <a:gd name="connsiteY126" fmla="*/ 1784239 h 1857492"/>
                    <a:gd name="connsiteX127" fmla="*/ 392189 w 1037106"/>
                    <a:gd name="connsiteY127" fmla="*/ 1774135 h 1857492"/>
                    <a:gd name="connsiteX128" fmla="*/ 389663 w 1037106"/>
                    <a:gd name="connsiteY128" fmla="*/ 1781713 h 1857492"/>
                    <a:gd name="connsiteX129" fmla="*/ 384611 w 1037106"/>
                    <a:gd name="connsiteY129" fmla="*/ 1794343 h 1857492"/>
                    <a:gd name="connsiteX130" fmla="*/ 392189 w 1037106"/>
                    <a:gd name="connsiteY130" fmla="*/ 1796869 h 1857492"/>
                    <a:gd name="connsiteX131" fmla="*/ 402293 w 1037106"/>
                    <a:gd name="connsiteY131" fmla="*/ 1794343 h 1857492"/>
                    <a:gd name="connsiteX132" fmla="*/ 417449 w 1037106"/>
                    <a:gd name="connsiteY132" fmla="*/ 1791817 h 1857492"/>
                    <a:gd name="connsiteX133" fmla="*/ 427553 w 1037106"/>
                    <a:gd name="connsiteY133" fmla="*/ 1804447 h 1857492"/>
                    <a:gd name="connsiteX134" fmla="*/ 442709 w 1037106"/>
                    <a:gd name="connsiteY134" fmla="*/ 1794343 h 1857492"/>
                    <a:gd name="connsiteX135" fmla="*/ 437657 w 1037106"/>
                    <a:gd name="connsiteY135" fmla="*/ 1806973 h 1857492"/>
                    <a:gd name="connsiteX136" fmla="*/ 427553 w 1037106"/>
                    <a:gd name="connsiteY136" fmla="*/ 1817076 h 1857492"/>
                    <a:gd name="connsiteX137" fmla="*/ 432605 w 1037106"/>
                    <a:gd name="connsiteY137" fmla="*/ 1819602 h 1857492"/>
                    <a:gd name="connsiteX138" fmla="*/ 450287 w 1037106"/>
                    <a:gd name="connsiteY138" fmla="*/ 1817076 h 1857492"/>
                    <a:gd name="connsiteX139" fmla="*/ 455339 w 1037106"/>
                    <a:gd name="connsiteY139" fmla="*/ 1824654 h 1857492"/>
                    <a:gd name="connsiteX140" fmla="*/ 478072 w 1037106"/>
                    <a:gd name="connsiteY140" fmla="*/ 1847388 h 1857492"/>
                    <a:gd name="connsiteX141" fmla="*/ 470494 w 1037106"/>
                    <a:gd name="connsiteY141" fmla="*/ 1849914 h 1857492"/>
                    <a:gd name="connsiteX142" fmla="*/ 460390 w 1037106"/>
                    <a:gd name="connsiteY142" fmla="*/ 1852440 h 1857492"/>
                    <a:gd name="connsiteX143" fmla="*/ 475546 w 1037106"/>
                    <a:gd name="connsiteY143" fmla="*/ 1857492 h 1857492"/>
                    <a:gd name="connsiteX144" fmla="*/ 485650 w 1037106"/>
                    <a:gd name="connsiteY144" fmla="*/ 1849914 h 1857492"/>
                    <a:gd name="connsiteX145" fmla="*/ 488176 w 1037106"/>
                    <a:gd name="connsiteY145" fmla="*/ 1837284 h 1857492"/>
                    <a:gd name="connsiteX146" fmla="*/ 490702 w 1037106"/>
                    <a:gd name="connsiteY146" fmla="*/ 1829706 h 1857492"/>
                    <a:gd name="connsiteX147" fmla="*/ 510910 w 1037106"/>
                    <a:gd name="connsiteY147" fmla="*/ 1822128 h 1857492"/>
                    <a:gd name="connsiteX148" fmla="*/ 521014 w 1037106"/>
                    <a:gd name="connsiteY148" fmla="*/ 1812025 h 1857492"/>
                    <a:gd name="connsiteX149" fmla="*/ 538695 w 1037106"/>
                    <a:gd name="connsiteY149" fmla="*/ 1806973 h 1857492"/>
                    <a:gd name="connsiteX150" fmla="*/ 546273 w 1037106"/>
                    <a:gd name="connsiteY150" fmla="*/ 1804447 h 1857492"/>
                    <a:gd name="connsiteX151" fmla="*/ 569007 w 1037106"/>
                    <a:gd name="connsiteY151" fmla="*/ 1791817 h 1857492"/>
                    <a:gd name="connsiteX152" fmla="*/ 576585 w 1037106"/>
                    <a:gd name="connsiteY152" fmla="*/ 1796869 h 1857492"/>
                    <a:gd name="connsiteX153" fmla="*/ 591741 w 1037106"/>
                    <a:gd name="connsiteY153" fmla="*/ 1786765 h 1857492"/>
                    <a:gd name="connsiteX154" fmla="*/ 596793 w 1037106"/>
                    <a:gd name="connsiteY154" fmla="*/ 1779187 h 1857492"/>
                    <a:gd name="connsiteX155" fmla="*/ 604371 w 1037106"/>
                    <a:gd name="connsiteY155" fmla="*/ 1776661 h 1857492"/>
                    <a:gd name="connsiteX156" fmla="*/ 606897 w 1037106"/>
                    <a:gd name="connsiteY156" fmla="*/ 1766557 h 1857492"/>
                    <a:gd name="connsiteX157" fmla="*/ 614474 w 1037106"/>
                    <a:gd name="connsiteY157" fmla="*/ 1764031 h 1857492"/>
                    <a:gd name="connsiteX158" fmla="*/ 627104 w 1037106"/>
                    <a:gd name="connsiteY158" fmla="*/ 1758979 h 1857492"/>
                    <a:gd name="connsiteX159" fmla="*/ 654890 w 1037106"/>
                    <a:gd name="connsiteY159" fmla="*/ 1738771 h 1857492"/>
                    <a:gd name="connsiteX160" fmla="*/ 687727 w 1037106"/>
                    <a:gd name="connsiteY160" fmla="*/ 1733720 h 1857492"/>
                    <a:gd name="connsiteX161" fmla="*/ 705409 w 1037106"/>
                    <a:gd name="connsiteY161" fmla="*/ 1726142 h 1857492"/>
                    <a:gd name="connsiteX162" fmla="*/ 707935 w 1037106"/>
                    <a:gd name="connsiteY162" fmla="*/ 1716038 h 1857492"/>
                    <a:gd name="connsiteX163" fmla="*/ 715513 w 1037106"/>
                    <a:gd name="connsiteY163" fmla="*/ 1705934 h 1857492"/>
                    <a:gd name="connsiteX164" fmla="*/ 725617 w 1037106"/>
                    <a:gd name="connsiteY164" fmla="*/ 1693304 h 1857492"/>
                    <a:gd name="connsiteX165" fmla="*/ 740773 w 1037106"/>
                    <a:gd name="connsiteY165" fmla="*/ 1675622 h 1857492"/>
                    <a:gd name="connsiteX166" fmla="*/ 753403 w 1037106"/>
                    <a:gd name="connsiteY166" fmla="*/ 1673096 h 1857492"/>
                    <a:gd name="connsiteX167" fmla="*/ 760981 w 1037106"/>
                    <a:gd name="connsiteY167" fmla="*/ 1662992 h 1857492"/>
                    <a:gd name="connsiteX168" fmla="*/ 750877 w 1037106"/>
                    <a:gd name="connsiteY168" fmla="*/ 1647837 h 1857492"/>
                    <a:gd name="connsiteX169" fmla="*/ 750877 w 1037106"/>
                    <a:gd name="connsiteY169" fmla="*/ 1670570 h 1857492"/>
                    <a:gd name="connsiteX170" fmla="*/ 773610 w 1037106"/>
                    <a:gd name="connsiteY170" fmla="*/ 1678148 h 1857492"/>
                    <a:gd name="connsiteX171" fmla="*/ 783714 w 1037106"/>
                    <a:gd name="connsiteY171" fmla="*/ 1670570 h 1857492"/>
                    <a:gd name="connsiteX172" fmla="*/ 791292 w 1037106"/>
                    <a:gd name="connsiteY172" fmla="*/ 1655415 h 1857492"/>
                    <a:gd name="connsiteX173" fmla="*/ 798870 w 1037106"/>
                    <a:gd name="connsiteY173" fmla="*/ 1650363 h 1857492"/>
                    <a:gd name="connsiteX174" fmla="*/ 811500 w 1037106"/>
                    <a:gd name="connsiteY174" fmla="*/ 1652889 h 1857492"/>
                    <a:gd name="connsiteX175" fmla="*/ 821604 w 1037106"/>
                    <a:gd name="connsiteY175" fmla="*/ 1660467 h 1857492"/>
                    <a:gd name="connsiteX176" fmla="*/ 829182 w 1037106"/>
                    <a:gd name="connsiteY176" fmla="*/ 1662992 h 1857492"/>
                    <a:gd name="connsiteX177" fmla="*/ 849389 w 1037106"/>
                    <a:gd name="connsiteY177" fmla="*/ 1627629 h 1857492"/>
                    <a:gd name="connsiteX178" fmla="*/ 864545 w 1037106"/>
                    <a:gd name="connsiteY178" fmla="*/ 1604895 h 1857492"/>
                    <a:gd name="connsiteX179" fmla="*/ 874649 w 1037106"/>
                    <a:gd name="connsiteY179" fmla="*/ 1579636 h 1857492"/>
                    <a:gd name="connsiteX180" fmla="*/ 882227 w 1037106"/>
                    <a:gd name="connsiteY180" fmla="*/ 1572058 h 1857492"/>
                    <a:gd name="connsiteX181" fmla="*/ 887279 w 1037106"/>
                    <a:gd name="connsiteY181" fmla="*/ 1561954 h 1857492"/>
                    <a:gd name="connsiteX182" fmla="*/ 892331 w 1037106"/>
                    <a:gd name="connsiteY182" fmla="*/ 1554376 h 1857492"/>
                    <a:gd name="connsiteX183" fmla="*/ 894857 w 1037106"/>
                    <a:gd name="connsiteY183" fmla="*/ 1546798 h 1857492"/>
                    <a:gd name="connsiteX184" fmla="*/ 899909 w 1037106"/>
                    <a:gd name="connsiteY184" fmla="*/ 1539220 h 1857492"/>
                    <a:gd name="connsiteX185" fmla="*/ 902435 w 1037106"/>
                    <a:gd name="connsiteY185" fmla="*/ 1531642 h 1857492"/>
                    <a:gd name="connsiteX186" fmla="*/ 907487 w 1037106"/>
                    <a:gd name="connsiteY186" fmla="*/ 1524064 h 1857492"/>
                    <a:gd name="connsiteX187" fmla="*/ 925168 w 1037106"/>
                    <a:gd name="connsiteY187" fmla="*/ 1493753 h 1857492"/>
                    <a:gd name="connsiteX188" fmla="*/ 927694 w 1037106"/>
                    <a:gd name="connsiteY188" fmla="*/ 1486175 h 1857492"/>
                    <a:gd name="connsiteX189" fmla="*/ 930220 w 1037106"/>
                    <a:gd name="connsiteY189" fmla="*/ 1476071 h 1857492"/>
                    <a:gd name="connsiteX190" fmla="*/ 945376 w 1037106"/>
                    <a:gd name="connsiteY190" fmla="*/ 1455863 h 1857492"/>
                    <a:gd name="connsiteX191" fmla="*/ 947902 w 1037106"/>
                    <a:gd name="connsiteY191" fmla="*/ 1448285 h 1857492"/>
                    <a:gd name="connsiteX192" fmla="*/ 950428 w 1037106"/>
                    <a:gd name="connsiteY192" fmla="*/ 1435655 h 1857492"/>
                    <a:gd name="connsiteX193" fmla="*/ 958006 w 1037106"/>
                    <a:gd name="connsiteY193" fmla="*/ 1425552 h 1857492"/>
                    <a:gd name="connsiteX194" fmla="*/ 968110 w 1037106"/>
                    <a:gd name="connsiteY194" fmla="*/ 1405344 h 1857492"/>
                    <a:gd name="connsiteX195" fmla="*/ 973162 w 1037106"/>
                    <a:gd name="connsiteY195" fmla="*/ 1392714 h 1857492"/>
                    <a:gd name="connsiteX196" fmla="*/ 978214 w 1037106"/>
                    <a:gd name="connsiteY196" fmla="*/ 1385136 h 1857492"/>
                    <a:gd name="connsiteX197" fmla="*/ 988318 w 1037106"/>
                    <a:gd name="connsiteY197" fmla="*/ 1359876 h 1857492"/>
                    <a:gd name="connsiteX198" fmla="*/ 995895 w 1037106"/>
                    <a:gd name="connsiteY198" fmla="*/ 1339669 h 1857492"/>
                    <a:gd name="connsiteX199" fmla="*/ 1000947 w 1037106"/>
                    <a:gd name="connsiteY199" fmla="*/ 1329565 h 1857492"/>
                    <a:gd name="connsiteX200" fmla="*/ 1003473 w 1037106"/>
                    <a:gd name="connsiteY200" fmla="*/ 1301779 h 1857492"/>
                    <a:gd name="connsiteX201" fmla="*/ 1005999 w 1037106"/>
                    <a:gd name="connsiteY201" fmla="*/ 1294201 h 1857492"/>
                    <a:gd name="connsiteX202" fmla="*/ 1008525 w 1037106"/>
                    <a:gd name="connsiteY202" fmla="*/ 1279046 h 1857492"/>
                    <a:gd name="connsiteX203" fmla="*/ 1013577 w 1037106"/>
                    <a:gd name="connsiteY203" fmla="*/ 1271468 h 1857492"/>
                    <a:gd name="connsiteX204" fmla="*/ 1018629 w 1037106"/>
                    <a:gd name="connsiteY204" fmla="*/ 1261364 h 1857492"/>
                    <a:gd name="connsiteX205" fmla="*/ 1026207 w 1037106"/>
                    <a:gd name="connsiteY205" fmla="*/ 1248734 h 1857492"/>
                    <a:gd name="connsiteX206" fmla="*/ 1028733 w 1037106"/>
                    <a:gd name="connsiteY206" fmla="*/ 1231052 h 1857492"/>
                    <a:gd name="connsiteX207" fmla="*/ 1033785 w 1037106"/>
                    <a:gd name="connsiteY207" fmla="*/ 1215896 h 1857492"/>
                    <a:gd name="connsiteX208" fmla="*/ 1036311 w 1037106"/>
                    <a:gd name="connsiteY208" fmla="*/ 1172955 h 1857492"/>
                    <a:gd name="connsiteX209" fmla="*/ 1026207 w 1037106"/>
                    <a:gd name="connsiteY209" fmla="*/ 1132539 h 1857492"/>
                    <a:gd name="connsiteX210" fmla="*/ 1016103 w 1037106"/>
                    <a:gd name="connsiteY210" fmla="*/ 1130013 h 1857492"/>
                    <a:gd name="connsiteX211" fmla="*/ 998421 w 1037106"/>
                    <a:gd name="connsiteY211" fmla="*/ 1114858 h 1857492"/>
                    <a:gd name="connsiteX212" fmla="*/ 990844 w 1037106"/>
                    <a:gd name="connsiteY212" fmla="*/ 1107280 h 1857492"/>
                    <a:gd name="connsiteX213" fmla="*/ 970636 w 1037106"/>
                    <a:gd name="connsiteY213" fmla="*/ 1092124 h 1857492"/>
                    <a:gd name="connsiteX214" fmla="*/ 960532 w 1037106"/>
                    <a:gd name="connsiteY214" fmla="*/ 1084546 h 1857492"/>
                    <a:gd name="connsiteX215" fmla="*/ 945376 w 1037106"/>
                    <a:gd name="connsiteY215" fmla="*/ 1079494 h 1857492"/>
                    <a:gd name="connsiteX216" fmla="*/ 922642 w 1037106"/>
                    <a:gd name="connsiteY216" fmla="*/ 1074442 h 1857492"/>
                    <a:gd name="connsiteX217" fmla="*/ 910013 w 1037106"/>
                    <a:gd name="connsiteY217" fmla="*/ 1069390 h 1857492"/>
                    <a:gd name="connsiteX218" fmla="*/ 889805 w 1037106"/>
                    <a:gd name="connsiteY218" fmla="*/ 1056760 h 1857492"/>
                    <a:gd name="connsiteX219" fmla="*/ 877175 w 1037106"/>
                    <a:gd name="connsiteY219" fmla="*/ 1041605 h 1857492"/>
                    <a:gd name="connsiteX220" fmla="*/ 879701 w 1037106"/>
                    <a:gd name="connsiteY220" fmla="*/ 1028975 h 1857492"/>
                    <a:gd name="connsiteX221" fmla="*/ 884753 w 1037106"/>
                    <a:gd name="connsiteY221" fmla="*/ 1011293 h 1857492"/>
                    <a:gd name="connsiteX222" fmla="*/ 889805 w 1037106"/>
                    <a:gd name="connsiteY222" fmla="*/ 1003715 h 1857492"/>
                    <a:gd name="connsiteX223" fmla="*/ 849389 w 1037106"/>
                    <a:gd name="connsiteY223" fmla="*/ 935514 h 1857492"/>
                    <a:gd name="connsiteX224" fmla="*/ 836760 w 1037106"/>
                    <a:gd name="connsiteY224" fmla="*/ 932988 h 1857492"/>
                    <a:gd name="connsiteX225" fmla="*/ 826656 w 1037106"/>
                    <a:gd name="connsiteY225" fmla="*/ 872365 h 1857492"/>
                    <a:gd name="connsiteX226" fmla="*/ 814026 w 1037106"/>
                    <a:gd name="connsiteY226" fmla="*/ 869839 h 1857492"/>
                    <a:gd name="connsiteX227" fmla="*/ 798870 w 1037106"/>
                    <a:gd name="connsiteY227" fmla="*/ 857209 h 1857492"/>
                    <a:gd name="connsiteX228" fmla="*/ 778662 w 1037106"/>
                    <a:gd name="connsiteY228" fmla="*/ 854683 h 1857492"/>
                    <a:gd name="connsiteX229" fmla="*/ 776136 w 1037106"/>
                    <a:gd name="connsiteY229" fmla="*/ 844579 h 1857492"/>
                    <a:gd name="connsiteX230" fmla="*/ 773610 w 1037106"/>
                    <a:gd name="connsiteY230" fmla="*/ 837001 h 1857492"/>
                    <a:gd name="connsiteX231" fmla="*/ 788766 w 1037106"/>
                    <a:gd name="connsiteY231" fmla="*/ 806690 h 1857492"/>
                    <a:gd name="connsiteX232" fmla="*/ 781188 w 1037106"/>
                    <a:gd name="connsiteY232" fmla="*/ 794060 h 1857492"/>
                    <a:gd name="connsiteX233" fmla="*/ 760981 w 1037106"/>
                    <a:gd name="connsiteY233" fmla="*/ 778904 h 1857492"/>
                    <a:gd name="connsiteX234" fmla="*/ 766032 w 1037106"/>
                    <a:gd name="connsiteY234" fmla="*/ 708177 h 1857492"/>
                    <a:gd name="connsiteX235" fmla="*/ 778662 w 1037106"/>
                    <a:gd name="connsiteY235" fmla="*/ 703125 h 1857492"/>
                    <a:gd name="connsiteX236" fmla="*/ 781188 w 1037106"/>
                    <a:gd name="connsiteY236" fmla="*/ 693021 h 1857492"/>
                    <a:gd name="connsiteX237" fmla="*/ 773610 w 1037106"/>
                    <a:gd name="connsiteY237" fmla="*/ 690495 h 1857492"/>
                    <a:gd name="connsiteX238" fmla="*/ 760981 w 1037106"/>
                    <a:gd name="connsiteY238" fmla="*/ 687969 h 1857492"/>
                    <a:gd name="connsiteX239" fmla="*/ 753403 w 1037106"/>
                    <a:gd name="connsiteY239" fmla="*/ 680391 h 1857492"/>
                    <a:gd name="connsiteX240" fmla="*/ 740773 w 1037106"/>
                    <a:gd name="connsiteY240" fmla="*/ 655132 h 1857492"/>
                    <a:gd name="connsiteX241" fmla="*/ 730669 w 1037106"/>
                    <a:gd name="connsiteY241" fmla="*/ 645028 h 1857492"/>
                    <a:gd name="connsiteX242" fmla="*/ 723091 w 1037106"/>
                    <a:gd name="connsiteY242" fmla="*/ 632398 h 1857492"/>
                    <a:gd name="connsiteX243" fmla="*/ 710461 w 1037106"/>
                    <a:gd name="connsiteY243" fmla="*/ 614716 h 1857492"/>
                    <a:gd name="connsiteX244" fmla="*/ 695305 w 1037106"/>
                    <a:gd name="connsiteY244" fmla="*/ 597034 h 1857492"/>
                    <a:gd name="connsiteX245" fmla="*/ 685202 w 1037106"/>
                    <a:gd name="connsiteY245" fmla="*/ 584405 h 1857492"/>
                    <a:gd name="connsiteX246" fmla="*/ 677624 w 1037106"/>
                    <a:gd name="connsiteY246" fmla="*/ 576827 h 1857492"/>
                    <a:gd name="connsiteX247" fmla="*/ 664994 w 1037106"/>
                    <a:gd name="connsiteY247" fmla="*/ 554093 h 1857492"/>
                    <a:gd name="connsiteX248" fmla="*/ 644786 w 1037106"/>
                    <a:gd name="connsiteY248" fmla="*/ 528833 h 1857492"/>
                    <a:gd name="connsiteX249" fmla="*/ 632156 w 1037106"/>
                    <a:gd name="connsiteY249" fmla="*/ 513678 h 1857492"/>
                    <a:gd name="connsiteX250" fmla="*/ 629630 w 1037106"/>
                    <a:gd name="connsiteY250" fmla="*/ 501048 h 1857492"/>
                    <a:gd name="connsiteX251" fmla="*/ 634682 w 1037106"/>
                    <a:gd name="connsiteY251" fmla="*/ 463158 h 1857492"/>
                    <a:gd name="connsiteX252" fmla="*/ 637208 w 1037106"/>
                    <a:gd name="connsiteY252" fmla="*/ 448002 h 1857492"/>
                    <a:gd name="connsiteX253" fmla="*/ 644786 w 1037106"/>
                    <a:gd name="connsiteY253" fmla="*/ 435373 h 1857492"/>
                    <a:gd name="connsiteX254" fmla="*/ 647312 w 1037106"/>
                    <a:gd name="connsiteY254" fmla="*/ 425269 h 1857492"/>
                    <a:gd name="connsiteX255" fmla="*/ 652364 w 1037106"/>
                    <a:gd name="connsiteY255" fmla="*/ 382327 h 1857492"/>
                    <a:gd name="connsiteX256" fmla="*/ 649838 w 1037106"/>
                    <a:gd name="connsiteY256" fmla="*/ 364646 h 1857492"/>
                    <a:gd name="connsiteX257" fmla="*/ 632156 w 1037106"/>
                    <a:gd name="connsiteY257" fmla="*/ 354542 h 1857492"/>
                    <a:gd name="connsiteX258" fmla="*/ 624578 w 1037106"/>
                    <a:gd name="connsiteY258" fmla="*/ 344438 h 1857492"/>
                    <a:gd name="connsiteX259" fmla="*/ 619526 w 1037106"/>
                    <a:gd name="connsiteY259" fmla="*/ 336860 h 1857492"/>
                    <a:gd name="connsiteX260" fmla="*/ 611948 w 1037106"/>
                    <a:gd name="connsiteY260" fmla="*/ 334334 h 1857492"/>
                    <a:gd name="connsiteX261" fmla="*/ 604371 w 1037106"/>
                    <a:gd name="connsiteY261" fmla="*/ 329282 h 1857492"/>
                    <a:gd name="connsiteX262" fmla="*/ 594267 w 1037106"/>
                    <a:gd name="connsiteY262" fmla="*/ 311600 h 1857492"/>
                    <a:gd name="connsiteX263" fmla="*/ 586689 w 1037106"/>
                    <a:gd name="connsiteY263" fmla="*/ 306548 h 1857492"/>
                    <a:gd name="connsiteX264" fmla="*/ 531118 w 1037106"/>
                    <a:gd name="connsiteY264" fmla="*/ 306548 h 1857492"/>
                    <a:gd name="connsiteX265" fmla="*/ 528592 w 1037106"/>
                    <a:gd name="connsiteY265" fmla="*/ 296444 h 1857492"/>
                    <a:gd name="connsiteX266" fmla="*/ 521014 w 1037106"/>
                    <a:gd name="connsiteY266" fmla="*/ 271185 h 1857492"/>
                    <a:gd name="connsiteX267" fmla="*/ 518488 w 1037106"/>
                    <a:gd name="connsiteY267" fmla="*/ 250977 h 1857492"/>
                    <a:gd name="connsiteX268" fmla="*/ 515962 w 1037106"/>
                    <a:gd name="connsiteY268" fmla="*/ 240873 h 1857492"/>
                    <a:gd name="connsiteX269" fmla="*/ 513436 w 1037106"/>
                    <a:gd name="connsiteY269" fmla="*/ 192880 h 1857492"/>
                    <a:gd name="connsiteX270" fmla="*/ 505858 w 1037106"/>
                    <a:gd name="connsiteY270" fmla="*/ 190354 h 1857492"/>
                    <a:gd name="connsiteX271" fmla="*/ 498280 w 1037106"/>
                    <a:gd name="connsiteY271" fmla="*/ 182776 h 1857492"/>
                    <a:gd name="connsiteX272" fmla="*/ 508384 w 1037106"/>
                    <a:gd name="connsiteY272" fmla="*/ 144886 h 1857492"/>
                    <a:gd name="connsiteX273" fmla="*/ 503332 w 1037106"/>
                    <a:gd name="connsiteY273" fmla="*/ 124679 h 1857492"/>
                    <a:gd name="connsiteX274" fmla="*/ 500806 w 1037106"/>
                    <a:gd name="connsiteY274" fmla="*/ 56478 h 1857492"/>
                    <a:gd name="connsiteX275" fmla="*/ 493228 w 1037106"/>
                    <a:gd name="connsiteY275" fmla="*/ 53952 h 1857492"/>
                    <a:gd name="connsiteX276" fmla="*/ 483124 w 1037106"/>
                    <a:gd name="connsiteY276" fmla="*/ 48900 h 1857492"/>
                    <a:gd name="connsiteX277" fmla="*/ 450287 w 1037106"/>
                    <a:gd name="connsiteY277" fmla="*/ 43848 h 1857492"/>
                    <a:gd name="connsiteX278" fmla="*/ 430079 w 1037106"/>
                    <a:gd name="connsiteY278" fmla="*/ 31218 h 1857492"/>
                    <a:gd name="connsiteX279" fmla="*/ 409871 w 1037106"/>
                    <a:gd name="connsiteY279" fmla="*/ 13536 h 1857492"/>
                    <a:gd name="connsiteX280" fmla="*/ 392189 w 1037106"/>
                    <a:gd name="connsiteY280" fmla="*/ 16062 h 1857492"/>
                    <a:gd name="connsiteX281" fmla="*/ 384611 w 1037106"/>
                    <a:gd name="connsiteY281" fmla="*/ 18588 h 1857492"/>
                    <a:gd name="connsiteX282" fmla="*/ 349248 w 1037106"/>
                    <a:gd name="connsiteY282" fmla="*/ 11010 h 1857492"/>
                    <a:gd name="connsiteX283" fmla="*/ 351774 w 1037106"/>
                    <a:gd name="connsiteY283" fmla="*/ 906 h 1857492"/>
                    <a:gd name="connsiteX284" fmla="*/ 361878 w 1037106"/>
                    <a:gd name="connsiteY284" fmla="*/ 3432 h 1857492"/>
                    <a:gd name="connsiteX285" fmla="*/ 349248 w 1037106"/>
                    <a:gd name="connsiteY285" fmla="*/ 38796 h 1857492"/>
                    <a:gd name="connsiteX286" fmla="*/ 346722 w 1037106"/>
                    <a:gd name="connsiteY286" fmla="*/ 48900 h 1857492"/>
                    <a:gd name="connsiteX287" fmla="*/ 339144 w 1037106"/>
                    <a:gd name="connsiteY287" fmla="*/ 51426 h 1857492"/>
                    <a:gd name="connsiteX288" fmla="*/ 323988 w 1037106"/>
                    <a:gd name="connsiteY288" fmla="*/ 48900 h 1857492"/>
                    <a:gd name="connsiteX289" fmla="*/ 306306 w 1037106"/>
                    <a:gd name="connsiteY289" fmla="*/ 46374 h 1857492"/>
                    <a:gd name="connsiteX290" fmla="*/ 296203 w 1037106"/>
                    <a:gd name="connsiteY290" fmla="*/ 43848 h 1857492"/>
                    <a:gd name="connsiteX291" fmla="*/ 288625 w 1037106"/>
                    <a:gd name="connsiteY291" fmla="*/ 46374 h 1857492"/>
                    <a:gd name="connsiteX292" fmla="*/ 291151 w 1037106"/>
                    <a:gd name="connsiteY292" fmla="*/ 64055 h 1857492"/>
                    <a:gd name="connsiteX293" fmla="*/ 296203 w 1037106"/>
                    <a:gd name="connsiteY293" fmla="*/ 86789 h 1857492"/>
                    <a:gd name="connsiteX294" fmla="*/ 293677 w 1037106"/>
                    <a:gd name="connsiteY294" fmla="*/ 124679 h 1857492"/>
                    <a:gd name="connsiteX295" fmla="*/ 291151 w 1037106"/>
                    <a:gd name="connsiteY295" fmla="*/ 132257 h 1857492"/>
                    <a:gd name="connsiteX296" fmla="*/ 288625 w 1037106"/>
                    <a:gd name="connsiteY296" fmla="*/ 147412 h 1857492"/>
                    <a:gd name="connsiteX297" fmla="*/ 301255 w 1037106"/>
                    <a:gd name="connsiteY297" fmla="*/ 200458 h 1857492"/>
                    <a:gd name="connsiteX298" fmla="*/ 308832 w 1037106"/>
                    <a:gd name="connsiteY298" fmla="*/ 202984 h 1857492"/>
                    <a:gd name="connsiteX299" fmla="*/ 296203 w 1037106"/>
                    <a:gd name="connsiteY299" fmla="*/ 240873 h 1857492"/>
                    <a:gd name="connsiteX300" fmla="*/ 283573 w 1037106"/>
                    <a:gd name="connsiteY300" fmla="*/ 283815 h 1857492"/>
                    <a:gd name="connsiteX301" fmla="*/ 281047 w 1037106"/>
                    <a:gd name="connsiteY301" fmla="*/ 298970 h 1857492"/>
                    <a:gd name="connsiteX302" fmla="*/ 263365 w 1037106"/>
                    <a:gd name="connsiteY302" fmla="*/ 293918 h 1857492"/>
                    <a:gd name="connsiteX303" fmla="*/ 255787 w 1037106"/>
                    <a:gd name="connsiteY303" fmla="*/ 286341 h 1857492"/>
                    <a:gd name="connsiteX304" fmla="*/ 248209 w 1037106"/>
                    <a:gd name="connsiteY304" fmla="*/ 281289 h 1857492"/>
                    <a:gd name="connsiteX305" fmla="*/ 243157 w 1037106"/>
                    <a:gd name="connsiteY305" fmla="*/ 273711 h 1857492"/>
                    <a:gd name="connsiteX306" fmla="*/ 240631 w 1037106"/>
                    <a:gd name="connsiteY306" fmla="*/ 266133 h 1857492"/>
                    <a:gd name="connsiteX307" fmla="*/ 230527 w 1037106"/>
                    <a:gd name="connsiteY307" fmla="*/ 263607 h 1857492"/>
                    <a:gd name="connsiteX308" fmla="*/ 220424 w 1037106"/>
                    <a:gd name="connsiteY308" fmla="*/ 276237 h 1857492"/>
                    <a:gd name="connsiteX309" fmla="*/ 197690 w 1037106"/>
                    <a:gd name="connsiteY309" fmla="*/ 263607 h 1857492"/>
                    <a:gd name="connsiteX310" fmla="*/ 195164 w 1037106"/>
                    <a:gd name="connsiteY310" fmla="*/ 276237 h 1857492"/>
                    <a:gd name="connsiteX311" fmla="*/ 192638 w 1037106"/>
                    <a:gd name="connsiteY311" fmla="*/ 286341 h 1857492"/>
                    <a:gd name="connsiteX312" fmla="*/ 147171 w 1037106"/>
                    <a:gd name="connsiteY312" fmla="*/ 301496 h 1857492"/>
                    <a:gd name="connsiteX313" fmla="*/ 94125 w 1037106"/>
                    <a:gd name="connsiteY313" fmla="*/ 286341 h 1857492"/>
                    <a:gd name="connsiteX314" fmla="*/ 89073 w 1037106"/>
                    <a:gd name="connsiteY314" fmla="*/ 278763 h 1857492"/>
                    <a:gd name="connsiteX315" fmla="*/ 86547 w 1037106"/>
                    <a:gd name="connsiteY315" fmla="*/ 268659 h 1857492"/>
                    <a:gd name="connsiteX316" fmla="*/ 84021 w 1037106"/>
                    <a:gd name="connsiteY316" fmla="*/ 261081 h 1857492"/>
                    <a:gd name="connsiteX317" fmla="*/ 71392 w 1037106"/>
                    <a:gd name="connsiteY317" fmla="*/ 256029 h 1857492"/>
                    <a:gd name="connsiteX318" fmla="*/ 53710 w 1037106"/>
                    <a:gd name="connsiteY318" fmla="*/ 235821 h 1857492"/>
                    <a:gd name="connsiteX319" fmla="*/ 43606 w 1037106"/>
                    <a:gd name="connsiteY319" fmla="*/ 230769 h 1857492"/>
                    <a:gd name="connsiteX320" fmla="*/ 28450 w 1037106"/>
                    <a:gd name="connsiteY320" fmla="*/ 223191 h 1857492"/>
                    <a:gd name="connsiteX321" fmla="*/ 20872 w 1037106"/>
                    <a:gd name="connsiteY321" fmla="*/ 215613 h 1857492"/>
                    <a:gd name="connsiteX322" fmla="*/ 5716 w 1037106"/>
                    <a:gd name="connsiteY322" fmla="*/ 235821 h 1857492"/>
                    <a:gd name="connsiteX323" fmla="*/ 15820 w 1037106"/>
                    <a:gd name="connsiteY323" fmla="*/ 258555 h 1857492"/>
                    <a:gd name="connsiteX0" fmla="*/ 15820 w 1037106"/>
                    <a:gd name="connsiteY0" fmla="*/ 258555 h 1857492"/>
                    <a:gd name="connsiteX1" fmla="*/ 664 w 1037106"/>
                    <a:gd name="connsiteY1" fmla="*/ 263607 h 1857492"/>
                    <a:gd name="connsiteX2" fmla="*/ 3190 w 1037106"/>
                    <a:gd name="connsiteY2" fmla="*/ 271185 h 1857492"/>
                    <a:gd name="connsiteX3" fmla="*/ 28450 w 1037106"/>
                    <a:gd name="connsiteY3" fmla="*/ 286341 h 1857492"/>
                    <a:gd name="connsiteX4" fmla="*/ 36028 w 1037106"/>
                    <a:gd name="connsiteY4" fmla="*/ 296444 h 1857492"/>
                    <a:gd name="connsiteX5" fmla="*/ 43606 w 1037106"/>
                    <a:gd name="connsiteY5" fmla="*/ 304022 h 1857492"/>
                    <a:gd name="connsiteX6" fmla="*/ 58762 w 1037106"/>
                    <a:gd name="connsiteY6" fmla="*/ 324230 h 1857492"/>
                    <a:gd name="connsiteX7" fmla="*/ 63814 w 1037106"/>
                    <a:gd name="connsiteY7" fmla="*/ 331808 h 1857492"/>
                    <a:gd name="connsiteX8" fmla="*/ 71392 w 1037106"/>
                    <a:gd name="connsiteY8" fmla="*/ 339386 h 1857492"/>
                    <a:gd name="connsiteX9" fmla="*/ 73918 w 1037106"/>
                    <a:gd name="connsiteY9" fmla="*/ 346964 h 1857492"/>
                    <a:gd name="connsiteX10" fmla="*/ 132015 w 1037106"/>
                    <a:gd name="connsiteY10" fmla="*/ 359594 h 1857492"/>
                    <a:gd name="connsiteX11" fmla="*/ 149697 w 1037106"/>
                    <a:gd name="connsiteY11" fmla="*/ 367171 h 1857492"/>
                    <a:gd name="connsiteX12" fmla="*/ 159800 w 1037106"/>
                    <a:gd name="connsiteY12" fmla="*/ 377275 h 1857492"/>
                    <a:gd name="connsiteX13" fmla="*/ 164852 w 1037106"/>
                    <a:gd name="connsiteY13" fmla="*/ 392431 h 1857492"/>
                    <a:gd name="connsiteX14" fmla="*/ 182534 w 1037106"/>
                    <a:gd name="connsiteY14" fmla="*/ 400009 h 1857492"/>
                    <a:gd name="connsiteX15" fmla="*/ 190112 w 1037106"/>
                    <a:gd name="connsiteY15" fmla="*/ 405061 h 1857492"/>
                    <a:gd name="connsiteX16" fmla="*/ 202742 w 1037106"/>
                    <a:gd name="connsiteY16" fmla="*/ 420217 h 1857492"/>
                    <a:gd name="connsiteX17" fmla="*/ 212846 w 1037106"/>
                    <a:gd name="connsiteY17" fmla="*/ 422743 h 1857492"/>
                    <a:gd name="connsiteX18" fmla="*/ 220424 w 1037106"/>
                    <a:gd name="connsiteY18" fmla="*/ 425269 h 1857492"/>
                    <a:gd name="connsiteX19" fmla="*/ 212846 w 1037106"/>
                    <a:gd name="connsiteY19" fmla="*/ 427795 h 1857492"/>
                    <a:gd name="connsiteX20" fmla="*/ 212846 w 1037106"/>
                    <a:gd name="connsiteY20" fmla="*/ 448002 h 1857492"/>
                    <a:gd name="connsiteX21" fmla="*/ 215372 w 1037106"/>
                    <a:gd name="connsiteY21" fmla="*/ 455580 h 1857492"/>
                    <a:gd name="connsiteX22" fmla="*/ 222950 w 1037106"/>
                    <a:gd name="connsiteY22" fmla="*/ 463158 h 1857492"/>
                    <a:gd name="connsiteX23" fmla="*/ 225476 w 1037106"/>
                    <a:gd name="connsiteY23" fmla="*/ 493470 h 1857492"/>
                    <a:gd name="connsiteX24" fmla="*/ 228002 w 1037106"/>
                    <a:gd name="connsiteY24" fmla="*/ 511152 h 1857492"/>
                    <a:gd name="connsiteX25" fmla="*/ 240631 w 1037106"/>
                    <a:gd name="connsiteY25" fmla="*/ 521255 h 1857492"/>
                    <a:gd name="connsiteX26" fmla="*/ 248209 w 1037106"/>
                    <a:gd name="connsiteY26" fmla="*/ 518729 h 1857492"/>
                    <a:gd name="connsiteX27" fmla="*/ 248209 w 1037106"/>
                    <a:gd name="connsiteY27" fmla="*/ 538937 h 1857492"/>
                    <a:gd name="connsiteX28" fmla="*/ 240631 w 1037106"/>
                    <a:gd name="connsiteY28" fmla="*/ 541463 h 1857492"/>
                    <a:gd name="connsiteX29" fmla="*/ 235579 w 1037106"/>
                    <a:gd name="connsiteY29" fmla="*/ 549041 h 1857492"/>
                    <a:gd name="connsiteX30" fmla="*/ 245683 w 1037106"/>
                    <a:gd name="connsiteY30" fmla="*/ 556619 h 1857492"/>
                    <a:gd name="connsiteX31" fmla="*/ 248209 w 1037106"/>
                    <a:gd name="connsiteY31" fmla="*/ 574301 h 1857492"/>
                    <a:gd name="connsiteX32" fmla="*/ 263365 w 1037106"/>
                    <a:gd name="connsiteY32" fmla="*/ 597034 h 1857492"/>
                    <a:gd name="connsiteX33" fmla="*/ 270943 w 1037106"/>
                    <a:gd name="connsiteY33" fmla="*/ 614716 h 1857492"/>
                    <a:gd name="connsiteX34" fmla="*/ 273469 w 1037106"/>
                    <a:gd name="connsiteY34" fmla="*/ 632398 h 1857492"/>
                    <a:gd name="connsiteX35" fmla="*/ 281047 w 1037106"/>
                    <a:gd name="connsiteY35" fmla="*/ 639976 h 1857492"/>
                    <a:gd name="connsiteX36" fmla="*/ 286099 w 1037106"/>
                    <a:gd name="connsiteY36" fmla="*/ 700599 h 1857492"/>
                    <a:gd name="connsiteX37" fmla="*/ 291151 w 1037106"/>
                    <a:gd name="connsiteY37" fmla="*/ 718281 h 1857492"/>
                    <a:gd name="connsiteX38" fmla="*/ 293677 w 1037106"/>
                    <a:gd name="connsiteY38" fmla="*/ 730911 h 1857492"/>
                    <a:gd name="connsiteX39" fmla="*/ 301255 w 1037106"/>
                    <a:gd name="connsiteY39" fmla="*/ 753644 h 1857492"/>
                    <a:gd name="connsiteX40" fmla="*/ 303781 w 1037106"/>
                    <a:gd name="connsiteY40" fmla="*/ 761222 h 1857492"/>
                    <a:gd name="connsiteX41" fmla="*/ 321462 w 1037106"/>
                    <a:gd name="connsiteY41" fmla="*/ 789008 h 1857492"/>
                    <a:gd name="connsiteX42" fmla="*/ 334092 w 1037106"/>
                    <a:gd name="connsiteY42" fmla="*/ 806690 h 1857492"/>
                    <a:gd name="connsiteX43" fmla="*/ 346722 w 1037106"/>
                    <a:gd name="connsiteY43" fmla="*/ 804164 h 1857492"/>
                    <a:gd name="connsiteX44" fmla="*/ 356826 w 1037106"/>
                    <a:gd name="connsiteY44" fmla="*/ 773852 h 1857492"/>
                    <a:gd name="connsiteX45" fmla="*/ 364404 w 1037106"/>
                    <a:gd name="connsiteY45" fmla="*/ 771326 h 1857492"/>
                    <a:gd name="connsiteX46" fmla="*/ 371982 w 1037106"/>
                    <a:gd name="connsiteY46" fmla="*/ 766274 h 1857492"/>
                    <a:gd name="connsiteX47" fmla="*/ 364404 w 1037106"/>
                    <a:gd name="connsiteY47" fmla="*/ 776378 h 1857492"/>
                    <a:gd name="connsiteX48" fmla="*/ 366930 w 1037106"/>
                    <a:gd name="connsiteY48" fmla="*/ 799112 h 1857492"/>
                    <a:gd name="connsiteX49" fmla="*/ 394715 w 1037106"/>
                    <a:gd name="connsiteY49" fmla="*/ 806690 h 1857492"/>
                    <a:gd name="connsiteX50" fmla="*/ 409871 w 1037106"/>
                    <a:gd name="connsiteY50" fmla="*/ 811742 h 1857492"/>
                    <a:gd name="connsiteX51" fmla="*/ 419975 w 1037106"/>
                    <a:gd name="connsiteY51" fmla="*/ 821846 h 1857492"/>
                    <a:gd name="connsiteX52" fmla="*/ 432605 w 1037106"/>
                    <a:gd name="connsiteY52" fmla="*/ 842053 h 1857492"/>
                    <a:gd name="connsiteX53" fmla="*/ 437657 w 1037106"/>
                    <a:gd name="connsiteY53" fmla="*/ 864787 h 1857492"/>
                    <a:gd name="connsiteX54" fmla="*/ 445235 w 1037106"/>
                    <a:gd name="connsiteY54" fmla="*/ 874891 h 1857492"/>
                    <a:gd name="connsiteX55" fmla="*/ 447761 w 1037106"/>
                    <a:gd name="connsiteY55" fmla="*/ 902676 h 1857492"/>
                    <a:gd name="connsiteX56" fmla="*/ 450287 w 1037106"/>
                    <a:gd name="connsiteY56" fmla="*/ 915306 h 1857492"/>
                    <a:gd name="connsiteX57" fmla="*/ 460390 w 1037106"/>
                    <a:gd name="connsiteY57" fmla="*/ 920358 h 1857492"/>
                    <a:gd name="connsiteX58" fmla="*/ 465442 w 1037106"/>
                    <a:gd name="connsiteY58" fmla="*/ 945618 h 1857492"/>
                    <a:gd name="connsiteX59" fmla="*/ 455339 w 1037106"/>
                    <a:gd name="connsiteY59" fmla="*/ 940566 h 1857492"/>
                    <a:gd name="connsiteX60" fmla="*/ 450287 w 1037106"/>
                    <a:gd name="connsiteY60" fmla="*/ 932988 h 1857492"/>
                    <a:gd name="connsiteX61" fmla="*/ 442709 w 1037106"/>
                    <a:gd name="connsiteY61" fmla="*/ 930462 h 1857492"/>
                    <a:gd name="connsiteX62" fmla="*/ 425027 w 1037106"/>
                    <a:gd name="connsiteY62" fmla="*/ 920358 h 1857492"/>
                    <a:gd name="connsiteX63" fmla="*/ 399767 w 1037106"/>
                    <a:gd name="connsiteY63" fmla="*/ 925410 h 1857492"/>
                    <a:gd name="connsiteX64" fmla="*/ 419975 w 1037106"/>
                    <a:gd name="connsiteY64" fmla="*/ 943092 h 1857492"/>
                    <a:gd name="connsiteX65" fmla="*/ 409871 w 1037106"/>
                    <a:gd name="connsiteY65" fmla="*/ 970878 h 1857492"/>
                    <a:gd name="connsiteX66" fmla="*/ 407345 w 1037106"/>
                    <a:gd name="connsiteY66" fmla="*/ 980981 h 1857492"/>
                    <a:gd name="connsiteX67" fmla="*/ 404819 w 1037106"/>
                    <a:gd name="connsiteY67" fmla="*/ 1011293 h 1857492"/>
                    <a:gd name="connsiteX68" fmla="*/ 397241 w 1037106"/>
                    <a:gd name="connsiteY68" fmla="*/ 1018871 h 1857492"/>
                    <a:gd name="connsiteX69" fmla="*/ 384611 w 1037106"/>
                    <a:gd name="connsiteY69" fmla="*/ 1044131 h 1857492"/>
                    <a:gd name="connsiteX70" fmla="*/ 379560 w 1037106"/>
                    <a:gd name="connsiteY70" fmla="*/ 1059286 h 1857492"/>
                    <a:gd name="connsiteX71" fmla="*/ 371982 w 1037106"/>
                    <a:gd name="connsiteY71" fmla="*/ 1074442 h 1857492"/>
                    <a:gd name="connsiteX72" fmla="*/ 369456 w 1037106"/>
                    <a:gd name="connsiteY72" fmla="*/ 1094650 h 1857492"/>
                    <a:gd name="connsiteX73" fmla="*/ 349248 w 1037106"/>
                    <a:gd name="connsiteY73" fmla="*/ 1117384 h 1857492"/>
                    <a:gd name="connsiteX74" fmla="*/ 331566 w 1037106"/>
                    <a:gd name="connsiteY74" fmla="*/ 1150221 h 1857492"/>
                    <a:gd name="connsiteX75" fmla="*/ 321462 w 1037106"/>
                    <a:gd name="connsiteY75" fmla="*/ 1165377 h 1857492"/>
                    <a:gd name="connsiteX76" fmla="*/ 313884 w 1037106"/>
                    <a:gd name="connsiteY76" fmla="*/ 1152747 h 1857492"/>
                    <a:gd name="connsiteX77" fmla="*/ 311358 w 1037106"/>
                    <a:gd name="connsiteY77" fmla="*/ 1145169 h 1857492"/>
                    <a:gd name="connsiteX78" fmla="*/ 301255 w 1037106"/>
                    <a:gd name="connsiteY78" fmla="*/ 1157799 h 1857492"/>
                    <a:gd name="connsiteX79" fmla="*/ 303781 w 1037106"/>
                    <a:gd name="connsiteY79" fmla="*/ 1193163 h 1857492"/>
                    <a:gd name="connsiteX80" fmla="*/ 311358 w 1037106"/>
                    <a:gd name="connsiteY80" fmla="*/ 1195689 h 1857492"/>
                    <a:gd name="connsiteX81" fmla="*/ 298729 w 1037106"/>
                    <a:gd name="connsiteY81" fmla="*/ 1198215 h 1857492"/>
                    <a:gd name="connsiteX82" fmla="*/ 293677 w 1037106"/>
                    <a:gd name="connsiteY82" fmla="*/ 1200741 h 1857492"/>
                    <a:gd name="connsiteX83" fmla="*/ 286099 w 1037106"/>
                    <a:gd name="connsiteY83" fmla="*/ 1205792 h 1857492"/>
                    <a:gd name="connsiteX84" fmla="*/ 281047 w 1037106"/>
                    <a:gd name="connsiteY84" fmla="*/ 1213370 h 1857492"/>
                    <a:gd name="connsiteX85" fmla="*/ 278521 w 1037106"/>
                    <a:gd name="connsiteY85" fmla="*/ 1228526 h 1857492"/>
                    <a:gd name="connsiteX86" fmla="*/ 275995 w 1037106"/>
                    <a:gd name="connsiteY86" fmla="*/ 1238630 h 1857492"/>
                    <a:gd name="connsiteX87" fmla="*/ 283573 w 1037106"/>
                    <a:gd name="connsiteY87" fmla="*/ 1241156 h 1857492"/>
                    <a:gd name="connsiteX88" fmla="*/ 283573 w 1037106"/>
                    <a:gd name="connsiteY88" fmla="*/ 1261364 h 1857492"/>
                    <a:gd name="connsiteX89" fmla="*/ 248209 w 1037106"/>
                    <a:gd name="connsiteY89" fmla="*/ 1273994 h 1857492"/>
                    <a:gd name="connsiteX90" fmla="*/ 240631 w 1037106"/>
                    <a:gd name="connsiteY90" fmla="*/ 1276520 h 1857492"/>
                    <a:gd name="connsiteX91" fmla="*/ 233053 w 1037106"/>
                    <a:gd name="connsiteY91" fmla="*/ 1281571 h 1857492"/>
                    <a:gd name="connsiteX92" fmla="*/ 217898 w 1037106"/>
                    <a:gd name="connsiteY92" fmla="*/ 1289149 h 1857492"/>
                    <a:gd name="connsiteX93" fmla="*/ 228002 w 1037106"/>
                    <a:gd name="connsiteY93" fmla="*/ 1294201 h 1857492"/>
                    <a:gd name="connsiteX94" fmla="*/ 222950 w 1037106"/>
                    <a:gd name="connsiteY94" fmla="*/ 1334617 h 1857492"/>
                    <a:gd name="connsiteX95" fmla="*/ 217898 w 1037106"/>
                    <a:gd name="connsiteY95" fmla="*/ 1342195 h 1857492"/>
                    <a:gd name="connsiteX96" fmla="*/ 212846 w 1037106"/>
                    <a:gd name="connsiteY96" fmla="*/ 1354825 h 1857492"/>
                    <a:gd name="connsiteX97" fmla="*/ 207794 w 1037106"/>
                    <a:gd name="connsiteY97" fmla="*/ 1362402 h 1857492"/>
                    <a:gd name="connsiteX98" fmla="*/ 202742 w 1037106"/>
                    <a:gd name="connsiteY98" fmla="*/ 1372506 h 1857492"/>
                    <a:gd name="connsiteX99" fmla="*/ 210320 w 1037106"/>
                    <a:gd name="connsiteY99" fmla="*/ 1395240 h 1857492"/>
                    <a:gd name="connsiteX100" fmla="*/ 215372 w 1037106"/>
                    <a:gd name="connsiteY100" fmla="*/ 1402818 h 1857492"/>
                    <a:gd name="connsiteX101" fmla="*/ 217898 w 1037106"/>
                    <a:gd name="connsiteY101" fmla="*/ 1412922 h 1857492"/>
                    <a:gd name="connsiteX102" fmla="*/ 228002 w 1037106"/>
                    <a:gd name="connsiteY102" fmla="*/ 1433129 h 1857492"/>
                    <a:gd name="connsiteX103" fmla="*/ 230527 w 1037106"/>
                    <a:gd name="connsiteY103" fmla="*/ 1440707 h 1857492"/>
                    <a:gd name="connsiteX104" fmla="*/ 240631 w 1037106"/>
                    <a:gd name="connsiteY104" fmla="*/ 1458389 h 1857492"/>
                    <a:gd name="connsiteX105" fmla="*/ 245683 w 1037106"/>
                    <a:gd name="connsiteY105" fmla="*/ 1471019 h 1857492"/>
                    <a:gd name="connsiteX106" fmla="*/ 245683 w 1037106"/>
                    <a:gd name="connsiteY106" fmla="*/ 1508909 h 1857492"/>
                    <a:gd name="connsiteX107" fmla="*/ 255787 w 1037106"/>
                    <a:gd name="connsiteY107" fmla="*/ 1511434 h 1857492"/>
                    <a:gd name="connsiteX108" fmla="*/ 263365 w 1037106"/>
                    <a:gd name="connsiteY108" fmla="*/ 1521538 h 1857492"/>
                    <a:gd name="connsiteX109" fmla="*/ 268417 w 1037106"/>
                    <a:gd name="connsiteY109" fmla="*/ 1529116 h 1857492"/>
                    <a:gd name="connsiteX110" fmla="*/ 278521 w 1037106"/>
                    <a:gd name="connsiteY110" fmla="*/ 1556902 h 1857492"/>
                    <a:gd name="connsiteX111" fmla="*/ 283573 w 1037106"/>
                    <a:gd name="connsiteY111" fmla="*/ 1584688 h 1857492"/>
                    <a:gd name="connsiteX112" fmla="*/ 281047 w 1037106"/>
                    <a:gd name="connsiteY112" fmla="*/ 1592265 h 1857492"/>
                    <a:gd name="connsiteX113" fmla="*/ 281047 w 1037106"/>
                    <a:gd name="connsiteY113" fmla="*/ 1673096 h 1857492"/>
                    <a:gd name="connsiteX114" fmla="*/ 283573 w 1037106"/>
                    <a:gd name="connsiteY114" fmla="*/ 1698356 h 1857492"/>
                    <a:gd name="connsiteX115" fmla="*/ 296203 w 1037106"/>
                    <a:gd name="connsiteY115" fmla="*/ 1700882 h 1857492"/>
                    <a:gd name="connsiteX116" fmla="*/ 288625 w 1037106"/>
                    <a:gd name="connsiteY116" fmla="*/ 1708460 h 1857492"/>
                    <a:gd name="connsiteX117" fmla="*/ 293677 w 1037106"/>
                    <a:gd name="connsiteY117" fmla="*/ 1716038 h 1857492"/>
                    <a:gd name="connsiteX118" fmla="*/ 296203 w 1037106"/>
                    <a:gd name="connsiteY118" fmla="*/ 1723616 h 1857492"/>
                    <a:gd name="connsiteX119" fmla="*/ 293677 w 1037106"/>
                    <a:gd name="connsiteY119" fmla="*/ 1758979 h 1857492"/>
                    <a:gd name="connsiteX120" fmla="*/ 321462 w 1037106"/>
                    <a:gd name="connsiteY120" fmla="*/ 1753927 h 1857492"/>
                    <a:gd name="connsiteX121" fmla="*/ 329040 w 1037106"/>
                    <a:gd name="connsiteY121" fmla="*/ 1756453 h 1857492"/>
                    <a:gd name="connsiteX122" fmla="*/ 334092 w 1037106"/>
                    <a:gd name="connsiteY122" fmla="*/ 1774135 h 1857492"/>
                    <a:gd name="connsiteX123" fmla="*/ 354300 w 1037106"/>
                    <a:gd name="connsiteY123" fmla="*/ 1779187 h 1857492"/>
                    <a:gd name="connsiteX124" fmla="*/ 356826 w 1037106"/>
                    <a:gd name="connsiteY124" fmla="*/ 1789291 h 1857492"/>
                    <a:gd name="connsiteX125" fmla="*/ 379560 w 1037106"/>
                    <a:gd name="connsiteY125" fmla="*/ 1784239 h 1857492"/>
                    <a:gd name="connsiteX126" fmla="*/ 392189 w 1037106"/>
                    <a:gd name="connsiteY126" fmla="*/ 1774135 h 1857492"/>
                    <a:gd name="connsiteX127" fmla="*/ 389663 w 1037106"/>
                    <a:gd name="connsiteY127" fmla="*/ 1781713 h 1857492"/>
                    <a:gd name="connsiteX128" fmla="*/ 384611 w 1037106"/>
                    <a:gd name="connsiteY128" fmla="*/ 1794343 h 1857492"/>
                    <a:gd name="connsiteX129" fmla="*/ 392189 w 1037106"/>
                    <a:gd name="connsiteY129" fmla="*/ 1796869 h 1857492"/>
                    <a:gd name="connsiteX130" fmla="*/ 402293 w 1037106"/>
                    <a:gd name="connsiteY130" fmla="*/ 1794343 h 1857492"/>
                    <a:gd name="connsiteX131" fmla="*/ 417449 w 1037106"/>
                    <a:gd name="connsiteY131" fmla="*/ 1791817 h 1857492"/>
                    <a:gd name="connsiteX132" fmla="*/ 427553 w 1037106"/>
                    <a:gd name="connsiteY132" fmla="*/ 1804447 h 1857492"/>
                    <a:gd name="connsiteX133" fmla="*/ 442709 w 1037106"/>
                    <a:gd name="connsiteY133" fmla="*/ 1794343 h 1857492"/>
                    <a:gd name="connsiteX134" fmla="*/ 437657 w 1037106"/>
                    <a:gd name="connsiteY134" fmla="*/ 1806973 h 1857492"/>
                    <a:gd name="connsiteX135" fmla="*/ 427553 w 1037106"/>
                    <a:gd name="connsiteY135" fmla="*/ 1817076 h 1857492"/>
                    <a:gd name="connsiteX136" fmla="*/ 432605 w 1037106"/>
                    <a:gd name="connsiteY136" fmla="*/ 1819602 h 1857492"/>
                    <a:gd name="connsiteX137" fmla="*/ 450287 w 1037106"/>
                    <a:gd name="connsiteY137" fmla="*/ 1817076 h 1857492"/>
                    <a:gd name="connsiteX138" fmla="*/ 455339 w 1037106"/>
                    <a:gd name="connsiteY138" fmla="*/ 1824654 h 1857492"/>
                    <a:gd name="connsiteX139" fmla="*/ 478072 w 1037106"/>
                    <a:gd name="connsiteY139" fmla="*/ 1847388 h 1857492"/>
                    <a:gd name="connsiteX140" fmla="*/ 470494 w 1037106"/>
                    <a:gd name="connsiteY140" fmla="*/ 1849914 h 1857492"/>
                    <a:gd name="connsiteX141" fmla="*/ 460390 w 1037106"/>
                    <a:gd name="connsiteY141" fmla="*/ 1852440 h 1857492"/>
                    <a:gd name="connsiteX142" fmla="*/ 475546 w 1037106"/>
                    <a:gd name="connsiteY142" fmla="*/ 1857492 h 1857492"/>
                    <a:gd name="connsiteX143" fmla="*/ 485650 w 1037106"/>
                    <a:gd name="connsiteY143" fmla="*/ 1849914 h 1857492"/>
                    <a:gd name="connsiteX144" fmla="*/ 488176 w 1037106"/>
                    <a:gd name="connsiteY144" fmla="*/ 1837284 h 1857492"/>
                    <a:gd name="connsiteX145" fmla="*/ 490702 w 1037106"/>
                    <a:gd name="connsiteY145" fmla="*/ 1829706 h 1857492"/>
                    <a:gd name="connsiteX146" fmla="*/ 510910 w 1037106"/>
                    <a:gd name="connsiteY146" fmla="*/ 1822128 h 1857492"/>
                    <a:gd name="connsiteX147" fmla="*/ 521014 w 1037106"/>
                    <a:gd name="connsiteY147" fmla="*/ 1812025 h 1857492"/>
                    <a:gd name="connsiteX148" fmla="*/ 538695 w 1037106"/>
                    <a:gd name="connsiteY148" fmla="*/ 1806973 h 1857492"/>
                    <a:gd name="connsiteX149" fmla="*/ 546273 w 1037106"/>
                    <a:gd name="connsiteY149" fmla="*/ 1804447 h 1857492"/>
                    <a:gd name="connsiteX150" fmla="*/ 569007 w 1037106"/>
                    <a:gd name="connsiteY150" fmla="*/ 1791817 h 1857492"/>
                    <a:gd name="connsiteX151" fmla="*/ 576585 w 1037106"/>
                    <a:gd name="connsiteY151" fmla="*/ 1796869 h 1857492"/>
                    <a:gd name="connsiteX152" fmla="*/ 591741 w 1037106"/>
                    <a:gd name="connsiteY152" fmla="*/ 1786765 h 1857492"/>
                    <a:gd name="connsiteX153" fmla="*/ 596793 w 1037106"/>
                    <a:gd name="connsiteY153" fmla="*/ 1779187 h 1857492"/>
                    <a:gd name="connsiteX154" fmla="*/ 604371 w 1037106"/>
                    <a:gd name="connsiteY154" fmla="*/ 1776661 h 1857492"/>
                    <a:gd name="connsiteX155" fmla="*/ 606897 w 1037106"/>
                    <a:gd name="connsiteY155" fmla="*/ 1766557 h 1857492"/>
                    <a:gd name="connsiteX156" fmla="*/ 614474 w 1037106"/>
                    <a:gd name="connsiteY156" fmla="*/ 1764031 h 1857492"/>
                    <a:gd name="connsiteX157" fmla="*/ 627104 w 1037106"/>
                    <a:gd name="connsiteY157" fmla="*/ 1758979 h 1857492"/>
                    <a:gd name="connsiteX158" fmla="*/ 654890 w 1037106"/>
                    <a:gd name="connsiteY158" fmla="*/ 1738771 h 1857492"/>
                    <a:gd name="connsiteX159" fmla="*/ 687727 w 1037106"/>
                    <a:gd name="connsiteY159" fmla="*/ 1733720 h 1857492"/>
                    <a:gd name="connsiteX160" fmla="*/ 705409 w 1037106"/>
                    <a:gd name="connsiteY160" fmla="*/ 1726142 h 1857492"/>
                    <a:gd name="connsiteX161" fmla="*/ 707935 w 1037106"/>
                    <a:gd name="connsiteY161" fmla="*/ 1716038 h 1857492"/>
                    <a:gd name="connsiteX162" fmla="*/ 715513 w 1037106"/>
                    <a:gd name="connsiteY162" fmla="*/ 1705934 h 1857492"/>
                    <a:gd name="connsiteX163" fmla="*/ 725617 w 1037106"/>
                    <a:gd name="connsiteY163" fmla="*/ 1693304 h 1857492"/>
                    <a:gd name="connsiteX164" fmla="*/ 740773 w 1037106"/>
                    <a:gd name="connsiteY164" fmla="*/ 1675622 h 1857492"/>
                    <a:gd name="connsiteX165" fmla="*/ 753403 w 1037106"/>
                    <a:gd name="connsiteY165" fmla="*/ 1673096 h 1857492"/>
                    <a:gd name="connsiteX166" fmla="*/ 760981 w 1037106"/>
                    <a:gd name="connsiteY166" fmla="*/ 1662992 h 1857492"/>
                    <a:gd name="connsiteX167" fmla="*/ 750877 w 1037106"/>
                    <a:gd name="connsiteY167" fmla="*/ 1647837 h 1857492"/>
                    <a:gd name="connsiteX168" fmla="*/ 750877 w 1037106"/>
                    <a:gd name="connsiteY168" fmla="*/ 1670570 h 1857492"/>
                    <a:gd name="connsiteX169" fmla="*/ 773610 w 1037106"/>
                    <a:gd name="connsiteY169" fmla="*/ 1678148 h 1857492"/>
                    <a:gd name="connsiteX170" fmla="*/ 783714 w 1037106"/>
                    <a:gd name="connsiteY170" fmla="*/ 1670570 h 1857492"/>
                    <a:gd name="connsiteX171" fmla="*/ 791292 w 1037106"/>
                    <a:gd name="connsiteY171" fmla="*/ 1655415 h 1857492"/>
                    <a:gd name="connsiteX172" fmla="*/ 798870 w 1037106"/>
                    <a:gd name="connsiteY172" fmla="*/ 1650363 h 1857492"/>
                    <a:gd name="connsiteX173" fmla="*/ 811500 w 1037106"/>
                    <a:gd name="connsiteY173" fmla="*/ 1652889 h 1857492"/>
                    <a:gd name="connsiteX174" fmla="*/ 821604 w 1037106"/>
                    <a:gd name="connsiteY174" fmla="*/ 1660467 h 1857492"/>
                    <a:gd name="connsiteX175" fmla="*/ 829182 w 1037106"/>
                    <a:gd name="connsiteY175" fmla="*/ 1662992 h 1857492"/>
                    <a:gd name="connsiteX176" fmla="*/ 849389 w 1037106"/>
                    <a:gd name="connsiteY176" fmla="*/ 1627629 h 1857492"/>
                    <a:gd name="connsiteX177" fmla="*/ 864545 w 1037106"/>
                    <a:gd name="connsiteY177" fmla="*/ 1604895 h 1857492"/>
                    <a:gd name="connsiteX178" fmla="*/ 874649 w 1037106"/>
                    <a:gd name="connsiteY178" fmla="*/ 1579636 h 1857492"/>
                    <a:gd name="connsiteX179" fmla="*/ 882227 w 1037106"/>
                    <a:gd name="connsiteY179" fmla="*/ 1572058 h 1857492"/>
                    <a:gd name="connsiteX180" fmla="*/ 887279 w 1037106"/>
                    <a:gd name="connsiteY180" fmla="*/ 1561954 h 1857492"/>
                    <a:gd name="connsiteX181" fmla="*/ 892331 w 1037106"/>
                    <a:gd name="connsiteY181" fmla="*/ 1554376 h 1857492"/>
                    <a:gd name="connsiteX182" fmla="*/ 894857 w 1037106"/>
                    <a:gd name="connsiteY182" fmla="*/ 1546798 h 1857492"/>
                    <a:gd name="connsiteX183" fmla="*/ 899909 w 1037106"/>
                    <a:gd name="connsiteY183" fmla="*/ 1539220 h 1857492"/>
                    <a:gd name="connsiteX184" fmla="*/ 902435 w 1037106"/>
                    <a:gd name="connsiteY184" fmla="*/ 1531642 h 1857492"/>
                    <a:gd name="connsiteX185" fmla="*/ 907487 w 1037106"/>
                    <a:gd name="connsiteY185" fmla="*/ 1524064 h 1857492"/>
                    <a:gd name="connsiteX186" fmla="*/ 925168 w 1037106"/>
                    <a:gd name="connsiteY186" fmla="*/ 1493753 h 1857492"/>
                    <a:gd name="connsiteX187" fmla="*/ 927694 w 1037106"/>
                    <a:gd name="connsiteY187" fmla="*/ 1486175 h 1857492"/>
                    <a:gd name="connsiteX188" fmla="*/ 930220 w 1037106"/>
                    <a:gd name="connsiteY188" fmla="*/ 1476071 h 1857492"/>
                    <a:gd name="connsiteX189" fmla="*/ 945376 w 1037106"/>
                    <a:gd name="connsiteY189" fmla="*/ 1455863 h 1857492"/>
                    <a:gd name="connsiteX190" fmla="*/ 947902 w 1037106"/>
                    <a:gd name="connsiteY190" fmla="*/ 1448285 h 1857492"/>
                    <a:gd name="connsiteX191" fmla="*/ 950428 w 1037106"/>
                    <a:gd name="connsiteY191" fmla="*/ 1435655 h 1857492"/>
                    <a:gd name="connsiteX192" fmla="*/ 958006 w 1037106"/>
                    <a:gd name="connsiteY192" fmla="*/ 1425552 h 1857492"/>
                    <a:gd name="connsiteX193" fmla="*/ 968110 w 1037106"/>
                    <a:gd name="connsiteY193" fmla="*/ 1405344 h 1857492"/>
                    <a:gd name="connsiteX194" fmla="*/ 973162 w 1037106"/>
                    <a:gd name="connsiteY194" fmla="*/ 1392714 h 1857492"/>
                    <a:gd name="connsiteX195" fmla="*/ 978214 w 1037106"/>
                    <a:gd name="connsiteY195" fmla="*/ 1385136 h 1857492"/>
                    <a:gd name="connsiteX196" fmla="*/ 988318 w 1037106"/>
                    <a:gd name="connsiteY196" fmla="*/ 1359876 h 1857492"/>
                    <a:gd name="connsiteX197" fmla="*/ 995895 w 1037106"/>
                    <a:gd name="connsiteY197" fmla="*/ 1339669 h 1857492"/>
                    <a:gd name="connsiteX198" fmla="*/ 1000947 w 1037106"/>
                    <a:gd name="connsiteY198" fmla="*/ 1329565 h 1857492"/>
                    <a:gd name="connsiteX199" fmla="*/ 1003473 w 1037106"/>
                    <a:gd name="connsiteY199" fmla="*/ 1301779 h 1857492"/>
                    <a:gd name="connsiteX200" fmla="*/ 1005999 w 1037106"/>
                    <a:gd name="connsiteY200" fmla="*/ 1294201 h 1857492"/>
                    <a:gd name="connsiteX201" fmla="*/ 1008525 w 1037106"/>
                    <a:gd name="connsiteY201" fmla="*/ 1279046 h 1857492"/>
                    <a:gd name="connsiteX202" fmla="*/ 1013577 w 1037106"/>
                    <a:gd name="connsiteY202" fmla="*/ 1271468 h 1857492"/>
                    <a:gd name="connsiteX203" fmla="*/ 1018629 w 1037106"/>
                    <a:gd name="connsiteY203" fmla="*/ 1261364 h 1857492"/>
                    <a:gd name="connsiteX204" fmla="*/ 1026207 w 1037106"/>
                    <a:gd name="connsiteY204" fmla="*/ 1248734 h 1857492"/>
                    <a:gd name="connsiteX205" fmla="*/ 1028733 w 1037106"/>
                    <a:gd name="connsiteY205" fmla="*/ 1231052 h 1857492"/>
                    <a:gd name="connsiteX206" fmla="*/ 1033785 w 1037106"/>
                    <a:gd name="connsiteY206" fmla="*/ 1215896 h 1857492"/>
                    <a:gd name="connsiteX207" fmla="*/ 1036311 w 1037106"/>
                    <a:gd name="connsiteY207" fmla="*/ 1172955 h 1857492"/>
                    <a:gd name="connsiteX208" fmla="*/ 1026207 w 1037106"/>
                    <a:gd name="connsiteY208" fmla="*/ 1132539 h 1857492"/>
                    <a:gd name="connsiteX209" fmla="*/ 1016103 w 1037106"/>
                    <a:gd name="connsiteY209" fmla="*/ 1130013 h 1857492"/>
                    <a:gd name="connsiteX210" fmla="*/ 998421 w 1037106"/>
                    <a:gd name="connsiteY210" fmla="*/ 1114858 h 1857492"/>
                    <a:gd name="connsiteX211" fmla="*/ 990844 w 1037106"/>
                    <a:gd name="connsiteY211" fmla="*/ 1107280 h 1857492"/>
                    <a:gd name="connsiteX212" fmla="*/ 970636 w 1037106"/>
                    <a:gd name="connsiteY212" fmla="*/ 1092124 h 1857492"/>
                    <a:gd name="connsiteX213" fmla="*/ 960532 w 1037106"/>
                    <a:gd name="connsiteY213" fmla="*/ 1084546 h 1857492"/>
                    <a:gd name="connsiteX214" fmla="*/ 945376 w 1037106"/>
                    <a:gd name="connsiteY214" fmla="*/ 1079494 h 1857492"/>
                    <a:gd name="connsiteX215" fmla="*/ 922642 w 1037106"/>
                    <a:gd name="connsiteY215" fmla="*/ 1074442 h 1857492"/>
                    <a:gd name="connsiteX216" fmla="*/ 910013 w 1037106"/>
                    <a:gd name="connsiteY216" fmla="*/ 1069390 h 1857492"/>
                    <a:gd name="connsiteX217" fmla="*/ 889805 w 1037106"/>
                    <a:gd name="connsiteY217" fmla="*/ 1056760 h 1857492"/>
                    <a:gd name="connsiteX218" fmla="*/ 877175 w 1037106"/>
                    <a:gd name="connsiteY218" fmla="*/ 1041605 h 1857492"/>
                    <a:gd name="connsiteX219" fmla="*/ 879701 w 1037106"/>
                    <a:gd name="connsiteY219" fmla="*/ 1028975 h 1857492"/>
                    <a:gd name="connsiteX220" fmla="*/ 884753 w 1037106"/>
                    <a:gd name="connsiteY220" fmla="*/ 1011293 h 1857492"/>
                    <a:gd name="connsiteX221" fmla="*/ 889805 w 1037106"/>
                    <a:gd name="connsiteY221" fmla="*/ 1003715 h 1857492"/>
                    <a:gd name="connsiteX222" fmla="*/ 849389 w 1037106"/>
                    <a:gd name="connsiteY222" fmla="*/ 935514 h 1857492"/>
                    <a:gd name="connsiteX223" fmla="*/ 836760 w 1037106"/>
                    <a:gd name="connsiteY223" fmla="*/ 932988 h 1857492"/>
                    <a:gd name="connsiteX224" fmla="*/ 826656 w 1037106"/>
                    <a:gd name="connsiteY224" fmla="*/ 872365 h 1857492"/>
                    <a:gd name="connsiteX225" fmla="*/ 814026 w 1037106"/>
                    <a:gd name="connsiteY225" fmla="*/ 869839 h 1857492"/>
                    <a:gd name="connsiteX226" fmla="*/ 798870 w 1037106"/>
                    <a:gd name="connsiteY226" fmla="*/ 857209 h 1857492"/>
                    <a:gd name="connsiteX227" fmla="*/ 778662 w 1037106"/>
                    <a:gd name="connsiteY227" fmla="*/ 854683 h 1857492"/>
                    <a:gd name="connsiteX228" fmla="*/ 776136 w 1037106"/>
                    <a:gd name="connsiteY228" fmla="*/ 844579 h 1857492"/>
                    <a:gd name="connsiteX229" fmla="*/ 773610 w 1037106"/>
                    <a:gd name="connsiteY229" fmla="*/ 837001 h 1857492"/>
                    <a:gd name="connsiteX230" fmla="*/ 788766 w 1037106"/>
                    <a:gd name="connsiteY230" fmla="*/ 806690 h 1857492"/>
                    <a:gd name="connsiteX231" fmla="*/ 781188 w 1037106"/>
                    <a:gd name="connsiteY231" fmla="*/ 794060 h 1857492"/>
                    <a:gd name="connsiteX232" fmla="*/ 760981 w 1037106"/>
                    <a:gd name="connsiteY232" fmla="*/ 778904 h 1857492"/>
                    <a:gd name="connsiteX233" fmla="*/ 766032 w 1037106"/>
                    <a:gd name="connsiteY233" fmla="*/ 708177 h 1857492"/>
                    <a:gd name="connsiteX234" fmla="*/ 778662 w 1037106"/>
                    <a:gd name="connsiteY234" fmla="*/ 703125 h 1857492"/>
                    <a:gd name="connsiteX235" fmla="*/ 781188 w 1037106"/>
                    <a:gd name="connsiteY235" fmla="*/ 693021 h 1857492"/>
                    <a:gd name="connsiteX236" fmla="*/ 773610 w 1037106"/>
                    <a:gd name="connsiteY236" fmla="*/ 690495 h 1857492"/>
                    <a:gd name="connsiteX237" fmla="*/ 760981 w 1037106"/>
                    <a:gd name="connsiteY237" fmla="*/ 687969 h 1857492"/>
                    <a:gd name="connsiteX238" fmla="*/ 753403 w 1037106"/>
                    <a:gd name="connsiteY238" fmla="*/ 680391 h 1857492"/>
                    <a:gd name="connsiteX239" fmla="*/ 740773 w 1037106"/>
                    <a:gd name="connsiteY239" fmla="*/ 655132 h 1857492"/>
                    <a:gd name="connsiteX240" fmla="*/ 730669 w 1037106"/>
                    <a:gd name="connsiteY240" fmla="*/ 645028 h 1857492"/>
                    <a:gd name="connsiteX241" fmla="*/ 723091 w 1037106"/>
                    <a:gd name="connsiteY241" fmla="*/ 632398 h 1857492"/>
                    <a:gd name="connsiteX242" fmla="*/ 710461 w 1037106"/>
                    <a:gd name="connsiteY242" fmla="*/ 614716 h 1857492"/>
                    <a:gd name="connsiteX243" fmla="*/ 695305 w 1037106"/>
                    <a:gd name="connsiteY243" fmla="*/ 597034 h 1857492"/>
                    <a:gd name="connsiteX244" fmla="*/ 685202 w 1037106"/>
                    <a:gd name="connsiteY244" fmla="*/ 584405 h 1857492"/>
                    <a:gd name="connsiteX245" fmla="*/ 677624 w 1037106"/>
                    <a:gd name="connsiteY245" fmla="*/ 576827 h 1857492"/>
                    <a:gd name="connsiteX246" fmla="*/ 664994 w 1037106"/>
                    <a:gd name="connsiteY246" fmla="*/ 554093 h 1857492"/>
                    <a:gd name="connsiteX247" fmla="*/ 644786 w 1037106"/>
                    <a:gd name="connsiteY247" fmla="*/ 528833 h 1857492"/>
                    <a:gd name="connsiteX248" fmla="*/ 632156 w 1037106"/>
                    <a:gd name="connsiteY248" fmla="*/ 513678 h 1857492"/>
                    <a:gd name="connsiteX249" fmla="*/ 629630 w 1037106"/>
                    <a:gd name="connsiteY249" fmla="*/ 501048 h 1857492"/>
                    <a:gd name="connsiteX250" fmla="*/ 634682 w 1037106"/>
                    <a:gd name="connsiteY250" fmla="*/ 463158 h 1857492"/>
                    <a:gd name="connsiteX251" fmla="*/ 637208 w 1037106"/>
                    <a:gd name="connsiteY251" fmla="*/ 448002 h 1857492"/>
                    <a:gd name="connsiteX252" fmla="*/ 644786 w 1037106"/>
                    <a:gd name="connsiteY252" fmla="*/ 435373 h 1857492"/>
                    <a:gd name="connsiteX253" fmla="*/ 647312 w 1037106"/>
                    <a:gd name="connsiteY253" fmla="*/ 425269 h 1857492"/>
                    <a:gd name="connsiteX254" fmla="*/ 652364 w 1037106"/>
                    <a:gd name="connsiteY254" fmla="*/ 382327 h 1857492"/>
                    <a:gd name="connsiteX255" fmla="*/ 649838 w 1037106"/>
                    <a:gd name="connsiteY255" fmla="*/ 364646 h 1857492"/>
                    <a:gd name="connsiteX256" fmla="*/ 632156 w 1037106"/>
                    <a:gd name="connsiteY256" fmla="*/ 354542 h 1857492"/>
                    <a:gd name="connsiteX257" fmla="*/ 624578 w 1037106"/>
                    <a:gd name="connsiteY257" fmla="*/ 344438 h 1857492"/>
                    <a:gd name="connsiteX258" fmla="*/ 619526 w 1037106"/>
                    <a:gd name="connsiteY258" fmla="*/ 336860 h 1857492"/>
                    <a:gd name="connsiteX259" fmla="*/ 611948 w 1037106"/>
                    <a:gd name="connsiteY259" fmla="*/ 334334 h 1857492"/>
                    <a:gd name="connsiteX260" fmla="*/ 604371 w 1037106"/>
                    <a:gd name="connsiteY260" fmla="*/ 329282 h 1857492"/>
                    <a:gd name="connsiteX261" fmla="*/ 594267 w 1037106"/>
                    <a:gd name="connsiteY261" fmla="*/ 311600 h 1857492"/>
                    <a:gd name="connsiteX262" fmla="*/ 586689 w 1037106"/>
                    <a:gd name="connsiteY262" fmla="*/ 306548 h 1857492"/>
                    <a:gd name="connsiteX263" fmla="*/ 531118 w 1037106"/>
                    <a:gd name="connsiteY263" fmla="*/ 306548 h 1857492"/>
                    <a:gd name="connsiteX264" fmla="*/ 528592 w 1037106"/>
                    <a:gd name="connsiteY264" fmla="*/ 296444 h 1857492"/>
                    <a:gd name="connsiteX265" fmla="*/ 521014 w 1037106"/>
                    <a:gd name="connsiteY265" fmla="*/ 271185 h 1857492"/>
                    <a:gd name="connsiteX266" fmla="*/ 518488 w 1037106"/>
                    <a:gd name="connsiteY266" fmla="*/ 250977 h 1857492"/>
                    <a:gd name="connsiteX267" fmla="*/ 515962 w 1037106"/>
                    <a:gd name="connsiteY267" fmla="*/ 240873 h 1857492"/>
                    <a:gd name="connsiteX268" fmla="*/ 513436 w 1037106"/>
                    <a:gd name="connsiteY268" fmla="*/ 192880 h 1857492"/>
                    <a:gd name="connsiteX269" fmla="*/ 505858 w 1037106"/>
                    <a:gd name="connsiteY269" fmla="*/ 190354 h 1857492"/>
                    <a:gd name="connsiteX270" fmla="*/ 498280 w 1037106"/>
                    <a:gd name="connsiteY270" fmla="*/ 182776 h 1857492"/>
                    <a:gd name="connsiteX271" fmla="*/ 508384 w 1037106"/>
                    <a:gd name="connsiteY271" fmla="*/ 144886 h 1857492"/>
                    <a:gd name="connsiteX272" fmla="*/ 503332 w 1037106"/>
                    <a:gd name="connsiteY272" fmla="*/ 124679 h 1857492"/>
                    <a:gd name="connsiteX273" fmla="*/ 500806 w 1037106"/>
                    <a:gd name="connsiteY273" fmla="*/ 56478 h 1857492"/>
                    <a:gd name="connsiteX274" fmla="*/ 493228 w 1037106"/>
                    <a:gd name="connsiteY274" fmla="*/ 53952 h 1857492"/>
                    <a:gd name="connsiteX275" fmla="*/ 483124 w 1037106"/>
                    <a:gd name="connsiteY275" fmla="*/ 48900 h 1857492"/>
                    <a:gd name="connsiteX276" fmla="*/ 450287 w 1037106"/>
                    <a:gd name="connsiteY276" fmla="*/ 43848 h 1857492"/>
                    <a:gd name="connsiteX277" fmla="*/ 430079 w 1037106"/>
                    <a:gd name="connsiteY277" fmla="*/ 31218 h 1857492"/>
                    <a:gd name="connsiteX278" fmla="*/ 409871 w 1037106"/>
                    <a:gd name="connsiteY278" fmla="*/ 13536 h 1857492"/>
                    <a:gd name="connsiteX279" fmla="*/ 392189 w 1037106"/>
                    <a:gd name="connsiteY279" fmla="*/ 16062 h 1857492"/>
                    <a:gd name="connsiteX280" fmla="*/ 384611 w 1037106"/>
                    <a:gd name="connsiteY280" fmla="*/ 18588 h 1857492"/>
                    <a:gd name="connsiteX281" fmla="*/ 349248 w 1037106"/>
                    <a:gd name="connsiteY281" fmla="*/ 11010 h 1857492"/>
                    <a:gd name="connsiteX282" fmla="*/ 351774 w 1037106"/>
                    <a:gd name="connsiteY282" fmla="*/ 906 h 1857492"/>
                    <a:gd name="connsiteX283" fmla="*/ 361878 w 1037106"/>
                    <a:gd name="connsiteY283" fmla="*/ 3432 h 1857492"/>
                    <a:gd name="connsiteX284" fmla="*/ 349248 w 1037106"/>
                    <a:gd name="connsiteY284" fmla="*/ 38796 h 1857492"/>
                    <a:gd name="connsiteX285" fmla="*/ 346722 w 1037106"/>
                    <a:gd name="connsiteY285" fmla="*/ 48900 h 1857492"/>
                    <a:gd name="connsiteX286" fmla="*/ 339144 w 1037106"/>
                    <a:gd name="connsiteY286" fmla="*/ 51426 h 1857492"/>
                    <a:gd name="connsiteX287" fmla="*/ 323988 w 1037106"/>
                    <a:gd name="connsiteY287" fmla="*/ 48900 h 1857492"/>
                    <a:gd name="connsiteX288" fmla="*/ 306306 w 1037106"/>
                    <a:gd name="connsiteY288" fmla="*/ 46374 h 1857492"/>
                    <a:gd name="connsiteX289" fmla="*/ 296203 w 1037106"/>
                    <a:gd name="connsiteY289" fmla="*/ 43848 h 1857492"/>
                    <a:gd name="connsiteX290" fmla="*/ 288625 w 1037106"/>
                    <a:gd name="connsiteY290" fmla="*/ 46374 h 1857492"/>
                    <a:gd name="connsiteX291" fmla="*/ 291151 w 1037106"/>
                    <a:gd name="connsiteY291" fmla="*/ 64055 h 1857492"/>
                    <a:gd name="connsiteX292" fmla="*/ 296203 w 1037106"/>
                    <a:gd name="connsiteY292" fmla="*/ 86789 h 1857492"/>
                    <a:gd name="connsiteX293" fmla="*/ 293677 w 1037106"/>
                    <a:gd name="connsiteY293" fmla="*/ 124679 h 1857492"/>
                    <a:gd name="connsiteX294" fmla="*/ 291151 w 1037106"/>
                    <a:gd name="connsiteY294" fmla="*/ 132257 h 1857492"/>
                    <a:gd name="connsiteX295" fmla="*/ 288625 w 1037106"/>
                    <a:gd name="connsiteY295" fmla="*/ 147412 h 1857492"/>
                    <a:gd name="connsiteX296" fmla="*/ 301255 w 1037106"/>
                    <a:gd name="connsiteY296" fmla="*/ 200458 h 1857492"/>
                    <a:gd name="connsiteX297" fmla="*/ 308832 w 1037106"/>
                    <a:gd name="connsiteY297" fmla="*/ 202984 h 1857492"/>
                    <a:gd name="connsiteX298" fmla="*/ 296203 w 1037106"/>
                    <a:gd name="connsiteY298" fmla="*/ 240873 h 1857492"/>
                    <a:gd name="connsiteX299" fmla="*/ 283573 w 1037106"/>
                    <a:gd name="connsiteY299" fmla="*/ 283815 h 1857492"/>
                    <a:gd name="connsiteX300" fmla="*/ 281047 w 1037106"/>
                    <a:gd name="connsiteY300" fmla="*/ 298970 h 1857492"/>
                    <a:gd name="connsiteX301" fmla="*/ 263365 w 1037106"/>
                    <a:gd name="connsiteY301" fmla="*/ 293918 h 1857492"/>
                    <a:gd name="connsiteX302" fmla="*/ 255787 w 1037106"/>
                    <a:gd name="connsiteY302" fmla="*/ 286341 h 1857492"/>
                    <a:gd name="connsiteX303" fmla="*/ 248209 w 1037106"/>
                    <a:gd name="connsiteY303" fmla="*/ 281289 h 1857492"/>
                    <a:gd name="connsiteX304" fmla="*/ 243157 w 1037106"/>
                    <a:gd name="connsiteY304" fmla="*/ 273711 h 1857492"/>
                    <a:gd name="connsiteX305" fmla="*/ 240631 w 1037106"/>
                    <a:gd name="connsiteY305" fmla="*/ 266133 h 1857492"/>
                    <a:gd name="connsiteX306" fmla="*/ 230527 w 1037106"/>
                    <a:gd name="connsiteY306" fmla="*/ 263607 h 1857492"/>
                    <a:gd name="connsiteX307" fmla="*/ 220424 w 1037106"/>
                    <a:gd name="connsiteY307" fmla="*/ 276237 h 1857492"/>
                    <a:gd name="connsiteX308" fmla="*/ 197690 w 1037106"/>
                    <a:gd name="connsiteY308" fmla="*/ 263607 h 1857492"/>
                    <a:gd name="connsiteX309" fmla="*/ 195164 w 1037106"/>
                    <a:gd name="connsiteY309" fmla="*/ 276237 h 1857492"/>
                    <a:gd name="connsiteX310" fmla="*/ 192638 w 1037106"/>
                    <a:gd name="connsiteY310" fmla="*/ 286341 h 1857492"/>
                    <a:gd name="connsiteX311" fmla="*/ 147171 w 1037106"/>
                    <a:gd name="connsiteY311" fmla="*/ 301496 h 1857492"/>
                    <a:gd name="connsiteX312" fmla="*/ 94125 w 1037106"/>
                    <a:gd name="connsiteY312" fmla="*/ 286341 h 1857492"/>
                    <a:gd name="connsiteX313" fmla="*/ 89073 w 1037106"/>
                    <a:gd name="connsiteY313" fmla="*/ 278763 h 1857492"/>
                    <a:gd name="connsiteX314" fmla="*/ 86547 w 1037106"/>
                    <a:gd name="connsiteY314" fmla="*/ 268659 h 1857492"/>
                    <a:gd name="connsiteX315" fmla="*/ 84021 w 1037106"/>
                    <a:gd name="connsiteY315" fmla="*/ 261081 h 1857492"/>
                    <a:gd name="connsiteX316" fmla="*/ 71392 w 1037106"/>
                    <a:gd name="connsiteY316" fmla="*/ 256029 h 1857492"/>
                    <a:gd name="connsiteX317" fmla="*/ 53710 w 1037106"/>
                    <a:gd name="connsiteY317" fmla="*/ 235821 h 1857492"/>
                    <a:gd name="connsiteX318" fmla="*/ 43606 w 1037106"/>
                    <a:gd name="connsiteY318" fmla="*/ 230769 h 1857492"/>
                    <a:gd name="connsiteX319" fmla="*/ 28450 w 1037106"/>
                    <a:gd name="connsiteY319" fmla="*/ 223191 h 1857492"/>
                    <a:gd name="connsiteX320" fmla="*/ 20872 w 1037106"/>
                    <a:gd name="connsiteY320" fmla="*/ 215613 h 1857492"/>
                    <a:gd name="connsiteX321" fmla="*/ 5716 w 1037106"/>
                    <a:gd name="connsiteY321" fmla="*/ 235821 h 1857492"/>
                    <a:gd name="connsiteX322" fmla="*/ 15820 w 1037106"/>
                    <a:gd name="connsiteY322" fmla="*/ 258555 h 1857492"/>
                    <a:gd name="connsiteX0" fmla="*/ 15820 w 1037106"/>
                    <a:gd name="connsiteY0" fmla="*/ 258555 h 1857492"/>
                    <a:gd name="connsiteX1" fmla="*/ 664 w 1037106"/>
                    <a:gd name="connsiteY1" fmla="*/ 263607 h 1857492"/>
                    <a:gd name="connsiteX2" fmla="*/ 3190 w 1037106"/>
                    <a:gd name="connsiteY2" fmla="*/ 271185 h 1857492"/>
                    <a:gd name="connsiteX3" fmla="*/ 28450 w 1037106"/>
                    <a:gd name="connsiteY3" fmla="*/ 286341 h 1857492"/>
                    <a:gd name="connsiteX4" fmla="*/ 36028 w 1037106"/>
                    <a:gd name="connsiteY4" fmla="*/ 296444 h 1857492"/>
                    <a:gd name="connsiteX5" fmla="*/ 43606 w 1037106"/>
                    <a:gd name="connsiteY5" fmla="*/ 304022 h 1857492"/>
                    <a:gd name="connsiteX6" fmla="*/ 58762 w 1037106"/>
                    <a:gd name="connsiteY6" fmla="*/ 324230 h 1857492"/>
                    <a:gd name="connsiteX7" fmla="*/ 63814 w 1037106"/>
                    <a:gd name="connsiteY7" fmla="*/ 331808 h 1857492"/>
                    <a:gd name="connsiteX8" fmla="*/ 71392 w 1037106"/>
                    <a:gd name="connsiteY8" fmla="*/ 339386 h 1857492"/>
                    <a:gd name="connsiteX9" fmla="*/ 73918 w 1037106"/>
                    <a:gd name="connsiteY9" fmla="*/ 346964 h 1857492"/>
                    <a:gd name="connsiteX10" fmla="*/ 132015 w 1037106"/>
                    <a:gd name="connsiteY10" fmla="*/ 359594 h 1857492"/>
                    <a:gd name="connsiteX11" fmla="*/ 149697 w 1037106"/>
                    <a:gd name="connsiteY11" fmla="*/ 367171 h 1857492"/>
                    <a:gd name="connsiteX12" fmla="*/ 159800 w 1037106"/>
                    <a:gd name="connsiteY12" fmla="*/ 377275 h 1857492"/>
                    <a:gd name="connsiteX13" fmla="*/ 164852 w 1037106"/>
                    <a:gd name="connsiteY13" fmla="*/ 392431 h 1857492"/>
                    <a:gd name="connsiteX14" fmla="*/ 182534 w 1037106"/>
                    <a:gd name="connsiteY14" fmla="*/ 400009 h 1857492"/>
                    <a:gd name="connsiteX15" fmla="*/ 190112 w 1037106"/>
                    <a:gd name="connsiteY15" fmla="*/ 405061 h 1857492"/>
                    <a:gd name="connsiteX16" fmla="*/ 202742 w 1037106"/>
                    <a:gd name="connsiteY16" fmla="*/ 420217 h 1857492"/>
                    <a:gd name="connsiteX17" fmla="*/ 212846 w 1037106"/>
                    <a:gd name="connsiteY17" fmla="*/ 422743 h 1857492"/>
                    <a:gd name="connsiteX18" fmla="*/ 220424 w 1037106"/>
                    <a:gd name="connsiteY18" fmla="*/ 425269 h 1857492"/>
                    <a:gd name="connsiteX19" fmla="*/ 212846 w 1037106"/>
                    <a:gd name="connsiteY19" fmla="*/ 427795 h 1857492"/>
                    <a:gd name="connsiteX20" fmla="*/ 212846 w 1037106"/>
                    <a:gd name="connsiteY20" fmla="*/ 448002 h 1857492"/>
                    <a:gd name="connsiteX21" fmla="*/ 215372 w 1037106"/>
                    <a:gd name="connsiteY21" fmla="*/ 455580 h 1857492"/>
                    <a:gd name="connsiteX22" fmla="*/ 222950 w 1037106"/>
                    <a:gd name="connsiteY22" fmla="*/ 463158 h 1857492"/>
                    <a:gd name="connsiteX23" fmla="*/ 225476 w 1037106"/>
                    <a:gd name="connsiteY23" fmla="*/ 493470 h 1857492"/>
                    <a:gd name="connsiteX24" fmla="*/ 228002 w 1037106"/>
                    <a:gd name="connsiteY24" fmla="*/ 511152 h 1857492"/>
                    <a:gd name="connsiteX25" fmla="*/ 240631 w 1037106"/>
                    <a:gd name="connsiteY25" fmla="*/ 521255 h 1857492"/>
                    <a:gd name="connsiteX26" fmla="*/ 248209 w 1037106"/>
                    <a:gd name="connsiteY26" fmla="*/ 518729 h 1857492"/>
                    <a:gd name="connsiteX27" fmla="*/ 248209 w 1037106"/>
                    <a:gd name="connsiteY27" fmla="*/ 538937 h 1857492"/>
                    <a:gd name="connsiteX28" fmla="*/ 240631 w 1037106"/>
                    <a:gd name="connsiteY28" fmla="*/ 541463 h 1857492"/>
                    <a:gd name="connsiteX29" fmla="*/ 235579 w 1037106"/>
                    <a:gd name="connsiteY29" fmla="*/ 549041 h 1857492"/>
                    <a:gd name="connsiteX30" fmla="*/ 245683 w 1037106"/>
                    <a:gd name="connsiteY30" fmla="*/ 556619 h 1857492"/>
                    <a:gd name="connsiteX31" fmla="*/ 248209 w 1037106"/>
                    <a:gd name="connsiteY31" fmla="*/ 574301 h 1857492"/>
                    <a:gd name="connsiteX32" fmla="*/ 263365 w 1037106"/>
                    <a:gd name="connsiteY32" fmla="*/ 597034 h 1857492"/>
                    <a:gd name="connsiteX33" fmla="*/ 270943 w 1037106"/>
                    <a:gd name="connsiteY33" fmla="*/ 614716 h 1857492"/>
                    <a:gd name="connsiteX34" fmla="*/ 273469 w 1037106"/>
                    <a:gd name="connsiteY34" fmla="*/ 632398 h 1857492"/>
                    <a:gd name="connsiteX35" fmla="*/ 281047 w 1037106"/>
                    <a:gd name="connsiteY35" fmla="*/ 639976 h 1857492"/>
                    <a:gd name="connsiteX36" fmla="*/ 286099 w 1037106"/>
                    <a:gd name="connsiteY36" fmla="*/ 700599 h 1857492"/>
                    <a:gd name="connsiteX37" fmla="*/ 291151 w 1037106"/>
                    <a:gd name="connsiteY37" fmla="*/ 718281 h 1857492"/>
                    <a:gd name="connsiteX38" fmla="*/ 293677 w 1037106"/>
                    <a:gd name="connsiteY38" fmla="*/ 730911 h 1857492"/>
                    <a:gd name="connsiteX39" fmla="*/ 301255 w 1037106"/>
                    <a:gd name="connsiteY39" fmla="*/ 753644 h 1857492"/>
                    <a:gd name="connsiteX40" fmla="*/ 303781 w 1037106"/>
                    <a:gd name="connsiteY40" fmla="*/ 761222 h 1857492"/>
                    <a:gd name="connsiteX41" fmla="*/ 321462 w 1037106"/>
                    <a:gd name="connsiteY41" fmla="*/ 789008 h 1857492"/>
                    <a:gd name="connsiteX42" fmla="*/ 334092 w 1037106"/>
                    <a:gd name="connsiteY42" fmla="*/ 806690 h 1857492"/>
                    <a:gd name="connsiteX43" fmla="*/ 346722 w 1037106"/>
                    <a:gd name="connsiteY43" fmla="*/ 804164 h 1857492"/>
                    <a:gd name="connsiteX44" fmla="*/ 356826 w 1037106"/>
                    <a:gd name="connsiteY44" fmla="*/ 773852 h 1857492"/>
                    <a:gd name="connsiteX45" fmla="*/ 364404 w 1037106"/>
                    <a:gd name="connsiteY45" fmla="*/ 771326 h 1857492"/>
                    <a:gd name="connsiteX46" fmla="*/ 371982 w 1037106"/>
                    <a:gd name="connsiteY46" fmla="*/ 766274 h 1857492"/>
                    <a:gd name="connsiteX47" fmla="*/ 364404 w 1037106"/>
                    <a:gd name="connsiteY47" fmla="*/ 776378 h 1857492"/>
                    <a:gd name="connsiteX48" fmla="*/ 366930 w 1037106"/>
                    <a:gd name="connsiteY48" fmla="*/ 799112 h 1857492"/>
                    <a:gd name="connsiteX49" fmla="*/ 394715 w 1037106"/>
                    <a:gd name="connsiteY49" fmla="*/ 806690 h 1857492"/>
                    <a:gd name="connsiteX50" fmla="*/ 409871 w 1037106"/>
                    <a:gd name="connsiteY50" fmla="*/ 811742 h 1857492"/>
                    <a:gd name="connsiteX51" fmla="*/ 419975 w 1037106"/>
                    <a:gd name="connsiteY51" fmla="*/ 821846 h 1857492"/>
                    <a:gd name="connsiteX52" fmla="*/ 432605 w 1037106"/>
                    <a:gd name="connsiteY52" fmla="*/ 842053 h 1857492"/>
                    <a:gd name="connsiteX53" fmla="*/ 437657 w 1037106"/>
                    <a:gd name="connsiteY53" fmla="*/ 864787 h 1857492"/>
                    <a:gd name="connsiteX54" fmla="*/ 445235 w 1037106"/>
                    <a:gd name="connsiteY54" fmla="*/ 874891 h 1857492"/>
                    <a:gd name="connsiteX55" fmla="*/ 447761 w 1037106"/>
                    <a:gd name="connsiteY55" fmla="*/ 902676 h 1857492"/>
                    <a:gd name="connsiteX56" fmla="*/ 450287 w 1037106"/>
                    <a:gd name="connsiteY56" fmla="*/ 915306 h 1857492"/>
                    <a:gd name="connsiteX57" fmla="*/ 460390 w 1037106"/>
                    <a:gd name="connsiteY57" fmla="*/ 920358 h 1857492"/>
                    <a:gd name="connsiteX58" fmla="*/ 465442 w 1037106"/>
                    <a:gd name="connsiteY58" fmla="*/ 945618 h 1857492"/>
                    <a:gd name="connsiteX59" fmla="*/ 455339 w 1037106"/>
                    <a:gd name="connsiteY59" fmla="*/ 940566 h 1857492"/>
                    <a:gd name="connsiteX60" fmla="*/ 450287 w 1037106"/>
                    <a:gd name="connsiteY60" fmla="*/ 932988 h 1857492"/>
                    <a:gd name="connsiteX61" fmla="*/ 442709 w 1037106"/>
                    <a:gd name="connsiteY61" fmla="*/ 930462 h 1857492"/>
                    <a:gd name="connsiteX62" fmla="*/ 425027 w 1037106"/>
                    <a:gd name="connsiteY62" fmla="*/ 920358 h 1857492"/>
                    <a:gd name="connsiteX63" fmla="*/ 399767 w 1037106"/>
                    <a:gd name="connsiteY63" fmla="*/ 925410 h 1857492"/>
                    <a:gd name="connsiteX64" fmla="*/ 424891 w 1037106"/>
                    <a:gd name="connsiteY64" fmla="*/ 943092 h 1857492"/>
                    <a:gd name="connsiteX65" fmla="*/ 409871 w 1037106"/>
                    <a:gd name="connsiteY65" fmla="*/ 970878 h 1857492"/>
                    <a:gd name="connsiteX66" fmla="*/ 407345 w 1037106"/>
                    <a:gd name="connsiteY66" fmla="*/ 980981 h 1857492"/>
                    <a:gd name="connsiteX67" fmla="*/ 404819 w 1037106"/>
                    <a:gd name="connsiteY67" fmla="*/ 1011293 h 1857492"/>
                    <a:gd name="connsiteX68" fmla="*/ 397241 w 1037106"/>
                    <a:gd name="connsiteY68" fmla="*/ 1018871 h 1857492"/>
                    <a:gd name="connsiteX69" fmla="*/ 384611 w 1037106"/>
                    <a:gd name="connsiteY69" fmla="*/ 1044131 h 1857492"/>
                    <a:gd name="connsiteX70" fmla="*/ 379560 w 1037106"/>
                    <a:gd name="connsiteY70" fmla="*/ 1059286 h 1857492"/>
                    <a:gd name="connsiteX71" fmla="*/ 371982 w 1037106"/>
                    <a:gd name="connsiteY71" fmla="*/ 1074442 h 1857492"/>
                    <a:gd name="connsiteX72" fmla="*/ 369456 w 1037106"/>
                    <a:gd name="connsiteY72" fmla="*/ 1094650 h 1857492"/>
                    <a:gd name="connsiteX73" fmla="*/ 349248 w 1037106"/>
                    <a:gd name="connsiteY73" fmla="*/ 1117384 h 1857492"/>
                    <a:gd name="connsiteX74" fmla="*/ 331566 w 1037106"/>
                    <a:gd name="connsiteY74" fmla="*/ 1150221 h 1857492"/>
                    <a:gd name="connsiteX75" fmla="*/ 321462 w 1037106"/>
                    <a:gd name="connsiteY75" fmla="*/ 1165377 h 1857492"/>
                    <a:gd name="connsiteX76" fmla="*/ 313884 w 1037106"/>
                    <a:gd name="connsiteY76" fmla="*/ 1152747 h 1857492"/>
                    <a:gd name="connsiteX77" fmla="*/ 311358 w 1037106"/>
                    <a:gd name="connsiteY77" fmla="*/ 1145169 h 1857492"/>
                    <a:gd name="connsiteX78" fmla="*/ 301255 w 1037106"/>
                    <a:gd name="connsiteY78" fmla="*/ 1157799 h 1857492"/>
                    <a:gd name="connsiteX79" fmla="*/ 303781 w 1037106"/>
                    <a:gd name="connsiteY79" fmla="*/ 1193163 h 1857492"/>
                    <a:gd name="connsiteX80" fmla="*/ 311358 w 1037106"/>
                    <a:gd name="connsiteY80" fmla="*/ 1195689 h 1857492"/>
                    <a:gd name="connsiteX81" fmla="*/ 298729 w 1037106"/>
                    <a:gd name="connsiteY81" fmla="*/ 1198215 h 1857492"/>
                    <a:gd name="connsiteX82" fmla="*/ 293677 w 1037106"/>
                    <a:gd name="connsiteY82" fmla="*/ 1200741 h 1857492"/>
                    <a:gd name="connsiteX83" fmla="*/ 286099 w 1037106"/>
                    <a:gd name="connsiteY83" fmla="*/ 1205792 h 1857492"/>
                    <a:gd name="connsiteX84" fmla="*/ 281047 w 1037106"/>
                    <a:gd name="connsiteY84" fmla="*/ 1213370 h 1857492"/>
                    <a:gd name="connsiteX85" fmla="*/ 278521 w 1037106"/>
                    <a:gd name="connsiteY85" fmla="*/ 1228526 h 1857492"/>
                    <a:gd name="connsiteX86" fmla="*/ 275995 w 1037106"/>
                    <a:gd name="connsiteY86" fmla="*/ 1238630 h 1857492"/>
                    <a:gd name="connsiteX87" fmla="*/ 283573 w 1037106"/>
                    <a:gd name="connsiteY87" fmla="*/ 1241156 h 1857492"/>
                    <a:gd name="connsiteX88" fmla="*/ 283573 w 1037106"/>
                    <a:gd name="connsiteY88" fmla="*/ 1261364 h 1857492"/>
                    <a:gd name="connsiteX89" fmla="*/ 248209 w 1037106"/>
                    <a:gd name="connsiteY89" fmla="*/ 1273994 h 1857492"/>
                    <a:gd name="connsiteX90" fmla="*/ 240631 w 1037106"/>
                    <a:gd name="connsiteY90" fmla="*/ 1276520 h 1857492"/>
                    <a:gd name="connsiteX91" fmla="*/ 233053 w 1037106"/>
                    <a:gd name="connsiteY91" fmla="*/ 1281571 h 1857492"/>
                    <a:gd name="connsiteX92" fmla="*/ 217898 w 1037106"/>
                    <a:gd name="connsiteY92" fmla="*/ 1289149 h 1857492"/>
                    <a:gd name="connsiteX93" fmla="*/ 228002 w 1037106"/>
                    <a:gd name="connsiteY93" fmla="*/ 1294201 h 1857492"/>
                    <a:gd name="connsiteX94" fmla="*/ 222950 w 1037106"/>
                    <a:gd name="connsiteY94" fmla="*/ 1334617 h 1857492"/>
                    <a:gd name="connsiteX95" fmla="*/ 217898 w 1037106"/>
                    <a:gd name="connsiteY95" fmla="*/ 1342195 h 1857492"/>
                    <a:gd name="connsiteX96" fmla="*/ 212846 w 1037106"/>
                    <a:gd name="connsiteY96" fmla="*/ 1354825 h 1857492"/>
                    <a:gd name="connsiteX97" fmla="*/ 207794 w 1037106"/>
                    <a:gd name="connsiteY97" fmla="*/ 1362402 h 1857492"/>
                    <a:gd name="connsiteX98" fmla="*/ 202742 w 1037106"/>
                    <a:gd name="connsiteY98" fmla="*/ 1372506 h 1857492"/>
                    <a:gd name="connsiteX99" fmla="*/ 210320 w 1037106"/>
                    <a:gd name="connsiteY99" fmla="*/ 1395240 h 1857492"/>
                    <a:gd name="connsiteX100" fmla="*/ 215372 w 1037106"/>
                    <a:gd name="connsiteY100" fmla="*/ 1402818 h 1857492"/>
                    <a:gd name="connsiteX101" fmla="*/ 217898 w 1037106"/>
                    <a:gd name="connsiteY101" fmla="*/ 1412922 h 1857492"/>
                    <a:gd name="connsiteX102" fmla="*/ 228002 w 1037106"/>
                    <a:gd name="connsiteY102" fmla="*/ 1433129 h 1857492"/>
                    <a:gd name="connsiteX103" fmla="*/ 230527 w 1037106"/>
                    <a:gd name="connsiteY103" fmla="*/ 1440707 h 1857492"/>
                    <a:gd name="connsiteX104" fmla="*/ 240631 w 1037106"/>
                    <a:gd name="connsiteY104" fmla="*/ 1458389 h 1857492"/>
                    <a:gd name="connsiteX105" fmla="*/ 245683 w 1037106"/>
                    <a:gd name="connsiteY105" fmla="*/ 1471019 h 1857492"/>
                    <a:gd name="connsiteX106" fmla="*/ 245683 w 1037106"/>
                    <a:gd name="connsiteY106" fmla="*/ 1508909 h 1857492"/>
                    <a:gd name="connsiteX107" fmla="*/ 255787 w 1037106"/>
                    <a:gd name="connsiteY107" fmla="*/ 1511434 h 1857492"/>
                    <a:gd name="connsiteX108" fmla="*/ 263365 w 1037106"/>
                    <a:gd name="connsiteY108" fmla="*/ 1521538 h 1857492"/>
                    <a:gd name="connsiteX109" fmla="*/ 268417 w 1037106"/>
                    <a:gd name="connsiteY109" fmla="*/ 1529116 h 1857492"/>
                    <a:gd name="connsiteX110" fmla="*/ 278521 w 1037106"/>
                    <a:gd name="connsiteY110" fmla="*/ 1556902 h 1857492"/>
                    <a:gd name="connsiteX111" fmla="*/ 283573 w 1037106"/>
                    <a:gd name="connsiteY111" fmla="*/ 1584688 h 1857492"/>
                    <a:gd name="connsiteX112" fmla="*/ 281047 w 1037106"/>
                    <a:gd name="connsiteY112" fmla="*/ 1592265 h 1857492"/>
                    <a:gd name="connsiteX113" fmla="*/ 281047 w 1037106"/>
                    <a:gd name="connsiteY113" fmla="*/ 1673096 h 1857492"/>
                    <a:gd name="connsiteX114" fmla="*/ 283573 w 1037106"/>
                    <a:gd name="connsiteY114" fmla="*/ 1698356 h 1857492"/>
                    <a:gd name="connsiteX115" fmla="*/ 296203 w 1037106"/>
                    <a:gd name="connsiteY115" fmla="*/ 1700882 h 1857492"/>
                    <a:gd name="connsiteX116" fmla="*/ 288625 w 1037106"/>
                    <a:gd name="connsiteY116" fmla="*/ 1708460 h 1857492"/>
                    <a:gd name="connsiteX117" fmla="*/ 293677 w 1037106"/>
                    <a:gd name="connsiteY117" fmla="*/ 1716038 h 1857492"/>
                    <a:gd name="connsiteX118" fmla="*/ 296203 w 1037106"/>
                    <a:gd name="connsiteY118" fmla="*/ 1723616 h 1857492"/>
                    <a:gd name="connsiteX119" fmla="*/ 293677 w 1037106"/>
                    <a:gd name="connsiteY119" fmla="*/ 1758979 h 1857492"/>
                    <a:gd name="connsiteX120" fmla="*/ 321462 w 1037106"/>
                    <a:gd name="connsiteY120" fmla="*/ 1753927 h 1857492"/>
                    <a:gd name="connsiteX121" fmla="*/ 329040 w 1037106"/>
                    <a:gd name="connsiteY121" fmla="*/ 1756453 h 1857492"/>
                    <a:gd name="connsiteX122" fmla="*/ 334092 w 1037106"/>
                    <a:gd name="connsiteY122" fmla="*/ 1774135 h 1857492"/>
                    <a:gd name="connsiteX123" fmla="*/ 354300 w 1037106"/>
                    <a:gd name="connsiteY123" fmla="*/ 1779187 h 1857492"/>
                    <a:gd name="connsiteX124" fmla="*/ 356826 w 1037106"/>
                    <a:gd name="connsiteY124" fmla="*/ 1789291 h 1857492"/>
                    <a:gd name="connsiteX125" fmla="*/ 379560 w 1037106"/>
                    <a:gd name="connsiteY125" fmla="*/ 1784239 h 1857492"/>
                    <a:gd name="connsiteX126" fmla="*/ 392189 w 1037106"/>
                    <a:gd name="connsiteY126" fmla="*/ 1774135 h 1857492"/>
                    <a:gd name="connsiteX127" fmla="*/ 389663 w 1037106"/>
                    <a:gd name="connsiteY127" fmla="*/ 1781713 h 1857492"/>
                    <a:gd name="connsiteX128" fmla="*/ 384611 w 1037106"/>
                    <a:gd name="connsiteY128" fmla="*/ 1794343 h 1857492"/>
                    <a:gd name="connsiteX129" fmla="*/ 392189 w 1037106"/>
                    <a:gd name="connsiteY129" fmla="*/ 1796869 h 1857492"/>
                    <a:gd name="connsiteX130" fmla="*/ 402293 w 1037106"/>
                    <a:gd name="connsiteY130" fmla="*/ 1794343 h 1857492"/>
                    <a:gd name="connsiteX131" fmla="*/ 417449 w 1037106"/>
                    <a:gd name="connsiteY131" fmla="*/ 1791817 h 1857492"/>
                    <a:gd name="connsiteX132" fmla="*/ 427553 w 1037106"/>
                    <a:gd name="connsiteY132" fmla="*/ 1804447 h 1857492"/>
                    <a:gd name="connsiteX133" fmla="*/ 442709 w 1037106"/>
                    <a:gd name="connsiteY133" fmla="*/ 1794343 h 1857492"/>
                    <a:gd name="connsiteX134" fmla="*/ 437657 w 1037106"/>
                    <a:gd name="connsiteY134" fmla="*/ 1806973 h 1857492"/>
                    <a:gd name="connsiteX135" fmla="*/ 427553 w 1037106"/>
                    <a:gd name="connsiteY135" fmla="*/ 1817076 h 1857492"/>
                    <a:gd name="connsiteX136" fmla="*/ 432605 w 1037106"/>
                    <a:gd name="connsiteY136" fmla="*/ 1819602 h 1857492"/>
                    <a:gd name="connsiteX137" fmla="*/ 450287 w 1037106"/>
                    <a:gd name="connsiteY137" fmla="*/ 1817076 h 1857492"/>
                    <a:gd name="connsiteX138" fmla="*/ 455339 w 1037106"/>
                    <a:gd name="connsiteY138" fmla="*/ 1824654 h 1857492"/>
                    <a:gd name="connsiteX139" fmla="*/ 478072 w 1037106"/>
                    <a:gd name="connsiteY139" fmla="*/ 1847388 h 1857492"/>
                    <a:gd name="connsiteX140" fmla="*/ 470494 w 1037106"/>
                    <a:gd name="connsiteY140" fmla="*/ 1849914 h 1857492"/>
                    <a:gd name="connsiteX141" fmla="*/ 460390 w 1037106"/>
                    <a:gd name="connsiteY141" fmla="*/ 1852440 h 1857492"/>
                    <a:gd name="connsiteX142" fmla="*/ 475546 w 1037106"/>
                    <a:gd name="connsiteY142" fmla="*/ 1857492 h 1857492"/>
                    <a:gd name="connsiteX143" fmla="*/ 485650 w 1037106"/>
                    <a:gd name="connsiteY143" fmla="*/ 1849914 h 1857492"/>
                    <a:gd name="connsiteX144" fmla="*/ 488176 w 1037106"/>
                    <a:gd name="connsiteY144" fmla="*/ 1837284 h 1857492"/>
                    <a:gd name="connsiteX145" fmla="*/ 490702 w 1037106"/>
                    <a:gd name="connsiteY145" fmla="*/ 1829706 h 1857492"/>
                    <a:gd name="connsiteX146" fmla="*/ 510910 w 1037106"/>
                    <a:gd name="connsiteY146" fmla="*/ 1822128 h 1857492"/>
                    <a:gd name="connsiteX147" fmla="*/ 521014 w 1037106"/>
                    <a:gd name="connsiteY147" fmla="*/ 1812025 h 1857492"/>
                    <a:gd name="connsiteX148" fmla="*/ 538695 w 1037106"/>
                    <a:gd name="connsiteY148" fmla="*/ 1806973 h 1857492"/>
                    <a:gd name="connsiteX149" fmla="*/ 546273 w 1037106"/>
                    <a:gd name="connsiteY149" fmla="*/ 1804447 h 1857492"/>
                    <a:gd name="connsiteX150" fmla="*/ 569007 w 1037106"/>
                    <a:gd name="connsiteY150" fmla="*/ 1791817 h 1857492"/>
                    <a:gd name="connsiteX151" fmla="*/ 576585 w 1037106"/>
                    <a:gd name="connsiteY151" fmla="*/ 1796869 h 1857492"/>
                    <a:gd name="connsiteX152" fmla="*/ 591741 w 1037106"/>
                    <a:gd name="connsiteY152" fmla="*/ 1786765 h 1857492"/>
                    <a:gd name="connsiteX153" fmla="*/ 596793 w 1037106"/>
                    <a:gd name="connsiteY153" fmla="*/ 1779187 h 1857492"/>
                    <a:gd name="connsiteX154" fmla="*/ 604371 w 1037106"/>
                    <a:gd name="connsiteY154" fmla="*/ 1776661 h 1857492"/>
                    <a:gd name="connsiteX155" fmla="*/ 606897 w 1037106"/>
                    <a:gd name="connsiteY155" fmla="*/ 1766557 h 1857492"/>
                    <a:gd name="connsiteX156" fmla="*/ 614474 w 1037106"/>
                    <a:gd name="connsiteY156" fmla="*/ 1764031 h 1857492"/>
                    <a:gd name="connsiteX157" fmla="*/ 627104 w 1037106"/>
                    <a:gd name="connsiteY157" fmla="*/ 1758979 h 1857492"/>
                    <a:gd name="connsiteX158" fmla="*/ 654890 w 1037106"/>
                    <a:gd name="connsiteY158" fmla="*/ 1738771 h 1857492"/>
                    <a:gd name="connsiteX159" fmla="*/ 687727 w 1037106"/>
                    <a:gd name="connsiteY159" fmla="*/ 1733720 h 1857492"/>
                    <a:gd name="connsiteX160" fmla="*/ 705409 w 1037106"/>
                    <a:gd name="connsiteY160" fmla="*/ 1726142 h 1857492"/>
                    <a:gd name="connsiteX161" fmla="*/ 707935 w 1037106"/>
                    <a:gd name="connsiteY161" fmla="*/ 1716038 h 1857492"/>
                    <a:gd name="connsiteX162" fmla="*/ 715513 w 1037106"/>
                    <a:gd name="connsiteY162" fmla="*/ 1705934 h 1857492"/>
                    <a:gd name="connsiteX163" fmla="*/ 725617 w 1037106"/>
                    <a:gd name="connsiteY163" fmla="*/ 1693304 h 1857492"/>
                    <a:gd name="connsiteX164" fmla="*/ 740773 w 1037106"/>
                    <a:gd name="connsiteY164" fmla="*/ 1675622 h 1857492"/>
                    <a:gd name="connsiteX165" fmla="*/ 753403 w 1037106"/>
                    <a:gd name="connsiteY165" fmla="*/ 1673096 h 1857492"/>
                    <a:gd name="connsiteX166" fmla="*/ 760981 w 1037106"/>
                    <a:gd name="connsiteY166" fmla="*/ 1662992 h 1857492"/>
                    <a:gd name="connsiteX167" fmla="*/ 750877 w 1037106"/>
                    <a:gd name="connsiteY167" fmla="*/ 1647837 h 1857492"/>
                    <a:gd name="connsiteX168" fmla="*/ 750877 w 1037106"/>
                    <a:gd name="connsiteY168" fmla="*/ 1670570 h 1857492"/>
                    <a:gd name="connsiteX169" fmla="*/ 773610 w 1037106"/>
                    <a:gd name="connsiteY169" fmla="*/ 1678148 h 1857492"/>
                    <a:gd name="connsiteX170" fmla="*/ 783714 w 1037106"/>
                    <a:gd name="connsiteY170" fmla="*/ 1670570 h 1857492"/>
                    <a:gd name="connsiteX171" fmla="*/ 791292 w 1037106"/>
                    <a:gd name="connsiteY171" fmla="*/ 1655415 h 1857492"/>
                    <a:gd name="connsiteX172" fmla="*/ 798870 w 1037106"/>
                    <a:gd name="connsiteY172" fmla="*/ 1650363 h 1857492"/>
                    <a:gd name="connsiteX173" fmla="*/ 811500 w 1037106"/>
                    <a:gd name="connsiteY173" fmla="*/ 1652889 h 1857492"/>
                    <a:gd name="connsiteX174" fmla="*/ 821604 w 1037106"/>
                    <a:gd name="connsiteY174" fmla="*/ 1660467 h 1857492"/>
                    <a:gd name="connsiteX175" fmla="*/ 829182 w 1037106"/>
                    <a:gd name="connsiteY175" fmla="*/ 1662992 h 1857492"/>
                    <a:gd name="connsiteX176" fmla="*/ 849389 w 1037106"/>
                    <a:gd name="connsiteY176" fmla="*/ 1627629 h 1857492"/>
                    <a:gd name="connsiteX177" fmla="*/ 864545 w 1037106"/>
                    <a:gd name="connsiteY177" fmla="*/ 1604895 h 1857492"/>
                    <a:gd name="connsiteX178" fmla="*/ 874649 w 1037106"/>
                    <a:gd name="connsiteY178" fmla="*/ 1579636 h 1857492"/>
                    <a:gd name="connsiteX179" fmla="*/ 882227 w 1037106"/>
                    <a:gd name="connsiteY179" fmla="*/ 1572058 h 1857492"/>
                    <a:gd name="connsiteX180" fmla="*/ 887279 w 1037106"/>
                    <a:gd name="connsiteY180" fmla="*/ 1561954 h 1857492"/>
                    <a:gd name="connsiteX181" fmla="*/ 892331 w 1037106"/>
                    <a:gd name="connsiteY181" fmla="*/ 1554376 h 1857492"/>
                    <a:gd name="connsiteX182" fmla="*/ 894857 w 1037106"/>
                    <a:gd name="connsiteY182" fmla="*/ 1546798 h 1857492"/>
                    <a:gd name="connsiteX183" fmla="*/ 899909 w 1037106"/>
                    <a:gd name="connsiteY183" fmla="*/ 1539220 h 1857492"/>
                    <a:gd name="connsiteX184" fmla="*/ 902435 w 1037106"/>
                    <a:gd name="connsiteY184" fmla="*/ 1531642 h 1857492"/>
                    <a:gd name="connsiteX185" fmla="*/ 907487 w 1037106"/>
                    <a:gd name="connsiteY185" fmla="*/ 1524064 h 1857492"/>
                    <a:gd name="connsiteX186" fmla="*/ 925168 w 1037106"/>
                    <a:gd name="connsiteY186" fmla="*/ 1493753 h 1857492"/>
                    <a:gd name="connsiteX187" fmla="*/ 927694 w 1037106"/>
                    <a:gd name="connsiteY187" fmla="*/ 1486175 h 1857492"/>
                    <a:gd name="connsiteX188" fmla="*/ 930220 w 1037106"/>
                    <a:gd name="connsiteY188" fmla="*/ 1476071 h 1857492"/>
                    <a:gd name="connsiteX189" fmla="*/ 945376 w 1037106"/>
                    <a:gd name="connsiteY189" fmla="*/ 1455863 h 1857492"/>
                    <a:gd name="connsiteX190" fmla="*/ 947902 w 1037106"/>
                    <a:gd name="connsiteY190" fmla="*/ 1448285 h 1857492"/>
                    <a:gd name="connsiteX191" fmla="*/ 950428 w 1037106"/>
                    <a:gd name="connsiteY191" fmla="*/ 1435655 h 1857492"/>
                    <a:gd name="connsiteX192" fmla="*/ 958006 w 1037106"/>
                    <a:gd name="connsiteY192" fmla="*/ 1425552 h 1857492"/>
                    <a:gd name="connsiteX193" fmla="*/ 968110 w 1037106"/>
                    <a:gd name="connsiteY193" fmla="*/ 1405344 h 1857492"/>
                    <a:gd name="connsiteX194" fmla="*/ 973162 w 1037106"/>
                    <a:gd name="connsiteY194" fmla="*/ 1392714 h 1857492"/>
                    <a:gd name="connsiteX195" fmla="*/ 978214 w 1037106"/>
                    <a:gd name="connsiteY195" fmla="*/ 1385136 h 1857492"/>
                    <a:gd name="connsiteX196" fmla="*/ 988318 w 1037106"/>
                    <a:gd name="connsiteY196" fmla="*/ 1359876 h 1857492"/>
                    <a:gd name="connsiteX197" fmla="*/ 995895 w 1037106"/>
                    <a:gd name="connsiteY197" fmla="*/ 1339669 h 1857492"/>
                    <a:gd name="connsiteX198" fmla="*/ 1000947 w 1037106"/>
                    <a:gd name="connsiteY198" fmla="*/ 1329565 h 1857492"/>
                    <a:gd name="connsiteX199" fmla="*/ 1003473 w 1037106"/>
                    <a:gd name="connsiteY199" fmla="*/ 1301779 h 1857492"/>
                    <a:gd name="connsiteX200" fmla="*/ 1005999 w 1037106"/>
                    <a:gd name="connsiteY200" fmla="*/ 1294201 h 1857492"/>
                    <a:gd name="connsiteX201" fmla="*/ 1008525 w 1037106"/>
                    <a:gd name="connsiteY201" fmla="*/ 1279046 h 1857492"/>
                    <a:gd name="connsiteX202" fmla="*/ 1013577 w 1037106"/>
                    <a:gd name="connsiteY202" fmla="*/ 1271468 h 1857492"/>
                    <a:gd name="connsiteX203" fmla="*/ 1018629 w 1037106"/>
                    <a:gd name="connsiteY203" fmla="*/ 1261364 h 1857492"/>
                    <a:gd name="connsiteX204" fmla="*/ 1026207 w 1037106"/>
                    <a:gd name="connsiteY204" fmla="*/ 1248734 h 1857492"/>
                    <a:gd name="connsiteX205" fmla="*/ 1028733 w 1037106"/>
                    <a:gd name="connsiteY205" fmla="*/ 1231052 h 1857492"/>
                    <a:gd name="connsiteX206" fmla="*/ 1033785 w 1037106"/>
                    <a:gd name="connsiteY206" fmla="*/ 1215896 h 1857492"/>
                    <a:gd name="connsiteX207" fmla="*/ 1036311 w 1037106"/>
                    <a:gd name="connsiteY207" fmla="*/ 1172955 h 1857492"/>
                    <a:gd name="connsiteX208" fmla="*/ 1026207 w 1037106"/>
                    <a:gd name="connsiteY208" fmla="*/ 1132539 h 1857492"/>
                    <a:gd name="connsiteX209" fmla="*/ 1016103 w 1037106"/>
                    <a:gd name="connsiteY209" fmla="*/ 1130013 h 1857492"/>
                    <a:gd name="connsiteX210" fmla="*/ 998421 w 1037106"/>
                    <a:gd name="connsiteY210" fmla="*/ 1114858 h 1857492"/>
                    <a:gd name="connsiteX211" fmla="*/ 990844 w 1037106"/>
                    <a:gd name="connsiteY211" fmla="*/ 1107280 h 1857492"/>
                    <a:gd name="connsiteX212" fmla="*/ 970636 w 1037106"/>
                    <a:gd name="connsiteY212" fmla="*/ 1092124 h 1857492"/>
                    <a:gd name="connsiteX213" fmla="*/ 960532 w 1037106"/>
                    <a:gd name="connsiteY213" fmla="*/ 1084546 h 1857492"/>
                    <a:gd name="connsiteX214" fmla="*/ 945376 w 1037106"/>
                    <a:gd name="connsiteY214" fmla="*/ 1079494 h 1857492"/>
                    <a:gd name="connsiteX215" fmla="*/ 922642 w 1037106"/>
                    <a:gd name="connsiteY215" fmla="*/ 1074442 h 1857492"/>
                    <a:gd name="connsiteX216" fmla="*/ 910013 w 1037106"/>
                    <a:gd name="connsiteY216" fmla="*/ 1069390 h 1857492"/>
                    <a:gd name="connsiteX217" fmla="*/ 889805 w 1037106"/>
                    <a:gd name="connsiteY217" fmla="*/ 1056760 h 1857492"/>
                    <a:gd name="connsiteX218" fmla="*/ 877175 w 1037106"/>
                    <a:gd name="connsiteY218" fmla="*/ 1041605 h 1857492"/>
                    <a:gd name="connsiteX219" fmla="*/ 879701 w 1037106"/>
                    <a:gd name="connsiteY219" fmla="*/ 1028975 h 1857492"/>
                    <a:gd name="connsiteX220" fmla="*/ 884753 w 1037106"/>
                    <a:gd name="connsiteY220" fmla="*/ 1011293 h 1857492"/>
                    <a:gd name="connsiteX221" fmla="*/ 889805 w 1037106"/>
                    <a:gd name="connsiteY221" fmla="*/ 1003715 h 1857492"/>
                    <a:gd name="connsiteX222" fmla="*/ 849389 w 1037106"/>
                    <a:gd name="connsiteY222" fmla="*/ 935514 h 1857492"/>
                    <a:gd name="connsiteX223" fmla="*/ 836760 w 1037106"/>
                    <a:gd name="connsiteY223" fmla="*/ 932988 h 1857492"/>
                    <a:gd name="connsiteX224" fmla="*/ 826656 w 1037106"/>
                    <a:gd name="connsiteY224" fmla="*/ 872365 h 1857492"/>
                    <a:gd name="connsiteX225" fmla="*/ 814026 w 1037106"/>
                    <a:gd name="connsiteY225" fmla="*/ 869839 h 1857492"/>
                    <a:gd name="connsiteX226" fmla="*/ 798870 w 1037106"/>
                    <a:gd name="connsiteY226" fmla="*/ 857209 h 1857492"/>
                    <a:gd name="connsiteX227" fmla="*/ 778662 w 1037106"/>
                    <a:gd name="connsiteY227" fmla="*/ 854683 h 1857492"/>
                    <a:gd name="connsiteX228" fmla="*/ 776136 w 1037106"/>
                    <a:gd name="connsiteY228" fmla="*/ 844579 h 1857492"/>
                    <a:gd name="connsiteX229" fmla="*/ 773610 w 1037106"/>
                    <a:gd name="connsiteY229" fmla="*/ 837001 h 1857492"/>
                    <a:gd name="connsiteX230" fmla="*/ 788766 w 1037106"/>
                    <a:gd name="connsiteY230" fmla="*/ 806690 h 1857492"/>
                    <a:gd name="connsiteX231" fmla="*/ 781188 w 1037106"/>
                    <a:gd name="connsiteY231" fmla="*/ 794060 h 1857492"/>
                    <a:gd name="connsiteX232" fmla="*/ 760981 w 1037106"/>
                    <a:gd name="connsiteY232" fmla="*/ 778904 h 1857492"/>
                    <a:gd name="connsiteX233" fmla="*/ 766032 w 1037106"/>
                    <a:gd name="connsiteY233" fmla="*/ 708177 h 1857492"/>
                    <a:gd name="connsiteX234" fmla="*/ 778662 w 1037106"/>
                    <a:gd name="connsiteY234" fmla="*/ 703125 h 1857492"/>
                    <a:gd name="connsiteX235" fmla="*/ 781188 w 1037106"/>
                    <a:gd name="connsiteY235" fmla="*/ 693021 h 1857492"/>
                    <a:gd name="connsiteX236" fmla="*/ 773610 w 1037106"/>
                    <a:gd name="connsiteY236" fmla="*/ 690495 h 1857492"/>
                    <a:gd name="connsiteX237" fmla="*/ 760981 w 1037106"/>
                    <a:gd name="connsiteY237" fmla="*/ 687969 h 1857492"/>
                    <a:gd name="connsiteX238" fmla="*/ 753403 w 1037106"/>
                    <a:gd name="connsiteY238" fmla="*/ 680391 h 1857492"/>
                    <a:gd name="connsiteX239" fmla="*/ 740773 w 1037106"/>
                    <a:gd name="connsiteY239" fmla="*/ 655132 h 1857492"/>
                    <a:gd name="connsiteX240" fmla="*/ 730669 w 1037106"/>
                    <a:gd name="connsiteY240" fmla="*/ 645028 h 1857492"/>
                    <a:gd name="connsiteX241" fmla="*/ 723091 w 1037106"/>
                    <a:gd name="connsiteY241" fmla="*/ 632398 h 1857492"/>
                    <a:gd name="connsiteX242" fmla="*/ 710461 w 1037106"/>
                    <a:gd name="connsiteY242" fmla="*/ 614716 h 1857492"/>
                    <a:gd name="connsiteX243" fmla="*/ 695305 w 1037106"/>
                    <a:gd name="connsiteY243" fmla="*/ 597034 h 1857492"/>
                    <a:gd name="connsiteX244" fmla="*/ 685202 w 1037106"/>
                    <a:gd name="connsiteY244" fmla="*/ 584405 h 1857492"/>
                    <a:gd name="connsiteX245" fmla="*/ 677624 w 1037106"/>
                    <a:gd name="connsiteY245" fmla="*/ 576827 h 1857492"/>
                    <a:gd name="connsiteX246" fmla="*/ 664994 w 1037106"/>
                    <a:gd name="connsiteY246" fmla="*/ 554093 h 1857492"/>
                    <a:gd name="connsiteX247" fmla="*/ 644786 w 1037106"/>
                    <a:gd name="connsiteY247" fmla="*/ 528833 h 1857492"/>
                    <a:gd name="connsiteX248" fmla="*/ 632156 w 1037106"/>
                    <a:gd name="connsiteY248" fmla="*/ 513678 h 1857492"/>
                    <a:gd name="connsiteX249" fmla="*/ 629630 w 1037106"/>
                    <a:gd name="connsiteY249" fmla="*/ 501048 h 1857492"/>
                    <a:gd name="connsiteX250" fmla="*/ 634682 w 1037106"/>
                    <a:gd name="connsiteY250" fmla="*/ 463158 h 1857492"/>
                    <a:gd name="connsiteX251" fmla="*/ 637208 w 1037106"/>
                    <a:gd name="connsiteY251" fmla="*/ 448002 h 1857492"/>
                    <a:gd name="connsiteX252" fmla="*/ 644786 w 1037106"/>
                    <a:gd name="connsiteY252" fmla="*/ 435373 h 1857492"/>
                    <a:gd name="connsiteX253" fmla="*/ 647312 w 1037106"/>
                    <a:gd name="connsiteY253" fmla="*/ 425269 h 1857492"/>
                    <a:gd name="connsiteX254" fmla="*/ 652364 w 1037106"/>
                    <a:gd name="connsiteY254" fmla="*/ 382327 h 1857492"/>
                    <a:gd name="connsiteX255" fmla="*/ 649838 w 1037106"/>
                    <a:gd name="connsiteY255" fmla="*/ 364646 h 1857492"/>
                    <a:gd name="connsiteX256" fmla="*/ 632156 w 1037106"/>
                    <a:gd name="connsiteY256" fmla="*/ 354542 h 1857492"/>
                    <a:gd name="connsiteX257" fmla="*/ 624578 w 1037106"/>
                    <a:gd name="connsiteY257" fmla="*/ 344438 h 1857492"/>
                    <a:gd name="connsiteX258" fmla="*/ 619526 w 1037106"/>
                    <a:gd name="connsiteY258" fmla="*/ 336860 h 1857492"/>
                    <a:gd name="connsiteX259" fmla="*/ 611948 w 1037106"/>
                    <a:gd name="connsiteY259" fmla="*/ 334334 h 1857492"/>
                    <a:gd name="connsiteX260" fmla="*/ 604371 w 1037106"/>
                    <a:gd name="connsiteY260" fmla="*/ 329282 h 1857492"/>
                    <a:gd name="connsiteX261" fmla="*/ 594267 w 1037106"/>
                    <a:gd name="connsiteY261" fmla="*/ 311600 h 1857492"/>
                    <a:gd name="connsiteX262" fmla="*/ 586689 w 1037106"/>
                    <a:gd name="connsiteY262" fmla="*/ 306548 h 1857492"/>
                    <a:gd name="connsiteX263" fmla="*/ 531118 w 1037106"/>
                    <a:gd name="connsiteY263" fmla="*/ 306548 h 1857492"/>
                    <a:gd name="connsiteX264" fmla="*/ 528592 w 1037106"/>
                    <a:gd name="connsiteY264" fmla="*/ 296444 h 1857492"/>
                    <a:gd name="connsiteX265" fmla="*/ 521014 w 1037106"/>
                    <a:gd name="connsiteY265" fmla="*/ 271185 h 1857492"/>
                    <a:gd name="connsiteX266" fmla="*/ 518488 w 1037106"/>
                    <a:gd name="connsiteY266" fmla="*/ 250977 h 1857492"/>
                    <a:gd name="connsiteX267" fmla="*/ 515962 w 1037106"/>
                    <a:gd name="connsiteY267" fmla="*/ 240873 h 1857492"/>
                    <a:gd name="connsiteX268" fmla="*/ 513436 w 1037106"/>
                    <a:gd name="connsiteY268" fmla="*/ 192880 h 1857492"/>
                    <a:gd name="connsiteX269" fmla="*/ 505858 w 1037106"/>
                    <a:gd name="connsiteY269" fmla="*/ 190354 h 1857492"/>
                    <a:gd name="connsiteX270" fmla="*/ 498280 w 1037106"/>
                    <a:gd name="connsiteY270" fmla="*/ 182776 h 1857492"/>
                    <a:gd name="connsiteX271" fmla="*/ 508384 w 1037106"/>
                    <a:gd name="connsiteY271" fmla="*/ 144886 h 1857492"/>
                    <a:gd name="connsiteX272" fmla="*/ 503332 w 1037106"/>
                    <a:gd name="connsiteY272" fmla="*/ 124679 h 1857492"/>
                    <a:gd name="connsiteX273" fmla="*/ 500806 w 1037106"/>
                    <a:gd name="connsiteY273" fmla="*/ 56478 h 1857492"/>
                    <a:gd name="connsiteX274" fmla="*/ 493228 w 1037106"/>
                    <a:gd name="connsiteY274" fmla="*/ 53952 h 1857492"/>
                    <a:gd name="connsiteX275" fmla="*/ 483124 w 1037106"/>
                    <a:gd name="connsiteY275" fmla="*/ 48900 h 1857492"/>
                    <a:gd name="connsiteX276" fmla="*/ 450287 w 1037106"/>
                    <a:gd name="connsiteY276" fmla="*/ 43848 h 1857492"/>
                    <a:gd name="connsiteX277" fmla="*/ 430079 w 1037106"/>
                    <a:gd name="connsiteY277" fmla="*/ 31218 h 1857492"/>
                    <a:gd name="connsiteX278" fmla="*/ 409871 w 1037106"/>
                    <a:gd name="connsiteY278" fmla="*/ 13536 h 1857492"/>
                    <a:gd name="connsiteX279" fmla="*/ 392189 w 1037106"/>
                    <a:gd name="connsiteY279" fmla="*/ 16062 h 1857492"/>
                    <a:gd name="connsiteX280" fmla="*/ 384611 w 1037106"/>
                    <a:gd name="connsiteY280" fmla="*/ 18588 h 1857492"/>
                    <a:gd name="connsiteX281" fmla="*/ 349248 w 1037106"/>
                    <a:gd name="connsiteY281" fmla="*/ 11010 h 1857492"/>
                    <a:gd name="connsiteX282" fmla="*/ 351774 w 1037106"/>
                    <a:gd name="connsiteY282" fmla="*/ 906 h 1857492"/>
                    <a:gd name="connsiteX283" fmla="*/ 361878 w 1037106"/>
                    <a:gd name="connsiteY283" fmla="*/ 3432 h 1857492"/>
                    <a:gd name="connsiteX284" fmla="*/ 349248 w 1037106"/>
                    <a:gd name="connsiteY284" fmla="*/ 38796 h 1857492"/>
                    <a:gd name="connsiteX285" fmla="*/ 346722 w 1037106"/>
                    <a:gd name="connsiteY285" fmla="*/ 48900 h 1857492"/>
                    <a:gd name="connsiteX286" fmla="*/ 339144 w 1037106"/>
                    <a:gd name="connsiteY286" fmla="*/ 51426 h 1857492"/>
                    <a:gd name="connsiteX287" fmla="*/ 323988 w 1037106"/>
                    <a:gd name="connsiteY287" fmla="*/ 48900 h 1857492"/>
                    <a:gd name="connsiteX288" fmla="*/ 306306 w 1037106"/>
                    <a:gd name="connsiteY288" fmla="*/ 46374 h 1857492"/>
                    <a:gd name="connsiteX289" fmla="*/ 296203 w 1037106"/>
                    <a:gd name="connsiteY289" fmla="*/ 43848 h 1857492"/>
                    <a:gd name="connsiteX290" fmla="*/ 288625 w 1037106"/>
                    <a:gd name="connsiteY290" fmla="*/ 46374 h 1857492"/>
                    <a:gd name="connsiteX291" fmla="*/ 291151 w 1037106"/>
                    <a:gd name="connsiteY291" fmla="*/ 64055 h 1857492"/>
                    <a:gd name="connsiteX292" fmla="*/ 296203 w 1037106"/>
                    <a:gd name="connsiteY292" fmla="*/ 86789 h 1857492"/>
                    <a:gd name="connsiteX293" fmla="*/ 293677 w 1037106"/>
                    <a:gd name="connsiteY293" fmla="*/ 124679 h 1857492"/>
                    <a:gd name="connsiteX294" fmla="*/ 291151 w 1037106"/>
                    <a:gd name="connsiteY294" fmla="*/ 132257 h 1857492"/>
                    <a:gd name="connsiteX295" fmla="*/ 288625 w 1037106"/>
                    <a:gd name="connsiteY295" fmla="*/ 147412 h 1857492"/>
                    <a:gd name="connsiteX296" fmla="*/ 301255 w 1037106"/>
                    <a:gd name="connsiteY296" fmla="*/ 200458 h 1857492"/>
                    <a:gd name="connsiteX297" fmla="*/ 308832 w 1037106"/>
                    <a:gd name="connsiteY297" fmla="*/ 202984 h 1857492"/>
                    <a:gd name="connsiteX298" fmla="*/ 296203 w 1037106"/>
                    <a:gd name="connsiteY298" fmla="*/ 240873 h 1857492"/>
                    <a:gd name="connsiteX299" fmla="*/ 283573 w 1037106"/>
                    <a:gd name="connsiteY299" fmla="*/ 283815 h 1857492"/>
                    <a:gd name="connsiteX300" fmla="*/ 281047 w 1037106"/>
                    <a:gd name="connsiteY300" fmla="*/ 298970 h 1857492"/>
                    <a:gd name="connsiteX301" fmla="*/ 263365 w 1037106"/>
                    <a:gd name="connsiteY301" fmla="*/ 293918 h 1857492"/>
                    <a:gd name="connsiteX302" fmla="*/ 255787 w 1037106"/>
                    <a:gd name="connsiteY302" fmla="*/ 286341 h 1857492"/>
                    <a:gd name="connsiteX303" fmla="*/ 248209 w 1037106"/>
                    <a:gd name="connsiteY303" fmla="*/ 281289 h 1857492"/>
                    <a:gd name="connsiteX304" fmla="*/ 243157 w 1037106"/>
                    <a:gd name="connsiteY304" fmla="*/ 273711 h 1857492"/>
                    <a:gd name="connsiteX305" fmla="*/ 240631 w 1037106"/>
                    <a:gd name="connsiteY305" fmla="*/ 266133 h 1857492"/>
                    <a:gd name="connsiteX306" fmla="*/ 230527 w 1037106"/>
                    <a:gd name="connsiteY306" fmla="*/ 263607 h 1857492"/>
                    <a:gd name="connsiteX307" fmla="*/ 220424 w 1037106"/>
                    <a:gd name="connsiteY307" fmla="*/ 276237 h 1857492"/>
                    <a:gd name="connsiteX308" fmla="*/ 197690 w 1037106"/>
                    <a:gd name="connsiteY308" fmla="*/ 263607 h 1857492"/>
                    <a:gd name="connsiteX309" fmla="*/ 195164 w 1037106"/>
                    <a:gd name="connsiteY309" fmla="*/ 276237 h 1857492"/>
                    <a:gd name="connsiteX310" fmla="*/ 192638 w 1037106"/>
                    <a:gd name="connsiteY310" fmla="*/ 286341 h 1857492"/>
                    <a:gd name="connsiteX311" fmla="*/ 147171 w 1037106"/>
                    <a:gd name="connsiteY311" fmla="*/ 301496 h 1857492"/>
                    <a:gd name="connsiteX312" fmla="*/ 94125 w 1037106"/>
                    <a:gd name="connsiteY312" fmla="*/ 286341 h 1857492"/>
                    <a:gd name="connsiteX313" fmla="*/ 89073 w 1037106"/>
                    <a:gd name="connsiteY313" fmla="*/ 278763 h 1857492"/>
                    <a:gd name="connsiteX314" fmla="*/ 86547 w 1037106"/>
                    <a:gd name="connsiteY314" fmla="*/ 268659 h 1857492"/>
                    <a:gd name="connsiteX315" fmla="*/ 84021 w 1037106"/>
                    <a:gd name="connsiteY315" fmla="*/ 261081 h 1857492"/>
                    <a:gd name="connsiteX316" fmla="*/ 71392 w 1037106"/>
                    <a:gd name="connsiteY316" fmla="*/ 256029 h 1857492"/>
                    <a:gd name="connsiteX317" fmla="*/ 53710 w 1037106"/>
                    <a:gd name="connsiteY317" fmla="*/ 235821 h 1857492"/>
                    <a:gd name="connsiteX318" fmla="*/ 43606 w 1037106"/>
                    <a:gd name="connsiteY318" fmla="*/ 230769 h 1857492"/>
                    <a:gd name="connsiteX319" fmla="*/ 28450 w 1037106"/>
                    <a:gd name="connsiteY319" fmla="*/ 223191 h 1857492"/>
                    <a:gd name="connsiteX320" fmla="*/ 20872 w 1037106"/>
                    <a:gd name="connsiteY320" fmla="*/ 215613 h 1857492"/>
                    <a:gd name="connsiteX321" fmla="*/ 5716 w 1037106"/>
                    <a:gd name="connsiteY321" fmla="*/ 235821 h 1857492"/>
                    <a:gd name="connsiteX322" fmla="*/ 15820 w 1037106"/>
                    <a:gd name="connsiteY322" fmla="*/ 258555 h 1857492"/>
                    <a:gd name="connsiteX0" fmla="*/ 15820 w 1037106"/>
                    <a:gd name="connsiteY0" fmla="*/ 258555 h 1857492"/>
                    <a:gd name="connsiteX1" fmla="*/ 664 w 1037106"/>
                    <a:gd name="connsiteY1" fmla="*/ 263607 h 1857492"/>
                    <a:gd name="connsiteX2" fmla="*/ 3190 w 1037106"/>
                    <a:gd name="connsiteY2" fmla="*/ 271185 h 1857492"/>
                    <a:gd name="connsiteX3" fmla="*/ 28450 w 1037106"/>
                    <a:gd name="connsiteY3" fmla="*/ 286341 h 1857492"/>
                    <a:gd name="connsiteX4" fmla="*/ 36028 w 1037106"/>
                    <a:gd name="connsiteY4" fmla="*/ 296444 h 1857492"/>
                    <a:gd name="connsiteX5" fmla="*/ 43606 w 1037106"/>
                    <a:gd name="connsiteY5" fmla="*/ 304022 h 1857492"/>
                    <a:gd name="connsiteX6" fmla="*/ 58762 w 1037106"/>
                    <a:gd name="connsiteY6" fmla="*/ 324230 h 1857492"/>
                    <a:gd name="connsiteX7" fmla="*/ 63814 w 1037106"/>
                    <a:gd name="connsiteY7" fmla="*/ 331808 h 1857492"/>
                    <a:gd name="connsiteX8" fmla="*/ 71392 w 1037106"/>
                    <a:gd name="connsiteY8" fmla="*/ 339386 h 1857492"/>
                    <a:gd name="connsiteX9" fmla="*/ 73918 w 1037106"/>
                    <a:gd name="connsiteY9" fmla="*/ 346964 h 1857492"/>
                    <a:gd name="connsiteX10" fmla="*/ 132015 w 1037106"/>
                    <a:gd name="connsiteY10" fmla="*/ 359594 h 1857492"/>
                    <a:gd name="connsiteX11" fmla="*/ 149697 w 1037106"/>
                    <a:gd name="connsiteY11" fmla="*/ 367171 h 1857492"/>
                    <a:gd name="connsiteX12" fmla="*/ 159800 w 1037106"/>
                    <a:gd name="connsiteY12" fmla="*/ 377275 h 1857492"/>
                    <a:gd name="connsiteX13" fmla="*/ 164852 w 1037106"/>
                    <a:gd name="connsiteY13" fmla="*/ 392431 h 1857492"/>
                    <a:gd name="connsiteX14" fmla="*/ 182534 w 1037106"/>
                    <a:gd name="connsiteY14" fmla="*/ 400009 h 1857492"/>
                    <a:gd name="connsiteX15" fmla="*/ 190112 w 1037106"/>
                    <a:gd name="connsiteY15" fmla="*/ 405061 h 1857492"/>
                    <a:gd name="connsiteX16" fmla="*/ 202742 w 1037106"/>
                    <a:gd name="connsiteY16" fmla="*/ 420217 h 1857492"/>
                    <a:gd name="connsiteX17" fmla="*/ 212846 w 1037106"/>
                    <a:gd name="connsiteY17" fmla="*/ 422743 h 1857492"/>
                    <a:gd name="connsiteX18" fmla="*/ 220424 w 1037106"/>
                    <a:gd name="connsiteY18" fmla="*/ 425269 h 1857492"/>
                    <a:gd name="connsiteX19" fmla="*/ 212846 w 1037106"/>
                    <a:gd name="connsiteY19" fmla="*/ 427795 h 1857492"/>
                    <a:gd name="connsiteX20" fmla="*/ 212846 w 1037106"/>
                    <a:gd name="connsiteY20" fmla="*/ 448002 h 1857492"/>
                    <a:gd name="connsiteX21" fmla="*/ 215372 w 1037106"/>
                    <a:gd name="connsiteY21" fmla="*/ 455580 h 1857492"/>
                    <a:gd name="connsiteX22" fmla="*/ 222950 w 1037106"/>
                    <a:gd name="connsiteY22" fmla="*/ 463158 h 1857492"/>
                    <a:gd name="connsiteX23" fmla="*/ 225476 w 1037106"/>
                    <a:gd name="connsiteY23" fmla="*/ 493470 h 1857492"/>
                    <a:gd name="connsiteX24" fmla="*/ 228002 w 1037106"/>
                    <a:gd name="connsiteY24" fmla="*/ 511152 h 1857492"/>
                    <a:gd name="connsiteX25" fmla="*/ 240631 w 1037106"/>
                    <a:gd name="connsiteY25" fmla="*/ 521255 h 1857492"/>
                    <a:gd name="connsiteX26" fmla="*/ 248209 w 1037106"/>
                    <a:gd name="connsiteY26" fmla="*/ 518729 h 1857492"/>
                    <a:gd name="connsiteX27" fmla="*/ 248209 w 1037106"/>
                    <a:gd name="connsiteY27" fmla="*/ 538937 h 1857492"/>
                    <a:gd name="connsiteX28" fmla="*/ 240631 w 1037106"/>
                    <a:gd name="connsiteY28" fmla="*/ 541463 h 1857492"/>
                    <a:gd name="connsiteX29" fmla="*/ 235579 w 1037106"/>
                    <a:gd name="connsiteY29" fmla="*/ 549041 h 1857492"/>
                    <a:gd name="connsiteX30" fmla="*/ 245683 w 1037106"/>
                    <a:gd name="connsiteY30" fmla="*/ 556619 h 1857492"/>
                    <a:gd name="connsiteX31" fmla="*/ 248209 w 1037106"/>
                    <a:gd name="connsiteY31" fmla="*/ 574301 h 1857492"/>
                    <a:gd name="connsiteX32" fmla="*/ 263365 w 1037106"/>
                    <a:gd name="connsiteY32" fmla="*/ 597034 h 1857492"/>
                    <a:gd name="connsiteX33" fmla="*/ 270943 w 1037106"/>
                    <a:gd name="connsiteY33" fmla="*/ 614716 h 1857492"/>
                    <a:gd name="connsiteX34" fmla="*/ 273469 w 1037106"/>
                    <a:gd name="connsiteY34" fmla="*/ 632398 h 1857492"/>
                    <a:gd name="connsiteX35" fmla="*/ 281047 w 1037106"/>
                    <a:gd name="connsiteY35" fmla="*/ 639976 h 1857492"/>
                    <a:gd name="connsiteX36" fmla="*/ 286099 w 1037106"/>
                    <a:gd name="connsiteY36" fmla="*/ 700599 h 1857492"/>
                    <a:gd name="connsiteX37" fmla="*/ 291151 w 1037106"/>
                    <a:gd name="connsiteY37" fmla="*/ 718281 h 1857492"/>
                    <a:gd name="connsiteX38" fmla="*/ 293677 w 1037106"/>
                    <a:gd name="connsiteY38" fmla="*/ 730911 h 1857492"/>
                    <a:gd name="connsiteX39" fmla="*/ 301255 w 1037106"/>
                    <a:gd name="connsiteY39" fmla="*/ 753644 h 1857492"/>
                    <a:gd name="connsiteX40" fmla="*/ 303781 w 1037106"/>
                    <a:gd name="connsiteY40" fmla="*/ 761222 h 1857492"/>
                    <a:gd name="connsiteX41" fmla="*/ 321462 w 1037106"/>
                    <a:gd name="connsiteY41" fmla="*/ 789008 h 1857492"/>
                    <a:gd name="connsiteX42" fmla="*/ 334092 w 1037106"/>
                    <a:gd name="connsiteY42" fmla="*/ 806690 h 1857492"/>
                    <a:gd name="connsiteX43" fmla="*/ 346722 w 1037106"/>
                    <a:gd name="connsiteY43" fmla="*/ 804164 h 1857492"/>
                    <a:gd name="connsiteX44" fmla="*/ 356826 w 1037106"/>
                    <a:gd name="connsiteY44" fmla="*/ 773852 h 1857492"/>
                    <a:gd name="connsiteX45" fmla="*/ 364404 w 1037106"/>
                    <a:gd name="connsiteY45" fmla="*/ 771326 h 1857492"/>
                    <a:gd name="connsiteX46" fmla="*/ 371982 w 1037106"/>
                    <a:gd name="connsiteY46" fmla="*/ 766274 h 1857492"/>
                    <a:gd name="connsiteX47" fmla="*/ 364404 w 1037106"/>
                    <a:gd name="connsiteY47" fmla="*/ 776378 h 1857492"/>
                    <a:gd name="connsiteX48" fmla="*/ 366930 w 1037106"/>
                    <a:gd name="connsiteY48" fmla="*/ 799112 h 1857492"/>
                    <a:gd name="connsiteX49" fmla="*/ 394715 w 1037106"/>
                    <a:gd name="connsiteY49" fmla="*/ 806690 h 1857492"/>
                    <a:gd name="connsiteX50" fmla="*/ 409871 w 1037106"/>
                    <a:gd name="connsiteY50" fmla="*/ 811742 h 1857492"/>
                    <a:gd name="connsiteX51" fmla="*/ 419975 w 1037106"/>
                    <a:gd name="connsiteY51" fmla="*/ 821846 h 1857492"/>
                    <a:gd name="connsiteX52" fmla="*/ 432605 w 1037106"/>
                    <a:gd name="connsiteY52" fmla="*/ 842053 h 1857492"/>
                    <a:gd name="connsiteX53" fmla="*/ 437657 w 1037106"/>
                    <a:gd name="connsiteY53" fmla="*/ 864787 h 1857492"/>
                    <a:gd name="connsiteX54" fmla="*/ 445235 w 1037106"/>
                    <a:gd name="connsiteY54" fmla="*/ 874891 h 1857492"/>
                    <a:gd name="connsiteX55" fmla="*/ 447761 w 1037106"/>
                    <a:gd name="connsiteY55" fmla="*/ 902676 h 1857492"/>
                    <a:gd name="connsiteX56" fmla="*/ 450287 w 1037106"/>
                    <a:gd name="connsiteY56" fmla="*/ 915306 h 1857492"/>
                    <a:gd name="connsiteX57" fmla="*/ 460390 w 1037106"/>
                    <a:gd name="connsiteY57" fmla="*/ 920358 h 1857492"/>
                    <a:gd name="connsiteX58" fmla="*/ 465442 w 1037106"/>
                    <a:gd name="connsiteY58" fmla="*/ 945618 h 1857492"/>
                    <a:gd name="connsiteX59" fmla="*/ 455339 w 1037106"/>
                    <a:gd name="connsiteY59" fmla="*/ 940566 h 1857492"/>
                    <a:gd name="connsiteX60" fmla="*/ 450287 w 1037106"/>
                    <a:gd name="connsiteY60" fmla="*/ 932988 h 1857492"/>
                    <a:gd name="connsiteX61" fmla="*/ 427960 w 1037106"/>
                    <a:gd name="connsiteY61" fmla="*/ 942752 h 1857492"/>
                    <a:gd name="connsiteX62" fmla="*/ 425027 w 1037106"/>
                    <a:gd name="connsiteY62" fmla="*/ 920358 h 1857492"/>
                    <a:gd name="connsiteX63" fmla="*/ 399767 w 1037106"/>
                    <a:gd name="connsiteY63" fmla="*/ 925410 h 1857492"/>
                    <a:gd name="connsiteX64" fmla="*/ 424891 w 1037106"/>
                    <a:gd name="connsiteY64" fmla="*/ 943092 h 1857492"/>
                    <a:gd name="connsiteX65" fmla="*/ 409871 w 1037106"/>
                    <a:gd name="connsiteY65" fmla="*/ 970878 h 1857492"/>
                    <a:gd name="connsiteX66" fmla="*/ 407345 w 1037106"/>
                    <a:gd name="connsiteY66" fmla="*/ 980981 h 1857492"/>
                    <a:gd name="connsiteX67" fmla="*/ 404819 w 1037106"/>
                    <a:gd name="connsiteY67" fmla="*/ 1011293 h 1857492"/>
                    <a:gd name="connsiteX68" fmla="*/ 397241 w 1037106"/>
                    <a:gd name="connsiteY68" fmla="*/ 1018871 h 1857492"/>
                    <a:gd name="connsiteX69" fmla="*/ 384611 w 1037106"/>
                    <a:gd name="connsiteY69" fmla="*/ 1044131 h 1857492"/>
                    <a:gd name="connsiteX70" fmla="*/ 379560 w 1037106"/>
                    <a:gd name="connsiteY70" fmla="*/ 1059286 h 1857492"/>
                    <a:gd name="connsiteX71" fmla="*/ 371982 w 1037106"/>
                    <a:gd name="connsiteY71" fmla="*/ 1074442 h 1857492"/>
                    <a:gd name="connsiteX72" fmla="*/ 369456 w 1037106"/>
                    <a:gd name="connsiteY72" fmla="*/ 1094650 h 1857492"/>
                    <a:gd name="connsiteX73" fmla="*/ 349248 w 1037106"/>
                    <a:gd name="connsiteY73" fmla="*/ 1117384 h 1857492"/>
                    <a:gd name="connsiteX74" fmla="*/ 331566 w 1037106"/>
                    <a:gd name="connsiteY74" fmla="*/ 1150221 h 1857492"/>
                    <a:gd name="connsiteX75" fmla="*/ 321462 w 1037106"/>
                    <a:gd name="connsiteY75" fmla="*/ 1165377 h 1857492"/>
                    <a:gd name="connsiteX76" fmla="*/ 313884 w 1037106"/>
                    <a:gd name="connsiteY76" fmla="*/ 1152747 h 1857492"/>
                    <a:gd name="connsiteX77" fmla="*/ 311358 w 1037106"/>
                    <a:gd name="connsiteY77" fmla="*/ 1145169 h 1857492"/>
                    <a:gd name="connsiteX78" fmla="*/ 301255 w 1037106"/>
                    <a:gd name="connsiteY78" fmla="*/ 1157799 h 1857492"/>
                    <a:gd name="connsiteX79" fmla="*/ 303781 w 1037106"/>
                    <a:gd name="connsiteY79" fmla="*/ 1193163 h 1857492"/>
                    <a:gd name="connsiteX80" fmla="*/ 311358 w 1037106"/>
                    <a:gd name="connsiteY80" fmla="*/ 1195689 h 1857492"/>
                    <a:gd name="connsiteX81" fmla="*/ 298729 w 1037106"/>
                    <a:gd name="connsiteY81" fmla="*/ 1198215 h 1857492"/>
                    <a:gd name="connsiteX82" fmla="*/ 293677 w 1037106"/>
                    <a:gd name="connsiteY82" fmla="*/ 1200741 h 1857492"/>
                    <a:gd name="connsiteX83" fmla="*/ 286099 w 1037106"/>
                    <a:gd name="connsiteY83" fmla="*/ 1205792 h 1857492"/>
                    <a:gd name="connsiteX84" fmla="*/ 281047 w 1037106"/>
                    <a:gd name="connsiteY84" fmla="*/ 1213370 h 1857492"/>
                    <a:gd name="connsiteX85" fmla="*/ 278521 w 1037106"/>
                    <a:gd name="connsiteY85" fmla="*/ 1228526 h 1857492"/>
                    <a:gd name="connsiteX86" fmla="*/ 275995 w 1037106"/>
                    <a:gd name="connsiteY86" fmla="*/ 1238630 h 1857492"/>
                    <a:gd name="connsiteX87" fmla="*/ 283573 w 1037106"/>
                    <a:gd name="connsiteY87" fmla="*/ 1241156 h 1857492"/>
                    <a:gd name="connsiteX88" fmla="*/ 283573 w 1037106"/>
                    <a:gd name="connsiteY88" fmla="*/ 1261364 h 1857492"/>
                    <a:gd name="connsiteX89" fmla="*/ 248209 w 1037106"/>
                    <a:gd name="connsiteY89" fmla="*/ 1273994 h 1857492"/>
                    <a:gd name="connsiteX90" fmla="*/ 240631 w 1037106"/>
                    <a:gd name="connsiteY90" fmla="*/ 1276520 h 1857492"/>
                    <a:gd name="connsiteX91" fmla="*/ 233053 w 1037106"/>
                    <a:gd name="connsiteY91" fmla="*/ 1281571 h 1857492"/>
                    <a:gd name="connsiteX92" fmla="*/ 217898 w 1037106"/>
                    <a:gd name="connsiteY92" fmla="*/ 1289149 h 1857492"/>
                    <a:gd name="connsiteX93" fmla="*/ 228002 w 1037106"/>
                    <a:gd name="connsiteY93" fmla="*/ 1294201 h 1857492"/>
                    <a:gd name="connsiteX94" fmla="*/ 222950 w 1037106"/>
                    <a:gd name="connsiteY94" fmla="*/ 1334617 h 1857492"/>
                    <a:gd name="connsiteX95" fmla="*/ 217898 w 1037106"/>
                    <a:gd name="connsiteY95" fmla="*/ 1342195 h 1857492"/>
                    <a:gd name="connsiteX96" fmla="*/ 212846 w 1037106"/>
                    <a:gd name="connsiteY96" fmla="*/ 1354825 h 1857492"/>
                    <a:gd name="connsiteX97" fmla="*/ 207794 w 1037106"/>
                    <a:gd name="connsiteY97" fmla="*/ 1362402 h 1857492"/>
                    <a:gd name="connsiteX98" fmla="*/ 202742 w 1037106"/>
                    <a:gd name="connsiteY98" fmla="*/ 1372506 h 1857492"/>
                    <a:gd name="connsiteX99" fmla="*/ 210320 w 1037106"/>
                    <a:gd name="connsiteY99" fmla="*/ 1395240 h 1857492"/>
                    <a:gd name="connsiteX100" fmla="*/ 215372 w 1037106"/>
                    <a:gd name="connsiteY100" fmla="*/ 1402818 h 1857492"/>
                    <a:gd name="connsiteX101" fmla="*/ 217898 w 1037106"/>
                    <a:gd name="connsiteY101" fmla="*/ 1412922 h 1857492"/>
                    <a:gd name="connsiteX102" fmla="*/ 228002 w 1037106"/>
                    <a:gd name="connsiteY102" fmla="*/ 1433129 h 1857492"/>
                    <a:gd name="connsiteX103" fmla="*/ 230527 w 1037106"/>
                    <a:gd name="connsiteY103" fmla="*/ 1440707 h 1857492"/>
                    <a:gd name="connsiteX104" fmla="*/ 240631 w 1037106"/>
                    <a:gd name="connsiteY104" fmla="*/ 1458389 h 1857492"/>
                    <a:gd name="connsiteX105" fmla="*/ 245683 w 1037106"/>
                    <a:gd name="connsiteY105" fmla="*/ 1471019 h 1857492"/>
                    <a:gd name="connsiteX106" fmla="*/ 245683 w 1037106"/>
                    <a:gd name="connsiteY106" fmla="*/ 1508909 h 1857492"/>
                    <a:gd name="connsiteX107" fmla="*/ 255787 w 1037106"/>
                    <a:gd name="connsiteY107" fmla="*/ 1511434 h 1857492"/>
                    <a:gd name="connsiteX108" fmla="*/ 263365 w 1037106"/>
                    <a:gd name="connsiteY108" fmla="*/ 1521538 h 1857492"/>
                    <a:gd name="connsiteX109" fmla="*/ 268417 w 1037106"/>
                    <a:gd name="connsiteY109" fmla="*/ 1529116 h 1857492"/>
                    <a:gd name="connsiteX110" fmla="*/ 278521 w 1037106"/>
                    <a:gd name="connsiteY110" fmla="*/ 1556902 h 1857492"/>
                    <a:gd name="connsiteX111" fmla="*/ 283573 w 1037106"/>
                    <a:gd name="connsiteY111" fmla="*/ 1584688 h 1857492"/>
                    <a:gd name="connsiteX112" fmla="*/ 281047 w 1037106"/>
                    <a:gd name="connsiteY112" fmla="*/ 1592265 h 1857492"/>
                    <a:gd name="connsiteX113" fmla="*/ 281047 w 1037106"/>
                    <a:gd name="connsiteY113" fmla="*/ 1673096 h 1857492"/>
                    <a:gd name="connsiteX114" fmla="*/ 283573 w 1037106"/>
                    <a:gd name="connsiteY114" fmla="*/ 1698356 h 1857492"/>
                    <a:gd name="connsiteX115" fmla="*/ 296203 w 1037106"/>
                    <a:gd name="connsiteY115" fmla="*/ 1700882 h 1857492"/>
                    <a:gd name="connsiteX116" fmla="*/ 288625 w 1037106"/>
                    <a:gd name="connsiteY116" fmla="*/ 1708460 h 1857492"/>
                    <a:gd name="connsiteX117" fmla="*/ 293677 w 1037106"/>
                    <a:gd name="connsiteY117" fmla="*/ 1716038 h 1857492"/>
                    <a:gd name="connsiteX118" fmla="*/ 296203 w 1037106"/>
                    <a:gd name="connsiteY118" fmla="*/ 1723616 h 1857492"/>
                    <a:gd name="connsiteX119" fmla="*/ 293677 w 1037106"/>
                    <a:gd name="connsiteY119" fmla="*/ 1758979 h 1857492"/>
                    <a:gd name="connsiteX120" fmla="*/ 321462 w 1037106"/>
                    <a:gd name="connsiteY120" fmla="*/ 1753927 h 1857492"/>
                    <a:gd name="connsiteX121" fmla="*/ 329040 w 1037106"/>
                    <a:gd name="connsiteY121" fmla="*/ 1756453 h 1857492"/>
                    <a:gd name="connsiteX122" fmla="*/ 334092 w 1037106"/>
                    <a:gd name="connsiteY122" fmla="*/ 1774135 h 1857492"/>
                    <a:gd name="connsiteX123" fmla="*/ 354300 w 1037106"/>
                    <a:gd name="connsiteY123" fmla="*/ 1779187 h 1857492"/>
                    <a:gd name="connsiteX124" fmla="*/ 356826 w 1037106"/>
                    <a:gd name="connsiteY124" fmla="*/ 1789291 h 1857492"/>
                    <a:gd name="connsiteX125" fmla="*/ 379560 w 1037106"/>
                    <a:gd name="connsiteY125" fmla="*/ 1784239 h 1857492"/>
                    <a:gd name="connsiteX126" fmla="*/ 392189 w 1037106"/>
                    <a:gd name="connsiteY126" fmla="*/ 1774135 h 1857492"/>
                    <a:gd name="connsiteX127" fmla="*/ 389663 w 1037106"/>
                    <a:gd name="connsiteY127" fmla="*/ 1781713 h 1857492"/>
                    <a:gd name="connsiteX128" fmla="*/ 384611 w 1037106"/>
                    <a:gd name="connsiteY128" fmla="*/ 1794343 h 1857492"/>
                    <a:gd name="connsiteX129" fmla="*/ 392189 w 1037106"/>
                    <a:gd name="connsiteY129" fmla="*/ 1796869 h 1857492"/>
                    <a:gd name="connsiteX130" fmla="*/ 402293 w 1037106"/>
                    <a:gd name="connsiteY130" fmla="*/ 1794343 h 1857492"/>
                    <a:gd name="connsiteX131" fmla="*/ 417449 w 1037106"/>
                    <a:gd name="connsiteY131" fmla="*/ 1791817 h 1857492"/>
                    <a:gd name="connsiteX132" fmla="*/ 427553 w 1037106"/>
                    <a:gd name="connsiteY132" fmla="*/ 1804447 h 1857492"/>
                    <a:gd name="connsiteX133" fmla="*/ 442709 w 1037106"/>
                    <a:gd name="connsiteY133" fmla="*/ 1794343 h 1857492"/>
                    <a:gd name="connsiteX134" fmla="*/ 437657 w 1037106"/>
                    <a:gd name="connsiteY134" fmla="*/ 1806973 h 1857492"/>
                    <a:gd name="connsiteX135" fmla="*/ 427553 w 1037106"/>
                    <a:gd name="connsiteY135" fmla="*/ 1817076 h 1857492"/>
                    <a:gd name="connsiteX136" fmla="*/ 432605 w 1037106"/>
                    <a:gd name="connsiteY136" fmla="*/ 1819602 h 1857492"/>
                    <a:gd name="connsiteX137" fmla="*/ 450287 w 1037106"/>
                    <a:gd name="connsiteY137" fmla="*/ 1817076 h 1857492"/>
                    <a:gd name="connsiteX138" fmla="*/ 455339 w 1037106"/>
                    <a:gd name="connsiteY138" fmla="*/ 1824654 h 1857492"/>
                    <a:gd name="connsiteX139" fmla="*/ 478072 w 1037106"/>
                    <a:gd name="connsiteY139" fmla="*/ 1847388 h 1857492"/>
                    <a:gd name="connsiteX140" fmla="*/ 470494 w 1037106"/>
                    <a:gd name="connsiteY140" fmla="*/ 1849914 h 1857492"/>
                    <a:gd name="connsiteX141" fmla="*/ 460390 w 1037106"/>
                    <a:gd name="connsiteY141" fmla="*/ 1852440 h 1857492"/>
                    <a:gd name="connsiteX142" fmla="*/ 475546 w 1037106"/>
                    <a:gd name="connsiteY142" fmla="*/ 1857492 h 1857492"/>
                    <a:gd name="connsiteX143" fmla="*/ 485650 w 1037106"/>
                    <a:gd name="connsiteY143" fmla="*/ 1849914 h 1857492"/>
                    <a:gd name="connsiteX144" fmla="*/ 488176 w 1037106"/>
                    <a:gd name="connsiteY144" fmla="*/ 1837284 h 1857492"/>
                    <a:gd name="connsiteX145" fmla="*/ 490702 w 1037106"/>
                    <a:gd name="connsiteY145" fmla="*/ 1829706 h 1857492"/>
                    <a:gd name="connsiteX146" fmla="*/ 510910 w 1037106"/>
                    <a:gd name="connsiteY146" fmla="*/ 1822128 h 1857492"/>
                    <a:gd name="connsiteX147" fmla="*/ 521014 w 1037106"/>
                    <a:gd name="connsiteY147" fmla="*/ 1812025 h 1857492"/>
                    <a:gd name="connsiteX148" fmla="*/ 538695 w 1037106"/>
                    <a:gd name="connsiteY148" fmla="*/ 1806973 h 1857492"/>
                    <a:gd name="connsiteX149" fmla="*/ 546273 w 1037106"/>
                    <a:gd name="connsiteY149" fmla="*/ 1804447 h 1857492"/>
                    <a:gd name="connsiteX150" fmla="*/ 569007 w 1037106"/>
                    <a:gd name="connsiteY150" fmla="*/ 1791817 h 1857492"/>
                    <a:gd name="connsiteX151" fmla="*/ 576585 w 1037106"/>
                    <a:gd name="connsiteY151" fmla="*/ 1796869 h 1857492"/>
                    <a:gd name="connsiteX152" fmla="*/ 591741 w 1037106"/>
                    <a:gd name="connsiteY152" fmla="*/ 1786765 h 1857492"/>
                    <a:gd name="connsiteX153" fmla="*/ 596793 w 1037106"/>
                    <a:gd name="connsiteY153" fmla="*/ 1779187 h 1857492"/>
                    <a:gd name="connsiteX154" fmla="*/ 604371 w 1037106"/>
                    <a:gd name="connsiteY154" fmla="*/ 1776661 h 1857492"/>
                    <a:gd name="connsiteX155" fmla="*/ 606897 w 1037106"/>
                    <a:gd name="connsiteY155" fmla="*/ 1766557 h 1857492"/>
                    <a:gd name="connsiteX156" fmla="*/ 614474 w 1037106"/>
                    <a:gd name="connsiteY156" fmla="*/ 1764031 h 1857492"/>
                    <a:gd name="connsiteX157" fmla="*/ 627104 w 1037106"/>
                    <a:gd name="connsiteY157" fmla="*/ 1758979 h 1857492"/>
                    <a:gd name="connsiteX158" fmla="*/ 654890 w 1037106"/>
                    <a:gd name="connsiteY158" fmla="*/ 1738771 h 1857492"/>
                    <a:gd name="connsiteX159" fmla="*/ 687727 w 1037106"/>
                    <a:gd name="connsiteY159" fmla="*/ 1733720 h 1857492"/>
                    <a:gd name="connsiteX160" fmla="*/ 705409 w 1037106"/>
                    <a:gd name="connsiteY160" fmla="*/ 1726142 h 1857492"/>
                    <a:gd name="connsiteX161" fmla="*/ 707935 w 1037106"/>
                    <a:gd name="connsiteY161" fmla="*/ 1716038 h 1857492"/>
                    <a:gd name="connsiteX162" fmla="*/ 715513 w 1037106"/>
                    <a:gd name="connsiteY162" fmla="*/ 1705934 h 1857492"/>
                    <a:gd name="connsiteX163" fmla="*/ 725617 w 1037106"/>
                    <a:gd name="connsiteY163" fmla="*/ 1693304 h 1857492"/>
                    <a:gd name="connsiteX164" fmla="*/ 740773 w 1037106"/>
                    <a:gd name="connsiteY164" fmla="*/ 1675622 h 1857492"/>
                    <a:gd name="connsiteX165" fmla="*/ 753403 w 1037106"/>
                    <a:gd name="connsiteY165" fmla="*/ 1673096 h 1857492"/>
                    <a:gd name="connsiteX166" fmla="*/ 760981 w 1037106"/>
                    <a:gd name="connsiteY166" fmla="*/ 1662992 h 1857492"/>
                    <a:gd name="connsiteX167" fmla="*/ 750877 w 1037106"/>
                    <a:gd name="connsiteY167" fmla="*/ 1647837 h 1857492"/>
                    <a:gd name="connsiteX168" fmla="*/ 750877 w 1037106"/>
                    <a:gd name="connsiteY168" fmla="*/ 1670570 h 1857492"/>
                    <a:gd name="connsiteX169" fmla="*/ 773610 w 1037106"/>
                    <a:gd name="connsiteY169" fmla="*/ 1678148 h 1857492"/>
                    <a:gd name="connsiteX170" fmla="*/ 783714 w 1037106"/>
                    <a:gd name="connsiteY170" fmla="*/ 1670570 h 1857492"/>
                    <a:gd name="connsiteX171" fmla="*/ 791292 w 1037106"/>
                    <a:gd name="connsiteY171" fmla="*/ 1655415 h 1857492"/>
                    <a:gd name="connsiteX172" fmla="*/ 798870 w 1037106"/>
                    <a:gd name="connsiteY172" fmla="*/ 1650363 h 1857492"/>
                    <a:gd name="connsiteX173" fmla="*/ 811500 w 1037106"/>
                    <a:gd name="connsiteY173" fmla="*/ 1652889 h 1857492"/>
                    <a:gd name="connsiteX174" fmla="*/ 821604 w 1037106"/>
                    <a:gd name="connsiteY174" fmla="*/ 1660467 h 1857492"/>
                    <a:gd name="connsiteX175" fmla="*/ 829182 w 1037106"/>
                    <a:gd name="connsiteY175" fmla="*/ 1662992 h 1857492"/>
                    <a:gd name="connsiteX176" fmla="*/ 849389 w 1037106"/>
                    <a:gd name="connsiteY176" fmla="*/ 1627629 h 1857492"/>
                    <a:gd name="connsiteX177" fmla="*/ 864545 w 1037106"/>
                    <a:gd name="connsiteY177" fmla="*/ 1604895 h 1857492"/>
                    <a:gd name="connsiteX178" fmla="*/ 874649 w 1037106"/>
                    <a:gd name="connsiteY178" fmla="*/ 1579636 h 1857492"/>
                    <a:gd name="connsiteX179" fmla="*/ 882227 w 1037106"/>
                    <a:gd name="connsiteY179" fmla="*/ 1572058 h 1857492"/>
                    <a:gd name="connsiteX180" fmla="*/ 887279 w 1037106"/>
                    <a:gd name="connsiteY180" fmla="*/ 1561954 h 1857492"/>
                    <a:gd name="connsiteX181" fmla="*/ 892331 w 1037106"/>
                    <a:gd name="connsiteY181" fmla="*/ 1554376 h 1857492"/>
                    <a:gd name="connsiteX182" fmla="*/ 894857 w 1037106"/>
                    <a:gd name="connsiteY182" fmla="*/ 1546798 h 1857492"/>
                    <a:gd name="connsiteX183" fmla="*/ 899909 w 1037106"/>
                    <a:gd name="connsiteY183" fmla="*/ 1539220 h 1857492"/>
                    <a:gd name="connsiteX184" fmla="*/ 902435 w 1037106"/>
                    <a:gd name="connsiteY184" fmla="*/ 1531642 h 1857492"/>
                    <a:gd name="connsiteX185" fmla="*/ 907487 w 1037106"/>
                    <a:gd name="connsiteY185" fmla="*/ 1524064 h 1857492"/>
                    <a:gd name="connsiteX186" fmla="*/ 925168 w 1037106"/>
                    <a:gd name="connsiteY186" fmla="*/ 1493753 h 1857492"/>
                    <a:gd name="connsiteX187" fmla="*/ 927694 w 1037106"/>
                    <a:gd name="connsiteY187" fmla="*/ 1486175 h 1857492"/>
                    <a:gd name="connsiteX188" fmla="*/ 930220 w 1037106"/>
                    <a:gd name="connsiteY188" fmla="*/ 1476071 h 1857492"/>
                    <a:gd name="connsiteX189" fmla="*/ 945376 w 1037106"/>
                    <a:gd name="connsiteY189" fmla="*/ 1455863 h 1857492"/>
                    <a:gd name="connsiteX190" fmla="*/ 947902 w 1037106"/>
                    <a:gd name="connsiteY190" fmla="*/ 1448285 h 1857492"/>
                    <a:gd name="connsiteX191" fmla="*/ 950428 w 1037106"/>
                    <a:gd name="connsiteY191" fmla="*/ 1435655 h 1857492"/>
                    <a:gd name="connsiteX192" fmla="*/ 958006 w 1037106"/>
                    <a:gd name="connsiteY192" fmla="*/ 1425552 h 1857492"/>
                    <a:gd name="connsiteX193" fmla="*/ 968110 w 1037106"/>
                    <a:gd name="connsiteY193" fmla="*/ 1405344 h 1857492"/>
                    <a:gd name="connsiteX194" fmla="*/ 973162 w 1037106"/>
                    <a:gd name="connsiteY194" fmla="*/ 1392714 h 1857492"/>
                    <a:gd name="connsiteX195" fmla="*/ 978214 w 1037106"/>
                    <a:gd name="connsiteY195" fmla="*/ 1385136 h 1857492"/>
                    <a:gd name="connsiteX196" fmla="*/ 988318 w 1037106"/>
                    <a:gd name="connsiteY196" fmla="*/ 1359876 h 1857492"/>
                    <a:gd name="connsiteX197" fmla="*/ 995895 w 1037106"/>
                    <a:gd name="connsiteY197" fmla="*/ 1339669 h 1857492"/>
                    <a:gd name="connsiteX198" fmla="*/ 1000947 w 1037106"/>
                    <a:gd name="connsiteY198" fmla="*/ 1329565 h 1857492"/>
                    <a:gd name="connsiteX199" fmla="*/ 1003473 w 1037106"/>
                    <a:gd name="connsiteY199" fmla="*/ 1301779 h 1857492"/>
                    <a:gd name="connsiteX200" fmla="*/ 1005999 w 1037106"/>
                    <a:gd name="connsiteY200" fmla="*/ 1294201 h 1857492"/>
                    <a:gd name="connsiteX201" fmla="*/ 1008525 w 1037106"/>
                    <a:gd name="connsiteY201" fmla="*/ 1279046 h 1857492"/>
                    <a:gd name="connsiteX202" fmla="*/ 1013577 w 1037106"/>
                    <a:gd name="connsiteY202" fmla="*/ 1271468 h 1857492"/>
                    <a:gd name="connsiteX203" fmla="*/ 1018629 w 1037106"/>
                    <a:gd name="connsiteY203" fmla="*/ 1261364 h 1857492"/>
                    <a:gd name="connsiteX204" fmla="*/ 1026207 w 1037106"/>
                    <a:gd name="connsiteY204" fmla="*/ 1248734 h 1857492"/>
                    <a:gd name="connsiteX205" fmla="*/ 1028733 w 1037106"/>
                    <a:gd name="connsiteY205" fmla="*/ 1231052 h 1857492"/>
                    <a:gd name="connsiteX206" fmla="*/ 1033785 w 1037106"/>
                    <a:gd name="connsiteY206" fmla="*/ 1215896 h 1857492"/>
                    <a:gd name="connsiteX207" fmla="*/ 1036311 w 1037106"/>
                    <a:gd name="connsiteY207" fmla="*/ 1172955 h 1857492"/>
                    <a:gd name="connsiteX208" fmla="*/ 1026207 w 1037106"/>
                    <a:gd name="connsiteY208" fmla="*/ 1132539 h 1857492"/>
                    <a:gd name="connsiteX209" fmla="*/ 1016103 w 1037106"/>
                    <a:gd name="connsiteY209" fmla="*/ 1130013 h 1857492"/>
                    <a:gd name="connsiteX210" fmla="*/ 998421 w 1037106"/>
                    <a:gd name="connsiteY210" fmla="*/ 1114858 h 1857492"/>
                    <a:gd name="connsiteX211" fmla="*/ 990844 w 1037106"/>
                    <a:gd name="connsiteY211" fmla="*/ 1107280 h 1857492"/>
                    <a:gd name="connsiteX212" fmla="*/ 970636 w 1037106"/>
                    <a:gd name="connsiteY212" fmla="*/ 1092124 h 1857492"/>
                    <a:gd name="connsiteX213" fmla="*/ 960532 w 1037106"/>
                    <a:gd name="connsiteY213" fmla="*/ 1084546 h 1857492"/>
                    <a:gd name="connsiteX214" fmla="*/ 945376 w 1037106"/>
                    <a:gd name="connsiteY214" fmla="*/ 1079494 h 1857492"/>
                    <a:gd name="connsiteX215" fmla="*/ 922642 w 1037106"/>
                    <a:gd name="connsiteY215" fmla="*/ 1074442 h 1857492"/>
                    <a:gd name="connsiteX216" fmla="*/ 910013 w 1037106"/>
                    <a:gd name="connsiteY216" fmla="*/ 1069390 h 1857492"/>
                    <a:gd name="connsiteX217" fmla="*/ 889805 w 1037106"/>
                    <a:gd name="connsiteY217" fmla="*/ 1056760 h 1857492"/>
                    <a:gd name="connsiteX218" fmla="*/ 877175 w 1037106"/>
                    <a:gd name="connsiteY218" fmla="*/ 1041605 h 1857492"/>
                    <a:gd name="connsiteX219" fmla="*/ 879701 w 1037106"/>
                    <a:gd name="connsiteY219" fmla="*/ 1028975 h 1857492"/>
                    <a:gd name="connsiteX220" fmla="*/ 884753 w 1037106"/>
                    <a:gd name="connsiteY220" fmla="*/ 1011293 h 1857492"/>
                    <a:gd name="connsiteX221" fmla="*/ 889805 w 1037106"/>
                    <a:gd name="connsiteY221" fmla="*/ 1003715 h 1857492"/>
                    <a:gd name="connsiteX222" fmla="*/ 849389 w 1037106"/>
                    <a:gd name="connsiteY222" fmla="*/ 935514 h 1857492"/>
                    <a:gd name="connsiteX223" fmla="*/ 836760 w 1037106"/>
                    <a:gd name="connsiteY223" fmla="*/ 932988 h 1857492"/>
                    <a:gd name="connsiteX224" fmla="*/ 826656 w 1037106"/>
                    <a:gd name="connsiteY224" fmla="*/ 872365 h 1857492"/>
                    <a:gd name="connsiteX225" fmla="*/ 814026 w 1037106"/>
                    <a:gd name="connsiteY225" fmla="*/ 869839 h 1857492"/>
                    <a:gd name="connsiteX226" fmla="*/ 798870 w 1037106"/>
                    <a:gd name="connsiteY226" fmla="*/ 857209 h 1857492"/>
                    <a:gd name="connsiteX227" fmla="*/ 778662 w 1037106"/>
                    <a:gd name="connsiteY227" fmla="*/ 854683 h 1857492"/>
                    <a:gd name="connsiteX228" fmla="*/ 776136 w 1037106"/>
                    <a:gd name="connsiteY228" fmla="*/ 844579 h 1857492"/>
                    <a:gd name="connsiteX229" fmla="*/ 773610 w 1037106"/>
                    <a:gd name="connsiteY229" fmla="*/ 837001 h 1857492"/>
                    <a:gd name="connsiteX230" fmla="*/ 788766 w 1037106"/>
                    <a:gd name="connsiteY230" fmla="*/ 806690 h 1857492"/>
                    <a:gd name="connsiteX231" fmla="*/ 781188 w 1037106"/>
                    <a:gd name="connsiteY231" fmla="*/ 794060 h 1857492"/>
                    <a:gd name="connsiteX232" fmla="*/ 760981 w 1037106"/>
                    <a:gd name="connsiteY232" fmla="*/ 778904 h 1857492"/>
                    <a:gd name="connsiteX233" fmla="*/ 766032 w 1037106"/>
                    <a:gd name="connsiteY233" fmla="*/ 708177 h 1857492"/>
                    <a:gd name="connsiteX234" fmla="*/ 778662 w 1037106"/>
                    <a:gd name="connsiteY234" fmla="*/ 703125 h 1857492"/>
                    <a:gd name="connsiteX235" fmla="*/ 781188 w 1037106"/>
                    <a:gd name="connsiteY235" fmla="*/ 693021 h 1857492"/>
                    <a:gd name="connsiteX236" fmla="*/ 773610 w 1037106"/>
                    <a:gd name="connsiteY236" fmla="*/ 690495 h 1857492"/>
                    <a:gd name="connsiteX237" fmla="*/ 760981 w 1037106"/>
                    <a:gd name="connsiteY237" fmla="*/ 687969 h 1857492"/>
                    <a:gd name="connsiteX238" fmla="*/ 753403 w 1037106"/>
                    <a:gd name="connsiteY238" fmla="*/ 680391 h 1857492"/>
                    <a:gd name="connsiteX239" fmla="*/ 740773 w 1037106"/>
                    <a:gd name="connsiteY239" fmla="*/ 655132 h 1857492"/>
                    <a:gd name="connsiteX240" fmla="*/ 730669 w 1037106"/>
                    <a:gd name="connsiteY240" fmla="*/ 645028 h 1857492"/>
                    <a:gd name="connsiteX241" fmla="*/ 723091 w 1037106"/>
                    <a:gd name="connsiteY241" fmla="*/ 632398 h 1857492"/>
                    <a:gd name="connsiteX242" fmla="*/ 710461 w 1037106"/>
                    <a:gd name="connsiteY242" fmla="*/ 614716 h 1857492"/>
                    <a:gd name="connsiteX243" fmla="*/ 695305 w 1037106"/>
                    <a:gd name="connsiteY243" fmla="*/ 597034 h 1857492"/>
                    <a:gd name="connsiteX244" fmla="*/ 685202 w 1037106"/>
                    <a:gd name="connsiteY244" fmla="*/ 584405 h 1857492"/>
                    <a:gd name="connsiteX245" fmla="*/ 677624 w 1037106"/>
                    <a:gd name="connsiteY245" fmla="*/ 576827 h 1857492"/>
                    <a:gd name="connsiteX246" fmla="*/ 664994 w 1037106"/>
                    <a:gd name="connsiteY246" fmla="*/ 554093 h 1857492"/>
                    <a:gd name="connsiteX247" fmla="*/ 644786 w 1037106"/>
                    <a:gd name="connsiteY247" fmla="*/ 528833 h 1857492"/>
                    <a:gd name="connsiteX248" fmla="*/ 632156 w 1037106"/>
                    <a:gd name="connsiteY248" fmla="*/ 513678 h 1857492"/>
                    <a:gd name="connsiteX249" fmla="*/ 629630 w 1037106"/>
                    <a:gd name="connsiteY249" fmla="*/ 501048 h 1857492"/>
                    <a:gd name="connsiteX250" fmla="*/ 634682 w 1037106"/>
                    <a:gd name="connsiteY250" fmla="*/ 463158 h 1857492"/>
                    <a:gd name="connsiteX251" fmla="*/ 637208 w 1037106"/>
                    <a:gd name="connsiteY251" fmla="*/ 448002 h 1857492"/>
                    <a:gd name="connsiteX252" fmla="*/ 644786 w 1037106"/>
                    <a:gd name="connsiteY252" fmla="*/ 435373 h 1857492"/>
                    <a:gd name="connsiteX253" fmla="*/ 647312 w 1037106"/>
                    <a:gd name="connsiteY253" fmla="*/ 425269 h 1857492"/>
                    <a:gd name="connsiteX254" fmla="*/ 652364 w 1037106"/>
                    <a:gd name="connsiteY254" fmla="*/ 382327 h 1857492"/>
                    <a:gd name="connsiteX255" fmla="*/ 649838 w 1037106"/>
                    <a:gd name="connsiteY255" fmla="*/ 364646 h 1857492"/>
                    <a:gd name="connsiteX256" fmla="*/ 632156 w 1037106"/>
                    <a:gd name="connsiteY256" fmla="*/ 354542 h 1857492"/>
                    <a:gd name="connsiteX257" fmla="*/ 624578 w 1037106"/>
                    <a:gd name="connsiteY257" fmla="*/ 344438 h 1857492"/>
                    <a:gd name="connsiteX258" fmla="*/ 619526 w 1037106"/>
                    <a:gd name="connsiteY258" fmla="*/ 336860 h 1857492"/>
                    <a:gd name="connsiteX259" fmla="*/ 611948 w 1037106"/>
                    <a:gd name="connsiteY259" fmla="*/ 334334 h 1857492"/>
                    <a:gd name="connsiteX260" fmla="*/ 604371 w 1037106"/>
                    <a:gd name="connsiteY260" fmla="*/ 329282 h 1857492"/>
                    <a:gd name="connsiteX261" fmla="*/ 594267 w 1037106"/>
                    <a:gd name="connsiteY261" fmla="*/ 311600 h 1857492"/>
                    <a:gd name="connsiteX262" fmla="*/ 586689 w 1037106"/>
                    <a:gd name="connsiteY262" fmla="*/ 306548 h 1857492"/>
                    <a:gd name="connsiteX263" fmla="*/ 531118 w 1037106"/>
                    <a:gd name="connsiteY263" fmla="*/ 306548 h 1857492"/>
                    <a:gd name="connsiteX264" fmla="*/ 528592 w 1037106"/>
                    <a:gd name="connsiteY264" fmla="*/ 296444 h 1857492"/>
                    <a:gd name="connsiteX265" fmla="*/ 521014 w 1037106"/>
                    <a:gd name="connsiteY265" fmla="*/ 271185 h 1857492"/>
                    <a:gd name="connsiteX266" fmla="*/ 518488 w 1037106"/>
                    <a:gd name="connsiteY266" fmla="*/ 250977 h 1857492"/>
                    <a:gd name="connsiteX267" fmla="*/ 515962 w 1037106"/>
                    <a:gd name="connsiteY267" fmla="*/ 240873 h 1857492"/>
                    <a:gd name="connsiteX268" fmla="*/ 513436 w 1037106"/>
                    <a:gd name="connsiteY268" fmla="*/ 192880 h 1857492"/>
                    <a:gd name="connsiteX269" fmla="*/ 505858 w 1037106"/>
                    <a:gd name="connsiteY269" fmla="*/ 190354 h 1857492"/>
                    <a:gd name="connsiteX270" fmla="*/ 498280 w 1037106"/>
                    <a:gd name="connsiteY270" fmla="*/ 182776 h 1857492"/>
                    <a:gd name="connsiteX271" fmla="*/ 508384 w 1037106"/>
                    <a:gd name="connsiteY271" fmla="*/ 144886 h 1857492"/>
                    <a:gd name="connsiteX272" fmla="*/ 503332 w 1037106"/>
                    <a:gd name="connsiteY272" fmla="*/ 124679 h 1857492"/>
                    <a:gd name="connsiteX273" fmla="*/ 500806 w 1037106"/>
                    <a:gd name="connsiteY273" fmla="*/ 56478 h 1857492"/>
                    <a:gd name="connsiteX274" fmla="*/ 493228 w 1037106"/>
                    <a:gd name="connsiteY274" fmla="*/ 53952 h 1857492"/>
                    <a:gd name="connsiteX275" fmla="*/ 483124 w 1037106"/>
                    <a:gd name="connsiteY275" fmla="*/ 48900 h 1857492"/>
                    <a:gd name="connsiteX276" fmla="*/ 450287 w 1037106"/>
                    <a:gd name="connsiteY276" fmla="*/ 43848 h 1857492"/>
                    <a:gd name="connsiteX277" fmla="*/ 430079 w 1037106"/>
                    <a:gd name="connsiteY277" fmla="*/ 31218 h 1857492"/>
                    <a:gd name="connsiteX278" fmla="*/ 409871 w 1037106"/>
                    <a:gd name="connsiteY278" fmla="*/ 13536 h 1857492"/>
                    <a:gd name="connsiteX279" fmla="*/ 392189 w 1037106"/>
                    <a:gd name="connsiteY279" fmla="*/ 16062 h 1857492"/>
                    <a:gd name="connsiteX280" fmla="*/ 384611 w 1037106"/>
                    <a:gd name="connsiteY280" fmla="*/ 18588 h 1857492"/>
                    <a:gd name="connsiteX281" fmla="*/ 349248 w 1037106"/>
                    <a:gd name="connsiteY281" fmla="*/ 11010 h 1857492"/>
                    <a:gd name="connsiteX282" fmla="*/ 351774 w 1037106"/>
                    <a:gd name="connsiteY282" fmla="*/ 906 h 1857492"/>
                    <a:gd name="connsiteX283" fmla="*/ 361878 w 1037106"/>
                    <a:gd name="connsiteY283" fmla="*/ 3432 h 1857492"/>
                    <a:gd name="connsiteX284" fmla="*/ 349248 w 1037106"/>
                    <a:gd name="connsiteY284" fmla="*/ 38796 h 1857492"/>
                    <a:gd name="connsiteX285" fmla="*/ 346722 w 1037106"/>
                    <a:gd name="connsiteY285" fmla="*/ 48900 h 1857492"/>
                    <a:gd name="connsiteX286" fmla="*/ 339144 w 1037106"/>
                    <a:gd name="connsiteY286" fmla="*/ 51426 h 1857492"/>
                    <a:gd name="connsiteX287" fmla="*/ 323988 w 1037106"/>
                    <a:gd name="connsiteY287" fmla="*/ 48900 h 1857492"/>
                    <a:gd name="connsiteX288" fmla="*/ 306306 w 1037106"/>
                    <a:gd name="connsiteY288" fmla="*/ 46374 h 1857492"/>
                    <a:gd name="connsiteX289" fmla="*/ 296203 w 1037106"/>
                    <a:gd name="connsiteY289" fmla="*/ 43848 h 1857492"/>
                    <a:gd name="connsiteX290" fmla="*/ 288625 w 1037106"/>
                    <a:gd name="connsiteY290" fmla="*/ 46374 h 1857492"/>
                    <a:gd name="connsiteX291" fmla="*/ 291151 w 1037106"/>
                    <a:gd name="connsiteY291" fmla="*/ 64055 h 1857492"/>
                    <a:gd name="connsiteX292" fmla="*/ 296203 w 1037106"/>
                    <a:gd name="connsiteY292" fmla="*/ 86789 h 1857492"/>
                    <a:gd name="connsiteX293" fmla="*/ 293677 w 1037106"/>
                    <a:gd name="connsiteY293" fmla="*/ 124679 h 1857492"/>
                    <a:gd name="connsiteX294" fmla="*/ 291151 w 1037106"/>
                    <a:gd name="connsiteY294" fmla="*/ 132257 h 1857492"/>
                    <a:gd name="connsiteX295" fmla="*/ 288625 w 1037106"/>
                    <a:gd name="connsiteY295" fmla="*/ 147412 h 1857492"/>
                    <a:gd name="connsiteX296" fmla="*/ 301255 w 1037106"/>
                    <a:gd name="connsiteY296" fmla="*/ 200458 h 1857492"/>
                    <a:gd name="connsiteX297" fmla="*/ 308832 w 1037106"/>
                    <a:gd name="connsiteY297" fmla="*/ 202984 h 1857492"/>
                    <a:gd name="connsiteX298" fmla="*/ 296203 w 1037106"/>
                    <a:gd name="connsiteY298" fmla="*/ 240873 h 1857492"/>
                    <a:gd name="connsiteX299" fmla="*/ 283573 w 1037106"/>
                    <a:gd name="connsiteY299" fmla="*/ 283815 h 1857492"/>
                    <a:gd name="connsiteX300" fmla="*/ 281047 w 1037106"/>
                    <a:gd name="connsiteY300" fmla="*/ 298970 h 1857492"/>
                    <a:gd name="connsiteX301" fmla="*/ 263365 w 1037106"/>
                    <a:gd name="connsiteY301" fmla="*/ 293918 h 1857492"/>
                    <a:gd name="connsiteX302" fmla="*/ 255787 w 1037106"/>
                    <a:gd name="connsiteY302" fmla="*/ 286341 h 1857492"/>
                    <a:gd name="connsiteX303" fmla="*/ 248209 w 1037106"/>
                    <a:gd name="connsiteY303" fmla="*/ 281289 h 1857492"/>
                    <a:gd name="connsiteX304" fmla="*/ 243157 w 1037106"/>
                    <a:gd name="connsiteY304" fmla="*/ 273711 h 1857492"/>
                    <a:gd name="connsiteX305" fmla="*/ 240631 w 1037106"/>
                    <a:gd name="connsiteY305" fmla="*/ 266133 h 1857492"/>
                    <a:gd name="connsiteX306" fmla="*/ 230527 w 1037106"/>
                    <a:gd name="connsiteY306" fmla="*/ 263607 h 1857492"/>
                    <a:gd name="connsiteX307" fmla="*/ 220424 w 1037106"/>
                    <a:gd name="connsiteY307" fmla="*/ 276237 h 1857492"/>
                    <a:gd name="connsiteX308" fmla="*/ 197690 w 1037106"/>
                    <a:gd name="connsiteY308" fmla="*/ 263607 h 1857492"/>
                    <a:gd name="connsiteX309" fmla="*/ 195164 w 1037106"/>
                    <a:gd name="connsiteY309" fmla="*/ 276237 h 1857492"/>
                    <a:gd name="connsiteX310" fmla="*/ 192638 w 1037106"/>
                    <a:gd name="connsiteY310" fmla="*/ 286341 h 1857492"/>
                    <a:gd name="connsiteX311" fmla="*/ 147171 w 1037106"/>
                    <a:gd name="connsiteY311" fmla="*/ 301496 h 1857492"/>
                    <a:gd name="connsiteX312" fmla="*/ 94125 w 1037106"/>
                    <a:gd name="connsiteY312" fmla="*/ 286341 h 1857492"/>
                    <a:gd name="connsiteX313" fmla="*/ 89073 w 1037106"/>
                    <a:gd name="connsiteY313" fmla="*/ 278763 h 1857492"/>
                    <a:gd name="connsiteX314" fmla="*/ 86547 w 1037106"/>
                    <a:gd name="connsiteY314" fmla="*/ 268659 h 1857492"/>
                    <a:gd name="connsiteX315" fmla="*/ 84021 w 1037106"/>
                    <a:gd name="connsiteY315" fmla="*/ 261081 h 1857492"/>
                    <a:gd name="connsiteX316" fmla="*/ 71392 w 1037106"/>
                    <a:gd name="connsiteY316" fmla="*/ 256029 h 1857492"/>
                    <a:gd name="connsiteX317" fmla="*/ 53710 w 1037106"/>
                    <a:gd name="connsiteY317" fmla="*/ 235821 h 1857492"/>
                    <a:gd name="connsiteX318" fmla="*/ 43606 w 1037106"/>
                    <a:gd name="connsiteY318" fmla="*/ 230769 h 1857492"/>
                    <a:gd name="connsiteX319" fmla="*/ 28450 w 1037106"/>
                    <a:gd name="connsiteY319" fmla="*/ 223191 h 1857492"/>
                    <a:gd name="connsiteX320" fmla="*/ 20872 w 1037106"/>
                    <a:gd name="connsiteY320" fmla="*/ 215613 h 1857492"/>
                    <a:gd name="connsiteX321" fmla="*/ 5716 w 1037106"/>
                    <a:gd name="connsiteY321" fmla="*/ 235821 h 1857492"/>
                    <a:gd name="connsiteX322" fmla="*/ 15820 w 1037106"/>
                    <a:gd name="connsiteY322" fmla="*/ 258555 h 1857492"/>
                    <a:gd name="connsiteX0" fmla="*/ 15820 w 1037106"/>
                    <a:gd name="connsiteY0" fmla="*/ 258555 h 1857492"/>
                    <a:gd name="connsiteX1" fmla="*/ 664 w 1037106"/>
                    <a:gd name="connsiteY1" fmla="*/ 263607 h 1857492"/>
                    <a:gd name="connsiteX2" fmla="*/ 3190 w 1037106"/>
                    <a:gd name="connsiteY2" fmla="*/ 271185 h 1857492"/>
                    <a:gd name="connsiteX3" fmla="*/ 28450 w 1037106"/>
                    <a:gd name="connsiteY3" fmla="*/ 286341 h 1857492"/>
                    <a:gd name="connsiteX4" fmla="*/ 36028 w 1037106"/>
                    <a:gd name="connsiteY4" fmla="*/ 296444 h 1857492"/>
                    <a:gd name="connsiteX5" fmla="*/ 43606 w 1037106"/>
                    <a:gd name="connsiteY5" fmla="*/ 304022 h 1857492"/>
                    <a:gd name="connsiteX6" fmla="*/ 58762 w 1037106"/>
                    <a:gd name="connsiteY6" fmla="*/ 324230 h 1857492"/>
                    <a:gd name="connsiteX7" fmla="*/ 63814 w 1037106"/>
                    <a:gd name="connsiteY7" fmla="*/ 331808 h 1857492"/>
                    <a:gd name="connsiteX8" fmla="*/ 71392 w 1037106"/>
                    <a:gd name="connsiteY8" fmla="*/ 339386 h 1857492"/>
                    <a:gd name="connsiteX9" fmla="*/ 73918 w 1037106"/>
                    <a:gd name="connsiteY9" fmla="*/ 346964 h 1857492"/>
                    <a:gd name="connsiteX10" fmla="*/ 132015 w 1037106"/>
                    <a:gd name="connsiteY10" fmla="*/ 359594 h 1857492"/>
                    <a:gd name="connsiteX11" fmla="*/ 149697 w 1037106"/>
                    <a:gd name="connsiteY11" fmla="*/ 367171 h 1857492"/>
                    <a:gd name="connsiteX12" fmla="*/ 159800 w 1037106"/>
                    <a:gd name="connsiteY12" fmla="*/ 377275 h 1857492"/>
                    <a:gd name="connsiteX13" fmla="*/ 164852 w 1037106"/>
                    <a:gd name="connsiteY13" fmla="*/ 392431 h 1857492"/>
                    <a:gd name="connsiteX14" fmla="*/ 182534 w 1037106"/>
                    <a:gd name="connsiteY14" fmla="*/ 400009 h 1857492"/>
                    <a:gd name="connsiteX15" fmla="*/ 190112 w 1037106"/>
                    <a:gd name="connsiteY15" fmla="*/ 405061 h 1857492"/>
                    <a:gd name="connsiteX16" fmla="*/ 202742 w 1037106"/>
                    <a:gd name="connsiteY16" fmla="*/ 420217 h 1857492"/>
                    <a:gd name="connsiteX17" fmla="*/ 212846 w 1037106"/>
                    <a:gd name="connsiteY17" fmla="*/ 422743 h 1857492"/>
                    <a:gd name="connsiteX18" fmla="*/ 220424 w 1037106"/>
                    <a:gd name="connsiteY18" fmla="*/ 425269 h 1857492"/>
                    <a:gd name="connsiteX19" fmla="*/ 212846 w 1037106"/>
                    <a:gd name="connsiteY19" fmla="*/ 427795 h 1857492"/>
                    <a:gd name="connsiteX20" fmla="*/ 212846 w 1037106"/>
                    <a:gd name="connsiteY20" fmla="*/ 448002 h 1857492"/>
                    <a:gd name="connsiteX21" fmla="*/ 215372 w 1037106"/>
                    <a:gd name="connsiteY21" fmla="*/ 455580 h 1857492"/>
                    <a:gd name="connsiteX22" fmla="*/ 222950 w 1037106"/>
                    <a:gd name="connsiteY22" fmla="*/ 463158 h 1857492"/>
                    <a:gd name="connsiteX23" fmla="*/ 225476 w 1037106"/>
                    <a:gd name="connsiteY23" fmla="*/ 493470 h 1857492"/>
                    <a:gd name="connsiteX24" fmla="*/ 228002 w 1037106"/>
                    <a:gd name="connsiteY24" fmla="*/ 511152 h 1857492"/>
                    <a:gd name="connsiteX25" fmla="*/ 240631 w 1037106"/>
                    <a:gd name="connsiteY25" fmla="*/ 521255 h 1857492"/>
                    <a:gd name="connsiteX26" fmla="*/ 248209 w 1037106"/>
                    <a:gd name="connsiteY26" fmla="*/ 518729 h 1857492"/>
                    <a:gd name="connsiteX27" fmla="*/ 248209 w 1037106"/>
                    <a:gd name="connsiteY27" fmla="*/ 538937 h 1857492"/>
                    <a:gd name="connsiteX28" fmla="*/ 240631 w 1037106"/>
                    <a:gd name="connsiteY28" fmla="*/ 541463 h 1857492"/>
                    <a:gd name="connsiteX29" fmla="*/ 235579 w 1037106"/>
                    <a:gd name="connsiteY29" fmla="*/ 549041 h 1857492"/>
                    <a:gd name="connsiteX30" fmla="*/ 245683 w 1037106"/>
                    <a:gd name="connsiteY30" fmla="*/ 556619 h 1857492"/>
                    <a:gd name="connsiteX31" fmla="*/ 248209 w 1037106"/>
                    <a:gd name="connsiteY31" fmla="*/ 574301 h 1857492"/>
                    <a:gd name="connsiteX32" fmla="*/ 263365 w 1037106"/>
                    <a:gd name="connsiteY32" fmla="*/ 597034 h 1857492"/>
                    <a:gd name="connsiteX33" fmla="*/ 270943 w 1037106"/>
                    <a:gd name="connsiteY33" fmla="*/ 614716 h 1857492"/>
                    <a:gd name="connsiteX34" fmla="*/ 273469 w 1037106"/>
                    <a:gd name="connsiteY34" fmla="*/ 632398 h 1857492"/>
                    <a:gd name="connsiteX35" fmla="*/ 281047 w 1037106"/>
                    <a:gd name="connsiteY35" fmla="*/ 639976 h 1857492"/>
                    <a:gd name="connsiteX36" fmla="*/ 286099 w 1037106"/>
                    <a:gd name="connsiteY36" fmla="*/ 700599 h 1857492"/>
                    <a:gd name="connsiteX37" fmla="*/ 291151 w 1037106"/>
                    <a:gd name="connsiteY37" fmla="*/ 718281 h 1857492"/>
                    <a:gd name="connsiteX38" fmla="*/ 293677 w 1037106"/>
                    <a:gd name="connsiteY38" fmla="*/ 730911 h 1857492"/>
                    <a:gd name="connsiteX39" fmla="*/ 301255 w 1037106"/>
                    <a:gd name="connsiteY39" fmla="*/ 753644 h 1857492"/>
                    <a:gd name="connsiteX40" fmla="*/ 303781 w 1037106"/>
                    <a:gd name="connsiteY40" fmla="*/ 761222 h 1857492"/>
                    <a:gd name="connsiteX41" fmla="*/ 321462 w 1037106"/>
                    <a:gd name="connsiteY41" fmla="*/ 789008 h 1857492"/>
                    <a:gd name="connsiteX42" fmla="*/ 334092 w 1037106"/>
                    <a:gd name="connsiteY42" fmla="*/ 806690 h 1857492"/>
                    <a:gd name="connsiteX43" fmla="*/ 346722 w 1037106"/>
                    <a:gd name="connsiteY43" fmla="*/ 804164 h 1857492"/>
                    <a:gd name="connsiteX44" fmla="*/ 356826 w 1037106"/>
                    <a:gd name="connsiteY44" fmla="*/ 773852 h 1857492"/>
                    <a:gd name="connsiteX45" fmla="*/ 364404 w 1037106"/>
                    <a:gd name="connsiteY45" fmla="*/ 771326 h 1857492"/>
                    <a:gd name="connsiteX46" fmla="*/ 371982 w 1037106"/>
                    <a:gd name="connsiteY46" fmla="*/ 766274 h 1857492"/>
                    <a:gd name="connsiteX47" fmla="*/ 364404 w 1037106"/>
                    <a:gd name="connsiteY47" fmla="*/ 776378 h 1857492"/>
                    <a:gd name="connsiteX48" fmla="*/ 366930 w 1037106"/>
                    <a:gd name="connsiteY48" fmla="*/ 799112 h 1857492"/>
                    <a:gd name="connsiteX49" fmla="*/ 394715 w 1037106"/>
                    <a:gd name="connsiteY49" fmla="*/ 806690 h 1857492"/>
                    <a:gd name="connsiteX50" fmla="*/ 409871 w 1037106"/>
                    <a:gd name="connsiteY50" fmla="*/ 811742 h 1857492"/>
                    <a:gd name="connsiteX51" fmla="*/ 419975 w 1037106"/>
                    <a:gd name="connsiteY51" fmla="*/ 821846 h 1857492"/>
                    <a:gd name="connsiteX52" fmla="*/ 432605 w 1037106"/>
                    <a:gd name="connsiteY52" fmla="*/ 842053 h 1857492"/>
                    <a:gd name="connsiteX53" fmla="*/ 437657 w 1037106"/>
                    <a:gd name="connsiteY53" fmla="*/ 864787 h 1857492"/>
                    <a:gd name="connsiteX54" fmla="*/ 445235 w 1037106"/>
                    <a:gd name="connsiteY54" fmla="*/ 874891 h 1857492"/>
                    <a:gd name="connsiteX55" fmla="*/ 447761 w 1037106"/>
                    <a:gd name="connsiteY55" fmla="*/ 902676 h 1857492"/>
                    <a:gd name="connsiteX56" fmla="*/ 450287 w 1037106"/>
                    <a:gd name="connsiteY56" fmla="*/ 915306 h 1857492"/>
                    <a:gd name="connsiteX57" fmla="*/ 460390 w 1037106"/>
                    <a:gd name="connsiteY57" fmla="*/ 920358 h 1857492"/>
                    <a:gd name="connsiteX58" fmla="*/ 465442 w 1037106"/>
                    <a:gd name="connsiteY58" fmla="*/ 945618 h 1857492"/>
                    <a:gd name="connsiteX59" fmla="*/ 455339 w 1037106"/>
                    <a:gd name="connsiteY59" fmla="*/ 940566 h 1857492"/>
                    <a:gd name="connsiteX60" fmla="*/ 450287 w 1037106"/>
                    <a:gd name="connsiteY60" fmla="*/ 932988 h 1857492"/>
                    <a:gd name="connsiteX61" fmla="*/ 427960 w 1037106"/>
                    <a:gd name="connsiteY61" fmla="*/ 942752 h 1857492"/>
                    <a:gd name="connsiteX62" fmla="*/ 425027 w 1037106"/>
                    <a:gd name="connsiteY62" fmla="*/ 920358 h 1857492"/>
                    <a:gd name="connsiteX63" fmla="*/ 399767 w 1037106"/>
                    <a:gd name="connsiteY63" fmla="*/ 925410 h 1857492"/>
                    <a:gd name="connsiteX64" fmla="*/ 424891 w 1037106"/>
                    <a:gd name="connsiteY64" fmla="*/ 943092 h 1857492"/>
                    <a:gd name="connsiteX65" fmla="*/ 409871 w 1037106"/>
                    <a:gd name="connsiteY65" fmla="*/ 970878 h 1857492"/>
                    <a:gd name="connsiteX66" fmla="*/ 407345 w 1037106"/>
                    <a:gd name="connsiteY66" fmla="*/ 980981 h 1857492"/>
                    <a:gd name="connsiteX67" fmla="*/ 404819 w 1037106"/>
                    <a:gd name="connsiteY67" fmla="*/ 1011293 h 1857492"/>
                    <a:gd name="connsiteX68" fmla="*/ 397241 w 1037106"/>
                    <a:gd name="connsiteY68" fmla="*/ 1018871 h 1857492"/>
                    <a:gd name="connsiteX69" fmla="*/ 384611 w 1037106"/>
                    <a:gd name="connsiteY69" fmla="*/ 1044131 h 1857492"/>
                    <a:gd name="connsiteX70" fmla="*/ 379560 w 1037106"/>
                    <a:gd name="connsiteY70" fmla="*/ 1059286 h 1857492"/>
                    <a:gd name="connsiteX71" fmla="*/ 371982 w 1037106"/>
                    <a:gd name="connsiteY71" fmla="*/ 1074442 h 1857492"/>
                    <a:gd name="connsiteX72" fmla="*/ 369456 w 1037106"/>
                    <a:gd name="connsiteY72" fmla="*/ 1094650 h 1857492"/>
                    <a:gd name="connsiteX73" fmla="*/ 349248 w 1037106"/>
                    <a:gd name="connsiteY73" fmla="*/ 1117384 h 1857492"/>
                    <a:gd name="connsiteX74" fmla="*/ 331566 w 1037106"/>
                    <a:gd name="connsiteY74" fmla="*/ 1150221 h 1857492"/>
                    <a:gd name="connsiteX75" fmla="*/ 321462 w 1037106"/>
                    <a:gd name="connsiteY75" fmla="*/ 1165377 h 1857492"/>
                    <a:gd name="connsiteX76" fmla="*/ 313884 w 1037106"/>
                    <a:gd name="connsiteY76" fmla="*/ 1152747 h 1857492"/>
                    <a:gd name="connsiteX77" fmla="*/ 311358 w 1037106"/>
                    <a:gd name="connsiteY77" fmla="*/ 1145169 h 1857492"/>
                    <a:gd name="connsiteX78" fmla="*/ 301255 w 1037106"/>
                    <a:gd name="connsiteY78" fmla="*/ 1157799 h 1857492"/>
                    <a:gd name="connsiteX79" fmla="*/ 303781 w 1037106"/>
                    <a:gd name="connsiteY79" fmla="*/ 1193163 h 1857492"/>
                    <a:gd name="connsiteX80" fmla="*/ 311358 w 1037106"/>
                    <a:gd name="connsiteY80" fmla="*/ 1195689 h 1857492"/>
                    <a:gd name="connsiteX81" fmla="*/ 298729 w 1037106"/>
                    <a:gd name="connsiteY81" fmla="*/ 1198215 h 1857492"/>
                    <a:gd name="connsiteX82" fmla="*/ 293677 w 1037106"/>
                    <a:gd name="connsiteY82" fmla="*/ 1200741 h 1857492"/>
                    <a:gd name="connsiteX83" fmla="*/ 286099 w 1037106"/>
                    <a:gd name="connsiteY83" fmla="*/ 1205792 h 1857492"/>
                    <a:gd name="connsiteX84" fmla="*/ 281047 w 1037106"/>
                    <a:gd name="connsiteY84" fmla="*/ 1213370 h 1857492"/>
                    <a:gd name="connsiteX85" fmla="*/ 278521 w 1037106"/>
                    <a:gd name="connsiteY85" fmla="*/ 1228526 h 1857492"/>
                    <a:gd name="connsiteX86" fmla="*/ 275995 w 1037106"/>
                    <a:gd name="connsiteY86" fmla="*/ 1238630 h 1857492"/>
                    <a:gd name="connsiteX87" fmla="*/ 283573 w 1037106"/>
                    <a:gd name="connsiteY87" fmla="*/ 1241156 h 1857492"/>
                    <a:gd name="connsiteX88" fmla="*/ 283573 w 1037106"/>
                    <a:gd name="connsiteY88" fmla="*/ 1261364 h 1857492"/>
                    <a:gd name="connsiteX89" fmla="*/ 248209 w 1037106"/>
                    <a:gd name="connsiteY89" fmla="*/ 1273994 h 1857492"/>
                    <a:gd name="connsiteX90" fmla="*/ 240631 w 1037106"/>
                    <a:gd name="connsiteY90" fmla="*/ 1276520 h 1857492"/>
                    <a:gd name="connsiteX91" fmla="*/ 233053 w 1037106"/>
                    <a:gd name="connsiteY91" fmla="*/ 1281571 h 1857492"/>
                    <a:gd name="connsiteX92" fmla="*/ 217898 w 1037106"/>
                    <a:gd name="connsiteY92" fmla="*/ 1289149 h 1857492"/>
                    <a:gd name="connsiteX93" fmla="*/ 228002 w 1037106"/>
                    <a:gd name="connsiteY93" fmla="*/ 1294201 h 1857492"/>
                    <a:gd name="connsiteX94" fmla="*/ 222950 w 1037106"/>
                    <a:gd name="connsiteY94" fmla="*/ 1334617 h 1857492"/>
                    <a:gd name="connsiteX95" fmla="*/ 217898 w 1037106"/>
                    <a:gd name="connsiteY95" fmla="*/ 1342195 h 1857492"/>
                    <a:gd name="connsiteX96" fmla="*/ 212846 w 1037106"/>
                    <a:gd name="connsiteY96" fmla="*/ 1354825 h 1857492"/>
                    <a:gd name="connsiteX97" fmla="*/ 207794 w 1037106"/>
                    <a:gd name="connsiteY97" fmla="*/ 1362402 h 1857492"/>
                    <a:gd name="connsiteX98" fmla="*/ 202742 w 1037106"/>
                    <a:gd name="connsiteY98" fmla="*/ 1372506 h 1857492"/>
                    <a:gd name="connsiteX99" fmla="*/ 210320 w 1037106"/>
                    <a:gd name="connsiteY99" fmla="*/ 1395240 h 1857492"/>
                    <a:gd name="connsiteX100" fmla="*/ 215372 w 1037106"/>
                    <a:gd name="connsiteY100" fmla="*/ 1402818 h 1857492"/>
                    <a:gd name="connsiteX101" fmla="*/ 217898 w 1037106"/>
                    <a:gd name="connsiteY101" fmla="*/ 1412922 h 1857492"/>
                    <a:gd name="connsiteX102" fmla="*/ 228002 w 1037106"/>
                    <a:gd name="connsiteY102" fmla="*/ 1433129 h 1857492"/>
                    <a:gd name="connsiteX103" fmla="*/ 230527 w 1037106"/>
                    <a:gd name="connsiteY103" fmla="*/ 1440707 h 1857492"/>
                    <a:gd name="connsiteX104" fmla="*/ 240631 w 1037106"/>
                    <a:gd name="connsiteY104" fmla="*/ 1458389 h 1857492"/>
                    <a:gd name="connsiteX105" fmla="*/ 245683 w 1037106"/>
                    <a:gd name="connsiteY105" fmla="*/ 1471019 h 1857492"/>
                    <a:gd name="connsiteX106" fmla="*/ 245683 w 1037106"/>
                    <a:gd name="connsiteY106" fmla="*/ 1508909 h 1857492"/>
                    <a:gd name="connsiteX107" fmla="*/ 255787 w 1037106"/>
                    <a:gd name="connsiteY107" fmla="*/ 1511434 h 1857492"/>
                    <a:gd name="connsiteX108" fmla="*/ 263365 w 1037106"/>
                    <a:gd name="connsiteY108" fmla="*/ 1521538 h 1857492"/>
                    <a:gd name="connsiteX109" fmla="*/ 268417 w 1037106"/>
                    <a:gd name="connsiteY109" fmla="*/ 1529116 h 1857492"/>
                    <a:gd name="connsiteX110" fmla="*/ 278521 w 1037106"/>
                    <a:gd name="connsiteY110" fmla="*/ 1556902 h 1857492"/>
                    <a:gd name="connsiteX111" fmla="*/ 283573 w 1037106"/>
                    <a:gd name="connsiteY111" fmla="*/ 1584688 h 1857492"/>
                    <a:gd name="connsiteX112" fmla="*/ 281047 w 1037106"/>
                    <a:gd name="connsiteY112" fmla="*/ 1592265 h 1857492"/>
                    <a:gd name="connsiteX113" fmla="*/ 281047 w 1037106"/>
                    <a:gd name="connsiteY113" fmla="*/ 1673096 h 1857492"/>
                    <a:gd name="connsiteX114" fmla="*/ 283573 w 1037106"/>
                    <a:gd name="connsiteY114" fmla="*/ 1698356 h 1857492"/>
                    <a:gd name="connsiteX115" fmla="*/ 296203 w 1037106"/>
                    <a:gd name="connsiteY115" fmla="*/ 1700882 h 1857492"/>
                    <a:gd name="connsiteX116" fmla="*/ 288625 w 1037106"/>
                    <a:gd name="connsiteY116" fmla="*/ 1708460 h 1857492"/>
                    <a:gd name="connsiteX117" fmla="*/ 293677 w 1037106"/>
                    <a:gd name="connsiteY117" fmla="*/ 1716038 h 1857492"/>
                    <a:gd name="connsiteX118" fmla="*/ 296203 w 1037106"/>
                    <a:gd name="connsiteY118" fmla="*/ 1723616 h 1857492"/>
                    <a:gd name="connsiteX119" fmla="*/ 293677 w 1037106"/>
                    <a:gd name="connsiteY119" fmla="*/ 1758979 h 1857492"/>
                    <a:gd name="connsiteX120" fmla="*/ 321462 w 1037106"/>
                    <a:gd name="connsiteY120" fmla="*/ 1753927 h 1857492"/>
                    <a:gd name="connsiteX121" fmla="*/ 329040 w 1037106"/>
                    <a:gd name="connsiteY121" fmla="*/ 1756453 h 1857492"/>
                    <a:gd name="connsiteX122" fmla="*/ 334092 w 1037106"/>
                    <a:gd name="connsiteY122" fmla="*/ 1774135 h 1857492"/>
                    <a:gd name="connsiteX123" fmla="*/ 354300 w 1037106"/>
                    <a:gd name="connsiteY123" fmla="*/ 1779187 h 1857492"/>
                    <a:gd name="connsiteX124" fmla="*/ 356826 w 1037106"/>
                    <a:gd name="connsiteY124" fmla="*/ 1789291 h 1857492"/>
                    <a:gd name="connsiteX125" fmla="*/ 379560 w 1037106"/>
                    <a:gd name="connsiteY125" fmla="*/ 1784239 h 1857492"/>
                    <a:gd name="connsiteX126" fmla="*/ 392189 w 1037106"/>
                    <a:gd name="connsiteY126" fmla="*/ 1774135 h 1857492"/>
                    <a:gd name="connsiteX127" fmla="*/ 389663 w 1037106"/>
                    <a:gd name="connsiteY127" fmla="*/ 1781713 h 1857492"/>
                    <a:gd name="connsiteX128" fmla="*/ 384611 w 1037106"/>
                    <a:gd name="connsiteY128" fmla="*/ 1794343 h 1857492"/>
                    <a:gd name="connsiteX129" fmla="*/ 392189 w 1037106"/>
                    <a:gd name="connsiteY129" fmla="*/ 1796869 h 1857492"/>
                    <a:gd name="connsiteX130" fmla="*/ 402293 w 1037106"/>
                    <a:gd name="connsiteY130" fmla="*/ 1794343 h 1857492"/>
                    <a:gd name="connsiteX131" fmla="*/ 417449 w 1037106"/>
                    <a:gd name="connsiteY131" fmla="*/ 1791817 h 1857492"/>
                    <a:gd name="connsiteX132" fmla="*/ 427553 w 1037106"/>
                    <a:gd name="connsiteY132" fmla="*/ 1804447 h 1857492"/>
                    <a:gd name="connsiteX133" fmla="*/ 442709 w 1037106"/>
                    <a:gd name="connsiteY133" fmla="*/ 1794343 h 1857492"/>
                    <a:gd name="connsiteX134" fmla="*/ 437657 w 1037106"/>
                    <a:gd name="connsiteY134" fmla="*/ 1806973 h 1857492"/>
                    <a:gd name="connsiteX135" fmla="*/ 427553 w 1037106"/>
                    <a:gd name="connsiteY135" fmla="*/ 1817076 h 1857492"/>
                    <a:gd name="connsiteX136" fmla="*/ 432605 w 1037106"/>
                    <a:gd name="connsiteY136" fmla="*/ 1819602 h 1857492"/>
                    <a:gd name="connsiteX137" fmla="*/ 450287 w 1037106"/>
                    <a:gd name="connsiteY137" fmla="*/ 1817076 h 1857492"/>
                    <a:gd name="connsiteX138" fmla="*/ 455339 w 1037106"/>
                    <a:gd name="connsiteY138" fmla="*/ 1824654 h 1857492"/>
                    <a:gd name="connsiteX139" fmla="*/ 478072 w 1037106"/>
                    <a:gd name="connsiteY139" fmla="*/ 1847388 h 1857492"/>
                    <a:gd name="connsiteX140" fmla="*/ 470494 w 1037106"/>
                    <a:gd name="connsiteY140" fmla="*/ 1849914 h 1857492"/>
                    <a:gd name="connsiteX141" fmla="*/ 460390 w 1037106"/>
                    <a:gd name="connsiteY141" fmla="*/ 1852440 h 1857492"/>
                    <a:gd name="connsiteX142" fmla="*/ 475546 w 1037106"/>
                    <a:gd name="connsiteY142" fmla="*/ 1857492 h 1857492"/>
                    <a:gd name="connsiteX143" fmla="*/ 485650 w 1037106"/>
                    <a:gd name="connsiteY143" fmla="*/ 1849914 h 1857492"/>
                    <a:gd name="connsiteX144" fmla="*/ 488176 w 1037106"/>
                    <a:gd name="connsiteY144" fmla="*/ 1837284 h 1857492"/>
                    <a:gd name="connsiteX145" fmla="*/ 490702 w 1037106"/>
                    <a:gd name="connsiteY145" fmla="*/ 1829706 h 1857492"/>
                    <a:gd name="connsiteX146" fmla="*/ 510910 w 1037106"/>
                    <a:gd name="connsiteY146" fmla="*/ 1822128 h 1857492"/>
                    <a:gd name="connsiteX147" fmla="*/ 521014 w 1037106"/>
                    <a:gd name="connsiteY147" fmla="*/ 1812025 h 1857492"/>
                    <a:gd name="connsiteX148" fmla="*/ 538695 w 1037106"/>
                    <a:gd name="connsiteY148" fmla="*/ 1806973 h 1857492"/>
                    <a:gd name="connsiteX149" fmla="*/ 546273 w 1037106"/>
                    <a:gd name="connsiteY149" fmla="*/ 1804447 h 1857492"/>
                    <a:gd name="connsiteX150" fmla="*/ 569007 w 1037106"/>
                    <a:gd name="connsiteY150" fmla="*/ 1791817 h 1857492"/>
                    <a:gd name="connsiteX151" fmla="*/ 576585 w 1037106"/>
                    <a:gd name="connsiteY151" fmla="*/ 1796869 h 1857492"/>
                    <a:gd name="connsiteX152" fmla="*/ 591741 w 1037106"/>
                    <a:gd name="connsiteY152" fmla="*/ 1786765 h 1857492"/>
                    <a:gd name="connsiteX153" fmla="*/ 596793 w 1037106"/>
                    <a:gd name="connsiteY153" fmla="*/ 1779187 h 1857492"/>
                    <a:gd name="connsiteX154" fmla="*/ 604371 w 1037106"/>
                    <a:gd name="connsiteY154" fmla="*/ 1776661 h 1857492"/>
                    <a:gd name="connsiteX155" fmla="*/ 606897 w 1037106"/>
                    <a:gd name="connsiteY155" fmla="*/ 1766557 h 1857492"/>
                    <a:gd name="connsiteX156" fmla="*/ 614474 w 1037106"/>
                    <a:gd name="connsiteY156" fmla="*/ 1764031 h 1857492"/>
                    <a:gd name="connsiteX157" fmla="*/ 627104 w 1037106"/>
                    <a:gd name="connsiteY157" fmla="*/ 1758979 h 1857492"/>
                    <a:gd name="connsiteX158" fmla="*/ 654890 w 1037106"/>
                    <a:gd name="connsiteY158" fmla="*/ 1738771 h 1857492"/>
                    <a:gd name="connsiteX159" fmla="*/ 687727 w 1037106"/>
                    <a:gd name="connsiteY159" fmla="*/ 1733720 h 1857492"/>
                    <a:gd name="connsiteX160" fmla="*/ 705409 w 1037106"/>
                    <a:gd name="connsiteY160" fmla="*/ 1726142 h 1857492"/>
                    <a:gd name="connsiteX161" fmla="*/ 707935 w 1037106"/>
                    <a:gd name="connsiteY161" fmla="*/ 1716038 h 1857492"/>
                    <a:gd name="connsiteX162" fmla="*/ 715513 w 1037106"/>
                    <a:gd name="connsiteY162" fmla="*/ 1705934 h 1857492"/>
                    <a:gd name="connsiteX163" fmla="*/ 725617 w 1037106"/>
                    <a:gd name="connsiteY163" fmla="*/ 1693304 h 1857492"/>
                    <a:gd name="connsiteX164" fmla="*/ 740773 w 1037106"/>
                    <a:gd name="connsiteY164" fmla="*/ 1675622 h 1857492"/>
                    <a:gd name="connsiteX165" fmla="*/ 753403 w 1037106"/>
                    <a:gd name="connsiteY165" fmla="*/ 1673096 h 1857492"/>
                    <a:gd name="connsiteX166" fmla="*/ 760981 w 1037106"/>
                    <a:gd name="connsiteY166" fmla="*/ 1662992 h 1857492"/>
                    <a:gd name="connsiteX167" fmla="*/ 750877 w 1037106"/>
                    <a:gd name="connsiteY167" fmla="*/ 1647837 h 1857492"/>
                    <a:gd name="connsiteX168" fmla="*/ 750877 w 1037106"/>
                    <a:gd name="connsiteY168" fmla="*/ 1670570 h 1857492"/>
                    <a:gd name="connsiteX169" fmla="*/ 773610 w 1037106"/>
                    <a:gd name="connsiteY169" fmla="*/ 1678148 h 1857492"/>
                    <a:gd name="connsiteX170" fmla="*/ 783714 w 1037106"/>
                    <a:gd name="connsiteY170" fmla="*/ 1670570 h 1857492"/>
                    <a:gd name="connsiteX171" fmla="*/ 791292 w 1037106"/>
                    <a:gd name="connsiteY171" fmla="*/ 1655415 h 1857492"/>
                    <a:gd name="connsiteX172" fmla="*/ 798870 w 1037106"/>
                    <a:gd name="connsiteY172" fmla="*/ 1650363 h 1857492"/>
                    <a:gd name="connsiteX173" fmla="*/ 811500 w 1037106"/>
                    <a:gd name="connsiteY173" fmla="*/ 1652889 h 1857492"/>
                    <a:gd name="connsiteX174" fmla="*/ 821604 w 1037106"/>
                    <a:gd name="connsiteY174" fmla="*/ 1660467 h 1857492"/>
                    <a:gd name="connsiteX175" fmla="*/ 829182 w 1037106"/>
                    <a:gd name="connsiteY175" fmla="*/ 1662992 h 1857492"/>
                    <a:gd name="connsiteX176" fmla="*/ 849389 w 1037106"/>
                    <a:gd name="connsiteY176" fmla="*/ 1627629 h 1857492"/>
                    <a:gd name="connsiteX177" fmla="*/ 864545 w 1037106"/>
                    <a:gd name="connsiteY177" fmla="*/ 1604895 h 1857492"/>
                    <a:gd name="connsiteX178" fmla="*/ 874649 w 1037106"/>
                    <a:gd name="connsiteY178" fmla="*/ 1579636 h 1857492"/>
                    <a:gd name="connsiteX179" fmla="*/ 882227 w 1037106"/>
                    <a:gd name="connsiteY179" fmla="*/ 1572058 h 1857492"/>
                    <a:gd name="connsiteX180" fmla="*/ 887279 w 1037106"/>
                    <a:gd name="connsiteY180" fmla="*/ 1561954 h 1857492"/>
                    <a:gd name="connsiteX181" fmla="*/ 892331 w 1037106"/>
                    <a:gd name="connsiteY181" fmla="*/ 1554376 h 1857492"/>
                    <a:gd name="connsiteX182" fmla="*/ 894857 w 1037106"/>
                    <a:gd name="connsiteY182" fmla="*/ 1546798 h 1857492"/>
                    <a:gd name="connsiteX183" fmla="*/ 899909 w 1037106"/>
                    <a:gd name="connsiteY183" fmla="*/ 1539220 h 1857492"/>
                    <a:gd name="connsiteX184" fmla="*/ 902435 w 1037106"/>
                    <a:gd name="connsiteY184" fmla="*/ 1531642 h 1857492"/>
                    <a:gd name="connsiteX185" fmla="*/ 907487 w 1037106"/>
                    <a:gd name="connsiteY185" fmla="*/ 1524064 h 1857492"/>
                    <a:gd name="connsiteX186" fmla="*/ 925168 w 1037106"/>
                    <a:gd name="connsiteY186" fmla="*/ 1493753 h 1857492"/>
                    <a:gd name="connsiteX187" fmla="*/ 927694 w 1037106"/>
                    <a:gd name="connsiteY187" fmla="*/ 1486175 h 1857492"/>
                    <a:gd name="connsiteX188" fmla="*/ 930220 w 1037106"/>
                    <a:gd name="connsiteY188" fmla="*/ 1476071 h 1857492"/>
                    <a:gd name="connsiteX189" fmla="*/ 945376 w 1037106"/>
                    <a:gd name="connsiteY189" fmla="*/ 1455863 h 1857492"/>
                    <a:gd name="connsiteX190" fmla="*/ 947902 w 1037106"/>
                    <a:gd name="connsiteY190" fmla="*/ 1448285 h 1857492"/>
                    <a:gd name="connsiteX191" fmla="*/ 950428 w 1037106"/>
                    <a:gd name="connsiteY191" fmla="*/ 1435655 h 1857492"/>
                    <a:gd name="connsiteX192" fmla="*/ 958006 w 1037106"/>
                    <a:gd name="connsiteY192" fmla="*/ 1425552 h 1857492"/>
                    <a:gd name="connsiteX193" fmla="*/ 968110 w 1037106"/>
                    <a:gd name="connsiteY193" fmla="*/ 1405344 h 1857492"/>
                    <a:gd name="connsiteX194" fmla="*/ 973162 w 1037106"/>
                    <a:gd name="connsiteY194" fmla="*/ 1392714 h 1857492"/>
                    <a:gd name="connsiteX195" fmla="*/ 978214 w 1037106"/>
                    <a:gd name="connsiteY195" fmla="*/ 1385136 h 1857492"/>
                    <a:gd name="connsiteX196" fmla="*/ 988318 w 1037106"/>
                    <a:gd name="connsiteY196" fmla="*/ 1359876 h 1857492"/>
                    <a:gd name="connsiteX197" fmla="*/ 995895 w 1037106"/>
                    <a:gd name="connsiteY197" fmla="*/ 1339669 h 1857492"/>
                    <a:gd name="connsiteX198" fmla="*/ 1000947 w 1037106"/>
                    <a:gd name="connsiteY198" fmla="*/ 1329565 h 1857492"/>
                    <a:gd name="connsiteX199" fmla="*/ 1003473 w 1037106"/>
                    <a:gd name="connsiteY199" fmla="*/ 1301779 h 1857492"/>
                    <a:gd name="connsiteX200" fmla="*/ 1005999 w 1037106"/>
                    <a:gd name="connsiteY200" fmla="*/ 1294201 h 1857492"/>
                    <a:gd name="connsiteX201" fmla="*/ 1008525 w 1037106"/>
                    <a:gd name="connsiteY201" fmla="*/ 1279046 h 1857492"/>
                    <a:gd name="connsiteX202" fmla="*/ 1013577 w 1037106"/>
                    <a:gd name="connsiteY202" fmla="*/ 1271468 h 1857492"/>
                    <a:gd name="connsiteX203" fmla="*/ 1018629 w 1037106"/>
                    <a:gd name="connsiteY203" fmla="*/ 1261364 h 1857492"/>
                    <a:gd name="connsiteX204" fmla="*/ 1026207 w 1037106"/>
                    <a:gd name="connsiteY204" fmla="*/ 1248734 h 1857492"/>
                    <a:gd name="connsiteX205" fmla="*/ 1028733 w 1037106"/>
                    <a:gd name="connsiteY205" fmla="*/ 1231052 h 1857492"/>
                    <a:gd name="connsiteX206" fmla="*/ 1033785 w 1037106"/>
                    <a:gd name="connsiteY206" fmla="*/ 1215896 h 1857492"/>
                    <a:gd name="connsiteX207" fmla="*/ 1036311 w 1037106"/>
                    <a:gd name="connsiteY207" fmla="*/ 1172955 h 1857492"/>
                    <a:gd name="connsiteX208" fmla="*/ 1026207 w 1037106"/>
                    <a:gd name="connsiteY208" fmla="*/ 1132539 h 1857492"/>
                    <a:gd name="connsiteX209" fmla="*/ 1016103 w 1037106"/>
                    <a:gd name="connsiteY209" fmla="*/ 1130013 h 1857492"/>
                    <a:gd name="connsiteX210" fmla="*/ 998421 w 1037106"/>
                    <a:gd name="connsiteY210" fmla="*/ 1114858 h 1857492"/>
                    <a:gd name="connsiteX211" fmla="*/ 990844 w 1037106"/>
                    <a:gd name="connsiteY211" fmla="*/ 1107280 h 1857492"/>
                    <a:gd name="connsiteX212" fmla="*/ 970636 w 1037106"/>
                    <a:gd name="connsiteY212" fmla="*/ 1092124 h 1857492"/>
                    <a:gd name="connsiteX213" fmla="*/ 960532 w 1037106"/>
                    <a:gd name="connsiteY213" fmla="*/ 1084546 h 1857492"/>
                    <a:gd name="connsiteX214" fmla="*/ 945376 w 1037106"/>
                    <a:gd name="connsiteY214" fmla="*/ 1079494 h 1857492"/>
                    <a:gd name="connsiteX215" fmla="*/ 922642 w 1037106"/>
                    <a:gd name="connsiteY215" fmla="*/ 1074442 h 1857492"/>
                    <a:gd name="connsiteX216" fmla="*/ 910013 w 1037106"/>
                    <a:gd name="connsiteY216" fmla="*/ 1069390 h 1857492"/>
                    <a:gd name="connsiteX217" fmla="*/ 889805 w 1037106"/>
                    <a:gd name="connsiteY217" fmla="*/ 1056760 h 1857492"/>
                    <a:gd name="connsiteX218" fmla="*/ 877175 w 1037106"/>
                    <a:gd name="connsiteY218" fmla="*/ 1041605 h 1857492"/>
                    <a:gd name="connsiteX219" fmla="*/ 879701 w 1037106"/>
                    <a:gd name="connsiteY219" fmla="*/ 1028975 h 1857492"/>
                    <a:gd name="connsiteX220" fmla="*/ 884753 w 1037106"/>
                    <a:gd name="connsiteY220" fmla="*/ 1011293 h 1857492"/>
                    <a:gd name="connsiteX221" fmla="*/ 889805 w 1037106"/>
                    <a:gd name="connsiteY221" fmla="*/ 1003715 h 1857492"/>
                    <a:gd name="connsiteX222" fmla="*/ 849389 w 1037106"/>
                    <a:gd name="connsiteY222" fmla="*/ 935514 h 1857492"/>
                    <a:gd name="connsiteX223" fmla="*/ 836760 w 1037106"/>
                    <a:gd name="connsiteY223" fmla="*/ 932988 h 1857492"/>
                    <a:gd name="connsiteX224" fmla="*/ 826656 w 1037106"/>
                    <a:gd name="connsiteY224" fmla="*/ 872365 h 1857492"/>
                    <a:gd name="connsiteX225" fmla="*/ 814026 w 1037106"/>
                    <a:gd name="connsiteY225" fmla="*/ 869839 h 1857492"/>
                    <a:gd name="connsiteX226" fmla="*/ 798870 w 1037106"/>
                    <a:gd name="connsiteY226" fmla="*/ 857209 h 1857492"/>
                    <a:gd name="connsiteX227" fmla="*/ 778662 w 1037106"/>
                    <a:gd name="connsiteY227" fmla="*/ 854683 h 1857492"/>
                    <a:gd name="connsiteX228" fmla="*/ 776136 w 1037106"/>
                    <a:gd name="connsiteY228" fmla="*/ 844579 h 1857492"/>
                    <a:gd name="connsiteX229" fmla="*/ 773610 w 1037106"/>
                    <a:gd name="connsiteY229" fmla="*/ 837001 h 1857492"/>
                    <a:gd name="connsiteX230" fmla="*/ 788766 w 1037106"/>
                    <a:gd name="connsiteY230" fmla="*/ 806690 h 1857492"/>
                    <a:gd name="connsiteX231" fmla="*/ 781188 w 1037106"/>
                    <a:gd name="connsiteY231" fmla="*/ 794060 h 1857492"/>
                    <a:gd name="connsiteX232" fmla="*/ 760981 w 1037106"/>
                    <a:gd name="connsiteY232" fmla="*/ 778904 h 1857492"/>
                    <a:gd name="connsiteX233" fmla="*/ 766032 w 1037106"/>
                    <a:gd name="connsiteY233" fmla="*/ 708177 h 1857492"/>
                    <a:gd name="connsiteX234" fmla="*/ 778662 w 1037106"/>
                    <a:gd name="connsiteY234" fmla="*/ 703125 h 1857492"/>
                    <a:gd name="connsiteX235" fmla="*/ 781188 w 1037106"/>
                    <a:gd name="connsiteY235" fmla="*/ 693021 h 1857492"/>
                    <a:gd name="connsiteX236" fmla="*/ 773610 w 1037106"/>
                    <a:gd name="connsiteY236" fmla="*/ 690495 h 1857492"/>
                    <a:gd name="connsiteX237" fmla="*/ 760981 w 1037106"/>
                    <a:gd name="connsiteY237" fmla="*/ 687969 h 1857492"/>
                    <a:gd name="connsiteX238" fmla="*/ 753403 w 1037106"/>
                    <a:gd name="connsiteY238" fmla="*/ 680391 h 1857492"/>
                    <a:gd name="connsiteX239" fmla="*/ 740773 w 1037106"/>
                    <a:gd name="connsiteY239" fmla="*/ 655132 h 1857492"/>
                    <a:gd name="connsiteX240" fmla="*/ 730669 w 1037106"/>
                    <a:gd name="connsiteY240" fmla="*/ 645028 h 1857492"/>
                    <a:gd name="connsiteX241" fmla="*/ 723091 w 1037106"/>
                    <a:gd name="connsiteY241" fmla="*/ 632398 h 1857492"/>
                    <a:gd name="connsiteX242" fmla="*/ 710461 w 1037106"/>
                    <a:gd name="connsiteY242" fmla="*/ 614716 h 1857492"/>
                    <a:gd name="connsiteX243" fmla="*/ 695305 w 1037106"/>
                    <a:gd name="connsiteY243" fmla="*/ 597034 h 1857492"/>
                    <a:gd name="connsiteX244" fmla="*/ 685202 w 1037106"/>
                    <a:gd name="connsiteY244" fmla="*/ 584405 h 1857492"/>
                    <a:gd name="connsiteX245" fmla="*/ 677624 w 1037106"/>
                    <a:gd name="connsiteY245" fmla="*/ 576827 h 1857492"/>
                    <a:gd name="connsiteX246" fmla="*/ 664994 w 1037106"/>
                    <a:gd name="connsiteY246" fmla="*/ 554093 h 1857492"/>
                    <a:gd name="connsiteX247" fmla="*/ 644786 w 1037106"/>
                    <a:gd name="connsiteY247" fmla="*/ 528833 h 1857492"/>
                    <a:gd name="connsiteX248" fmla="*/ 632156 w 1037106"/>
                    <a:gd name="connsiteY248" fmla="*/ 513678 h 1857492"/>
                    <a:gd name="connsiteX249" fmla="*/ 629630 w 1037106"/>
                    <a:gd name="connsiteY249" fmla="*/ 501048 h 1857492"/>
                    <a:gd name="connsiteX250" fmla="*/ 634682 w 1037106"/>
                    <a:gd name="connsiteY250" fmla="*/ 463158 h 1857492"/>
                    <a:gd name="connsiteX251" fmla="*/ 637208 w 1037106"/>
                    <a:gd name="connsiteY251" fmla="*/ 448002 h 1857492"/>
                    <a:gd name="connsiteX252" fmla="*/ 644786 w 1037106"/>
                    <a:gd name="connsiteY252" fmla="*/ 435373 h 1857492"/>
                    <a:gd name="connsiteX253" fmla="*/ 647312 w 1037106"/>
                    <a:gd name="connsiteY253" fmla="*/ 425269 h 1857492"/>
                    <a:gd name="connsiteX254" fmla="*/ 652364 w 1037106"/>
                    <a:gd name="connsiteY254" fmla="*/ 382327 h 1857492"/>
                    <a:gd name="connsiteX255" fmla="*/ 649838 w 1037106"/>
                    <a:gd name="connsiteY255" fmla="*/ 364646 h 1857492"/>
                    <a:gd name="connsiteX256" fmla="*/ 632156 w 1037106"/>
                    <a:gd name="connsiteY256" fmla="*/ 354542 h 1857492"/>
                    <a:gd name="connsiteX257" fmla="*/ 624578 w 1037106"/>
                    <a:gd name="connsiteY257" fmla="*/ 344438 h 1857492"/>
                    <a:gd name="connsiteX258" fmla="*/ 619526 w 1037106"/>
                    <a:gd name="connsiteY258" fmla="*/ 336860 h 1857492"/>
                    <a:gd name="connsiteX259" fmla="*/ 611948 w 1037106"/>
                    <a:gd name="connsiteY259" fmla="*/ 334334 h 1857492"/>
                    <a:gd name="connsiteX260" fmla="*/ 604371 w 1037106"/>
                    <a:gd name="connsiteY260" fmla="*/ 329282 h 1857492"/>
                    <a:gd name="connsiteX261" fmla="*/ 594267 w 1037106"/>
                    <a:gd name="connsiteY261" fmla="*/ 311600 h 1857492"/>
                    <a:gd name="connsiteX262" fmla="*/ 586689 w 1037106"/>
                    <a:gd name="connsiteY262" fmla="*/ 306548 h 1857492"/>
                    <a:gd name="connsiteX263" fmla="*/ 531118 w 1037106"/>
                    <a:gd name="connsiteY263" fmla="*/ 306548 h 1857492"/>
                    <a:gd name="connsiteX264" fmla="*/ 528592 w 1037106"/>
                    <a:gd name="connsiteY264" fmla="*/ 296444 h 1857492"/>
                    <a:gd name="connsiteX265" fmla="*/ 521014 w 1037106"/>
                    <a:gd name="connsiteY265" fmla="*/ 271185 h 1857492"/>
                    <a:gd name="connsiteX266" fmla="*/ 518488 w 1037106"/>
                    <a:gd name="connsiteY266" fmla="*/ 250977 h 1857492"/>
                    <a:gd name="connsiteX267" fmla="*/ 515962 w 1037106"/>
                    <a:gd name="connsiteY267" fmla="*/ 240873 h 1857492"/>
                    <a:gd name="connsiteX268" fmla="*/ 513436 w 1037106"/>
                    <a:gd name="connsiteY268" fmla="*/ 192880 h 1857492"/>
                    <a:gd name="connsiteX269" fmla="*/ 505858 w 1037106"/>
                    <a:gd name="connsiteY269" fmla="*/ 190354 h 1857492"/>
                    <a:gd name="connsiteX270" fmla="*/ 498280 w 1037106"/>
                    <a:gd name="connsiteY270" fmla="*/ 182776 h 1857492"/>
                    <a:gd name="connsiteX271" fmla="*/ 508384 w 1037106"/>
                    <a:gd name="connsiteY271" fmla="*/ 144886 h 1857492"/>
                    <a:gd name="connsiteX272" fmla="*/ 503332 w 1037106"/>
                    <a:gd name="connsiteY272" fmla="*/ 124679 h 1857492"/>
                    <a:gd name="connsiteX273" fmla="*/ 500806 w 1037106"/>
                    <a:gd name="connsiteY273" fmla="*/ 56478 h 1857492"/>
                    <a:gd name="connsiteX274" fmla="*/ 493228 w 1037106"/>
                    <a:gd name="connsiteY274" fmla="*/ 53952 h 1857492"/>
                    <a:gd name="connsiteX275" fmla="*/ 483124 w 1037106"/>
                    <a:gd name="connsiteY275" fmla="*/ 48900 h 1857492"/>
                    <a:gd name="connsiteX276" fmla="*/ 450287 w 1037106"/>
                    <a:gd name="connsiteY276" fmla="*/ 43848 h 1857492"/>
                    <a:gd name="connsiteX277" fmla="*/ 430079 w 1037106"/>
                    <a:gd name="connsiteY277" fmla="*/ 31218 h 1857492"/>
                    <a:gd name="connsiteX278" fmla="*/ 409871 w 1037106"/>
                    <a:gd name="connsiteY278" fmla="*/ 13536 h 1857492"/>
                    <a:gd name="connsiteX279" fmla="*/ 392189 w 1037106"/>
                    <a:gd name="connsiteY279" fmla="*/ 16062 h 1857492"/>
                    <a:gd name="connsiteX280" fmla="*/ 384611 w 1037106"/>
                    <a:gd name="connsiteY280" fmla="*/ 7229 h 1857492"/>
                    <a:gd name="connsiteX281" fmla="*/ 349248 w 1037106"/>
                    <a:gd name="connsiteY281" fmla="*/ 11010 h 1857492"/>
                    <a:gd name="connsiteX282" fmla="*/ 351774 w 1037106"/>
                    <a:gd name="connsiteY282" fmla="*/ 906 h 1857492"/>
                    <a:gd name="connsiteX283" fmla="*/ 361878 w 1037106"/>
                    <a:gd name="connsiteY283" fmla="*/ 3432 h 1857492"/>
                    <a:gd name="connsiteX284" fmla="*/ 349248 w 1037106"/>
                    <a:gd name="connsiteY284" fmla="*/ 38796 h 1857492"/>
                    <a:gd name="connsiteX285" fmla="*/ 346722 w 1037106"/>
                    <a:gd name="connsiteY285" fmla="*/ 48900 h 1857492"/>
                    <a:gd name="connsiteX286" fmla="*/ 339144 w 1037106"/>
                    <a:gd name="connsiteY286" fmla="*/ 51426 h 1857492"/>
                    <a:gd name="connsiteX287" fmla="*/ 323988 w 1037106"/>
                    <a:gd name="connsiteY287" fmla="*/ 48900 h 1857492"/>
                    <a:gd name="connsiteX288" fmla="*/ 306306 w 1037106"/>
                    <a:gd name="connsiteY288" fmla="*/ 46374 h 1857492"/>
                    <a:gd name="connsiteX289" fmla="*/ 296203 w 1037106"/>
                    <a:gd name="connsiteY289" fmla="*/ 43848 h 1857492"/>
                    <a:gd name="connsiteX290" fmla="*/ 288625 w 1037106"/>
                    <a:gd name="connsiteY290" fmla="*/ 46374 h 1857492"/>
                    <a:gd name="connsiteX291" fmla="*/ 291151 w 1037106"/>
                    <a:gd name="connsiteY291" fmla="*/ 64055 h 1857492"/>
                    <a:gd name="connsiteX292" fmla="*/ 296203 w 1037106"/>
                    <a:gd name="connsiteY292" fmla="*/ 86789 h 1857492"/>
                    <a:gd name="connsiteX293" fmla="*/ 293677 w 1037106"/>
                    <a:gd name="connsiteY293" fmla="*/ 124679 h 1857492"/>
                    <a:gd name="connsiteX294" fmla="*/ 291151 w 1037106"/>
                    <a:gd name="connsiteY294" fmla="*/ 132257 h 1857492"/>
                    <a:gd name="connsiteX295" fmla="*/ 288625 w 1037106"/>
                    <a:gd name="connsiteY295" fmla="*/ 147412 h 1857492"/>
                    <a:gd name="connsiteX296" fmla="*/ 301255 w 1037106"/>
                    <a:gd name="connsiteY296" fmla="*/ 200458 h 1857492"/>
                    <a:gd name="connsiteX297" fmla="*/ 308832 w 1037106"/>
                    <a:gd name="connsiteY297" fmla="*/ 202984 h 1857492"/>
                    <a:gd name="connsiteX298" fmla="*/ 296203 w 1037106"/>
                    <a:gd name="connsiteY298" fmla="*/ 240873 h 1857492"/>
                    <a:gd name="connsiteX299" fmla="*/ 283573 w 1037106"/>
                    <a:gd name="connsiteY299" fmla="*/ 283815 h 1857492"/>
                    <a:gd name="connsiteX300" fmla="*/ 281047 w 1037106"/>
                    <a:gd name="connsiteY300" fmla="*/ 298970 h 1857492"/>
                    <a:gd name="connsiteX301" fmla="*/ 263365 w 1037106"/>
                    <a:gd name="connsiteY301" fmla="*/ 293918 h 1857492"/>
                    <a:gd name="connsiteX302" fmla="*/ 255787 w 1037106"/>
                    <a:gd name="connsiteY302" fmla="*/ 286341 h 1857492"/>
                    <a:gd name="connsiteX303" fmla="*/ 248209 w 1037106"/>
                    <a:gd name="connsiteY303" fmla="*/ 281289 h 1857492"/>
                    <a:gd name="connsiteX304" fmla="*/ 243157 w 1037106"/>
                    <a:gd name="connsiteY304" fmla="*/ 273711 h 1857492"/>
                    <a:gd name="connsiteX305" fmla="*/ 240631 w 1037106"/>
                    <a:gd name="connsiteY305" fmla="*/ 266133 h 1857492"/>
                    <a:gd name="connsiteX306" fmla="*/ 230527 w 1037106"/>
                    <a:gd name="connsiteY306" fmla="*/ 263607 h 1857492"/>
                    <a:gd name="connsiteX307" fmla="*/ 220424 w 1037106"/>
                    <a:gd name="connsiteY307" fmla="*/ 276237 h 1857492"/>
                    <a:gd name="connsiteX308" fmla="*/ 197690 w 1037106"/>
                    <a:gd name="connsiteY308" fmla="*/ 263607 h 1857492"/>
                    <a:gd name="connsiteX309" fmla="*/ 195164 w 1037106"/>
                    <a:gd name="connsiteY309" fmla="*/ 276237 h 1857492"/>
                    <a:gd name="connsiteX310" fmla="*/ 192638 w 1037106"/>
                    <a:gd name="connsiteY310" fmla="*/ 286341 h 1857492"/>
                    <a:gd name="connsiteX311" fmla="*/ 147171 w 1037106"/>
                    <a:gd name="connsiteY311" fmla="*/ 301496 h 1857492"/>
                    <a:gd name="connsiteX312" fmla="*/ 94125 w 1037106"/>
                    <a:gd name="connsiteY312" fmla="*/ 286341 h 1857492"/>
                    <a:gd name="connsiteX313" fmla="*/ 89073 w 1037106"/>
                    <a:gd name="connsiteY313" fmla="*/ 278763 h 1857492"/>
                    <a:gd name="connsiteX314" fmla="*/ 86547 w 1037106"/>
                    <a:gd name="connsiteY314" fmla="*/ 268659 h 1857492"/>
                    <a:gd name="connsiteX315" fmla="*/ 84021 w 1037106"/>
                    <a:gd name="connsiteY315" fmla="*/ 261081 h 1857492"/>
                    <a:gd name="connsiteX316" fmla="*/ 71392 w 1037106"/>
                    <a:gd name="connsiteY316" fmla="*/ 256029 h 1857492"/>
                    <a:gd name="connsiteX317" fmla="*/ 53710 w 1037106"/>
                    <a:gd name="connsiteY317" fmla="*/ 235821 h 1857492"/>
                    <a:gd name="connsiteX318" fmla="*/ 43606 w 1037106"/>
                    <a:gd name="connsiteY318" fmla="*/ 230769 h 1857492"/>
                    <a:gd name="connsiteX319" fmla="*/ 28450 w 1037106"/>
                    <a:gd name="connsiteY319" fmla="*/ 223191 h 1857492"/>
                    <a:gd name="connsiteX320" fmla="*/ 20872 w 1037106"/>
                    <a:gd name="connsiteY320" fmla="*/ 215613 h 1857492"/>
                    <a:gd name="connsiteX321" fmla="*/ 5716 w 1037106"/>
                    <a:gd name="connsiteY321" fmla="*/ 235821 h 1857492"/>
                    <a:gd name="connsiteX322" fmla="*/ 15820 w 1037106"/>
                    <a:gd name="connsiteY322" fmla="*/ 258555 h 1857492"/>
                    <a:gd name="connsiteX0" fmla="*/ 15820 w 1037106"/>
                    <a:gd name="connsiteY0" fmla="*/ 259635 h 1858572"/>
                    <a:gd name="connsiteX1" fmla="*/ 664 w 1037106"/>
                    <a:gd name="connsiteY1" fmla="*/ 264687 h 1858572"/>
                    <a:gd name="connsiteX2" fmla="*/ 3190 w 1037106"/>
                    <a:gd name="connsiteY2" fmla="*/ 272265 h 1858572"/>
                    <a:gd name="connsiteX3" fmla="*/ 28450 w 1037106"/>
                    <a:gd name="connsiteY3" fmla="*/ 287421 h 1858572"/>
                    <a:gd name="connsiteX4" fmla="*/ 36028 w 1037106"/>
                    <a:gd name="connsiteY4" fmla="*/ 297524 h 1858572"/>
                    <a:gd name="connsiteX5" fmla="*/ 43606 w 1037106"/>
                    <a:gd name="connsiteY5" fmla="*/ 305102 h 1858572"/>
                    <a:gd name="connsiteX6" fmla="*/ 58762 w 1037106"/>
                    <a:gd name="connsiteY6" fmla="*/ 325310 h 1858572"/>
                    <a:gd name="connsiteX7" fmla="*/ 63814 w 1037106"/>
                    <a:gd name="connsiteY7" fmla="*/ 332888 h 1858572"/>
                    <a:gd name="connsiteX8" fmla="*/ 71392 w 1037106"/>
                    <a:gd name="connsiteY8" fmla="*/ 340466 h 1858572"/>
                    <a:gd name="connsiteX9" fmla="*/ 73918 w 1037106"/>
                    <a:gd name="connsiteY9" fmla="*/ 348044 h 1858572"/>
                    <a:gd name="connsiteX10" fmla="*/ 132015 w 1037106"/>
                    <a:gd name="connsiteY10" fmla="*/ 360674 h 1858572"/>
                    <a:gd name="connsiteX11" fmla="*/ 149697 w 1037106"/>
                    <a:gd name="connsiteY11" fmla="*/ 368251 h 1858572"/>
                    <a:gd name="connsiteX12" fmla="*/ 159800 w 1037106"/>
                    <a:gd name="connsiteY12" fmla="*/ 378355 h 1858572"/>
                    <a:gd name="connsiteX13" fmla="*/ 164852 w 1037106"/>
                    <a:gd name="connsiteY13" fmla="*/ 393511 h 1858572"/>
                    <a:gd name="connsiteX14" fmla="*/ 182534 w 1037106"/>
                    <a:gd name="connsiteY14" fmla="*/ 401089 h 1858572"/>
                    <a:gd name="connsiteX15" fmla="*/ 190112 w 1037106"/>
                    <a:gd name="connsiteY15" fmla="*/ 406141 h 1858572"/>
                    <a:gd name="connsiteX16" fmla="*/ 202742 w 1037106"/>
                    <a:gd name="connsiteY16" fmla="*/ 421297 h 1858572"/>
                    <a:gd name="connsiteX17" fmla="*/ 212846 w 1037106"/>
                    <a:gd name="connsiteY17" fmla="*/ 423823 h 1858572"/>
                    <a:gd name="connsiteX18" fmla="*/ 220424 w 1037106"/>
                    <a:gd name="connsiteY18" fmla="*/ 426349 h 1858572"/>
                    <a:gd name="connsiteX19" fmla="*/ 212846 w 1037106"/>
                    <a:gd name="connsiteY19" fmla="*/ 428875 h 1858572"/>
                    <a:gd name="connsiteX20" fmla="*/ 212846 w 1037106"/>
                    <a:gd name="connsiteY20" fmla="*/ 449082 h 1858572"/>
                    <a:gd name="connsiteX21" fmla="*/ 215372 w 1037106"/>
                    <a:gd name="connsiteY21" fmla="*/ 456660 h 1858572"/>
                    <a:gd name="connsiteX22" fmla="*/ 222950 w 1037106"/>
                    <a:gd name="connsiteY22" fmla="*/ 464238 h 1858572"/>
                    <a:gd name="connsiteX23" fmla="*/ 225476 w 1037106"/>
                    <a:gd name="connsiteY23" fmla="*/ 494550 h 1858572"/>
                    <a:gd name="connsiteX24" fmla="*/ 228002 w 1037106"/>
                    <a:gd name="connsiteY24" fmla="*/ 512232 h 1858572"/>
                    <a:gd name="connsiteX25" fmla="*/ 240631 w 1037106"/>
                    <a:gd name="connsiteY25" fmla="*/ 522335 h 1858572"/>
                    <a:gd name="connsiteX26" fmla="*/ 248209 w 1037106"/>
                    <a:gd name="connsiteY26" fmla="*/ 519809 h 1858572"/>
                    <a:gd name="connsiteX27" fmla="*/ 248209 w 1037106"/>
                    <a:gd name="connsiteY27" fmla="*/ 540017 h 1858572"/>
                    <a:gd name="connsiteX28" fmla="*/ 240631 w 1037106"/>
                    <a:gd name="connsiteY28" fmla="*/ 542543 h 1858572"/>
                    <a:gd name="connsiteX29" fmla="*/ 235579 w 1037106"/>
                    <a:gd name="connsiteY29" fmla="*/ 550121 h 1858572"/>
                    <a:gd name="connsiteX30" fmla="*/ 245683 w 1037106"/>
                    <a:gd name="connsiteY30" fmla="*/ 557699 h 1858572"/>
                    <a:gd name="connsiteX31" fmla="*/ 248209 w 1037106"/>
                    <a:gd name="connsiteY31" fmla="*/ 575381 h 1858572"/>
                    <a:gd name="connsiteX32" fmla="*/ 263365 w 1037106"/>
                    <a:gd name="connsiteY32" fmla="*/ 598114 h 1858572"/>
                    <a:gd name="connsiteX33" fmla="*/ 270943 w 1037106"/>
                    <a:gd name="connsiteY33" fmla="*/ 615796 h 1858572"/>
                    <a:gd name="connsiteX34" fmla="*/ 273469 w 1037106"/>
                    <a:gd name="connsiteY34" fmla="*/ 633478 h 1858572"/>
                    <a:gd name="connsiteX35" fmla="*/ 281047 w 1037106"/>
                    <a:gd name="connsiteY35" fmla="*/ 641056 h 1858572"/>
                    <a:gd name="connsiteX36" fmla="*/ 286099 w 1037106"/>
                    <a:gd name="connsiteY36" fmla="*/ 701679 h 1858572"/>
                    <a:gd name="connsiteX37" fmla="*/ 291151 w 1037106"/>
                    <a:gd name="connsiteY37" fmla="*/ 719361 h 1858572"/>
                    <a:gd name="connsiteX38" fmla="*/ 293677 w 1037106"/>
                    <a:gd name="connsiteY38" fmla="*/ 731991 h 1858572"/>
                    <a:gd name="connsiteX39" fmla="*/ 301255 w 1037106"/>
                    <a:gd name="connsiteY39" fmla="*/ 754724 h 1858572"/>
                    <a:gd name="connsiteX40" fmla="*/ 303781 w 1037106"/>
                    <a:gd name="connsiteY40" fmla="*/ 762302 h 1858572"/>
                    <a:gd name="connsiteX41" fmla="*/ 321462 w 1037106"/>
                    <a:gd name="connsiteY41" fmla="*/ 790088 h 1858572"/>
                    <a:gd name="connsiteX42" fmla="*/ 334092 w 1037106"/>
                    <a:gd name="connsiteY42" fmla="*/ 807770 h 1858572"/>
                    <a:gd name="connsiteX43" fmla="*/ 346722 w 1037106"/>
                    <a:gd name="connsiteY43" fmla="*/ 805244 h 1858572"/>
                    <a:gd name="connsiteX44" fmla="*/ 356826 w 1037106"/>
                    <a:gd name="connsiteY44" fmla="*/ 774932 h 1858572"/>
                    <a:gd name="connsiteX45" fmla="*/ 364404 w 1037106"/>
                    <a:gd name="connsiteY45" fmla="*/ 772406 h 1858572"/>
                    <a:gd name="connsiteX46" fmla="*/ 371982 w 1037106"/>
                    <a:gd name="connsiteY46" fmla="*/ 767354 h 1858572"/>
                    <a:gd name="connsiteX47" fmla="*/ 364404 w 1037106"/>
                    <a:gd name="connsiteY47" fmla="*/ 777458 h 1858572"/>
                    <a:gd name="connsiteX48" fmla="*/ 366930 w 1037106"/>
                    <a:gd name="connsiteY48" fmla="*/ 800192 h 1858572"/>
                    <a:gd name="connsiteX49" fmla="*/ 394715 w 1037106"/>
                    <a:gd name="connsiteY49" fmla="*/ 807770 h 1858572"/>
                    <a:gd name="connsiteX50" fmla="*/ 409871 w 1037106"/>
                    <a:gd name="connsiteY50" fmla="*/ 812822 h 1858572"/>
                    <a:gd name="connsiteX51" fmla="*/ 419975 w 1037106"/>
                    <a:gd name="connsiteY51" fmla="*/ 822926 h 1858572"/>
                    <a:gd name="connsiteX52" fmla="*/ 432605 w 1037106"/>
                    <a:gd name="connsiteY52" fmla="*/ 843133 h 1858572"/>
                    <a:gd name="connsiteX53" fmla="*/ 437657 w 1037106"/>
                    <a:gd name="connsiteY53" fmla="*/ 865867 h 1858572"/>
                    <a:gd name="connsiteX54" fmla="*/ 445235 w 1037106"/>
                    <a:gd name="connsiteY54" fmla="*/ 875971 h 1858572"/>
                    <a:gd name="connsiteX55" fmla="*/ 447761 w 1037106"/>
                    <a:gd name="connsiteY55" fmla="*/ 903756 h 1858572"/>
                    <a:gd name="connsiteX56" fmla="*/ 450287 w 1037106"/>
                    <a:gd name="connsiteY56" fmla="*/ 916386 h 1858572"/>
                    <a:gd name="connsiteX57" fmla="*/ 460390 w 1037106"/>
                    <a:gd name="connsiteY57" fmla="*/ 921438 h 1858572"/>
                    <a:gd name="connsiteX58" fmla="*/ 465442 w 1037106"/>
                    <a:gd name="connsiteY58" fmla="*/ 946698 h 1858572"/>
                    <a:gd name="connsiteX59" fmla="*/ 455339 w 1037106"/>
                    <a:gd name="connsiteY59" fmla="*/ 941646 h 1858572"/>
                    <a:gd name="connsiteX60" fmla="*/ 450287 w 1037106"/>
                    <a:gd name="connsiteY60" fmla="*/ 934068 h 1858572"/>
                    <a:gd name="connsiteX61" fmla="*/ 427960 w 1037106"/>
                    <a:gd name="connsiteY61" fmla="*/ 943832 h 1858572"/>
                    <a:gd name="connsiteX62" fmla="*/ 425027 w 1037106"/>
                    <a:gd name="connsiteY62" fmla="*/ 921438 h 1858572"/>
                    <a:gd name="connsiteX63" fmla="*/ 399767 w 1037106"/>
                    <a:gd name="connsiteY63" fmla="*/ 926490 h 1858572"/>
                    <a:gd name="connsiteX64" fmla="*/ 424891 w 1037106"/>
                    <a:gd name="connsiteY64" fmla="*/ 944172 h 1858572"/>
                    <a:gd name="connsiteX65" fmla="*/ 409871 w 1037106"/>
                    <a:gd name="connsiteY65" fmla="*/ 971958 h 1858572"/>
                    <a:gd name="connsiteX66" fmla="*/ 407345 w 1037106"/>
                    <a:gd name="connsiteY66" fmla="*/ 982061 h 1858572"/>
                    <a:gd name="connsiteX67" fmla="*/ 404819 w 1037106"/>
                    <a:gd name="connsiteY67" fmla="*/ 1012373 h 1858572"/>
                    <a:gd name="connsiteX68" fmla="*/ 397241 w 1037106"/>
                    <a:gd name="connsiteY68" fmla="*/ 1019951 h 1858572"/>
                    <a:gd name="connsiteX69" fmla="*/ 384611 w 1037106"/>
                    <a:gd name="connsiteY69" fmla="*/ 1045211 h 1858572"/>
                    <a:gd name="connsiteX70" fmla="*/ 379560 w 1037106"/>
                    <a:gd name="connsiteY70" fmla="*/ 1060366 h 1858572"/>
                    <a:gd name="connsiteX71" fmla="*/ 371982 w 1037106"/>
                    <a:gd name="connsiteY71" fmla="*/ 1075522 h 1858572"/>
                    <a:gd name="connsiteX72" fmla="*/ 369456 w 1037106"/>
                    <a:gd name="connsiteY72" fmla="*/ 1095730 h 1858572"/>
                    <a:gd name="connsiteX73" fmla="*/ 349248 w 1037106"/>
                    <a:gd name="connsiteY73" fmla="*/ 1118464 h 1858572"/>
                    <a:gd name="connsiteX74" fmla="*/ 331566 w 1037106"/>
                    <a:gd name="connsiteY74" fmla="*/ 1151301 h 1858572"/>
                    <a:gd name="connsiteX75" fmla="*/ 321462 w 1037106"/>
                    <a:gd name="connsiteY75" fmla="*/ 1166457 h 1858572"/>
                    <a:gd name="connsiteX76" fmla="*/ 313884 w 1037106"/>
                    <a:gd name="connsiteY76" fmla="*/ 1153827 h 1858572"/>
                    <a:gd name="connsiteX77" fmla="*/ 311358 w 1037106"/>
                    <a:gd name="connsiteY77" fmla="*/ 1146249 h 1858572"/>
                    <a:gd name="connsiteX78" fmla="*/ 301255 w 1037106"/>
                    <a:gd name="connsiteY78" fmla="*/ 1158879 h 1858572"/>
                    <a:gd name="connsiteX79" fmla="*/ 303781 w 1037106"/>
                    <a:gd name="connsiteY79" fmla="*/ 1194243 h 1858572"/>
                    <a:gd name="connsiteX80" fmla="*/ 311358 w 1037106"/>
                    <a:gd name="connsiteY80" fmla="*/ 1196769 h 1858572"/>
                    <a:gd name="connsiteX81" fmla="*/ 298729 w 1037106"/>
                    <a:gd name="connsiteY81" fmla="*/ 1199295 h 1858572"/>
                    <a:gd name="connsiteX82" fmla="*/ 293677 w 1037106"/>
                    <a:gd name="connsiteY82" fmla="*/ 1201821 h 1858572"/>
                    <a:gd name="connsiteX83" fmla="*/ 286099 w 1037106"/>
                    <a:gd name="connsiteY83" fmla="*/ 1206872 h 1858572"/>
                    <a:gd name="connsiteX84" fmla="*/ 281047 w 1037106"/>
                    <a:gd name="connsiteY84" fmla="*/ 1214450 h 1858572"/>
                    <a:gd name="connsiteX85" fmla="*/ 278521 w 1037106"/>
                    <a:gd name="connsiteY85" fmla="*/ 1229606 h 1858572"/>
                    <a:gd name="connsiteX86" fmla="*/ 275995 w 1037106"/>
                    <a:gd name="connsiteY86" fmla="*/ 1239710 h 1858572"/>
                    <a:gd name="connsiteX87" fmla="*/ 283573 w 1037106"/>
                    <a:gd name="connsiteY87" fmla="*/ 1242236 h 1858572"/>
                    <a:gd name="connsiteX88" fmla="*/ 283573 w 1037106"/>
                    <a:gd name="connsiteY88" fmla="*/ 1262444 h 1858572"/>
                    <a:gd name="connsiteX89" fmla="*/ 248209 w 1037106"/>
                    <a:gd name="connsiteY89" fmla="*/ 1275074 h 1858572"/>
                    <a:gd name="connsiteX90" fmla="*/ 240631 w 1037106"/>
                    <a:gd name="connsiteY90" fmla="*/ 1277600 h 1858572"/>
                    <a:gd name="connsiteX91" fmla="*/ 233053 w 1037106"/>
                    <a:gd name="connsiteY91" fmla="*/ 1282651 h 1858572"/>
                    <a:gd name="connsiteX92" fmla="*/ 217898 w 1037106"/>
                    <a:gd name="connsiteY92" fmla="*/ 1290229 h 1858572"/>
                    <a:gd name="connsiteX93" fmla="*/ 228002 w 1037106"/>
                    <a:gd name="connsiteY93" fmla="*/ 1295281 h 1858572"/>
                    <a:gd name="connsiteX94" fmla="*/ 222950 w 1037106"/>
                    <a:gd name="connsiteY94" fmla="*/ 1335697 h 1858572"/>
                    <a:gd name="connsiteX95" fmla="*/ 217898 w 1037106"/>
                    <a:gd name="connsiteY95" fmla="*/ 1343275 h 1858572"/>
                    <a:gd name="connsiteX96" fmla="*/ 212846 w 1037106"/>
                    <a:gd name="connsiteY96" fmla="*/ 1355905 h 1858572"/>
                    <a:gd name="connsiteX97" fmla="*/ 207794 w 1037106"/>
                    <a:gd name="connsiteY97" fmla="*/ 1363482 h 1858572"/>
                    <a:gd name="connsiteX98" fmla="*/ 202742 w 1037106"/>
                    <a:gd name="connsiteY98" fmla="*/ 1373586 h 1858572"/>
                    <a:gd name="connsiteX99" fmla="*/ 210320 w 1037106"/>
                    <a:gd name="connsiteY99" fmla="*/ 1396320 h 1858572"/>
                    <a:gd name="connsiteX100" fmla="*/ 215372 w 1037106"/>
                    <a:gd name="connsiteY100" fmla="*/ 1403898 h 1858572"/>
                    <a:gd name="connsiteX101" fmla="*/ 217898 w 1037106"/>
                    <a:gd name="connsiteY101" fmla="*/ 1414002 h 1858572"/>
                    <a:gd name="connsiteX102" fmla="*/ 228002 w 1037106"/>
                    <a:gd name="connsiteY102" fmla="*/ 1434209 h 1858572"/>
                    <a:gd name="connsiteX103" fmla="*/ 230527 w 1037106"/>
                    <a:gd name="connsiteY103" fmla="*/ 1441787 h 1858572"/>
                    <a:gd name="connsiteX104" fmla="*/ 240631 w 1037106"/>
                    <a:gd name="connsiteY104" fmla="*/ 1459469 h 1858572"/>
                    <a:gd name="connsiteX105" fmla="*/ 245683 w 1037106"/>
                    <a:gd name="connsiteY105" fmla="*/ 1472099 h 1858572"/>
                    <a:gd name="connsiteX106" fmla="*/ 245683 w 1037106"/>
                    <a:gd name="connsiteY106" fmla="*/ 1509989 h 1858572"/>
                    <a:gd name="connsiteX107" fmla="*/ 255787 w 1037106"/>
                    <a:gd name="connsiteY107" fmla="*/ 1512514 h 1858572"/>
                    <a:gd name="connsiteX108" fmla="*/ 263365 w 1037106"/>
                    <a:gd name="connsiteY108" fmla="*/ 1522618 h 1858572"/>
                    <a:gd name="connsiteX109" fmla="*/ 268417 w 1037106"/>
                    <a:gd name="connsiteY109" fmla="*/ 1530196 h 1858572"/>
                    <a:gd name="connsiteX110" fmla="*/ 278521 w 1037106"/>
                    <a:gd name="connsiteY110" fmla="*/ 1557982 h 1858572"/>
                    <a:gd name="connsiteX111" fmla="*/ 283573 w 1037106"/>
                    <a:gd name="connsiteY111" fmla="*/ 1585768 h 1858572"/>
                    <a:gd name="connsiteX112" fmla="*/ 281047 w 1037106"/>
                    <a:gd name="connsiteY112" fmla="*/ 1593345 h 1858572"/>
                    <a:gd name="connsiteX113" fmla="*/ 281047 w 1037106"/>
                    <a:gd name="connsiteY113" fmla="*/ 1674176 h 1858572"/>
                    <a:gd name="connsiteX114" fmla="*/ 283573 w 1037106"/>
                    <a:gd name="connsiteY114" fmla="*/ 1699436 h 1858572"/>
                    <a:gd name="connsiteX115" fmla="*/ 296203 w 1037106"/>
                    <a:gd name="connsiteY115" fmla="*/ 1701962 h 1858572"/>
                    <a:gd name="connsiteX116" fmla="*/ 288625 w 1037106"/>
                    <a:gd name="connsiteY116" fmla="*/ 1709540 h 1858572"/>
                    <a:gd name="connsiteX117" fmla="*/ 293677 w 1037106"/>
                    <a:gd name="connsiteY117" fmla="*/ 1717118 h 1858572"/>
                    <a:gd name="connsiteX118" fmla="*/ 296203 w 1037106"/>
                    <a:gd name="connsiteY118" fmla="*/ 1724696 h 1858572"/>
                    <a:gd name="connsiteX119" fmla="*/ 293677 w 1037106"/>
                    <a:gd name="connsiteY119" fmla="*/ 1760059 h 1858572"/>
                    <a:gd name="connsiteX120" fmla="*/ 321462 w 1037106"/>
                    <a:gd name="connsiteY120" fmla="*/ 1755007 h 1858572"/>
                    <a:gd name="connsiteX121" fmla="*/ 329040 w 1037106"/>
                    <a:gd name="connsiteY121" fmla="*/ 1757533 h 1858572"/>
                    <a:gd name="connsiteX122" fmla="*/ 334092 w 1037106"/>
                    <a:gd name="connsiteY122" fmla="*/ 1775215 h 1858572"/>
                    <a:gd name="connsiteX123" fmla="*/ 354300 w 1037106"/>
                    <a:gd name="connsiteY123" fmla="*/ 1780267 h 1858572"/>
                    <a:gd name="connsiteX124" fmla="*/ 356826 w 1037106"/>
                    <a:gd name="connsiteY124" fmla="*/ 1790371 h 1858572"/>
                    <a:gd name="connsiteX125" fmla="*/ 379560 w 1037106"/>
                    <a:gd name="connsiteY125" fmla="*/ 1785319 h 1858572"/>
                    <a:gd name="connsiteX126" fmla="*/ 392189 w 1037106"/>
                    <a:gd name="connsiteY126" fmla="*/ 1775215 h 1858572"/>
                    <a:gd name="connsiteX127" fmla="*/ 389663 w 1037106"/>
                    <a:gd name="connsiteY127" fmla="*/ 1782793 h 1858572"/>
                    <a:gd name="connsiteX128" fmla="*/ 384611 w 1037106"/>
                    <a:gd name="connsiteY128" fmla="*/ 1795423 h 1858572"/>
                    <a:gd name="connsiteX129" fmla="*/ 392189 w 1037106"/>
                    <a:gd name="connsiteY129" fmla="*/ 1797949 h 1858572"/>
                    <a:gd name="connsiteX130" fmla="*/ 402293 w 1037106"/>
                    <a:gd name="connsiteY130" fmla="*/ 1795423 h 1858572"/>
                    <a:gd name="connsiteX131" fmla="*/ 417449 w 1037106"/>
                    <a:gd name="connsiteY131" fmla="*/ 1792897 h 1858572"/>
                    <a:gd name="connsiteX132" fmla="*/ 427553 w 1037106"/>
                    <a:gd name="connsiteY132" fmla="*/ 1805527 h 1858572"/>
                    <a:gd name="connsiteX133" fmla="*/ 442709 w 1037106"/>
                    <a:gd name="connsiteY133" fmla="*/ 1795423 h 1858572"/>
                    <a:gd name="connsiteX134" fmla="*/ 437657 w 1037106"/>
                    <a:gd name="connsiteY134" fmla="*/ 1808053 h 1858572"/>
                    <a:gd name="connsiteX135" fmla="*/ 427553 w 1037106"/>
                    <a:gd name="connsiteY135" fmla="*/ 1818156 h 1858572"/>
                    <a:gd name="connsiteX136" fmla="*/ 432605 w 1037106"/>
                    <a:gd name="connsiteY136" fmla="*/ 1820682 h 1858572"/>
                    <a:gd name="connsiteX137" fmla="*/ 450287 w 1037106"/>
                    <a:gd name="connsiteY137" fmla="*/ 1818156 h 1858572"/>
                    <a:gd name="connsiteX138" fmla="*/ 455339 w 1037106"/>
                    <a:gd name="connsiteY138" fmla="*/ 1825734 h 1858572"/>
                    <a:gd name="connsiteX139" fmla="*/ 478072 w 1037106"/>
                    <a:gd name="connsiteY139" fmla="*/ 1848468 h 1858572"/>
                    <a:gd name="connsiteX140" fmla="*/ 470494 w 1037106"/>
                    <a:gd name="connsiteY140" fmla="*/ 1850994 h 1858572"/>
                    <a:gd name="connsiteX141" fmla="*/ 460390 w 1037106"/>
                    <a:gd name="connsiteY141" fmla="*/ 1853520 h 1858572"/>
                    <a:gd name="connsiteX142" fmla="*/ 475546 w 1037106"/>
                    <a:gd name="connsiteY142" fmla="*/ 1858572 h 1858572"/>
                    <a:gd name="connsiteX143" fmla="*/ 485650 w 1037106"/>
                    <a:gd name="connsiteY143" fmla="*/ 1850994 h 1858572"/>
                    <a:gd name="connsiteX144" fmla="*/ 488176 w 1037106"/>
                    <a:gd name="connsiteY144" fmla="*/ 1838364 h 1858572"/>
                    <a:gd name="connsiteX145" fmla="*/ 490702 w 1037106"/>
                    <a:gd name="connsiteY145" fmla="*/ 1830786 h 1858572"/>
                    <a:gd name="connsiteX146" fmla="*/ 510910 w 1037106"/>
                    <a:gd name="connsiteY146" fmla="*/ 1823208 h 1858572"/>
                    <a:gd name="connsiteX147" fmla="*/ 521014 w 1037106"/>
                    <a:gd name="connsiteY147" fmla="*/ 1813105 h 1858572"/>
                    <a:gd name="connsiteX148" fmla="*/ 538695 w 1037106"/>
                    <a:gd name="connsiteY148" fmla="*/ 1808053 h 1858572"/>
                    <a:gd name="connsiteX149" fmla="*/ 546273 w 1037106"/>
                    <a:gd name="connsiteY149" fmla="*/ 1805527 h 1858572"/>
                    <a:gd name="connsiteX150" fmla="*/ 569007 w 1037106"/>
                    <a:gd name="connsiteY150" fmla="*/ 1792897 h 1858572"/>
                    <a:gd name="connsiteX151" fmla="*/ 576585 w 1037106"/>
                    <a:gd name="connsiteY151" fmla="*/ 1797949 h 1858572"/>
                    <a:gd name="connsiteX152" fmla="*/ 591741 w 1037106"/>
                    <a:gd name="connsiteY152" fmla="*/ 1787845 h 1858572"/>
                    <a:gd name="connsiteX153" fmla="*/ 596793 w 1037106"/>
                    <a:gd name="connsiteY153" fmla="*/ 1780267 h 1858572"/>
                    <a:gd name="connsiteX154" fmla="*/ 604371 w 1037106"/>
                    <a:gd name="connsiteY154" fmla="*/ 1777741 h 1858572"/>
                    <a:gd name="connsiteX155" fmla="*/ 606897 w 1037106"/>
                    <a:gd name="connsiteY155" fmla="*/ 1767637 h 1858572"/>
                    <a:gd name="connsiteX156" fmla="*/ 614474 w 1037106"/>
                    <a:gd name="connsiteY156" fmla="*/ 1765111 h 1858572"/>
                    <a:gd name="connsiteX157" fmla="*/ 627104 w 1037106"/>
                    <a:gd name="connsiteY157" fmla="*/ 1760059 h 1858572"/>
                    <a:gd name="connsiteX158" fmla="*/ 654890 w 1037106"/>
                    <a:gd name="connsiteY158" fmla="*/ 1739851 h 1858572"/>
                    <a:gd name="connsiteX159" fmla="*/ 687727 w 1037106"/>
                    <a:gd name="connsiteY159" fmla="*/ 1734800 h 1858572"/>
                    <a:gd name="connsiteX160" fmla="*/ 705409 w 1037106"/>
                    <a:gd name="connsiteY160" fmla="*/ 1727222 h 1858572"/>
                    <a:gd name="connsiteX161" fmla="*/ 707935 w 1037106"/>
                    <a:gd name="connsiteY161" fmla="*/ 1717118 h 1858572"/>
                    <a:gd name="connsiteX162" fmla="*/ 715513 w 1037106"/>
                    <a:gd name="connsiteY162" fmla="*/ 1707014 h 1858572"/>
                    <a:gd name="connsiteX163" fmla="*/ 725617 w 1037106"/>
                    <a:gd name="connsiteY163" fmla="*/ 1694384 h 1858572"/>
                    <a:gd name="connsiteX164" fmla="*/ 740773 w 1037106"/>
                    <a:gd name="connsiteY164" fmla="*/ 1676702 h 1858572"/>
                    <a:gd name="connsiteX165" fmla="*/ 753403 w 1037106"/>
                    <a:gd name="connsiteY165" fmla="*/ 1674176 h 1858572"/>
                    <a:gd name="connsiteX166" fmla="*/ 760981 w 1037106"/>
                    <a:gd name="connsiteY166" fmla="*/ 1664072 h 1858572"/>
                    <a:gd name="connsiteX167" fmla="*/ 750877 w 1037106"/>
                    <a:gd name="connsiteY167" fmla="*/ 1648917 h 1858572"/>
                    <a:gd name="connsiteX168" fmla="*/ 750877 w 1037106"/>
                    <a:gd name="connsiteY168" fmla="*/ 1671650 h 1858572"/>
                    <a:gd name="connsiteX169" fmla="*/ 773610 w 1037106"/>
                    <a:gd name="connsiteY169" fmla="*/ 1679228 h 1858572"/>
                    <a:gd name="connsiteX170" fmla="*/ 783714 w 1037106"/>
                    <a:gd name="connsiteY170" fmla="*/ 1671650 h 1858572"/>
                    <a:gd name="connsiteX171" fmla="*/ 791292 w 1037106"/>
                    <a:gd name="connsiteY171" fmla="*/ 1656495 h 1858572"/>
                    <a:gd name="connsiteX172" fmla="*/ 798870 w 1037106"/>
                    <a:gd name="connsiteY172" fmla="*/ 1651443 h 1858572"/>
                    <a:gd name="connsiteX173" fmla="*/ 811500 w 1037106"/>
                    <a:gd name="connsiteY173" fmla="*/ 1653969 h 1858572"/>
                    <a:gd name="connsiteX174" fmla="*/ 821604 w 1037106"/>
                    <a:gd name="connsiteY174" fmla="*/ 1661547 h 1858572"/>
                    <a:gd name="connsiteX175" fmla="*/ 829182 w 1037106"/>
                    <a:gd name="connsiteY175" fmla="*/ 1664072 h 1858572"/>
                    <a:gd name="connsiteX176" fmla="*/ 849389 w 1037106"/>
                    <a:gd name="connsiteY176" fmla="*/ 1628709 h 1858572"/>
                    <a:gd name="connsiteX177" fmla="*/ 864545 w 1037106"/>
                    <a:gd name="connsiteY177" fmla="*/ 1605975 h 1858572"/>
                    <a:gd name="connsiteX178" fmla="*/ 874649 w 1037106"/>
                    <a:gd name="connsiteY178" fmla="*/ 1580716 h 1858572"/>
                    <a:gd name="connsiteX179" fmla="*/ 882227 w 1037106"/>
                    <a:gd name="connsiteY179" fmla="*/ 1573138 h 1858572"/>
                    <a:gd name="connsiteX180" fmla="*/ 887279 w 1037106"/>
                    <a:gd name="connsiteY180" fmla="*/ 1563034 h 1858572"/>
                    <a:gd name="connsiteX181" fmla="*/ 892331 w 1037106"/>
                    <a:gd name="connsiteY181" fmla="*/ 1555456 h 1858572"/>
                    <a:gd name="connsiteX182" fmla="*/ 894857 w 1037106"/>
                    <a:gd name="connsiteY182" fmla="*/ 1547878 h 1858572"/>
                    <a:gd name="connsiteX183" fmla="*/ 899909 w 1037106"/>
                    <a:gd name="connsiteY183" fmla="*/ 1540300 h 1858572"/>
                    <a:gd name="connsiteX184" fmla="*/ 902435 w 1037106"/>
                    <a:gd name="connsiteY184" fmla="*/ 1532722 h 1858572"/>
                    <a:gd name="connsiteX185" fmla="*/ 907487 w 1037106"/>
                    <a:gd name="connsiteY185" fmla="*/ 1525144 h 1858572"/>
                    <a:gd name="connsiteX186" fmla="*/ 925168 w 1037106"/>
                    <a:gd name="connsiteY186" fmla="*/ 1494833 h 1858572"/>
                    <a:gd name="connsiteX187" fmla="*/ 927694 w 1037106"/>
                    <a:gd name="connsiteY187" fmla="*/ 1487255 h 1858572"/>
                    <a:gd name="connsiteX188" fmla="*/ 930220 w 1037106"/>
                    <a:gd name="connsiteY188" fmla="*/ 1477151 h 1858572"/>
                    <a:gd name="connsiteX189" fmla="*/ 945376 w 1037106"/>
                    <a:gd name="connsiteY189" fmla="*/ 1456943 h 1858572"/>
                    <a:gd name="connsiteX190" fmla="*/ 947902 w 1037106"/>
                    <a:gd name="connsiteY190" fmla="*/ 1449365 h 1858572"/>
                    <a:gd name="connsiteX191" fmla="*/ 950428 w 1037106"/>
                    <a:gd name="connsiteY191" fmla="*/ 1436735 h 1858572"/>
                    <a:gd name="connsiteX192" fmla="*/ 958006 w 1037106"/>
                    <a:gd name="connsiteY192" fmla="*/ 1426632 h 1858572"/>
                    <a:gd name="connsiteX193" fmla="*/ 968110 w 1037106"/>
                    <a:gd name="connsiteY193" fmla="*/ 1406424 h 1858572"/>
                    <a:gd name="connsiteX194" fmla="*/ 973162 w 1037106"/>
                    <a:gd name="connsiteY194" fmla="*/ 1393794 h 1858572"/>
                    <a:gd name="connsiteX195" fmla="*/ 978214 w 1037106"/>
                    <a:gd name="connsiteY195" fmla="*/ 1386216 h 1858572"/>
                    <a:gd name="connsiteX196" fmla="*/ 988318 w 1037106"/>
                    <a:gd name="connsiteY196" fmla="*/ 1360956 h 1858572"/>
                    <a:gd name="connsiteX197" fmla="*/ 995895 w 1037106"/>
                    <a:gd name="connsiteY197" fmla="*/ 1340749 h 1858572"/>
                    <a:gd name="connsiteX198" fmla="*/ 1000947 w 1037106"/>
                    <a:gd name="connsiteY198" fmla="*/ 1330645 h 1858572"/>
                    <a:gd name="connsiteX199" fmla="*/ 1003473 w 1037106"/>
                    <a:gd name="connsiteY199" fmla="*/ 1302859 h 1858572"/>
                    <a:gd name="connsiteX200" fmla="*/ 1005999 w 1037106"/>
                    <a:gd name="connsiteY200" fmla="*/ 1295281 h 1858572"/>
                    <a:gd name="connsiteX201" fmla="*/ 1008525 w 1037106"/>
                    <a:gd name="connsiteY201" fmla="*/ 1280126 h 1858572"/>
                    <a:gd name="connsiteX202" fmla="*/ 1013577 w 1037106"/>
                    <a:gd name="connsiteY202" fmla="*/ 1272548 h 1858572"/>
                    <a:gd name="connsiteX203" fmla="*/ 1018629 w 1037106"/>
                    <a:gd name="connsiteY203" fmla="*/ 1262444 h 1858572"/>
                    <a:gd name="connsiteX204" fmla="*/ 1026207 w 1037106"/>
                    <a:gd name="connsiteY204" fmla="*/ 1249814 h 1858572"/>
                    <a:gd name="connsiteX205" fmla="*/ 1028733 w 1037106"/>
                    <a:gd name="connsiteY205" fmla="*/ 1232132 h 1858572"/>
                    <a:gd name="connsiteX206" fmla="*/ 1033785 w 1037106"/>
                    <a:gd name="connsiteY206" fmla="*/ 1216976 h 1858572"/>
                    <a:gd name="connsiteX207" fmla="*/ 1036311 w 1037106"/>
                    <a:gd name="connsiteY207" fmla="*/ 1174035 h 1858572"/>
                    <a:gd name="connsiteX208" fmla="*/ 1026207 w 1037106"/>
                    <a:gd name="connsiteY208" fmla="*/ 1133619 h 1858572"/>
                    <a:gd name="connsiteX209" fmla="*/ 1016103 w 1037106"/>
                    <a:gd name="connsiteY209" fmla="*/ 1131093 h 1858572"/>
                    <a:gd name="connsiteX210" fmla="*/ 998421 w 1037106"/>
                    <a:gd name="connsiteY210" fmla="*/ 1115938 h 1858572"/>
                    <a:gd name="connsiteX211" fmla="*/ 990844 w 1037106"/>
                    <a:gd name="connsiteY211" fmla="*/ 1108360 h 1858572"/>
                    <a:gd name="connsiteX212" fmla="*/ 970636 w 1037106"/>
                    <a:gd name="connsiteY212" fmla="*/ 1093204 h 1858572"/>
                    <a:gd name="connsiteX213" fmla="*/ 960532 w 1037106"/>
                    <a:gd name="connsiteY213" fmla="*/ 1085626 h 1858572"/>
                    <a:gd name="connsiteX214" fmla="*/ 945376 w 1037106"/>
                    <a:gd name="connsiteY214" fmla="*/ 1080574 h 1858572"/>
                    <a:gd name="connsiteX215" fmla="*/ 922642 w 1037106"/>
                    <a:gd name="connsiteY215" fmla="*/ 1075522 h 1858572"/>
                    <a:gd name="connsiteX216" fmla="*/ 910013 w 1037106"/>
                    <a:gd name="connsiteY216" fmla="*/ 1070470 h 1858572"/>
                    <a:gd name="connsiteX217" fmla="*/ 889805 w 1037106"/>
                    <a:gd name="connsiteY217" fmla="*/ 1057840 h 1858572"/>
                    <a:gd name="connsiteX218" fmla="*/ 877175 w 1037106"/>
                    <a:gd name="connsiteY218" fmla="*/ 1042685 h 1858572"/>
                    <a:gd name="connsiteX219" fmla="*/ 879701 w 1037106"/>
                    <a:gd name="connsiteY219" fmla="*/ 1030055 h 1858572"/>
                    <a:gd name="connsiteX220" fmla="*/ 884753 w 1037106"/>
                    <a:gd name="connsiteY220" fmla="*/ 1012373 h 1858572"/>
                    <a:gd name="connsiteX221" fmla="*/ 889805 w 1037106"/>
                    <a:gd name="connsiteY221" fmla="*/ 1004795 h 1858572"/>
                    <a:gd name="connsiteX222" fmla="*/ 849389 w 1037106"/>
                    <a:gd name="connsiteY222" fmla="*/ 936594 h 1858572"/>
                    <a:gd name="connsiteX223" fmla="*/ 836760 w 1037106"/>
                    <a:gd name="connsiteY223" fmla="*/ 934068 h 1858572"/>
                    <a:gd name="connsiteX224" fmla="*/ 826656 w 1037106"/>
                    <a:gd name="connsiteY224" fmla="*/ 873445 h 1858572"/>
                    <a:gd name="connsiteX225" fmla="*/ 814026 w 1037106"/>
                    <a:gd name="connsiteY225" fmla="*/ 870919 h 1858572"/>
                    <a:gd name="connsiteX226" fmla="*/ 798870 w 1037106"/>
                    <a:gd name="connsiteY226" fmla="*/ 858289 h 1858572"/>
                    <a:gd name="connsiteX227" fmla="*/ 778662 w 1037106"/>
                    <a:gd name="connsiteY227" fmla="*/ 855763 h 1858572"/>
                    <a:gd name="connsiteX228" fmla="*/ 776136 w 1037106"/>
                    <a:gd name="connsiteY228" fmla="*/ 845659 h 1858572"/>
                    <a:gd name="connsiteX229" fmla="*/ 773610 w 1037106"/>
                    <a:gd name="connsiteY229" fmla="*/ 838081 h 1858572"/>
                    <a:gd name="connsiteX230" fmla="*/ 788766 w 1037106"/>
                    <a:gd name="connsiteY230" fmla="*/ 807770 h 1858572"/>
                    <a:gd name="connsiteX231" fmla="*/ 781188 w 1037106"/>
                    <a:gd name="connsiteY231" fmla="*/ 795140 h 1858572"/>
                    <a:gd name="connsiteX232" fmla="*/ 760981 w 1037106"/>
                    <a:gd name="connsiteY232" fmla="*/ 779984 h 1858572"/>
                    <a:gd name="connsiteX233" fmla="*/ 766032 w 1037106"/>
                    <a:gd name="connsiteY233" fmla="*/ 709257 h 1858572"/>
                    <a:gd name="connsiteX234" fmla="*/ 778662 w 1037106"/>
                    <a:gd name="connsiteY234" fmla="*/ 704205 h 1858572"/>
                    <a:gd name="connsiteX235" fmla="*/ 781188 w 1037106"/>
                    <a:gd name="connsiteY235" fmla="*/ 694101 h 1858572"/>
                    <a:gd name="connsiteX236" fmla="*/ 773610 w 1037106"/>
                    <a:gd name="connsiteY236" fmla="*/ 691575 h 1858572"/>
                    <a:gd name="connsiteX237" fmla="*/ 760981 w 1037106"/>
                    <a:gd name="connsiteY237" fmla="*/ 689049 h 1858572"/>
                    <a:gd name="connsiteX238" fmla="*/ 753403 w 1037106"/>
                    <a:gd name="connsiteY238" fmla="*/ 681471 h 1858572"/>
                    <a:gd name="connsiteX239" fmla="*/ 740773 w 1037106"/>
                    <a:gd name="connsiteY239" fmla="*/ 656212 h 1858572"/>
                    <a:gd name="connsiteX240" fmla="*/ 730669 w 1037106"/>
                    <a:gd name="connsiteY240" fmla="*/ 646108 h 1858572"/>
                    <a:gd name="connsiteX241" fmla="*/ 723091 w 1037106"/>
                    <a:gd name="connsiteY241" fmla="*/ 633478 h 1858572"/>
                    <a:gd name="connsiteX242" fmla="*/ 710461 w 1037106"/>
                    <a:gd name="connsiteY242" fmla="*/ 615796 h 1858572"/>
                    <a:gd name="connsiteX243" fmla="*/ 695305 w 1037106"/>
                    <a:gd name="connsiteY243" fmla="*/ 598114 h 1858572"/>
                    <a:gd name="connsiteX244" fmla="*/ 685202 w 1037106"/>
                    <a:gd name="connsiteY244" fmla="*/ 585485 h 1858572"/>
                    <a:gd name="connsiteX245" fmla="*/ 677624 w 1037106"/>
                    <a:gd name="connsiteY245" fmla="*/ 577907 h 1858572"/>
                    <a:gd name="connsiteX246" fmla="*/ 664994 w 1037106"/>
                    <a:gd name="connsiteY246" fmla="*/ 555173 h 1858572"/>
                    <a:gd name="connsiteX247" fmla="*/ 644786 w 1037106"/>
                    <a:gd name="connsiteY247" fmla="*/ 529913 h 1858572"/>
                    <a:gd name="connsiteX248" fmla="*/ 632156 w 1037106"/>
                    <a:gd name="connsiteY248" fmla="*/ 514758 h 1858572"/>
                    <a:gd name="connsiteX249" fmla="*/ 629630 w 1037106"/>
                    <a:gd name="connsiteY249" fmla="*/ 502128 h 1858572"/>
                    <a:gd name="connsiteX250" fmla="*/ 634682 w 1037106"/>
                    <a:gd name="connsiteY250" fmla="*/ 464238 h 1858572"/>
                    <a:gd name="connsiteX251" fmla="*/ 637208 w 1037106"/>
                    <a:gd name="connsiteY251" fmla="*/ 449082 h 1858572"/>
                    <a:gd name="connsiteX252" fmla="*/ 644786 w 1037106"/>
                    <a:gd name="connsiteY252" fmla="*/ 436453 h 1858572"/>
                    <a:gd name="connsiteX253" fmla="*/ 647312 w 1037106"/>
                    <a:gd name="connsiteY253" fmla="*/ 426349 h 1858572"/>
                    <a:gd name="connsiteX254" fmla="*/ 652364 w 1037106"/>
                    <a:gd name="connsiteY254" fmla="*/ 383407 h 1858572"/>
                    <a:gd name="connsiteX255" fmla="*/ 649838 w 1037106"/>
                    <a:gd name="connsiteY255" fmla="*/ 365726 h 1858572"/>
                    <a:gd name="connsiteX256" fmla="*/ 632156 w 1037106"/>
                    <a:gd name="connsiteY256" fmla="*/ 355622 h 1858572"/>
                    <a:gd name="connsiteX257" fmla="*/ 624578 w 1037106"/>
                    <a:gd name="connsiteY257" fmla="*/ 345518 h 1858572"/>
                    <a:gd name="connsiteX258" fmla="*/ 619526 w 1037106"/>
                    <a:gd name="connsiteY258" fmla="*/ 337940 h 1858572"/>
                    <a:gd name="connsiteX259" fmla="*/ 611948 w 1037106"/>
                    <a:gd name="connsiteY259" fmla="*/ 335414 h 1858572"/>
                    <a:gd name="connsiteX260" fmla="*/ 604371 w 1037106"/>
                    <a:gd name="connsiteY260" fmla="*/ 330362 h 1858572"/>
                    <a:gd name="connsiteX261" fmla="*/ 594267 w 1037106"/>
                    <a:gd name="connsiteY261" fmla="*/ 312680 h 1858572"/>
                    <a:gd name="connsiteX262" fmla="*/ 586689 w 1037106"/>
                    <a:gd name="connsiteY262" fmla="*/ 307628 h 1858572"/>
                    <a:gd name="connsiteX263" fmla="*/ 531118 w 1037106"/>
                    <a:gd name="connsiteY263" fmla="*/ 307628 h 1858572"/>
                    <a:gd name="connsiteX264" fmla="*/ 528592 w 1037106"/>
                    <a:gd name="connsiteY264" fmla="*/ 297524 h 1858572"/>
                    <a:gd name="connsiteX265" fmla="*/ 521014 w 1037106"/>
                    <a:gd name="connsiteY265" fmla="*/ 272265 h 1858572"/>
                    <a:gd name="connsiteX266" fmla="*/ 518488 w 1037106"/>
                    <a:gd name="connsiteY266" fmla="*/ 252057 h 1858572"/>
                    <a:gd name="connsiteX267" fmla="*/ 515962 w 1037106"/>
                    <a:gd name="connsiteY267" fmla="*/ 241953 h 1858572"/>
                    <a:gd name="connsiteX268" fmla="*/ 513436 w 1037106"/>
                    <a:gd name="connsiteY268" fmla="*/ 193960 h 1858572"/>
                    <a:gd name="connsiteX269" fmla="*/ 505858 w 1037106"/>
                    <a:gd name="connsiteY269" fmla="*/ 191434 h 1858572"/>
                    <a:gd name="connsiteX270" fmla="*/ 498280 w 1037106"/>
                    <a:gd name="connsiteY270" fmla="*/ 183856 h 1858572"/>
                    <a:gd name="connsiteX271" fmla="*/ 508384 w 1037106"/>
                    <a:gd name="connsiteY271" fmla="*/ 145966 h 1858572"/>
                    <a:gd name="connsiteX272" fmla="*/ 503332 w 1037106"/>
                    <a:gd name="connsiteY272" fmla="*/ 125759 h 1858572"/>
                    <a:gd name="connsiteX273" fmla="*/ 500806 w 1037106"/>
                    <a:gd name="connsiteY273" fmla="*/ 57558 h 1858572"/>
                    <a:gd name="connsiteX274" fmla="*/ 493228 w 1037106"/>
                    <a:gd name="connsiteY274" fmla="*/ 55032 h 1858572"/>
                    <a:gd name="connsiteX275" fmla="*/ 483124 w 1037106"/>
                    <a:gd name="connsiteY275" fmla="*/ 49980 h 1858572"/>
                    <a:gd name="connsiteX276" fmla="*/ 450287 w 1037106"/>
                    <a:gd name="connsiteY276" fmla="*/ 44928 h 1858572"/>
                    <a:gd name="connsiteX277" fmla="*/ 430079 w 1037106"/>
                    <a:gd name="connsiteY277" fmla="*/ 32298 h 1858572"/>
                    <a:gd name="connsiteX278" fmla="*/ 409871 w 1037106"/>
                    <a:gd name="connsiteY278" fmla="*/ 14616 h 1858572"/>
                    <a:gd name="connsiteX279" fmla="*/ 399761 w 1037106"/>
                    <a:gd name="connsiteY279" fmla="*/ 103 h 1858572"/>
                    <a:gd name="connsiteX280" fmla="*/ 384611 w 1037106"/>
                    <a:gd name="connsiteY280" fmla="*/ 8309 h 1858572"/>
                    <a:gd name="connsiteX281" fmla="*/ 349248 w 1037106"/>
                    <a:gd name="connsiteY281" fmla="*/ 12090 h 1858572"/>
                    <a:gd name="connsiteX282" fmla="*/ 351774 w 1037106"/>
                    <a:gd name="connsiteY282" fmla="*/ 1986 h 1858572"/>
                    <a:gd name="connsiteX283" fmla="*/ 361878 w 1037106"/>
                    <a:gd name="connsiteY283" fmla="*/ 4512 h 1858572"/>
                    <a:gd name="connsiteX284" fmla="*/ 349248 w 1037106"/>
                    <a:gd name="connsiteY284" fmla="*/ 39876 h 1858572"/>
                    <a:gd name="connsiteX285" fmla="*/ 346722 w 1037106"/>
                    <a:gd name="connsiteY285" fmla="*/ 49980 h 1858572"/>
                    <a:gd name="connsiteX286" fmla="*/ 339144 w 1037106"/>
                    <a:gd name="connsiteY286" fmla="*/ 52506 h 1858572"/>
                    <a:gd name="connsiteX287" fmla="*/ 323988 w 1037106"/>
                    <a:gd name="connsiteY287" fmla="*/ 49980 h 1858572"/>
                    <a:gd name="connsiteX288" fmla="*/ 306306 w 1037106"/>
                    <a:gd name="connsiteY288" fmla="*/ 47454 h 1858572"/>
                    <a:gd name="connsiteX289" fmla="*/ 296203 w 1037106"/>
                    <a:gd name="connsiteY289" fmla="*/ 44928 h 1858572"/>
                    <a:gd name="connsiteX290" fmla="*/ 288625 w 1037106"/>
                    <a:gd name="connsiteY290" fmla="*/ 47454 h 1858572"/>
                    <a:gd name="connsiteX291" fmla="*/ 291151 w 1037106"/>
                    <a:gd name="connsiteY291" fmla="*/ 65135 h 1858572"/>
                    <a:gd name="connsiteX292" fmla="*/ 296203 w 1037106"/>
                    <a:gd name="connsiteY292" fmla="*/ 87869 h 1858572"/>
                    <a:gd name="connsiteX293" fmla="*/ 293677 w 1037106"/>
                    <a:gd name="connsiteY293" fmla="*/ 125759 h 1858572"/>
                    <a:gd name="connsiteX294" fmla="*/ 291151 w 1037106"/>
                    <a:gd name="connsiteY294" fmla="*/ 133337 h 1858572"/>
                    <a:gd name="connsiteX295" fmla="*/ 288625 w 1037106"/>
                    <a:gd name="connsiteY295" fmla="*/ 148492 h 1858572"/>
                    <a:gd name="connsiteX296" fmla="*/ 301255 w 1037106"/>
                    <a:gd name="connsiteY296" fmla="*/ 201538 h 1858572"/>
                    <a:gd name="connsiteX297" fmla="*/ 308832 w 1037106"/>
                    <a:gd name="connsiteY297" fmla="*/ 204064 h 1858572"/>
                    <a:gd name="connsiteX298" fmla="*/ 296203 w 1037106"/>
                    <a:gd name="connsiteY298" fmla="*/ 241953 h 1858572"/>
                    <a:gd name="connsiteX299" fmla="*/ 283573 w 1037106"/>
                    <a:gd name="connsiteY299" fmla="*/ 284895 h 1858572"/>
                    <a:gd name="connsiteX300" fmla="*/ 281047 w 1037106"/>
                    <a:gd name="connsiteY300" fmla="*/ 300050 h 1858572"/>
                    <a:gd name="connsiteX301" fmla="*/ 263365 w 1037106"/>
                    <a:gd name="connsiteY301" fmla="*/ 294998 h 1858572"/>
                    <a:gd name="connsiteX302" fmla="*/ 255787 w 1037106"/>
                    <a:gd name="connsiteY302" fmla="*/ 287421 h 1858572"/>
                    <a:gd name="connsiteX303" fmla="*/ 248209 w 1037106"/>
                    <a:gd name="connsiteY303" fmla="*/ 282369 h 1858572"/>
                    <a:gd name="connsiteX304" fmla="*/ 243157 w 1037106"/>
                    <a:gd name="connsiteY304" fmla="*/ 274791 h 1858572"/>
                    <a:gd name="connsiteX305" fmla="*/ 240631 w 1037106"/>
                    <a:gd name="connsiteY305" fmla="*/ 267213 h 1858572"/>
                    <a:gd name="connsiteX306" fmla="*/ 230527 w 1037106"/>
                    <a:gd name="connsiteY306" fmla="*/ 264687 h 1858572"/>
                    <a:gd name="connsiteX307" fmla="*/ 220424 w 1037106"/>
                    <a:gd name="connsiteY307" fmla="*/ 277317 h 1858572"/>
                    <a:gd name="connsiteX308" fmla="*/ 197690 w 1037106"/>
                    <a:gd name="connsiteY308" fmla="*/ 264687 h 1858572"/>
                    <a:gd name="connsiteX309" fmla="*/ 195164 w 1037106"/>
                    <a:gd name="connsiteY309" fmla="*/ 277317 h 1858572"/>
                    <a:gd name="connsiteX310" fmla="*/ 192638 w 1037106"/>
                    <a:gd name="connsiteY310" fmla="*/ 287421 h 1858572"/>
                    <a:gd name="connsiteX311" fmla="*/ 147171 w 1037106"/>
                    <a:gd name="connsiteY311" fmla="*/ 302576 h 1858572"/>
                    <a:gd name="connsiteX312" fmla="*/ 94125 w 1037106"/>
                    <a:gd name="connsiteY312" fmla="*/ 287421 h 1858572"/>
                    <a:gd name="connsiteX313" fmla="*/ 89073 w 1037106"/>
                    <a:gd name="connsiteY313" fmla="*/ 279843 h 1858572"/>
                    <a:gd name="connsiteX314" fmla="*/ 86547 w 1037106"/>
                    <a:gd name="connsiteY314" fmla="*/ 269739 h 1858572"/>
                    <a:gd name="connsiteX315" fmla="*/ 84021 w 1037106"/>
                    <a:gd name="connsiteY315" fmla="*/ 262161 h 1858572"/>
                    <a:gd name="connsiteX316" fmla="*/ 71392 w 1037106"/>
                    <a:gd name="connsiteY316" fmla="*/ 257109 h 1858572"/>
                    <a:gd name="connsiteX317" fmla="*/ 53710 w 1037106"/>
                    <a:gd name="connsiteY317" fmla="*/ 236901 h 1858572"/>
                    <a:gd name="connsiteX318" fmla="*/ 43606 w 1037106"/>
                    <a:gd name="connsiteY318" fmla="*/ 231849 h 1858572"/>
                    <a:gd name="connsiteX319" fmla="*/ 28450 w 1037106"/>
                    <a:gd name="connsiteY319" fmla="*/ 224271 h 1858572"/>
                    <a:gd name="connsiteX320" fmla="*/ 20872 w 1037106"/>
                    <a:gd name="connsiteY320" fmla="*/ 216693 h 1858572"/>
                    <a:gd name="connsiteX321" fmla="*/ 5716 w 1037106"/>
                    <a:gd name="connsiteY321" fmla="*/ 236901 h 1858572"/>
                    <a:gd name="connsiteX322" fmla="*/ 15820 w 1037106"/>
                    <a:gd name="connsiteY322" fmla="*/ 259635 h 1858572"/>
                    <a:gd name="connsiteX0" fmla="*/ 15820 w 1037106"/>
                    <a:gd name="connsiteY0" fmla="*/ 263452 h 1862389"/>
                    <a:gd name="connsiteX1" fmla="*/ 664 w 1037106"/>
                    <a:gd name="connsiteY1" fmla="*/ 268504 h 1862389"/>
                    <a:gd name="connsiteX2" fmla="*/ 3190 w 1037106"/>
                    <a:gd name="connsiteY2" fmla="*/ 276082 h 1862389"/>
                    <a:gd name="connsiteX3" fmla="*/ 28450 w 1037106"/>
                    <a:gd name="connsiteY3" fmla="*/ 291238 h 1862389"/>
                    <a:gd name="connsiteX4" fmla="*/ 36028 w 1037106"/>
                    <a:gd name="connsiteY4" fmla="*/ 301341 h 1862389"/>
                    <a:gd name="connsiteX5" fmla="*/ 43606 w 1037106"/>
                    <a:gd name="connsiteY5" fmla="*/ 308919 h 1862389"/>
                    <a:gd name="connsiteX6" fmla="*/ 58762 w 1037106"/>
                    <a:gd name="connsiteY6" fmla="*/ 329127 h 1862389"/>
                    <a:gd name="connsiteX7" fmla="*/ 63814 w 1037106"/>
                    <a:gd name="connsiteY7" fmla="*/ 336705 h 1862389"/>
                    <a:gd name="connsiteX8" fmla="*/ 71392 w 1037106"/>
                    <a:gd name="connsiteY8" fmla="*/ 344283 h 1862389"/>
                    <a:gd name="connsiteX9" fmla="*/ 73918 w 1037106"/>
                    <a:gd name="connsiteY9" fmla="*/ 351861 h 1862389"/>
                    <a:gd name="connsiteX10" fmla="*/ 132015 w 1037106"/>
                    <a:gd name="connsiteY10" fmla="*/ 364491 h 1862389"/>
                    <a:gd name="connsiteX11" fmla="*/ 149697 w 1037106"/>
                    <a:gd name="connsiteY11" fmla="*/ 372068 h 1862389"/>
                    <a:gd name="connsiteX12" fmla="*/ 159800 w 1037106"/>
                    <a:gd name="connsiteY12" fmla="*/ 382172 h 1862389"/>
                    <a:gd name="connsiteX13" fmla="*/ 164852 w 1037106"/>
                    <a:gd name="connsiteY13" fmla="*/ 397328 h 1862389"/>
                    <a:gd name="connsiteX14" fmla="*/ 182534 w 1037106"/>
                    <a:gd name="connsiteY14" fmla="*/ 404906 h 1862389"/>
                    <a:gd name="connsiteX15" fmla="*/ 190112 w 1037106"/>
                    <a:gd name="connsiteY15" fmla="*/ 409958 h 1862389"/>
                    <a:gd name="connsiteX16" fmla="*/ 202742 w 1037106"/>
                    <a:gd name="connsiteY16" fmla="*/ 425114 h 1862389"/>
                    <a:gd name="connsiteX17" fmla="*/ 212846 w 1037106"/>
                    <a:gd name="connsiteY17" fmla="*/ 427640 h 1862389"/>
                    <a:gd name="connsiteX18" fmla="*/ 220424 w 1037106"/>
                    <a:gd name="connsiteY18" fmla="*/ 430166 h 1862389"/>
                    <a:gd name="connsiteX19" fmla="*/ 212846 w 1037106"/>
                    <a:gd name="connsiteY19" fmla="*/ 432692 h 1862389"/>
                    <a:gd name="connsiteX20" fmla="*/ 212846 w 1037106"/>
                    <a:gd name="connsiteY20" fmla="*/ 452899 h 1862389"/>
                    <a:gd name="connsiteX21" fmla="*/ 215372 w 1037106"/>
                    <a:gd name="connsiteY21" fmla="*/ 460477 h 1862389"/>
                    <a:gd name="connsiteX22" fmla="*/ 222950 w 1037106"/>
                    <a:gd name="connsiteY22" fmla="*/ 468055 h 1862389"/>
                    <a:gd name="connsiteX23" fmla="*/ 225476 w 1037106"/>
                    <a:gd name="connsiteY23" fmla="*/ 498367 h 1862389"/>
                    <a:gd name="connsiteX24" fmla="*/ 228002 w 1037106"/>
                    <a:gd name="connsiteY24" fmla="*/ 516049 h 1862389"/>
                    <a:gd name="connsiteX25" fmla="*/ 240631 w 1037106"/>
                    <a:gd name="connsiteY25" fmla="*/ 526152 h 1862389"/>
                    <a:gd name="connsiteX26" fmla="*/ 248209 w 1037106"/>
                    <a:gd name="connsiteY26" fmla="*/ 523626 h 1862389"/>
                    <a:gd name="connsiteX27" fmla="*/ 248209 w 1037106"/>
                    <a:gd name="connsiteY27" fmla="*/ 543834 h 1862389"/>
                    <a:gd name="connsiteX28" fmla="*/ 240631 w 1037106"/>
                    <a:gd name="connsiteY28" fmla="*/ 546360 h 1862389"/>
                    <a:gd name="connsiteX29" fmla="*/ 235579 w 1037106"/>
                    <a:gd name="connsiteY29" fmla="*/ 553938 h 1862389"/>
                    <a:gd name="connsiteX30" fmla="*/ 245683 w 1037106"/>
                    <a:gd name="connsiteY30" fmla="*/ 561516 h 1862389"/>
                    <a:gd name="connsiteX31" fmla="*/ 248209 w 1037106"/>
                    <a:gd name="connsiteY31" fmla="*/ 579198 h 1862389"/>
                    <a:gd name="connsiteX32" fmla="*/ 263365 w 1037106"/>
                    <a:gd name="connsiteY32" fmla="*/ 601931 h 1862389"/>
                    <a:gd name="connsiteX33" fmla="*/ 270943 w 1037106"/>
                    <a:gd name="connsiteY33" fmla="*/ 619613 h 1862389"/>
                    <a:gd name="connsiteX34" fmla="*/ 273469 w 1037106"/>
                    <a:gd name="connsiteY34" fmla="*/ 637295 h 1862389"/>
                    <a:gd name="connsiteX35" fmla="*/ 281047 w 1037106"/>
                    <a:gd name="connsiteY35" fmla="*/ 644873 h 1862389"/>
                    <a:gd name="connsiteX36" fmla="*/ 286099 w 1037106"/>
                    <a:gd name="connsiteY36" fmla="*/ 705496 h 1862389"/>
                    <a:gd name="connsiteX37" fmla="*/ 291151 w 1037106"/>
                    <a:gd name="connsiteY37" fmla="*/ 723178 h 1862389"/>
                    <a:gd name="connsiteX38" fmla="*/ 293677 w 1037106"/>
                    <a:gd name="connsiteY38" fmla="*/ 735808 h 1862389"/>
                    <a:gd name="connsiteX39" fmla="*/ 301255 w 1037106"/>
                    <a:gd name="connsiteY39" fmla="*/ 758541 h 1862389"/>
                    <a:gd name="connsiteX40" fmla="*/ 303781 w 1037106"/>
                    <a:gd name="connsiteY40" fmla="*/ 766119 h 1862389"/>
                    <a:gd name="connsiteX41" fmla="*/ 321462 w 1037106"/>
                    <a:gd name="connsiteY41" fmla="*/ 793905 h 1862389"/>
                    <a:gd name="connsiteX42" fmla="*/ 334092 w 1037106"/>
                    <a:gd name="connsiteY42" fmla="*/ 811587 h 1862389"/>
                    <a:gd name="connsiteX43" fmla="*/ 346722 w 1037106"/>
                    <a:gd name="connsiteY43" fmla="*/ 809061 h 1862389"/>
                    <a:gd name="connsiteX44" fmla="*/ 356826 w 1037106"/>
                    <a:gd name="connsiteY44" fmla="*/ 778749 h 1862389"/>
                    <a:gd name="connsiteX45" fmla="*/ 364404 w 1037106"/>
                    <a:gd name="connsiteY45" fmla="*/ 776223 h 1862389"/>
                    <a:gd name="connsiteX46" fmla="*/ 371982 w 1037106"/>
                    <a:gd name="connsiteY46" fmla="*/ 771171 h 1862389"/>
                    <a:gd name="connsiteX47" fmla="*/ 364404 w 1037106"/>
                    <a:gd name="connsiteY47" fmla="*/ 781275 h 1862389"/>
                    <a:gd name="connsiteX48" fmla="*/ 366930 w 1037106"/>
                    <a:gd name="connsiteY48" fmla="*/ 804009 h 1862389"/>
                    <a:gd name="connsiteX49" fmla="*/ 394715 w 1037106"/>
                    <a:gd name="connsiteY49" fmla="*/ 811587 h 1862389"/>
                    <a:gd name="connsiteX50" fmla="*/ 409871 w 1037106"/>
                    <a:gd name="connsiteY50" fmla="*/ 816639 h 1862389"/>
                    <a:gd name="connsiteX51" fmla="*/ 419975 w 1037106"/>
                    <a:gd name="connsiteY51" fmla="*/ 826743 h 1862389"/>
                    <a:gd name="connsiteX52" fmla="*/ 432605 w 1037106"/>
                    <a:gd name="connsiteY52" fmla="*/ 846950 h 1862389"/>
                    <a:gd name="connsiteX53" fmla="*/ 437657 w 1037106"/>
                    <a:gd name="connsiteY53" fmla="*/ 869684 h 1862389"/>
                    <a:gd name="connsiteX54" fmla="*/ 445235 w 1037106"/>
                    <a:gd name="connsiteY54" fmla="*/ 879788 h 1862389"/>
                    <a:gd name="connsiteX55" fmla="*/ 447761 w 1037106"/>
                    <a:gd name="connsiteY55" fmla="*/ 907573 h 1862389"/>
                    <a:gd name="connsiteX56" fmla="*/ 450287 w 1037106"/>
                    <a:gd name="connsiteY56" fmla="*/ 920203 h 1862389"/>
                    <a:gd name="connsiteX57" fmla="*/ 460390 w 1037106"/>
                    <a:gd name="connsiteY57" fmla="*/ 925255 h 1862389"/>
                    <a:gd name="connsiteX58" fmla="*/ 465442 w 1037106"/>
                    <a:gd name="connsiteY58" fmla="*/ 950515 h 1862389"/>
                    <a:gd name="connsiteX59" fmla="*/ 455339 w 1037106"/>
                    <a:gd name="connsiteY59" fmla="*/ 945463 h 1862389"/>
                    <a:gd name="connsiteX60" fmla="*/ 450287 w 1037106"/>
                    <a:gd name="connsiteY60" fmla="*/ 937885 h 1862389"/>
                    <a:gd name="connsiteX61" fmla="*/ 427960 w 1037106"/>
                    <a:gd name="connsiteY61" fmla="*/ 947649 h 1862389"/>
                    <a:gd name="connsiteX62" fmla="*/ 425027 w 1037106"/>
                    <a:gd name="connsiteY62" fmla="*/ 925255 h 1862389"/>
                    <a:gd name="connsiteX63" fmla="*/ 399767 w 1037106"/>
                    <a:gd name="connsiteY63" fmla="*/ 930307 h 1862389"/>
                    <a:gd name="connsiteX64" fmla="*/ 424891 w 1037106"/>
                    <a:gd name="connsiteY64" fmla="*/ 947989 h 1862389"/>
                    <a:gd name="connsiteX65" fmla="*/ 409871 w 1037106"/>
                    <a:gd name="connsiteY65" fmla="*/ 975775 h 1862389"/>
                    <a:gd name="connsiteX66" fmla="*/ 407345 w 1037106"/>
                    <a:gd name="connsiteY66" fmla="*/ 985878 h 1862389"/>
                    <a:gd name="connsiteX67" fmla="*/ 404819 w 1037106"/>
                    <a:gd name="connsiteY67" fmla="*/ 1016190 h 1862389"/>
                    <a:gd name="connsiteX68" fmla="*/ 397241 w 1037106"/>
                    <a:gd name="connsiteY68" fmla="*/ 1023768 h 1862389"/>
                    <a:gd name="connsiteX69" fmla="*/ 384611 w 1037106"/>
                    <a:gd name="connsiteY69" fmla="*/ 1049028 h 1862389"/>
                    <a:gd name="connsiteX70" fmla="*/ 379560 w 1037106"/>
                    <a:gd name="connsiteY70" fmla="*/ 1064183 h 1862389"/>
                    <a:gd name="connsiteX71" fmla="*/ 371982 w 1037106"/>
                    <a:gd name="connsiteY71" fmla="*/ 1079339 h 1862389"/>
                    <a:gd name="connsiteX72" fmla="*/ 369456 w 1037106"/>
                    <a:gd name="connsiteY72" fmla="*/ 1099547 h 1862389"/>
                    <a:gd name="connsiteX73" fmla="*/ 349248 w 1037106"/>
                    <a:gd name="connsiteY73" fmla="*/ 1122281 h 1862389"/>
                    <a:gd name="connsiteX74" fmla="*/ 331566 w 1037106"/>
                    <a:gd name="connsiteY74" fmla="*/ 1155118 h 1862389"/>
                    <a:gd name="connsiteX75" fmla="*/ 321462 w 1037106"/>
                    <a:gd name="connsiteY75" fmla="*/ 1170274 h 1862389"/>
                    <a:gd name="connsiteX76" fmla="*/ 313884 w 1037106"/>
                    <a:gd name="connsiteY76" fmla="*/ 1157644 h 1862389"/>
                    <a:gd name="connsiteX77" fmla="*/ 311358 w 1037106"/>
                    <a:gd name="connsiteY77" fmla="*/ 1150066 h 1862389"/>
                    <a:gd name="connsiteX78" fmla="*/ 301255 w 1037106"/>
                    <a:gd name="connsiteY78" fmla="*/ 1162696 h 1862389"/>
                    <a:gd name="connsiteX79" fmla="*/ 303781 w 1037106"/>
                    <a:gd name="connsiteY79" fmla="*/ 1198060 h 1862389"/>
                    <a:gd name="connsiteX80" fmla="*/ 311358 w 1037106"/>
                    <a:gd name="connsiteY80" fmla="*/ 1200586 h 1862389"/>
                    <a:gd name="connsiteX81" fmla="*/ 298729 w 1037106"/>
                    <a:gd name="connsiteY81" fmla="*/ 1203112 h 1862389"/>
                    <a:gd name="connsiteX82" fmla="*/ 293677 w 1037106"/>
                    <a:gd name="connsiteY82" fmla="*/ 1205638 h 1862389"/>
                    <a:gd name="connsiteX83" fmla="*/ 286099 w 1037106"/>
                    <a:gd name="connsiteY83" fmla="*/ 1210689 h 1862389"/>
                    <a:gd name="connsiteX84" fmla="*/ 281047 w 1037106"/>
                    <a:gd name="connsiteY84" fmla="*/ 1218267 h 1862389"/>
                    <a:gd name="connsiteX85" fmla="*/ 278521 w 1037106"/>
                    <a:gd name="connsiteY85" fmla="*/ 1233423 h 1862389"/>
                    <a:gd name="connsiteX86" fmla="*/ 275995 w 1037106"/>
                    <a:gd name="connsiteY86" fmla="*/ 1243527 h 1862389"/>
                    <a:gd name="connsiteX87" fmla="*/ 283573 w 1037106"/>
                    <a:gd name="connsiteY87" fmla="*/ 1246053 h 1862389"/>
                    <a:gd name="connsiteX88" fmla="*/ 283573 w 1037106"/>
                    <a:gd name="connsiteY88" fmla="*/ 1266261 h 1862389"/>
                    <a:gd name="connsiteX89" fmla="*/ 248209 w 1037106"/>
                    <a:gd name="connsiteY89" fmla="*/ 1278891 h 1862389"/>
                    <a:gd name="connsiteX90" fmla="*/ 240631 w 1037106"/>
                    <a:gd name="connsiteY90" fmla="*/ 1281417 h 1862389"/>
                    <a:gd name="connsiteX91" fmla="*/ 233053 w 1037106"/>
                    <a:gd name="connsiteY91" fmla="*/ 1286468 h 1862389"/>
                    <a:gd name="connsiteX92" fmla="*/ 217898 w 1037106"/>
                    <a:gd name="connsiteY92" fmla="*/ 1294046 h 1862389"/>
                    <a:gd name="connsiteX93" fmla="*/ 228002 w 1037106"/>
                    <a:gd name="connsiteY93" fmla="*/ 1299098 h 1862389"/>
                    <a:gd name="connsiteX94" fmla="*/ 222950 w 1037106"/>
                    <a:gd name="connsiteY94" fmla="*/ 1339514 h 1862389"/>
                    <a:gd name="connsiteX95" fmla="*/ 217898 w 1037106"/>
                    <a:gd name="connsiteY95" fmla="*/ 1347092 h 1862389"/>
                    <a:gd name="connsiteX96" fmla="*/ 212846 w 1037106"/>
                    <a:gd name="connsiteY96" fmla="*/ 1359722 h 1862389"/>
                    <a:gd name="connsiteX97" fmla="*/ 207794 w 1037106"/>
                    <a:gd name="connsiteY97" fmla="*/ 1367299 h 1862389"/>
                    <a:gd name="connsiteX98" fmla="*/ 202742 w 1037106"/>
                    <a:gd name="connsiteY98" fmla="*/ 1377403 h 1862389"/>
                    <a:gd name="connsiteX99" fmla="*/ 210320 w 1037106"/>
                    <a:gd name="connsiteY99" fmla="*/ 1400137 h 1862389"/>
                    <a:gd name="connsiteX100" fmla="*/ 215372 w 1037106"/>
                    <a:gd name="connsiteY100" fmla="*/ 1407715 h 1862389"/>
                    <a:gd name="connsiteX101" fmla="*/ 217898 w 1037106"/>
                    <a:gd name="connsiteY101" fmla="*/ 1417819 h 1862389"/>
                    <a:gd name="connsiteX102" fmla="*/ 228002 w 1037106"/>
                    <a:gd name="connsiteY102" fmla="*/ 1438026 h 1862389"/>
                    <a:gd name="connsiteX103" fmla="*/ 230527 w 1037106"/>
                    <a:gd name="connsiteY103" fmla="*/ 1445604 h 1862389"/>
                    <a:gd name="connsiteX104" fmla="*/ 240631 w 1037106"/>
                    <a:gd name="connsiteY104" fmla="*/ 1463286 h 1862389"/>
                    <a:gd name="connsiteX105" fmla="*/ 245683 w 1037106"/>
                    <a:gd name="connsiteY105" fmla="*/ 1475916 h 1862389"/>
                    <a:gd name="connsiteX106" fmla="*/ 245683 w 1037106"/>
                    <a:gd name="connsiteY106" fmla="*/ 1513806 h 1862389"/>
                    <a:gd name="connsiteX107" fmla="*/ 255787 w 1037106"/>
                    <a:gd name="connsiteY107" fmla="*/ 1516331 h 1862389"/>
                    <a:gd name="connsiteX108" fmla="*/ 263365 w 1037106"/>
                    <a:gd name="connsiteY108" fmla="*/ 1526435 h 1862389"/>
                    <a:gd name="connsiteX109" fmla="*/ 268417 w 1037106"/>
                    <a:gd name="connsiteY109" fmla="*/ 1534013 h 1862389"/>
                    <a:gd name="connsiteX110" fmla="*/ 278521 w 1037106"/>
                    <a:gd name="connsiteY110" fmla="*/ 1561799 h 1862389"/>
                    <a:gd name="connsiteX111" fmla="*/ 283573 w 1037106"/>
                    <a:gd name="connsiteY111" fmla="*/ 1589585 h 1862389"/>
                    <a:gd name="connsiteX112" fmla="*/ 281047 w 1037106"/>
                    <a:gd name="connsiteY112" fmla="*/ 1597162 h 1862389"/>
                    <a:gd name="connsiteX113" fmla="*/ 281047 w 1037106"/>
                    <a:gd name="connsiteY113" fmla="*/ 1677993 h 1862389"/>
                    <a:gd name="connsiteX114" fmla="*/ 283573 w 1037106"/>
                    <a:gd name="connsiteY114" fmla="*/ 1703253 h 1862389"/>
                    <a:gd name="connsiteX115" fmla="*/ 296203 w 1037106"/>
                    <a:gd name="connsiteY115" fmla="*/ 1705779 h 1862389"/>
                    <a:gd name="connsiteX116" fmla="*/ 288625 w 1037106"/>
                    <a:gd name="connsiteY116" fmla="*/ 1713357 h 1862389"/>
                    <a:gd name="connsiteX117" fmla="*/ 293677 w 1037106"/>
                    <a:gd name="connsiteY117" fmla="*/ 1720935 h 1862389"/>
                    <a:gd name="connsiteX118" fmla="*/ 296203 w 1037106"/>
                    <a:gd name="connsiteY118" fmla="*/ 1728513 h 1862389"/>
                    <a:gd name="connsiteX119" fmla="*/ 293677 w 1037106"/>
                    <a:gd name="connsiteY119" fmla="*/ 1763876 h 1862389"/>
                    <a:gd name="connsiteX120" fmla="*/ 321462 w 1037106"/>
                    <a:gd name="connsiteY120" fmla="*/ 1758824 h 1862389"/>
                    <a:gd name="connsiteX121" fmla="*/ 329040 w 1037106"/>
                    <a:gd name="connsiteY121" fmla="*/ 1761350 h 1862389"/>
                    <a:gd name="connsiteX122" fmla="*/ 334092 w 1037106"/>
                    <a:gd name="connsiteY122" fmla="*/ 1779032 h 1862389"/>
                    <a:gd name="connsiteX123" fmla="*/ 354300 w 1037106"/>
                    <a:gd name="connsiteY123" fmla="*/ 1784084 h 1862389"/>
                    <a:gd name="connsiteX124" fmla="*/ 356826 w 1037106"/>
                    <a:gd name="connsiteY124" fmla="*/ 1794188 h 1862389"/>
                    <a:gd name="connsiteX125" fmla="*/ 379560 w 1037106"/>
                    <a:gd name="connsiteY125" fmla="*/ 1789136 h 1862389"/>
                    <a:gd name="connsiteX126" fmla="*/ 392189 w 1037106"/>
                    <a:gd name="connsiteY126" fmla="*/ 1779032 h 1862389"/>
                    <a:gd name="connsiteX127" fmla="*/ 389663 w 1037106"/>
                    <a:gd name="connsiteY127" fmla="*/ 1786610 h 1862389"/>
                    <a:gd name="connsiteX128" fmla="*/ 384611 w 1037106"/>
                    <a:gd name="connsiteY128" fmla="*/ 1799240 h 1862389"/>
                    <a:gd name="connsiteX129" fmla="*/ 392189 w 1037106"/>
                    <a:gd name="connsiteY129" fmla="*/ 1801766 h 1862389"/>
                    <a:gd name="connsiteX130" fmla="*/ 402293 w 1037106"/>
                    <a:gd name="connsiteY130" fmla="*/ 1799240 h 1862389"/>
                    <a:gd name="connsiteX131" fmla="*/ 417449 w 1037106"/>
                    <a:gd name="connsiteY131" fmla="*/ 1796714 h 1862389"/>
                    <a:gd name="connsiteX132" fmla="*/ 427553 w 1037106"/>
                    <a:gd name="connsiteY132" fmla="*/ 1809344 h 1862389"/>
                    <a:gd name="connsiteX133" fmla="*/ 442709 w 1037106"/>
                    <a:gd name="connsiteY133" fmla="*/ 1799240 h 1862389"/>
                    <a:gd name="connsiteX134" fmla="*/ 437657 w 1037106"/>
                    <a:gd name="connsiteY134" fmla="*/ 1811870 h 1862389"/>
                    <a:gd name="connsiteX135" fmla="*/ 427553 w 1037106"/>
                    <a:gd name="connsiteY135" fmla="*/ 1821973 h 1862389"/>
                    <a:gd name="connsiteX136" fmla="*/ 432605 w 1037106"/>
                    <a:gd name="connsiteY136" fmla="*/ 1824499 h 1862389"/>
                    <a:gd name="connsiteX137" fmla="*/ 450287 w 1037106"/>
                    <a:gd name="connsiteY137" fmla="*/ 1821973 h 1862389"/>
                    <a:gd name="connsiteX138" fmla="*/ 455339 w 1037106"/>
                    <a:gd name="connsiteY138" fmla="*/ 1829551 h 1862389"/>
                    <a:gd name="connsiteX139" fmla="*/ 478072 w 1037106"/>
                    <a:gd name="connsiteY139" fmla="*/ 1852285 h 1862389"/>
                    <a:gd name="connsiteX140" fmla="*/ 470494 w 1037106"/>
                    <a:gd name="connsiteY140" fmla="*/ 1854811 h 1862389"/>
                    <a:gd name="connsiteX141" fmla="*/ 460390 w 1037106"/>
                    <a:gd name="connsiteY141" fmla="*/ 1857337 h 1862389"/>
                    <a:gd name="connsiteX142" fmla="*/ 475546 w 1037106"/>
                    <a:gd name="connsiteY142" fmla="*/ 1862389 h 1862389"/>
                    <a:gd name="connsiteX143" fmla="*/ 485650 w 1037106"/>
                    <a:gd name="connsiteY143" fmla="*/ 1854811 h 1862389"/>
                    <a:gd name="connsiteX144" fmla="*/ 488176 w 1037106"/>
                    <a:gd name="connsiteY144" fmla="*/ 1842181 h 1862389"/>
                    <a:gd name="connsiteX145" fmla="*/ 490702 w 1037106"/>
                    <a:gd name="connsiteY145" fmla="*/ 1834603 h 1862389"/>
                    <a:gd name="connsiteX146" fmla="*/ 510910 w 1037106"/>
                    <a:gd name="connsiteY146" fmla="*/ 1827025 h 1862389"/>
                    <a:gd name="connsiteX147" fmla="*/ 521014 w 1037106"/>
                    <a:gd name="connsiteY147" fmla="*/ 1816922 h 1862389"/>
                    <a:gd name="connsiteX148" fmla="*/ 538695 w 1037106"/>
                    <a:gd name="connsiteY148" fmla="*/ 1811870 h 1862389"/>
                    <a:gd name="connsiteX149" fmla="*/ 546273 w 1037106"/>
                    <a:gd name="connsiteY149" fmla="*/ 1809344 h 1862389"/>
                    <a:gd name="connsiteX150" fmla="*/ 569007 w 1037106"/>
                    <a:gd name="connsiteY150" fmla="*/ 1796714 h 1862389"/>
                    <a:gd name="connsiteX151" fmla="*/ 576585 w 1037106"/>
                    <a:gd name="connsiteY151" fmla="*/ 1801766 h 1862389"/>
                    <a:gd name="connsiteX152" fmla="*/ 591741 w 1037106"/>
                    <a:gd name="connsiteY152" fmla="*/ 1791662 h 1862389"/>
                    <a:gd name="connsiteX153" fmla="*/ 596793 w 1037106"/>
                    <a:gd name="connsiteY153" fmla="*/ 1784084 h 1862389"/>
                    <a:gd name="connsiteX154" fmla="*/ 604371 w 1037106"/>
                    <a:gd name="connsiteY154" fmla="*/ 1781558 h 1862389"/>
                    <a:gd name="connsiteX155" fmla="*/ 606897 w 1037106"/>
                    <a:gd name="connsiteY155" fmla="*/ 1771454 h 1862389"/>
                    <a:gd name="connsiteX156" fmla="*/ 614474 w 1037106"/>
                    <a:gd name="connsiteY156" fmla="*/ 1768928 h 1862389"/>
                    <a:gd name="connsiteX157" fmla="*/ 627104 w 1037106"/>
                    <a:gd name="connsiteY157" fmla="*/ 1763876 h 1862389"/>
                    <a:gd name="connsiteX158" fmla="*/ 654890 w 1037106"/>
                    <a:gd name="connsiteY158" fmla="*/ 1743668 h 1862389"/>
                    <a:gd name="connsiteX159" fmla="*/ 687727 w 1037106"/>
                    <a:gd name="connsiteY159" fmla="*/ 1738617 h 1862389"/>
                    <a:gd name="connsiteX160" fmla="*/ 705409 w 1037106"/>
                    <a:gd name="connsiteY160" fmla="*/ 1731039 h 1862389"/>
                    <a:gd name="connsiteX161" fmla="*/ 707935 w 1037106"/>
                    <a:gd name="connsiteY161" fmla="*/ 1720935 h 1862389"/>
                    <a:gd name="connsiteX162" fmla="*/ 715513 w 1037106"/>
                    <a:gd name="connsiteY162" fmla="*/ 1710831 h 1862389"/>
                    <a:gd name="connsiteX163" fmla="*/ 725617 w 1037106"/>
                    <a:gd name="connsiteY163" fmla="*/ 1698201 h 1862389"/>
                    <a:gd name="connsiteX164" fmla="*/ 740773 w 1037106"/>
                    <a:gd name="connsiteY164" fmla="*/ 1680519 h 1862389"/>
                    <a:gd name="connsiteX165" fmla="*/ 753403 w 1037106"/>
                    <a:gd name="connsiteY165" fmla="*/ 1677993 h 1862389"/>
                    <a:gd name="connsiteX166" fmla="*/ 760981 w 1037106"/>
                    <a:gd name="connsiteY166" fmla="*/ 1667889 h 1862389"/>
                    <a:gd name="connsiteX167" fmla="*/ 750877 w 1037106"/>
                    <a:gd name="connsiteY167" fmla="*/ 1652734 h 1862389"/>
                    <a:gd name="connsiteX168" fmla="*/ 750877 w 1037106"/>
                    <a:gd name="connsiteY168" fmla="*/ 1675467 h 1862389"/>
                    <a:gd name="connsiteX169" fmla="*/ 773610 w 1037106"/>
                    <a:gd name="connsiteY169" fmla="*/ 1683045 h 1862389"/>
                    <a:gd name="connsiteX170" fmla="*/ 783714 w 1037106"/>
                    <a:gd name="connsiteY170" fmla="*/ 1675467 h 1862389"/>
                    <a:gd name="connsiteX171" fmla="*/ 791292 w 1037106"/>
                    <a:gd name="connsiteY171" fmla="*/ 1660312 h 1862389"/>
                    <a:gd name="connsiteX172" fmla="*/ 798870 w 1037106"/>
                    <a:gd name="connsiteY172" fmla="*/ 1655260 h 1862389"/>
                    <a:gd name="connsiteX173" fmla="*/ 811500 w 1037106"/>
                    <a:gd name="connsiteY173" fmla="*/ 1657786 h 1862389"/>
                    <a:gd name="connsiteX174" fmla="*/ 821604 w 1037106"/>
                    <a:gd name="connsiteY174" fmla="*/ 1665364 h 1862389"/>
                    <a:gd name="connsiteX175" fmla="*/ 829182 w 1037106"/>
                    <a:gd name="connsiteY175" fmla="*/ 1667889 h 1862389"/>
                    <a:gd name="connsiteX176" fmla="*/ 849389 w 1037106"/>
                    <a:gd name="connsiteY176" fmla="*/ 1632526 h 1862389"/>
                    <a:gd name="connsiteX177" fmla="*/ 864545 w 1037106"/>
                    <a:gd name="connsiteY177" fmla="*/ 1609792 h 1862389"/>
                    <a:gd name="connsiteX178" fmla="*/ 874649 w 1037106"/>
                    <a:gd name="connsiteY178" fmla="*/ 1584533 h 1862389"/>
                    <a:gd name="connsiteX179" fmla="*/ 882227 w 1037106"/>
                    <a:gd name="connsiteY179" fmla="*/ 1576955 h 1862389"/>
                    <a:gd name="connsiteX180" fmla="*/ 887279 w 1037106"/>
                    <a:gd name="connsiteY180" fmla="*/ 1566851 h 1862389"/>
                    <a:gd name="connsiteX181" fmla="*/ 892331 w 1037106"/>
                    <a:gd name="connsiteY181" fmla="*/ 1559273 h 1862389"/>
                    <a:gd name="connsiteX182" fmla="*/ 894857 w 1037106"/>
                    <a:gd name="connsiteY182" fmla="*/ 1551695 h 1862389"/>
                    <a:gd name="connsiteX183" fmla="*/ 899909 w 1037106"/>
                    <a:gd name="connsiteY183" fmla="*/ 1544117 h 1862389"/>
                    <a:gd name="connsiteX184" fmla="*/ 902435 w 1037106"/>
                    <a:gd name="connsiteY184" fmla="*/ 1536539 h 1862389"/>
                    <a:gd name="connsiteX185" fmla="*/ 907487 w 1037106"/>
                    <a:gd name="connsiteY185" fmla="*/ 1528961 h 1862389"/>
                    <a:gd name="connsiteX186" fmla="*/ 925168 w 1037106"/>
                    <a:gd name="connsiteY186" fmla="*/ 1498650 h 1862389"/>
                    <a:gd name="connsiteX187" fmla="*/ 927694 w 1037106"/>
                    <a:gd name="connsiteY187" fmla="*/ 1491072 h 1862389"/>
                    <a:gd name="connsiteX188" fmla="*/ 930220 w 1037106"/>
                    <a:gd name="connsiteY188" fmla="*/ 1480968 h 1862389"/>
                    <a:gd name="connsiteX189" fmla="*/ 945376 w 1037106"/>
                    <a:gd name="connsiteY189" fmla="*/ 1460760 h 1862389"/>
                    <a:gd name="connsiteX190" fmla="*/ 947902 w 1037106"/>
                    <a:gd name="connsiteY190" fmla="*/ 1453182 h 1862389"/>
                    <a:gd name="connsiteX191" fmla="*/ 950428 w 1037106"/>
                    <a:gd name="connsiteY191" fmla="*/ 1440552 h 1862389"/>
                    <a:gd name="connsiteX192" fmla="*/ 958006 w 1037106"/>
                    <a:gd name="connsiteY192" fmla="*/ 1430449 h 1862389"/>
                    <a:gd name="connsiteX193" fmla="*/ 968110 w 1037106"/>
                    <a:gd name="connsiteY193" fmla="*/ 1410241 h 1862389"/>
                    <a:gd name="connsiteX194" fmla="*/ 973162 w 1037106"/>
                    <a:gd name="connsiteY194" fmla="*/ 1397611 h 1862389"/>
                    <a:gd name="connsiteX195" fmla="*/ 978214 w 1037106"/>
                    <a:gd name="connsiteY195" fmla="*/ 1390033 h 1862389"/>
                    <a:gd name="connsiteX196" fmla="*/ 988318 w 1037106"/>
                    <a:gd name="connsiteY196" fmla="*/ 1364773 h 1862389"/>
                    <a:gd name="connsiteX197" fmla="*/ 995895 w 1037106"/>
                    <a:gd name="connsiteY197" fmla="*/ 1344566 h 1862389"/>
                    <a:gd name="connsiteX198" fmla="*/ 1000947 w 1037106"/>
                    <a:gd name="connsiteY198" fmla="*/ 1334462 h 1862389"/>
                    <a:gd name="connsiteX199" fmla="*/ 1003473 w 1037106"/>
                    <a:gd name="connsiteY199" fmla="*/ 1306676 h 1862389"/>
                    <a:gd name="connsiteX200" fmla="*/ 1005999 w 1037106"/>
                    <a:gd name="connsiteY200" fmla="*/ 1299098 h 1862389"/>
                    <a:gd name="connsiteX201" fmla="*/ 1008525 w 1037106"/>
                    <a:gd name="connsiteY201" fmla="*/ 1283943 h 1862389"/>
                    <a:gd name="connsiteX202" fmla="*/ 1013577 w 1037106"/>
                    <a:gd name="connsiteY202" fmla="*/ 1276365 h 1862389"/>
                    <a:gd name="connsiteX203" fmla="*/ 1018629 w 1037106"/>
                    <a:gd name="connsiteY203" fmla="*/ 1266261 h 1862389"/>
                    <a:gd name="connsiteX204" fmla="*/ 1026207 w 1037106"/>
                    <a:gd name="connsiteY204" fmla="*/ 1253631 h 1862389"/>
                    <a:gd name="connsiteX205" fmla="*/ 1028733 w 1037106"/>
                    <a:gd name="connsiteY205" fmla="*/ 1235949 h 1862389"/>
                    <a:gd name="connsiteX206" fmla="*/ 1033785 w 1037106"/>
                    <a:gd name="connsiteY206" fmla="*/ 1220793 h 1862389"/>
                    <a:gd name="connsiteX207" fmla="*/ 1036311 w 1037106"/>
                    <a:gd name="connsiteY207" fmla="*/ 1177852 h 1862389"/>
                    <a:gd name="connsiteX208" fmla="*/ 1026207 w 1037106"/>
                    <a:gd name="connsiteY208" fmla="*/ 1137436 h 1862389"/>
                    <a:gd name="connsiteX209" fmla="*/ 1016103 w 1037106"/>
                    <a:gd name="connsiteY209" fmla="*/ 1134910 h 1862389"/>
                    <a:gd name="connsiteX210" fmla="*/ 998421 w 1037106"/>
                    <a:gd name="connsiteY210" fmla="*/ 1119755 h 1862389"/>
                    <a:gd name="connsiteX211" fmla="*/ 990844 w 1037106"/>
                    <a:gd name="connsiteY211" fmla="*/ 1112177 h 1862389"/>
                    <a:gd name="connsiteX212" fmla="*/ 970636 w 1037106"/>
                    <a:gd name="connsiteY212" fmla="*/ 1097021 h 1862389"/>
                    <a:gd name="connsiteX213" fmla="*/ 960532 w 1037106"/>
                    <a:gd name="connsiteY213" fmla="*/ 1089443 h 1862389"/>
                    <a:gd name="connsiteX214" fmla="*/ 945376 w 1037106"/>
                    <a:gd name="connsiteY214" fmla="*/ 1084391 h 1862389"/>
                    <a:gd name="connsiteX215" fmla="*/ 922642 w 1037106"/>
                    <a:gd name="connsiteY215" fmla="*/ 1079339 h 1862389"/>
                    <a:gd name="connsiteX216" fmla="*/ 910013 w 1037106"/>
                    <a:gd name="connsiteY216" fmla="*/ 1074287 h 1862389"/>
                    <a:gd name="connsiteX217" fmla="*/ 889805 w 1037106"/>
                    <a:gd name="connsiteY217" fmla="*/ 1061657 h 1862389"/>
                    <a:gd name="connsiteX218" fmla="*/ 877175 w 1037106"/>
                    <a:gd name="connsiteY218" fmla="*/ 1046502 h 1862389"/>
                    <a:gd name="connsiteX219" fmla="*/ 879701 w 1037106"/>
                    <a:gd name="connsiteY219" fmla="*/ 1033872 h 1862389"/>
                    <a:gd name="connsiteX220" fmla="*/ 884753 w 1037106"/>
                    <a:gd name="connsiteY220" fmla="*/ 1016190 h 1862389"/>
                    <a:gd name="connsiteX221" fmla="*/ 889805 w 1037106"/>
                    <a:gd name="connsiteY221" fmla="*/ 1008612 h 1862389"/>
                    <a:gd name="connsiteX222" fmla="*/ 849389 w 1037106"/>
                    <a:gd name="connsiteY222" fmla="*/ 940411 h 1862389"/>
                    <a:gd name="connsiteX223" fmla="*/ 836760 w 1037106"/>
                    <a:gd name="connsiteY223" fmla="*/ 937885 h 1862389"/>
                    <a:gd name="connsiteX224" fmla="*/ 826656 w 1037106"/>
                    <a:gd name="connsiteY224" fmla="*/ 877262 h 1862389"/>
                    <a:gd name="connsiteX225" fmla="*/ 814026 w 1037106"/>
                    <a:gd name="connsiteY225" fmla="*/ 874736 h 1862389"/>
                    <a:gd name="connsiteX226" fmla="*/ 798870 w 1037106"/>
                    <a:gd name="connsiteY226" fmla="*/ 862106 h 1862389"/>
                    <a:gd name="connsiteX227" fmla="*/ 778662 w 1037106"/>
                    <a:gd name="connsiteY227" fmla="*/ 859580 h 1862389"/>
                    <a:gd name="connsiteX228" fmla="*/ 776136 w 1037106"/>
                    <a:gd name="connsiteY228" fmla="*/ 849476 h 1862389"/>
                    <a:gd name="connsiteX229" fmla="*/ 773610 w 1037106"/>
                    <a:gd name="connsiteY229" fmla="*/ 841898 h 1862389"/>
                    <a:gd name="connsiteX230" fmla="*/ 788766 w 1037106"/>
                    <a:gd name="connsiteY230" fmla="*/ 811587 h 1862389"/>
                    <a:gd name="connsiteX231" fmla="*/ 781188 w 1037106"/>
                    <a:gd name="connsiteY231" fmla="*/ 798957 h 1862389"/>
                    <a:gd name="connsiteX232" fmla="*/ 760981 w 1037106"/>
                    <a:gd name="connsiteY232" fmla="*/ 783801 h 1862389"/>
                    <a:gd name="connsiteX233" fmla="*/ 766032 w 1037106"/>
                    <a:gd name="connsiteY233" fmla="*/ 713074 h 1862389"/>
                    <a:gd name="connsiteX234" fmla="*/ 778662 w 1037106"/>
                    <a:gd name="connsiteY234" fmla="*/ 708022 h 1862389"/>
                    <a:gd name="connsiteX235" fmla="*/ 781188 w 1037106"/>
                    <a:gd name="connsiteY235" fmla="*/ 697918 h 1862389"/>
                    <a:gd name="connsiteX236" fmla="*/ 773610 w 1037106"/>
                    <a:gd name="connsiteY236" fmla="*/ 695392 h 1862389"/>
                    <a:gd name="connsiteX237" fmla="*/ 760981 w 1037106"/>
                    <a:gd name="connsiteY237" fmla="*/ 692866 h 1862389"/>
                    <a:gd name="connsiteX238" fmla="*/ 753403 w 1037106"/>
                    <a:gd name="connsiteY238" fmla="*/ 685288 h 1862389"/>
                    <a:gd name="connsiteX239" fmla="*/ 740773 w 1037106"/>
                    <a:gd name="connsiteY239" fmla="*/ 660029 h 1862389"/>
                    <a:gd name="connsiteX240" fmla="*/ 730669 w 1037106"/>
                    <a:gd name="connsiteY240" fmla="*/ 649925 h 1862389"/>
                    <a:gd name="connsiteX241" fmla="*/ 723091 w 1037106"/>
                    <a:gd name="connsiteY241" fmla="*/ 637295 h 1862389"/>
                    <a:gd name="connsiteX242" fmla="*/ 710461 w 1037106"/>
                    <a:gd name="connsiteY242" fmla="*/ 619613 h 1862389"/>
                    <a:gd name="connsiteX243" fmla="*/ 695305 w 1037106"/>
                    <a:gd name="connsiteY243" fmla="*/ 601931 h 1862389"/>
                    <a:gd name="connsiteX244" fmla="*/ 685202 w 1037106"/>
                    <a:gd name="connsiteY244" fmla="*/ 589302 h 1862389"/>
                    <a:gd name="connsiteX245" fmla="*/ 677624 w 1037106"/>
                    <a:gd name="connsiteY245" fmla="*/ 581724 h 1862389"/>
                    <a:gd name="connsiteX246" fmla="*/ 664994 w 1037106"/>
                    <a:gd name="connsiteY246" fmla="*/ 558990 h 1862389"/>
                    <a:gd name="connsiteX247" fmla="*/ 644786 w 1037106"/>
                    <a:gd name="connsiteY247" fmla="*/ 533730 h 1862389"/>
                    <a:gd name="connsiteX248" fmla="*/ 632156 w 1037106"/>
                    <a:gd name="connsiteY248" fmla="*/ 518575 h 1862389"/>
                    <a:gd name="connsiteX249" fmla="*/ 629630 w 1037106"/>
                    <a:gd name="connsiteY249" fmla="*/ 505945 h 1862389"/>
                    <a:gd name="connsiteX250" fmla="*/ 634682 w 1037106"/>
                    <a:gd name="connsiteY250" fmla="*/ 468055 h 1862389"/>
                    <a:gd name="connsiteX251" fmla="*/ 637208 w 1037106"/>
                    <a:gd name="connsiteY251" fmla="*/ 452899 h 1862389"/>
                    <a:gd name="connsiteX252" fmla="*/ 644786 w 1037106"/>
                    <a:gd name="connsiteY252" fmla="*/ 440270 h 1862389"/>
                    <a:gd name="connsiteX253" fmla="*/ 647312 w 1037106"/>
                    <a:gd name="connsiteY253" fmla="*/ 430166 h 1862389"/>
                    <a:gd name="connsiteX254" fmla="*/ 652364 w 1037106"/>
                    <a:gd name="connsiteY254" fmla="*/ 387224 h 1862389"/>
                    <a:gd name="connsiteX255" fmla="*/ 649838 w 1037106"/>
                    <a:gd name="connsiteY255" fmla="*/ 369543 h 1862389"/>
                    <a:gd name="connsiteX256" fmla="*/ 632156 w 1037106"/>
                    <a:gd name="connsiteY256" fmla="*/ 359439 h 1862389"/>
                    <a:gd name="connsiteX257" fmla="*/ 624578 w 1037106"/>
                    <a:gd name="connsiteY257" fmla="*/ 349335 h 1862389"/>
                    <a:gd name="connsiteX258" fmla="*/ 619526 w 1037106"/>
                    <a:gd name="connsiteY258" fmla="*/ 341757 h 1862389"/>
                    <a:gd name="connsiteX259" fmla="*/ 611948 w 1037106"/>
                    <a:gd name="connsiteY259" fmla="*/ 339231 h 1862389"/>
                    <a:gd name="connsiteX260" fmla="*/ 604371 w 1037106"/>
                    <a:gd name="connsiteY260" fmla="*/ 334179 h 1862389"/>
                    <a:gd name="connsiteX261" fmla="*/ 594267 w 1037106"/>
                    <a:gd name="connsiteY261" fmla="*/ 316497 h 1862389"/>
                    <a:gd name="connsiteX262" fmla="*/ 586689 w 1037106"/>
                    <a:gd name="connsiteY262" fmla="*/ 311445 h 1862389"/>
                    <a:gd name="connsiteX263" fmla="*/ 531118 w 1037106"/>
                    <a:gd name="connsiteY263" fmla="*/ 311445 h 1862389"/>
                    <a:gd name="connsiteX264" fmla="*/ 528592 w 1037106"/>
                    <a:gd name="connsiteY264" fmla="*/ 301341 h 1862389"/>
                    <a:gd name="connsiteX265" fmla="*/ 521014 w 1037106"/>
                    <a:gd name="connsiteY265" fmla="*/ 276082 h 1862389"/>
                    <a:gd name="connsiteX266" fmla="*/ 518488 w 1037106"/>
                    <a:gd name="connsiteY266" fmla="*/ 255874 h 1862389"/>
                    <a:gd name="connsiteX267" fmla="*/ 515962 w 1037106"/>
                    <a:gd name="connsiteY267" fmla="*/ 245770 h 1862389"/>
                    <a:gd name="connsiteX268" fmla="*/ 513436 w 1037106"/>
                    <a:gd name="connsiteY268" fmla="*/ 197777 h 1862389"/>
                    <a:gd name="connsiteX269" fmla="*/ 505858 w 1037106"/>
                    <a:gd name="connsiteY269" fmla="*/ 195251 h 1862389"/>
                    <a:gd name="connsiteX270" fmla="*/ 498280 w 1037106"/>
                    <a:gd name="connsiteY270" fmla="*/ 187673 h 1862389"/>
                    <a:gd name="connsiteX271" fmla="*/ 508384 w 1037106"/>
                    <a:gd name="connsiteY271" fmla="*/ 149783 h 1862389"/>
                    <a:gd name="connsiteX272" fmla="*/ 503332 w 1037106"/>
                    <a:gd name="connsiteY272" fmla="*/ 129576 h 1862389"/>
                    <a:gd name="connsiteX273" fmla="*/ 500806 w 1037106"/>
                    <a:gd name="connsiteY273" fmla="*/ 61375 h 1862389"/>
                    <a:gd name="connsiteX274" fmla="*/ 493228 w 1037106"/>
                    <a:gd name="connsiteY274" fmla="*/ 58849 h 1862389"/>
                    <a:gd name="connsiteX275" fmla="*/ 483124 w 1037106"/>
                    <a:gd name="connsiteY275" fmla="*/ 53797 h 1862389"/>
                    <a:gd name="connsiteX276" fmla="*/ 450287 w 1037106"/>
                    <a:gd name="connsiteY276" fmla="*/ 48745 h 1862389"/>
                    <a:gd name="connsiteX277" fmla="*/ 430079 w 1037106"/>
                    <a:gd name="connsiteY277" fmla="*/ 36115 h 1862389"/>
                    <a:gd name="connsiteX278" fmla="*/ 409871 w 1037106"/>
                    <a:gd name="connsiteY278" fmla="*/ 18433 h 1862389"/>
                    <a:gd name="connsiteX279" fmla="*/ 399761 w 1037106"/>
                    <a:gd name="connsiteY279" fmla="*/ 3920 h 1862389"/>
                    <a:gd name="connsiteX280" fmla="*/ 388397 w 1037106"/>
                    <a:gd name="connsiteY280" fmla="*/ 767 h 1862389"/>
                    <a:gd name="connsiteX281" fmla="*/ 349248 w 1037106"/>
                    <a:gd name="connsiteY281" fmla="*/ 15907 h 1862389"/>
                    <a:gd name="connsiteX282" fmla="*/ 351774 w 1037106"/>
                    <a:gd name="connsiteY282" fmla="*/ 5803 h 1862389"/>
                    <a:gd name="connsiteX283" fmla="*/ 361878 w 1037106"/>
                    <a:gd name="connsiteY283" fmla="*/ 8329 h 1862389"/>
                    <a:gd name="connsiteX284" fmla="*/ 349248 w 1037106"/>
                    <a:gd name="connsiteY284" fmla="*/ 43693 h 1862389"/>
                    <a:gd name="connsiteX285" fmla="*/ 346722 w 1037106"/>
                    <a:gd name="connsiteY285" fmla="*/ 53797 h 1862389"/>
                    <a:gd name="connsiteX286" fmla="*/ 339144 w 1037106"/>
                    <a:gd name="connsiteY286" fmla="*/ 56323 h 1862389"/>
                    <a:gd name="connsiteX287" fmla="*/ 323988 w 1037106"/>
                    <a:gd name="connsiteY287" fmla="*/ 53797 h 1862389"/>
                    <a:gd name="connsiteX288" fmla="*/ 306306 w 1037106"/>
                    <a:gd name="connsiteY288" fmla="*/ 51271 h 1862389"/>
                    <a:gd name="connsiteX289" fmla="*/ 296203 w 1037106"/>
                    <a:gd name="connsiteY289" fmla="*/ 48745 h 1862389"/>
                    <a:gd name="connsiteX290" fmla="*/ 288625 w 1037106"/>
                    <a:gd name="connsiteY290" fmla="*/ 51271 h 1862389"/>
                    <a:gd name="connsiteX291" fmla="*/ 291151 w 1037106"/>
                    <a:gd name="connsiteY291" fmla="*/ 68952 h 1862389"/>
                    <a:gd name="connsiteX292" fmla="*/ 296203 w 1037106"/>
                    <a:gd name="connsiteY292" fmla="*/ 91686 h 1862389"/>
                    <a:gd name="connsiteX293" fmla="*/ 293677 w 1037106"/>
                    <a:gd name="connsiteY293" fmla="*/ 129576 h 1862389"/>
                    <a:gd name="connsiteX294" fmla="*/ 291151 w 1037106"/>
                    <a:gd name="connsiteY294" fmla="*/ 137154 h 1862389"/>
                    <a:gd name="connsiteX295" fmla="*/ 288625 w 1037106"/>
                    <a:gd name="connsiteY295" fmla="*/ 152309 h 1862389"/>
                    <a:gd name="connsiteX296" fmla="*/ 301255 w 1037106"/>
                    <a:gd name="connsiteY296" fmla="*/ 205355 h 1862389"/>
                    <a:gd name="connsiteX297" fmla="*/ 308832 w 1037106"/>
                    <a:gd name="connsiteY297" fmla="*/ 207881 h 1862389"/>
                    <a:gd name="connsiteX298" fmla="*/ 296203 w 1037106"/>
                    <a:gd name="connsiteY298" fmla="*/ 245770 h 1862389"/>
                    <a:gd name="connsiteX299" fmla="*/ 283573 w 1037106"/>
                    <a:gd name="connsiteY299" fmla="*/ 288712 h 1862389"/>
                    <a:gd name="connsiteX300" fmla="*/ 281047 w 1037106"/>
                    <a:gd name="connsiteY300" fmla="*/ 303867 h 1862389"/>
                    <a:gd name="connsiteX301" fmla="*/ 263365 w 1037106"/>
                    <a:gd name="connsiteY301" fmla="*/ 298815 h 1862389"/>
                    <a:gd name="connsiteX302" fmla="*/ 255787 w 1037106"/>
                    <a:gd name="connsiteY302" fmla="*/ 291238 h 1862389"/>
                    <a:gd name="connsiteX303" fmla="*/ 248209 w 1037106"/>
                    <a:gd name="connsiteY303" fmla="*/ 286186 h 1862389"/>
                    <a:gd name="connsiteX304" fmla="*/ 243157 w 1037106"/>
                    <a:gd name="connsiteY304" fmla="*/ 278608 h 1862389"/>
                    <a:gd name="connsiteX305" fmla="*/ 240631 w 1037106"/>
                    <a:gd name="connsiteY305" fmla="*/ 271030 h 1862389"/>
                    <a:gd name="connsiteX306" fmla="*/ 230527 w 1037106"/>
                    <a:gd name="connsiteY306" fmla="*/ 268504 h 1862389"/>
                    <a:gd name="connsiteX307" fmla="*/ 220424 w 1037106"/>
                    <a:gd name="connsiteY307" fmla="*/ 281134 h 1862389"/>
                    <a:gd name="connsiteX308" fmla="*/ 197690 w 1037106"/>
                    <a:gd name="connsiteY308" fmla="*/ 268504 h 1862389"/>
                    <a:gd name="connsiteX309" fmla="*/ 195164 w 1037106"/>
                    <a:gd name="connsiteY309" fmla="*/ 281134 h 1862389"/>
                    <a:gd name="connsiteX310" fmla="*/ 192638 w 1037106"/>
                    <a:gd name="connsiteY310" fmla="*/ 291238 h 1862389"/>
                    <a:gd name="connsiteX311" fmla="*/ 147171 w 1037106"/>
                    <a:gd name="connsiteY311" fmla="*/ 306393 h 1862389"/>
                    <a:gd name="connsiteX312" fmla="*/ 94125 w 1037106"/>
                    <a:gd name="connsiteY312" fmla="*/ 291238 h 1862389"/>
                    <a:gd name="connsiteX313" fmla="*/ 89073 w 1037106"/>
                    <a:gd name="connsiteY313" fmla="*/ 283660 h 1862389"/>
                    <a:gd name="connsiteX314" fmla="*/ 86547 w 1037106"/>
                    <a:gd name="connsiteY314" fmla="*/ 273556 h 1862389"/>
                    <a:gd name="connsiteX315" fmla="*/ 84021 w 1037106"/>
                    <a:gd name="connsiteY315" fmla="*/ 265978 h 1862389"/>
                    <a:gd name="connsiteX316" fmla="*/ 71392 w 1037106"/>
                    <a:gd name="connsiteY316" fmla="*/ 260926 h 1862389"/>
                    <a:gd name="connsiteX317" fmla="*/ 53710 w 1037106"/>
                    <a:gd name="connsiteY317" fmla="*/ 240718 h 1862389"/>
                    <a:gd name="connsiteX318" fmla="*/ 43606 w 1037106"/>
                    <a:gd name="connsiteY318" fmla="*/ 235666 h 1862389"/>
                    <a:gd name="connsiteX319" fmla="*/ 28450 w 1037106"/>
                    <a:gd name="connsiteY319" fmla="*/ 228088 h 1862389"/>
                    <a:gd name="connsiteX320" fmla="*/ 20872 w 1037106"/>
                    <a:gd name="connsiteY320" fmla="*/ 220510 h 1862389"/>
                    <a:gd name="connsiteX321" fmla="*/ 5716 w 1037106"/>
                    <a:gd name="connsiteY321" fmla="*/ 240718 h 1862389"/>
                    <a:gd name="connsiteX322" fmla="*/ 15820 w 1037106"/>
                    <a:gd name="connsiteY322" fmla="*/ 263452 h 1862389"/>
                    <a:gd name="connsiteX0" fmla="*/ 15820 w 1037106"/>
                    <a:gd name="connsiteY0" fmla="*/ 263452 h 1862389"/>
                    <a:gd name="connsiteX1" fmla="*/ 664 w 1037106"/>
                    <a:gd name="connsiteY1" fmla="*/ 268504 h 1862389"/>
                    <a:gd name="connsiteX2" fmla="*/ 3190 w 1037106"/>
                    <a:gd name="connsiteY2" fmla="*/ 276082 h 1862389"/>
                    <a:gd name="connsiteX3" fmla="*/ 28450 w 1037106"/>
                    <a:gd name="connsiteY3" fmla="*/ 291238 h 1862389"/>
                    <a:gd name="connsiteX4" fmla="*/ 36028 w 1037106"/>
                    <a:gd name="connsiteY4" fmla="*/ 301341 h 1862389"/>
                    <a:gd name="connsiteX5" fmla="*/ 43606 w 1037106"/>
                    <a:gd name="connsiteY5" fmla="*/ 308919 h 1862389"/>
                    <a:gd name="connsiteX6" fmla="*/ 58762 w 1037106"/>
                    <a:gd name="connsiteY6" fmla="*/ 329127 h 1862389"/>
                    <a:gd name="connsiteX7" fmla="*/ 63814 w 1037106"/>
                    <a:gd name="connsiteY7" fmla="*/ 336705 h 1862389"/>
                    <a:gd name="connsiteX8" fmla="*/ 71392 w 1037106"/>
                    <a:gd name="connsiteY8" fmla="*/ 344283 h 1862389"/>
                    <a:gd name="connsiteX9" fmla="*/ 73918 w 1037106"/>
                    <a:gd name="connsiteY9" fmla="*/ 351861 h 1862389"/>
                    <a:gd name="connsiteX10" fmla="*/ 132015 w 1037106"/>
                    <a:gd name="connsiteY10" fmla="*/ 364491 h 1862389"/>
                    <a:gd name="connsiteX11" fmla="*/ 149697 w 1037106"/>
                    <a:gd name="connsiteY11" fmla="*/ 372068 h 1862389"/>
                    <a:gd name="connsiteX12" fmla="*/ 159800 w 1037106"/>
                    <a:gd name="connsiteY12" fmla="*/ 382172 h 1862389"/>
                    <a:gd name="connsiteX13" fmla="*/ 164852 w 1037106"/>
                    <a:gd name="connsiteY13" fmla="*/ 397328 h 1862389"/>
                    <a:gd name="connsiteX14" fmla="*/ 182534 w 1037106"/>
                    <a:gd name="connsiteY14" fmla="*/ 404906 h 1862389"/>
                    <a:gd name="connsiteX15" fmla="*/ 190112 w 1037106"/>
                    <a:gd name="connsiteY15" fmla="*/ 409958 h 1862389"/>
                    <a:gd name="connsiteX16" fmla="*/ 202742 w 1037106"/>
                    <a:gd name="connsiteY16" fmla="*/ 425114 h 1862389"/>
                    <a:gd name="connsiteX17" fmla="*/ 212846 w 1037106"/>
                    <a:gd name="connsiteY17" fmla="*/ 427640 h 1862389"/>
                    <a:gd name="connsiteX18" fmla="*/ 220424 w 1037106"/>
                    <a:gd name="connsiteY18" fmla="*/ 430166 h 1862389"/>
                    <a:gd name="connsiteX19" fmla="*/ 212846 w 1037106"/>
                    <a:gd name="connsiteY19" fmla="*/ 432692 h 1862389"/>
                    <a:gd name="connsiteX20" fmla="*/ 212846 w 1037106"/>
                    <a:gd name="connsiteY20" fmla="*/ 452899 h 1862389"/>
                    <a:gd name="connsiteX21" fmla="*/ 215372 w 1037106"/>
                    <a:gd name="connsiteY21" fmla="*/ 460477 h 1862389"/>
                    <a:gd name="connsiteX22" fmla="*/ 222950 w 1037106"/>
                    <a:gd name="connsiteY22" fmla="*/ 468055 h 1862389"/>
                    <a:gd name="connsiteX23" fmla="*/ 225476 w 1037106"/>
                    <a:gd name="connsiteY23" fmla="*/ 498367 h 1862389"/>
                    <a:gd name="connsiteX24" fmla="*/ 228002 w 1037106"/>
                    <a:gd name="connsiteY24" fmla="*/ 516049 h 1862389"/>
                    <a:gd name="connsiteX25" fmla="*/ 240631 w 1037106"/>
                    <a:gd name="connsiteY25" fmla="*/ 526152 h 1862389"/>
                    <a:gd name="connsiteX26" fmla="*/ 248209 w 1037106"/>
                    <a:gd name="connsiteY26" fmla="*/ 523626 h 1862389"/>
                    <a:gd name="connsiteX27" fmla="*/ 248209 w 1037106"/>
                    <a:gd name="connsiteY27" fmla="*/ 543834 h 1862389"/>
                    <a:gd name="connsiteX28" fmla="*/ 240631 w 1037106"/>
                    <a:gd name="connsiteY28" fmla="*/ 546360 h 1862389"/>
                    <a:gd name="connsiteX29" fmla="*/ 235579 w 1037106"/>
                    <a:gd name="connsiteY29" fmla="*/ 553938 h 1862389"/>
                    <a:gd name="connsiteX30" fmla="*/ 245683 w 1037106"/>
                    <a:gd name="connsiteY30" fmla="*/ 561516 h 1862389"/>
                    <a:gd name="connsiteX31" fmla="*/ 248209 w 1037106"/>
                    <a:gd name="connsiteY31" fmla="*/ 579198 h 1862389"/>
                    <a:gd name="connsiteX32" fmla="*/ 263365 w 1037106"/>
                    <a:gd name="connsiteY32" fmla="*/ 601931 h 1862389"/>
                    <a:gd name="connsiteX33" fmla="*/ 270943 w 1037106"/>
                    <a:gd name="connsiteY33" fmla="*/ 619613 h 1862389"/>
                    <a:gd name="connsiteX34" fmla="*/ 273469 w 1037106"/>
                    <a:gd name="connsiteY34" fmla="*/ 637295 h 1862389"/>
                    <a:gd name="connsiteX35" fmla="*/ 281047 w 1037106"/>
                    <a:gd name="connsiteY35" fmla="*/ 644873 h 1862389"/>
                    <a:gd name="connsiteX36" fmla="*/ 286099 w 1037106"/>
                    <a:gd name="connsiteY36" fmla="*/ 705496 h 1862389"/>
                    <a:gd name="connsiteX37" fmla="*/ 291151 w 1037106"/>
                    <a:gd name="connsiteY37" fmla="*/ 723178 h 1862389"/>
                    <a:gd name="connsiteX38" fmla="*/ 293677 w 1037106"/>
                    <a:gd name="connsiteY38" fmla="*/ 735808 h 1862389"/>
                    <a:gd name="connsiteX39" fmla="*/ 301255 w 1037106"/>
                    <a:gd name="connsiteY39" fmla="*/ 758541 h 1862389"/>
                    <a:gd name="connsiteX40" fmla="*/ 303781 w 1037106"/>
                    <a:gd name="connsiteY40" fmla="*/ 766119 h 1862389"/>
                    <a:gd name="connsiteX41" fmla="*/ 321462 w 1037106"/>
                    <a:gd name="connsiteY41" fmla="*/ 793905 h 1862389"/>
                    <a:gd name="connsiteX42" fmla="*/ 334092 w 1037106"/>
                    <a:gd name="connsiteY42" fmla="*/ 811587 h 1862389"/>
                    <a:gd name="connsiteX43" fmla="*/ 346722 w 1037106"/>
                    <a:gd name="connsiteY43" fmla="*/ 809061 h 1862389"/>
                    <a:gd name="connsiteX44" fmla="*/ 356826 w 1037106"/>
                    <a:gd name="connsiteY44" fmla="*/ 778749 h 1862389"/>
                    <a:gd name="connsiteX45" fmla="*/ 364404 w 1037106"/>
                    <a:gd name="connsiteY45" fmla="*/ 776223 h 1862389"/>
                    <a:gd name="connsiteX46" fmla="*/ 371982 w 1037106"/>
                    <a:gd name="connsiteY46" fmla="*/ 771171 h 1862389"/>
                    <a:gd name="connsiteX47" fmla="*/ 364404 w 1037106"/>
                    <a:gd name="connsiteY47" fmla="*/ 781275 h 1862389"/>
                    <a:gd name="connsiteX48" fmla="*/ 366930 w 1037106"/>
                    <a:gd name="connsiteY48" fmla="*/ 804009 h 1862389"/>
                    <a:gd name="connsiteX49" fmla="*/ 394715 w 1037106"/>
                    <a:gd name="connsiteY49" fmla="*/ 811587 h 1862389"/>
                    <a:gd name="connsiteX50" fmla="*/ 409871 w 1037106"/>
                    <a:gd name="connsiteY50" fmla="*/ 816639 h 1862389"/>
                    <a:gd name="connsiteX51" fmla="*/ 419975 w 1037106"/>
                    <a:gd name="connsiteY51" fmla="*/ 826743 h 1862389"/>
                    <a:gd name="connsiteX52" fmla="*/ 432605 w 1037106"/>
                    <a:gd name="connsiteY52" fmla="*/ 846950 h 1862389"/>
                    <a:gd name="connsiteX53" fmla="*/ 437657 w 1037106"/>
                    <a:gd name="connsiteY53" fmla="*/ 869684 h 1862389"/>
                    <a:gd name="connsiteX54" fmla="*/ 445235 w 1037106"/>
                    <a:gd name="connsiteY54" fmla="*/ 879788 h 1862389"/>
                    <a:gd name="connsiteX55" fmla="*/ 447761 w 1037106"/>
                    <a:gd name="connsiteY55" fmla="*/ 907573 h 1862389"/>
                    <a:gd name="connsiteX56" fmla="*/ 450287 w 1037106"/>
                    <a:gd name="connsiteY56" fmla="*/ 920203 h 1862389"/>
                    <a:gd name="connsiteX57" fmla="*/ 460390 w 1037106"/>
                    <a:gd name="connsiteY57" fmla="*/ 925255 h 1862389"/>
                    <a:gd name="connsiteX58" fmla="*/ 465442 w 1037106"/>
                    <a:gd name="connsiteY58" fmla="*/ 950515 h 1862389"/>
                    <a:gd name="connsiteX59" fmla="*/ 455339 w 1037106"/>
                    <a:gd name="connsiteY59" fmla="*/ 945463 h 1862389"/>
                    <a:gd name="connsiteX60" fmla="*/ 450287 w 1037106"/>
                    <a:gd name="connsiteY60" fmla="*/ 937885 h 1862389"/>
                    <a:gd name="connsiteX61" fmla="*/ 427960 w 1037106"/>
                    <a:gd name="connsiteY61" fmla="*/ 947649 h 1862389"/>
                    <a:gd name="connsiteX62" fmla="*/ 425027 w 1037106"/>
                    <a:gd name="connsiteY62" fmla="*/ 925255 h 1862389"/>
                    <a:gd name="connsiteX63" fmla="*/ 399767 w 1037106"/>
                    <a:gd name="connsiteY63" fmla="*/ 930307 h 1862389"/>
                    <a:gd name="connsiteX64" fmla="*/ 424891 w 1037106"/>
                    <a:gd name="connsiteY64" fmla="*/ 947989 h 1862389"/>
                    <a:gd name="connsiteX65" fmla="*/ 409871 w 1037106"/>
                    <a:gd name="connsiteY65" fmla="*/ 975775 h 1862389"/>
                    <a:gd name="connsiteX66" fmla="*/ 407345 w 1037106"/>
                    <a:gd name="connsiteY66" fmla="*/ 985878 h 1862389"/>
                    <a:gd name="connsiteX67" fmla="*/ 404819 w 1037106"/>
                    <a:gd name="connsiteY67" fmla="*/ 1016190 h 1862389"/>
                    <a:gd name="connsiteX68" fmla="*/ 397241 w 1037106"/>
                    <a:gd name="connsiteY68" fmla="*/ 1023768 h 1862389"/>
                    <a:gd name="connsiteX69" fmla="*/ 384611 w 1037106"/>
                    <a:gd name="connsiteY69" fmla="*/ 1049028 h 1862389"/>
                    <a:gd name="connsiteX70" fmla="*/ 379560 w 1037106"/>
                    <a:gd name="connsiteY70" fmla="*/ 1064183 h 1862389"/>
                    <a:gd name="connsiteX71" fmla="*/ 371982 w 1037106"/>
                    <a:gd name="connsiteY71" fmla="*/ 1079339 h 1862389"/>
                    <a:gd name="connsiteX72" fmla="*/ 369456 w 1037106"/>
                    <a:gd name="connsiteY72" fmla="*/ 1099547 h 1862389"/>
                    <a:gd name="connsiteX73" fmla="*/ 349248 w 1037106"/>
                    <a:gd name="connsiteY73" fmla="*/ 1122281 h 1862389"/>
                    <a:gd name="connsiteX74" fmla="*/ 331566 w 1037106"/>
                    <a:gd name="connsiteY74" fmla="*/ 1155118 h 1862389"/>
                    <a:gd name="connsiteX75" fmla="*/ 321462 w 1037106"/>
                    <a:gd name="connsiteY75" fmla="*/ 1170274 h 1862389"/>
                    <a:gd name="connsiteX76" fmla="*/ 313884 w 1037106"/>
                    <a:gd name="connsiteY76" fmla="*/ 1157644 h 1862389"/>
                    <a:gd name="connsiteX77" fmla="*/ 311358 w 1037106"/>
                    <a:gd name="connsiteY77" fmla="*/ 1150066 h 1862389"/>
                    <a:gd name="connsiteX78" fmla="*/ 301255 w 1037106"/>
                    <a:gd name="connsiteY78" fmla="*/ 1162696 h 1862389"/>
                    <a:gd name="connsiteX79" fmla="*/ 303781 w 1037106"/>
                    <a:gd name="connsiteY79" fmla="*/ 1198060 h 1862389"/>
                    <a:gd name="connsiteX80" fmla="*/ 311358 w 1037106"/>
                    <a:gd name="connsiteY80" fmla="*/ 1200586 h 1862389"/>
                    <a:gd name="connsiteX81" fmla="*/ 298729 w 1037106"/>
                    <a:gd name="connsiteY81" fmla="*/ 1203112 h 1862389"/>
                    <a:gd name="connsiteX82" fmla="*/ 293677 w 1037106"/>
                    <a:gd name="connsiteY82" fmla="*/ 1205638 h 1862389"/>
                    <a:gd name="connsiteX83" fmla="*/ 286099 w 1037106"/>
                    <a:gd name="connsiteY83" fmla="*/ 1210689 h 1862389"/>
                    <a:gd name="connsiteX84" fmla="*/ 281047 w 1037106"/>
                    <a:gd name="connsiteY84" fmla="*/ 1218267 h 1862389"/>
                    <a:gd name="connsiteX85" fmla="*/ 278521 w 1037106"/>
                    <a:gd name="connsiteY85" fmla="*/ 1233423 h 1862389"/>
                    <a:gd name="connsiteX86" fmla="*/ 275995 w 1037106"/>
                    <a:gd name="connsiteY86" fmla="*/ 1243527 h 1862389"/>
                    <a:gd name="connsiteX87" fmla="*/ 283573 w 1037106"/>
                    <a:gd name="connsiteY87" fmla="*/ 1246053 h 1862389"/>
                    <a:gd name="connsiteX88" fmla="*/ 283573 w 1037106"/>
                    <a:gd name="connsiteY88" fmla="*/ 1266261 h 1862389"/>
                    <a:gd name="connsiteX89" fmla="*/ 248209 w 1037106"/>
                    <a:gd name="connsiteY89" fmla="*/ 1278891 h 1862389"/>
                    <a:gd name="connsiteX90" fmla="*/ 240631 w 1037106"/>
                    <a:gd name="connsiteY90" fmla="*/ 1281417 h 1862389"/>
                    <a:gd name="connsiteX91" fmla="*/ 233053 w 1037106"/>
                    <a:gd name="connsiteY91" fmla="*/ 1286468 h 1862389"/>
                    <a:gd name="connsiteX92" fmla="*/ 217898 w 1037106"/>
                    <a:gd name="connsiteY92" fmla="*/ 1294046 h 1862389"/>
                    <a:gd name="connsiteX93" fmla="*/ 228002 w 1037106"/>
                    <a:gd name="connsiteY93" fmla="*/ 1299098 h 1862389"/>
                    <a:gd name="connsiteX94" fmla="*/ 222950 w 1037106"/>
                    <a:gd name="connsiteY94" fmla="*/ 1339514 h 1862389"/>
                    <a:gd name="connsiteX95" fmla="*/ 217898 w 1037106"/>
                    <a:gd name="connsiteY95" fmla="*/ 1347092 h 1862389"/>
                    <a:gd name="connsiteX96" fmla="*/ 212846 w 1037106"/>
                    <a:gd name="connsiteY96" fmla="*/ 1359722 h 1862389"/>
                    <a:gd name="connsiteX97" fmla="*/ 207794 w 1037106"/>
                    <a:gd name="connsiteY97" fmla="*/ 1367299 h 1862389"/>
                    <a:gd name="connsiteX98" fmla="*/ 202742 w 1037106"/>
                    <a:gd name="connsiteY98" fmla="*/ 1377403 h 1862389"/>
                    <a:gd name="connsiteX99" fmla="*/ 210320 w 1037106"/>
                    <a:gd name="connsiteY99" fmla="*/ 1400137 h 1862389"/>
                    <a:gd name="connsiteX100" fmla="*/ 215372 w 1037106"/>
                    <a:gd name="connsiteY100" fmla="*/ 1407715 h 1862389"/>
                    <a:gd name="connsiteX101" fmla="*/ 217898 w 1037106"/>
                    <a:gd name="connsiteY101" fmla="*/ 1417819 h 1862389"/>
                    <a:gd name="connsiteX102" fmla="*/ 228002 w 1037106"/>
                    <a:gd name="connsiteY102" fmla="*/ 1438026 h 1862389"/>
                    <a:gd name="connsiteX103" fmla="*/ 230527 w 1037106"/>
                    <a:gd name="connsiteY103" fmla="*/ 1445604 h 1862389"/>
                    <a:gd name="connsiteX104" fmla="*/ 240631 w 1037106"/>
                    <a:gd name="connsiteY104" fmla="*/ 1463286 h 1862389"/>
                    <a:gd name="connsiteX105" fmla="*/ 245683 w 1037106"/>
                    <a:gd name="connsiteY105" fmla="*/ 1475916 h 1862389"/>
                    <a:gd name="connsiteX106" fmla="*/ 245683 w 1037106"/>
                    <a:gd name="connsiteY106" fmla="*/ 1513806 h 1862389"/>
                    <a:gd name="connsiteX107" fmla="*/ 255787 w 1037106"/>
                    <a:gd name="connsiteY107" fmla="*/ 1516331 h 1862389"/>
                    <a:gd name="connsiteX108" fmla="*/ 263365 w 1037106"/>
                    <a:gd name="connsiteY108" fmla="*/ 1526435 h 1862389"/>
                    <a:gd name="connsiteX109" fmla="*/ 268417 w 1037106"/>
                    <a:gd name="connsiteY109" fmla="*/ 1534013 h 1862389"/>
                    <a:gd name="connsiteX110" fmla="*/ 278521 w 1037106"/>
                    <a:gd name="connsiteY110" fmla="*/ 1561799 h 1862389"/>
                    <a:gd name="connsiteX111" fmla="*/ 283573 w 1037106"/>
                    <a:gd name="connsiteY111" fmla="*/ 1589585 h 1862389"/>
                    <a:gd name="connsiteX112" fmla="*/ 281047 w 1037106"/>
                    <a:gd name="connsiteY112" fmla="*/ 1597162 h 1862389"/>
                    <a:gd name="connsiteX113" fmla="*/ 281047 w 1037106"/>
                    <a:gd name="connsiteY113" fmla="*/ 1677993 h 1862389"/>
                    <a:gd name="connsiteX114" fmla="*/ 283573 w 1037106"/>
                    <a:gd name="connsiteY114" fmla="*/ 1703253 h 1862389"/>
                    <a:gd name="connsiteX115" fmla="*/ 296203 w 1037106"/>
                    <a:gd name="connsiteY115" fmla="*/ 1705779 h 1862389"/>
                    <a:gd name="connsiteX116" fmla="*/ 288625 w 1037106"/>
                    <a:gd name="connsiteY116" fmla="*/ 1713357 h 1862389"/>
                    <a:gd name="connsiteX117" fmla="*/ 293677 w 1037106"/>
                    <a:gd name="connsiteY117" fmla="*/ 1720935 h 1862389"/>
                    <a:gd name="connsiteX118" fmla="*/ 296203 w 1037106"/>
                    <a:gd name="connsiteY118" fmla="*/ 1728513 h 1862389"/>
                    <a:gd name="connsiteX119" fmla="*/ 293677 w 1037106"/>
                    <a:gd name="connsiteY119" fmla="*/ 1763876 h 1862389"/>
                    <a:gd name="connsiteX120" fmla="*/ 321462 w 1037106"/>
                    <a:gd name="connsiteY120" fmla="*/ 1758824 h 1862389"/>
                    <a:gd name="connsiteX121" fmla="*/ 329040 w 1037106"/>
                    <a:gd name="connsiteY121" fmla="*/ 1761350 h 1862389"/>
                    <a:gd name="connsiteX122" fmla="*/ 334092 w 1037106"/>
                    <a:gd name="connsiteY122" fmla="*/ 1779032 h 1862389"/>
                    <a:gd name="connsiteX123" fmla="*/ 354300 w 1037106"/>
                    <a:gd name="connsiteY123" fmla="*/ 1784084 h 1862389"/>
                    <a:gd name="connsiteX124" fmla="*/ 356826 w 1037106"/>
                    <a:gd name="connsiteY124" fmla="*/ 1794188 h 1862389"/>
                    <a:gd name="connsiteX125" fmla="*/ 379560 w 1037106"/>
                    <a:gd name="connsiteY125" fmla="*/ 1789136 h 1862389"/>
                    <a:gd name="connsiteX126" fmla="*/ 392189 w 1037106"/>
                    <a:gd name="connsiteY126" fmla="*/ 1779032 h 1862389"/>
                    <a:gd name="connsiteX127" fmla="*/ 389663 w 1037106"/>
                    <a:gd name="connsiteY127" fmla="*/ 1786610 h 1862389"/>
                    <a:gd name="connsiteX128" fmla="*/ 384611 w 1037106"/>
                    <a:gd name="connsiteY128" fmla="*/ 1799240 h 1862389"/>
                    <a:gd name="connsiteX129" fmla="*/ 392189 w 1037106"/>
                    <a:gd name="connsiteY129" fmla="*/ 1801766 h 1862389"/>
                    <a:gd name="connsiteX130" fmla="*/ 402293 w 1037106"/>
                    <a:gd name="connsiteY130" fmla="*/ 1799240 h 1862389"/>
                    <a:gd name="connsiteX131" fmla="*/ 417449 w 1037106"/>
                    <a:gd name="connsiteY131" fmla="*/ 1796714 h 1862389"/>
                    <a:gd name="connsiteX132" fmla="*/ 427553 w 1037106"/>
                    <a:gd name="connsiteY132" fmla="*/ 1809344 h 1862389"/>
                    <a:gd name="connsiteX133" fmla="*/ 442709 w 1037106"/>
                    <a:gd name="connsiteY133" fmla="*/ 1799240 h 1862389"/>
                    <a:gd name="connsiteX134" fmla="*/ 437657 w 1037106"/>
                    <a:gd name="connsiteY134" fmla="*/ 1811870 h 1862389"/>
                    <a:gd name="connsiteX135" fmla="*/ 427553 w 1037106"/>
                    <a:gd name="connsiteY135" fmla="*/ 1821973 h 1862389"/>
                    <a:gd name="connsiteX136" fmla="*/ 432605 w 1037106"/>
                    <a:gd name="connsiteY136" fmla="*/ 1824499 h 1862389"/>
                    <a:gd name="connsiteX137" fmla="*/ 450287 w 1037106"/>
                    <a:gd name="connsiteY137" fmla="*/ 1821973 h 1862389"/>
                    <a:gd name="connsiteX138" fmla="*/ 455339 w 1037106"/>
                    <a:gd name="connsiteY138" fmla="*/ 1829551 h 1862389"/>
                    <a:gd name="connsiteX139" fmla="*/ 478072 w 1037106"/>
                    <a:gd name="connsiteY139" fmla="*/ 1852285 h 1862389"/>
                    <a:gd name="connsiteX140" fmla="*/ 470494 w 1037106"/>
                    <a:gd name="connsiteY140" fmla="*/ 1854811 h 1862389"/>
                    <a:gd name="connsiteX141" fmla="*/ 460390 w 1037106"/>
                    <a:gd name="connsiteY141" fmla="*/ 1857337 h 1862389"/>
                    <a:gd name="connsiteX142" fmla="*/ 475546 w 1037106"/>
                    <a:gd name="connsiteY142" fmla="*/ 1862389 h 1862389"/>
                    <a:gd name="connsiteX143" fmla="*/ 485650 w 1037106"/>
                    <a:gd name="connsiteY143" fmla="*/ 1854811 h 1862389"/>
                    <a:gd name="connsiteX144" fmla="*/ 488176 w 1037106"/>
                    <a:gd name="connsiteY144" fmla="*/ 1842181 h 1862389"/>
                    <a:gd name="connsiteX145" fmla="*/ 490702 w 1037106"/>
                    <a:gd name="connsiteY145" fmla="*/ 1834603 h 1862389"/>
                    <a:gd name="connsiteX146" fmla="*/ 510910 w 1037106"/>
                    <a:gd name="connsiteY146" fmla="*/ 1827025 h 1862389"/>
                    <a:gd name="connsiteX147" fmla="*/ 521014 w 1037106"/>
                    <a:gd name="connsiteY147" fmla="*/ 1816922 h 1862389"/>
                    <a:gd name="connsiteX148" fmla="*/ 538695 w 1037106"/>
                    <a:gd name="connsiteY148" fmla="*/ 1811870 h 1862389"/>
                    <a:gd name="connsiteX149" fmla="*/ 546273 w 1037106"/>
                    <a:gd name="connsiteY149" fmla="*/ 1809344 h 1862389"/>
                    <a:gd name="connsiteX150" fmla="*/ 569007 w 1037106"/>
                    <a:gd name="connsiteY150" fmla="*/ 1796714 h 1862389"/>
                    <a:gd name="connsiteX151" fmla="*/ 576585 w 1037106"/>
                    <a:gd name="connsiteY151" fmla="*/ 1801766 h 1862389"/>
                    <a:gd name="connsiteX152" fmla="*/ 591741 w 1037106"/>
                    <a:gd name="connsiteY152" fmla="*/ 1791662 h 1862389"/>
                    <a:gd name="connsiteX153" fmla="*/ 596793 w 1037106"/>
                    <a:gd name="connsiteY153" fmla="*/ 1784084 h 1862389"/>
                    <a:gd name="connsiteX154" fmla="*/ 604371 w 1037106"/>
                    <a:gd name="connsiteY154" fmla="*/ 1781558 h 1862389"/>
                    <a:gd name="connsiteX155" fmla="*/ 606897 w 1037106"/>
                    <a:gd name="connsiteY155" fmla="*/ 1771454 h 1862389"/>
                    <a:gd name="connsiteX156" fmla="*/ 614474 w 1037106"/>
                    <a:gd name="connsiteY156" fmla="*/ 1768928 h 1862389"/>
                    <a:gd name="connsiteX157" fmla="*/ 627104 w 1037106"/>
                    <a:gd name="connsiteY157" fmla="*/ 1763876 h 1862389"/>
                    <a:gd name="connsiteX158" fmla="*/ 654890 w 1037106"/>
                    <a:gd name="connsiteY158" fmla="*/ 1743668 h 1862389"/>
                    <a:gd name="connsiteX159" fmla="*/ 687727 w 1037106"/>
                    <a:gd name="connsiteY159" fmla="*/ 1738617 h 1862389"/>
                    <a:gd name="connsiteX160" fmla="*/ 705409 w 1037106"/>
                    <a:gd name="connsiteY160" fmla="*/ 1731039 h 1862389"/>
                    <a:gd name="connsiteX161" fmla="*/ 707935 w 1037106"/>
                    <a:gd name="connsiteY161" fmla="*/ 1720935 h 1862389"/>
                    <a:gd name="connsiteX162" fmla="*/ 715513 w 1037106"/>
                    <a:gd name="connsiteY162" fmla="*/ 1710831 h 1862389"/>
                    <a:gd name="connsiteX163" fmla="*/ 725617 w 1037106"/>
                    <a:gd name="connsiteY163" fmla="*/ 1698201 h 1862389"/>
                    <a:gd name="connsiteX164" fmla="*/ 740773 w 1037106"/>
                    <a:gd name="connsiteY164" fmla="*/ 1680519 h 1862389"/>
                    <a:gd name="connsiteX165" fmla="*/ 753403 w 1037106"/>
                    <a:gd name="connsiteY165" fmla="*/ 1677993 h 1862389"/>
                    <a:gd name="connsiteX166" fmla="*/ 760981 w 1037106"/>
                    <a:gd name="connsiteY166" fmla="*/ 1667889 h 1862389"/>
                    <a:gd name="connsiteX167" fmla="*/ 750877 w 1037106"/>
                    <a:gd name="connsiteY167" fmla="*/ 1652734 h 1862389"/>
                    <a:gd name="connsiteX168" fmla="*/ 750877 w 1037106"/>
                    <a:gd name="connsiteY168" fmla="*/ 1675467 h 1862389"/>
                    <a:gd name="connsiteX169" fmla="*/ 773610 w 1037106"/>
                    <a:gd name="connsiteY169" fmla="*/ 1683045 h 1862389"/>
                    <a:gd name="connsiteX170" fmla="*/ 783714 w 1037106"/>
                    <a:gd name="connsiteY170" fmla="*/ 1675467 h 1862389"/>
                    <a:gd name="connsiteX171" fmla="*/ 791292 w 1037106"/>
                    <a:gd name="connsiteY171" fmla="*/ 1660312 h 1862389"/>
                    <a:gd name="connsiteX172" fmla="*/ 798870 w 1037106"/>
                    <a:gd name="connsiteY172" fmla="*/ 1655260 h 1862389"/>
                    <a:gd name="connsiteX173" fmla="*/ 811500 w 1037106"/>
                    <a:gd name="connsiteY173" fmla="*/ 1657786 h 1862389"/>
                    <a:gd name="connsiteX174" fmla="*/ 821604 w 1037106"/>
                    <a:gd name="connsiteY174" fmla="*/ 1665364 h 1862389"/>
                    <a:gd name="connsiteX175" fmla="*/ 829182 w 1037106"/>
                    <a:gd name="connsiteY175" fmla="*/ 1667889 h 1862389"/>
                    <a:gd name="connsiteX176" fmla="*/ 849389 w 1037106"/>
                    <a:gd name="connsiteY176" fmla="*/ 1632526 h 1862389"/>
                    <a:gd name="connsiteX177" fmla="*/ 864545 w 1037106"/>
                    <a:gd name="connsiteY177" fmla="*/ 1609792 h 1862389"/>
                    <a:gd name="connsiteX178" fmla="*/ 874649 w 1037106"/>
                    <a:gd name="connsiteY178" fmla="*/ 1584533 h 1862389"/>
                    <a:gd name="connsiteX179" fmla="*/ 882227 w 1037106"/>
                    <a:gd name="connsiteY179" fmla="*/ 1576955 h 1862389"/>
                    <a:gd name="connsiteX180" fmla="*/ 887279 w 1037106"/>
                    <a:gd name="connsiteY180" fmla="*/ 1566851 h 1862389"/>
                    <a:gd name="connsiteX181" fmla="*/ 892331 w 1037106"/>
                    <a:gd name="connsiteY181" fmla="*/ 1559273 h 1862389"/>
                    <a:gd name="connsiteX182" fmla="*/ 894857 w 1037106"/>
                    <a:gd name="connsiteY182" fmla="*/ 1551695 h 1862389"/>
                    <a:gd name="connsiteX183" fmla="*/ 899909 w 1037106"/>
                    <a:gd name="connsiteY183" fmla="*/ 1544117 h 1862389"/>
                    <a:gd name="connsiteX184" fmla="*/ 902435 w 1037106"/>
                    <a:gd name="connsiteY184" fmla="*/ 1536539 h 1862389"/>
                    <a:gd name="connsiteX185" fmla="*/ 907487 w 1037106"/>
                    <a:gd name="connsiteY185" fmla="*/ 1528961 h 1862389"/>
                    <a:gd name="connsiteX186" fmla="*/ 925168 w 1037106"/>
                    <a:gd name="connsiteY186" fmla="*/ 1498650 h 1862389"/>
                    <a:gd name="connsiteX187" fmla="*/ 927694 w 1037106"/>
                    <a:gd name="connsiteY187" fmla="*/ 1491072 h 1862389"/>
                    <a:gd name="connsiteX188" fmla="*/ 930220 w 1037106"/>
                    <a:gd name="connsiteY188" fmla="*/ 1480968 h 1862389"/>
                    <a:gd name="connsiteX189" fmla="*/ 945376 w 1037106"/>
                    <a:gd name="connsiteY189" fmla="*/ 1460760 h 1862389"/>
                    <a:gd name="connsiteX190" fmla="*/ 947902 w 1037106"/>
                    <a:gd name="connsiteY190" fmla="*/ 1453182 h 1862389"/>
                    <a:gd name="connsiteX191" fmla="*/ 950428 w 1037106"/>
                    <a:gd name="connsiteY191" fmla="*/ 1440552 h 1862389"/>
                    <a:gd name="connsiteX192" fmla="*/ 958006 w 1037106"/>
                    <a:gd name="connsiteY192" fmla="*/ 1430449 h 1862389"/>
                    <a:gd name="connsiteX193" fmla="*/ 968110 w 1037106"/>
                    <a:gd name="connsiteY193" fmla="*/ 1410241 h 1862389"/>
                    <a:gd name="connsiteX194" fmla="*/ 973162 w 1037106"/>
                    <a:gd name="connsiteY194" fmla="*/ 1397611 h 1862389"/>
                    <a:gd name="connsiteX195" fmla="*/ 978214 w 1037106"/>
                    <a:gd name="connsiteY195" fmla="*/ 1390033 h 1862389"/>
                    <a:gd name="connsiteX196" fmla="*/ 988318 w 1037106"/>
                    <a:gd name="connsiteY196" fmla="*/ 1364773 h 1862389"/>
                    <a:gd name="connsiteX197" fmla="*/ 995895 w 1037106"/>
                    <a:gd name="connsiteY197" fmla="*/ 1344566 h 1862389"/>
                    <a:gd name="connsiteX198" fmla="*/ 1000947 w 1037106"/>
                    <a:gd name="connsiteY198" fmla="*/ 1334462 h 1862389"/>
                    <a:gd name="connsiteX199" fmla="*/ 1003473 w 1037106"/>
                    <a:gd name="connsiteY199" fmla="*/ 1306676 h 1862389"/>
                    <a:gd name="connsiteX200" fmla="*/ 1005999 w 1037106"/>
                    <a:gd name="connsiteY200" fmla="*/ 1299098 h 1862389"/>
                    <a:gd name="connsiteX201" fmla="*/ 1008525 w 1037106"/>
                    <a:gd name="connsiteY201" fmla="*/ 1283943 h 1862389"/>
                    <a:gd name="connsiteX202" fmla="*/ 1013577 w 1037106"/>
                    <a:gd name="connsiteY202" fmla="*/ 1276365 h 1862389"/>
                    <a:gd name="connsiteX203" fmla="*/ 1018629 w 1037106"/>
                    <a:gd name="connsiteY203" fmla="*/ 1266261 h 1862389"/>
                    <a:gd name="connsiteX204" fmla="*/ 1026207 w 1037106"/>
                    <a:gd name="connsiteY204" fmla="*/ 1253631 h 1862389"/>
                    <a:gd name="connsiteX205" fmla="*/ 1028733 w 1037106"/>
                    <a:gd name="connsiteY205" fmla="*/ 1235949 h 1862389"/>
                    <a:gd name="connsiteX206" fmla="*/ 1033785 w 1037106"/>
                    <a:gd name="connsiteY206" fmla="*/ 1220793 h 1862389"/>
                    <a:gd name="connsiteX207" fmla="*/ 1036311 w 1037106"/>
                    <a:gd name="connsiteY207" fmla="*/ 1177852 h 1862389"/>
                    <a:gd name="connsiteX208" fmla="*/ 1026207 w 1037106"/>
                    <a:gd name="connsiteY208" fmla="*/ 1137436 h 1862389"/>
                    <a:gd name="connsiteX209" fmla="*/ 1016103 w 1037106"/>
                    <a:gd name="connsiteY209" fmla="*/ 1134910 h 1862389"/>
                    <a:gd name="connsiteX210" fmla="*/ 998421 w 1037106"/>
                    <a:gd name="connsiteY210" fmla="*/ 1119755 h 1862389"/>
                    <a:gd name="connsiteX211" fmla="*/ 990844 w 1037106"/>
                    <a:gd name="connsiteY211" fmla="*/ 1112177 h 1862389"/>
                    <a:gd name="connsiteX212" fmla="*/ 970636 w 1037106"/>
                    <a:gd name="connsiteY212" fmla="*/ 1097021 h 1862389"/>
                    <a:gd name="connsiteX213" fmla="*/ 960532 w 1037106"/>
                    <a:gd name="connsiteY213" fmla="*/ 1089443 h 1862389"/>
                    <a:gd name="connsiteX214" fmla="*/ 945376 w 1037106"/>
                    <a:gd name="connsiteY214" fmla="*/ 1084391 h 1862389"/>
                    <a:gd name="connsiteX215" fmla="*/ 922642 w 1037106"/>
                    <a:gd name="connsiteY215" fmla="*/ 1079339 h 1862389"/>
                    <a:gd name="connsiteX216" fmla="*/ 910013 w 1037106"/>
                    <a:gd name="connsiteY216" fmla="*/ 1074287 h 1862389"/>
                    <a:gd name="connsiteX217" fmla="*/ 889805 w 1037106"/>
                    <a:gd name="connsiteY217" fmla="*/ 1061657 h 1862389"/>
                    <a:gd name="connsiteX218" fmla="*/ 877175 w 1037106"/>
                    <a:gd name="connsiteY218" fmla="*/ 1046502 h 1862389"/>
                    <a:gd name="connsiteX219" fmla="*/ 879701 w 1037106"/>
                    <a:gd name="connsiteY219" fmla="*/ 1033872 h 1862389"/>
                    <a:gd name="connsiteX220" fmla="*/ 884753 w 1037106"/>
                    <a:gd name="connsiteY220" fmla="*/ 1016190 h 1862389"/>
                    <a:gd name="connsiteX221" fmla="*/ 889805 w 1037106"/>
                    <a:gd name="connsiteY221" fmla="*/ 1008612 h 1862389"/>
                    <a:gd name="connsiteX222" fmla="*/ 849389 w 1037106"/>
                    <a:gd name="connsiteY222" fmla="*/ 940411 h 1862389"/>
                    <a:gd name="connsiteX223" fmla="*/ 836760 w 1037106"/>
                    <a:gd name="connsiteY223" fmla="*/ 937885 h 1862389"/>
                    <a:gd name="connsiteX224" fmla="*/ 826656 w 1037106"/>
                    <a:gd name="connsiteY224" fmla="*/ 877262 h 1862389"/>
                    <a:gd name="connsiteX225" fmla="*/ 814026 w 1037106"/>
                    <a:gd name="connsiteY225" fmla="*/ 874736 h 1862389"/>
                    <a:gd name="connsiteX226" fmla="*/ 798870 w 1037106"/>
                    <a:gd name="connsiteY226" fmla="*/ 862106 h 1862389"/>
                    <a:gd name="connsiteX227" fmla="*/ 778662 w 1037106"/>
                    <a:gd name="connsiteY227" fmla="*/ 859580 h 1862389"/>
                    <a:gd name="connsiteX228" fmla="*/ 776136 w 1037106"/>
                    <a:gd name="connsiteY228" fmla="*/ 849476 h 1862389"/>
                    <a:gd name="connsiteX229" fmla="*/ 773610 w 1037106"/>
                    <a:gd name="connsiteY229" fmla="*/ 841898 h 1862389"/>
                    <a:gd name="connsiteX230" fmla="*/ 788766 w 1037106"/>
                    <a:gd name="connsiteY230" fmla="*/ 811587 h 1862389"/>
                    <a:gd name="connsiteX231" fmla="*/ 781188 w 1037106"/>
                    <a:gd name="connsiteY231" fmla="*/ 798957 h 1862389"/>
                    <a:gd name="connsiteX232" fmla="*/ 760981 w 1037106"/>
                    <a:gd name="connsiteY232" fmla="*/ 783801 h 1862389"/>
                    <a:gd name="connsiteX233" fmla="*/ 766032 w 1037106"/>
                    <a:gd name="connsiteY233" fmla="*/ 713074 h 1862389"/>
                    <a:gd name="connsiteX234" fmla="*/ 778662 w 1037106"/>
                    <a:gd name="connsiteY234" fmla="*/ 708022 h 1862389"/>
                    <a:gd name="connsiteX235" fmla="*/ 781188 w 1037106"/>
                    <a:gd name="connsiteY235" fmla="*/ 697918 h 1862389"/>
                    <a:gd name="connsiteX236" fmla="*/ 773610 w 1037106"/>
                    <a:gd name="connsiteY236" fmla="*/ 695392 h 1862389"/>
                    <a:gd name="connsiteX237" fmla="*/ 760981 w 1037106"/>
                    <a:gd name="connsiteY237" fmla="*/ 692866 h 1862389"/>
                    <a:gd name="connsiteX238" fmla="*/ 753403 w 1037106"/>
                    <a:gd name="connsiteY238" fmla="*/ 685288 h 1862389"/>
                    <a:gd name="connsiteX239" fmla="*/ 740773 w 1037106"/>
                    <a:gd name="connsiteY239" fmla="*/ 660029 h 1862389"/>
                    <a:gd name="connsiteX240" fmla="*/ 730669 w 1037106"/>
                    <a:gd name="connsiteY240" fmla="*/ 649925 h 1862389"/>
                    <a:gd name="connsiteX241" fmla="*/ 723091 w 1037106"/>
                    <a:gd name="connsiteY241" fmla="*/ 637295 h 1862389"/>
                    <a:gd name="connsiteX242" fmla="*/ 710461 w 1037106"/>
                    <a:gd name="connsiteY242" fmla="*/ 619613 h 1862389"/>
                    <a:gd name="connsiteX243" fmla="*/ 695305 w 1037106"/>
                    <a:gd name="connsiteY243" fmla="*/ 601931 h 1862389"/>
                    <a:gd name="connsiteX244" fmla="*/ 685202 w 1037106"/>
                    <a:gd name="connsiteY244" fmla="*/ 589302 h 1862389"/>
                    <a:gd name="connsiteX245" fmla="*/ 677624 w 1037106"/>
                    <a:gd name="connsiteY245" fmla="*/ 581724 h 1862389"/>
                    <a:gd name="connsiteX246" fmla="*/ 664994 w 1037106"/>
                    <a:gd name="connsiteY246" fmla="*/ 558990 h 1862389"/>
                    <a:gd name="connsiteX247" fmla="*/ 644786 w 1037106"/>
                    <a:gd name="connsiteY247" fmla="*/ 533730 h 1862389"/>
                    <a:gd name="connsiteX248" fmla="*/ 632156 w 1037106"/>
                    <a:gd name="connsiteY248" fmla="*/ 518575 h 1862389"/>
                    <a:gd name="connsiteX249" fmla="*/ 629630 w 1037106"/>
                    <a:gd name="connsiteY249" fmla="*/ 505945 h 1862389"/>
                    <a:gd name="connsiteX250" fmla="*/ 634682 w 1037106"/>
                    <a:gd name="connsiteY250" fmla="*/ 468055 h 1862389"/>
                    <a:gd name="connsiteX251" fmla="*/ 637208 w 1037106"/>
                    <a:gd name="connsiteY251" fmla="*/ 452899 h 1862389"/>
                    <a:gd name="connsiteX252" fmla="*/ 644786 w 1037106"/>
                    <a:gd name="connsiteY252" fmla="*/ 440270 h 1862389"/>
                    <a:gd name="connsiteX253" fmla="*/ 647312 w 1037106"/>
                    <a:gd name="connsiteY253" fmla="*/ 430166 h 1862389"/>
                    <a:gd name="connsiteX254" fmla="*/ 652364 w 1037106"/>
                    <a:gd name="connsiteY254" fmla="*/ 387224 h 1862389"/>
                    <a:gd name="connsiteX255" fmla="*/ 649838 w 1037106"/>
                    <a:gd name="connsiteY255" fmla="*/ 369543 h 1862389"/>
                    <a:gd name="connsiteX256" fmla="*/ 632156 w 1037106"/>
                    <a:gd name="connsiteY256" fmla="*/ 359439 h 1862389"/>
                    <a:gd name="connsiteX257" fmla="*/ 624578 w 1037106"/>
                    <a:gd name="connsiteY257" fmla="*/ 349335 h 1862389"/>
                    <a:gd name="connsiteX258" fmla="*/ 619526 w 1037106"/>
                    <a:gd name="connsiteY258" fmla="*/ 341757 h 1862389"/>
                    <a:gd name="connsiteX259" fmla="*/ 611948 w 1037106"/>
                    <a:gd name="connsiteY259" fmla="*/ 339231 h 1862389"/>
                    <a:gd name="connsiteX260" fmla="*/ 604371 w 1037106"/>
                    <a:gd name="connsiteY260" fmla="*/ 334179 h 1862389"/>
                    <a:gd name="connsiteX261" fmla="*/ 594267 w 1037106"/>
                    <a:gd name="connsiteY261" fmla="*/ 316497 h 1862389"/>
                    <a:gd name="connsiteX262" fmla="*/ 586689 w 1037106"/>
                    <a:gd name="connsiteY262" fmla="*/ 311445 h 1862389"/>
                    <a:gd name="connsiteX263" fmla="*/ 531118 w 1037106"/>
                    <a:gd name="connsiteY263" fmla="*/ 311445 h 1862389"/>
                    <a:gd name="connsiteX264" fmla="*/ 528592 w 1037106"/>
                    <a:gd name="connsiteY264" fmla="*/ 301341 h 1862389"/>
                    <a:gd name="connsiteX265" fmla="*/ 521014 w 1037106"/>
                    <a:gd name="connsiteY265" fmla="*/ 276082 h 1862389"/>
                    <a:gd name="connsiteX266" fmla="*/ 518488 w 1037106"/>
                    <a:gd name="connsiteY266" fmla="*/ 255874 h 1862389"/>
                    <a:gd name="connsiteX267" fmla="*/ 515962 w 1037106"/>
                    <a:gd name="connsiteY267" fmla="*/ 245770 h 1862389"/>
                    <a:gd name="connsiteX268" fmla="*/ 513436 w 1037106"/>
                    <a:gd name="connsiteY268" fmla="*/ 197777 h 1862389"/>
                    <a:gd name="connsiteX269" fmla="*/ 505858 w 1037106"/>
                    <a:gd name="connsiteY269" fmla="*/ 195251 h 1862389"/>
                    <a:gd name="connsiteX270" fmla="*/ 498280 w 1037106"/>
                    <a:gd name="connsiteY270" fmla="*/ 187673 h 1862389"/>
                    <a:gd name="connsiteX271" fmla="*/ 508384 w 1037106"/>
                    <a:gd name="connsiteY271" fmla="*/ 149783 h 1862389"/>
                    <a:gd name="connsiteX272" fmla="*/ 503332 w 1037106"/>
                    <a:gd name="connsiteY272" fmla="*/ 129576 h 1862389"/>
                    <a:gd name="connsiteX273" fmla="*/ 500806 w 1037106"/>
                    <a:gd name="connsiteY273" fmla="*/ 61375 h 1862389"/>
                    <a:gd name="connsiteX274" fmla="*/ 493228 w 1037106"/>
                    <a:gd name="connsiteY274" fmla="*/ 58849 h 1862389"/>
                    <a:gd name="connsiteX275" fmla="*/ 483124 w 1037106"/>
                    <a:gd name="connsiteY275" fmla="*/ 53797 h 1862389"/>
                    <a:gd name="connsiteX276" fmla="*/ 450287 w 1037106"/>
                    <a:gd name="connsiteY276" fmla="*/ 48745 h 1862389"/>
                    <a:gd name="connsiteX277" fmla="*/ 430079 w 1037106"/>
                    <a:gd name="connsiteY277" fmla="*/ 36115 h 1862389"/>
                    <a:gd name="connsiteX278" fmla="*/ 409871 w 1037106"/>
                    <a:gd name="connsiteY278" fmla="*/ 18433 h 1862389"/>
                    <a:gd name="connsiteX279" fmla="*/ 399761 w 1037106"/>
                    <a:gd name="connsiteY279" fmla="*/ 3920 h 1862389"/>
                    <a:gd name="connsiteX280" fmla="*/ 388397 w 1037106"/>
                    <a:gd name="connsiteY280" fmla="*/ 767 h 1862389"/>
                    <a:gd name="connsiteX281" fmla="*/ 349248 w 1037106"/>
                    <a:gd name="connsiteY281" fmla="*/ 15907 h 1862389"/>
                    <a:gd name="connsiteX282" fmla="*/ 351774 w 1037106"/>
                    <a:gd name="connsiteY282" fmla="*/ 5803 h 1862389"/>
                    <a:gd name="connsiteX283" fmla="*/ 361878 w 1037106"/>
                    <a:gd name="connsiteY283" fmla="*/ 8329 h 1862389"/>
                    <a:gd name="connsiteX284" fmla="*/ 349248 w 1037106"/>
                    <a:gd name="connsiteY284" fmla="*/ 43693 h 1862389"/>
                    <a:gd name="connsiteX285" fmla="*/ 346722 w 1037106"/>
                    <a:gd name="connsiteY285" fmla="*/ 53797 h 1862389"/>
                    <a:gd name="connsiteX286" fmla="*/ 339144 w 1037106"/>
                    <a:gd name="connsiteY286" fmla="*/ 56323 h 1862389"/>
                    <a:gd name="connsiteX287" fmla="*/ 323988 w 1037106"/>
                    <a:gd name="connsiteY287" fmla="*/ 53797 h 1862389"/>
                    <a:gd name="connsiteX288" fmla="*/ 306306 w 1037106"/>
                    <a:gd name="connsiteY288" fmla="*/ 51271 h 1862389"/>
                    <a:gd name="connsiteX289" fmla="*/ 296203 w 1037106"/>
                    <a:gd name="connsiteY289" fmla="*/ 48745 h 1862389"/>
                    <a:gd name="connsiteX290" fmla="*/ 288625 w 1037106"/>
                    <a:gd name="connsiteY290" fmla="*/ 51271 h 1862389"/>
                    <a:gd name="connsiteX291" fmla="*/ 291151 w 1037106"/>
                    <a:gd name="connsiteY291" fmla="*/ 68952 h 1862389"/>
                    <a:gd name="connsiteX292" fmla="*/ 296203 w 1037106"/>
                    <a:gd name="connsiteY292" fmla="*/ 91686 h 1862389"/>
                    <a:gd name="connsiteX293" fmla="*/ 293677 w 1037106"/>
                    <a:gd name="connsiteY293" fmla="*/ 129576 h 1862389"/>
                    <a:gd name="connsiteX294" fmla="*/ 291151 w 1037106"/>
                    <a:gd name="connsiteY294" fmla="*/ 137154 h 1862389"/>
                    <a:gd name="connsiteX295" fmla="*/ 288625 w 1037106"/>
                    <a:gd name="connsiteY295" fmla="*/ 152309 h 1862389"/>
                    <a:gd name="connsiteX296" fmla="*/ 301255 w 1037106"/>
                    <a:gd name="connsiteY296" fmla="*/ 205355 h 1862389"/>
                    <a:gd name="connsiteX297" fmla="*/ 308832 w 1037106"/>
                    <a:gd name="connsiteY297" fmla="*/ 207881 h 1862389"/>
                    <a:gd name="connsiteX298" fmla="*/ 296203 w 1037106"/>
                    <a:gd name="connsiteY298" fmla="*/ 245770 h 1862389"/>
                    <a:gd name="connsiteX299" fmla="*/ 283573 w 1037106"/>
                    <a:gd name="connsiteY299" fmla="*/ 288712 h 1862389"/>
                    <a:gd name="connsiteX300" fmla="*/ 281047 w 1037106"/>
                    <a:gd name="connsiteY300" fmla="*/ 303867 h 1862389"/>
                    <a:gd name="connsiteX301" fmla="*/ 263365 w 1037106"/>
                    <a:gd name="connsiteY301" fmla="*/ 298815 h 1862389"/>
                    <a:gd name="connsiteX302" fmla="*/ 255787 w 1037106"/>
                    <a:gd name="connsiteY302" fmla="*/ 291238 h 1862389"/>
                    <a:gd name="connsiteX303" fmla="*/ 248209 w 1037106"/>
                    <a:gd name="connsiteY303" fmla="*/ 286186 h 1862389"/>
                    <a:gd name="connsiteX304" fmla="*/ 243157 w 1037106"/>
                    <a:gd name="connsiteY304" fmla="*/ 278608 h 1862389"/>
                    <a:gd name="connsiteX305" fmla="*/ 240631 w 1037106"/>
                    <a:gd name="connsiteY305" fmla="*/ 271030 h 1862389"/>
                    <a:gd name="connsiteX306" fmla="*/ 230527 w 1037106"/>
                    <a:gd name="connsiteY306" fmla="*/ 268504 h 1862389"/>
                    <a:gd name="connsiteX307" fmla="*/ 220424 w 1037106"/>
                    <a:gd name="connsiteY307" fmla="*/ 281134 h 1862389"/>
                    <a:gd name="connsiteX308" fmla="*/ 197690 w 1037106"/>
                    <a:gd name="connsiteY308" fmla="*/ 268504 h 1862389"/>
                    <a:gd name="connsiteX309" fmla="*/ 195164 w 1037106"/>
                    <a:gd name="connsiteY309" fmla="*/ 281134 h 1862389"/>
                    <a:gd name="connsiteX310" fmla="*/ 176251 w 1037106"/>
                    <a:gd name="connsiteY310" fmla="*/ 279767 h 1862389"/>
                    <a:gd name="connsiteX311" fmla="*/ 147171 w 1037106"/>
                    <a:gd name="connsiteY311" fmla="*/ 306393 h 1862389"/>
                    <a:gd name="connsiteX312" fmla="*/ 94125 w 1037106"/>
                    <a:gd name="connsiteY312" fmla="*/ 291238 h 1862389"/>
                    <a:gd name="connsiteX313" fmla="*/ 89073 w 1037106"/>
                    <a:gd name="connsiteY313" fmla="*/ 283660 h 1862389"/>
                    <a:gd name="connsiteX314" fmla="*/ 86547 w 1037106"/>
                    <a:gd name="connsiteY314" fmla="*/ 273556 h 1862389"/>
                    <a:gd name="connsiteX315" fmla="*/ 84021 w 1037106"/>
                    <a:gd name="connsiteY315" fmla="*/ 265978 h 1862389"/>
                    <a:gd name="connsiteX316" fmla="*/ 71392 w 1037106"/>
                    <a:gd name="connsiteY316" fmla="*/ 260926 h 1862389"/>
                    <a:gd name="connsiteX317" fmla="*/ 53710 w 1037106"/>
                    <a:gd name="connsiteY317" fmla="*/ 240718 h 1862389"/>
                    <a:gd name="connsiteX318" fmla="*/ 43606 w 1037106"/>
                    <a:gd name="connsiteY318" fmla="*/ 235666 h 1862389"/>
                    <a:gd name="connsiteX319" fmla="*/ 28450 w 1037106"/>
                    <a:gd name="connsiteY319" fmla="*/ 228088 h 1862389"/>
                    <a:gd name="connsiteX320" fmla="*/ 20872 w 1037106"/>
                    <a:gd name="connsiteY320" fmla="*/ 220510 h 1862389"/>
                    <a:gd name="connsiteX321" fmla="*/ 5716 w 1037106"/>
                    <a:gd name="connsiteY321" fmla="*/ 240718 h 1862389"/>
                    <a:gd name="connsiteX322" fmla="*/ 15820 w 1037106"/>
                    <a:gd name="connsiteY322" fmla="*/ 263452 h 1862389"/>
                    <a:gd name="connsiteX0" fmla="*/ 15820 w 1037106"/>
                    <a:gd name="connsiteY0" fmla="*/ 263452 h 1862389"/>
                    <a:gd name="connsiteX1" fmla="*/ 664 w 1037106"/>
                    <a:gd name="connsiteY1" fmla="*/ 268504 h 1862389"/>
                    <a:gd name="connsiteX2" fmla="*/ 3190 w 1037106"/>
                    <a:gd name="connsiteY2" fmla="*/ 276082 h 1862389"/>
                    <a:gd name="connsiteX3" fmla="*/ 28450 w 1037106"/>
                    <a:gd name="connsiteY3" fmla="*/ 291238 h 1862389"/>
                    <a:gd name="connsiteX4" fmla="*/ 36028 w 1037106"/>
                    <a:gd name="connsiteY4" fmla="*/ 301341 h 1862389"/>
                    <a:gd name="connsiteX5" fmla="*/ 43606 w 1037106"/>
                    <a:gd name="connsiteY5" fmla="*/ 308919 h 1862389"/>
                    <a:gd name="connsiteX6" fmla="*/ 58762 w 1037106"/>
                    <a:gd name="connsiteY6" fmla="*/ 329127 h 1862389"/>
                    <a:gd name="connsiteX7" fmla="*/ 63814 w 1037106"/>
                    <a:gd name="connsiteY7" fmla="*/ 336705 h 1862389"/>
                    <a:gd name="connsiteX8" fmla="*/ 71392 w 1037106"/>
                    <a:gd name="connsiteY8" fmla="*/ 344283 h 1862389"/>
                    <a:gd name="connsiteX9" fmla="*/ 73918 w 1037106"/>
                    <a:gd name="connsiteY9" fmla="*/ 351861 h 1862389"/>
                    <a:gd name="connsiteX10" fmla="*/ 132015 w 1037106"/>
                    <a:gd name="connsiteY10" fmla="*/ 364491 h 1862389"/>
                    <a:gd name="connsiteX11" fmla="*/ 149697 w 1037106"/>
                    <a:gd name="connsiteY11" fmla="*/ 372068 h 1862389"/>
                    <a:gd name="connsiteX12" fmla="*/ 159800 w 1037106"/>
                    <a:gd name="connsiteY12" fmla="*/ 382172 h 1862389"/>
                    <a:gd name="connsiteX13" fmla="*/ 164852 w 1037106"/>
                    <a:gd name="connsiteY13" fmla="*/ 397328 h 1862389"/>
                    <a:gd name="connsiteX14" fmla="*/ 182534 w 1037106"/>
                    <a:gd name="connsiteY14" fmla="*/ 404906 h 1862389"/>
                    <a:gd name="connsiteX15" fmla="*/ 190112 w 1037106"/>
                    <a:gd name="connsiteY15" fmla="*/ 409958 h 1862389"/>
                    <a:gd name="connsiteX16" fmla="*/ 202742 w 1037106"/>
                    <a:gd name="connsiteY16" fmla="*/ 425114 h 1862389"/>
                    <a:gd name="connsiteX17" fmla="*/ 212846 w 1037106"/>
                    <a:gd name="connsiteY17" fmla="*/ 427640 h 1862389"/>
                    <a:gd name="connsiteX18" fmla="*/ 220424 w 1037106"/>
                    <a:gd name="connsiteY18" fmla="*/ 430166 h 1862389"/>
                    <a:gd name="connsiteX19" fmla="*/ 212846 w 1037106"/>
                    <a:gd name="connsiteY19" fmla="*/ 432692 h 1862389"/>
                    <a:gd name="connsiteX20" fmla="*/ 212846 w 1037106"/>
                    <a:gd name="connsiteY20" fmla="*/ 452899 h 1862389"/>
                    <a:gd name="connsiteX21" fmla="*/ 215372 w 1037106"/>
                    <a:gd name="connsiteY21" fmla="*/ 460477 h 1862389"/>
                    <a:gd name="connsiteX22" fmla="*/ 222950 w 1037106"/>
                    <a:gd name="connsiteY22" fmla="*/ 468055 h 1862389"/>
                    <a:gd name="connsiteX23" fmla="*/ 225476 w 1037106"/>
                    <a:gd name="connsiteY23" fmla="*/ 498367 h 1862389"/>
                    <a:gd name="connsiteX24" fmla="*/ 228002 w 1037106"/>
                    <a:gd name="connsiteY24" fmla="*/ 516049 h 1862389"/>
                    <a:gd name="connsiteX25" fmla="*/ 240631 w 1037106"/>
                    <a:gd name="connsiteY25" fmla="*/ 526152 h 1862389"/>
                    <a:gd name="connsiteX26" fmla="*/ 248209 w 1037106"/>
                    <a:gd name="connsiteY26" fmla="*/ 523626 h 1862389"/>
                    <a:gd name="connsiteX27" fmla="*/ 248209 w 1037106"/>
                    <a:gd name="connsiteY27" fmla="*/ 543834 h 1862389"/>
                    <a:gd name="connsiteX28" fmla="*/ 240631 w 1037106"/>
                    <a:gd name="connsiteY28" fmla="*/ 546360 h 1862389"/>
                    <a:gd name="connsiteX29" fmla="*/ 235579 w 1037106"/>
                    <a:gd name="connsiteY29" fmla="*/ 553938 h 1862389"/>
                    <a:gd name="connsiteX30" fmla="*/ 245683 w 1037106"/>
                    <a:gd name="connsiteY30" fmla="*/ 561516 h 1862389"/>
                    <a:gd name="connsiteX31" fmla="*/ 248209 w 1037106"/>
                    <a:gd name="connsiteY31" fmla="*/ 579198 h 1862389"/>
                    <a:gd name="connsiteX32" fmla="*/ 263365 w 1037106"/>
                    <a:gd name="connsiteY32" fmla="*/ 601931 h 1862389"/>
                    <a:gd name="connsiteX33" fmla="*/ 270943 w 1037106"/>
                    <a:gd name="connsiteY33" fmla="*/ 619613 h 1862389"/>
                    <a:gd name="connsiteX34" fmla="*/ 273469 w 1037106"/>
                    <a:gd name="connsiteY34" fmla="*/ 637295 h 1862389"/>
                    <a:gd name="connsiteX35" fmla="*/ 281047 w 1037106"/>
                    <a:gd name="connsiteY35" fmla="*/ 644873 h 1862389"/>
                    <a:gd name="connsiteX36" fmla="*/ 286099 w 1037106"/>
                    <a:gd name="connsiteY36" fmla="*/ 705496 h 1862389"/>
                    <a:gd name="connsiteX37" fmla="*/ 291151 w 1037106"/>
                    <a:gd name="connsiteY37" fmla="*/ 723178 h 1862389"/>
                    <a:gd name="connsiteX38" fmla="*/ 293677 w 1037106"/>
                    <a:gd name="connsiteY38" fmla="*/ 735808 h 1862389"/>
                    <a:gd name="connsiteX39" fmla="*/ 301255 w 1037106"/>
                    <a:gd name="connsiteY39" fmla="*/ 758541 h 1862389"/>
                    <a:gd name="connsiteX40" fmla="*/ 303781 w 1037106"/>
                    <a:gd name="connsiteY40" fmla="*/ 766119 h 1862389"/>
                    <a:gd name="connsiteX41" fmla="*/ 321462 w 1037106"/>
                    <a:gd name="connsiteY41" fmla="*/ 793905 h 1862389"/>
                    <a:gd name="connsiteX42" fmla="*/ 334092 w 1037106"/>
                    <a:gd name="connsiteY42" fmla="*/ 811587 h 1862389"/>
                    <a:gd name="connsiteX43" fmla="*/ 346722 w 1037106"/>
                    <a:gd name="connsiteY43" fmla="*/ 809061 h 1862389"/>
                    <a:gd name="connsiteX44" fmla="*/ 356826 w 1037106"/>
                    <a:gd name="connsiteY44" fmla="*/ 778749 h 1862389"/>
                    <a:gd name="connsiteX45" fmla="*/ 364404 w 1037106"/>
                    <a:gd name="connsiteY45" fmla="*/ 776223 h 1862389"/>
                    <a:gd name="connsiteX46" fmla="*/ 371982 w 1037106"/>
                    <a:gd name="connsiteY46" fmla="*/ 771171 h 1862389"/>
                    <a:gd name="connsiteX47" fmla="*/ 364404 w 1037106"/>
                    <a:gd name="connsiteY47" fmla="*/ 781275 h 1862389"/>
                    <a:gd name="connsiteX48" fmla="*/ 366930 w 1037106"/>
                    <a:gd name="connsiteY48" fmla="*/ 804009 h 1862389"/>
                    <a:gd name="connsiteX49" fmla="*/ 394715 w 1037106"/>
                    <a:gd name="connsiteY49" fmla="*/ 811587 h 1862389"/>
                    <a:gd name="connsiteX50" fmla="*/ 409871 w 1037106"/>
                    <a:gd name="connsiteY50" fmla="*/ 816639 h 1862389"/>
                    <a:gd name="connsiteX51" fmla="*/ 419975 w 1037106"/>
                    <a:gd name="connsiteY51" fmla="*/ 826743 h 1862389"/>
                    <a:gd name="connsiteX52" fmla="*/ 432605 w 1037106"/>
                    <a:gd name="connsiteY52" fmla="*/ 846950 h 1862389"/>
                    <a:gd name="connsiteX53" fmla="*/ 437657 w 1037106"/>
                    <a:gd name="connsiteY53" fmla="*/ 869684 h 1862389"/>
                    <a:gd name="connsiteX54" fmla="*/ 445235 w 1037106"/>
                    <a:gd name="connsiteY54" fmla="*/ 879788 h 1862389"/>
                    <a:gd name="connsiteX55" fmla="*/ 447761 w 1037106"/>
                    <a:gd name="connsiteY55" fmla="*/ 907573 h 1862389"/>
                    <a:gd name="connsiteX56" fmla="*/ 450287 w 1037106"/>
                    <a:gd name="connsiteY56" fmla="*/ 920203 h 1862389"/>
                    <a:gd name="connsiteX57" fmla="*/ 460390 w 1037106"/>
                    <a:gd name="connsiteY57" fmla="*/ 925255 h 1862389"/>
                    <a:gd name="connsiteX58" fmla="*/ 465442 w 1037106"/>
                    <a:gd name="connsiteY58" fmla="*/ 950515 h 1862389"/>
                    <a:gd name="connsiteX59" fmla="*/ 455339 w 1037106"/>
                    <a:gd name="connsiteY59" fmla="*/ 945463 h 1862389"/>
                    <a:gd name="connsiteX60" fmla="*/ 450287 w 1037106"/>
                    <a:gd name="connsiteY60" fmla="*/ 937885 h 1862389"/>
                    <a:gd name="connsiteX61" fmla="*/ 427960 w 1037106"/>
                    <a:gd name="connsiteY61" fmla="*/ 947649 h 1862389"/>
                    <a:gd name="connsiteX62" fmla="*/ 425027 w 1037106"/>
                    <a:gd name="connsiteY62" fmla="*/ 925255 h 1862389"/>
                    <a:gd name="connsiteX63" fmla="*/ 399767 w 1037106"/>
                    <a:gd name="connsiteY63" fmla="*/ 930307 h 1862389"/>
                    <a:gd name="connsiteX64" fmla="*/ 424891 w 1037106"/>
                    <a:gd name="connsiteY64" fmla="*/ 947989 h 1862389"/>
                    <a:gd name="connsiteX65" fmla="*/ 409871 w 1037106"/>
                    <a:gd name="connsiteY65" fmla="*/ 975775 h 1862389"/>
                    <a:gd name="connsiteX66" fmla="*/ 407345 w 1037106"/>
                    <a:gd name="connsiteY66" fmla="*/ 985878 h 1862389"/>
                    <a:gd name="connsiteX67" fmla="*/ 404819 w 1037106"/>
                    <a:gd name="connsiteY67" fmla="*/ 1016190 h 1862389"/>
                    <a:gd name="connsiteX68" fmla="*/ 397241 w 1037106"/>
                    <a:gd name="connsiteY68" fmla="*/ 1023768 h 1862389"/>
                    <a:gd name="connsiteX69" fmla="*/ 384611 w 1037106"/>
                    <a:gd name="connsiteY69" fmla="*/ 1049028 h 1862389"/>
                    <a:gd name="connsiteX70" fmla="*/ 379560 w 1037106"/>
                    <a:gd name="connsiteY70" fmla="*/ 1064183 h 1862389"/>
                    <a:gd name="connsiteX71" fmla="*/ 371982 w 1037106"/>
                    <a:gd name="connsiteY71" fmla="*/ 1079339 h 1862389"/>
                    <a:gd name="connsiteX72" fmla="*/ 369456 w 1037106"/>
                    <a:gd name="connsiteY72" fmla="*/ 1099547 h 1862389"/>
                    <a:gd name="connsiteX73" fmla="*/ 349248 w 1037106"/>
                    <a:gd name="connsiteY73" fmla="*/ 1122281 h 1862389"/>
                    <a:gd name="connsiteX74" fmla="*/ 331566 w 1037106"/>
                    <a:gd name="connsiteY74" fmla="*/ 1155118 h 1862389"/>
                    <a:gd name="connsiteX75" fmla="*/ 321462 w 1037106"/>
                    <a:gd name="connsiteY75" fmla="*/ 1170274 h 1862389"/>
                    <a:gd name="connsiteX76" fmla="*/ 313884 w 1037106"/>
                    <a:gd name="connsiteY76" fmla="*/ 1157644 h 1862389"/>
                    <a:gd name="connsiteX77" fmla="*/ 311358 w 1037106"/>
                    <a:gd name="connsiteY77" fmla="*/ 1150066 h 1862389"/>
                    <a:gd name="connsiteX78" fmla="*/ 301255 w 1037106"/>
                    <a:gd name="connsiteY78" fmla="*/ 1162696 h 1862389"/>
                    <a:gd name="connsiteX79" fmla="*/ 303781 w 1037106"/>
                    <a:gd name="connsiteY79" fmla="*/ 1198060 h 1862389"/>
                    <a:gd name="connsiteX80" fmla="*/ 311358 w 1037106"/>
                    <a:gd name="connsiteY80" fmla="*/ 1200586 h 1862389"/>
                    <a:gd name="connsiteX81" fmla="*/ 298729 w 1037106"/>
                    <a:gd name="connsiteY81" fmla="*/ 1203112 h 1862389"/>
                    <a:gd name="connsiteX82" fmla="*/ 293677 w 1037106"/>
                    <a:gd name="connsiteY82" fmla="*/ 1205638 h 1862389"/>
                    <a:gd name="connsiteX83" fmla="*/ 286099 w 1037106"/>
                    <a:gd name="connsiteY83" fmla="*/ 1210689 h 1862389"/>
                    <a:gd name="connsiteX84" fmla="*/ 281047 w 1037106"/>
                    <a:gd name="connsiteY84" fmla="*/ 1218267 h 1862389"/>
                    <a:gd name="connsiteX85" fmla="*/ 278521 w 1037106"/>
                    <a:gd name="connsiteY85" fmla="*/ 1233423 h 1862389"/>
                    <a:gd name="connsiteX86" fmla="*/ 275995 w 1037106"/>
                    <a:gd name="connsiteY86" fmla="*/ 1243527 h 1862389"/>
                    <a:gd name="connsiteX87" fmla="*/ 283573 w 1037106"/>
                    <a:gd name="connsiteY87" fmla="*/ 1246053 h 1862389"/>
                    <a:gd name="connsiteX88" fmla="*/ 283573 w 1037106"/>
                    <a:gd name="connsiteY88" fmla="*/ 1266261 h 1862389"/>
                    <a:gd name="connsiteX89" fmla="*/ 248209 w 1037106"/>
                    <a:gd name="connsiteY89" fmla="*/ 1278891 h 1862389"/>
                    <a:gd name="connsiteX90" fmla="*/ 240631 w 1037106"/>
                    <a:gd name="connsiteY90" fmla="*/ 1281417 h 1862389"/>
                    <a:gd name="connsiteX91" fmla="*/ 233053 w 1037106"/>
                    <a:gd name="connsiteY91" fmla="*/ 1286468 h 1862389"/>
                    <a:gd name="connsiteX92" fmla="*/ 217898 w 1037106"/>
                    <a:gd name="connsiteY92" fmla="*/ 1294046 h 1862389"/>
                    <a:gd name="connsiteX93" fmla="*/ 228002 w 1037106"/>
                    <a:gd name="connsiteY93" fmla="*/ 1299098 h 1862389"/>
                    <a:gd name="connsiteX94" fmla="*/ 222950 w 1037106"/>
                    <a:gd name="connsiteY94" fmla="*/ 1339514 h 1862389"/>
                    <a:gd name="connsiteX95" fmla="*/ 217898 w 1037106"/>
                    <a:gd name="connsiteY95" fmla="*/ 1347092 h 1862389"/>
                    <a:gd name="connsiteX96" fmla="*/ 212846 w 1037106"/>
                    <a:gd name="connsiteY96" fmla="*/ 1359722 h 1862389"/>
                    <a:gd name="connsiteX97" fmla="*/ 207794 w 1037106"/>
                    <a:gd name="connsiteY97" fmla="*/ 1367299 h 1862389"/>
                    <a:gd name="connsiteX98" fmla="*/ 202742 w 1037106"/>
                    <a:gd name="connsiteY98" fmla="*/ 1377403 h 1862389"/>
                    <a:gd name="connsiteX99" fmla="*/ 210320 w 1037106"/>
                    <a:gd name="connsiteY99" fmla="*/ 1400137 h 1862389"/>
                    <a:gd name="connsiteX100" fmla="*/ 215372 w 1037106"/>
                    <a:gd name="connsiteY100" fmla="*/ 1407715 h 1862389"/>
                    <a:gd name="connsiteX101" fmla="*/ 217898 w 1037106"/>
                    <a:gd name="connsiteY101" fmla="*/ 1417819 h 1862389"/>
                    <a:gd name="connsiteX102" fmla="*/ 228002 w 1037106"/>
                    <a:gd name="connsiteY102" fmla="*/ 1438026 h 1862389"/>
                    <a:gd name="connsiteX103" fmla="*/ 230527 w 1037106"/>
                    <a:gd name="connsiteY103" fmla="*/ 1445604 h 1862389"/>
                    <a:gd name="connsiteX104" fmla="*/ 240631 w 1037106"/>
                    <a:gd name="connsiteY104" fmla="*/ 1463286 h 1862389"/>
                    <a:gd name="connsiteX105" fmla="*/ 245683 w 1037106"/>
                    <a:gd name="connsiteY105" fmla="*/ 1475916 h 1862389"/>
                    <a:gd name="connsiteX106" fmla="*/ 245683 w 1037106"/>
                    <a:gd name="connsiteY106" fmla="*/ 1513806 h 1862389"/>
                    <a:gd name="connsiteX107" fmla="*/ 255787 w 1037106"/>
                    <a:gd name="connsiteY107" fmla="*/ 1516331 h 1862389"/>
                    <a:gd name="connsiteX108" fmla="*/ 263365 w 1037106"/>
                    <a:gd name="connsiteY108" fmla="*/ 1526435 h 1862389"/>
                    <a:gd name="connsiteX109" fmla="*/ 268417 w 1037106"/>
                    <a:gd name="connsiteY109" fmla="*/ 1534013 h 1862389"/>
                    <a:gd name="connsiteX110" fmla="*/ 278521 w 1037106"/>
                    <a:gd name="connsiteY110" fmla="*/ 1561799 h 1862389"/>
                    <a:gd name="connsiteX111" fmla="*/ 283573 w 1037106"/>
                    <a:gd name="connsiteY111" fmla="*/ 1589585 h 1862389"/>
                    <a:gd name="connsiteX112" fmla="*/ 281047 w 1037106"/>
                    <a:gd name="connsiteY112" fmla="*/ 1597162 h 1862389"/>
                    <a:gd name="connsiteX113" fmla="*/ 281047 w 1037106"/>
                    <a:gd name="connsiteY113" fmla="*/ 1677993 h 1862389"/>
                    <a:gd name="connsiteX114" fmla="*/ 283573 w 1037106"/>
                    <a:gd name="connsiteY114" fmla="*/ 1703253 h 1862389"/>
                    <a:gd name="connsiteX115" fmla="*/ 296203 w 1037106"/>
                    <a:gd name="connsiteY115" fmla="*/ 1705779 h 1862389"/>
                    <a:gd name="connsiteX116" fmla="*/ 288625 w 1037106"/>
                    <a:gd name="connsiteY116" fmla="*/ 1713357 h 1862389"/>
                    <a:gd name="connsiteX117" fmla="*/ 293677 w 1037106"/>
                    <a:gd name="connsiteY117" fmla="*/ 1720935 h 1862389"/>
                    <a:gd name="connsiteX118" fmla="*/ 296203 w 1037106"/>
                    <a:gd name="connsiteY118" fmla="*/ 1728513 h 1862389"/>
                    <a:gd name="connsiteX119" fmla="*/ 293677 w 1037106"/>
                    <a:gd name="connsiteY119" fmla="*/ 1763876 h 1862389"/>
                    <a:gd name="connsiteX120" fmla="*/ 321462 w 1037106"/>
                    <a:gd name="connsiteY120" fmla="*/ 1758824 h 1862389"/>
                    <a:gd name="connsiteX121" fmla="*/ 329040 w 1037106"/>
                    <a:gd name="connsiteY121" fmla="*/ 1761350 h 1862389"/>
                    <a:gd name="connsiteX122" fmla="*/ 334092 w 1037106"/>
                    <a:gd name="connsiteY122" fmla="*/ 1779032 h 1862389"/>
                    <a:gd name="connsiteX123" fmla="*/ 354300 w 1037106"/>
                    <a:gd name="connsiteY123" fmla="*/ 1784084 h 1862389"/>
                    <a:gd name="connsiteX124" fmla="*/ 356826 w 1037106"/>
                    <a:gd name="connsiteY124" fmla="*/ 1794188 h 1862389"/>
                    <a:gd name="connsiteX125" fmla="*/ 379560 w 1037106"/>
                    <a:gd name="connsiteY125" fmla="*/ 1789136 h 1862389"/>
                    <a:gd name="connsiteX126" fmla="*/ 392189 w 1037106"/>
                    <a:gd name="connsiteY126" fmla="*/ 1779032 h 1862389"/>
                    <a:gd name="connsiteX127" fmla="*/ 389663 w 1037106"/>
                    <a:gd name="connsiteY127" fmla="*/ 1786610 h 1862389"/>
                    <a:gd name="connsiteX128" fmla="*/ 384611 w 1037106"/>
                    <a:gd name="connsiteY128" fmla="*/ 1799240 h 1862389"/>
                    <a:gd name="connsiteX129" fmla="*/ 392189 w 1037106"/>
                    <a:gd name="connsiteY129" fmla="*/ 1801766 h 1862389"/>
                    <a:gd name="connsiteX130" fmla="*/ 402293 w 1037106"/>
                    <a:gd name="connsiteY130" fmla="*/ 1799240 h 1862389"/>
                    <a:gd name="connsiteX131" fmla="*/ 417449 w 1037106"/>
                    <a:gd name="connsiteY131" fmla="*/ 1796714 h 1862389"/>
                    <a:gd name="connsiteX132" fmla="*/ 427553 w 1037106"/>
                    <a:gd name="connsiteY132" fmla="*/ 1809344 h 1862389"/>
                    <a:gd name="connsiteX133" fmla="*/ 442709 w 1037106"/>
                    <a:gd name="connsiteY133" fmla="*/ 1799240 h 1862389"/>
                    <a:gd name="connsiteX134" fmla="*/ 437657 w 1037106"/>
                    <a:gd name="connsiteY134" fmla="*/ 1811870 h 1862389"/>
                    <a:gd name="connsiteX135" fmla="*/ 427553 w 1037106"/>
                    <a:gd name="connsiteY135" fmla="*/ 1821973 h 1862389"/>
                    <a:gd name="connsiteX136" fmla="*/ 432605 w 1037106"/>
                    <a:gd name="connsiteY136" fmla="*/ 1824499 h 1862389"/>
                    <a:gd name="connsiteX137" fmla="*/ 450287 w 1037106"/>
                    <a:gd name="connsiteY137" fmla="*/ 1821973 h 1862389"/>
                    <a:gd name="connsiteX138" fmla="*/ 455339 w 1037106"/>
                    <a:gd name="connsiteY138" fmla="*/ 1829551 h 1862389"/>
                    <a:gd name="connsiteX139" fmla="*/ 478072 w 1037106"/>
                    <a:gd name="connsiteY139" fmla="*/ 1852285 h 1862389"/>
                    <a:gd name="connsiteX140" fmla="*/ 470494 w 1037106"/>
                    <a:gd name="connsiteY140" fmla="*/ 1854811 h 1862389"/>
                    <a:gd name="connsiteX141" fmla="*/ 460390 w 1037106"/>
                    <a:gd name="connsiteY141" fmla="*/ 1857337 h 1862389"/>
                    <a:gd name="connsiteX142" fmla="*/ 475546 w 1037106"/>
                    <a:gd name="connsiteY142" fmla="*/ 1862389 h 1862389"/>
                    <a:gd name="connsiteX143" fmla="*/ 485650 w 1037106"/>
                    <a:gd name="connsiteY143" fmla="*/ 1854811 h 1862389"/>
                    <a:gd name="connsiteX144" fmla="*/ 488176 w 1037106"/>
                    <a:gd name="connsiteY144" fmla="*/ 1842181 h 1862389"/>
                    <a:gd name="connsiteX145" fmla="*/ 490702 w 1037106"/>
                    <a:gd name="connsiteY145" fmla="*/ 1834603 h 1862389"/>
                    <a:gd name="connsiteX146" fmla="*/ 510910 w 1037106"/>
                    <a:gd name="connsiteY146" fmla="*/ 1827025 h 1862389"/>
                    <a:gd name="connsiteX147" fmla="*/ 521014 w 1037106"/>
                    <a:gd name="connsiteY147" fmla="*/ 1816922 h 1862389"/>
                    <a:gd name="connsiteX148" fmla="*/ 538695 w 1037106"/>
                    <a:gd name="connsiteY148" fmla="*/ 1811870 h 1862389"/>
                    <a:gd name="connsiteX149" fmla="*/ 546273 w 1037106"/>
                    <a:gd name="connsiteY149" fmla="*/ 1809344 h 1862389"/>
                    <a:gd name="connsiteX150" fmla="*/ 569007 w 1037106"/>
                    <a:gd name="connsiteY150" fmla="*/ 1796714 h 1862389"/>
                    <a:gd name="connsiteX151" fmla="*/ 576585 w 1037106"/>
                    <a:gd name="connsiteY151" fmla="*/ 1801766 h 1862389"/>
                    <a:gd name="connsiteX152" fmla="*/ 591741 w 1037106"/>
                    <a:gd name="connsiteY152" fmla="*/ 1791662 h 1862389"/>
                    <a:gd name="connsiteX153" fmla="*/ 596793 w 1037106"/>
                    <a:gd name="connsiteY153" fmla="*/ 1784084 h 1862389"/>
                    <a:gd name="connsiteX154" fmla="*/ 604371 w 1037106"/>
                    <a:gd name="connsiteY154" fmla="*/ 1781558 h 1862389"/>
                    <a:gd name="connsiteX155" fmla="*/ 606897 w 1037106"/>
                    <a:gd name="connsiteY155" fmla="*/ 1771454 h 1862389"/>
                    <a:gd name="connsiteX156" fmla="*/ 614474 w 1037106"/>
                    <a:gd name="connsiteY156" fmla="*/ 1768928 h 1862389"/>
                    <a:gd name="connsiteX157" fmla="*/ 627104 w 1037106"/>
                    <a:gd name="connsiteY157" fmla="*/ 1763876 h 1862389"/>
                    <a:gd name="connsiteX158" fmla="*/ 654890 w 1037106"/>
                    <a:gd name="connsiteY158" fmla="*/ 1743668 h 1862389"/>
                    <a:gd name="connsiteX159" fmla="*/ 687727 w 1037106"/>
                    <a:gd name="connsiteY159" fmla="*/ 1738617 h 1862389"/>
                    <a:gd name="connsiteX160" fmla="*/ 705409 w 1037106"/>
                    <a:gd name="connsiteY160" fmla="*/ 1731039 h 1862389"/>
                    <a:gd name="connsiteX161" fmla="*/ 707935 w 1037106"/>
                    <a:gd name="connsiteY161" fmla="*/ 1720935 h 1862389"/>
                    <a:gd name="connsiteX162" fmla="*/ 715513 w 1037106"/>
                    <a:gd name="connsiteY162" fmla="*/ 1710831 h 1862389"/>
                    <a:gd name="connsiteX163" fmla="*/ 725617 w 1037106"/>
                    <a:gd name="connsiteY163" fmla="*/ 1698201 h 1862389"/>
                    <a:gd name="connsiteX164" fmla="*/ 740773 w 1037106"/>
                    <a:gd name="connsiteY164" fmla="*/ 1680519 h 1862389"/>
                    <a:gd name="connsiteX165" fmla="*/ 753403 w 1037106"/>
                    <a:gd name="connsiteY165" fmla="*/ 1677993 h 1862389"/>
                    <a:gd name="connsiteX166" fmla="*/ 760981 w 1037106"/>
                    <a:gd name="connsiteY166" fmla="*/ 1667889 h 1862389"/>
                    <a:gd name="connsiteX167" fmla="*/ 750877 w 1037106"/>
                    <a:gd name="connsiteY167" fmla="*/ 1652734 h 1862389"/>
                    <a:gd name="connsiteX168" fmla="*/ 750877 w 1037106"/>
                    <a:gd name="connsiteY168" fmla="*/ 1675467 h 1862389"/>
                    <a:gd name="connsiteX169" fmla="*/ 773610 w 1037106"/>
                    <a:gd name="connsiteY169" fmla="*/ 1683045 h 1862389"/>
                    <a:gd name="connsiteX170" fmla="*/ 783714 w 1037106"/>
                    <a:gd name="connsiteY170" fmla="*/ 1675467 h 1862389"/>
                    <a:gd name="connsiteX171" fmla="*/ 791292 w 1037106"/>
                    <a:gd name="connsiteY171" fmla="*/ 1660312 h 1862389"/>
                    <a:gd name="connsiteX172" fmla="*/ 798870 w 1037106"/>
                    <a:gd name="connsiteY172" fmla="*/ 1655260 h 1862389"/>
                    <a:gd name="connsiteX173" fmla="*/ 811500 w 1037106"/>
                    <a:gd name="connsiteY173" fmla="*/ 1657786 h 1862389"/>
                    <a:gd name="connsiteX174" fmla="*/ 821604 w 1037106"/>
                    <a:gd name="connsiteY174" fmla="*/ 1665364 h 1862389"/>
                    <a:gd name="connsiteX175" fmla="*/ 829182 w 1037106"/>
                    <a:gd name="connsiteY175" fmla="*/ 1667889 h 1862389"/>
                    <a:gd name="connsiteX176" fmla="*/ 849389 w 1037106"/>
                    <a:gd name="connsiteY176" fmla="*/ 1632526 h 1862389"/>
                    <a:gd name="connsiteX177" fmla="*/ 864545 w 1037106"/>
                    <a:gd name="connsiteY177" fmla="*/ 1609792 h 1862389"/>
                    <a:gd name="connsiteX178" fmla="*/ 874649 w 1037106"/>
                    <a:gd name="connsiteY178" fmla="*/ 1584533 h 1862389"/>
                    <a:gd name="connsiteX179" fmla="*/ 882227 w 1037106"/>
                    <a:gd name="connsiteY179" fmla="*/ 1576955 h 1862389"/>
                    <a:gd name="connsiteX180" fmla="*/ 887279 w 1037106"/>
                    <a:gd name="connsiteY180" fmla="*/ 1566851 h 1862389"/>
                    <a:gd name="connsiteX181" fmla="*/ 892331 w 1037106"/>
                    <a:gd name="connsiteY181" fmla="*/ 1559273 h 1862389"/>
                    <a:gd name="connsiteX182" fmla="*/ 894857 w 1037106"/>
                    <a:gd name="connsiteY182" fmla="*/ 1551695 h 1862389"/>
                    <a:gd name="connsiteX183" fmla="*/ 899909 w 1037106"/>
                    <a:gd name="connsiteY183" fmla="*/ 1544117 h 1862389"/>
                    <a:gd name="connsiteX184" fmla="*/ 902435 w 1037106"/>
                    <a:gd name="connsiteY184" fmla="*/ 1536539 h 1862389"/>
                    <a:gd name="connsiteX185" fmla="*/ 907487 w 1037106"/>
                    <a:gd name="connsiteY185" fmla="*/ 1528961 h 1862389"/>
                    <a:gd name="connsiteX186" fmla="*/ 925168 w 1037106"/>
                    <a:gd name="connsiteY186" fmla="*/ 1498650 h 1862389"/>
                    <a:gd name="connsiteX187" fmla="*/ 927694 w 1037106"/>
                    <a:gd name="connsiteY187" fmla="*/ 1491072 h 1862389"/>
                    <a:gd name="connsiteX188" fmla="*/ 930220 w 1037106"/>
                    <a:gd name="connsiteY188" fmla="*/ 1480968 h 1862389"/>
                    <a:gd name="connsiteX189" fmla="*/ 945376 w 1037106"/>
                    <a:gd name="connsiteY189" fmla="*/ 1460760 h 1862389"/>
                    <a:gd name="connsiteX190" fmla="*/ 947902 w 1037106"/>
                    <a:gd name="connsiteY190" fmla="*/ 1453182 h 1862389"/>
                    <a:gd name="connsiteX191" fmla="*/ 950428 w 1037106"/>
                    <a:gd name="connsiteY191" fmla="*/ 1440552 h 1862389"/>
                    <a:gd name="connsiteX192" fmla="*/ 958006 w 1037106"/>
                    <a:gd name="connsiteY192" fmla="*/ 1430449 h 1862389"/>
                    <a:gd name="connsiteX193" fmla="*/ 968110 w 1037106"/>
                    <a:gd name="connsiteY193" fmla="*/ 1410241 h 1862389"/>
                    <a:gd name="connsiteX194" fmla="*/ 973162 w 1037106"/>
                    <a:gd name="connsiteY194" fmla="*/ 1397611 h 1862389"/>
                    <a:gd name="connsiteX195" fmla="*/ 978214 w 1037106"/>
                    <a:gd name="connsiteY195" fmla="*/ 1390033 h 1862389"/>
                    <a:gd name="connsiteX196" fmla="*/ 988318 w 1037106"/>
                    <a:gd name="connsiteY196" fmla="*/ 1364773 h 1862389"/>
                    <a:gd name="connsiteX197" fmla="*/ 995895 w 1037106"/>
                    <a:gd name="connsiteY197" fmla="*/ 1344566 h 1862389"/>
                    <a:gd name="connsiteX198" fmla="*/ 1000947 w 1037106"/>
                    <a:gd name="connsiteY198" fmla="*/ 1334462 h 1862389"/>
                    <a:gd name="connsiteX199" fmla="*/ 1003473 w 1037106"/>
                    <a:gd name="connsiteY199" fmla="*/ 1306676 h 1862389"/>
                    <a:gd name="connsiteX200" fmla="*/ 1005999 w 1037106"/>
                    <a:gd name="connsiteY200" fmla="*/ 1299098 h 1862389"/>
                    <a:gd name="connsiteX201" fmla="*/ 1008525 w 1037106"/>
                    <a:gd name="connsiteY201" fmla="*/ 1283943 h 1862389"/>
                    <a:gd name="connsiteX202" fmla="*/ 1013577 w 1037106"/>
                    <a:gd name="connsiteY202" fmla="*/ 1276365 h 1862389"/>
                    <a:gd name="connsiteX203" fmla="*/ 1018629 w 1037106"/>
                    <a:gd name="connsiteY203" fmla="*/ 1266261 h 1862389"/>
                    <a:gd name="connsiteX204" fmla="*/ 1026207 w 1037106"/>
                    <a:gd name="connsiteY204" fmla="*/ 1253631 h 1862389"/>
                    <a:gd name="connsiteX205" fmla="*/ 1028733 w 1037106"/>
                    <a:gd name="connsiteY205" fmla="*/ 1235949 h 1862389"/>
                    <a:gd name="connsiteX206" fmla="*/ 1033785 w 1037106"/>
                    <a:gd name="connsiteY206" fmla="*/ 1220793 h 1862389"/>
                    <a:gd name="connsiteX207" fmla="*/ 1036311 w 1037106"/>
                    <a:gd name="connsiteY207" fmla="*/ 1177852 h 1862389"/>
                    <a:gd name="connsiteX208" fmla="*/ 1026207 w 1037106"/>
                    <a:gd name="connsiteY208" fmla="*/ 1137436 h 1862389"/>
                    <a:gd name="connsiteX209" fmla="*/ 1016103 w 1037106"/>
                    <a:gd name="connsiteY209" fmla="*/ 1134910 h 1862389"/>
                    <a:gd name="connsiteX210" fmla="*/ 998421 w 1037106"/>
                    <a:gd name="connsiteY210" fmla="*/ 1119755 h 1862389"/>
                    <a:gd name="connsiteX211" fmla="*/ 990844 w 1037106"/>
                    <a:gd name="connsiteY211" fmla="*/ 1112177 h 1862389"/>
                    <a:gd name="connsiteX212" fmla="*/ 970636 w 1037106"/>
                    <a:gd name="connsiteY212" fmla="*/ 1097021 h 1862389"/>
                    <a:gd name="connsiteX213" fmla="*/ 960532 w 1037106"/>
                    <a:gd name="connsiteY213" fmla="*/ 1089443 h 1862389"/>
                    <a:gd name="connsiteX214" fmla="*/ 945376 w 1037106"/>
                    <a:gd name="connsiteY214" fmla="*/ 1084391 h 1862389"/>
                    <a:gd name="connsiteX215" fmla="*/ 922642 w 1037106"/>
                    <a:gd name="connsiteY215" fmla="*/ 1079339 h 1862389"/>
                    <a:gd name="connsiteX216" fmla="*/ 910013 w 1037106"/>
                    <a:gd name="connsiteY216" fmla="*/ 1074287 h 1862389"/>
                    <a:gd name="connsiteX217" fmla="*/ 889805 w 1037106"/>
                    <a:gd name="connsiteY217" fmla="*/ 1061657 h 1862389"/>
                    <a:gd name="connsiteX218" fmla="*/ 877175 w 1037106"/>
                    <a:gd name="connsiteY218" fmla="*/ 1046502 h 1862389"/>
                    <a:gd name="connsiteX219" fmla="*/ 879701 w 1037106"/>
                    <a:gd name="connsiteY219" fmla="*/ 1033872 h 1862389"/>
                    <a:gd name="connsiteX220" fmla="*/ 884753 w 1037106"/>
                    <a:gd name="connsiteY220" fmla="*/ 1016190 h 1862389"/>
                    <a:gd name="connsiteX221" fmla="*/ 889805 w 1037106"/>
                    <a:gd name="connsiteY221" fmla="*/ 1008612 h 1862389"/>
                    <a:gd name="connsiteX222" fmla="*/ 849389 w 1037106"/>
                    <a:gd name="connsiteY222" fmla="*/ 940411 h 1862389"/>
                    <a:gd name="connsiteX223" fmla="*/ 836760 w 1037106"/>
                    <a:gd name="connsiteY223" fmla="*/ 937885 h 1862389"/>
                    <a:gd name="connsiteX224" fmla="*/ 826656 w 1037106"/>
                    <a:gd name="connsiteY224" fmla="*/ 877262 h 1862389"/>
                    <a:gd name="connsiteX225" fmla="*/ 814026 w 1037106"/>
                    <a:gd name="connsiteY225" fmla="*/ 874736 h 1862389"/>
                    <a:gd name="connsiteX226" fmla="*/ 798870 w 1037106"/>
                    <a:gd name="connsiteY226" fmla="*/ 862106 h 1862389"/>
                    <a:gd name="connsiteX227" fmla="*/ 778662 w 1037106"/>
                    <a:gd name="connsiteY227" fmla="*/ 859580 h 1862389"/>
                    <a:gd name="connsiteX228" fmla="*/ 776136 w 1037106"/>
                    <a:gd name="connsiteY228" fmla="*/ 849476 h 1862389"/>
                    <a:gd name="connsiteX229" fmla="*/ 773610 w 1037106"/>
                    <a:gd name="connsiteY229" fmla="*/ 841898 h 1862389"/>
                    <a:gd name="connsiteX230" fmla="*/ 788766 w 1037106"/>
                    <a:gd name="connsiteY230" fmla="*/ 811587 h 1862389"/>
                    <a:gd name="connsiteX231" fmla="*/ 781188 w 1037106"/>
                    <a:gd name="connsiteY231" fmla="*/ 798957 h 1862389"/>
                    <a:gd name="connsiteX232" fmla="*/ 760981 w 1037106"/>
                    <a:gd name="connsiteY232" fmla="*/ 783801 h 1862389"/>
                    <a:gd name="connsiteX233" fmla="*/ 766032 w 1037106"/>
                    <a:gd name="connsiteY233" fmla="*/ 713074 h 1862389"/>
                    <a:gd name="connsiteX234" fmla="*/ 778662 w 1037106"/>
                    <a:gd name="connsiteY234" fmla="*/ 708022 h 1862389"/>
                    <a:gd name="connsiteX235" fmla="*/ 781188 w 1037106"/>
                    <a:gd name="connsiteY235" fmla="*/ 697918 h 1862389"/>
                    <a:gd name="connsiteX236" fmla="*/ 773610 w 1037106"/>
                    <a:gd name="connsiteY236" fmla="*/ 695392 h 1862389"/>
                    <a:gd name="connsiteX237" fmla="*/ 760981 w 1037106"/>
                    <a:gd name="connsiteY237" fmla="*/ 692866 h 1862389"/>
                    <a:gd name="connsiteX238" fmla="*/ 753403 w 1037106"/>
                    <a:gd name="connsiteY238" fmla="*/ 685288 h 1862389"/>
                    <a:gd name="connsiteX239" fmla="*/ 740773 w 1037106"/>
                    <a:gd name="connsiteY239" fmla="*/ 660029 h 1862389"/>
                    <a:gd name="connsiteX240" fmla="*/ 730669 w 1037106"/>
                    <a:gd name="connsiteY240" fmla="*/ 649925 h 1862389"/>
                    <a:gd name="connsiteX241" fmla="*/ 723091 w 1037106"/>
                    <a:gd name="connsiteY241" fmla="*/ 637295 h 1862389"/>
                    <a:gd name="connsiteX242" fmla="*/ 710461 w 1037106"/>
                    <a:gd name="connsiteY242" fmla="*/ 619613 h 1862389"/>
                    <a:gd name="connsiteX243" fmla="*/ 695305 w 1037106"/>
                    <a:gd name="connsiteY243" fmla="*/ 601931 h 1862389"/>
                    <a:gd name="connsiteX244" fmla="*/ 685202 w 1037106"/>
                    <a:gd name="connsiteY244" fmla="*/ 589302 h 1862389"/>
                    <a:gd name="connsiteX245" fmla="*/ 677624 w 1037106"/>
                    <a:gd name="connsiteY245" fmla="*/ 581724 h 1862389"/>
                    <a:gd name="connsiteX246" fmla="*/ 664994 w 1037106"/>
                    <a:gd name="connsiteY246" fmla="*/ 558990 h 1862389"/>
                    <a:gd name="connsiteX247" fmla="*/ 644786 w 1037106"/>
                    <a:gd name="connsiteY247" fmla="*/ 533730 h 1862389"/>
                    <a:gd name="connsiteX248" fmla="*/ 632156 w 1037106"/>
                    <a:gd name="connsiteY248" fmla="*/ 518575 h 1862389"/>
                    <a:gd name="connsiteX249" fmla="*/ 629630 w 1037106"/>
                    <a:gd name="connsiteY249" fmla="*/ 505945 h 1862389"/>
                    <a:gd name="connsiteX250" fmla="*/ 634682 w 1037106"/>
                    <a:gd name="connsiteY250" fmla="*/ 468055 h 1862389"/>
                    <a:gd name="connsiteX251" fmla="*/ 637208 w 1037106"/>
                    <a:gd name="connsiteY251" fmla="*/ 452899 h 1862389"/>
                    <a:gd name="connsiteX252" fmla="*/ 644786 w 1037106"/>
                    <a:gd name="connsiteY252" fmla="*/ 440270 h 1862389"/>
                    <a:gd name="connsiteX253" fmla="*/ 647312 w 1037106"/>
                    <a:gd name="connsiteY253" fmla="*/ 430166 h 1862389"/>
                    <a:gd name="connsiteX254" fmla="*/ 652364 w 1037106"/>
                    <a:gd name="connsiteY254" fmla="*/ 387224 h 1862389"/>
                    <a:gd name="connsiteX255" fmla="*/ 649838 w 1037106"/>
                    <a:gd name="connsiteY255" fmla="*/ 369543 h 1862389"/>
                    <a:gd name="connsiteX256" fmla="*/ 632156 w 1037106"/>
                    <a:gd name="connsiteY256" fmla="*/ 359439 h 1862389"/>
                    <a:gd name="connsiteX257" fmla="*/ 624578 w 1037106"/>
                    <a:gd name="connsiteY257" fmla="*/ 349335 h 1862389"/>
                    <a:gd name="connsiteX258" fmla="*/ 619526 w 1037106"/>
                    <a:gd name="connsiteY258" fmla="*/ 341757 h 1862389"/>
                    <a:gd name="connsiteX259" fmla="*/ 611948 w 1037106"/>
                    <a:gd name="connsiteY259" fmla="*/ 339231 h 1862389"/>
                    <a:gd name="connsiteX260" fmla="*/ 604371 w 1037106"/>
                    <a:gd name="connsiteY260" fmla="*/ 334179 h 1862389"/>
                    <a:gd name="connsiteX261" fmla="*/ 594267 w 1037106"/>
                    <a:gd name="connsiteY261" fmla="*/ 316497 h 1862389"/>
                    <a:gd name="connsiteX262" fmla="*/ 586689 w 1037106"/>
                    <a:gd name="connsiteY262" fmla="*/ 311445 h 1862389"/>
                    <a:gd name="connsiteX263" fmla="*/ 531118 w 1037106"/>
                    <a:gd name="connsiteY263" fmla="*/ 311445 h 1862389"/>
                    <a:gd name="connsiteX264" fmla="*/ 528592 w 1037106"/>
                    <a:gd name="connsiteY264" fmla="*/ 301341 h 1862389"/>
                    <a:gd name="connsiteX265" fmla="*/ 521014 w 1037106"/>
                    <a:gd name="connsiteY265" fmla="*/ 276082 h 1862389"/>
                    <a:gd name="connsiteX266" fmla="*/ 518488 w 1037106"/>
                    <a:gd name="connsiteY266" fmla="*/ 255874 h 1862389"/>
                    <a:gd name="connsiteX267" fmla="*/ 515962 w 1037106"/>
                    <a:gd name="connsiteY267" fmla="*/ 245770 h 1862389"/>
                    <a:gd name="connsiteX268" fmla="*/ 513436 w 1037106"/>
                    <a:gd name="connsiteY268" fmla="*/ 197777 h 1862389"/>
                    <a:gd name="connsiteX269" fmla="*/ 505858 w 1037106"/>
                    <a:gd name="connsiteY269" fmla="*/ 195251 h 1862389"/>
                    <a:gd name="connsiteX270" fmla="*/ 498280 w 1037106"/>
                    <a:gd name="connsiteY270" fmla="*/ 187673 h 1862389"/>
                    <a:gd name="connsiteX271" fmla="*/ 508384 w 1037106"/>
                    <a:gd name="connsiteY271" fmla="*/ 149783 h 1862389"/>
                    <a:gd name="connsiteX272" fmla="*/ 503332 w 1037106"/>
                    <a:gd name="connsiteY272" fmla="*/ 129576 h 1862389"/>
                    <a:gd name="connsiteX273" fmla="*/ 500806 w 1037106"/>
                    <a:gd name="connsiteY273" fmla="*/ 61375 h 1862389"/>
                    <a:gd name="connsiteX274" fmla="*/ 493228 w 1037106"/>
                    <a:gd name="connsiteY274" fmla="*/ 58849 h 1862389"/>
                    <a:gd name="connsiteX275" fmla="*/ 483124 w 1037106"/>
                    <a:gd name="connsiteY275" fmla="*/ 53797 h 1862389"/>
                    <a:gd name="connsiteX276" fmla="*/ 450287 w 1037106"/>
                    <a:gd name="connsiteY276" fmla="*/ 48745 h 1862389"/>
                    <a:gd name="connsiteX277" fmla="*/ 430079 w 1037106"/>
                    <a:gd name="connsiteY277" fmla="*/ 36115 h 1862389"/>
                    <a:gd name="connsiteX278" fmla="*/ 409871 w 1037106"/>
                    <a:gd name="connsiteY278" fmla="*/ 18433 h 1862389"/>
                    <a:gd name="connsiteX279" fmla="*/ 399761 w 1037106"/>
                    <a:gd name="connsiteY279" fmla="*/ 3920 h 1862389"/>
                    <a:gd name="connsiteX280" fmla="*/ 388397 w 1037106"/>
                    <a:gd name="connsiteY280" fmla="*/ 767 h 1862389"/>
                    <a:gd name="connsiteX281" fmla="*/ 349248 w 1037106"/>
                    <a:gd name="connsiteY281" fmla="*/ 15907 h 1862389"/>
                    <a:gd name="connsiteX282" fmla="*/ 351774 w 1037106"/>
                    <a:gd name="connsiteY282" fmla="*/ 5803 h 1862389"/>
                    <a:gd name="connsiteX283" fmla="*/ 361878 w 1037106"/>
                    <a:gd name="connsiteY283" fmla="*/ 8329 h 1862389"/>
                    <a:gd name="connsiteX284" fmla="*/ 349248 w 1037106"/>
                    <a:gd name="connsiteY284" fmla="*/ 43693 h 1862389"/>
                    <a:gd name="connsiteX285" fmla="*/ 346722 w 1037106"/>
                    <a:gd name="connsiteY285" fmla="*/ 53797 h 1862389"/>
                    <a:gd name="connsiteX286" fmla="*/ 339144 w 1037106"/>
                    <a:gd name="connsiteY286" fmla="*/ 56323 h 1862389"/>
                    <a:gd name="connsiteX287" fmla="*/ 323988 w 1037106"/>
                    <a:gd name="connsiteY287" fmla="*/ 53797 h 1862389"/>
                    <a:gd name="connsiteX288" fmla="*/ 306306 w 1037106"/>
                    <a:gd name="connsiteY288" fmla="*/ 51271 h 1862389"/>
                    <a:gd name="connsiteX289" fmla="*/ 296203 w 1037106"/>
                    <a:gd name="connsiteY289" fmla="*/ 48745 h 1862389"/>
                    <a:gd name="connsiteX290" fmla="*/ 288625 w 1037106"/>
                    <a:gd name="connsiteY290" fmla="*/ 51271 h 1862389"/>
                    <a:gd name="connsiteX291" fmla="*/ 291151 w 1037106"/>
                    <a:gd name="connsiteY291" fmla="*/ 68952 h 1862389"/>
                    <a:gd name="connsiteX292" fmla="*/ 296203 w 1037106"/>
                    <a:gd name="connsiteY292" fmla="*/ 91686 h 1862389"/>
                    <a:gd name="connsiteX293" fmla="*/ 293677 w 1037106"/>
                    <a:gd name="connsiteY293" fmla="*/ 129576 h 1862389"/>
                    <a:gd name="connsiteX294" fmla="*/ 291151 w 1037106"/>
                    <a:gd name="connsiteY294" fmla="*/ 137154 h 1862389"/>
                    <a:gd name="connsiteX295" fmla="*/ 288625 w 1037106"/>
                    <a:gd name="connsiteY295" fmla="*/ 152309 h 1862389"/>
                    <a:gd name="connsiteX296" fmla="*/ 301255 w 1037106"/>
                    <a:gd name="connsiteY296" fmla="*/ 205355 h 1862389"/>
                    <a:gd name="connsiteX297" fmla="*/ 308832 w 1037106"/>
                    <a:gd name="connsiteY297" fmla="*/ 207881 h 1862389"/>
                    <a:gd name="connsiteX298" fmla="*/ 296203 w 1037106"/>
                    <a:gd name="connsiteY298" fmla="*/ 245770 h 1862389"/>
                    <a:gd name="connsiteX299" fmla="*/ 283573 w 1037106"/>
                    <a:gd name="connsiteY299" fmla="*/ 288712 h 1862389"/>
                    <a:gd name="connsiteX300" fmla="*/ 281047 w 1037106"/>
                    <a:gd name="connsiteY300" fmla="*/ 303867 h 1862389"/>
                    <a:gd name="connsiteX301" fmla="*/ 263365 w 1037106"/>
                    <a:gd name="connsiteY301" fmla="*/ 298815 h 1862389"/>
                    <a:gd name="connsiteX302" fmla="*/ 255787 w 1037106"/>
                    <a:gd name="connsiteY302" fmla="*/ 291238 h 1862389"/>
                    <a:gd name="connsiteX303" fmla="*/ 248209 w 1037106"/>
                    <a:gd name="connsiteY303" fmla="*/ 286186 h 1862389"/>
                    <a:gd name="connsiteX304" fmla="*/ 243157 w 1037106"/>
                    <a:gd name="connsiteY304" fmla="*/ 278608 h 1862389"/>
                    <a:gd name="connsiteX305" fmla="*/ 240631 w 1037106"/>
                    <a:gd name="connsiteY305" fmla="*/ 271030 h 1862389"/>
                    <a:gd name="connsiteX306" fmla="*/ 230527 w 1037106"/>
                    <a:gd name="connsiteY306" fmla="*/ 268504 h 1862389"/>
                    <a:gd name="connsiteX307" fmla="*/ 220424 w 1037106"/>
                    <a:gd name="connsiteY307" fmla="*/ 268024 h 1862389"/>
                    <a:gd name="connsiteX308" fmla="*/ 197690 w 1037106"/>
                    <a:gd name="connsiteY308" fmla="*/ 268504 h 1862389"/>
                    <a:gd name="connsiteX309" fmla="*/ 195164 w 1037106"/>
                    <a:gd name="connsiteY309" fmla="*/ 281134 h 1862389"/>
                    <a:gd name="connsiteX310" fmla="*/ 176251 w 1037106"/>
                    <a:gd name="connsiteY310" fmla="*/ 279767 h 1862389"/>
                    <a:gd name="connsiteX311" fmla="*/ 147171 w 1037106"/>
                    <a:gd name="connsiteY311" fmla="*/ 306393 h 1862389"/>
                    <a:gd name="connsiteX312" fmla="*/ 94125 w 1037106"/>
                    <a:gd name="connsiteY312" fmla="*/ 291238 h 1862389"/>
                    <a:gd name="connsiteX313" fmla="*/ 89073 w 1037106"/>
                    <a:gd name="connsiteY313" fmla="*/ 283660 h 1862389"/>
                    <a:gd name="connsiteX314" fmla="*/ 86547 w 1037106"/>
                    <a:gd name="connsiteY314" fmla="*/ 273556 h 1862389"/>
                    <a:gd name="connsiteX315" fmla="*/ 84021 w 1037106"/>
                    <a:gd name="connsiteY315" fmla="*/ 265978 h 1862389"/>
                    <a:gd name="connsiteX316" fmla="*/ 71392 w 1037106"/>
                    <a:gd name="connsiteY316" fmla="*/ 260926 h 1862389"/>
                    <a:gd name="connsiteX317" fmla="*/ 53710 w 1037106"/>
                    <a:gd name="connsiteY317" fmla="*/ 240718 h 1862389"/>
                    <a:gd name="connsiteX318" fmla="*/ 43606 w 1037106"/>
                    <a:gd name="connsiteY318" fmla="*/ 235666 h 1862389"/>
                    <a:gd name="connsiteX319" fmla="*/ 28450 w 1037106"/>
                    <a:gd name="connsiteY319" fmla="*/ 228088 h 1862389"/>
                    <a:gd name="connsiteX320" fmla="*/ 20872 w 1037106"/>
                    <a:gd name="connsiteY320" fmla="*/ 220510 h 1862389"/>
                    <a:gd name="connsiteX321" fmla="*/ 5716 w 1037106"/>
                    <a:gd name="connsiteY321" fmla="*/ 240718 h 1862389"/>
                    <a:gd name="connsiteX322" fmla="*/ 15820 w 1037106"/>
                    <a:gd name="connsiteY322" fmla="*/ 263452 h 1862389"/>
                    <a:gd name="connsiteX0" fmla="*/ 256 w 1037929"/>
                    <a:gd name="connsiteY0" fmla="*/ 258536 h 1862389"/>
                    <a:gd name="connsiteX1" fmla="*/ 1487 w 1037929"/>
                    <a:gd name="connsiteY1" fmla="*/ 268504 h 1862389"/>
                    <a:gd name="connsiteX2" fmla="*/ 4013 w 1037929"/>
                    <a:gd name="connsiteY2" fmla="*/ 276082 h 1862389"/>
                    <a:gd name="connsiteX3" fmla="*/ 29273 w 1037929"/>
                    <a:gd name="connsiteY3" fmla="*/ 291238 h 1862389"/>
                    <a:gd name="connsiteX4" fmla="*/ 36851 w 1037929"/>
                    <a:gd name="connsiteY4" fmla="*/ 301341 h 1862389"/>
                    <a:gd name="connsiteX5" fmla="*/ 44429 w 1037929"/>
                    <a:gd name="connsiteY5" fmla="*/ 308919 h 1862389"/>
                    <a:gd name="connsiteX6" fmla="*/ 59585 w 1037929"/>
                    <a:gd name="connsiteY6" fmla="*/ 329127 h 1862389"/>
                    <a:gd name="connsiteX7" fmla="*/ 64637 w 1037929"/>
                    <a:gd name="connsiteY7" fmla="*/ 336705 h 1862389"/>
                    <a:gd name="connsiteX8" fmla="*/ 72215 w 1037929"/>
                    <a:gd name="connsiteY8" fmla="*/ 344283 h 1862389"/>
                    <a:gd name="connsiteX9" fmla="*/ 74741 w 1037929"/>
                    <a:gd name="connsiteY9" fmla="*/ 351861 h 1862389"/>
                    <a:gd name="connsiteX10" fmla="*/ 132838 w 1037929"/>
                    <a:gd name="connsiteY10" fmla="*/ 364491 h 1862389"/>
                    <a:gd name="connsiteX11" fmla="*/ 150520 w 1037929"/>
                    <a:gd name="connsiteY11" fmla="*/ 372068 h 1862389"/>
                    <a:gd name="connsiteX12" fmla="*/ 160623 w 1037929"/>
                    <a:gd name="connsiteY12" fmla="*/ 382172 h 1862389"/>
                    <a:gd name="connsiteX13" fmla="*/ 165675 w 1037929"/>
                    <a:gd name="connsiteY13" fmla="*/ 397328 h 1862389"/>
                    <a:gd name="connsiteX14" fmla="*/ 183357 w 1037929"/>
                    <a:gd name="connsiteY14" fmla="*/ 404906 h 1862389"/>
                    <a:gd name="connsiteX15" fmla="*/ 190935 w 1037929"/>
                    <a:gd name="connsiteY15" fmla="*/ 409958 h 1862389"/>
                    <a:gd name="connsiteX16" fmla="*/ 203565 w 1037929"/>
                    <a:gd name="connsiteY16" fmla="*/ 425114 h 1862389"/>
                    <a:gd name="connsiteX17" fmla="*/ 213669 w 1037929"/>
                    <a:gd name="connsiteY17" fmla="*/ 427640 h 1862389"/>
                    <a:gd name="connsiteX18" fmla="*/ 221247 w 1037929"/>
                    <a:gd name="connsiteY18" fmla="*/ 430166 h 1862389"/>
                    <a:gd name="connsiteX19" fmla="*/ 213669 w 1037929"/>
                    <a:gd name="connsiteY19" fmla="*/ 432692 h 1862389"/>
                    <a:gd name="connsiteX20" fmla="*/ 213669 w 1037929"/>
                    <a:gd name="connsiteY20" fmla="*/ 452899 h 1862389"/>
                    <a:gd name="connsiteX21" fmla="*/ 216195 w 1037929"/>
                    <a:gd name="connsiteY21" fmla="*/ 460477 h 1862389"/>
                    <a:gd name="connsiteX22" fmla="*/ 223773 w 1037929"/>
                    <a:gd name="connsiteY22" fmla="*/ 468055 h 1862389"/>
                    <a:gd name="connsiteX23" fmla="*/ 226299 w 1037929"/>
                    <a:gd name="connsiteY23" fmla="*/ 498367 h 1862389"/>
                    <a:gd name="connsiteX24" fmla="*/ 228825 w 1037929"/>
                    <a:gd name="connsiteY24" fmla="*/ 516049 h 1862389"/>
                    <a:gd name="connsiteX25" fmla="*/ 241454 w 1037929"/>
                    <a:gd name="connsiteY25" fmla="*/ 526152 h 1862389"/>
                    <a:gd name="connsiteX26" fmla="*/ 249032 w 1037929"/>
                    <a:gd name="connsiteY26" fmla="*/ 523626 h 1862389"/>
                    <a:gd name="connsiteX27" fmla="*/ 249032 w 1037929"/>
                    <a:gd name="connsiteY27" fmla="*/ 543834 h 1862389"/>
                    <a:gd name="connsiteX28" fmla="*/ 241454 w 1037929"/>
                    <a:gd name="connsiteY28" fmla="*/ 546360 h 1862389"/>
                    <a:gd name="connsiteX29" fmla="*/ 236402 w 1037929"/>
                    <a:gd name="connsiteY29" fmla="*/ 553938 h 1862389"/>
                    <a:gd name="connsiteX30" fmla="*/ 246506 w 1037929"/>
                    <a:gd name="connsiteY30" fmla="*/ 561516 h 1862389"/>
                    <a:gd name="connsiteX31" fmla="*/ 249032 w 1037929"/>
                    <a:gd name="connsiteY31" fmla="*/ 579198 h 1862389"/>
                    <a:gd name="connsiteX32" fmla="*/ 264188 w 1037929"/>
                    <a:gd name="connsiteY32" fmla="*/ 601931 h 1862389"/>
                    <a:gd name="connsiteX33" fmla="*/ 271766 w 1037929"/>
                    <a:gd name="connsiteY33" fmla="*/ 619613 h 1862389"/>
                    <a:gd name="connsiteX34" fmla="*/ 274292 w 1037929"/>
                    <a:gd name="connsiteY34" fmla="*/ 637295 h 1862389"/>
                    <a:gd name="connsiteX35" fmla="*/ 281870 w 1037929"/>
                    <a:gd name="connsiteY35" fmla="*/ 644873 h 1862389"/>
                    <a:gd name="connsiteX36" fmla="*/ 286922 w 1037929"/>
                    <a:gd name="connsiteY36" fmla="*/ 705496 h 1862389"/>
                    <a:gd name="connsiteX37" fmla="*/ 291974 w 1037929"/>
                    <a:gd name="connsiteY37" fmla="*/ 723178 h 1862389"/>
                    <a:gd name="connsiteX38" fmla="*/ 294500 w 1037929"/>
                    <a:gd name="connsiteY38" fmla="*/ 735808 h 1862389"/>
                    <a:gd name="connsiteX39" fmla="*/ 302078 w 1037929"/>
                    <a:gd name="connsiteY39" fmla="*/ 758541 h 1862389"/>
                    <a:gd name="connsiteX40" fmla="*/ 304604 w 1037929"/>
                    <a:gd name="connsiteY40" fmla="*/ 766119 h 1862389"/>
                    <a:gd name="connsiteX41" fmla="*/ 322285 w 1037929"/>
                    <a:gd name="connsiteY41" fmla="*/ 793905 h 1862389"/>
                    <a:gd name="connsiteX42" fmla="*/ 334915 w 1037929"/>
                    <a:gd name="connsiteY42" fmla="*/ 811587 h 1862389"/>
                    <a:gd name="connsiteX43" fmla="*/ 347545 w 1037929"/>
                    <a:gd name="connsiteY43" fmla="*/ 809061 h 1862389"/>
                    <a:gd name="connsiteX44" fmla="*/ 357649 w 1037929"/>
                    <a:gd name="connsiteY44" fmla="*/ 778749 h 1862389"/>
                    <a:gd name="connsiteX45" fmla="*/ 365227 w 1037929"/>
                    <a:gd name="connsiteY45" fmla="*/ 776223 h 1862389"/>
                    <a:gd name="connsiteX46" fmla="*/ 372805 w 1037929"/>
                    <a:gd name="connsiteY46" fmla="*/ 771171 h 1862389"/>
                    <a:gd name="connsiteX47" fmla="*/ 365227 w 1037929"/>
                    <a:gd name="connsiteY47" fmla="*/ 781275 h 1862389"/>
                    <a:gd name="connsiteX48" fmla="*/ 367753 w 1037929"/>
                    <a:gd name="connsiteY48" fmla="*/ 804009 h 1862389"/>
                    <a:gd name="connsiteX49" fmla="*/ 395538 w 1037929"/>
                    <a:gd name="connsiteY49" fmla="*/ 811587 h 1862389"/>
                    <a:gd name="connsiteX50" fmla="*/ 410694 w 1037929"/>
                    <a:gd name="connsiteY50" fmla="*/ 816639 h 1862389"/>
                    <a:gd name="connsiteX51" fmla="*/ 420798 w 1037929"/>
                    <a:gd name="connsiteY51" fmla="*/ 826743 h 1862389"/>
                    <a:gd name="connsiteX52" fmla="*/ 433428 w 1037929"/>
                    <a:gd name="connsiteY52" fmla="*/ 846950 h 1862389"/>
                    <a:gd name="connsiteX53" fmla="*/ 438480 w 1037929"/>
                    <a:gd name="connsiteY53" fmla="*/ 869684 h 1862389"/>
                    <a:gd name="connsiteX54" fmla="*/ 446058 w 1037929"/>
                    <a:gd name="connsiteY54" fmla="*/ 879788 h 1862389"/>
                    <a:gd name="connsiteX55" fmla="*/ 448584 w 1037929"/>
                    <a:gd name="connsiteY55" fmla="*/ 907573 h 1862389"/>
                    <a:gd name="connsiteX56" fmla="*/ 451110 w 1037929"/>
                    <a:gd name="connsiteY56" fmla="*/ 920203 h 1862389"/>
                    <a:gd name="connsiteX57" fmla="*/ 461213 w 1037929"/>
                    <a:gd name="connsiteY57" fmla="*/ 925255 h 1862389"/>
                    <a:gd name="connsiteX58" fmla="*/ 466265 w 1037929"/>
                    <a:gd name="connsiteY58" fmla="*/ 950515 h 1862389"/>
                    <a:gd name="connsiteX59" fmla="*/ 456162 w 1037929"/>
                    <a:gd name="connsiteY59" fmla="*/ 945463 h 1862389"/>
                    <a:gd name="connsiteX60" fmla="*/ 451110 w 1037929"/>
                    <a:gd name="connsiteY60" fmla="*/ 937885 h 1862389"/>
                    <a:gd name="connsiteX61" fmla="*/ 428783 w 1037929"/>
                    <a:gd name="connsiteY61" fmla="*/ 947649 h 1862389"/>
                    <a:gd name="connsiteX62" fmla="*/ 425850 w 1037929"/>
                    <a:gd name="connsiteY62" fmla="*/ 925255 h 1862389"/>
                    <a:gd name="connsiteX63" fmla="*/ 400590 w 1037929"/>
                    <a:gd name="connsiteY63" fmla="*/ 930307 h 1862389"/>
                    <a:gd name="connsiteX64" fmla="*/ 425714 w 1037929"/>
                    <a:gd name="connsiteY64" fmla="*/ 947989 h 1862389"/>
                    <a:gd name="connsiteX65" fmla="*/ 410694 w 1037929"/>
                    <a:gd name="connsiteY65" fmla="*/ 975775 h 1862389"/>
                    <a:gd name="connsiteX66" fmla="*/ 408168 w 1037929"/>
                    <a:gd name="connsiteY66" fmla="*/ 985878 h 1862389"/>
                    <a:gd name="connsiteX67" fmla="*/ 405642 w 1037929"/>
                    <a:gd name="connsiteY67" fmla="*/ 1016190 h 1862389"/>
                    <a:gd name="connsiteX68" fmla="*/ 398064 w 1037929"/>
                    <a:gd name="connsiteY68" fmla="*/ 1023768 h 1862389"/>
                    <a:gd name="connsiteX69" fmla="*/ 385434 w 1037929"/>
                    <a:gd name="connsiteY69" fmla="*/ 1049028 h 1862389"/>
                    <a:gd name="connsiteX70" fmla="*/ 380383 w 1037929"/>
                    <a:gd name="connsiteY70" fmla="*/ 1064183 h 1862389"/>
                    <a:gd name="connsiteX71" fmla="*/ 372805 w 1037929"/>
                    <a:gd name="connsiteY71" fmla="*/ 1079339 h 1862389"/>
                    <a:gd name="connsiteX72" fmla="*/ 370279 w 1037929"/>
                    <a:gd name="connsiteY72" fmla="*/ 1099547 h 1862389"/>
                    <a:gd name="connsiteX73" fmla="*/ 350071 w 1037929"/>
                    <a:gd name="connsiteY73" fmla="*/ 1122281 h 1862389"/>
                    <a:gd name="connsiteX74" fmla="*/ 332389 w 1037929"/>
                    <a:gd name="connsiteY74" fmla="*/ 1155118 h 1862389"/>
                    <a:gd name="connsiteX75" fmla="*/ 322285 w 1037929"/>
                    <a:gd name="connsiteY75" fmla="*/ 1170274 h 1862389"/>
                    <a:gd name="connsiteX76" fmla="*/ 314707 w 1037929"/>
                    <a:gd name="connsiteY76" fmla="*/ 1157644 h 1862389"/>
                    <a:gd name="connsiteX77" fmla="*/ 312181 w 1037929"/>
                    <a:gd name="connsiteY77" fmla="*/ 1150066 h 1862389"/>
                    <a:gd name="connsiteX78" fmla="*/ 302078 w 1037929"/>
                    <a:gd name="connsiteY78" fmla="*/ 1162696 h 1862389"/>
                    <a:gd name="connsiteX79" fmla="*/ 304604 w 1037929"/>
                    <a:gd name="connsiteY79" fmla="*/ 1198060 h 1862389"/>
                    <a:gd name="connsiteX80" fmla="*/ 312181 w 1037929"/>
                    <a:gd name="connsiteY80" fmla="*/ 1200586 h 1862389"/>
                    <a:gd name="connsiteX81" fmla="*/ 299552 w 1037929"/>
                    <a:gd name="connsiteY81" fmla="*/ 1203112 h 1862389"/>
                    <a:gd name="connsiteX82" fmla="*/ 294500 w 1037929"/>
                    <a:gd name="connsiteY82" fmla="*/ 1205638 h 1862389"/>
                    <a:gd name="connsiteX83" fmla="*/ 286922 w 1037929"/>
                    <a:gd name="connsiteY83" fmla="*/ 1210689 h 1862389"/>
                    <a:gd name="connsiteX84" fmla="*/ 281870 w 1037929"/>
                    <a:gd name="connsiteY84" fmla="*/ 1218267 h 1862389"/>
                    <a:gd name="connsiteX85" fmla="*/ 279344 w 1037929"/>
                    <a:gd name="connsiteY85" fmla="*/ 1233423 h 1862389"/>
                    <a:gd name="connsiteX86" fmla="*/ 276818 w 1037929"/>
                    <a:gd name="connsiteY86" fmla="*/ 1243527 h 1862389"/>
                    <a:gd name="connsiteX87" fmla="*/ 284396 w 1037929"/>
                    <a:gd name="connsiteY87" fmla="*/ 1246053 h 1862389"/>
                    <a:gd name="connsiteX88" fmla="*/ 284396 w 1037929"/>
                    <a:gd name="connsiteY88" fmla="*/ 1266261 h 1862389"/>
                    <a:gd name="connsiteX89" fmla="*/ 249032 w 1037929"/>
                    <a:gd name="connsiteY89" fmla="*/ 1278891 h 1862389"/>
                    <a:gd name="connsiteX90" fmla="*/ 241454 w 1037929"/>
                    <a:gd name="connsiteY90" fmla="*/ 1281417 h 1862389"/>
                    <a:gd name="connsiteX91" fmla="*/ 233876 w 1037929"/>
                    <a:gd name="connsiteY91" fmla="*/ 1286468 h 1862389"/>
                    <a:gd name="connsiteX92" fmla="*/ 218721 w 1037929"/>
                    <a:gd name="connsiteY92" fmla="*/ 1294046 h 1862389"/>
                    <a:gd name="connsiteX93" fmla="*/ 228825 w 1037929"/>
                    <a:gd name="connsiteY93" fmla="*/ 1299098 h 1862389"/>
                    <a:gd name="connsiteX94" fmla="*/ 223773 w 1037929"/>
                    <a:gd name="connsiteY94" fmla="*/ 1339514 h 1862389"/>
                    <a:gd name="connsiteX95" fmla="*/ 218721 w 1037929"/>
                    <a:gd name="connsiteY95" fmla="*/ 1347092 h 1862389"/>
                    <a:gd name="connsiteX96" fmla="*/ 213669 w 1037929"/>
                    <a:gd name="connsiteY96" fmla="*/ 1359722 h 1862389"/>
                    <a:gd name="connsiteX97" fmla="*/ 208617 w 1037929"/>
                    <a:gd name="connsiteY97" fmla="*/ 1367299 h 1862389"/>
                    <a:gd name="connsiteX98" fmla="*/ 203565 w 1037929"/>
                    <a:gd name="connsiteY98" fmla="*/ 1377403 h 1862389"/>
                    <a:gd name="connsiteX99" fmla="*/ 211143 w 1037929"/>
                    <a:gd name="connsiteY99" fmla="*/ 1400137 h 1862389"/>
                    <a:gd name="connsiteX100" fmla="*/ 216195 w 1037929"/>
                    <a:gd name="connsiteY100" fmla="*/ 1407715 h 1862389"/>
                    <a:gd name="connsiteX101" fmla="*/ 218721 w 1037929"/>
                    <a:gd name="connsiteY101" fmla="*/ 1417819 h 1862389"/>
                    <a:gd name="connsiteX102" fmla="*/ 228825 w 1037929"/>
                    <a:gd name="connsiteY102" fmla="*/ 1438026 h 1862389"/>
                    <a:gd name="connsiteX103" fmla="*/ 231350 w 1037929"/>
                    <a:gd name="connsiteY103" fmla="*/ 1445604 h 1862389"/>
                    <a:gd name="connsiteX104" fmla="*/ 241454 w 1037929"/>
                    <a:gd name="connsiteY104" fmla="*/ 1463286 h 1862389"/>
                    <a:gd name="connsiteX105" fmla="*/ 246506 w 1037929"/>
                    <a:gd name="connsiteY105" fmla="*/ 1475916 h 1862389"/>
                    <a:gd name="connsiteX106" fmla="*/ 246506 w 1037929"/>
                    <a:gd name="connsiteY106" fmla="*/ 1513806 h 1862389"/>
                    <a:gd name="connsiteX107" fmla="*/ 256610 w 1037929"/>
                    <a:gd name="connsiteY107" fmla="*/ 1516331 h 1862389"/>
                    <a:gd name="connsiteX108" fmla="*/ 264188 w 1037929"/>
                    <a:gd name="connsiteY108" fmla="*/ 1526435 h 1862389"/>
                    <a:gd name="connsiteX109" fmla="*/ 269240 w 1037929"/>
                    <a:gd name="connsiteY109" fmla="*/ 1534013 h 1862389"/>
                    <a:gd name="connsiteX110" fmla="*/ 279344 w 1037929"/>
                    <a:gd name="connsiteY110" fmla="*/ 1561799 h 1862389"/>
                    <a:gd name="connsiteX111" fmla="*/ 284396 w 1037929"/>
                    <a:gd name="connsiteY111" fmla="*/ 1589585 h 1862389"/>
                    <a:gd name="connsiteX112" fmla="*/ 281870 w 1037929"/>
                    <a:gd name="connsiteY112" fmla="*/ 1597162 h 1862389"/>
                    <a:gd name="connsiteX113" fmla="*/ 281870 w 1037929"/>
                    <a:gd name="connsiteY113" fmla="*/ 1677993 h 1862389"/>
                    <a:gd name="connsiteX114" fmla="*/ 284396 w 1037929"/>
                    <a:gd name="connsiteY114" fmla="*/ 1703253 h 1862389"/>
                    <a:gd name="connsiteX115" fmla="*/ 297026 w 1037929"/>
                    <a:gd name="connsiteY115" fmla="*/ 1705779 h 1862389"/>
                    <a:gd name="connsiteX116" fmla="*/ 289448 w 1037929"/>
                    <a:gd name="connsiteY116" fmla="*/ 1713357 h 1862389"/>
                    <a:gd name="connsiteX117" fmla="*/ 294500 w 1037929"/>
                    <a:gd name="connsiteY117" fmla="*/ 1720935 h 1862389"/>
                    <a:gd name="connsiteX118" fmla="*/ 297026 w 1037929"/>
                    <a:gd name="connsiteY118" fmla="*/ 1728513 h 1862389"/>
                    <a:gd name="connsiteX119" fmla="*/ 294500 w 1037929"/>
                    <a:gd name="connsiteY119" fmla="*/ 1763876 h 1862389"/>
                    <a:gd name="connsiteX120" fmla="*/ 322285 w 1037929"/>
                    <a:gd name="connsiteY120" fmla="*/ 1758824 h 1862389"/>
                    <a:gd name="connsiteX121" fmla="*/ 329863 w 1037929"/>
                    <a:gd name="connsiteY121" fmla="*/ 1761350 h 1862389"/>
                    <a:gd name="connsiteX122" fmla="*/ 334915 w 1037929"/>
                    <a:gd name="connsiteY122" fmla="*/ 1779032 h 1862389"/>
                    <a:gd name="connsiteX123" fmla="*/ 355123 w 1037929"/>
                    <a:gd name="connsiteY123" fmla="*/ 1784084 h 1862389"/>
                    <a:gd name="connsiteX124" fmla="*/ 357649 w 1037929"/>
                    <a:gd name="connsiteY124" fmla="*/ 1794188 h 1862389"/>
                    <a:gd name="connsiteX125" fmla="*/ 380383 w 1037929"/>
                    <a:gd name="connsiteY125" fmla="*/ 1789136 h 1862389"/>
                    <a:gd name="connsiteX126" fmla="*/ 393012 w 1037929"/>
                    <a:gd name="connsiteY126" fmla="*/ 1779032 h 1862389"/>
                    <a:gd name="connsiteX127" fmla="*/ 390486 w 1037929"/>
                    <a:gd name="connsiteY127" fmla="*/ 1786610 h 1862389"/>
                    <a:gd name="connsiteX128" fmla="*/ 385434 w 1037929"/>
                    <a:gd name="connsiteY128" fmla="*/ 1799240 h 1862389"/>
                    <a:gd name="connsiteX129" fmla="*/ 393012 w 1037929"/>
                    <a:gd name="connsiteY129" fmla="*/ 1801766 h 1862389"/>
                    <a:gd name="connsiteX130" fmla="*/ 403116 w 1037929"/>
                    <a:gd name="connsiteY130" fmla="*/ 1799240 h 1862389"/>
                    <a:gd name="connsiteX131" fmla="*/ 418272 w 1037929"/>
                    <a:gd name="connsiteY131" fmla="*/ 1796714 h 1862389"/>
                    <a:gd name="connsiteX132" fmla="*/ 428376 w 1037929"/>
                    <a:gd name="connsiteY132" fmla="*/ 1809344 h 1862389"/>
                    <a:gd name="connsiteX133" fmla="*/ 443532 w 1037929"/>
                    <a:gd name="connsiteY133" fmla="*/ 1799240 h 1862389"/>
                    <a:gd name="connsiteX134" fmla="*/ 438480 w 1037929"/>
                    <a:gd name="connsiteY134" fmla="*/ 1811870 h 1862389"/>
                    <a:gd name="connsiteX135" fmla="*/ 428376 w 1037929"/>
                    <a:gd name="connsiteY135" fmla="*/ 1821973 h 1862389"/>
                    <a:gd name="connsiteX136" fmla="*/ 433428 w 1037929"/>
                    <a:gd name="connsiteY136" fmla="*/ 1824499 h 1862389"/>
                    <a:gd name="connsiteX137" fmla="*/ 451110 w 1037929"/>
                    <a:gd name="connsiteY137" fmla="*/ 1821973 h 1862389"/>
                    <a:gd name="connsiteX138" fmla="*/ 456162 w 1037929"/>
                    <a:gd name="connsiteY138" fmla="*/ 1829551 h 1862389"/>
                    <a:gd name="connsiteX139" fmla="*/ 478895 w 1037929"/>
                    <a:gd name="connsiteY139" fmla="*/ 1852285 h 1862389"/>
                    <a:gd name="connsiteX140" fmla="*/ 471317 w 1037929"/>
                    <a:gd name="connsiteY140" fmla="*/ 1854811 h 1862389"/>
                    <a:gd name="connsiteX141" fmla="*/ 461213 w 1037929"/>
                    <a:gd name="connsiteY141" fmla="*/ 1857337 h 1862389"/>
                    <a:gd name="connsiteX142" fmla="*/ 476369 w 1037929"/>
                    <a:gd name="connsiteY142" fmla="*/ 1862389 h 1862389"/>
                    <a:gd name="connsiteX143" fmla="*/ 486473 w 1037929"/>
                    <a:gd name="connsiteY143" fmla="*/ 1854811 h 1862389"/>
                    <a:gd name="connsiteX144" fmla="*/ 488999 w 1037929"/>
                    <a:gd name="connsiteY144" fmla="*/ 1842181 h 1862389"/>
                    <a:gd name="connsiteX145" fmla="*/ 491525 w 1037929"/>
                    <a:gd name="connsiteY145" fmla="*/ 1834603 h 1862389"/>
                    <a:gd name="connsiteX146" fmla="*/ 511733 w 1037929"/>
                    <a:gd name="connsiteY146" fmla="*/ 1827025 h 1862389"/>
                    <a:gd name="connsiteX147" fmla="*/ 521837 w 1037929"/>
                    <a:gd name="connsiteY147" fmla="*/ 1816922 h 1862389"/>
                    <a:gd name="connsiteX148" fmla="*/ 539518 w 1037929"/>
                    <a:gd name="connsiteY148" fmla="*/ 1811870 h 1862389"/>
                    <a:gd name="connsiteX149" fmla="*/ 547096 w 1037929"/>
                    <a:gd name="connsiteY149" fmla="*/ 1809344 h 1862389"/>
                    <a:gd name="connsiteX150" fmla="*/ 569830 w 1037929"/>
                    <a:gd name="connsiteY150" fmla="*/ 1796714 h 1862389"/>
                    <a:gd name="connsiteX151" fmla="*/ 577408 w 1037929"/>
                    <a:gd name="connsiteY151" fmla="*/ 1801766 h 1862389"/>
                    <a:gd name="connsiteX152" fmla="*/ 592564 w 1037929"/>
                    <a:gd name="connsiteY152" fmla="*/ 1791662 h 1862389"/>
                    <a:gd name="connsiteX153" fmla="*/ 597616 w 1037929"/>
                    <a:gd name="connsiteY153" fmla="*/ 1784084 h 1862389"/>
                    <a:gd name="connsiteX154" fmla="*/ 605194 w 1037929"/>
                    <a:gd name="connsiteY154" fmla="*/ 1781558 h 1862389"/>
                    <a:gd name="connsiteX155" fmla="*/ 607720 w 1037929"/>
                    <a:gd name="connsiteY155" fmla="*/ 1771454 h 1862389"/>
                    <a:gd name="connsiteX156" fmla="*/ 615297 w 1037929"/>
                    <a:gd name="connsiteY156" fmla="*/ 1768928 h 1862389"/>
                    <a:gd name="connsiteX157" fmla="*/ 627927 w 1037929"/>
                    <a:gd name="connsiteY157" fmla="*/ 1763876 h 1862389"/>
                    <a:gd name="connsiteX158" fmla="*/ 655713 w 1037929"/>
                    <a:gd name="connsiteY158" fmla="*/ 1743668 h 1862389"/>
                    <a:gd name="connsiteX159" fmla="*/ 688550 w 1037929"/>
                    <a:gd name="connsiteY159" fmla="*/ 1738617 h 1862389"/>
                    <a:gd name="connsiteX160" fmla="*/ 706232 w 1037929"/>
                    <a:gd name="connsiteY160" fmla="*/ 1731039 h 1862389"/>
                    <a:gd name="connsiteX161" fmla="*/ 708758 w 1037929"/>
                    <a:gd name="connsiteY161" fmla="*/ 1720935 h 1862389"/>
                    <a:gd name="connsiteX162" fmla="*/ 716336 w 1037929"/>
                    <a:gd name="connsiteY162" fmla="*/ 1710831 h 1862389"/>
                    <a:gd name="connsiteX163" fmla="*/ 726440 w 1037929"/>
                    <a:gd name="connsiteY163" fmla="*/ 1698201 h 1862389"/>
                    <a:gd name="connsiteX164" fmla="*/ 741596 w 1037929"/>
                    <a:gd name="connsiteY164" fmla="*/ 1680519 h 1862389"/>
                    <a:gd name="connsiteX165" fmla="*/ 754226 w 1037929"/>
                    <a:gd name="connsiteY165" fmla="*/ 1677993 h 1862389"/>
                    <a:gd name="connsiteX166" fmla="*/ 761804 w 1037929"/>
                    <a:gd name="connsiteY166" fmla="*/ 1667889 h 1862389"/>
                    <a:gd name="connsiteX167" fmla="*/ 751700 w 1037929"/>
                    <a:gd name="connsiteY167" fmla="*/ 1652734 h 1862389"/>
                    <a:gd name="connsiteX168" fmla="*/ 751700 w 1037929"/>
                    <a:gd name="connsiteY168" fmla="*/ 1675467 h 1862389"/>
                    <a:gd name="connsiteX169" fmla="*/ 774433 w 1037929"/>
                    <a:gd name="connsiteY169" fmla="*/ 1683045 h 1862389"/>
                    <a:gd name="connsiteX170" fmla="*/ 784537 w 1037929"/>
                    <a:gd name="connsiteY170" fmla="*/ 1675467 h 1862389"/>
                    <a:gd name="connsiteX171" fmla="*/ 792115 w 1037929"/>
                    <a:gd name="connsiteY171" fmla="*/ 1660312 h 1862389"/>
                    <a:gd name="connsiteX172" fmla="*/ 799693 w 1037929"/>
                    <a:gd name="connsiteY172" fmla="*/ 1655260 h 1862389"/>
                    <a:gd name="connsiteX173" fmla="*/ 812323 w 1037929"/>
                    <a:gd name="connsiteY173" fmla="*/ 1657786 h 1862389"/>
                    <a:gd name="connsiteX174" fmla="*/ 822427 w 1037929"/>
                    <a:gd name="connsiteY174" fmla="*/ 1665364 h 1862389"/>
                    <a:gd name="connsiteX175" fmla="*/ 830005 w 1037929"/>
                    <a:gd name="connsiteY175" fmla="*/ 1667889 h 1862389"/>
                    <a:gd name="connsiteX176" fmla="*/ 850212 w 1037929"/>
                    <a:gd name="connsiteY176" fmla="*/ 1632526 h 1862389"/>
                    <a:gd name="connsiteX177" fmla="*/ 865368 w 1037929"/>
                    <a:gd name="connsiteY177" fmla="*/ 1609792 h 1862389"/>
                    <a:gd name="connsiteX178" fmla="*/ 875472 w 1037929"/>
                    <a:gd name="connsiteY178" fmla="*/ 1584533 h 1862389"/>
                    <a:gd name="connsiteX179" fmla="*/ 883050 w 1037929"/>
                    <a:gd name="connsiteY179" fmla="*/ 1576955 h 1862389"/>
                    <a:gd name="connsiteX180" fmla="*/ 888102 w 1037929"/>
                    <a:gd name="connsiteY180" fmla="*/ 1566851 h 1862389"/>
                    <a:gd name="connsiteX181" fmla="*/ 893154 w 1037929"/>
                    <a:gd name="connsiteY181" fmla="*/ 1559273 h 1862389"/>
                    <a:gd name="connsiteX182" fmla="*/ 895680 w 1037929"/>
                    <a:gd name="connsiteY182" fmla="*/ 1551695 h 1862389"/>
                    <a:gd name="connsiteX183" fmla="*/ 900732 w 1037929"/>
                    <a:gd name="connsiteY183" fmla="*/ 1544117 h 1862389"/>
                    <a:gd name="connsiteX184" fmla="*/ 903258 w 1037929"/>
                    <a:gd name="connsiteY184" fmla="*/ 1536539 h 1862389"/>
                    <a:gd name="connsiteX185" fmla="*/ 908310 w 1037929"/>
                    <a:gd name="connsiteY185" fmla="*/ 1528961 h 1862389"/>
                    <a:gd name="connsiteX186" fmla="*/ 925991 w 1037929"/>
                    <a:gd name="connsiteY186" fmla="*/ 1498650 h 1862389"/>
                    <a:gd name="connsiteX187" fmla="*/ 928517 w 1037929"/>
                    <a:gd name="connsiteY187" fmla="*/ 1491072 h 1862389"/>
                    <a:gd name="connsiteX188" fmla="*/ 931043 w 1037929"/>
                    <a:gd name="connsiteY188" fmla="*/ 1480968 h 1862389"/>
                    <a:gd name="connsiteX189" fmla="*/ 946199 w 1037929"/>
                    <a:gd name="connsiteY189" fmla="*/ 1460760 h 1862389"/>
                    <a:gd name="connsiteX190" fmla="*/ 948725 w 1037929"/>
                    <a:gd name="connsiteY190" fmla="*/ 1453182 h 1862389"/>
                    <a:gd name="connsiteX191" fmla="*/ 951251 w 1037929"/>
                    <a:gd name="connsiteY191" fmla="*/ 1440552 h 1862389"/>
                    <a:gd name="connsiteX192" fmla="*/ 958829 w 1037929"/>
                    <a:gd name="connsiteY192" fmla="*/ 1430449 h 1862389"/>
                    <a:gd name="connsiteX193" fmla="*/ 968933 w 1037929"/>
                    <a:gd name="connsiteY193" fmla="*/ 1410241 h 1862389"/>
                    <a:gd name="connsiteX194" fmla="*/ 973985 w 1037929"/>
                    <a:gd name="connsiteY194" fmla="*/ 1397611 h 1862389"/>
                    <a:gd name="connsiteX195" fmla="*/ 979037 w 1037929"/>
                    <a:gd name="connsiteY195" fmla="*/ 1390033 h 1862389"/>
                    <a:gd name="connsiteX196" fmla="*/ 989141 w 1037929"/>
                    <a:gd name="connsiteY196" fmla="*/ 1364773 h 1862389"/>
                    <a:gd name="connsiteX197" fmla="*/ 996718 w 1037929"/>
                    <a:gd name="connsiteY197" fmla="*/ 1344566 h 1862389"/>
                    <a:gd name="connsiteX198" fmla="*/ 1001770 w 1037929"/>
                    <a:gd name="connsiteY198" fmla="*/ 1334462 h 1862389"/>
                    <a:gd name="connsiteX199" fmla="*/ 1004296 w 1037929"/>
                    <a:gd name="connsiteY199" fmla="*/ 1306676 h 1862389"/>
                    <a:gd name="connsiteX200" fmla="*/ 1006822 w 1037929"/>
                    <a:gd name="connsiteY200" fmla="*/ 1299098 h 1862389"/>
                    <a:gd name="connsiteX201" fmla="*/ 1009348 w 1037929"/>
                    <a:gd name="connsiteY201" fmla="*/ 1283943 h 1862389"/>
                    <a:gd name="connsiteX202" fmla="*/ 1014400 w 1037929"/>
                    <a:gd name="connsiteY202" fmla="*/ 1276365 h 1862389"/>
                    <a:gd name="connsiteX203" fmla="*/ 1019452 w 1037929"/>
                    <a:gd name="connsiteY203" fmla="*/ 1266261 h 1862389"/>
                    <a:gd name="connsiteX204" fmla="*/ 1027030 w 1037929"/>
                    <a:gd name="connsiteY204" fmla="*/ 1253631 h 1862389"/>
                    <a:gd name="connsiteX205" fmla="*/ 1029556 w 1037929"/>
                    <a:gd name="connsiteY205" fmla="*/ 1235949 h 1862389"/>
                    <a:gd name="connsiteX206" fmla="*/ 1034608 w 1037929"/>
                    <a:gd name="connsiteY206" fmla="*/ 1220793 h 1862389"/>
                    <a:gd name="connsiteX207" fmla="*/ 1037134 w 1037929"/>
                    <a:gd name="connsiteY207" fmla="*/ 1177852 h 1862389"/>
                    <a:gd name="connsiteX208" fmla="*/ 1027030 w 1037929"/>
                    <a:gd name="connsiteY208" fmla="*/ 1137436 h 1862389"/>
                    <a:gd name="connsiteX209" fmla="*/ 1016926 w 1037929"/>
                    <a:gd name="connsiteY209" fmla="*/ 1134910 h 1862389"/>
                    <a:gd name="connsiteX210" fmla="*/ 999244 w 1037929"/>
                    <a:gd name="connsiteY210" fmla="*/ 1119755 h 1862389"/>
                    <a:gd name="connsiteX211" fmla="*/ 991667 w 1037929"/>
                    <a:gd name="connsiteY211" fmla="*/ 1112177 h 1862389"/>
                    <a:gd name="connsiteX212" fmla="*/ 971459 w 1037929"/>
                    <a:gd name="connsiteY212" fmla="*/ 1097021 h 1862389"/>
                    <a:gd name="connsiteX213" fmla="*/ 961355 w 1037929"/>
                    <a:gd name="connsiteY213" fmla="*/ 1089443 h 1862389"/>
                    <a:gd name="connsiteX214" fmla="*/ 946199 w 1037929"/>
                    <a:gd name="connsiteY214" fmla="*/ 1084391 h 1862389"/>
                    <a:gd name="connsiteX215" fmla="*/ 923465 w 1037929"/>
                    <a:gd name="connsiteY215" fmla="*/ 1079339 h 1862389"/>
                    <a:gd name="connsiteX216" fmla="*/ 910836 w 1037929"/>
                    <a:gd name="connsiteY216" fmla="*/ 1074287 h 1862389"/>
                    <a:gd name="connsiteX217" fmla="*/ 890628 w 1037929"/>
                    <a:gd name="connsiteY217" fmla="*/ 1061657 h 1862389"/>
                    <a:gd name="connsiteX218" fmla="*/ 877998 w 1037929"/>
                    <a:gd name="connsiteY218" fmla="*/ 1046502 h 1862389"/>
                    <a:gd name="connsiteX219" fmla="*/ 880524 w 1037929"/>
                    <a:gd name="connsiteY219" fmla="*/ 1033872 h 1862389"/>
                    <a:gd name="connsiteX220" fmla="*/ 885576 w 1037929"/>
                    <a:gd name="connsiteY220" fmla="*/ 1016190 h 1862389"/>
                    <a:gd name="connsiteX221" fmla="*/ 890628 w 1037929"/>
                    <a:gd name="connsiteY221" fmla="*/ 1008612 h 1862389"/>
                    <a:gd name="connsiteX222" fmla="*/ 850212 w 1037929"/>
                    <a:gd name="connsiteY222" fmla="*/ 940411 h 1862389"/>
                    <a:gd name="connsiteX223" fmla="*/ 837583 w 1037929"/>
                    <a:gd name="connsiteY223" fmla="*/ 937885 h 1862389"/>
                    <a:gd name="connsiteX224" fmla="*/ 827479 w 1037929"/>
                    <a:gd name="connsiteY224" fmla="*/ 877262 h 1862389"/>
                    <a:gd name="connsiteX225" fmla="*/ 814849 w 1037929"/>
                    <a:gd name="connsiteY225" fmla="*/ 874736 h 1862389"/>
                    <a:gd name="connsiteX226" fmla="*/ 799693 w 1037929"/>
                    <a:gd name="connsiteY226" fmla="*/ 862106 h 1862389"/>
                    <a:gd name="connsiteX227" fmla="*/ 779485 w 1037929"/>
                    <a:gd name="connsiteY227" fmla="*/ 859580 h 1862389"/>
                    <a:gd name="connsiteX228" fmla="*/ 776959 w 1037929"/>
                    <a:gd name="connsiteY228" fmla="*/ 849476 h 1862389"/>
                    <a:gd name="connsiteX229" fmla="*/ 774433 w 1037929"/>
                    <a:gd name="connsiteY229" fmla="*/ 841898 h 1862389"/>
                    <a:gd name="connsiteX230" fmla="*/ 789589 w 1037929"/>
                    <a:gd name="connsiteY230" fmla="*/ 811587 h 1862389"/>
                    <a:gd name="connsiteX231" fmla="*/ 782011 w 1037929"/>
                    <a:gd name="connsiteY231" fmla="*/ 798957 h 1862389"/>
                    <a:gd name="connsiteX232" fmla="*/ 761804 w 1037929"/>
                    <a:gd name="connsiteY232" fmla="*/ 783801 h 1862389"/>
                    <a:gd name="connsiteX233" fmla="*/ 766855 w 1037929"/>
                    <a:gd name="connsiteY233" fmla="*/ 713074 h 1862389"/>
                    <a:gd name="connsiteX234" fmla="*/ 779485 w 1037929"/>
                    <a:gd name="connsiteY234" fmla="*/ 708022 h 1862389"/>
                    <a:gd name="connsiteX235" fmla="*/ 782011 w 1037929"/>
                    <a:gd name="connsiteY235" fmla="*/ 697918 h 1862389"/>
                    <a:gd name="connsiteX236" fmla="*/ 774433 w 1037929"/>
                    <a:gd name="connsiteY236" fmla="*/ 695392 h 1862389"/>
                    <a:gd name="connsiteX237" fmla="*/ 761804 w 1037929"/>
                    <a:gd name="connsiteY237" fmla="*/ 692866 h 1862389"/>
                    <a:gd name="connsiteX238" fmla="*/ 754226 w 1037929"/>
                    <a:gd name="connsiteY238" fmla="*/ 685288 h 1862389"/>
                    <a:gd name="connsiteX239" fmla="*/ 741596 w 1037929"/>
                    <a:gd name="connsiteY239" fmla="*/ 660029 h 1862389"/>
                    <a:gd name="connsiteX240" fmla="*/ 731492 w 1037929"/>
                    <a:gd name="connsiteY240" fmla="*/ 649925 h 1862389"/>
                    <a:gd name="connsiteX241" fmla="*/ 723914 w 1037929"/>
                    <a:gd name="connsiteY241" fmla="*/ 637295 h 1862389"/>
                    <a:gd name="connsiteX242" fmla="*/ 711284 w 1037929"/>
                    <a:gd name="connsiteY242" fmla="*/ 619613 h 1862389"/>
                    <a:gd name="connsiteX243" fmla="*/ 696128 w 1037929"/>
                    <a:gd name="connsiteY243" fmla="*/ 601931 h 1862389"/>
                    <a:gd name="connsiteX244" fmla="*/ 686025 w 1037929"/>
                    <a:gd name="connsiteY244" fmla="*/ 589302 h 1862389"/>
                    <a:gd name="connsiteX245" fmla="*/ 678447 w 1037929"/>
                    <a:gd name="connsiteY245" fmla="*/ 581724 h 1862389"/>
                    <a:gd name="connsiteX246" fmla="*/ 665817 w 1037929"/>
                    <a:gd name="connsiteY246" fmla="*/ 558990 h 1862389"/>
                    <a:gd name="connsiteX247" fmla="*/ 645609 w 1037929"/>
                    <a:gd name="connsiteY247" fmla="*/ 533730 h 1862389"/>
                    <a:gd name="connsiteX248" fmla="*/ 632979 w 1037929"/>
                    <a:gd name="connsiteY248" fmla="*/ 518575 h 1862389"/>
                    <a:gd name="connsiteX249" fmla="*/ 630453 w 1037929"/>
                    <a:gd name="connsiteY249" fmla="*/ 505945 h 1862389"/>
                    <a:gd name="connsiteX250" fmla="*/ 635505 w 1037929"/>
                    <a:gd name="connsiteY250" fmla="*/ 468055 h 1862389"/>
                    <a:gd name="connsiteX251" fmla="*/ 638031 w 1037929"/>
                    <a:gd name="connsiteY251" fmla="*/ 452899 h 1862389"/>
                    <a:gd name="connsiteX252" fmla="*/ 645609 w 1037929"/>
                    <a:gd name="connsiteY252" fmla="*/ 440270 h 1862389"/>
                    <a:gd name="connsiteX253" fmla="*/ 648135 w 1037929"/>
                    <a:gd name="connsiteY253" fmla="*/ 430166 h 1862389"/>
                    <a:gd name="connsiteX254" fmla="*/ 653187 w 1037929"/>
                    <a:gd name="connsiteY254" fmla="*/ 387224 h 1862389"/>
                    <a:gd name="connsiteX255" fmla="*/ 650661 w 1037929"/>
                    <a:gd name="connsiteY255" fmla="*/ 369543 h 1862389"/>
                    <a:gd name="connsiteX256" fmla="*/ 632979 w 1037929"/>
                    <a:gd name="connsiteY256" fmla="*/ 359439 h 1862389"/>
                    <a:gd name="connsiteX257" fmla="*/ 625401 w 1037929"/>
                    <a:gd name="connsiteY257" fmla="*/ 349335 h 1862389"/>
                    <a:gd name="connsiteX258" fmla="*/ 620349 w 1037929"/>
                    <a:gd name="connsiteY258" fmla="*/ 341757 h 1862389"/>
                    <a:gd name="connsiteX259" fmla="*/ 612771 w 1037929"/>
                    <a:gd name="connsiteY259" fmla="*/ 339231 h 1862389"/>
                    <a:gd name="connsiteX260" fmla="*/ 605194 w 1037929"/>
                    <a:gd name="connsiteY260" fmla="*/ 334179 h 1862389"/>
                    <a:gd name="connsiteX261" fmla="*/ 595090 w 1037929"/>
                    <a:gd name="connsiteY261" fmla="*/ 316497 h 1862389"/>
                    <a:gd name="connsiteX262" fmla="*/ 587512 w 1037929"/>
                    <a:gd name="connsiteY262" fmla="*/ 311445 h 1862389"/>
                    <a:gd name="connsiteX263" fmla="*/ 531941 w 1037929"/>
                    <a:gd name="connsiteY263" fmla="*/ 311445 h 1862389"/>
                    <a:gd name="connsiteX264" fmla="*/ 529415 w 1037929"/>
                    <a:gd name="connsiteY264" fmla="*/ 301341 h 1862389"/>
                    <a:gd name="connsiteX265" fmla="*/ 521837 w 1037929"/>
                    <a:gd name="connsiteY265" fmla="*/ 276082 h 1862389"/>
                    <a:gd name="connsiteX266" fmla="*/ 519311 w 1037929"/>
                    <a:gd name="connsiteY266" fmla="*/ 255874 h 1862389"/>
                    <a:gd name="connsiteX267" fmla="*/ 516785 w 1037929"/>
                    <a:gd name="connsiteY267" fmla="*/ 245770 h 1862389"/>
                    <a:gd name="connsiteX268" fmla="*/ 514259 w 1037929"/>
                    <a:gd name="connsiteY268" fmla="*/ 197777 h 1862389"/>
                    <a:gd name="connsiteX269" fmla="*/ 506681 w 1037929"/>
                    <a:gd name="connsiteY269" fmla="*/ 195251 h 1862389"/>
                    <a:gd name="connsiteX270" fmla="*/ 499103 w 1037929"/>
                    <a:gd name="connsiteY270" fmla="*/ 187673 h 1862389"/>
                    <a:gd name="connsiteX271" fmla="*/ 509207 w 1037929"/>
                    <a:gd name="connsiteY271" fmla="*/ 149783 h 1862389"/>
                    <a:gd name="connsiteX272" fmla="*/ 504155 w 1037929"/>
                    <a:gd name="connsiteY272" fmla="*/ 129576 h 1862389"/>
                    <a:gd name="connsiteX273" fmla="*/ 501629 w 1037929"/>
                    <a:gd name="connsiteY273" fmla="*/ 61375 h 1862389"/>
                    <a:gd name="connsiteX274" fmla="*/ 494051 w 1037929"/>
                    <a:gd name="connsiteY274" fmla="*/ 58849 h 1862389"/>
                    <a:gd name="connsiteX275" fmla="*/ 483947 w 1037929"/>
                    <a:gd name="connsiteY275" fmla="*/ 53797 h 1862389"/>
                    <a:gd name="connsiteX276" fmla="*/ 451110 w 1037929"/>
                    <a:gd name="connsiteY276" fmla="*/ 48745 h 1862389"/>
                    <a:gd name="connsiteX277" fmla="*/ 430902 w 1037929"/>
                    <a:gd name="connsiteY277" fmla="*/ 36115 h 1862389"/>
                    <a:gd name="connsiteX278" fmla="*/ 410694 w 1037929"/>
                    <a:gd name="connsiteY278" fmla="*/ 18433 h 1862389"/>
                    <a:gd name="connsiteX279" fmla="*/ 400584 w 1037929"/>
                    <a:gd name="connsiteY279" fmla="*/ 3920 h 1862389"/>
                    <a:gd name="connsiteX280" fmla="*/ 389220 w 1037929"/>
                    <a:gd name="connsiteY280" fmla="*/ 767 h 1862389"/>
                    <a:gd name="connsiteX281" fmla="*/ 350071 w 1037929"/>
                    <a:gd name="connsiteY281" fmla="*/ 15907 h 1862389"/>
                    <a:gd name="connsiteX282" fmla="*/ 352597 w 1037929"/>
                    <a:gd name="connsiteY282" fmla="*/ 5803 h 1862389"/>
                    <a:gd name="connsiteX283" fmla="*/ 362701 w 1037929"/>
                    <a:gd name="connsiteY283" fmla="*/ 8329 h 1862389"/>
                    <a:gd name="connsiteX284" fmla="*/ 350071 w 1037929"/>
                    <a:gd name="connsiteY284" fmla="*/ 43693 h 1862389"/>
                    <a:gd name="connsiteX285" fmla="*/ 347545 w 1037929"/>
                    <a:gd name="connsiteY285" fmla="*/ 53797 h 1862389"/>
                    <a:gd name="connsiteX286" fmla="*/ 339967 w 1037929"/>
                    <a:gd name="connsiteY286" fmla="*/ 56323 h 1862389"/>
                    <a:gd name="connsiteX287" fmla="*/ 324811 w 1037929"/>
                    <a:gd name="connsiteY287" fmla="*/ 53797 h 1862389"/>
                    <a:gd name="connsiteX288" fmla="*/ 307129 w 1037929"/>
                    <a:gd name="connsiteY288" fmla="*/ 51271 h 1862389"/>
                    <a:gd name="connsiteX289" fmla="*/ 297026 w 1037929"/>
                    <a:gd name="connsiteY289" fmla="*/ 48745 h 1862389"/>
                    <a:gd name="connsiteX290" fmla="*/ 289448 w 1037929"/>
                    <a:gd name="connsiteY290" fmla="*/ 51271 h 1862389"/>
                    <a:gd name="connsiteX291" fmla="*/ 291974 w 1037929"/>
                    <a:gd name="connsiteY291" fmla="*/ 68952 h 1862389"/>
                    <a:gd name="connsiteX292" fmla="*/ 297026 w 1037929"/>
                    <a:gd name="connsiteY292" fmla="*/ 91686 h 1862389"/>
                    <a:gd name="connsiteX293" fmla="*/ 294500 w 1037929"/>
                    <a:gd name="connsiteY293" fmla="*/ 129576 h 1862389"/>
                    <a:gd name="connsiteX294" fmla="*/ 291974 w 1037929"/>
                    <a:gd name="connsiteY294" fmla="*/ 137154 h 1862389"/>
                    <a:gd name="connsiteX295" fmla="*/ 289448 w 1037929"/>
                    <a:gd name="connsiteY295" fmla="*/ 152309 h 1862389"/>
                    <a:gd name="connsiteX296" fmla="*/ 302078 w 1037929"/>
                    <a:gd name="connsiteY296" fmla="*/ 205355 h 1862389"/>
                    <a:gd name="connsiteX297" fmla="*/ 309655 w 1037929"/>
                    <a:gd name="connsiteY297" fmla="*/ 207881 h 1862389"/>
                    <a:gd name="connsiteX298" fmla="*/ 297026 w 1037929"/>
                    <a:gd name="connsiteY298" fmla="*/ 245770 h 1862389"/>
                    <a:gd name="connsiteX299" fmla="*/ 284396 w 1037929"/>
                    <a:gd name="connsiteY299" fmla="*/ 288712 h 1862389"/>
                    <a:gd name="connsiteX300" fmla="*/ 281870 w 1037929"/>
                    <a:gd name="connsiteY300" fmla="*/ 303867 h 1862389"/>
                    <a:gd name="connsiteX301" fmla="*/ 264188 w 1037929"/>
                    <a:gd name="connsiteY301" fmla="*/ 298815 h 1862389"/>
                    <a:gd name="connsiteX302" fmla="*/ 256610 w 1037929"/>
                    <a:gd name="connsiteY302" fmla="*/ 291238 h 1862389"/>
                    <a:gd name="connsiteX303" fmla="*/ 249032 w 1037929"/>
                    <a:gd name="connsiteY303" fmla="*/ 286186 h 1862389"/>
                    <a:gd name="connsiteX304" fmla="*/ 243980 w 1037929"/>
                    <a:gd name="connsiteY304" fmla="*/ 278608 h 1862389"/>
                    <a:gd name="connsiteX305" fmla="*/ 241454 w 1037929"/>
                    <a:gd name="connsiteY305" fmla="*/ 271030 h 1862389"/>
                    <a:gd name="connsiteX306" fmla="*/ 231350 w 1037929"/>
                    <a:gd name="connsiteY306" fmla="*/ 268504 h 1862389"/>
                    <a:gd name="connsiteX307" fmla="*/ 221247 w 1037929"/>
                    <a:gd name="connsiteY307" fmla="*/ 268024 h 1862389"/>
                    <a:gd name="connsiteX308" fmla="*/ 198513 w 1037929"/>
                    <a:gd name="connsiteY308" fmla="*/ 268504 h 1862389"/>
                    <a:gd name="connsiteX309" fmla="*/ 195987 w 1037929"/>
                    <a:gd name="connsiteY309" fmla="*/ 281134 h 1862389"/>
                    <a:gd name="connsiteX310" fmla="*/ 177074 w 1037929"/>
                    <a:gd name="connsiteY310" fmla="*/ 279767 h 1862389"/>
                    <a:gd name="connsiteX311" fmla="*/ 147994 w 1037929"/>
                    <a:gd name="connsiteY311" fmla="*/ 306393 h 1862389"/>
                    <a:gd name="connsiteX312" fmla="*/ 94948 w 1037929"/>
                    <a:gd name="connsiteY312" fmla="*/ 291238 h 1862389"/>
                    <a:gd name="connsiteX313" fmla="*/ 89896 w 1037929"/>
                    <a:gd name="connsiteY313" fmla="*/ 283660 h 1862389"/>
                    <a:gd name="connsiteX314" fmla="*/ 87370 w 1037929"/>
                    <a:gd name="connsiteY314" fmla="*/ 273556 h 1862389"/>
                    <a:gd name="connsiteX315" fmla="*/ 84844 w 1037929"/>
                    <a:gd name="connsiteY315" fmla="*/ 265978 h 1862389"/>
                    <a:gd name="connsiteX316" fmla="*/ 72215 w 1037929"/>
                    <a:gd name="connsiteY316" fmla="*/ 260926 h 1862389"/>
                    <a:gd name="connsiteX317" fmla="*/ 54533 w 1037929"/>
                    <a:gd name="connsiteY317" fmla="*/ 240718 h 1862389"/>
                    <a:gd name="connsiteX318" fmla="*/ 44429 w 1037929"/>
                    <a:gd name="connsiteY318" fmla="*/ 235666 h 1862389"/>
                    <a:gd name="connsiteX319" fmla="*/ 29273 w 1037929"/>
                    <a:gd name="connsiteY319" fmla="*/ 228088 h 1862389"/>
                    <a:gd name="connsiteX320" fmla="*/ 21695 w 1037929"/>
                    <a:gd name="connsiteY320" fmla="*/ 220510 h 1862389"/>
                    <a:gd name="connsiteX321" fmla="*/ 6539 w 1037929"/>
                    <a:gd name="connsiteY321" fmla="*/ 240718 h 1862389"/>
                    <a:gd name="connsiteX322" fmla="*/ 256 w 1037929"/>
                    <a:gd name="connsiteY322" fmla="*/ 258536 h 1862389"/>
                    <a:gd name="connsiteX0" fmla="*/ 256 w 1037929"/>
                    <a:gd name="connsiteY0" fmla="*/ 258536 h 1862389"/>
                    <a:gd name="connsiteX1" fmla="*/ 1487 w 1037929"/>
                    <a:gd name="connsiteY1" fmla="*/ 268504 h 1862389"/>
                    <a:gd name="connsiteX2" fmla="*/ 4013 w 1037929"/>
                    <a:gd name="connsiteY2" fmla="*/ 276082 h 1862389"/>
                    <a:gd name="connsiteX3" fmla="*/ 29273 w 1037929"/>
                    <a:gd name="connsiteY3" fmla="*/ 291238 h 1862389"/>
                    <a:gd name="connsiteX4" fmla="*/ 36851 w 1037929"/>
                    <a:gd name="connsiteY4" fmla="*/ 301341 h 1862389"/>
                    <a:gd name="connsiteX5" fmla="*/ 44429 w 1037929"/>
                    <a:gd name="connsiteY5" fmla="*/ 308919 h 1862389"/>
                    <a:gd name="connsiteX6" fmla="*/ 59585 w 1037929"/>
                    <a:gd name="connsiteY6" fmla="*/ 329127 h 1862389"/>
                    <a:gd name="connsiteX7" fmla="*/ 64637 w 1037929"/>
                    <a:gd name="connsiteY7" fmla="*/ 336705 h 1862389"/>
                    <a:gd name="connsiteX8" fmla="*/ 72215 w 1037929"/>
                    <a:gd name="connsiteY8" fmla="*/ 344283 h 1862389"/>
                    <a:gd name="connsiteX9" fmla="*/ 74741 w 1037929"/>
                    <a:gd name="connsiteY9" fmla="*/ 351861 h 1862389"/>
                    <a:gd name="connsiteX10" fmla="*/ 132838 w 1037929"/>
                    <a:gd name="connsiteY10" fmla="*/ 364491 h 1862389"/>
                    <a:gd name="connsiteX11" fmla="*/ 150520 w 1037929"/>
                    <a:gd name="connsiteY11" fmla="*/ 372068 h 1862389"/>
                    <a:gd name="connsiteX12" fmla="*/ 160623 w 1037929"/>
                    <a:gd name="connsiteY12" fmla="*/ 382172 h 1862389"/>
                    <a:gd name="connsiteX13" fmla="*/ 165675 w 1037929"/>
                    <a:gd name="connsiteY13" fmla="*/ 397328 h 1862389"/>
                    <a:gd name="connsiteX14" fmla="*/ 183357 w 1037929"/>
                    <a:gd name="connsiteY14" fmla="*/ 404906 h 1862389"/>
                    <a:gd name="connsiteX15" fmla="*/ 190935 w 1037929"/>
                    <a:gd name="connsiteY15" fmla="*/ 409958 h 1862389"/>
                    <a:gd name="connsiteX16" fmla="*/ 203565 w 1037929"/>
                    <a:gd name="connsiteY16" fmla="*/ 425114 h 1862389"/>
                    <a:gd name="connsiteX17" fmla="*/ 213669 w 1037929"/>
                    <a:gd name="connsiteY17" fmla="*/ 427640 h 1862389"/>
                    <a:gd name="connsiteX18" fmla="*/ 221247 w 1037929"/>
                    <a:gd name="connsiteY18" fmla="*/ 430166 h 1862389"/>
                    <a:gd name="connsiteX19" fmla="*/ 213669 w 1037929"/>
                    <a:gd name="connsiteY19" fmla="*/ 432692 h 1862389"/>
                    <a:gd name="connsiteX20" fmla="*/ 213669 w 1037929"/>
                    <a:gd name="connsiteY20" fmla="*/ 452899 h 1862389"/>
                    <a:gd name="connsiteX21" fmla="*/ 216195 w 1037929"/>
                    <a:gd name="connsiteY21" fmla="*/ 460477 h 1862389"/>
                    <a:gd name="connsiteX22" fmla="*/ 223773 w 1037929"/>
                    <a:gd name="connsiteY22" fmla="*/ 468055 h 1862389"/>
                    <a:gd name="connsiteX23" fmla="*/ 226299 w 1037929"/>
                    <a:gd name="connsiteY23" fmla="*/ 498367 h 1862389"/>
                    <a:gd name="connsiteX24" fmla="*/ 228825 w 1037929"/>
                    <a:gd name="connsiteY24" fmla="*/ 516049 h 1862389"/>
                    <a:gd name="connsiteX25" fmla="*/ 241454 w 1037929"/>
                    <a:gd name="connsiteY25" fmla="*/ 526152 h 1862389"/>
                    <a:gd name="connsiteX26" fmla="*/ 249032 w 1037929"/>
                    <a:gd name="connsiteY26" fmla="*/ 523626 h 1862389"/>
                    <a:gd name="connsiteX27" fmla="*/ 249032 w 1037929"/>
                    <a:gd name="connsiteY27" fmla="*/ 543834 h 1862389"/>
                    <a:gd name="connsiteX28" fmla="*/ 241454 w 1037929"/>
                    <a:gd name="connsiteY28" fmla="*/ 546360 h 1862389"/>
                    <a:gd name="connsiteX29" fmla="*/ 236402 w 1037929"/>
                    <a:gd name="connsiteY29" fmla="*/ 553938 h 1862389"/>
                    <a:gd name="connsiteX30" fmla="*/ 246506 w 1037929"/>
                    <a:gd name="connsiteY30" fmla="*/ 561516 h 1862389"/>
                    <a:gd name="connsiteX31" fmla="*/ 249032 w 1037929"/>
                    <a:gd name="connsiteY31" fmla="*/ 579198 h 1862389"/>
                    <a:gd name="connsiteX32" fmla="*/ 264188 w 1037929"/>
                    <a:gd name="connsiteY32" fmla="*/ 601931 h 1862389"/>
                    <a:gd name="connsiteX33" fmla="*/ 271766 w 1037929"/>
                    <a:gd name="connsiteY33" fmla="*/ 619613 h 1862389"/>
                    <a:gd name="connsiteX34" fmla="*/ 274292 w 1037929"/>
                    <a:gd name="connsiteY34" fmla="*/ 637295 h 1862389"/>
                    <a:gd name="connsiteX35" fmla="*/ 281870 w 1037929"/>
                    <a:gd name="connsiteY35" fmla="*/ 644873 h 1862389"/>
                    <a:gd name="connsiteX36" fmla="*/ 286922 w 1037929"/>
                    <a:gd name="connsiteY36" fmla="*/ 705496 h 1862389"/>
                    <a:gd name="connsiteX37" fmla="*/ 291974 w 1037929"/>
                    <a:gd name="connsiteY37" fmla="*/ 723178 h 1862389"/>
                    <a:gd name="connsiteX38" fmla="*/ 294500 w 1037929"/>
                    <a:gd name="connsiteY38" fmla="*/ 735808 h 1862389"/>
                    <a:gd name="connsiteX39" fmla="*/ 302078 w 1037929"/>
                    <a:gd name="connsiteY39" fmla="*/ 758541 h 1862389"/>
                    <a:gd name="connsiteX40" fmla="*/ 304604 w 1037929"/>
                    <a:gd name="connsiteY40" fmla="*/ 766119 h 1862389"/>
                    <a:gd name="connsiteX41" fmla="*/ 322285 w 1037929"/>
                    <a:gd name="connsiteY41" fmla="*/ 793905 h 1862389"/>
                    <a:gd name="connsiteX42" fmla="*/ 334915 w 1037929"/>
                    <a:gd name="connsiteY42" fmla="*/ 811587 h 1862389"/>
                    <a:gd name="connsiteX43" fmla="*/ 347545 w 1037929"/>
                    <a:gd name="connsiteY43" fmla="*/ 809061 h 1862389"/>
                    <a:gd name="connsiteX44" fmla="*/ 357649 w 1037929"/>
                    <a:gd name="connsiteY44" fmla="*/ 778749 h 1862389"/>
                    <a:gd name="connsiteX45" fmla="*/ 365227 w 1037929"/>
                    <a:gd name="connsiteY45" fmla="*/ 776223 h 1862389"/>
                    <a:gd name="connsiteX46" fmla="*/ 372805 w 1037929"/>
                    <a:gd name="connsiteY46" fmla="*/ 771171 h 1862389"/>
                    <a:gd name="connsiteX47" fmla="*/ 365227 w 1037929"/>
                    <a:gd name="connsiteY47" fmla="*/ 781275 h 1862389"/>
                    <a:gd name="connsiteX48" fmla="*/ 367753 w 1037929"/>
                    <a:gd name="connsiteY48" fmla="*/ 804009 h 1862389"/>
                    <a:gd name="connsiteX49" fmla="*/ 395538 w 1037929"/>
                    <a:gd name="connsiteY49" fmla="*/ 811587 h 1862389"/>
                    <a:gd name="connsiteX50" fmla="*/ 410694 w 1037929"/>
                    <a:gd name="connsiteY50" fmla="*/ 816639 h 1862389"/>
                    <a:gd name="connsiteX51" fmla="*/ 420798 w 1037929"/>
                    <a:gd name="connsiteY51" fmla="*/ 826743 h 1862389"/>
                    <a:gd name="connsiteX52" fmla="*/ 433428 w 1037929"/>
                    <a:gd name="connsiteY52" fmla="*/ 846950 h 1862389"/>
                    <a:gd name="connsiteX53" fmla="*/ 438480 w 1037929"/>
                    <a:gd name="connsiteY53" fmla="*/ 869684 h 1862389"/>
                    <a:gd name="connsiteX54" fmla="*/ 446058 w 1037929"/>
                    <a:gd name="connsiteY54" fmla="*/ 879788 h 1862389"/>
                    <a:gd name="connsiteX55" fmla="*/ 448584 w 1037929"/>
                    <a:gd name="connsiteY55" fmla="*/ 907573 h 1862389"/>
                    <a:gd name="connsiteX56" fmla="*/ 451110 w 1037929"/>
                    <a:gd name="connsiteY56" fmla="*/ 920203 h 1862389"/>
                    <a:gd name="connsiteX57" fmla="*/ 461213 w 1037929"/>
                    <a:gd name="connsiteY57" fmla="*/ 925255 h 1862389"/>
                    <a:gd name="connsiteX58" fmla="*/ 466265 w 1037929"/>
                    <a:gd name="connsiteY58" fmla="*/ 950515 h 1862389"/>
                    <a:gd name="connsiteX59" fmla="*/ 456162 w 1037929"/>
                    <a:gd name="connsiteY59" fmla="*/ 945463 h 1862389"/>
                    <a:gd name="connsiteX60" fmla="*/ 451110 w 1037929"/>
                    <a:gd name="connsiteY60" fmla="*/ 937885 h 1862389"/>
                    <a:gd name="connsiteX61" fmla="*/ 428783 w 1037929"/>
                    <a:gd name="connsiteY61" fmla="*/ 947649 h 1862389"/>
                    <a:gd name="connsiteX62" fmla="*/ 425850 w 1037929"/>
                    <a:gd name="connsiteY62" fmla="*/ 925255 h 1862389"/>
                    <a:gd name="connsiteX63" fmla="*/ 400590 w 1037929"/>
                    <a:gd name="connsiteY63" fmla="*/ 930307 h 1862389"/>
                    <a:gd name="connsiteX64" fmla="*/ 425714 w 1037929"/>
                    <a:gd name="connsiteY64" fmla="*/ 947989 h 1862389"/>
                    <a:gd name="connsiteX65" fmla="*/ 410694 w 1037929"/>
                    <a:gd name="connsiteY65" fmla="*/ 975775 h 1862389"/>
                    <a:gd name="connsiteX66" fmla="*/ 408168 w 1037929"/>
                    <a:gd name="connsiteY66" fmla="*/ 985878 h 1862389"/>
                    <a:gd name="connsiteX67" fmla="*/ 405642 w 1037929"/>
                    <a:gd name="connsiteY67" fmla="*/ 1016190 h 1862389"/>
                    <a:gd name="connsiteX68" fmla="*/ 398064 w 1037929"/>
                    <a:gd name="connsiteY68" fmla="*/ 1023768 h 1862389"/>
                    <a:gd name="connsiteX69" fmla="*/ 385434 w 1037929"/>
                    <a:gd name="connsiteY69" fmla="*/ 1049028 h 1862389"/>
                    <a:gd name="connsiteX70" fmla="*/ 380383 w 1037929"/>
                    <a:gd name="connsiteY70" fmla="*/ 1064183 h 1862389"/>
                    <a:gd name="connsiteX71" fmla="*/ 372805 w 1037929"/>
                    <a:gd name="connsiteY71" fmla="*/ 1079339 h 1862389"/>
                    <a:gd name="connsiteX72" fmla="*/ 370279 w 1037929"/>
                    <a:gd name="connsiteY72" fmla="*/ 1099547 h 1862389"/>
                    <a:gd name="connsiteX73" fmla="*/ 350071 w 1037929"/>
                    <a:gd name="connsiteY73" fmla="*/ 1122281 h 1862389"/>
                    <a:gd name="connsiteX74" fmla="*/ 332389 w 1037929"/>
                    <a:gd name="connsiteY74" fmla="*/ 1155118 h 1862389"/>
                    <a:gd name="connsiteX75" fmla="*/ 322285 w 1037929"/>
                    <a:gd name="connsiteY75" fmla="*/ 1170274 h 1862389"/>
                    <a:gd name="connsiteX76" fmla="*/ 314707 w 1037929"/>
                    <a:gd name="connsiteY76" fmla="*/ 1157644 h 1862389"/>
                    <a:gd name="connsiteX77" fmla="*/ 312181 w 1037929"/>
                    <a:gd name="connsiteY77" fmla="*/ 1150066 h 1862389"/>
                    <a:gd name="connsiteX78" fmla="*/ 302078 w 1037929"/>
                    <a:gd name="connsiteY78" fmla="*/ 1162696 h 1862389"/>
                    <a:gd name="connsiteX79" fmla="*/ 304604 w 1037929"/>
                    <a:gd name="connsiteY79" fmla="*/ 1198060 h 1862389"/>
                    <a:gd name="connsiteX80" fmla="*/ 312181 w 1037929"/>
                    <a:gd name="connsiteY80" fmla="*/ 1200586 h 1862389"/>
                    <a:gd name="connsiteX81" fmla="*/ 299552 w 1037929"/>
                    <a:gd name="connsiteY81" fmla="*/ 1203112 h 1862389"/>
                    <a:gd name="connsiteX82" fmla="*/ 294500 w 1037929"/>
                    <a:gd name="connsiteY82" fmla="*/ 1205638 h 1862389"/>
                    <a:gd name="connsiteX83" fmla="*/ 286922 w 1037929"/>
                    <a:gd name="connsiteY83" fmla="*/ 1210689 h 1862389"/>
                    <a:gd name="connsiteX84" fmla="*/ 281870 w 1037929"/>
                    <a:gd name="connsiteY84" fmla="*/ 1218267 h 1862389"/>
                    <a:gd name="connsiteX85" fmla="*/ 279344 w 1037929"/>
                    <a:gd name="connsiteY85" fmla="*/ 1233423 h 1862389"/>
                    <a:gd name="connsiteX86" fmla="*/ 276818 w 1037929"/>
                    <a:gd name="connsiteY86" fmla="*/ 1243527 h 1862389"/>
                    <a:gd name="connsiteX87" fmla="*/ 284396 w 1037929"/>
                    <a:gd name="connsiteY87" fmla="*/ 1246053 h 1862389"/>
                    <a:gd name="connsiteX88" fmla="*/ 284396 w 1037929"/>
                    <a:gd name="connsiteY88" fmla="*/ 1266261 h 1862389"/>
                    <a:gd name="connsiteX89" fmla="*/ 249032 w 1037929"/>
                    <a:gd name="connsiteY89" fmla="*/ 1278891 h 1862389"/>
                    <a:gd name="connsiteX90" fmla="*/ 241454 w 1037929"/>
                    <a:gd name="connsiteY90" fmla="*/ 1281417 h 1862389"/>
                    <a:gd name="connsiteX91" fmla="*/ 233876 w 1037929"/>
                    <a:gd name="connsiteY91" fmla="*/ 1286468 h 1862389"/>
                    <a:gd name="connsiteX92" fmla="*/ 218721 w 1037929"/>
                    <a:gd name="connsiteY92" fmla="*/ 1294046 h 1862389"/>
                    <a:gd name="connsiteX93" fmla="*/ 228825 w 1037929"/>
                    <a:gd name="connsiteY93" fmla="*/ 1299098 h 1862389"/>
                    <a:gd name="connsiteX94" fmla="*/ 223773 w 1037929"/>
                    <a:gd name="connsiteY94" fmla="*/ 1339514 h 1862389"/>
                    <a:gd name="connsiteX95" fmla="*/ 218721 w 1037929"/>
                    <a:gd name="connsiteY95" fmla="*/ 1347092 h 1862389"/>
                    <a:gd name="connsiteX96" fmla="*/ 213669 w 1037929"/>
                    <a:gd name="connsiteY96" fmla="*/ 1359722 h 1862389"/>
                    <a:gd name="connsiteX97" fmla="*/ 208617 w 1037929"/>
                    <a:gd name="connsiteY97" fmla="*/ 1367299 h 1862389"/>
                    <a:gd name="connsiteX98" fmla="*/ 203565 w 1037929"/>
                    <a:gd name="connsiteY98" fmla="*/ 1377403 h 1862389"/>
                    <a:gd name="connsiteX99" fmla="*/ 211143 w 1037929"/>
                    <a:gd name="connsiteY99" fmla="*/ 1400137 h 1862389"/>
                    <a:gd name="connsiteX100" fmla="*/ 216195 w 1037929"/>
                    <a:gd name="connsiteY100" fmla="*/ 1407715 h 1862389"/>
                    <a:gd name="connsiteX101" fmla="*/ 218721 w 1037929"/>
                    <a:gd name="connsiteY101" fmla="*/ 1417819 h 1862389"/>
                    <a:gd name="connsiteX102" fmla="*/ 228825 w 1037929"/>
                    <a:gd name="connsiteY102" fmla="*/ 1438026 h 1862389"/>
                    <a:gd name="connsiteX103" fmla="*/ 231350 w 1037929"/>
                    <a:gd name="connsiteY103" fmla="*/ 1445604 h 1862389"/>
                    <a:gd name="connsiteX104" fmla="*/ 241454 w 1037929"/>
                    <a:gd name="connsiteY104" fmla="*/ 1463286 h 1862389"/>
                    <a:gd name="connsiteX105" fmla="*/ 246506 w 1037929"/>
                    <a:gd name="connsiteY105" fmla="*/ 1475916 h 1862389"/>
                    <a:gd name="connsiteX106" fmla="*/ 246506 w 1037929"/>
                    <a:gd name="connsiteY106" fmla="*/ 1513806 h 1862389"/>
                    <a:gd name="connsiteX107" fmla="*/ 256610 w 1037929"/>
                    <a:gd name="connsiteY107" fmla="*/ 1516331 h 1862389"/>
                    <a:gd name="connsiteX108" fmla="*/ 264188 w 1037929"/>
                    <a:gd name="connsiteY108" fmla="*/ 1526435 h 1862389"/>
                    <a:gd name="connsiteX109" fmla="*/ 269240 w 1037929"/>
                    <a:gd name="connsiteY109" fmla="*/ 1534013 h 1862389"/>
                    <a:gd name="connsiteX110" fmla="*/ 279344 w 1037929"/>
                    <a:gd name="connsiteY110" fmla="*/ 1561799 h 1862389"/>
                    <a:gd name="connsiteX111" fmla="*/ 284396 w 1037929"/>
                    <a:gd name="connsiteY111" fmla="*/ 1589585 h 1862389"/>
                    <a:gd name="connsiteX112" fmla="*/ 281870 w 1037929"/>
                    <a:gd name="connsiteY112" fmla="*/ 1597162 h 1862389"/>
                    <a:gd name="connsiteX113" fmla="*/ 281870 w 1037929"/>
                    <a:gd name="connsiteY113" fmla="*/ 1677993 h 1862389"/>
                    <a:gd name="connsiteX114" fmla="*/ 284396 w 1037929"/>
                    <a:gd name="connsiteY114" fmla="*/ 1703253 h 1862389"/>
                    <a:gd name="connsiteX115" fmla="*/ 297026 w 1037929"/>
                    <a:gd name="connsiteY115" fmla="*/ 1705779 h 1862389"/>
                    <a:gd name="connsiteX116" fmla="*/ 289448 w 1037929"/>
                    <a:gd name="connsiteY116" fmla="*/ 1713357 h 1862389"/>
                    <a:gd name="connsiteX117" fmla="*/ 294500 w 1037929"/>
                    <a:gd name="connsiteY117" fmla="*/ 1720935 h 1862389"/>
                    <a:gd name="connsiteX118" fmla="*/ 297026 w 1037929"/>
                    <a:gd name="connsiteY118" fmla="*/ 1728513 h 1862389"/>
                    <a:gd name="connsiteX119" fmla="*/ 294500 w 1037929"/>
                    <a:gd name="connsiteY119" fmla="*/ 1763876 h 1862389"/>
                    <a:gd name="connsiteX120" fmla="*/ 322285 w 1037929"/>
                    <a:gd name="connsiteY120" fmla="*/ 1758824 h 1862389"/>
                    <a:gd name="connsiteX121" fmla="*/ 329863 w 1037929"/>
                    <a:gd name="connsiteY121" fmla="*/ 1761350 h 1862389"/>
                    <a:gd name="connsiteX122" fmla="*/ 334915 w 1037929"/>
                    <a:gd name="connsiteY122" fmla="*/ 1779032 h 1862389"/>
                    <a:gd name="connsiteX123" fmla="*/ 355123 w 1037929"/>
                    <a:gd name="connsiteY123" fmla="*/ 1784084 h 1862389"/>
                    <a:gd name="connsiteX124" fmla="*/ 357649 w 1037929"/>
                    <a:gd name="connsiteY124" fmla="*/ 1794188 h 1862389"/>
                    <a:gd name="connsiteX125" fmla="*/ 380383 w 1037929"/>
                    <a:gd name="connsiteY125" fmla="*/ 1789136 h 1862389"/>
                    <a:gd name="connsiteX126" fmla="*/ 393012 w 1037929"/>
                    <a:gd name="connsiteY126" fmla="*/ 1779032 h 1862389"/>
                    <a:gd name="connsiteX127" fmla="*/ 390486 w 1037929"/>
                    <a:gd name="connsiteY127" fmla="*/ 1786610 h 1862389"/>
                    <a:gd name="connsiteX128" fmla="*/ 385434 w 1037929"/>
                    <a:gd name="connsiteY128" fmla="*/ 1799240 h 1862389"/>
                    <a:gd name="connsiteX129" fmla="*/ 393012 w 1037929"/>
                    <a:gd name="connsiteY129" fmla="*/ 1801766 h 1862389"/>
                    <a:gd name="connsiteX130" fmla="*/ 403116 w 1037929"/>
                    <a:gd name="connsiteY130" fmla="*/ 1799240 h 1862389"/>
                    <a:gd name="connsiteX131" fmla="*/ 418272 w 1037929"/>
                    <a:gd name="connsiteY131" fmla="*/ 1796714 h 1862389"/>
                    <a:gd name="connsiteX132" fmla="*/ 428376 w 1037929"/>
                    <a:gd name="connsiteY132" fmla="*/ 1809344 h 1862389"/>
                    <a:gd name="connsiteX133" fmla="*/ 443532 w 1037929"/>
                    <a:gd name="connsiteY133" fmla="*/ 1799240 h 1862389"/>
                    <a:gd name="connsiteX134" fmla="*/ 438480 w 1037929"/>
                    <a:gd name="connsiteY134" fmla="*/ 1811870 h 1862389"/>
                    <a:gd name="connsiteX135" fmla="*/ 428376 w 1037929"/>
                    <a:gd name="connsiteY135" fmla="*/ 1821973 h 1862389"/>
                    <a:gd name="connsiteX136" fmla="*/ 433428 w 1037929"/>
                    <a:gd name="connsiteY136" fmla="*/ 1824499 h 1862389"/>
                    <a:gd name="connsiteX137" fmla="*/ 451110 w 1037929"/>
                    <a:gd name="connsiteY137" fmla="*/ 1821973 h 1862389"/>
                    <a:gd name="connsiteX138" fmla="*/ 456162 w 1037929"/>
                    <a:gd name="connsiteY138" fmla="*/ 1829551 h 1862389"/>
                    <a:gd name="connsiteX139" fmla="*/ 478895 w 1037929"/>
                    <a:gd name="connsiteY139" fmla="*/ 1852285 h 1862389"/>
                    <a:gd name="connsiteX140" fmla="*/ 471317 w 1037929"/>
                    <a:gd name="connsiteY140" fmla="*/ 1854811 h 1862389"/>
                    <a:gd name="connsiteX141" fmla="*/ 461213 w 1037929"/>
                    <a:gd name="connsiteY141" fmla="*/ 1857337 h 1862389"/>
                    <a:gd name="connsiteX142" fmla="*/ 476369 w 1037929"/>
                    <a:gd name="connsiteY142" fmla="*/ 1862389 h 1862389"/>
                    <a:gd name="connsiteX143" fmla="*/ 486473 w 1037929"/>
                    <a:gd name="connsiteY143" fmla="*/ 1854811 h 1862389"/>
                    <a:gd name="connsiteX144" fmla="*/ 488999 w 1037929"/>
                    <a:gd name="connsiteY144" fmla="*/ 1842181 h 1862389"/>
                    <a:gd name="connsiteX145" fmla="*/ 491525 w 1037929"/>
                    <a:gd name="connsiteY145" fmla="*/ 1834603 h 1862389"/>
                    <a:gd name="connsiteX146" fmla="*/ 511733 w 1037929"/>
                    <a:gd name="connsiteY146" fmla="*/ 1827025 h 1862389"/>
                    <a:gd name="connsiteX147" fmla="*/ 521837 w 1037929"/>
                    <a:gd name="connsiteY147" fmla="*/ 1816922 h 1862389"/>
                    <a:gd name="connsiteX148" fmla="*/ 539518 w 1037929"/>
                    <a:gd name="connsiteY148" fmla="*/ 1811870 h 1862389"/>
                    <a:gd name="connsiteX149" fmla="*/ 547096 w 1037929"/>
                    <a:gd name="connsiteY149" fmla="*/ 1809344 h 1862389"/>
                    <a:gd name="connsiteX150" fmla="*/ 569830 w 1037929"/>
                    <a:gd name="connsiteY150" fmla="*/ 1796714 h 1862389"/>
                    <a:gd name="connsiteX151" fmla="*/ 577408 w 1037929"/>
                    <a:gd name="connsiteY151" fmla="*/ 1801766 h 1862389"/>
                    <a:gd name="connsiteX152" fmla="*/ 592564 w 1037929"/>
                    <a:gd name="connsiteY152" fmla="*/ 1791662 h 1862389"/>
                    <a:gd name="connsiteX153" fmla="*/ 597616 w 1037929"/>
                    <a:gd name="connsiteY153" fmla="*/ 1784084 h 1862389"/>
                    <a:gd name="connsiteX154" fmla="*/ 605194 w 1037929"/>
                    <a:gd name="connsiteY154" fmla="*/ 1781558 h 1862389"/>
                    <a:gd name="connsiteX155" fmla="*/ 607720 w 1037929"/>
                    <a:gd name="connsiteY155" fmla="*/ 1771454 h 1862389"/>
                    <a:gd name="connsiteX156" fmla="*/ 615297 w 1037929"/>
                    <a:gd name="connsiteY156" fmla="*/ 1768928 h 1862389"/>
                    <a:gd name="connsiteX157" fmla="*/ 627927 w 1037929"/>
                    <a:gd name="connsiteY157" fmla="*/ 1763876 h 1862389"/>
                    <a:gd name="connsiteX158" fmla="*/ 655713 w 1037929"/>
                    <a:gd name="connsiteY158" fmla="*/ 1743668 h 1862389"/>
                    <a:gd name="connsiteX159" fmla="*/ 688550 w 1037929"/>
                    <a:gd name="connsiteY159" fmla="*/ 1738617 h 1862389"/>
                    <a:gd name="connsiteX160" fmla="*/ 706232 w 1037929"/>
                    <a:gd name="connsiteY160" fmla="*/ 1731039 h 1862389"/>
                    <a:gd name="connsiteX161" fmla="*/ 708758 w 1037929"/>
                    <a:gd name="connsiteY161" fmla="*/ 1720935 h 1862389"/>
                    <a:gd name="connsiteX162" fmla="*/ 716336 w 1037929"/>
                    <a:gd name="connsiteY162" fmla="*/ 1710831 h 1862389"/>
                    <a:gd name="connsiteX163" fmla="*/ 726440 w 1037929"/>
                    <a:gd name="connsiteY163" fmla="*/ 1698201 h 1862389"/>
                    <a:gd name="connsiteX164" fmla="*/ 741596 w 1037929"/>
                    <a:gd name="connsiteY164" fmla="*/ 1680519 h 1862389"/>
                    <a:gd name="connsiteX165" fmla="*/ 754226 w 1037929"/>
                    <a:gd name="connsiteY165" fmla="*/ 1677993 h 1862389"/>
                    <a:gd name="connsiteX166" fmla="*/ 761804 w 1037929"/>
                    <a:gd name="connsiteY166" fmla="*/ 1667889 h 1862389"/>
                    <a:gd name="connsiteX167" fmla="*/ 751700 w 1037929"/>
                    <a:gd name="connsiteY167" fmla="*/ 1652734 h 1862389"/>
                    <a:gd name="connsiteX168" fmla="*/ 751700 w 1037929"/>
                    <a:gd name="connsiteY168" fmla="*/ 1675467 h 1862389"/>
                    <a:gd name="connsiteX169" fmla="*/ 774433 w 1037929"/>
                    <a:gd name="connsiteY169" fmla="*/ 1683045 h 1862389"/>
                    <a:gd name="connsiteX170" fmla="*/ 784537 w 1037929"/>
                    <a:gd name="connsiteY170" fmla="*/ 1675467 h 1862389"/>
                    <a:gd name="connsiteX171" fmla="*/ 792115 w 1037929"/>
                    <a:gd name="connsiteY171" fmla="*/ 1660312 h 1862389"/>
                    <a:gd name="connsiteX172" fmla="*/ 799693 w 1037929"/>
                    <a:gd name="connsiteY172" fmla="*/ 1655260 h 1862389"/>
                    <a:gd name="connsiteX173" fmla="*/ 812323 w 1037929"/>
                    <a:gd name="connsiteY173" fmla="*/ 1657786 h 1862389"/>
                    <a:gd name="connsiteX174" fmla="*/ 822427 w 1037929"/>
                    <a:gd name="connsiteY174" fmla="*/ 1665364 h 1862389"/>
                    <a:gd name="connsiteX175" fmla="*/ 830005 w 1037929"/>
                    <a:gd name="connsiteY175" fmla="*/ 1667889 h 1862389"/>
                    <a:gd name="connsiteX176" fmla="*/ 850212 w 1037929"/>
                    <a:gd name="connsiteY176" fmla="*/ 1632526 h 1862389"/>
                    <a:gd name="connsiteX177" fmla="*/ 865368 w 1037929"/>
                    <a:gd name="connsiteY177" fmla="*/ 1609792 h 1862389"/>
                    <a:gd name="connsiteX178" fmla="*/ 875472 w 1037929"/>
                    <a:gd name="connsiteY178" fmla="*/ 1584533 h 1862389"/>
                    <a:gd name="connsiteX179" fmla="*/ 883050 w 1037929"/>
                    <a:gd name="connsiteY179" fmla="*/ 1576955 h 1862389"/>
                    <a:gd name="connsiteX180" fmla="*/ 888102 w 1037929"/>
                    <a:gd name="connsiteY180" fmla="*/ 1566851 h 1862389"/>
                    <a:gd name="connsiteX181" fmla="*/ 893154 w 1037929"/>
                    <a:gd name="connsiteY181" fmla="*/ 1559273 h 1862389"/>
                    <a:gd name="connsiteX182" fmla="*/ 895680 w 1037929"/>
                    <a:gd name="connsiteY182" fmla="*/ 1551695 h 1862389"/>
                    <a:gd name="connsiteX183" fmla="*/ 900732 w 1037929"/>
                    <a:gd name="connsiteY183" fmla="*/ 1544117 h 1862389"/>
                    <a:gd name="connsiteX184" fmla="*/ 903258 w 1037929"/>
                    <a:gd name="connsiteY184" fmla="*/ 1536539 h 1862389"/>
                    <a:gd name="connsiteX185" fmla="*/ 908310 w 1037929"/>
                    <a:gd name="connsiteY185" fmla="*/ 1528961 h 1862389"/>
                    <a:gd name="connsiteX186" fmla="*/ 925991 w 1037929"/>
                    <a:gd name="connsiteY186" fmla="*/ 1498650 h 1862389"/>
                    <a:gd name="connsiteX187" fmla="*/ 928517 w 1037929"/>
                    <a:gd name="connsiteY187" fmla="*/ 1491072 h 1862389"/>
                    <a:gd name="connsiteX188" fmla="*/ 931043 w 1037929"/>
                    <a:gd name="connsiteY188" fmla="*/ 1480968 h 1862389"/>
                    <a:gd name="connsiteX189" fmla="*/ 946199 w 1037929"/>
                    <a:gd name="connsiteY189" fmla="*/ 1460760 h 1862389"/>
                    <a:gd name="connsiteX190" fmla="*/ 948725 w 1037929"/>
                    <a:gd name="connsiteY190" fmla="*/ 1453182 h 1862389"/>
                    <a:gd name="connsiteX191" fmla="*/ 951251 w 1037929"/>
                    <a:gd name="connsiteY191" fmla="*/ 1440552 h 1862389"/>
                    <a:gd name="connsiteX192" fmla="*/ 958829 w 1037929"/>
                    <a:gd name="connsiteY192" fmla="*/ 1430449 h 1862389"/>
                    <a:gd name="connsiteX193" fmla="*/ 968933 w 1037929"/>
                    <a:gd name="connsiteY193" fmla="*/ 1410241 h 1862389"/>
                    <a:gd name="connsiteX194" fmla="*/ 973985 w 1037929"/>
                    <a:gd name="connsiteY194" fmla="*/ 1397611 h 1862389"/>
                    <a:gd name="connsiteX195" fmla="*/ 979037 w 1037929"/>
                    <a:gd name="connsiteY195" fmla="*/ 1390033 h 1862389"/>
                    <a:gd name="connsiteX196" fmla="*/ 989141 w 1037929"/>
                    <a:gd name="connsiteY196" fmla="*/ 1364773 h 1862389"/>
                    <a:gd name="connsiteX197" fmla="*/ 996718 w 1037929"/>
                    <a:gd name="connsiteY197" fmla="*/ 1344566 h 1862389"/>
                    <a:gd name="connsiteX198" fmla="*/ 1001770 w 1037929"/>
                    <a:gd name="connsiteY198" fmla="*/ 1334462 h 1862389"/>
                    <a:gd name="connsiteX199" fmla="*/ 1004296 w 1037929"/>
                    <a:gd name="connsiteY199" fmla="*/ 1306676 h 1862389"/>
                    <a:gd name="connsiteX200" fmla="*/ 1006822 w 1037929"/>
                    <a:gd name="connsiteY200" fmla="*/ 1299098 h 1862389"/>
                    <a:gd name="connsiteX201" fmla="*/ 1009348 w 1037929"/>
                    <a:gd name="connsiteY201" fmla="*/ 1283943 h 1862389"/>
                    <a:gd name="connsiteX202" fmla="*/ 1014400 w 1037929"/>
                    <a:gd name="connsiteY202" fmla="*/ 1276365 h 1862389"/>
                    <a:gd name="connsiteX203" fmla="*/ 1019452 w 1037929"/>
                    <a:gd name="connsiteY203" fmla="*/ 1266261 h 1862389"/>
                    <a:gd name="connsiteX204" fmla="*/ 1027030 w 1037929"/>
                    <a:gd name="connsiteY204" fmla="*/ 1253631 h 1862389"/>
                    <a:gd name="connsiteX205" fmla="*/ 1029556 w 1037929"/>
                    <a:gd name="connsiteY205" fmla="*/ 1235949 h 1862389"/>
                    <a:gd name="connsiteX206" fmla="*/ 1034608 w 1037929"/>
                    <a:gd name="connsiteY206" fmla="*/ 1220793 h 1862389"/>
                    <a:gd name="connsiteX207" fmla="*/ 1037134 w 1037929"/>
                    <a:gd name="connsiteY207" fmla="*/ 1177852 h 1862389"/>
                    <a:gd name="connsiteX208" fmla="*/ 1027030 w 1037929"/>
                    <a:gd name="connsiteY208" fmla="*/ 1137436 h 1862389"/>
                    <a:gd name="connsiteX209" fmla="*/ 1016926 w 1037929"/>
                    <a:gd name="connsiteY209" fmla="*/ 1134910 h 1862389"/>
                    <a:gd name="connsiteX210" fmla="*/ 999244 w 1037929"/>
                    <a:gd name="connsiteY210" fmla="*/ 1119755 h 1862389"/>
                    <a:gd name="connsiteX211" fmla="*/ 991667 w 1037929"/>
                    <a:gd name="connsiteY211" fmla="*/ 1112177 h 1862389"/>
                    <a:gd name="connsiteX212" fmla="*/ 971459 w 1037929"/>
                    <a:gd name="connsiteY212" fmla="*/ 1097021 h 1862389"/>
                    <a:gd name="connsiteX213" fmla="*/ 961355 w 1037929"/>
                    <a:gd name="connsiteY213" fmla="*/ 1089443 h 1862389"/>
                    <a:gd name="connsiteX214" fmla="*/ 946199 w 1037929"/>
                    <a:gd name="connsiteY214" fmla="*/ 1084391 h 1862389"/>
                    <a:gd name="connsiteX215" fmla="*/ 923465 w 1037929"/>
                    <a:gd name="connsiteY215" fmla="*/ 1079339 h 1862389"/>
                    <a:gd name="connsiteX216" fmla="*/ 910836 w 1037929"/>
                    <a:gd name="connsiteY216" fmla="*/ 1074287 h 1862389"/>
                    <a:gd name="connsiteX217" fmla="*/ 890628 w 1037929"/>
                    <a:gd name="connsiteY217" fmla="*/ 1061657 h 1862389"/>
                    <a:gd name="connsiteX218" fmla="*/ 877998 w 1037929"/>
                    <a:gd name="connsiteY218" fmla="*/ 1046502 h 1862389"/>
                    <a:gd name="connsiteX219" fmla="*/ 880524 w 1037929"/>
                    <a:gd name="connsiteY219" fmla="*/ 1033872 h 1862389"/>
                    <a:gd name="connsiteX220" fmla="*/ 885576 w 1037929"/>
                    <a:gd name="connsiteY220" fmla="*/ 1016190 h 1862389"/>
                    <a:gd name="connsiteX221" fmla="*/ 890628 w 1037929"/>
                    <a:gd name="connsiteY221" fmla="*/ 1008612 h 1862389"/>
                    <a:gd name="connsiteX222" fmla="*/ 850212 w 1037929"/>
                    <a:gd name="connsiteY222" fmla="*/ 940411 h 1862389"/>
                    <a:gd name="connsiteX223" fmla="*/ 837583 w 1037929"/>
                    <a:gd name="connsiteY223" fmla="*/ 937885 h 1862389"/>
                    <a:gd name="connsiteX224" fmla="*/ 827479 w 1037929"/>
                    <a:gd name="connsiteY224" fmla="*/ 877262 h 1862389"/>
                    <a:gd name="connsiteX225" fmla="*/ 814849 w 1037929"/>
                    <a:gd name="connsiteY225" fmla="*/ 874736 h 1862389"/>
                    <a:gd name="connsiteX226" fmla="*/ 799693 w 1037929"/>
                    <a:gd name="connsiteY226" fmla="*/ 862106 h 1862389"/>
                    <a:gd name="connsiteX227" fmla="*/ 779485 w 1037929"/>
                    <a:gd name="connsiteY227" fmla="*/ 859580 h 1862389"/>
                    <a:gd name="connsiteX228" fmla="*/ 776959 w 1037929"/>
                    <a:gd name="connsiteY228" fmla="*/ 849476 h 1862389"/>
                    <a:gd name="connsiteX229" fmla="*/ 774433 w 1037929"/>
                    <a:gd name="connsiteY229" fmla="*/ 841898 h 1862389"/>
                    <a:gd name="connsiteX230" fmla="*/ 789589 w 1037929"/>
                    <a:gd name="connsiteY230" fmla="*/ 811587 h 1862389"/>
                    <a:gd name="connsiteX231" fmla="*/ 782011 w 1037929"/>
                    <a:gd name="connsiteY231" fmla="*/ 798957 h 1862389"/>
                    <a:gd name="connsiteX232" fmla="*/ 761804 w 1037929"/>
                    <a:gd name="connsiteY232" fmla="*/ 783801 h 1862389"/>
                    <a:gd name="connsiteX233" fmla="*/ 766855 w 1037929"/>
                    <a:gd name="connsiteY233" fmla="*/ 713074 h 1862389"/>
                    <a:gd name="connsiteX234" fmla="*/ 779485 w 1037929"/>
                    <a:gd name="connsiteY234" fmla="*/ 708022 h 1862389"/>
                    <a:gd name="connsiteX235" fmla="*/ 782011 w 1037929"/>
                    <a:gd name="connsiteY235" fmla="*/ 697918 h 1862389"/>
                    <a:gd name="connsiteX236" fmla="*/ 774433 w 1037929"/>
                    <a:gd name="connsiteY236" fmla="*/ 695392 h 1862389"/>
                    <a:gd name="connsiteX237" fmla="*/ 761804 w 1037929"/>
                    <a:gd name="connsiteY237" fmla="*/ 692866 h 1862389"/>
                    <a:gd name="connsiteX238" fmla="*/ 754226 w 1037929"/>
                    <a:gd name="connsiteY238" fmla="*/ 685288 h 1862389"/>
                    <a:gd name="connsiteX239" fmla="*/ 741596 w 1037929"/>
                    <a:gd name="connsiteY239" fmla="*/ 660029 h 1862389"/>
                    <a:gd name="connsiteX240" fmla="*/ 731492 w 1037929"/>
                    <a:gd name="connsiteY240" fmla="*/ 649925 h 1862389"/>
                    <a:gd name="connsiteX241" fmla="*/ 723914 w 1037929"/>
                    <a:gd name="connsiteY241" fmla="*/ 637295 h 1862389"/>
                    <a:gd name="connsiteX242" fmla="*/ 711284 w 1037929"/>
                    <a:gd name="connsiteY242" fmla="*/ 619613 h 1862389"/>
                    <a:gd name="connsiteX243" fmla="*/ 696128 w 1037929"/>
                    <a:gd name="connsiteY243" fmla="*/ 601931 h 1862389"/>
                    <a:gd name="connsiteX244" fmla="*/ 686025 w 1037929"/>
                    <a:gd name="connsiteY244" fmla="*/ 589302 h 1862389"/>
                    <a:gd name="connsiteX245" fmla="*/ 678447 w 1037929"/>
                    <a:gd name="connsiteY245" fmla="*/ 581724 h 1862389"/>
                    <a:gd name="connsiteX246" fmla="*/ 665817 w 1037929"/>
                    <a:gd name="connsiteY246" fmla="*/ 558990 h 1862389"/>
                    <a:gd name="connsiteX247" fmla="*/ 645609 w 1037929"/>
                    <a:gd name="connsiteY247" fmla="*/ 533730 h 1862389"/>
                    <a:gd name="connsiteX248" fmla="*/ 632979 w 1037929"/>
                    <a:gd name="connsiteY248" fmla="*/ 518575 h 1862389"/>
                    <a:gd name="connsiteX249" fmla="*/ 630453 w 1037929"/>
                    <a:gd name="connsiteY249" fmla="*/ 505945 h 1862389"/>
                    <a:gd name="connsiteX250" fmla="*/ 635505 w 1037929"/>
                    <a:gd name="connsiteY250" fmla="*/ 468055 h 1862389"/>
                    <a:gd name="connsiteX251" fmla="*/ 638031 w 1037929"/>
                    <a:gd name="connsiteY251" fmla="*/ 452899 h 1862389"/>
                    <a:gd name="connsiteX252" fmla="*/ 645609 w 1037929"/>
                    <a:gd name="connsiteY252" fmla="*/ 440270 h 1862389"/>
                    <a:gd name="connsiteX253" fmla="*/ 648135 w 1037929"/>
                    <a:gd name="connsiteY253" fmla="*/ 430166 h 1862389"/>
                    <a:gd name="connsiteX254" fmla="*/ 653187 w 1037929"/>
                    <a:gd name="connsiteY254" fmla="*/ 387224 h 1862389"/>
                    <a:gd name="connsiteX255" fmla="*/ 650661 w 1037929"/>
                    <a:gd name="connsiteY255" fmla="*/ 369543 h 1862389"/>
                    <a:gd name="connsiteX256" fmla="*/ 632979 w 1037929"/>
                    <a:gd name="connsiteY256" fmla="*/ 359439 h 1862389"/>
                    <a:gd name="connsiteX257" fmla="*/ 625401 w 1037929"/>
                    <a:gd name="connsiteY257" fmla="*/ 349335 h 1862389"/>
                    <a:gd name="connsiteX258" fmla="*/ 620349 w 1037929"/>
                    <a:gd name="connsiteY258" fmla="*/ 341757 h 1862389"/>
                    <a:gd name="connsiteX259" fmla="*/ 612771 w 1037929"/>
                    <a:gd name="connsiteY259" fmla="*/ 339231 h 1862389"/>
                    <a:gd name="connsiteX260" fmla="*/ 605194 w 1037929"/>
                    <a:gd name="connsiteY260" fmla="*/ 334179 h 1862389"/>
                    <a:gd name="connsiteX261" fmla="*/ 595090 w 1037929"/>
                    <a:gd name="connsiteY261" fmla="*/ 316497 h 1862389"/>
                    <a:gd name="connsiteX262" fmla="*/ 587512 w 1037929"/>
                    <a:gd name="connsiteY262" fmla="*/ 311445 h 1862389"/>
                    <a:gd name="connsiteX263" fmla="*/ 531941 w 1037929"/>
                    <a:gd name="connsiteY263" fmla="*/ 311445 h 1862389"/>
                    <a:gd name="connsiteX264" fmla="*/ 529415 w 1037929"/>
                    <a:gd name="connsiteY264" fmla="*/ 301341 h 1862389"/>
                    <a:gd name="connsiteX265" fmla="*/ 521837 w 1037929"/>
                    <a:gd name="connsiteY265" fmla="*/ 276082 h 1862389"/>
                    <a:gd name="connsiteX266" fmla="*/ 519311 w 1037929"/>
                    <a:gd name="connsiteY266" fmla="*/ 255874 h 1862389"/>
                    <a:gd name="connsiteX267" fmla="*/ 516785 w 1037929"/>
                    <a:gd name="connsiteY267" fmla="*/ 245770 h 1862389"/>
                    <a:gd name="connsiteX268" fmla="*/ 514259 w 1037929"/>
                    <a:gd name="connsiteY268" fmla="*/ 197777 h 1862389"/>
                    <a:gd name="connsiteX269" fmla="*/ 506681 w 1037929"/>
                    <a:gd name="connsiteY269" fmla="*/ 195251 h 1862389"/>
                    <a:gd name="connsiteX270" fmla="*/ 499103 w 1037929"/>
                    <a:gd name="connsiteY270" fmla="*/ 187673 h 1862389"/>
                    <a:gd name="connsiteX271" fmla="*/ 509207 w 1037929"/>
                    <a:gd name="connsiteY271" fmla="*/ 149783 h 1862389"/>
                    <a:gd name="connsiteX272" fmla="*/ 504155 w 1037929"/>
                    <a:gd name="connsiteY272" fmla="*/ 129576 h 1862389"/>
                    <a:gd name="connsiteX273" fmla="*/ 501629 w 1037929"/>
                    <a:gd name="connsiteY273" fmla="*/ 61375 h 1862389"/>
                    <a:gd name="connsiteX274" fmla="*/ 494051 w 1037929"/>
                    <a:gd name="connsiteY274" fmla="*/ 58849 h 1862389"/>
                    <a:gd name="connsiteX275" fmla="*/ 483947 w 1037929"/>
                    <a:gd name="connsiteY275" fmla="*/ 53797 h 1862389"/>
                    <a:gd name="connsiteX276" fmla="*/ 451110 w 1037929"/>
                    <a:gd name="connsiteY276" fmla="*/ 48745 h 1862389"/>
                    <a:gd name="connsiteX277" fmla="*/ 430902 w 1037929"/>
                    <a:gd name="connsiteY277" fmla="*/ 36115 h 1862389"/>
                    <a:gd name="connsiteX278" fmla="*/ 410694 w 1037929"/>
                    <a:gd name="connsiteY278" fmla="*/ 18433 h 1862389"/>
                    <a:gd name="connsiteX279" fmla="*/ 400584 w 1037929"/>
                    <a:gd name="connsiteY279" fmla="*/ 3920 h 1862389"/>
                    <a:gd name="connsiteX280" fmla="*/ 389220 w 1037929"/>
                    <a:gd name="connsiteY280" fmla="*/ 767 h 1862389"/>
                    <a:gd name="connsiteX281" fmla="*/ 350071 w 1037929"/>
                    <a:gd name="connsiteY281" fmla="*/ 15907 h 1862389"/>
                    <a:gd name="connsiteX282" fmla="*/ 352597 w 1037929"/>
                    <a:gd name="connsiteY282" fmla="*/ 5803 h 1862389"/>
                    <a:gd name="connsiteX283" fmla="*/ 362701 w 1037929"/>
                    <a:gd name="connsiteY283" fmla="*/ 8329 h 1862389"/>
                    <a:gd name="connsiteX284" fmla="*/ 350071 w 1037929"/>
                    <a:gd name="connsiteY284" fmla="*/ 43693 h 1862389"/>
                    <a:gd name="connsiteX285" fmla="*/ 347545 w 1037929"/>
                    <a:gd name="connsiteY285" fmla="*/ 53797 h 1862389"/>
                    <a:gd name="connsiteX286" fmla="*/ 339967 w 1037929"/>
                    <a:gd name="connsiteY286" fmla="*/ 56323 h 1862389"/>
                    <a:gd name="connsiteX287" fmla="*/ 324811 w 1037929"/>
                    <a:gd name="connsiteY287" fmla="*/ 53797 h 1862389"/>
                    <a:gd name="connsiteX288" fmla="*/ 307129 w 1037929"/>
                    <a:gd name="connsiteY288" fmla="*/ 51271 h 1862389"/>
                    <a:gd name="connsiteX289" fmla="*/ 297026 w 1037929"/>
                    <a:gd name="connsiteY289" fmla="*/ 48745 h 1862389"/>
                    <a:gd name="connsiteX290" fmla="*/ 289448 w 1037929"/>
                    <a:gd name="connsiteY290" fmla="*/ 51271 h 1862389"/>
                    <a:gd name="connsiteX291" fmla="*/ 291974 w 1037929"/>
                    <a:gd name="connsiteY291" fmla="*/ 68952 h 1862389"/>
                    <a:gd name="connsiteX292" fmla="*/ 297026 w 1037929"/>
                    <a:gd name="connsiteY292" fmla="*/ 91686 h 1862389"/>
                    <a:gd name="connsiteX293" fmla="*/ 294500 w 1037929"/>
                    <a:gd name="connsiteY293" fmla="*/ 129576 h 1862389"/>
                    <a:gd name="connsiteX294" fmla="*/ 291974 w 1037929"/>
                    <a:gd name="connsiteY294" fmla="*/ 137154 h 1862389"/>
                    <a:gd name="connsiteX295" fmla="*/ 289448 w 1037929"/>
                    <a:gd name="connsiteY295" fmla="*/ 152309 h 1862389"/>
                    <a:gd name="connsiteX296" fmla="*/ 302078 w 1037929"/>
                    <a:gd name="connsiteY296" fmla="*/ 205355 h 1862389"/>
                    <a:gd name="connsiteX297" fmla="*/ 309655 w 1037929"/>
                    <a:gd name="connsiteY297" fmla="*/ 207881 h 1862389"/>
                    <a:gd name="connsiteX298" fmla="*/ 297026 w 1037929"/>
                    <a:gd name="connsiteY298" fmla="*/ 245770 h 1862389"/>
                    <a:gd name="connsiteX299" fmla="*/ 284396 w 1037929"/>
                    <a:gd name="connsiteY299" fmla="*/ 288712 h 1862389"/>
                    <a:gd name="connsiteX300" fmla="*/ 281870 w 1037929"/>
                    <a:gd name="connsiteY300" fmla="*/ 303867 h 1862389"/>
                    <a:gd name="connsiteX301" fmla="*/ 262549 w 1037929"/>
                    <a:gd name="connsiteY301" fmla="*/ 292260 h 1862389"/>
                    <a:gd name="connsiteX302" fmla="*/ 256610 w 1037929"/>
                    <a:gd name="connsiteY302" fmla="*/ 291238 h 1862389"/>
                    <a:gd name="connsiteX303" fmla="*/ 249032 w 1037929"/>
                    <a:gd name="connsiteY303" fmla="*/ 286186 h 1862389"/>
                    <a:gd name="connsiteX304" fmla="*/ 243980 w 1037929"/>
                    <a:gd name="connsiteY304" fmla="*/ 278608 h 1862389"/>
                    <a:gd name="connsiteX305" fmla="*/ 241454 w 1037929"/>
                    <a:gd name="connsiteY305" fmla="*/ 271030 h 1862389"/>
                    <a:gd name="connsiteX306" fmla="*/ 231350 w 1037929"/>
                    <a:gd name="connsiteY306" fmla="*/ 268504 h 1862389"/>
                    <a:gd name="connsiteX307" fmla="*/ 221247 w 1037929"/>
                    <a:gd name="connsiteY307" fmla="*/ 268024 h 1862389"/>
                    <a:gd name="connsiteX308" fmla="*/ 198513 w 1037929"/>
                    <a:gd name="connsiteY308" fmla="*/ 268504 h 1862389"/>
                    <a:gd name="connsiteX309" fmla="*/ 195987 w 1037929"/>
                    <a:gd name="connsiteY309" fmla="*/ 281134 h 1862389"/>
                    <a:gd name="connsiteX310" fmla="*/ 177074 w 1037929"/>
                    <a:gd name="connsiteY310" fmla="*/ 279767 h 1862389"/>
                    <a:gd name="connsiteX311" fmla="*/ 147994 w 1037929"/>
                    <a:gd name="connsiteY311" fmla="*/ 306393 h 1862389"/>
                    <a:gd name="connsiteX312" fmla="*/ 94948 w 1037929"/>
                    <a:gd name="connsiteY312" fmla="*/ 291238 h 1862389"/>
                    <a:gd name="connsiteX313" fmla="*/ 89896 w 1037929"/>
                    <a:gd name="connsiteY313" fmla="*/ 283660 h 1862389"/>
                    <a:gd name="connsiteX314" fmla="*/ 87370 w 1037929"/>
                    <a:gd name="connsiteY314" fmla="*/ 273556 h 1862389"/>
                    <a:gd name="connsiteX315" fmla="*/ 84844 w 1037929"/>
                    <a:gd name="connsiteY315" fmla="*/ 265978 h 1862389"/>
                    <a:gd name="connsiteX316" fmla="*/ 72215 w 1037929"/>
                    <a:gd name="connsiteY316" fmla="*/ 260926 h 1862389"/>
                    <a:gd name="connsiteX317" fmla="*/ 54533 w 1037929"/>
                    <a:gd name="connsiteY317" fmla="*/ 240718 h 1862389"/>
                    <a:gd name="connsiteX318" fmla="*/ 44429 w 1037929"/>
                    <a:gd name="connsiteY318" fmla="*/ 235666 h 1862389"/>
                    <a:gd name="connsiteX319" fmla="*/ 29273 w 1037929"/>
                    <a:gd name="connsiteY319" fmla="*/ 228088 h 1862389"/>
                    <a:gd name="connsiteX320" fmla="*/ 21695 w 1037929"/>
                    <a:gd name="connsiteY320" fmla="*/ 220510 h 1862389"/>
                    <a:gd name="connsiteX321" fmla="*/ 6539 w 1037929"/>
                    <a:gd name="connsiteY321" fmla="*/ 240718 h 1862389"/>
                    <a:gd name="connsiteX322" fmla="*/ 256 w 1037929"/>
                    <a:gd name="connsiteY322" fmla="*/ 258536 h 1862389"/>
                    <a:gd name="connsiteX0" fmla="*/ 256 w 1037929"/>
                    <a:gd name="connsiteY0" fmla="*/ 258536 h 1862389"/>
                    <a:gd name="connsiteX1" fmla="*/ 1487 w 1037929"/>
                    <a:gd name="connsiteY1" fmla="*/ 268504 h 1862389"/>
                    <a:gd name="connsiteX2" fmla="*/ 4013 w 1037929"/>
                    <a:gd name="connsiteY2" fmla="*/ 276082 h 1862389"/>
                    <a:gd name="connsiteX3" fmla="*/ 29273 w 1037929"/>
                    <a:gd name="connsiteY3" fmla="*/ 291238 h 1862389"/>
                    <a:gd name="connsiteX4" fmla="*/ 36851 w 1037929"/>
                    <a:gd name="connsiteY4" fmla="*/ 301341 h 1862389"/>
                    <a:gd name="connsiteX5" fmla="*/ 44429 w 1037929"/>
                    <a:gd name="connsiteY5" fmla="*/ 308919 h 1862389"/>
                    <a:gd name="connsiteX6" fmla="*/ 59585 w 1037929"/>
                    <a:gd name="connsiteY6" fmla="*/ 329127 h 1862389"/>
                    <a:gd name="connsiteX7" fmla="*/ 64637 w 1037929"/>
                    <a:gd name="connsiteY7" fmla="*/ 336705 h 1862389"/>
                    <a:gd name="connsiteX8" fmla="*/ 72215 w 1037929"/>
                    <a:gd name="connsiteY8" fmla="*/ 344283 h 1862389"/>
                    <a:gd name="connsiteX9" fmla="*/ 74741 w 1037929"/>
                    <a:gd name="connsiteY9" fmla="*/ 351861 h 1862389"/>
                    <a:gd name="connsiteX10" fmla="*/ 132838 w 1037929"/>
                    <a:gd name="connsiteY10" fmla="*/ 364491 h 1862389"/>
                    <a:gd name="connsiteX11" fmla="*/ 150520 w 1037929"/>
                    <a:gd name="connsiteY11" fmla="*/ 372068 h 1862389"/>
                    <a:gd name="connsiteX12" fmla="*/ 160623 w 1037929"/>
                    <a:gd name="connsiteY12" fmla="*/ 382172 h 1862389"/>
                    <a:gd name="connsiteX13" fmla="*/ 165675 w 1037929"/>
                    <a:gd name="connsiteY13" fmla="*/ 397328 h 1862389"/>
                    <a:gd name="connsiteX14" fmla="*/ 183357 w 1037929"/>
                    <a:gd name="connsiteY14" fmla="*/ 404906 h 1862389"/>
                    <a:gd name="connsiteX15" fmla="*/ 190935 w 1037929"/>
                    <a:gd name="connsiteY15" fmla="*/ 409958 h 1862389"/>
                    <a:gd name="connsiteX16" fmla="*/ 203565 w 1037929"/>
                    <a:gd name="connsiteY16" fmla="*/ 425114 h 1862389"/>
                    <a:gd name="connsiteX17" fmla="*/ 213669 w 1037929"/>
                    <a:gd name="connsiteY17" fmla="*/ 427640 h 1862389"/>
                    <a:gd name="connsiteX18" fmla="*/ 221247 w 1037929"/>
                    <a:gd name="connsiteY18" fmla="*/ 430166 h 1862389"/>
                    <a:gd name="connsiteX19" fmla="*/ 213669 w 1037929"/>
                    <a:gd name="connsiteY19" fmla="*/ 432692 h 1862389"/>
                    <a:gd name="connsiteX20" fmla="*/ 213669 w 1037929"/>
                    <a:gd name="connsiteY20" fmla="*/ 452899 h 1862389"/>
                    <a:gd name="connsiteX21" fmla="*/ 216195 w 1037929"/>
                    <a:gd name="connsiteY21" fmla="*/ 460477 h 1862389"/>
                    <a:gd name="connsiteX22" fmla="*/ 223773 w 1037929"/>
                    <a:gd name="connsiteY22" fmla="*/ 468055 h 1862389"/>
                    <a:gd name="connsiteX23" fmla="*/ 226299 w 1037929"/>
                    <a:gd name="connsiteY23" fmla="*/ 498367 h 1862389"/>
                    <a:gd name="connsiteX24" fmla="*/ 228825 w 1037929"/>
                    <a:gd name="connsiteY24" fmla="*/ 516049 h 1862389"/>
                    <a:gd name="connsiteX25" fmla="*/ 241454 w 1037929"/>
                    <a:gd name="connsiteY25" fmla="*/ 526152 h 1862389"/>
                    <a:gd name="connsiteX26" fmla="*/ 249032 w 1037929"/>
                    <a:gd name="connsiteY26" fmla="*/ 523626 h 1862389"/>
                    <a:gd name="connsiteX27" fmla="*/ 249032 w 1037929"/>
                    <a:gd name="connsiteY27" fmla="*/ 543834 h 1862389"/>
                    <a:gd name="connsiteX28" fmla="*/ 241454 w 1037929"/>
                    <a:gd name="connsiteY28" fmla="*/ 546360 h 1862389"/>
                    <a:gd name="connsiteX29" fmla="*/ 236402 w 1037929"/>
                    <a:gd name="connsiteY29" fmla="*/ 553938 h 1862389"/>
                    <a:gd name="connsiteX30" fmla="*/ 246506 w 1037929"/>
                    <a:gd name="connsiteY30" fmla="*/ 561516 h 1862389"/>
                    <a:gd name="connsiteX31" fmla="*/ 249032 w 1037929"/>
                    <a:gd name="connsiteY31" fmla="*/ 579198 h 1862389"/>
                    <a:gd name="connsiteX32" fmla="*/ 264188 w 1037929"/>
                    <a:gd name="connsiteY32" fmla="*/ 601931 h 1862389"/>
                    <a:gd name="connsiteX33" fmla="*/ 271766 w 1037929"/>
                    <a:gd name="connsiteY33" fmla="*/ 619613 h 1862389"/>
                    <a:gd name="connsiteX34" fmla="*/ 274292 w 1037929"/>
                    <a:gd name="connsiteY34" fmla="*/ 637295 h 1862389"/>
                    <a:gd name="connsiteX35" fmla="*/ 281870 w 1037929"/>
                    <a:gd name="connsiteY35" fmla="*/ 644873 h 1862389"/>
                    <a:gd name="connsiteX36" fmla="*/ 286922 w 1037929"/>
                    <a:gd name="connsiteY36" fmla="*/ 705496 h 1862389"/>
                    <a:gd name="connsiteX37" fmla="*/ 291974 w 1037929"/>
                    <a:gd name="connsiteY37" fmla="*/ 723178 h 1862389"/>
                    <a:gd name="connsiteX38" fmla="*/ 294500 w 1037929"/>
                    <a:gd name="connsiteY38" fmla="*/ 735808 h 1862389"/>
                    <a:gd name="connsiteX39" fmla="*/ 302078 w 1037929"/>
                    <a:gd name="connsiteY39" fmla="*/ 758541 h 1862389"/>
                    <a:gd name="connsiteX40" fmla="*/ 304604 w 1037929"/>
                    <a:gd name="connsiteY40" fmla="*/ 766119 h 1862389"/>
                    <a:gd name="connsiteX41" fmla="*/ 322285 w 1037929"/>
                    <a:gd name="connsiteY41" fmla="*/ 793905 h 1862389"/>
                    <a:gd name="connsiteX42" fmla="*/ 334915 w 1037929"/>
                    <a:gd name="connsiteY42" fmla="*/ 811587 h 1862389"/>
                    <a:gd name="connsiteX43" fmla="*/ 347545 w 1037929"/>
                    <a:gd name="connsiteY43" fmla="*/ 809061 h 1862389"/>
                    <a:gd name="connsiteX44" fmla="*/ 357649 w 1037929"/>
                    <a:gd name="connsiteY44" fmla="*/ 778749 h 1862389"/>
                    <a:gd name="connsiteX45" fmla="*/ 365227 w 1037929"/>
                    <a:gd name="connsiteY45" fmla="*/ 776223 h 1862389"/>
                    <a:gd name="connsiteX46" fmla="*/ 372805 w 1037929"/>
                    <a:gd name="connsiteY46" fmla="*/ 771171 h 1862389"/>
                    <a:gd name="connsiteX47" fmla="*/ 365227 w 1037929"/>
                    <a:gd name="connsiteY47" fmla="*/ 781275 h 1862389"/>
                    <a:gd name="connsiteX48" fmla="*/ 367753 w 1037929"/>
                    <a:gd name="connsiteY48" fmla="*/ 804009 h 1862389"/>
                    <a:gd name="connsiteX49" fmla="*/ 395538 w 1037929"/>
                    <a:gd name="connsiteY49" fmla="*/ 811587 h 1862389"/>
                    <a:gd name="connsiteX50" fmla="*/ 410694 w 1037929"/>
                    <a:gd name="connsiteY50" fmla="*/ 816639 h 1862389"/>
                    <a:gd name="connsiteX51" fmla="*/ 420798 w 1037929"/>
                    <a:gd name="connsiteY51" fmla="*/ 826743 h 1862389"/>
                    <a:gd name="connsiteX52" fmla="*/ 433428 w 1037929"/>
                    <a:gd name="connsiteY52" fmla="*/ 846950 h 1862389"/>
                    <a:gd name="connsiteX53" fmla="*/ 438480 w 1037929"/>
                    <a:gd name="connsiteY53" fmla="*/ 869684 h 1862389"/>
                    <a:gd name="connsiteX54" fmla="*/ 446058 w 1037929"/>
                    <a:gd name="connsiteY54" fmla="*/ 879788 h 1862389"/>
                    <a:gd name="connsiteX55" fmla="*/ 448584 w 1037929"/>
                    <a:gd name="connsiteY55" fmla="*/ 907573 h 1862389"/>
                    <a:gd name="connsiteX56" fmla="*/ 451110 w 1037929"/>
                    <a:gd name="connsiteY56" fmla="*/ 920203 h 1862389"/>
                    <a:gd name="connsiteX57" fmla="*/ 461213 w 1037929"/>
                    <a:gd name="connsiteY57" fmla="*/ 925255 h 1862389"/>
                    <a:gd name="connsiteX58" fmla="*/ 466265 w 1037929"/>
                    <a:gd name="connsiteY58" fmla="*/ 950515 h 1862389"/>
                    <a:gd name="connsiteX59" fmla="*/ 456162 w 1037929"/>
                    <a:gd name="connsiteY59" fmla="*/ 945463 h 1862389"/>
                    <a:gd name="connsiteX60" fmla="*/ 451110 w 1037929"/>
                    <a:gd name="connsiteY60" fmla="*/ 937885 h 1862389"/>
                    <a:gd name="connsiteX61" fmla="*/ 428783 w 1037929"/>
                    <a:gd name="connsiteY61" fmla="*/ 947649 h 1862389"/>
                    <a:gd name="connsiteX62" fmla="*/ 425850 w 1037929"/>
                    <a:gd name="connsiteY62" fmla="*/ 925255 h 1862389"/>
                    <a:gd name="connsiteX63" fmla="*/ 400590 w 1037929"/>
                    <a:gd name="connsiteY63" fmla="*/ 930307 h 1862389"/>
                    <a:gd name="connsiteX64" fmla="*/ 425714 w 1037929"/>
                    <a:gd name="connsiteY64" fmla="*/ 947989 h 1862389"/>
                    <a:gd name="connsiteX65" fmla="*/ 410694 w 1037929"/>
                    <a:gd name="connsiteY65" fmla="*/ 975775 h 1862389"/>
                    <a:gd name="connsiteX66" fmla="*/ 408168 w 1037929"/>
                    <a:gd name="connsiteY66" fmla="*/ 985878 h 1862389"/>
                    <a:gd name="connsiteX67" fmla="*/ 405642 w 1037929"/>
                    <a:gd name="connsiteY67" fmla="*/ 1016190 h 1862389"/>
                    <a:gd name="connsiteX68" fmla="*/ 398064 w 1037929"/>
                    <a:gd name="connsiteY68" fmla="*/ 1023768 h 1862389"/>
                    <a:gd name="connsiteX69" fmla="*/ 385434 w 1037929"/>
                    <a:gd name="connsiteY69" fmla="*/ 1049028 h 1862389"/>
                    <a:gd name="connsiteX70" fmla="*/ 380383 w 1037929"/>
                    <a:gd name="connsiteY70" fmla="*/ 1064183 h 1862389"/>
                    <a:gd name="connsiteX71" fmla="*/ 372805 w 1037929"/>
                    <a:gd name="connsiteY71" fmla="*/ 1079339 h 1862389"/>
                    <a:gd name="connsiteX72" fmla="*/ 370279 w 1037929"/>
                    <a:gd name="connsiteY72" fmla="*/ 1099547 h 1862389"/>
                    <a:gd name="connsiteX73" fmla="*/ 350071 w 1037929"/>
                    <a:gd name="connsiteY73" fmla="*/ 1122281 h 1862389"/>
                    <a:gd name="connsiteX74" fmla="*/ 332389 w 1037929"/>
                    <a:gd name="connsiteY74" fmla="*/ 1155118 h 1862389"/>
                    <a:gd name="connsiteX75" fmla="*/ 322285 w 1037929"/>
                    <a:gd name="connsiteY75" fmla="*/ 1170274 h 1862389"/>
                    <a:gd name="connsiteX76" fmla="*/ 314707 w 1037929"/>
                    <a:gd name="connsiteY76" fmla="*/ 1157644 h 1862389"/>
                    <a:gd name="connsiteX77" fmla="*/ 312181 w 1037929"/>
                    <a:gd name="connsiteY77" fmla="*/ 1150066 h 1862389"/>
                    <a:gd name="connsiteX78" fmla="*/ 302078 w 1037929"/>
                    <a:gd name="connsiteY78" fmla="*/ 1162696 h 1862389"/>
                    <a:gd name="connsiteX79" fmla="*/ 304604 w 1037929"/>
                    <a:gd name="connsiteY79" fmla="*/ 1198060 h 1862389"/>
                    <a:gd name="connsiteX80" fmla="*/ 312181 w 1037929"/>
                    <a:gd name="connsiteY80" fmla="*/ 1200586 h 1862389"/>
                    <a:gd name="connsiteX81" fmla="*/ 299552 w 1037929"/>
                    <a:gd name="connsiteY81" fmla="*/ 1203112 h 1862389"/>
                    <a:gd name="connsiteX82" fmla="*/ 294500 w 1037929"/>
                    <a:gd name="connsiteY82" fmla="*/ 1205638 h 1862389"/>
                    <a:gd name="connsiteX83" fmla="*/ 286922 w 1037929"/>
                    <a:gd name="connsiteY83" fmla="*/ 1210689 h 1862389"/>
                    <a:gd name="connsiteX84" fmla="*/ 281870 w 1037929"/>
                    <a:gd name="connsiteY84" fmla="*/ 1218267 h 1862389"/>
                    <a:gd name="connsiteX85" fmla="*/ 279344 w 1037929"/>
                    <a:gd name="connsiteY85" fmla="*/ 1233423 h 1862389"/>
                    <a:gd name="connsiteX86" fmla="*/ 276818 w 1037929"/>
                    <a:gd name="connsiteY86" fmla="*/ 1243527 h 1862389"/>
                    <a:gd name="connsiteX87" fmla="*/ 284396 w 1037929"/>
                    <a:gd name="connsiteY87" fmla="*/ 1246053 h 1862389"/>
                    <a:gd name="connsiteX88" fmla="*/ 284396 w 1037929"/>
                    <a:gd name="connsiteY88" fmla="*/ 1266261 h 1862389"/>
                    <a:gd name="connsiteX89" fmla="*/ 249032 w 1037929"/>
                    <a:gd name="connsiteY89" fmla="*/ 1278891 h 1862389"/>
                    <a:gd name="connsiteX90" fmla="*/ 241454 w 1037929"/>
                    <a:gd name="connsiteY90" fmla="*/ 1281417 h 1862389"/>
                    <a:gd name="connsiteX91" fmla="*/ 233876 w 1037929"/>
                    <a:gd name="connsiteY91" fmla="*/ 1286468 h 1862389"/>
                    <a:gd name="connsiteX92" fmla="*/ 218721 w 1037929"/>
                    <a:gd name="connsiteY92" fmla="*/ 1294046 h 1862389"/>
                    <a:gd name="connsiteX93" fmla="*/ 228825 w 1037929"/>
                    <a:gd name="connsiteY93" fmla="*/ 1299098 h 1862389"/>
                    <a:gd name="connsiteX94" fmla="*/ 223773 w 1037929"/>
                    <a:gd name="connsiteY94" fmla="*/ 1339514 h 1862389"/>
                    <a:gd name="connsiteX95" fmla="*/ 218721 w 1037929"/>
                    <a:gd name="connsiteY95" fmla="*/ 1347092 h 1862389"/>
                    <a:gd name="connsiteX96" fmla="*/ 213669 w 1037929"/>
                    <a:gd name="connsiteY96" fmla="*/ 1359722 h 1862389"/>
                    <a:gd name="connsiteX97" fmla="*/ 208617 w 1037929"/>
                    <a:gd name="connsiteY97" fmla="*/ 1367299 h 1862389"/>
                    <a:gd name="connsiteX98" fmla="*/ 203565 w 1037929"/>
                    <a:gd name="connsiteY98" fmla="*/ 1377403 h 1862389"/>
                    <a:gd name="connsiteX99" fmla="*/ 211143 w 1037929"/>
                    <a:gd name="connsiteY99" fmla="*/ 1400137 h 1862389"/>
                    <a:gd name="connsiteX100" fmla="*/ 216195 w 1037929"/>
                    <a:gd name="connsiteY100" fmla="*/ 1407715 h 1862389"/>
                    <a:gd name="connsiteX101" fmla="*/ 218721 w 1037929"/>
                    <a:gd name="connsiteY101" fmla="*/ 1417819 h 1862389"/>
                    <a:gd name="connsiteX102" fmla="*/ 228825 w 1037929"/>
                    <a:gd name="connsiteY102" fmla="*/ 1438026 h 1862389"/>
                    <a:gd name="connsiteX103" fmla="*/ 231350 w 1037929"/>
                    <a:gd name="connsiteY103" fmla="*/ 1445604 h 1862389"/>
                    <a:gd name="connsiteX104" fmla="*/ 241454 w 1037929"/>
                    <a:gd name="connsiteY104" fmla="*/ 1463286 h 1862389"/>
                    <a:gd name="connsiteX105" fmla="*/ 246506 w 1037929"/>
                    <a:gd name="connsiteY105" fmla="*/ 1475916 h 1862389"/>
                    <a:gd name="connsiteX106" fmla="*/ 246506 w 1037929"/>
                    <a:gd name="connsiteY106" fmla="*/ 1513806 h 1862389"/>
                    <a:gd name="connsiteX107" fmla="*/ 256610 w 1037929"/>
                    <a:gd name="connsiteY107" fmla="*/ 1516331 h 1862389"/>
                    <a:gd name="connsiteX108" fmla="*/ 264188 w 1037929"/>
                    <a:gd name="connsiteY108" fmla="*/ 1526435 h 1862389"/>
                    <a:gd name="connsiteX109" fmla="*/ 269240 w 1037929"/>
                    <a:gd name="connsiteY109" fmla="*/ 1534013 h 1862389"/>
                    <a:gd name="connsiteX110" fmla="*/ 279344 w 1037929"/>
                    <a:gd name="connsiteY110" fmla="*/ 1561799 h 1862389"/>
                    <a:gd name="connsiteX111" fmla="*/ 284396 w 1037929"/>
                    <a:gd name="connsiteY111" fmla="*/ 1589585 h 1862389"/>
                    <a:gd name="connsiteX112" fmla="*/ 281870 w 1037929"/>
                    <a:gd name="connsiteY112" fmla="*/ 1597162 h 1862389"/>
                    <a:gd name="connsiteX113" fmla="*/ 281870 w 1037929"/>
                    <a:gd name="connsiteY113" fmla="*/ 1677993 h 1862389"/>
                    <a:gd name="connsiteX114" fmla="*/ 284396 w 1037929"/>
                    <a:gd name="connsiteY114" fmla="*/ 1703253 h 1862389"/>
                    <a:gd name="connsiteX115" fmla="*/ 297026 w 1037929"/>
                    <a:gd name="connsiteY115" fmla="*/ 1705779 h 1862389"/>
                    <a:gd name="connsiteX116" fmla="*/ 289448 w 1037929"/>
                    <a:gd name="connsiteY116" fmla="*/ 1713357 h 1862389"/>
                    <a:gd name="connsiteX117" fmla="*/ 294500 w 1037929"/>
                    <a:gd name="connsiteY117" fmla="*/ 1720935 h 1862389"/>
                    <a:gd name="connsiteX118" fmla="*/ 297026 w 1037929"/>
                    <a:gd name="connsiteY118" fmla="*/ 1728513 h 1862389"/>
                    <a:gd name="connsiteX119" fmla="*/ 294500 w 1037929"/>
                    <a:gd name="connsiteY119" fmla="*/ 1763876 h 1862389"/>
                    <a:gd name="connsiteX120" fmla="*/ 322285 w 1037929"/>
                    <a:gd name="connsiteY120" fmla="*/ 1758824 h 1862389"/>
                    <a:gd name="connsiteX121" fmla="*/ 329863 w 1037929"/>
                    <a:gd name="connsiteY121" fmla="*/ 1761350 h 1862389"/>
                    <a:gd name="connsiteX122" fmla="*/ 334915 w 1037929"/>
                    <a:gd name="connsiteY122" fmla="*/ 1779032 h 1862389"/>
                    <a:gd name="connsiteX123" fmla="*/ 355123 w 1037929"/>
                    <a:gd name="connsiteY123" fmla="*/ 1784084 h 1862389"/>
                    <a:gd name="connsiteX124" fmla="*/ 357649 w 1037929"/>
                    <a:gd name="connsiteY124" fmla="*/ 1794188 h 1862389"/>
                    <a:gd name="connsiteX125" fmla="*/ 380383 w 1037929"/>
                    <a:gd name="connsiteY125" fmla="*/ 1789136 h 1862389"/>
                    <a:gd name="connsiteX126" fmla="*/ 393012 w 1037929"/>
                    <a:gd name="connsiteY126" fmla="*/ 1779032 h 1862389"/>
                    <a:gd name="connsiteX127" fmla="*/ 390486 w 1037929"/>
                    <a:gd name="connsiteY127" fmla="*/ 1786610 h 1862389"/>
                    <a:gd name="connsiteX128" fmla="*/ 385434 w 1037929"/>
                    <a:gd name="connsiteY128" fmla="*/ 1799240 h 1862389"/>
                    <a:gd name="connsiteX129" fmla="*/ 393012 w 1037929"/>
                    <a:gd name="connsiteY129" fmla="*/ 1801766 h 1862389"/>
                    <a:gd name="connsiteX130" fmla="*/ 403116 w 1037929"/>
                    <a:gd name="connsiteY130" fmla="*/ 1799240 h 1862389"/>
                    <a:gd name="connsiteX131" fmla="*/ 418272 w 1037929"/>
                    <a:gd name="connsiteY131" fmla="*/ 1796714 h 1862389"/>
                    <a:gd name="connsiteX132" fmla="*/ 428376 w 1037929"/>
                    <a:gd name="connsiteY132" fmla="*/ 1809344 h 1862389"/>
                    <a:gd name="connsiteX133" fmla="*/ 443532 w 1037929"/>
                    <a:gd name="connsiteY133" fmla="*/ 1799240 h 1862389"/>
                    <a:gd name="connsiteX134" fmla="*/ 438480 w 1037929"/>
                    <a:gd name="connsiteY134" fmla="*/ 1811870 h 1862389"/>
                    <a:gd name="connsiteX135" fmla="*/ 428376 w 1037929"/>
                    <a:gd name="connsiteY135" fmla="*/ 1821973 h 1862389"/>
                    <a:gd name="connsiteX136" fmla="*/ 433428 w 1037929"/>
                    <a:gd name="connsiteY136" fmla="*/ 1824499 h 1862389"/>
                    <a:gd name="connsiteX137" fmla="*/ 451110 w 1037929"/>
                    <a:gd name="connsiteY137" fmla="*/ 1821973 h 1862389"/>
                    <a:gd name="connsiteX138" fmla="*/ 456162 w 1037929"/>
                    <a:gd name="connsiteY138" fmla="*/ 1829551 h 1862389"/>
                    <a:gd name="connsiteX139" fmla="*/ 478895 w 1037929"/>
                    <a:gd name="connsiteY139" fmla="*/ 1852285 h 1862389"/>
                    <a:gd name="connsiteX140" fmla="*/ 471317 w 1037929"/>
                    <a:gd name="connsiteY140" fmla="*/ 1854811 h 1862389"/>
                    <a:gd name="connsiteX141" fmla="*/ 461213 w 1037929"/>
                    <a:gd name="connsiteY141" fmla="*/ 1857337 h 1862389"/>
                    <a:gd name="connsiteX142" fmla="*/ 476369 w 1037929"/>
                    <a:gd name="connsiteY142" fmla="*/ 1862389 h 1862389"/>
                    <a:gd name="connsiteX143" fmla="*/ 486473 w 1037929"/>
                    <a:gd name="connsiteY143" fmla="*/ 1854811 h 1862389"/>
                    <a:gd name="connsiteX144" fmla="*/ 488999 w 1037929"/>
                    <a:gd name="connsiteY144" fmla="*/ 1842181 h 1862389"/>
                    <a:gd name="connsiteX145" fmla="*/ 491525 w 1037929"/>
                    <a:gd name="connsiteY145" fmla="*/ 1834603 h 1862389"/>
                    <a:gd name="connsiteX146" fmla="*/ 511733 w 1037929"/>
                    <a:gd name="connsiteY146" fmla="*/ 1827025 h 1862389"/>
                    <a:gd name="connsiteX147" fmla="*/ 521837 w 1037929"/>
                    <a:gd name="connsiteY147" fmla="*/ 1816922 h 1862389"/>
                    <a:gd name="connsiteX148" fmla="*/ 539518 w 1037929"/>
                    <a:gd name="connsiteY148" fmla="*/ 1811870 h 1862389"/>
                    <a:gd name="connsiteX149" fmla="*/ 547096 w 1037929"/>
                    <a:gd name="connsiteY149" fmla="*/ 1809344 h 1862389"/>
                    <a:gd name="connsiteX150" fmla="*/ 569830 w 1037929"/>
                    <a:gd name="connsiteY150" fmla="*/ 1796714 h 1862389"/>
                    <a:gd name="connsiteX151" fmla="*/ 577408 w 1037929"/>
                    <a:gd name="connsiteY151" fmla="*/ 1801766 h 1862389"/>
                    <a:gd name="connsiteX152" fmla="*/ 592564 w 1037929"/>
                    <a:gd name="connsiteY152" fmla="*/ 1791662 h 1862389"/>
                    <a:gd name="connsiteX153" fmla="*/ 597616 w 1037929"/>
                    <a:gd name="connsiteY153" fmla="*/ 1784084 h 1862389"/>
                    <a:gd name="connsiteX154" fmla="*/ 605194 w 1037929"/>
                    <a:gd name="connsiteY154" fmla="*/ 1781558 h 1862389"/>
                    <a:gd name="connsiteX155" fmla="*/ 607720 w 1037929"/>
                    <a:gd name="connsiteY155" fmla="*/ 1771454 h 1862389"/>
                    <a:gd name="connsiteX156" fmla="*/ 615297 w 1037929"/>
                    <a:gd name="connsiteY156" fmla="*/ 1768928 h 1862389"/>
                    <a:gd name="connsiteX157" fmla="*/ 627927 w 1037929"/>
                    <a:gd name="connsiteY157" fmla="*/ 1763876 h 1862389"/>
                    <a:gd name="connsiteX158" fmla="*/ 655713 w 1037929"/>
                    <a:gd name="connsiteY158" fmla="*/ 1743668 h 1862389"/>
                    <a:gd name="connsiteX159" fmla="*/ 688550 w 1037929"/>
                    <a:gd name="connsiteY159" fmla="*/ 1738617 h 1862389"/>
                    <a:gd name="connsiteX160" fmla="*/ 706232 w 1037929"/>
                    <a:gd name="connsiteY160" fmla="*/ 1731039 h 1862389"/>
                    <a:gd name="connsiteX161" fmla="*/ 708758 w 1037929"/>
                    <a:gd name="connsiteY161" fmla="*/ 1720935 h 1862389"/>
                    <a:gd name="connsiteX162" fmla="*/ 716336 w 1037929"/>
                    <a:gd name="connsiteY162" fmla="*/ 1710831 h 1862389"/>
                    <a:gd name="connsiteX163" fmla="*/ 726440 w 1037929"/>
                    <a:gd name="connsiteY163" fmla="*/ 1698201 h 1862389"/>
                    <a:gd name="connsiteX164" fmla="*/ 741596 w 1037929"/>
                    <a:gd name="connsiteY164" fmla="*/ 1680519 h 1862389"/>
                    <a:gd name="connsiteX165" fmla="*/ 754226 w 1037929"/>
                    <a:gd name="connsiteY165" fmla="*/ 1677993 h 1862389"/>
                    <a:gd name="connsiteX166" fmla="*/ 761804 w 1037929"/>
                    <a:gd name="connsiteY166" fmla="*/ 1667889 h 1862389"/>
                    <a:gd name="connsiteX167" fmla="*/ 751700 w 1037929"/>
                    <a:gd name="connsiteY167" fmla="*/ 1652734 h 1862389"/>
                    <a:gd name="connsiteX168" fmla="*/ 751700 w 1037929"/>
                    <a:gd name="connsiteY168" fmla="*/ 1675467 h 1862389"/>
                    <a:gd name="connsiteX169" fmla="*/ 774433 w 1037929"/>
                    <a:gd name="connsiteY169" fmla="*/ 1683045 h 1862389"/>
                    <a:gd name="connsiteX170" fmla="*/ 784537 w 1037929"/>
                    <a:gd name="connsiteY170" fmla="*/ 1675467 h 1862389"/>
                    <a:gd name="connsiteX171" fmla="*/ 792115 w 1037929"/>
                    <a:gd name="connsiteY171" fmla="*/ 1660312 h 1862389"/>
                    <a:gd name="connsiteX172" fmla="*/ 799693 w 1037929"/>
                    <a:gd name="connsiteY172" fmla="*/ 1655260 h 1862389"/>
                    <a:gd name="connsiteX173" fmla="*/ 812323 w 1037929"/>
                    <a:gd name="connsiteY173" fmla="*/ 1657786 h 1862389"/>
                    <a:gd name="connsiteX174" fmla="*/ 822427 w 1037929"/>
                    <a:gd name="connsiteY174" fmla="*/ 1665364 h 1862389"/>
                    <a:gd name="connsiteX175" fmla="*/ 830005 w 1037929"/>
                    <a:gd name="connsiteY175" fmla="*/ 1667889 h 1862389"/>
                    <a:gd name="connsiteX176" fmla="*/ 850212 w 1037929"/>
                    <a:gd name="connsiteY176" fmla="*/ 1632526 h 1862389"/>
                    <a:gd name="connsiteX177" fmla="*/ 865368 w 1037929"/>
                    <a:gd name="connsiteY177" fmla="*/ 1609792 h 1862389"/>
                    <a:gd name="connsiteX178" fmla="*/ 875472 w 1037929"/>
                    <a:gd name="connsiteY178" fmla="*/ 1584533 h 1862389"/>
                    <a:gd name="connsiteX179" fmla="*/ 883050 w 1037929"/>
                    <a:gd name="connsiteY179" fmla="*/ 1576955 h 1862389"/>
                    <a:gd name="connsiteX180" fmla="*/ 888102 w 1037929"/>
                    <a:gd name="connsiteY180" fmla="*/ 1566851 h 1862389"/>
                    <a:gd name="connsiteX181" fmla="*/ 893154 w 1037929"/>
                    <a:gd name="connsiteY181" fmla="*/ 1559273 h 1862389"/>
                    <a:gd name="connsiteX182" fmla="*/ 895680 w 1037929"/>
                    <a:gd name="connsiteY182" fmla="*/ 1551695 h 1862389"/>
                    <a:gd name="connsiteX183" fmla="*/ 900732 w 1037929"/>
                    <a:gd name="connsiteY183" fmla="*/ 1544117 h 1862389"/>
                    <a:gd name="connsiteX184" fmla="*/ 903258 w 1037929"/>
                    <a:gd name="connsiteY184" fmla="*/ 1536539 h 1862389"/>
                    <a:gd name="connsiteX185" fmla="*/ 908310 w 1037929"/>
                    <a:gd name="connsiteY185" fmla="*/ 1528961 h 1862389"/>
                    <a:gd name="connsiteX186" fmla="*/ 925991 w 1037929"/>
                    <a:gd name="connsiteY186" fmla="*/ 1498650 h 1862389"/>
                    <a:gd name="connsiteX187" fmla="*/ 928517 w 1037929"/>
                    <a:gd name="connsiteY187" fmla="*/ 1491072 h 1862389"/>
                    <a:gd name="connsiteX188" fmla="*/ 931043 w 1037929"/>
                    <a:gd name="connsiteY188" fmla="*/ 1480968 h 1862389"/>
                    <a:gd name="connsiteX189" fmla="*/ 946199 w 1037929"/>
                    <a:gd name="connsiteY189" fmla="*/ 1460760 h 1862389"/>
                    <a:gd name="connsiteX190" fmla="*/ 948725 w 1037929"/>
                    <a:gd name="connsiteY190" fmla="*/ 1453182 h 1862389"/>
                    <a:gd name="connsiteX191" fmla="*/ 951251 w 1037929"/>
                    <a:gd name="connsiteY191" fmla="*/ 1440552 h 1862389"/>
                    <a:gd name="connsiteX192" fmla="*/ 958829 w 1037929"/>
                    <a:gd name="connsiteY192" fmla="*/ 1430449 h 1862389"/>
                    <a:gd name="connsiteX193" fmla="*/ 968933 w 1037929"/>
                    <a:gd name="connsiteY193" fmla="*/ 1410241 h 1862389"/>
                    <a:gd name="connsiteX194" fmla="*/ 973985 w 1037929"/>
                    <a:gd name="connsiteY194" fmla="*/ 1397611 h 1862389"/>
                    <a:gd name="connsiteX195" fmla="*/ 979037 w 1037929"/>
                    <a:gd name="connsiteY195" fmla="*/ 1390033 h 1862389"/>
                    <a:gd name="connsiteX196" fmla="*/ 989141 w 1037929"/>
                    <a:gd name="connsiteY196" fmla="*/ 1364773 h 1862389"/>
                    <a:gd name="connsiteX197" fmla="*/ 996718 w 1037929"/>
                    <a:gd name="connsiteY197" fmla="*/ 1344566 h 1862389"/>
                    <a:gd name="connsiteX198" fmla="*/ 1001770 w 1037929"/>
                    <a:gd name="connsiteY198" fmla="*/ 1334462 h 1862389"/>
                    <a:gd name="connsiteX199" fmla="*/ 1004296 w 1037929"/>
                    <a:gd name="connsiteY199" fmla="*/ 1306676 h 1862389"/>
                    <a:gd name="connsiteX200" fmla="*/ 1006822 w 1037929"/>
                    <a:gd name="connsiteY200" fmla="*/ 1299098 h 1862389"/>
                    <a:gd name="connsiteX201" fmla="*/ 1009348 w 1037929"/>
                    <a:gd name="connsiteY201" fmla="*/ 1283943 h 1862389"/>
                    <a:gd name="connsiteX202" fmla="*/ 1014400 w 1037929"/>
                    <a:gd name="connsiteY202" fmla="*/ 1276365 h 1862389"/>
                    <a:gd name="connsiteX203" fmla="*/ 1019452 w 1037929"/>
                    <a:gd name="connsiteY203" fmla="*/ 1266261 h 1862389"/>
                    <a:gd name="connsiteX204" fmla="*/ 1027030 w 1037929"/>
                    <a:gd name="connsiteY204" fmla="*/ 1253631 h 1862389"/>
                    <a:gd name="connsiteX205" fmla="*/ 1029556 w 1037929"/>
                    <a:gd name="connsiteY205" fmla="*/ 1235949 h 1862389"/>
                    <a:gd name="connsiteX206" fmla="*/ 1034608 w 1037929"/>
                    <a:gd name="connsiteY206" fmla="*/ 1220793 h 1862389"/>
                    <a:gd name="connsiteX207" fmla="*/ 1037134 w 1037929"/>
                    <a:gd name="connsiteY207" fmla="*/ 1177852 h 1862389"/>
                    <a:gd name="connsiteX208" fmla="*/ 1027030 w 1037929"/>
                    <a:gd name="connsiteY208" fmla="*/ 1137436 h 1862389"/>
                    <a:gd name="connsiteX209" fmla="*/ 1016926 w 1037929"/>
                    <a:gd name="connsiteY209" fmla="*/ 1134910 h 1862389"/>
                    <a:gd name="connsiteX210" fmla="*/ 999244 w 1037929"/>
                    <a:gd name="connsiteY210" fmla="*/ 1119755 h 1862389"/>
                    <a:gd name="connsiteX211" fmla="*/ 991667 w 1037929"/>
                    <a:gd name="connsiteY211" fmla="*/ 1112177 h 1862389"/>
                    <a:gd name="connsiteX212" fmla="*/ 971459 w 1037929"/>
                    <a:gd name="connsiteY212" fmla="*/ 1097021 h 1862389"/>
                    <a:gd name="connsiteX213" fmla="*/ 961355 w 1037929"/>
                    <a:gd name="connsiteY213" fmla="*/ 1089443 h 1862389"/>
                    <a:gd name="connsiteX214" fmla="*/ 946199 w 1037929"/>
                    <a:gd name="connsiteY214" fmla="*/ 1084391 h 1862389"/>
                    <a:gd name="connsiteX215" fmla="*/ 923465 w 1037929"/>
                    <a:gd name="connsiteY215" fmla="*/ 1079339 h 1862389"/>
                    <a:gd name="connsiteX216" fmla="*/ 910836 w 1037929"/>
                    <a:gd name="connsiteY216" fmla="*/ 1074287 h 1862389"/>
                    <a:gd name="connsiteX217" fmla="*/ 890628 w 1037929"/>
                    <a:gd name="connsiteY217" fmla="*/ 1061657 h 1862389"/>
                    <a:gd name="connsiteX218" fmla="*/ 877998 w 1037929"/>
                    <a:gd name="connsiteY218" fmla="*/ 1046502 h 1862389"/>
                    <a:gd name="connsiteX219" fmla="*/ 880524 w 1037929"/>
                    <a:gd name="connsiteY219" fmla="*/ 1033872 h 1862389"/>
                    <a:gd name="connsiteX220" fmla="*/ 885576 w 1037929"/>
                    <a:gd name="connsiteY220" fmla="*/ 1016190 h 1862389"/>
                    <a:gd name="connsiteX221" fmla="*/ 890628 w 1037929"/>
                    <a:gd name="connsiteY221" fmla="*/ 1008612 h 1862389"/>
                    <a:gd name="connsiteX222" fmla="*/ 850212 w 1037929"/>
                    <a:gd name="connsiteY222" fmla="*/ 940411 h 1862389"/>
                    <a:gd name="connsiteX223" fmla="*/ 837583 w 1037929"/>
                    <a:gd name="connsiteY223" fmla="*/ 937885 h 1862389"/>
                    <a:gd name="connsiteX224" fmla="*/ 827479 w 1037929"/>
                    <a:gd name="connsiteY224" fmla="*/ 877262 h 1862389"/>
                    <a:gd name="connsiteX225" fmla="*/ 814849 w 1037929"/>
                    <a:gd name="connsiteY225" fmla="*/ 874736 h 1862389"/>
                    <a:gd name="connsiteX226" fmla="*/ 799693 w 1037929"/>
                    <a:gd name="connsiteY226" fmla="*/ 862106 h 1862389"/>
                    <a:gd name="connsiteX227" fmla="*/ 779485 w 1037929"/>
                    <a:gd name="connsiteY227" fmla="*/ 859580 h 1862389"/>
                    <a:gd name="connsiteX228" fmla="*/ 776959 w 1037929"/>
                    <a:gd name="connsiteY228" fmla="*/ 849476 h 1862389"/>
                    <a:gd name="connsiteX229" fmla="*/ 774433 w 1037929"/>
                    <a:gd name="connsiteY229" fmla="*/ 841898 h 1862389"/>
                    <a:gd name="connsiteX230" fmla="*/ 789589 w 1037929"/>
                    <a:gd name="connsiteY230" fmla="*/ 811587 h 1862389"/>
                    <a:gd name="connsiteX231" fmla="*/ 782011 w 1037929"/>
                    <a:gd name="connsiteY231" fmla="*/ 798957 h 1862389"/>
                    <a:gd name="connsiteX232" fmla="*/ 761804 w 1037929"/>
                    <a:gd name="connsiteY232" fmla="*/ 783801 h 1862389"/>
                    <a:gd name="connsiteX233" fmla="*/ 766855 w 1037929"/>
                    <a:gd name="connsiteY233" fmla="*/ 713074 h 1862389"/>
                    <a:gd name="connsiteX234" fmla="*/ 779485 w 1037929"/>
                    <a:gd name="connsiteY234" fmla="*/ 708022 h 1862389"/>
                    <a:gd name="connsiteX235" fmla="*/ 782011 w 1037929"/>
                    <a:gd name="connsiteY235" fmla="*/ 697918 h 1862389"/>
                    <a:gd name="connsiteX236" fmla="*/ 774433 w 1037929"/>
                    <a:gd name="connsiteY236" fmla="*/ 695392 h 1862389"/>
                    <a:gd name="connsiteX237" fmla="*/ 761804 w 1037929"/>
                    <a:gd name="connsiteY237" fmla="*/ 692866 h 1862389"/>
                    <a:gd name="connsiteX238" fmla="*/ 754226 w 1037929"/>
                    <a:gd name="connsiteY238" fmla="*/ 685288 h 1862389"/>
                    <a:gd name="connsiteX239" fmla="*/ 741596 w 1037929"/>
                    <a:gd name="connsiteY239" fmla="*/ 660029 h 1862389"/>
                    <a:gd name="connsiteX240" fmla="*/ 731492 w 1037929"/>
                    <a:gd name="connsiteY240" fmla="*/ 649925 h 1862389"/>
                    <a:gd name="connsiteX241" fmla="*/ 723914 w 1037929"/>
                    <a:gd name="connsiteY241" fmla="*/ 637295 h 1862389"/>
                    <a:gd name="connsiteX242" fmla="*/ 711284 w 1037929"/>
                    <a:gd name="connsiteY242" fmla="*/ 619613 h 1862389"/>
                    <a:gd name="connsiteX243" fmla="*/ 696128 w 1037929"/>
                    <a:gd name="connsiteY243" fmla="*/ 601931 h 1862389"/>
                    <a:gd name="connsiteX244" fmla="*/ 686025 w 1037929"/>
                    <a:gd name="connsiteY244" fmla="*/ 589302 h 1862389"/>
                    <a:gd name="connsiteX245" fmla="*/ 678447 w 1037929"/>
                    <a:gd name="connsiteY245" fmla="*/ 581724 h 1862389"/>
                    <a:gd name="connsiteX246" fmla="*/ 665817 w 1037929"/>
                    <a:gd name="connsiteY246" fmla="*/ 558990 h 1862389"/>
                    <a:gd name="connsiteX247" fmla="*/ 645609 w 1037929"/>
                    <a:gd name="connsiteY247" fmla="*/ 533730 h 1862389"/>
                    <a:gd name="connsiteX248" fmla="*/ 632979 w 1037929"/>
                    <a:gd name="connsiteY248" fmla="*/ 518575 h 1862389"/>
                    <a:gd name="connsiteX249" fmla="*/ 630453 w 1037929"/>
                    <a:gd name="connsiteY249" fmla="*/ 505945 h 1862389"/>
                    <a:gd name="connsiteX250" fmla="*/ 635505 w 1037929"/>
                    <a:gd name="connsiteY250" fmla="*/ 468055 h 1862389"/>
                    <a:gd name="connsiteX251" fmla="*/ 638031 w 1037929"/>
                    <a:gd name="connsiteY251" fmla="*/ 452899 h 1862389"/>
                    <a:gd name="connsiteX252" fmla="*/ 645609 w 1037929"/>
                    <a:gd name="connsiteY252" fmla="*/ 440270 h 1862389"/>
                    <a:gd name="connsiteX253" fmla="*/ 648135 w 1037929"/>
                    <a:gd name="connsiteY253" fmla="*/ 430166 h 1862389"/>
                    <a:gd name="connsiteX254" fmla="*/ 653187 w 1037929"/>
                    <a:gd name="connsiteY254" fmla="*/ 387224 h 1862389"/>
                    <a:gd name="connsiteX255" fmla="*/ 650661 w 1037929"/>
                    <a:gd name="connsiteY255" fmla="*/ 369543 h 1862389"/>
                    <a:gd name="connsiteX256" fmla="*/ 632979 w 1037929"/>
                    <a:gd name="connsiteY256" fmla="*/ 359439 h 1862389"/>
                    <a:gd name="connsiteX257" fmla="*/ 625401 w 1037929"/>
                    <a:gd name="connsiteY257" fmla="*/ 349335 h 1862389"/>
                    <a:gd name="connsiteX258" fmla="*/ 620349 w 1037929"/>
                    <a:gd name="connsiteY258" fmla="*/ 341757 h 1862389"/>
                    <a:gd name="connsiteX259" fmla="*/ 612771 w 1037929"/>
                    <a:gd name="connsiteY259" fmla="*/ 339231 h 1862389"/>
                    <a:gd name="connsiteX260" fmla="*/ 605194 w 1037929"/>
                    <a:gd name="connsiteY260" fmla="*/ 334179 h 1862389"/>
                    <a:gd name="connsiteX261" fmla="*/ 595090 w 1037929"/>
                    <a:gd name="connsiteY261" fmla="*/ 316497 h 1862389"/>
                    <a:gd name="connsiteX262" fmla="*/ 587512 w 1037929"/>
                    <a:gd name="connsiteY262" fmla="*/ 311445 h 1862389"/>
                    <a:gd name="connsiteX263" fmla="*/ 531941 w 1037929"/>
                    <a:gd name="connsiteY263" fmla="*/ 311445 h 1862389"/>
                    <a:gd name="connsiteX264" fmla="*/ 529415 w 1037929"/>
                    <a:gd name="connsiteY264" fmla="*/ 301341 h 1862389"/>
                    <a:gd name="connsiteX265" fmla="*/ 521837 w 1037929"/>
                    <a:gd name="connsiteY265" fmla="*/ 276082 h 1862389"/>
                    <a:gd name="connsiteX266" fmla="*/ 519311 w 1037929"/>
                    <a:gd name="connsiteY266" fmla="*/ 255874 h 1862389"/>
                    <a:gd name="connsiteX267" fmla="*/ 516785 w 1037929"/>
                    <a:gd name="connsiteY267" fmla="*/ 245770 h 1862389"/>
                    <a:gd name="connsiteX268" fmla="*/ 514259 w 1037929"/>
                    <a:gd name="connsiteY268" fmla="*/ 197777 h 1862389"/>
                    <a:gd name="connsiteX269" fmla="*/ 506681 w 1037929"/>
                    <a:gd name="connsiteY269" fmla="*/ 195251 h 1862389"/>
                    <a:gd name="connsiteX270" fmla="*/ 499103 w 1037929"/>
                    <a:gd name="connsiteY270" fmla="*/ 187673 h 1862389"/>
                    <a:gd name="connsiteX271" fmla="*/ 509207 w 1037929"/>
                    <a:gd name="connsiteY271" fmla="*/ 149783 h 1862389"/>
                    <a:gd name="connsiteX272" fmla="*/ 504155 w 1037929"/>
                    <a:gd name="connsiteY272" fmla="*/ 129576 h 1862389"/>
                    <a:gd name="connsiteX273" fmla="*/ 501629 w 1037929"/>
                    <a:gd name="connsiteY273" fmla="*/ 61375 h 1862389"/>
                    <a:gd name="connsiteX274" fmla="*/ 494051 w 1037929"/>
                    <a:gd name="connsiteY274" fmla="*/ 58849 h 1862389"/>
                    <a:gd name="connsiteX275" fmla="*/ 483947 w 1037929"/>
                    <a:gd name="connsiteY275" fmla="*/ 53797 h 1862389"/>
                    <a:gd name="connsiteX276" fmla="*/ 451110 w 1037929"/>
                    <a:gd name="connsiteY276" fmla="*/ 48745 h 1862389"/>
                    <a:gd name="connsiteX277" fmla="*/ 430902 w 1037929"/>
                    <a:gd name="connsiteY277" fmla="*/ 36115 h 1862389"/>
                    <a:gd name="connsiteX278" fmla="*/ 410694 w 1037929"/>
                    <a:gd name="connsiteY278" fmla="*/ 18433 h 1862389"/>
                    <a:gd name="connsiteX279" fmla="*/ 400584 w 1037929"/>
                    <a:gd name="connsiteY279" fmla="*/ 3920 h 1862389"/>
                    <a:gd name="connsiteX280" fmla="*/ 389220 w 1037929"/>
                    <a:gd name="connsiteY280" fmla="*/ 767 h 1862389"/>
                    <a:gd name="connsiteX281" fmla="*/ 350071 w 1037929"/>
                    <a:gd name="connsiteY281" fmla="*/ 15907 h 1862389"/>
                    <a:gd name="connsiteX282" fmla="*/ 352597 w 1037929"/>
                    <a:gd name="connsiteY282" fmla="*/ 5803 h 1862389"/>
                    <a:gd name="connsiteX283" fmla="*/ 362701 w 1037929"/>
                    <a:gd name="connsiteY283" fmla="*/ 8329 h 1862389"/>
                    <a:gd name="connsiteX284" fmla="*/ 350071 w 1037929"/>
                    <a:gd name="connsiteY284" fmla="*/ 43693 h 1862389"/>
                    <a:gd name="connsiteX285" fmla="*/ 347545 w 1037929"/>
                    <a:gd name="connsiteY285" fmla="*/ 53797 h 1862389"/>
                    <a:gd name="connsiteX286" fmla="*/ 339967 w 1037929"/>
                    <a:gd name="connsiteY286" fmla="*/ 56323 h 1862389"/>
                    <a:gd name="connsiteX287" fmla="*/ 324811 w 1037929"/>
                    <a:gd name="connsiteY287" fmla="*/ 53797 h 1862389"/>
                    <a:gd name="connsiteX288" fmla="*/ 307129 w 1037929"/>
                    <a:gd name="connsiteY288" fmla="*/ 51271 h 1862389"/>
                    <a:gd name="connsiteX289" fmla="*/ 297026 w 1037929"/>
                    <a:gd name="connsiteY289" fmla="*/ 48745 h 1862389"/>
                    <a:gd name="connsiteX290" fmla="*/ 289448 w 1037929"/>
                    <a:gd name="connsiteY290" fmla="*/ 51271 h 1862389"/>
                    <a:gd name="connsiteX291" fmla="*/ 291974 w 1037929"/>
                    <a:gd name="connsiteY291" fmla="*/ 68952 h 1862389"/>
                    <a:gd name="connsiteX292" fmla="*/ 297026 w 1037929"/>
                    <a:gd name="connsiteY292" fmla="*/ 91686 h 1862389"/>
                    <a:gd name="connsiteX293" fmla="*/ 294500 w 1037929"/>
                    <a:gd name="connsiteY293" fmla="*/ 129576 h 1862389"/>
                    <a:gd name="connsiteX294" fmla="*/ 291974 w 1037929"/>
                    <a:gd name="connsiteY294" fmla="*/ 137154 h 1862389"/>
                    <a:gd name="connsiteX295" fmla="*/ 289448 w 1037929"/>
                    <a:gd name="connsiteY295" fmla="*/ 152309 h 1862389"/>
                    <a:gd name="connsiteX296" fmla="*/ 302078 w 1037929"/>
                    <a:gd name="connsiteY296" fmla="*/ 205355 h 1862389"/>
                    <a:gd name="connsiteX297" fmla="*/ 309655 w 1037929"/>
                    <a:gd name="connsiteY297" fmla="*/ 207881 h 1862389"/>
                    <a:gd name="connsiteX298" fmla="*/ 297026 w 1037929"/>
                    <a:gd name="connsiteY298" fmla="*/ 245770 h 1862389"/>
                    <a:gd name="connsiteX299" fmla="*/ 284396 w 1037929"/>
                    <a:gd name="connsiteY299" fmla="*/ 288712 h 1862389"/>
                    <a:gd name="connsiteX300" fmla="*/ 281870 w 1037929"/>
                    <a:gd name="connsiteY300" fmla="*/ 298951 h 1862389"/>
                    <a:gd name="connsiteX301" fmla="*/ 262549 w 1037929"/>
                    <a:gd name="connsiteY301" fmla="*/ 292260 h 1862389"/>
                    <a:gd name="connsiteX302" fmla="*/ 256610 w 1037929"/>
                    <a:gd name="connsiteY302" fmla="*/ 291238 h 1862389"/>
                    <a:gd name="connsiteX303" fmla="*/ 249032 w 1037929"/>
                    <a:gd name="connsiteY303" fmla="*/ 286186 h 1862389"/>
                    <a:gd name="connsiteX304" fmla="*/ 243980 w 1037929"/>
                    <a:gd name="connsiteY304" fmla="*/ 278608 h 1862389"/>
                    <a:gd name="connsiteX305" fmla="*/ 241454 w 1037929"/>
                    <a:gd name="connsiteY305" fmla="*/ 271030 h 1862389"/>
                    <a:gd name="connsiteX306" fmla="*/ 231350 w 1037929"/>
                    <a:gd name="connsiteY306" fmla="*/ 268504 h 1862389"/>
                    <a:gd name="connsiteX307" fmla="*/ 221247 w 1037929"/>
                    <a:gd name="connsiteY307" fmla="*/ 268024 h 1862389"/>
                    <a:gd name="connsiteX308" fmla="*/ 198513 w 1037929"/>
                    <a:gd name="connsiteY308" fmla="*/ 268504 h 1862389"/>
                    <a:gd name="connsiteX309" fmla="*/ 195987 w 1037929"/>
                    <a:gd name="connsiteY309" fmla="*/ 281134 h 1862389"/>
                    <a:gd name="connsiteX310" fmla="*/ 177074 w 1037929"/>
                    <a:gd name="connsiteY310" fmla="*/ 279767 h 1862389"/>
                    <a:gd name="connsiteX311" fmla="*/ 147994 w 1037929"/>
                    <a:gd name="connsiteY311" fmla="*/ 306393 h 1862389"/>
                    <a:gd name="connsiteX312" fmla="*/ 94948 w 1037929"/>
                    <a:gd name="connsiteY312" fmla="*/ 291238 h 1862389"/>
                    <a:gd name="connsiteX313" fmla="*/ 89896 w 1037929"/>
                    <a:gd name="connsiteY313" fmla="*/ 283660 h 1862389"/>
                    <a:gd name="connsiteX314" fmla="*/ 87370 w 1037929"/>
                    <a:gd name="connsiteY314" fmla="*/ 273556 h 1862389"/>
                    <a:gd name="connsiteX315" fmla="*/ 84844 w 1037929"/>
                    <a:gd name="connsiteY315" fmla="*/ 265978 h 1862389"/>
                    <a:gd name="connsiteX316" fmla="*/ 72215 w 1037929"/>
                    <a:gd name="connsiteY316" fmla="*/ 260926 h 1862389"/>
                    <a:gd name="connsiteX317" fmla="*/ 54533 w 1037929"/>
                    <a:gd name="connsiteY317" fmla="*/ 240718 h 1862389"/>
                    <a:gd name="connsiteX318" fmla="*/ 44429 w 1037929"/>
                    <a:gd name="connsiteY318" fmla="*/ 235666 h 1862389"/>
                    <a:gd name="connsiteX319" fmla="*/ 29273 w 1037929"/>
                    <a:gd name="connsiteY319" fmla="*/ 228088 h 1862389"/>
                    <a:gd name="connsiteX320" fmla="*/ 21695 w 1037929"/>
                    <a:gd name="connsiteY320" fmla="*/ 220510 h 1862389"/>
                    <a:gd name="connsiteX321" fmla="*/ 6539 w 1037929"/>
                    <a:gd name="connsiteY321" fmla="*/ 240718 h 1862389"/>
                    <a:gd name="connsiteX322" fmla="*/ 256 w 1037929"/>
                    <a:gd name="connsiteY322" fmla="*/ 258536 h 1862389"/>
                    <a:gd name="connsiteX0" fmla="*/ 256 w 1037929"/>
                    <a:gd name="connsiteY0" fmla="*/ 258536 h 1862389"/>
                    <a:gd name="connsiteX1" fmla="*/ 1487 w 1037929"/>
                    <a:gd name="connsiteY1" fmla="*/ 268504 h 1862389"/>
                    <a:gd name="connsiteX2" fmla="*/ 4013 w 1037929"/>
                    <a:gd name="connsiteY2" fmla="*/ 276082 h 1862389"/>
                    <a:gd name="connsiteX3" fmla="*/ 29273 w 1037929"/>
                    <a:gd name="connsiteY3" fmla="*/ 291238 h 1862389"/>
                    <a:gd name="connsiteX4" fmla="*/ 36851 w 1037929"/>
                    <a:gd name="connsiteY4" fmla="*/ 301341 h 1862389"/>
                    <a:gd name="connsiteX5" fmla="*/ 44429 w 1037929"/>
                    <a:gd name="connsiteY5" fmla="*/ 308919 h 1862389"/>
                    <a:gd name="connsiteX6" fmla="*/ 59585 w 1037929"/>
                    <a:gd name="connsiteY6" fmla="*/ 329127 h 1862389"/>
                    <a:gd name="connsiteX7" fmla="*/ 64637 w 1037929"/>
                    <a:gd name="connsiteY7" fmla="*/ 336705 h 1862389"/>
                    <a:gd name="connsiteX8" fmla="*/ 72215 w 1037929"/>
                    <a:gd name="connsiteY8" fmla="*/ 344283 h 1862389"/>
                    <a:gd name="connsiteX9" fmla="*/ 74741 w 1037929"/>
                    <a:gd name="connsiteY9" fmla="*/ 351861 h 1862389"/>
                    <a:gd name="connsiteX10" fmla="*/ 132838 w 1037929"/>
                    <a:gd name="connsiteY10" fmla="*/ 364491 h 1862389"/>
                    <a:gd name="connsiteX11" fmla="*/ 150520 w 1037929"/>
                    <a:gd name="connsiteY11" fmla="*/ 372068 h 1862389"/>
                    <a:gd name="connsiteX12" fmla="*/ 160623 w 1037929"/>
                    <a:gd name="connsiteY12" fmla="*/ 382172 h 1862389"/>
                    <a:gd name="connsiteX13" fmla="*/ 165675 w 1037929"/>
                    <a:gd name="connsiteY13" fmla="*/ 397328 h 1862389"/>
                    <a:gd name="connsiteX14" fmla="*/ 183357 w 1037929"/>
                    <a:gd name="connsiteY14" fmla="*/ 404906 h 1862389"/>
                    <a:gd name="connsiteX15" fmla="*/ 190935 w 1037929"/>
                    <a:gd name="connsiteY15" fmla="*/ 409958 h 1862389"/>
                    <a:gd name="connsiteX16" fmla="*/ 203565 w 1037929"/>
                    <a:gd name="connsiteY16" fmla="*/ 425114 h 1862389"/>
                    <a:gd name="connsiteX17" fmla="*/ 213669 w 1037929"/>
                    <a:gd name="connsiteY17" fmla="*/ 427640 h 1862389"/>
                    <a:gd name="connsiteX18" fmla="*/ 221247 w 1037929"/>
                    <a:gd name="connsiteY18" fmla="*/ 430166 h 1862389"/>
                    <a:gd name="connsiteX19" fmla="*/ 213669 w 1037929"/>
                    <a:gd name="connsiteY19" fmla="*/ 432692 h 1862389"/>
                    <a:gd name="connsiteX20" fmla="*/ 213669 w 1037929"/>
                    <a:gd name="connsiteY20" fmla="*/ 452899 h 1862389"/>
                    <a:gd name="connsiteX21" fmla="*/ 216195 w 1037929"/>
                    <a:gd name="connsiteY21" fmla="*/ 460477 h 1862389"/>
                    <a:gd name="connsiteX22" fmla="*/ 223773 w 1037929"/>
                    <a:gd name="connsiteY22" fmla="*/ 468055 h 1862389"/>
                    <a:gd name="connsiteX23" fmla="*/ 226299 w 1037929"/>
                    <a:gd name="connsiteY23" fmla="*/ 498367 h 1862389"/>
                    <a:gd name="connsiteX24" fmla="*/ 228825 w 1037929"/>
                    <a:gd name="connsiteY24" fmla="*/ 516049 h 1862389"/>
                    <a:gd name="connsiteX25" fmla="*/ 241454 w 1037929"/>
                    <a:gd name="connsiteY25" fmla="*/ 526152 h 1862389"/>
                    <a:gd name="connsiteX26" fmla="*/ 249032 w 1037929"/>
                    <a:gd name="connsiteY26" fmla="*/ 523626 h 1862389"/>
                    <a:gd name="connsiteX27" fmla="*/ 249032 w 1037929"/>
                    <a:gd name="connsiteY27" fmla="*/ 543834 h 1862389"/>
                    <a:gd name="connsiteX28" fmla="*/ 241454 w 1037929"/>
                    <a:gd name="connsiteY28" fmla="*/ 546360 h 1862389"/>
                    <a:gd name="connsiteX29" fmla="*/ 236402 w 1037929"/>
                    <a:gd name="connsiteY29" fmla="*/ 553938 h 1862389"/>
                    <a:gd name="connsiteX30" fmla="*/ 246506 w 1037929"/>
                    <a:gd name="connsiteY30" fmla="*/ 561516 h 1862389"/>
                    <a:gd name="connsiteX31" fmla="*/ 249032 w 1037929"/>
                    <a:gd name="connsiteY31" fmla="*/ 579198 h 1862389"/>
                    <a:gd name="connsiteX32" fmla="*/ 264188 w 1037929"/>
                    <a:gd name="connsiteY32" fmla="*/ 601931 h 1862389"/>
                    <a:gd name="connsiteX33" fmla="*/ 271766 w 1037929"/>
                    <a:gd name="connsiteY33" fmla="*/ 619613 h 1862389"/>
                    <a:gd name="connsiteX34" fmla="*/ 274292 w 1037929"/>
                    <a:gd name="connsiteY34" fmla="*/ 637295 h 1862389"/>
                    <a:gd name="connsiteX35" fmla="*/ 281870 w 1037929"/>
                    <a:gd name="connsiteY35" fmla="*/ 644873 h 1862389"/>
                    <a:gd name="connsiteX36" fmla="*/ 286922 w 1037929"/>
                    <a:gd name="connsiteY36" fmla="*/ 705496 h 1862389"/>
                    <a:gd name="connsiteX37" fmla="*/ 291974 w 1037929"/>
                    <a:gd name="connsiteY37" fmla="*/ 723178 h 1862389"/>
                    <a:gd name="connsiteX38" fmla="*/ 294500 w 1037929"/>
                    <a:gd name="connsiteY38" fmla="*/ 735808 h 1862389"/>
                    <a:gd name="connsiteX39" fmla="*/ 302078 w 1037929"/>
                    <a:gd name="connsiteY39" fmla="*/ 758541 h 1862389"/>
                    <a:gd name="connsiteX40" fmla="*/ 304604 w 1037929"/>
                    <a:gd name="connsiteY40" fmla="*/ 766119 h 1862389"/>
                    <a:gd name="connsiteX41" fmla="*/ 322285 w 1037929"/>
                    <a:gd name="connsiteY41" fmla="*/ 793905 h 1862389"/>
                    <a:gd name="connsiteX42" fmla="*/ 334915 w 1037929"/>
                    <a:gd name="connsiteY42" fmla="*/ 811587 h 1862389"/>
                    <a:gd name="connsiteX43" fmla="*/ 347545 w 1037929"/>
                    <a:gd name="connsiteY43" fmla="*/ 809061 h 1862389"/>
                    <a:gd name="connsiteX44" fmla="*/ 357649 w 1037929"/>
                    <a:gd name="connsiteY44" fmla="*/ 778749 h 1862389"/>
                    <a:gd name="connsiteX45" fmla="*/ 365227 w 1037929"/>
                    <a:gd name="connsiteY45" fmla="*/ 776223 h 1862389"/>
                    <a:gd name="connsiteX46" fmla="*/ 372805 w 1037929"/>
                    <a:gd name="connsiteY46" fmla="*/ 771171 h 1862389"/>
                    <a:gd name="connsiteX47" fmla="*/ 365227 w 1037929"/>
                    <a:gd name="connsiteY47" fmla="*/ 781275 h 1862389"/>
                    <a:gd name="connsiteX48" fmla="*/ 367753 w 1037929"/>
                    <a:gd name="connsiteY48" fmla="*/ 804009 h 1862389"/>
                    <a:gd name="connsiteX49" fmla="*/ 395538 w 1037929"/>
                    <a:gd name="connsiteY49" fmla="*/ 811587 h 1862389"/>
                    <a:gd name="connsiteX50" fmla="*/ 410694 w 1037929"/>
                    <a:gd name="connsiteY50" fmla="*/ 816639 h 1862389"/>
                    <a:gd name="connsiteX51" fmla="*/ 420798 w 1037929"/>
                    <a:gd name="connsiteY51" fmla="*/ 826743 h 1862389"/>
                    <a:gd name="connsiteX52" fmla="*/ 433428 w 1037929"/>
                    <a:gd name="connsiteY52" fmla="*/ 846950 h 1862389"/>
                    <a:gd name="connsiteX53" fmla="*/ 438480 w 1037929"/>
                    <a:gd name="connsiteY53" fmla="*/ 869684 h 1862389"/>
                    <a:gd name="connsiteX54" fmla="*/ 446058 w 1037929"/>
                    <a:gd name="connsiteY54" fmla="*/ 879788 h 1862389"/>
                    <a:gd name="connsiteX55" fmla="*/ 448584 w 1037929"/>
                    <a:gd name="connsiteY55" fmla="*/ 907573 h 1862389"/>
                    <a:gd name="connsiteX56" fmla="*/ 451110 w 1037929"/>
                    <a:gd name="connsiteY56" fmla="*/ 920203 h 1862389"/>
                    <a:gd name="connsiteX57" fmla="*/ 461213 w 1037929"/>
                    <a:gd name="connsiteY57" fmla="*/ 925255 h 1862389"/>
                    <a:gd name="connsiteX58" fmla="*/ 466265 w 1037929"/>
                    <a:gd name="connsiteY58" fmla="*/ 950515 h 1862389"/>
                    <a:gd name="connsiteX59" fmla="*/ 456162 w 1037929"/>
                    <a:gd name="connsiteY59" fmla="*/ 945463 h 1862389"/>
                    <a:gd name="connsiteX60" fmla="*/ 451110 w 1037929"/>
                    <a:gd name="connsiteY60" fmla="*/ 937885 h 1862389"/>
                    <a:gd name="connsiteX61" fmla="*/ 428783 w 1037929"/>
                    <a:gd name="connsiteY61" fmla="*/ 947649 h 1862389"/>
                    <a:gd name="connsiteX62" fmla="*/ 425850 w 1037929"/>
                    <a:gd name="connsiteY62" fmla="*/ 925255 h 1862389"/>
                    <a:gd name="connsiteX63" fmla="*/ 400590 w 1037929"/>
                    <a:gd name="connsiteY63" fmla="*/ 930307 h 1862389"/>
                    <a:gd name="connsiteX64" fmla="*/ 425714 w 1037929"/>
                    <a:gd name="connsiteY64" fmla="*/ 947989 h 1862389"/>
                    <a:gd name="connsiteX65" fmla="*/ 410694 w 1037929"/>
                    <a:gd name="connsiteY65" fmla="*/ 975775 h 1862389"/>
                    <a:gd name="connsiteX66" fmla="*/ 408168 w 1037929"/>
                    <a:gd name="connsiteY66" fmla="*/ 985878 h 1862389"/>
                    <a:gd name="connsiteX67" fmla="*/ 405642 w 1037929"/>
                    <a:gd name="connsiteY67" fmla="*/ 1016190 h 1862389"/>
                    <a:gd name="connsiteX68" fmla="*/ 398064 w 1037929"/>
                    <a:gd name="connsiteY68" fmla="*/ 1023768 h 1862389"/>
                    <a:gd name="connsiteX69" fmla="*/ 385434 w 1037929"/>
                    <a:gd name="connsiteY69" fmla="*/ 1049028 h 1862389"/>
                    <a:gd name="connsiteX70" fmla="*/ 380383 w 1037929"/>
                    <a:gd name="connsiteY70" fmla="*/ 1064183 h 1862389"/>
                    <a:gd name="connsiteX71" fmla="*/ 372805 w 1037929"/>
                    <a:gd name="connsiteY71" fmla="*/ 1079339 h 1862389"/>
                    <a:gd name="connsiteX72" fmla="*/ 370279 w 1037929"/>
                    <a:gd name="connsiteY72" fmla="*/ 1099547 h 1862389"/>
                    <a:gd name="connsiteX73" fmla="*/ 350071 w 1037929"/>
                    <a:gd name="connsiteY73" fmla="*/ 1122281 h 1862389"/>
                    <a:gd name="connsiteX74" fmla="*/ 332389 w 1037929"/>
                    <a:gd name="connsiteY74" fmla="*/ 1155118 h 1862389"/>
                    <a:gd name="connsiteX75" fmla="*/ 322285 w 1037929"/>
                    <a:gd name="connsiteY75" fmla="*/ 1170274 h 1862389"/>
                    <a:gd name="connsiteX76" fmla="*/ 314707 w 1037929"/>
                    <a:gd name="connsiteY76" fmla="*/ 1157644 h 1862389"/>
                    <a:gd name="connsiteX77" fmla="*/ 312181 w 1037929"/>
                    <a:gd name="connsiteY77" fmla="*/ 1150066 h 1862389"/>
                    <a:gd name="connsiteX78" fmla="*/ 302078 w 1037929"/>
                    <a:gd name="connsiteY78" fmla="*/ 1162696 h 1862389"/>
                    <a:gd name="connsiteX79" fmla="*/ 304604 w 1037929"/>
                    <a:gd name="connsiteY79" fmla="*/ 1198060 h 1862389"/>
                    <a:gd name="connsiteX80" fmla="*/ 312181 w 1037929"/>
                    <a:gd name="connsiteY80" fmla="*/ 1200586 h 1862389"/>
                    <a:gd name="connsiteX81" fmla="*/ 299552 w 1037929"/>
                    <a:gd name="connsiteY81" fmla="*/ 1203112 h 1862389"/>
                    <a:gd name="connsiteX82" fmla="*/ 294500 w 1037929"/>
                    <a:gd name="connsiteY82" fmla="*/ 1205638 h 1862389"/>
                    <a:gd name="connsiteX83" fmla="*/ 286922 w 1037929"/>
                    <a:gd name="connsiteY83" fmla="*/ 1210689 h 1862389"/>
                    <a:gd name="connsiteX84" fmla="*/ 281870 w 1037929"/>
                    <a:gd name="connsiteY84" fmla="*/ 1218267 h 1862389"/>
                    <a:gd name="connsiteX85" fmla="*/ 279344 w 1037929"/>
                    <a:gd name="connsiteY85" fmla="*/ 1233423 h 1862389"/>
                    <a:gd name="connsiteX86" fmla="*/ 276818 w 1037929"/>
                    <a:gd name="connsiteY86" fmla="*/ 1243527 h 1862389"/>
                    <a:gd name="connsiteX87" fmla="*/ 284396 w 1037929"/>
                    <a:gd name="connsiteY87" fmla="*/ 1246053 h 1862389"/>
                    <a:gd name="connsiteX88" fmla="*/ 284396 w 1037929"/>
                    <a:gd name="connsiteY88" fmla="*/ 1266261 h 1862389"/>
                    <a:gd name="connsiteX89" fmla="*/ 249032 w 1037929"/>
                    <a:gd name="connsiteY89" fmla="*/ 1278891 h 1862389"/>
                    <a:gd name="connsiteX90" fmla="*/ 241454 w 1037929"/>
                    <a:gd name="connsiteY90" fmla="*/ 1281417 h 1862389"/>
                    <a:gd name="connsiteX91" fmla="*/ 233876 w 1037929"/>
                    <a:gd name="connsiteY91" fmla="*/ 1286468 h 1862389"/>
                    <a:gd name="connsiteX92" fmla="*/ 218721 w 1037929"/>
                    <a:gd name="connsiteY92" fmla="*/ 1294046 h 1862389"/>
                    <a:gd name="connsiteX93" fmla="*/ 228825 w 1037929"/>
                    <a:gd name="connsiteY93" fmla="*/ 1299098 h 1862389"/>
                    <a:gd name="connsiteX94" fmla="*/ 223773 w 1037929"/>
                    <a:gd name="connsiteY94" fmla="*/ 1339514 h 1862389"/>
                    <a:gd name="connsiteX95" fmla="*/ 218721 w 1037929"/>
                    <a:gd name="connsiteY95" fmla="*/ 1347092 h 1862389"/>
                    <a:gd name="connsiteX96" fmla="*/ 213669 w 1037929"/>
                    <a:gd name="connsiteY96" fmla="*/ 1359722 h 1862389"/>
                    <a:gd name="connsiteX97" fmla="*/ 208617 w 1037929"/>
                    <a:gd name="connsiteY97" fmla="*/ 1367299 h 1862389"/>
                    <a:gd name="connsiteX98" fmla="*/ 203565 w 1037929"/>
                    <a:gd name="connsiteY98" fmla="*/ 1377403 h 1862389"/>
                    <a:gd name="connsiteX99" fmla="*/ 211143 w 1037929"/>
                    <a:gd name="connsiteY99" fmla="*/ 1400137 h 1862389"/>
                    <a:gd name="connsiteX100" fmla="*/ 216195 w 1037929"/>
                    <a:gd name="connsiteY100" fmla="*/ 1407715 h 1862389"/>
                    <a:gd name="connsiteX101" fmla="*/ 218721 w 1037929"/>
                    <a:gd name="connsiteY101" fmla="*/ 1417819 h 1862389"/>
                    <a:gd name="connsiteX102" fmla="*/ 228825 w 1037929"/>
                    <a:gd name="connsiteY102" fmla="*/ 1438026 h 1862389"/>
                    <a:gd name="connsiteX103" fmla="*/ 231350 w 1037929"/>
                    <a:gd name="connsiteY103" fmla="*/ 1445604 h 1862389"/>
                    <a:gd name="connsiteX104" fmla="*/ 241454 w 1037929"/>
                    <a:gd name="connsiteY104" fmla="*/ 1463286 h 1862389"/>
                    <a:gd name="connsiteX105" fmla="*/ 246506 w 1037929"/>
                    <a:gd name="connsiteY105" fmla="*/ 1475916 h 1862389"/>
                    <a:gd name="connsiteX106" fmla="*/ 246506 w 1037929"/>
                    <a:gd name="connsiteY106" fmla="*/ 1513806 h 1862389"/>
                    <a:gd name="connsiteX107" fmla="*/ 256610 w 1037929"/>
                    <a:gd name="connsiteY107" fmla="*/ 1516331 h 1862389"/>
                    <a:gd name="connsiteX108" fmla="*/ 264188 w 1037929"/>
                    <a:gd name="connsiteY108" fmla="*/ 1526435 h 1862389"/>
                    <a:gd name="connsiteX109" fmla="*/ 269240 w 1037929"/>
                    <a:gd name="connsiteY109" fmla="*/ 1534013 h 1862389"/>
                    <a:gd name="connsiteX110" fmla="*/ 279344 w 1037929"/>
                    <a:gd name="connsiteY110" fmla="*/ 1561799 h 1862389"/>
                    <a:gd name="connsiteX111" fmla="*/ 284396 w 1037929"/>
                    <a:gd name="connsiteY111" fmla="*/ 1589585 h 1862389"/>
                    <a:gd name="connsiteX112" fmla="*/ 281870 w 1037929"/>
                    <a:gd name="connsiteY112" fmla="*/ 1597162 h 1862389"/>
                    <a:gd name="connsiteX113" fmla="*/ 281870 w 1037929"/>
                    <a:gd name="connsiteY113" fmla="*/ 1677993 h 1862389"/>
                    <a:gd name="connsiteX114" fmla="*/ 284396 w 1037929"/>
                    <a:gd name="connsiteY114" fmla="*/ 1703253 h 1862389"/>
                    <a:gd name="connsiteX115" fmla="*/ 297026 w 1037929"/>
                    <a:gd name="connsiteY115" fmla="*/ 1705779 h 1862389"/>
                    <a:gd name="connsiteX116" fmla="*/ 289448 w 1037929"/>
                    <a:gd name="connsiteY116" fmla="*/ 1713357 h 1862389"/>
                    <a:gd name="connsiteX117" fmla="*/ 294500 w 1037929"/>
                    <a:gd name="connsiteY117" fmla="*/ 1720935 h 1862389"/>
                    <a:gd name="connsiteX118" fmla="*/ 297026 w 1037929"/>
                    <a:gd name="connsiteY118" fmla="*/ 1728513 h 1862389"/>
                    <a:gd name="connsiteX119" fmla="*/ 294500 w 1037929"/>
                    <a:gd name="connsiteY119" fmla="*/ 1763876 h 1862389"/>
                    <a:gd name="connsiteX120" fmla="*/ 322285 w 1037929"/>
                    <a:gd name="connsiteY120" fmla="*/ 1758824 h 1862389"/>
                    <a:gd name="connsiteX121" fmla="*/ 329863 w 1037929"/>
                    <a:gd name="connsiteY121" fmla="*/ 1761350 h 1862389"/>
                    <a:gd name="connsiteX122" fmla="*/ 334915 w 1037929"/>
                    <a:gd name="connsiteY122" fmla="*/ 1779032 h 1862389"/>
                    <a:gd name="connsiteX123" fmla="*/ 355123 w 1037929"/>
                    <a:gd name="connsiteY123" fmla="*/ 1784084 h 1862389"/>
                    <a:gd name="connsiteX124" fmla="*/ 357649 w 1037929"/>
                    <a:gd name="connsiteY124" fmla="*/ 1794188 h 1862389"/>
                    <a:gd name="connsiteX125" fmla="*/ 380383 w 1037929"/>
                    <a:gd name="connsiteY125" fmla="*/ 1789136 h 1862389"/>
                    <a:gd name="connsiteX126" fmla="*/ 393012 w 1037929"/>
                    <a:gd name="connsiteY126" fmla="*/ 1779032 h 1862389"/>
                    <a:gd name="connsiteX127" fmla="*/ 390486 w 1037929"/>
                    <a:gd name="connsiteY127" fmla="*/ 1786610 h 1862389"/>
                    <a:gd name="connsiteX128" fmla="*/ 385434 w 1037929"/>
                    <a:gd name="connsiteY128" fmla="*/ 1799240 h 1862389"/>
                    <a:gd name="connsiteX129" fmla="*/ 393012 w 1037929"/>
                    <a:gd name="connsiteY129" fmla="*/ 1801766 h 1862389"/>
                    <a:gd name="connsiteX130" fmla="*/ 403116 w 1037929"/>
                    <a:gd name="connsiteY130" fmla="*/ 1799240 h 1862389"/>
                    <a:gd name="connsiteX131" fmla="*/ 418272 w 1037929"/>
                    <a:gd name="connsiteY131" fmla="*/ 1796714 h 1862389"/>
                    <a:gd name="connsiteX132" fmla="*/ 428376 w 1037929"/>
                    <a:gd name="connsiteY132" fmla="*/ 1809344 h 1862389"/>
                    <a:gd name="connsiteX133" fmla="*/ 443532 w 1037929"/>
                    <a:gd name="connsiteY133" fmla="*/ 1799240 h 1862389"/>
                    <a:gd name="connsiteX134" fmla="*/ 438480 w 1037929"/>
                    <a:gd name="connsiteY134" fmla="*/ 1811870 h 1862389"/>
                    <a:gd name="connsiteX135" fmla="*/ 428376 w 1037929"/>
                    <a:gd name="connsiteY135" fmla="*/ 1821973 h 1862389"/>
                    <a:gd name="connsiteX136" fmla="*/ 433428 w 1037929"/>
                    <a:gd name="connsiteY136" fmla="*/ 1824499 h 1862389"/>
                    <a:gd name="connsiteX137" fmla="*/ 451110 w 1037929"/>
                    <a:gd name="connsiteY137" fmla="*/ 1821973 h 1862389"/>
                    <a:gd name="connsiteX138" fmla="*/ 456162 w 1037929"/>
                    <a:gd name="connsiteY138" fmla="*/ 1829551 h 1862389"/>
                    <a:gd name="connsiteX139" fmla="*/ 478895 w 1037929"/>
                    <a:gd name="connsiteY139" fmla="*/ 1852285 h 1862389"/>
                    <a:gd name="connsiteX140" fmla="*/ 471317 w 1037929"/>
                    <a:gd name="connsiteY140" fmla="*/ 1854811 h 1862389"/>
                    <a:gd name="connsiteX141" fmla="*/ 461213 w 1037929"/>
                    <a:gd name="connsiteY141" fmla="*/ 1857337 h 1862389"/>
                    <a:gd name="connsiteX142" fmla="*/ 476369 w 1037929"/>
                    <a:gd name="connsiteY142" fmla="*/ 1862389 h 1862389"/>
                    <a:gd name="connsiteX143" fmla="*/ 486473 w 1037929"/>
                    <a:gd name="connsiteY143" fmla="*/ 1854811 h 1862389"/>
                    <a:gd name="connsiteX144" fmla="*/ 488999 w 1037929"/>
                    <a:gd name="connsiteY144" fmla="*/ 1842181 h 1862389"/>
                    <a:gd name="connsiteX145" fmla="*/ 491525 w 1037929"/>
                    <a:gd name="connsiteY145" fmla="*/ 1834603 h 1862389"/>
                    <a:gd name="connsiteX146" fmla="*/ 511733 w 1037929"/>
                    <a:gd name="connsiteY146" fmla="*/ 1827025 h 1862389"/>
                    <a:gd name="connsiteX147" fmla="*/ 521837 w 1037929"/>
                    <a:gd name="connsiteY147" fmla="*/ 1816922 h 1862389"/>
                    <a:gd name="connsiteX148" fmla="*/ 539518 w 1037929"/>
                    <a:gd name="connsiteY148" fmla="*/ 1811870 h 1862389"/>
                    <a:gd name="connsiteX149" fmla="*/ 547096 w 1037929"/>
                    <a:gd name="connsiteY149" fmla="*/ 1809344 h 1862389"/>
                    <a:gd name="connsiteX150" fmla="*/ 569830 w 1037929"/>
                    <a:gd name="connsiteY150" fmla="*/ 1796714 h 1862389"/>
                    <a:gd name="connsiteX151" fmla="*/ 577408 w 1037929"/>
                    <a:gd name="connsiteY151" fmla="*/ 1801766 h 1862389"/>
                    <a:gd name="connsiteX152" fmla="*/ 592564 w 1037929"/>
                    <a:gd name="connsiteY152" fmla="*/ 1791662 h 1862389"/>
                    <a:gd name="connsiteX153" fmla="*/ 597616 w 1037929"/>
                    <a:gd name="connsiteY153" fmla="*/ 1784084 h 1862389"/>
                    <a:gd name="connsiteX154" fmla="*/ 605194 w 1037929"/>
                    <a:gd name="connsiteY154" fmla="*/ 1781558 h 1862389"/>
                    <a:gd name="connsiteX155" fmla="*/ 607720 w 1037929"/>
                    <a:gd name="connsiteY155" fmla="*/ 1771454 h 1862389"/>
                    <a:gd name="connsiteX156" fmla="*/ 615297 w 1037929"/>
                    <a:gd name="connsiteY156" fmla="*/ 1768928 h 1862389"/>
                    <a:gd name="connsiteX157" fmla="*/ 627927 w 1037929"/>
                    <a:gd name="connsiteY157" fmla="*/ 1763876 h 1862389"/>
                    <a:gd name="connsiteX158" fmla="*/ 655713 w 1037929"/>
                    <a:gd name="connsiteY158" fmla="*/ 1743668 h 1862389"/>
                    <a:gd name="connsiteX159" fmla="*/ 688550 w 1037929"/>
                    <a:gd name="connsiteY159" fmla="*/ 1738617 h 1862389"/>
                    <a:gd name="connsiteX160" fmla="*/ 706232 w 1037929"/>
                    <a:gd name="connsiteY160" fmla="*/ 1731039 h 1862389"/>
                    <a:gd name="connsiteX161" fmla="*/ 708758 w 1037929"/>
                    <a:gd name="connsiteY161" fmla="*/ 1720935 h 1862389"/>
                    <a:gd name="connsiteX162" fmla="*/ 716336 w 1037929"/>
                    <a:gd name="connsiteY162" fmla="*/ 1710831 h 1862389"/>
                    <a:gd name="connsiteX163" fmla="*/ 726440 w 1037929"/>
                    <a:gd name="connsiteY163" fmla="*/ 1698201 h 1862389"/>
                    <a:gd name="connsiteX164" fmla="*/ 741596 w 1037929"/>
                    <a:gd name="connsiteY164" fmla="*/ 1680519 h 1862389"/>
                    <a:gd name="connsiteX165" fmla="*/ 754226 w 1037929"/>
                    <a:gd name="connsiteY165" fmla="*/ 1677993 h 1862389"/>
                    <a:gd name="connsiteX166" fmla="*/ 761804 w 1037929"/>
                    <a:gd name="connsiteY166" fmla="*/ 1667889 h 1862389"/>
                    <a:gd name="connsiteX167" fmla="*/ 751700 w 1037929"/>
                    <a:gd name="connsiteY167" fmla="*/ 1652734 h 1862389"/>
                    <a:gd name="connsiteX168" fmla="*/ 751700 w 1037929"/>
                    <a:gd name="connsiteY168" fmla="*/ 1675467 h 1862389"/>
                    <a:gd name="connsiteX169" fmla="*/ 774433 w 1037929"/>
                    <a:gd name="connsiteY169" fmla="*/ 1683045 h 1862389"/>
                    <a:gd name="connsiteX170" fmla="*/ 784537 w 1037929"/>
                    <a:gd name="connsiteY170" fmla="*/ 1675467 h 1862389"/>
                    <a:gd name="connsiteX171" fmla="*/ 792115 w 1037929"/>
                    <a:gd name="connsiteY171" fmla="*/ 1660312 h 1862389"/>
                    <a:gd name="connsiteX172" fmla="*/ 799693 w 1037929"/>
                    <a:gd name="connsiteY172" fmla="*/ 1655260 h 1862389"/>
                    <a:gd name="connsiteX173" fmla="*/ 812323 w 1037929"/>
                    <a:gd name="connsiteY173" fmla="*/ 1657786 h 1862389"/>
                    <a:gd name="connsiteX174" fmla="*/ 822427 w 1037929"/>
                    <a:gd name="connsiteY174" fmla="*/ 1665364 h 1862389"/>
                    <a:gd name="connsiteX175" fmla="*/ 830005 w 1037929"/>
                    <a:gd name="connsiteY175" fmla="*/ 1667889 h 1862389"/>
                    <a:gd name="connsiteX176" fmla="*/ 850212 w 1037929"/>
                    <a:gd name="connsiteY176" fmla="*/ 1632526 h 1862389"/>
                    <a:gd name="connsiteX177" fmla="*/ 865368 w 1037929"/>
                    <a:gd name="connsiteY177" fmla="*/ 1609792 h 1862389"/>
                    <a:gd name="connsiteX178" fmla="*/ 875472 w 1037929"/>
                    <a:gd name="connsiteY178" fmla="*/ 1584533 h 1862389"/>
                    <a:gd name="connsiteX179" fmla="*/ 883050 w 1037929"/>
                    <a:gd name="connsiteY179" fmla="*/ 1576955 h 1862389"/>
                    <a:gd name="connsiteX180" fmla="*/ 888102 w 1037929"/>
                    <a:gd name="connsiteY180" fmla="*/ 1566851 h 1862389"/>
                    <a:gd name="connsiteX181" fmla="*/ 893154 w 1037929"/>
                    <a:gd name="connsiteY181" fmla="*/ 1559273 h 1862389"/>
                    <a:gd name="connsiteX182" fmla="*/ 895680 w 1037929"/>
                    <a:gd name="connsiteY182" fmla="*/ 1551695 h 1862389"/>
                    <a:gd name="connsiteX183" fmla="*/ 900732 w 1037929"/>
                    <a:gd name="connsiteY183" fmla="*/ 1544117 h 1862389"/>
                    <a:gd name="connsiteX184" fmla="*/ 903258 w 1037929"/>
                    <a:gd name="connsiteY184" fmla="*/ 1536539 h 1862389"/>
                    <a:gd name="connsiteX185" fmla="*/ 908310 w 1037929"/>
                    <a:gd name="connsiteY185" fmla="*/ 1528961 h 1862389"/>
                    <a:gd name="connsiteX186" fmla="*/ 925991 w 1037929"/>
                    <a:gd name="connsiteY186" fmla="*/ 1498650 h 1862389"/>
                    <a:gd name="connsiteX187" fmla="*/ 928517 w 1037929"/>
                    <a:gd name="connsiteY187" fmla="*/ 1491072 h 1862389"/>
                    <a:gd name="connsiteX188" fmla="*/ 931043 w 1037929"/>
                    <a:gd name="connsiteY188" fmla="*/ 1480968 h 1862389"/>
                    <a:gd name="connsiteX189" fmla="*/ 946199 w 1037929"/>
                    <a:gd name="connsiteY189" fmla="*/ 1460760 h 1862389"/>
                    <a:gd name="connsiteX190" fmla="*/ 948725 w 1037929"/>
                    <a:gd name="connsiteY190" fmla="*/ 1453182 h 1862389"/>
                    <a:gd name="connsiteX191" fmla="*/ 951251 w 1037929"/>
                    <a:gd name="connsiteY191" fmla="*/ 1440552 h 1862389"/>
                    <a:gd name="connsiteX192" fmla="*/ 958829 w 1037929"/>
                    <a:gd name="connsiteY192" fmla="*/ 1430449 h 1862389"/>
                    <a:gd name="connsiteX193" fmla="*/ 968933 w 1037929"/>
                    <a:gd name="connsiteY193" fmla="*/ 1410241 h 1862389"/>
                    <a:gd name="connsiteX194" fmla="*/ 973985 w 1037929"/>
                    <a:gd name="connsiteY194" fmla="*/ 1397611 h 1862389"/>
                    <a:gd name="connsiteX195" fmla="*/ 979037 w 1037929"/>
                    <a:gd name="connsiteY195" fmla="*/ 1390033 h 1862389"/>
                    <a:gd name="connsiteX196" fmla="*/ 989141 w 1037929"/>
                    <a:gd name="connsiteY196" fmla="*/ 1364773 h 1862389"/>
                    <a:gd name="connsiteX197" fmla="*/ 996718 w 1037929"/>
                    <a:gd name="connsiteY197" fmla="*/ 1344566 h 1862389"/>
                    <a:gd name="connsiteX198" fmla="*/ 1001770 w 1037929"/>
                    <a:gd name="connsiteY198" fmla="*/ 1334462 h 1862389"/>
                    <a:gd name="connsiteX199" fmla="*/ 1004296 w 1037929"/>
                    <a:gd name="connsiteY199" fmla="*/ 1306676 h 1862389"/>
                    <a:gd name="connsiteX200" fmla="*/ 1006822 w 1037929"/>
                    <a:gd name="connsiteY200" fmla="*/ 1299098 h 1862389"/>
                    <a:gd name="connsiteX201" fmla="*/ 1009348 w 1037929"/>
                    <a:gd name="connsiteY201" fmla="*/ 1283943 h 1862389"/>
                    <a:gd name="connsiteX202" fmla="*/ 1014400 w 1037929"/>
                    <a:gd name="connsiteY202" fmla="*/ 1276365 h 1862389"/>
                    <a:gd name="connsiteX203" fmla="*/ 1019452 w 1037929"/>
                    <a:gd name="connsiteY203" fmla="*/ 1266261 h 1862389"/>
                    <a:gd name="connsiteX204" fmla="*/ 1027030 w 1037929"/>
                    <a:gd name="connsiteY204" fmla="*/ 1253631 h 1862389"/>
                    <a:gd name="connsiteX205" fmla="*/ 1029556 w 1037929"/>
                    <a:gd name="connsiteY205" fmla="*/ 1235949 h 1862389"/>
                    <a:gd name="connsiteX206" fmla="*/ 1034608 w 1037929"/>
                    <a:gd name="connsiteY206" fmla="*/ 1220793 h 1862389"/>
                    <a:gd name="connsiteX207" fmla="*/ 1037134 w 1037929"/>
                    <a:gd name="connsiteY207" fmla="*/ 1177852 h 1862389"/>
                    <a:gd name="connsiteX208" fmla="*/ 1027030 w 1037929"/>
                    <a:gd name="connsiteY208" fmla="*/ 1137436 h 1862389"/>
                    <a:gd name="connsiteX209" fmla="*/ 1016926 w 1037929"/>
                    <a:gd name="connsiteY209" fmla="*/ 1134910 h 1862389"/>
                    <a:gd name="connsiteX210" fmla="*/ 999244 w 1037929"/>
                    <a:gd name="connsiteY210" fmla="*/ 1119755 h 1862389"/>
                    <a:gd name="connsiteX211" fmla="*/ 991667 w 1037929"/>
                    <a:gd name="connsiteY211" fmla="*/ 1112177 h 1862389"/>
                    <a:gd name="connsiteX212" fmla="*/ 971459 w 1037929"/>
                    <a:gd name="connsiteY212" fmla="*/ 1097021 h 1862389"/>
                    <a:gd name="connsiteX213" fmla="*/ 961355 w 1037929"/>
                    <a:gd name="connsiteY213" fmla="*/ 1089443 h 1862389"/>
                    <a:gd name="connsiteX214" fmla="*/ 946199 w 1037929"/>
                    <a:gd name="connsiteY214" fmla="*/ 1084391 h 1862389"/>
                    <a:gd name="connsiteX215" fmla="*/ 923465 w 1037929"/>
                    <a:gd name="connsiteY215" fmla="*/ 1079339 h 1862389"/>
                    <a:gd name="connsiteX216" fmla="*/ 910836 w 1037929"/>
                    <a:gd name="connsiteY216" fmla="*/ 1074287 h 1862389"/>
                    <a:gd name="connsiteX217" fmla="*/ 890628 w 1037929"/>
                    <a:gd name="connsiteY217" fmla="*/ 1061657 h 1862389"/>
                    <a:gd name="connsiteX218" fmla="*/ 877998 w 1037929"/>
                    <a:gd name="connsiteY218" fmla="*/ 1046502 h 1862389"/>
                    <a:gd name="connsiteX219" fmla="*/ 880524 w 1037929"/>
                    <a:gd name="connsiteY219" fmla="*/ 1033872 h 1862389"/>
                    <a:gd name="connsiteX220" fmla="*/ 885576 w 1037929"/>
                    <a:gd name="connsiteY220" fmla="*/ 1016190 h 1862389"/>
                    <a:gd name="connsiteX221" fmla="*/ 890628 w 1037929"/>
                    <a:gd name="connsiteY221" fmla="*/ 1008612 h 1862389"/>
                    <a:gd name="connsiteX222" fmla="*/ 850212 w 1037929"/>
                    <a:gd name="connsiteY222" fmla="*/ 940411 h 1862389"/>
                    <a:gd name="connsiteX223" fmla="*/ 837583 w 1037929"/>
                    <a:gd name="connsiteY223" fmla="*/ 937885 h 1862389"/>
                    <a:gd name="connsiteX224" fmla="*/ 827479 w 1037929"/>
                    <a:gd name="connsiteY224" fmla="*/ 877262 h 1862389"/>
                    <a:gd name="connsiteX225" fmla="*/ 814849 w 1037929"/>
                    <a:gd name="connsiteY225" fmla="*/ 874736 h 1862389"/>
                    <a:gd name="connsiteX226" fmla="*/ 799693 w 1037929"/>
                    <a:gd name="connsiteY226" fmla="*/ 862106 h 1862389"/>
                    <a:gd name="connsiteX227" fmla="*/ 779485 w 1037929"/>
                    <a:gd name="connsiteY227" fmla="*/ 859580 h 1862389"/>
                    <a:gd name="connsiteX228" fmla="*/ 776959 w 1037929"/>
                    <a:gd name="connsiteY228" fmla="*/ 849476 h 1862389"/>
                    <a:gd name="connsiteX229" fmla="*/ 774433 w 1037929"/>
                    <a:gd name="connsiteY229" fmla="*/ 841898 h 1862389"/>
                    <a:gd name="connsiteX230" fmla="*/ 789589 w 1037929"/>
                    <a:gd name="connsiteY230" fmla="*/ 811587 h 1862389"/>
                    <a:gd name="connsiteX231" fmla="*/ 782011 w 1037929"/>
                    <a:gd name="connsiteY231" fmla="*/ 798957 h 1862389"/>
                    <a:gd name="connsiteX232" fmla="*/ 761804 w 1037929"/>
                    <a:gd name="connsiteY232" fmla="*/ 783801 h 1862389"/>
                    <a:gd name="connsiteX233" fmla="*/ 766855 w 1037929"/>
                    <a:gd name="connsiteY233" fmla="*/ 713074 h 1862389"/>
                    <a:gd name="connsiteX234" fmla="*/ 779485 w 1037929"/>
                    <a:gd name="connsiteY234" fmla="*/ 708022 h 1862389"/>
                    <a:gd name="connsiteX235" fmla="*/ 782011 w 1037929"/>
                    <a:gd name="connsiteY235" fmla="*/ 697918 h 1862389"/>
                    <a:gd name="connsiteX236" fmla="*/ 774433 w 1037929"/>
                    <a:gd name="connsiteY236" fmla="*/ 695392 h 1862389"/>
                    <a:gd name="connsiteX237" fmla="*/ 761804 w 1037929"/>
                    <a:gd name="connsiteY237" fmla="*/ 692866 h 1862389"/>
                    <a:gd name="connsiteX238" fmla="*/ 754226 w 1037929"/>
                    <a:gd name="connsiteY238" fmla="*/ 685288 h 1862389"/>
                    <a:gd name="connsiteX239" fmla="*/ 741596 w 1037929"/>
                    <a:gd name="connsiteY239" fmla="*/ 660029 h 1862389"/>
                    <a:gd name="connsiteX240" fmla="*/ 731492 w 1037929"/>
                    <a:gd name="connsiteY240" fmla="*/ 649925 h 1862389"/>
                    <a:gd name="connsiteX241" fmla="*/ 723914 w 1037929"/>
                    <a:gd name="connsiteY241" fmla="*/ 637295 h 1862389"/>
                    <a:gd name="connsiteX242" fmla="*/ 711284 w 1037929"/>
                    <a:gd name="connsiteY242" fmla="*/ 619613 h 1862389"/>
                    <a:gd name="connsiteX243" fmla="*/ 696128 w 1037929"/>
                    <a:gd name="connsiteY243" fmla="*/ 601931 h 1862389"/>
                    <a:gd name="connsiteX244" fmla="*/ 686025 w 1037929"/>
                    <a:gd name="connsiteY244" fmla="*/ 589302 h 1862389"/>
                    <a:gd name="connsiteX245" fmla="*/ 678447 w 1037929"/>
                    <a:gd name="connsiteY245" fmla="*/ 581724 h 1862389"/>
                    <a:gd name="connsiteX246" fmla="*/ 665817 w 1037929"/>
                    <a:gd name="connsiteY246" fmla="*/ 558990 h 1862389"/>
                    <a:gd name="connsiteX247" fmla="*/ 645609 w 1037929"/>
                    <a:gd name="connsiteY247" fmla="*/ 533730 h 1862389"/>
                    <a:gd name="connsiteX248" fmla="*/ 632979 w 1037929"/>
                    <a:gd name="connsiteY248" fmla="*/ 518575 h 1862389"/>
                    <a:gd name="connsiteX249" fmla="*/ 630453 w 1037929"/>
                    <a:gd name="connsiteY249" fmla="*/ 505945 h 1862389"/>
                    <a:gd name="connsiteX250" fmla="*/ 635505 w 1037929"/>
                    <a:gd name="connsiteY250" fmla="*/ 468055 h 1862389"/>
                    <a:gd name="connsiteX251" fmla="*/ 638031 w 1037929"/>
                    <a:gd name="connsiteY251" fmla="*/ 452899 h 1862389"/>
                    <a:gd name="connsiteX252" fmla="*/ 645609 w 1037929"/>
                    <a:gd name="connsiteY252" fmla="*/ 440270 h 1862389"/>
                    <a:gd name="connsiteX253" fmla="*/ 648135 w 1037929"/>
                    <a:gd name="connsiteY253" fmla="*/ 430166 h 1862389"/>
                    <a:gd name="connsiteX254" fmla="*/ 653187 w 1037929"/>
                    <a:gd name="connsiteY254" fmla="*/ 387224 h 1862389"/>
                    <a:gd name="connsiteX255" fmla="*/ 650661 w 1037929"/>
                    <a:gd name="connsiteY255" fmla="*/ 369543 h 1862389"/>
                    <a:gd name="connsiteX256" fmla="*/ 632979 w 1037929"/>
                    <a:gd name="connsiteY256" fmla="*/ 359439 h 1862389"/>
                    <a:gd name="connsiteX257" fmla="*/ 625401 w 1037929"/>
                    <a:gd name="connsiteY257" fmla="*/ 349335 h 1862389"/>
                    <a:gd name="connsiteX258" fmla="*/ 620349 w 1037929"/>
                    <a:gd name="connsiteY258" fmla="*/ 341757 h 1862389"/>
                    <a:gd name="connsiteX259" fmla="*/ 612771 w 1037929"/>
                    <a:gd name="connsiteY259" fmla="*/ 339231 h 1862389"/>
                    <a:gd name="connsiteX260" fmla="*/ 605194 w 1037929"/>
                    <a:gd name="connsiteY260" fmla="*/ 334179 h 1862389"/>
                    <a:gd name="connsiteX261" fmla="*/ 595090 w 1037929"/>
                    <a:gd name="connsiteY261" fmla="*/ 316497 h 1862389"/>
                    <a:gd name="connsiteX262" fmla="*/ 587512 w 1037929"/>
                    <a:gd name="connsiteY262" fmla="*/ 311445 h 1862389"/>
                    <a:gd name="connsiteX263" fmla="*/ 531941 w 1037929"/>
                    <a:gd name="connsiteY263" fmla="*/ 311445 h 1862389"/>
                    <a:gd name="connsiteX264" fmla="*/ 529415 w 1037929"/>
                    <a:gd name="connsiteY264" fmla="*/ 301341 h 1862389"/>
                    <a:gd name="connsiteX265" fmla="*/ 521837 w 1037929"/>
                    <a:gd name="connsiteY265" fmla="*/ 276082 h 1862389"/>
                    <a:gd name="connsiteX266" fmla="*/ 519311 w 1037929"/>
                    <a:gd name="connsiteY266" fmla="*/ 255874 h 1862389"/>
                    <a:gd name="connsiteX267" fmla="*/ 516785 w 1037929"/>
                    <a:gd name="connsiteY267" fmla="*/ 245770 h 1862389"/>
                    <a:gd name="connsiteX268" fmla="*/ 514259 w 1037929"/>
                    <a:gd name="connsiteY268" fmla="*/ 197777 h 1862389"/>
                    <a:gd name="connsiteX269" fmla="*/ 506681 w 1037929"/>
                    <a:gd name="connsiteY269" fmla="*/ 195251 h 1862389"/>
                    <a:gd name="connsiteX270" fmla="*/ 499103 w 1037929"/>
                    <a:gd name="connsiteY270" fmla="*/ 187673 h 1862389"/>
                    <a:gd name="connsiteX271" fmla="*/ 509207 w 1037929"/>
                    <a:gd name="connsiteY271" fmla="*/ 149783 h 1862389"/>
                    <a:gd name="connsiteX272" fmla="*/ 504155 w 1037929"/>
                    <a:gd name="connsiteY272" fmla="*/ 129576 h 1862389"/>
                    <a:gd name="connsiteX273" fmla="*/ 501629 w 1037929"/>
                    <a:gd name="connsiteY273" fmla="*/ 61375 h 1862389"/>
                    <a:gd name="connsiteX274" fmla="*/ 494051 w 1037929"/>
                    <a:gd name="connsiteY274" fmla="*/ 58849 h 1862389"/>
                    <a:gd name="connsiteX275" fmla="*/ 483947 w 1037929"/>
                    <a:gd name="connsiteY275" fmla="*/ 53797 h 1862389"/>
                    <a:gd name="connsiteX276" fmla="*/ 451110 w 1037929"/>
                    <a:gd name="connsiteY276" fmla="*/ 48745 h 1862389"/>
                    <a:gd name="connsiteX277" fmla="*/ 430902 w 1037929"/>
                    <a:gd name="connsiteY277" fmla="*/ 36115 h 1862389"/>
                    <a:gd name="connsiteX278" fmla="*/ 410694 w 1037929"/>
                    <a:gd name="connsiteY278" fmla="*/ 18433 h 1862389"/>
                    <a:gd name="connsiteX279" fmla="*/ 400584 w 1037929"/>
                    <a:gd name="connsiteY279" fmla="*/ 3920 h 1862389"/>
                    <a:gd name="connsiteX280" fmla="*/ 389220 w 1037929"/>
                    <a:gd name="connsiteY280" fmla="*/ 767 h 1862389"/>
                    <a:gd name="connsiteX281" fmla="*/ 350071 w 1037929"/>
                    <a:gd name="connsiteY281" fmla="*/ 15907 h 1862389"/>
                    <a:gd name="connsiteX282" fmla="*/ 352597 w 1037929"/>
                    <a:gd name="connsiteY282" fmla="*/ 5803 h 1862389"/>
                    <a:gd name="connsiteX283" fmla="*/ 362701 w 1037929"/>
                    <a:gd name="connsiteY283" fmla="*/ 8329 h 1862389"/>
                    <a:gd name="connsiteX284" fmla="*/ 350071 w 1037929"/>
                    <a:gd name="connsiteY284" fmla="*/ 43693 h 1862389"/>
                    <a:gd name="connsiteX285" fmla="*/ 347545 w 1037929"/>
                    <a:gd name="connsiteY285" fmla="*/ 53797 h 1862389"/>
                    <a:gd name="connsiteX286" fmla="*/ 339967 w 1037929"/>
                    <a:gd name="connsiteY286" fmla="*/ 56323 h 1862389"/>
                    <a:gd name="connsiteX287" fmla="*/ 324811 w 1037929"/>
                    <a:gd name="connsiteY287" fmla="*/ 53797 h 1862389"/>
                    <a:gd name="connsiteX288" fmla="*/ 307129 w 1037929"/>
                    <a:gd name="connsiteY288" fmla="*/ 51271 h 1862389"/>
                    <a:gd name="connsiteX289" fmla="*/ 297026 w 1037929"/>
                    <a:gd name="connsiteY289" fmla="*/ 48745 h 1862389"/>
                    <a:gd name="connsiteX290" fmla="*/ 289448 w 1037929"/>
                    <a:gd name="connsiteY290" fmla="*/ 51271 h 1862389"/>
                    <a:gd name="connsiteX291" fmla="*/ 291974 w 1037929"/>
                    <a:gd name="connsiteY291" fmla="*/ 68952 h 1862389"/>
                    <a:gd name="connsiteX292" fmla="*/ 297026 w 1037929"/>
                    <a:gd name="connsiteY292" fmla="*/ 91686 h 1862389"/>
                    <a:gd name="connsiteX293" fmla="*/ 294500 w 1037929"/>
                    <a:gd name="connsiteY293" fmla="*/ 129576 h 1862389"/>
                    <a:gd name="connsiteX294" fmla="*/ 291974 w 1037929"/>
                    <a:gd name="connsiteY294" fmla="*/ 137154 h 1862389"/>
                    <a:gd name="connsiteX295" fmla="*/ 289448 w 1037929"/>
                    <a:gd name="connsiteY295" fmla="*/ 152309 h 1862389"/>
                    <a:gd name="connsiteX296" fmla="*/ 302078 w 1037929"/>
                    <a:gd name="connsiteY296" fmla="*/ 205355 h 1862389"/>
                    <a:gd name="connsiteX297" fmla="*/ 309655 w 1037929"/>
                    <a:gd name="connsiteY297" fmla="*/ 207881 h 1862389"/>
                    <a:gd name="connsiteX298" fmla="*/ 297026 w 1037929"/>
                    <a:gd name="connsiteY298" fmla="*/ 245770 h 1862389"/>
                    <a:gd name="connsiteX299" fmla="*/ 284396 w 1037929"/>
                    <a:gd name="connsiteY299" fmla="*/ 288712 h 1862389"/>
                    <a:gd name="connsiteX300" fmla="*/ 281870 w 1037929"/>
                    <a:gd name="connsiteY300" fmla="*/ 298951 h 1862389"/>
                    <a:gd name="connsiteX301" fmla="*/ 262549 w 1037929"/>
                    <a:gd name="connsiteY301" fmla="*/ 292260 h 1862389"/>
                    <a:gd name="connsiteX302" fmla="*/ 256610 w 1037929"/>
                    <a:gd name="connsiteY302" fmla="*/ 291238 h 1862389"/>
                    <a:gd name="connsiteX303" fmla="*/ 249032 w 1037929"/>
                    <a:gd name="connsiteY303" fmla="*/ 286186 h 1862389"/>
                    <a:gd name="connsiteX304" fmla="*/ 243980 w 1037929"/>
                    <a:gd name="connsiteY304" fmla="*/ 278608 h 1862389"/>
                    <a:gd name="connsiteX305" fmla="*/ 241454 w 1037929"/>
                    <a:gd name="connsiteY305" fmla="*/ 271030 h 1862389"/>
                    <a:gd name="connsiteX306" fmla="*/ 231350 w 1037929"/>
                    <a:gd name="connsiteY306" fmla="*/ 268504 h 1862389"/>
                    <a:gd name="connsiteX307" fmla="*/ 221247 w 1037929"/>
                    <a:gd name="connsiteY307" fmla="*/ 268024 h 1862389"/>
                    <a:gd name="connsiteX308" fmla="*/ 198513 w 1037929"/>
                    <a:gd name="connsiteY308" fmla="*/ 268504 h 1862389"/>
                    <a:gd name="connsiteX309" fmla="*/ 195987 w 1037929"/>
                    <a:gd name="connsiteY309" fmla="*/ 281134 h 1862389"/>
                    <a:gd name="connsiteX310" fmla="*/ 177074 w 1037929"/>
                    <a:gd name="connsiteY310" fmla="*/ 279767 h 1862389"/>
                    <a:gd name="connsiteX311" fmla="*/ 147994 w 1037929"/>
                    <a:gd name="connsiteY311" fmla="*/ 306393 h 1862389"/>
                    <a:gd name="connsiteX312" fmla="*/ 94948 w 1037929"/>
                    <a:gd name="connsiteY312" fmla="*/ 291238 h 1862389"/>
                    <a:gd name="connsiteX313" fmla="*/ 89896 w 1037929"/>
                    <a:gd name="connsiteY313" fmla="*/ 283660 h 1862389"/>
                    <a:gd name="connsiteX314" fmla="*/ 87370 w 1037929"/>
                    <a:gd name="connsiteY314" fmla="*/ 273556 h 1862389"/>
                    <a:gd name="connsiteX315" fmla="*/ 84844 w 1037929"/>
                    <a:gd name="connsiteY315" fmla="*/ 265978 h 1862389"/>
                    <a:gd name="connsiteX316" fmla="*/ 72215 w 1037929"/>
                    <a:gd name="connsiteY316" fmla="*/ 260926 h 1862389"/>
                    <a:gd name="connsiteX317" fmla="*/ 54533 w 1037929"/>
                    <a:gd name="connsiteY317" fmla="*/ 240718 h 1862389"/>
                    <a:gd name="connsiteX318" fmla="*/ 44429 w 1037929"/>
                    <a:gd name="connsiteY318" fmla="*/ 235666 h 1862389"/>
                    <a:gd name="connsiteX319" fmla="*/ 29273 w 1037929"/>
                    <a:gd name="connsiteY319" fmla="*/ 219895 h 1862389"/>
                    <a:gd name="connsiteX320" fmla="*/ 21695 w 1037929"/>
                    <a:gd name="connsiteY320" fmla="*/ 220510 h 1862389"/>
                    <a:gd name="connsiteX321" fmla="*/ 6539 w 1037929"/>
                    <a:gd name="connsiteY321" fmla="*/ 240718 h 1862389"/>
                    <a:gd name="connsiteX322" fmla="*/ 256 w 1037929"/>
                    <a:gd name="connsiteY322" fmla="*/ 258536 h 1862389"/>
                    <a:gd name="connsiteX0" fmla="*/ 256 w 1037929"/>
                    <a:gd name="connsiteY0" fmla="*/ 258536 h 1862389"/>
                    <a:gd name="connsiteX1" fmla="*/ 1487 w 1037929"/>
                    <a:gd name="connsiteY1" fmla="*/ 268504 h 1862389"/>
                    <a:gd name="connsiteX2" fmla="*/ 4013 w 1037929"/>
                    <a:gd name="connsiteY2" fmla="*/ 276082 h 1862389"/>
                    <a:gd name="connsiteX3" fmla="*/ 29273 w 1037929"/>
                    <a:gd name="connsiteY3" fmla="*/ 291238 h 1862389"/>
                    <a:gd name="connsiteX4" fmla="*/ 36851 w 1037929"/>
                    <a:gd name="connsiteY4" fmla="*/ 301341 h 1862389"/>
                    <a:gd name="connsiteX5" fmla="*/ 44429 w 1037929"/>
                    <a:gd name="connsiteY5" fmla="*/ 308919 h 1862389"/>
                    <a:gd name="connsiteX6" fmla="*/ 59585 w 1037929"/>
                    <a:gd name="connsiteY6" fmla="*/ 329127 h 1862389"/>
                    <a:gd name="connsiteX7" fmla="*/ 64637 w 1037929"/>
                    <a:gd name="connsiteY7" fmla="*/ 336705 h 1862389"/>
                    <a:gd name="connsiteX8" fmla="*/ 72215 w 1037929"/>
                    <a:gd name="connsiteY8" fmla="*/ 344283 h 1862389"/>
                    <a:gd name="connsiteX9" fmla="*/ 74741 w 1037929"/>
                    <a:gd name="connsiteY9" fmla="*/ 351861 h 1862389"/>
                    <a:gd name="connsiteX10" fmla="*/ 132838 w 1037929"/>
                    <a:gd name="connsiteY10" fmla="*/ 364491 h 1862389"/>
                    <a:gd name="connsiteX11" fmla="*/ 150520 w 1037929"/>
                    <a:gd name="connsiteY11" fmla="*/ 372068 h 1862389"/>
                    <a:gd name="connsiteX12" fmla="*/ 160623 w 1037929"/>
                    <a:gd name="connsiteY12" fmla="*/ 382172 h 1862389"/>
                    <a:gd name="connsiteX13" fmla="*/ 165675 w 1037929"/>
                    <a:gd name="connsiteY13" fmla="*/ 397328 h 1862389"/>
                    <a:gd name="connsiteX14" fmla="*/ 183357 w 1037929"/>
                    <a:gd name="connsiteY14" fmla="*/ 404906 h 1862389"/>
                    <a:gd name="connsiteX15" fmla="*/ 190935 w 1037929"/>
                    <a:gd name="connsiteY15" fmla="*/ 409958 h 1862389"/>
                    <a:gd name="connsiteX16" fmla="*/ 203565 w 1037929"/>
                    <a:gd name="connsiteY16" fmla="*/ 425114 h 1862389"/>
                    <a:gd name="connsiteX17" fmla="*/ 213669 w 1037929"/>
                    <a:gd name="connsiteY17" fmla="*/ 427640 h 1862389"/>
                    <a:gd name="connsiteX18" fmla="*/ 221247 w 1037929"/>
                    <a:gd name="connsiteY18" fmla="*/ 430166 h 1862389"/>
                    <a:gd name="connsiteX19" fmla="*/ 213669 w 1037929"/>
                    <a:gd name="connsiteY19" fmla="*/ 432692 h 1862389"/>
                    <a:gd name="connsiteX20" fmla="*/ 213669 w 1037929"/>
                    <a:gd name="connsiteY20" fmla="*/ 452899 h 1862389"/>
                    <a:gd name="connsiteX21" fmla="*/ 216195 w 1037929"/>
                    <a:gd name="connsiteY21" fmla="*/ 460477 h 1862389"/>
                    <a:gd name="connsiteX22" fmla="*/ 223773 w 1037929"/>
                    <a:gd name="connsiteY22" fmla="*/ 468055 h 1862389"/>
                    <a:gd name="connsiteX23" fmla="*/ 226299 w 1037929"/>
                    <a:gd name="connsiteY23" fmla="*/ 498367 h 1862389"/>
                    <a:gd name="connsiteX24" fmla="*/ 228825 w 1037929"/>
                    <a:gd name="connsiteY24" fmla="*/ 516049 h 1862389"/>
                    <a:gd name="connsiteX25" fmla="*/ 241454 w 1037929"/>
                    <a:gd name="connsiteY25" fmla="*/ 526152 h 1862389"/>
                    <a:gd name="connsiteX26" fmla="*/ 249032 w 1037929"/>
                    <a:gd name="connsiteY26" fmla="*/ 523626 h 1862389"/>
                    <a:gd name="connsiteX27" fmla="*/ 249032 w 1037929"/>
                    <a:gd name="connsiteY27" fmla="*/ 543834 h 1862389"/>
                    <a:gd name="connsiteX28" fmla="*/ 241454 w 1037929"/>
                    <a:gd name="connsiteY28" fmla="*/ 546360 h 1862389"/>
                    <a:gd name="connsiteX29" fmla="*/ 236402 w 1037929"/>
                    <a:gd name="connsiteY29" fmla="*/ 553938 h 1862389"/>
                    <a:gd name="connsiteX30" fmla="*/ 246506 w 1037929"/>
                    <a:gd name="connsiteY30" fmla="*/ 561516 h 1862389"/>
                    <a:gd name="connsiteX31" fmla="*/ 249032 w 1037929"/>
                    <a:gd name="connsiteY31" fmla="*/ 579198 h 1862389"/>
                    <a:gd name="connsiteX32" fmla="*/ 264188 w 1037929"/>
                    <a:gd name="connsiteY32" fmla="*/ 601931 h 1862389"/>
                    <a:gd name="connsiteX33" fmla="*/ 271766 w 1037929"/>
                    <a:gd name="connsiteY33" fmla="*/ 619613 h 1862389"/>
                    <a:gd name="connsiteX34" fmla="*/ 274292 w 1037929"/>
                    <a:gd name="connsiteY34" fmla="*/ 637295 h 1862389"/>
                    <a:gd name="connsiteX35" fmla="*/ 281870 w 1037929"/>
                    <a:gd name="connsiteY35" fmla="*/ 644873 h 1862389"/>
                    <a:gd name="connsiteX36" fmla="*/ 286922 w 1037929"/>
                    <a:gd name="connsiteY36" fmla="*/ 705496 h 1862389"/>
                    <a:gd name="connsiteX37" fmla="*/ 291974 w 1037929"/>
                    <a:gd name="connsiteY37" fmla="*/ 723178 h 1862389"/>
                    <a:gd name="connsiteX38" fmla="*/ 294500 w 1037929"/>
                    <a:gd name="connsiteY38" fmla="*/ 735808 h 1862389"/>
                    <a:gd name="connsiteX39" fmla="*/ 302078 w 1037929"/>
                    <a:gd name="connsiteY39" fmla="*/ 758541 h 1862389"/>
                    <a:gd name="connsiteX40" fmla="*/ 304604 w 1037929"/>
                    <a:gd name="connsiteY40" fmla="*/ 766119 h 1862389"/>
                    <a:gd name="connsiteX41" fmla="*/ 322285 w 1037929"/>
                    <a:gd name="connsiteY41" fmla="*/ 793905 h 1862389"/>
                    <a:gd name="connsiteX42" fmla="*/ 334915 w 1037929"/>
                    <a:gd name="connsiteY42" fmla="*/ 811587 h 1862389"/>
                    <a:gd name="connsiteX43" fmla="*/ 347545 w 1037929"/>
                    <a:gd name="connsiteY43" fmla="*/ 809061 h 1862389"/>
                    <a:gd name="connsiteX44" fmla="*/ 357649 w 1037929"/>
                    <a:gd name="connsiteY44" fmla="*/ 778749 h 1862389"/>
                    <a:gd name="connsiteX45" fmla="*/ 365227 w 1037929"/>
                    <a:gd name="connsiteY45" fmla="*/ 776223 h 1862389"/>
                    <a:gd name="connsiteX46" fmla="*/ 372805 w 1037929"/>
                    <a:gd name="connsiteY46" fmla="*/ 771171 h 1862389"/>
                    <a:gd name="connsiteX47" fmla="*/ 365227 w 1037929"/>
                    <a:gd name="connsiteY47" fmla="*/ 781275 h 1862389"/>
                    <a:gd name="connsiteX48" fmla="*/ 367753 w 1037929"/>
                    <a:gd name="connsiteY48" fmla="*/ 804009 h 1862389"/>
                    <a:gd name="connsiteX49" fmla="*/ 395538 w 1037929"/>
                    <a:gd name="connsiteY49" fmla="*/ 811587 h 1862389"/>
                    <a:gd name="connsiteX50" fmla="*/ 410694 w 1037929"/>
                    <a:gd name="connsiteY50" fmla="*/ 816639 h 1862389"/>
                    <a:gd name="connsiteX51" fmla="*/ 420798 w 1037929"/>
                    <a:gd name="connsiteY51" fmla="*/ 826743 h 1862389"/>
                    <a:gd name="connsiteX52" fmla="*/ 433428 w 1037929"/>
                    <a:gd name="connsiteY52" fmla="*/ 846950 h 1862389"/>
                    <a:gd name="connsiteX53" fmla="*/ 438480 w 1037929"/>
                    <a:gd name="connsiteY53" fmla="*/ 869684 h 1862389"/>
                    <a:gd name="connsiteX54" fmla="*/ 446058 w 1037929"/>
                    <a:gd name="connsiteY54" fmla="*/ 879788 h 1862389"/>
                    <a:gd name="connsiteX55" fmla="*/ 448584 w 1037929"/>
                    <a:gd name="connsiteY55" fmla="*/ 907573 h 1862389"/>
                    <a:gd name="connsiteX56" fmla="*/ 451110 w 1037929"/>
                    <a:gd name="connsiteY56" fmla="*/ 920203 h 1862389"/>
                    <a:gd name="connsiteX57" fmla="*/ 461213 w 1037929"/>
                    <a:gd name="connsiteY57" fmla="*/ 925255 h 1862389"/>
                    <a:gd name="connsiteX58" fmla="*/ 466265 w 1037929"/>
                    <a:gd name="connsiteY58" fmla="*/ 950515 h 1862389"/>
                    <a:gd name="connsiteX59" fmla="*/ 456162 w 1037929"/>
                    <a:gd name="connsiteY59" fmla="*/ 945463 h 1862389"/>
                    <a:gd name="connsiteX60" fmla="*/ 451110 w 1037929"/>
                    <a:gd name="connsiteY60" fmla="*/ 937885 h 1862389"/>
                    <a:gd name="connsiteX61" fmla="*/ 428783 w 1037929"/>
                    <a:gd name="connsiteY61" fmla="*/ 947649 h 1862389"/>
                    <a:gd name="connsiteX62" fmla="*/ 425850 w 1037929"/>
                    <a:gd name="connsiteY62" fmla="*/ 925255 h 1862389"/>
                    <a:gd name="connsiteX63" fmla="*/ 400590 w 1037929"/>
                    <a:gd name="connsiteY63" fmla="*/ 930307 h 1862389"/>
                    <a:gd name="connsiteX64" fmla="*/ 425714 w 1037929"/>
                    <a:gd name="connsiteY64" fmla="*/ 947989 h 1862389"/>
                    <a:gd name="connsiteX65" fmla="*/ 410694 w 1037929"/>
                    <a:gd name="connsiteY65" fmla="*/ 975775 h 1862389"/>
                    <a:gd name="connsiteX66" fmla="*/ 408168 w 1037929"/>
                    <a:gd name="connsiteY66" fmla="*/ 985878 h 1862389"/>
                    <a:gd name="connsiteX67" fmla="*/ 405642 w 1037929"/>
                    <a:gd name="connsiteY67" fmla="*/ 1016190 h 1862389"/>
                    <a:gd name="connsiteX68" fmla="*/ 398064 w 1037929"/>
                    <a:gd name="connsiteY68" fmla="*/ 1023768 h 1862389"/>
                    <a:gd name="connsiteX69" fmla="*/ 385434 w 1037929"/>
                    <a:gd name="connsiteY69" fmla="*/ 1049028 h 1862389"/>
                    <a:gd name="connsiteX70" fmla="*/ 380383 w 1037929"/>
                    <a:gd name="connsiteY70" fmla="*/ 1064183 h 1862389"/>
                    <a:gd name="connsiteX71" fmla="*/ 372805 w 1037929"/>
                    <a:gd name="connsiteY71" fmla="*/ 1079339 h 1862389"/>
                    <a:gd name="connsiteX72" fmla="*/ 370279 w 1037929"/>
                    <a:gd name="connsiteY72" fmla="*/ 1099547 h 1862389"/>
                    <a:gd name="connsiteX73" fmla="*/ 350071 w 1037929"/>
                    <a:gd name="connsiteY73" fmla="*/ 1122281 h 1862389"/>
                    <a:gd name="connsiteX74" fmla="*/ 332389 w 1037929"/>
                    <a:gd name="connsiteY74" fmla="*/ 1155118 h 1862389"/>
                    <a:gd name="connsiteX75" fmla="*/ 322285 w 1037929"/>
                    <a:gd name="connsiteY75" fmla="*/ 1170274 h 1862389"/>
                    <a:gd name="connsiteX76" fmla="*/ 314707 w 1037929"/>
                    <a:gd name="connsiteY76" fmla="*/ 1157644 h 1862389"/>
                    <a:gd name="connsiteX77" fmla="*/ 312181 w 1037929"/>
                    <a:gd name="connsiteY77" fmla="*/ 1150066 h 1862389"/>
                    <a:gd name="connsiteX78" fmla="*/ 302078 w 1037929"/>
                    <a:gd name="connsiteY78" fmla="*/ 1162696 h 1862389"/>
                    <a:gd name="connsiteX79" fmla="*/ 304604 w 1037929"/>
                    <a:gd name="connsiteY79" fmla="*/ 1198060 h 1862389"/>
                    <a:gd name="connsiteX80" fmla="*/ 312181 w 1037929"/>
                    <a:gd name="connsiteY80" fmla="*/ 1200586 h 1862389"/>
                    <a:gd name="connsiteX81" fmla="*/ 299552 w 1037929"/>
                    <a:gd name="connsiteY81" fmla="*/ 1203112 h 1862389"/>
                    <a:gd name="connsiteX82" fmla="*/ 294500 w 1037929"/>
                    <a:gd name="connsiteY82" fmla="*/ 1205638 h 1862389"/>
                    <a:gd name="connsiteX83" fmla="*/ 286922 w 1037929"/>
                    <a:gd name="connsiteY83" fmla="*/ 1210689 h 1862389"/>
                    <a:gd name="connsiteX84" fmla="*/ 281870 w 1037929"/>
                    <a:gd name="connsiteY84" fmla="*/ 1218267 h 1862389"/>
                    <a:gd name="connsiteX85" fmla="*/ 279344 w 1037929"/>
                    <a:gd name="connsiteY85" fmla="*/ 1233423 h 1862389"/>
                    <a:gd name="connsiteX86" fmla="*/ 276818 w 1037929"/>
                    <a:gd name="connsiteY86" fmla="*/ 1243527 h 1862389"/>
                    <a:gd name="connsiteX87" fmla="*/ 284396 w 1037929"/>
                    <a:gd name="connsiteY87" fmla="*/ 1246053 h 1862389"/>
                    <a:gd name="connsiteX88" fmla="*/ 284396 w 1037929"/>
                    <a:gd name="connsiteY88" fmla="*/ 1266261 h 1862389"/>
                    <a:gd name="connsiteX89" fmla="*/ 249032 w 1037929"/>
                    <a:gd name="connsiteY89" fmla="*/ 1278891 h 1862389"/>
                    <a:gd name="connsiteX90" fmla="*/ 241454 w 1037929"/>
                    <a:gd name="connsiteY90" fmla="*/ 1281417 h 1862389"/>
                    <a:gd name="connsiteX91" fmla="*/ 233876 w 1037929"/>
                    <a:gd name="connsiteY91" fmla="*/ 1286468 h 1862389"/>
                    <a:gd name="connsiteX92" fmla="*/ 218721 w 1037929"/>
                    <a:gd name="connsiteY92" fmla="*/ 1294046 h 1862389"/>
                    <a:gd name="connsiteX93" fmla="*/ 228825 w 1037929"/>
                    <a:gd name="connsiteY93" fmla="*/ 1299098 h 1862389"/>
                    <a:gd name="connsiteX94" fmla="*/ 223773 w 1037929"/>
                    <a:gd name="connsiteY94" fmla="*/ 1339514 h 1862389"/>
                    <a:gd name="connsiteX95" fmla="*/ 218721 w 1037929"/>
                    <a:gd name="connsiteY95" fmla="*/ 1347092 h 1862389"/>
                    <a:gd name="connsiteX96" fmla="*/ 213669 w 1037929"/>
                    <a:gd name="connsiteY96" fmla="*/ 1359722 h 1862389"/>
                    <a:gd name="connsiteX97" fmla="*/ 208617 w 1037929"/>
                    <a:gd name="connsiteY97" fmla="*/ 1367299 h 1862389"/>
                    <a:gd name="connsiteX98" fmla="*/ 203565 w 1037929"/>
                    <a:gd name="connsiteY98" fmla="*/ 1377403 h 1862389"/>
                    <a:gd name="connsiteX99" fmla="*/ 211143 w 1037929"/>
                    <a:gd name="connsiteY99" fmla="*/ 1400137 h 1862389"/>
                    <a:gd name="connsiteX100" fmla="*/ 216195 w 1037929"/>
                    <a:gd name="connsiteY100" fmla="*/ 1407715 h 1862389"/>
                    <a:gd name="connsiteX101" fmla="*/ 218721 w 1037929"/>
                    <a:gd name="connsiteY101" fmla="*/ 1417819 h 1862389"/>
                    <a:gd name="connsiteX102" fmla="*/ 228825 w 1037929"/>
                    <a:gd name="connsiteY102" fmla="*/ 1438026 h 1862389"/>
                    <a:gd name="connsiteX103" fmla="*/ 231350 w 1037929"/>
                    <a:gd name="connsiteY103" fmla="*/ 1445604 h 1862389"/>
                    <a:gd name="connsiteX104" fmla="*/ 241454 w 1037929"/>
                    <a:gd name="connsiteY104" fmla="*/ 1463286 h 1862389"/>
                    <a:gd name="connsiteX105" fmla="*/ 246506 w 1037929"/>
                    <a:gd name="connsiteY105" fmla="*/ 1475916 h 1862389"/>
                    <a:gd name="connsiteX106" fmla="*/ 246506 w 1037929"/>
                    <a:gd name="connsiteY106" fmla="*/ 1513806 h 1862389"/>
                    <a:gd name="connsiteX107" fmla="*/ 256610 w 1037929"/>
                    <a:gd name="connsiteY107" fmla="*/ 1516331 h 1862389"/>
                    <a:gd name="connsiteX108" fmla="*/ 264188 w 1037929"/>
                    <a:gd name="connsiteY108" fmla="*/ 1526435 h 1862389"/>
                    <a:gd name="connsiteX109" fmla="*/ 269240 w 1037929"/>
                    <a:gd name="connsiteY109" fmla="*/ 1534013 h 1862389"/>
                    <a:gd name="connsiteX110" fmla="*/ 279344 w 1037929"/>
                    <a:gd name="connsiteY110" fmla="*/ 1561799 h 1862389"/>
                    <a:gd name="connsiteX111" fmla="*/ 284396 w 1037929"/>
                    <a:gd name="connsiteY111" fmla="*/ 1589585 h 1862389"/>
                    <a:gd name="connsiteX112" fmla="*/ 281870 w 1037929"/>
                    <a:gd name="connsiteY112" fmla="*/ 1597162 h 1862389"/>
                    <a:gd name="connsiteX113" fmla="*/ 281870 w 1037929"/>
                    <a:gd name="connsiteY113" fmla="*/ 1677993 h 1862389"/>
                    <a:gd name="connsiteX114" fmla="*/ 284396 w 1037929"/>
                    <a:gd name="connsiteY114" fmla="*/ 1703253 h 1862389"/>
                    <a:gd name="connsiteX115" fmla="*/ 297026 w 1037929"/>
                    <a:gd name="connsiteY115" fmla="*/ 1705779 h 1862389"/>
                    <a:gd name="connsiteX116" fmla="*/ 289448 w 1037929"/>
                    <a:gd name="connsiteY116" fmla="*/ 1713357 h 1862389"/>
                    <a:gd name="connsiteX117" fmla="*/ 294500 w 1037929"/>
                    <a:gd name="connsiteY117" fmla="*/ 1720935 h 1862389"/>
                    <a:gd name="connsiteX118" fmla="*/ 297026 w 1037929"/>
                    <a:gd name="connsiteY118" fmla="*/ 1728513 h 1862389"/>
                    <a:gd name="connsiteX119" fmla="*/ 294500 w 1037929"/>
                    <a:gd name="connsiteY119" fmla="*/ 1763876 h 1862389"/>
                    <a:gd name="connsiteX120" fmla="*/ 322285 w 1037929"/>
                    <a:gd name="connsiteY120" fmla="*/ 1758824 h 1862389"/>
                    <a:gd name="connsiteX121" fmla="*/ 329863 w 1037929"/>
                    <a:gd name="connsiteY121" fmla="*/ 1761350 h 1862389"/>
                    <a:gd name="connsiteX122" fmla="*/ 334915 w 1037929"/>
                    <a:gd name="connsiteY122" fmla="*/ 1779032 h 1862389"/>
                    <a:gd name="connsiteX123" fmla="*/ 355123 w 1037929"/>
                    <a:gd name="connsiteY123" fmla="*/ 1784084 h 1862389"/>
                    <a:gd name="connsiteX124" fmla="*/ 357649 w 1037929"/>
                    <a:gd name="connsiteY124" fmla="*/ 1794188 h 1862389"/>
                    <a:gd name="connsiteX125" fmla="*/ 380383 w 1037929"/>
                    <a:gd name="connsiteY125" fmla="*/ 1789136 h 1862389"/>
                    <a:gd name="connsiteX126" fmla="*/ 393012 w 1037929"/>
                    <a:gd name="connsiteY126" fmla="*/ 1779032 h 1862389"/>
                    <a:gd name="connsiteX127" fmla="*/ 390486 w 1037929"/>
                    <a:gd name="connsiteY127" fmla="*/ 1786610 h 1862389"/>
                    <a:gd name="connsiteX128" fmla="*/ 385434 w 1037929"/>
                    <a:gd name="connsiteY128" fmla="*/ 1799240 h 1862389"/>
                    <a:gd name="connsiteX129" fmla="*/ 393012 w 1037929"/>
                    <a:gd name="connsiteY129" fmla="*/ 1801766 h 1862389"/>
                    <a:gd name="connsiteX130" fmla="*/ 403116 w 1037929"/>
                    <a:gd name="connsiteY130" fmla="*/ 1799240 h 1862389"/>
                    <a:gd name="connsiteX131" fmla="*/ 418272 w 1037929"/>
                    <a:gd name="connsiteY131" fmla="*/ 1796714 h 1862389"/>
                    <a:gd name="connsiteX132" fmla="*/ 428376 w 1037929"/>
                    <a:gd name="connsiteY132" fmla="*/ 1809344 h 1862389"/>
                    <a:gd name="connsiteX133" fmla="*/ 443532 w 1037929"/>
                    <a:gd name="connsiteY133" fmla="*/ 1799240 h 1862389"/>
                    <a:gd name="connsiteX134" fmla="*/ 438480 w 1037929"/>
                    <a:gd name="connsiteY134" fmla="*/ 1811870 h 1862389"/>
                    <a:gd name="connsiteX135" fmla="*/ 428376 w 1037929"/>
                    <a:gd name="connsiteY135" fmla="*/ 1821973 h 1862389"/>
                    <a:gd name="connsiteX136" fmla="*/ 433428 w 1037929"/>
                    <a:gd name="connsiteY136" fmla="*/ 1824499 h 1862389"/>
                    <a:gd name="connsiteX137" fmla="*/ 451110 w 1037929"/>
                    <a:gd name="connsiteY137" fmla="*/ 1821973 h 1862389"/>
                    <a:gd name="connsiteX138" fmla="*/ 456162 w 1037929"/>
                    <a:gd name="connsiteY138" fmla="*/ 1829551 h 1862389"/>
                    <a:gd name="connsiteX139" fmla="*/ 478895 w 1037929"/>
                    <a:gd name="connsiteY139" fmla="*/ 1852285 h 1862389"/>
                    <a:gd name="connsiteX140" fmla="*/ 471317 w 1037929"/>
                    <a:gd name="connsiteY140" fmla="*/ 1854811 h 1862389"/>
                    <a:gd name="connsiteX141" fmla="*/ 461213 w 1037929"/>
                    <a:gd name="connsiteY141" fmla="*/ 1857337 h 1862389"/>
                    <a:gd name="connsiteX142" fmla="*/ 476369 w 1037929"/>
                    <a:gd name="connsiteY142" fmla="*/ 1862389 h 1862389"/>
                    <a:gd name="connsiteX143" fmla="*/ 486473 w 1037929"/>
                    <a:gd name="connsiteY143" fmla="*/ 1854811 h 1862389"/>
                    <a:gd name="connsiteX144" fmla="*/ 488999 w 1037929"/>
                    <a:gd name="connsiteY144" fmla="*/ 1842181 h 1862389"/>
                    <a:gd name="connsiteX145" fmla="*/ 491525 w 1037929"/>
                    <a:gd name="connsiteY145" fmla="*/ 1834603 h 1862389"/>
                    <a:gd name="connsiteX146" fmla="*/ 511733 w 1037929"/>
                    <a:gd name="connsiteY146" fmla="*/ 1827025 h 1862389"/>
                    <a:gd name="connsiteX147" fmla="*/ 521837 w 1037929"/>
                    <a:gd name="connsiteY147" fmla="*/ 1816922 h 1862389"/>
                    <a:gd name="connsiteX148" fmla="*/ 539518 w 1037929"/>
                    <a:gd name="connsiteY148" fmla="*/ 1811870 h 1862389"/>
                    <a:gd name="connsiteX149" fmla="*/ 547096 w 1037929"/>
                    <a:gd name="connsiteY149" fmla="*/ 1809344 h 1862389"/>
                    <a:gd name="connsiteX150" fmla="*/ 569830 w 1037929"/>
                    <a:gd name="connsiteY150" fmla="*/ 1796714 h 1862389"/>
                    <a:gd name="connsiteX151" fmla="*/ 577408 w 1037929"/>
                    <a:gd name="connsiteY151" fmla="*/ 1801766 h 1862389"/>
                    <a:gd name="connsiteX152" fmla="*/ 592564 w 1037929"/>
                    <a:gd name="connsiteY152" fmla="*/ 1791662 h 1862389"/>
                    <a:gd name="connsiteX153" fmla="*/ 597616 w 1037929"/>
                    <a:gd name="connsiteY153" fmla="*/ 1784084 h 1862389"/>
                    <a:gd name="connsiteX154" fmla="*/ 605194 w 1037929"/>
                    <a:gd name="connsiteY154" fmla="*/ 1781558 h 1862389"/>
                    <a:gd name="connsiteX155" fmla="*/ 607720 w 1037929"/>
                    <a:gd name="connsiteY155" fmla="*/ 1771454 h 1862389"/>
                    <a:gd name="connsiteX156" fmla="*/ 615297 w 1037929"/>
                    <a:gd name="connsiteY156" fmla="*/ 1768928 h 1862389"/>
                    <a:gd name="connsiteX157" fmla="*/ 627927 w 1037929"/>
                    <a:gd name="connsiteY157" fmla="*/ 1763876 h 1862389"/>
                    <a:gd name="connsiteX158" fmla="*/ 655713 w 1037929"/>
                    <a:gd name="connsiteY158" fmla="*/ 1743668 h 1862389"/>
                    <a:gd name="connsiteX159" fmla="*/ 688550 w 1037929"/>
                    <a:gd name="connsiteY159" fmla="*/ 1738617 h 1862389"/>
                    <a:gd name="connsiteX160" fmla="*/ 706232 w 1037929"/>
                    <a:gd name="connsiteY160" fmla="*/ 1731039 h 1862389"/>
                    <a:gd name="connsiteX161" fmla="*/ 708758 w 1037929"/>
                    <a:gd name="connsiteY161" fmla="*/ 1720935 h 1862389"/>
                    <a:gd name="connsiteX162" fmla="*/ 716336 w 1037929"/>
                    <a:gd name="connsiteY162" fmla="*/ 1710831 h 1862389"/>
                    <a:gd name="connsiteX163" fmla="*/ 726440 w 1037929"/>
                    <a:gd name="connsiteY163" fmla="*/ 1698201 h 1862389"/>
                    <a:gd name="connsiteX164" fmla="*/ 741596 w 1037929"/>
                    <a:gd name="connsiteY164" fmla="*/ 1680519 h 1862389"/>
                    <a:gd name="connsiteX165" fmla="*/ 754226 w 1037929"/>
                    <a:gd name="connsiteY165" fmla="*/ 1677993 h 1862389"/>
                    <a:gd name="connsiteX166" fmla="*/ 761804 w 1037929"/>
                    <a:gd name="connsiteY166" fmla="*/ 1667889 h 1862389"/>
                    <a:gd name="connsiteX167" fmla="*/ 751700 w 1037929"/>
                    <a:gd name="connsiteY167" fmla="*/ 1652734 h 1862389"/>
                    <a:gd name="connsiteX168" fmla="*/ 751700 w 1037929"/>
                    <a:gd name="connsiteY168" fmla="*/ 1675467 h 1862389"/>
                    <a:gd name="connsiteX169" fmla="*/ 774433 w 1037929"/>
                    <a:gd name="connsiteY169" fmla="*/ 1683045 h 1862389"/>
                    <a:gd name="connsiteX170" fmla="*/ 784537 w 1037929"/>
                    <a:gd name="connsiteY170" fmla="*/ 1675467 h 1862389"/>
                    <a:gd name="connsiteX171" fmla="*/ 792115 w 1037929"/>
                    <a:gd name="connsiteY171" fmla="*/ 1660312 h 1862389"/>
                    <a:gd name="connsiteX172" fmla="*/ 799693 w 1037929"/>
                    <a:gd name="connsiteY172" fmla="*/ 1655260 h 1862389"/>
                    <a:gd name="connsiteX173" fmla="*/ 812323 w 1037929"/>
                    <a:gd name="connsiteY173" fmla="*/ 1657786 h 1862389"/>
                    <a:gd name="connsiteX174" fmla="*/ 822427 w 1037929"/>
                    <a:gd name="connsiteY174" fmla="*/ 1665364 h 1862389"/>
                    <a:gd name="connsiteX175" fmla="*/ 830005 w 1037929"/>
                    <a:gd name="connsiteY175" fmla="*/ 1667889 h 1862389"/>
                    <a:gd name="connsiteX176" fmla="*/ 850212 w 1037929"/>
                    <a:gd name="connsiteY176" fmla="*/ 1632526 h 1862389"/>
                    <a:gd name="connsiteX177" fmla="*/ 865368 w 1037929"/>
                    <a:gd name="connsiteY177" fmla="*/ 1609792 h 1862389"/>
                    <a:gd name="connsiteX178" fmla="*/ 875472 w 1037929"/>
                    <a:gd name="connsiteY178" fmla="*/ 1584533 h 1862389"/>
                    <a:gd name="connsiteX179" fmla="*/ 883050 w 1037929"/>
                    <a:gd name="connsiteY179" fmla="*/ 1576955 h 1862389"/>
                    <a:gd name="connsiteX180" fmla="*/ 888102 w 1037929"/>
                    <a:gd name="connsiteY180" fmla="*/ 1566851 h 1862389"/>
                    <a:gd name="connsiteX181" fmla="*/ 893154 w 1037929"/>
                    <a:gd name="connsiteY181" fmla="*/ 1559273 h 1862389"/>
                    <a:gd name="connsiteX182" fmla="*/ 895680 w 1037929"/>
                    <a:gd name="connsiteY182" fmla="*/ 1551695 h 1862389"/>
                    <a:gd name="connsiteX183" fmla="*/ 900732 w 1037929"/>
                    <a:gd name="connsiteY183" fmla="*/ 1544117 h 1862389"/>
                    <a:gd name="connsiteX184" fmla="*/ 903258 w 1037929"/>
                    <a:gd name="connsiteY184" fmla="*/ 1536539 h 1862389"/>
                    <a:gd name="connsiteX185" fmla="*/ 908310 w 1037929"/>
                    <a:gd name="connsiteY185" fmla="*/ 1528961 h 1862389"/>
                    <a:gd name="connsiteX186" fmla="*/ 925991 w 1037929"/>
                    <a:gd name="connsiteY186" fmla="*/ 1498650 h 1862389"/>
                    <a:gd name="connsiteX187" fmla="*/ 928517 w 1037929"/>
                    <a:gd name="connsiteY187" fmla="*/ 1491072 h 1862389"/>
                    <a:gd name="connsiteX188" fmla="*/ 931043 w 1037929"/>
                    <a:gd name="connsiteY188" fmla="*/ 1480968 h 1862389"/>
                    <a:gd name="connsiteX189" fmla="*/ 946199 w 1037929"/>
                    <a:gd name="connsiteY189" fmla="*/ 1460760 h 1862389"/>
                    <a:gd name="connsiteX190" fmla="*/ 948725 w 1037929"/>
                    <a:gd name="connsiteY190" fmla="*/ 1453182 h 1862389"/>
                    <a:gd name="connsiteX191" fmla="*/ 951251 w 1037929"/>
                    <a:gd name="connsiteY191" fmla="*/ 1440552 h 1862389"/>
                    <a:gd name="connsiteX192" fmla="*/ 958829 w 1037929"/>
                    <a:gd name="connsiteY192" fmla="*/ 1430449 h 1862389"/>
                    <a:gd name="connsiteX193" fmla="*/ 968933 w 1037929"/>
                    <a:gd name="connsiteY193" fmla="*/ 1410241 h 1862389"/>
                    <a:gd name="connsiteX194" fmla="*/ 973985 w 1037929"/>
                    <a:gd name="connsiteY194" fmla="*/ 1397611 h 1862389"/>
                    <a:gd name="connsiteX195" fmla="*/ 979037 w 1037929"/>
                    <a:gd name="connsiteY195" fmla="*/ 1390033 h 1862389"/>
                    <a:gd name="connsiteX196" fmla="*/ 989141 w 1037929"/>
                    <a:gd name="connsiteY196" fmla="*/ 1364773 h 1862389"/>
                    <a:gd name="connsiteX197" fmla="*/ 996718 w 1037929"/>
                    <a:gd name="connsiteY197" fmla="*/ 1344566 h 1862389"/>
                    <a:gd name="connsiteX198" fmla="*/ 1001770 w 1037929"/>
                    <a:gd name="connsiteY198" fmla="*/ 1334462 h 1862389"/>
                    <a:gd name="connsiteX199" fmla="*/ 1004296 w 1037929"/>
                    <a:gd name="connsiteY199" fmla="*/ 1306676 h 1862389"/>
                    <a:gd name="connsiteX200" fmla="*/ 1006822 w 1037929"/>
                    <a:gd name="connsiteY200" fmla="*/ 1299098 h 1862389"/>
                    <a:gd name="connsiteX201" fmla="*/ 1009348 w 1037929"/>
                    <a:gd name="connsiteY201" fmla="*/ 1283943 h 1862389"/>
                    <a:gd name="connsiteX202" fmla="*/ 1014400 w 1037929"/>
                    <a:gd name="connsiteY202" fmla="*/ 1276365 h 1862389"/>
                    <a:gd name="connsiteX203" fmla="*/ 1019452 w 1037929"/>
                    <a:gd name="connsiteY203" fmla="*/ 1266261 h 1862389"/>
                    <a:gd name="connsiteX204" fmla="*/ 1027030 w 1037929"/>
                    <a:gd name="connsiteY204" fmla="*/ 1253631 h 1862389"/>
                    <a:gd name="connsiteX205" fmla="*/ 1029556 w 1037929"/>
                    <a:gd name="connsiteY205" fmla="*/ 1235949 h 1862389"/>
                    <a:gd name="connsiteX206" fmla="*/ 1034608 w 1037929"/>
                    <a:gd name="connsiteY206" fmla="*/ 1220793 h 1862389"/>
                    <a:gd name="connsiteX207" fmla="*/ 1037134 w 1037929"/>
                    <a:gd name="connsiteY207" fmla="*/ 1177852 h 1862389"/>
                    <a:gd name="connsiteX208" fmla="*/ 1027030 w 1037929"/>
                    <a:gd name="connsiteY208" fmla="*/ 1137436 h 1862389"/>
                    <a:gd name="connsiteX209" fmla="*/ 1016926 w 1037929"/>
                    <a:gd name="connsiteY209" fmla="*/ 1134910 h 1862389"/>
                    <a:gd name="connsiteX210" fmla="*/ 999244 w 1037929"/>
                    <a:gd name="connsiteY210" fmla="*/ 1119755 h 1862389"/>
                    <a:gd name="connsiteX211" fmla="*/ 991667 w 1037929"/>
                    <a:gd name="connsiteY211" fmla="*/ 1112177 h 1862389"/>
                    <a:gd name="connsiteX212" fmla="*/ 971459 w 1037929"/>
                    <a:gd name="connsiteY212" fmla="*/ 1097021 h 1862389"/>
                    <a:gd name="connsiteX213" fmla="*/ 961355 w 1037929"/>
                    <a:gd name="connsiteY213" fmla="*/ 1089443 h 1862389"/>
                    <a:gd name="connsiteX214" fmla="*/ 946199 w 1037929"/>
                    <a:gd name="connsiteY214" fmla="*/ 1084391 h 1862389"/>
                    <a:gd name="connsiteX215" fmla="*/ 923465 w 1037929"/>
                    <a:gd name="connsiteY215" fmla="*/ 1079339 h 1862389"/>
                    <a:gd name="connsiteX216" fmla="*/ 910836 w 1037929"/>
                    <a:gd name="connsiteY216" fmla="*/ 1074287 h 1862389"/>
                    <a:gd name="connsiteX217" fmla="*/ 890628 w 1037929"/>
                    <a:gd name="connsiteY217" fmla="*/ 1061657 h 1862389"/>
                    <a:gd name="connsiteX218" fmla="*/ 877998 w 1037929"/>
                    <a:gd name="connsiteY218" fmla="*/ 1046502 h 1862389"/>
                    <a:gd name="connsiteX219" fmla="*/ 880524 w 1037929"/>
                    <a:gd name="connsiteY219" fmla="*/ 1033872 h 1862389"/>
                    <a:gd name="connsiteX220" fmla="*/ 885576 w 1037929"/>
                    <a:gd name="connsiteY220" fmla="*/ 1016190 h 1862389"/>
                    <a:gd name="connsiteX221" fmla="*/ 890628 w 1037929"/>
                    <a:gd name="connsiteY221" fmla="*/ 1008612 h 1862389"/>
                    <a:gd name="connsiteX222" fmla="*/ 850212 w 1037929"/>
                    <a:gd name="connsiteY222" fmla="*/ 940411 h 1862389"/>
                    <a:gd name="connsiteX223" fmla="*/ 837583 w 1037929"/>
                    <a:gd name="connsiteY223" fmla="*/ 937885 h 1862389"/>
                    <a:gd name="connsiteX224" fmla="*/ 827479 w 1037929"/>
                    <a:gd name="connsiteY224" fmla="*/ 877262 h 1862389"/>
                    <a:gd name="connsiteX225" fmla="*/ 814849 w 1037929"/>
                    <a:gd name="connsiteY225" fmla="*/ 874736 h 1862389"/>
                    <a:gd name="connsiteX226" fmla="*/ 799693 w 1037929"/>
                    <a:gd name="connsiteY226" fmla="*/ 862106 h 1862389"/>
                    <a:gd name="connsiteX227" fmla="*/ 779485 w 1037929"/>
                    <a:gd name="connsiteY227" fmla="*/ 859580 h 1862389"/>
                    <a:gd name="connsiteX228" fmla="*/ 776959 w 1037929"/>
                    <a:gd name="connsiteY228" fmla="*/ 849476 h 1862389"/>
                    <a:gd name="connsiteX229" fmla="*/ 774433 w 1037929"/>
                    <a:gd name="connsiteY229" fmla="*/ 841898 h 1862389"/>
                    <a:gd name="connsiteX230" fmla="*/ 789589 w 1037929"/>
                    <a:gd name="connsiteY230" fmla="*/ 811587 h 1862389"/>
                    <a:gd name="connsiteX231" fmla="*/ 782011 w 1037929"/>
                    <a:gd name="connsiteY231" fmla="*/ 798957 h 1862389"/>
                    <a:gd name="connsiteX232" fmla="*/ 761804 w 1037929"/>
                    <a:gd name="connsiteY232" fmla="*/ 783801 h 1862389"/>
                    <a:gd name="connsiteX233" fmla="*/ 766855 w 1037929"/>
                    <a:gd name="connsiteY233" fmla="*/ 713074 h 1862389"/>
                    <a:gd name="connsiteX234" fmla="*/ 779485 w 1037929"/>
                    <a:gd name="connsiteY234" fmla="*/ 708022 h 1862389"/>
                    <a:gd name="connsiteX235" fmla="*/ 782011 w 1037929"/>
                    <a:gd name="connsiteY235" fmla="*/ 697918 h 1862389"/>
                    <a:gd name="connsiteX236" fmla="*/ 774433 w 1037929"/>
                    <a:gd name="connsiteY236" fmla="*/ 695392 h 1862389"/>
                    <a:gd name="connsiteX237" fmla="*/ 761804 w 1037929"/>
                    <a:gd name="connsiteY237" fmla="*/ 692866 h 1862389"/>
                    <a:gd name="connsiteX238" fmla="*/ 754226 w 1037929"/>
                    <a:gd name="connsiteY238" fmla="*/ 685288 h 1862389"/>
                    <a:gd name="connsiteX239" fmla="*/ 741596 w 1037929"/>
                    <a:gd name="connsiteY239" fmla="*/ 660029 h 1862389"/>
                    <a:gd name="connsiteX240" fmla="*/ 731492 w 1037929"/>
                    <a:gd name="connsiteY240" fmla="*/ 649925 h 1862389"/>
                    <a:gd name="connsiteX241" fmla="*/ 723914 w 1037929"/>
                    <a:gd name="connsiteY241" fmla="*/ 637295 h 1862389"/>
                    <a:gd name="connsiteX242" fmla="*/ 711284 w 1037929"/>
                    <a:gd name="connsiteY242" fmla="*/ 619613 h 1862389"/>
                    <a:gd name="connsiteX243" fmla="*/ 696128 w 1037929"/>
                    <a:gd name="connsiteY243" fmla="*/ 601931 h 1862389"/>
                    <a:gd name="connsiteX244" fmla="*/ 686025 w 1037929"/>
                    <a:gd name="connsiteY244" fmla="*/ 589302 h 1862389"/>
                    <a:gd name="connsiteX245" fmla="*/ 678447 w 1037929"/>
                    <a:gd name="connsiteY245" fmla="*/ 581724 h 1862389"/>
                    <a:gd name="connsiteX246" fmla="*/ 665817 w 1037929"/>
                    <a:gd name="connsiteY246" fmla="*/ 558990 h 1862389"/>
                    <a:gd name="connsiteX247" fmla="*/ 645609 w 1037929"/>
                    <a:gd name="connsiteY247" fmla="*/ 533730 h 1862389"/>
                    <a:gd name="connsiteX248" fmla="*/ 632979 w 1037929"/>
                    <a:gd name="connsiteY248" fmla="*/ 518575 h 1862389"/>
                    <a:gd name="connsiteX249" fmla="*/ 630453 w 1037929"/>
                    <a:gd name="connsiteY249" fmla="*/ 505945 h 1862389"/>
                    <a:gd name="connsiteX250" fmla="*/ 635505 w 1037929"/>
                    <a:gd name="connsiteY250" fmla="*/ 468055 h 1862389"/>
                    <a:gd name="connsiteX251" fmla="*/ 638031 w 1037929"/>
                    <a:gd name="connsiteY251" fmla="*/ 452899 h 1862389"/>
                    <a:gd name="connsiteX252" fmla="*/ 645609 w 1037929"/>
                    <a:gd name="connsiteY252" fmla="*/ 440270 h 1862389"/>
                    <a:gd name="connsiteX253" fmla="*/ 648135 w 1037929"/>
                    <a:gd name="connsiteY253" fmla="*/ 430166 h 1862389"/>
                    <a:gd name="connsiteX254" fmla="*/ 653187 w 1037929"/>
                    <a:gd name="connsiteY254" fmla="*/ 387224 h 1862389"/>
                    <a:gd name="connsiteX255" fmla="*/ 650661 w 1037929"/>
                    <a:gd name="connsiteY255" fmla="*/ 369543 h 1862389"/>
                    <a:gd name="connsiteX256" fmla="*/ 632979 w 1037929"/>
                    <a:gd name="connsiteY256" fmla="*/ 359439 h 1862389"/>
                    <a:gd name="connsiteX257" fmla="*/ 625401 w 1037929"/>
                    <a:gd name="connsiteY257" fmla="*/ 349335 h 1862389"/>
                    <a:gd name="connsiteX258" fmla="*/ 620349 w 1037929"/>
                    <a:gd name="connsiteY258" fmla="*/ 341757 h 1862389"/>
                    <a:gd name="connsiteX259" fmla="*/ 612771 w 1037929"/>
                    <a:gd name="connsiteY259" fmla="*/ 339231 h 1862389"/>
                    <a:gd name="connsiteX260" fmla="*/ 605194 w 1037929"/>
                    <a:gd name="connsiteY260" fmla="*/ 334179 h 1862389"/>
                    <a:gd name="connsiteX261" fmla="*/ 595090 w 1037929"/>
                    <a:gd name="connsiteY261" fmla="*/ 316497 h 1862389"/>
                    <a:gd name="connsiteX262" fmla="*/ 587512 w 1037929"/>
                    <a:gd name="connsiteY262" fmla="*/ 311445 h 1862389"/>
                    <a:gd name="connsiteX263" fmla="*/ 531941 w 1037929"/>
                    <a:gd name="connsiteY263" fmla="*/ 311445 h 1862389"/>
                    <a:gd name="connsiteX264" fmla="*/ 529415 w 1037929"/>
                    <a:gd name="connsiteY264" fmla="*/ 301341 h 1862389"/>
                    <a:gd name="connsiteX265" fmla="*/ 521837 w 1037929"/>
                    <a:gd name="connsiteY265" fmla="*/ 276082 h 1862389"/>
                    <a:gd name="connsiteX266" fmla="*/ 519311 w 1037929"/>
                    <a:gd name="connsiteY266" fmla="*/ 255874 h 1862389"/>
                    <a:gd name="connsiteX267" fmla="*/ 516785 w 1037929"/>
                    <a:gd name="connsiteY267" fmla="*/ 245770 h 1862389"/>
                    <a:gd name="connsiteX268" fmla="*/ 514259 w 1037929"/>
                    <a:gd name="connsiteY268" fmla="*/ 197777 h 1862389"/>
                    <a:gd name="connsiteX269" fmla="*/ 506681 w 1037929"/>
                    <a:gd name="connsiteY269" fmla="*/ 195251 h 1862389"/>
                    <a:gd name="connsiteX270" fmla="*/ 499103 w 1037929"/>
                    <a:gd name="connsiteY270" fmla="*/ 187673 h 1862389"/>
                    <a:gd name="connsiteX271" fmla="*/ 509207 w 1037929"/>
                    <a:gd name="connsiteY271" fmla="*/ 149783 h 1862389"/>
                    <a:gd name="connsiteX272" fmla="*/ 504155 w 1037929"/>
                    <a:gd name="connsiteY272" fmla="*/ 129576 h 1862389"/>
                    <a:gd name="connsiteX273" fmla="*/ 501629 w 1037929"/>
                    <a:gd name="connsiteY273" fmla="*/ 61375 h 1862389"/>
                    <a:gd name="connsiteX274" fmla="*/ 494051 w 1037929"/>
                    <a:gd name="connsiteY274" fmla="*/ 58849 h 1862389"/>
                    <a:gd name="connsiteX275" fmla="*/ 483947 w 1037929"/>
                    <a:gd name="connsiteY275" fmla="*/ 53797 h 1862389"/>
                    <a:gd name="connsiteX276" fmla="*/ 451110 w 1037929"/>
                    <a:gd name="connsiteY276" fmla="*/ 48745 h 1862389"/>
                    <a:gd name="connsiteX277" fmla="*/ 430902 w 1037929"/>
                    <a:gd name="connsiteY277" fmla="*/ 36115 h 1862389"/>
                    <a:gd name="connsiteX278" fmla="*/ 410694 w 1037929"/>
                    <a:gd name="connsiteY278" fmla="*/ 18433 h 1862389"/>
                    <a:gd name="connsiteX279" fmla="*/ 400584 w 1037929"/>
                    <a:gd name="connsiteY279" fmla="*/ 3920 h 1862389"/>
                    <a:gd name="connsiteX280" fmla="*/ 389220 w 1037929"/>
                    <a:gd name="connsiteY280" fmla="*/ 767 h 1862389"/>
                    <a:gd name="connsiteX281" fmla="*/ 350071 w 1037929"/>
                    <a:gd name="connsiteY281" fmla="*/ 15907 h 1862389"/>
                    <a:gd name="connsiteX282" fmla="*/ 352597 w 1037929"/>
                    <a:gd name="connsiteY282" fmla="*/ 5803 h 1862389"/>
                    <a:gd name="connsiteX283" fmla="*/ 362701 w 1037929"/>
                    <a:gd name="connsiteY283" fmla="*/ 8329 h 1862389"/>
                    <a:gd name="connsiteX284" fmla="*/ 350071 w 1037929"/>
                    <a:gd name="connsiteY284" fmla="*/ 43693 h 1862389"/>
                    <a:gd name="connsiteX285" fmla="*/ 347545 w 1037929"/>
                    <a:gd name="connsiteY285" fmla="*/ 53797 h 1862389"/>
                    <a:gd name="connsiteX286" fmla="*/ 339967 w 1037929"/>
                    <a:gd name="connsiteY286" fmla="*/ 56323 h 1862389"/>
                    <a:gd name="connsiteX287" fmla="*/ 324811 w 1037929"/>
                    <a:gd name="connsiteY287" fmla="*/ 53797 h 1862389"/>
                    <a:gd name="connsiteX288" fmla="*/ 307129 w 1037929"/>
                    <a:gd name="connsiteY288" fmla="*/ 51271 h 1862389"/>
                    <a:gd name="connsiteX289" fmla="*/ 297026 w 1037929"/>
                    <a:gd name="connsiteY289" fmla="*/ 48745 h 1862389"/>
                    <a:gd name="connsiteX290" fmla="*/ 289448 w 1037929"/>
                    <a:gd name="connsiteY290" fmla="*/ 51271 h 1862389"/>
                    <a:gd name="connsiteX291" fmla="*/ 291974 w 1037929"/>
                    <a:gd name="connsiteY291" fmla="*/ 68952 h 1862389"/>
                    <a:gd name="connsiteX292" fmla="*/ 297026 w 1037929"/>
                    <a:gd name="connsiteY292" fmla="*/ 91686 h 1862389"/>
                    <a:gd name="connsiteX293" fmla="*/ 294500 w 1037929"/>
                    <a:gd name="connsiteY293" fmla="*/ 129576 h 1862389"/>
                    <a:gd name="connsiteX294" fmla="*/ 291974 w 1037929"/>
                    <a:gd name="connsiteY294" fmla="*/ 137154 h 1862389"/>
                    <a:gd name="connsiteX295" fmla="*/ 289448 w 1037929"/>
                    <a:gd name="connsiteY295" fmla="*/ 152309 h 1862389"/>
                    <a:gd name="connsiteX296" fmla="*/ 302078 w 1037929"/>
                    <a:gd name="connsiteY296" fmla="*/ 205355 h 1862389"/>
                    <a:gd name="connsiteX297" fmla="*/ 309655 w 1037929"/>
                    <a:gd name="connsiteY297" fmla="*/ 207881 h 1862389"/>
                    <a:gd name="connsiteX298" fmla="*/ 297026 w 1037929"/>
                    <a:gd name="connsiteY298" fmla="*/ 245770 h 1862389"/>
                    <a:gd name="connsiteX299" fmla="*/ 284396 w 1037929"/>
                    <a:gd name="connsiteY299" fmla="*/ 288712 h 1862389"/>
                    <a:gd name="connsiteX300" fmla="*/ 281870 w 1037929"/>
                    <a:gd name="connsiteY300" fmla="*/ 298951 h 1862389"/>
                    <a:gd name="connsiteX301" fmla="*/ 262549 w 1037929"/>
                    <a:gd name="connsiteY301" fmla="*/ 292260 h 1862389"/>
                    <a:gd name="connsiteX302" fmla="*/ 256610 w 1037929"/>
                    <a:gd name="connsiteY302" fmla="*/ 291238 h 1862389"/>
                    <a:gd name="connsiteX303" fmla="*/ 249032 w 1037929"/>
                    <a:gd name="connsiteY303" fmla="*/ 286186 h 1862389"/>
                    <a:gd name="connsiteX304" fmla="*/ 243980 w 1037929"/>
                    <a:gd name="connsiteY304" fmla="*/ 278608 h 1862389"/>
                    <a:gd name="connsiteX305" fmla="*/ 241454 w 1037929"/>
                    <a:gd name="connsiteY305" fmla="*/ 271030 h 1862389"/>
                    <a:gd name="connsiteX306" fmla="*/ 231350 w 1037929"/>
                    <a:gd name="connsiteY306" fmla="*/ 268504 h 1862389"/>
                    <a:gd name="connsiteX307" fmla="*/ 221247 w 1037929"/>
                    <a:gd name="connsiteY307" fmla="*/ 268024 h 1862389"/>
                    <a:gd name="connsiteX308" fmla="*/ 198513 w 1037929"/>
                    <a:gd name="connsiteY308" fmla="*/ 268504 h 1862389"/>
                    <a:gd name="connsiteX309" fmla="*/ 195987 w 1037929"/>
                    <a:gd name="connsiteY309" fmla="*/ 281134 h 1862389"/>
                    <a:gd name="connsiteX310" fmla="*/ 177074 w 1037929"/>
                    <a:gd name="connsiteY310" fmla="*/ 279767 h 1862389"/>
                    <a:gd name="connsiteX311" fmla="*/ 147994 w 1037929"/>
                    <a:gd name="connsiteY311" fmla="*/ 306393 h 1862389"/>
                    <a:gd name="connsiteX312" fmla="*/ 94948 w 1037929"/>
                    <a:gd name="connsiteY312" fmla="*/ 291238 h 1862389"/>
                    <a:gd name="connsiteX313" fmla="*/ 89896 w 1037929"/>
                    <a:gd name="connsiteY313" fmla="*/ 283660 h 1862389"/>
                    <a:gd name="connsiteX314" fmla="*/ 87370 w 1037929"/>
                    <a:gd name="connsiteY314" fmla="*/ 273556 h 1862389"/>
                    <a:gd name="connsiteX315" fmla="*/ 84844 w 1037929"/>
                    <a:gd name="connsiteY315" fmla="*/ 265978 h 1862389"/>
                    <a:gd name="connsiteX316" fmla="*/ 72215 w 1037929"/>
                    <a:gd name="connsiteY316" fmla="*/ 260926 h 1862389"/>
                    <a:gd name="connsiteX317" fmla="*/ 54533 w 1037929"/>
                    <a:gd name="connsiteY317" fmla="*/ 240718 h 1862389"/>
                    <a:gd name="connsiteX318" fmla="*/ 47707 w 1037929"/>
                    <a:gd name="connsiteY318" fmla="*/ 227473 h 1862389"/>
                    <a:gd name="connsiteX319" fmla="*/ 29273 w 1037929"/>
                    <a:gd name="connsiteY319" fmla="*/ 219895 h 1862389"/>
                    <a:gd name="connsiteX320" fmla="*/ 21695 w 1037929"/>
                    <a:gd name="connsiteY320" fmla="*/ 220510 h 1862389"/>
                    <a:gd name="connsiteX321" fmla="*/ 6539 w 1037929"/>
                    <a:gd name="connsiteY321" fmla="*/ 240718 h 1862389"/>
                    <a:gd name="connsiteX322" fmla="*/ 256 w 1037929"/>
                    <a:gd name="connsiteY322" fmla="*/ 258536 h 18623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Lst>
                  <a:rect l="l" t="t" r="r" b="b"/>
                  <a:pathLst>
                    <a:path w="1037929" h="1862389">
                      <a:moveTo>
                        <a:pt x="256" y="258536"/>
                      </a:moveTo>
                      <a:cubicBezTo>
                        <a:pt x="-586" y="263167"/>
                        <a:pt x="861" y="265580"/>
                        <a:pt x="1487" y="268504"/>
                      </a:cubicBezTo>
                      <a:cubicBezTo>
                        <a:pt x="2113" y="271428"/>
                        <a:pt x="2130" y="274199"/>
                        <a:pt x="4013" y="276082"/>
                      </a:cubicBezTo>
                      <a:cubicBezTo>
                        <a:pt x="20170" y="292239"/>
                        <a:pt x="9981" y="265518"/>
                        <a:pt x="29273" y="291238"/>
                      </a:cubicBezTo>
                      <a:cubicBezTo>
                        <a:pt x="31799" y="294606"/>
                        <a:pt x="34111" y="298145"/>
                        <a:pt x="36851" y="301341"/>
                      </a:cubicBezTo>
                      <a:cubicBezTo>
                        <a:pt x="39176" y="304053"/>
                        <a:pt x="42167" y="306154"/>
                        <a:pt x="44429" y="308919"/>
                      </a:cubicBezTo>
                      <a:cubicBezTo>
                        <a:pt x="49761" y="315436"/>
                        <a:pt x="54914" y="322121"/>
                        <a:pt x="59585" y="329127"/>
                      </a:cubicBezTo>
                      <a:cubicBezTo>
                        <a:pt x="61269" y="331653"/>
                        <a:pt x="62693" y="334373"/>
                        <a:pt x="64637" y="336705"/>
                      </a:cubicBezTo>
                      <a:cubicBezTo>
                        <a:pt x="66924" y="339449"/>
                        <a:pt x="69689" y="341757"/>
                        <a:pt x="72215" y="344283"/>
                      </a:cubicBezTo>
                      <a:cubicBezTo>
                        <a:pt x="73057" y="346809"/>
                        <a:pt x="73037" y="349815"/>
                        <a:pt x="74741" y="351861"/>
                      </a:cubicBezTo>
                      <a:cubicBezTo>
                        <a:pt x="88270" y="368098"/>
                        <a:pt x="116739" y="362796"/>
                        <a:pt x="132838" y="364491"/>
                      </a:cubicBezTo>
                      <a:cubicBezTo>
                        <a:pt x="138689" y="366441"/>
                        <a:pt x="145529" y="368324"/>
                        <a:pt x="150520" y="372068"/>
                      </a:cubicBezTo>
                      <a:cubicBezTo>
                        <a:pt x="154330" y="374926"/>
                        <a:pt x="157255" y="378804"/>
                        <a:pt x="160623" y="382172"/>
                      </a:cubicBezTo>
                      <a:cubicBezTo>
                        <a:pt x="162307" y="387224"/>
                        <a:pt x="162480" y="393068"/>
                        <a:pt x="165675" y="397328"/>
                      </a:cubicBezTo>
                      <a:cubicBezTo>
                        <a:pt x="168829" y="401533"/>
                        <a:pt x="178805" y="402630"/>
                        <a:pt x="183357" y="404906"/>
                      </a:cubicBezTo>
                      <a:cubicBezTo>
                        <a:pt x="186072" y="406264"/>
                        <a:pt x="188409" y="408274"/>
                        <a:pt x="190935" y="409958"/>
                      </a:cubicBezTo>
                      <a:cubicBezTo>
                        <a:pt x="194154" y="414787"/>
                        <a:pt x="198329" y="422122"/>
                        <a:pt x="203565" y="425114"/>
                      </a:cubicBezTo>
                      <a:cubicBezTo>
                        <a:pt x="206579" y="426836"/>
                        <a:pt x="210331" y="426686"/>
                        <a:pt x="213669" y="427640"/>
                      </a:cubicBezTo>
                      <a:cubicBezTo>
                        <a:pt x="216229" y="428371"/>
                        <a:pt x="218721" y="429324"/>
                        <a:pt x="221247" y="430166"/>
                      </a:cubicBezTo>
                      <a:cubicBezTo>
                        <a:pt x="218721" y="431008"/>
                        <a:pt x="215332" y="430613"/>
                        <a:pt x="213669" y="432692"/>
                      </a:cubicBezTo>
                      <a:cubicBezTo>
                        <a:pt x="208706" y="438896"/>
                        <a:pt x="211896" y="446695"/>
                        <a:pt x="213669" y="452899"/>
                      </a:cubicBezTo>
                      <a:cubicBezTo>
                        <a:pt x="214401" y="455459"/>
                        <a:pt x="214718" y="458262"/>
                        <a:pt x="216195" y="460477"/>
                      </a:cubicBezTo>
                      <a:cubicBezTo>
                        <a:pt x="218177" y="463449"/>
                        <a:pt x="221247" y="465529"/>
                        <a:pt x="223773" y="468055"/>
                      </a:cubicBezTo>
                      <a:cubicBezTo>
                        <a:pt x="224615" y="478159"/>
                        <a:pt x="225238" y="488284"/>
                        <a:pt x="226299" y="498367"/>
                      </a:cubicBezTo>
                      <a:cubicBezTo>
                        <a:pt x="226922" y="504288"/>
                        <a:pt x="225974" y="510822"/>
                        <a:pt x="228825" y="516049"/>
                      </a:cubicBezTo>
                      <a:cubicBezTo>
                        <a:pt x="231406" y="520782"/>
                        <a:pt x="237244" y="522784"/>
                        <a:pt x="241454" y="526152"/>
                      </a:cubicBezTo>
                      <a:cubicBezTo>
                        <a:pt x="243980" y="525310"/>
                        <a:pt x="246902" y="522028"/>
                        <a:pt x="249032" y="523626"/>
                      </a:cubicBezTo>
                      <a:cubicBezTo>
                        <a:pt x="253242" y="526784"/>
                        <a:pt x="251558" y="540677"/>
                        <a:pt x="249032" y="543834"/>
                      </a:cubicBezTo>
                      <a:cubicBezTo>
                        <a:pt x="247369" y="545913"/>
                        <a:pt x="243980" y="545518"/>
                        <a:pt x="241454" y="546360"/>
                      </a:cubicBezTo>
                      <a:cubicBezTo>
                        <a:pt x="239770" y="548886"/>
                        <a:pt x="235442" y="551058"/>
                        <a:pt x="236402" y="553938"/>
                      </a:cubicBezTo>
                      <a:cubicBezTo>
                        <a:pt x="237733" y="557932"/>
                        <a:pt x="244623" y="557750"/>
                        <a:pt x="246506" y="561516"/>
                      </a:cubicBezTo>
                      <a:cubicBezTo>
                        <a:pt x="249169" y="566841"/>
                        <a:pt x="247396" y="573473"/>
                        <a:pt x="249032" y="579198"/>
                      </a:cubicBezTo>
                      <a:cubicBezTo>
                        <a:pt x="254193" y="597262"/>
                        <a:pt x="252984" y="594463"/>
                        <a:pt x="264188" y="601931"/>
                      </a:cubicBezTo>
                      <a:cubicBezTo>
                        <a:pt x="266927" y="607408"/>
                        <a:pt x="270527" y="613418"/>
                        <a:pt x="271766" y="619613"/>
                      </a:cubicBezTo>
                      <a:cubicBezTo>
                        <a:pt x="272934" y="625451"/>
                        <a:pt x="272081" y="631767"/>
                        <a:pt x="274292" y="637295"/>
                      </a:cubicBezTo>
                      <a:cubicBezTo>
                        <a:pt x="275619" y="640612"/>
                        <a:pt x="279344" y="642347"/>
                        <a:pt x="281870" y="644873"/>
                      </a:cubicBezTo>
                      <a:cubicBezTo>
                        <a:pt x="283554" y="665081"/>
                        <a:pt x="284327" y="685385"/>
                        <a:pt x="286922" y="705496"/>
                      </a:cubicBezTo>
                      <a:cubicBezTo>
                        <a:pt x="287706" y="711575"/>
                        <a:pt x="290487" y="717231"/>
                        <a:pt x="291974" y="723178"/>
                      </a:cubicBezTo>
                      <a:cubicBezTo>
                        <a:pt x="293015" y="727343"/>
                        <a:pt x="293320" y="731680"/>
                        <a:pt x="294500" y="735808"/>
                      </a:cubicBezTo>
                      <a:cubicBezTo>
                        <a:pt x="296694" y="743488"/>
                        <a:pt x="299552" y="750963"/>
                        <a:pt x="302078" y="758541"/>
                      </a:cubicBezTo>
                      <a:cubicBezTo>
                        <a:pt x="302920" y="761067"/>
                        <a:pt x="303234" y="763836"/>
                        <a:pt x="304604" y="766119"/>
                      </a:cubicBezTo>
                      <a:cubicBezTo>
                        <a:pt x="309474" y="774236"/>
                        <a:pt x="316669" y="786684"/>
                        <a:pt x="322285" y="793905"/>
                      </a:cubicBezTo>
                      <a:cubicBezTo>
                        <a:pt x="336622" y="812338"/>
                        <a:pt x="323948" y="789652"/>
                        <a:pt x="334915" y="811587"/>
                      </a:cubicBezTo>
                      <a:cubicBezTo>
                        <a:pt x="339125" y="810745"/>
                        <a:pt x="343525" y="810569"/>
                        <a:pt x="347545" y="809061"/>
                      </a:cubicBezTo>
                      <a:cubicBezTo>
                        <a:pt x="363466" y="803091"/>
                        <a:pt x="351192" y="796506"/>
                        <a:pt x="357649" y="778749"/>
                      </a:cubicBezTo>
                      <a:cubicBezTo>
                        <a:pt x="358559" y="776247"/>
                        <a:pt x="362845" y="777414"/>
                        <a:pt x="365227" y="776223"/>
                      </a:cubicBezTo>
                      <a:cubicBezTo>
                        <a:pt x="367942" y="774865"/>
                        <a:pt x="372805" y="768135"/>
                        <a:pt x="372805" y="771171"/>
                      </a:cubicBezTo>
                      <a:cubicBezTo>
                        <a:pt x="372805" y="775381"/>
                        <a:pt x="367753" y="777907"/>
                        <a:pt x="365227" y="781275"/>
                      </a:cubicBezTo>
                      <a:cubicBezTo>
                        <a:pt x="366069" y="788853"/>
                        <a:pt x="362362" y="798617"/>
                        <a:pt x="367753" y="804009"/>
                      </a:cubicBezTo>
                      <a:cubicBezTo>
                        <a:pt x="374541" y="810797"/>
                        <a:pt x="386328" y="808878"/>
                        <a:pt x="395538" y="811587"/>
                      </a:cubicBezTo>
                      <a:cubicBezTo>
                        <a:pt x="400647" y="813090"/>
                        <a:pt x="405642" y="814955"/>
                        <a:pt x="410694" y="816639"/>
                      </a:cubicBezTo>
                      <a:cubicBezTo>
                        <a:pt x="414062" y="820007"/>
                        <a:pt x="417698" y="823127"/>
                        <a:pt x="420798" y="826743"/>
                      </a:cubicBezTo>
                      <a:cubicBezTo>
                        <a:pt x="423205" y="829551"/>
                        <a:pt x="432972" y="846038"/>
                        <a:pt x="433428" y="846950"/>
                      </a:cubicBezTo>
                      <a:cubicBezTo>
                        <a:pt x="440068" y="860230"/>
                        <a:pt x="430719" y="850281"/>
                        <a:pt x="438480" y="869684"/>
                      </a:cubicBezTo>
                      <a:cubicBezTo>
                        <a:pt x="440044" y="873593"/>
                        <a:pt x="443532" y="876420"/>
                        <a:pt x="446058" y="879788"/>
                      </a:cubicBezTo>
                      <a:cubicBezTo>
                        <a:pt x="446900" y="889050"/>
                        <a:pt x="447430" y="898345"/>
                        <a:pt x="448584" y="907573"/>
                      </a:cubicBezTo>
                      <a:cubicBezTo>
                        <a:pt x="449117" y="911833"/>
                        <a:pt x="448615" y="916709"/>
                        <a:pt x="451110" y="920203"/>
                      </a:cubicBezTo>
                      <a:cubicBezTo>
                        <a:pt x="453298" y="923267"/>
                        <a:pt x="457845" y="923571"/>
                        <a:pt x="461213" y="925255"/>
                      </a:cubicBezTo>
                      <a:cubicBezTo>
                        <a:pt x="463211" y="931249"/>
                        <a:pt x="468753" y="946368"/>
                        <a:pt x="466265" y="950515"/>
                      </a:cubicBezTo>
                      <a:cubicBezTo>
                        <a:pt x="464328" y="953744"/>
                        <a:pt x="459530" y="947147"/>
                        <a:pt x="456162" y="945463"/>
                      </a:cubicBezTo>
                      <a:cubicBezTo>
                        <a:pt x="454478" y="942937"/>
                        <a:pt x="455673" y="937521"/>
                        <a:pt x="451110" y="937885"/>
                      </a:cubicBezTo>
                      <a:cubicBezTo>
                        <a:pt x="446547" y="938249"/>
                        <a:pt x="431230" y="948698"/>
                        <a:pt x="428783" y="947649"/>
                      </a:cubicBezTo>
                      <a:cubicBezTo>
                        <a:pt x="419809" y="943803"/>
                        <a:pt x="433461" y="930329"/>
                        <a:pt x="425850" y="925255"/>
                      </a:cubicBezTo>
                      <a:cubicBezTo>
                        <a:pt x="417430" y="926939"/>
                        <a:pt x="400613" y="926518"/>
                        <a:pt x="400590" y="930307"/>
                      </a:cubicBezTo>
                      <a:cubicBezTo>
                        <a:pt x="400567" y="934096"/>
                        <a:pt x="423403" y="946833"/>
                        <a:pt x="425714" y="947989"/>
                      </a:cubicBezTo>
                      <a:cubicBezTo>
                        <a:pt x="422365" y="956360"/>
                        <a:pt x="412857" y="967126"/>
                        <a:pt x="410694" y="975775"/>
                      </a:cubicBezTo>
                      <a:lnTo>
                        <a:pt x="408168" y="985878"/>
                      </a:lnTo>
                      <a:cubicBezTo>
                        <a:pt x="407326" y="995982"/>
                        <a:pt x="408254" y="1006393"/>
                        <a:pt x="405642" y="1016190"/>
                      </a:cubicBezTo>
                      <a:cubicBezTo>
                        <a:pt x="404722" y="1019642"/>
                        <a:pt x="399936" y="1020726"/>
                        <a:pt x="398064" y="1023768"/>
                      </a:cubicBezTo>
                      <a:cubicBezTo>
                        <a:pt x="393130" y="1031785"/>
                        <a:pt x="388411" y="1040097"/>
                        <a:pt x="385434" y="1049028"/>
                      </a:cubicBezTo>
                      <a:cubicBezTo>
                        <a:pt x="383750" y="1054080"/>
                        <a:pt x="383337" y="1059752"/>
                        <a:pt x="380383" y="1064183"/>
                      </a:cubicBezTo>
                      <a:cubicBezTo>
                        <a:pt x="373854" y="1073976"/>
                        <a:pt x="376291" y="1068881"/>
                        <a:pt x="372805" y="1079339"/>
                      </a:cubicBezTo>
                      <a:cubicBezTo>
                        <a:pt x="371963" y="1086075"/>
                        <a:pt x="372716" y="1093211"/>
                        <a:pt x="370279" y="1099547"/>
                      </a:cubicBezTo>
                      <a:cubicBezTo>
                        <a:pt x="368235" y="1104861"/>
                        <a:pt x="354238" y="1118114"/>
                        <a:pt x="350071" y="1122281"/>
                      </a:cubicBezTo>
                      <a:cubicBezTo>
                        <a:pt x="345750" y="1161173"/>
                        <a:pt x="354785" y="1132722"/>
                        <a:pt x="332389" y="1155118"/>
                      </a:cubicBezTo>
                      <a:cubicBezTo>
                        <a:pt x="328096" y="1159411"/>
                        <a:pt x="322285" y="1170274"/>
                        <a:pt x="322285" y="1170274"/>
                      </a:cubicBezTo>
                      <a:cubicBezTo>
                        <a:pt x="319759" y="1166064"/>
                        <a:pt x="316903" y="1162035"/>
                        <a:pt x="314707" y="1157644"/>
                      </a:cubicBezTo>
                      <a:cubicBezTo>
                        <a:pt x="313516" y="1155262"/>
                        <a:pt x="314653" y="1149077"/>
                        <a:pt x="312181" y="1150066"/>
                      </a:cubicBezTo>
                      <a:cubicBezTo>
                        <a:pt x="307175" y="1152068"/>
                        <a:pt x="305446" y="1158486"/>
                        <a:pt x="302078" y="1162696"/>
                      </a:cubicBezTo>
                      <a:cubicBezTo>
                        <a:pt x="302920" y="1174484"/>
                        <a:pt x="301559" y="1186641"/>
                        <a:pt x="304604" y="1198060"/>
                      </a:cubicBezTo>
                      <a:cubicBezTo>
                        <a:pt x="305290" y="1200632"/>
                        <a:pt x="314064" y="1198703"/>
                        <a:pt x="312181" y="1200586"/>
                      </a:cubicBezTo>
                      <a:cubicBezTo>
                        <a:pt x="309145" y="1203622"/>
                        <a:pt x="303762" y="1202270"/>
                        <a:pt x="299552" y="1203112"/>
                      </a:cubicBezTo>
                      <a:cubicBezTo>
                        <a:pt x="265701" y="1180545"/>
                        <a:pt x="293220" y="1196678"/>
                        <a:pt x="294500" y="1205638"/>
                      </a:cubicBezTo>
                      <a:cubicBezTo>
                        <a:pt x="294929" y="1208643"/>
                        <a:pt x="289448" y="1209005"/>
                        <a:pt x="286922" y="1210689"/>
                      </a:cubicBezTo>
                      <a:cubicBezTo>
                        <a:pt x="285238" y="1213215"/>
                        <a:pt x="282830" y="1215387"/>
                        <a:pt x="281870" y="1218267"/>
                      </a:cubicBezTo>
                      <a:cubicBezTo>
                        <a:pt x="280250" y="1223126"/>
                        <a:pt x="280348" y="1228401"/>
                        <a:pt x="279344" y="1233423"/>
                      </a:cubicBezTo>
                      <a:cubicBezTo>
                        <a:pt x="278663" y="1236827"/>
                        <a:pt x="277660" y="1240159"/>
                        <a:pt x="276818" y="1243527"/>
                      </a:cubicBezTo>
                      <a:cubicBezTo>
                        <a:pt x="279344" y="1244369"/>
                        <a:pt x="282919" y="1243838"/>
                        <a:pt x="284396" y="1246053"/>
                      </a:cubicBezTo>
                      <a:cubicBezTo>
                        <a:pt x="286702" y="1249512"/>
                        <a:pt x="288740" y="1261917"/>
                        <a:pt x="284396" y="1266261"/>
                      </a:cubicBezTo>
                      <a:cubicBezTo>
                        <a:pt x="271517" y="1279140"/>
                        <a:pt x="266404" y="1276720"/>
                        <a:pt x="249032" y="1278891"/>
                      </a:cubicBezTo>
                      <a:cubicBezTo>
                        <a:pt x="246506" y="1279733"/>
                        <a:pt x="243836" y="1280226"/>
                        <a:pt x="241454" y="1281417"/>
                      </a:cubicBezTo>
                      <a:cubicBezTo>
                        <a:pt x="238739" y="1282774"/>
                        <a:pt x="237665" y="1284363"/>
                        <a:pt x="233876" y="1286468"/>
                      </a:cubicBezTo>
                      <a:cubicBezTo>
                        <a:pt x="230087" y="1288573"/>
                        <a:pt x="219563" y="1291941"/>
                        <a:pt x="218721" y="1294046"/>
                      </a:cubicBezTo>
                      <a:cubicBezTo>
                        <a:pt x="217879" y="1296151"/>
                        <a:pt x="228409" y="1295355"/>
                        <a:pt x="228825" y="1299098"/>
                      </a:cubicBezTo>
                      <a:cubicBezTo>
                        <a:pt x="230324" y="1312592"/>
                        <a:pt x="226570" y="1326228"/>
                        <a:pt x="223773" y="1339514"/>
                      </a:cubicBezTo>
                      <a:cubicBezTo>
                        <a:pt x="223148" y="1342485"/>
                        <a:pt x="220079" y="1344377"/>
                        <a:pt x="218721" y="1347092"/>
                      </a:cubicBezTo>
                      <a:cubicBezTo>
                        <a:pt x="216693" y="1351148"/>
                        <a:pt x="215697" y="1355666"/>
                        <a:pt x="213669" y="1359722"/>
                      </a:cubicBezTo>
                      <a:cubicBezTo>
                        <a:pt x="212311" y="1362437"/>
                        <a:pt x="210123" y="1364663"/>
                        <a:pt x="208617" y="1367299"/>
                      </a:cubicBezTo>
                      <a:cubicBezTo>
                        <a:pt x="206749" y="1370568"/>
                        <a:pt x="205249" y="1374035"/>
                        <a:pt x="203565" y="1377403"/>
                      </a:cubicBezTo>
                      <a:cubicBezTo>
                        <a:pt x="206091" y="1384981"/>
                        <a:pt x="208071" y="1392764"/>
                        <a:pt x="211143" y="1400137"/>
                      </a:cubicBezTo>
                      <a:cubicBezTo>
                        <a:pt x="212311" y="1402939"/>
                        <a:pt x="214999" y="1404925"/>
                        <a:pt x="216195" y="1407715"/>
                      </a:cubicBezTo>
                      <a:cubicBezTo>
                        <a:pt x="217563" y="1410906"/>
                        <a:pt x="217386" y="1414614"/>
                        <a:pt x="218721" y="1417819"/>
                      </a:cubicBezTo>
                      <a:cubicBezTo>
                        <a:pt x="221618" y="1424770"/>
                        <a:pt x="226444" y="1430881"/>
                        <a:pt x="228825" y="1438026"/>
                      </a:cubicBezTo>
                      <a:cubicBezTo>
                        <a:pt x="229667" y="1440552"/>
                        <a:pt x="230301" y="1443157"/>
                        <a:pt x="231350" y="1445604"/>
                      </a:cubicBezTo>
                      <a:cubicBezTo>
                        <a:pt x="244623" y="1476579"/>
                        <a:pt x="228780" y="1437937"/>
                        <a:pt x="241454" y="1463286"/>
                      </a:cubicBezTo>
                      <a:cubicBezTo>
                        <a:pt x="243482" y="1467342"/>
                        <a:pt x="244822" y="1471706"/>
                        <a:pt x="246506" y="1475916"/>
                      </a:cubicBezTo>
                      <a:cubicBezTo>
                        <a:pt x="241985" y="1489480"/>
                        <a:pt x="239148" y="1494675"/>
                        <a:pt x="246506" y="1513806"/>
                      </a:cubicBezTo>
                      <a:cubicBezTo>
                        <a:pt x="247752" y="1517046"/>
                        <a:pt x="253242" y="1515489"/>
                        <a:pt x="256610" y="1516331"/>
                      </a:cubicBezTo>
                      <a:cubicBezTo>
                        <a:pt x="259136" y="1519699"/>
                        <a:pt x="261741" y="1523009"/>
                        <a:pt x="264188" y="1526435"/>
                      </a:cubicBezTo>
                      <a:cubicBezTo>
                        <a:pt x="265953" y="1528905"/>
                        <a:pt x="268504" y="1531068"/>
                        <a:pt x="269240" y="1534013"/>
                      </a:cubicBezTo>
                      <a:cubicBezTo>
                        <a:pt x="276393" y="1562626"/>
                        <a:pt x="263713" y="1551378"/>
                        <a:pt x="279344" y="1561799"/>
                      </a:cubicBezTo>
                      <a:cubicBezTo>
                        <a:pt x="282896" y="1572456"/>
                        <a:pt x="284396" y="1575304"/>
                        <a:pt x="284396" y="1589585"/>
                      </a:cubicBezTo>
                      <a:cubicBezTo>
                        <a:pt x="284396" y="1592247"/>
                        <a:pt x="282712" y="1594636"/>
                        <a:pt x="281870" y="1597162"/>
                      </a:cubicBezTo>
                      <a:cubicBezTo>
                        <a:pt x="288236" y="1692651"/>
                        <a:pt x="281870" y="1573376"/>
                        <a:pt x="281870" y="1677993"/>
                      </a:cubicBezTo>
                      <a:cubicBezTo>
                        <a:pt x="281870" y="1686455"/>
                        <a:pt x="280344" y="1695824"/>
                        <a:pt x="284396" y="1703253"/>
                      </a:cubicBezTo>
                      <a:cubicBezTo>
                        <a:pt x="286452" y="1707022"/>
                        <a:pt x="292816" y="1704937"/>
                        <a:pt x="297026" y="1705779"/>
                      </a:cubicBezTo>
                      <a:cubicBezTo>
                        <a:pt x="294500" y="1708305"/>
                        <a:pt x="290035" y="1709833"/>
                        <a:pt x="289448" y="1713357"/>
                      </a:cubicBezTo>
                      <a:cubicBezTo>
                        <a:pt x="288949" y="1716352"/>
                        <a:pt x="293142" y="1718220"/>
                        <a:pt x="294500" y="1720935"/>
                      </a:cubicBezTo>
                      <a:cubicBezTo>
                        <a:pt x="295691" y="1723317"/>
                        <a:pt x="296184" y="1725987"/>
                        <a:pt x="297026" y="1728513"/>
                      </a:cubicBezTo>
                      <a:cubicBezTo>
                        <a:pt x="290980" y="1737581"/>
                        <a:pt x="278940" y="1752206"/>
                        <a:pt x="294500" y="1763876"/>
                      </a:cubicBezTo>
                      <a:cubicBezTo>
                        <a:pt x="302031" y="1769524"/>
                        <a:pt x="313023" y="1760508"/>
                        <a:pt x="322285" y="1758824"/>
                      </a:cubicBezTo>
                      <a:cubicBezTo>
                        <a:pt x="324811" y="1759666"/>
                        <a:pt x="327980" y="1759467"/>
                        <a:pt x="329863" y="1761350"/>
                      </a:cubicBezTo>
                      <a:cubicBezTo>
                        <a:pt x="331071" y="1762558"/>
                        <a:pt x="334893" y="1778945"/>
                        <a:pt x="334915" y="1779032"/>
                      </a:cubicBezTo>
                      <a:cubicBezTo>
                        <a:pt x="387499" y="1769471"/>
                        <a:pt x="359112" y="1768128"/>
                        <a:pt x="355123" y="1784084"/>
                      </a:cubicBezTo>
                      <a:lnTo>
                        <a:pt x="357649" y="1794188"/>
                      </a:lnTo>
                      <a:cubicBezTo>
                        <a:pt x="365227" y="1792504"/>
                        <a:pt x="373248" y="1792194"/>
                        <a:pt x="380383" y="1789136"/>
                      </a:cubicBezTo>
                      <a:cubicBezTo>
                        <a:pt x="385338" y="1787012"/>
                        <a:pt x="387782" y="1780340"/>
                        <a:pt x="393012" y="1779032"/>
                      </a:cubicBezTo>
                      <a:cubicBezTo>
                        <a:pt x="395595" y="1778386"/>
                        <a:pt x="391421" y="1784117"/>
                        <a:pt x="390486" y="1786610"/>
                      </a:cubicBezTo>
                      <a:cubicBezTo>
                        <a:pt x="388894" y="1790856"/>
                        <a:pt x="387118" y="1795030"/>
                        <a:pt x="385434" y="1799240"/>
                      </a:cubicBezTo>
                      <a:cubicBezTo>
                        <a:pt x="387960" y="1800082"/>
                        <a:pt x="390349" y="1801766"/>
                        <a:pt x="393012" y="1801766"/>
                      </a:cubicBezTo>
                      <a:cubicBezTo>
                        <a:pt x="396484" y="1801766"/>
                        <a:pt x="399712" y="1799921"/>
                        <a:pt x="403116" y="1799240"/>
                      </a:cubicBezTo>
                      <a:cubicBezTo>
                        <a:pt x="408138" y="1798236"/>
                        <a:pt x="413220" y="1797556"/>
                        <a:pt x="418272" y="1796714"/>
                      </a:cubicBezTo>
                      <a:cubicBezTo>
                        <a:pt x="411600" y="1816729"/>
                        <a:pt x="407967" y="1812745"/>
                        <a:pt x="428376" y="1809344"/>
                      </a:cubicBezTo>
                      <a:cubicBezTo>
                        <a:pt x="433428" y="1805976"/>
                        <a:pt x="437642" y="1797767"/>
                        <a:pt x="443532" y="1799240"/>
                      </a:cubicBezTo>
                      <a:cubicBezTo>
                        <a:pt x="447931" y="1800340"/>
                        <a:pt x="440995" y="1808097"/>
                        <a:pt x="438480" y="1811870"/>
                      </a:cubicBezTo>
                      <a:cubicBezTo>
                        <a:pt x="435838" y="1815833"/>
                        <a:pt x="432186" y="1819115"/>
                        <a:pt x="428376" y="1821973"/>
                      </a:cubicBezTo>
                      <a:cubicBezTo>
                        <a:pt x="419984" y="1828267"/>
                        <a:pt x="405998" y="1829071"/>
                        <a:pt x="433428" y="1824499"/>
                      </a:cubicBezTo>
                      <a:cubicBezTo>
                        <a:pt x="440329" y="1819899"/>
                        <a:pt x="442139" y="1815992"/>
                        <a:pt x="451110" y="1821973"/>
                      </a:cubicBezTo>
                      <a:cubicBezTo>
                        <a:pt x="453636" y="1823657"/>
                        <a:pt x="454111" y="1827313"/>
                        <a:pt x="456162" y="1829551"/>
                      </a:cubicBezTo>
                      <a:cubicBezTo>
                        <a:pt x="463403" y="1837451"/>
                        <a:pt x="478895" y="1852285"/>
                        <a:pt x="478895" y="1852285"/>
                      </a:cubicBezTo>
                      <a:cubicBezTo>
                        <a:pt x="476369" y="1853127"/>
                        <a:pt x="473877" y="1854080"/>
                        <a:pt x="471317" y="1854811"/>
                      </a:cubicBezTo>
                      <a:cubicBezTo>
                        <a:pt x="467979" y="1855765"/>
                        <a:pt x="459287" y="1854448"/>
                        <a:pt x="461213" y="1857337"/>
                      </a:cubicBezTo>
                      <a:cubicBezTo>
                        <a:pt x="464167" y="1861768"/>
                        <a:pt x="471317" y="1860705"/>
                        <a:pt x="476369" y="1862389"/>
                      </a:cubicBezTo>
                      <a:cubicBezTo>
                        <a:pt x="479737" y="1859863"/>
                        <a:pt x="484242" y="1858381"/>
                        <a:pt x="486473" y="1854811"/>
                      </a:cubicBezTo>
                      <a:cubicBezTo>
                        <a:pt x="488748" y="1851170"/>
                        <a:pt x="487958" y="1846346"/>
                        <a:pt x="488999" y="1842181"/>
                      </a:cubicBezTo>
                      <a:cubicBezTo>
                        <a:pt x="489645" y="1839598"/>
                        <a:pt x="489642" y="1836486"/>
                        <a:pt x="491525" y="1834603"/>
                      </a:cubicBezTo>
                      <a:cubicBezTo>
                        <a:pt x="495928" y="1830200"/>
                        <a:pt x="506095" y="1828435"/>
                        <a:pt x="511733" y="1827025"/>
                      </a:cubicBezTo>
                      <a:cubicBezTo>
                        <a:pt x="515101" y="1823657"/>
                        <a:pt x="517656" y="1819203"/>
                        <a:pt x="521837" y="1816922"/>
                      </a:cubicBezTo>
                      <a:cubicBezTo>
                        <a:pt x="527218" y="1813987"/>
                        <a:pt x="533647" y="1813631"/>
                        <a:pt x="539518" y="1811870"/>
                      </a:cubicBezTo>
                      <a:cubicBezTo>
                        <a:pt x="542068" y="1811105"/>
                        <a:pt x="544570" y="1810186"/>
                        <a:pt x="547096" y="1809344"/>
                      </a:cubicBezTo>
                      <a:cubicBezTo>
                        <a:pt x="554691" y="1801749"/>
                        <a:pt x="557527" y="1795176"/>
                        <a:pt x="569830" y="1796714"/>
                      </a:cubicBezTo>
                      <a:cubicBezTo>
                        <a:pt x="572842" y="1797091"/>
                        <a:pt x="574882" y="1800082"/>
                        <a:pt x="577408" y="1801766"/>
                      </a:cubicBezTo>
                      <a:cubicBezTo>
                        <a:pt x="586748" y="1798653"/>
                        <a:pt x="585286" y="1800395"/>
                        <a:pt x="592564" y="1791662"/>
                      </a:cubicBezTo>
                      <a:cubicBezTo>
                        <a:pt x="594508" y="1789330"/>
                        <a:pt x="595245" y="1785980"/>
                        <a:pt x="597616" y="1784084"/>
                      </a:cubicBezTo>
                      <a:cubicBezTo>
                        <a:pt x="599695" y="1782421"/>
                        <a:pt x="602668" y="1782400"/>
                        <a:pt x="605194" y="1781558"/>
                      </a:cubicBezTo>
                      <a:cubicBezTo>
                        <a:pt x="606036" y="1778190"/>
                        <a:pt x="605551" y="1774165"/>
                        <a:pt x="607720" y="1771454"/>
                      </a:cubicBezTo>
                      <a:cubicBezTo>
                        <a:pt x="609383" y="1769375"/>
                        <a:pt x="612804" y="1769863"/>
                        <a:pt x="615297" y="1768928"/>
                      </a:cubicBezTo>
                      <a:cubicBezTo>
                        <a:pt x="619543" y="1767336"/>
                        <a:pt x="623717" y="1765560"/>
                        <a:pt x="627927" y="1763876"/>
                      </a:cubicBezTo>
                      <a:cubicBezTo>
                        <a:pt x="648064" y="1743739"/>
                        <a:pt x="637522" y="1748216"/>
                        <a:pt x="655713" y="1743668"/>
                      </a:cubicBezTo>
                      <a:cubicBezTo>
                        <a:pt x="675969" y="1730165"/>
                        <a:pt x="665031" y="1731897"/>
                        <a:pt x="688550" y="1738617"/>
                      </a:cubicBezTo>
                      <a:cubicBezTo>
                        <a:pt x="694444" y="1736091"/>
                        <a:pt x="701406" y="1735262"/>
                        <a:pt x="706232" y="1731039"/>
                      </a:cubicBezTo>
                      <a:cubicBezTo>
                        <a:pt x="708845" y="1728753"/>
                        <a:pt x="707205" y="1724040"/>
                        <a:pt x="708758" y="1720935"/>
                      </a:cubicBezTo>
                      <a:cubicBezTo>
                        <a:pt x="710641" y="1717169"/>
                        <a:pt x="713810" y="1714199"/>
                        <a:pt x="716336" y="1710831"/>
                      </a:cubicBezTo>
                      <a:cubicBezTo>
                        <a:pt x="721575" y="1689875"/>
                        <a:pt x="713983" y="1708167"/>
                        <a:pt x="726440" y="1698201"/>
                      </a:cubicBezTo>
                      <a:cubicBezTo>
                        <a:pt x="741970" y="1685777"/>
                        <a:pt x="717051" y="1694155"/>
                        <a:pt x="741596" y="1680519"/>
                      </a:cubicBezTo>
                      <a:cubicBezTo>
                        <a:pt x="745349" y="1678434"/>
                        <a:pt x="750016" y="1678835"/>
                        <a:pt x="754226" y="1677993"/>
                      </a:cubicBezTo>
                      <a:cubicBezTo>
                        <a:pt x="756752" y="1674625"/>
                        <a:pt x="762223" y="1672078"/>
                        <a:pt x="761804" y="1667889"/>
                      </a:cubicBezTo>
                      <a:cubicBezTo>
                        <a:pt x="761200" y="1661848"/>
                        <a:pt x="751700" y="1652734"/>
                        <a:pt x="751700" y="1652734"/>
                      </a:cubicBezTo>
                      <a:cubicBezTo>
                        <a:pt x="749569" y="1659126"/>
                        <a:pt x="744861" y="1669312"/>
                        <a:pt x="751700" y="1675467"/>
                      </a:cubicBezTo>
                      <a:cubicBezTo>
                        <a:pt x="757637" y="1680810"/>
                        <a:pt x="774433" y="1683045"/>
                        <a:pt x="774433" y="1683045"/>
                      </a:cubicBezTo>
                      <a:cubicBezTo>
                        <a:pt x="777801" y="1680519"/>
                        <a:pt x="781560" y="1678444"/>
                        <a:pt x="784537" y="1675467"/>
                      </a:cubicBezTo>
                      <a:cubicBezTo>
                        <a:pt x="805836" y="1654168"/>
                        <a:pt x="775676" y="1680859"/>
                        <a:pt x="792115" y="1660312"/>
                      </a:cubicBezTo>
                      <a:cubicBezTo>
                        <a:pt x="794012" y="1657941"/>
                        <a:pt x="797167" y="1656944"/>
                        <a:pt x="799693" y="1655260"/>
                      </a:cubicBezTo>
                      <a:cubicBezTo>
                        <a:pt x="803903" y="1656102"/>
                        <a:pt x="808400" y="1656042"/>
                        <a:pt x="812323" y="1657786"/>
                      </a:cubicBezTo>
                      <a:cubicBezTo>
                        <a:pt x="816170" y="1659496"/>
                        <a:pt x="818772" y="1663275"/>
                        <a:pt x="822427" y="1665364"/>
                      </a:cubicBezTo>
                      <a:cubicBezTo>
                        <a:pt x="824739" y="1666685"/>
                        <a:pt x="827479" y="1667047"/>
                        <a:pt x="830005" y="1667889"/>
                      </a:cubicBezTo>
                      <a:cubicBezTo>
                        <a:pt x="854197" y="1655794"/>
                        <a:pt x="826010" y="1672863"/>
                        <a:pt x="850212" y="1632526"/>
                      </a:cubicBezTo>
                      <a:cubicBezTo>
                        <a:pt x="859956" y="1616286"/>
                        <a:pt x="854844" y="1623824"/>
                        <a:pt x="865368" y="1609792"/>
                      </a:cubicBezTo>
                      <a:cubicBezTo>
                        <a:pt x="867669" y="1602889"/>
                        <a:pt x="870825" y="1591038"/>
                        <a:pt x="875472" y="1584533"/>
                      </a:cubicBezTo>
                      <a:cubicBezTo>
                        <a:pt x="877548" y="1581626"/>
                        <a:pt x="880974" y="1579862"/>
                        <a:pt x="883050" y="1576955"/>
                      </a:cubicBezTo>
                      <a:cubicBezTo>
                        <a:pt x="885239" y="1573891"/>
                        <a:pt x="886234" y="1570120"/>
                        <a:pt x="888102" y="1566851"/>
                      </a:cubicBezTo>
                      <a:cubicBezTo>
                        <a:pt x="889608" y="1564215"/>
                        <a:pt x="891796" y="1561988"/>
                        <a:pt x="893154" y="1559273"/>
                      </a:cubicBezTo>
                      <a:cubicBezTo>
                        <a:pt x="894345" y="1556891"/>
                        <a:pt x="894489" y="1554077"/>
                        <a:pt x="895680" y="1551695"/>
                      </a:cubicBezTo>
                      <a:cubicBezTo>
                        <a:pt x="897038" y="1548980"/>
                        <a:pt x="899374" y="1546832"/>
                        <a:pt x="900732" y="1544117"/>
                      </a:cubicBezTo>
                      <a:cubicBezTo>
                        <a:pt x="901923" y="1541735"/>
                        <a:pt x="902067" y="1538921"/>
                        <a:pt x="903258" y="1536539"/>
                      </a:cubicBezTo>
                      <a:cubicBezTo>
                        <a:pt x="904616" y="1533824"/>
                        <a:pt x="906856" y="1531626"/>
                        <a:pt x="908310" y="1528961"/>
                      </a:cubicBezTo>
                      <a:cubicBezTo>
                        <a:pt x="924292" y="1499661"/>
                        <a:pt x="911661" y="1517757"/>
                        <a:pt x="925991" y="1498650"/>
                      </a:cubicBezTo>
                      <a:cubicBezTo>
                        <a:pt x="926833" y="1496124"/>
                        <a:pt x="927786" y="1493632"/>
                        <a:pt x="928517" y="1491072"/>
                      </a:cubicBezTo>
                      <a:cubicBezTo>
                        <a:pt x="929471" y="1487734"/>
                        <a:pt x="929294" y="1483967"/>
                        <a:pt x="931043" y="1480968"/>
                      </a:cubicBezTo>
                      <a:cubicBezTo>
                        <a:pt x="935286" y="1473695"/>
                        <a:pt x="946199" y="1460760"/>
                        <a:pt x="946199" y="1460760"/>
                      </a:cubicBezTo>
                      <a:cubicBezTo>
                        <a:pt x="947041" y="1458234"/>
                        <a:pt x="948079" y="1455765"/>
                        <a:pt x="948725" y="1453182"/>
                      </a:cubicBezTo>
                      <a:cubicBezTo>
                        <a:pt x="949766" y="1449017"/>
                        <a:pt x="949507" y="1444475"/>
                        <a:pt x="951251" y="1440552"/>
                      </a:cubicBezTo>
                      <a:cubicBezTo>
                        <a:pt x="952961" y="1436705"/>
                        <a:pt x="956303" y="1433817"/>
                        <a:pt x="958829" y="1430449"/>
                      </a:cubicBezTo>
                      <a:cubicBezTo>
                        <a:pt x="964525" y="1413361"/>
                        <a:pt x="957002" y="1434102"/>
                        <a:pt x="968933" y="1410241"/>
                      </a:cubicBezTo>
                      <a:cubicBezTo>
                        <a:pt x="970961" y="1406185"/>
                        <a:pt x="971957" y="1401667"/>
                        <a:pt x="973985" y="1397611"/>
                      </a:cubicBezTo>
                      <a:cubicBezTo>
                        <a:pt x="975343" y="1394896"/>
                        <a:pt x="977765" y="1392789"/>
                        <a:pt x="979037" y="1390033"/>
                      </a:cubicBezTo>
                      <a:cubicBezTo>
                        <a:pt x="982837" y="1381799"/>
                        <a:pt x="986273" y="1373376"/>
                        <a:pt x="989141" y="1364773"/>
                      </a:cubicBezTo>
                      <a:cubicBezTo>
                        <a:pt x="991917" y="1356447"/>
                        <a:pt x="992695" y="1353618"/>
                        <a:pt x="996718" y="1344566"/>
                      </a:cubicBezTo>
                      <a:cubicBezTo>
                        <a:pt x="998247" y="1341125"/>
                        <a:pt x="1000086" y="1337830"/>
                        <a:pt x="1001770" y="1334462"/>
                      </a:cubicBezTo>
                      <a:cubicBezTo>
                        <a:pt x="1002612" y="1325200"/>
                        <a:pt x="1002981" y="1315883"/>
                        <a:pt x="1004296" y="1306676"/>
                      </a:cubicBezTo>
                      <a:cubicBezTo>
                        <a:pt x="1004673" y="1304040"/>
                        <a:pt x="1006244" y="1301697"/>
                        <a:pt x="1006822" y="1299098"/>
                      </a:cubicBezTo>
                      <a:cubicBezTo>
                        <a:pt x="1007933" y="1294099"/>
                        <a:pt x="1007728" y="1288802"/>
                        <a:pt x="1009348" y="1283943"/>
                      </a:cubicBezTo>
                      <a:cubicBezTo>
                        <a:pt x="1010308" y="1281063"/>
                        <a:pt x="1012894" y="1279001"/>
                        <a:pt x="1014400" y="1276365"/>
                      </a:cubicBezTo>
                      <a:cubicBezTo>
                        <a:pt x="1016268" y="1273096"/>
                        <a:pt x="1017623" y="1269553"/>
                        <a:pt x="1019452" y="1266261"/>
                      </a:cubicBezTo>
                      <a:cubicBezTo>
                        <a:pt x="1021836" y="1261969"/>
                        <a:pt x="1024504" y="1257841"/>
                        <a:pt x="1027030" y="1253631"/>
                      </a:cubicBezTo>
                      <a:cubicBezTo>
                        <a:pt x="1027872" y="1247737"/>
                        <a:pt x="1028217" y="1241750"/>
                        <a:pt x="1029556" y="1235949"/>
                      </a:cubicBezTo>
                      <a:cubicBezTo>
                        <a:pt x="1030753" y="1230760"/>
                        <a:pt x="1033919" y="1226074"/>
                        <a:pt x="1034608" y="1220793"/>
                      </a:cubicBezTo>
                      <a:cubicBezTo>
                        <a:pt x="1036463" y="1206575"/>
                        <a:pt x="1036292" y="1192166"/>
                        <a:pt x="1037134" y="1177852"/>
                      </a:cubicBezTo>
                      <a:cubicBezTo>
                        <a:pt x="1035581" y="1156107"/>
                        <a:pt x="1044136" y="1144767"/>
                        <a:pt x="1027030" y="1137436"/>
                      </a:cubicBezTo>
                      <a:cubicBezTo>
                        <a:pt x="1023839" y="1136068"/>
                        <a:pt x="1020294" y="1135752"/>
                        <a:pt x="1016926" y="1134910"/>
                      </a:cubicBezTo>
                      <a:cubicBezTo>
                        <a:pt x="998109" y="1116095"/>
                        <a:pt x="1021944" y="1139213"/>
                        <a:pt x="999244" y="1119755"/>
                      </a:cubicBezTo>
                      <a:cubicBezTo>
                        <a:pt x="996532" y="1117430"/>
                        <a:pt x="994432" y="1114439"/>
                        <a:pt x="991667" y="1112177"/>
                      </a:cubicBezTo>
                      <a:cubicBezTo>
                        <a:pt x="985150" y="1106845"/>
                        <a:pt x="978195" y="1102073"/>
                        <a:pt x="971459" y="1097021"/>
                      </a:cubicBezTo>
                      <a:cubicBezTo>
                        <a:pt x="968091" y="1094495"/>
                        <a:pt x="965349" y="1090774"/>
                        <a:pt x="961355" y="1089443"/>
                      </a:cubicBezTo>
                      <a:cubicBezTo>
                        <a:pt x="956303" y="1087759"/>
                        <a:pt x="951452" y="1085266"/>
                        <a:pt x="946199" y="1084391"/>
                      </a:cubicBezTo>
                      <a:cubicBezTo>
                        <a:pt x="933203" y="1082225"/>
                        <a:pt x="933414" y="1083070"/>
                        <a:pt x="923465" y="1079339"/>
                      </a:cubicBezTo>
                      <a:cubicBezTo>
                        <a:pt x="919220" y="1077747"/>
                        <a:pt x="914724" y="1076620"/>
                        <a:pt x="910836" y="1074287"/>
                      </a:cubicBezTo>
                      <a:cubicBezTo>
                        <a:pt x="885097" y="1058843"/>
                        <a:pt x="908768" y="1067704"/>
                        <a:pt x="890628" y="1061657"/>
                      </a:cubicBezTo>
                      <a:cubicBezTo>
                        <a:pt x="888588" y="1059617"/>
                        <a:pt x="878501" y="1050522"/>
                        <a:pt x="877998" y="1046502"/>
                      </a:cubicBezTo>
                      <a:cubicBezTo>
                        <a:pt x="877465" y="1042242"/>
                        <a:pt x="879593" y="1038063"/>
                        <a:pt x="880524" y="1033872"/>
                      </a:cubicBezTo>
                      <a:cubicBezTo>
                        <a:pt x="881171" y="1030958"/>
                        <a:pt x="883888" y="1019566"/>
                        <a:pt x="885576" y="1016190"/>
                      </a:cubicBezTo>
                      <a:cubicBezTo>
                        <a:pt x="886934" y="1013475"/>
                        <a:pt x="888944" y="1011138"/>
                        <a:pt x="890628" y="1008612"/>
                      </a:cubicBezTo>
                      <a:cubicBezTo>
                        <a:pt x="881352" y="928221"/>
                        <a:pt x="905241" y="946525"/>
                        <a:pt x="850212" y="940411"/>
                      </a:cubicBezTo>
                      <a:cubicBezTo>
                        <a:pt x="845945" y="939937"/>
                        <a:pt x="841793" y="938727"/>
                        <a:pt x="837583" y="937885"/>
                      </a:cubicBezTo>
                      <a:cubicBezTo>
                        <a:pt x="818591" y="909397"/>
                        <a:pt x="856732" y="969199"/>
                        <a:pt x="827479" y="877262"/>
                      </a:cubicBezTo>
                      <a:cubicBezTo>
                        <a:pt x="826177" y="873171"/>
                        <a:pt x="819059" y="875578"/>
                        <a:pt x="814849" y="874736"/>
                      </a:cubicBezTo>
                      <a:cubicBezTo>
                        <a:pt x="811849" y="871736"/>
                        <a:pt x="804529" y="863425"/>
                        <a:pt x="799693" y="862106"/>
                      </a:cubicBezTo>
                      <a:cubicBezTo>
                        <a:pt x="793144" y="860320"/>
                        <a:pt x="786221" y="860422"/>
                        <a:pt x="779485" y="859580"/>
                      </a:cubicBezTo>
                      <a:cubicBezTo>
                        <a:pt x="778643" y="856212"/>
                        <a:pt x="777913" y="852814"/>
                        <a:pt x="776959" y="849476"/>
                      </a:cubicBezTo>
                      <a:cubicBezTo>
                        <a:pt x="776228" y="846916"/>
                        <a:pt x="774168" y="844547"/>
                        <a:pt x="774433" y="841898"/>
                      </a:cubicBezTo>
                      <a:cubicBezTo>
                        <a:pt x="776113" y="825100"/>
                        <a:pt x="779925" y="823667"/>
                        <a:pt x="789589" y="811587"/>
                      </a:cubicBezTo>
                      <a:cubicBezTo>
                        <a:pt x="787063" y="807377"/>
                        <a:pt x="785939" y="801903"/>
                        <a:pt x="782011" y="798957"/>
                      </a:cubicBezTo>
                      <a:cubicBezTo>
                        <a:pt x="754103" y="778026"/>
                        <a:pt x="783555" y="820058"/>
                        <a:pt x="761804" y="783801"/>
                      </a:cubicBezTo>
                      <a:cubicBezTo>
                        <a:pt x="763488" y="760225"/>
                        <a:pt x="761484" y="736091"/>
                        <a:pt x="766855" y="713074"/>
                      </a:cubicBezTo>
                      <a:cubicBezTo>
                        <a:pt x="767885" y="708658"/>
                        <a:pt x="776279" y="711228"/>
                        <a:pt x="779485" y="708022"/>
                      </a:cubicBezTo>
                      <a:cubicBezTo>
                        <a:pt x="781940" y="705567"/>
                        <a:pt x="781169" y="701286"/>
                        <a:pt x="782011" y="697918"/>
                      </a:cubicBezTo>
                      <a:cubicBezTo>
                        <a:pt x="779485" y="697076"/>
                        <a:pt x="777016" y="696038"/>
                        <a:pt x="774433" y="695392"/>
                      </a:cubicBezTo>
                      <a:cubicBezTo>
                        <a:pt x="770268" y="694351"/>
                        <a:pt x="765644" y="694786"/>
                        <a:pt x="761804" y="692866"/>
                      </a:cubicBezTo>
                      <a:cubicBezTo>
                        <a:pt x="758609" y="691268"/>
                        <a:pt x="756752" y="687814"/>
                        <a:pt x="754226" y="685288"/>
                      </a:cubicBezTo>
                      <a:cubicBezTo>
                        <a:pt x="750648" y="676939"/>
                        <a:pt x="747745" y="667203"/>
                        <a:pt x="741596" y="660029"/>
                      </a:cubicBezTo>
                      <a:cubicBezTo>
                        <a:pt x="738496" y="656413"/>
                        <a:pt x="734416" y="653685"/>
                        <a:pt x="731492" y="649925"/>
                      </a:cubicBezTo>
                      <a:cubicBezTo>
                        <a:pt x="728478" y="646050"/>
                        <a:pt x="726516" y="641458"/>
                        <a:pt x="723914" y="637295"/>
                      </a:cubicBezTo>
                      <a:cubicBezTo>
                        <a:pt x="719297" y="629908"/>
                        <a:pt x="716842" y="627024"/>
                        <a:pt x="711284" y="619613"/>
                      </a:cubicBezTo>
                      <a:cubicBezTo>
                        <a:pt x="706543" y="600647"/>
                        <a:pt x="713184" y="617092"/>
                        <a:pt x="696128" y="601931"/>
                      </a:cubicBezTo>
                      <a:cubicBezTo>
                        <a:pt x="692099" y="598349"/>
                        <a:pt x="689575" y="593359"/>
                        <a:pt x="686025" y="589302"/>
                      </a:cubicBezTo>
                      <a:cubicBezTo>
                        <a:pt x="683673" y="586614"/>
                        <a:pt x="680973" y="584250"/>
                        <a:pt x="678447" y="581724"/>
                      </a:cubicBezTo>
                      <a:cubicBezTo>
                        <a:pt x="672265" y="563179"/>
                        <a:pt x="677161" y="570334"/>
                        <a:pt x="665817" y="558990"/>
                      </a:cubicBezTo>
                      <a:cubicBezTo>
                        <a:pt x="658572" y="537255"/>
                        <a:pt x="671695" y="572860"/>
                        <a:pt x="645609" y="533730"/>
                      </a:cubicBezTo>
                      <a:cubicBezTo>
                        <a:pt x="638576" y="523180"/>
                        <a:pt x="642704" y="528299"/>
                        <a:pt x="632979" y="518575"/>
                      </a:cubicBezTo>
                      <a:cubicBezTo>
                        <a:pt x="632137" y="514365"/>
                        <a:pt x="630453" y="510238"/>
                        <a:pt x="630453" y="505945"/>
                      </a:cubicBezTo>
                      <a:cubicBezTo>
                        <a:pt x="630453" y="503036"/>
                        <a:pt x="634882" y="472104"/>
                        <a:pt x="635505" y="468055"/>
                      </a:cubicBezTo>
                      <a:cubicBezTo>
                        <a:pt x="636284" y="462993"/>
                        <a:pt x="636281" y="457712"/>
                        <a:pt x="638031" y="452899"/>
                      </a:cubicBezTo>
                      <a:cubicBezTo>
                        <a:pt x="639709" y="448285"/>
                        <a:pt x="643083" y="444480"/>
                        <a:pt x="645609" y="440270"/>
                      </a:cubicBezTo>
                      <a:cubicBezTo>
                        <a:pt x="646451" y="436902"/>
                        <a:pt x="647564" y="433590"/>
                        <a:pt x="648135" y="430166"/>
                      </a:cubicBezTo>
                      <a:cubicBezTo>
                        <a:pt x="649292" y="423223"/>
                        <a:pt x="652511" y="393309"/>
                        <a:pt x="653187" y="387224"/>
                      </a:cubicBezTo>
                      <a:cubicBezTo>
                        <a:pt x="652345" y="381330"/>
                        <a:pt x="653079" y="374983"/>
                        <a:pt x="650661" y="369543"/>
                      </a:cubicBezTo>
                      <a:cubicBezTo>
                        <a:pt x="649641" y="367248"/>
                        <a:pt x="633778" y="359839"/>
                        <a:pt x="632979" y="359439"/>
                      </a:cubicBezTo>
                      <a:cubicBezTo>
                        <a:pt x="630453" y="356071"/>
                        <a:pt x="627848" y="352761"/>
                        <a:pt x="625401" y="349335"/>
                      </a:cubicBezTo>
                      <a:cubicBezTo>
                        <a:pt x="623636" y="346865"/>
                        <a:pt x="622720" y="343653"/>
                        <a:pt x="620349" y="341757"/>
                      </a:cubicBezTo>
                      <a:cubicBezTo>
                        <a:pt x="618270" y="340094"/>
                        <a:pt x="615297" y="340073"/>
                        <a:pt x="612771" y="339231"/>
                      </a:cubicBezTo>
                      <a:cubicBezTo>
                        <a:pt x="610245" y="337547"/>
                        <a:pt x="607340" y="336326"/>
                        <a:pt x="605194" y="334179"/>
                      </a:cubicBezTo>
                      <a:cubicBezTo>
                        <a:pt x="595231" y="324215"/>
                        <a:pt x="605001" y="328390"/>
                        <a:pt x="595090" y="316497"/>
                      </a:cubicBezTo>
                      <a:cubicBezTo>
                        <a:pt x="593146" y="314165"/>
                        <a:pt x="590038" y="313129"/>
                        <a:pt x="587512" y="311445"/>
                      </a:cubicBezTo>
                      <a:cubicBezTo>
                        <a:pt x="570675" y="313316"/>
                        <a:pt x="548180" y="317245"/>
                        <a:pt x="531941" y="311445"/>
                      </a:cubicBezTo>
                      <a:cubicBezTo>
                        <a:pt x="528672" y="310277"/>
                        <a:pt x="530168" y="304730"/>
                        <a:pt x="529415" y="301341"/>
                      </a:cubicBezTo>
                      <a:cubicBezTo>
                        <a:pt x="525146" y="282132"/>
                        <a:pt x="529385" y="294952"/>
                        <a:pt x="521837" y="276082"/>
                      </a:cubicBezTo>
                      <a:cubicBezTo>
                        <a:pt x="520995" y="269346"/>
                        <a:pt x="520427" y="262570"/>
                        <a:pt x="519311" y="255874"/>
                      </a:cubicBezTo>
                      <a:cubicBezTo>
                        <a:pt x="518740" y="252450"/>
                        <a:pt x="517086" y="249229"/>
                        <a:pt x="516785" y="245770"/>
                      </a:cubicBezTo>
                      <a:cubicBezTo>
                        <a:pt x="515397" y="229810"/>
                        <a:pt x="517401" y="213486"/>
                        <a:pt x="514259" y="197777"/>
                      </a:cubicBezTo>
                      <a:cubicBezTo>
                        <a:pt x="513737" y="195166"/>
                        <a:pt x="509207" y="196093"/>
                        <a:pt x="506681" y="195251"/>
                      </a:cubicBezTo>
                      <a:cubicBezTo>
                        <a:pt x="504155" y="192725"/>
                        <a:pt x="499377" y="191235"/>
                        <a:pt x="499103" y="187673"/>
                      </a:cubicBezTo>
                      <a:cubicBezTo>
                        <a:pt x="498145" y="175216"/>
                        <a:pt x="504609" y="161277"/>
                        <a:pt x="509207" y="149783"/>
                      </a:cubicBezTo>
                      <a:cubicBezTo>
                        <a:pt x="506922" y="142930"/>
                        <a:pt x="504624" y="137080"/>
                        <a:pt x="504155" y="129576"/>
                      </a:cubicBezTo>
                      <a:cubicBezTo>
                        <a:pt x="502736" y="106871"/>
                        <a:pt x="504846" y="83896"/>
                        <a:pt x="501629" y="61375"/>
                      </a:cubicBezTo>
                      <a:cubicBezTo>
                        <a:pt x="501252" y="58739"/>
                        <a:pt x="496498" y="59898"/>
                        <a:pt x="494051" y="58849"/>
                      </a:cubicBezTo>
                      <a:cubicBezTo>
                        <a:pt x="490590" y="57366"/>
                        <a:pt x="487554" y="54879"/>
                        <a:pt x="483947" y="53797"/>
                      </a:cubicBezTo>
                      <a:cubicBezTo>
                        <a:pt x="480762" y="52841"/>
                        <a:pt x="453120" y="49032"/>
                        <a:pt x="451110" y="48745"/>
                      </a:cubicBezTo>
                      <a:cubicBezTo>
                        <a:pt x="444374" y="44535"/>
                        <a:pt x="437433" y="40636"/>
                        <a:pt x="430902" y="36115"/>
                      </a:cubicBezTo>
                      <a:cubicBezTo>
                        <a:pt x="420879" y="29176"/>
                        <a:pt x="418508" y="26247"/>
                        <a:pt x="410694" y="18433"/>
                      </a:cubicBezTo>
                      <a:cubicBezTo>
                        <a:pt x="404800" y="19275"/>
                        <a:pt x="404163" y="6864"/>
                        <a:pt x="400584" y="3920"/>
                      </a:cubicBezTo>
                      <a:cubicBezTo>
                        <a:pt x="397005" y="976"/>
                        <a:pt x="397639" y="-1231"/>
                        <a:pt x="389220" y="767"/>
                      </a:cubicBezTo>
                      <a:cubicBezTo>
                        <a:pt x="380801" y="2765"/>
                        <a:pt x="362954" y="20201"/>
                        <a:pt x="350071" y="15907"/>
                      </a:cubicBezTo>
                      <a:cubicBezTo>
                        <a:pt x="350913" y="12539"/>
                        <a:pt x="349620" y="7589"/>
                        <a:pt x="352597" y="5803"/>
                      </a:cubicBezTo>
                      <a:cubicBezTo>
                        <a:pt x="355574" y="4017"/>
                        <a:pt x="362356" y="4875"/>
                        <a:pt x="362701" y="8329"/>
                      </a:cubicBezTo>
                      <a:cubicBezTo>
                        <a:pt x="363244" y="13762"/>
                        <a:pt x="352666" y="35909"/>
                        <a:pt x="350071" y="43693"/>
                      </a:cubicBezTo>
                      <a:cubicBezTo>
                        <a:pt x="348973" y="46987"/>
                        <a:pt x="349714" y="51086"/>
                        <a:pt x="347545" y="53797"/>
                      </a:cubicBezTo>
                      <a:cubicBezTo>
                        <a:pt x="345882" y="55876"/>
                        <a:pt x="342493" y="55481"/>
                        <a:pt x="339967" y="56323"/>
                      </a:cubicBezTo>
                      <a:lnTo>
                        <a:pt x="324811" y="53797"/>
                      </a:lnTo>
                      <a:cubicBezTo>
                        <a:pt x="318926" y="52892"/>
                        <a:pt x="312987" y="52336"/>
                        <a:pt x="307129" y="51271"/>
                      </a:cubicBezTo>
                      <a:cubicBezTo>
                        <a:pt x="303714" y="50650"/>
                        <a:pt x="300394" y="49587"/>
                        <a:pt x="297026" y="48745"/>
                      </a:cubicBezTo>
                      <a:cubicBezTo>
                        <a:pt x="294500" y="49587"/>
                        <a:pt x="290094" y="48688"/>
                        <a:pt x="289448" y="51271"/>
                      </a:cubicBezTo>
                      <a:cubicBezTo>
                        <a:pt x="288004" y="57047"/>
                        <a:pt x="291069" y="63068"/>
                        <a:pt x="291974" y="68952"/>
                      </a:cubicBezTo>
                      <a:cubicBezTo>
                        <a:pt x="294514" y="85465"/>
                        <a:pt x="293100" y="79909"/>
                        <a:pt x="297026" y="91686"/>
                      </a:cubicBezTo>
                      <a:cubicBezTo>
                        <a:pt x="296184" y="104316"/>
                        <a:pt x="295898" y="116995"/>
                        <a:pt x="294500" y="129576"/>
                      </a:cubicBezTo>
                      <a:cubicBezTo>
                        <a:pt x="294206" y="132222"/>
                        <a:pt x="292552" y="134555"/>
                        <a:pt x="291974" y="137154"/>
                      </a:cubicBezTo>
                      <a:cubicBezTo>
                        <a:pt x="290863" y="142153"/>
                        <a:pt x="290290" y="147257"/>
                        <a:pt x="289448" y="152309"/>
                      </a:cubicBezTo>
                      <a:cubicBezTo>
                        <a:pt x="291386" y="187190"/>
                        <a:pt x="280058" y="192772"/>
                        <a:pt x="302078" y="205355"/>
                      </a:cubicBezTo>
                      <a:cubicBezTo>
                        <a:pt x="304390" y="206676"/>
                        <a:pt x="307129" y="207039"/>
                        <a:pt x="309655" y="207881"/>
                      </a:cubicBezTo>
                      <a:cubicBezTo>
                        <a:pt x="305445" y="220511"/>
                        <a:pt x="300997" y="233063"/>
                        <a:pt x="297026" y="245770"/>
                      </a:cubicBezTo>
                      <a:cubicBezTo>
                        <a:pt x="295929" y="249280"/>
                        <a:pt x="286922" y="279849"/>
                        <a:pt x="284396" y="288712"/>
                      </a:cubicBezTo>
                      <a:cubicBezTo>
                        <a:pt x="281870" y="297575"/>
                        <a:pt x="282712" y="293899"/>
                        <a:pt x="281870" y="298951"/>
                      </a:cubicBezTo>
                      <a:cubicBezTo>
                        <a:pt x="275976" y="297267"/>
                        <a:pt x="266759" y="293545"/>
                        <a:pt x="262549" y="292260"/>
                      </a:cubicBezTo>
                      <a:cubicBezTo>
                        <a:pt x="258339" y="290975"/>
                        <a:pt x="258863" y="292250"/>
                        <a:pt x="256610" y="291238"/>
                      </a:cubicBezTo>
                      <a:cubicBezTo>
                        <a:pt x="254357" y="290226"/>
                        <a:pt x="251558" y="287870"/>
                        <a:pt x="249032" y="286186"/>
                      </a:cubicBezTo>
                      <a:cubicBezTo>
                        <a:pt x="247348" y="283660"/>
                        <a:pt x="245338" y="281323"/>
                        <a:pt x="243980" y="278608"/>
                      </a:cubicBezTo>
                      <a:cubicBezTo>
                        <a:pt x="242789" y="276226"/>
                        <a:pt x="243533" y="272693"/>
                        <a:pt x="241454" y="271030"/>
                      </a:cubicBezTo>
                      <a:cubicBezTo>
                        <a:pt x="238743" y="268861"/>
                        <a:pt x="234718" y="269346"/>
                        <a:pt x="231350" y="268504"/>
                      </a:cubicBezTo>
                      <a:cubicBezTo>
                        <a:pt x="227982" y="272714"/>
                        <a:pt x="226411" y="266475"/>
                        <a:pt x="221247" y="268024"/>
                      </a:cubicBezTo>
                      <a:cubicBezTo>
                        <a:pt x="211737" y="270877"/>
                        <a:pt x="203796" y="273787"/>
                        <a:pt x="198513" y="268504"/>
                      </a:cubicBezTo>
                      <a:cubicBezTo>
                        <a:pt x="197671" y="272714"/>
                        <a:pt x="199560" y="279257"/>
                        <a:pt x="195987" y="281134"/>
                      </a:cubicBezTo>
                      <a:cubicBezTo>
                        <a:pt x="192414" y="283011"/>
                        <a:pt x="179529" y="277312"/>
                        <a:pt x="177074" y="279767"/>
                      </a:cubicBezTo>
                      <a:cubicBezTo>
                        <a:pt x="165092" y="291748"/>
                        <a:pt x="163429" y="304188"/>
                        <a:pt x="147994" y="306393"/>
                      </a:cubicBezTo>
                      <a:cubicBezTo>
                        <a:pt x="123690" y="302104"/>
                        <a:pt x="110082" y="306371"/>
                        <a:pt x="94948" y="291238"/>
                      </a:cubicBezTo>
                      <a:cubicBezTo>
                        <a:pt x="92801" y="289091"/>
                        <a:pt x="91580" y="286186"/>
                        <a:pt x="89896" y="283660"/>
                      </a:cubicBezTo>
                      <a:cubicBezTo>
                        <a:pt x="89054" y="280292"/>
                        <a:pt x="88324" y="276894"/>
                        <a:pt x="87370" y="273556"/>
                      </a:cubicBezTo>
                      <a:cubicBezTo>
                        <a:pt x="86639" y="270996"/>
                        <a:pt x="86889" y="267683"/>
                        <a:pt x="84844" y="265978"/>
                      </a:cubicBezTo>
                      <a:cubicBezTo>
                        <a:pt x="81361" y="263075"/>
                        <a:pt x="76425" y="262610"/>
                        <a:pt x="72215" y="260926"/>
                      </a:cubicBezTo>
                      <a:cubicBezTo>
                        <a:pt x="66734" y="253618"/>
                        <a:pt x="58618" y="246293"/>
                        <a:pt x="54533" y="240718"/>
                      </a:cubicBezTo>
                      <a:cubicBezTo>
                        <a:pt x="50448" y="235143"/>
                        <a:pt x="51917" y="230944"/>
                        <a:pt x="47707" y="227473"/>
                      </a:cubicBezTo>
                      <a:cubicBezTo>
                        <a:pt x="43497" y="224003"/>
                        <a:pt x="43167" y="224526"/>
                        <a:pt x="29273" y="219895"/>
                      </a:cubicBezTo>
                      <a:cubicBezTo>
                        <a:pt x="26747" y="217369"/>
                        <a:pt x="25267" y="220510"/>
                        <a:pt x="21695" y="220510"/>
                      </a:cubicBezTo>
                      <a:cubicBezTo>
                        <a:pt x="17275" y="220510"/>
                        <a:pt x="6843" y="240211"/>
                        <a:pt x="6539" y="240718"/>
                      </a:cubicBezTo>
                      <a:cubicBezTo>
                        <a:pt x="9331" y="260264"/>
                        <a:pt x="1098" y="253905"/>
                        <a:pt x="256" y="258536"/>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854" name="Forma libre: forma 21">
                  <a:extLst>
                    <a:ext uri="{FF2B5EF4-FFF2-40B4-BE49-F238E27FC236}">
                      <a16:creationId xmlns:a16="http://schemas.microsoft.com/office/drawing/2014/main" id="{25F16B27-BCD3-48B6-9682-F52E619BCE8F}"/>
                    </a:ext>
                  </a:extLst>
                </p:cNvPr>
                <p:cNvSpPr/>
                <p:nvPr/>
              </p:nvSpPr>
              <p:spPr>
                <a:xfrm>
                  <a:off x="5329506" y="2637109"/>
                  <a:ext cx="15440" cy="7578"/>
                </a:xfrm>
                <a:custGeom>
                  <a:avLst/>
                  <a:gdLst>
                    <a:gd name="connsiteX0" fmla="*/ 12914 w 15440"/>
                    <a:gd name="connsiteY0" fmla="*/ 0 h 7578"/>
                    <a:gd name="connsiteX1" fmla="*/ 284 w 15440"/>
                    <a:gd name="connsiteY1" fmla="*/ 2526 h 7578"/>
                    <a:gd name="connsiteX2" fmla="*/ 7862 w 15440"/>
                    <a:gd name="connsiteY2" fmla="*/ 7578 h 7578"/>
                    <a:gd name="connsiteX3" fmla="*/ 15440 w 15440"/>
                    <a:gd name="connsiteY3" fmla="*/ 2526 h 7578"/>
                    <a:gd name="connsiteX4" fmla="*/ 12914 w 15440"/>
                    <a:gd name="connsiteY4" fmla="*/ 0 h 75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40" h="7578">
                      <a:moveTo>
                        <a:pt x="12914" y="0"/>
                      </a:moveTo>
                      <a:cubicBezTo>
                        <a:pt x="8704" y="842"/>
                        <a:pt x="2666" y="-1046"/>
                        <a:pt x="284" y="2526"/>
                      </a:cubicBezTo>
                      <a:cubicBezTo>
                        <a:pt x="-1400" y="5052"/>
                        <a:pt x="4826" y="7578"/>
                        <a:pt x="7862" y="7578"/>
                      </a:cubicBezTo>
                      <a:cubicBezTo>
                        <a:pt x="10898" y="7578"/>
                        <a:pt x="12914" y="4210"/>
                        <a:pt x="15440" y="2526"/>
                      </a:cubicBezTo>
                      <a:lnTo>
                        <a:pt x="12914" y="0"/>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grpSp>
          <p:sp>
            <p:nvSpPr>
              <p:cNvPr id="852" name="Forma libre: forma 21">
                <a:extLst>
                  <a:ext uri="{FF2B5EF4-FFF2-40B4-BE49-F238E27FC236}">
                    <a16:creationId xmlns:a16="http://schemas.microsoft.com/office/drawing/2014/main" id="{6DCDF6D2-C3FF-4881-8A91-D0C3DE60CDC6}"/>
                  </a:ext>
                </a:extLst>
              </p:cNvPr>
              <p:cNvSpPr/>
              <p:nvPr/>
            </p:nvSpPr>
            <p:spPr>
              <a:xfrm>
                <a:off x="5191856" y="2088960"/>
                <a:ext cx="15440" cy="7578"/>
              </a:xfrm>
              <a:custGeom>
                <a:avLst/>
                <a:gdLst>
                  <a:gd name="connsiteX0" fmla="*/ 12914 w 15440"/>
                  <a:gd name="connsiteY0" fmla="*/ 0 h 7578"/>
                  <a:gd name="connsiteX1" fmla="*/ 284 w 15440"/>
                  <a:gd name="connsiteY1" fmla="*/ 2526 h 7578"/>
                  <a:gd name="connsiteX2" fmla="*/ 7862 w 15440"/>
                  <a:gd name="connsiteY2" fmla="*/ 7578 h 7578"/>
                  <a:gd name="connsiteX3" fmla="*/ 15440 w 15440"/>
                  <a:gd name="connsiteY3" fmla="*/ 2526 h 7578"/>
                  <a:gd name="connsiteX4" fmla="*/ 12914 w 15440"/>
                  <a:gd name="connsiteY4" fmla="*/ 0 h 75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40" h="7578">
                    <a:moveTo>
                      <a:pt x="12914" y="0"/>
                    </a:moveTo>
                    <a:cubicBezTo>
                      <a:pt x="8704" y="842"/>
                      <a:pt x="2666" y="-1046"/>
                      <a:pt x="284" y="2526"/>
                    </a:cubicBezTo>
                    <a:cubicBezTo>
                      <a:pt x="-1400" y="5052"/>
                      <a:pt x="4826" y="7578"/>
                      <a:pt x="7862" y="7578"/>
                    </a:cubicBezTo>
                    <a:cubicBezTo>
                      <a:pt x="10898" y="7578"/>
                      <a:pt x="12914" y="4210"/>
                      <a:pt x="15440" y="2526"/>
                    </a:cubicBezTo>
                    <a:lnTo>
                      <a:pt x="12914" y="0"/>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grpSp>
        <p:grpSp>
          <p:nvGrpSpPr>
            <p:cNvPr id="319" name="Group 318">
              <a:extLst>
                <a:ext uri="{FF2B5EF4-FFF2-40B4-BE49-F238E27FC236}">
                  <a16:creationId xmlns:a16="http://schemas.microsoft.com/office/drawing/2014/main" id="{014C5691-D8FC-487A-922F-9EEF6E803D50}"/>
                </a:ext>
              </a:extLst>
            </p:cNvPr>
            <p:cNvGrpSpPr/>
            <p:nvPr/>
          </p:nvGrpSpPr>
          <p:grpSpPr>
            <a:xfrm>
              <a:off x="8104941" y="2830685"/>
              <a:ext cx="616194" cy="488078"/>
              <a:chOff x="5380197" y="3234107"/>
              <a:chExt cx="616194" cy="488078"/>
            </a:xfrm>
            <a:solidFill>
              <a:srgbClr val="003399"/>
            </a:solidFill>
          </p:grpSpPr>
          <p:sp>
            <p:nvSpPr>
              <p:cNvPr id="849" name="Forma libre: forma 11">
                <a:extLst>
                  <a:ext uri="{FF2B5EF4-FFF2-40B4-BE49-F238E27FC236}">
                    <a16:creationId xmlns:a16="http://schemas.microsoft.com/office/drawing/2014/main" id="{0B31CB2C-7B72-4029-8461-6F9FB80D2F62}"/>
                  </a:ext>
                </a:extLst>
              </p:cNvPr>
              <p:cNvSpPr/>
              <p:nvPr/>
            </p:nvSpPr>
            <p:spPr>
              <a:xfrm>
                <a:off x="5393059" y="3234107"/>
                <a:ext cx="603332" cy="488078"/>
              </a:xfrm>
              <a:custGeom>
                <a:avLst/>
                <a:gdLst>
                  <a:gd name="connsiteX0" fmla="*/ 364722 w 603332"/>
                  <a:gd name="connsiteY0" fmla="*/ 0 h 488078"/>
                  <a:gd name="connsiteX1" fmla="*/ 368180 w 603332"/>
                  <a:gd name="connsiteY1" fmla="*/ 8642 h 488078"/>
                  <a:gd name="connsiteX2" fmla="*/ 373365 w 603332"/>
                  <a:gd name="connsiteY2" fmla="*/ 15557 h 488078"/>
                  <a:gd name="connsiteX3" fmla="*/ 376822 w 603332"/>
                  <a:gd name="connsiteY3" fmla="*/ 20742 h 488078"/>
                  <a:gd name="connsiteX4" fmla="*/ 380279 w 603332"/>
                  <a:gd name="connsiteY4" fmla="*/ 27656 h 488078"/>
                  <a:gd name="connsiteX5" fmla="*/ 388922 w 603332"/>
                  <a:gd name="connsiteY5" fmla="*/ 36299 h 488078"/>
                  <a:gd name="connsiteX6" fmla="*/ 392379 w 603332"/>
                  <a:gd name="connsiteY6" fmla="*/ 43213 h 488078"/>
                  <a:gd name="connsiteX7" fmla="*/ 459792 w 603332"/>
                  <a:gd name="connsiteY7" fmla="*/ 44942 h 488078"/>
                  <a:gd name="connsiteX8" fmla="*/ 464978 w 603332"/>
                  <a:gd name="connsiteY8" fmla="*/ 48399 h 488078"/>
                  <a:gd name="connsiteX9" fmla="*/ 466707 w 603332"/>
                  <a:gd name="connsiteY9" fmla="*/ 53584 h 488078"/>
                  <a:gd name="connsiteX10" fmla="*/ 477078 w 603332"/>
                  <a:gd name="connsiteY10" fmla="*/ 60499 h 488078"/>
                  <a:gd name="connsiteX11" fmla="*/ 496092 w 603332"/>
                  <a:gd name="connsiteY11" fmla="*/ 62227 h 488078"/>
                  <a:gd name="connsiteX12" fmla="*/ 501277 w 603332"/>
                  <a:gd name="connsiteY12" fmla="*/ 65684 h 488078"/>
                  <a:gd name="connsiteX13" fmla="*/ 503006 w 603332"/>
                  <a:gd name="connsiteY13" fmla="*/ 70870 h 488078"/>
                  <a:gd name="connsiteX14" fmla="*/ 506463 w 603332"/>
                  <a:gd name="connsiteY14" fmla="*/ 76056 h 488078"/>
                  <a:gd name="connsiteX15" fmla="*/ 508192 w 603332"/>
                  <a:gd name="connsiteY15" fmla="*/ 82970 h 488078"/>
                  <a:gd name="connsiteX16" fmla="*/ 513377 w 603332"/>
                  <a:gd name="connsiteY16" fmla="*/ 88155 h 488078"/>
                  <a:gd name="connsiteX17" fmla="*/ 518563 w 603332"/>
                  <a:gd name="connsiteY17" fmla="*/ 95070 h 488078"/>
                  <a:gd name="connsiteX18" fmla="*/ 530663 w 603332"/>
                  <a:gd name="connsiteY18" fmla="*/ 105441 h 488078"/>
                  <a:gd name="connsiteX19" fmla="*/ 563505 w 603332"/>
                  <a:gd name="connsiteY19" fmla="*/ 101984 h 488078"/>
                  <a:gd name="connsiteX20" fmla="*/ 568691 w 603332"/>
                  <a:gd name="connsiteY20" fmla="*/ 100255 h 488078"/>
                  <a:gd name="connsiteX21" fmla="*/ 570419 w 603332"/>
                  <a:gd name="connsiteY21" fmla="*/ 107169 h 488078"/>
                  <a:gd name="connsiteX22" fmla="*/ 572148 w 603332"/>
                  <a:gd name="connsiteY22" fmla="*/ 115812 h 488078"/>
                  <a:gd name="connsiteX23" fmla="*/ 579062 w 603332"/>
                  <a:gd name="connsiteY23" fmla="*/ 131369 h 488078"/>
                  <a:gd name="connsiteX24" fmla="*/ 580791 w 603332"/>
                  <a:gd name="connsiteY24" fmla="*/ 140012 h 488078"/>
                  <a:gd name="connsiteX25" fmla="*/ 580791 w 603332"/>
                  <a:gd name="connsiteY25" fmla="*/ 150383 h 488078"/>
                  <a:gd name="connsiteX26" fmla="*/ 575605 w 603332"/>
                  <a:gd name="connsiteY26" fmla="*/ 152112 h 488078"/>
                  <a:gd name="connsiteX27" fmla="*/ 573876 w 603332"/>
                  <a:gd name="connsiteY27" fmla="*/ 157297 h 488078"/>
                  <a:gd name="connsiteX28" fmla="*/ 577333 w 603332"/>
                  <a:gd name="connsiteY28" fmla="*/ 167668 h 488078"/>
                  <a:gd name="connsiteX29" fmla="*/ 585976 w 603332"/>
                  <a:gd name="connsiteY29" fmla="*/ 165940 h 488078"/>
                  <a:gd name="connsiteX30" fmla="*/ 598076 w 603332"/>
                  <a:gd name="connsiteY30" fmla="*/ 162483 h 488078"/>
                  <a:gd name="connsiteX31" fmla="*/ 603262 w 603332"/>
                  <a:gd name="connsiteY31" fmla="*/ 165940 h 488078"/>
                  <a:gd name="connsiteX32" fmla="*/ 582519 w 603332"/>
                  <a:gd name="connsiteY32" fmla="*/ 184954 h 488078"/>
                  <a:gd name="connsiteX33" fmla="*/ 579062 w 603332"/>
                  <a:gd name="connsiteY33" fmla="*/ 190140 h 488078"/>
                  <a:gd name="connsiteX34" fmla="*/ 577333 w 603332"/>
                  <a:gd name="connsiteY34" fmla="*/ 198782 h 488078"/>
                  <a:gd name="connsiteX35" fmla="*/ 572148 w 603332"/>
                  <a:gd name="connsiteY35" fmla="*/ 200511 h 488078"/>
                  <a:gd name="connsiteX36" fmla="*/ 565234 w 603332"/>
                  <a:gd name="connsiteY36" fmla="*/ 205696 h 488078"/>
                  <a:gd name="connsiteX37" fmla="*/ 563505 w 603332"/>
                  <a:gd name="connsiteY37" fmla="*/ 212611 h 488078"/>
                  <a:gd name="connsiteX38" fmla="*/ 560048 w 603332"/>
                  <a:gd name="connsiteY38" fmla="*/ 217796 h 488078"/>
                  <a:gd name="connsiteX39" fmla="*/ 558319 w 603332"/>
                  <a:gd name="connsiteY39" fmla="*/ 229896 h 488078"/>
                  <a:gd name="connsiteX40" fmla="*/ 556591 w 603332"/>
                  <a:gd name="connsiteY40" fmla="*/ 235082 h 488078"/>
                  <a:gd name="connsiteX41" fmla="*/ 551405 w 603332"/>
                  <a:gd name="connsiteY41" fmla="*/ 238539 h 488078"/>
                  <a:gd name="connsiteX42" fmla="*/ 528934 w 603332"/>
                  <a:gd name="connsiteY42" fmla="*/ 247181 h 488078"/>
                  <a:gd name="connsiteX43" fmla="*/ 515106 w 603332"/>
                  <a:gd name="connsiteY43" fmla="*/ 248910 h 488078"/>
                  <a:gd name="connsiteX44" fmla="*/ 508192 w 603332"/>
                  <a:gd name="connsiteY44" fmla="*/ 247181 h 488078"/>
                  <a:gd name="connsiteX45" fmla="*/ 506463 w 603332"/>
                  <a:gd name="connsiteY45" fmla="*/ 241996 h 488078"/>
                  <a:gd name="connsiteX46" fmla="*/ 503006 w 603332"/>
                  <a:gd name="connsiteY46" fmla="*/ 233353 h 488078"/>
                  <a:gd name="connsiteX47" fmla="*/ 494363 w 603332"/>
                  <a:gd name="connsiteY47" fmla="*/ 226439 h 488078"/>
                  <a:gd name="connsiteX48" fmla="*/ 489178 w 603332"/>
                  <a:gd name="connsiteY48" fmla="*/ 221253 h 488078"/>
                  <a:gd name="connsiteX49" fmla="*/ 501277 w 603332"/>
                  <a:gd name="connsiteY49" fmla="*/ 228167 h 488078"/>
                  <a:gd name="connsiteX50" fmla="*/ 506463 w 603332"/>
                  <a:gd name="connsiteY50" fmla="*/ 229896 h 488078"/>
                  <a:gd name="connsiteX51" fmla="*/ 508192 w 603332"/>
                  <a:gd name="connsiteY51" fmla="*/ 241996 h 488078"/>
                  <a:gd name="connsiteX52" fmla="*/ 513377 w 603332"/>
                  <a:gd name="connsiteY52" fmla="*/ 248910 h 488078"/>
                  <a:gd name="connsiteX53" fmla="*/ 516834 w 603332"/>
                  <a:gd name="connsiteY53" fmla="*/ 257553 h 488078"/>
                  <a:gd name="connsiteX54" fmla="*/ 515106 w 603332"/>
                  <a:gd name="connsiteY54" fmla="*/ 274838 h 488078"/>
                  <a:gd name="connsiteX55" fmla="*/ 515106 w 603332"/>
                  <a:gd name="connsiteY55" fmla="*/ 290395 h 488078"/>
                  <a:gd name="connsiteX56" fmla="*/ 523749 w 603332"/>
                  <a:gd name="connsiteY56" fmla="*/ 304223 h 488078"/>
                  <a:gd name="connsiteX57" fmla="*/ 527206 w 603332"/>
                  <a:gd name="connsiteY57" fmla="*/ 316323 h 488078"/>
                  <a:gd name="connsiteX58" fmla="*/ 518563 w 603332"/>
                  <a:gd name="connsiteY58" fmla="*/ 326695 h 488078"/>
                  <a:gd name="connsiteX59" fmla="*/ 513377 w 603332"/>
                  <a:gd name="connsiteY59" fmla="*/ 331880 h 488078"/>
                  <a:gd name="connsiteX60" fmla="*/ 511649 w 603332"/>
                  <a:gd name="connsiteY60" fmla="*/ 338794 h 488078"/>
                  <a:gd name="connsiteX61" fmla="*/ 508192 w 603332"/>
                  <a:gd name="connsiteY61" fmla="*/ 356080 h 488078"/>
                  <a:gd name="connsiteX62" fmla="*/ 511649 w 603332"/>
                  <a:gd name="connsiteY62" fmla="*/ 362994 h 488078"/>
                  <a:gd name="connsiteX63" fmla="*/ 539305 w 603332"/>
                  <a:gd name="connsiteY63" fmla="*/ 368180 h 488078"/>
                  <a:gd name="connsiteX64" fmla="*/ 541034 w 603332"/>
                  <a:gd name="connsiteY64" fmla="*/ 373365 h 488078"/>
                  <a:gd name="connsiteX65" fmla="*/ 534120 w 603332"/>
                  <a:gd name="connsiteY65" fmla="*/ 387194 h 488078"/>
                  <a:gd name="connsiteX66" fmla="*/ 528934 w 603332"/>
                  <a:gd name="connsiteY66" fmla="*/ 388922 h 488078"/>
                  <a:gd name="connsiteX67" fmla="*/ 522020 w 603332"/>
                  <a:gd name="connsiteY67" fmla="*/ 387194 h 488078"/>
                  <a:gd name="connsiteX68" fmla="*/ 513377 w 603332"/>
                  <a:gd name="connsiteY68" fmla="*/ 382008 h 488078"/>
                  <a:gd name="connsiteX69" fmla="*/ 504735 w 603332"/>
                  <a:gd name="connsiteY69" fmla="*/ 390651 h 488078"/>
                  <a:gd name="connsiteX70" fmla="*/ 499549 w 603332"/>
                  <a:gd name="connsiteY70" fmla="*/ 402750 h 488078"/>
                  <a:gd name="connsiteX71" fmla="*/ 494363 w 603332"/>
                  <a:gd name="connsiteY71" fmla="*/ 407936 h 488078"/>
                  <a:gd name="connsiteX72" fmla="*/ 463250 w 603332"/>
                  <a:gd name="connsiteY72" fmla="*/ 413122 h 488078"/>
                  <a:gd name="connsiteX73" fmla="*/ 444236 w 603332"/>
                  <a:gd name="connsiteY73" fmla="*/ 420036 h 488078"/>
                  <a:gd name="connsiteX74" fmla="*/ 440778 w 603332"/>
                  <a:gd name="connsiteY74" fmla="*/ 432136 h 488078"/>
                  <a:gd name="connsiteX75" fmla="*/ 442507 w 603332"/>
                  <a:gd name="connsiteY75" fmla="*/ 439050 h 488078"/>
                  <a:gd name="connsiteX76" fmla="*/ 430407 w 603332"/>
                  <a:gd name="connsiteY76" fmla="*/ 445964 h 488078"/>
                  <a:gd name="connsiteX77" fmla="*/ 423493 w 603332"/>
                  <a:gd name="connsiteY77" fmla="*/ 449421 h 488078"/>
                  <a:gd name="connsiteX78" fmla="*/ 421764 w 603332"/>
                  <a:gd name="connsiteY78" fmla="*/ 454607 h 488078"/>
                  <a:gd name="connsiteX79" fmla="*/ 416579 w 603332"/>
                  <a:gd name="connsiteY79" fmla="*/ 463250 h 488078"/>
                  <a:gd name="connsiteX80" fmla="*/ 388922 w 603332"/>
                  <a:gd name="connsiteY80" fmla="*/ 461521 h 488078"/>
                  <a:gd name="connsiteX81" fmla="*/ 380279 w 603332"/>
                  <a:gd name="connsiteY81" fmla="*/ 458064 h 488078"/>
                  <a:gd name="connsiteX82" fmla="*/ 350894 w 603332"/>
                  <a:gd name="connsiteY82" fmla="*/ 459792 h 488078"/>
                  <a:gd name="connsiteX83" fmla="*/ 342251 w 603332"/>
                  <a:gd name="connsiteY83" fmla="*/ 463250 h 488078"/>
                  <a:gd name="connsiteX84" fmla="*/ 335337 w 603332"/>
                  <a:gd name="connsiteY84" fmla="*/ 466707 h 488078"/>
                  <a:gd name="connsiteX85" fmla="*/ 328423 w 603332"/>
                  <a:gd name="connsiteY85" fmla="*/ 468435 h 488078"/>
                  <a:gd name="connsiteX86" fmla="*/ 326694 w 603332"/>
                  <a:gd name="connsiteY86" fmla="*/ 473621 h 488078"/>
                  <a:gd name="connsiteX87" fmla="*/ 324966 w 603332"/>
                  <a:gd name="connsiteY87" fmla="*/ 487449 h 488078"/>
                  <a:gd name="connsiteX88" fmla="*/ 318052 w 603332"/>
                  <a:gd name="connsiteY88" fmla="*/ 485721 h 488078"/>
                  <a:gd name="connsiteX89" fmla="*/ 312866 w 603332"/>
                  <a:gd name="connsiteY89" fmla="*/ 477078 h 488078"/>
                  <a:gd name="connsiteX90" fmla="*/ 311138 w 603332"/>
                  <a:gd name="connsiteY90" fmla="*/ 471892 h 488078"/>
                  <a:gd name="connsiteX91" fmla="*/ 305952 w 603332"/>
                  <a:gd name="connsiteY91" fmla="*/ 468435 h 488078"/>
                  <a:gd name="connsiteX92" fmla="*/ 304223 w 603332"/>
                  <a:gd name="connsiteY92" fmla="*/ 447693 h 488078"/>
                  <a:gd name="connsiteX93" fmla="*/ 292124 w 603332"/>
                  <a:gd name="connsiteY93" fmla="*/ 437321 h 488078"/>
                  <a:gd name="connsiteX94" fmla="*/ 286938 w 603332"/>
                  <a:gd name="connsiteY94" fmla="*/ 432136 h 488078"/>
                  <a:gd name="connsiteX95" fmla="*/ 283481 w 603332"/>
                  <a:gd name="connsiteY95" fmla="*/ 425222 h 488078"/>
                  <a:gd name="connsiteX96" fmla="*/ 276567 w 603332"/>
                  <a:gd name="connsiteY96" fmla="*/ 421764 h 488078"/>
                  <a:gd name="connsiteX97" fmla="*/ 250639 w 603332"/>
                  <a:gd name="connsiteY97" fmla="*/ 414850 h 488078"/>
                  <a:gd name="connsiteX98" fmla="*/ 247181 w 603332"/>
                  <a:gd name="connsiteY98" fmla="*/ 411393 h 488078"/>
                  <a:gd name="connsiteX99" fmla="*/ 217796 w 603332"/>
                  <a:gd name="connsiteY99" fmla="*/ 409665 h 488078"/>
                  <a:gd name="connsiteX100" fmla="*/ 210882 w 603332"/>
                  <a:gd name="connsiteY100" fmla="*/ 407936 h 488078"/>
                  <a:gd name="connsiteX101" fmla="*/ 209153 w 603332"/>
                  <a:gd name="connsiteY101" fmla="*/ 399293 h 488078"/>
                  <a:gd name="connsiteX102" fmla="*/ 205696 w 603332"/>
                  <a:gd name="connsiteY102" fmla="*/ 378551 h 488078"/>
                  <a:gd name="connsiteX103" fmla="*/ 214339 w 603332"/>
                  <a:gd name="connsiteY103" fmla="*/ 364722 h 488078"/>
                  <a:gd name="connsiteX104" fmla="*/ 228167 w 603332"/>
                  <a:gd name="connsiteY104" fmla="*/ 352623 h 488078"/>
                  <a:gd name="connsiteX105" fmla="*/ 224710 w 603332"/>
                  <a:gd name="connsiteY105" fmla="*/ 338794 h 488078"/>
                  <a:gd name="connsiteX106" fmla="*/ 226439 w 603332"/>
                  <a:gd name="connsiteY106" fmla="*/ 321509 h 488078"/>
                  <a:gd name="connsiteX107" fmla="*/ 210882 w 603332"/>
                  <a:gd name="connsiteY107" fmla="*/ 318052 h 488078"/>
                  <a:gd name="connsiteX108" fmla="*/ 200511 w 603332"/>
                  <a:gd name="connsiteY108" fmla="*/ 314595 h 488078"/>
                  <a:gd name="connsiteX109" fmla="*/ 188411 w 603332"/>
                  <a:gd name="connsiteY109" fmla="*/ 311138 h 488078"/>
                  <a:gd name="connsiteX110" fmla="*/ 169397 w 603332"/>
                  <a:gd name="connsiteY110" fmla="*/ 302495 h 488078"/>
                  <a:gd name="connsiteX111" fmla="*/ 157297 w 603332"/>
                  <a:gd name="connsiteY111" fmla="*/ 297309 h 488078"/>
                  <a:gd name="connsiteX112" fmla="*/ 145197 w 603332"/>
                  <a:gd name="connsiteY112" fmla="*/ 299038 h 488078"/>
                  <a:gd name="connsiteX113" fmla="*/ 134826 w 603332"/>
                  <a:gd name="connsiteY113" fmla="*/ 302495 h 488078"/>
                  <a:gd name="connsiteX114" fmla="*/ 98527 w 603332"/>
                  <a:gd name="connsiteY114" fmla="*/ 299038 h 488078"/>
                  <a:gd name="connsiteX115" fmla="*/ 86427 w 603332"/>
                  <a:gd name="connsiteY115" fmla="*/ 292124 h 488078"/>
                  <a:gd name="connsiteX116" fmla="*/ 77784 w 603332"/>
                  <a:gd name="connsiteY116" fmla="*/ 290395 h 488078"/>
                  <a:gd name="connsiteX117" fmla="*/ 70870 w 603332"/>
                  <a:gd name="connsiteY117" fmla="*/ 276567 h 488078"/>
                  <a:gd name="connsiteX118" fmla="*/ 44942 w 603332"/>
                  <a:gd name="connsiteY118" fmla="*/ 271381 h 488078"/>
                  <a:gd name="connsiteX119" fmla="*/ 43213 w 603332"/>
                  <a:gd name="connsiteY119" fmla="*/ 257553 h 488078"/>
                  <a:gd name="connsiteX120" fmla="*/ 36299 w 603332"/>
                  <a:gd name="connsiteY120" fmla="*/ 241996 h 488078"/>
                  <a:gd name="connsiteX121" fmla="*/ 32842 w 603332"/>
                  <a:gd name="connsiteY121" fmla="*/ 236810 h 488078"/>
                  <a:gd name="connsiteX122" fmla="*/ 24199 w 603332"/>
                  <a:gd name="connsiteY122" fmla="*/ 222982 h 488078"/>
                  <a:gd name="connsiteX123" fmla="*/ 19014 w 603332"/>
                  <a:gd name="connsiteY123" fmla="*/ 219525 h 488078"/>
                  <a:gd name="connsiteX124" fmla="*/ 20742 w 603332"/>
                  <a:gd name="connsiteY124" fmla="*/ 209153 h 488078"/>
                  <a:gd name="connsiteX125" fmla="*/ 15557 w 603332"/>
                  <a:gd name="connsiteY125" fmla="*/ 197054 h 488078"/>
                  <a:gd name="connsiteX126" fmla="*/ 10371 w 603332"/>
                  <a:gd name="connsiteY126" fmla="*/ 190140 h 488078"/>
                  <a:gd name="connsiteX127" fmla="*/ 8642 w 603332"/>
                  <a:gd name="connsiteY127" fmla="*/ 184954 h 488078"/>
                  <a:gd name="connsiteX128" fmla="*/ 3457 w 603332"/>
                  <a:gd name="connsiteY128" fmla="*/ 181497 h 488078"/>
                  <a:gd name="connsiteX129" fmla="*/ 1728 w 603332"/>
                  <a:gd name="connsiteY129" fmla="*/ 155569 h 488078"/>
                  <a:gd name="connsiteX130" fmla="*/ 0 w 603332"/>
                  <a:gd name="connsiteY130" fmla="*/ 141740 h 488078"/>
                  <a:gd name="connsiteX131" fmla="*/ 3457 w 603332"/>
                  <a:gd name="connsiteY131" fmla="*/ 136555 h 488078"/>
                  <a:gd name="connsiteX132" fmla="*/ 13828 w 603332"/>
                  <a:gd name="connsiteY132" fmla="*/ 117541 h 488078"/>
                  <a:gd name="connsiteX133" fmla="*/ 29385 w 603332"/>
                  <a:gd name="connsiteY133" fmla="*/ 101984 h 488078"/>
                  <a:gd name="connsiteX134" fmla="*/ 34570 w 603332"/>
                  <a:gd name="connsiteY134" fmla="*/ 96798 h 488078"/>
                  <a:gd name="connsiteX135" fmla="*/ 44942 w 603332"/>
                  <a:gd name="connsiteY135" fmla="*/ 89884 h 488078"/>
                  <a:gd name="connsiteX136" fmla="*/ 50127 w 603332"/>
                  <a:gd name="connsiteY136" fmla="*/ 86427 h 488078"/>
                  <a:gd name="connsiteX137" fmla="*/ 72598 w 603332"/>
                  <a:gd name="connsiteY137" fmla="*/ 77784 h 488078"/>
                  <a:gd name="connsiteX138" fmla="*/ 86427 w 603332"/>
                  <a:gd name="connsiteY138" fmla="*/ 62227 h 488078"/>
                  <a:gd name="connsiteX139" fmla="*/ 93341 w 603332"/>
                  <a:gd name="connsiteY139" fmla="*/ 60499 h 488078"/>
                  <a:gd name="connsiteX140" fmla="*/ 145197 w 603332"/>
                  <a:gd name="connsiteY140" fmla="*/ 60499 h 488078"/>
                  <a:gd name="connsiteX141" fmla="*/ 146926 w 603332"/>
                  <a:gd name="connsiteY141" fmla="*/ 67413 h 488078"/>
                  <a:gd name="connsiteX142" fmla="*/ 150383 w 603332"/>
                  <a:gd name="connsiteY142" fmla="*/ 72598 h 488078"/>
                  <a:gd name="connsiteX143" fmla="*/ 159026 w 603332"/>
                  <a:gd name="connsiteY143" fmla="*/ 57042 h 488078"/>
                  <a:gd name="connsiteX144" fmla="*/ 169397 w 603332"/>
                  <a:gd name="connsiteY144" fmla="*/ 46670 h 488078"/>
                  <a:gd name="connsiteX145" fmla="*/ 181497 w 603332"/>
                  <a:gd name="connsiteY145" fmla="*/ 48399 h 488078"/>
                  <a:gd name="connsiteX146" fmla="*/ 186682 w 603332"/>
                  <a:gd name="connsiteY146" fmla="*/ 60499 h 488078"/>
                  <a:gd name="connsiteX147" fmla="*/ 184954 w 603332"/>
                  <a:gd name="connsiteY147" fmla="*/ 70870 h 488078"/>
                  <a:gd name="connsiteX148" fmla="*/ 200511 w 603332"/>
                  <a:gd name="connsiteY148" fmla="*/ 69141 h 488078"/>
                  <a:gd name="connsiteX149" fmla="*/ 205696 w 603332"/>
                  <a:gd name="connsiteY149" fmla="*/ 63956 h 488078"/>
                  <a:gd name="connsiteX150" fmla="*/ 207425 w 603332"/>
                  <a:gd name="connsiteY150" fmla="*/ 44942 h 488078"/>
                  <a:gd name="connsiteX151" fmla="*/ 214339 w 603332"/>
                  <a:gd name="connsiteY151" fmla="*/ 39756 h 488078"/>
                  <a:gd name="connsiteX152" fmla="*/ 278295 w 603332"/>
                  <a:gd name="connsiteY152" fmla="*/ 41485 h 488078"/>
                  <a:gd name="connsiteX153" fmla="*/ 286938 w 603332"/>
                  <a:gd name="connsiteY153" fmla="*/ 43213 h 488078"/>
                  <a:gd name="connsiteX154" fmla="*/ 293852 w 603332"/>
                  <a:gd name="connsiteY154" fmla="*/ 44942 h 488078"/>
                  <a:gd name="connsiteX155" fmla="*/ 321509 w 603332"/>
                  <a:gd name="connsiteY155" fmla="*/ 43213 h 488078"/>
                  <a:gd name="connsiteX156" fmla="*/ 328423 w 603332"/>
                  <a:gd name="connsiteY156" fmla="*/ 34571 h 488078"/>
                  <a:gd name="connsiteX157" fmla="*/ 343980 w 603332"/>
                  <a:gd name="connsiteY157" fmla="*/ 25928 h 488078"/>
                  <a:gd name="connsiteX158" fmla="*/ 350894 w 603332"/>
                  <a:gd name="connsiteY158" fmla="*/ 15557 h 488078"/>
                  <a:gd name="connsiteX159" fmla="*/ 352623 w 603332"/>
                  <a:gd name="connsiteY159" fmla="*/ 8642 h 488078"/>
                  <a:gd name="connsiteX160" fmla="*/ 357808 w 603332"/>
                  <a:gd name="connsiteY160" fmla="*/ 5185 h 488078"/>
                  <a:gd name="connsiteX161" fmla="*/ 364722 w 603332"/>
                  <a:gd name="connsiteY161" fmla="*/ 0 h 488078"/>
                  <a:gd name="connsiteX0" fmla="*/ 364722 w 603332"/>
                  <a:gd name="connsiteY0" fmla="*/ 0 h 488078"/>
                  <a:gd name="connsiteX1" fmla="*/ 368180 w 603332"/>
                  <a:gd name="connsiteY1" fmla="*/ 8642 h 488078"/>
                  <a:gd name="connsiteX2" fmla="*/ 373365 w 603332"/>
                  <a:gd name="connsiteY2" fmla="*/ 15557 h 488078"/>
                  <a:gd name="connsiteX3" fmla="*/ 376822 w 603332"/>
                  <a:gd name="connsiteY3" fmla="*/ 20742 h 488078"/>
                  <a:gd name="connsiteX4" fmla="*/ 380279 w 603332"/>
                  <a:gd name="connsiteY4" fmla="*/ 27656 h 488078"/>
                  <a:gd name="connsiteX5" fmla="*/ 388922 w 603332"/>
                  <a:gd name="connsiteY5" fmla="*/ 36299 h 488078"/>
                  <a:gd name="connsiteX6" fmla="*/ 392379 w 603332"/>
                  <a:gd name="connsiteY6" fmla="*/ 43213 h 488078"/>
                  <a:gd name="connsiteX7" fmla="*/ 459792 w 603332"/>
                  <a:gd name="connsiteY7" fmla="*/ 44942 h 488078"/>
                  <a:gd name="connsiteX8" fmla="*/ 464978 w 603332"/>
                  <a:gd name="connsiteY8" fmla="*/ 48399 h 488078"/>
                  <a:gd name="connsiteX9" fmla="*/ 466707 w 603332"/>
                  <a:gd name="connsiteY9" fmla="*/ 53584 h 488078"/>
                  <a:gd name="connsiteX10" fmla="*/ 477078 w 603332"/>
                  <a:gd name="connsiteY10" fmla="*/ 60499 h 488078"/>
                  <a:gd name="connsiteX11" fmla="*/ 496092 w 603332"/>
                  <a:gd name="connsiteY11" fmla="*/ 62227 h 488078"/>
                  <a:gd name="connsiteX12" fmla="*/ 501277 w 603332"/>
                  <a:gd name="connsiteY12" fmla="*/ 65684 h 488078"/>
                  <a:gd name="connsiteX13" fmla="*/ 503006 w 603332"/>
                  <a:gd name="connsiteY13" fmla="*/ 70870 h 488078"/>
                  <a:gd name="connsiteX14" fmla="*/ 506463 w 603332"/>
                  <a:gd name="connsiteY14" fmla="*/ 76056 h 488078"/>
                  <a:gd name="connsiteX15" fmla="*/ 508192 w 603332"/>
                  <a:gd name="connsiteY15" fmla="*/ 82970 h 488078"/>
                  <a:gd name="connsiteX16" fmla="*/ 513377 w 603332"/>
                  <a:gd name="connsiteY16" fmla="*/ 88155 h 488078"/>
                  <a:gd name="connsiteX17" fmla="*/ 518563 w 603332"/>
                  <a:gd name="connsiteY17" fmla="*/ 95070 h 488078"/>
                  <a:gd name="connsiteX18" fmla="*/ 530663 w 603332"/>
                  <a:gd name="connsiteY18" fmla="*/ 105441 h 488078"/>
                  <a:gd name="connsiteX19" fmla="*/ 563505 w 603332"/>
                  <a:gd name="connsiteY19" fmla="*/ 101984 h 488078"/>
                  <a:gd name="connsiteX20" fmla="*/ 568691 w 603332"/>
                  <a:gd name="connsiteY20" fmla="*/ 100255 h 488078"/>
                  <a:gd name="connsiteX21" fmla="*/ 570419 w 603332"/>
                  <a:gd name="connsiteY21" fmla="*/ 107169 h 488078"/>
                  <a:gd name="connsiteX22" fmla="*/ 572148 w 603332"/>
                  <a:gd name="connsiteY22" fmla="*/ 115812 h 488078"/>
                  <a:gd name="connsiteX23" fmla="*/ 579062 w 603332"/>
                  <a:gd name="connsiteY23" fmla="*/ 131369 h 488078"/>
                  <a:gd name="connsiteX24" fmla="*/ 580791 w 603332"/>
                  <a:gd name="connsiteY24" fmla="*/ 140012 h 488078"/>
                  <a:gd name="connsiteX25" fmla="*/ 580791 w 603332"/>
                  <a:gd name="connsiteY25" fmla="*/ 150383 h 488078"/>
                  <a:gd name="connsiteX26" fmla="*/ 575605 w 603332"/>
                  <a:gd name="connsiteY26" fmla="*/ 152112 h 488078"/>
                  <a:gd name="connsiteX27" fmla="*/ 573876 w 603332"/>
                  <a:gd name="connsiteY27" fmla="*/ 157297 h 488078"/>
                  <a:gd name="connsiteX28" fmla="*/ 577333 w 603332"/>
                  <a:gd name="connsiteY28" fmla="*/ 167668 h 488078"/>
                  <a:gd name="connsiteX29" fmla="*/ 585976 w 603332"/>
                  <a:gd name="connsiteY29" fmla="*/ 165940 h 488078"/>
                  <a:gd name="connsiteX30" fmla="*/ 598076 w 603332"/>
                  <a:gd name="connsiteY30" fmla="*/ 162483 h 488078"/>
                  <a:gd name="connsiteX31" fmla="*/ 603262 w 603332"/>
                  <a:gd name="connsiteY31" fmla="*/ 165940 h 488078"/>
                  <a:gd name="connsiteX32" fmla="*/ 582519 w 603332"/>
                  <a:gd name="connsiteY32" fmla="*/ 184954 h 488078"/>
                  <a:gd name="connsiteX33" fmla="*/ 579062 w 603332"/>
                  <a:gd name="connsiteY33" fmla="*/ 190140 h 488078"/>
                  <a:gd name="connsiteX34" fmla="*/ 577333 w 603332"/>
                  <a:gd name="connsiteY34" fmla="*/ 198782 h 488078"/>
                  <a:gd name="connsiteX35" fmla="*/ 572148 w 603332"/>
                  <a:gd name="connsiteY35" fmla="*/ 200511 h 488078"/>
                  <a:gd name="connsiteX36" fmla="*/ 565234 w 603332"/>
                  <a:gd name="connsiteY36" fmla="*/ 205696 h 488078"/>
                  <a:gd name="connsiteX37" fmla="*/ 563505 w 603332"/>
                  <a:gd name="connsiteY37" fmla="*/ 212611 h 488078"/>
                  <a:gd name="connsiteX38" fmla="*/ 560048 w 603332"/>
                  <a:gd name="connsiteY38" fmla="*/ 217796 h 488078"/>
                  <a:gd name="connsiteX39" fmla="*/ 558319 w 603332"/>
                  <a:gd name="connsiteY39" fmla="*/ 229896 h 488078"/>
                  <a:gd name="connsiteX40" fmla="*/ 556591 w 603332"/>
                  <a:gd name="connsiteY40" fmla="*/ 235082 h 488078"/>
                  <a:gd name="connsiteX41" fmla="*/ 551405 w 603332"/>
                  <a:gd name="connsiteY41" fmla="*/ 238539 h 488078"/>
                  <a:gd name="connsiteX42" fmla="*/ 528934 w 603332"/>
                  <a:gd name="connsiteY42" fmla="*/ 247181 h 488078"/>
                  <a:gd name="connsiteX43" fmla="*/ 515106 w 603332"/>
                  <a:gd name="connsiteY43" fmla="*/ 248910 h 488078"/>
                  <a:gd name="connsiteX44" fmla="*/ 508192 w 603332"/>
                  <a:gd name="connsiteY44" fmla="*/ 247181 h 488078"/>
                  <a:gd name="connsiteX45" fmla="*/ 506463 w 603332"/>
                  <a:gd name="connsiteY45" fmla="*/ 241996 h 488078"/>
                  <a:gd name="connsiteX46" fmla="*/ 503006 w 603332"/>
                  <a:gd name="connsiteY46" fmla="*/ 233353 h 488078"/>
                  <a:gd name="connsiteX47" fmla="*/ 494363 w 603332"/>
                  <a:gd name="connsiteY47" fmla="*/ 226439 h 488078"/>
                  <a:gd name="connsiteX48" fmla="*/ 489178 w 603332"/>
                  <a:gd name="connsiteY48" fmla="*/ 221253 h 488078"/>
                  <a:gd name="connsiteX49" fmla="*/ 506463 w 603332"/>
                  <a:gd name="connsiteY49" fmla="*/ 229896 h 488078"/>
                  <a:gd name="connsiteX50" fmla="*/ 508192 w 603332"/>
                  <a:gd name="connsiteY50" fmla="*/ 241996 h 488078"/>
                  <a:gd name="connsiteX51" fmla="*/ 513377 w 603332"/>
                  <a:gd name="connsiteY51" fmla="*/ 248910 h 488078"/>
                  <a:gd name="connsiteX52" fmla="*/ 516834 w 603332"/>
                  <a:gd name="connsiteY52" fmla="*/ 257553 h 488078"/>
                  <a:gd name="connsiteX53" fmla="*/ 515106 w 603332"/>
                  <a:gd name="connsiteY53" fmla="*/ 274838 h 488078"/>
                  <a:gd name="connsiteX54" fmla="*/ 515106 w 603332"/>
                  <a:gd name="connsiteY54" fmla="*/ 290395 h 488078"/>
                  <a:gd name="connsiteX55" fmla="*/ 523749 w 603332"/>
                  <a:gd name="connsiteY55" fmla="*/ 304223 h 488078"/>
                  <a:gd name="connsiteX56" fmla="*/ 527206 w 603332"/>
                  <a:gd name="connsiteY56" fmla="*/ 316323 h 488078"/>
                  <a:gd name="connsiteX57" fmla="*/ 518563 w 603332"/>
                  <a:gd name="connsiteY57" fmla="*/ 326695 h 488078"/>
                  <a:gd name="connsiteX58" fmla="*/ 513377 w 603332"/>
                  <a:gd name="connsiteY58" fmla="*/ 331880 h 488078"/>
                  <a:gd name="connsiteX59" fmla="*/ 511649 w 603332"/>
                  <a:gd name="connsiteY59" fmla="*/ 338794 h 488078"/>
                  <a:gd name="connsiteX60" fmla="*/ 508192 w 603332"/>
                  <a:gd name="connsiteY60" fmla="*/ 356080 h 488078"/>
                  <a:gd name="connsiteX61" fmla="*/ 511649 w 603332"/>
                  <a:gd name="connsiteY61" fmla="*/ 362994 h 488078"/>
                  <a:gd name="connsiteX62" fmla="*/ 539305 w 603332"/>
                  <a:gd name="connsiteY62" fmla="*/ 368180 h 488078"/>
                  <a:gd name="connsiteX63" fmla="*/ 541034 w 603332"/>
                  <a:gd name="connsiteY63" fmla="*/ 373365 h 488078"/>
                  <a:gd name="connsiteX64" fmla="*/ 534120 w 603332"/>
                  <a:gd name="connsiteY64" fmla="*/ 387194 h 488078"/>
                  <a:gd name="connsiteX65" fmla="*/ 528934 w 603332"/>
                  <a:gd name="connsiteY65" fmla="*/ 388922 h 488078"/>
                  <a:gd name="connsiteX66" fmla="*/ 522020 w 603332"/>
                  <a:gd name="connsiteY66" fmla="*/ 387194 h 488078"/>
                  <a:gd name="connsiteX67" fmla="*/ 513377 w 603332"/>
                  <a:gd name="connsiteY67" fmla="*/ 382008 h 488078"/>
                  <a:gd name="connsiteX68" fmla="*/ 504735 w 603332"/>
                  <a:gd name="connsiteY68" fmla="*/ 390651 h 488078"/>
                  <a:gd name="connsiteX69" fmla="*/ 499549 w 603332"/>
                  <a:gd name="connsiteY69" fmla="*/ 402750 h 488078"/>
                  <a:gd name="connsiteX70" fmla="*/ 494363 w 603332"/>
                  <a:gd name="connsiteY70" fmla="*/ 407936 h 488078"/>
                  <a:gd name="connsiteX71" fmla="*/ 463250 w 603332"/>
                  <a:gd name="connsiteY71" fmla="*/ 413122 h 488078"/>
                  <a:gd name="connsiteX72" fmla="*/ 444236 w 603332"/>
                  <a:gd name="connsiteY72" fmla="*/ 420036 h 488078"/>
                  <a:gd name="connsiteX73" fmla="*/ 440778 w 603332"/>
                  <a:gd name="connsiteY73" fmla="*/ 432136 h 488078"/>
                  <a:gd name="connsiteX74" fmla="*/ 442507 w 603332"/>
                  <a:gd name="connsiteY74" fmla="*/ 439050 h 488078"/>
                  <a:gd name="connsiteX75" fmla="*/ 430407 w 603332"/>
                  <a:gd name="connsiteY75" fmla="*/ 445964 h 488078"/>
                  <a:gd name="connsiteX76" fmla="*/ 423493 w 603332"/>
                  <a:gd name="connsiteY76" fmla="*/ 449421 h 488078"/>
                  <a:gd name="connsiteX77" fmla="*/ 421764 w 603332"/>
                  <a:gd name="connsiteY77" fmla="*/ 454607 h 488078"/>
                  <a:gd name="connsiteX78" fmla="*/ 416579 w 603332"/>
                  <a:gd name="connsiteY78" fmla="*/ 463250 h 488078"/>
                  <a:gd name="connsiteX79" fmla="*/ 388922 w 603332"/>
                  <a:gd name="connsiteY79" fmla="*/ 461521 h 488078"/>
                  <a:gd name="connsiteX80" fmla="*/ 380279 w 603332"/>
                  <a:gd name="connsiteY80" fmla="*/ 458064 h 488078"/>
                  <a:gd name="connsiteX81" fmla="*/ 350894 w 603332"/>
                  <a:gd name="connsiteY81" fmla="*/ 459792 h 488078"/>
                  <a:gd name="connsiteX82" fmla="*/ 342251 w 603332"/>
                  <a:gd name="connsiteY82" fmla="*/ 463250 h 488078"/>
                  <a:gd name="connsiteX83" fmla="*/ 335337 w 603332"/>
                  <a:gd name="connsiteY83" fmla="*/ 466707 h 488078"/>
                  <a:gd name="connsiteX84" fmla="*/ 328423 w 603332"/>
                  <a:gd name="connsiteY84" fmla="*/ 468435 h 488078"/>
                  <a:gd name="connsiteX85" fmla="*/ 326694 w 603332"/>
                  <a:gd name="connsiteY85" fmla="*/ 473621 h 488078"/>
                  <a:gd name="connsiteX86" fmla="*/ 324966 w 603332"/>
                  <a:gd name="connsiteY86" fmla="*/ 487449 h 488078"/>
                  <a:gd name="connsiteX87" fmla="*/ 318052 w 603332"/>
                  <a:gd name="connsiteY87" fmla="*/ 485721 h 488078"/>
                  <a:gd name="connsiteX88" fmla="*/ 312866 w 603332"/>
                  <a:gd name="connsiteY88" fmla="*/ 477078 h 488078"/>
                  <a:gd name="connsiteX89" fmla="*/ 311138 w 603332"/>
                  <a:gd name="connsiteY89" fmla="*/ 471892 h 488078"/>
                  <a:gd name="connsiteX90" fmla="*/ 305952 w 603332"/>
                  <a:gd name="connsiteY90" fmla="*/ 468435 h 488078"/>
                  <a:gd name="connsiteX91" fmla="*/ 304223 w 603332"/>
                  <a:gd name="connsiteY91" fmla="*/ 447693 h 488078"/>
                  <a:gd name="connsiteX92" fmla="*/ 292124 w 603332"/>
                  <a:gd name="connsiteY92" fmla="*/ 437321 h 488078"/>
                  <a:gd name="connsiteX93" fmla="*/ 286938 w 603332"/>
                  <a:gd name="connsiteY93" fmla="*/ 432136 h 488078"/>
                  <a:gd name="connsiteX94" fmla="*/ 283481 w 603332"/>
                  <a:gd name="connsiteY94" fmla="*/ 425222 h 488078"/>
                  <a:gd name="connsiteX95" fmla="*/ 276567 w 603332"/>
                  <a:gd name="connsiteY95" fmla="*/ 421764 h 488078"/>
                  <a:gd name="connsiteX96" fmla="*/ 250639 w 603332"/>
                  <a:gd name="connsiteY96" fmla="*/ 414850 h 488078"/>
                  <a:gd name="connsiteX97" fmla="*/ 247181 w 603332"/>
                  <a:gd name="connsiteY97" fmla="*/ 411393 h 488078"/>
                  <a:gd name="connsiteX98" fmla="*/ 217796 w 603332"/>
                  <a:gd name="connsiteY98" fmla="*/ 409665 h 488078"/>
                  <a:gd name="connsiteX99" fmla="*/ 210882 w 603332"/>
                  <a:gd name="connsiteY99" fmla="*/ 407936 h 488078"/>
                  <a:gd name="connsiteX100" fmla="*/ 209153 w 603332"/>
                  <a:gd name="connsiteY100" fmla="*/ 399293 h 488078"/>
                  <a:gd name="connsiteX101" fmla="*/ 205696 w 603332"/>
                  <a:gd name="connsiteY101" fmla="*/ 378551 h 488078"/>
                  <a:gd name="connsiteX102" fmla="*/ 214339 w 603332"/>
                  <a:gd name="connsiteY102" fmla="*/ 364722 h 488078"/>
                  <a:gd name="connsiteX103" fmla="*/ 228167 w 603332"/>
                  <a:gd name="connsiteY103" fmla="*/ 352623 h 488078"/>
                  <a:gd name="connsiteX104" fmla="*/ 224710 w 603332"/>
                  <a:gd name="connsiteY104" fmla="*/ 338794 h 488078"/>
                  <a:gd name="connsiteX105" fmla="*/ 226439 w 603332"/>
                  <a:gd name="connsiteY105" fmla="*/ 321509 h 488078"/>
                  <a:gd name="connsiteX106" fmla="*/ 210882 w 603332"/>
                  <a:gd name="connsiteY106" fmla="*/ 318052 h 488078"/>
                  <a:gd name="connsiteX107" fmla="*/ 200511 w 603332"/>
                  <a:gd name="connsiteY107" fmla="*/ 314595 h 488078"/>
                  <a:gd name="connsiteX108" fmla="*/ 188411 w 603332"/>
                  <a:gd name="connsiteY108" fmla="*/ 311138 h 488078"/>
                  <a:gd name="connsiteX109" fmla="*/ 169397 w 603332"/>
                  <a:gd name="connsiteY109" fmla="*/ 302495 h 488078"/>
                  <a:gd name="connsiteX110" fmla="*/ 157297 w 603332"/>
                  <a:gd name="connsiteY110" fmla="*/ 297309 h 488078"/>
                  <a:gd name="connsiteX111" fmla="*/ 145197 w 603332"/>
                  <a:gd name="connsiteY111" fmla="*/ 299038 h 488078"/>
                  <a:gd name="connsiteX112" fmla="*/ 134826 w 603332"/>
                  <a:gd name="connsiteY112" fmla="*/ 302495 h 488078"/>
                  <a:gd name="connsiteX113" fmla="*/ 98527 w 603332"/>
                  <a:gd name="connsiteY113" fmla="*/ 299038 h 488078"/>
                  <a:gd name="connsiteX114" fmla="*/ 86427 w 603332"/>
                  <a:gd name="connsiteY114" fmla="*/ 292124 h 488078"/>
                  <a:gd name="connsiteX115" fmla="*/ 77784 w 603332"/>
                  <a:gd name="connsiteY115" fmla="*/ 290395 h 488078"/>
                  <a:gd name="connsiteX116" fmla="*/ 70870 w 603332"/>
                  <a:gd name="connsiteY116" fmla="*/ 276567 h 488078"/>
                  <a:gd name="connsiteX117" fmla="*/ 44942 w 603332"/>
                  <a:gd name="connsiteY117" fmla="*/ 271381 h 488078"/>
                  <a:gd name="connsiteX118" fmla="*/ 43213 w 603332"/>
                  <a:gd name="connsiteY118" fmla="*/ 257553 h 488078"/>
                  <a:gd name="connsiteX119" fmla="*/ 36299 w 603332"/>
                  <a:gd name="connsiteY119" fmla="*/ 241996 h 488078"/>
                  <a:gd name="connsiteX120" fmla="*/ 32842 w 603332"/>
                  <a:gd name="connsiteY120" fmla="*/ 236810 h 488078"/>
                  <a:gd name="connsiteX121" fmla="*/ 24199 w 603332"/>
                  <a:gd name="connsiteY121" fmla="*/ 222982 h 488078"/>
                  <a:gd name="connsiteX122" fmla="*/ 19014 w 603332"/>
                  <a:gd name="connsiteY122" fmla="*/ 219525 h 488078"/>
                  <a:gd name="connsiteX123" fmla="*/ 20742 w 603332"/>
                  <a:gd name="connsiteY123" fmla="*/ 209153 h 488078"/>
                  <a:gd name="connsiteX124" fmla="*/ 15557 w 603332"/>
                  <a:gd name="connsiteY124" fmla="*/ 197054 h 488078"/>
                  <a:gd name="connsiteX125" fmla="*/ 10371 w 603332"/>
                  <a:gd name="connsiteY125" fmla="*/ 190140 h 488078"/>
                  <a:gd name="connsiteX126" fmla="*/ 8642 w 603332"/>
                  <a:gd name="connsiteY126" fmla="*/ 184954 h 488078"/>
                  <a:gd name="connsiteX127" fmla="*/ 3457 w 603332"/>
                  <a:gd name="connsiteY127" fmla="*/ 181497 h 488078"/>
                  <a:gd name="connsiteX128" fmla="*/ 1728 w 603332"/>
                  <a:gd name="connsiteY128" fmla="*/ 155569 h 488078"/>
                  <a:gd name="connsiteX129" fmla="*/ 0 w 603332"/>
                  <a:gd name="connsiteY129" fmla="*/ 141740 h 488078"/>
                  <a:gd name="connsiteX130" fmla="*/ 3457 w 603332"/>
                  <a:gd name="connsiteY130" fmla="*/ 136555 h 488078"/>
                  <a:gd name="connsiteX131" fmla="*/ 13828 w 603332"/>
                  <a:gd name="connsiteY131" fmla="*/ 117541 h 488078"/>
                  <a:gd name="connsiteX132" fmla="*/ 29385 w 603332"/>
                  <a:gd name="connsiteY132" fmla="*/ 101984 h 488078"/>
                  <a:gd name="connsiteX133" fmla="*/ 34570 w 603332"/>
                  <a:gd name="connsiteY133" fmla="*/ 96798 h 488078"/>
                  <a:gd name="connsiteX134" fmla="*/ 44942 w 603332"/>
                  <a:gd name="connsiteY134" fmla="*/ 89884 h 488078"/>
                  <a:gd name="connsiteX135" fmla="*/ 50127 w 603332"/>
                  <a:gd name="connsiteY135" fmla="*/ 86427 h 488078"/>
                  <a:gd name="connsiteX136" fmla="*/ 72598 w 603332"/>
                  <a:gd name="connsiteY136" fmla="*/ 77784 h 488078"/>
                  <a:gd name="connsiteX137" fmla="*/ 86427 w 603332"/>
                  <a:gd name="connsiteY137" fmla="*/ 62227 h 488078"/>
                  <a:gd name="connsiteX138" fmla="*/ 93341 w 603332"/>
                  <a:gd name="connsiteY138" fmla="*/ 60499 h 488078"/>
                  <a:gd name="connsiteX139" fmla="*/ 145197 w 603332"/>
                  <a:gd name="connsiteY139" fmla="*/ 60499 h 488078"/>
                  <a:gd name="connsiteX140" fmla="*/ 146926 w 603332"/>
                  <a:gd name="connsiteY140" fmla="*/ 67413 h 488078"/>
                  <a:gd name="connsiteX141" fmla="*/ 150383 w 603332"/>
                  <a:gd name="connsiteY141" fmla="*/ 72598 h 488078"/>
                  <a:gd name="connsiteX142" fmla="*/ 159026 w 603332"/>
                  <a:gd name="connsiteY142" fmla="*/ 57042 h 488078"/>
                  <a:gd name="connsiteX143" fmla="*/ 169397 w 603332"/>
                  <a:gd name="connsiteY143" fmla="*/ 46670 h 488078"/>
                  <a:gd name="connsiteX144" fmla="*/ 181497 w 603332"/>
                  <a:gd name="connsiteY144" fmla="*/ 48399 h 488078"/>
                  <a:gd name="connsiteX145" fmla="*/ 186682 w 603332"/>
                  <a:gd name="connsiteY145" fmla="*/ 60499 h 488078"/>
                  <a:gd name="connsiteX146" fmla="*/ 184954 w 603332"/>
                  <a:gd name="connsiteY146" fmla="*/ 70870 h 488078"/>
                  <a:gd name="connsiteX147" fmla="*/ 200511 w 603332"/>
                  <a:gd name="connsiteY147" fmla="*/ 69141 h 488078"/>
                  <a:gd name="connsiteX148" fmla="*/ 205696 w 603332"/>
                  <a:gd name="connsiteY148" fmla="*/ 63956 h 488078"/>
                  <a:gd name="connsiteX149" fmla="*/ 207425 w 603332"/>
                  <a:gd name="connsiteY149" fmla="*/ 44942 h 488078"/>
                  <a:gd name="connsiteX150" fmla="*/ 214339 w 603332"/>
                  <a:gd name="connsiteY150" fmla="*/ 39756 h 488078"/>
                  <a:gd name="connsiteX151" fmla="*/ 278295 w 603332"/>
                  <a:gd name="connsiteY151" fmla="*/ 41485 h 488078"/>
                  <a:gd name="connsiteX152" fmla="*/ 286938 w 603332"/>
                  <a:gd name="connsiteY152" fmla="*/ 43213 h 488078"/>
                  <a:gd name="connsiteX153" fmla="*/ 293852 w 603332"/>
                  <a:gd name="connsiteY153" fmla="*/ 44942 h 488078"/>
                  <a:gd name="connsiteX154" fmla="*/ 321509 w 603332"/>
                  <a:gd name="connsiteY154" fmla="*/ 43213 h 488078"/>
                  <a:gd name="connsiteX155" fmla="*/ 328423 w 603332"/>
                  <a:gd name="connsiteY155" fmla="*/ 34571 h 488078"/>
                  <a:gd name="connsiteX156" fmla="*/ 343980 w 603332"/>
                  <a:gd name="connsiteY156" fmla="*/ 25928 h 488078"/>
                  <a:gd name="connsiteX157" fmla="*/ 350894 w 603332"/>
                  <a:gd name="connsiteY157" fmla="*/ 15557 h 488078"/>
                  <a:gd name="connsiteX158" fmla="*/ 352623 w 603332"/>
                  <a:gd name="connsiteY158" fmla="*/ 8642 h 488078"/>
                  <a:gd name="connsiteX159" fmla="*/ 357808 w 603332"/>
                  <a:gd name="connsiteY159" fmla="*/ 5185 h 488078"/>
                  <a:gd name="connsiteX160" fmla="*/ 364722 w 603332"/>
                  <a:gd name="connsiteY160" fmla="*/ 0 h 488078"/>
                  <a:gd name="connsiteX0" fmla="*/ 364722 w 603332"/>
                  <a:gd name="connsiteY0" fmla="*/ 0 h 488078"/>
                  <a:gd name="connsiteX1" fmla="*/ 368180 w 603332"/>
                  <a:gd name="connsiteY1" fmla="*/ 8642 h 488078"/>
                  <a:gd name="connsiteX2" fmla="*/ 373365 w 603332"/>
                  <a:gd name="connsiteY2" fmla="*/ 15557 h 488078"/>
                  <a:gd name="connsiteX3" fmla="*/ 376822 w 603332"/>
                  <a:gd name="connsiteY3" fmla="*/ 20742 h 488078"/>
                  <a:gd name="connsiteX4" fmla="*/ 380279 w 603332"/>
                  <a:gd name="connsiteY4" fmla="*/ 27656 h 488078"/>
                  <a:gd name="connsiteX5" fmla="*/ 388922 w 603332"/>
                  <a:gd name="connsiteY5" fmla="*/ 36299 h 488078"/>
                  <a:gd name="connsiteX6" fmla="*/ 392379 w 603332"/>
                  <a:gd name="connsiteY6" fmla="*/ 43213 h 488078"/>
                  <a:gd name="connsiteX7" fmla="*/ 459792 w 603332"/>
                  <a:gd name="connsiteY7" fmla="*/ 44942 h 488078"/>
                  <a:gd name="connsiteX8" fmla="*/ 464978 w 603332"/>
                  <a:gd name="connsiteY8" fmla="*/ 48399 h 488078"/>
                  <a:gd name="connsiteX9" fmla="*/ 466707 w 603332"/>
                  <a:gd name="connsiteY9" fmla="*/ 53584 h 488078"/>
                  <a:gd name="connsiteX10" fmla="*/ 477078 w 603332"/>
                  <a:gd name="connsiteY10" fmla="*/ 60499 h 488078"/>
                  <a:gd name="connsiteX11" fmla="*/ 496092 w 603332"/>
                  <a:gd name="connsiteY11" fmla="*/ 62227 h 488078"/>
                  <a:gd name="connsiteX12" fmla="*/ 501277 w 603332"/>
                  <a:gd name="connsiteY12" fmla="*/ 65684 h 488078"/>
                  <a:gd name="connsiteX13" fmla="*/ 503006 w 603332"/>
                  <a:gd name="connsiteY13" fmla="*/ 70870 h 488078"/>
                  <a:gd name="connsiteX14" fmla="*/ 506463 w 603332"/>
                  <a:gd name="connsiteY14" fmla="*/ 76056 h 488078"/>
                  <a:gd name="connsiteX15" fmla="*/ 508192 w 603332"/>
                  <a:gd name="connsiteY15" fmla="*/ 82970 h 488078"/>
                  <a:gd name="connsiteX16" fmla="*/ 513377 w 603332"/>
                  <a:gd name="connsiteY16" fmla="*/ 88155 h 488078"/>
                  <a:gd name="connsiteX17" fmla="*/ 518563 w 603332"/>
                  <a:gd name="connsiteY17" fmla="*/ 95070 h 488078"/>
                  <a:gd name="connsiteX18" fmla="*/ 530663 w 603332"/>
                  <a:gd name="connsiteY18" fmla="*/ 105441 h 488078"/>
                  <a:gd name="connsiteX19" fmla="*/ 563505 w 603332"/>
                  <a:gd name="connsiteY19" fmla="*/ 101984 h 488078"/>
                  <a:gd name="connsiteX20" fmla="*/ 568691 w 603332"/>
                  <a:gd name="connsiteY20" fmla="*/ 100255 h 488078"/>
                  <a:gd name="connsiteX21" fmla="*/ 570419 w 603332"/>
                  <a:gd name="connsiteY21" fmla="*/ 107169 h 488078"/>
                  <a:gd name="connsiteX22" fmla="*/ 572148 w 603332"/>
                  <a:gd name="connsiteY22" fmla="*/ 115812 h 488078"/>
                  <a:gd name="connsiteX23" fmla="*/ 579062 w 603332"/>
                  <a:gd name="connsiteY23" fmla="*/ 131369 h 488078"/>
                  <a:gd name="connsiteX24" fmla="*/ 580791 w 603332"/>
                  <a:gd name="connsiteY24" fmla="*/ 140012 h 488078"/>
                  <a:gd name="connsiteX25" fmla="*/ 580791 w 603332"/>
                  <a:gd name="connsiteY25" fmla="*/ 150383 h 488078"/>
                  <a:gd name="connsiteX26" fmla="*/ 575605 w 603332"/>
                  <a:gd name="connsiteY26" fmla="*/ 152112 h 488078"/>
                  <a:gd name="connsiteX27" fmla="*/ 573876 w 603332"/>
                  <a:gd name="connsiteY27" fmla="*/ 157297 h 488078"/>
                  <a:gd name="connsiteX28" fmla="*/ 577333 w 603332"/>
                  <a:gd name="connsiteY28" fmla="*/ 167668 h 488078"/>
                  <a:gd name="connsiteX29" fmla="*/ 585976 w 603332"/>
                  <a:gd name="connsiteY29" fmla="*/ 165940 h 488078"/>
                  <a:gd name="connsiteX30" fmla="*/ 598076 w 603332"/>
                  <a:gd name="connsiteY30" fmla="*/ 162483 h 488078"/>
                  <a:gd name="connsiteX31" fmla="*/ 603262 w 603332"/>
                  <a:gd name="connsiteY31" fmla="*/ 165940 h 488078"/>
                  <a:gd name="connsiteX32" fmla="*/ 582519 w 603332"/>
                  <a:gd name="connsiteY32" fmla="*/ 184954 h 488078"/>
                  <a:gd name="connsiteX33" fmla="*/ 579062 w 603332"/>
                  <a:gd name="connsiteY33" fmla="*/ 190140 h 488078"/>
                  <a:gd name="connsiteX34" fmla="*/ 577333 w 603332"/>
                  <a:gd name="connsiteY34" fmla="*/ 198782 h 488078"/>
                  <a:gd name="connsiteX35" fmla="*/ 572148 w 603332"/>
                  <a:gd name="connsiteY35" fmla="*/ 200511 h 488078"/>
                  <a:gd name="connsiteX36" fmla="*/ 565234 w 603332"/>
                  <a:gd name="connsiteY36" fmla="*/ 205696 h 488078"/>
                  <a:gd name="connsiteX37" fmla="*/ 563505 w 603332"/>
                  <a:gd name="connsiteY37" fmla="*/ 212611 h 488078"/>
                  <a:gd name="connsiteX38" fmla="*/ 560048 w 603332"/>
                  <a:gd name="connsiteY38" fmla="*/ 217796 h 488078"/>
                  <a:gd name="connsiteX39" fmla="*/ 558319 w 603332"/>
                  <a:gd name="connsiteY39" fmla="*/ 229896 h 488078"/>
                  <a:gd name="connsiteX40" fmla="*/ 556591 w 603332"/>
                  <a:gd name="connsiteY40" fmla="*/ 235082 h 488078"/>
                  <a:gd name="connsiteX41" fmla="*/ 551405 w 603332"/>
                  <a:gd name="connsiteY41" fmla="*/ 238539 h 488078"/>
                  <a:gd name="connsiteX42" fmla="*/ 528934 w 603332"/>
                  <a:gd name="connsiteY42" fmla="*/ 247181 h 488078"/>
                  <a:gd name="connsiteX43" fmla="*/ 515106 w 603332"/>
                  <a:gd name="connsiteY43" fmla="*/ 248910 h 488078"/>
                  <a:gd name="connsiteX44" fmla="*/ 508192 w 603332"/>
                  <a:gd name="connsiteY44" fmla="*/ 247181 h 488078"/>
                  <a:gd name="connsiteX45" fmla="*/ 506463 w 603332"/>
                  <a:gd name="connsiteY45" fmla="*/ 241996 h 488078"/>
                  <a:gd name="connsiteX46" fmla="*/ 503006 w 603332"/>
                  <a:gd name="connsiteY46" fmla="*/ 233353 h 488078"/>
                  <a:gd name="connsiteX47" fmla="*/ 494363 w 603332"/>
                  <a:gd name="connsiteY47" fmla="*/ 226439 h 488078"/>
                  <a:gd name="connsiteX48" fmla="*/ 506463 w 603332"/>
                  <a:gd name="connsiteY48" fmla="*/ 229896 h 488078"/>
                  <a:gd name="connsiteX49" fmla="*/ 508192 w 603332"/>
                  <a:gd name="connsiteY49" fmla="*/ 241996 h 488078"/>
                  <a:gd name="connsiteX50" fmla="*/ 513377 w 603332"/>
                  <a:gd name="connsiteY50" fmla="*/ 248910 h 488078"/>
                  <a:gd name="connsiteX51" fmla="*/ 516834 w 603332"/>
                  <a:gd name="connsiteY51" fmla="*/ 257553 h 488078"/>
                  <a:gd name="connsiteX52" fmla="*/ 515106 w 603332"/>
                  <a:gd name="connsiteY52" fmla="*/ 274838 h 488078"/>
                  <a:gd name="connsiteX53" fmla="*/ 515106 w 603332"/>
                  <a:gd name="connsiteY53" fmla="*/ 290395 h 488078"/>
                  <a:gd name="connsiteX54" fmla="*/ 523749 w 603332"/>
                  <a:gd name="connsiteY54" fmla="*/ 304223 h 488078"/>
                  <a:gd name="connsiteX55" fmla="*/ 527206 w 603332"/>
                  <a:gd name="connsiteY55" fmla="*/ 316323 h 488078"/>
                  <a:gd name="connsiteX56" fmla="*/ 518563 w 603332"/>
                  <a:gd name="connsiteY56" fmla="*/ 326695 h 488078"/>
                  <a:gd name="connsiteX57" fmla="*/ 513377 w 603332"/>
                  <a:gd name="connsiteY57" fmla="*/ 331880 h 488078"/>
                  <a:gd name="connsiteX58" fmla="*/ 511649 w 603332"/>
                  <a:gd name="connsiteY58" fmla="*/ 338794 h 488078"/>
                  <a:gd name="connsiteX59" fmla="*/ 508192 w 603332"/>
                  <a:gd name="connsiteY59" fmla="*/ 356080 h 488078"/>
                  <a:gd name="connsiteX60" fmla="*/ 511649 w 603332"/>
                  <a:gd name="connsiteY60" fmla="*/ 362994 h 488078"/>
                  <a:gd name="connsiteX61" fmla="*/ 539305 w 603332"/>
                  <a:gd name="connsiteY61" fmla="*/ 368180 h 488078"/>
                  <a:gd name="connsiteX62" fmla="*/ 541034 w 603332"/>
                  <a:gd name="connsiteY62" fmla="*/ 373365 h 488078"/>
                  <a:gd name="connsiteX63" fmla="*/ 534120 w 603332"/>
                  <a:gd name="connsiteY63" fmla="*/ 387194 h 488078"/>
                  <a:gd name="connsiteX64" fmla="*/ 528934 w 603332"/>
                  <a:gd name="connsiteY64" fmla="*/ 388922 h 488078"/>
                  <a:gd name="connsiteX65" fmla="*/ 522020 w 603332"/>
                  <a:gd name="connsiteY65" fmla="*/ 387194 h 488078"/>
                  <a:gd name="connsiteX66" fmla="*/ 513377 w 603332"/>
                  <a:gd name="connsiteY66" fmla="*/ 382008 h 488078"/>
                  <a:gd name="connsiteX67" fmla="*/ 504735 w 603332"/>
                  <a:gd name="connsiteY67" fmla="*/ 390651 h 488078"/>
                  <a:gd name="connsiteX68" fmla="*/ 499549 w 603332"/>
                  <a:gd name="connsiteY68" fmla="*/ 402750 h 488078"/>
                  <a:gd name="connsiteX69" fmla="*/ 494363 w 603332"/>
                  <a:gd name="connsiteY69" fmla="*/ 407936 h 488078"/>
                  <a:gd name="connsiteX70" fmla="*/ 463250 w 603332"/>
                  <a:gd name="connsiteY70" fmla="*/ 413122 h 488078"/>
                  <a:gd name="connsiteX71" fmla="*/ 444236 w 603332"/>
                  <a:gd name="connsiteY71" fmla="*/ 420036 h 488078"/>
                  <a:gd name="connsiteX72" fmla="*/ 440778 w 603332"/>
                  <a:gd name="connsiteY72" fmla="*/ 432136 h 488078"/>
                  <a:gd name="connsiteX73" fmla="*/ 442507 w 603332"/>
                  <a:gd name="connsiteY73" fmla="*/ 439050 h 488078"/>
                  <a:gd name="connsiteX74" fmla="*/ 430407 w 603332"/>
                  <a:gd name="connsiteY74" fmla="*/ 445964 h 488078"/>
                  <a:gd name="connsiteX75" fmla="*/ 423493 w 603332"/>
                  <a:gd name="connsiteY75" fmla="*/ 449421 h 488078"/>
                  <a:gd name="connsiteX76" fmla="*/ 421764 w 603332"/>
                  <a:gd name="connsiteY76" fmla="*/ 454607 h 488078"/>
                  <a:gd name="connsiteX77" fmla="*/ 416579 w 603332"/>
                  <a:gd name="connsiteY77" fmla="*/ 463250 h 488078"/>
                  <a:gd name="connsiteX78" fmla="*/ 388922 w 603332"/>
                  <a:gd name="connsiteY78" fmla="*/ 461521 h 488078"/>
                  <a:gd name="connsiteX79" fmla="*/ 380279 w 603332"/>
                  <a:gd name="connsiteY79" fmla="*/ 458064 h 488078"/>
                  <a:gd name="connsiteX80" fmla="*/ 350894 w 603332"/>
                  <a:gd name="connsiteY80" fmla="*/ 459792 h 488078"/>
                  <a:gd name="connsiteX81" fmla="*/ 342251 w 603332"/>
                  <a:gd name="connsiteY81" fmla="*/ 463250 h 488078"/>
                  <a:gd name="connsiteX82" fmla="*/ 335337 w 603332"/>
                  <a:gd name="connsiteY82" fmla="*/ 466707 h 488078"/>
                  <a:gd name="connsiteX83" fmla="*/ 328423 w 603332"/>
                  <a:gd name="connsiteY83" fmla="*/ 468435 h 488078"/>
                  <a:gd name="connsiteX84" fmla="*/ 326694 w 603332"/>
                  <a:gd name="connsiteY84" fmla="*/ 473621 h 488078"/>
                  <a:gd name="connsiteX85" fmla="*/ 324966 w 603332"/>
                  <a:gd name="connsiteY85" fmla="*/ 487449 h 488078"/>
                  <a:gd name="connsiteX86" fmla="*/ 318052 w 603332"/>
                  <a:gd name="connsiteY86" fmla="*/ 485721 h 488078"/>
                  <a:gd name="connsiteX87" fmla="*/ 312866 w 603332"/>
                  <a:gd name="connsiteY87" fmla="*/ 477078 h 488078"/>
                  <a:gd name="connsiteX88" fmla="*/ 311138 w 603332"/>
                  <a:gd name="connsiteY88" fmla="*/ 471892 h 488078"/>
                  <a:gd name="connsiteX89" fmla="*/ 305952 w 603332"/>
                  <a:gd name="connsiteY89" fmla="*/ 468435 h 488078"/>
                  <a:gd name="connsiteX90" fmla="*/ 304223 w 603332"/>
                  <a:gd name="connsiteY90" fmla="*/ 447693 h 488078"/>
                  <a:gd name="connsiteX91" fmla="*/ 292124 w 603332"/>
                  <a:gd name="connsiteY91" fmla="*/ 437321 h 488078"/>
                  <a:gd name="connsiteX92" fmla="*/ 286938 w 603332"/>
                  <a:gd name="connsiteY92" fmla="*/ 432136 h 488078"/>
                  <a:gd name="connsiteX93" fmla="*/ 283481 w 603332"/>
                  <a:gd name="connsiteY93" fmla="*/ 425222 h 488078"/>
                  <a:gd name="connsiteX94" fmla="*/ 276567 w 603332"/>
                  <a:gd name="connsiteY94" fmla="*/ 421764 h 488078"/>
                  <a:gd name="connsiteX95" fmla="*/ 250639 w 603332"/>
                  <a:gd name="connsiteY95" fmla="*/ 414850 h 488078"/>
                  <a:gd name="connsiteX96" fmla="*/ 247181 w 603332"/>
                  <a:gd name="connsiteY96" fmla="*/ 411393 h 488078"/>
                  <a:gd name="connsiteX97" fmla="*/ 217796 w 603332"/>
                  <a:gd name="connsiteY97" fmla="*/ 409665 h 488078"/>
                  <a:gd name="connsiteX98" fmla="*/ 210882 w 603332"/>
                  <a:gd name="connsiteY98" fmla="*/ 407936 h 488078"/>
                  <a:gd name="connsiteX99" fmla="*/ 209153 w 603332"/>
                  <a:gd name="connsiteY99" fmla="*/ 399293 h 488078"/>
                  <a:gd name="connsiteX100" fmla="*/ 205696 w 603332"/>
                  <a:gd name="connsiteY100" fmla="*/ 378551 h 488078"/>
                  <a:gd name="connsiteX101" fmla="*/ 214339 w 603332"/>
                  <a:gd name="connsiteY101" fmla="*/ 364722 h 488078"/>
                  <a:gd name="connsiteX102" fmla="*/ 228167 w 603332"/>
                  <a:gd name="connsiteY102" fmla="*/ 352623 h 488078"/>
                  <a:gd name="connsiteX103" fmla="*/ 224710 w 603332"/>
                  <a:gd name="connsiteY103" fmla="*/ 338794 h 488078"/>
                  <a:gd name="connsiteX104" fmla="*/ 226439 w 603332"/>
                  <a:gd name="connsiteY104" fmla="*/ 321509 h 488078"/>
                  <a:gd name="connsiteX105" fmla="*/ 210882 w 603332"/>
                  <a:gd name="connsiteY105" fmla="*/ 318052 h 488078"/>
                  <a:gd name="connsiteX106" fmla="*/ 200511 w 603332"/>
                  <a:gd name="connsiteY106" fmla="*/ 314595 h 488078"/>
                  <a:gd name="connsiteX107" fmla="*/ 188411 w 603332"/>
                  <a:gd name="connsiteY107" fmla="*/ 311138 h 488078"/>
                  <a:gd name="connsiteX108" fmla="*/ 169397 w 603332"/>
                  <a:gd name="connsiteY108" fmla="*/ 302495 h 488078"/>
                  <a:gd name="connsiteX109" fmla="*/ 157297 w 603332"/>
                  <a:gd name="connsiteY109" fmla="*/ 297309 h 488078"/>
                  <a:gd name="connsiteX110" fmla="*/ 145197 w 603332"/>
                  <a:gd name="connsiteY110" fmla="*/ 299038 h 488078"/>
                  <a:gd name="connsiteX111" fmla="*/ 134826 w 603332"/>
                  <a:gd name="connsiteY111" fmla="*/ 302495 h 488078"/>
                  <a:gd name="connsiteX112" fmla="*/ 98527 w 603332"/>
                  <a:gd name="connsiteY112" fmla="*/ 299038 h 488078"/>
                  <a:gd name="connsiteX113" fmla="*/ 86427 w 603332"/>
                  <a:gd name="connsiteY113" fmla="*/ 292124 h 488078"/>
                  <a:gd name="connsiteX114" fmla="*/ 77784 w 603332"/>
                  <a:gd name="connsiteY114" fmla="*/ 290395 h 488078"/>
                  <a:gd name="connsiteX115" fmla="*/ 70870 w 603332"/>
                  <a:gd name="connsiteY115" fmla="*/ 276567 h 488078"/>
                  <a:gd name="connsiteX116" fmla="*/ 44942 w 603332"/>
                  <a:gd name="connsiteY116" fmla="*/ 271381 h 488078"/>
                  <a:gd name="connsiteX117" fmla="*/ 43213 w 603332"/>
                  <a:gd name="connsiteY117" fmla="*/ 257553 h 488078"/>
                  <a:gd name="connsiteX118" fmla="*/ 36299 w 603332"/>
                  <a:gd name="connsiteY118" fmla="*/ 241996 h 488078"/>
                  <a:gd name="connsiteX119" fmla="*/ 32842 w 603332"/>
                  <a:gd name="connsiteY119" fmla="*/ 236810 h 488078"/>
                  <a:gd name="connsiteX120" fmla="*/ 24199 w 603332"/>
                  <a:gd name="connsiteY120" fmla="*/ 222982 h 488078"/>
                  <a:gd name="connsiteX121" fmla="*/ 19014 w 603332"/>
                  <a:gd name="connsiteY121" fmla="*/ 219525 h 488078"/>
                  <a:gd name="connsiteX122" fmla="*/ 20742 w 603332"/>
                  <a:gd name="connsiteY122" fmla="*/ 209153 h 488078"/>
                  <a:gd name="connsiteX123" fmla="*/ 15557 w 603332"/>
                  <a:gd name="connsiteY123" fmla="*/ 197054 h 488078"/>
                  <a:gd name="connsiteX124" fmla="*/ 10371 w 603332"/>
                  <a:gd name="connsiteY124" fmla="*/ 190140 h 488078"/>
                  <a:gd name="connsiteX125" fmla="*/ 8642 w 603332"/>
                  <a:gd name="connsiteY125" fmla="*/ 184954 h 488078"/>
                  <a:gd name="connsiteX126" fmla="*/ 3457 w 603332"/>
                  <a:gd name="connsiteY126" fmla="*/ 181497 h 488078"/>
                  <a:gd name="connsiteX127" fmla="*/ 1728 w 603332"/>
                  <a:gd name="connsiteY127" fmla="*/ 155569 h 488078"/>
                  <a:gd name="connsiteX128" fmla="*/ 0 w 603332"/>
                  <a:gd name="connsiteY128" fmla="*/ 141740 h 488078"/>
                  <a:gd name="connsiteX129" fmla="*/ 3457 w 603332"/>
                  <a:gd name="connsiteY129" fmla="*/ 136555 h 488078"/>
                  <a:gd name="connsiteX130" fmla="*/ 13828 w 603332"/>
                  <a:gd name="connsiteY130" fmla="*/ 117541 h 488078"/>
                  <a:gd name="connsiteX131" fmla="*/ 29385 w 603332"/>
                  <a:gd name="connsiteY131" fmla="*/ 101984 h 488078"/>
                  <a:gd name="connsiteX132" fmla="*/ 34570 w 603332"/>
                  <a:gd name="connsiteY132" fmla="*/ 96798 h 488078"/>
                  <a:gd name="connsiteX133" fmla="*/ 44942 w 603332"/>
                  <a:gd name="connsiteY133" fmla="*/ 89884 h 488078"/>
                  <a:gd name="connsiteX134" fmla="*/ 50127 w 603332"/>
                  <a:gd name="connsiteY134" fmla="*/ 86427 h 488078"/>
                  <a:gd name="connsiteX135" fmla="*/ 72598 w 603332"/>
                  <a:gd name="connsiteY135" fmla="*/ 77784 h 488078"/>
                  <a:gd name="connsiteX136" fmla="*/ 86427 w 603332"/>
                  <a:gd name="connsiteY136" fmla="*/ 62227 h 488078"/>
                  <a:gd name="connsiteX137" fmla="*/ 93341 w 603332"/>
                  <a:gd name="connsiteY137" fmla="*/ 60499 h 488078"/>
                  <a:gd name="connsiteX138" fmla="*/ 145197 w 603332"/>
                  <a:gd name="connsiteY138" fmla="*/ 60499 h 488078"/>
                  <a:gd name="connsiteX139" fmla="*/ 146926 w 603332"/>
                  <a:gd name="connsiteY139" fmla="*/ 67413 h 488078"/>
                  <a:gd name="connsiteX140" fmla="*/ 150383 w 603332"/>
                  <a:gd name="connsiteY140" fmla="*/ 72598 h 488078"/>
                  <a:gd name="connsiteX141" fmla="*/ 159026 w 603332"/>
                  <a:gd name="connsiteY141" fmla="*/ 57042 h 488078"/>
                  <a:gd name="connsiteX142" fmla="*/ 169397 w 603332"/>
                  <a:gd name="connsiteY142" fmla="*/ 46670 h 488078"/>
                  <a:gd name="connsiteX143" fmla="*/ 181497 w 603332"/>
                  <a:gd name="connsiteY143" fmla="*/ 48399 h 488078"/>
                  <a:gd name="connsiteX144" fmla="*/ 186682 w 603332"/>
                  <a:gd name="connsiteY144" fmla="*/ 60499 h 488078"/>
                  <a:gd name="connsiteX145" fmla="*/ 184954 w 603332"/>
                  <a:gd name="connsiteY145" fmla="*/ 70870 h 488078"/>
                  <a:gd name="connsiteX146" fmla="*/ 200511 w 603332"/>
                  <a:gd name="connsiteY146" fmla="*/ 69141 h 488078"/>
                  <a:gd name="connsiteX147" fmla="*/ 205696 w 603332"/>
                  <a:gd name="connsiteY147" fmla="*/ 63956 h 488078"/>
                  <a:gd name="connsiteX148" fmla="*/ 207425 w 603332"/>
                  <a:gd name="connsiteY148" fmla="*/ 44942 h 488078"/>
                  <a:gd name="connsiteX149" fmla="*/ 214339 w 603332"/>
                  <a:gd name="connsiteY149" fmla="*/ 39756 h 488078"/>
                  <a:gd name="connsiteX150" fmla="*/ 278295 w 603332"/>
                  <a:gd name="connsiteY150" fmla="*/ 41485 h 488078"/>
                  <a:gd name="connsiteX151" fmla="*/ 286938 w 603332"/>
                  <a:gd name="connsiteY151" fmla="*/ 43213 h 488078"/>
                  <a:gd name="connsiteX152" fmla="*/ 293852 w 603332"/>
                  <a:gd name="connsiteY152" fmla="*/ 44942 h 488078"/>
                  <a:gd name="connsiteX153" fmla="*/ 321509 w 603332"/>
                  <a:gd name="connsiteY153" fmla="*/ 43213 h 488078"/>
                  <a:gd name="connsiteX154" fmla="*/ 328423 w 603332"/>
                  <a:gd name="connsiteY154" fmla="*/ 34571 h 488078"/>
                  <a:gd name="connsiteX155" fmla="*/ 343980 w 603332"/>
                  <a:gd name="connsiteY155" fmla="*/ 25928 h 488078"/>
                  <a:gd name="connsiteX156" fmla="*/ 350894 w 603332"/>
                  <a:gd name="connsiteY156" fmla="*/ 15557 h 488078"/>
                  <a:gd name="connsiteX157" fmla="*/ 352623 w 603332"/>
                  <a:gd name="connsiteY157" fmla="*/ 8642 h 488078"/>
                  <a:gd name="connsiteX158" fmla="*/ 357808 w 603332"/>
                  <a:gd name="connsiteY158" fmla="*/ 5185 h 488078"/>
                  <a:gd name="connsiteX159" fmla="*/ 364722 w 603332"/>
                  <a:gd name="connsiteY159" fmla="*/ 0 h 488078"/>
                  <a:gd name="connsiteX0" fmla="*/ 364722 w 603332"/>
                  <a:gd name="connsiteY0" fmla="*/ 0 h 488078"/>
                  <a:gd name="connsiteX1" fmla="*/ 368180 w 603332"/>
                  <a:gd name="connsiteY1" fmla="*/ 8642 h 488078"/>
                  <a:gd name="connsiteX2" fmla="*/ 373365 w 603332"/>
                  <a:gd name="connsiteY2" fmla="*/ 15557 h 488078"/>
                  <a:gd name="connsiteX3" fmla="*/ 376822 w 603332"/>
                  <a:gd name="connsiteY3" fmla="*/ 20742 h 488078"/>
                  <a:gd name="connsiteX4" fmla="*/ 380279 w 603332"/>
                  <a:gd name="connsiteY4" fmla="*/ 27656 h 488078"/>
                  <a:gd name="connsiteX5" fmla="*/ 388922 w 603332"/>
                  <a:gd name="connsiteY5" fmla="*/ 36299 h 488078"/>
                  <a:gd name="connsiteX6" fmla="*/ 392379 w 603332"/>
                  <a:gd name="connsiteY6" fmla="*/ 43213 h 488078"/>
                  <a:gd name="connsiteX7" fmla="*/ 459792 w 603332"/>
                  <a:gd name="connsiteY7" fmla="*/ 44942 h 488078"/>
                  <a:gd name="connsiteX8" fmla="*/ 464978 w 603332"/>
                  <a:gd name="connsiteY8" fmla="*/ 48399 h 488078"/>
                  <a:gd name="connsiteX9" fmla="*/ 466707 w 603332"/>
                  <a:gd name="connsiteY9" fmla="*/ 53584 h 488078"/>
                  <a:gd name="connsiteX10" fmla="*/ 477078 w 603332"/>
                  <a:gd name="connsiteY10" fmla="*/ 60499 h 488078"/>
                  <a:gd name="connsiteX11" fmla="*/ 496092 w 603332"/>
                  <a:gd name="connsiteY11" fmla="*/ 62227 h 488078"/>
                  <a:gd name="connsiteX12" fmla="*/ 501277 w 603332"/>
                  <a:gd name="connsiteY12" fmla="*/ 65684 h 488078"/>
                  <a:gd name="connsiteX13" fmla="*/ 503006 w 603332"/>
                  <a:gd name="connsiteY13" fmla="*/ 70870 h 488078"/>
                  <a:gd name="connsiteX14" fmla="*/ 506463 w 603332"/>
                  <a:gd name="connsiteY14" fmla="*/ 76056 h 488078"/>
                  <a:gd name="connsiteX15" fmla="*/ 508192 w 603332"/>
                  <a:gd name="connsiteY15" fmla="*/ 82970 h 488078"/>
                  <a:gd name="connsiteX16" fmla="*/ 513377 w 603332"/>
                  <a:gd name="connsiteY16" fmla="*/ 88155 h 488078"/>
                  <a:gd name="connsiteX17" fmla="*/ 518563 w 603332"/>
                  <a:gd name="connsiteY17" fmla="*/ 95070 h 488078"/>
                  <a:gd name="connsiteX18" fmla="*/ 530663 w 603332"/>
                  <a:gd name="connsiteY18" fmla="*/ 105441 h 488078"/>
                  <a:gd name="connsiteX19" fmla="*/ 563505 w 603332"/>
                  <a:gd name="connsiteY19" fmla="*/ 101984 h 488078"/>
                  <a:gd name="connsiteX20" fmla="*/ 568691 w 603332"/>
                  <a:gd name="connsiteY20" fmla="*/ 100255 h 488078"/>
                  <a:gd name="connsiteX21" fmla="*/ 570419 w 603332"/>
                  <a:gd name="connsiteY21" fmla="*/ 107169 h 488078"/>
                  <a:gd name="connsiteX22" fmla="*/ 572148 w 603332"/>
                  <a:gd name="connsiteY22" fmla="*/ 115812 h 488078"/>
                  <a:gd name="connsiteX23" fmla="*/ 579062 w 603332"/>
                  <a:gd name="connsiteY23" fmla="*/ 131369 h 488078"/>
                  <a:gd name="connsiteX24" fmla="*/ 580791 w 603332"/>
                  <a:gd name="connsiteY24" fmla="*/ 140012 h 488078"/>
                  <a:gd name="connsiteX25" fmla="*/ 580791 w 603332"/>
                  <a:gd name="connsiteY25" fmla="*/ 150383 h 488078"/>
                  <a:gd name="connsiteX26" fmla="*/ 575605 w 603332"/>
                  <a:gd name="connsiteY26" fmla="*/ 152112 h 488078"/>
                  <a:gd name="connsiteX27" fmla="*/ 573876 w 603332"/>
                  <a:gd name="connsiteY27" fmla="*/ 157297 h 488078"/>
                  <a:gd name="connsiteX28" fmla="*/ 577333 w 603332"/>
                  <a:gd name="connsiteY28" fmla="*/ 167668 h 488078"/>
                  <a:gd name="connsiteX29" fmla="*/ 585976 w 603332"/>
                  <a:gd name="connsiteY29" fmla="*/ 165940 h 488078"/>
                  <a:gd name="connsiteX30" fmla="*/ 598076 w 603332"/>
                  <a:gd name="connsiteY30" fmla="*/ 162483 h 488078"/>
                  <a:gd name="connsiteX31" fmla="*/ 603262 w 603332"/>
                  <a:gd name="connsiteY31" fmla="*/ 165940 h 488078"/>
                  <a:gd name="connsiteX32" fmla="*/ 582519 w 603332"/>
                  <a:gd name="connsiteY32" fmla="*/ 184954 h 488078"/>
                  <a:gd name="connsiteX33" fmla="*/ 579062 w 603332"/>
                  <a:gd name="connsiteY33" fmla="*/ 190140 h 488078"/>
                  <a:gd name="connsiteX34" fmla="*/ 577333 w 603332"/>
                  <a:gd name="connsiteY34" fmla="*/ 198782 h 488078"/>
                  <a:gd name="connsiteX35" fmla="*/ 572148 w 603332"/>
                  <a:gd name="connsiteY35" fmla="*/ 200511 h 488078"/>
                  <a:gd name="connsiteX36" fmla="*/ 565234 w 603332"/>
                  <a:gd name="connsiteY36" fmla="*/ 205696 h 488078"/>
                  <a:gd name="connsiteX37" fmla="*/ 563505 w 603332"/>
                  <a:gd name="connsiteY37" fmla="*/ 212611 h 488078"/>
                  <a:gd name="connsiteX38" fmla="*/ 560048 w 603332"/>
                  <a:gd name="connsiteY38" fmla="*/ 217796 h 488078"/>
                  <a:gd name="connsiteX39" fmla="*/ 558319 w 603332"/>
                  <a:gd name="connsiteY39" fmla="*/ 229896 h 488078"/>
                  <a:gd name="connsiteX40" fmla="*/ 556591 w 603332"/>
                  <a:gd name="connsiteY40" fmla="*/ 235082 h 488078"/>
                  <a:gd name="connsiteX41" fmla="*/ 551405 w 603332"/>
                  <a:gd name="connsiteY41" fmla="*/ 238539 h 488078"/>
                  <a:gd name="connsiteX42" fmla="*/ 528934 w 603332"/>
                  <a:gd name="connsiteY42" fmla="*/ 247181 h 488078"/>
                  <a:gd name="connsiteX43" fmla="*/ 515106 w 603332"/>
                  <a:gd name="connsiteY43" fmla="*/ 248910 h 488078"/>
                  <a:gd name="connsiteX44" fmla="*/ 508192 w 603332"/>
                  <a:gd name="connsiteY44" fmla="*/ 247181 h 488078"/>
                  <a:gd name="connsiteX45" fmla="*/ 506463 w 603332"/>
                  <a:gd name="connsiteY45" fmla="*/ 241996 h 488078"/>
                  <a:gd name="connsiteX46" fmla="*/ 503006 w 603332"/>
                  <a:gd name="connsiteY46" fmla="*/ 233353 h 488078"/>
                  <a:gd name="connsiteX47" fmla="*/ 506463 w 603332"/>
                  <a:gd name="connsiteY47" fmla="*/ 229896 h 488078"/>
                  <a:gd name="connsiteX48" fmla="*/ 508192 w 603332"/>
                  <a:gd name="connsiteY48" fmla="*/ 241996 h 488078"/>
                  <a:gd name="connsiteX49" fmla="*/ 513377 w 603332"/>
                  <a:gd name="connsiteY49" fmla="*/ 248910 h 488078"/>
                  <a:gd name="connsiteX50" fmla="*/ 516834 w 603332"/>
                  <a:gd name="connsiteY50" fmla="*/ 257553 h 488078"/>
                  <a:gd name="connsiteX51" fmla="*/ 515106 w 603332"/>
                  <a:gd name="connsiteY51" fmla="*/ 274838 h 488078"/>
                  <a:gd name="connsiteX52" fmla="*/ 515106 w 603332"/>
                  <a:gd name="connsiteY52" fmla="*/ 290395 h 488078"/>
                  <a:gd name="connsiteX53" fmla="*/ 523749 w 603332"/>
                  <a:gd name="connsiteY53" fmla="*/ 304223 h 488078"/>
                  <a:gd name="connsiteX54" fmla="*/ 527206 w 603332"/>
                  <a:gd name="connsiteY54" fmla="*/ 316323 h 488078"/>
                  <a:gd name="connsiteX55" fmla="*/ 518563 w 603332"/>
                  <a:gd name="connsiteY55" fmla="*/ 326695 h 488078"/>
                  <a:gd name="connsiteX56" fmla="*/ 513377 w 603332"/>
                  <a:gd name="connsiteY56" fmla="*/ 331880 h 488078"/>
                  <a:gd name="connsiteX57" fmla="*/ 511649 w 603332"/>
                  <a:gd name="connsiteY57" fmla="*/ 338794 h 488078"/>
                  <a:gd name="connsiteX58" fmla="*/ 508192 w 603332"/>
                  <a:gd name="connsiteY58" fmla="*/ 356080 h 488078"/>
                  <a:gd name="connsiteX59" fmla="*/ 511649 w 603332"/>
                  <a:gd name="connsiteY59" fmla="*/ 362994 h 488078"/>
                  <a:gd name="connsiteX60" fmla="*/ 539305 w 603332"/>
                  <a:gd name="connsiteY60" fmla="*/ 368180 h 488078"/>
                  <a:gd name="connsiteX61" fmla="*/ 541034 w 603332"/>
                  <a:gd name="connsiteY61" fmla="*/ 373365 h 488078"/>
                  <a:gd name="connsiteX62" fmla="*/ 534120 w 603332"/>
                  <a:gd name="connsiteY62" fmla="*/ 387194 h 488078"/>
                  <a:gd name="connsiteX63" fmla="*/ 528934 w 603332"/>
                  <a:gd name="connsiteY63" fmla="*/ 388922 h 488078"/>
                  <a:gd name="connsiteX64" fmla="*/ 522020 w 603332"/>
                  <a:gd name="connsiteY64" fmla="*/ 387194 h 488078"/>
                  <a:gd name="connsiteX65" fmla="*/ 513377 w 603332"/>
                  <a:gd name="connsiteY65" fmla="*/ 382008 h 488078"/>
                  <a:gd name="connsiteX66" fmla="*/ 504735 w 603332"/>
                  <a:gd name="connsiteY66" fmla="*/ 390651 h 488078"/>
                  <a:gd name="connsiteX67" fmla="*/ 499549 w 603332"/>
                  <a:gd name="connsiteY67" fmla="*/ 402750 h 488078"/>
                  <a:gd name="connsiteX68" fmla="*/ 494363 w 603332"/>
                  <a:gd name="connsiteY68" fmla="*/ 407936 h 488078"/>
                  <a:gd name="connsiteX69" fmla="*/ 463250 w 603332"/>
                  <a:gd name="connsiteY69" fmla="*/ 413122 h 488078"/>
                  <a:gd name="connsiteX70" fmla="*/ 444236 w 603332"/>
                  <a:gd name="connsiteY70" fmla="*/ 420036 h 488078"/>
                  <a:gd name="connsiteX71" fmla="*/ 440778 w 603332"/>
                  <a:gd name="connsiteY71" fmla="*/ 432136 h 488078"/>
                  <a:gd name="connsiteX72" fmla="*/ 442507 w 603332"/>
                  <a:gd name="connsiteY72" fmla="*/ 439050 h 488078"/>
                  <a:gd name="connsiteX73" fmla="*/ 430407 w 603332"/>
                  <a:gd name="connsiteY73" fmla="*/ 445964 h 488078"/>
                  <a:gd name="connsiteX74" fmla="*/ 423493 w 603332"/>
                  <a:gd name="connsiteY74" fmla="*/ 449421 h 488078"/>
                  <a:gd name="connsiteX75" fmla="*/ 421764 w 603332"/>
                  <a:gd name="connsiteY75" fmla="*/ 454607 h 488078"/>
                  <a:gd name="connsiteX76" fmla="*/ 416579 w 603332"/>
                  <a:gd name="connsiteY76" fmla="*/ 463250 h 488078"/>
                  <a:gd name="connsiteX77" fmla="*/ 388922 w 603332"/>
                  <a:gd name="connsiteY77" fmla="*/ 461521 h 488078"/>
                  <a:gd name="connsiteX78" fmla="*/ 380279 w 603332"/>
                  <a:gd name="connsiteY78" fmla="*/ 458064 h 488078"/>
                  <a:gd name="connsiteX79" fmla="*/ 350894 w 603332"/>
                  <a:gd name="connsiteY79" fmla="*/ 459792 h 488078"/>
                  <a:gd name="connsiteX80" fmla="*/ 342251 w 603332"/>
                  <a:gd name="connsiteY80" fmla="*/ 463250 h 488078"/>
                  <a:gd name="connsiteX81" fmla="*/ 335337 w 603332"/>
                  <a:gd name="connsiteY81" fmla="*/ 466707 h 488078"/>
                  <a:gd name="connsiteX82" fmla="*/ 328423 w 603332"/>
                  <a:gd name="connsiteY82" fmla="*/ 468435 h 488078"/>
                  <a:gd name="connsiteX83" fmla="*/ 326694 w 603332"/>
                  <a:gd name="connsiteY83" fmla="*/ 473621 h 488078"/>
                  <a:gd name="connsiteX84" fmla="*/ 324966 w 603332"/>
                  <a:gd name="connsiteY84" fmla="*/ 487449 h 488078"/>
                  <a:gd name="connsiteX85" fmla="*/ 318052 w 603332"/>
                  <a:gd name="connsiteY85" fmla="*/ 485721 h 488078"/>
                  <a:gd name="connsiteX86" fmla="*/ 312866 w 603332"/>
                  <a:gd name="connsiteY86" fmla="*/ 477078 h 488078"/>
                  <a:gd name="connsiteX87" fmla="*/ 311138 w 603332"/>
                  <a:gd name="connsiteY87" fmla="*/ 471892 h 488078"/>
                  <a:gd name="connsiteX88" fmla="*/ 305952 w 603332"/>
                  <a:gd name="connsiteY88" fmla="*/ 468435 h 488078"/>
                  <a:gd name="connsiteX89" fmla="*/ 304223 w 603332"/>
                  <a:gd name="connsiteY89" fmla="*/ 447693 h 488078"/>
                  <a:gd name="connsiteX90" fmla="*/ 292124 w 603332"/>
                  <a:gd name="connsiteY90" fmla="*/ 437321 h 488078"/>
                  <a:gd name="connsiteX91" fmla="*/ 286938 w 603332"/>
                  <a:gd name="connsiteY91" fmla="*/ 432136 h 488078"/>
                  <a:gd name="connsiteX92" fmla="*/ 283481 w 603332"/>
                  <a:gd name="connsiteY92" fmla="*/ 425222 h 488078"/>
                  <a:gd name="connsiteX93" fmla="*/ 276567 w 603332"/>
                  <a:gd name="connsiteY93" fmla="*/ 421764 h 488078"/>
                  <a:gd name="connsiteX94" fmla="*/ 250639 w 603332"/>
                  <a:gd name="connsiteY94" fmla="*/ 414850 h 488078"/>
                  <a:gd name="connsiteX95" fmla="*/ 247181 w 603332"/>
                  <a:gd name="connsiteY95" fmla="*/ 411393 h 488078"/>
                  <a:gd name="connsiteX96" fmla="*/ 217796 w 603332"/>
                  <a:gd name="connsiteY96" fmla="*/ 409665 h 488078"/>
                  <a:gd name="connsiteX97" fmla="*/ 210882 w 603332"/>
                  <a:gd name="connsiteY97" fmla="*/ 407936 h 488078"/>
                  <a:gd name="connsiteX98" fmla="*/ 209153 w 603332"/>
                  <a:gd name="connsiteY98" fmla="*/ 399293 h 488078"/>
                  <a:gd name="connsiteX99" fmla="*/ 205696 w 603332"/>
                  <a:gd name="connsiteY99" fmla="*/ 378551 h 488078"/>
                  <a:gd name="connsiteX100" fmla="*/ 214339 w 603332"/>
                  <a:gd name="connsiteY100" fmla="*/ 364722 h 488078"/>
                  <a:gd name="connsiteX101" fmla="*/ 228167 w 603332"/>
                  <a:gd name="connsiteY101" fmla="*/ 352623 h 488078"/>
                  <a:gd name="connsiteX102" fmla="*/ 224710 w 603332"/>
                  <a:gd name="connsiteY102" fmla="*/ 338794 h 488078"/>
                  <a:gd name="connsiteX103" fmla="*/ 226439 w 603332"/>
                  <a:gd name="connsiteY103" fmla="*/ 321509 h 488078"/>
                  <a:gd name="connsiteX104" fmla="*/ 210882 w 603332"/>
                  <a:gd name="connsiteY104" fmla="*/ 318052 h 488078"/>
                  <a:gd name="connsiteX105" fmla="*/ 200511 w 603332"/>
                  <a:gd name="connsiteY105" fmla="*/ 314595 h 488078"/>
                  <a:gd name="connsiteX106" fmla="*/ 188411 w 603332"/>
                  <a:gd name="connsiteY106" fmla="*/ 311138 h 488078"/>
                  <a:gd name="connsiteX107" fmla="*/ 169397 w 603332"/>
                  <a:gd name="connsiteY107" fmla="*/ 302495 h 488078"/>
                  <a:gd name="connsiteX108" fmla="*/ 157297 w 603332"/>
                  <a:gd name="connsiteY108" fmla="*/ 297309 h 488078"/>
                  <a:gd name="connsiteX109" fmla="*/ 145197 w 603332"/>
                  <a:gd name="connsiteY109" fmla="*/ 299038 h 488078"/>
                  <a:gd name="connsiteX110" fmla="*/ 134826 w 603332"/>
                  <a:gd name="connsiteY110" fmla="*/ 302495 h 488078"/>
                  <a:gd name="connsiteX111" fmla="*/ 98527 w 603332"/>
                  <a:gd name="connsiteY111" fmla="*/ 299038 h 488078"/>
                  <a:gd name="connsiteX112" fmla="*/ 86427 w 603332"/>
                  <a:gd name="connsiteY112" fmla="*/ 292124 h 488078"/>
                  <a:gd name="connsiteX113" fmla="*/ 77784 w 603332"/>
                  <a:gd name="connsiteY113" fmla="*/ 290395 h 488078"/>
                  <a:gd name="connsiteX114" fmla="*/ 70870 w 603332"/>
                  <a:gd name="connsiteY114" fmla="*/ 276567 h 488078"/>
                  <a:gd name="connsiteX115" fmla="*/ 44942 w 603332"/>
                  <a:gd name="connsiteY115" fmla="*/ 271381 h 488078"/>
                  <a:gd name="connsiteX116" fmla="*/ 43213 w 603332"/>
                  <a:gd name="connsiteY116" fmla="*/ 257553 h 488078"/>
                  <a:gd name="connsiteX117" fmla="*/ 36299 w 603332"/>
                  <a:gd name="connsiteY117" fmla="*/ 241996 h 488078"/>
                  <a:gd name="connsiteX118" fmla="*/ 32842 w 603332"/>
                  <a:gd name="connsiteY118" fmla="*/ 236810 h 488078"/>
                  <a:gd name="connsiteX119" fmla="*/ 24199 w 603332"/>
                  <a:gd name="connsiteY119" fmla="*/ 222982 h 488078"/>
                  <a:gd name="connsiteX120" fmla="*/ 19014 w 603332"/>
                  <a:gd name="connsiteY120" fmla="*/ 219525 h 488078"/>
                  <a:gd name="connsiteX121" fmla="*/ 20742 w 603332"/>
                  <a:gd name="connsiteY121" fmla="*/ 209153 h 488078"/>
                  <a:gd name="connsiteX122" fmla="*/ 15557 w 603332"/>
                  <a:gd name="connsiteY122" fmla="*/ 197054 h 488078"/>
                  <a:gd name="connsiteX123" fmla="*/ 10371 w 603332"/>
                  <a:gd name="connsiteY123" fmla="*/ 190140 h 488078"/>
                  <a:gd name="connsiteX124" fmla="*/ 8642 w 603332"/>
                  <a:gd name="connsiteY124" fmla="*/ 184954 h 488078"/>
                  <a:gd name="connsiteX125" fmla="*/ 3457 w 603332"/>
                  <a:gd name="connsiteY125" fmla="*/ 181497 h 488078"/>
                  <a:gd name="connsiteX126" fmla="*/ 1728 w 603332"/>
                  <a:gd name="connsiteY126" fmla="*/ 155569 h 488078"/>
                  <a:gd name="connsiteX127" fmla="*/ 0 w 603332"/>
                  <a:gd name="connsiteY127" fmla="*/ 141740 h 488078"/>
                  <a:gd name="connsiteX128" fmla="*/ 3457 w 603332"/>
                  <a:gd name="connsiteY128" fmla="*/ 136555 h 488078"/>
                  <a:gd name="connsiteX129" fmla="*/ 13828 w 603332"/>
                  <a:gd name="connsiteY129" fmla="*/ 117541 h 488078"/>
                  <a:gd name="connsiteX130" fmla="*/ 29385 w 603332"/>
                  <a:gd name="connsiteY130" fmla="*/ 101984 h 488078"/>
                  <a:gd name="connsiteX131" fmla="*/ 34570 w 603332"/>
                  <a:gd name="connsiteY131" fmla="*/ 96798 h 488078"/>
                  <a:gd name="connsiteX132" fmla="*/ 44942 w 603332"/>
                  <a:gd name="connsiteY132" fmla="*/ 89884 h 488078"/>
                  <a:gd name="connsiteX133" fmla="*/ 50127 w 603332"/>
                  <a:gd name="connsiteY133" fmla="*/ 86427 h 488078"/>
                  <a:gd name="connsiteX134" fmla="*/ 72598 w 603332"/>
                  <a:gd name="connsiteY134" fmla="*/ 77784 h 488078"/>
                  <a:gd name="connsiteX135" fmla="*/ 86427 w 603332"/>
                  <a:gd name="connsiteY135" fmla="*/ 62227 h 488078"/>
                  <a:gd name="connsiteX136" fmla="*/ 93341 w 603332"/>
                  <a:gd name="connsiteY136" fmla="*/ 60499 h 488078"/>
                  <a:gd name="connsiteX137" fmla="*/ 145197 w 603332"/>
                  <a:gd name="connsiteY137" fmla="*/ 60499 h 488078"/>
                  <a:gd name="connsiteX138" fmla="*/ 146926 w 603332"/>
                  <a:gd name="connsiteY138" fmla="*/ 67413 h 488078"/>
                  <a:gd name="connsiteX139" fmla="*/ 150383 w 603332"/>
                  <a:gd name="connsiteY139" fmla="*/ 72598 h 488078"/>
                  <a:gd name="connsiteX140" fmla="*/ 159026 w 603332"/>
                  <a:gd name="connsiteY140" fmla="*/ 57042 h 488078"/>
                  <a:gd name="connsiteX141" fmla="*/ 169397 w 603332"/>
                  <a:gd name="connsiteY141" fmla="*/ 46670 h 488078"/>
                  <a:gd name="connsiteX142" fmla="*/ 181497 w 603332"/>
                  <a:gd name="connsiteY142" fmla="*/ 48399 h 488078"/>
                  <a:gd name="connsiteX143" fmla="*/ 186682 w 603332"/>
                  <a:gd name="connsiteY143" fmla="*/ 60499 h 488078"/>
                  <a:gd name="connsiteX144" fmla="*/ 184954 w 603332"/>
                  <a:gd name="connsiteY144" fmla="*/ 70870 h 488078"/>
                  <a:gd name="connsiteX145" fmla="*/ 200511 w 603332"/>
                  <a:gd name="connsiteY145" fmla="*/ 69141 h 488078"/>
                  <a:gd name="connsiteX146" fmla="*/ 205696 w 603332"/>
                  <a:gd name="connsiteY146" fmla="*/ 63956 h 488078"/>
                  <a:gd name="connsiteX147" fmla="*/ 207425 w 603332"/>
                  <a:gd name="connsiteY147" fmla="*/ 44942 h 488078"/>
                  <a:gd name="connsiteX148" fmla="*/ 214339 w 603332"/>
                  <a:gd name="connsiteY148" fmla="*/ 39756 h 488078"/>
                  <a:gd name="connsiteX149" fmla="*/ 278295 w 603332"/>
                  <a:gd name="connsiteY149" fmla="*/ 41485 h 488078"/>
                  <a:gd name="connsiteX150" fmla="*/ 286938 w 603332"/>
                  <a:gd name="connsiteY150" fmla="*/ 43213 h 488078"/>
                  <a:gd name="connsiteX151" fmla="*/ 293852 w 603332"/>
                  <a:gd name="connsiteY151" fmla="*/ 44942 h 488078"/>
                  <a:gd name="connsiteX152" fmla="*/ 321509 w 603332"/>
                  <a:gd name="connsiteY152" fmla="*/ 43213 h 488078"/>
                  <a:gd name="connsiteX153" fmla="*/ 328423 w 603332"/>
                  <a:gd name="connsiteY153" fmla="*/ 34571 h 488078"/>
                  <a:gd name="connsiteX154" fmla="*/ 343980 w 603332"/>
                  <a:gd name="connsiteY154" fmla="*/ 25928 h 488078"/>
                  <a:gd name="connsiteX155" fmla="*/ 350894 w 603332"/>
                  <a:gd name="connsiteY155" fmla="*/ 15557 h 488078"/>
                  <a:gd name="connsiteX156" fmla="*/ 352623 w 603332"/>
                  <a:gd name="connsiteY156" fmla="*/ 8642 h 488078"/>
                  <a:gd name="connsiteX157" fmla="*/ 357808 w 603332"/>
                  <a:gd name="connsiteY157" fmla="*/ 5185 h 488078"/>
                  <a:gd name="connsiteX158" fmla="*/ 364722 w 603332"/>
                  <a:gd name="connsiteY158" fmla="*/ 0 h 488078"/>
                  <a:gd name="connsiteX0" fmla="*/ 364722 w 603332"/>
                  <a:gd name="connsiteY0" fmla="*/ 0 h 488078"/>
                  <a:gd name="connsiteX1" fmla="*/ 368180 w 603332"/>
                  <a:gd name="connsiteY1" fmla="*/ 8642 h 488078"/>
                  <a:gd name="connsiteX2" fmla="*/ 373365 w 603332"/>
                  <a:gd name="connsiteY2" fmla="*/ 15557 h 488078"/>
                  <a:gd name="connsiteX3" fmla="*/ 376822 w 603332"/>
                  <a:gd name="connsiteY3" fmla="*/ 20742 h 488078"/>
                  <a:gd name="connsiteX4" fmla="*/ 380279 w 603332"/>
                  <a:gd name="connsiteY4" fmla="*/ 27656 h 488078"/>
                  <a:gd name="connsiteX5" fmla="*/ 388922 w 603332"/>
                  <a:gd name="connsiteY5" fmla="*/ 36299 h 488078"/>
                  <a:gd name="connsiteX6" fmla="*/ 392379 w 603332"/>
                  <a:gd name="connsiteY6" fmla="*/ 43213 h 488078"/>
                  <a:gd name="connsiteX7" fmla="*/ 459792 w 603332"/>
                  <a:gd name="connsiteY7" fmla="*/ 44942 h 488078"/>
                  <a:gd name="connsiteX8" fmla="*/ 464978 w 603332"/>
                  <a:gd name="connsiteY8" fmla="*/ 48399 h 488078"/>
                  <a:gd name="connsiteX9" fmla="*/ 466707 w 603332"/>
                  <a:gd name="connsiteY9" fmla="*/ 53584 h 488078"/>
                  <a:gd name="connsiteX10" fmla="*/ 477078 w 603332"/>
                  <a:gd name="connsiteY10" fmla="*/ 60499 h 488078"/>
                  <a:gd name="connsiteX11" fmla="*/ 496092 w 603332"/>
                  <a:gd name="connsiteY11" fmla="*/ 62227 h 488078"/>
                  <a:gd name="connsiteX12" fmla="*/ 501277 w 603332"/>
                  <a:gd name="connsiteY12" fmla="*/ 65684 h 488078"/>
                  <a:gd name="connsiteX13" fmla="*/ 503006 w 603332"/>
                  <a:gd name="connsiteY13" fmla="*/ 70870 h 488078"/>
                  <a:gd name="connsiteX14" fmla="*/ 506463 w 603332"/>
                  <a:gd name="connsiteY14" fmla="*/ 76056 h 488078"/>
                  <a:gd name="connsiteX15" fmla="*/ 508192 w 603332"/>
                  <a:gd name="connsiteY15" fmla="*/ 82970 h 488078"/>
                  <a:gd name="connsiteX16" fmla="*/ 513377 w 603332"/>
                  <a:gd name="connsiteY16" fmla="*/ 88155 h 488078"/>
                  <a:gd name="connsiteX17" fmla="*/ 518563 w 603332"/>
                  <a:gd name="connsiteY17" fmla="*/ 95070 h 488078"/>
                  <a:gd name="connsiteX18" fmla="*/ 530663 w 603332"/>
                  <a:gd name="connsiteY18" fmla="*/ 105441 h 488078"/>
                  <a:gd name="connsiteX19" fmla="*/ 563505 w 603332"/>
                  <a:gd name="connsiteY19" fmla="*/ 101984 h 488078"/>
                  <a:gd name="connsiteX20" fmla="*/ 568691 w 603332"/>
                  <a:gd name="connsiteY20" fmla="*/ 100255 h 488078"/>
                  <a:gd name="connsiteX21" fmla="*/ 570419 w 603332"/>
                  <a:gd name="connsiteY21" fmla="*/ 107169 h 488078"/>
                  <a:gd name="connsiteX22" fmla="*/ 572148 w 603332"/>
                  <a:gd name="connsiteY22" fmla="*/ 115812 h 488078"/>
                  <a:gd name="connsiteX23" fmla="*/ 579062 w 603332"/>
                  <a:gd name="connsiteY23" fmla="*/ 131369 h 488078"/>
                  <a:gd name="connsiteX24" fmla="*/ 580791 w 603332"/>
                  <a:gd name="connsiteY24" fmla="*/ 140012 h 488078"/>
                  <a:gd name="connsiteX25" fmla="*/ 580791 w 603332"/>
                  <a:gd name="connsiteY25" fmla="*/ 150383 h 488078"/>
                  <a:gd name="connsiteX26" fmla="*/ 575605 w 603332"/>
                  <a:gd name="connsiteY26" fmla="*/ 152112 h 488078"/>
                  <a:gd name="connsiteX27" fmla="*/ 573876 w 603332"/>
                  <a:gd name="connsiteY27" fmla="*/ 157297 h 488078"/>
                  <a:gd name="connsiteX28" fmla="*/ 577333 w 603332"/>
                  <a:gd name="connsiteY28" fmla="*/ 167668 h 488078"/>
                  <a:gd name="connsiteX29" fmla="*/ 585976 w 603332"/>
                  <a:gd name="connsiteY29" fmla="*/ 165940 h 488078"/>
                  <a:gd name="connsiteX30" fmla="*/ 598076 w 603332"/>
                  <a:gd name="connsiteY30" fmla="*/ 162483 h 488078"/>
                  <a:gd name="connsiteX31" fmla="*/ 603262 w 603332"/>
                  <a:gd name="connsiteY31" fmla="*/ 165940 h 488078"/>
                  <a:gd name="connsiteX32" fmla="*/ 582519 w 603332"/>
                  <a:gd name="connsiteY32" fmla="*/ 184954 h 488078"/>
                  <a:gd name="connsiteX33" fmla="*/ 579062 w 603332"/>
                  <a:gd name="connsiteY33" fmla="*/ 190140 h 488078"/>
                  <a:gd name="connsiteX34" fmla="*/ 577333 w 603332"/>
                  <a:gd name="connsiteY34" fmla="*/ 198782 h 488078"/>
                  <a:gd name="connsiteX35" fmla="*/ 572148 w 603332"/>
                  <a:gd name="connsiteY35" fmla="*/ 200511 h 488078"/>
                  <a:gd name="connsiteX36" fmla="*/ 565234 w 603332"/>
                  <a:gd name="connsiteY36" fmla="*/ 205696 h 488078"/>
                  <a:gd name="connsiteX37" fmla="*/ 563505 w 603332"/>
                  <a:gd name="connsiteY37" fmla="*/ 212611 h 488078"/>
                  <a:gd name="connsiteX38" fmla="*/ 560048 w 603332"/>
                  <a:gd name="connsiteY38" fmla="*/ 217796 h 488078"/>
                  <a:gd name="connsiteX39" fmla="*/ 558319 w 603332"/>
                  <a:gd name="connsiteY39" fmla="*/ 229896 h 488078"/>
                  <a:gd name="connsiteX40" fmla="*/ 556591 w 603332"/>
                  <a:gd name="connsiteY40" fmla="*/ 235082 h 488078"/>
                  <a:gd name="connsiteX41" fmla="*/ 551405 w 603332"/>
                  <a:gd name="connsiteY41" fmla="*/ 238539 h 488078"/>
                  <a:gd name="connsiteX42" fmla="*/ 528934 w 603332"/>
                  <a:gd name="connsiteY42" fmla="*/ 247181 h 488078"/>
                  <a:gd name="connsiteX43" fmla="*/ 515106 w 603332"/>
                  <a:gd name="connsiteY43" fmla="*/ 248910 h 488078"/>
                  <a:gd name="connsiteX44" fmla="*/ 508192 w 603332"/>
                  <a:gd name="connsiteY44" fmla="*/ 247181 h 488078"/>
                  <a:gd name="connsiteX45" fmla="*/ 506463 w 603332"/>
                  <a:gd name="connsiteY45" fmla="*/ 241996 h 488078"/>
                  <a:gd name="connsiteX46" fmla="*/ 503006 w 603332"/>
                  <a:gd name="connsiteY46" fmla="*/ 233353 h 488078"/>
                  <a:gd name="connsiteX47" fmla="*/ 508192 w 603332"/>
                  <a:gd name="connsiteY47" fmla="*/ 241996 h 488078"/>
                  <a:gd name="connsiteX48" fmla="*/ 513377 w 603332"/>
                  <a:gd name="connsiteY48" fmla="*/ 248910 h 488078"/>
                  <a:gd name="connsiteX49" fmla="*/ 516834 w 603332"/>
                  <a:gd name="connsiteY49" fmla="*/ 257553 h 488078"/>
                  <a:gd name="connsiteX50" fmla="*/ 515106 w 603332"/>
                  <a:gd name="connsiteY50" fmla="*/ 274838 h 488078"/>
                  <a:gd name="connsiteX51" fmla="*/ 515106 w 603332"/>
                  <a:gd name="connsiteY51" fmla="*/ 290395 h 488078"/>
                  <a:gd name="connsiteX52" fmla="*/ 523749 w 603332"/>
                  <a:gd name="connsiteY52" fmla="*/ 304223 h 488078"/>
                  <a:gd name="connsiteX53" fmla="*/ 527206 w 603332"/>
                  <a:gd name="connsiteY53" fmla="*/ 316323 h 488078"/>
                  <a:gd name="connsiteX54" fmla="*/ 518563 w 603332"/>
                  <a:gd name="connsiteY54" fmla="*/ 326695 h 488078"/>
                  <a:gd name="connsiteX55" fmla="*/ 513377 w 603332"/>
                  <a:gd name="connsiteY55" fmla="*/ 331880 h 488078"/>
                  <a:gd name="connsiteX56" fmla="*/ 511649 w 603332"/>
                  <a:gd name="connsiteY56" fmla="*/ 338794 h 488078"/>
                  <a:gd name="connsiteX57" fmla="*/ 508192 w 603332"/>
                  <a:gd name="connsiteY57" fmla="*/ 356080 h 488078"/>
                  <a:gd name="connsiteX58" fmla="*/ 511649 w 603332"/>
                  <a:gd name="connsiteY58" fmla="*/ 362994 h 488078"/>
                  <a:gd name="connsiteX59" fmla="*/ 539305 w 603332"/>
                  <a:gd name="connsiteY59" fmla="*/ 368180 h 488078"/>
                  <a:gd name="connsiteX60" fmla="*/ 541034 w 603332"/>
                  <a:gd name="connsiteY60" fmla="*/ 373365 h 488078"/>
                  <a:gd name="connsiteX61" fmla="*/ 534120 w 603332"/>
                  <a:gd name="connsiteY61" fmla="*/ 387194 h 488078"/>
                  <a:gd name="connsiteX62" fmla="*/ 528934 w 603332"/>
                  <a:gd name="connsiteY62" fmla="*/ 388922 h 488078"/>
                  <a:gd name="connsiteX63" fmla="*/ 522020 w 603332"/>
                  <a:gd name="connsiteY63" fmla="*/ 387194 h 488078"/>
                  <a:gd name="connsiteX64" fmla="*/ 513377 w 603332"/>
                  <a:gd name="connsiteY64" fmla="*/ 382008 h 488078"/>
                  <a:gd name="connsiteX65" fmla="*/ 504735 w 603332"/>
                  <a:gd name="connsiteY65" fmla="*/ 390651 h 488078"/>
                  <a:gd name="connsiteX66" fmla="*/ 499549 w 603332"/>
                  <a:gd name="connsiteY66" fmla="*/ 402750 h 488078"/>
                  <a:gd name="connsiteX67" fmla="*/ 494363 w 603332"/>
                  <a:gd name="connsiteY67" fmla="*/ 407936 h 488078"/>
                  <a:gd name="connsiteX68" fmla="*/ 463250 w 603332"/>
                  <a:gd name="connsiteY68" fmla="*/ 413122 h 488078"/>
                  <a:gd name="connsiteX69" fmla="*/ 444236 w 603332"/>
                  <a:gd name="connsiteY69" fmla="*/ 420036 h 488078"/>
                  <a:gd name="connsiteX70" fmla="*/ 440778 w 603332"/>
                  <a:gd name="connsiteY70" fmla="*/ 432136 h 488078"/>
                  <a:gd name="connsiteX71" fmla="*/ 442507 w 603332"/>
                  <a:gd name="connsiteY71" fmla="*/ 439050 h 488078"/>
                  <a:gd name="connsiteX72" fmla="*/ 430407 w 603332"/>
                  <a:gd name="connsiteY72" fmla="*/ 445964 h 488078"/>
                  <a:gd name="connsiteX73" fmla="*/ 423493 w 603332"/>
                  <a:gd name="connsiteY73" fmla="*/ 449421 h 488078"/>
                  <a:gd name="connsiteX74" fmla="*/ 421764 w 603332"/>
                  <a:gd name="connsiteY74" fmla="*/ 454607 h 488078"/>
                  <a:gd name="connsiteX75" fmla="*/ 416579 w 603332"/>
                  <a:gd name="connsiteY75" fmla="*/ 463250 h 488078"/>
                  <a:gd name="connsiteX76" fmla="*/ 388922 w 603332"/>
                  <a:gd name="connsiteY76" fmla="*/ 461521 h 488078"/>
                  <a:gd name="connsiteX77" fmla="*/ 380279 w 603332"/>
                  <a:gd name="connsiteY77" fmla="*/ 458064 h 488078"/>
                  <a:gd name="connsiteX78" fmla="*/ 350894 w 603332"/>
                  <a:gd name="connsiteY78" fmla="*/ 459792 h 488078"/>
                  <a:gd name="connsiteX79" fmla="*/ 342251 w 603332"/>
                  <a:gd name="connsiteY79" fmla="*/ 463250 h 488078"/>
                  <a:gd name="connsiteX80" fmla="*/ 335337 w 603332"/>
                  <a:gd name="connsiteY80" fmla="*/ 466707 h 488078"/>
                  <a:gd name="connsiteX81" fmla="*/ 328423 w 603332"/>
                  <a:gd name="connsiteY81" fmla="*/ 468435 h 488078"/>
                  <a:gd name="connsiteX82" fmla="*/ 326694 w 603332"/>
                  <a:gd name="connsiteY82" fmla="*/ 473621 h 488078"/>
                  <a:gd name="connsiteX83" fmla="*/ 324966 w 603332"/>
                  <a:gd name="connsiteY83" fmla="*/ 487449 h 488078"/>
                  <a:gd name="connsiteX84" fmla="*/ 318052 w 603332"/>
                  <a:gd name="connsiteY84" fmla="*/ 485721 h 488078"/>
                  <a:gd name="connsiteX85" fmla="*/ 312866 w 603332"/>
                  <a:gd name="connsiteY85" fmla="*/ 477078 h 488078"/>
                  <a:gd name="connsiteX86" fmla="*/ 311138 w 603332"/>
                  <a:gd name="connsiteY86" fmla="*/ 471892 h 488078"/>
                  <a:gd name="connsiteX87" fmla="*/ 305952 w 603332"/>
                  <a:gd name="connsiteY87" fmla="*/ 468435 h 488078"/>
                  <a:gd name="connsiteX88" fmla="*/ 304223 w 603332"/>
                  <a:gd name="connsiteY88" fmla="*/ 447693 h 488078"/>
                  <a:gd name="connsiteX89" fmla="*/ 292124 w 603332"/>
                  <a:gd name="connsiteY89" fmla="*/ 437321 h 488078"/>
                  <a:gd name="connsiteX90" fmla="*/ 286938 w 603332"/>
                  <a:gd name="connsiteY90" fmla="*/ 432136 h 488078"/>
                  <a:gd name="connsiteX91" fmla="*/ 283481 w 603332"/>
                  <a:gd name="connsiteY91" fmla="*/ 425222 h 488078"/>
                  <a:gd name="connsiteX92" fmla="*/ 276567 w 603332"/>
                  <a:gd name="connsiteY92" fmla="*/ 421764 h 488078"/>
                  <a:gd name="connsiteX93" fmla="*/ 250639 w 603332"/>
                  <a:gd name="connsiteY93" fmla="*/ 414850 h 488078"/>
                  <a:gd name="connsiteX94" fmla="*/ 247181 w 603332"/>
                  <a:gd name="connsiteY94" fmla="*/ 411393 h 488078"/>
                  <a:gd name="connsiteX95" fmla="*/ 217796 w 603332"/>
                  <a:gd name="connsiteY95" fmla="*/ 409665 h 488078"/>
                  <a:gd name="connsiteX96" fmla="*/ 210882 w 603332"/>
                  <a:gd name="connsiteY96" fmla="*/ 407936 h 488078"/>
                  <a:gd name="connsiteX97" fmla="*/ 209153 w 603332"/>
                  <a:gd name="connsiteY97" fmla="*/ 399293 h 488078"/>
                  <a:gd name="connsiteX98" fmla="*/ 205696 w 603332"/>
                  <a:gd name="connsiteY98" fmla="*/ 378551 h 488078"/>
                  <a:gd name="connsiteX99" fmla="*/ 214339 w 603332"/>
                  <a:gd name="connsiteY99" fmla="*/ 364722 h 488078"/>
                  <a:gd name="connsiteX100" fmla="*/ 228167 w 603332"/>
                  <a:gd name="connsiteY100" fmla="*/ 352623 h 488078"/>
                  <a:gd name="connsiteX101" fmla="*/ 224710 w 603332"/>
                  <a:gd name="connsiteY101" fmla="*/ 338794 h 488078"/>
                  <a:gd name="connsiteX102" fmla="*/ 226439 w 603332"/>
                  <a:gd name="connsiteY102" fmla="*/ 321509 h 488078"/>
                  <a:gd name="connsiteX103" fmla="*/ 210882 w 603332"/>
                  <a:gd name="connsiteY103" fmla="*/ 318052 h 488078"/>
                  <a:gd name="connsiteX104" fmla="*/ 200511 w 603332"/>
                  <a:gd name="connsiteY104" fmla="*/ 314595 h 488078"/>
                  <a:gd name="connsiteX105" fmla="*/ 188411 w 603332"/>
                  <a:gd name="connsiteY105" fmla="*/ 311138 h 488078"/>
                  <a:gd name="connsiteX106" fmla="*/ 169397 w 603332"/>
                  <a:gd name="connsiteY106" fmla="*/ 302495 h 488078"/>
                  <a:gd name="connsiteX107" fmla="*/ 157297 w 603332"/>
                  <a:gd name="connsiteY107" fmla="*/ 297309 h 488078"/>
                  <a:gd name="connsiteX108" fmla="*/ 145197 w 603332"/>
                  <a:gd name="connsiteY108" fmla="*/ 299038 h 488078"/>
                  <a:gd name="connsiteX109" fmla="*/ 134826 w 603332"/>
                  <a:gd name="connsiteY109" fmla="*/ 302495 h 488078"/>
                  <a:gd name="connsiteX110" fmla="*/ 98527 w 603332"/>
                  <a:gd name="connsiteY110" fmla="*/ 299038 h 488078"/>
                  <a:gd name="connsiteX111" fmla="*/ 86427 w 603332"/>
                  <a:gd name="connsiteY111" fmla="*/ 292124 h 488078"/>
                  <a:gd name="connsiteX112" fmla="*/ 77784 w 603332"/>
                  <a:gd name="connsiteY112" fmla="*/ 290395 h 488078"/>
                  <a:gd name="connsiteX113" fmla="*/ 70870 w 603332"/>
                  <a:gd name="connsiteY113" fmla="*/ 276567 h 488078"/>
                  <a:gd name="connsiteX114" fmla="*/ 44942 w 603332"/>
                  <a:gd name="connsiteY114" fmla="*/ 271381 h 488078"/>
                  <a:gd name="connsiteX115" fmla="*/ 43213 w 603332"/>
                  <a:gd name="connsiteY115" fmla="*/ 257553 h 488078"/>
                  <a:gd name="connsiteX116" fmla="*/ 36299 w 603332"/>
                  <a:gd name="connsiteY116" fmla="*/ 241996 h 488078"/>
                  <a:gd name="connsiteX117" fmla="*/ 32842 w 603332"/>
                  <a:gd name="connsiteY117" fmla="*/ 236810 h 488078"/>
                  <a:gd name="connsiteX118" fmla="*/ 24199 w 603332"/>
                  <a:gd name="connsiteY118" fmla="*/ 222982 h 488078"/>
                  <a:gd name="connsiteX119" fmla="*/ 19014 w 603332"/>
                  <a:gd name="connsiteY119" fmla="*/ 219525 h 488078"/>
                  <a:gd name="connsiteX120" fmla="*/ 20742 w 603332"/>
                  <a:gd name="connsiteY120" fmla="*/ 209153 h 488078"/>
                  <a:gd name="connsiteX121" fmla="*/ 15557 w 603332"/>
                  <a:gd name="connsiteY121" fmla="*/ 197054 h 488078"/>
                  <a:gd name="connsiteX122" fmla="*/ 10371 w 603332"/>
                  <a:gd name="connsiteY122" fmla="*/ 190140 h 488078"/>
                  <a:gd name="connsiteX123" fmla="*/ 8642 w 603332"/>
                  <a:gd name="connsiteY123" fmla="*/ 184954 h 488078"/>
                  <a:gd name="connsiteX124" fmla="*/ 3457 w 603332"/>
                  <a:gd name="connsiteY124" fmla="*/ 181497 h 488078"/>
                  <a:gd name="connsiteX125" fmla="*/ 1728 w 603332"/>
                  <a:gd name="connsiteY125" fmla="*/ 155569 h 488078"/>
                  <a:gd name="connsiteX126" fmla="*/ 0 w 603332"/>
                  <a:gd name="connsiteY126" fmla="*/ 141740 h 488078"/>
                  <a:gd name="connsiteX127" fmla="*/ 3457 w 603332"/>
                  <a:gd name="connsiteY127" fmla="*/ 136555 h 488078"/>
                  <a:gd name="connsiteX128" fmla="*/ 13828 w 603332"/>
                  <a:gd name="connsiteY128" fmla="*/ 117541 h 488078"/>
                  <a:gd name="connsiteX129" fmla="*/ 29385 w 603332"/>
                  <a:gd name="connsiteY129" fmla="*/ 101984 h 488078"/>
                  <a:gd name="connsiteX130" fmla="*/ 34570 w 603332"/>
                  <a:gd name="connsiteY130" fmla="*/ 96798 h 488078"/>
                  <a:gd name="connsiteX131" fmla="*/ 44942 w 603332"/>
                  <a:gd name="connsiteY131" fmla="*/ 89884 h 488078"/>
                  <a:gd name="connsiteX132" fmla="*/ 50127 w 603332"/>
                  <a:gd name="connsiteY132" fmla="*/ 86427 h 488078"/>
                  <a:gd name="connsiteX133" fmla="*/ 72598 w 603332"/>
                  <a:gd name="connsiteY133" fmla="*/ 77784 h 488078"/>
                  <a:gd name="connsiteX134" fmla="*/ 86427 w 603332"/>
                  <a:gd name="connsiteY134" fmla="*/ 62227 h 488078"/>
                  <a:gd name="connsiteX135" fmla="*/ 93341 w 603332"/>
                  <a:gd name="connsiteY135" fmla="*/ 60499 h 488078"/>
                  <a:gd name="connsiteX136" fmla="*/ 145197 w 603332"/>
                  <a:gd name="connsiteY136" fmla="*/ 60499 h 488078"/>
                  <a:gd name="connsiteX137" fmla="*/ 146926 w 603332"/>
                  <a:gd name="connsiteY137" fmla="*/ 67413 h 488078"/>
                  <a:gd name="connsiteX138" fmla="*/ 150383 w 603332"/>
                  <a:gd name="connsiteY138" fmla="*/ 72598 h 488078"/>
                  <a:gd name="connsiteX139" fmla="*/ 159026 w 603332"/>
                  <a:gd name="connsiteY139" fmla="*/ 57042 h 488078"/>
                  <a:gd name="connsiteX140" fmla="*/ 169397 w 603332"/>
                  <a:gd name="connsiteY140" fmla="*/ 46670 h 488078"/>
                  <a:gd name="connsiteX141" fmla="*/ 181497 w 603332"/>
                  <a:gd name="connsiteY141" fmla="*/ 48399 h 488078"/>
                  <a:gd name="connsiteX142" fmla="*/ 186682 w 603332"/>
                  <a:gd name="connsiteY142" fmla="*/ 60499 h 488078"/>
                  <a:gd name="connsiteX143" fmla="*/ 184954 w 603332"/>
                  <a:gd name="connsiteY143" fmla="*/ 70870 h 488078"/>
                  <a:gd name="connsiteX144" fmla="*/ 200511 w 603332"/>
                  <a:gd name="connsiteY144" fmla="*/ 69141 h 488078"/>
                  <a:gd name="connsiteX145" fmla="*/ 205696 w 603332"/>
                  <a:gd name="connsiteY145" fmla="*/ 63956 h 488078"/>
                  <a:gd name="connsiteX146" fmla="*/ 207425 w 603332"/>
                  <a:gd name="connsiteY146" fmla="*/ 44942 h 488078"/>
                  <a:gd name="connsiteX147" fmla="*/ 214339 w 603332"/>
                  <a:gd name="connsiteY147" fmla="*/ 39756 h 488078"/>
                  <a:gd name="connsiteX148" fmla="*/ 278295 w 603332"/>
                  <a:gd name="connsiteY148" fmla="*/ 41485 h 488078"/>
                  <a:gd name="connsiteX149" fmla="*/ 286938 w 603332"/>
                  <a:gd name="connsiteY149" fmla="*/ 43213 h 488078"/>
                  <a:gd name="connsiteX150" fmla="*/ 293852 w 603332"/>
                  <a:gd name="connsiteY150" fmla="*/ 44942 h 488078"/>
                  <a:gd name="connsiteX151" fmla="*/ 321509 w 603332"/>
                  <a:gd name="connsiteY151" fmla="*/ 43213 h 488078"/>
                  <a:gd name="connsiteX152" fmla="*/ 328423 w 603332"/>
                  <a:gd name="connsiteY152" fmla="*/ 34571 h 488078"/>
                  <a:gd name="connsiteX153" fmla="*/ 343980 w 603332"/>
                  <a:gd name="connsiteY153" fmla="*/ 25928 h 488078"/>
                  <a:gd name="connsiteX154" fmla="*/ 350894 w 603332"/>
                  <a:gd name="connsiteY154" fmla="*/ 15557 h 488078"/>
                  <a:gd name="connsiteX155" fmla="*/ 352623 w 603332"/>
                  <a:gd name="connsiteY155" fmla="*/ 8642 h 488078"/>
                  <a:gd name="connsiteX156" fmla="*/ 357808 w 603332"/>
                  <a:gd name="connsiteY156" fmla="*/ 5185 h 488078"/>
                  <a:gd name="connsiteX157" fmla="*/ 364722 w 603332"/>
                  <a:gd name="connsiteY157" fmla="*/ 0 h 488078"/>
                  <a:gd name="connsiteX0" fmla="*/ 364722 w 603332"/>
                  <a:gd name="connsiteY0" fmla="*/ 0 h 488078"/>
                  <a:gd name="connsiteX1" fmla="*/ 368180 w 603332"/>
                  <a:gd name="connsiteY1" fmla="*/ 8642 h 488078"/>
                  <a:gd name="connsiteX2" fmla="*/ 373365 w 603332"/>
                  <a:gd name="connsiteY2" fmla="*/ 15557 h 488078"/>
                  <a:gd name="connsiteX3" fmla="*/ 376822 w 603332"/>
                  <a:gd name="connsiteY3" fmla="*/ 20742 h 488078"/>
                  <a:gd name="connsiteX4" fmla="*/ 380279 w 603332"/>
                  <a:gd name="connsiteY4" fmla="*/ 27656 h 488078"/>
                  <a:gd name="connsiteX5" fmla="*/ 388922 w 603332"/>
                  <a:gd name="connsiteY5" fmla="*/ 36299 h 488078"/>
                  <a:gd name="connsiteX6" fmla="*/ 392379 w 603332"/>
                  <a:gd name="connsiteY6" fmla="*/ 43213 h 488078"/>
                  <a:gd name="connsiteX7" fmla="*/ 459792 w 603332"/>
                  <a:gd name="connsiteY7" fmla="*/ 44942 h 488078"/>
                  <a:gd name="connsiteX8" fmla="*/ 464978 w 603332"/>
                  <a:gd name="connsiteY8" fmla="*/ 48399 h 488078"/>
                  <a:gd name="connsiteX9" fmla="*/ 466707 w 603332"/>
                  <a:gd name="connsiteY9" fmla="*/ 53584 h 488078"/>
                  <a:gd name="connsiteX10" fmla="*/ 477078 w 603332"/>
                  <a:gd name="connsiteY10" fmla="*/ 60499 h 488078"/>
                  <a:gd name="connsiteX11" fmla="*/ 496092 w 603332"/>
                  <a:gd name="connsiteY11" fmla="*/ 62227 h 488078"/>
                  <a:gd name="connsiteX12" fmla="*/ 501277 w 603332"/>
                  <a:gd name="connsiteY12" fmla="*/ 65684 h 488078"/>
                  <a:gd name="connsiteX13" fmla="*/ 503006 w 603332"/>
                  <a:gd name="connsiteY13" fmla="*/ 70870 h 488078"/>
                  <a:gd name="connsiteX14" fmla="*/ 506463 w 603332"/>
                  <a:gd name="connsiteY14" fmla="*/ 76056 h 488078"/>
                  <a:gd name="connsiteX15" fmla="*/ 508192 w 603332"/>
                  <a:gd name="connsiteY15" fmla="*/ 82970 h 488078"/>
                  <a:gd name="connsiteX16" fmla="*/ 513377 w 603332"/>
                  <a:gd name="connsiteY16" fmla="*/ 88155 h 488078"/>
                  <a:gd name="connsiteX17" fmla="*/ 518563 w 603332"/>
                  <a:gd name="connsiteY17" fmla="*/ 95070 h 488078"/>
                  <a:gd name="connsiteX18" fmla="*/ 530663 w 603332"/>
                  <a:gd name="connsiteY18" fmla="*/ 105441 h 488078"/>
                  <a:gd name="connsiteX19" fmla="*/ 563505 w 603332"/>
                  <a:gd name="connsiteY19" fmla="*/ 101984 h 488078"/>
                  <a:gd name="connsiteX20" fmla="*/ 568691 w 603332"/>
                  <a:gd name="connsiteY20" fmla="*/ 100255 h 488078"/>
                  <a:gd name="connsiteX21" fmla="*/ 570419 w 603332"/>
                  <a:gd name="connsiteY21" fmla="*/ 107169 h 488078"/>
                  <a:gd name="connsiteX22" fmla="*/ 572148 w 603332"/>
                  <a:gd name="connsiteY22" fmla="*/ 115812 h 488078"/>
                  <a:gd name="connsiteX23" fmla="*/ 579062 w 603332"/>
                  <a:gd name="connsiteY23" fmla="*/ 131369 h 488078"/>
                  <a:gd name="connsiteX24" fmla="*/ 580791 w 603332"/>
                  <a:gd name="connsiteY24" fmla="*/ 140012 h 488078"/>
                  <a:gd name="connsiteX25" fmla="*/ 580791 w 603332"/>
                  <a:gd name="connsiteY25" fmla="*/ 150383 h 488078"/>
                  <a:gd name="connsiteX26" fmla="*/ 575605 w 603332"/>
                  <a:gd name="connsiteY26" fmla="*/ 152112 h 488078"/>
                  <a:gd name="connsiteX27" fmla="*/ 573876 w 603332"/>
                  <a:gd name="connsiteY27" fmla="*/ 157297 h 488078"/>
                  <a:gd name="connsiteX28" fmla="*/ 577333 w 603332"/>
                  <a:gd name="connsiteY28" fmla="*/ 167668 h 488078"/>
                  <a:gd name="connsiteX29" fmla="*/ 585976 w 603332"/>
                  <a:gd name="connsiteY29" fmla="*/ 165940 h 488078"/>
                  <a:gd name="connsiteX30" fmla="*/ 598076 w 603332"/>
                  <a:gd name="connsiteY30" fmla="*/ 162483 h 488078"/>
                  <a:gd name="connsiteX31" fmla="*/ 603262 w 603332"/>
                  <a:gd name="connsiteY31" fmla="*/ 165940 h 488078"/>
                  <a:gd name="connsiteX32" fmla="*/ 582519 w 603332"/>
                  <a:gd name="connsiteY32" fmla="*/ 184954 h 488078"/>
                  <a:gd name="connsiteX33" fmla="*/ 579062 w 603332"/>
                  <a:gd name="connsiteY33" fmla="*/ 190140 h 488078"/>
                  <a:gd name="connsiteX34" fmla="*/ 577333 w 603332"/>
                  <a:gd name="connsiteY34" fmla="*/ 198782 h 488078"/>
                  <a:gd name="connsiteX35" fmla="*/ 572148 w 603332"/>
                  <a:gd name="connsiteY35" fmla="*/ 200511 h 488078"/>
                  <a:gd name="connsiteX36" fmla="*/ 565234 w 603332"/>
                  <a:gd name="connsiteY36" fmla="*/ 205696 h 488078"/>
                  <a:gd name="connsiteX37" fmla="*/ 563505 w 603332"/>
                  <a:gd name="connsiteY37" fmla="*/ 212611 h 488078"/>
                  <a:gd name="connsiteX38" fmla="*/ 560048 w 603332"/>
                  <a:gd name="connsiteY38" fmla="*/ 217796 h 488078"/>
                  <a:gd name="connsiteX39" fmla="*/ 558319 w 603332"/>
                  <a:gd name="connsiteY39" fmla="*/ 229896 h 488078"/>
                  <a:gd name="connsiteX40" fmla="*/ 556591 w 603332"/>
                  <a:gd name="connsiteY40" fmla="*/ 235082 h 488078"/>
                  <a:gd name="connsiteX41" fmla="*/ 551405 w 603332"/>
                  <a:gd name="connsiteY41" fmla="*/ 238539 h 488078"/>
                  <a:gd name="connsiteX42" fmla="*/ 528934 w 603332"/>
                  <a:gd name="connsiteY42" fmla="*/ 247181 h 488078"/>
                  <a:gd name="connsiteX43" fmla="*/ 515106 w 603332"/>
                  <a:gd name="connsiteY43" fmla="*/ 248910 h 488078"/>
                  <a:gd name="connsiteX44" fmla="*/ 508192 w 603332"/>
                  <a:gd name="connsiteY44" fmla="*/ 247181 h 488078"/>
                  <a:gd name="connsiteX45" fmla="*/ 506463 w 603332"/>
                  <a:gd name="connsiteY45" fmla="*/ 241996 h 488078"/>
                  <a:gd name="connsiteX46" fmla="*/ 503006 w 603332"/>
                  <a:gd name="connsiteY46" fmla="*/ 233353 h 488078"/>
                  <a:gd name="connsiteX47" fmla="*/ 513377 w 603332"/>
                  <a:gd name="connsiteY47" fmla="*/ 248910 h 488078"/>
                  <a:gd name="connsiteX48" fmla="*/ 516834 w 603332"/>
                  <a:gd name="connsiteY48" fmla="*/ 257553 h 488078"/>
                  <a:gd name="connsiteX49" fmla="*/ 515106 w 603332"/>
                  <a:gd name="connsiteY49" fmla="*/ 274838 h 488078"/>
                  <a:gd name="connsiteX50" fmla="*/ 515106 w 603332"/>
                  <a:gd name="connsiteY50" fmla="*/ 290395 h 488078"/>
                  <a:gd name="connsiteX51" fmla="*/ 523749 w 603332"/>
                  <a:gd name="connsiteY51" fmla="*/ 304223 h 488078"/>
                  <a:gd name="connsiteX52" fmla="*/ 527206 w 603332"/>
                  <a:gd name="connsiteY52" fmla="*/ 316323 h 488078"/>
                  <a:gd name="connsiteX53" fmla="*/ 518563 w 603332"/>
                  <a:gd name="connsiteY53" fmla="*/ 326695 h 488078"/>
                  <a:gd name="connsiteX54" fmla="*/ 513377 w 603332"/>
                  <a:gd name="connsiteY54" fmla="*/ 331880 h 488078"/>
                  <a:gd name="connsiteX55" fmla="*/ 511649 w 603332"/>
                  <a:gd name="connsiteY55" fmla="*/ 338794 h 488078"/>
                  <a:gd name="connsiteX56" fmla="*/ 508192 w 603332"/>
                  <a:gd name="connsiteY56" fmla="*/ 356080 h 488078"/>
                  <a:gd name="connsiteX57" fmla="*/ 511649 w 603332"/>
                  <a:gd name="connsiteY57" fmla="*/ 362994 h 488078"/>
                  <a:gd name="connsiteX58" fmla="*/ 539305 w 603332"/>
                  <a:gd name="connsiteY58" fmla="*/ 368180 h 488078"/>
                  <a:gd name="connsiteX59" fmla="*/ 541034 w 603332"/>
                  <a:gd name="connsiteY59" fmla="*/ 373365 h 488078"/>
                  <a:gd name="connsiteX60" fmla="*/ 534120 w 603332"/>
                  <a:gd name="connsiteY60" fmla="*/ 387194 h 488078"/>
                  <a:gd name="connsiteX61" fmla="*/ 528934 w 603332"/>
                  <a:gd name="connsiteY61" fmla="*/ 388922 h 488078"/>
                  <a:gd name="connsiteX62" fmla="*/ 522020 w 603332"/>
                  <a:gd name="connsiteY62" fmla="*/ 387194 h 488078"/>
                  <a:gd name="connsiteX63" fmla="*/ 513377 w 603332"/>
                  <a:gd name="connsiteY63" fmla="*/ 382008 h 488078"/>
                  <a:gd name="connsiteX64" fmla="*/ 504735 w 603332"/>
                  <a:gd name="connsiteY64" fmla="*/ 390651 h 488078"/>
                  <a:gd name="connsiteX65" fmla="*/ 499549 w 603332"/>
                  <a:gd name="connsiteY65" fmla="*/ 402750 h 488078"/>
                  <a:gd name="connsiteX66" fmla="*/ 494363 w 603332"/>
                  <a:gd name="connsiteY66" fmla="*/ 407936 h 488078"/>
                  <a:gd name="connsiteX67" fmla="*/ 463250 w 603332"/>
                  <a:gd name="connsiteY67" fmla="*/ 413122 h 488078"/>
                  <a:gd name="connsiteX68" fmla="*/ 444236 w 603332"/>
                  <a:gd name="connsiteY68" fmla="*/ 420036 h 488078"/>
                  <a:gd name="connsiteX69" fmla="*/ 440778 w 603332"/>
                  <a:gd name="connsiteY69" fmla="*/ 432136 h 488078"/>
                  <a:gd name="connsiteX70" fmla="*/ 442507 w 603332"/>
                  <a:gd name="connsiteY70" fmla="*/ 439050 h 488078"/>
                  <a:gd name="connsiteX71" fmla="*/ 430407 w 603332"/>
                  <a:gd name="connsiteY71" fmla="*/ 445964 h 488078"/>
                  <a:gd name="connsiteX72" fmla="*/ 423493 w 603332"/>
                  <a:gd name="connsiteY72" fmla="*/ 449421 h 488078"/>
                  <a:gd name="connsiteX73" fmla="*/ 421764 w 603332"/>
                  <a:gd name="connsiteY73" fmla="*/ 454607 h 488078"/>
                  <a:gd name="connsiteX74" fmla="*/ 416579 w 603332"/>
                  <a:gd name="connsiteY74" fmla="*/ 463250 h 488078"/>
                  <a:gd name="connsiteX75" fmla="*/ 388922 w 603332"/>
                  <a:gd name="connsiteY75" fmla="*/ 461521 h 488078"/>
                  <a:gd name="connsiteX76" fmla="*/ 380279 w 603332"/>
                  <a:gd name="connsiteY76" fmla="*/ 458064 h 488078"/>
                  <a:gd name="connsiteX77" fmla="*/ 350894 w 603332"/>
                  <a:gd name="connsiteY77" fmla="*/ 459792 h 488078"/>
                  <a:gd name="connsiteX78" fmla="*/ 342251 w 603332"/>
                  <a:gd name="connsiteY78" fmla="*/ 463250 h 488078"/>
                  <a:gd name="connsiteX79" fmla="*/ 335337 w 603332"/>
                  <a:gd name="connsiteY79" fmla="*/ 466707 h 488078"/>
                  <a:gd name="connsiteX80" fmla="*/ 328423 w 603332"/>
                  <a:gd name="connsiteY80" fmla="*/ 468435 h 488078"/>
                  <a:gd name="connsiteX81" fmla="*/ 326694 w 603332"/>
                  <a:gd name="connsiteY81" fmla="*/ 473621 h 488078"/>
                  <a:gd name="connsiteX82" fmla="*/ 324966 w 603332"/>
                  <a:gd name="connsiteY82" fmla="*/ 487449 h 488078"/>
                  <a:gd name="connsiteX83" fmla="*/ 318052 w 603332"/>
                  <a:gd name="connsiteY83" fmla="*/ 485721 h 488078"/>
                  <a:gd name="connsiteX84" fmla="*/ 312866 w 603332"/>
                  <a:gd name="connsiteY84" fmla="*/ 477078 h 488078"/>
                  <a:gd name="connsiteX85" fmla="*/ 311138 w 603332"/>
                  <a:gd name="connsiteY85" fmla="*/ 471892 h 488078"/>
                  <a:gd name="connsiteX86" fmla="*/ 305952 w 603332"/>
                  <a:gd name="connsiteY86" fmla="*/ 468435 h 488078"/>
                  <a:gd name="connsiteX87" fmla="*/ 304223 w 603332"/>
                  <a:gd name="connsiteY87" fmla="*/ 447693 h 488078"/>
                  <a:gd name="connsiteX88" fmla="*/ 292124 w 603332"/>
                  <a:gd name="connsiteY88" fmla="*/ 437321 h 488078"/>
                  <a:gd name="connsiteX89" fmla="*/ 286938 w 603332"/>
                  <a:gd name="connsiteY89" fmla="*/ 432136 h 488078"/>
                  <a:gd name="connsiteX90" fmla="*/ 283481 w 603332"/>
                  <a:gd name="connsiteY90" fmla="*/ 425222 h 488078"/>
                  <a:gd name="connsiteX91" fmla="*/ 276567 w 603332"/>
                  <a:gd name="connsiteY91" fmla="*/ 421764 h 488078"/>
                  <a:gd name="connsiteX92" fmla="*/ 250639 w 603332"/>
                  <a:gd name="connsiteY92" fmla="*/ 414850 h 488078"/>
                  <a:gd name="connsiteX93" fmla="*/ 247181 w 603332"/>
                  <a:gd name="connsiteY93" fmla="*/ 411393 h 488078"/>
                  <a:gd name="connsiteX94" fmla="*/ 217796 w 603332"/>
                  <a:gd name="connsiteY94" fmla="*/ 409665 h 488078"/>
                  <a:gd name="connsiteX95" fmla="*/ 210882 w 603332"/>
                  <a:gd name="connsiteY95" fmla="*/ 407936 h 488078"/>
                  <a:gd name="connsiteX96" fmla="*/ 209153 w 603332"/>
                  <a:gd name="connsiteY96" fmla="*/ 399293 h 488078"/>
                  <a:gd name="connsiteX97" fmla="*/ 205696 w 603332"/>
                  <a:gd name="connsiteY97" fmla="*/ 378551 h 488078"/>
                  <a:gd name="connsiteX98" fmla="*/ 214339 w 603332"/>
                  <a:gd name="connsiteY98" fmla="*/ 364722 h 488078"/>
                  <a:gd name="connsiteX99" fmla="*/ 228167 w 603332"/>
                  <a:gd name="connsiteY99" fmla="*/ 352623 h 488078"/>
                  <a:gd name="connsiteX100" fmla="*/ 224710 w 603332"/>
                  <a:gd name="connsiteY100" fmla="*/ 338794 h 488078"/>
                  <a:gd name="connsiteX101" fmla="*/ 226439 w 603332"/>
                  <a:gd name="connsiteY101" fmla="*/ 321509 h 488078"/>
                  <a:gd name="connsiteX102" fmla="*/ 210882 w 603332"/>
                  <a:gd name="connsiteY102" fmla="*/ 318052 h 488078"/>
                  <a:gd name="connsiteX103" fmla="*/ 200511 w 603332"/>
                  <a:gd name="connsiteY103" fmla="*/ 314595 h 488078"/>
                  <a:gd name="connsiteX104" fmla="*/ 188411 w 603332"/>
                  <a:gd name="connsiteY104" fmla="*/ 311138 h 488078"/>
                  <a:gd name="connsiteX105" fmla="*/ 169397 w 603332"/>
                  <a:gd name="connsiteY105" fmla="*/ 302495 h 488078"/>
                  <a:gd name="connsiteX106" fmla="*/ 157297 w 603332"/>
                  <a:gd name="connsiteY106" fmla="*/ 297309 h 488078"/>
                  <a:gd name="connsiteX107" fmla="*/ 145197 w 603332"/>
                  <a:gd name="connsiteY107" fmla="*/ 299038 h 488078"/>
                  <a:gd name="connsiteX108" fmla="*/ 134826 w 603332"/>
                  <a:gd name="connsiteY108" fmla="*/ 302495 h 488078"/>
                  <a:gd name="connsiteX109" fmla="*/ 98527 w 603332"/>
                  <a:gd name="connsiteY109" fmla="*/ 299038 h 488078"/>
                  <a:gd name="connsiteX110" fmla="*/ 86427 w 603332"/>
                  <a:gd name="connsiteY110" fmla="*/ 292124 h 488078"/>
                  <a:gd name="connsiteX111" fmla="*/ 77784 w 603332"/>
                  <a:gd name="connsiteY111" fmla="*/ 290395 h 488078"/>
                  <a:gd name="connsiteX112" fmla="*/ 70870 w 603332"/>
                  <a:gd name="connsiteY112" fmla="*/ 276567 h 488078"/>
                  <a:gd name="connsiteX113" fmla="*/ 44942 w 603332"/>
                  <a:gd name="connsiteY113" fmla="*/ 271381 h 488078"/>
                  <a:gd name="connsiteX114" fmla="*/ 43213 w 603332"/>
                  <a:gd name="connsiteY114" fmla="*/ 257553 h 488078"/>
                  <a:gd name="connsiteX115" fmla="*/ 36299 w 603332"/>
                  <a:gd name="connsiteY115" fmla="*/ 241996 h 488078"/>
                  <a:gd name="connsiteX116" fmla="*/ 32842 w 603332"/>
                  <a:gd name="connsiteY116" fmla="*/ 236810 h 488078"/>
                  <a:gd name="connsiteX117" fmla="*/ 24199 w 603332"/>
                  <a:gd name="connsiteY117" fmla="*/ 222982 h 488078"/>
                  <a:gd name="connsiteX118" fmla="*/ 19014 w 603332"/>
                  <a:gd name="connsiteY118" fmla="*/ 219525 h 488078"/>
                  <a:gd name="connsiteX119" fmla="*/ 20742 w 603332"/>
                  <a:gd name="connsiteY119" fmla="*/ 209153 h 488078"/>
                  <a:gd name="connsiteX120" fmla="*/ 15557 w 603332"/>
                  <a:gd name="connsiteY120" fmla="*/ 197054 h 488078"/>
                  <a:gd name="connsiteX121" fmla="*/ 10371 w 603332"/>
                  <a:gd name="connsiteY121" fmla="*/ 190140 h 488078"/>
                  <a:gd name="connsiteX122" fmla="*/ 8642 w 603332"/>
                  <a:gd name="connsiteY122" fmla="*/ 184954 h 488078"/>
                  <a:gd name="connsiteX123" fmla="*/ 3457 w 603332"/>
                  <a:gd name="connsiteY123" fmla="*/ 181497 h 488078"/>
                  <a:gd name="connsiteX124" fmla="*/ 1728 w 603332"/>
                  <a:gd name="connsiteY124" fmla="*/ 155569 h 488078"/>
                  <a:gd name="connsiteX125" fmla="*/ 0 w 603332"/>
                  <a:gd name="connsiteY125" fmla="*/ 141740 h 488078"/>
                  <a:gd name="connsiteX126" fmla="*/ 3457 w 603332"/>
                  <a:gd name="connsiteY126" fmla="*/ 136555 h 488078"/>
                  <a:gd name="connsiteX127" fmla="*/ 13828 w 603332"/>
                  <a:gd name="connsiteY127" fmla="*/ 117541 h 488078"/>
                  <a:gd name="connsiteX128" fmla="*/ 29385 w 603332"/>
                  <a:gd name="connsiteY128" fmla="*/ 101984 h 488078"/>
                  <a:gd name="connsiteX129" fmla="*/ 34570 w 603332"/>
                  <a:gd name="connsiteY129" fmla="*/ 96798 h 488078"/>
                  <a:gd name="connsiteX130" fmla="*/ 44942 w 603332"/>
                  <a:gd name="connsiteY130" fmla="*/ 89884 h 488078"/>
                  <a:gd name="connsiteX131" fmla="*/ 50127 w 603332"/>
                  <a:gd name="connsiteY131" fmla="*/ 86427 h 488078"/>
                  <a:gd name="connsiteX132" fmla="*/ 72598 w 603332"/>
                  <a:gd name="connsiteY132" fmla="*/ 77784 h 488078"/>
                  <a:gd name="connsiteX133" fmla="*/ 86427 w 603332"/>
                  <a:gd name="connsiteY133" fmla="*/ 62227 h 488078"/>
                  <a:gd name="connsiteX134" fmla="*/ 93341 w 603332"/>
                  <a:gd name="connsiteY134" fmla="*/ 60499 h 488078"/>
                  <a:gd name="connsiteX135" fmla="*/ 145197 w 603332"/>
                  <a:gd name="connsiteY135" fmla="*/ 60499 h 488078"/>
                  <a:gd name="connsiteX136" fmla="*/ 146926 w 603332"/>
                  <a:gd name="connsiteY136" fmla="*/ 67413 h 488078"/>
                  <a:gd name="connsiteX137" fmla="*/ 150383 w 603332"/>
                  <a:gd name="connsiteY137" fmla="*/ 72598 h 488078"/>
                  <a:gd name="connsiteX138" fmla="*/ 159026 w 603332"/>
                  <a:gd name="connsiteY138" fmla="*/ 57042 h 488078"/>
                  <a:gd name="connsiteX139" fmla="*/ 169397 w 603332"/>
                  <a:gd name="connsiteY139" fmla="*/ 46670 h 488078"/>
                  <a:gd name="connsiteX140" fmla="*/ 181497 w 603332"/>
                  <a:gd name="connsiteY140" fmla="*/ 48399 h 488078"/>
                  <a:gd name="connsiteX141" fmla="*/ 186682 w 603332"/>
                  <a:gd name="connsiteY141" fmla="*/ 60499 h 488078"/>
                  <a:gd name="connsiteX142" fmla="*/ 184954 w 603332"/>
                  <a:gd name="connsiteY142" fmla="*/ 70870 h 488078"/>
                  <a:gd name="connsiteX143" fmla="*/ 200511 w 603332"/>
                  <a:gd name="connsiteY143" fmla="*/ 69141 h 488078"/>
                  <a:gd name="connsiteX144" fmla="*/ 205696 w 603332"/>
                  <a:gd name="connsiteY144" fmla="*/ 63956 h 488078"/>
                  <a:gd name="connsiteX145" fmla="*/ 207425 w 603332"/>
                  <a:gd name="connsiteY145" fmla="*/ 44942 h 488078"/>
                  <a:gd name="connsiteX146" fmla="*/ 214339 w 603332"/>
                  <a:gd name="connsiteY146" fmla="*/ 39756 h 488078"/>
                  <a:gd name="connsiteX147" fmla="*/ 278295 w 603332"/>
                  <a:gd name="connsiteY147" fmla="*/ 41485 h 488078"/>
                  <a:gd name="connsiteX148" fmla="*/ 286938 w 603332"/>
                  <a:gd name="connsiteY148" fmla="*/ 43213 h 488078"/>
                  <a:gd name="connsiteX149" fmla="*/ 293852 w 603332"/>
                  <a:gd name="connsiteY149" fmla="*/ 44942 h 488078"/>
                  <a:gd name="connsiteX150" fmla="*/ 321509 w 603332"/>
                  <a:gd name="connsiteY150" fmla="*/ 43213 h 488078"/>
                  <a:gd name="connsiteX151" fmla="*/ 328423 w 603332"/>
                  <a:gd name="connsiteY151" fmla="*/ 34571 h 488078"/>
                  <a:gd name="connsiteX152" fmla="*/ 343980 w 603332"/>
                  <a:gd name="connsiteY152" fmla="*/ 25928 h 488078"/>
                  <a:gd name="connsiteX153" fmla="*/ 350894 w 603332"/>
                  <a:gd name="connsiteY153" fmla="*/ 15557 h 488078"/>
                  <a:gd name="connsiteX154" fmla="*/ 352623 w 603332"/>
                  <a:gd name="connsiteY154" fmla="*/ 8642 h 488078"/>
                  <a:gd name="connsiteX155" fmla="*/ 357808 w 603332"/>
                  <a:gd name="connsiteY155" fmla="*/ 5185 h 488078"/>
                  <a:gd name="connsiteX156" fmla="*/ 364722 w 603332"/>
                  <a:gd name="connsiteY156" fmla="*/ 0 h 488078"/>
                  <a:gd name="connsiteX0" fmla="*/ 364722 w 603332"/>
                  <a:gd name="connsiteY0" fmla="*/ 0 h 488078"/>
                  <a:gd name="connsiteX1" fmla="*/ 368180 w 603332"/>
                  <a:gd name="connsiteY1" fmla="*/ 8642 h 488078"/>
                  <a:gd name="connsiteX2" fmla="*/ 373365 w 603332"/>
                  <a:gd name="connsiteY2" fmla="*/ 15557 h 488078"/>
                  <a:gd name="connsiteX3" fmla="*/ 376822 w 603332"/>
                  <a:gd name="connsiteY3" fmla="*/ 20742 h 488078"/>
                  <a:gd name="connsiteX4" fmla="*/ 380279 w 603332"/>
                  <a:gd name="connsiteY4" fmla="*/ 27656 h 488078"/>
                  <a:gd name="connsiteX5" fmla="*/ 388922 w 603332"/>
                  <a:gd name="connsiteY5" fmla="*/ 36299 h 488078"/>
                  <a:gd name="connsiteX6" fmla="*/ 392379 w 603332"/>
                  <a:gd name="connsiteY6" fmla="*/ 43213 h 488078"/>
                  <a:gd name="connsiteX7" fmla="*/ 459792 w 603332"/>
                  <a:gd name="connsiteY7" fmla="*/ 44942 h 488078"/>
                  <a:gd name="connsiteX8" fmla="*/ 464978 w 603332"/>
                  <a:gd name="connsiteY8" fmla="*/ 48399 h 488078"/>
                  <a:gd name="connsiteX9" fmla="*/ 466707 w 603332"/>
                  <a:gd name="connsiteY9" fmla="*/ 53584 h 488078"/>
                  <a:gd name="connsiteX10" fmla="*/ 477078 w 603332"/>
                  <a:gd name="connsiteY10" fmla="*/ 60499 h 488078"/>
                  <a:gd name="connsiteX11" fmla="*/ 496092 w 603332"/>
                  <a:gd name="connsiteY11" fmla="*/ 62227 h 488078"/>
                  <a:gd name="connsiteX12" fmla="*/ 501277 w 603332"/>
                  <a:gd name="connsiteY12" fmla="*/ 65684 h 488078"/>
                  <a:gd name="connsiteX13" fmla="*/ 503006 w 603332"/>
                  <a:gd name="connsiteY13" fmla="*/ 70870 h 488078"/>
                  <a:gd name="connsiteX14" fmla="*/ 506463 w 603332"/>
                  <a:gd name="connsiteY14" fmla="*/ 76056 h 488078"/>
                  <a:gd name="connsiteX15" fmla="*/ 508192 w 603332"/>
                  <a:gd name="connsiteY15" fmla="*/ 82970 h 488078"/>
                  <a:gd name="connsiteX16" fmla="*/ 513377 w 603332"/>
                  <a:gd name="connsiteY16" fmla="*/ 88155 h 488078"/>
                  <a:gd name="connsiteX17" fmla="*/ 518563 w 603332"/>
                  <a:gd name="connsiteY17" fmla="*/ 95070 h 488078"/>
                  <a:gd name="connsiteX18" fmla="*/ 530663 w 603332"/>
                  <a:gd name="connsiteY18" fmla="*/ 105441 h 488078"/>
                  <a:gd name="connsiteX19" fmla="*/ 563505 w 603332"/>
                  <a:gd name="connsiteY19" fmla="*/ 101984 h 488078"/>
                  <a:gd name="connsiteX20" fmla="*/ 568691 w 603332"/>
                  <a:gd name="connsiteY20" fmla="*/ 100255 h 488078"/>
                  <a:gd name="connsiteX21" fmla="*/ 570419 w 603332"/>
                  <a:gd name="connsiteY21" fmla="*/ 107169 h 488078"/>
                  <a:gd name="connsiteX22" fmla="*/ 572148 w 603332"/>
                  <a:gd name="connsiteY22" fmla="*/ 115812 h 488078"/>
                  <a:gd name="connsiteX23" fmla="*/ 579062 w 603332"/>
                  <a:gd name="connsiteY23" fmla="*/ 131369 h 488078"/>
                  <a:gd name="connsiteX24" fmla="*/ 580791 w 603332"/>
                  <a:gd name="connsiteY24" fmla="*/ 140012 h 488078"/>
                  <a:gd name="connsiteX25" fmla="*/ 580791 w 603332"/>
                  <a:gd name="connsiteY25" fmla="*/ 150383 h 488078"/>
                  <a:gd name="connsiteX26" fmla="*/ 575605 w 603332"/>
                  <a:gd name="connsiteY26" fmla="*/ 152112 h 488078"/>
                  <a:gd name="connsiteX27" fmla="*/ 573876 w 603332"/>
                  <a:gd name="connsiteY27" fmla="*/ 157297 h 488078"/>
                  <a:gd name="connsiteX28" fmla="*/ 577333 w 603332"/>
                  <a:gd name="connsiteY28" fmla="*/ 167668 h 488078"/>
                  <a:gd name="connsiteX29" fmla="*/ 585976 w 603332"/>
                  <a:gd name="connsiteY29" fmla="*/ 165940 h 488078"/>
                  <a:gd name="connsiteX30" fmla="*/ 598076 w 603332"/>
                  <a:gd name="connsiteY30" fmla="*/ 162483 h 488078"/>
                  <a:gd name="connsiteX31" fmla="*/ 603262 w 603332"/>
                  <a:gd name="connsiteY31" fmla="*/ 165940 h 488078"/>
                  <a:gd name="connsiteX32" fmla="*/ 582519 w 603332"/>
                  <a:gd name="connsiteY32" fmla="*/ 184954 h 488078"/>
                  <a:gd name="connsiteX33" fmla="*/ 579062 w 603332"/>
                  <a:gd name="connsiteY33" fmla="*/ 190140 h 488078"/>
                  <a:gd name="connsiteX34" fmla="*/ 577333 w 603332"/>
                  <a:gd name="connsiteY34" fmla="*/ 198782 h 488078"/>
                  <a:gd name="connsiteX35" fmla="*/ 572148 w 603332"/>
                  <a:gd name="connsiteY35" fmla="*/ 200511 h 488078"/>
                  <a:gd name="connsiteX36" fmla="*/ 565234 w 603332"/>
                  <a:gd name="connsiteY36" fmla="*/ 205696 h 488078"/>
                  <a:gd name="connsiteX37" fmla="*/ 563505 w 603332"/>
                  <a:gd name="connsiteY37" fmla="*/ 212611 h 488078"/>
                  <a:gd name="connsiteX38" fmla="*/ 560048 w 603332"/>
                  <a:gd name="connsiteY38" fmla="*/ 217796 h 488078"/>
                  <a:gd name="connsiteX39" fmla="*/ 558319 w 603332"/>
                  <a:gd name="connsiteY39" fmla="*/ 229896 h 488078"/>
                  <a:gd name="connsiteX40" fmla="*/ 556591 w 603332"/>
                  <a:gd name="connsiteY40" fmla="*/ 235082 h 488078"/>
                  <a:gd name="connsiteX41" fmla="*/ 551405 w 603332"/>
                  <a:gd name="connsiteY41" fmla="*/ 238539 h 488078"/>
                  <a:gd name="connsiteX42" fmla="*/ 528934 w 603332"/>
                  <a:gd name="connsiteY42" fmla="*/ 247181 h 488078"/>
                  <a:gd name="connsiteX43" fmla="*/ 515106 w 603332"/>
                  <a:gd name="connsiteY43" fmla="*/ 248910 h 488078"/>
                  <a:gd name="connsiteX44" fmla="*/ 508192 w 603332"/>
                  <a:gd name="connsiteY44" fmla="*/ 247181 h 488078"/>
                  <a:gd name="connsiteX45" fmla="*/ 506463 w 603332"/>
                  <a:gd name="connsiteY45" fmla="*/ 241996 h 488078"/>
                  <a:gd name="connsiteX46" fmla="*/ 513377 w 603332"/>
                  <a:gd name="connsiteY46" fmla="*/ 248910 h 488078"/>
                  <a:gd name="connsiteX47" fmla="*/ 516834 w 603332"/>
                  <a:gd name="connsiteY47" fmla="*/ 257553 h 488078"/>
                  <a:gd name="connsiteX48" fmla="*/ 515106 w 603332"/>
                  <a:gd name="connsiteY48" fmla="*/ 274838 h 488078"/>
                  <a:gd name="connsiteX49" fmla="*/ 515106 w 603332"/>
                  <a:gd name="connsiteY49" fmla="*/ 290395 h 488078"/>
                  <a:gd name="connsiteX50" fmla="*/ 523749 w 603332"/>
                  <a:gd name="connsiteY50" fmla="*/ 304223 h 488078"/>
                  <a:gd name="connsiteX51" fmla="*/ 527206 w 603332"/>
                  <a:gd name="connsiteY51" fmla="*/ 316323 h 488078"/>
                  <a:gd name="connsiteX52" fmla="*/ 518563 w 603332"/>
                  <a:gd name="connsiteY52" fmla="*/ 326695 h 488078"/>
                  <a:gd name="connsiteX53" fmla="*/ 513377 w 603332"/>
                  <a:gd name="connsiteY53" fmla="*/ 331880 h 488078"/>
                  <a:gd name="connsiteX54" fmla="*/ 511649 w 603332"/>
                  <a:gd name="connsiteY54" fmla="*/ 338794 h 488078"/>
                  <a:gd name="connsiteX55" fmla="*/ 508192 w 603332"/>
                  <a:gd name="connsiteY55" fmla="*/ 356080 h 488078"/>
                  <a:gd name="connsiteX56" fmla="*/ 511649 w 603332"/>
                  <a:gd name="connsiteY56" fmla="*/ 362994 h 488078"/>
                  <a:gd name="connsiteX57" fmla="*/ 539305 w 603332"/>
                  <a:gd name="connsiteY57" fmla="*/ 368180 h 488078"/>
                  <a:gd name="connsiteX58" fmla="*/ 541034 w 603332"/>
                  <a:gd name="connsiteY58" fmla="*/ 373365 h 488078"/>
                  <a:gd name="connsiteX59" fmla="*/ 534120 w 603332"/>
                  <a:gd name="connsiteY59" fmla="*/ 387194 h 488078"/>
                  <a:gd name="connsiteX60" fmla="*/ 528934 w 603332"/>
                  <a:gd name="connsiteY60" fmla="*/ 388922 h 488078"/>
                  <a:gd name="connsiteX61" fmla="*/ 522020 w 603332"/>
                  <a:gd name="connsiteY61" fmla="*/ 387194 h 488078"/>
                  <a:gd name="connsiteX62" fmla="*/ 513377 w 603332"/>
                  <a:gd name="connsiteY62" fmla="*/ 382008 h 488078"/>
                  <a:gd name="connsiteX63" fmla="*/ 504735 w 603332"/>
                  <a:gd name="connsiteY63" fmla="*/ 390651 h 488078"/>
                  <a:gd name="connsiteX64" fmla="*/ 499549 w 603332"/>
                  <a:gd name="connsiteY64" fmla="*/ 402750 h 488078"/>
                  <a:gd name="connsiteX65" fmla="*/ 494363 w 603332"/>
                  <a:gd name="connsiteY65" fmla="*/ 407936 h 488078"/>
                  <a:gd name="connsiteX66" fmla="*/ 463250 w 603332"/>
                  <a:gd name="connsiteY66" fmla="*/ 413122 h 488078"/>
                  <a:gd name="connsiteX67" fmla="*/ 444236 w 603332"/>
                  <a:gd name="connsiteY67" fmla="*/ 420036 h 488078"/>
                  <a:gd name="connsiteX68" fmla="*/ 440778 w 603332"/>
                  <a:gd name="connsiteY68" fmla="*/ 432136 h 488078"/>
                  <a:gd name="connsiteX69" fmla="*/ 442507 w 603332"/>
                  <a:gd name="connsiteY69" fmla="*/ 439050 h 488078"/>
                  <a:gd name="connsiteX70" fmla="*/ 430407 w 603332"/>
                  <a:gd name="connsiteY70" fmla="*/ 445964 h 488078"/>
                  <a:gd name="connsiteX71" fmla="*/ 423493 w 603332"/>
                  <a:gd name="connsiteY71" fmla="*/ 449421 h 488078"/>
                  <a:gd name="connsiteX72" fmla="*/ 421764 w 603332"/>
                  <a:gd name="connsiteY72" fmla="*/ 454607 h 488078"/>
                  <a:gd name="connsiteX73" fmla="*/ 416579 w 603332"/>
                  <a:gd name="connsiteY73" fmla="*/ 463250 h 488078"/>
                  <a:gd name="connsiteX74" fmla="*/ 388922 w 603332"/>
                  <a:gd name="connsiteY74" fmla="*/ 461521 h 488078"/>
                  <a:gd name="connsiteX75" fmla="*/ 380279 w 603332"/>
                  <a:gd name="connsiteY75" fmla="*/ 458064 h 488078"/>
                  <a:gd name="connsiteX76" fmla="*/ 350894 w 603332"/>
                  <a:gd name="connsiteY76" fmla="*/ 459792 h 488078"/>
                  <a:gd name="connsiteX77" fmla="*/ 342251 w 603332"/>
                  <a:gd name="connsiteY77" fmla="*/ 463250 h 488078"/>
                  <a:gd name="connsiteX78" fmla="*/ 335337 w 603332"/>
                  <a:gd name="connsiteY78" fmla="*/ 466707 h 488078"/>
                  <a:gd name="connsiteX79" fmla="*/ 328423 w 603332"/>
                  <a:gd name="connsiteY79" fmla="*/ 468435 h 488078"/>
                  <a:gd name="connsiteX80" fmla="*/ 326694 w 603332"/>
                  <a:gd name="connsiteY80" fmla="*/ 473621 h 488078"/>
                  <a:gd name="connsiteX81" fmla="*/ 324966 w 603332"/>
                  <a:gd name="connsiteY81" fmla="*/ 487449 h 488078"/>
                  <a:gd name="connsiteX82" fmla="*/ 318052 w 603332"/>
                  <a:gd name="connsiteY82" fmla="*/ 485721 h 488078"/>
                  <a:gd name="connsiteX83" fmla="*/ 312866 w 603332"/>
                  <a:gd name="connsiteY83" fmla="*/ 477078 h 488078"/>
                  <a:gd name="connsiteX84" fmla="*/ 311138 w 603332"/>
                  <a:gd name="connsiteY84" fmla="*/ 471892 h 488078"/>
                  <a:gd name="connsiteX85" fmla="*/ 305952 w 603332"/>
                  <a:gd name="connsiteY85" fmla="*/ 468435 h 488078"/>
                  <a:gd name="connsiteX86" fmla="*/ 304223 w 603332"/>
                  <a:gd name="connsiteY86" fmla="*/ 447693 h 488078"/>
                  <a:gd name="connsiteX87" fmla="*/ 292124 w 603332"/>
                  <a:gd name="connsiteY87" fmla="*/ 437321 h 488078"/>
                  <a:gd name="connsiteX88" fmla="*/ 286938 w 603332"/>
                  <a:gd name="connsiteY88" fmla="*/ 432136 h 488078"/>
                  <a:gd name="connsiteX89" fmla="*/ 283481 w 603332"/>
                  <a:gd name="connsiteY89" fmla="*/ 425222 h 488078"/>
                  <a:gd name="connsiteX90" fmla="*/ 276567 w 603332"/>
                  <a:gd name="connsiteY90" fmla="*/ 421764 h 488078"/>
                  <a:gd name="connsiteX91" fmla="*/ 250639 w 603332"/>
                  <a:gd name="connsiteY91" fmla="*/ 414850 h 488078"/>
                  <a:gd name="connsiteX92" fmla="*/ 247181 w 603332"/>
                  <a:gd name="connsiteY92" fmla="*/ 411393 h 488078"/>
                  <a:gd name="connsiteX93" fmla="*/ 217796 w 603332"/>
                  <a:gd name="connsiteY93" fmla="*/ 409665 h 488078"/>
                  <a:gd name="connsiteX94" fmla="*/ 210882 w 603332"/>
                  <a:gd name="connsiteY94" fmla="*/ 407936 h 488078"/>
                  <a:gd name="connsiteX95" fmla="*/ 209153 w 603332"/>
                  <a:gd name="connsiteY95" fmla="*/ 399293 h 488078"/>
                  <a:gd name="connsiteX96" fmla="*/ 205696 w 603332"/>
                  <a:gd name="connsiteY96" fmla="*/ 378551 h 488078"/>
                  <a:gd name="connsiteX97" fmla="*/ 214339 w 603332"/>
                  <a:gd name="connsiteY97" fmla="*/ 364722 h 488078"/>
                  <a:gd name="connsiteX98" fmla="*/ 228167 w 603332"/>
                  <a:gd name="connsiteY98" fmla="*/ 352623 h 488078"/>
                  <a:gd name="connsiteX99" fmla="*/ 224710 w 603332"/>
                  <a:gd name="connsiteY99" fmla="*/ 338794 h 488078"/>
                  <a:gd name="connsiteX100" fmla="*/ 226439 w 603332"/>
                  <a:gd name="connsiteY100" fmla="*/ 321509 h 488078"/>
                  <a:gd name="connsiteX101" fmla="*/ 210882 w 603332"/>
                  <a:gd name="connsiteY101" fmla="*/ 318052 h 488078"/>
                  <a:gd name="connsiteX102" fmla="*/ 200511 w 603332"/>
                  <a:gd name="connsiteY102" fmla="*/ 314595 h 488078"/>
                  <a:gd name="connsiteX103" fmla="*/ 188411 w 603332"/>
                  <a:gd name="connsiteY103" fmla="*/ 311138 h 488078"/>
                  <a:gd name="connsiteX104" fmla="*/ 169397 w 603332"/>
                  <a:gd name="connsiteY104" fmla="*/ 302495 h 488078"/>
                  <a:gd name="connsiteX105" fmla="*/ 157297 w 603332"/>
                  <a:gd name="connsiteY105" fmla="*/ 297309 h 488078"/>
                  <a:gd name="connsiteX106" fmla="*/ 145197 w 603332"/>
                  <a:gd name="connsiteY106" fmla="*/ 299038 h 488078"/>
                  <a:gd name="connsiteX107" fmla="*/ 134826 w 603332"/>
                  <a:gd name="connsiteY107" fmla="*/ 302495 h 488078"/>
                  <a:gd name="connsiteX108" fmla="*/ 98527 w 603332"/>
                  <a:gd name="connsiteY108" fmla="*/ 299038 h 488078"/>
                  <a:gd name="connsiteX109" fmla="*/ 86427 w 603332"/>
                  <a:gd name="connsiteY109" fmla="*/ 292124 h 488078"/>
                  <a:gd name="connsiteX110" fmla="*/ 77784 w 603332"/>
                  <a:gd name="connsiteY110" fmla="*/ 290395 h 488078"/>
                  <a:gd name="connsiteX111" fmla="*/ 70870 w 603332"/>
                  <a:gd name="connsiteY111" fmla="*/ 276567 h 488078"/>
                  <a:gd name="connsiteX112" fmla="*/ 44942 w 603332"/>
                  <a:gd name="connsiteY112" fmla="*/ 271381 h 488078"/>
                  <a:gd name="connsiteX113" fmla="*/ 43213 w 603332"/>
                  <a:gd name="connsiteY113" fmla="*/ 257553 h 488078"/>
                  <a:gd name="connsiteX114" fmla="*/ 36299 w 603332"/>
                  <a:gd name="connsiteY114" fmla="*/ 241996 h 488078"/>
                  <a:gd name="connsiteX115" fmla="*/ 32842 w 603332"/>
                  <a:gd name="connsiteY115" fmla="*/ 236810 h 488078"/>
                  <a:gd name="connsiteX116" fmla="*/ 24199 w 603332"/>
                  <a:gd name="connsiteY116" fmla="*/ 222982 h 488078"/>
                  <a:gd name="connsiteX117" fmla="*/ 19014 w 603332"/>
                  <a:gd name="connsiteY117" fmla="*/ 219525 h 488078"/>
                  <a:gd name="connsiteX118" fmla="*/ 20742 w 603332"/>
                  <a:gd name="connsiteY118" fmla="*/ 209153 h 488078"/>
                  <a:gd name="connsiteX119" fmla="*/ 15557 w 603332"/>
                  <a:gd name="connsiteY119" fmla="*/ 197054 h 488078"/>
                  <a:gd name="connsiteX120" fmla="*/ 10371 w 603332"/>
                  <a:gd name="connsiteY120" fmla="*/ 190140 h 488078"/>
                  <a:gd name="connsiteX121" fmla="*/ 8642 w 603332"/>
                  <a:gd name="connsiteY121" fmla="*/ 184954 h 488078"/>
                  <a:gd name="connsiteX122" fmla="*/ 3457 w 603332"/>
                  <a:gd name="connsiteY122" fmla="*/ 181497 h 488078"/>
                  <a:gd name="connsiteX123" fmla="*/ 1728 w 603332"/>
                  <a:gd name="connsiteY123" fmla="*/ 155569 h 488078"/>
                  <a:gd name="connsiteX124" fmla="*/ 0 w 603332"/>
                  <a:gd name="connsiteY124" fmla="*/ 141740 h 488078"/>
                  <a:gd name="connsiteX125" fmla="*/ 3457 w 603332"/>
                  <a:gd name="connsiteY125" fmla="*/ 136555 h 488078"/>
                  <a:gd name="connsiteX126" fmla="*/ 13828 w 603332"/>
                  <a:gd name="connsiteY126" fmla="*/ 117541 h 488078"/>
                  <a:gd name="connsiteX127" fmla="*/ 29385 w 603332"/>
                  <a:gd name="connsiteY127" fmla="*/ 101984 h 488078"/>
                  <a:gd name="connsiteX128" fmla="*/ 34570 w 603332"/>
                  <a:gd name="connsiteY128" fmla="*/ 96798 h 488078"/>
                  <a:gd name="connsiteX129" fmla="*/ 44942 w 603332"/>
                  <a:gd name="connsiteY129" fmla="*/ 89884 h 488078"/>
                  <a:gd name="connsiteX130" fmla="*/ 50127 w 603332"/>
                  <a:gd name="connsiteY130" fmla="*/ 86427 h 488078"/>
                  <a:gd name="connsiteX131" fmla="*/ 72598 w 603332"/>
                  <a:gd name="connsiteY131" fmla="*/ 77784 h 488078"/>
                  <a:gd name="connsiteX132" fmla="*/ 86427 w 603332"/>
                  <a:gd name="connsiteY132" fmla="*/ 62227 h 488078"/>
                  <a:gd name="connsiteX133" fmla="*/ 93341 w 603332"/>
                  <a:gd name="connsiteY133" fmla="*/ 60499 h 488078"/>
                  <a:gd name="connsiteX134" fmla="*/ 145197 w 603332"/>
                  <a:gd name="connsiteY134" fmla="*/ 60499 h 488078"/>
                  <a:gd name="connsiteX135" fmla="*/ 146926 w 603332"/>
                  <a:gd name="connsiteY135" fmla="*/ 67413 h 488078"/>
                  <a:gd name="connsiteX136" fmla="*/ 150383 w 603332"/>
                  <a:gd name="connsiteY136" fmla="*/ 72598 h 488078"/>
                  <a:gd name="connsiteX137" fmla="*/ 159026 w 603332"/>
                  <a:gd name="connsiteY137" fmla="*/ 57042 h 488078"/>
                  <a:gd name="connsiteX138" fmla="*/ 169397 w 603332"/>
                  <a:gd name="connsiteY138" fmla="*/ 46670 h 488078"/>
                  <a:gd name="connsiteX139" fmla="*/ 181497 w 603332"/>
                  <a:gd name="connsiteY139" fmla="*/ 48399 h 488078"/>
                  <a:gd name="connsiteX140" fmla="*/ 186682 w 603332"/>
                  <a:gd name="connsiteY140" fmla="*/ 60499 h 488078"/>
                  <a:gd name="connsiteX141" fmla="*/ 184954 w 603332"/>
                  <a:gd name="connsiteY141" fmla="*/ 70870 h 488078"/>
                  <a:gd name="connsiteX142" fmla="*/ 200511 w 603332"/>
                  <a:gd name="connsiteY142" fmla="*/ 69141 h 488078"/>
                  <a:gd name="connsiteX143" fmla="*/ 205696 w 603332"/>
                  <a:gd name="connsiteY143" fmla="*/ 63956 h 488078"/>
                  <a:gd name="connsiteX144" fmla="*/ 207425 w 603332"/>
                  <a:gd name="connsiteY144" fmla="*/ 44942 h 488078"/>
                  <a:gd name="connsiteX145" fmla="*/ 214339 w 603332"/>
                  <a:gd name="connsiteY145" fmla="*/ 39756 h 488078"/>
                  <a:gd name="connsiteX146" fmla="*/ 278295 w 603332"/>
                  <a:gd name="connsiteY146" fmla="*/ 41485 h 488078"/>
                  <a:gd name="connsiteX147" fmla="*/ 286938 w 603332"/>
                  <a:gd name="connsiteY147" fmla="*/ 43213 h 488078"/>
                  <a:gd name="connsiteX148" fmla="*/ 293852 w 603332"/>
                  <a:gd name="connsiteY148" fmla="*/ 44942 h 488078"/>
                  <a:gd name="connsiteX149" fmla="*/ 321509 w 603332"/>
                  <a:gd name="connsiteY149" fmla="*/ 43213 h 488078"/>
                  <a:gd name="connsiteX150" fmla="*/ 328423 w 603332"/>
                  <a:gd name="connsiteY150" fmla="*/ 34571 h 488078"/>
                  <a:gd name="connsiteX151" fmla="*/ 343980 w 603332"/>
                  <a:gd name="connsiteY151" fmla="*/ 25928 h 488078"/>
                  <a:gd name="connsiteX152" fmla="*/ 350894 w 603332"/>
                  <a:gd name="connsiteY152" fmla="*/ 15557 h 488078"/>
                  <a:gd name="connsiteX153" fmla="*/ 352623 w 603332"/>
                  <a:gd name="connsiteY153" fmla="*/ 8642 h 488078"/>
                  <a:gd name="connsiteX154" fmla="*/ 357808 w 603332"/>
                  <a:gd name="connsiteY154" fmla="*/ 5185 h 488078"/>
                  <a:gd name="connsiteX155" fmla="*/ 364722 w 603332"/>
                  <a:gd name="connsiteY155" fmla="*/ 0 h 488078"/>
                  <a:gd name="connsiteX0" fmla="*/ 364722 w 603332"/>
                  <a:gd name="connsiteY0" fmla="*/ 0 h 488078"/>
                  <a:gd name="connsiteX1" fmla="*/ 368180 w 603332"/>
                  <a:gd name="connsiteY1" fmla="*/ 8642 h 488078"/>
                  <a:gd name="connsiteX2" fmla="*/ 373365 w 603332"/>
                  <a:gd name="connsiteY2" fmla="*/ 15557 h 488078"/>
                  <a:gd name="connsiteX3" fmla="*/ 376822 w 603332"/>
                  <a:gd name="connsiteY3" fmla="*/ 20742 h 488078"/>
                  <a:gd name="connsiteX4" fmla="*/ 380279 w 603332"/>
                  <a:gd name="connsiteY4" fmla="*/ 27656 h 488078"/>
                  <a:gd name="connsiteX5" fmla="*/ 388922 w 603332"/>
                  <a:gd name="connsiteY5" fmla="*/ 36299 h 488078"/>
                  <a:gd name="connsiteX6" fmla="*/ 392379 w 603332"/>
                  <a:gd name="connsiteY6" fmla="*/ 43213 h 488078"/>
                  <a:gd name="connsiteX7" fmla="*/ 459792 w 603332"/>
                  <a:gd name="connsiteY7" fmla="*/ 44942 h 488078"/>
                  <a:gd name="connsiteX8" fmla="*/ 464978 w 603332"/>
                  <a:gd name="connsiteY8" fmla="*/ 48399 h 488078"/>
                  <a:gd name="connsiteX9" fmla="*/ 466707 w 603332"/>
                  <a:gd name="connsiteY9" fmla="*/ 53584 h 488078"/>
                  <a:gd name="connsiteX10" fmla="*/ 477078 w 603332"/>
                  <a:gd name="connsiteY10" fmla="*/ 60499 h 488078"/>
                  <a:gd name="connsiteX11" fmla="*/ 496092 w 603332"/>
                  <a:gd name="connsiteY11" fmla="*/ 62227 h 488078"/>
                  <a:gd name="connsiteX12" fmla="*/ 501277 w 603332"/>
                  <a:gd name="connsiteY12" fmla="*/ 65684 h 488078"/>
                  <a:gd name="connsiteX13" fmla="*/ 503006 w 603332"/>
                  <a:gd name="connsiteY13" fmla="*/ 70870 h 488078"/>
                  <a:gd name="connsiteX14" fmla="*/ 506463 w 603332"/>
                  <a:gd name="connsiteY14" fmla="*/ 76056 h 488078"/>
                  <a:gd name="connsiteX15" fmla="*/ 508192 w 603332"/>
                  <a:gd name="connsiteY15" fmla="*/ 82970 h 488078"/>
                  <a:gd name="connsiteX16" fmla="*/ 513377 w 603332"/>
                  <a:gd name="connsiteY16" fmla="*/ 88155 h 488078"/>
                  <a:gd name="connsiteX17" fmla="*/ 518563 w 603332"/>
                  <a:gd name="connsiteY17" fmla="*/ 95070 h 488078"/>
                  <a:gd name="connsiteX18" fmla="*/ 530663 w 603332"/>
                  <a:gd name="connsiteY18" fmla="*/ 105441 h 488078"/>
                  <a:gd name="connsiteX19" fmla="*/ 563505 w 603332"/>
                  <a:gd name="connsiteY19" fmla="*/ 101984 h 488078"/>
                  <a:gd name="connsiteX20" fmla="*/ 568691 w 603332"/>
                  <a:gd name="connsiteY20" fmla="*/ 100255 h 488078"/>
                  <a:gd name="connsiteX21" fmla="*/ 570419 w 603332"/>
                  <a:gd name="connsiteY21" fmla="*/ 107169 h 488078"/>
                  <a:gd name="connsiteX22" fmla="*/ 572148 w 603332"/>
                  <a:gd name="connsiteY22" fmla="*/ 115812 h 488078"/>
                  <a:gd name="connsiteX23" fmla="*/ 579062 w 603332"/>
                  <a:gd name="connsiteY23" fmla="*/ 131369 h 488078"/>
                  <a:gd name="connsiteX24" fmla="*/ 580791 w 603332"/>
                  <a:gd name="connsiteY24" fmla="*/ 140012 h 488078"/>
                  <a:gd name="connsiteX25" fmla="*/ 580791 w 603332"/>
                  <a:gd name="connsiteY25" fmla="*/ 150383 h 488078"/>
                  <a:gd name="connsiteX26" fmla="*/ 575605 w 603332"/>
                  <a:gd name="connsiteY26" fmla="*/ 152112 h 488078"/>
                  <a:gd name="connsiteX27" fmla="*/ 573876 w 603332"/>
                  <a:gd name="connsiteY27" fmla="*/ 157297 h 488078"/>
                  <a:gd name="connsiteX28" fmla="*/ 577333 w 603332"/>
                  <a:gd name="connsiteY28" fmla="*/ 167668 h 488078"/>
                  <a:gd name="connsiteX29" fmla="*/ 585976 w 603332"/>
                  <a:gd name="connsiteY29" fmla="*/ 165940 h 488078"/>
                  <a:gd name="connsiteX30" fmla="*/ 598076 w 603332"/>
                  <a:gd name="connsiteY30" fmla="*/ 162483 h 488078"/>
                  <a:gd name="connsiteX31" fmla="*/ 603262 w 603332"/>
                  <a:gd name="connsiteY31" fmla="*/ 165940 h 488078"/>
                  <a:gd name="connsiteX32" fmla="*/ 582519 w 603332"/>
                  <a:gd name="connsiteY32" fmla="*/ 184954 h 488078"/>
                  <a:gd name="connsiteX33" fmla="*/ 579062 w 603332"/>
                  <a:gd name="connsiteY33" fmla="*/ 190140 h 488078"/>
                  <a:gd name="connsiteX34" fmla="*/ 577333 w 603332"/>
                  <a:gd name="connsiteY34" fmla="*/ 198782 h 488078"/>
                  <a:gd name="connsiteX35" fmla="*/ 572148 w 603332"/>
                  <a:gd name="connsiteY35" fmla="*/ 200511 h 488078"/>
                  <a:gd name="connsiteX36" fmla="*/ 565234 w 603332"/>
                  <a:gd name="connsiteY36" fmla="*/ 205696 h 488078"/>
                  <a:gd name="connsiteX37" fmla="*/ 563505 w 603332"/>
                  <a:gd name="connsiteY37" fmla="*/ 212611 h 488078"/>
                  <a:gd name="connsiteX38" fmla="*/ 560048 w 603332"/>
                  <a:gd name="connsiteY38" fmla="*/ 217796 h 488078"/>
                  <a:gd name="connsiteX39" fmla="*/ 558319 w 603332"/>
                  <a:gd name="connsiteY39" fmla="*/ 229896 h 488078"/>
                  <a:gd name="connsiteX40" fmla="*/ 556591 w 603332"/>
                  <a:gd name="connsiteY40" fmla="*/ 235082 h 488078"/>
                  <a:gd name="connsiteX41" fmla="*/ 551405 w 603332"/>
                  <a:gd name="connsiteY41" fmla="*/ 238539 h 488078"/>
                  <a:gd name="connsiteX42" fmla="*/ 528934 w 603332"/>
                  <a:gd name="connsiteY42" fmla="*/ 247181 h 488078"/>
                  <a:gd name="connsiteX43" fmla="*/ 515106 w 603332"/>
                  <a:gd name="connsiteY43" fmla="*/ 248910 h 488078"/>
                  <a:gd name="connsiteX44" fmla="*/ 508192 w 603332"/>
                  <a:gd name="connsiteY44" fmla="*/ 247181 h 488078"/>
                  <a:gd name="connsiteX45" fmla="*/ 506463 w 603332"/>
                  <a:gd name="connsiteY45" fmla="*/ 241996 h 488078"/>
                  <a:gd name="connsiteX46" fmla="*/ 513377 w 603332"/>
                  <a:gd name="connsiteY46" fmla="*/ 248910 h 488078"/>
                  <a:gd name="connsiteX47" fmla="*/ 516834 w 603332"/>
                  <a:gd name="connsiteY47" fmla="*/ 257553 h 488078"/>
                  <a:gd name="connsiteX48" fmla="*/ 515106 w 603332"/>
                  <a:gd name="connsiteY48" fmla="*/ 274838 h 488078"/>
                  <a:gd name="connsiteX49" fmla="*/ 515106 w 603332"/>
                  <a:gd name="connsiteY49" fmla="*/ 290395 h 488078"/>
                  <a:gd name="connsiteX50" fmla="*/ 523749 w 603332"/>
                  <a:gd name="connsiteY50" fmla="*/ 304223 h 488078"/>
                  <a:gd name="connsiteX51" fmla="*/ 527206 w 603332"/>
                  <a:gd name="connsiteY51" fmla="*/ 316323 h 488078"/>
                  <a:gd name="connsiteX52" fmla="*/ 518563 w 603332"/>
                  <a:gd name="connsiteY52" fmla="*/ 326695 h 488078"/>
                  <a:gd name="connsiteX53" fmla="*/ 513377 w 603332"/>
                  <a:gd name="connsiteY53" fmla="*/ 331880 h 488078"/>
                  <a:gd name="connsiteX54" fmla="*/ 511649 w 603332"/>
                  <a:gd name="connsiteY54" fmla="*/ 338794 h 488078"/>
                  <a:gd name="connsiteX55" fmla="*/ 508192 w 603332"/>
                  <a:gd name="connsiteY55" fmla="*/ 356080 h 488078"/>
                  <a:gd name="connsiteX56" fmla="*/ 511649 w 603332"/>
                  <a:gd name="connsiteY56" fmla="*/ 362994 h 488078"/>
                  <a:gd name="connsiteX57" fmla="*/ 539305 w 603332"/>
                  <a:gd name="connsiteY57" fmla="*/ 368180 h 488078"/>
                  <a:gd name="connsiteX58" fmla="*/ 541034 w 603332"/>
                  <a:gd name="connsiteY58" fmla="*/ 373365 h 488078"/>
                  <a:gd name="connsiteX59" fmla="*/ 534120 w 603332"/>
                  <a:gd name="connsiteY59" fmla="*/ 387194 h 488078"/>
                  <a:gd name="connsiteX60" fmla="*/ 528934 w 603332"/>
                  <a:gd name="connsiteY60" fmla="*/ 388922 h 488078"/>
                  <a:gd name="connsiteX61" fmla="*/ 522020 w 603332"/>
                  <a:gd name="connsiteY61" fmla="*/ 387194 h 488078"/>
                  <a:gd name="connsiteX62" fmla="*/ 513377 w 603332"/>
                  <a:gd name="connsiteY62" fmla="*/ 382008 h 488078"/>
                  <a:gd name="connsiteX63" fmla="*/ 504735 w 603332"/>
                  <a:gd name="connsiteY63" fmla="*/ 390651 h 488078"/>
                  <a:gd name="connsiteX64" fmla="*/ 499549 w 603332"/>
                  <a:gd name="connsiteY64" fmla="*/ 402750 h 488078"/>
                  <a:gd name="connsiteX65" fmla="*/ 494363 w 603332"/>
                  <a:gd name="connsiteY65" fmla="*/ 407936 h 488078"/>
                  <a:gd name="connsiteX66" fmla="*/ 463250 w 603332"/>
                  <a:gd name="connsiteY66" fmla="*/ 413122 h 488078"/>
                  <a:gd name="connsiteX67" fmla="*/ 444236 w 603332"/>
                  <a:gd name="connsiteY67" fmla="*/ 420036 h 488078"/>
                  <a:gd name="connsiteX68" fmla="*/ 440778 w 603332"/>
                  <a:gd name="connsiteY68" fmla="*/ 432136 h 488078"/>
                  <a:gd name="connsiteX69" fmla="*/ 442507 w 603332"/>
                  <a:gd name="connsiteY69" fmla="*/ 439050 h 488078"/>
                  <a:gd name="connsiteX70" fmla="*/ 430407 w 603332"/>
                  <a:gd name="connsiteY70" fmla="*/ 445964 h 488078"/>
                  <a:gd name="connsiteX71" fmla="*/ 423493 w 603332"/>
                  <a:gd name="connsiteY71" fmla="*/ 449421 h 488078"/>
                  <a:gd name="connsiteX72" fmla="*/ 421764 w 603332"/>
                  <a:gd name="connsiteY72" fmla="*/ 454607 h 488078"/>
                  <a:gd name="connsiteX73" fmla="*/ 416579 w 603332"/>
                  <a:gd name="connsiteY73" fmla="*/ 463250 h 488078"/>
                  <a:gd name="connsiteX74" fmla="*/ 388922 w 603332"/>
                  <a:gd name="connsiteY74" fmla="*/ 461521 h 488078"/>
                  <a:gd name="connsiteX75" fmla="*/ 380279 w 603332"/>
                  <a:gd name="connsiteY75" fmla="*/ 458064 h 488078"/>
                  <a:gd name="connsiteX76" fmla="*/ 350894 w 603332"/>
                  <a:gd name="connsiteY76" fmla="*/ 459792 h 488078"/>
                  <a:gd name="connsiteX77" fmla="*/ 342251 w 603332"/>
                  <a:gd name="connsiteY77" fmla="*/ 463250 h 488078"/>
                  <a:gd name="connsiteX78" fmla="*/ 335337 w 603332"/>
                  <a:gd name="connsiteY78" fmla="*/ 466707 h 488078"/>
                  <a:gd name="connsiteX79" fmla="*/ 328423 w 603332"/>
                  <a:gd name="connsiteY79" fmla="*/ 468435 h 488078"/>
                  <a:gd name="connsiteX80" fmla="*/ 326694 w 603332"/>
                  <a:gd name="connsiteY80" fmla="*/ 473621 h 488078"/>
                  <a:gd name="connsiteX81" fmla="*/ 324966 w 603332"/>
                  <a:gd name="connsiteY81" fmla="*/ 487449 h 488078"/>
                  <a:gd name="connsiteX82" fmla="*/ 318052 w 603332"/>
                  <a:gd name="connsiteY82" fmla="*/ 485721 h 488078"/>
                  <a:gd name="connsiteX83" fmla="*/ 312866 w 603332"/>
                  <a:gd name="connsiteY83" fmla="*/ 477078 h 488078"/>
                  <a:gd name="connsiteX84" fmla="*/ 311138 w 603332"/>
                  <a:gd name="connsiteY84" fmla="*/ 471892 h 488078"/>
                  <a:gd name="connsiteX85" fmla="*/ 305952 w 603332"/>
                  <a:gd name="connsiteY85" fmla="*/ 468435 h 488078"/>
                  <a:gd name="connsiteX86" fmla="*/ 304223 w 603332"/>
                  <a:gd name="connsiteY86" fmla="*/ 447693 h 488078"/>
                  <a:gd name="connsiteX87" fmla="*/ 292124 w 603332"/>
                  <a:gd name="connsiteY87" fmla="*/ 437321 h 488078"/>
                  <a:gd name="connsiteX88" fmla="*/ 286938 w 603332"/>
                  <a:gd name="connsiteY88" fmla="*/ 432136 h 488078"/>
                  <a:gd name="connsiteX89" fmla="*/ 283481 w 603332"/>
                  <a:gd name="connsiteY89" fmla="*/ 425222 h 488078"/>
                  <a:gd name="connsiteX90" fmla="*/ 276567 w 603332"/>
                  <a:gd name="connsiteY90" fmla="*/ 421764 h 488078"/>
                  <a:gd name="connsiteX91" fmla="*/ 250639 w 603332"/>
                  <a:gd name="connsiteY91" fmla="*/ 414850 h 488078"/>
                  <a:gd name="connsiteX92" fmla="*/ 247181 w 603332"/>
                  <a:gd name="connsiteY92" fmla="*/ 411393 h 488078"/>
                  <a:gd name="connsiteX93" fmla="*/ 217796 w 603332"/>
                  <a:gd name="connsiteY93" fmla="*/ 409665 h 488078"/>
                  <a:gd name="connsiteX94" fmla="*/ 210882 w 603332"/>
                  <a:gd name="connsiteY94" fmla="*/ 407936 h 488078"/>
                  <a:gd name="connsiteX95" fmla="*/ 209153 w 603332"/>
                  <a:gd name="connsiteY95" fmla="*/ 399293 h 488078"/>
                  <a:gd name="connsiteX96" fmla="*/ 205696 w 603332"/>
                  <a:gd name="connsiteY96" fmla="*/ 378551 h 488078"/>
                  <a:gd name="connsiteX97" fmla="*/ 214339 w 603332"/>
                  <a:gd name="connsiteY97" fmla="*/ 364722 h 488078"/>
                  <a:gd name="connsiteX98" fmla="*/ 228167 w 603332"/>
                  <a:gd name="connsiteY98" fmla="*/ 352623 h 488078"/>
                  <a:gd name="connsiteX99" fmla="*/ 224710 w 603332"/>
                  <a:gd name="connsiteY99" fmla="*/ 338794 h 488078"/>
                  <a:gd name="connsiteX100" fmla="*/ 226439 w 603332"/>
                  <a:gd name="connsiteY100" fmla="*/ 321509 h 488078"/>
                  <a:gd name="connsiteX101" fmla="*/ 210882 w 603332"/>
                  <a:gd name="connsiteY101" fmla="*/ 318052 h 488078"/>
                  <a:gd name="connsiteX102" fmla="*/ 200511 w 603332"/>
                  <a:gd name="connsiteY102" fmla="*/ 314595 h 488078"/>
                  <a:gd name="connsiteX103" fmla="*/ 188411 w 603332"/>
                  <a:gd name="connsiteY103" fmla="*/ 311138 h 488078"/>
                  <a:gd name="connsiteX104" fmla="*/ 169397 w 603332"/>
                  <a:gd name="connsiteY104" fmla="*/ 302495 h 488078"/>
                  <a:gd name="connsiteX105" fmla="*/ 157297 w 603332"/>
                  <a:gd name="connsiteY105" fmla="*/ 297309 h 488078"/>
                  <a:gd name="connsiteX106" fmla="*/ 145197 w 603332"/>
                  <a:gd name="connsiteY106" fmla="*/ 299038 h 488078"/>
                  <a:gd name="connsiteX107" fmla="*/ 134826 w 603332"/>
                  <a:gd name="connsiteY107" fmla="*/ 302495 h 488078"/>
                  <a:gd name="connsiteX108" fmla="*/ 98527 w 603332"/>
                  <a:gd name="connsiteY108" fmla="*/ 299038 h 488078"/>
                  <a:gd name="connsiteX109" fmla="*/ 86427 w 603332"/>
                  <a:gd name="connsiteY109" fmla="*/ 292124 h 488078"/>
                  <a:gd name="connsiteX110" fmla="*/ 77784 w 603332"/>
                  <a:gd name="connsiteY110" fmla="*/ 290395 h 488078"/>
                  <a:gd name="connsiteX111" fmla="*/ 70870 w 603332"/>
                  <a:gd name="connsiteY111" fmla="*/ 276567 h 488078"/>
                  <a:gd name="connsiteX112" fmla="*/ 44942 w 603332"/>
                  <a:gd name="connsiteY112" fmla="*/ 271381 h 488078"/>
                  <a:gd name="connsiteX113" fmla="*/ 43213 w 603332"/>
                  <a:gd name="connsiteY113" fmla="*/ 257553 h 488078"/>
                  <a:gd name="connsiteX114" fmla="*/ 36299 w 603332"/>
                  <a:gd name="connsiteY114" fmla="*/ 241996 h 488078"/>
                  <a:gd name="connsiteX115" fmla="*/ 32842 w 603332"/>
                  <a:gd name="connsiteY115" fmla="*/ 236810 h 488078"/>
                  <a:gd name="connsiteX116" fmla="*/ 24199 w 603332"/>
                  <a:gd name="connsiteY116" fmla="*/ 222982 h 488078"/>
                  <a:gd name="connsiteX117" fmla="*/ 19014 w 603332"/>
                  <a:gd name="connsiteY117" fmla="*/ 219525 h 488078"/>
                  <a:gd name="connsiteX118" fmla="*/ 20742 w 603332"/>
                  <a:gd name="connsiteY118" fmla="*/ 209153 h 488078"/>
                  <a:gd name="connsiteX119" fmla="*/ 15557 w 603332"/>
                  <a:gd name="connsiteY119" fmla="*/ 197054 h 488078"/>
                  <a:gd name="connsiteX120" fmla="*/ 10371 w 603332"/>
                  <a:gd name="connsiteY120" fmla="*/ 190140 h 488078"/>
                  <a:gd name="connsiteX121" fmla="*/ 8642 w 603332"/>
                  <a:gd name="connsiteY121" fmla="*/ 184954 h 488078"/>
                  <a:gd name="connsiteX122" fmla="*/ 3457 w 603332"/>
                  <a:gd name="connsiteY122" fmla="*/ 181497 h 488078"/>
                  <a:gd name="connsiteX123" fmla="*/ 1728 w 603332"/>
                  <a:gd name="connsiteY123" fmla="*/ 155569 h 488078"/>
                  <a:gd name="connsiteX124" fmla="*/ 0 w 603332"/>
                  <a:gd name="connsiteY124" fmla="*/ 141740 h 488078"/>
                  <a:gd name="connsiteX125" fmla="*/ 3457 w 603332"/>
                  <a:gd name="connsiteY125" fmla="*/ 136555 h 488078"/>
                  <a:gd name="connsiteX126" fmla="*/ 13828 w 603332"/>
                  <a:gd name="connsiteY126" fmla="*/ 117541 h 488078"/>
                  <a:gd name="connsiteX127" fmla="*/ 29385 w 603332"/>
                  <a:gd name="connsiteY127" fmla="*/ 101984 h 488078"/>
                  <a:gd name="connsiteX128" fmla="*/ 34570 w 603332"/>
                  <a:gd name="connsiteY128" fmla="*/ 96798 h 488078"/>
                  <a:gd name="connsiteX129" fmla="*/ 44942 w 603332"/>
                  <a:gd name="connsiteY129" fmla="*/ 89884 h 488078"/>
                  <a:gd name="connsiteX130" fmla="*/ 50127 w 603332"/>
                  <a:gd name="connsiteY130" fmla="*/ 86427 h 488078"/>
                  <a:gd name="connsiteX131" fmla="*/ 72598 w 603332"/>
                  <a:gd name="connsiteY131" fmla="*/ 77784 h 488078"/>
                  <a:gd name="connsiteX132" fmla="*/ 86427 w 603332"/>
                  <a:gd name="connsiteY132" fmla="*/ 62227 h 488078"/>
                  <a:gd name="connsiteX133" fmla="*/ 93341 w 603332"/>
                  <a:gd name="connsiteY133" fmla="*/ 60499 h 488078"/>
                  <a:gd name="connsiteX134" fmla="*/ 145197 w 603332"/>
                  <a:gd name="connsiteY134" fmla="*/ 60499 h 488078"/>
                  <a:gd name="connsiteX135" fmla="*/ 146926 w 603332"/>
                  <a:gd name="connsiteY135" fmla="*/ 67413 h 488078"/>
                  <a:gd name="connsiteX136" fmla="*/ 150383 w 603332"/>
                  <a:gd name="connsiteY136" fmla="*/ 72598 h 488078"/>
                  <a:gd name="connsiteX137" fmla="*/ 159026 w 603332"/>
                  <a:gd name="connsiteY137" fmla="*/ 57042 h 488078"/>
                  <a:gd name="connsiteX138" fmla="*/ 169397 w 603332"/>
                  <a:gd name="connsiteY138" fmla="*/ 46670 h 488078"/>
                  <a:gd name="connsiteX139" fmla="*/ 181497 w 603332"/>
                  <a:gd name="connsiteY139" fmla="*/ 48399 h 488078"/>
                  <a:gd name="connsiteX140" fmla="*/ 186682 w 603332"/>
                  <a:gd name="connsiteY140" fmla="*/ 60499 h 488078"/>
                  <a:gd name="connsiteX141" fmla="*/ 184954 w 603332"/>
                  <a:gd name="connsiteY141" fmla="*/ 70870 h 488078"/>
                  <a:gd name="connsiteX142" fmla="*/ 200511 w 603332"/>
                  <a:gd name="connsiteY142" fmla="*/ 69141 h 488078"/>
                  <a:gd name="connsiteX143" fmla="*/ 207425 w 603332"/>
                  <a:gd name="connsiteY143" fmla="*/ 44942 h 488078"/>
                  <a:gd name="connsiteX144" fmla="*/ 214339 w 603332"/>
                  <a:gd name="connsiteY144" fmla="*/ 39756 h 488078"/>
                  <a:gd name="connsiteX145" fmla="*/ 278295 w 603332"/>
                  <a:gd name="connsiteY145" fmla="*/ 41485 h 488078"/>
                  <a:gd name="connsiteX146" fmla="*/ 286938 w 603332"/>
                  <a:gd name="connsiteY146" fmla="*/ 43213 h 488078"/>
                  <a:gd name="connsiteX147" fmla="*/ 293852 w 603332"/>
                  <a:gd name="connsiteY147" fmla="*/ 44942 h 488078"/>
                  <a:gd name="connsiteX148" fmla="*/ 321509 w 603332"/>
                  <a:gd name="connsiteY148" fmla="*/ 43213 h 488078"/>
                  <a:gd name="connsiteX149" fmla="*/ 328423 w 603332"/>
                  <a:gd name="connsiteY149" fmla="*/ 34571 h 488078"/>
                  <a:gd name="connsiteX150" fmla="*/ 343980 w 603332"/>
                  <a:gd name="connsiteY150" fmla="*/ 25928 h 488078"/>
                  <a:gd name="connsiteX151" fmla="*/ 350894 w 603332"/>
                  <a:gd name="connsiteY151" fmla="*/ 15557 h 488078"/>
                  <a:gd name="connsiteX152" fmla="*/ 352623 w 603332"/>
                  <a:gd name="connsiteY152" fmla="*/ 8642 h 488078"/>
                  <a:gd name="connsiteX153" fmla="*/ 357808 w 603332"/>
                  <a:gd name="connsiteY153" fmla="*/ 5185 h 488078"/>
                  <a:gd name="connsiteX154" fmla="*/ 364722 w 603332"/>
                  <a:gd name="connsiteY154" fmla="*/ 0 h 488078"/>
                  <a:gd name="connsiteX0" fmla="*/ 364722 w 603332"/>
                  <a:gd name="connsiteY0" fmla="*/ 0 h 488078"/>
                  <a:gd name="connsiteX1" fmla="*/ 368180 w 603332"/>
                  <a:gd name="connsiteY1" fmla="*/ 8642 h 488078"/>
                  <a:gd name="connsiteX2" fmla="*/ 373365 w 603332"/>
                  <a:gd name="connsiteY2" fmla="*/ 15557 h 488078"/>
                  <a:gd name="connsiteX3" fmla="*/ 376822 w 603332"/>
                  <a:gd name="connsiteY3" fmla="*/ 20742 h 488078"/>
                  <a:gd name="connsiteX4" fmla="*/ 380279 w 603332"/>
                  <a:gd name="connsiteY4" fmla="*/ 27656 h 488078"/>
                  <a:gd name="connsiteX5" fmla="*/ 388922 w 603332"/>
                  <a:gd name="connsiteY5" fmla="*/ 36299 h 488078"/>
                  <a:gd name="connsiteX6" fmla="*/ 392379 w 603332"/>
                  <a:gd name="connsiteY6" fmla="*/ 43213 h 488078"/>
                  <a:gd name="connsiteX7" fmla="*/ 459792 w 603332"/>
                  <a:gd name="connsiteY7" fmla="*/ 44942 h 488078"/>
                  <a:gd name="connsiteX8" fmla="*/ 464978 w 603332"/>
                  <a:gd name="connsiteY8" fmla="*/ 48399 h 488078"/>
                  <a:gd name="connsiteX9" fmla="*/ 466707 w 603332"/>
                  <a:gd name="connsiteY9" fmla="*/ 53584 h 488078"/>
                  <a:gd name="connsiteX10" fmla="*/ 477078 w 603332"/>
                  <a:gd name="connsiteY10" fmla="*/ 60499 h 488078"/>
                  <a:gd name="connsiteX11" fmla="*/ 496092 w 603332"/>
                  <a:gd name="connsiteY11" fmla="*/ 62227 h 488078"/>
                  <a:gd name="connsiteX12" fmla="*/ 501277 w 603332"/>
                  <a:gd name="connsiteY12" fmla="*/ 65684 h 488078"/>
                  <a:gd name="connsiteX13" fmla="*/ 503006 w 603332"/>
                  <a:gd name="connsiteY13" fmla="*/ 70870 h 488078"/>
                  <a:gd name="connsiteX14" fmla="*/ 506463 w 603332"/>
                  <a:gd name="connsiteY14" fmla="*/ 76056 h 488078"/>
                  <a:gd name="connsiteX15" fmla="*/ 508192 w 603332"/>
                  <a:gd name="connsiteY15" fmla="*/ 82970 h 488078"/>
                  <a:gd name="connsiteX16" fmla="*/ 513377 w 603332"/>
                  <a:gd name="connsiteY16" fmla="*/ 88155 h 488078"/>
                  <a:gd name="connsiteX17" fmla="*/ 518563 w 603332"/>
                  <a:gd name="connsiteY17" fmla="*/ 95070 h 488078"/>
                  <a:gd name="connsiteX18" fmla="*/ 530663 w 603332"/>
                  <a:gd name="connsiteY18" fmla="*/ 105441 h 488078"/>
                  <a:gd name="connsiteX19" fmla="*/ 563505 w 603332"/>
                  <a:gd name="connsiteY19" fmla="*/ 101984 h 488078"/>
                  <a:gd name="connsiteX20" fmla="*/ 568691 w 603332"/>
                  <a:gd name="connsiteY20" fmla="*/ 100255 h 488078"/>
                  <a:gd name="connsiteX21" fmla="*/ 570419 w 603332"/>
                  <a:gd name="connsiteY21" fmla="*/ 107169 h 488078"/>
                  <a:gd name="connsiteX22" fmla="*/ 572148 w 603332"/>
                  <a:gd name="connsiteY22" fmla="*/ 115812 h 488078"/>
                  <a:gd name="connsiteX23" fmla="*/ 579062 w 603332"/>
                  <a:gd name="connsiteY23" fmla="*/ 131369 h 488078"/>
                  <a:gd name="connsiteX24" fmla="*/ 580791 w 603332"/>
                  <a:gd name="connsiteY24" fmla="*/ 140012 h 488078"/>
                  <a:gd name="connsiteX25" fmla="*/ 580791 w 603332"/>
                  <a:gd name="connsiteY25" fmla="*/ 150383 h 488078"/>
                  <a:gd name="connsiteX26" fmla="*/ 575605 w 603332"/>
                  <a:gd name="connsiteY26" fmla="*/ 152112 h 488078"/>
                  <a:gd name="connsiteX27" fmla="*/ 573876 w 603332"/>
                  <a:gd name="connsiteY27" fmla="*/ 157297 h 488078"/>
                  <a:gd name="connsiteX28" fmla="*/ 577333 w 603332"/>
                  <a:gd name="connsiteY28" fmla="*/ 167668 h 488078"/>
                  <a:gd name="connsiteX29" fmla="*/ 585976 w 603332"/>
                  <a:gd name="connsiteY29" fmla="*/ 165940 h 488078"/>
                  <a:gd name="connsiteX30" fmla="*/ 598076 w 603332"/>
                  <a:gd name="connsiteY30" fmla="*/ 162483 h 488078"/>
                  <a:gd name="connsiteX31" fmla="*/ 603262 w 603332"/>
                  <a:gd name="connsiteY31" fmla="*/ 165940 h 488078"/>
                  <a:gd name="connsiteX32" fmla="*/ 582519 w 603332"/>
                  <a:gd name="connsiteY32" fmla="*/ 184954 h 488078"/>
                  <a:gd name="connsiteX33" fmla="*/ 579062 w 603332"/>
                  <a:gd name="connsiteY33" fmla="*/ 190140 h 488078"/>
                  <a:gd name="connsiteX34" fmla="*/ 577333 w 603332"/>
                  <a:gd name="connsiteY34" fmla="*/ 198782 h 488078"/>
                  <a:gd name="connsiteX35" fmla="*/ 572148 w 603332"/>
                  <a:gd name="connsiteY35" fmla="*/ 200511 h 488078"/>
                  <a:gd name="connsiteX36" fmla="*/ 565234 w 603332"/>
                  <a:gd name="connsiteY36" fmla="*/ 205696 h 488078"/>
                  <a:gd name="connsiteX37" fmla="*/ 563505 w 603332"/>
                  <a:gd name="connsiteY37" fmla="*/ 212611 h 488078"/>
                  <a:gd name="connsiteX38" fmla="*/ 560048 w 603332"/>
                  <a:gd name="connsiteY38" fmla="*/ 217796 h 488078"/>
                  <a:gd name="connsiteX39" fmla="*/ 558319 w 603332"/>
                  <a:gd name="connsiteY39" fmla="*/ 229896 h 488078"/>
                  <a:gd name="connsiteX40" fmla="*/ 556591 w 603332"/>
                  <a:gd name="connsiteY40" fmla="*/ 235082 h 488078"/>
                  <a:gd name="connsiteX41" fmla="*/ 551405 w 603332"/>
                  <a:gd name="connsiteY41" fmla="*/ 238539 h 488078"/>
                  <a:gd name="connsiteX42" fmla="*/ 528934 w 603332"/>
                  <a:gd name="connsiteY42" fmla="*/ 247181 h 488078"/>
                  <a:gd name="connsiteX43" fmla="*/ 515106 w 603332"/>
                  <a:gd name="connsiteY43" fmla="*/ 248910 h 488078"/>
                  <a:gd name="connsiteX44" fmla="*/ 508192 w 603332"/>
                  <a:gd name="connsiteY44" fmla="*/ 247181 h 488078"/>
                  <a:gd name="connsiteX45" fmla="*/ 506463 w 603332"/>
                  <a:gd name="connsiteY45" fmla="*/ 241996 h 488078"/>
                  <a:gd name="connsiteX46" fmla="*/ 513377 w 603332"/>
                  <a:gd name="connsiteY46" fmla="*/ 248910 h 488078"/>
                  <a:gd name="connsiteX47" fmla="*/ 516834 w 603332"/>
                  <a:gd name="connsiteY47" fmla="*/ 257553 h 488078"/>
                  <a:gd name="connsiteX48" fmla="*/ 515106 w 603332"/>
                  <a:gd name="connsiteY48" fmla="*/ 274838 h 488078"/>
                  <a:gd name="connsiteX49" fmla="*/ 515106 w 603332"/>
                  <a:gd name="connsiteY49" fmla="*/ 290395 h 488078"/>
                  <a:gd name="connsiteX50" fmla="*/ 523749 w 603332"/>
                  <a:gd name="connsiteY50" fmla="*/ 304223 h 488078"/>
                  <a:gd name="connsiteX51" fmla="*/ 527206 w 603332"/>
                  <a:gd name="connsiteY51" fmla="*/ 316323 h 488078"/>
                  <a:gd name="connsiteX52" fmla="*/ 518563 w 603332"/>
                  <a:gd name="connsiteY52" fmla="*/ 326695 h 488078"/>
                  <a:gd name="connsiteX53" fmla="*/ 513377 w 603332"/>
                  <a:gd name="connsiteY53" fmla="*/ 331880 h 488078"/>
                  <a:gd name="connsiteX54" fmla="*/ 511649 w 603332"/>
                  <a:gd name="connsiteY54" fmla="*/ 338794 h 488078"/>
                  <a:gd name="connsiteX55" fmla="*/ 508192 w 603332"/>
                  <a:gd name="connsiteY55" fmla="*/ 356080 h 488078"/>
                  <a:gd name="connsiteX56" fmla="*/ 511649 w 603332"/>
                  <a:gd name="connsiteY56" fmla="*/ 362994 h 488078"/>
                  <a:gd name="connsiteX57" fmla="*/ 539305 w 603332"/>
                  <a:gd name="connsiteY57" fmla="*/ 368180 h 488078"/>
                  <a:gd name="connsiteX58" fmla="*/ 541034 w 603332"/>
                  <a:gd name="connsiteY58" fmla="*/ 373365 h 488078"/>
                  <a:gd name="connsiteX59" fmla="*/ 534120 w 603332"/>
                  <a:gd name="connsiteY59" fmla="*/ 387194 h 488078"/>
                  <a:gd name="connsiteX60" fmla="*/ 528934 w 603332"/>
                  <a:gd name="connsiteY60" fmla="*/ 388922 h 488078"/>
                  <a:gd name="connsiteX61" fmla="*/ 522020 w 603332"/>
                  <a:gd name="connsiteY61" fmla="*/ 387194 h 488078"/>
                  <a:gd name="connsiteX62" fmla="*/ 513377 w 603332"/>
                  <a:gd name="connsiteY62" fmla="*/ 382008 h 488078"/>
                  <a:gd name="connsiteX63" fmla="*/ 504735 w 603332"/>
                  <a:gd name="connsiteY63" fmla="*/ 390651 h 488078"/>
                  <a:gd name="connsiteX64" fmla="*/ 499549 w 603332"/>
                  <a:gd name="connsiteY64" fmla="*/ 402750 h 488078"/>
                  <a:gd name="connsiteX65" fmla="*/ 494363 w 603332"/>
                  <a:gd name="connsiteY65" fmla="*/ 407936 h 488078"/>
                  <a:gd name="connsiteX66" fmla="*/ 463250 w 603332"/>
                  <a:gd name="connsiteY66" fmla="*/ 413122 h 488078"/>
                  <a:gd name="connsiteX67" fmla="*/ 444236 w 603332"/>
                  <a:gd name="connsiteY67" fmla="*/ 420036 h 488078"/>
                  <a:gd name="connsiteX68" fmla="*/ 440778 w 603332"/>
                  <a:gd name="connsiteY68" fmla="*/ 432136 h 488078"/>
                  <a:gd name="connsiteX69" fmla="*/ 442507 w 603332"/>
                  <a:gd name="connsiteY69" fmla="*/ 439050 h 488078"/>
                  <a:gd name="connsiteX70" fmla="*/ 430407 w 603332"/>
                  <a:gd name="connsiteY70" fmla="*/ 445964 h 488078"/>
                  <a:gd name="connsiteX71" fmla="*/ 423493 w 603332"/>
                  <a:gd name="connsiteY71" fmla="*/ 449421 h 488078"/>
                  <a:gd name="connsiteX72" fmla="*/ 421764 w 603332"/>
                  <a:gd name="connsiteY72" fmla="*/ 454607 h 488078"/>
                  <a:gd name="connsiteX73" fmla="*/ 416579 w 603332"/>
                  <a:gd name="connsiteY73" fmla="*/ 463250 h 488078"/>
                  <a:gd name="connsiteX74" fmla="*/ 388922 w 603332"/>
                  <a:gd name="connsiteY74" fmla="*/ 461521 h 488078"/>
                  <a:gd name="connsiteX75" fmla="*/ 380279 w 603332"/>
                  <a:gd name="connsiteY75" fmla="*/ 458064 h 488078"/>
                  <a:gd name="connsiteX76" fmla="*/ 350894 w 603332"/>
                  <a:gd name="connsiteY76" fmla="*/ 459792 h 488078"/>
                  <a:gd name="connsiteX77" fmla="*/ 342251 w 603332"/>
                  <a:gd name="connsiteY77" fmla="*/ 463250 h 488078"/>
                  <a:gd name="connsiteX78" fmla="*/ 335337 w 603332"/>
                  <a:gd name="connsiteY78" fmla="*/ 466707 h 488078"/>
                  <a:gd name="connsiteX79" fmla="*/ 328423 w 603332"/>
                  <a:gd name="connsiteY79" fmla="*/ 468435 h 488078"/>
                  <a:gd name="connsiteX80" fmla="*/ 326694 w 603332"/>
                  <a:gd name="connsiteY80" fmla="*/ 473621 h 488078"/>
                  <a:gd name="connsiteX81" fmla="*/ 324966 w 603332"/>
                  <a:gd name="connsiteY81" fmla="*/ 487449 h 488078"/>
                  <a:gd name="connsiteX82" fmla="*/ 318052 w 603332"/>
                  <a:gd name="connsiteY82" fmla="*/ 485721 h 488078"/>
                  <a:gd name="connsiteX83" fmla="*/ 312866 w 603332"/>
                  <a:gd name="connsiteY83" fmla="*/ 477078 h 488078"/>
                  <a:gd name="connsiteX84" fmla="*/ 311138 w 603332"/>
                  <a:gd name="connsiteY84" fmla="*/ 471892 h 488078"/>
                  <a:gd name="connsiteX85" fmla="*/ 305952 w 603332"/>
                  <a:gd name="connsiteY85" fmla="*/ 468435 h 488078"/>
                  <a:gd name="connsiteX86" fmla="*/ 304223 w 603332"/>
                  <a:gd name="connsiteY86" fmla="*/ 447693 h 488078"/>
                  <a:gd name="connsiteX87" fmla="*/ 292124 w 603332"/>
                  <a:gd name="connsiteY87" fmla="*/ 437321 h 488078"/>
                  <a:gd name="connsiteX88" fmla="*/ 286938 w 603332"/>
                  <a:gd name="connsiteY88" fmla="*/ 432136 h 488078"/>
                  <a:gd name="connsiteX89" fmla="*/ 283481 w 603332"/>
                  <a:gd name="connsiteY89" fmla="*/ 425222 h 488078"/>
                  <a:gd name="connsiteX90" fmla="*/ 276567 w 603332"/>
                  <a:gd name="connsiteY90" fmla="*/ 421764 h 488078"/>
                  <a:gd name="connsiteX91" fmla="*/ 250639 w 603332"/>
                  <a:gd name="connsiteY91" fmla="*/ 414850 h 488078"/>
                  <a:gd name="connsiteX92" fmla="*/ 247181 w 603332"/>
                  <a:gd name="connsiteY92" fmla="*/ 411393 h 488078"/>
                  <a:gd name="connsiteX93" fmla="*/ 217796 w 603332"/>
                  <a:gd name="connsiteY93" fmla="*/ 409665 h 488078"/>
                  <a:gd name="connsiteX94" fmla="*/ 210882 w 603332"/>
                  <a:gd name="connsiteY94" fmla="*/ 407936 h 488078"/>
                  <a:gd name="connsiteX95" fmla="*/ 209153 w 603332"/>
                  <a:gd name="connsiteY95" fmla="*/ 399293 h 488078"/>
                  <a:gd name="connsiteX96" fmla="*/ 205696 w 603332"/>
                  <a:gd name="connsiteY96" fmla="*/ 378551 h 488078"/>
                  <a:gd name="connsiteX97" fmla="*/ 214339 w 603332"/>
                  <a:gd name="connsiteY97" fmla="*/ 364722 h 488078"/>
                  <a:gd name="connsiteX98" fmla="*/ 228167 w 603332"/>
                  <a:gd name="connsiteY98" fmla="*/ 352623 h 488078"/>
                  <a:gd name="connsiteX99" fmla="*/ 224710 w 603332"/>
                  <a:gd name="connsiteY99" fmla="*/ 338794 h 488078"/>
                  <a:gd name="connsiteX100" fmla="*/ 226439 w 603332"/>
                  <a:gd name="connsiteY100" fmla="*/ 321509 h 488078"/>
                  <a:gd name="connsiteX101" fmla="*/ 210882 w 603332"/>
                  <a:gd name="connsiteY101" fmla="*/ 318052 h 488078"/>
                  <a:gd name="connsiteX102" fmla="*/ 200511 w 603332"/>
                  <a:gd name="connsiteY102" fmla="*/ 314595 h 488078"/>
                  <a:gd name="connsiteX103" fmla="*/ 188411 w 603332"/>
                  <a:gd name="connsiteY103" fmla="*/ 311138 h 488078"/>
                  <a:gd name="connsiteX104" fmla="*/ 169397 w 603332"/>
                  <a:gd name="connsiteY104" fmla="*/ 302495 h 488078"/>
                  <a:gd name="connsiteX105" fmla="*/ 157297 w 603332"/>
                  <a:gd name="connsiteY105" fmla="*/ 297309 h 488078"/>
                  <a:gd name="connsiteX106" fmla="*/ 145197 w 603332"/>
                  <a:gd name="connsiteY106" fmla="*/ 299038 h 488078"/>
                  <a:gd name="connsiteX107" fmla="*/ 134826 w 603332"/>
                  <a:gd name="connsiteY107" fmla="*/ 302495 h 488078"/>
                  <a:gd name="connsiteX108" fmla="*/ 98527 w 603332"/>
                  <a:gd name="connsiteY108" fmla="*/ 299038 h 488078"/>
                  <a:gd name="connsiteX109" fmla="*/ 86427 w 603332"/>
                  <a:gd name="connsiteY109" fmla="*/ 292124 h 488078"/>
                  <a:gd name="connsiteX110" fmla="*/ 77784 w 603332"/>
                  <a:gd name="connsiteY110" fmla="*/ 290395 h 488078"/>
                  <a:gd name="connsiteX111" fmla="*/ 70870 w 603332"/>
                  <a:gd name="connsiteY111" fmla="*/ 276567 h 488078"/>
                  <a:gd name="connsiteX112" fmla="*/ 44942 w 603332"/>
                  <a:gd name="connsiteY112" fmla="*/ 271381 h 488078"/>
                  <a:gd name="connsiteX113" fmla="*/ 43213 w 603332"/>
                  <a:gd name="connsiteY113" fmla="*/ 257553 h 488078"/>
                  <a:gd name="connsiteX114" fmla="*/ 36299 w 603332"/>
                  <a:gd name="connsiteY114" fmla="*/ 241996 h 488078"/>
                  <a:gd name="connsiteX115" fmla="*/ 32842 w 603332"/>
                  <a:gd name="connsiteY115" fmla="*/ 236810 h 488078"/>
                  <a:gd name="connsiteX116" fmla="*/ 24199 w 603332"/>
                  <a:gd name="connsiteY116" fmla="*/ 222982 h 488078"/>
                  <a:gd name="connsiteX117" fmla="*/ 19014 w 603332"/>
                  <a:gd name="connsiteY117" fmla="*/ 219525 h 488078"/>
                  <a:gd name="connsiteX118" fmla="*/ 20742 w 603332"/>
                  <a:gd name="connsiteY118" fmla="*/ 209153 h 488078"/>
                  <a:gd name="connsiteX119" fmla="*/ 15557 w 603332"/>
                  <a:gd name="connsiteY119" fmla="*/ 197054 h 488078"/>
                  <a:gd name="connsiteX120" fmla="*/ 10371 w 603332"/>
                  <a:gd name="connsiteY120" fmla="*/ 190140 h 488078"/>
                  <a:gd name="connsiteX121" fmla="*/ 8642 w 603332"/>
                  <a:gd name="connsiteY121" fmla="*/ 184954 h 488078"/>
                  <a:gd name="connsiteX122" fmla="*/ 3457 w 603332"/>
                  <a:gd name="connsiteY122" fmla="*/ 181497 h 488078"/>
                  <a:gd name="connsiteX123" fmla="*/ 1728 w 603332"/>
                  <a:gd name="connsiteY123" fmla="*/ 155569 h 488078"/>
                  <a:gd name="connsiteX124" fmla="*/ 0 w 603332"/>
                  <a:gd name="connsiteY124" fmla="*/ 141740 h 488078"/>
                  <a:gd name="connsiteX125" fmla="*/ 3457 w 603332"/>
                  <a:gd name="connsiteY125" fmla="*/ 136555 h 488078"/>
                  <a:gd name="connsiteX126" fmla="*/ 13828 w 603332"/>
                  <a:gd name="connsiteY126" fmla="*/ 117541 h 488078"/>
                  <a:gd name="connsiteX127" fmla="*/ 29385 w 603332"/>
                  <a:gd name="connsiteY127" fmla="*/ 101984 h 488078"/>
                  <a:gd name="connsiteX128" fmla="*/ 34570 w 603332"/>
                  <a:gd name="connsiteY128" fmla="*/ 96798 h 488078"/>
                  <a:gd name="connsiteX129" fmla="*/ 44942 w 603332"/>
                  <a:gd name="connsiteY129" fmla="*/ 89884 h 488078"/>
                  <a:gd name="connsiteX130" fmla="*/ 50127 w 603332"/>
                  <a:gd name="connsiteY130" fmla="*/ 86427 h 488078"/>
                  <a:gd name="connsiteX131" fmla="*/ 72598 w 603332"/>
                  <a:gd name="connsiteY131" fmla="*/ 77784 h 488078"/>
                  <a:gd name="connsiteX132" fmla="*/ 86427 w 603332"/>
                  <a:gd name="connsiteY132" fmla="*/ 62227 h 488078"/>
                  <a:gd name="connsiteX133" fmla="*/ 93341 w 603332"/>
                  <a:gd name="connsiteY133" fmla="*/ 60499 h 488078"/>
                  <a:gd name="connsiteX134" fmla="*/ 145197 w 603332"/>
                  <a:gd name="connsiteY134" fmla="*/ 60499 h 488078"/>
                  <a:gd name="connsiteX135" fmla="*/ 146926 w 603332"/>
                  <a:gd name="connsiteY135" fmla="*/ 67413 h 488078"/>
                  <a:gd name="connsiteX136" fmla="*/ 150383 w 603332"/>
                  <a:gd name="connsiteY136" fmla="*/ 72598 h 488078"/>
                  <a:gd name="connsiteX137" fmla="*/ 159026 w 603332"/>
                  <a:gd name="connsiteY137" fmla="*/ 57042 h 488078"/>
                  <a:gd name="connsiteX138" fmla="*/ 169397 w 603332"/>
                  <a:gd name="connsiteY138" fmla="*/ 46670 h 488078"/>
                  <a:gd name="connsiteX139" fmla="*/ 181497 w 603332"/>
                  <a:gd name="connsiteY139" fmla="*/ 48399 h 488078"/>
                  <a:gd name="connsiteX140" fmla="*/ 186682 w 603332"/>
                  <a:gd name="connsiteY140" fmla="*/ 60499 h 488078"/>
                  <a:gd name="connsiteX141" fmla="*/ 184954 w 603332"/>
                  <a:gd name="connsiteY141" fmla="*/ 70870 h 488078"/>
                  <a:gd name="connsiteX142" fmla="*/ 207425 w 603332"/>
                  <a:gd name="connsiteY142" fmla="*/ 44942 h 488078"/>
                  <a:gd name="connsiteX143" fmla="*/ 214339 w 603332"/>
                  <a:gd name="connsiteY143" fmla="*/ 39756 h 488078"/>
                  <a:gd name="connsiteX144" fmla="*/ 278295 w 603332"/>
                  <a:gd name="connsiteY144" fmla="*/ 41485 h 488078"/>
                  <a:gd name="connsiteX145" fmla="*/ 286938 w 603332"/>
                  <a:gd name="connsiteY145" fmla="*/ 43213 h 488078"/>
                  <a:gd name="connsiteX146" fmla="*/ 293852 w 603332"/>
                  <a:gd name="connsiteY146" fmla="*/ 44942 h 488078"/>
                  <a:gd name="connsiteX147" fmla="*/ 321509 w 603332"/>
                  <a:gd name="connsiteY147" fmla="*/ 43213 h 488078"/>
                  <a:gd name="connsiteX148" fmla="*/ 328423 w 603332"/>
                  <a:gd name="connsiteY148" fmla="*/ 34571 h 488078"/>
                  <a:gd name="connsiteX149" fmla="*/ 343980 w 603332"/>
                  <a:gd name="connsiteY149" fmla="*/ 25928 h 488078"/>
                  <a:gd name="connsiteX150" fmla="*/ 350894 w 603332"/>
                  <a:gd name="connsiteY150" fmla="*/ 15557 h 488078"/>
                  <a:gd name="connsiteX151" fmla="*/ 352623 w 603332"/>
                  <a:gd name="connsiteY151" fmla="*/ 8642 h 488078"/>
                  <a:gd name="connsiteX152" fmla="*/ 357808 w 603332"/>
                  <a:gd name="connsiteY152" fmla="*/ 5185 h 488078"/>
                  <a:gd name="connsiteX153" fmla="*/ 364722 w 603332"/>
                  <a:gd name="connsiteY153" fmla="*/ 0 h 488078"/>
                  <a:gd name="connsiteX0" fmla="*/ 364722 w 603332"/>
                  <a:gd name="connsiteY0" fmla="*/ 0 h 488078"/>
                  <a:gd name="connsiteX1" fmla="*/ 368180 w 603332"/>
                  <a:gd name="connsiteY1" fmla="*/ 8642 h 488078"/>
                  <a:gd name="connsiteX2" fmla="*/ 373365 w 603332"/>
                  <a:gd name="connsiteY2" fmla="*/ 15557 h 488078"/>
                  <a:gd name="connsiteX3" fmla="*/ 376822 w 603332"/>
                  <a:gd name="connsiteY3" fmla="*/ 20742 h 488078"/>
                  <a:gd name="connsiteX4" fmla="*/ 380279 w 603332"/>
                  <a:gd name="connsiteY4" fmla="*/ 27656 h 488078"/>
                  <a:gd name="connsiteX5" fmla="*/ 388922 w 603332"/>
                  <a:gd name="connsiteY5" fmla="*/ 36299 h 488078"/>
                  <a:gd name="connsiteX6" fmla="*/ 392379 w 603332"/>
                  <a:gd name="connsiteY6" fmla="*/ 43213 h 488078"/>
                  <a:gd name="connsiteX7" fmla="*/ 459792 w 603332"/>
                  <a:gd name="connsiteY7" fmla="*/ 44942 h 488078"/>
                  <a:gd name="connsiteX8" fmla="*/ 464978 w 603332"/>
                  <a:gd name="connsiteY8" fmla="*/ 48399 h 488078"/>
                  <a:gd name="connsiteX9" fmla="*/ 466707 w 603332"/>
                  <a:gd name="connsiteY9" fmla="*/ 53584 h 488078"/>
                  <a:gd name="connsiteX10" fmla="*/ 477078 w 603332"/>
                  <a:gd name="connsiteY10" fmla="*/ 60499 h 488078"/>
                  <a:gd name="connsiteX11" fmla="*/ 496092 w 603332"/>
                  <a:gd name="connsiteY11" fmla="*/ 62227 h 488078"/>
                  <a:gd name="connsiteX12" fmla="*/ 501277 w 603332"/>
                  <a:gd name="connsiteY12" fmla="*/ 65684 h 488078"/>
                  <a:gd name="connsiteX13" fmla="*/ 503006 w 603332"/>
                  <a:gd name="connsiteY13" fmla="*/ 70870 h 488078"/>
                  <a:gd name="connsiteX14" fmla="*/ 506463 w 603332"/>
                  <a:gd name="connsiteY14" fmla="*/ 76056 h 488078"/>
                  <a:gd name="connsiteX15" fmla="*/ 508192 w 603332"/>
                  <a:gd name="connsiteY15" fmla="*/ 82970 h 488078"/>
                  <a:gd name="connsiteX16" fmla="*/ 513377 w 603332"/>
                  <a:gd name="connsiteY16" fmla="*/ 88155 h 488078"/>
                  <a:gd name="connsiteX17" fmla="*/ 518563 w 603332"/>
                  <a:gd name="connsiteY17" fmla="*/ 95070 h 488078"/>
                  <a:gd name="connsiteX18" fmla="*/ 530663 w 603332"/>
                  <a:gd name="connsiteY18" fmla="*/ 105441 h 488078"/>
                  <a:gd name="connsiteX19" fmla="*/ 563505 w 603332"/>
                  <a:gd name="connsiteY19" fmla="*/ 101984 h 488078"/>
                  <a:gd name="connsiteX20" fmla="*/ 568691 w 603332"/>
                  <a:gd name="connsiteY20" fmla="*/ 100255 h 488078"/>
                  <a:gd name="connsiteX21" fmla="*/ 570419 w 603332"/>
                  <a:gd name="connsiteY21" fmla="*/ 107169 h 488078"/>
                  <a:gd name="connsiteX22" fmla="*/ 572148 w 603332"/>
                  <a:gd name="connsiteY22" fmla="*/ 115812 h 488078"/>
                  <a:gd name="connsiteX23" fmla="*/ 579062 w 603332"/>
                  <a:gd name="connsiteY23" fmla="*/ 131369 h 488078"/>
                  <a:gd name="connsiteX24" fmla="*/ 580791 w 603332"/>
                  <a:gd name="connsiteY24" fmla="*/ 140012 h 488078"/>
                  <a:gd name="connsiteX25" fmla="*/ 580791 w 603332"/>
                  <a:gd name="connsiteY25" fmla="*/ 150383 h 488078"/>
                  <a:gd name="connsiteX26" fmla="*/ 575605 w 603332"/>
                  <a:gd name="connsiteY26" fmla="*/ 152112 h 488078"/>
                  <a:gd name="connsiteX27" fmla="*/ 573876 w 603332"/>
                  <a:gd name="connsiteY27" fmla="*/ 157297 h 488078"/>
                  <a:gd name="connsiteX28" fmla="*/ 577333 w 603332"/>
                  <a:gd name="connsiteY28" fmla="*/ 167668 h 488078"/>
                  <a:gd name="connsiteX29" fmla="*/ 585976 w 603332"/>
                  <a:gd name="connsiteY29" fmla="*/ 165940 h 488078"/>
                  <a:gd name="connsiteX30" fmla="*/ 598076 w 603332"/>
                  <a:gd name="connsiteY30" fmla="*/ 162483 h 488078"/>
                  <a:gd name="connsiteX31" fmla="*/ 603262 w 603332"/>
                  <a:gd name="connsiteY31" fmla="*/ 165940 h 488078"/>
                  <a:gd name="connsiteX32" fmla="*/ 582519 w 603332"/>
                  <a:gd name="connsiteY32" fmla="*/ 184954 h 488078"/>
                  <a:gd name="connsiteX33" fmla="*/ 579062 w 603332"/>
                  <a:gd name="connsiteY33" fmla="*/ 190140 h 488078"/>
                  <a:gd name="connsiteX34" fmla="*/ 577333 w 603332"/>
                  <a:gd name="connsiteY34" fmla="*/ 198782 h 488078"/>
                  <a:gd name="connsiteX35" fmla="*/ 572148 w 603332"/>
                  <a:gd name="connsiteY35" fmla="*/ 200511 h 488078"/>
                  <a:gd name="connsiteX36" fmla="*/ 565234 w 603332"/>
                  <a:gd name="connsiteY36" fmla="*/ 205696 h 488078"/>
                  <a:gd name="connsiteX37" fmla="*/ 563505 w 603332"/>
                  <a:gd name="connsiteY37" fmla="*/ 212611 h 488078"/>
                  <a:gd name="connsiteX38" fmla="*/ 560048 w 603332"/>
                  <a:gd name="connsiteY38" fmla="*/ 217796 h 488078"/>
                  <a:gd name="connsiteX39" fmla="*/ 558319 w 603332"/>
                  <a:gd name="connsiteY39" fmla="*/ 229896 h 488078"/>
                  <a:gd name="connsiteX40" fmla="*/ 556591 w 603332"/>
                  <a:gd name="connsiteY40" fmla="*/ 235082 h 488078"/>
                  <a:gd name="connsiteX41" fmla="*/ 551405 w 603332"/>
                  <a:gd name="connsiteY41" fmla="*/ 238539 h 488078"/>
                  <a:gd name="connsiteX42" fmla="*/ 528934 w 603332"/>
                  <a:gd name="connsiteY42" fmla="*/ 247181 h 488078"/>
                  <a:gd name="connsiteX43" fmla="*/ 515106 w 603332"/>
                  <a:gd name="connsiteY43" fmla="*/ 248910 h 488078"/>
                  <a:gd name="connsiteX44" fmla="*/ 508192 w 603332"/>
                  <a:gd name="connsiteY44" fmla="*/ 247181 h 488078"/>
                  <a:gd name="connsiteX45" fmla="*/ 506463 w 603332"/>
                  <a:gd name="connsiteY45" fmla="*/ 241996 h 488078"/>
                  <a:gd name="connsiteX46" fmla="*/ 513377 w 603332"/>
                  <a:gd name="connsiteY46" fmla="*/ 248910 h 488078"/>
                  <a:gd name="connsiteX47" fmla="*/ 516834 w 603332"/>
                  <a:gd name="connsiteY47" fmla="*/ 257553 h 488078"/>
                  <a:gd name="connsiteX48" fmla="*/ 515106 w 603332"/>
                  <a:gd name="connsiteY48" fmla="*/ 274838 h 488078"/>
                  <a:gd name="connsiteX49" fmla="*/ 515106 w 603332"/>
                  <a:gd name="connsiteY49" fmla="*/ 290395 h 488078"/>
                  <a:gd name="connsiteX50" fmla="*/ 523749 w 603332"/>
                  <a:gd name="connsiteY50" fmla="*/ 304223 h 488078"/>
                  <a:gd name="connsiteX51" fmla="*/ 527206 w 603332"/>
                  <a:gd name="connsiteY51" fmla="*/ 316323 h 488078"/>
                  <a:gd name="connsiteX52" fmla="*/ 518563 w 603332"/>
                  <a:gd name="connsiteY52" fmla="*/ 326695 h 488078"/>
                  <a:gd name="connsiteX53" fmla="*/ 513377 w 603332"/>
                  <a:gd name="connsiteY53" fmla="*/ 331880 h 488078"/>
                  <a:gd name="connsiteX54" fmla="*/ 511649 w 603332"/>
                  <a:gd name="connsiteY54" fmla="*/ 338794 h 488078"/>
                  <a:gd name="connsiteX55" fmla="*/ 508192 w 603332"/>
                  <a:gd name="connsiteY55" fmla="*/ 356080 h 488078"/>
                  <a:gd name="connsiteX56" fmla="*/ 511649 w 603332"/>
                  <a:gd name="connsiteY56" fmla="*/ 362994 h 488078"/>
                  <a:gd name="connsiteX57" fmla="*/ 539305 w 603332"/>
                  <a:gd name="connsiteY57" fmla="*/ 368180 h 488078"/>
                  <a:gd name="connsiteX58" fmla="*/ 541034 w 603332"/>
                  <a:gd name="connsiteY58" fmla="*/ 373365 h 488078"/>
                  <a:gd name="connsiteX59" fmla="*/ 534120 w 603332"/>
                  <a:gd name="connsiteY59" fmla="*/ 387194 h 488078"/>
                  <a:gd name="connsiteX60" fmla="*/ 528934 w 603332"/>
                  <a:gd name="connsiteY60" fmla="*/ 388922 h 488078"/>
                  <a:gd name="connsiteX61" fmla="*/ 522020 w 603332"/>
                  <a:gd name="connsiteY61" fmla="*/ 387194 h 488078"/>
                  <a:gd name="connsiteX62" fmla="*/ 513377 w 603332"/>
                  <a:gd name="connsiteY62" fmla="*/ 382008 h 488078"/>
                  <a:gd name="connsiteX63" fmla="*/ 504735 w 603332"/>
                  <a:gd name="connsiteY63" fmla="*/ 390651 h 488078"/>
                  <a:gd name="connsiteX64" fmla="*/ 499549 w 603332"/>
                  <a:gd name="connsiteY64" fmla="*/ 402750 h 488078"/>
                  <a:gd name="connsiteX65" fmla="*/ 494363 w 603332"/>
                  <a:gd name="connsiteY65" fmla="*/ 407936 h 488078"/>
                  <a:gd name="connsiteX66" fmla="*/ 463250 w 603332"/>
                  <a:gd name="connsiteY66" fmla="*/ 413122 h 488078"/>
                  <a:gd name="connsiteX67" fmla="*/ 444236 w 603332"/>
                  <a:gd name="connsiteY67" fmla="*/ 420036 h 488078"/>
                  <a:gd name="connsiteX68" fmla="*/ 440778 w 603332"/>
                  <a:gd name="connsiteY68" fmla="*/ 432136 h 488078"/>
                  <a:gd name="connsiteX69" fmla="*/ 442507 w 603332"/>
                  <a:gd name="connsiteY69" fmla="*/ 439050 h 488078"/>
                  <a:gd name="connsiteX70" fmla="*/ 430407 w 603332"/>
                  <a:gd name="connsiteY70" fmla="*/ 445964 h 488078"/>
                  <a:gd name="connsiteX71" fmla="*/ 423493 w 603332"/>
                  <a:gd name="connsiteY71" fmla="*/ 449421 h 488078"/>
                  <a:gd name="connsiteX72" fmla="*/ 421764 w 603332"/>
                  <a:gd name="connsiteY72" fmla="*/ 454607 h 488078"/>
                  <a:gd name="connsiteX73" fmla="*/ 416579 w 603332"/>
                  <a:gd name="connsiteY73" fmla="*/ 463250 h 488078"/>
                  <a:gd name="connsiteX74" fmla="*/ 388922 w 603332"/>
                  <a:gd name="connsiteY74" fmla="*/ 461521 h 488078"/>
                  <a:gd name="connsiteX75" fmla="*/ 380279 w 603332"/>
                  <a:gd name="connsiteY75" fmla="*/ 458064 h 488078"/>
                  <a:gd name="connsiteX76" fmla="*/ 350894 w 603332"/>
                  <a:gd name="connsiteY76" fmla="*/ 459792 h 488078"/>
                  <a:gd name="connsiteX77" fmla="*/ 342251 w 603332"/>
                  <a:gd name="connsiteY77" fmla="*/ 463250 h 488078"/>
                  <a:gd name="connsiteX78" fmla="*/ 335337 w 603332"/>
                  <a:gd name="connsiteY78" fmla="*/ 466707 h 488078"/>
                  <a:gd name="connsiteX79" fmla="*/ 328423 w 603332"/>
                  <a:gd name="connsiteY79" fmla="*/ 468435 h 488078"/>
                  <a:gd name="connsiteX80" fmla="*/ 326694 w 603332"/>
                  <a:gd name="connsiteY80" fmla="*/ 473621 h 488078"/>
                  <a:gd name="connsiteX81" fmla="*/ 324966 w 603332"/>
                  <a:gd name="connsiteY81" fmla="*/ 487449 h 488078"/>
                  <a:gd name="connsiteX82" fmla="*/ 318052 w 603332"/>
                  <a:gd name="connsiteY82" fmla="*/ 485721 h 488078"/>
                  <a:gd name="connsiteX83" fmla="*/ 312866 w 603332"/>
                  <a:gd name="connsiteY83" fmla="*/ 477078 h 488078"/>
                  <a:gd name="connsiteX84" fmla="*/ 311138 w 603332"/>
                  <a:gd name="connsiteY84" fmla="*/ 471892 h 488078"/>
                  <a:gd name="connsiteX85" fmla="*/ 305952 w 603332"/>
                  <a:gd name="connsiteY85" fmla="*/ 468435 h 488078"/>
                  <a:gd name="connsiteX86" fmla="*/ 304223 w 603332"/>
                  <a:gd name="connsiteY86" fmla="*/ 447693 h 488078"/>
                  <a:gd name="connsiteX87" fmla="*/ 292124 w 603332"/>
                  <a:gd name="connsiteY87" fmla="*/ 437321 h 488078"/>
                  <a:gd name="connsiteX88" fmla="*/ 286938 w 603332"/>
                  <a:gd name="connsiteY88" fmla="*/ 432136 h 488078"/>
                  <a:gd name="connsiteX89" fmla="*/ 283481 w 603332"/>
                  <a:gd name="connsiteY89" fmla="*/ 425222 h 488078"/>
                  <a:gd name="connsiteX90" fmla="*/ 276567 w 603332"/>
                  <a:gd name="connsiteY90" fmla="*/ 421764 h 488078"/>
                  <a:gd name="connsiteX91" fmla="*/ 250639 w 603332"/>
                  <a:gd name="connsiteY91" fmla="*/ 414850 h 488078"/>
                  <a:gd name="connsiteX92" fmla="*/ 247181 w 603332"/>
                  <a:gd name="connsiteY92" fmla="*/ 411393 h 488078"/>
                  <a:gd name="connsiteX93" fmla="*/ 217796 w 603332"/>
                  <a:gd name="connsiteY93" fmla="*/ 409665 h 488078"/>
                  <a:gd name="connsiteX94" fmla="*/ 210882 w 603332"/>
                  <a:gd name="connsiteY94" fmla="*/ 407936 h 488078"/>
                  <a:gd name="connsiteX95" fmla="*/ 209153 w 603332"/>
                  <a:gd name="connsiteY95" fmla="*/ 399293 h 488078"/>
                  <a:gd name="connsiteX96" fmla="*/ 205696 w 603332"/>
                  <a:gd name="connsiteY96" fmla="*/ 378551 h 488078"/>
                  <a:gd name="connsiteX97" fmla="*/ 214339 w 603332"/>
                  <a:gd name="connsiteY97" fmla="*/ 364722 h 488078"/>
                  <a:gd name="connsiteX98" fmla="*/ 220230 w 603332"/>
                  <a:gd name="connsiteY98" fmla="*/ 346273 h 488078"/>
                  <a:gd name="connsiteX99" fmla="*/ 224710 w 603332"/>
                  <a:gd name="connsiteY99" fmla="*/ 338794 h 488078"/>
                  <a:gd name="connsiteX100" fmla="*/ 226439 w 603332"/>
                  <a:gd name="connsiteY100" fmla="*/ 321509 h 488078"/>
                  <a:gd name="connsiteX101" fmla="*/ 210882 w 603332"/>
                  <a:gd name="connsiteY101" fmla="*/ 318052 h 488078"/>
                  <a:gd name="connsiteX102" fmla="*/ 200511 w 603332"/>
                  <a:gd name="connsiteY102" fmla="*/ 314595 h 488078"/>
                  <a:gd name="connsiteX103" fmla="*/ 188411 w 603332"/>
                  <a:gd name="connsiteY103" fmla="*/ 311138 h 488078"/>
                  <a:gd name="connsiteX104" fmla="*/ 169397 w 603332"/>
                  <a:gd name="connsiteY104" fmla="*/ 302495 h 488078"/>
                  <a:gd name="connsiteX105" fmla="*/ 157297 w 603332"/>
                  <a:gd name="connsiteY105" fmla="*/ 297309 h 488078"/>
                  <a:gd name="connsiteX106" fmla="*/ 145197 w 603332"/>
                  <a:gd name="connsiteY106" fmla="*/ 299038 h 488078"/>
                  <a:gd name="connsiteX107" fmla="*/ 134826 w 603332"/>
                  <a:gd name="connsiteY107" fmla="*/ 302495 h 488078"/>
                  <a:gd name="connsiteX108" fmla="*/ 98527 w 603332"/>
                  <a:gd name="connsiteY108" fmla="*/ 299038 h 488078"/>
                  <a:gd name="connsiteX109" fmla="*/ 86427 w 603332"/>
                  <a:gd name="connsiteY109" fmla="*/ 292124 h 488078"/>
                  <a:gd name="connsiteX110" fmla="*/ 77784 w 603332"/>
                  <a:gd name="connsiteY110" fmla="*/ 290395 h 488078"/>
                  <a:gd name="connsiteX111" fmla="*/ 70870 w 603332"/>
                  <a:gd name="connsiteY111" fmla="*/ 276567 h 488078"/>
                  <a:gd name="connsiteX112" fmla="*/ 44942 w 603332"/>
                  <a:gd name="connsiteY112" fmla="*/ 271381 h 488078"/>
                  <a:gd name="connsiteX113" fmla="*/ 43213 w 603332"/>
                  <a:gd name="connsiteY113" fmla="*/ 257553 h 488078"/>
                  <a:gd name="connsiteX114" fmla="*/ 36299 w 603332"/>
                  <a:gd name="connsiteY114" fmla="*/ 241996 h 488078"/>
                  <a:gd name="connsiteX115" fmla="*/ 32842 w 603332"/>
                  <a:gd name="connsiteY115" fmla="*/ 236810 h 488078"/>
                  <a:gd name="connsiteX116" fmla="*/ 24199 w 603332"/>
                  <a:gd name="connsiteY116" fmla="*/ 222982 h 488078"/>
                  <a:gd name="connsiteX117" fmla="*/ 19014 w 603332"/>
                  <a:gd name="connsiteY117" fmla="*/ 219525 h 488078"/>
                  <a:gd name="connsiteX118" fmla="*/ 20742 w 603332"/>
                  <a:gd name="connsiteY118" fmla="*/ 209153 h 488078"/>
                  <a:gd name="connsiteX119" fmla="*/ 15557 w 603332"/>
                  <a:gd name="connsiteY119" fmla="*/ 197054 h 488078"/>
                  <a:gd name="connsiteX120" fmla="*/ 10371 w 603332"/>
                  <a:gd name="connsiteY120" fmla="*/ 190140 h 488078"/>
                  <a:gd name="connsiteX121" fmla="*/ 8642 w 603332"/>
                  <a:gd name="connsiteY121" fmla="*/ 184954 h 488078"/>
                  <a:gd name="connsiteX122" fmla="*/ 3457 w 603332"/>
                  <a:gd name="connsiteY122" fmla="*/ 181497 h 488078"/>
                  <a:gd name="connsiteX123" fmla="*/ 1728 w 603332"/>
                  <a:gd name="connsiteY123" fmla="*/ 155569 h 488078"/>
                  <a:gd name="connsiteX124" fmla="*/ 0 w 603332"/>
                  <a:gd name="connsiteY124" fmla="*/ 141740 h 488078"/>
                  <a:gd name="connsiteX125" fmla="*/ 3457 w 603332"/>
                  <a:gd name="connsiteY125" fmla="*/ 136555 h 488078"/>
                  <a:gd name="connsiteX126" fmla="*/ 13828 w 603332"/>
                  <a:gd name="connsiteY126" fmla="*/ 117541 h 488078"/>
                  <a:gd name="connsiteX127" fmla="*/ 29385 w 603332"/>
                  <a:gd name="connsiteY127" fmla="*/ 101984 h 488078"/>
                  <a:gd name="connsiteX128" fmla="*/ 34570 w 603332"/>
                  <a:gd name="connsiteY128" fmla="*/ 96798 h 488078"/>
                  <a:gd name="connsiteX129" fmla="*/ 44942 w 603332"/>
                  <a:gd name="connsiteY129" fmla="*/ 89884 h 488078"/>
                  <a:gd name="connsiteX130" fmla="*/ 50127 w 603332"/>
                  <a:gd name="connsiteY130" fmla="*/ 86427 h 488078"/>
                  <a:gd name="connsiteX131" fmla="*/ 72598 w 603332"/>
                  <a:gd name="connsiteY131" fmla="*/ 77784 h 488078"/>
                  <a:gd name="connsiteX132" fmla="*/ 86427 w 603332"/>
                  <a:gd name="connsiteY132" fmla="*/ 62227 h 488078"/>
                  <a:gd name="connsiteX133" fmla="*/ 93341 w 603332"/>
                  <a:gd name="connsiteY133" fmla="*/ 60499 h 488078"/>
                  <a:gd name="connsiteX134" fmla="*/ 145197 w 603332"/>
                  <a:gd name="connsiteY134" fmla="*/ 60499 h 488078"/>
                  <a:gd name="connsiteX135" fmla="*/ 146926 w 603332"/>
                  <a:gd name="connsiteY135" fmla="*/ 67413 h 488078"/>
                  <a:gd name="connsiteX136" fmla="*/ 150383 w 603332"/>
                  <a:gd name="connsiteY136" fmla="*/ 72598 h 488078"/>
                  <a:gd name="connsiteX137" fmla="*/ 159026 w 603332"/>
                  <a:gd name="connsiteY137" fmla="*/ 57042 h 488078"/>
                  <a:gd name="connsiteX138" fmla="*/ 169397 w 603332"/>
                  <a:gd name="connsiteY138" fmla="*/ 46670 h 488078"/>
                  <a:gd name="connsiteX139" fmla="*/ 181497 w 603332"/>
                  <a:gd name="connsiteY139" fmla="*/ 48399 h 488078"/>
                  <a:gd name="connsiteX140" fmla="*/ 186682 w 603332"/>
                  <a:gd name="connsiteY140" fmla="*/ 60499 h 488078"/>
                  <a:gd name="connsiteX141" fmla="*/ 184954 w 603332"/>
                  <a:gd name="connsiteY141" fmla="*/ 70870 h 488078"/>
                  <a:gd name="connsiteX142" fmla="*/ 207425 w 603332"/>
                  <a:gd name="connsiteY142" fmla="*/ 44942 h 488078"/>
                  <a:gd name="connsiteX143" fmla="*/ 214339 w 603332"/>
                  <a:gd name="connsiteY143" fmla="*/ 39756 h 488078"/>
                  <a:gd name="connsiteX144" fmla="*/ 278295 w 603332"/>
                  <a:gd name="connsiteY144" fmla="*/ 41485 h 488078"/>
                  <a:gd name="connsiteX145" fmla="*/ 286938 w 603332"/>
                  <a:gd name="connsiteY145" fmla="*/ 43213 h 488078"/>
                  <a:gd name="connsiteX146" fmla="*/ 293852 w 603332"/>
                  <a:gd name="connsiteY146" fmla="*/ 44942 h 488078"/>
                  <a:gd name="connsiteX147" fmla="*/ 321509 w 603332"/>
                  <a:gd name="connsiteY147" fmla="*/ 43213 h 488078"/>
                  <a:gd name="connsiteX148" fmla="*/ 328423 w 603332"/>
                  <a:gd name="connsiteY148" fmla="*/ 34571 h 488078"/>
                  <a:gd name="connsiteX149" fmla="*/ 343980 w 603332"/>
                  <a:gd name="connsiteY149" fmla="*/ 25928 h 488078"/>
                  <a:gd name="connsiteX150" fmla="*/ 350894 w 603332"/>
                  <a:gd name="connsiteY150" fmla="*/ 15557 h 488078"/>
                  <a:gd name="connsiteX151" fmla="*/ 352623 w 603332"/>
                  <a:gd name="connsiteY151" fmla="*/ 8642 h 488078"/>
                  <a:gd name="connsiteX152" fmla="*/ 357808 w 603332"/>
                  <a:gd name="connsiteY152" fmla="*/ 5185 h 488078"/>
                  <a:gd name="connsiteX153" fmla="*/ 364722 w 603332"/>
                  <a:gd name="connsiteY153" fmla="*/ 0 h 488078"/>
                  <a:gd name="connsiteX0" fmla="*/ 364722 w 603332"/>
                  <a:gd name="connsiteY0" fmla="*/ 0 h 488078"/>
                  <a:gd name="connsiteX1" fmla="*/ 368180 w 603332"/>
                  <a:gd name="connsiteY1" fmla="*/ 8642 h 488078"/>
                  <a:gd name="connsiteX2" fmla="*/ 373365 w 603332"/>
                  <a:gd name="connsiteY2" fmla="*/ 15557 h 488078"/>
                  <a:gd name="connsiteX3" fmla="*/ 376822 w 603332"/>
                  <a:gd name="connsiteY3" fmla="*/ 20742 h 488078"/>
                  <a:gd name="connsiteX4" fmla="*/ 380279 w 603332"/>
                  <a:gd name="connsiteY4" fmla="*/ 27656 h 488078"/>
                  <a:gd name="connsiteX5" fmla="*/ 388922 w 603332"/>
                  <a:gd name="connsiteY5" fmla="*/ 36299 h 488078"/>
                  <a:gd name="connsiteX6" fmla="*/ 392379 w 603332"/>
                  <a:gd name="connsiteY6" fmla="*/ 43213 h 488078"/>
                  <a:gd name="connsiteX7" fmla="*/ 459792 w 603332"/>
                  <a:gd name="connsiteY7" fmla="*/ 44942 h 488078"/>
                  <a:gd name="connsiteX8" fmla="*/ 464978 w 603332"/>
                  <a:gd name="connsiteY8" fmla="*/ 48399 h 488078"/>
                  <a:gd name="connsiteX9" fmla="*/ 466707 w 603332"/>
                  <a:gd name="connsiteY9" fmla="*/ 53584 h 488078"/>
                  <a:gd name="connsiteX10" fmla="*/ 477078 w 603332"/>
                  <a:gd name="connsiteY10" fmla="*/ 60499 h 488078"/>
                  <a:gd name="connsiteX11" fmla="*/ 496092 w 603332"/>
                  <a:gd name="connsiteY11" fmla="*/ 62227 h 488078"/>
                  <a:gd name="connsiteX12" fmla="*/ 501277 w 603332"/>
                  <a:gd name="connsiteY12" fmla="*/ 65684 h 488078"/>
                  <a:gd name="connsiteX13" fmla="*/ 503006 w 603332"/>
                  <a:gd name="connsiteY13" fmla="*/ 70870 h 488078"/>
                  <a:gd name="connsiteX14" fmla="*/ 506463 w 603332"/>
                  <a:gd name="connsiteY14" fmla="*/ 76056 h 488078"/>
                  <a:gd name="connsiteX15" fmla="*/ 508192 w 603332"/>
                  <a:gd name="connsiteY15" fmla="*/ 82970 h 488078"/>
                  <a:gd name="connsiteX16" fmla="*/ 513377 w 603332"/>
                  <a:gd name="connsiteY16" fmla="*/ 88155 h 488078"/>
                  <a:gd name="connsiteX17" fmla="*/ 518563 w 603332"/>
                  <a:gd name="connsiteY17" fmla="*/ 95070 h 488078"/>
                  <a:gd name="connsiteX18" fmla="*/ 530663 w 603332"/>
                  <a:gd name="connsiteY18" fmla="*/ 105441 h 488078"/>
                  <a:gd name="connsiteX19" fmla="*/ 563505 w 603332"/>
                  <a:gd name="connsiteY19" fmla="*/ 101984 h 488078"/>
                  <a:gd name="connsiteX20" fmla="*/ 568691 w 603332"/>
                  <a:gd name="connsiteY20" fmla="*/ 100255 h 488078"/>
                  <a:gd name="connsiteX21" fmla="*/ 570419 w 603332"/>
                  <a:gd name="connsiteY21" fmla="*/ 107169 h 488078"/>
                  <a:gd name="connsiteX22" fmla="*/ 572148 w 603332"/>
                  <a:gd name="connsiteY22" fmla="*/ 115812 h 488078"/>
                  <a:gd name="connsiteX23" fmla="*/ 579062 w 603332"/>
                  <a:gd name="connsiteY23" fmla="*/ 131369 h 488078"/>
                  <a:gd name="connsiteX24" fmla="*/ 580791 w 603332"/>
                  <a:gd name="connsiteY24" fmla="*/ 140012 h 488078"/>
                  <a:gd name="connsiteX25" fmla="*/ 580791 w 603332"/>
                  <a:gd name="connsiteY25" fmla="*/ 150383 h 488078"/>
                  <a:gd name="connsiteX26" fmla="*/ 575605 w 603332"/>
                  <a:gd name="connsiteY26" fmla="*/ 152112 h 488078"/>
                  <a:gd name="connsiteX27" fmla="*/ 573876 w 603332"/>
                  <a:gd name="connsiteY27" fmla="*/ 157297 h 488078"/>
                  <a:gd name="connsiteX28" fmla="*/ 577333 w 603332"/>
                  <a:gd name="connsiteY28" fmla="*/ 167668 h 488078"/>
                  <a:gd name="connsiteX29" fmla="*/ 585976 w 603332"/>
                  <a:gd name="connsiteY29" fmla="*/ 165940 h 488078"/>
                  <a:gd name="connsiteX30" fmla="*/ 598076 w 603332"/>
                  <a:gd name="connsiteY30" fmla="*/ 162483 h 488078"/>
                  <a:gd name="connsiteX31" fmla="*/ 603262 w 603332"/>
                  <a:gd name="connsiteY31" fmla="*/ 165940 h 488078"/>
                  <a:gd name="connsiteX32" fmla="*/ 582519 w 603332"/>
                  <a:gd name="connsiteY32" fmla="*/ 184954 h 488078"/>
                  <a:gd name="connsiteX33" fmla="*/ 579062 w 603332"/>
                  <a:gd name="connsiteY33" fmla="*/ 190140 h 488078"/>
                  <a:gd name="connsiteX34" fmla="*/ 577333 w 603332"/>
                  <a:gd name="connsiteY34" fmla="*/ 198782 h 488078"/>
                  <a:gd name="connsiteX35" fmla="*/ 572148 w 603332"/>
                  <a:gd name="connsiteY35" fmla="*/ 200511 h 488078"/>
                  <a:gd name="connsiteX36" fmla="*/ 565234 w 603332"/>
                  <a:gd name="connsiteY36" fmla="*/ 205696 h 488078"/>
                  <a:gd name="connsiteX37" fmla="*/ 563505 w 603332"/>
                  <a:gd name="connsiteY37" fmla="*/ 212611 h 488078"/>
                  <a:gd name="connsiteX38" fmla="*/ 560048 w 603332"/>
                  <a:gd name="connsiteY38" fmla="*/ 217796 h 488078"/>
                  <a:gd name="connsiteX39" fmla="*/ 558319 w 603332"/>
                  <a:gd name="connsiteY39" fmla="*/ 229896 h 488078"/>
                  <a:gd name="connsiteX40" fmla="*/ 556591 w 603332"/>
                  <a:gd name="connsiteY40" fmla="*/ 235082 h 488078"/>
                  <a:gd name="connsiteX41" fmla="*/ 551405 w 603332"/>
                  <a:gd name="connsiteY41" fmla="*/ 238539 h 488078"/>
                  <a:gd name="connsiteX42" fmla="*/ 528934 w 603332"/>
                  <a:gd name="connsiteY42" fmla="*/ 247181 h 488078"/>
                  <a:gd name="connsiteX43" fmla="*/ 515106 w 603332"/>
                  <a:gd name="connsiteY43" fmla="*/ 248910 h 488078"/>
                  <a:gd name="connsiteX44" fmla="*/ 508192 w 603332"/>
                  <a:gd name="connsiteY44" fmla="*/ 247181 h 488078"/>
                  <a:gd name="connsiteX45" fmla="*/ 506463 w 603332"/>
                  <a:gd name="connsiteY45" fmla="*/ 241996 h 488078"/>
                  <a:gd name="connsiteX46" fmla="*/ 513377 w 603332"/>
                  <a:gd name="connsiteY46" fmla="*/ 248910 h 488078"/>
                  <a:gd name="connsiteX47" fmla="*/ 516834 w 603332"/>
                  <a:gd name="connsiteY47" fmla="*/ 257553 h 488078"/>
                  <a:gd name="connsiteX48" fmla="*/ 515106 w 603332"/>
                  <a:gd name="connsiteY48" fmla="*/ 274838 h 488078"/>
                  <a:gd name="connsiteX49" fmla="*/ 515106 w 603332"/>
                  <a:gd name="connsiteY49" fmla="*/ 290395 h 488078"/>
                  <a:gd name="connsiteX50" fmla="*/ 523749 w 603332"/>
                  <a:gd name="connsiteY50" fmla="*/ 304223 h 488078"/>
                  <a:gd name="connsiteX51" fmla="*/ 527206 w 603332"/>
                  <a:gd name="connsiteY51" fmla="*/ 316323 h 488078"/>
                  <a:gd name="connsiteX52" fmla="*/ 518563 w 603332"/>
                  <a:gd name="connsiteY52" fmla="*/ 326695 h 488078"/>
                  <a:gd name="connsiteX53" fmla="*/ 513377 w 603332"/>
                  <a:gd name="connsiteY53" fmla="*/ 331880 h 488078"/>
                  <a:gd name="connsiteX54" fmla="*/ 511649 w 603332"/>
                  <a:gd name="connsiteY54" fmla="*/ 338794 h 488078"/>
                  <a:gd name="connsiteX55" fmla="*/ 508192 w 603332"/>
                  <a:gd name="connsiteY55" fmla="*/ 356080 h 488078"/>
                  <a:gd name="connsiteX56" fmla="*/ 511649 w 603332"/>
                  <a:gd name="connsiteY56" fmla="*/ 362994 h 488078"/>
                  <a:gd name="connsiteX57" fmla="*/ 539305 w 603332"/>
                  <a:gd name="connsiteY57" fmla="*/ 368180 h 488078"/>
                  <a:gd name="connsiteX58" fmla="*/ 541034 w 603332"/>
                  <a:gd name="connsiteY58" fmla="*/ 373365 h 488078"/>
                  <a:gd name="connsiteX59" fmla="*/ 534120 w 603332"/>
                  <a:gd name="connsiteY59" fmla="*/ 387194 h 488078"/>
                  <a:gd name="connsiteX60" fmla="*/ 528934 w 603332"/>
                  <a:gd name="connsiteY60" fmla="*/ 388922 h 488078"/>
                  <a:gd name="connsiteX61" fmla="*/ 522020 w 603332"/>
                  <a:gd name="connsiteY61" fmla="*/ 387194 h 488078"/>
                  <a:gd name="connsiteX62" fmla="*/ 513377 w 603332"/>
                  <a:gd name="connsiteY62" fmla="*/ 382008 h 488078"/>
                  <a:gd name="connsiteX63" fmla="*/ 504735 w 603332"/>
                  <a:gd name="connsiteY63" fmla="*/ 390651 h 488078"/>
                  <a:gd name="connsiteX64" fmla="*/ 499549 w 603332"/>
                  <a:gd name="connsiteY64" fmla="*/ 402750 h 488078"/>
                  <a:gd name="connsiteX65" fmla="*/ 494363 w 603332"/>
                  <a:gd name="connsiteY65" fmla="*/ 407936 h 488078"/>
                  <a:gd name="connsiteX66" fmla="*/ 463250 w 603332"/>
                  <a:gd name="connsiteY66" fmla="*/ 413122 h 488078"/>
                  <a:gd name="connsiteX67" fmla="*/ 444236 w 603332"/>
                  <a:gd name="connsiteY67" fmla="*/ 420036 h 488078"/>
                  <a:gd name="connsiteX68" fmla="*/ 440778 w 603332"/>
                  <a:gd name="connsiteY68" fmla="*/ 432136 h 488078"/>
                  <a:gd name="connsiteX69" fmla="*/ 442507 w 603332"/>
                  <a:gd name="connsiteY69" fmla="*/ 439050 h 488078"/>
                  <a:gd name="connsiteX70" fmla="*/ 430407 w 603332"/>
                  <a:gd name="connsiteY70" fmla="*/ 445964 h 488078"/>
                  <a:gd name="connsiteX71" fmla="*/ 423493 w 603332"/>
                  <a:gd name="connsiteY71" fmla="*/ 449421 h 488078"/>
                  <a:gd name="connsiteX72" fmla="*/ 421764 w 603332"/>
                  <a:gd name="connsiteY72" fmla="*/ 454607 h 488078"/>
                  <a:gd name="connsiteX73" fmla="*/ 416579 w 603332"/>
                  <a:gd name="connsiteY73" fmla="*/ 463250 h 488078"/>
                  <a:gd name="connsiteX74" fmla="*/ 388922 w 603332"/>
                  <a:gd name="connsiteY74" fmla="*/ 461521 h 488078"/>
                  <a:gd name="connsiteX75" fmla="*/ 380279 w 603332"/>
                  <a:gd name="connsiteY75" fmla="*/ 458064 h 488078"/>
                  <a:gd name="connsiteX76" fmla="*/ 350894 w 603332"/>
                  <a:gd name="connsiteY76" fmla="*/ 459792 h 488078"/>
                  <a:gd name="connsiteX77" fmla="*/ 342251 w 603332"/>
                  <a:gd name="connsiteY77" fmla="*/ 463250 h 488078"/>
                  <a:gd name="connsiteX78" fmla="*/ 335337 w 603332"/>
                  <a:gd name="connsiteY78" fmla="*/ 466707 h 488078"/>
                  <a:gd name="connsiteX79" fmla="*/ 328423 w 603332"/>
                  <a:gd name="connsiteY79" fmla="*/ 468435 h 488078"/>
                  <a:gd name="connsiteX80" fmla="*/ 326694 w 603332"/>
                  <a:gd name="connsiteY80" fmla="*/ 473621 h 488078"/>
                  <a:gd name="connsiteX81" fmla="*/ 324966 w 603332"/>
                  <a:gd name="connsiteY81" fmla="*/ 487449 h 488078"/>
                  <a:gd name="connsiteX82" fmla="*/ 318052 w 603332"/>
                  <a:gd name="connsiteY82" fmla="*/ 485721 h 488078"/>
                  <a:gd name="connsiteX83" fmla="*/ 312866 w 603332"/>
                  <a:gd name="connsiteY83" fmla="*/ 477078 h 488078"/>
                  <a:gd name="connsiteX84" fmla="*/ 311138 w 603332"/>
                  <a:gd name="connsiteY84" fmla="*/ 471892 h 488078"/>
                  <a:gd name="connsiteX85" fmla="*/ 305952 w 603332"/>
                  <a:gd name="connsiteY85" fmla="*/ 468435 h 488078"/>
                  <a:gd name="connsiteX86" fmla="*/ 304223 w 603332"/>
                  <a:gd name="connsiteY86" fmla="*/ 447693 h 488078"/>
                  <a:gd name="connsiteX87" fmla="*/ 292124 w 603332"/>
                  <a:gd name="connsiteY87" fmla="*/ 437321 h 488078"/>
                  <a:gd name="connsiteX88" fmla="*/ 286938 w 603332"/>
                  <a:gd name="connsiteY88" fmla="*/ 432136 h 488078"/>
                  <a:gd name="connsiteX89" fmla="*/ 283481 w 603332"/>
                  <a:gd name="connsiteY89" fmla="*/ 425222 h 488078"/>
                  <a:gd name="connsiteX90" fmla="*/ 276567 w 603332"/>
                  <a:gd name="connsiteY90" fmla="*/ 421764 h 488078"/>
                  <a:gd name="connsiteX91" fmla="*/ 250639 w 603332"/>
                  <a:gd name="connsiteY91" fmla="*/ 414850 h 488078"/>
                  <a:gd name="connsiteX92" fmla="*/ 247181 w 603332"/>
                  <a:gd name="connsiteY92" fmla="*/ 411393 h 488078"/>
                  <a:gd name="connsiteX93" fmla="*/ 217796 w 603332"/>
                  <a:gd name="connsiteY93" fmla="*/ 409665 h 488078"/>
                  <a:gd name="connsiteX94" fmla="*/ 210882 w 603332"/>
                  <a:gd name="connsiteY94" fmla="*/ 407936 h 488078"/>
                  <a:gd name="connsiteX95" fmla="*/ 209153 w 603332"/>
                  <a:gd name="connsiteY95" fmla="*/ 399293 h 488078"/>
                  <a:gd name="connsiteX96" fmla="*/ 205696 w 603332"/>
                  <a:gd name="connsiteY96" fmla="*/ 378551 h 488078"/>
                  <a:gd name="connsiteX97" fmla="*/ 206401 w 603332"/>
                  <a:gd name="connsiteY97" fmla="*/ 356785 h 488078"/>
                  <a:gd name="connsiteX98" fmla="*/ 220230 w 603332"/>
                  <a:gd name="connsiteY98" fmla="*/ 346273 h 488078"/>
                  <a:gd name="connsiteX99" fmla="*/ 224710 w 603332"/>
                  <a:gd name="connsiteY99" fmla="*/ 338794 h 488078"/>
                  <a:gd name="connsiteX100" fmla="*/ 226439 w 603332"/>
                  <a:gd name="connsiteY100" fmla="*/ 321509 h 488078"/>
                  <a:gd name="connsiteX101" fmla="*/ 210882 w 603332"/>
                  <a:gd name="connsiteY101" fmla="*/ 318052 h 488078"/>
                  <a:gd name="connsiteX102" fmla="*/ 200511 w 603332"/>
                  <a:gd name="connsiteY102" fmla="*/ 314595 h 488078"/>
                  <a:gd name="connsiteX103" fmla="*/ 188411 w 603332"/>
                  <a:gd name="connsiteY103" fmla="*/ 311138 h 488078"/>
                  <a:gd name="connsiteX104" fmla="*/ 169397 w 603332"/>
                  <a:gd name="connsiteY104" fmla="*/ 302495 h 488078"/>
                  <a:gd name="connsiteX105" fmla="*/ 157297 w 603332"/>
                  <a:gd name="connsiteY105" fmla="*/ 297309 h 488078"/>
                  <a:gd name="connsiteX106" fmla="*/ 145197 w 603332"/>
                  <a:gd name="connsiteY106" fmla="*/ 299038 h 488078"/>
                  <a:gd name="connsiteX107" fmla="*/ 134826 w 603332"/>
                  <a:gd name="connsiteY107" fmla="*/ 302495 h 488078"/>
                  <a:gd name="connsiteX108" fmla="*/ 98527 w 603332"/>
                  <a:gd name="connsiteY108" fmla="*/ 299038 h 488078"/>
                  <a:gd name="connsiteX109" fmla="*/ 86427 w 603332"/>
                  <a:gd name="connsiteY109" fmla="*/ 292124 h 488078"/>
                  <a:gd name="connsiteX110" fmla="*/ 77784 w 603332"/>
                  <a:gd name="connsiteY110" fmla="*/ 290395 h 488078"/>
                  <a:gd name="connsiteX111" fmla="*/ 70870 w 603332"/>
                  <a:gd name="connsiteY111" fmla="*/ 276567 h 488078"/>
                  <a:gd name="connsiteX112" fmla="*/ 44942 w 603332"/>
                  <a:gd name="connsiteY112" fmla="*/ 271381 h 488078"/>
                  <a:gd name="connsiteX113" fmla="*/ 43213 w 603332"/>
                  <a:gd name="connsiteY113" fmla="*/ 257553 h 488078"/>
                  <a:gd name="connsiteX114" fmla="*/ 36299 w 603332"/>
                  <a:gd name="connsiteY114" fmla="*/ 241996 h 488078"/>
                  <a:gd name="connsiteX115" fmla="*/ 32842 w 603332"/>
                  <a:gd name="connsiteY115" fmla="*/ 236810 h 488078"/>
                  <a:gd name="connsiteX116" fmla="*/ 24199 w 603332"/>
                  <a:gd name="connsiteY116" fmla="*/ 222982 h 488078"/>
                  <a:gd name="connsiteX117" fmla="*/ 19014 w 603332"/>
                  <a:gd name="connsiteY117" fmla="*/ 219525 h 488078"/>
                  <a:gd name="connsiteX118" fmla="*/ 20742 w 603332"/>
                  <a:gd name="connsiteY118" fmla="*/ 209153 h 488078"/>
                  <a:gd name="connsiteX119" fmla="*/ 15557 w 603332"/>
                  <a:gd name="connsiteY119" fmla="*/ 197054 h 488078"/>
                  <a:gd name="connsiteX120" fmla="*/ 10371 w 603332"/>
                  <a:gd name="connsiteY120" fmla="*/ 190140 h 488078"/>
                  <a:gd name="connsiteX121" fmla="*/ 8642 w 603332"/>
                  <a:gd name="connsiteY121" fmla="*/ 184954 h 488078"/>
                  <a:gd name="connsiteX122" fmla="*/ 3457 w 603332"/>
                  <a:gd name="connsiteY122" fmla="*/ 181497 h 488078"/>
                  <a:gd name="connsiteX123" fmla="*/ 1728 w 603332"/>
                  <a:gd name="connsiteY123" fmla="*/ 155569 h 488078"/>
                  <a:gd name="connsiteX124" fmla="*/ 0 w 603332"/>
                  <a:gd name="connsiteY124" fmla="*/ 141740 h 488078"/>
                  <a:gd name="connsiteX125" fmla="*/ 3457 w 603332"/>
                  <a:gd name="connsiteY125" fmla="*/ 136555 h 488078"/>
                  <a:gd name="connsiteX126" fmla="*/ 13828 w 603332"/>
                  <a:gd name="connsiteY126" fmla="*/ 117541 h 488078"/>
                  <a:gd name="connsiteX127" fmla="*/ 29385 w 603332"/>
                  <a:gd name="connsiteY127" fmla="*/ 101984 h 488078"/>
                  <a:gd name="connsiteX128" fmla="*/ 34570 w 603332"/>
                  <a:gd name="connsiteY128" fmla="*/ 96798 h 488078"/>
                  <a:gd name="connsiteX129" fmla="*/ 44942 w 603332"/>
                  <a:gd name="connsiteY129" fmla="*/ 89884 h 488078"/>
                  <a:gd name="connsiteX130" fmla="*/ 50127 w 603332"/>
                  <a:gd name="connsiteY130" fmla="*/ 86427 h 488078"/>
                  <a:gd name="connsiteX131" fmla="*/ 72598 w 603332"/>
                  <a:gd name="connsiteY131" fmla="*/ 77784 h 488078"/>
                  <a:gd name="connsiteX132" fmla="*/ 86427 w 603332"/>
                  <a:gd name="connsiteY132" fmla="*/ 62227 h 488078"/>
                  <a:gd name="connsiteX133" fmla="*/ 93341 w 603332"/>
                  <a:gd name="connsiteY133" fmla="*/ 60499 h 488078"/>
                  <a:gd name="connsiteX134" fmla="*/ 145197 w 603332"/>
                  <a:gd name="connsiteY134" fmla="*/ 60499 h 488078"/>
                  <a:gd name="connsiteX135" fmla="*/ 146926 w 603332"/>
                  <a:gd name="connsiteY135" fmla="*/ 67413 h 488078"/>
                  <a:gd name="connsiteX136" fmla="*/ 150383 w 603332"/>
                  <a:gd name="connsiteY136" fmla="*/ 72598 h 488078"/>
                  <a:gd name="connsiteX137" fmla="*/ 159026 w 603332"/>
                  <a:gd name="connsiteY137" fmla="*/ 57042 h 488078"/>
                  <a:gd name="connsiteX138" fmla="*/ 169397 w 603332"/>
                  <a:gd name="connsiteY138" fmla="*/ 46670 h 488078"/>
                  <a:gd name="connsiteX139" fmla="*/ 181497 w 603332"/>
                  <a:gd name="connsiteY139" fmla="*/ 48399 h 488078"/>
                  <a:gd name="connsiteX140" fmla="*/ 186682 w 603332"/>
                  <a:gd name="connsiteY140" fmla="*/ 60499 h 488078"/>
                  <a:gd name="connsiteX141" fmla="*/ 184954 w 603332"/>
                  <a:gd name="connsiteY141" fmla="*/ 70870 h 488078"/>
                  <a:gd name="connsiteX142" fmla="*/ 207425 w 603332"/>
                  <a:gd name="connsiteY142" fmla="*/ 44942 h 488078"/>
                  <a:gd name="connsiteX143" fmla="*/ 214339 w 603332"/>
                  <a:gd name="connsiteY143" fmla="*/ 39756 h 488078"/>
                  <a:gd name="connsiteX144" fmla="*/ 278295 w 603332"/>
                  <a:gd name="connsiteY144" fmla="*/ 41485 h 488078"/>
                  <a:gd name="connsiteX145" fmla="*/ 286938 w 603332"/>
                  <a:gd name="connsiteY145" fmla="*/ 43213 h 488078"/>
                  <a:gd name="connsiteX146" fmla="*/ 293852 w 603332"/>
                  <a:gd name="connsiteY146" fmla="*/ 44942 h 488078"/>
                  <a:gd name="connsiteX147" fmla="*/ 321509 w 603332"/>
                  <a:gd name="connsiteY147" fmla="*/ 43213 h 488078"/>
                  <a:gd name="connsiteX148" fmla="*/ 328423 w 603332"/>
                  <a:gd name="connsiteY148" fmla="*/ 34571 h 488078"/>
                  <a:gd name="connsiteX149" fmla="*/ 343980 w 603332"/>
                  <a:gd name="connsiteY149" fmla="*/ 25928 h 488078"/>
                  <a:gd name="connsiteX150" fmla="*/ 350894 w 603332"/>
                  <a:gd name="connsiteY150" fmla="*/ 15557 h 488078"/>
                  <a:gd name="connsiteX151" fmla="*/ 352623 w 603332"/>
                  <a:gd name="connsiteY151" fmla="*/ 8642 h 488078"/>
                  <a:gd name="connsiteX152" fmla="*/ 357808 w 603332"/>
                  <a:gd name="connsiteY152" fmla="*/ 5185 h 488078"/>
                  <a:gd name="connsiteX153" fmla="*/ 364722 w 603332"/>
                  <a:gd name="connsiteY153" fmla="*/ 0 h 488078"/>
                  <a:gd name="connsiteX0" fmla="*/ 364722 w 603332"/>
                  <a:gd name="connsiteY0" fmla="*/ 0 h 488078"/>
                  <a:gd name="connsiteX1" fmla="*/ 368180 w 603332"/>
                  <a:gd name="connsiteY1" fmla="*/ 8642 h 488078"/>
                  <a:gd name="connsiteX2" fmla="*/ 373365 w 603332"/>
                  <a:gd name="connsiteY2" fmla="*/ 15557 h 488078"/>
                  <a:gd name="connsiteX3" fmla="*/ 376822 w 603332"/>
                  <a:gd name="connsiteY3" fmla="*/ 20742 h 488078"/>
                  <a:gd name="connsiteX4" fmla="*/ 380279 w 603332"/>
                  <a:gd name="connsiteY4" fmla="*/ 27656 h 488078"/>
                  <a:gd name="connsiteX5" fmla="*/ 388922 w 603332"/>
                  <a:gd name="connsiteY5" fmla="*/ 36299 h 488078"/>
                  <a:gd name="connsiteX6" fmla="*/ 392379 w 603332"/>
                  <a:gd name="connsiteY6" fmla="*/ 43213 h 488078"/>
                  <a:gd name="connsiteX7" fmla="*/ 459792 w 603332"/>
                  <a:gd name="connsiteY7" fmla="*/ 44942 h 488078"/>
                  <a:gd name="connsiteX8" fmla="*/ 464978 w 603332"/>
                  <a:gd name="connsiteY8" fmla="*/ 48399 h 488078"/>
                  <a:gd name="connsiteX9" fmla="*/ 466707 w 603332"/>
                  <a:gd name="connsiteY9" fmla="*/ 53584 h 488078"/>
                  <a:gd name="connsiteX10" fmla="*/ 477078 w 603332"/>
                  <a:gd name="connsiteY10" fmla="*/ 60499 h 488078"/>
                  <a:gd name="connsiteX11" fmla="*/ 496092 w 603332"/>
                  <a:gd name="connsiteY11" fmla="*/ 62227 h 488078"/>
                  <a:gd name="connsiteX12" fmla="*/ 501277 w 603332"/>
                  <a:gd name="connsiteY12" fmla="*/ 65684 h 488078"/>
                  <a:gd name="connsiteX13" fmla="*/ 503006 w 603332"/>
                  <a:gd name="connsiteY13" fmla="*/ 70870 h 488078"/>
                  <a:gd name="connsiteX14" fmla="*/ 506463 w 603332"/>
                  <a:gd name="connsiteY14" fmla="*/ 76056 h 488078"/>
                  <a:gd name="connsiteX15" fmla="*/ 508192 w 603332"/>
                  <a:gd name="connsiteY15" fmla="*/ 82970 h 488078"/>
                  <a:gd name="connsiteX16" fmla="*/ 513377 w 603332"/>
                  <a:gd name="connsiteY16" fmla="*/ 88155 h 488078"/>
                  <a:gd name="connsiteX17" fmla="*/ 518563 w 603332"/>
                  <a:gd name="connsiteY17" fmla="*/ 95070 h 488078"/>
                  <a:gd name="connsiteX18" fmla="*/ 530663 w 603332"/>
                  <a:gd name="connsiteY18" fmla="*/ 105441 h 488078"/>
                  <a:gd name="connsiteX19" fmla="*/ 563505 w 603332"/>
                  <a:gd name="connsiteY19" fmla="*/ 101984 h 488078"/>
                  <a:gd name="connsiteX20" fmla="*/ 568691 w 603332"/>
                  <a:gd name="connsiteY20" fmla="*/ 100255 h 488078"/>
                  <a:gd name="connsiteX21" fmla="*/ 570419 w 603332"/>
                  <a:gd name="connsiteY21" fmla="*/ 107169 h 488078"/>
                  <a:gd name="connsiteX22" fmla="*/ 572148 w 603332"/>
                  <a:gd name="connsiteY22" fmla="*/ 115812 h 488078"/>
                  <a:gd name="connsiteX23" fmla="*/ 579062 w 603332"/>
                  <a:gd name="connsiteY23" fmla="*/ 131369 h 488078"/>
                  <a:gd name="connsiteX24" fmla="*/ 580791 w 603332"/>
                  <a:gd name="connsiteY24" fmla="*/ 140012 h 488078"/>
                  <a:gd name="connsiteX25" fmla="*/ 580791 w 603332"/>
                  <a:gd name="connsiteY25" fmla="*/ 150383 h 488078"/>
                  <a:gd name="connsiteX26" fmla="*/ 575605 w 603332"/>
                  <a:gd name="connsiteY26" fmla="*/ 152112 h 488078"/>
                  <a:gd name="connsiteX27" fmla="*/ 573876 w 603332"/>
                  <a:gd name="connsiteY27" fmla="*/ 157297 h 488078"/>
                  <a:gd name="connsiteX28" fmla="*/ 577333 w 603332"/>
                  <a:gd name="connsiteY28" fmla="*/ 167668 h 488078"/>
                  <a:gd name="connsiteX29" fmla="*/ 585976 w 603332"/>
                  <a:gd name="connsiteY29" fmla="*/ 165940 h 488078"/>
                  <a:gd name="connsiteX30" fmla="*/ 598076 w 603332"/>
                  <a:gd name="connsiteY30" fmla="*/ 162483 h 488078"/>
                  <a:gd name="connsiteX31" fmla="*/ 603262 w 603332"/>
                  <a:gd name="connsiteY31" fmla="*/ 165940 h 488078"/>
                  <a:gd name="connsiteX32" fmla="*/ 582519 w 603332"/>
                  <a:gd name="connsiteY32" fmla="*/ 184954 h 488078"/>
                  <a:gd name="connsiteX33" fmla="*/ 579062 w 603332"/>
                  <a:gd name="connsiteY33" fmla="*/ 190140 h 488078"/>
                  <a:gd name="connsiteX34" fmla="*/ 577333 w 603332"/>
                  <a:gd name="connsiteY34" fmla="*/ 198782 h 488078"/>
                  <a:gd name="connsiteX35" fmla="*/ 572148 w 603332"/>
                  <a:gd name="connsiteY35" fmla="*/ 200511 h 488078"/>
                  <a:gd name="connsiteX36" fmla="*/ 565234 w 603332"/>
                  <a:gd name="connsiteY36" fmla="*/ 205696 h 488078"/>
                  <a:gd name="connsiteX37" fmla="*/ 563505 w 603332"/>
                  <a:gd name="connsiteY37" fmla="*/ 212611 h 488078"/>
                  <a:gd name="connsiteX38" fmla="*/ 560048 w 603332"/>
                  <a:gd name="connsiteY38" fmla="*/ 217796 h 488078"/>
                  <a:gd name="connsiteX39" fmla="*/ 558319 w 603332"/>
                  <a:gd name="connsiteY39" fmla="*/ 229896 h 488078"/>
                  <a:gd name="connsiteX40" fmla="*/ 556591 w 603332"/>
                  <a:gd name="connsiteY40" fmla="*/ 235082 h 488078"/>
                  <a:gd name="connsiteX41" fmla="*/ 551405 w 603332"/>
                  <a:gd name="connsiteY41" fmla="*/ 238539 h 488078"/>
                  <a:gd name="connsiteX42" fmla="*/ 528934 w 603332"/>
                  <a:gd name="connsiteY42" fmla="*/ 247181 h 488078"/>
                  <a:gd name="connsiteX43" fmla="*/ 515106 w 603332"/>
                  <a:gd name="connsiteY43" fmla="*/ 248910 h 488078"/>
                  <a:gd name="connsiteX44" fmla="*/ 508192 w 603332"/>
                  <a:gd name="connsiteY44" fmla="*/ 247181 h 488078"/>
                  <a:gd name="connsiteX45" fmla="*/ 506463 w 603332"/>
                  <a:gd name="connsiteY45" fmla="*/ 241996 h 488078"/>
                  <a:gd name="connsiteX46" fmla="*/ 513377 w 603332"/>
                  <a:gd name="connsiteY46" fmla="*/ 248910 h 488078"/>
                  <a:gd name="connsiteX47" fmla="*/ 516834 w 603332"/>
                  <a:gd name="connsiteY47" fmla="*/ 257553 h 488078"/>
                  <a:gd name="connsiteX48" fmla="*/ 515106 w 603332"/>
                  <a:gd name="connsiteY48" fmla="*/ 274838 h 488078"/>
                  <a:gd name="connsiteX49" fmla="*/ 515106 w 603332"/>
                  <a:gd name="connsiteY49" fmla="*/ 290395 h 488078"/>
                  <a:gd name="connsiteX50" fmla="*/ 523749 w 603332"/>
                  <a:gd name="connsiteY50" fmla="*/ 304223 h 488078"/>
                  <a:gd name="connsiteX51" fmla="*/ 527206 w 603332"/>
                  <a:gd name="connsiteY51" fmla="*/ 316323 h 488078"/>
                  <a:gd name="connsiteX52" fmla="*/ 518563 w 603332"/>
                  <a:gd name="connsiteY52" fmla="*/ 326695 h 488078"/>
                  <a:gd name="connsiteX53" fmla="*/ 513377 w 603332"/>
                  <a:gd name="connsiteY53" fmla="*/ 331880 h 488078"/>
                  <a:gd name="connsiteX54" fmla="*/ 511649 w 603332"/>
                  <a:gd name="connsiteY54" fmla="*/ 338794 h 488078"/>
                  <a:gd name="connsiteX55" fmla="*/ 508192 w 603332"/>
                  <a:gd name="connsiteY55" fmla="*/ 356080 h 488078"/>
                  <a:gd name="connsiteX56" fmla="*/ 511649 w 603332"/>
                  <a:gd name="connsiteY56" fmla="*/ 362994 h 488078"/>
                  <a:gd name="connsiteX57" fmla="*/ 539305 w 603332"/>
                  <a:gd name="connsiteY57" fmla="*/ 368180 h 488078"/>
                  <a:gd name="connsiteX58" fmla="*/ 541034 w 603332"/>
                  <a:gd name="connsiteY58" fmla="*/ 373365 h 488078"/>
                  <a:gd name="connsiteX59" fmla="*/ 534120 w 603332"/>
                  <a:gd name="connsiteY59" fmla="*/ 387194 h 488078"/>
                  <a:gd name="connsiteX60" fmla="*/ 528934 w 603332"/>
                  <a:gd name="connsiteY60" fmla="*/ 388922 h 488078"/>
                  <a:gd name="connsiteX61" fmla="*/ 522020 w 603332"/>
                  <a:gd name="connsiteY61" fmla="*/ 387194 h 488078"/>
                  <a:gd name="connsiteX62" fmla="*/ 513377 w 603332"/>
                  <a:gd name="connsiteY62" fmla="*/ 382008 h 488078"/>
                  <a:gd name="connsiteX63" fmla="*/ 504735 w 603332"/>
                  <a:gd name="connsiteY63" fmla="*/ 390651 h 488078"/>
                  <a:gd name="connsiteX64" fmla="*/ 499549 w 603332"/>
                  <a:gd name="connsiteY64" fmla="*/ 402750 h 488078"/>
                  <a:gd name="connsiteX65" fmla="*/ 494363 w 603332"/>
                  <a:gd name="connsiteY65" fmla="*/ 407936 h 488078"/>
                  <a:gd name="connsiteX66" fmla="*/ 463250 w 603332"/>
                  <a:gd name="connsiteY66" fmla="*/ 413122 h 488078"/>
                  <a:gd name="connsiteX67" fmla="*/ 444236 w 603332"/>
                  <a:gd name="connsiteY67" fmla="*/ 420036 h 488078"/>
                  <a:gd name="connsiteX68" fmla="*/ 440778 w 603332"/>
                  <a:gd name="connsiteY68" fmla="*/ 432136 h 488078"/>
                  <a:gd name="connsiteX69" fmla="*/ 442507 w 603332"/>
                  <a:gd name="connsiteY69" fmla="*/ 439050 h 488078"/>
                  <a:gd name="connsiteX70" fmla="*/ 430407 w 603332"/>
                  <a:gd name="connsiteY70" fmla="*/ 445964 h 488078"/>
                  <a:gd name="connsiteX71" fmla="*/ 423493 w 603332"/>
                  <a:gd name="connsiteY71" fmla="*/ 449421 h 488078"/>
                  <a:gd name="connsiteX72" fmla="*/ 421764 w 603332"/>
                  <a:gd name="connsiteY72" fmla="*/ 454607 h 488078"/>
                  <a:gd name="connsiteX73" fmla="*/ 416579 w 603332"/>
                  <a:gd name="connsiteY73" fmla="*/ 463250 h 488078"/>
                  <a:gd name="connsiteX74" fmla="*/ 388922 w 603332"/>
                  <a:gd name="connsiteY74" fmla="*/ 461521 h 488078"/>
                  <a:gd name="connsiteX75" fmla="*/ 380279 w 603332"/>
                  <a:gd name="connsiteY75" fmla="*/ 458064 h 488078"/>
                  <a:gd name="connsiteX76" fmla="*/ 350894 w 603332"/>
                  <a:gd name="connsiteY76" fmla="*/ 459792 h 488078"/>
                  <a:gd name="connsiteX77" fmla="*/ 342251 w 603332"/>
                  <a:gd name="connsiteY77" fmla="*/ 463250 h 488078"/>
                  <a:gd name="connsiteX78" fmla="*/ 335337 w 603332"/>
                  <a:gd name="connsiteY78" fmla="*/ 466707 h 488078"/>
                  <a:gd name="connsiteX79" fmla="*/ 328423 w 603332"/>
                  <a:gd name="connsiteY79" fmla="*/ 468435 h 488078"/>
                  <a:gd name="connsiteX80" fmla="*/ 326694 w 603332"/>
                  <a:gd name="connsiteY80" fmla="*/ 473621 h 488078"/>
                  <a:gd name="connsiteX81" fmla="*/ 324966 w 603332"/>
                  <a:gd name="connsiteY81" fmla="*/ 487449 h 488078"/>
                  <a:gd name="connsiteX82" fmla="*/ 318052 w 603332"/>
                  <a:gd name="connsiteY82" fmla="*/ 485721 h 488078"/>
                  <a:gd name="connsiteX83" fmla="*/ 312866 w 603332"/>
                  <a:gd name="connsiteY83" fmla="*/ 477078 h 488078"/>
                  <a:gd name="connsiteX84" fmla="*/ 311138 w 603332"/>
                  <a:gd name="connsiteY84" fmla="*/ 471892 h 488078"/>
                  <a:gd name="connsiteX85" fmla="*/ 305952 w 603332"/>
                  <a:gd name="connsiteY85" fmla="*/ 468435 h 488078"/>
                  <a:gd name="connsiteX86" fmla="*/ 304223 w 603332"/>
                  <a:gd name="connsiteY86" fmla="*/ 447693 h 488078"/>
                  <a:gd name="connsiteX87" fmla="*/ 292124 w 603332"/>
                  <a:gd name="connsiteY87" fmla="*/ 437321 h 488078"/>
                  <a:gd name="connsiteX88" fmla="*/ 286938 w 603332"/>
                  <a:gd name="connsiteY88" fmla="*/ 432136 h 488078"/>
                  <a:gd name="connsiteX89" fmla="*/ 283481 w 603332"/>
                  <a:gd name="connsiteY89" fmla="*/ 425222 h 488078"/>
                  <a:gd name="connsiteX90" fmla="*/ 276567 w 603332"/>
                  <a:gd name="connsiteY90" fmla="*/ 421764 h 488078"/>
                  <a:gd name="connsiteX91" fmla="*/ 250639 w 603332"/>
                  <a:gd name="connsiteY91" fmla="*/ 414850 h 488078"/>
                  <a:gd name="connsiteX92" fmla="*/ 247181 w 603332"/>
                  <a:gd name="connsiteY92" fmla="*/ 411393 h 488078"/>
                  <a:gd name="connsiteX93" fmla="*/ 217796 w 603332"/>
                  <a:gd name="connsiteY93" fmla="*/ 409665 h 488078"/>
                  <a:gd name="connsiteX94" fmla="*/ 210882 w 603332"/>
                  <a:gd name="connsiteY94" fmla="*/ 407936 h 488078"/>
                  <a:gd name="connsiteX95" fmla="*/ 209153 w 603332"/>
                  <a:gd name="connsiteY95" fmla="*/ 399293 h 488078"/>
                  <a:gd name="connsiteX96" fmla="*/ 205696 w 603332"/>
                  <a:gd name="connsiteY96" fmla="*/ 378551 h 488078"/>
                  <a:gd name="connsiteX97" fmla="*/ 206401 w 603332"/>
                  <a:gd name="connsiteY97" fmla="*/ 356785 h 488078"/>
                  <a:gd name="connsiteX98" fmla="*/ 220230 w 603332"/>
                  <a:gd name="connsiteY98" fmla="*/ 346273 h 488078"/>
                  <a:gd name="connsiteX99" fmla="*/ 224710 w 603332"/>
                  <a:gd name="connsiteY99" fmla="*/ 338794 h 488078"/>
                  <a:gd name="connsiteX100" fmla="*/ 215326 w 603332"/>
                  <a:gd name="connsiteY100" fmla="*/ 323096 h 488078"/>
                  <a:gd name="connsiteX101" fmla="*/ 210882 w 603332"/>
                  <a:gd name="connsiteY101" fmla="*/ 318052 h 488078"/>
                  <a:gd name="connsiteX102" fmla="*/ 200511 w 603332"/>
                  <a:gd name="connsiteY102" fmla="*/ 314595 h 488078"/>
                  <a:gd name="connsiteX103" fmla="*/ 188411 w 603332"/>
                  <a:gd name="connsiteY103" fmla="*/ 311138 h 488078"/>
                  <a:gd name="connsiteX104" fmla="*/ 169397 w 603332"/>
                  <a:gd name="connsiteY104" fmla="*/ 302495 h 488078"/>
                  <a:gd name="connsiteX105" fmla="*/ 157297 w 603332"/>
                  <a:gd name="connsiteY105" fmla="*/ 297309 h 488078"/>
                  <a:gd name="connsiteX106" fmla="*/ 145197 w 603332"/>
                  <a:gd name="connsiteY106" fmla="*/ 299038 h 488078"/>
                  <a:gd name="connsiteX107" fmla="*/ 134826 w 603332"/>
                  <a:gd name="connsiteY107" fmla="*/ 302495 h 488078"/>
                  <a:gd name="connsiteX108" fmla="*/ 98527 w 603332"/>
                  <a:gd name="connsiteY108" fmla="*/ 299038 h 488078"/>
                  <a:gd name="connsiteX109" fmla="*/ 86427 w 603332"/>
                  <a:gd name="connsiteY109" fmla="*/ 292124 h 488078"/>
                  <a:gd name="connsiteX110" fmla="*/ 77784 w 603332"/>
                  <a:gd name="connsiteY110" fmla="*/ 290395 h 488078"/>
                  <a:gd name="connsiteX111" fmla="*/ 70870 w 603332"/>
                  <a:gd name="connsiteY111" fmla="*/ 276567 h 488078"/>
                  <a:gd name="connsiteX112" fmla="*/ 44942 w 603332"/>
                  <a:gd name="connsiteY112" fmla="*/ 271381 h 488078"/>
                  <a:gd name="connsiteX113" fmla="*/ 43213 w 603332"/>
                  <a:gd name="connsiteY113" fmla="*/ 257553 h 488078"/>
                  <a:gd name="connsiteX114" fmla="*/ 36299 w 603332"/>
                  <a:gd name="connsiteY114" fmla="*/ 241996 h 488078"/>
                  <a:gd name="connsiteX115" fmla="*/ 32842 w 603332"/>
                  <a:gd name="connsiteY115" fmla="*/ 236810 h 488078"/>
                  <a:gd name="connsiteX116" fmla="*/ 24199 w 603332"/>
                  <a:gd name="connsiteY116" fmla="*/ 222982 h 488078"/>
                  <a:gd name="connsiteX117" fmla="*/ 19014 w 603332"/>
                  <a:gd name="connsiteY117" fmla="*/ 219525 h 488078"/>
                  <a:gd name="connsiteX118" fmla="*/ 20742 w 603332"/>
                  <a:gd name="connsiteY118" fmla="*/ 209153 h 488078"/>
                  <a:gd name="connsiteX119" fmla="*/ 15557 w 603332"/>
                  <a:gd name="connsiteY119" fmla="*/ 197054 h 488078"/>
                  <a:gd name="connsiteX120" fmla="*/ 10371 w 603332"/>
                  <a:gd name="connsiteY120" fmla="*/ 190140 h 488078"/>
                  <a:gd name="connsiteX121" fmla="*/ 8642 w 603332"/>
                  <a:gd name="connsiteY121" fmla="*/ 184954 h 488078"/>
                  <a:gd name="connsiteX122" fmla="*/ 3457 w 603332"/>
                  <a:gd name="connsiteY122" fmla="*/ 181497 h 488078"/>
                  <a:gd name="connsiteX123" fmla="*/ 1728 w 603332"/>
                  <a:gd name="connsiteY123" fmla="*/ 155569 h 488078"/>
                  <a:gd name="connsiteX124" fmla="*/ 0 w 603332"/>
                  <a:gd name="connsiteY124" fmla="*/ 141740 h 488078"/>
                  <a:gd name="connsiteX125" fmla="*/ 3457 w 603332"/>
                  <a:gd name="connsiteY125" fmla="*/ 136555 h 488078"/>
                  <a:gd name="connsiteX126" fmla="*/ 13828 w 603332"/>
                  <a:gd name="connsiteY126" fmla="*/ 117541 h 488078"/>
                  <a:gd name="connsiteX127" fmla="*/ 29385 w 603332"/>
                  <a:gd name="connsiteY127" fmla="*/ 101984 h 488078"/>
                  <a:gd name="connsiteX128" fmla="*/ 34570 w 603332"/>
                  <a:gd name="connsiteY128" fmla="*/ 96798 h 488078"/>
                  <a:gd name="connsiteX129" fmla="*/ 44942 w 603332"/>
                  <a:gd name="connsiteY129" fmla="*/ 89884 h 488078"/>
                  <a:gd name="connsiteX130" fmla="*/ 50127 w 603332"/>
                  <a:gd name="connsiteY130" fmla="*/ 86427 h 488078"/>
                  <a:gd name="connsiteX131" fmla="*/ 72598 w 603332"/>
                  <a:gd name="connsiteY131" fmla="*/ 77784 h 488078"/>
                  <a:gd name="connsiteX132" fmla="*/ 86427 w 603332"/>
                  <a:gd name="connsiteY132" fmla="*/ 62227 h 488078"/>
                  <a:gd name="connsiteX133" fmla="*/ 93341 w 603332"/>
                  <a:gd name="connsiteY133" fmla="*/ 60499 h 488078"/>
                  <a:gd name="connsiteX134" fmla="*/ 145197 w 603332"/>
                  <a:gd name="connsiteY134" fmla="*/ 60499 h 488078"/>
                  <a:gd name="connsiteX135" fmla="*/ 146926 w 603332"/>
                  <a:gd name="connsiteY135" fmla="*/ 67413 h 488078"/>
                  <a:gd name="connsiteX136" fmla="*/ 150383 w 603332"/>
                  <a:gd name="connsiteY136" fmla="*/ 72598 h 488078"/>
                  <a:gd name="connsiteX137" fmla="*/ 159026 w 603332"/>
                  <a:gd name="connsiteY137" fmla="*/ 57042 h 488078"/>
                  <a:gd name="connsiteX138" fmla="*/ 169397 w 603332"/>
                  <a:gd name="connsiteY138" fmla="*/ 46670 h 488078"/>
                  <a:gd name="connsiteX139" fmla="*/ 181497 w 603332"/>
                  <a:gd name="connsiteY139" fmla="*/ 48399 h 488078"/>
                  <a:gd name="connsiteX140" fmla="*/ 186682 w 603332"/>
                  <a:gd name="connsiteY140" fmla="*/ 60499 h 488078"/>
                  <a:gd name="connsiteX141" fmla="*/ 184954 w 603332"/>
                  <a:gd name="connsiteY141" fmla="*/ 70870 h 488078"/>
                  <a:gd name="connsiteX142" fmla="*/ 207425 w 603332"/>
                  <a:gd name="connsiteY142" fmla="*/ 44942 h 488078"/>
                  <a:gd name="connsiteX143" fmla="*/ 214339 w 603332"/>
                  <a:gd name="connsiteY143" fmla="*/ 39756 h 488078"/>
                  <a:gd name="connsiteX144" fmla="*/ 278295 w 603332"/>
                  <a:gd name="connsiteY144" fmla="*/ 41485 h 488078"/>
                  <a:gd name="connsiteX145" fmla="*/ 286938 w 603332"/>
                  <a:gd name="connsiteY145" fmla="*/ 43213 h 488078"/>
                  <a:gd name="connsiteX146" fmla="*/ 293852 w 603332"/>
                  <a:gd name="connsiteY146" fmla="*/ 44942 h 488078"/>
                  <a:gd name="connsiteX147" fmla="*/ 321509 w 603332"/>
                  <a:gd name="connsiteY147" fmla="*/ 43213 h 488078"/>
                  <a:gd name="connsiteX148" fmla="*/ 328423 w 603332"/>
                  <a:gd name="connsiteY148" fmla="*/ 34571 h 488078"/>
                  <a:gd name="connsiteX149" fmla="*/ 343980 w 603332"/>
                  <a:gd name="connsiteY149" fmla="*/ 25928 h 488078"/>
                  <a:gd name="connsiteX150" fmla="*/ 350894 w 603332"/>
                  <a:gd name="connsiteY150" fmla="*/ 15557 h 488078"/>
                  <a:gd name="connsiteX151" fmla="*/ 352623 w 603332"/>
                  <a:gd name="connsiteY151" fmla="*/ 8642 h 488078"/>
                  <a:gd name="connsiteX152" fmla="*/ 357808 w 603332"/>
                  <a:gd name="connsiteY152" fmla="*/ 5185 h 488078"/>
                  <a:gd name="connsiteX153" fmla="*/ 364722 w 603332"/>
                  <a:gd name="connsiteY153" fmla="*/ 0 h 488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Lst>
                <a:rect l="l" t="t" r="r" b="b"/>
                <a:pathLst>
                  <a:path w="603332" h="488078">
                    <a:moveTo>
                      <a:pt x="364722" y="0"/>
                    </a:moveTo>
                    <a:cubicBezTo>
                      <a:pt x="365875" y="2881"/>
                      <a:pt x="366673" y="5930"/>
                      <a:pt x="368180" y="8642"/>
                    </a:cubicBezTo>
                    <a:cubicBezTo>
                      <a:pt x="369579" y="11160"/>
                      <a:pt x="371691" y="13213"/>
                      <a:pt x="373365" y="15557"/>
                    </a:cubicBezTo>
                    <a:cubicBezTo>
                      <a:pt x="374572" y="17247"/>
                      <a:pt x="375791" y="18938"/>
                      <a:pt x="376822" y="20742"/>
                    </a:cubicBezTo>
                    <a:cubicBezTo>
                      <a:pt x="378100" y="22979"/>
                      <a:pt x="378697" y="25622"/>
                      <a:pt x="380279" y="27656"/>
                    </a:cubicBezTo>
                    <a:cubicBezTo>
                      <a:pt x="382780" y="30872"/>
                      <a:pt x="386421" y="33083"/>
                      <a:pt x="388922" y="36299"/>
                    </a:cubicBezTo>
                    <a:cubicBezTo>
                      <a:pt x="390504" y="38333"/>
                      <a:pt x="389821" y="42901"/>
                      <a:pt x="392379" y="43213"/>
                    </a:cubicBezTo>
                    <a:cubicBezTo>
                      <a:pt x="414692" y="45934"/>
                      <a:pt x="437321" y="44366"/>
                      <a:pt x="459792" y="44942"/>
                    </a:cubicBezTo>
                    <a:cubicBezTo>
                      <a:pt x="461521" y="46094"/>
                      <a:pt x="463680" y="46777"/>
                      <a:pt x="464978" y="48399"/>
                    </a:cubicBezTo>
                    <a:cubicBezTo>
                      <a:pt x="466116" y="49822"/>
                      <a:pt x="465770" y="52022"/>
                      <a:pt x="466707" y="53584"/>
                    </a:cubicBezTo>
                    <a:cubicBezTo>
                      <a:pt x="468504" y="56579"/>
                      <a:pt x="474210" y="59925"/>
                      <a:pt x="477078" y="60499"/>
                    </a:cubicBezTo>
                    <a:cubicBezTo>
                      <a:pt x="483319" y="61747"/>
                      <a:pt x="489754" y="61651"/>
                      <a:pt x="496092" y="62227"/>
                    </a:cubicBezTo>
                    <a:cubicBezTo>
                      <a:pt x="497820" y="63379"/>
                      <a:pt x="499979" y="64062"/>
                      <a:pt x="501277" y="65684"/>
                    </a:cubicBezTo>
                    <a:cubicBezTo>
                      <a:pt x="502415" y="67107"/>
                      <a:pt x="502191" y="69240"/>
                      <a:pt x="503006" y="70870"/>
                    </a:cubicBezTo>
                    <a:cubicBezTo>
                      <a:pt x="503935" y="72728"/>
                      <a:pt x="505311" y="74327"/>
                      <a:pt x="506463" y="76056"/>
                    </a:cubicBezTo>
                    <a:cubicBezTo>
                      <a:pt x="507039" y="78361"/>
                      <a:pt x="507013" y="80907"/>
                      <a:pt x="508192" y="82970"/>
                    </a:cubicBezTo>
                    <a:cubicBezTo>
                      <a:pt x="509405" y="85092"/>
                      <a:pt x="511786" y="86299"/>
                      <a:pt x="513377" y="88155"/>
                    </a:cubicBezTo>
                    <a:cubicBezTo>
                      <a:pt x="515252" y="90343"/>
                      <a:pt x="516688" y="92882"/>
                      <a:pt x="518563" y="95070"/>
                    </a:cubicBezTo>
                    <a:cubicBezTo>
                      <a:pt x="522894" y="100122"/>
                      <a:pt x="525202" y="101345"/>
                      <a:pt x="530663" y="105441"/>
                    </a:cubicBezTo>
                    <a:cubicBezTo>
                      <a:pt x="541610" y="104289"/>
                      <a:pt x="552598" y="103471"/>
                      <a:pt x="563505" y="101984"/>
                    </a:cubicBezTo>
                    <a:cubicBezTo>
                      <a:pt x="565310" y="101738"/>
                      <a:pt x="567233" y="99162"/>
                      <a:pt x="568691" y="100255"/>
                    </a:cubicBezTo>
                    <a:cubicBezTo>
                      <a:pt x="570592" y="101680"/>
                      <a:pt x="569904" y="104850"/>
                      <a:pt x="570419" y="107169"/>
                    </a:cubicBezTo>
                    <a:cubicBezTo>
                      <a:pt x="571056" y="110037"/>
                      <a:pt x="571160" y="113045"/>
                      <a:pt x="572148" y="115812"/>
                    </a:cubicBezTo>
                    <a:cubicBezTo>
                      <a:pt x="574057" y="121156"/>
                      <a:pt x="576757" y="126183"/>
                      <a:pt x="579062" y="131369"/>
                    </a:cubicBezTo>
                    <a:cubicBezTo>
                      <a:pt x="579638" y="134250"/>
                      <a:pt x="580078" y="137162"/>
                      <a:pt x="580791" y="140012"/>
                    </a:cubicBezTo>
                    <a:cubicBezTo>
                      <a:pt x="581713" y="143699"/>
                      <a:pt x="584478" y="146696"/>
                      <a:pt x="580791" y="150383"/>
                    </a:cubicBezTo>
                    <a:cubicBezTo>
                      <a:pt x="579503" y="151672"/>
                      <a:pt x="577334" y="151536"/>
                      <a:pt x="575605" y="152112"/>
                    </a:cubicBezTo>
                    <a:cubicBezTo>
                      <a:pt x="575029" y="153840"/>
                      <a:pt x="573675" y="155486"/>
                      <a:pt x="573876" y="157297"/>
                    </a:cubicBezTo>
                    <a:cubicBezTo>
                      <a:pt x="574278" y="160919"/>
                      <a:pt x="574368" y="165550"/>
                      <a:pt x="577333" y="167668"/>
                    </a:cubicBezTo>
                    <a:cubicBezTo>
                      <a:pt x="579724" y="169376"/>
                      <a:pt x="583108" y="166577"/>
                      <a:pt x="585976" y="165940"/>
                    </a:cubicBezTo>
                    <a:cubicBezTo>
                      <a:pt x="592479" y="164495"/>
                      <a:pt x="592307" y="164405"/>
                      <a:pt x="598076" y="162483"/>
                    </a:cubicBezTo>
                    <a:cubicBezTo>
                      <a:pt x="599805" y="163635"/>
                      <a:pt x="603919" y="163969"/>
                      <a:pt x="603262" y="165940"/>
                    </a:cubicBezTo>
                    <a:cubicBezTo>
                      <a:pt x="600460" y="174345"/>
                      <a:pt x="589275" y="180450"/>
                      <a:pt x="582519" y="184954"/>
                    </a:cubicBezTo>
                    <a:cubicBezTo>
                      <a:pt x="581367" y="186683"/>
                      <a:pt x="579792" y="188195"/>
                      <a:pt x="579062" y="190140"/>
                    </a:cubicBezTo>
                    <a:cubicBezTo>
                      <a:pt x="578030" y="192891"/>
                      <a:pt x="578963" y="196338"/>
                      <a:pt x="577333" y="198782"/>
                    </a:cubicBezTo>
                    <a:cubicBezTo>
                      <a:pt x="576322" y="200298"/>
                      <a:pt x="573876" y="199935"/>
                      <a:pt x="572148" y="200511"/>
                    </a:cubicBezTo>
                    <a:cubicBezTo>
                      <a:pt x="569843" y="202239"/>
                      <a:pt x="566908" y="203352"/>
                      <a:pt x="565234" y="205696"/>
                    </a:cubicBezTo>
                    <a:cubicBezTo>
                      <a:pt x="563853" y="207629"/>
                      <a:pt x="564441" y="210427"/>
                      <a:pt x="563505" y="212611"/>
                    </a:cubicBezTo>
                    <a:cubicBezTo>
                      <a:pt x="562687" y="214520"/>
                      <a:pt x="561200" y="216068"/>
                      <a:pt x="560048" y="217796"/>
                    </a:cubicBezTo>
                    <a:cubicBezTo>
                      <a:pt x="559472" y="221829"/>
                      <a:pt x="559118" y="225901"/>
                      <a:pt x="558319" y="229896"/>
                    </a:cubicBezTo>
                    <a:cubicBezTo>
                      <a:pt x="557962" y="231683"/>
                      <a:pt x="557729" y="233659"/>
                      <a:pt x="556591" y="235082"/>
                    </a:cubicBezTo>
                    <a:cubicBezTo>
                      <a:pt x="555293" y="236704"/>
                      <a:pt x="553263" y="237610"/>
                      <a:pt x="551405" y="238539"/>
                    </a:cubicBezTo>
                    <a:cubicBezTo>
                      <a:pt x="547112" y="240685"/>
                      <a:pt x="534203" y="246052"/>
                      <a:pt x="528934" y="247181"/>
                    </a:cubicBezTo>
                    <a:cubicBezTo>
                      <a:pt x="524392" y="248154"/>
                      <a:pt x="519715" y="248334"/>
                      <a:pt x="515106" y="248910"/>
                    </a:cubicBezTo>
                    <a:cubicBezTo>
                      <a:pt x="512801" y="248334"/>
                      <a:pt x="510047" y="248665"/>
                      <a:pt x="508192" y="247181"/>
                    </a:cubicBezTo>
                    <a:cubicBezTo>
                      <a:pt x="506769" y="246043"/>
                      <a:pt x="505599" y="241708"/>
                      <a:pt x="506463" y="241996"/>
                    </a:cubicBezTo>
                    <a:cubicBezTo>
                      <a:pt x="507327" y="242284"/>
                      <a:pt x="511649" y="246317"/>
                      <a:pt x="513377" y="248910"/>
                    </a:cubicBezTo>
                    <a:cubicBezTo>
                      <a:pt x="515105" y="251503"/>
                      <a:pt x="515682" y="254672"/>
                      <a:pt x="516834" y="257553"/>
                    </a:cubicBezTo>
                    <a:cubicBezTo>
                      <a:pt x="516258" y="263315"/>
                      <a:pt x="515925" y="269106"/>
                      <a:pt x="515106" y="274838"/>
                    </a:cubicBezTo>
                    <a:cubicBezTo>
                      <a:pt x="513902" y="283263"/>
                      <a:pt x="511380" y="281079"/>
                      <a:pt x="515106" y="290395"/>
                    </a:cubicBezTo>
                    <a:cubicBezTo>
                      <a:pt x="516153" y="293012"/>
                      <a:pt x="521647" y="301071"/>
                      <a:pt x="523749" y="304223"/>
                    </a:cubicBezTo>
                    <a:cubicBezTo>
                      <a:pt x="519715" y="320357"/>
                      <a:pt x="515681" y="319205"/>
                      <a:pt x="527206" y="316323"/>
                    </a:cubicBezTo>
                    <a:cubicBezTo>
                      <a:pt x="524325" y="319780"/>
                      <a:pt x="521553" y="323331"/>
                      <a:pt x="518563" y="326695"/>
                    </a:cubicBezTo>
                    <a:cubicBezTo>
                      <a:pt x="516939" y="328522"/>
                      <a:pt x="514590" y="329758"/>
                      <a:pt x="513377" y="331880"/>
                    </a:cubicBezTo>
                    <a:cubicBezTo>
                      <a:pt x="512198" y="333943"/>
                      <a:pt x="512147" y="336471"/>
                      <a:pt x="511649" y="338794"/>
                    </a:cubicBezTo>
                    <a:cubicBezTo>
                      <a:pt x="510418" y="344540"/>
                      <a:pt x="509344" y="350318"/>
                      <a:pt x="508192" y="356080"/>
                    </a:cubicBezTo>
                    <a:cubicBezTo>
                      <a:pt x="509344" y="358385"/>
                      <a:pt x="509190" y="362225"/>
                      <a:pt x="511649" y="362994"/>
                    </a:cubicBezTo>
                    <a:cubicBezTo>
                      <a:pt x="546525" y="373892"/>
                      <a:pt x="528306" y="357178"/>
                      <a:pt x="539305" y="368180"/>
                    </a:cubicBezTo>
                    <a:cubicBezTo>
                      <a:pt x="539881" y="369908"/>
                      <a:pt x="541034" y="371543"/>
                      <a:pt x="541034" y="373365"/>
                    </a:cubicBezTo>
                    <a:cubicBezTo>
                      <a:pt x="541034" y="380021"/>
                      <a:pt x="539545" y="383577"/>
                      <a:pt x="534120" y="387194"/>
                    </a:cubicBezTo>
                    <a:cubicBezTo>
                      <a:pt x="532604" y="388205"/>
                      <a:pt x="530663" y="388346"/>
                      <a:pt x="528934" y="388922"/>
                    </a:cubicBezTo>
                    <a:cubicBezTo>
                      <a:pt x="526629" y="388346"/>
                      <a:pt x="524191" y="388159"/>
                      <a:pt x="522020" y="387194"/>
                    </a:cubicBezTo>
                    <a:cubicBezTo>
                      <a:pt x="518950" y="385829"/>
                      <a:pt x="516672" y="381349"/>
                      <a:pt x="513377" y="382008"/>
                    </a:cubicBezTo>
                    <a:cubicBezTo>
                      <a:pt x="509382" y="382807"/>
                      <a:pt x="507616" y="387770"/>
                      <a:pt x="504735" y="390651"/>
                    </a:cubicBezTo>
                    <a:cubicBezTo>
                      <a:pt x="503324" y="394881"/>
                      <a:pt x="502218" y="399014"/>
                      <a:pt x="499549" y="402750"/>
                    </a:cubicBezTo>
                    <a:cubicBezTo>
                      <a:pt x="498128" y="404739"/>
                      <a:pt x="496589" y="406924"/>
                      <a:pt x="494363" y="407936"/>
                    </a:cubicBezTo>
                    <a:cubicBezTo>
                      <a:pt x="486137" y="411675"/>
                      <a:pt x="471589" y="412288"/>
                      <a:pt x="463250" y="413122"/>
                    </a:cubicBezTo>
                    <a:cubicBezTo>
                      <a:pt x="463070" y="413182"/>
                      <a:pt x="445078" y="418953"/>
                      <a:pt x="444236" y="420036"/>
                    </a:cubicBezTo>
                    <a:cubicBezTo>
                      <a:pt x="441661" y="423347"/>
                      <a:pt x="441931" y="428103"/>
                      <a:pt x="440778" y="432136"/>
                    </a:cubicBezTo>
                    <a:cubicBezTo>
                      <a:pt x="441354" y="434441"/>
                      <a:pt x="443160" y="436766"/>
                      <a:pt x="442507" y="439050"/>
                    </a:cubicBezTo>
                    <a:cubicBezTo>
                      <a:pt x="440923" y="444596"/>
                      <a:pt x="434561" y="444926"/>
                      <a:pt x="430407" y="445964"/>
                    </a:cubicBezTo>
                    <a:cubicBezTo>
                      <a:pt x="428102" y="447116"/>
                      <a:pt x="425315" y="447599"/>
                      <a:pt x="423493" y="449421"/>
                    </a:cubicBezTo>
                    <a:cubicBezTo>
                      <a:pt x="422205" y="450709"/>
                      <a:pt x="422579" y="452977"/>
                      <a:pt x="421764" y="454607"/>
                    </a:cubicBezTo>
                    <a:cubicBezTo>
                      <a:pt x="420262" y="457612"/>
                      <a:pt x="418307" y="460369"/>
                      <a:pt x="416579" y="463250"/>
                    </a:cubicBezTo>
                    <a:cubicBezTo>
                      <a:pt x="407360" y="462674"/>
                      <a:pt x="398066" y="462827"/>
                      <a:pt x="388922" y="461521"/>
                    </a:cubicBezTo>
                    <a:cubicBezTo>
                      <a:pt x="385850" y="461082"/>
                      <a:pt x="383379" y="458205"/>
                      <a:pt x="380279" y="458064"/>
                    </a:cubicBezTo>
                    <a:cubicBezTo>
                      <a:pt x="370477" y="457618"/>
                      <a:pt x="360689" y="459216"/>
                      <a:pt x="350894" y="459792"/>
                    </a:cubicBezTo>
                    <a:cubicBezTo>
                      <a:pt x="348013" y="460945"/>
                      <a:pt x="345087" y="461990"/>
                      <a:pt x="342251" y="463250"/>
                    </a:cubicBezTo>
                    <a:cubicBezTo>
                      <a:pt x="339896" y="464297"/>
                      <a:pt x="337750" y="465802"/>
                      <a:pt x="335337" y="466707"/>
                    </a:cubicBezTo>
                    <a:cubicBezTo>
                      <a:pt x="333113" y="467541"/>
                      <a:pt x="330728" y="467859"/>
                      <a:pt x="328423" y="468435"/>
                    </a:cubicBezTo>
                    <a:cubicBezTo>
                      <a:pt x="327847" y="470164"/>
                      <a:pt x="327020" y="471828"/>
                      <a:pt x="326694" y="473621"/>
                    </a:cubicBezTo>
                    <a:cubicBezTo>
                      <a:pt x="325863" y="478191"/>
                      <a:pt x="327666" y="483669"/>
                      <a:pt x="324966" y="487449"/>
                    </a:cubicBezTo>
                    <a:cubicBezTo>
                      <a:pt x="323585" y="489382"/>
                      <a:pt x="320357" y="486297"/>
                      <a:pt x="318052" y="485721"/>
                    </a:cubicBezTo>
                    <a:cubicBezTo>
                      <a:pt x="316323" y="482840"/>
                      <a:pt x="314368" y="480083"/>
                      <a:pt x="312866" y="477078"/>
                    </a:cubicBezTo>
                    <a:cubicBezTo>
                      <a:pt x="312051" y="475448"/>
                      <a:pt x="312276" y="473315"/>
                      <a:pt x="311138" y="471892"/>
                    </a:cubicBezTo>
                    <a:cubicBezTo>
                      <a:pt x="309840" y="470270"/>
                      <a:pt x="307681" y="469587"/>
                      <a:pt x="305952" y="468435"/>
                    </a:cubicBezTo>
                    <a:cubicBezTo>
                      <a:pt x="305376" y="461521"/>
                      <a:pt x="307041" y="454033"/>
                      <a:pt x="304223" y="447693"/>
                    </a:cubicBezTo>
                    <a:cubicBezTo>
                      <a:pt x="302066" y="442839"/>
                      <a:pt x="296072" y="440875"/>
                      <a:pt x="292124" y="437321"/>
                    </a:cubicBezTo>
                    <a:cubicBezTo>
                      <a:pt x="290307" y="435686"/>
                      <a:pt x="288667" y="433864"/>
                      <a:pt x="286938" y="432136"/>
                    </a:cubicBezTo>
                    <a:cubicBezTo>
                      <a:pt x="285786" y="429831"/>
                      <a:pt x="285303" y="427044"/>
                      <a:pt x="283481" y="425222"/>
                    </a:cubicBezTo>
                    <a:cubicBezTo>
                      <a:pt x="281659" y="423400"/>
                      <a:pt x="278922" y="422811"/>
                      <a:pt x="276567" y="421764"/>
                    </a:cubicBezTo>
                    <a:cubicBezTo>
                      <a:pt x="265036" y="416638"/>
                      <a:pt x="266106" y="417943"/>
                      <a:pt x="250639" y="414850"/>
                    </a:cubicBezTo>
                    <a:cubicBezTo>
                      <a:pt x="249486" y="413698"/>
                      <a:pt x="248537" y="412297"/>
                      <a:pt x="247181" y="411393"/>
                    </a:cubicBezTo>
                    <a:cubicBezTo>
                      <a:pt x="236602" y="404341"/>
                      <a:pt x="233930" y="408424"/>
                      <a:pt x="217796" y="409665"/>
                    </a:cubicBezTo>
                    <a:cubicBezTo>
                      <a:pt x="215491" y="409089"/>
                      <a:pt x="212403" y="409761"/>
                      <a:pt x="210882" y="407936"/>
                    </a:cubicBezTo>
                    <a:cubicBezTo>
                      <a:pt x="209001" y="405679"/>
                      <a:pt x="209636" y="402191"/>
                      <a:pt x="209153" y="399293"/>
                    </a:cubicBezTo>
                    <a:cubicBezTo>
                      <a:pt x="204865" y="373565"/>
                      <a:pt x="209771" y="398920"/>
                      <a:pt x="205696" y="378551"/>
                    </a:cubicBezTo>
                    <a:cubicBezTo>
                      <a:pt x="208577" y="373941"/>
                      <a:pt x="203979" y="362165"/>
                      <a:pt x="206401" y="356785"/>
                    </a:cubicBezTo>
                    <a:cubicBezTo>
                      <a:pt x="208823" y="351405"/>
                      <a:pt x="215229" y="350024"/>
                      <a:pt x="220230" y="346273"/>
                    </a:cubicBezTo>
                    <a:cubicBezTo>
                      <a:pt x="219078" y="341663"/>
                      <a:pt x="225527" y="342657"/>
                      <a:pt x="224710" y="338794"/>
                    </a:cubicBezTo>
                    <a:cubicBezTo>
                      <a:pt x="223893" y="334931"/>
                      <a:pt x="224311" y="330284"/>
                      <a:pt x="215326" y="323096"/>
                    </a:cubicBezTo>
                    <a:cubicBezTo>
                      <a:pt x="211178" y="319778"/>
                      <a:pt x="213351" y="319469"/>
                      <a:pt x="210882" y="318052"/>
                    </a:cubicBezTo>
                    <a:cubicBezTo>
                      <a:pt x="208413" y="316635"/>
                      <a:pt x="204001" y="315642"/>
                      <a:pt x="200511" y="314595"/>
                    </a:cubicBezTo>
                    <a:cubicBezTo>
                      <a:pt x="178756" y="308068"/>
                      <a:pt x="205878" y="316958"/>
                      <a:pt x="188411" y="311138"/>
                    </a:cubicBezTo>
                    <a:cubicBezTo>
                      <a:pt x="178505" y="304534"/>
                      <a:pt x="186649" y="309396"/>
                      <a:pt x="169397" y="302495"/>
                    </a:cubicBezTo>
                    <a:cubicBezTo>
                      <a:pt x="165323" y="300865"/>
                      <a:pt x="161330" y="299038"/>
                      <a:pt x="157297" y="297309"/>
                    </a:cubicBezTo>
                    <a:cubicBezTo>
                      <a:pt x="153264" y="297885"/>
                      <a:pt x="149167" y="298122"/>
                      <a:pt x="145197" y="299038"/>
                    </a:cubicBezTo>
                    <a:cubicBezTo>
                      <a:pt x="141646" y="299857"/>
                      <a:pt x="138470" y="302495"/>
                      <a:pt x="134826" y="302495"/>
                    </a:cubicBezTo>
                    <a:cubicBezTo>
                      <a:pt x="122672" y="302495"/>
                      <a:pt x="110627" y="300190"/>
                      <a:pt x="98527" y="299038"/>
                    </a:cubicBezTo>
                    <a:cubicBezTo>
                      <a:pt x="94494" y="296733"/>
                      <a:pt x="90715" y="293911"/>
                      <a:pt x="86427" y="292124"/>
                    </a:cubicBezTo>
                    <a:cubicBezTo>
                      <a:pt x="83715" y="290994"/>
                      <a:pt x="80335" y="291853"/>
                      <a:pt x="77784" y="290395"/>
                    </a:cubicBezTo>
                    <a:cubicBezTo>
                      <a:pt x="73290" y="287827"/>
                      <a:pt x="74077" y="279373"/>
                      <a:pt x="70870" y="276567"/>
                    </a:cubicBezTo>
                    <a:cubicBezTo>
                      <a:pt x="66413" y="272667"/>
                      <a:pt x="48565" y="271784"/>
                      <a:pt x="44942" y="271381"/>
                    </a:cubicBezTo>
                    <a:cubicBezTo>
                      <a:pt x="44366" y="266772"/>
                      <a:pt x="44044" y="262123"/>
                      <a:pt x="43213" y="257553"/>
                    </a:cubicBezTo>
                    <a:cubicBezTo>
                      <a:pt x="42408" y="253126"/>
                      <a:pt x="37750" y="244607"/>
                      <a:pt x="36299" y="241996"/>
                    </a:cubicBezTo>
                    <a:cubicBezTo>
                      <a:pt x="35290" y="240180"/>
                      <a:pt x="33873" y="238614"/>
                      <a:pt x="32842" y="236810"/>
                    </a:cubicBezTo>
                    <a:cubicBezTo>
                      <a:pt x="29190" y="230419"/>
                      <a:pt x="29708" y="228491"/>
                      <a:pt x="24199" y="222982"/>
                    </a:cubicBezTo>
                    <a:cubicBezTo>
                      <a:pt x="22730" y="221513"/>
                      <a:pt x="20742" y="220677"/>
                      <a:pt x="19014" y="219525"/>
                    </a:cubicBezTo>
                    <a:cubicBezTo>
                      <a:pt x="19590" y="216068"/>
                      <a:pt x="20742" y="212658"/>
                      <a:pt x="20742" y="209153"/>
                    </a:cubicBezTo>
                    <a:cubicBezTo>
                      <a:pt x="20742" y="203894"/>
                      <a:pt x="18380" y="201006"/>
                      <a:pt x="15557" y="197054"/>
                    </a:cubicBezTo>
                    <a:cubicBezTo>
                      <a:pt x="13882" y="194710"/>
                      <a:pt x="12100" y="192445"/>
                      <a:pt x="10371" y="190140"/>
                    </a:cubicBezTo>
                    <a:cubicBezTo>
                      <a:pt x="9795" y="188411"/>
                      <a:pt x="9780" y="186377"/>
                      <a:pt x="8642" y="184954"/>
                    </a:cubicBezTo>
                    <a:cubicBezTo>
                      <a:pt x="7344" y="183332"/>
                      <a:pt x="3933" y="183519"/>
                      <a:pt x="3457" y="181497"/>
                    </a:cubicBezTo>
                    <a:cubicBezTo>
                      <a:pt x="1473" y="173065"/>
                      <a:pt x="2478" y="164198"/>
                      <a:pt x="1728" y="155569"/>
                    </a:cubicBezTo>
                    <a:cubicBezTo>
                      <a:pt x="1326" y="150941"/>
                      <a:pt x="576" y="146350"/>
                      <a:pt x="0" y="141740"/>
                    </a:cubicBezTo>
                    <a:cubicBezTo>
                      <a:pt x="1152" y="140012"/>
                      <a:pt x="2462" y="138379"/>
                      <a:pt x="3457" y="136555"/>
                    </a:cubicBezTo>
                    <a:cubicBezTo>
                      <a:pt x="4430" y="134771"/>
                      <a:pt x="10281" y="121410"/>
                      <a:pt x="13828" y="117541"/>
                    </a:cubicBezTo>
                    <a:cubicBezTo>
                      <a:pt x="18784" y="112135"/>
                      <a:pt x="24199" y="107170"/>
                      <a:pt x="29385" y="101984"/>
                    </a:cubicBezTo>
                    <a:cubicBezTo>
                      <a:pt x="31113" y="100255"/>
                      <a:pt x="32536" y="98154"/>
                      <a:pt x="34570" y="96798"/>
                    </a:cubicBezTo>
                    <a:lnTo>
                      <a:pt x="44942" y="89884"/>
                    </a:lnTo>
                    <a:cubicBezTo>
                      <a:pt x="46670" y="88732"/>
                      <a:pt x="48130" y="86998"/>
                      <a:pt x="50127" y="86427"/>
                    </a:cubicBezTo>
                    <a:cubicBezTo>
                      <a:pt x="65943" y="81908"/>
                      <a:pt x="58475" y="84846"/>
                      <a:pt x="72598" y="77784"/>
                    </a:cubicBezTo>
                    <a:cubicBezTo>
                      <a:pt x="75748" y="73059"/>
                      <a:pt x="81693" y="63410"/>
                      <a:pt x="86427" y="62227"/>
                    </a:cubicBezTo>
                    <a:lnTo>
                      <a:pt x="93341" y="60499"/>
                    </a:lnTo>
                    <a:cubicBezTo>
                      <a:pt x="110474" y="49078"/>
                      <a:pt x="104213" y="51717"/>
                      <a:pt x="145197" y="60499"/>
                    </a:cubicBezTo>
                    <a:cubicBezTo>
                      <a:pt x="147520" y="60997"/>
                      <a:pt x="145990" y="65229"/>
                      <a:pt x="146926" y="67413"/>
                    </a:cubicBezTo>
                    <a:cubicBezTo>
                      <a:pt x="147744" y="69322"/>
                      <a:pt x="149231" y="70870"/>
                      <a:pt x="150383" y="72598"/>
                    </a:cubicBezTo>
                    <a:cubicBezTo>
                      <a:pt x="162514" y="63501"/>
                      <a:pt x="153888" y="72456"/>
                      <a:pt x="159026" y="57042"/>
                    </a:cubicBezTo>
                    <a:cubicBezTo>
                      <a:pt x="160711" y="51986"/>
                      <a:pt x="165494" y="49598"/>
                      <a:pt x="169397" y="46670"/>
                    </a:cubicBezTo>
                    <a:cubicBezTo>
                      <a:pt x="173430" y="47246"/>
                      <a:pt x="177935" y="46420"/>
                      <a:pt x="181497" y="48399"/>
                    </a:cubicBezTo>
                    <a:cubicBezTo>
                      <a:pt x="183246" y="49371"/>
                      <a:pt x="185924" y="58223"/>
                      <a:pt x="186682" y="60499"/>
                    </a:cubicBezTo>
                    <a:cubicBezTo>
                      <a:pt x="186106" y="63956"/>
                      <a:pt x="181497" y="73463"/>
                      <a:pt x="184954" y="70870"/>
                    </a:cubicBezTo>
                    <a:cubicBezTo>
                      <a:pt x="188411" y="68277"/>
                      <a:pt x="202527" y="50128"/>
                      <a:pt x="207425" y="44942"/>
                    </a:cubicBezTo>
                    <a:cubicBezTo>
                      <a:pt x="212323" y="39756"/>
                      <a:pt x="211461" y="39896"/>
                      <a:pt x="214339" y="39756"/>
                    </a:cubicBezTo>
                    <a:cubicBezTo>
                      <a:pt x="235640" y="38717"/>
                      <a:pt x="256976" y="40909"/>
                      <a:pt x="278295" y="41485"/>
                    </a:cubicBezTo>
                    <a:cubicBezTo>
                      <a:pt x="281176" y="42061"/>
                      <a:pt x="284070" y="42576"/>
                      <a:pt x="286938" y="43213"/>
                    </a:cubicBezTo>
                    <a:cubicBezTo>
                      <a:pt x="289257" y="43728"/>
                      <a:pt x="291476" y="44942"/>
                      <a:pt x="293852" y="44942"/>
                    </a:cubicBezTo>
                    <a:cubicBezTo>
                      <a:pt x="303089" y="44942"/>
                      <a:pt x="312290" y="43789"/>
                      <a:pt x="321509" y="43213"/>
                    </a:cubicBezTo>
                    <a:cubicBezTo>
                      <a:pt x="323814" y="40332"/>
                      <a:pt x="325814" y="37180"/>
                      <a:pt x="328423" y="34571"/>
                    </a:cubicBezTo>
                    <a:cubicBezTo>
                      <a:pt x="331226" y="31768"/>
                      <a:pt x="342165" y="26836"/>
                      <a:pt x="343980" y="25928"/>
                    </a:cubicBezTo>
                    <a:cubicBezTo>
                      <a:pt x="346285" y="22471"/>
                      <a:pt x="349886" y="19588"/>
                      <a:pt x="350894" y="15557"/>
                    </a:cubicBezTo>
                    <a:cubicBezTo>
                      <a:pt x="351470" y="13252"/>
                      <a:pt x="351305" y="10619"/>
                      <a:pt x="352623" y="8642"/>
                    </a:cubicBezTo>
                    <a:cubicBezTo>
                      <a:pt x="353775" y="6914"/>
                      <a:pt x="356080" y="6337"/>
                      <a:pt x="357808" y="5185"/>
                    </a:cubicBezTo>
                    <a:lnTo>
                      <a:pt x="364722" y="0"/>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dirty="0"/>
              </a:p>
            </p:txBody>
          </p:sp>
          <p:sp>
            <p:nvSpPr>
              <p:cNvPr id="850" name="Freeform: Shape 849">
                <a:extLst>
                  <a:ext uri="{FF2B5EF4-FFF2-40B4-BE49-F238E27FC236}">
                    <a16:creationId xmlns:a16="http://schemas.microsoft.com/office/drawing/2014/main" id="{1537FD8D-84F0-4F71-B997-71FD4CEE2C6E}"/>
                  </a:ext>
                </a:extLst>
              </p:cNvPr>
              <p:cNvSpPr/>
              <p:nvPr/>
            </p:nvSpPr>
            <p:spPr>
              <a:xfrm rot="20796315">
                <a:off x="5380197" y="3440970"/>
                <a:ext cx="38716" cy="81654"/>
              </a:xfrm>
              <a:custGeom>
                <a:avLst/>
                <a:gdLst>
                  <a:gd name="connsiteX0" fmla="*/ 36172 w 38716"/>
                  <a:gd name="connsiteY0" fmla="*/ 62 h 81654"/>
                  <a:gd name="connsiteX1" fmla="*/ 29029 w 38716"/>
                  <a:gd name="connsiteY1" fmla="*/ 23874 h 81654"/>
                  <a:gd name="connsiteX2" fmla="*/ 21885 w 38716"/>
                  <a:gd name="connsiteY2" fmla="*/ 28637 h 81654"/>
                  <a:gd name="connsiteX3" fmla="*/ 19504 w 38716"/>
                  <a:gd name="connsiteY3" fmla="*/ 35781 h 81654"/>
                  <a:gd name="connsiteX4" fmla="*/ 14741 w 38716"/>
                  <a:gd name="connsiteY4" fmla="*/ 59593 h 81654"/>
                  <a:gd name="connsiteX5" fmla="*/ 9979 w 38716"/>
                  <a:gd name="connsiteY5" fmla="*/ 66737 h 81654"/>
                  <a:gd name="connsiteX6" fmla="*/ 7597 w 38716"/>
                  <a:gd name="connsiteY6" fmla="*/ 73881 h 81654"/>
                  <a:gd name="connsiteX7" fmla="*/ 454 w 38716"/>
                  <a:gd name="connsiteY7" fmla="*/ 81024 h 81654"/>
                  <a:gd name="connsiteX8" fmla="*/ 9979 w 38716"/>
                  <a:gd name="connsiteY8" fmla="*/ 76262 h 81654"/>
                  <a:gd name="connsiteX9" fmla="*/ 17122 w 38716"/>
                  <a:gd name="connsiteY9" fmla="*/ 59593 h 81654"/>
                  <a:gd name="connsiteX10" fmla="*/ 26647 w 38716"/>
                  <a:gd name="connsiteY10" fmla="*/ 45306 h 81654"/>
                  <a:gd name="connsiteX11" fmla="*/ 31410 w 38716"/>
                  <a:gd name="connsiteY11" fmla="*/ 31018 h 81654"/>
                  <a:gd name="connsiteX12" fmla="*/ 36172 w 38716"/>
                  <a:gd name="connsiteY12" fmla="*/ 23874 h 81654"/>
                  <a:gd name="connsiteX13" fmla="*/ 38554 w 38716"/>
                  <a:gd name="connsiteY13" fmla="*/ 16731 h 81654"/>
                  <a:gd name="connsiteX14" fmla="*/ 36172 w 38716"/>
                  <a:gd name="connsiteY14" fmla="*/ 62 h 81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716" h="81654">
                    <a:moveTo>
                      <a:pt x="36172" y="62"/>
                    </a:moveTo>
                    <a:cubicBezTo>
                      <a:pt x="34585" y="1252"/>
                      <a:pt x="36248" y="16655"/>
                      <a:pt x="29029" y="23874"/>
                    </a:cubicBezTo>
                    <a:cubicBezTo>
                      <a:pt x="27005" y="25898"/>
                      <a:pt x="24266" y="27049"/>
                      <a:pt x="21885" y="28637"/>
                    </a:cubicBezTo>
                    <a:cubicBezTo>
                      <a:pt x="21091" y="31018"/>
                      <a:pt x="19996" y="33320"/>
                      <a:pt x="19504" y="35781"/>
                    </a:cubicBezTo>
                    <a:cubicBezTo>
                      <a:pt x="18042" y="43091"/>
                      <a:pt x="18326" y="52421"/>
                      <a:pt x="14741" y="59593"/>
                    </a:cubicBezTo>
                    <a:cubicBezTo>
                      <a:pt x="13461" y="62153"/>
                      <a:pt x="11259" y="64177"/>
                      <a:pt x="9979" y="66737"/>
                    </a:cubicBezTo>
                    <a:cubicBezTo>
                      <a:pt x="8856" y="68982"/>
                      <a:pt x="8989" y="71792"/>
                      <a:pt x="7597" y="73881"/>
                    </a:cubicBezTo>
                    <a:cubicBezTo>
                      <a:pt x="5729" y="76683"/>
                      <a:pt x="-1927" y="78643"/>
                      <a:pt x="454" y="81024"/>
                    </a:cubicBezTo>
                    <a:cubicBezTo>
                      <a:pt x="2965" y="83533"/>
                      <a:pt x="6804" y="77849"/>
                      <a:pt x="9979" y="76262"/>
                    </a:cubicBezTo>
                    <a:cubicBezTo>
                      <a:pt x="12442" y="68873"/>
                      <a:pt x="12709" y="66948"/>
                      <a:pt x="17122" y="59593"/>
                    </a:cubicBezTo>
                    <a:cubicBezTo>
                      <a:pt x="20067" y="54685"/>
                      <a:pt x="24837" y="50736"/>
                      <a:pt x="26647" y="45306"/>
                    </a:cubicBezTo>
                    <a:cubicBezTo>
                      <a:pt x="28235" y="40543"/>
                      <a:pt x="28625" y="35195"/>
                      <a:pt x="31410" y="31018"/>
                    </a:cubicBezTo>
                    <a:cubicBezTo>
                      <a:pt x="32997" y="28637"/>
                      <a:pt x="34892" y="26434"/>
                      <a:pt x="36172" y="23874"/>
                    </a:cubicBezTo>
                    <a:cubicBezTo>
                      <a:pt x="37295" y="21629"/>
                      <a:pt x="37622" y="19061"/>
                      <a:pt x="38554" y="16731"/>
                    </a:cubicBezTo>
                    <a:cubicBezTo>
                      <a:pt x="39213" y="15083"/>
                      <a:pt x="37759" y="-1128"/>
                      <a:pt x="36172" y="62"/>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grpSp>
          <p:nvGrpSpPr>
            <p:cNvPr id="320" name="Group 319">
              <a:extLst>
                <a:ext uri="{FF2B5EF4-FFF2-40B4-BE49-F238E27FC236}">
                  <a16:creationId xmlns:a16="http://schemas.microsoft.com/office/drawing/2014/main" id="{7293B7D3-BD2D-4D6A-BA07-200316D21BF2}"/>
                </a:ext>
              </a:extLst>
            </p:cNvPr>
            <p:cNvGrpSpPr/>
            <p:nvPr/>
          </p:nvGrpSpPr>
          <p:grpSpPr>
            <a:xfrm>
              <a:off x="7458669" y="3229123"/>
              <a:ext cx="1151018" cy="993051"/>
              <a:chOff x="4733925" y="3632545"/>
              <a:chExt cx="1151018" cy="993051"/>
            </a:xfrm>
            <a:solidFill>
              <a:srgbClr val="003399"/>
            </a:solidFill>
          </p:grpSpPr>
          <p:sp>
            <p:nvSpPr>
              <p:cNvPr id="847" name="Forma libre: forma 27">
                <a:extLst>
                  <a:ext uri="{FF2B5EF4-FFF2-40B4-BE49-F238E27FC236}">
                    <a16:creationId xmlns:a16="http://schemas.microsoft.com/office/drawing/2014/main" id="{435EF9C9-CBEF-4039-9D1E-041CEB3CE5D3}"/>
                  </a:ext>
                </a:extLst>
              </p:cNvPr>
              <p:cNvSpPr/>
              <p:nvPr/>
            </p:nvSpPr>
            <p:spPr>
              <a:xfrm>
                <a:off x="4733925" y="3632545"/>
                <a:ext cx="1151018" cy="993051"/>
              </a:xfrm>
              <a:custGeom>
                <a:avLst/>
                <a:gdLst>
                  <a:gd name="connsiteX0" fmla="*/ 571500 w 1151018"/>
                  <a:gd name="connsiteY0" fmla="*/ 52043 h 993051"/>
                  <a:gd name="connsiteX1" fmla="*/ 579438 w 1151018"/>
                  <a:gd name="connsiteY1" fmla="*/ 50455 h 993051"/>
                  <a:gd name="connsiteX2" fmla="*/ 608013 w 1151018"/>
                  <a:gd name="connsiteY2" fmla="*/ 53630 h 993051"/>
                  <a:gd name="connsiteX3" fmla="*/ 612775 w 1151018"/>
                  <a:gd name="connsiteY3" fmla="*/ 56805 h 993051"/>
                  <a:gd name="connsiteX4" fmla="*/ 625475 w 1151018"/>
                  <a:gd name="connsiteY4" fmla="*/ 58393 h 993051"/>
                  <a:gd name="connsiteX5" fmla="*/ 684213 w 1151018"/>
                  <a:gd name="connsiteY5" fmla="*/ 56805 h 993051"/>
                  <a:gd name="connsiteX6" fmla="*/ 693738 w 1151018"/>
                  <a:gd name="connsiteY6" fmla="*/ 55218 h 993051"/>
                  <a:gd name="connsiteX7" fmla="*/ 706438 w 1151018"/>
                  <a:gd name="connsiteY7" fmla="*/ 50455 h 993051"/>
                  <a:gd name="connsiteX8" fmla="*/ 711200 w 1151018"/>
                  <a:gd name="connsiteY8" fmla="*/ 48868 h 993051"/>
                  <a:gd name="connsiteX9" fmla="*/ 720725 w 1151018"/>
                  <a:gd name="connsiteY9" fmla="*/ 47280 h 993051"/>
                  <a:gd name="connsiteX10" fmla="*/ 738188 w 1151018"/>
                  <a:gd name="connsiteY10" fmla="*/ 42518 h 993051"/>
                  <a:gd name="connsiteX11" fmla="*/ 742950 w 1151018"/>
                  <a:gd name="connsiteY11" fmla="*/ 40930 h 993051"/>
                  <a:gd name="connsiteX12" fmla="*/ 758825 w 1151018"/>
                  <a:gd name="connsiteY12" fmla="*/ 39343 h 993051"/>
                  <a:gd name="connsiteX13" fmla="*/ 795338 w 1151018"/>
                  <a:gd name="connsiteY13" fmla="*/ 34580 h 993051"/>
                  <a:gd name="connsiteX14" fmla="*/ 812800 w 1151018"/>
                  <a:gd name="connsiteY14" fmla="*/ 28230 h 993051"/>
                  <a:gd name="connsiteX15" fmla="*/ 819150 w 1151018"/>
                  <a:gd name="connsiteY15" fmla="*/ 26643 h 993051"/>
                  <a:gd name="connsiteX16" fmla="*/ 835025 w 1151018"/>
                  <a:gd name="connsiteY16" fmla="*/ 23468 h 993051"/>
                  <a:gd name="connsiteX17" fmla="*/ 842963 w 1151018"/>
                  <a:gd name="connsiteY17" fmla="*/ 20293 h 993051"/>
                  <a:gd name="connsiteX18" fmla="*/ 852488 w 1151018"/>
                  <a:gd name="connsiteY18" fmla="*/ 18705 h 993051"/>
                  <a:gd name="connsiteX19" fmla="*/ 857250 w 1151018"/>
                  <a:gd name="connsiteY19" fmla="*/ 17118 h 993051"/>
                  <a:gd name="connsiteX20" fmla="*/ 862013 w 1151018"/>
                  <a:gd name="connsiteY20" fmla="*/ 13943 h 993051"/>
                  <a:gd name="connsiteX21" fmla="*/ 866775 w 1151018"/>
                  <a:gd name="connsiteY21" fmla="*/ 12355 h 993051"/>
                  <a:gd name="connsiteX22" fmla="*/ 877888 w 1151018"/>
                  <a:gd name="connsiteY22" fmla="*/ 7593 h 993051"/>
                  <a:gd name="connsiteX23" fmla="*/ 900113 w 1151018"/>
                  <a:gd name="connsiteY23" fmla="*/ 6005 h 993051"/>
                  <a:gd name="connsiteX24" fmla="*/ 904875 w 1151018"/>
                  <a:gd name="connsiteY24" fmla="*/ 12355 h 993051"/>
                  <a:gd name="connsiteX25" fmla="*/ 909638 w 1151018"/>
                  <a:gd name="connsiteY25" fmla="*/ 13943 h 993051"/>
                  <a:gd name="connsiteX26" fmla="*/ 919163 w 1151018"/>
                  <a:gd name="connsiteY26" fmla="*/ 20293 h 993051"/>
                  <a:gd name="connsiteX27" fmla="*/ 928688 w 1151018"/>
                  <a:gd name="connsiteY27" fmla="*/ 26643 h 993051"/>
                  <a:gd name="connsiteX28" fmla="*/ 936625 w 1151018"/>
                  <a:gd name="connsiteY28" fmla="*/ 31405 h 993051"/>
                  <a:gd name="connsiteX29" fmla="*/ 947738 w 1151018"/>
                  <a:gd name="connsiteY29" fmla="*/ 37755 h 993051"/>
                  <a:gd name="connsiteX30" fmla="*/ 960438 w 1151018"/>
                  <a:gd name="connsiteY30" fmla="*/ 48868 h 993051"/>
                  <a:gd name="connsiteX31" fmla="*/ 962025 w 1151018"/>
                  <a:gd name="connsiteY31" fmla="*/ 53630 h 993051"/>
                  <a:gd name="connsiteX32" fmla="*/ 965200 w 1151018"/>
                  <a:gd name="connsiteY32" fmla="*/ 64743 h 993051"/>
                  <a:gd name="connsiteX33" fmla="*/ 969963 w 1151018"/>
                  <a:gd name="connsiteY33" fmla="*/ 91730 h 993051"/>
                  <a:gd name="connsiteX34" fmla="*/ 977900 w 1151018"/>
                  <a:gd name="connsiteY34" fmla="*/ 104430 h 993051"/>
                  <a:gd name="connsiteX35" fmla="*/ 979488 w 1151018"/>
                  <a:gd name="connsiteY35" fmla="*/ 109193 h 993051"/>
                  <a:gd name="connsiteX36" fmla="*/ 982663 w 1151018"/>
                  <a:gd name="connsiteY36" fmla="*/ 121893 h 993051"/>
                  <a:gd name="connsiteX37" fmla="*/ 992188 w 1151018"/>
                  <a:gd name="connsiteY37" fmla="*/ 134593 h 993051"/>
                  <a:gd name="connsiteX38" fmla="*/ 1000125 w 1151018"/>
                  <a:gd name="connsiteY38" fmla="*/ 150468 h 993051"/>
                  <a:gd name="connsiteX39" fmla="*/ 1001713 w 1151018"/>
                  <a:gd name="connsiteY39" fmla="*/ 156818 h 993051"/>
                  <a:gd name="connsiteX40" fmla="*/ 1006475 w 1151018"/>
                  <a:gd name="connsiteY40" fmla="*/ 166343 h 993051"/>
                  <a:gd name="connsiteX41" fmla="*/ 1012825 w 1151018"/>
                  <a:gd name="connsiteY41" fmla="*/ 183805 h 993051"/>
                  <a:gd name="connsiteX42" fmla="*/ 1020763 w 1151018"/>
                  <a:gd name="connsiteY42" fmla="*/ 202855 h 993051"/>
                  <a:gd name="connsiteX43" fmla="*/ 1031875 w 1151018"/>
                  <a:gd name="connsiteY43" fmla="*/ 212380 h 993051"/>
                  <a:gd name="connsiteX44" fmla="*/ 1041400 w 1151018"/>
                  <a:gd name="connsiteY44" fmla="*/ 218730 h 993051"/>
                  <a:gd name="connsiteX45" fmla="*/ 1042988 w 1151018"/>
                  <a:gd name="connsiteY45" fmla="*/ 223493 h 993051"/>
                  <a:gd name="connsiteX46" fmla="*/ 1046163 w 1151018"/>
                  <a:gd name="connsiteY46" fmla="*/ 229843 h 993051"/>
                  <a:gd name="connsiteX47" fmla="*/ 1050925 w 1151018"/>
                  <a:gd name="connsiteY47" fmla="*/ 252068 h 993051"/>
                  <a:gd name="connsiteX48" fmla="*/ 1054100 w 1151018"/>
                  <a:gd name="connsiteY48" fmla="*/ 260005 h 993051"/>
                  <a:gd name="connsiteX49" fmla="*/ 1058863 w 1151018"/>
                  <a:gd name="connsiteY49" fmla="*/ 263180 h 993051"/>
                  <a:gd name="connsiteX50" fmla="*/ 1060450 w 1151018"/>
                  <a:gd name="connsiteY50" fmla="*/ 283818 h 993051"/>
                  <a:gd name="connsiteX51" fmla="*/ 1057275 w 1151018"/>
                  <a:gd name="connsiteY51" fmla="*/ 291755 h 993051"/>
                  <a:gd name="connsiteX52" fmla="*/ 1047750 w 1151018"/>
                  <a:gd name="connsiteY52" fmla="*/ 294930 h 993051"/>
                  <a:gd name="connsiteX53" fmla="*/ 1042988 w 1151018"/>
                  <a:gd name="connsiteY53" fmla="*/ 299693 h 993051"/>
                  <a:gd name="connsiteX54" fmla="*/ 1031875 w 1151018"/>
                  <a:gd name="connsiteY54" fmla="*/ 320330 h 993051"/>
                  <a:gd name="connsiteX55" fmla="*/ 1017588 w 1151018"/>
                  <a:gd name="connsiteY55" fmla="*/ 340968 h 993051"/>
                  <a:gd name="connsiteX56" fmla="*/ 1009650 w 1151018"/>
                  <a:gd name="connsiteY56" fmla="*/ 352080 h 993051"/>
                  <a:gd name="connsiteX57" fmla="*/ 1004888 w 1151018"/>
                  <a:gd name="connsiteY57" fmla="*/ 353668 h 993051"/>
                  <a:gd name="connsiteX58" fmla="*/ 1000125 w 1151018"/>
                  <a:gd name="connsiteY58" fmla="*/ 377480 h 993051"/>
                  <a:gd name="connsiteX59" fmla="*/ 998538 w 1151018"/>
                  <a:gd name="connsiteY59" fmla="*/ 383830 h 993051"/>
                  <a:gd name="connsiteX60" fmla="*/ 996950 w 1151018"/>
                  <a:gd name="connsiteY60" fmla="*/ 391768 h 993051"/>
                  <a:gd name="connsiteX61" fmla="*/ 1008063 w 1151018"/>
                  <a:gd name="connsiteY61" fmla="*/ 394943 h 993051"/>
                  <a:gd name="connsiteX62" fmla="*/ 1027113 w 1151018"/>
                  <a:gd name="connsiteY62" fmla="*/ 396530 h 993051"/>
                  <a:gd name="connsiteX63" fmla="*/ 1039813 w 1151018"/>
                  <a:gd name="connsiteY63" fmla="*/ 406055 h 993051"/>
                  <a:gd name="connsiteX64" fmla="*/ 1049338 w 1151018"/>
                  <a:gd name="connsiteY64" fmla="*/ 413993 h 993051"/>
                  <a:gd name="connsiteX65" fmla="*/ 1050925 w 1151018"/>
                  <a:gd name="connsiteY65" fmla="*/ 420343 h 993051"/>
                  <a:gd name="connsiteX66" fmla="*/ 1046163 w 1151018"/>
                  <a:gd name="connsiteY66" fmla="*/ 433043 h 993051"/>
                  <a:gd name="connsiteX67" fmla="*/ 1046163 w 1151018"/>
                  <a:gd name="connsiteY67" fmla="*/ 447330 h 993051"/>
                  <a:gd name="connsiteX68" fmla="*/ 1044575 w 1151018"/>
                  <a:gd name="connsiteY68" fmla="*/ 460030 h 993051"/>
                  <a:gd name="connsiteX69" fmla="*/ 1042988 w 1151018"/>
                  <a:gd name="connsiteY69" fmla="*/ 474318 h 993051"/>
                  <a:gd name="connsiteX70" fmla="*/ 1044575 w 1151018"/>
                  <a:gd name="connsiteY70" fmla="*/ 487018 h 993051"/>
                  <a:gd name="connsiteX71" fmla="*/ 1046163 w 1151018"/>
                  <a:gd name="connsiteY71" fmla="*/ 491780 h 993051"/>
                  <a:gd name="connsiteX72" fmla="*/ 1050925 w 1151018"/>
                  <a:gd name="connsiteY72" fmla="*/ 493368 h 993051"/>
                  <a:gd name="connsiteX73" fmla="*/ 1057275 w 1151018"/>
                  <a:gd name="connsiteY73" fmla="*/ 496543 h 993051"/>
                  <a:gd name="connsiteX74" fmla="*/ 1062038 w 1151018"/>
                  <a:gd name="connsiteY74" fmla="*/ 501305 h 993051"/>
                  <a:gd name="connsiteX75" fmla="*/ 1066800 w 1151018"/>
                  <a:gd name="connsiteY75" fmla="*/ 504480 h 993051"/>
                  <a:gd name="connsiteX76" fmla="*/ 1068388 w 1151018"/>
                  <a:gd name="connsiteY76" fmla="*/ 521943 h 993051"/>
                  <a:gd name="connsiteX77" fmla="*/ 1071563 w 1151018"/>
                  <a:gd name="connsiteY77" fmla="*/ 526705 h 993051"/>
                  <a:gd name="connsiteX78" fmla="*/ 1073150 w 1151018"/>
                  <a:gd name="connsiteY78" fmla="*/ 539405 h 993051"/>
                  <a:gd name="connsiteX79" fmla="*/ 1077913 w 1151018"/>
                  <a:gd name="connsiteY79" fmla="*/ 553693 h 993051"/>
                  <a:gd name="connsiteX80" fmla="*/ 1085850 w 1151018"/>
                  <a:gd name="connsiteY80" fmla="*/ 555280 h 993051"/>
                  <a:gd name="connsiteX81" fmla="*/ 1089025 w 1151018"/>
                  <a:gd name="connsiteY81" fmla="*/ 560043 h 993051"/>
                  <a:gd name="connsiteX82" fmla="*/ 1096963 w 1151018"/>
                  <a:gd name="connsiteY82" fmla="*/ 582268 h 993051"/>
                  <a:gd name="connsiteX83" fmla="*/ 1108075 w 1151018"/>
                  <a:gd name="connsiteY83" fmla="*/ 596555 h 993051"/>
                  <a:gd name="connsiteX84" fmla="*/ 1109663 w 1151018"/>
                  <a:gd name="connsiteY84" fmla="*/ 602905 h 993051"/>
                  <a:gd name="connsiteX85" fmla="*/ 1119188 w 1151018"/>
                  <a:gd name="connsiteY85" fmla="*/ 609255 h 993051"/>
                  <a:gd name="connsiteX86" fmla="*/ 1123950 w 1151018"/>
                  <a:gd name="connsiteY86" fmla="*/ 612430 h 993051"/>
                  <a:gd name="connsiteX87" fmla="*/ 1130300 w 1151018"/>
                  <a:gd name="connsiteY87" fmla="*/ 614018 h 993051"/>
                  <a:gd name="connsiteX88" fmla="*/ 1138238 w 1151018"/>
                  <a:gd name="connsiteY88" fmla="*/ 617193 h 993051"/>
                  <a:gd name="connsiteX89" fmla="*/ 1133475 w 1151018"/>
                  <a:gd name="connsiteY89" fmla="*/ 621955 h 993051"/>
                  <a:gd name="connsiteX90" fmla="*/ 1131888 w 1151018"/>
                  <a:gd name="connsiteY90" fmla="*/ 629893 h 993051"/>
                  <a:gd name="connsiteX91" fmla="*/ 1143000 w 1151018"/>
                  <a:gd name="connsiteY91" fmla="*/ 637830 h 993051"/>
                  <a:gd name="connsiteX92" fmla="*/ 1144588 w 1151018"/>
                  <a:gd name="connsiteY92" fmla="*/ 642593 h 993051"/>
                  <a:gd name="connsiteX93" fmla="*/ 1146175 w 1151018"/>
                  <a:gd name="connsiteY93" fmla="*/ 648943 h 993051"/>
                  <a:gd name="connsiteX94" fmla="*/ 1149350 w 1151018"/>
                  <a:gd name="connsiteY94" fmla="*/ 656880 h 993051"/>
                  <a:gd name="connsiteX95" fmla="*/ 1146175 w 1151018"/>
                  <a:gd name="connsiteY95" fmla="*/ 690218 h 993051"/>
                  <a:gd name="connsiteX96" fmla="*/ 1133475 w 1151018"/>
                  <a:gd name="connsiteY96" fmla="*/ 693393 h 993051"/>
                  <a:gd name="connsiteX97" fmla="*/ 1127125 w 1151018"/>
                  <a:gd name="connsiteY97" fmla="*/ 701330 h 993051"/>
                  <a:gd name="connsiteX98" fmla="*/ 1123950 w 1151018"/>
                  <a:gd name="connsiteY98" fmla="*/ 718793 h 993051"/>
                  <a:gd name="connsiteX99" fmla="*/ 1119188 w 1151018"/>
                  <a:gd name="connsiteY99" fmla="*/ 721968 h 993051"/>
                  <a:gd name="connsiteX100" fmla="*/ 1116013 w 1151018"/>
                  <a:gd name="connsiteY100" fmla="*/ 733080 h 993051"/>
                  <a:gd name="connsiteX101" fmla="*/ 1112838 w 1151018"/>
                  <a:gd name="connsiteY101" fmla="*/ 737843 h 993051"/>
                  <a:gd name="connsiteX102" fmla="*/ 1106488 w 1151018"/>
                  <a:gd name="connsiteY102" fmla="*/ 739430 h 993051"/>
                  <a:gd name="connsiteX103" fmla="*/ 1096963 w 1151018"/>
                  <a:gd name="connsiteY103" fmla="*/ 747368 h 993051"/>
                  <a:gd name="connsiteX104" fmla="*/ 1079500 w 1151018"/>
                  <a:gd name="connsiteY104" fmla="*/ 763243 h 993051"/>
                  <a:gd name="connsiteX105" fmla="*/ 1071563 w 1151018"/>
                  <a:gd name="connsiteY105" fmla="*/ 774355 h 993051"/>
                  <a:gd name="connsiteX106" fmla="*/ 1068388 w 1151018"/>
                  <a:gd name="connsiteY106" fmla="*/ 782293 h 993051"/>
                  <a:gd name="connsiteX107" fmla="*/ 1065213 w 1151018"/>
                  <a:gd name="connsiteY107" fmla="*/ 787055 h 993051"/>
                  <a:gd name="connsiteX108" fmla="*/ 1062038 w 1151018"/>
                  <a:gd name="connsiteY108" fmla="*/ 794993 h 993051"/>
                  <a:gd name="connsiteX109" fmla="*/ 1058863 w 1151018"/>
                  <a:gd name="connsiteY109" fmla="*/ 804518 h 993051"/>
                  <a:gd name="connsiteX110" fmla="*/ 1052513 w 1151018"/>
                  <a:gd name="connsiteY110" fmla="*/ 817218 h 993051"/>
                  <a:gd name="connsiteX111" fmla="*/ 1046163 w 1151018"/>
                  <a:gd name="connsiteY111" fmla="*/ 831505 h 993051"/>
                  <a:gd name="connsiteX112" fmla="*/ 1044575 w 1151018"/>
                  <a:gd name="connsiteY112" fmla="*/ 836268 h 993051"/>
                  <a:gd name="connsiteX113" fmla="*/ 1041400 w 1151018"/>
                  <a:gd name="connsiteY113" fmla="*/ 842618 h 993051"/>
                  <a:gd name="connsiteX114" fmla="*/ 1039813 w 1151018"/>
                  <a:gd name="connsiteY114" fmla="*/ 847380 h 993051"/>
                  <a:gd name="connsiteX115" fmla="*/ 1033463 w 1151018"/>
                  <a:gd name="connsiteY115" fmla="*/ 853730 h 993051"/>
                  <a:gd name="connsiteX116" fmla="*/ 1028700 w 1151018"/>
                  <a:gd name="connsiteY116" fmla="*/ 866430 h 993051"/>
                  <a:gd name="connsiteX117" fmla="*/ 1022350 w 1151018"/>
                  <a:gd name="connsiteY117" fmla="*/ 882305 h 993051"/>
                  <a:gd name="connsiteX118" fmla="*/ 1025525 w 1151018"/>
                  <a:gd name="connsiteY118" fmla="*/ 891830 h 993051"/>
                  <a:gd name="connsiteX119" fmla="*/ 1030288 w 1151018"/>
                  <a:gd name="connsiteY119" fmla="*/ 896593 h 993051"/>
                  <a:gd name="connsiteX120" fmla="*/ 1033463 w 1151018"/>
                  <a:gd name="connsiteY120" fmla="*/ 902943 h 993051"/>
                  <a:gd name="connsiteX121" fmla="*/ 1036638 w 1151018"/>
                  <a:gd name="connsiteY121" fmla="*/ 910880 h 993051"/>
                  <a:gd name="connsiteX122" fmla="*/ 1039813 w 1151018"/>
                  <a:gd name="connsiteY122" fmla="*/ 921993 h 993051"/>
                  <a:gd name="connsiteX123" fmla="*/ 1044575 w 1151018"/>
                  <a:gd name="connsiteY123" fmla="*/ 925168 h 993051"/>
                  <a:gd name="connsiteX124" fmla="*/ 1033463 w 1151018"/>
                  <a:gd name="connsiteY124" fmla="*/ 936280 h 993051"/>
                  <a:gd name="connsiteX125" fmla="*/ 1039813 w 1151018"/>
                  <a:gd name="connsiteY125" fmla="*/ 939455 h 993051"/>
                  <a:gd name="connsiteX126" fmla="*/ 1046163 w 1151018"/>
                  <a:gd name="connsiteY126" fmla="*/ 944218 h 993051"/>
                  <a:gd name="connsiteX127" fmla="*/ 1049338 w 1151018"/>
                  <a:gd name="connsiteY127" fmla="*/ 956918 h 993051"/>
                  <a:gd name="connsiteX128" fmla="*/ 1050925 w 1151018"/>
                  <a:gd name="connsiteY128" fmla="*/ 961680 h 993051"/>
                  <a:gd name="connsiteX129" fmla="*/ 1060450 w 1151018"/>
                  <a:gd name="connsiteY129" fmla="*/ 971205 h 993051"/>
                  <a:gd name="connsiteX130" fmla="*/ 1022350 w 1151018"/>
                  <a:gd name="connsiteY130" fmla="*/ 971205 h 993051"/>
                  <a:gd name="connsiteX131" fmla="*/ 1019175 w 1151018"/>
                  <a:gd name="connsiteY131" fmla="*/ 964855 h 993051"/>
                  <a:gd name="connsiteX132" fmla="*/ 1014413 w 1151018"/>
                  <a:gd name="connsiteY132" fmla="*/ 963268 h 993051"/>
                  <a:gd name="connsiteX133" fmla="*/ 1000125 w 1151018"/>
                  <a:gd name="connsiteY133" fmla="*/ 960093 h 993051"/>
                  <a:gd name="connsiteX134" fmla="*/ 995363 w 1151018"/>
                  <a:gd name="connsiteY134" fmla="*/ 956918 h 993051"/>
                  <a:gd name="connsiteX135" fmla="*/ 985838 w 1151018"/>
                  <a:gd name="connsiteY135" fmla="*/ 955330 h 993051"/>
                  <a:gd name="connsiteX136" fmla="*/ 965200 w 1151018"/>
                  <a:gd name="connsiteY136" fmla="*/ 952155 h 993051"/>
                  <a:gd name="connsiteX137" fmla="*/ 960438 w 1151018"/>
                  <a:gd name="connsiteY137" fmla="*/ 947393 h 993051"/>
                  <a:gd name="connsiteX138" fmla="*/ 952500 w 1151018"/>
                  <a:gd name="connsiteY138" fmla="*/ 936280 h 993051"/>
                  <a:gd name="connsiteX139" fmla="*/ 938213 w 1151018"/>
                  <a:gd name="connsiteY139" fmla="*/ 928343 h 993051"/>
                  <a:gd name="connsiteX140" fmla="*/ 933450 w 1151018"/>
                  <a:gd name="connsiteY140" fmla="*/ 925168 h 993051"/>
                  <a:gd name="connsiteX141" fmla="*/ 922338 w 1151018"/>
                  <a:gd name="connsiteY141" fmla="*/ 923580 h 993051"/>
                  <a:gd name="connsiteX142" fmla="*/ 915988 w 1151018"/>
                  <a:gd name="connsiteY142" fmla="*/ 921993 h 993051"/>
                  <a:gd name="connsiteX143" fmla="*/ 896938 w 1151018"/>
                  <a:gd name="connsiteY143" fmla="*/ 918818 h 993051"/>
                  <a:gd name="connsiteX144" fmla="*/ 847725 w 1151018"/>
                  <a:gd name="connsiteY144" fmla="*/ 925168 h 993051"/>
                  <a:gd name="connsiteX145" fmla="*/ 844550 w 1151018"/>
                  <a:gd name="connsiteY145" fmla="*/ 929930 h 993051"/>
                  <a:gd name="connsiteX146" fmla="*/ 842963 w 1151018"/>
                  <a:gd name="connsiteY146" fmla="*/ 936280 h 993051"/>
                  <a:gd name="connsiteX147" fmla="*/ 836613 w 1151018"/>
                  <a:gd name="connsiteY147" fmla="*/ 939455 h 993051"/>
                  <a:gd name="connsiteX148" fmla="*/ 830263 w 1151018"/>
                  <a:gd name="connsiteY148" fmla="*/ 945805 h 993051"/>
                  <a:gd name="connsiteX149" fmla="*/ 811213 w 1151018"/>
                  <a:gd name="connsiteY149" fmla="*/ 944218 h 993051"/>
                  <a:gd name="connsiteX150" fmla="*/ 796925 w 1151018"/>
                  <a:gd name="connsiteY150" fmla="*/ 941043 h 993051"/>
                  <a:gd name="connsiteX151" fmla="*/ 746125 w 1151018"/>
                  <a:gd name="connsiteY151" fmla="*/ 950568 h 993051"/>
                  <a:gd name="connsiteX152" fmla="*/ 739775 w 1151018"/>
                  <a:gd name="connsiteY152" fmla="*/ 960093 h 993051"/>
                  <a:gd name="connsiteX153" fmla="*/ 701675 w 1151018"/>
                  <a:gd name="connsiteY153" fmla="*/ 990255 h 993051"/>
                  <a:gd name="connsiteX154" fmla="*/ 696913 w 1151018"/>
                  <a:gd name="connsiteY154" fmla="*/ 983905 h 993051"/>
                  <a:gd name="connsiteX155" fmla="*/ 690563 w 1151018"/>
                  <a:gd name="connsiteY155" fmla="*/ 964855 h 993051"/>
                  <a:gd name="connsiteX156" fmla="*/ 682625 w 1151018"/>
                  <a:gd name="connsiteY156" fmla="*/ 963268 h 993051"/>
                  <a:gd name="connsiteX157" fmla="*/ 677863 w 1151018"/>
                  <a:gd name="connsiteY157" fmla="*/ 952155 h 993051"/>
                  <a:gd name="connsiteX158" fmla="*/ 666750 w 1151018"/>
                  <a:gd name="connsiteY158" fmla="*/ 941043 h 993051"/>
                  <a:gd name="connsiteX159" fmla="*/ 655638 w 1151018"/>
                  <a:gd name="connsiteY159" fmla="*/ 929930 h 993051"/>
                  <a:gd name="connsiteX160" fmla="*/ 654050 w 1151018"/>
                  <a:gd name="connsiteY160" fmla="*/ 915643 h 993051"/>
                  <a:gd name="connsiteX161" fmla="*/ 649288 w 1151018"/>
                  <a:gd name="connsiteY161" fmla="*/ 914055 h 993051"/>
                  <a:gd name="connsiteX162" fmla="*/ 639763 w 1151018"/>
                  <a:gd name="connsiteY162" fmla="*/ 926755 h 993051"/>
                  <a:gd name="connsiteX163" fmla="*/ 635000 w 1151018"/>
                  <a:gd name="connsiteY163" fmla="*/ 933105 h 993051"/>
                  <a:gd name="connsiteX164" fmla="*/ 625475 w 1151018"/>
                  <a:gd name="connsiteY164" fmla="*/ 934693 h 993051"/>
                  <a:gd name="connsiteX165" fmla="*/ 620713 w 1151018"/>
                  <a:gd name="connsiteY165" fmla="*/ 937868 h 993051"/>
                  <a:gd name="connsiteX166" fmla="*/ 619125 w 1151018"/>
                  <a:gd name="connsiteY166" fmla="*/ 944218 h 993051"/>
                  <a:gd name="connsiteX167" fmla="*/ 612775 w 1151018"/>
                  <a:gd name="connsiteY167" fmla="*/ 956918 h 993051"/>
                  <a:gd name="connsiteX168" fmla="*/ 592138 w 1151018"/>
                  <a:gd name="connsiteY168" fmla="*/ 955330 h 993051"/>
                  <a:gd name="connsiteX169" fmla="*/ 588963 w 1151018"/>
                  <a:gd name="connsiteY169" fmla="*/ 937868 h 993051"/>
                  <a:gd name="connsiteX170" fmla="*/ 581025 w 1151018"/>
                  <a:gd name="connsiteY170" fmla="*/ 934693 h 993051"/>
                  <a:gd name="connsiteX171" fmla="*/ 576263 w 1151018"/>
                  <a:gd name="connsiteY171" fmla="*/ 928343 h 993051"/>
                  <a:gd name="connsiteX172" fmla="*/ 573088 w 1151018"/>
                  <a:gd name="connsiteY172" fmla="*/ 917230 h 993051"/>
                  <a:gd name="connsiteX173" fmla="*/ 566738 w 1151018"/>
                  <a:gd name="connsiteY173" fmla="*/ 915643 h 993051"/>
                  <a:gd name="connsiteX174" fmla="*/ 558800 w 1151018"/>
                  <a:gd name="connsiteY174" fmla="*/ 910880 h 993051"/>
                  <a:gd name="connsiteX175" fmla="*/ 555625 w 1151018"/>
                  <a:gd name="connsiteY175" fmla="*/ 906118 h 993051"/>
                  <a:gd name="connsiteX176" fmla="*/ 546100 w 1151018"/>
                  <a:gd name="connsiteY176" fmla="*/ 899768 h 993051"/>
                  <a:gd name="connsiteX177" fmla="*/ 542925 w 1151018"/>
                  <a:gd name="connsiteY177" fmla="*/ 893418 h 993051"/>
                  <a:gd name="connsiteX178" fmla="*/ 541338 w 1151018"/>
                  <a:gd name="connsiteY178" fmla="*/ 887068 h 993051"/>
                  <a:gd name="connsiteX179" fmla="*/ 533400 w 1151018"/>
                  <a:gd name="connsiteY179" fmla="*/ 879130 h 993051"/>
                  <a:gd name="connsiteX180" fmla="*/ 520700 w 1151018"/>
                  <a:gd name="connsiteY180" fmla="*/ 871193 h 993051"/>
                  <a:gd name="connsiteX181" fmla="*/ 511175 w 1151018"/>
                  <a:gd name="connsiteY181" fmla="*/ 868018 h 993051"/>
                  <a:gd name="connsiteX182" fmla="*/ 498475 w 1151018"/>
                  <a:gd name="connsiteY182" fmla="*/ 858493 h 993051"/>
                  <a:gd name="connsiteX183" fmla="*/ 490538 w 1151018"/>
                  <a:gd name="connsiteY183" fmla="*/ 856905 h 993051"/>
                  <a:gd name="connsiteX184" fmla="*/ 474663 w 1151018"/>
                  <a:gd name="connsiteY184" fmla="*/ 858493 h 993051"/>
                  <a:gd name="connsiteX185" fmla="*/ 471488 w 1151018"/>
                  <a:gd name="connsiteY185" fmla="*/ 864843 h 993051"/>
                  <a:gd name="connsiteX186" fmla="*/ 466725 w 1151018"/>
                  <a:gd name="connsiteY186" fmla="*/ 868018 h 993051"/>
                  <a:gd name="connsiteX187" fmla="*/ 461963 w 1151018"/>
                  <a:gd name="connsiteY187" fmla="*/ 872780 h 993051"/>
                  <a:gd name="connsiteX188" fmla="*/ 444500 w 1151018"/>
                  <a:gd name="connsiteY188" fmla="*/ 868018 h 993051"/>
                  <a:gd name="connsiteX189" fmla="*/ 442913 w 1151018"/>
                  <a:gd name="connsiteY189" fmla="*/ 861668 h 993051"/>
                  <a:gd name="connsiteX190" fmla="*/ 434975 w 1151018"/>
                  <a:gd name="connsiteY190" fmla="*/ 845793 h 993051"/>
                  <a:gd name="connsiteX191" fmla="*/ 436563 w 1151018"/>
                  <a:gd name="connsiteY191" fmla="*/ 839443 h 993051"/>
                  <a:gd name="connsiteX192" fmla="*/ 444500 w 1151018"/>
                  <a:gd name="connsiteY192" fmla="*/ 837855 h 993051"/>
                  <a:gd name="connsiteX193" fmla="*/ 454025 w 1151018"/>
                  <a:gd name="connsiteY193" fmla="*/ 836268 h 993051"/>
                  <a:gd name="connsiteX194" fmla="*/ 450850 w 1151018"/>
                  <a:gd name="connsiteY194" fmla="*/ 831505 h 993051"/>
                  <a:gd name="connsiteX195" fmla="*/ 447675 w 1151018"/>
                  <a:gd name="connsiteY195" fmla="*/ 821980 h 993051"/>
                  <a:gd name="connsiteX196" fmla="*/ 433388 w 1151018"/>
                  <a:gd name="connsiteY196" fmla="*/ 820393 h 993051"/>
                  <a:gd name="connsiteX197" fmla="*/ 427038 w 1151018"/>
                  <a:gd name="connsiteY197" fmla="*/ 825155 h 993051"/>
                  <a:gd name="connsiteX198" fmla="*/ 392113 w 1151018"/>
                  <a:gd name="connsiteY198" fmla="*/ 821980 h 993051"/>
                  <a:gd name="connsiteX199" fmla="*/ 377825 w 1151018"/>
                  <a:gd name="connsiteY199" fmla="*/ 815630 h 993051"/>
                  <a:gd name="connsiteX200" fmla="*/ 368300 w 1151018"/>
                  <a:gd name="connsiteY200" fmla="*/ 810868 h 993051"/>
                  <a:gd name="connsiteX201" fmla="*/ 363538 w 1151018"/>
                  <a:gd name="connsiteY201" fmla="*/ 807693 h 993051"/>
                  <a:gd name="connsiteX202" fmla="*/ 350838 w 1151018"/>
                  <a:gd name="connsiteY202" fmla="*/ 801343 h 993051"/>
                  <a:gd name="connsiteX203" fmla="*/ 347663 w 1151018"/>
                  <a:gd name="connsiteY203" fmla="*/ 804518 h 993051"/>
                  <a:gd name="connsiteX204" fmla="*/ 350838 w 1151018"/>
                  <a:gd name="connsiteY204" fmla="*/ 810868 h 993051"/>
                  <a:gd name="connsiteX205" fmla="*/ 354013 w 1151018"/>
                  <a:gd name="connsiteY205" fmla="*/ 831505 h 993051"/>
                  <a:gd name="connsiteX206" fmla="*/ 355600 w 1151018"/>
                  <a:gd name="connsiteY206" fmla="*/ 839443 h 993051"/>
                  <a:gd name="connsiteX207" fmla="*/ 358775 w 1151018"/>
                  <a:gd name="connsiteY207" fmla="*/ 844205 h 993051"/>
                  <a:gd name="connsiteX208" fmla="*/ 354013 w 1151018"/>
                  <a:gd name="connsiteY208" fmla="*/ 847380 h 993051"/>
                  <a:gd name="connsiteX209" fmla="*/ 344488 w 1151018"/>
                  <a:gd name="connsiteY209" fmla="*/ 848968 h 993051"/>
                  <a:gd name="connsiteX210" fmla="*/ 339725 w 1151018"/>
                  <a:gd name="connsiteY210" fmla="*/ 858493 h 993051"/>
                  <a:gd name="connsiteX211" fmla="*/ 334963 w 1151018"/>
                  <a:gd name="connsiteY211" fmla="*/ 864843 h 993051"/>
                  <a:gd name="connsiteX212" fmla="*/ 319088 w 1151018"/>
                  <a:gd name="connsiteY212" fmla="*/ 863255 h 993051"/>
                  <a:gd name="connsiteX213" fmla="*/ 317500 w 1151018"/>
                  <a:gd name="connsiteY213" fmla="*/ 858493 h 993051"/>
                  <a:gd name="connsiteX214" fmla="*/ 311150 w 1151018"/>
                  <a:gd name="connsiteY214" fmla="*/ 850555 h 993051"/>
                  <a:gd name="connsiteX215" fmla="*/ 301625 w 1151018"/>
                  <a:gd name="connsiteY215" fmla="*/ 839443 h 993051"/>
                  <a:gd name="connsiteX216" fmla="*/ 296863 w 1151018"/>
                  <a:gd name="connsiteY216" fmla="*/ 833093 h 993051"/>
                  <a:gd name="connsiteX217" fmla="*/ 284163 w 1151018"/>
                  <a:gd name="connsiteY217" fmla="*/ 828330 h 993051"/>
                  <a:gd name="connsiteX218" fmla="*/ 261938 w 1151018"/>
                  <a:gd name="connsiteY218" fmla="*/ 810868 h 993051"/>
                  <a:gd name="connsiteX219" fmla="*/ 260350 w 1151018"/>
                  <a:gd name="connsiteY219" fmla="*/ 806105 h 993051"/>
                  <a:gd name="connsiteX220" fmla="*/ 276225 w 1151018"/>
                  <a:gd name="connsiteY220" fmla="*/ 799755 h 993051"/>
                  <a:gd name="connsiteX221" fmla="*/ 282575 w 1151018"/>
                  <a:gd name="connsiteY221" fmla="*/ 794993 h 993051"/>
                  <a:gd name="connsiteX222" fmla="*/ 280988 w 1151018"/>
                  <a:gd name="connsiteY222" fmla="*/ 790230 h 993051"/>
                  <a:gd name="connsiteX223" fmla="*/ 268288 w 1151018"/>
                  <a:gd name="connsiteY223" fmla="*/ 782293 h 993051"/>
                  <a:gd name="connsiteX224" fmla="*/ 266700 w 1151018"/>
                  <a:gd name="connsiteY224" fmla="*/ 775943 h 993051"/>
                  <a:gd name="connsiteX225" fmla="*/ 266700 w 1151018"/>
                  <a:gd name="connsiteY225" fmla="*/ 766418 h 993051"/>
                  <a:gd name="connsiteX226" fmla="*/ 241300 w 1151018"/>
                  <a:gd name="connsiteY226" fmla="*/ 774355 h 993051"/>
                  <a:gd name="connsiteX227" fmla="*/ 239713 w 1151018"/>
                  <a:gd name="connsiteY227" fmla="*/ 782293 h 993051"/>
                  <a:gd name="connsiteX228" fmla="*/ 231775 w 1151018"/>
                  <a:gd name="connsiteY228" fmla="*/ 772768 h 993051"/>
                  <a:gd name="connsiteX229" fmla="*/ 225425 w 1151018"/>
                  <a:gd name="connsiteY229" fmla="*/ 769593 h 993051"/>
                  <a:gd name="connsiteX230" fmla="*/ 219075 w 1151018"/>
                  <a:gd name="connsiteY230" fmla="*/ 764830 h 993051"/>
                  <a:gd name="connsiteX231" fmla="*/ 190500 w 1151018"/>
                  <a:gd name="connsiteY231" fmla="*/ 756893 h 993051"/>
                  <a:gd name="connsiteX232" fmla="*/ 185738 w 1151018"/>
                  <a:gd name="connsiteY232" fmla="*/ 753718 h 993051"/>
                  <a:gd name="connsiteX233" fmla="*/ 158750 w 1151018"/>
                  <a:gd name="connsiteY233" fmla="*/ 750543 h 993051"/>
                  <a:gd name="connsiteX234" fmla="*/ 157163 w 1151018"/>
                  <a:gd name="connsiteY234" fmla="*/ 745780 h 993051"/>
                  <a:gd name="connsiteX235" fmla="*/ 155575 w 1151018"/>
                  <a:gd name="connsiteY235" fmla="*/ 729905 h 993051"/>
                  <a:gd name="connsiteX236" fmla="*/ 147638 w 1151018"/>
                  <a:gd name="connsiteY236" fmla="*/ 725143 h 993051"/>
                  <a:gd name="connsiteX237" fmla="*/ 136525 w 1151018"/>
                  <a:gd name="connsiteY237" fmla="*/ 717205 h 993051"/>
                  <a:gd name="connsiteX238" fmla="*/ 130175 w 1151018"/>
                  <a:gd name="connsiteY238" fmla="*/ 725143 h 993051"/>
                  <a:gd name="connsiteX239" fmla="*/ 125413 w 1151018"/>
                  <a:gd name="connsiteY239" fmla="*/ 726730 h 993051"/>
                  <a:gd name="connsiteX240" fmla="*/ 112713 w 1151018"/>
                  <a:gd name="connsiteY240" fmla="*/ 729905 h 993051"/>
                  <a:gd name="connsiteX241" fmla="*/ 114300 w 1151018"/>
                  <a:gd name="connsiteY241" fmla="*/ 723555 h 993051"/>
                  <a:gd name="connsiteX242" fmla="*/ 115888 w 1151018"/>
                  <a:gd name="connsiteY242" fmla="*/ 715618 h 993051"/>
                  <a:gd name="connsiteX243" fmla="*/ 119063 w 1151018"/>
                  <a:gd name="connsiteY243" fmla="*/ 706093 h 993051"/>
                  <a:gd name="connsiteX244" fmla="*/ 117475 w 1151018"/>
                  <a:gd name="connsiteY244" fmla="*/ 658468 h 993051"/>
                  <a:gd name="connsiteX245" fmla="*/ 114300 w 1151018"/>
                  <a:gd name="connsiteY245" fmla="*/ 652118 h 993051"/>
                  <a:gd name="connsiteX246" fmla="*/ 93663 w 1151018"/>
                  <a:gd name="connsiteY246" fmla="*/ 634655 h 993051"/>
                  <a:gd name="connsiteX247" fmla="*/ 87313 w 1151018"/>
                  <a:gd name="connsiteY247" fmla="*/ 633068 h 993051"/>
                  <a:gd name="connsiteX248" fmla="*/ 79375 w 1151018"/>
                  <a:gd name="connsiteY248" fmla="*/ 593380 h 993051"/>
                  <a:gd name="connsiteX249" fmla="*/ 68263 w 1151018"/>
                  <a:gd name="connsiteY249" fmla="*/ 590205 h 993051"/>
                  <a:gd name="connsiteX250" fmla="*/ 61913 w 1151018"/>
                  <a:gd name="connsiteY250" fmla="*/ 577505 h 993051"/>
                  <a:gd name="connsiteX251" fmla="*/ 65088 w 1151018"/>
                  <a:gd name="connsiteY251" fmla="*/ 571155 h 993051"/>
                  <a:gd name="connsiteX252" fmla="*/ 69850 w 1151018"/>
                  <a:gd name="connsiteY252" fmla="*/ 569568 h 993051"/>
                  <a:gd name="connsiteX253" fmla="*/ 73025 w 1151018"/>
                  <a:gd name="connsiteY253" fmla="*/ 514005 h 993051"/>
                  <a:gd name="connsiteX254" fmla="*/ 71438 w 1151018"/>
                  <a:gd name="connsiteY254" fmla="*/ 507655 h 993051"/>
                  <a:gd name="connsiteX255" fmla="*/ 68263 w 1151018"/>
                  <a:gd name="connsiteY255" fmla="*/ 502893 h 993051"/>
                  <a:gd name="connsiteX256" fmla="*/ 65088 w 1151018"/>
                  <a:gd name="connsiteY256" fmla="*/ 494955 h 993051"/>
                  <a:gd name="connsiteX257" fmla="*/ 52388 w 1151018"/>
                  <a:gd name="connsiteY257" fmla="*/ 490193 h 993051"/>
                  <a:gd name="connsiteX258" fmla="*/ 44450 w 1151018"/>
                  <a:gd name="connsiteY258" fmla="*/ 483843 h 993051"/>
                  <a:gd name="connsiteX259" fmla="*/ 44450 w 1151018"/>
                  <a:gd name="connsiteY259" fmla="*/ 466380 h 993051"/>
                  <a:gd name="connsiteX260" fmla="*/ 55563 w 1151018"/>
                  <a:gd name="connsiteY260" fmla="*/ 464793 h 993051"/>
                  <a:gd name="connsiteX261" fmla="*/ 58738 w 1151018"/>
                  <a:gd name="connsiteY261" fmla="*/ 460030 h 993051"/>
                  <a:gd name="connsiteX262" fmla="*/ 49213 w 1151018"/>
                  <a:gd name="connsiteY262" fmla="*/ 436218 h 993051"/>
                  <a:gd name="connsiteX263" fmla="*/ 42863 w 1151018"/>
                  <a:gd name="connsiteY263" fmla="*/ 431455 h 993051"/>
                  <a:gd name="connsiteX264" fmla="*/ 39688 w 1151018"/>
                  <a:gd name="connsiteY264" fmla="*/ 425105 h 993051"/>
                  <a:gd name="connsiteX265" fmla="*/ 34925 w 1151018"/>
                  <a:gd name="connsiteY265" fmla="*/ 421930 h 993051"/>
                  <a:gd name="connsiteX266" fmla="*/ 28575 w 1151018"/>
                  <a:gd name="connsiteY266" fmla="*/ 415580 h 993051"/>
                  <a:gd name="connsiteX267" fmla="*/ 23813 w 1151018"/>
                  <a:gd name="connsiteY267" fmla="*/ 412405 h 993051"/>
                  <a:gd name="connsiteX268" fmla="*/ 14288 w 1151018"/>
                  <a:gd name="connsiteY268" fmla="*/ 402880 h 993051"/>
                  <a:gd name="connsiteX269" fmla="*/ 3175 w 1151018"/>
                  <a:gd name="connsiteY269" fmla="*/ 401293 h 993051"/>
                  <a:gd name="connsiteX270" fmla="*/ 3175 w 1151018"/>
                  <a:gd name="connsiteY270" fmla="*/ 372718 h 993051"/>
                  <a:gd name="connsiteX271" fmla="*/ 9525 w 1151018"/>
                  <a:gd name="connsiteY271" fmla="*/ 361605 h 993051"/>
                  <a:gd name="connsiteX272" fmla="*/ 14288 w 1151018"/>
                  <a:gd name="connsiteY272" fmla="*/ 360018 h 993051"/>
                  <a:gd name="connsiteX273" fmla="*/ 23813 w 1151018"/>
                  <a:gd name="connsiteY273" fmla="*/ 358430 h 993051"/>
                  <a:gd name="connsiteX274" fmla="*/ 22225 w 1151018"/>
                  <a:gd name="connsiteY274" fmla="*/ 294930 h 993051"/>
                  <a:gd name="connsiteX275" fmla="*/ 15875 w 1151018"/>
                  <a:gd name="connsiteY275" fmla="*/ 280643 h 993051"/>
                  <a:gd name="connsiteX276" fmla="*/ 9525 w 1151018"/>
                  <a:gd name="connsiteY276" fmla="*/ 267943 h 993051"/>
                  <a:gd name="connsiteX277" fmla="*/ 6350 w 1151018"/>
                  <a:gd name="connsiteY277" fmla="*/ 258418 h 993051"/>
                  <a:gd name="connsiteX278" fmla="*/ 7938 w 1151018"/>
                  <a:gd name="connsiteY278" fmla="*/ 253655 h 993051"/>
                  <a:gd name="connsiteX279" fmla="*/ 20638 w 1151018"/>
                  <a:gd name="connsiteY279" fmla="*/ 256830 h 993051"/>
                  <a:gd name="connsiteX280" fmla="*/ 38100 w 1151018"/>
                  <a:gd name="connsiteY280" fmla="*/ 250480 h 993051"/>
                  <a:gd name="connsiteX281" fmla="*/ 44450 w 1151018"/>
                  <a:gd name="connsiteY281" fmla="*/ 239368 h 993051"/>
                  <a:gd name="connsiteX282" fmla="*/ 41275 w 1151018"/>
                  <a:gd name="connsiteY282" fmla="*/ 220318 h 993051"/>
                  <a:gd name="connsiteX283" fmla="*/ 34925 w 1151018"/>
                  <a:gd name="connsiteY283" fmla="*/ 215555 h 993051"/>
                  <a:gd name="connsiteX284" fmla="*/ 0 w 1151018"/>
                  <a:gd name="connsiteY284" fmla="*/ 210793 h 993051"/>
                  <a:gd name="connsiteX285" fmla="*/ 7938 w 1151018"/>
                  <a:gd name="connsiteY285" fmla="*/ 207618 h 993051"/>
                  <a:gd name="connsiteX286" fmla="*/ 15875 w 1151018"/>
                  <a:gd name="connsiteY286" fmla="*/ 206030 h 993051"/>
                  <a:gd name="connsiteX287" fmla="*/ 22225 w 1151018"/>
                  <a:gd name="connsiteY287" fmla="*/ 204443 h 993051"/>
                  <a:gd name="connsiteX288" fmla="*/ 30163 w 1151018"/>
                  <a:gd name="connsiteY288" fmla="*/ 196505 h 993051"/>
                  <a:gd name="connsiteX289" fmla="*/ 38100 w 1151018"/>
                  <a:gd name="connsiteY289" fmla="*/ 182218 h 993051"/>
                  <a:gd name="connsiteX290" fmla="*/ 60325 w 1151018"/>
                  <a:gd name="connsiteY290" fmla="*/ 179043 h 993051"/>
                  <a:gd name="connsiteX291" fmla="*/ 61913 w 1151018"/>
                  <a:gd name="connsiteY291" fmla="*/ 174280 h 993051"/>
                  <a:gd name="connsiteX292" fmla="*/ 73025 w 1151018"/>
                  <a:gd name="connsiteY292" fmla="*/ 169518 h 993051"/>
                  <a:gd name="connsiteX293" fmla="*/ 100013 w 1151018"/>
                  <a:gd name="connsiteY293" fmla="*/ 161580 h 993051"/>
                  <a:gd name="connsiteX294" fmla="*/ 106363 w 1151018"/>
                  <a:gd name="connsiteY294" fmla="*/ 156818 h 993051"/>
                  <a:gd name="connsiteX295" fmla="*/ 127000 w 1151018"/>
                  <a:gd name="connsiteY295" fmla="*/ 158405 h 993051"/>
                  <a:gd name="connsiteX296" fmla="*/ 142875 w 1151018"/>
                  <a:gd name="connsiteY296" fmla="*/ 152055 h 993051"/>
                  <a:gd name="connsiteX297" fmla="*/ 147638 w 1151018"/>
                  <a:gd name="connsiteY297" fmla="*/ 139355 h 993051"/>
                  <a:gd name="connsiteX298" fmla="*/ 168275 w 1151018"/>
                  <a:gd name="connsiteY298" fmla="*/ 133005 h 993051"/>
                  <a:gd name="connsiteX299" fmla="*/ 176213 w 1151018"/>
                  <a:gd name="connsiteY299" fmla="*/ 129830 h 993051"/>
                  <a:gd name="connsiteX300" fmla="*/ 190500 w 1151018"/>
                  <a:gd name="connsiteY300" fmla="*/ 128243 h 993051"/>
                  <a:gd name="connsiteX301" fmla="*/ 203200 w 1151018"/>
                  <a:gd name="connsiteY301" fmla="*/ 125068 h 993051"/>
                  <a:gd name="connsiteX302" fmla="*/ 207963 w 1151018"/>
                  <a:gd name="connsiteY302" fmla="*/ 123480 h 993051"/>
                  <a:gd name="connsiteX303" fmla="*/ 214313 w 1151018"/>
                  <a:gd name="connsiteY303" fmla="*/ 115543 h 993051"/>
                  <a:gd name="connsiteX304" fmla="*/ 215900 w 1151018"/>
                  <a:gd name="connsiteY304" fmla="*/ 110780 h 993051"/>
                  <a:gd name="connsiteX305" fmla="*/ 220663 w 1151018"/>
                  <a:gd name="connsiteY305" fmla="*/ 90143 h 993051"/>
                  <a:gd name="connsiteX306" fmla="*/ 230188 w 1151018"/>
                  <a:gd name="connsiteY306" fmla="*/ 86968 h 993051"/>
                  <a:gd name="connsiteX307" fmla="*/ 238125 w 1151018"/>
                  <a:gd name="connsiteY307" fmla="*/ 80618 h 993051"/>
                  <a:gd name="connsiteX308" fmla="*/ 255588 w 1151018"/>
                  <a:gd name="connsiteY308" fmla="*/ 71093 h 993051"/>
                  <a:gd name="connsiteX309" fmla="*/ 265113 w 1151018"/>
                  <a:gd name="connsiteY309" fmla="*/ 64743 h 993051"/>
                  <a:gd name="connsiteX310" fmla="*/ 285750 w 1151018"/>
                  <a:gd name="connsiteY310" fmla="*/ 52043 h 993051"/>
                  <a:gd name="connsiteX311" fmla="*/ 295275 w 1151018"/>
                  <a:gd name="connsiteY311" fmla="*/ 45693 h 993051"/>
                  <a:gd name="connsiteX312" fmla="*/ 300038 w 1151018"/>
                  <a:gd name="connsiteY312" fmla="*/ 40930 h 993051"/>
                  <a:gd name="connsiteX313" fmla="*/ 307975 w 1151018"/>
                  <a:gd name="connsiteY313" fmla="*/ 36168 h 993051"/>
                  <a:gd name="connsiteX314" fmla="*/ 322263 w 1151018"/>
                  <a:gd name="connsiteY314" fmla="*/ 23468 h 993051"/>
                  <a:gd name="connsiteX315" fmla="*/ 341313 w 1151018"/>
                  <a:gd name="connsiteY315" fmla="*/ 18705 h 993051"/>
                  <a:gd name="connsiteX316" fmla="*/ 355600 w 1151018"/>
                  <a:gd name="connsiteY316" fmla="*/ 15530 h 993051"/>
                  <a:gd name="connsiteX317" fmla="*/ 365125 w 1151018"/>
                  <a:gd name="connsiteY317" fmla="*/ 10768 h 993051"/>
                  <a:gd name="connsiteX318" fmla="*/ 419100 w 1151018"/>
                  <a:gd name="connsiteY318" fmla="*/ 10768 h 993051"/>
                  <a:gd name="connsiteX319" fmla="*/ 436563 w 1151018"/>
                  <a:gd name="connsiteY319" fmla="*/ 15530 h 993051"/>
                  <a:gd name="connsiteX320" fmla="*/ 444500 w 1151018"/>
                  <a:gd name="connsiteY320" fmla="*/ 20293 h 993051"/>
                  <a:gd name="connsiteX321" fmla="*/ 452438 w 1151018"/>
                  <a:gd name="connsiteY321" fmla="*/ 21880 h 993051"/>
                  <a:gd name="connsiteX322" fmla="*/ 458788 w 1151018"/>
                  <a:gd name="connsiteY322" fmla="*/ 23468 h 993051"/>
                  <a:gd name="connsiteX323" fmla="*/ 465138 w 1151018"/>
                  <a:gd name="connsiteY323" fmla="*/ 28230 h 993051"/>
                  <a:gd name="connsiteX324" fmla="*/ 466725 w 1151018"/>
                  <a:gd name="connsiteY324" fmla="*/ 32993 h 993051"/>
                  <a:gd name="connsiteX325" fmla="*/ 469900 w 1151018"/>
                  <a:gd name="connsiteY325" fmla="*/ 39343 h 993051"/>
                  <a:gd name="connsiteX326" fmla="*/ 471488 w 1151018"/>
                  <a:gd name="connsiteY326" fmla="*/ 44105 h 993051"/>
                  <a:gd name="connsiteX327" fmla="*/ 463550 w 1151018"/>
                  <a:gd name="connsiteY327" fmla="*/ 42518 h 993051"/>
                  <a:gd name="connsiteX328" fmla="*/ 447675 w 1151018"/>
                  <a:gd name="connsiteY328" fmla="*/ 28230 h 993051"/>
                  <a:gd name="connsiteX329" fmla="*/ 439738 w 1151018"/>
                  <a:gd name="connsiteY329" fmla="*/ 15530 h 993051"/>
                  <a:gd name="connsiteX330" fmla="*/ 423863 w 1151018"/>
                  <a:gd name="connsiteY330" fmla="*/ 23468 h 993051"/>
                  <a:gd name="connsiteX331" fmla="*/ 414338 w 1151018"/>
                  <a:gd name="connsiteY331" fmla="*/ 29818 h 993051"/>
                  <a:gd name="connsiteX332" fmla="*/ 420688 w 1151018"/>
                  <a:gd name="connsiteY332" fmla="*/ 36168 h 993051"/>
                  <a:gd name="connsiteX333" fmla="*/ 430213 w 1151018"/>
                  <a:gd name="connsiteY333" fmla="*/ 42518 h 993051"/>
                  <a:gd name="connsiteX334" fmla="*/ 438150 w 1151018"/>
                  <a:gd name="connsiteY334" fmla="*/ 56805 h 993051"/>
                  <a:gd name="connsiteX335" fmla="*/ 442913 w 1151018"/>
                  <a:gd name="connsiteY335" fmla="*/ 61568 h 993051"/>
                  <a:gd name="connsiteX336" fmla="*/ 452438 w 1151018"/>
                  <a:gd name="connsiteY336" fmla="*/ 71093 h 993051"/>
                  <a:gd name="connsiteX337" fmla="*/ 465138 w 1151018"/>
                  <a:gd name="connsiteY337" fmla="*/ 79030 h 993051"/>
                  <a:gd name="connsiteX338" fmla="*/ 466725 w 1151018"/>
                  <a:gd name="connsiteY338" fmla="*/ 83793 h 993051"/>
                  <a:gd name="connsiteX339" fmla="*/ 473075 w 1151018"/>
                  <a:gd name="connsiteY339" fmla="*/ 85380 h 993051"/>
                  <a:gd name="connsiteX340" fmla="*/ 520700 w 1151018"/>
                  <a:gd name="connsiteY340" fmla="*/ 91730 h 993051"/>
                  <a:gd name="connsiteX341" fmla="*/ 546100 w 1151018"/>
                  <a:gd name="connsiteY341" fmla="*/ 83793 h 993051"/>
                  <a:gd name="connsiteX342" fmla="*/ 550863 w 1151018"/>
                  <a:gd name="connsiteY342" fmla="*/ 77443 h 993051"/>
                  <a:gd name="connsiteX343" fmla="*/ 558800 w 1151018"/>
                  <a:gd name="connsiteY343" fmla="*/ 71093 h 993051"/>
                  <a:gd name="connsiteX344" fmla="*/ 566738 w 1151018"/>
                  <a:gd name="connsiteY344" fmla="*/ 64743 h 993051"/>
                  <a:gd name="connsiteX345" fmla="*/ 573088 w 1151018"/>
                  <a:gd name="connsiteY345" fmla="*/ 58393 h 993051"/>
                  <a:gd name="connsiteX346" fmla="*/ 577850 w 1151018"/>
                  <a:gd name="connsiteY346" fmla="*/ 55218 h 993051"/>
                  <a:gd name="connsiteX347" fmla="*/ 571500 w 1151018"/>
                  <a:gd name="connsiteY347" fmla="*/ 52043 h 993051"/>
                  <a:gd name="connsiteX0" fmla="*/ 571500 w 1151018"/>
                  <a:gd name="connsiteY0" fmla="*/ 52043 h 993051"/>
                  <a:gd name="connsiteX1" fmla="*/ 579438 w 1151018"/>
                  <a:gd name="connsiteY1" fmla="*/ 50455 h 993051"/>
                  <a:gd name="connsiteX2" fmla="*/ 608013 w 1151018"/>
                  <a:gd name="connsiteY2" fmla="*/ 53630 h 993051"/>
                  <a:gd name="connsiteX3" fmla="*/ 612775 w 1151018"/>
                  <a:gd name="connsiteY3" fmla="*/ 56805 h 993051"/>
                  <a:gd name="connsiteX4" fmla="*/ 625475 w 1151018"/>
                  <a:gd name="connsiteY4" fmla="*/ 58393 h 993051"/>
                  <a:gd name="connsiteX5" fmla="*/ 684213 w 1151018"/>
                  <a:gd name="connsiteY5" fmla="*/ 56805 h 993051"/>
                  <a:gd name="connsiteX6" fmla="*/ 693738 w 1151018"/>
                  <a:gd name="connsiteY6" fmla="*/ 55218 h 993051"/>
                  <a:gd name="connsiteX7" fmla="*/ 706438 w 1151018"/>
                  <a:gd name="connsiteY7" fmla="*/ 50455 h 993051"/>
                  <a:gd name="connsiteX8" fmla="*/ 711200 w 1151018"/>
                  <a:gd name="connsiteY8" fmla="*/ 48868 h 993051"/>
                  <a:gd name="connsiteX9" fmla="*/ 720725 w 1151018"/>
                  <a:gd name="connsiteY9" fmla="*/ 47280 h 993051"/>
                  <a:gd name="connsiteX10" fmla="*/ 738188 w 1151018"/>
                  <a:gd name="connsiteY10" fmla="*/ 42518 h 993051"/>
                  <a:gd name="connsiteX11" fmla="*/ 742950 w 1151018"/>
                  <a:gd name="connsiteY11" fmla="*/ 40930 h 993051"/>
                  <a:gd name="connsiteX12" fmla="*/ 758825 w 1151018"/>
                  <a:gd name="connsiteY12" fmla="*/ 39343 h 993051"/>
                  <a:gd name="connsiteX13" fmla="*/ 795338 w 1151018"/>
                  <a:gd name="connsiteY13" fmla="*/ 34580 h 993051"/>
                  <a:gd name="connsiteX14" fmla="*/ 812800 w 1151018"/>
                  <a:gd name="connsiteY14" fmla="*/ 28230 h 993051"/>
                  <a:gd name="connsiteX15" fmla="*/ 819150 w 1151018"/>
                  <a:gd name="connsiteY15" fmla="*/ 26643 h 993051"/>
                  <a:gd name="connsiteX16" fmla="*/ 835025 w 1151018"/>
                  <a:gd name="connsiteY16" fmla="*/ 23468 h 993051"/>
                  <a:gd name="connsiteX17" fmla="*/ 842963 w 1151018"/>
                  <a:gd name="connsiteY17" fmla="*/ 20293 h 993051"/>
                  <a:gd name="connsiteX18" fmla="*/ 852488 w 1151018"/>
                  <a:gd name="connsiteY18" fmla="*/ 18705 h 993051"/>
                  <a:gd name="connsiteX19" fmla="*/ 857250 w 1151018"/>
                  <a:gd name="connsiteY19" fmla="*/ 17118 h 993051"/>
                  <a:gd name="connsiteX20" fmla="*/ 862013 w 1151018"/>
                  <a:gd name="connsiteY20" fmla="*/ 13943 h 993051"/>
                  <a:gd name="connsiteX21" fmla="*/ 866775 w 1151018"/>
                  <a:gd name="connsiteY21" fmla="*/ 12355 h 993051"/>
                  <a:gd name="connsiteX22" fmla="*/ 877888 w 1151018"/>
                  <a:gd name="connsiteY22" fmla="*/ 7593 h 993051"/>
                  <a:gd name="connsiteX23" fmla="*/ 900113 w 1151018"/>
                  <a:gd name="connsiteY23" fmla="*/ 6005 h 993051"/>
                  <a:gd name="connsiteX24" fmla="*/ 904875 w 1151018"/>
                  <a:gd name="connsiteY24" fmla="*/ 12355 h 993051"/>
                  <a:gd name="connsiteX25" fmla="*/ 909638 w 1151018"/>
                  <a:gd name="connsiteY25" fmla="*/ 13943 h 993051"/>
                  <a:gd name="connsiteX26" fmla="*/ 919163 w 1151018"/>
                  <a:gd name="connsiteY26" fmla="*/ 20293 h 993051"/>
                  <a:gd name="connsiteX27" fmla="*/ 928688 w 1151018"/>
                  <a:gd name="connsiteY27" fmla="*/ 26643 h 993051"/>
                  <a:gd name="connsiteX28" fmla="*/ 936625 w 1151018"/>
                  <a:gd name="connsiteY28" fmla="*/ 31405 h 993051"/>
                  <a:gd name="connsiteX29" fmla="*/ 947738 w 1151018"/>
                  <a:gd name="connsiteY29" fmla="*/ 37755 h 993051"/>
                  <a:gd name="connsiteX30" fmla="*/ 960438 w 1151018"/>
                  <a:gd name="connsiteY30" fmla="*/ 48868 h 993051"/>
                  <a:gd name="connsiteX31" fmla="*/ 962025 w 1151018"/>
                  <a:gd name="connsiteY31" fmla="*/ 53630 h 993051"/>
                  <a:gd name="connsiteX32" fmla="*/ 965200 w 1151018"/>
                  <a:gd name="connsiteY32" fmla="*/ 64743 h 993051"/>
                  <a:gd name="connsiteX33" fmla="*/ 969963 w 1151018"/>
                  <a:gd name="connsiteY33" fmla="*/ 91730 h 993051"/>
                  <a:gd name="connsiteX34" fmla="*/ 977900 w 1151018"/>
                  <a:gd name="connsiteY34" fmla="*/ 104430 h 993051"/>
                  <a:gd name="connsiteX35" fmla="*/ 979488 w 1151018"/>
                  <a:gd name="connsiteY35" fmla="*/ 109193 h 993051"/>
                  <a:gd name="connsiteX36" fmla="*/ 982663 w 1151018"/>
                  <a:gd name="connsiteY36" fmla="*/ 121893 h 993051"/>
                  <a:gd name="connsiteX37" fmla="*/ 992188 w 1151018"/>
                  <a:gd name="connsiteY37" fmla="*/ 134593 h 993051"/>
                  <a:gd name="connsiteX38" fmla="*/ 1000125 w 1151018"/>
                  <a:gd name="connsiteY38" fmla="*/ 150468 h 993051"/>
                  <a:gd name="connsiteX39" fmla="*/ 1001713 w 1151018"/>
                  <a:gd name="connsiteY39" fmla="*/ 156818 h 993051"/>
                  <a:gd name="connsiteX40" fmla="*/ 1006475 w 1151018"/>
                  <a:gd name="connsiteY40" fmla="*/ 166343 h 993051"/>
                  <a:gd name="connsiteX41" fmla="*/ 1012825 w 1151018"/>
                  <a:gd name="connsiteY41" fmla="*/ 183805 h 993051"/>
                  <a:gd name="connsiteX42" fmla="*/ 1031875 w 1151018"/>
                  <a:gd name="connsiteY42" fmla="*/ 212380 h 993051"/>
                  <a:gd name="connsiteX43" fmla="*/ 1041400 w 1151018"/>
                  <a:gd name="connsiteY43" fmla="*/ 218730 h 993051"/>
                  <a:gd name="connsiteX44" fmla="*/ 1042988 w 1151018"/>
                  <a:gd name="connsiteY44" fmla="*/ 223493 h 993051"/>
                  <a:gd name="connsiteX45" fmla="*/ 1046163 w 1151018"/>
                  <a:gd name="connsiteY45" fmla="*/ 229843 h 993051"/>
                  <a:gd name="connsiteX46" fmla="*/ 1050925 w 1151018"/>
                  <a:gd name="connsiteY46" fmla="*/ 252068 h 993051"/>
                  <a:gd name="connsiteX47" fmla="*/ 1054100 w 1151018"/>
                  <a:gd name="connsiteY47" fmla="*/ 260005 h 993051"/>
                  <a:gd name="connsiteX48" fmla="*/ 1058863 w 1151018"/>
                  <a:gd name="connsiteY48" fmla="*/ 263180 h 993051"/>
                  <a:gd name="connsiteX49" fmla="*/ 1060450 w 1151018"/>
                  <a:gd name="connsiteY49" fmla="*/ 283818 h 993051"/>
                  <a:gd name="connsiteX50" fmla="*/ 1057275 w 1151018"/>
                  <a:gd name="connsiteY50" fmla="*/ 291755 h 993051"/>
                  <a:gd name="connsiteX51" fmla="*/ 1047750 w 1151018"/>
                  <a:gd name="connsiteY51" fmla="*/ 294930 h 993051"/>
                  <a:gd name="connsiteX52" fmla="*/ 1042988 w 1151018"/>
                  <a:gd name="connsiteY52" fmla="*/ 299693 h 993051"/>
                  <a:gd name="connsiteX53" fmla="*/ 1031875 w 1151018"/>
                  <a:gd name="connsiteY53" fmla="*/ 320330 h 993051"/>
                  <a:gd name="connsiteX54" fmla="*/ 1017588 w 1151018"/>
                  <a:gd name="connsiteY54" fmla="*/ 340968 h 993051"/>
                  <a:gd name="connsiteX55" fmla="*/ 1009650 w 1151018"/>
                  <a:gd name="connsiteY55" fmla="*/ 352080 h 993051"/>
                  <a:gd name="connsiteX56" fmla="*/ 1004888 w 1151018"/>
                  <a:gd name="connsiteY56" fmla="*/ 353668 h 993051"/>
                  <a:gd name="connsiteX57" fmla="*/ 1000125 w 1151018"/>
                  <a:gd name="connsiteY57" fmla="*/ 377480 h 993051"/>
                  <a:gd name="connsiteX58" fmla="*/ 998538 w 1151018"/>
                  <a:gd name="connsiteY58" fmla="*/ 383830 h 993051"/>
                  <a:gd name="connsiteX59" fmla="*/ 996950 w 1151018"/>
                  <a:gd name="connsiteY59" fmla="*/ 391768 h 993051"/>
                  <a:gd name="connsiteX60" fmla="*/ 1008063 w 1151018"/>
                  <a:gd name="connsiteY60" fmla="*/ 394943 h 993051"/>
                  <a:gd name="connsiteX61" fmla="*/ 1027113 w 1151018"/>
                  <a:gd name="connsiteY61" fmla="*/ 396530 h 993051"/>
                  <a:gd name="connsiteX62" fmla="*/ 1039813 w 1151018"/>
                  <a:gd name="connsiteY62" fmla="*/ 406055 h 993051"/>
                  <a:gd name="connsiteX63" fmla="*/ 1049338 w 1151018"/>
                  <a:gd name="connsiteY63" fmla="*/ 413993 h 993051"/>
                  <a:gd name="connsiteX64" fmla="*/ 1050925 w 1151018"/>
                  <a:gd name="connsiteY64" fmla="*/ 420343 h 993051"/>
                  <a:gd name="connsiteX65" fmla="*/ 1046163 w 1151018"/>
                  <a:gd name="connsiteY65" fmla="*/ 433043 h 993051"/>
                  <a:gd name="connsiteX66" fmla="*/ 1046163 w 1151018"/>
                  <a:gd name="connsiteY66" fmla="*/ 447330 h 993051"/>
                  <a:gd name="connsiteX67" fmla="*/ 1044575 w 1151018"/>
                  <a:gd name="connsiteY67" fmla="*/ 460030 h 993051"/>
                  <a:gd name="connsiteX68" fmla="*/ 1042988 w 1151018"/>
                  <a:gd name="connsiteY68" fmla="*/ 474318 h 993051"/>
                  <a:gd name="connsiteX69" fmla="*/ 1044575 w 1151018"/>
                  <a:gd name="connsiteY69" fmla="*/ 487018 h 993051"/>
                  <a:gd name="connsiteX70" fmla="*/ 1046163 w 1151018"/>
                  <a:gd name="connsiteY70" fmla="*/ 491780 h 993051"/>
                  <a:gd name="connsiteX71" fmla="*/ 1050925 w 1151018"/>
                  <a:gd name="connsiteY71" fmla="*/ 493368 h 993051"/>
                  <a:gd name="connsiteX72" fmla="*/ 1057275 w 1151018"/>
                  <a:gd name="connsiteY72" fmla="*/ 496543 h 993051"/>
                  <a:gd name="connsiteX73" fmla="*/ 1062038 w 1151018"/>
                  <a:gd name="connsiteY73" fmla="*/ 501305 h 993051"/>
                  <a:gd name="connsiteX74" fmla="*/ 1066800 w 1151018"/>
                  <a:gd name="connsiteY74" fmla="*/ 504480 h 993051"/>
                  <a:gd name="connsiteX75" fmla="*/ 1068388 w 1151018"/>
                  <a:gd name="connsiteY75" fmla="*/ 521943 h 993051"/>
                  <a:gd name="connsiteX76" fmla="*/ 1071563 w 1151018"/>
                  <a:gd name="connsiteY76" fmla="*/ 526705 h 993051"/>
                  <a:gd name="connsiteX77" fmla="*/ 1073150 w 1151018"/>
                  <a:gd name="connsiteY77" fmla="*/ 539405 h 993051"/>
                  <a:gd name="connsiteX78" fmla="*/ 1077913 w 1151018"/>
                  <a:gd name="connsiteY78" fmla="*/ 553693 h 993051"/>
                  <a:gd name="connsiteX79" fmla="*/ 1085850 w 1151018"/>
                  <a:gd name="connsiteY79" fmla="*/ 555280 h 993051"/>
                  <a:gd name="connsiteX80" fmla="*/ 1089025 w 1151018"/>
                  <a:gd name="connsiteY80" fmla="*/ 560043 h 993051"/>
                  <a:gd name="connsiteX81" fmla="*/ 1096963 w 1151018"/>
                  <a:gd name="connsiteY81" fmla="*/ 582268 h 993051"/>
                  <a:gd name="connsiteX82" fmla="*/ 1108075 w 1151018"/>
                  <a:gd name="connsiteY82" fmla="*/ 596555 h 993051"/>
                  <a:gd name="connsiteX83" fmla="*/ 1109663 w 1151018"/>
                  <a:gd name="connsiteY83" fmla="*/ 602905 h 993051"/>
                  <a:gd name="connsiteX84" fmla="*/ 1119188 w 1151018"/>
                  <a:gd name="connsiteY84" fmla="*/ 609255 h 993051"/>
                  <a:gd name="connsiteX85" fmla="*/ 1123950 w 1151018"/>
                  <a:gd name="connsiteY85" fmla="*/ 612430 h 993051"/>
                  <a:gd name="connsiteX86" fmla="*/ 1130300 w 1151018"/>
                  <a:gd name="connsiteY86" fmla="*/ 614018 h 993051"/>
                  <a:gd name="connsiteX87" fmla="*/ 1138238 w 1151018"/>
                  <a:gd name="connsiteY87" fmla="*/ 617193 h 993051"/>
                  <a:gd name="connsiteX88" fmla="*/ 1133475 w 1151018"/>
                  <a:gd name="connsiteY88" fmla="*/ 621955 h 993051"/>
                  <a:gd name="connsiteX89" fmla="*/ 1131888 w 1151018"/>
                  <a:gd name="connsiteY89" fmla="*/ 629893 h 993051"/>
                  <a:gd name="connsiteX90" fmla="*/ 1143000 w 1151018"/>
                  <a:gd name="connsiteY90" fmla="*/ 637830 h 993051"/>
                  <a:gd name="connsiteX91" fmla="*/ 1144588 w 1151018"/>
                  <a:gd name="connsiteY91" fmla="*/ 642593 h 993051"/>
                  <a:gd name="connsiteX92" fmla="*/ 1146175 w 1151018"/>
                  <a:gd name="connsiteY92" fmla="*/ 648943 h 993051"/>
                  <a:gd name="connsiteX93" fmla="*/ 1149350 w 1151018"/>
                  <a:gd name="connsiteY93" fmla="*/ 656880 h 993051"/>
                  <a:gd name="connsiteX94" fmla="*/ 1146175 w 1151018"/>
                  <a:gd name="connsiteY94" fmla="*/ 690218 h 993051"/>
                  <a:gd name="connsiteX95" fmla="*/ 1133475 w 1151018"/>
                  <a:gd name="connsiteY95" fmla="*/ 693393 h 993051"/>
                  <a:gd name="connsiteX96" fmla="*/ 1127125 w 1151018"/>
                  <a:gd name="connsiteY96" fmla="*/ 701330 h 993051"/>
                  <a:gd name="connsiteX97" fmla="*/ 1123950 w 1151018"/>
                  <a:gd name="connsiteY97" fmla="*/ 718793 h 993051"/>
                  <a:gd name="connsiteX98" fmla="*/ 1119188 w 1151018"/>
                  <a:gd name="connsiteY98" fmla="*/ 721968 h 993051"/>
                  <a:gd name="connsiteX99" fmla="*/ 1116013 w 1151018"/>
                  <a:gd name="connsiteY99" fmla="*/ 733080 h 993051"/>
                  <a:gd name="connsiteX100" fmla="*/ 1112838 w 1151018"/>
                  <a:gd name="connsiteY100" fmla="*/ 737843 h 993051"/>
                  <a:gd name="connsiteX101" fmla="*/ 1106488 w 1151018"/>
                  <a:gd name="connsiteY101" fmla="*/ 739430 h 993051"/>
                  <a:gd name="connsiteX102" fmla="*/ 1096963 w 1151018"/>
                  <a:gd name="connsiteY102" fmla="*/ 747368 h 993051"/>
                  <a:gd name="connsiteX103" fmla="*/ 1079500 w 1151018"/>
                  <a:gd name="connsiteY103" fmla="*/ 763243 h 993051"/>
                  <a:gd name="connsiteX104" fmla="*/ 1071563 w 1151018"/>
                  <a:gd name="connsiteY104" fmla="*/ 774355 h 993051"/>
                  <a:gd name="connsiteX105" fmla="*/ 1068388 w 1151018"/>
                  <a:gd name="connsiteY105" fmla="*/ 782293 h 993051"/>
                  <a:gd name="connsiteX106" fmla="*/ 1065213 w 1151018"/>
                  <a:gd name="connsiteY106" fmla="*/ 787055 h 993051"/>
                  <a:gd name="connsiteX107" fmla="*/ 1062038 w 1151018"/>
                  <a:gd name="connsiteY107" fmla="*/ 794993 h 993051"/>
                  <a:gd name="connsiteX108" fmla="*/ 1058863 w 1151018"/>
                  <a:gd name="connsiteY108" fmla="*/ 804518 h 993051"/>
                  <a:gd name="connsiteX109" fmla="*/ 1052513 w 1151018"/>
                  <a:gd name="connsiteY109" fmla="*/ 817218 h 993051"/>
                  <a:gd name="connsiteX110" fmla="*/ 1046163 w 1151018"/>
                  <a:gd name="connsiteY110" fmla="*/ 831505 h 993051"/>
                  <a:gd name="connsiteX111" fmla="*/ 1044575 w 1151018"/>
                  <a:gd name="connsiteY111" fmla="*/ 836268 h 993051"/>
                  <a:gd name="connsiteX112" fmla="*/ 1041400 w 1151018"/>
                  <a:gd name="connsiteY112" fmla="*/ 842618 h 993051"/>
                  <a:gd name="connsiteX113" fmla="*/ 1039813 w 1151018"/>
                  <a:gd name="connsiteY113" fmla="*/ 847380 h 993051"/>
                  <a:gd name="connsiteX114" fmla="*/ 1033463 w 1151018"/>
                  <a:gd name="connsiteY114" fmla="*/ 853730 h 993051"/>
                  <a:gd name="connsiteX115" fmla="*/ 1028700 w 1151018"/>
                  <a:gd name="connsiteY115" fmla="*/ 866430 h 993051"/>
                  <a:gd name="connsiteX116" fmla="*/ 1022350 w 1151018"/>
                  <a:gd name="connsiteY116" fmla="*/ 882305 h 993051"/>
                  <a:gd name="connsiteX117" fmla="*/ 1025525 w 1151018"/>
                  <a:gd name="connsiteY117" fmla="*/ 891830 h 993051"/>
                  <a:gd name="connsiteX118" fmla="*/ 1030288 w 1151018"/>
                  <a:gd name="connsiteY118" fmla="*/ 896593 h 993051"/>
                  <a:gd name="connsiteX119" fmla="*/ 1033463 w 1151018"/>
                  <a:gd name="connsiteY119" fmla="*/ 902943 h 993051"/>
                  <a:gd name="connsiteX120" fmla="*/ 1036638 w 1151018"/>
                  <a:gd name="connsiteY120" fmla="*/ 910880 h 993051"/>
                  <a:gd name="connsiteX121" fmla="*/ 1039813 w 1151018"/>
                  <a:gd name="connsiteY121" fmla="*/ 921993 h 993051"/>
                  <a:gd name="connsiteX122" fmla="*/ 1044575 w 1151018"/>
                  <a:gd name="connsiteY122" fmla="*/ 925168 h 993051"/>
                  <a:gd name="connsiteX123" fmla="*/ 1033463 w 1151018"/>
                  <a:gd name="connsiteY123" fmla="*/ 936280 h 993051"/>
                  <a:gd name="connsiteX124" fmla="*/ 1039813 w 1151018"/>
                  <a:gd name="connsiteY124" fmla="*/ 939455 h 993051"/>
                  <a:gd name="connsiteX125" fmla="*/ 1046163 w 1151018"/>
                  <a:gd name="connsiteY125" fmla="*/ 944218 h 993051"/>
                  <a:gd name="connsiteX126" fmla="*/ 1049338 w 1151018"/>
                  <a:gd name="connsiteY126" fmla="*/ 956918 h 993051"/>
                  <a:gd name="connsiteX127" fmla="*/ 1050925 w 1151018"/>
                  <a:gd name="connsiteY127" fmla="*/ 961680 h 993051"/>
                  <a:gd name="connsiteX128" fmla="*/ 1060450 w 1151018"/>
                  <a:gd name="connsiteY128" fmla="*/ 971205 h 993051"/>
                  <a:gd name="connsiteX129" fmla="*/ 1022350 w 1151018"/>
                  <a:gd name="connsiteY129" fmla="*/ 971205 h 993051"/>
                  <a:gd name="connsiteX130" fmla="*/ 1019175 w 1151018"/>
                  <a:gd name="connsiteY130" fmla="*/ 964855 h 993051"/>
                  <a:gd name="connsiteX131" fmla="*/ 1014413 w 1151018"/>
                  <a:gd name="connsiteY131" fmla="*/ 963268 h 993051"/>
                  <a:gd name="connsiteX132" fmla="*/ 1000125 w 1151018"/>
                  <a:gd name="connsiteY132" fmla="*/ 960093 h 993051"/>
                  <a:gd name="connsiteX133" fmla="*/ 995363 w 1151018"/>
                  <a:gd name="connsiteY133" fmla="*/ 956918 h 993051"/>
                  <a:gd name="connsiteX134" fmla="*/ 985838 w 1151018"/>
                  <a:gd name="connsiteY134" fmla="*/ 955330 h 993051"/>
                  <a:gd name="connsiteX135" fmla="*/ 965200 w 1151018"/>
                  <a:gd name="connsiteY135" fmla="*/ 952155 h 993051"/>
                  <a:gd name="connsiteX136" fmla="*/ 960438 w 1151018"/>
                  <a:gd name="connsiteY136" fmla="*/ 947393 h 993051"/>
                  <a:gd name="connsiteX137" fmla="*/ 952500 w 1151018"/>
                  <a:gd name="connsiteY137" fmla="*/ 936280 h 993051"/>
                  <a:gd name="connsiteX138" fmla="*/ 938213 w 1151018"/>
                  <a:gd name="connsiteY138" fmla="*/ 928343 h 993051"/>
                  <a:gd name="connsiteX139" fmla="*/ 933450 w 1151018"/>
                  <a:gd name="connsiteY139" fmla="*/ 925168 h 993051"/>
                  <a:gd name="connsiteX140" fmla="*/ 922338 w 1151018"/>
                  <a:gd name="connsiteY140" fmla="*/ 923580 h 993051"/>
                  <a:gd name="connsiteX141" fmla="*/ 915988 w 1151018"/>
                  <a:gd name="connsiteY141" fmla="*/ 921993 h 993051"/>
                  <a:gd name="connsiteX142" fmla="*/ 896938 w 1151018"/>
                  <a:gd name="connsiteY142" fmla="*/ 918818 h 993051"/>
                  <a:gd name="connsiteX143" fmla="*/ 847725 w 1151018"/>
                  <a:gd name="connsiteY143" fmla="*/ 925168 h 993051"/>
                  <a:gd name="connsiteX144" fmla="*/ 844550 w 1151018"/>
                  <a:gd name="connsiteY144" fmla="*/ 929930 h 993051"/>
                  <a:gd name="connsiteX145" fmla="*/ 842963 w 1151018"/>
                  <a:gd name="connsiteY145" fmla="*/ 936280 h 993051"/>
                  <a:gd name="connsiteX146" fmla="*/ 836613 w 1151018"/>
                  <a:gd name="connsiteY146" fmla="*/ 939455 h 993051"/>
                  <a:gd name="connsiteX147" fmla="*/ 830263 w 1151018"/>
                  <a:gd name="connsiteY147" fmla="*/ 945805 h 993051"/>
                  <a:gd name="connsiteX148" fmla="*/ 811213 w 1151018"/>
                  <a:gd name="connsiteY148" fmla="*/ 944218 h 993051"/>
                  <a:gd name="connsiteX149" fmla="*/ 796925 w 1151018"/>
                  <a:gd name="connsiteY149" fmla="*/ 941043 h 993051"/>
                  <a:gd name="connsiteX150" fmla="*/ 746125 w 1151018"/>
                  <a:gd name="connsiteY150" fmla="*/ 950568 h 993051"/>
                  <a:gd name="connsiteX151" fmla="*/ 739775 w 1151018"/>
                  <a:gd name="connsiteY151" fmla="*/ 960093 h 993051"/>
                  <a:gd name="connsiteX152" fmla="*/ 701675 w 1151018"/>
                  <a:gd name="connsiteY152" fmla="*/ 990255 h 993051"/>
                  <a:gd name="connsiteX153" fmla="*/ 696913 w 1151018"/>
                  <a:gd name="connsiteY153" fmla="*/ 983905 h 993051"/>
                  <a:gd name="connsiteX154" fmla="*/ 690563 w 1151018"/>
                  <a:gd name="connsiteY154" fmla="*/ 964855 h 993051"/>
                  <a:gd name="connsiteX155" fmla="*/ 682625 w 1151018"/>
                  <a:gd name="connsiteY155" fmla="*/ 963268 h 993051"/>
                  <a:gd name="connsiteX156" fmla="*/ 677863 w 1151018"/>
                  <a:gd name="connsiteY156" fmla="*/ 952155 h 993051"/>
                  <a:gd name="connsiteX157" fmla="*/ 666750 w 1151018"/>
                  <a:gd name="connsiteY157" fmla="*/ 941043 h 993051"/>
                  <a:gd name="connsiteX158" fmla="*/ 655638 w 1151018"/>
                  <a:gd name="connsiteY158" fmla="*/ 929930 h 993051"/>
                  <a:gd name="connsiteX159" fmla="*/ 654050 w 1151018"/>
                  <a:gd name="connsiteY159" fmla="*/ 915643 h 993051"/>
                  <a:gd name="connsiteX160" fmla="*/ 649288 w 1151018"/>
                  <a:gd name="connsiteY160" fmla="*/ 914055 h 993051"/>
                  <a:gd name="connsiteX161" fmla="*/ 639763 w 1151018"/>
                  <a:gd name="connsiteY161" fmla="*/ 926755 h 993051"/>
                  <a:gd name="connsiteX162" fmla="*/ 635000 w 1151018"/>
                  <a:gd name="connsiteY162" fmla="*/ 933105 h 993051"/>
                  <a:gd name="connsiteX163" fmla="*/ 625475 w 1151018"/>
                  <a:gd name="connsiteY163" fmla="*/ 934693 h 993051"/>
                  <a:gd name="connsiteX164" fmla="*/ 620713 w 1151018"/>
                  <a:gd name="connsiteY164" fmla="*/ 937868 h 993051"/>
                  <a:gd name="connsiteX165" fmla="*/ 619125 w 1151018"/>
                  <a:gd name="connsiteY165" fmla="*/ 944218 h 993051"/>
                  <a:gd name="connsiteX166" fmla="*/ 612775 w 1151018"/>
                  <a:gd name="connsiteY166" fmla="*/ 956918 h 993051"/>
                  <a:gd name="connsiteX167" fmla="*/ 592138 w 1151018"/>
                  <a:gd name="connsiteY167" fmla="*/ 955330 h 993051"/>
                  <a:gd name="connsiteX168" fmla="*/ 588963 w 1151018"/>
                  <a:gd name="connsiteY168" fmla="*/ 937868 h 993051"/>
                  <a:gd name="connsiteX169" fmla="*/ 581025 w 1151018"/>
                  <a:gd name="connsiteY169" fmla="*/ 934693 h 993051"/>
                  <a:gd name="connsiteX170" fmla="*/ 576263 w 1151018"/>
                  <a:gd name="connsiteY170" fmla="*/ 928343 h 993051"/>
                  <a:gd name="connsiteX171" fmla="*/ 573088 w 1151018"/>
                  <a:gd name="connsiteY171" fmla="*/ 917230 h 993051"/>
                  <a:gd name="connsiteX172" fmla="*/ 566738 w 1151018"/>
                  <a:gd name="connsiteY172" fmla="*/ 915643 h 993051"/>
                  <a:gd name="connsiteX173" fmla="*/ 558800 w 1151018"/>
                  <a:gd name="connsiteY173" fmla="*/ 910880 h 993051"/>
                  <a:gd name="connsiteX174" fmla="*/ 555625 w 1151018"/>
                  <a:gd name="connsiteY174" fmla="*/ 906118 h 993051"/>
                  <a:gd name="connsiteX175" fmla="*/ 546100 w 1151018"/>
                  <a:gd name="connsiteY175" fmla="*/ 899768 h 993051"/>
                  <a:gd name="connsiteX176" fmla="*/ 542925 w 1151018"/>
                  <a:gd name="connsiteY176" fmla="*/ 893418 h 993051"/>
                  <a:gd name="connsiteX177" fmla="*/ 541338 w 1151018"/>
                  <a:gd name="connsiteY177" fmla="*/ 887068 h 993051"/>
                  <a:gd name="connsiteX178" fmla="*/ 533400 w 1151018"/>
                  <a:gd name="connsiteY178" fmla="*/ 879130 h 993051"/>
                  <a:gd name="connsiteX179" fmla="*/ 520700 w 1151018"/>
                  <a:gd name="connsiteY179" fmla="*/ 871193 h 993051"/>
                  <a:gd name="connsiteX180" fmla="*/ 511175 w 1151018"/>
                  <a:gd name="connsiteY180" fmla="*/ 868018 h 993051"/>
                  <a:gd name="connsiteX181" fmla="*/ 498475 w 1151018"/>
                  <a:gd name="connsiteY181" fmla="*/ 858493 h 993051"/>
                  <a:gd name="connsiteX182" fmla="*/ 490538 w 1151018"/>
                  <a:gd name="connsiteY182" fmla="*/ 856905 h 993051"/>
                  <a:gd name="connsiteX183" fmla="*/ 474663 w 1151018"/>
                  <a:gd name="connsiteY183" fmla="*/ 858493 h 993051"/>
                  <a:gd name="connsiteX184" fmla="*/ 471488 w 1151018"/>
                  <a:gd name="connsiteY184" fmla="*/ 864843 h 993051"/>
                  <a:gd name="connsiteX185" fmla="*/ 466725 w 1151018"/>
                  <a:gd name="connsiteY185" fmla="*/ 868018 h 993051"/>
                  <a:gd name="connsiteX186" fmla="*/ 461963 w 1151018"/>
                  <a:gd name="connsiteY186" fmla="*/ 872780 h 993051"/>
                  <a:gd name="connsiteX187" fmla="*/ 444500 w 1151018"/>
                  <a:gd name="connsiteY187" fmla="*/ 868018 h 993051"/>
                  <a:gd name="connsiteX188" fmla="*/ 442913 w 1151018"/>
                  <a:gd name="connsiteY188" fmla="*/ 861668 h 993051"/>
                  <a:gd name="connsiteX189" fmla="*/ 434975 w 1151018"/>
                  <a:gd name="connsiteY189" fmla="*/ 845793 h 993051"/>
                  <a:gd name="connsiteX190" fmla="*/ 436563 w 1151018"/>
                  <a:gd name="connsiteY190" fmla="*/ 839443 h 993051"/>
                  <a:gd name="connsiteX191" fmla="*/ 444500 w 1151018"/>
                  <a:gd name="connsiteY191" fmla="*/ 837855 h 993051"/>
                  <a:gd name="connsiteX192" fmla="*/ 454025 w 1151018"/>
                  <a:gd name="connsiteY192" fmla="*/ 836268 h 993051"/>
                  <a:gd name="connsiteX193" fmla="*/ 450850 w 1151018"/>
                  <a:gd name="connsiteY193" fmla="*/ 831505 h 993051"/>
                  <a:gd name="connsiteX194" fmla="*/ 447675 w 1151018"/>
                  <a:gd name="connsiteY194" fmla="*/ 821980 h 993051"/>
                  <a:gd name="connsiteX195" fmla="*/ 433388 w 1151018"/>
                  <a:gd name="connsiteY195" fmla="*/ 820393 h 993051"/>
                  <a:gd name="connsiteX196" fmla="*/ 427038 w 1151018"/>
                  <a:gd name="connsiteY196" fmla="*/ 825155 h 993051"/>
                  <a:gd name="connsiteX197" fmla="*/ 392113 w 1151018"/>
                  <a:gd name="connsiteY197" fmla="*/ 821980 h 993051"/>
                  <a:gd name="connsiteX198" fmla="*/ 377825 w 1151018"/>
                  <a:gd name="connsiteY198" fmla="*/ 815630 h 993051"/>
                  <a:gd name="connsiteX199" fmla="*/ 368300 w 1151018"/>
                  <a:gd name="connsiteY199" fmla="*/ 810868 h 993051"/>
                  <a:gd name="connsiteX200" fmla="*/ 363538 w 1151018"/>
                  <a:gd name="connsiteY200" fmla="*/ 807693 h 993051"/>
                  <a:gd name="connsiteX201" fmla="*/ 350838 w 1151018"/>
                  <a:gd name="connsiteY201" fmla="*/ 801343 h 993051"/>
                  <a:gd name="connsiteX202" fmla="*/ 347663 w 1151018"/>
                  <a:gd name="connsiteY202" fmla="*/ 804518 h 993051"/>
                  <a:gd name="connsiteX203" fmla="*/ 350838 w 1151018"/>
                  <a:gd name="connsiteY203" fmla="*/ 810868 h 993051"/>
                  <a:gd name="connsiteX204" fmla="*/ 354013 w 1151018"/>
                  <a:gd name="connsiteY204" fmla="*/ 831505 h 993051"/>
                  <a:gd name="connsiteX205" fmla="*/ 355600 w 1151018"/>
                  <a:gd name="connsiteY205" fmla="*/ 839443 h 993051"/>
                  <a:gd name="connsiteX206" fmla="*/ 358775 w 1151018"/>
                  <a:gd name="connsiteY206" fmla="*/ 844205 h 993051"/>
                  <a:gd name="connsiteX207" fmla="*/ 354013 w 1151018"/>
                  <a:gd name="connsiteY207" fmla="*/ 847380 h 993051"/>
                  <a:gd name="connsiteX208" fmla="*/ 344488 w 1151018"/>
                  <a:gd name="connsiteY208" fmla="*/ 848968 h 993051"/>
                  <a:gd name="connsiteX209" fmla="*/ 339725 w 1151018"/>
                  <a:gd name="connsiteY209" fmla="*/ 858493 h 993051"/>
                  <a:gd name="connsiteX210" fmla="*/ 334963 w 1151018"/>
                  <a:gd name="connsiteY210" fmla="*/ 864843 h 993051"/>
                  <a:gd name="connsiteX211" fmla="*/ 319088 w 1151018"/>
                  <a:gd name="connsiteY211" fmla="*/ 863255 h 993051"/>
                  <a:gd name="connsiteX212" fmla="*/ 317500 w 1151018"/>
                  <a:gd name="connsiteY212" fmla="*/ 858493 h 993051"/>
                  <a:gd name="connsiteX213" fmla="*/ 311150 w 1151018"/>
                  <a:gd name="connsiteY213" fmla="*/ 850555 h 993051"/>
                  <a:gd name="connsiteX214" fmla="*/ 301625 w 1151018"/>
                  <a:gd name="connsiteY214" fmla="*/ 839443 h 993051"/>
                  <a:gd name="connsiteX215" fmla="*/ 296863 w 1151018"/>
                  <a:gd name="connsiteY215" fmla="*/ 833093 h 993051"/>
                  <a:gd name="connsiteX216" fmla="*/ 284163 w 1151018"/>
                  <a:gd name="connsiteY216" fmla="*/ 828330 h 993051"/>
                  <a:gd name="connsiteX217" fmla="*/ 261938 w 1151018"/>
                  <a:gd name="connsiteY217" fmla="*/ 810868 h 993051"/>
                  <a:gd name="connsiteX218" fmla="*/ 260350 w 1151018"/>
                  <a:gd name="connsiteY218" fmla="*/ 806105 h 993051"/>
                  <a:gd name="connsiteX219" fmla="*/ 276225 w 1151018"/>
                  <a:gd name="connsiteY219" fmla="*/ 799755 h 993051"/>
                  <a:gd name="connsiteX220" fmla="*/ 282575 w 1151018"/>
                  <a:gd name="connsiteY220" fmla="*/ 794993 h 993051"/>
                  <a:gd name="connsiteX221" fmla="*/ 280988 w 1151018"/>
                  <a:gd name="connsiteY221" fmla="*/ 790230 h 993051"/>
                  <a:gd name="connsiteX222" fmla="*/ 268288 w 1151018"/>
                  <a:gd name="connsiteY222" fmla="*/ 782293 h 993051"/>
                  <a:gd name="connsiteX223" fmla="*/ 266700 w 1151018"/>
                  <a:gd name="connsiteY223" fmla="*/ 775943 h 993051"/>
                  <a:gd name="connsiteX224" fmla="*/ 266700 w 1151018"/>
                  <a:gd name="connsiteY224" fmla="*/ 766418 h 993051"/>
                  <a:gd name="connsiteX225" fmla="*/ 241300 w 1151018"/>
                  <a:gd name="connsiteY225" fmla="*/ 774355 h 993051"/>
                  <a:gd name="connsiteX226" fmla="*/ 239713 w 1151018"/>
                  <a:gd name="connsiteY226" fmla="*/ 782293 h 993051"/>
                  <a:gd name="connsiteX227" fmla="*/ 231775 w 1151018"/>
                  <a:gd name="connsiteY227" fmla="*/ 772768 h 993051"/>
                  <a:gd name="connsiteX228" fmla="*/ 225425 w 1151018"/>
                  <a:gd name="connsiteY228" fmla="*/ 769593 h 993051"/>
                  <a:gd name="connsiteX229" fmla="*/ 219075 w 1151018"/>
                  <a:gd name="connsiteY229" fmla="*/ 764830 h 993051"/>
                  <a:gd name="connsiteX230" fmla="*/ 190500 w 1151018"/>
                  <a:gd name="connsiteY230" fmla="*/ 756893 h 993051"/>
                  <a:gd name="connsiteX231" fmla="*/ 185738 w 1151018"/>
                  <a:gd name="connsiteY231" fmla="*/ 753718 h 993051"/>
                  <a:gd name="connsiteX232" fmla="*/ 158750 w 1151018"/>
                  <a:gd name="connsiteY232" fmla="*/ 750543 h 993051"/>
                  <a:gd name="connsiteX233" fmla="*/ 157163 w 1151018"/>
                  <a:gd name="connsiteY233" fmla="*/ 745780 h 993051"/>
                  <a:gd name="connsiteX234" fmla="*/ 155575 w 1151018"/>
                  <a:gd name="connsiteY234" fmla="*/ 729905 h 993051"/>
                  <a:gd name="connsiteX235" fmla="*/ 147638 w 1151018"/>
                  <a:gd name="connsiteY235" fmla="*/ 725143 h 993051"/>
                  <a:gd name="connsiteX236" fmla="*/ 136525 w 1151018"/>
                  <a:gd name="connsiteY236" fmla="*/ 717205 h 993051"/>
                  <a:gd name="connsiteX237" fmla="*/ 130175 w 1151018"/>
                  <a:gd name="connsiteY237" fmla="*/ 725143 h 993051"/>
                  <a:gd name="connsiteX238" fmla="*/ 125413 w 1151018"/>
                  <a:gd name="connsiteY238" fmla="*/ 726730 h 993051"/>
                  <a:gd name="connsiteX239" fmla="*/ 112713 w 1151018"/>
                  <a:gd name="connsiteY239" fmla="*/ 729905 h 993051"/>
                  <a:gd name="connsiteX240" fmla="*/ 114300 w 1151018"/>
                  <a:gd name="connsiteY240" fmla="*/ 723555 h 993051"/>
                  <a:gd name="connsiteX241" fmla="*/ 115888 w 1151018"/>
                  <a:gd name="connsiteY241" fmla="*/ 715618 h 993051"/>
                  <a:gd name="connsiteX242" fmla="*/ 119063 w 1151018"/>
                  <a:gd name="connsiteY242" fmla="*/ 706093 h 993051"/>
                  <a:gd name="connsiteX243" fmla="*/ 117475 w 1151018"/>
                  <a:gd name="connsiteY243" fmla="*/ 658468 h 993051"/>
                  <a:gd name="connsiteX244" fmla="*/ 114300 w 1151018"/>
                  <a:gd name="connsiteY244" fmla="*/ 652118 h 993051"/>
                  <a:gd name="connsiteX245" fmla="*/ 93663 w 1151018"/>
                  <a:gd name="connsiteY245" fmla="*/ 634655 h 993051"/>
                  <a:gd name="connsiteX246" fmla="*/ 87313 w 1151018"/>
                  <a:gd name="connsiteY246" fmla="*/ 633068 h 993051"/>
                  <a:gd name="connsiteX247" fmla="*/ 79375 w 1151018"/>
                  <a:gd name="connsiteY247" fmla="*/ 593380 h 993051"/>
                  <a:gd name="connsiteX248" fmla="*/ 68263 w 1151018"/>
                  <a:gd name="connsiteY248" fmla="*/ 590205 h 993051"/>
                  <a:gd name="connsiteX249" fmla="*/ 61913 w 1151018"/>
                  <a:gd name="connsiteY249" fmla="*/ 577505 h 993051"/>
                  <a:gd name="connsiteX250" fmla="*/ 65088 w 1151018"/>
                  <a:gd name="connsiteY250" fmla="*/ 571155 h 993051"/>
                  <a:gd name="connsiteX251" fmla="*/ 69850 w 1151018"/>
                  <a:gd name="connsiteY251" fmla="*/ 569568 h 993051"/>
                  <a:gd name="connsiteX252" fmla="*/ 73025 w 1151018"/>
                  <a:gd name="connsiteY252" fmla="*/ 514005 h 993051"/>
                  <a:gd name="connsiteX253" fmla="*/ 71438 w 1151018"/>
                  <a:gd name="connsiteY253" fmla="*/ 507655 h 993051"/>
                  <a:gd name="connsiteX254" fmla="*/ 68263 w 1151018"/>
                  <a:gd name="connsiteY254" fmla="*/ 502893 h 993051"/>
                  <a:gd name="connsiteX255" fmla="*/ 65088 w 1151018"/>
                  <a:gd name="connsiteY255" fmla="*/ 494955 h 993051"/>
                  <a:gd name="connsiteX256" fmla="*/ 52388 w 1151018"/>
                  <a:gd name="connsiteY256" fmla="*/ 490193 h 993051"/>
                  <a:gd name="connsiteX257" fmla="*/ 44450 w 1151018"/>
                  <a:gd name="connsiteY257" fmla="*/ 483843 h 993051"/>
                  <a:gd name="connsiteX258" fmla="*/ 44450 w 1151018"/>
                  <a:gd name="connsiteY258" fmla="*/ 466380 h 993051"/>
                  <a:gd name="connsiteX259" fmla="*/ 55563 w 1151018"/>
                  <a:gd name="connsiteY259" fmla="*/ 464793 h 993051"/>
                  <a:gd name="connsiteX260" fmla="*/ 58738 w 1151018"/>
                  <a:gd name="connsiteY260" fmla="*/ 460030 h 993051"/>
                  <a:gd name="connsiteX261" fmla="*/ 49213 w 1151018"/>
                  <a:gd name="connsiteY261" fmla="*/ 436218 h 993051"/>
                  <a:gd name="connsiteX262" fmla="*/ 42863 w 1151018"/>
                  <a:gd name="connsiteY262" fmla="*/ 431455 h 993051"/>
                  <a:gd name="connsiteX263" fmla="*/ 39688 w 1151018"/>
                  <a:gd name="connsiteY263" fmla="*/ 425105 h 993051"/>
                  <a:gd name="connsiteX264" fmla="*/ 34925 w 1151018"/>
                  <a:gd name="connsiteY264" fmla="*/ 421930 h 993051"/>
                  <a:gd name="connsiteX265" fmla="*/ 28575 w 1151018"/>
                  <a:gd name="connsiteY265" fmla="*/ 415580 h 993051"/>
                  <a:gd name="connsiteX266" fmla="*/ 23813 w 1151018"/>
                  <a:gd name="connsiteY266" fmla="*/ 412405 h 993051"/>
                  <a:gd name="connsiteX267" fmla="*/ 14288 w 1151018"/>
                  <a:gd name="connsiteY267" fmla="*/ 402880 h 993051"/>
                  <a:gd name="connsiteX268" fmla="*/ 3175 w 1151018"/>
                  <a:gd name="connsiteY268" fmla="*/ 401293 h 993051"/>
                  <a:gd name="connsiteX269" fmla="*/ 3175 w 1151018"/>
                  <a:gd name="connsiteY269" fmla="*/ 372718 h 993051"/>
                  <a:gd name="connsiteX270" fmla="*/ 9525 w 1151018"/>
                  <a:gd name="connsiteY270" fmla="*/ 361605 h 993051"/>
                  <a:gd name="connsiteX271" fmla="*/ 14288 w 1151018"/>
                  <a:gd name="connsiteY271" fmla="*/ 360018 h 993051"/>
                  <a:gd name="connsiteX272" fmla="*/ 23813 w 1151018"/>
                  <a:gd name="connsiteY272" fmla="*/ 358430 h 993051"/>
                  <a:gd name="connsiteX273" fmla="*/ 22225 w 1151018"/>
                  <a:gd name="connsiteY273" fmla="*/ 294930 h 993051"/>
                  <a:gd name="connsiteX274" fmla="*/ 15875 w 1151018"/>
                  <a:gd name="connsiteY274" fmla="*/ 280643 h 993051"/>
                  <a:gd name="connsiteX275" fmla="*/ 9525 w 1151018"/>
                  <a:gd name="connsiteY275" fmla="*/ 267943 h 993051"/>
                  <a:gd name="connsiteX276" fmla="*/ 6350 w 1151018"/>
                  <a:gd name="connsiteY276" fmla="*/ 258418 h 993051"/>
                  <a:gd name="connsiteX277" fmla="*/ 7938 w 1151018"/>
                  <a:gd name="connsiteY277" fmla="*/ 253655 h 993051"/>
                  <a:gd name="connsiteX278" fmla="*/ 20638 w 1151018"/>
                  <a:gd name="connsiteY278" fmla="*/ 256830 h 993051"/>
                  <a:gd name="connsiteX279" fmla="*/ 38100 w 1151018"/>
                  <a:gd name="connsiteY279" fmla="*/ 250480 h 993051"/>
                  <a:gd name="connsiteX280" fmla="*/ 44450 w 1151018"/>
                  <a:gd name="connsiteY280" fmla="*/ 239368 h 993051"/>
                  <a:gd name="connsiteX281" fmla="*/ 41275 w 1151018"/>
                  <a:gd name="connsiteY281" fmla="*/ 220318 h 993051"/>
                  <a:gd name="connsiteX282" fmla="*/ 34925 w 1151018"/>
                  <a:gd name="connsiteY282" fmla="*/ 215555 h 993051"/>
                  <a:gd name="connsiteX283" fmla="*/ 0 w 1151018"/>
                  <a:gd name="connsiteY283" fmla="*/ 210793 h 993051"/>
                  <a:gd name="connsiteX284" fmla="*/ 7938 w 1151018"/>
                  <a:gd name="connsiteY284" fmla="*/ 207618 h 993051"/>
                  <a:gd name="connsiteX285" fmla="*/ 15875 w 1151018"/>
                  <a:gd name="connsiteY285" fmla="*/ 206030 h 993051"/>
                  <a:gd name="connsiteX286" fmla="*/ 22225 w 1151018"/>
                  <a:gd name="connsiteY286" fmla="*/ 204443 h 993051"/>
                  <a:gd name="connsiteX287" fmla="*/ 30163 w 1151018"/>
                  <a:gd name="connsiteY287" fmla="*/ 196505 h 993051"/>
                  <a:gd name="connsiteX288" fmla="*/ 38100 w 1151018"/>
                  <a:gd name="connsiteY288" fmla="*/ 182218 h 993051"/>
                  <a:gd name="connsiteX289" fmla="*/ 60325 w 1151018"/>
                  <a:gd name="connsiteY289" fmla="*/ 179043 h 993051"/>
                  <a:gd name="connsiteX290" fmla="*/ 61913 w 1151018"/>
                  <a:gd name="connsiteY290" fmla="*/ 174280 h 993051"/>
                  <a:gd name="connsiteX291" fmla="*/ 73025 w 1151018"/>
                  <a:gd name="connsiteY291" fmla="*/ 169518 h 993051"/>
                  <a:gd name="connsiteX292" fmla="*/ 100013 w 1151018"/>
                  <a:gd name="connsiteY292" fmla="*/ 161580 h 993051"/>
                  <a:gd name="connsiteX293" fmla="*/ 106363 w 1151018"/>
                  <a:gd name="connsiteY293" fmla="*/ 156818 h 993051"/>
                  <a:gd name="connsiteX294" fmla="*/ 127000 w 1151018"/>
                  <a:gd name="connsiteY294" fmla="*/ 158405 h 993051"/>
                  <a:gd name="connsiteX295" fmla="*/ 142875 w 1151018"/>
                  <a:gd name="connsiteY295" fmla="*/ 152055 h 993051"/>
                  <a:gd name="connsiteX296" fmla="*/ 147638 w 1151018"/>
                  <a:gd name="connsiteY296" fmla="*/ 139355 h 993051"/>
                  <a:gd name="connsiteX297" fmla="*/ 168275 w 1151018"/>
                  <a:gd name="connsiteY297" fmla="*/ 133005 h 993051"/>
                  <a:gd name="connsiteX298" fmla="*/ 176213 w 1151018"/>
                  <a:gd name="connsiteY298" fmla="*/ 129830 h 993051"/>
                  <a:gd name="connsiteX299" fmla="*/ 190500 w 1151018"/>
                  <a:gd name="connsiteY299" fmla="*/ 128243 h 993051"/>
                  <a:gd name="connsiteX300" fmla="*/ 203200 w 1151018"/>
                  <a:gd name="connsiteY300" fmla="*/ 125068 h 993051"/>
                  <a:gd name="connsiteX301" fmla="*/ 207963 w 1151018"/>
                  <a:gd name="connsiteY301" fmla="*/ 123480 h 993051"/>
                  <a:gd name="connsiteX302" fmla="*/ 214313 w 1151018"/>
                  <a:gd name="connsiteY302" fmla="*/ 115543 h 993051"/>
                  <a:gd name="connsiteX303" fmla="*/ 215900 w 1151018"/>
                  <a:gd name="connsiteY303" fmla="*/ 110780 h 993051"/>
                  <a:gd name="connsiteX304" fmla="*/ 220663 w 1151018"/>
                  <a:gd name="connsiteY304" fmla="*/ 90143 h 993051"/>
                  <a:gd name="connsiteX305" fmla="*/ 230188 w 1151018"/>
                  <a:gd name="connsiteY305" fmla="*/ 86968 h 993051"/>
                  <a:gd name="connsiteX306" fmla="*/ 238125 w 1151018"/>
                  <a:gd name="connsiteY306" fmla="*/ 80618 h 993051"/>
                  <a:gd name="connsiteX307" fmla="*/ 255588 w 1151018"/>
                  <a:gd name="connsiteY307" fmla="*/ 71093 h 993051"/>
                  <a:gd name="connsiteX308" fmla="*/ 265113 w 1151018"/>
                  <a:gd name="connsiteY308" fmla="*/ 64743 h 993051"/>
                  <a:gd name="connsiteX309" fmla="*/ 285750 w 1151018"/>
                  <a:gd name="connsiteY309" fmla="*/ 52043 h 993051"/>
                  <a:gd name="connsiteX310" fmla="*/ 295275 w 1151018"/>
                  <a:gd name="connsiteY310" fmla="*/ 45693 h 993051"/>
                  <a:gd name="connsiteX311" fmla="*/ 300038 w 1151018"/>
                  <a:gd name="connsiteY311" fmla="*/ 40930 h 993051"/>
                  <a:gd name="connsiteX312" fmla="*/ 307975 w 1151018"/>
                  <a:gd name="connsiteY312" fmla="*/ 36168 h 993051"/>
                  <a:gd name="connsiteX313" fmla="*/ 322263 w 1151018"/>
                  <a:gd name="connsiteY313" fmla="*/ 23468 h 993051"/>
                  <a:gd name="connsiteX314" fmla="*/ 341313 w 1151018"/>
                  <a:gd name="connsiteY314" fmla="*/ 18705 h 993051"/>
                  <a:gd name="connsiteX315" fmla="*/ 355600 w 1151018"/>
                  <a:gd name="connsiteY315" fmla="*/ 15530 h 993051"/>
                  <a:gd name="connsiteX316" fmla="*/ 365125 w 1151018"/>
                  <a:gd name="connsiteY316" fmla="*/ 10768 h 993051"/>
                  <a:gd name="connsiteX317" fmla="*/ 419100 w 1151018"/>
                  <a:gd name="connsiteY317" fmla="*/ 10768 h 993051"/>
                  <a:gd name="connsiteX318" fmla="*/ 436563 w 1151018"/>
                  <a:gd name="connsiteY318" fmla="*/ 15530 h 993051"/>
                  <a:gd name="connsiteX319" fmla="*/ 444500 w 1151018"/>
                  <a:gd name="connsiteY319" fmla="*/ 20293 h 993051"/>
                  <a:gd name="connsiteX320" fmla="*/ 452438 w 1151018"/>
                  <a:gd name="connsiteY320" fmla="*/ 21880 h 993051"/>
                  <a:gd name="connsiteX321" fmla="*/ 458788 w 1151018"/>
                  <a:gd name="connsiteY321" fmla="*/ 23468 h 993051"/>
                  <a:gd name="connsiteX322" fmla="*/ 465138 w 1151018"/>
                  <a:gd name="connsiteY322" fmla="*/ 28230 h 993051"/>
                  <a:gd name="connsiteX323" fmla="*/ 466725 w 1151018"/>
                  <a:gd name="connsiteY323" fmla="*/ 32993 h 993051"/>
                  <a:gd name="connsiteX324" fmla="*/ 469900 w 1151018"/>
                  <a:gd name="connsiteY324" fmla="*/ 39343 h 993051"/>
                  <a:gd name="connsiteX325" fmla="*/ 471488 w 1151018"/>
                  <a:gd name="connsiteY325" fmla="*/ 44105 h 993051"/>
                  <a:gd name="connsiteX326" fmla="*/ 463550 w 1151018"/>
                  <a:gd name="connsiteY326" fmla="*/ 42518 h 993051"/>
                  <a:gd name="connsiteX327" fmla="*/ 447675 w 1151018"/>
                  <a:gd name="connsiteY327" fmla="*/ 28230 h 993051"/>
                  <a:gd name="connsiteX328" fmla="*/ 439738 w 1151018"/>
                  <a:gd name="connsiteY328" fmla="*/ 15530 h 993051"/>
                  <a:gd name="connsiteX329" fmla="*/ 423863 w 1151018"/>
                  <a:gd name="connsiteY329" fmla="*/ 23468 h 993051"/>
                  <a:gd name="connsiteX330" fmla="*/ 414338 w 1151018"/>
                  <a:gd name="connsiteY330" fmla="*/ 29818 h 993051"/>
                  <a:gd name="connsiteX331" fmla="*/ 420688 w 1151018"/>
                  <a:gd name="connsiteY331" fmla="*/ 36168 h 993051"/>
                  <a:gd name="connsiteX332" fmla="*/ 430213 w 1151018"/>
                  <a:gd name="connsiteY332" fmla="*/ 42518 h 993051"/>
                  <a:gd name="connsiteX333" fmla="*/ 438150 w 1151018"/>
                  <a:gd name="connsiteY333" fmla="*/ 56805 h 993051"/>
                  <a:gd name="connsiteX334" fmla="*/ 442913 w 1151018"/>
                  <a:gd name="connsiteY334" fmla="*/ 61568 h 993051"/>
                  <a:gd name="connsiteX335" fmla="*/ 452438 w 1151018"/>
                  <a:gd name="connsiteY335" fmla="*/ 71093 h 993051"/>
                  <a:gd name="connsiteX336" fmla="*/ 465138 w 1151018"/>
                  <a:gd name="connsiteY336" fmla="*/ 79030 h 993051"/>
                  <a:gd name="connsiteX337" fmla="*/ 466725 w 1151018"/>
                  <a:gd name="connsiteY337" fmla="*/ 83793 h 993051"/>
                  <a:gd name="connsiteX338" fmla="*/ 473075 w 1151018"/>
                  <a:gd name="connsiteY338" fmla="*/ 85380 h 993051"/>
                  <a:gd name="connsiteX339" fmla="*/ 520700 w 1151018"/>
                  <a:gd name="connsiteY339" fmla="*/ 91730 h 993051"/>
                  <a:gd name="connsiteX340" fmla="*/ 546100 w 1151018"/>
                  <a:gd name="connsiteY340" fmla="*/ 83793 h 993051"/>
                  <a:gd name="connsiteX341" fmla="*/ 550863 w 1151018"/>
                  <a:gd name="connsiteY341" fmla="*/ 77443 h 993051"/>
                  <a:gd name="connsiteX342" fmla="*/ 558800 w 1151018"/>
                  <a:gd name="connsiteY342" fmla="*/ 71093 h 993051"/>
                  <a:gd name="connsiteX343" fmla="*/ 566738 w 1151018"/>
                  <a:gd name="connsiteY343" fmla="*/ 64743 h 993051"/>
                  <a:gd name="connsiteX344" fmla="*/ 573088 w 1151018"/>
                  <a:gd name="connsiteY344" fmla="*/ 58393 h 993051"/>
                  <a:gd name="connsiteX345" fmla="*/ 577850 w 1151018"/>
                  <a:gd name="connsiteY345" fmla="*/ 55218 h 993051"/>
                  <a:gd name="connsiteX346" fmla="*/ 571500 w 1151018"/>
                  <a:gd name="connsiteY346" fmla="*/ 52043 h 993051"/>
                  <a:gd name="connsiteX0" fmla="*/ 571500 w 1151018"/>
                  <a:gd name="connsiteY0" fmla="*/ 52043 h 993051"/>
                  <a:gd name="connsiteX1" fmla="*/ 579438 w 1151018"/>
                  <a:gd name="connsiteY1" fmla="*/ 50455 h 993051"/>
                  <a:gd name="connsiteX2" fmla="*/ 608013 w 1151018"/>
                  <a:gd name="connsiteY2" fmla="*/ 53630 h 993051"/>
                  <a:gd name="connsiteX3" fmla="*/ 612775 w 1151018"/>
                  <a:gd name="connsiteY3" fmla="*/ 56805 h 993051"/>
                  <a:gd name="connsiteX4" fmla="*/ 625475 w 1151018"/>
                  <a:gd name="connsiteY4" fmla="*/ 58393 h 993051"/>
                  <a:gd name="connsiteX5" fmla="*/ 684213 w 1151018"/>
                  <a:gd name="connsiteY5" fmla="*/ 56805 h 993051"/>
                  <a:gd name="connsiteX6" fmla="*/ 693738 w 1151018"/>
                  <a:gd name="connsiteY6" fmla="*/ 55218 h 993051"/>
                  <a:gd name="connsiteX7" fmla="*/ 706438 w 1151018"/>
                  <a:gd name="connsiteY7" fmla="*/ 50455 h 993051"/>
                  <a:gd name="connsiteX8" fmla="*/ 711200 w 1151018"/>
                  <a:gd name="connsiteY8" fmla="*/ 48868 h 993051"/>
                  <a:gd name="connsiteX9" fmla="*/ 720725 w 1151018"/>
                  <a:gd name="connsiteY9" fmla="*/ 47280 h 993051"/>
                  <a:gd name="connsiteX10" fmla="*/ 738188 w 1151018"/>
                  <a:gd name="connsiteY10" fmla="*/ 42518 h 993051"/>
                  <a:gd name="connsiteX11" fmla="*/ 742950 w 1151018"/>
                  <a:gd name="connsiteY11" fmla="*/ 40930 h 993051"/>
                  <a:gd name="connsiteX12" fmla="*/ 758825 w 1151018"/>
                  <a:gd name="connsiteY12" fmla="*/ 39343 h 993051"/>
                  <a:gd name="connsiteX13" fmla="*/ 795338 w 1151018"/>
                  <a:gd name="connsiteY13" fmla="*/ 34580 h 993051"/>
                  <a:gd name="connsiteX14" fmla="*/ 812800 w 1151018"/>
                  <a:gd name="connsiteY14" fmla="*/ 28230 h 993051"/>
                  <a:gd name="connsiteX15" fmla="*/ 819150 w 1151018"/>
                  <a:gd name="connsiteY15" fmla="*/ 26643 h 993051"/>
                  <a:gd name="connsiteX16" fmla="*/ 835025 w 1151018"/>
                  <a:gd name="connsiteY16" fmla="*/ 23468 h 993051"/>
                  <a:gd name="connsiteX17" fmla="*/ 842963 w 1151018"/>
                  <a:gd name="connsiteY17" fmla="*/ 20293 h 993051"/>
                  <a:gd name="connsiteX18" fmla="*/ 852488 w 1151018"/>
                  <a:gd name="connsiteY18" fmla="*/ 18705 h 993051"/>
                  <a:gd name="connsiteX19" fmla="*/ 857250 w 1151018"/>
                  <a:gd name="connsiteY19" fmla="*/ 17118 h 993051"/>
                  <a:gd name="connsiteX20" fmla="*/ 862013 w 1151018"/>
                  <a:gd name="connsiteY20" fmla="*/ 13943 h 993051"/>
                  <a:gd name="connsiteX21" fmla="*/ 866775 w 1151018"/>
                  <a:gd name="connsiteY21" fmla="*/ 12355 h 993051"/>
                  <a:gd name="connsiteX22" fmla="*/ 877888 w 1151018"/>
                  <a:gd name="connsiteY22" fmla="*/ 7593 h 993051"/>
                  <a:gd name="connsiteX23" fmla="*/ 900113 w 1151018"/>
                  <a:gd name="connsiteY23" fmla="*/ 6005 h 993051"/>
                  <a:gd name="connsiteX24" fmla="*/ 904875 w 1151018"/>
                  <a:gd name="connsiteY24" fmla="*/ 12355 h 993051"/>
                  <a:gd name="connsiteX25" fmla="*/ 909638 w 1151018"/>
                  <a:gd name="connsiteY25" fmla="*/ 13943 h 993051"/>
                  <a:gd name="connsiteX26" fmla="*/ 919163 w 1151018"/>
                  <a:gd name="connsiteY26" fmla="*/ 20293 h 993051"/>
                  <a:gd name="connsiteX27" fmla="*/ 928688 w 1151018"/>
                  <a:gd name="connsiteY27" fmla="*/ 26643 h 993051"/>
                  <a:gd name="connsiteX28" fmla="*/ 936625 w 1151018"/>
                  <a:gd name="connsiteY28" fmla="*/ 31405 h 993051"/>
                  <a:gd name="connsiteX29" fmla="*/ 947738 w 1151018"/>
                  <a:gd name="connsiteY29" fmla="*/ 37755 h 993051"/>
                  <a:gd name="connsiteX30" fmla="*/ 960438 w 1151018"/>
                  <a:gd name="connsiteY30" fmla="*/ 48868 h 993051"/>
                  <a:gd name="connsiteX31" fmla="*/ 962025 w 1151018"/>
                  <a:gd name="connsiteY31" fmla="*/ 53630 h 993051"/>
                  <a:gd name="connsiteX32" fmla="*/ 965200 w 1151018"/>
                  <a:gd name="connsiteY32" fmla="*/ 64743 h 993051"/>
                  <a:gd name="connsiteX33" fmla="*/ 969963 w 1151018"/>
                  <a:gd name="connsiteY33" fmla="*/ 91730 h 993051"/>
                  <a:gd name="connsiteX34" fmla="*/ 977900 w 1151018"/>
                  <a:gd name="connsiteY34" fmla="*/ 104430 h 993051"/>
                  <a:gd name="connsiteX35" fmla="*/ 979488 w 1151018"/>
                  <a:gd name="connsiteY35" fmla="*/ 109193 h 993051"/>
                  <a:gd name="connsiteX36" fmla="*/ 982663 w 1151018"/>
                  <a:gd name="connsiteY36" fmla="*/ 121893 h 993051"/>
                  <a:gd name="connsiteX37" fmla="*/ 992188 w 1151018"/>
                  <a:gd name="connsiteY37" fmla="*/ 134593 h 993051"/>
                  <a:gd name="connsiteX38" fmla="*/ 1000125 w 1151018"/>
                  <a:gd name="connsiteY38" fmla="*/ 150468 h 993051"/>
                  <a:gd name="connsiteX39" fmla="*/ 1001713 w 1151018"/>
                  <a:gd name="connsiteY39" fmla="*/ 156818 h 993051"/>
                  <a:gd name="connsiteX40" fmla="*/ 1006475 w 1151018"/>
                  <a:gd name="connsiteY40" fmla="*/ 166343 h 993051"/>
                  <a:gd name="connsiteX41" fmla="*/ 1017663 w 1151018"/>
                  <a:gd name="connsiteY41" fmla="*/ 176548 h 993051"/>
                  <a:gd name="connsiteX42" fmla="*/ 1031875 w 1151018"/>
                  <a:gd name="connsiteY42" fmla="*/ 212380 h 993051"/>
                  <a:gd name="connsiteX43" fmla="*/ 1041400 w 1151018"/>
                  <a:gd name="connsiteY43" fmla="*/ 218730 h 993051"/>
                  <a:gd name="connsiteX44" fmla="*/ 1042988 w 1151018"/>
                  <a:gd name="connsiteY44" fmla="*/ 223493 h 993051"/>
                  <a:gd name="connsiteX45" fmla="*/ 1046163 w 1151018"/>
                  <a:gd name="connsiteY45" fmla="*/ 229843 h 993051"/>
                  <a:gd name="connsiteX46" fmla="*/ 1050925 w 1151018"/>
                  <a:gd name="connsiteY46" fmla="*/ 252068 h 993051"/>
                  <a:gd name="connsiteX47" fmla="*/ 1054100 w 1151018"/>
                  <a:gd name="connsiteY47" fmla="*/ 260005 h 993051"/>
                  <a:gd name="connsiteX48" fmla="*/ 1058863 w 1151018"/>
                  <a:gd name="connsiteY48" fmla="*/ 263180 h 993051"/>
                  <a:gd name="connsiteX49" fmla="*/ 1060450 w 1151018"/>
                  <a:gd name="connsiteY49" fmla="*/ 283818 h 993051"/>
                  <a:gd name="connsiteX50" fmla="*/ 1057275 w 1151018"/>
                  <a:gd name="connsiteY50" fmla="*/ 291755 h 993051"/>
                  <a:gd name="connsiteX51" fmla="*/ 1047750 w 1151018"/>
                  <a:gd name="connsiteY51" fmla="*/ 294930 h 993051"/>
                  <a:gd name="connsiteX52" fmla="*/ 1042988 w 1151018"/>
                  <a:gd name="connsiteY52" fmla="*/ 299693 h 993051"/>
                  <a:gd name="connsiteX53" fmla="*/ 1031875 w 1151018"/>
                  <a:gd name="connsiteY53" fmla="*/ 320330 h 993051"/>
                  <a:gd name="connsiteX54" fmla="*/ 1017588 w 1151018"/>
                  <a:gd name="connsiteY54" fmla="*/ 340968 h 993051"/>
                  <a:gd name="connsiteX55" fmla="*/ 1009650 w 1151018"/>
                  <a:gd name="connsiteY55" fmla="*/ 352080 h 993051"/>
                  <a:gd name="connsiteX56" fmla="*/ 1004888 w 1151018"/>
                  <a:gd name="connsiteY56" fmla="*/ 353668 h 993051"/>
                  <a:gd name="connsiteX57" fmla="*/ 1000125 w 1151018"/>
                  <a:gd name="connsiteY57" fmla="*/ 377480 h 993051"/>
                  <a:gd name="connsiteX58" fmla="*/ 998538 w 1151018"/>
                  <a:gd name="connsiteY58" fmla="*/ 383830 h 993051"/>
                  <a:gd name="connsiteX59" fmla="*/ 996950 w 1151018"/>
                  <a:gd name="connsiteY59" fmla="*/ 391768 h 993051"/>
                  <a:gd name="connsiteX60" fmla="*/ 1008063 w 1151018"/>
                  <a:gd name="connsiteY60" fmla="*/ 394943 h 993051"/>
                  <a:gd name="connsiteX61" fmla="*/ 1027113 w 1151018"/>
                  <a:gd name="connsiteY61" fmla="*/ 396530 h 993051"/>
                  <a:gd name="connsiteX62" fmla="*/ 1039813 w 1151018"/>
                  <a:gd name="connsiteY62" fmla="*/ 406055 h 993051"/>
                  <a:gd name="connsiteX63" fmla="*/ 1049338 w 1151018"/>
                  <a:gd name="connsiteY63" fmla="*/ 413993 h 993051"/>
                  <a:gd name="connsiteX64" fmla="*/ 1050925 w 1151018"/>
                  <a:gd name="connsiteY64" fmla="*/ 420343 h 993051"/>
                  <a:gd name="connsiteX65" fmla="*/ 1046163 w 1151018"/>
                  <a:gd name="connsiteY65" fmla="*/ 433043 h 993051"/>
                  <a:gd name="connsiteX66" fmla="*/ 1046163 w 1151018"/>
                  <a:gd name="connsiteY66" fmla="*/ 447330 h 993051"/>
                  <a:gd name="connsiteX67" fmla="*/ 1044575 w 1151018"/>
                  <a:gd name="connsiteY67" fmla="*/ 460030 h 993051"/>
                  <a:gd name="connsiteX68" fmla="*/ 1042988 w 1151018"/>
                  <a:gd name="connsiteY68" fmla="*/ 474318 h 993051"/>
                  <a:gd name="connsiteX69" fmla="*/ 1044575 w 1151018"/>
                  <a:gd name="connsiteY69" fmla="*/ 487018 h 993051"/>
                  <a:gd name="connsiteX70" fmla="*/ 1046163 w 1151018"/>
                  <a:gd name="connsiteY70" fmla="*/ 491780 h 993051"/>
                  <a:gd name="connsiteX71" fmla="*/ 1050925 w 1151018"/>
                  <a:gd name="connsiteY71" fmla="*/ 493368 h 993051"/>
                  <a:gd name="connsiteX72" fmla="*/ 1057275 w 1151018"/>
                  <a:gd name="connsiteY72" fmla="*/ 496543 h 993051"/>
                  <a:gd name="connsiteX73" fmla="*/ 1062038 w 1151018"/>
                  <a:gd name="connsiteY73" fmla="*/ 501305 h 993051"/>
                  <a:gd name="connsiteX74" fmla="*/ 1066800 w 1151018"/>
                  <a:gd name="connsiteY74" fmla="*/ 504480 h 993051"/>
                  <a:gd name="connsiteX75" fmla="*/ 1068388 w 1151018"/>
                  <a:gd name="connsiteY75" fmla="*/ 521943 h 993051"/>
                  <a:gd name="connsiteX76" fmla="*/ 1071563 w 1151018"/>
                  <a:gd name="connsiteY76" fmla="*/ 526705 h 993051"/>
                  <a:gd name="connsiteX77" fmla="*/ 1073150 w 1151018"/>
                  <a:gd name="connsiteY77" fmla="*/ 539405 h 993051"/>
                  <a:gd name="connsiteX78" fmla="*/ 1077913 w 1151018"/>
                  <a:gd name="connsiteY78" fmla="*/ 553693 h 993051"/>
                  <a:gd name="connsiteX79" fmla="*/ 1085850 w 1151018"/>
                  <a:gd name="connsiteY79" fmla="*/ 555280 h 993051"/>
                  <a:gd name="connsiteX80" fmla="*/ 1089025 w 1151018"/>
                  <a:gd name="connsiteY80" fmla="*/ 560043 h 993051"/>
                  <a:gd name="connsiteX81" fmla="*/ 1096963 w 1151018"/>
                  <a:gd name="connsiteY81" fmla="*/ 582268 h 993051"/>
                  <a:gd name="connsiteX82" fmla="*/ 1108075 w 1151018"/>
                  <a:gd name="connsiteY82" fmla="*/ 596555 h 993051"/>
                  <a:gd name="connsiteX83" fmla="*/ 1109663 w 1151018"/>
                  <a:gd name="connsiteY83" fmla="*/ 602905 h 993051"/>
                  <a:gd name="connsiteX84" fmla="*/ 1119188 w 1151018"/>
                  <a:gd name="connsiteY84" fmla="*/ 609255 h 993051"/>
                  <a:gd name="connsiteX85" fmla="*/ 1123950 w 1151018"/>
                  <a:gd name="connsiteY85" fmla="*/ 612430 h 993051"/>
                  <a:gd name="connsiteX86" fmla="*/ 1130300 w 1151018"/>
                  <a:gd name="connsiteY86" fmla="*/ 614018 h 993051"/>
                  <a:gd name="connsiteX87" fmla="*/ 1138238 w 1151018"/>
                  <a:gd name="connsiteY87" fmla="*/ 617193 h 993051"/>
                  <a:gd name="connsiteX88" fmla="*/ 1133475 w 1151018"/>
                  <a:gd name="connsiteY88" fmla="*/ 621955 h 993051"/>
                  <a:gd name="connsiteX89" fmla="*/ 1131888 w 1151018"/>
                  <a:gd name="connsiteY89" fmla="*/ 629893 h 993051"/>
                  <a:gd name="connsiteX90" fmla="*/ 1143000 w 1151018"/>
                  <a:gd name="connsiteY90" fmla="*/ 637830 h 993051"/>
                  <a:gd name="connsiteX91" fmla="*/ 1144588 w 1151018"/>
                  <a:gd name="connsiteY91" fmla="*/ 642593 h 993051"/>
                  <a:gd name="connsiteX92" fmla="*/ 1146175 w 1151018"/>
                  <a:gd name="connsiteY92" fmla="*/ 648943 h 993051"/>
                  <a:gd name="connsiteX93" fmla="*/ 1149350 w 1151018"/>
                  <a:gd name="connsiteY93" fmla="*/ 656880 h 993051"/>
                  <a:gd name="connsiteX94" fmla="*/ 1146175 w 1151018"/>
                  <a:gd name="connsiteY94" fmla="*/ 690218 h 993051"/>
                  <a:gd name="connsiteX95" fmla="*/ 1133475 w 1151018"/>
                  <a:gd name="connsiteY95" fmla="*/ 693393 h 993051"/>
                  <a:gd name="connsiteX96" fmla="*/ 1127125 w 1151018"/>
                  <a:gd name="connsiteY96" fmla="*/ 701330 h 993051"/>
                  <a:gd name="connsiteX97" fmla="*/ 1123950 w 1151018"/>
                  <a:gd name="connsiteY97" fmla="*/ 718793 h 993051"/>
                  <a:gd name="connsiteX98" fmla="*/ 1119188 w 1151018"/>
                  <a:gd name="connsiteY98" fmla="*/ 721968 h 993051"/>
                  <a:gd name="connsiteX99" fmla="*/ 1116013 w 1151018"/>
                  <a:gd name="connsiteY99" fmla="*/ 733080 h 993051"/>
                  <a:gd name="connsiteX100" fmla="*/ 1112838 w 1151018"/>
                  <a:gd name="connsiteY100" fmla="*/ 737843 h 993051"/>
                  <a:gd name="connsiteX101" fmla="*/ 1106488 w 1151018"/>
                  <a:gd name="connsiteY101" fmla="*/ 739430 h 993051"/>
                  <a:gd name="connsiteX102" fmla="*/ 1096963 w 1151018"/>
                  <a:gd name="connsiteY102" fmla="*/ 747368 h 993051"/>
                  <a:gd name="connsiteX103" fmla="*/ 1079500 w 1151018"/>
                  <a:gd name="connsiteY103" fmla="*/ 763243 h 993051"/>
                  <a:gd name="connsiteX104" fmla="*/ 1071563 w 1151018"/>
                  <a:gd name="connsiteY104" fmla="*/ 774355 h 993051"/>
                  <a:gd name="connsiteX105" fmla="*/ 1068388 w 1151018"/>
                  <a:gd name="connsiteY105" fmla="*/ 782293 h 993051"/>
                  <a:gd name="connsiteX106" fmla="*/ 1065213 w 1151018"/>
                  <a:gd name="connsiteY106" fmla="*/ 787055 h 993051"/>
                  <a:gd name="connsiteX107" fmla="*/ 1062038 w 1151018"/>
                  <a:gd name="connsiteY107" fmla="*/ 794993 h 993051"/>
                  <a:gd name="connsiteX108" fmla="*/ 1058863 w 1151018"/>
                  <a:gd name="connsiteY108" fmla="*/ 804518 h 993051"/>
                  <a:gd name="connsiteX109" fmla="*/ 1052513 w 1151018"/>
                  <a:gd name="connsiteY109" fmla="*/ 817218 h 993051"/>
                  <a:gd name="connsiteX110" fmla="*/ 1046163 w 1151018"/>
                  <a:gd name="connsiteY110" fmla="*/ 831505 h 993051"/>
                  <a:gd name="connsiteX111" fmla="*/ 1044575 w 1151018"/>
                  <a:gd name="connsiteY111" fmla="*/ 836268 h 993051"/>
                  <a:gd name="connsiteX112" fmla="*/ 1041400 w 1151018"/>
                  <a:gd name="connsiteY112" fmla="*/ 842618 h 993051"/>
                  <a:gd name="connsiteX113" fmla="*/ 1039813 w 1151018"/>
                  <a:gd name="connsiteY113" fmla="*/ 847380 h 993051"/>
                  <a:gd name="connsiteX114" fmla="*/ 1033463 w 1151018"/>
                  <a:gd name="connsiteY114" fmla="*/ 853730 h 993051"/>
                  <a:gd name="connsiteX115" fmla="*/ 1028700 w 1151018"/>
                  <a:gd name="connsiteY115" fmla="*/ 866430 h 993051"/>
                  <a:gd name="connsiteX116" fmla="*/ 1022350 w 1151018"/>
                  <a:gd name="connsiteY116" fmla="*/ 882305 h 993051"/>
                  <a:gd name="connsiteX117" fmla="*/ 1025525 w 1151018"/>
                  <a:gd name="connsiteY117" fmla="*/ 891830 h 993051"/>
                  <a:gd name="connsiteX118" fmla="*/ 1030288 w 1151018"/>
                  <a:gd name="connsiteY118" fmla="*/ 896593 h 993051"/>
                  <a:gd name="connsiteX119" fmla="*/ 1033463 w 1151018"/>
                  <a:gd name="connsiteY119" fmla="*/ 902943 h 993051"/>
                  <a:gd name="connsiteX120" fmla="*/ 1036638 w 1151018"/>
                  <a:gd name="connsiteY120" fmla="*/ 910880 h 993051"/>
                  <a:gd name="connsiteX121" fmla="*/ 1039813 w 1151018"/>
                  <a:gd name="connsiteY121" fmla="*/ 921993 h 993051"/>
                  <a:gd name="connsiteX122" fmla="*/ 1044575 w 1151018"/>
                  <a:gd name="connsiteY122" fmla="*/ 925168 h 993051"/>
                  <a:gd name="connsiteX123" fmla="*/ 1033463 w 1151018"/>
                  <a:gd name="connsiteY123" fmla="*/ 936280 h 993051"/>
                  <a:gd name="connsiteX124" fmla="*/ 1039813 w 1151018"/>
                  <a:gd name="connsiteY124" fmla="*/ 939455 h 993051"/>
                  <a:gd name="connsiteX125" fmla="*/ 1046163 w 1151018"/>
                  <a:gd name="connsiteY125" fmla="*/ 944218 h 993051"/>
                  <a:gd name="connsiteX126" fmla="*/ 1049338 w 1151018"/>
                  <a:gd name="connsiteY126" fmla="*/ 956918 h 993051"/>
                  <a:gd name="connsiteX127" fmla="*/ 1050925 w 1151018"/>
                  <a:gd name="connsiteY127" fmla="*/ 961680 h 993051"/>
                  <a:gd name="connsiteX128" fmla="*/ 1060450 w 1151018"/>
                  <a:gd name="connsiteY128" fmla="*/ 971205 h 993051"/>
                  <a:gd name="connsiteX129" fmla="*/ 1022350 w 1151018"/>
                  <a:gd name="connsiteY129" fmla="*/ 971205 h 993051"/>
                  <a:gd name="connsiteX130" fmla="*/ 1019175 w 1151018"/>
                  <a:gd name="connsiteY130" fmla="*/ 964855 h 993051"/>
                  <a:gd name="connsiteX131" fmla="*/ 1014413 w 1151018"/>
                  <a:gd name="connsiteY131" fmla="*/ 963268 h 993051"/>
                  <a:gd name="connsiteX132" fmla="*/ 1000125 w 1151018"/>
                  <a:gd name="connsiteY132" fmla="*/ 960093 h 993051"/>
                  <a:gd name="connsiteX133" fmla="*/ 995363 w 1151018"/>
                  <a:gd name="connsiteY133" fmla="*/ 956918 h 993051"/>
                  <a:gd name="connsiteX134" fmla="*/ 985838 w 1151018"/>
                  <a:gd name="connsiteY134" fmla="*/ 955330 h 993051"/>
                  <a:gd name="connsiteX135" fmla="*/ 965200 w 1151018"/>
                  <a:gd name="connsiteY135" fmla="*/ 952155 h 993051"/>
                  <a:gd name="connsiteX136" fmla="*/ 960438 w 1151018"/>
                  <a:gd name="connsiteY136" fmla="*/ 947393 h 993051"/>
                  <a:gd name="connsiteX137" fmla="*/ 952500 w 1151018"/>
                  <a:gd name="connsiteY137" fmla="*/ 936280 h 993051"/>
                  <a:gd name="connsiteX138" fmla="*/ 938213 w 1151018"/>
                  <a:gd name="connsiteY138" fmla="*/ 928343 h 993051"/>
                  <a:gd name="connsiteX139" fmla="*/ 933450 w 1151018"/>
                  <a:gd name="connsiteY139" fmla="*/ 925168 h 993051"/>
                  <a:gd name="connsiteX140" fmla="*/ 922338 w 1151018"/>
                  <a:gd name="connsiteY140" fmla="*/ 923580 h 993051"/>
                  <a:gd name="connsiteX141" fmla="*/ 915988 w 1151018"/>
                  <a:gd name="connsiteY141" fmla="*/ 921993 h 993051"/>
                  <a:gd name="connsiteX142" fmla="*/ 896938 w 1151018"/>
                  <a:gd name="connsiteY142" fmla="*/ 918818 h 993051"/>
                  <a:gd name="connsiteX143" fmla="*/ 847725 w 1151018"/>
                  <a:gd name="connsiteY143" fmla="*/ 925168 h 993051"/>
                  <a:gd name="connsiteX144" fmla="*/ 844550 w 1151018"/>
                  <a:gd name="connsiteY144" fmla="*/ 929930 h 993051"/>
                  <a:gd name="connsiteX145" fmla="*/ 842963 w 1151018"/>
                  <a:gd name="connsiteY145" fmla="*/ 936280 h 993051"/>
                  <a:gd name="connsiteX146" fmla="*/ 836613 w 1151018"/>
                  <a:gd name="connsiteY146" fmla="*/ 939455 h 993051"/>
                  <a:gd name="connsiteX147" fmla="*/ 830263 w 1151018"/>
                  <a:gd name="connsiteY147" fmla="*/ 945805 h 993051"/>
                  <a:gd name="connsiteX148" fmla="*/ 811213 w 1151018"/>
                  <a:gd name="connsiteY148" fmla="*/ 944218 h 993051"/>
                  <a:gd name="connsiteX149" fmla="*/ 796925 w 1151018"/>
                  <a:gd name="connsiteY149" fmla="*/ 941043 h 993051"/>
                  <a:gd name="connsiteX150" fmla="*/ 746125 w 1151018"/>
                  <a:gd name="connsiteY150" fmla="*/ 950568 h 993051"/>
                  <a:gd name="connsiteX151" fmla="*/ 739775 w 1151018"/>
                  <a:gd name="connsiteY151" fmla="*/ 960093 h 993051"/>
                  <a:gd name="connsiteX152" fmla="*/ 701675 w 1151018"/>
                  <a:gd name="connsiteY152" fmla="*/ 990255 h 993051"/>
                  <a:gd name="connsiteX153" fmla="*/ 696913 w 1151018"/>
                  <a:gd name="connsiteY153" fmla="*/ 983905 h 993051"/>
                  <a:gd name="connsiteX154" fmla="*/ 690563 w 1151018"/>
                  <a:gd name="connsiteY154" fmla="*/ 964855 h 993051"/>
                  <a:gd name="connsiteX155" fmla="*/ 682625 w 1151018"/>
                  <a:gd name="connsiteY155" fmla="*/ 963268 h 993051"/>
                  <a:gd name="connsiteX156" fmla="*/ 677863 w 1151018"/>
                  <a:gd name="connsiteY156" fmla="*/ 952155 h 993051"/>
                  <a:gd name="connsiteX157" fmla="*/ 666750 w 1151018"/>
                  <a:gd name="connsiteY157" fmla="*/ 941043 h 993051"/>
                  <a:gd name="connsiteX158" fmla="*/ 655638 w 1151018"/>
                  <a:gd name="connsiteY158" fmla="*/ 929930 h 993051"/>
                  <a:gd name="connsiteX159" fmla="*/ 654050 w 1151018"/>
                  <a:gd name="connsiteY159" fmla="*/ 915643 h 993051"/>
                  <a:gd name="connsiteX160" fmla="*/ 649288 w 1151018"/>
                  <a:gd name="connsiteY160" fmla="*/ 914055 h 993051"/>
                  <a:gd name="connsiteX161" fmla="*/ 639763 w 1151018"/>
                  <a:gd name="connsiteY161" fmla="*/ 926755 h 993051"/>
                  <a:gd name="connsiteX162" fmla="*/ 635000 w 1151018"/>
                  <a:gd name="connsiteY162" fmla="*/ 933105 h 993051"/>
                  <a:gd name="connsiteX163" fmla="*/ 625475 w 1151018"/>
                  <a:gd name="connsiteY163" fmla="*/ 934693 h 993051"/>
                  <a:gd name="connsiteX164" fmla="*/ 620713 w 1151018"/>
                  <a:gd name="connsiteY164" fmla="*/ 937868 h 993051"/>
                  <a:gd name="connsiteX165" fmla="*/ 619125 w 1151018"/>
                  <a:gd name="connsiteY165" fmla="*/ 944218 h 993051"/>
                  <a:gd name="connsiteX166" fmla="*/ 612775 w 1151018"/>
                  <a:gd name="connsiteY166" fmla="*/ 956918 h 993051"/>
                  <a:gd name="connsiteX167" fmla="*/ 592138 w 1151018"/>
                  <a:gd name="connsiteY167" fmla="*/ 955330 h 993051"/>
                  <a:gd name="connsiteX168" fmla="*/ 588963 w 1151018"/>
                  <a:gd name="connsiteY168" fmla="*/ 937868 h 993051"/>
                  <a:gd name="connsiteX169" fmla="*/ 581025 w 1151018"/>
                  <a:gd name="connsiteY169" fmla="*/ 934693 h 993051"/>
                  <a:gd name="connsiteX170" fmla="*/ 576263 w 1151018"/>
                  <a:gd name="connsiteY170" fmla="*/ 928343 h 993051"/>
                  <a:gd name="connsiteX171" fmla="*/ 573088 w 1151018"/>
                  <a:gd name="connsiteY171" fmla="*/ 917230 h 993051"/>
                  <a:gd name="connsiteX172" fmla="*/ 566738 w 1151018"/>
                  <a:gd name="connsiteY172" fmla="*/ 915643 h 993051"/>
                  <a:gd name="connsiteX173" fmla="*/ 558800 w 1151018"/>
                  <a:gd name="connsiteY173" fmla="*/ 910880 h 993051"/>
                  <a:gd name="connsiteX174" fmla="*/ 555625 w 1151018"/>
                  <a:gd name="connsiteY174" fmla="*/ 906118 h 993051"/>
                  <a:gd name="connsiteX175" fmla="*/ 546100 w 1151018"/>
                  <a:gd name="connsiteY175" fmla="*/ 899768 h 993051"/>
                  <a:gd name="connsiteX176" fmla="*/ 542925 w 1151018"/>
                  <a:gd name="connsiteY176" fmla="*/ 893418 h 993051"/>
                  <a:gd name="connsiteX177" fmla="*/ 541338 w 1151018"/>
                  <a:gd name="connsiteY177" fmla="*/ 887068 h 993051"/>
                  <a:gd name="connsiteX178" fmla="*/ 533400 w 1151018"/>
                  <a:gd name="connsiteY178" fmla="*/ 879130 h 993051"/>
                  <a:gd name="connsiteX179" fmla="*/ 520700 w 1151018"/>
                  <a:gd name="connsiteY179" fmla="*/ 871193 h 993051"/>
                  <a:gd name="connsiteX180" fmla="*/ 511175 w 1151018"/>
                  <a:gd name="connsiteY180" fmla="*/ 868018 h 993051"/>
                  <a:gd name="connsiteX181" fmla="*/ 498475 w 1151018"/>
                  <a:gd name="connsiteY181" fmla="*/ 858493 h 993051"/>
                  <a:gd name="connsiteX182" fmla="*/ 490538 w 1151018"/>
                  <a:gd name="connsiteY182" fmla="*/ 856905 h 993051"/>
                  <a:gd name="connsiteX183" fmla="*/ 474663 w 1151018"/>
                  <a:gd name="connsiteY183" fmla="*/ 858493 h 993051"/>
                  <a:gd name="connsiteX184" fmla="*/ 471488 w 1151018"/>
                  <a:gd name="connsiteY184" fmla="*/ 864843 h 993051"/>
                  <a:gd name="connsiteX185" fmla="*/ 466725 w 1151018"/>
                  <a:gd name="connsiteY185" fmla="*/ 868018 h 993051"/>
                  <a:gd name="connsiteX186" fmla="*/ 461963 w 1151018"/>
                  <a:gd name="connsiteY186" fmla="*/ 872780 h 993051"/>
                  <a:gd name="connsiteX187" fmla="*/ 444500 w 1151018"/>
                  <a:gd name="connsiteY187" fmla="*/ 868018 h 993051"/>
                  <a:gd name="connsiteX188" fmla="*/ 442913 w 1151018"/>
                  <a:gd name="connsiteY188" fmla="*/ 861668 h 993051"/>
                  <a:gd name="connsiteX189" fmla="*/ 434975 w 1151018"/>
                  <a:gd name="connsiteY189" fmla="*/ 845793 h 993051"/>
                  <a:gd name="connsiteX190" fmla="*/ 436563 w 1151018"/>
                  <a:gd name="connsiteY190" fmla="*/ 839443 h 993051"/>
                  <a:gd name="connsiteX191" fmla="*/ 444500 w 1151018"/>
                  <a:gd name="connsiteY191" fmla="*/ 837855 h 993051"/>
                  <a:gd name="connsiteX192" fmla="*/ 454025 w 1151018"/>
                  <a:gd name="connsiteY192" fmla="*/ 836268 h 993051"/>
                  <a:gd name="connsiteX193" fmla="*/ 450850 w 1151018"/>
                  <a:gd name="connsiteY193" fmla="*/ 831505 h 993051"/>
                  <a:gd name="connsiteX194" fmla="*/ 447675 w 1151018"/>
                  <a:gd name="connsiteY194" fmla="*/ 821980 h 993051"/>
                  <a:gd name="connsiteX195" fmla="*/ 433388 w 1151018"/>
                  <a:gd name="connsiteY195" fmla="*/ 820393 h 993051"/>
                  <a:gd name="connsiteX196" fmla="*/ 427038 w 1151018"/>
                  <a:gd name="connsiteY196" fmla="*/ 825155 h 993051"/>
                  <a:gd name="connsiteX197" fmla="*/ 392113 w 1151018"/>
                  <a:gd name="connsiteY197" fmla="*/ 821980 h 993051"/>
                  <a:gd name="connsiteX198" fmla="*/ 377825 w 1151018"/>
                  <a:gd name="connsiteY198" fmla="*/ 815630 h 993051"/>
                  <a:gd name="connsiteX199" fmla="*/ 368300 w 1151018"/>
                  <a:gd name="connsiteY199" fmla="*/ 810868 h 993051"/>
                  <a:gd name="connsiteX200" fmla="*/ 363538 w 1151018"/>
                  <a:gd name="connsiteY200" fmla="*/ 807693 h 993051"/>
                  <a:gd name="connsiteX201" fmla="*/ 350838 w 1151018"/>
                  <a:gd name="connsiteY201" fmla="*/ 801343 h 993051"/>
                  <a:gd name="connsiteX202" fmla="*/ 347663 w 1151018"/>
                  <a:gd name="connsiteY202" fmla="*/ 804518 h 993051"/>
                  <a:gd name="connsiteX203" fmla="*/ 350838 w 1151018"/>
                  <a:gd name="connsiteY203" fmla="*/ 810868 h 993051"/>
                  <a:gd name="connsiteX204" fmla="*/ 354013 w 1151018"/>
                  <a:gd name="connsiteY204" fmla="*/ 831505 h 993051"/>
                  <a:gd name="connsiteX205" fmla="*/ 355600 w 1151018"/>
                  <a:gd name="connsiteY205" fmla="*/ 839443 h 993051"/>
                  <a:gd name="connsiteX206" fmla="*/ 358775 w 1151018"/>
                  <a:gd name="connsiteY206" fmla="*/ 844205 h 993051"/>
                  <a:gd name="connsiteX207" fmla="*/ 354013 w 1151018"/>
                  <a:gd name="connsiteY207" fmla="*/ 847380 h 993051"/>
                  <a:gd name="connsiteX208" fmla="*/ 344488 w 1151018"/>
                  <a:gd name="connsiteY208" fmla="*/ 848968 h 993051"/>
                  <a:gd name="connsiteX209" fmla="*/ 339725 w 1151018"/>
                  <a:gd name="connsiteY209" fmla="*/ 858493 h 993051"/>
                  <a:gd name="connsiteX210" fmla="*/ 334963 w 1151018"/>
                  <a:gd name="connsiteY210" fmla="*/ 864843 h 993051"/>
                  <a:gd name="connsiteX211" fmla="*/ 319088 w 1151018"/>
                  <a:gd name="connsiteY211" fmla="*/ 863255 h 993051"/>
                  <a:gd name="connsiteX212" fmla="*/ 317500 w 1151018"/>
                  <a:gd name="connsiteY212" fmla="*/ 858493 h 993051"/>
                  <a:gd name="connsiteX213" fmla="*/ 311150 w 1151018"/>
                  <a:gd name="connsiteY213" fmla="*/ 850555 h 993051"/>
                  <a:gd name="connsiteX214" fmla="*/ 301625 w 1151018"/>
                  <a:gd name="connsiteY214" fmla="*/ 839443 h 993051"/>
                  <a:gd name="connsiteX215" fmla="*/ 296863 w 1151018"/>
                  <a:gd name="connsiteY215" fmla="*/ 833093 h 993051"/>
                  <a:gd name="connsiteX216" fmla="*/ 284163 w 1151018"/>
                  <a:gd name="connsiteY216" fmla="*/ 828330 h 993051"/>
                  <a:gd name="connsiteX217" fmla="*/ 261938 w 1151018"/>
                  <a:gd name="connsiteY217" fmla="*/ 810868 h 993051"/>
                  <a:gd name="connsiteX218" fmla="*/ 260350 w 1151018"/>
                  <a:gd name="connsiteY218" fmla="*/ 806105 h 993051"/>
                  <a:gd name="connsiteX219" fmla="*/ 276225 w 1151018"/>
                  <a:gd name="connsiteY219" fmla="*/ 799755 h 993051"/>
                  <a:gd name="connsiteX220" fmla="*/ 282575 w 1151018"/>
                  <a:gd name="connsiteY220" fmla="*/ 794993 h 993051"/>
                  <a:gd name="connsiteX221" fmla="*/ 280988 w 1151018"/>
                  <a:gd name="connsiteY221" fmla="*/ 790230 h 993051"/>
                  <a:gd name="connsiteX222" fmla="*/ 268288 w 1151018"/>
                  <a:gd name="connsiteY222" fmla="*/ 782293 h 993051"/>
                  <a:gd name="connsiteX223" fmla="*/ 266700 w 1151018"/>
                  <a:gd name="connsiteY223" fmla="*/ 775943 h 993051"/>
                  <a:gd name="connsiteX224" fmla="*/ 266700 w 1151018"/>
                  <a:gd name="connsiteY224" fmla="*/ 766418 h 993051"/>
                  <a:gd name="connsiteX225" fmla="*/ 241300 w 1151018"/>
                  <a:gd name="connsiteY225" fmla="*/ 774355 h 993051"/>
                  <a:gd name="connsiteX226" fmla="*/ 239713 w 1151018"/>
                  <a:gd name="connsiteY226" fmla="*/ 782293 h 993051"/>
                  <a:gd name="connsiteX227" fmla="*/ 231775 w 1151018"/>
                  <a:gd name="connsiteY227" fmla="*/ 772768 h 993051"/>
                  <a:gd name="connsiteX228" fmla="*/ 225425 w 1151018"/>
                  <a:gd name="connsiteY228" fmla="*/ 769593 h 993051"/>
                  <a:gd name="connsiteX229" fmla="*/ 219075 w 1151018"/>
                  <a:gd name="connsiteY229" fmla="*/ 764830 h 993051"/>
                  <a:gd name="connsiteX230" fmla="*/ 190500 w 1151018"/>
                  <a:gd name="connsiteY230" fmla="*/ 756893 h 993051"/>
                  <a:gd name="connsiteX231" fmla="*/ 185738 w 1151018"/>
                  <a:gd name="connsiteY231" fmla="*/ 753718 h 993051"/>
                  <a:gd name="connsiteX232" fmla="*/ 158750 w 1151018"/>
                  <a:gd name="connsiteY232" fmla="*/ 750543 h 993051"/>
                  <a:gd name="connsiteX233" fmla="*/ 157163 w 1151018"/>
                  <a:gd name="connsiteY233" fmla="*/ 745780 h 993051"/>
                  <a:gd name="connsiteX234" fmla="*/ 155575 w 1151018"/>
                  <a:gd name="connsiteY234" fmla="*/ 729905 h 993051"/>
                  <a:gd name="connsiteX235" fmla="*/ 147638 w 1151018"/>
                  <a:gd name="connsiteY235" fmla="*/ 725143 h 993051"/>
                  <a:gd name="connsiteX236" fmla="*/ 136525 w 1151018"/>
                  <a:gd name="connsiteY236" fmla="*/ 717205 h 993051"/>
                  <a:gd name="connsiteX237" fmla="*/ 130175 w 1151018"/>
                  <a:gd name="connsiteY237" fmla="*/ 725143 h 993051"/>
                  <a:gd name="connsiteX238" fmla="*/ 125413 w 1151018"/>
                  <a:gd name="connsiteY238" fmla="*/ 726730 h 993051"/>
                  <a:gd name="connsiteX239" fmla="*/ 112713 w 1151018"/>
                  <a:gd name="connsiteY239" fmla="*/ 729905 h 993051"/>
                  <a:gd name="connsiteX240" fmla="*/ 114300 w 1151018"/>
                  <a:gd name="connsiteY240" fmla="*/ 723555 h 993051"/>
                  <a:gd name="connsiteX241" fmla="*/ 115888 w 1151018"/>
                  <a:gd name="connsiteY241" fmla="*/ 715618 h 993051"/>
                  <a:gd name="connsiteX242" fmla="*/ 119063 w 1151018"/>
                  <a:gd name="connsiteY242" fmla="*/ 706093 h 993051"/>
                  <a:gd name="connsiteX243" fmla="*/ 117475 w 1151018"/>
                  <a:gd name="connsiteY243" fmla="*/ 658468 h 993051"/>
                  <a:gd name="connsiteX244" fmla="*/ 114300 w 1151018"/>
                  <a:gd name="connsiteY244" fmla="*/ 652118 h 993051"/>
                  <a:gd name="connsiteX245" fmla="*/ 93663 w 1151018"/>
                  <a:gd name="connsiteY245" fmla="*/ 634655 h 993051"/>
                  <a:gd name="connsiteX246" fmla="*/ 87313 w 1151018"/>
                  <a:gd name="connsiteY246" fmla="*/ 633068 h 993051"/>
                  <a:gd name="connsiteX247" fmla="*/ 79375 w 1151018"/>
                  <a:gd name="connsiteY247" fmla="*/ 593380 h 993051"/>
                  <a:gd name="connsiteX248" fmla="*/ 68263 w 1151018"/>
                  <a:gd name="connsiteY248" fmla="*/ 590205 h 993051"/>
                  <a:gd name="connsiteX249" fmla="*/ 61913 w 1151018"/>
                  <a:gd name="connsiteY249" fmla="*/ 577505 h 993051"/>
                  <a:gd name="connsiteX250" fmla="*/ 65088 w 1151018"/>
                  <a:gd name="connsiteY250" fmla="*/ 571155 h 993051"/>
                  <a:gd name="connsiteX251" fmla="*/ 69850 w 1151018"/>
                  <a:gd name="connsiteY251" fmla="*/ 569568 h 993051"/>
                  <a:gd name="connsiteX252" fmla="*/ 73025 w 1151018"/>
                  <a:gd name="connsiteY252" fmla="*/ 514005 h 993051"/>
                  <a:gd name="connsiteX253" fmla="*/ 71438 w 1151018"/>
                  <a:gd name="connsiteY253" fmla="*/ 507655 h 993051"/>
                  <a:gd name="connsiteX254" fmla="*/ 68263 w 1151018"/>
                  <a:gd name="connsiteY254" fmla="*/ 502893 h 993051"/>
                  <a:gd name="connsiteX255" fmla="*/ 65088 w 1151018"/>
                  <a:gd name="connsiteY255" fmla="*/ 494955 h 993051"/>
                  <a:gd name="connsiteX256" fmla="*/ 52388 w 1151018"/>
                  <a:gd name="connsiteY256" fmla="*/ 490193 h 993051"/>
                  <a:gd name="connsiteX257" fmla="*/ 44450 w 1151018"/>
                  <a:gd name="connsiteY257" fmla="*/ 483843 h 993051"/>
                  <a:gd name="connsiteX258" fmla="*/ 44450 w 1151018"/>
                  <a:gd name="connsiteY258" fmla="*/ 466380 h 993051"/>
                  <a:gd name="connsiteX259" fmla="*/ 55563 w 1151018"/>
                  <a:gd name="connsiteY259" fmla="*/ 464793 h 993051"/>
                  <a:gd name="connsiteX260" fmla="*/ 58738 w 1151018"/>
                  <a:gd name="connsiteY260" fmla="*/ 460030 h 993051"/>
                  <a:gd name="connsiteX261" fmla="*/ 49213 w 1151018"/>
                  <a:gd name="connsiteY261" fmla="*/ 436218 h 993051"/>
                  <a:gd name="connsiteX262" fmla="*/ 42863 w 1151018"/>
                  <a:gd name="connsiteY262" fmla="*/ 431455 h 993051"/>
                  <a:gd name="connsiteX263" fmla="*/ 39688 w 1151018"/>
                  <a:gd name="connsiteY263" fmla="*/ 425105 h 993051"/>
                  <a:gd name="connsiteX264" fmla="*/ 34925 w 1151018"/>
                  <a:gd name="connsiteY264" fmla="*/ 421930 h 993051"/>
                  <a:gd name="connsiteX265" fmla="*/ 28575 w 1151018"/>
                  <a:gd name="connsiteY265" fmla="*/ 415580 h 993051"/>
                  <a:gd name="connsiteX266" fmla="*/ 23813 w 1151018"/>
                  <a:gd name="connsiteY266" fmla="*/ 412405 h 993051"/>
                  <a:gd name="connsiteX267" fmla="*/ 14288 w 1151018"/>
                  <a:gd name="connsiteY267" fmla="*/ 402880 h 993051"/>
                  <a:gd name="connsiteX268" fmla="*/ 3175 w 1151018"/>
                  <a:gd name="connsiteY268" fmla="*/ 401293 h 993051"/>
                  <a:gd name="connsiteX269" fmla="*/ 3175 w 1151018"/>
                  <a:gd name="connsiteY269" fmla="*/ 372718 h 993051"/>
                  <a:gd name="connsiteX270" fmla="*/ 9525 w 1151018"/>
                  <a:gd name="connsiteY270" fmla="*/ 361605 h 993051"/>
                  <a:gd name="connsiteX271" fmla="*/ 14288 w 1151018"/>
                  <a:gd name="connsiteY271" fmla="*/ 360018 h 993051"/>
                  <a:gd name="connsiteX272" fmla="*/ 23813 w 1151018"/>
                  <a:gd name="connsiteY272" fmla="*/ 358430 h 993051"/>
                  <a:gd name="connsiteX273" fmla="*/ 22225 w 1151018"/>
                  <a:gd name="connsiteY273" fmla="*/ 294930 h 993051"/>
                  <a:gd name="connsiteX274" fmla="*/ 15875 w 1151018"/>
                  <a:gd name="connsiteY274" fmla="*/ 280643 h 993051"/>
                  <a:gd name="connsiteX275" fmla="*/ 9525 w 1151018"/>
                  <a:gd name="connsiteY275" fmla="*/ 267943 h 993051"/>
                  <a:gd name="connsiteX276" fmla="*/ 6350 w 1151018"/>
                  <a:gd name="connsiteY276" fmla="*/ 258418 h 993051"/>
                  <a:gd name="connsiteX277" fmla="*/ 7938 w 1151018"/>
                  <a:gd name="connsiteY277" fmla="*/ 253655 h 993051"/>
                  <a:gd name="connsiteX278" fmla="*/ 20638 w 1151018"/>
                  <a:gd name="connsiteY278" fmla="*/ 256830 h 993051"/>
                  <a:gd name="connsiteX279" fmla="*/ 38100 w 1151018"/>
                  <a:gd name="connsiteY279" fmla="*/ 250480 h 993051"/>
                  <a:gd name="connsiteX280" fmla="*/ 44450 w 1151018"/>
                  <a:gd name="connsiteY280" fmla="*/ 239368 h 993051"/>
                  <a:gd name="connsiteX281" fmla="*/ 41275 w 1151018"/>
                  <a:gd name="connsiteY281" fmla="*/ 220318 h 993051"/>
                  <a:gd name="connsiteX282" fmla="*/ 34925 w 1151018"/>
                  <a:gd name="connsiteY282" fmla="*/ 215555 h 993051"/>
                  <a:gd name="connsiteX283" fmla="*/ 0 w 1151018"/>
                  <a:gd name="connsiteY283" fmla="*/ 210793 h 993051"/>
                  <a:gd name="connsiteX284" fmla="*/ 7938 w 1151018"/>
                  <a:gd name="connsiteY284" fmla="*/ 207618 h 993051"/>
                  <a:gd name="connsiteX285" fmla="*/ 15875 w 1151018"/>
                  <a:gd name="connsiteY285" fmla="*/ 206030 h 993051"/>
                  <a:gd name="connsiteX286" fmla="*/ 22225 w 1151018"/>
                  <a:gd name="connsiteY286" fmla="*/ 204443 h 993051"/>
                  <a:gd name="connsiteX287" fmla="*/ 30163 w 1151018"/>
                  <a:gd name="connsiteY287" fmla="*/ 196505 h 993051"/>
                  <a:gd name="connsiteX288" fmla="*/ 38100 w 1151018"/>
                  <a:gd name="connsiteY288" fmla="*/ 182218 h 993051"/>
                  <a:gd name="connsiteX289" fmla="*/ 60325 w 1151018"/>
                  <a:gd name="connsiteY289" fmla="*/ 179043 h 993051"/>
                  <a:gd name="connsiteX290" fmla="*/ 61913 w 1151018"/>
                  <a:gd name="connsiteY290" fmla="*/ 174280 h 993051"/>
                  <a:gd name="connsiteX291" fmla="*/ 73025 w 1151018"/>
                  <a:gd name="connsiteY291" fmla="*/ 169518 h 993051"/>
                  <a:gd name="connsiteX292" fmla="*/ 100013 w 1151018"/>
                  <a:gd name="connsiteY292" fmla="*/ 161580 h 993051"/>
                  <a:gd name="connsiteX293" fmla="*/ 106363 w 1151018"/>
                  <a:gd name="connsiteY293" fmla="*/ 156818 h 993051"/>
                  <a:gd name="connsiteX294" fmla="*/ 127000 w 1151018"/>
                  <a:gd name="connsiteY294" fmla="*/ 158405 h 993051"/>
                  <a:gd name="connsiteX295" fmla="*/ 142875 w 1151018"/>
                  <a:gd name="connsiteY295" fmla="*/ 152055 h 993051"/>
                  <a:gd name="connsiteX296" fmla="*/ 147638 w 1151018"/>
                  <a:gd name="connsiteY296" fmla="*/ 139355 h 993051"/>
                  <a:gd name="connsiteX297" fmla="*/ 168275 w 1151018"/>
                  <a:gd name="connsiteY297" fmla="*/ 133005 h 993051"/>
                  <a:gd name="connsiteX298" fmla="*/ 176213 w 1151018"/>
                  <a:gd name="connsiteY298" fmla="*/ 129830 h 993051"/>
                  <a:gd name="connsiteX299" fmla="*/ 190500 w 1151018"/>
                  <a:gd name="connsiteY299" fmla="*/ 128243 h 993051"/>
                  <a:gd name="connsiteX300" fmla="*/ 203200 w 1151018"/>
                  <a:gd name="connsiteY300" fmla="*/ 125068 h 993051"/>
                  <a:gd name="connsiteX301" fmla="*/ 207963 w 1151018"/>
                  <a:gd name="connsiteY301" fmla="*/ 123480 h 993051"/>
                  <a:gd name="connsiteX302" fmla="*/ 214313 w 1151018"/>
                  <a:gd name="connsiteY302" fmla="*/ 115543 h 993051"/>
                  <a:gd name="connsiteX303" fmla="*/ 215900 w 1151018"/>
                  <a:gd name="connsiteY303" fmla="*/ 110780 h 993051"/>
                  <a:gd name="connsiteX304" fmla="*/ 220663 w 1151018"/>
                  <a:gd name="connsiteY304" fmla="*/ 90143 h 993051"/>
                  <a:gd name="connsiteX305" fmla="*/ 230188 w 1151018"/>
                  <a:gd name="connsiteY305" fmla="*/ 86968 h 993051"/>
                  <a:gd name="connsiteX306" fmla="*/ 238125 w 1151018"/>
                  <a:gd name="connsiteY306" fmla="*/ 80618 h 993051"/>
                  <a:gd name="connsiteX307" fmla="*/ 255588 w 1151018"/>
                  <a:gd name="connsiteY307" fmla="*/ 71093 h 993051"/>
                  <a:gd name="connsiteX308" fmla="*/ 265113 w 1151018"/>
                  <a:gd name="connsiteY308" fmla="*/ 64743 h 993051"/>
                  <a:gd name="connsiteX309" fmla="*/ 285750 w 1151018"/>
                  <a:gd name="connsiteY309" fmla="*/ 52043 h 993051"/>
                  <a:gd name="connsiteX310" fmla="*/ 295275 w 1151018"/>
                  <a:gd name="connsiteY310" fmla="*/ 45693 h 993051"/>
                  <a:gd name="connsiteX311" fmla="*/ 300038 w 1151018"/>
                  <a:gd name="connsiteY311" fmla="*/ 40930 h 993051"/>
                  <a:gd name="connsiteX312" fmla="*/ 307975 w 1151018"/>
                  <a:gd name="connsiteY312" fmla="*/ 36168 h 993051"/>
                  <a:gd name="connsiteX313" fmla="*/ 322263 w 1151018"/>
                  <a:gd name="connsiteY313" fmla="*/ 23468 h 993051"/>
                  <a:gd name="connsiteX314" fmla="*/ 341313 w 1151018"/>
                  <a:gd name="connsiteY314" fmla="*/ 18705 h 993051"/>
                  <a:gd name="connsiteX315" fmla="*/ 355600 w 1151018"/>
                  <a:gd name="connsiteY315" fmla="*/ 15530 h 993051"/>
                  <a:gd name="connsiteX316" fmla="*/ 365125 w 1151018"/>
                  <a:gd name="connsiteY316" fmla="*/ 10768 h 993051"/>
                  <a:gd name="connsiteX317" fmla="*/ 419100 w 1151018"/>
                  <a:gd name="connsiteY317" fmla="*/ 10768 h 993051"/>
                  <a:gd name="connsiteX318" fmla="*/ 436563 w 1151018"/>
                  <a:gd name="connsiteY318" fmla="*/ 15530 h 993051"/>
                  <a:gd name="connsiteX319" fmla="*/ 444500 w 1151018"/>
                  <a:gd name="connsiteY319" fmla="*/ 20293 h 993051"/>
                  <a:gd name="connsiteX320" fmla="*/ 452438 w 1151018"/>
                  <a:gd name="connsiteY320" fmla="*/ 21880 h 993051"/>
                  <a:gd name="connsiteX321" fmla="*/ 458788 w 1151018"/>
                  <a:gd name="connsiteY321" fmla="*/ 23468 h 993051"/>
                  <a:gd name="connsiteX322" fmla="*/ 465138 w 1151018"/>
                  <a:gd name="connsiteY322" fmla="*/ 28230 h 993051"/>
                  <a:gd name="connsiteX323" fmla="*/ 466725 w 1151018"/>
                  <a:gd name="connsiteY323" fmla="*/ 32993 h 993051"/>
                  <a:gd name="connsiteX324" fmla="*/ 469900 w 1151018"/>
                  <a:gd name="connsiteY324" fmla="*/ 39343 h 993051"/>
                  <a:gd name="connsiteX325" fmla="*/ 471488 w 1151018"/>
                  <a:gd name="connsiteY325" fmla="*/ 44105 h 993051"/>
                  <a:gd name="connsiteX326" fmla="*/ 463550 w 1151018"/>
                  <a:gd name="connsiteY326" fmla="*/ 42518 h 993051"/>
                  <a:gd name="connsiteX327" fmla="*/ 447675 w 1151018"/>
                  <a:gd name="connsiteY327" fmla="*/ 28230 h 993051"/>
                  <a:gd name="connsiteX328" fmla="*/ 439738 w 1151018"/>
                  <a:gd name="connsiteY328" fmla="*/ 15530 h 993051"/>
                  <a:gd name="connsiteX329" fmla="*/ 423863 w 1151018"/>
                  <a:gd name="connsiteY329" fmla="*/ 23468 h 993051"/>
                  <a:gd name="connsiteX330" fmla="*/ 414338 w 1151018"/>
                  <a:gd name="connsiteY330" fmla="*/ 29818 h 993051"/>
                  <a:gd name="connsiteX331" fmla="*/ 420688 w 1151018"/>
                  <a:gd name="connsiteY331" fmla="*/ 36168 h 993051"/>
                  <a:gd name="connsiteX332" fmla="*/ 430213 w 1151018"/>
                  <a:gd name="connsiteY332" fmla="*/ 42518 h 993051"/>
                  <a:gd name="connsiteX333" fmla="*/ 438150 w 1151018"/>
                  <a:gd name="connsiteY333" fmla="*/ 56805 h 993051"/>
                  <a:gd name="connsiteX334" fmla="*/ 442913 w 1151018"/>
                  <a:gd name="connsiteY334" fmla="*/ 61568 h 993051"/>
                  <a:gd name="connsiteX335" fmla="*/ 452438 w 1151018"/>
                  <a:gd name="connsiteY335" fmla="*/ 71093 h 993051"/>
                  <a:gd name="connsiteX336" fmla="*/ 465138 w 1151018"/>
                  <a:gd name="connsiteY336" fmla="*/ 79030 h 993051"/>
                  <a:gd name="connsiteX337" fmla="*/ 466725 w 1151018"/>
                  <a:gd name="connsiteY337" fmla="*/ 83793 h 993051"/>
                  <a:gd name="connsiteX338" fmla="*/ 473075 w 1151018"/>
                  <a:gd name="connsiteY338" fmla="*/ 85380 h 993051"/>
                  <a:gd name="connsiteX339" fmla="*/ 520700 w 1151018"/>
                  <a:gd name="connsiteY339" fmla="*/ 91730 h 993051"/>
                  <a:gd name="connsiteX340" fmla="*/ 546100 w 1151018"/>
                  <a:gd name="connsiteY340" fmla="*/ 83793 h 993051"/>
                  <a:gd name="connsiteX341" fmla="*/ 550863 w 1151018"/>
                  <a:gd name="connsiteY341" fmla="*/ 77443 h 993051"/>
                  <a:gd name="connsiteX342" fmla="*/ 558800 w 1151018"/>
                  <a:gd name="connsiteY342" fmla="*/ 71093 h 993051"/>
                  <a:gd name="connsiteX343" fmla="*/ 566738 w 1151018"/>
                  <a:gd name="connsiteY343" fmla="*/ 64743 h 993051"/>
                  <a:gd name="connsiteX344" fmla="*/ 573088 w 1151018"/>
                  <a:gd name="connsiteY344" fmla="*/ 58393 h 993051"/>
                  <a:gd name="connsiteX345" fmla="*/ 577850 w 1151018"/>
                  <a:gd name="connsiteY345" fmla="*/ 55218 h 993051"/>
                  <a:gd name="connsiteX346" fmla="*/ 571500 w 1151018"/>
                  <a:gd name="connsiteY346" fmla="*/ 52043 h 993051"/>
                  <a:gd name="connsiteX0" fmla="*/ 571500 w 1151018"/>
                  <a:gd name="connsiteY0" fmla="*/ 52043 h 993051"/>
                  <a:gd name="connsiteX1" fmla="*/ 579438 w 1151018"/>
                  <a:gd name="connsiteY1" fmla="*/ 50455 h 993051"/>
                  <a:gd name="connsiteX2" fmla="*/ 608013 w 1151018"/>
                  <a:gd name="connsiteY2" fmla="*/ 53630 h 993051"/>
                  <a:gd name="connsiteX3" fmla="*/ 612775 w 1151018"/>
                  <a:gd name="connsiteY3" fmla="*/ 56805 h 993051"/>
                  <a:gd name="connsiteX4" fmla="*/ 625475 w 1151018"/>
                  <a:gd name="connsiteY4" fmla="*/ 58393 h 993051"/>
                  <a:gd name="connsiteX5" fmla="*/ 684213 w 1151018"/>
                  <a:gd name="connsiteY5" fmla="*/ 56805 h 993051"/>
                  <a:gd name="connsiteX6" fmla="*/ 693738 w 1151018"/>
                  <a:gd name="connsiteY6" fmla="*/ 55218 h 993051"/>
                  <a:gd name="connsiteX7" fmla="*/ 706438 w 1151018"/>
                  <a:gd name="connsiteY7" fmla="*/ 50455 h 993051"/>
                  <a:gd name="connsiteX8" fmla="*/ 711200 w 1151018"/>
                  <a:gd name="connsiteY8" fmla="*/ 48868 h 993051"/>
                  <a:gd name="connsiteX9" fmla="*/ 720725 w 1151018"/>
                  <a:gd name="connsiteY9" fmla="*/ 47280 h 993051"/>
                  <a:gd name="connsiteX10" fmla="*/ 738188 w 1151018"/>
                  <a:gd name="connsiteY10" fmla="*/ 42518 h 993051"/>
                  <a:gd name="connsiteX11" fmla="*/ 742950 w 1151018"/>
                  <a:gd name="connsiteY11" fmla="*/ 40930 h 993051"/>
                  <a:gd name="connsiteX12" fmla="*/ 758825 w 1151018"/>
                  <a:gd name="connsiteY12" fmla="*/ 39343 h 993051"/>
                  <a:gd name="connsiteX13" fmla="*/ 795338 w 1151018"/>
                  <a:gd name="connsiteY13" fmla="*/ 34580 h 993051"/>
                  <a:gd name="connsiteX14" fmla="*/ 812800 w 1151018"/>
                  <a:gd name="connsiteY14" fmla="*/ 28230 h 993051"/>
                  <a:gd name="connsiteX15" fmla="*/ 819150 w 1151018"/>
                  <a:gd name="connsiteY15" fmla="*/ 26643 h 993051"/>
                  <a:gd name="connsiteX16" fmla="*/ 835025 w 1151018"/>
                  <a:gd name="connsiteY16" fmla="*/ 23468 h 993051"/>
                  <a:gd name="connsiteX17" fmla="*/ 842963 w 1151018"/>
                  <a:gd name="connsiteY17" fmla="*/ 20293 h 993051"/>
                  <a:gd name="connsiteX18" fmla="*/ 852488 w 1151018"/>
                  <a:gd name="connsiteY18" fmla="*/ 18705 h 993051"/>
                  <a:gd name="connsiteX19" fmla="*/ 857250 w 1151018"/>
                  <a:gd name="connsiteY19" fmla="*/ 17118 h 993051"/>
                  <a:gd name="connsiteX20" fmla="*/ 862013 w 1151018"/>
                  <a:gd name="connsiteY20" fmla="*/ 13943 h 993051"/>
                  <a:gd name="connsiteX21" fmla="*/ 866775 w 1151018"/>
                  <a:gd name="connsiteY21" fmla="*/ 12355 h 993051"/>
                  <a:gd name="connsiteX22" fmla="*/ 877888 w 1151018"/>
                  <a:gd name="connsiteY22" fmla="*/ 7593 h 993051"/>
                  <a:gd name="connsiteX23" fmla="*/ 900113 w 1151018"/>
                  <a:gd name="connsiteY23" fmla="*/ 6005 h 993051"/>
                  <a:gd name="connsiteX24" fmla="*/ 904875 w 1151018"/>
                  <a:gd name="connsiteY24" fmla="*/ 12355 h 993051"/>
                  <a:gd name="connsiteX25" fmla="*/ 909638 w 1151018"/>
                  <a:gd name="connsiteY25" fmla="*/ 13943 h 993051"/>
                  <a:gd name="connsiteX26" fmla="*/ 919163 w 1151018"/>
                  <a:gd name="connsiteY26" fmla="*/ 20293 h 993051"/>
                  <a:gd name="connsiteX27" fmla="*/ 928688 w 1151018"/>
                  <a:gd name="connsiteY27" fmla="*/ 26643 h 993051"/>
                  <a:gd name="connsiteX28" fmla="*/ 936625 w 1151018"/>
                  <a:gd name="connsiteY28" fmla="*/ 31405 h 993051"/>
                  <a:gd name="connsiteX29" fmla="*/ 947738 w 1151018"/>
                  <a:gd name="connsiteY29" fmla="*/ 37755 h 993051"/>
                  <a:gd name="connsiteX30" fmla="*/ 960438 w 1151018"/>
                  <a:gd name="connsiteY30" fmla="*/ 48868 h 993051"/>
                  <a:gd name="connsiteX31" fmla="*/ 962025 w 1151018"/>
                  <a:gd name="connsiteY31" fmla="*/ 53630 h 993051"/>
                  <a:gd name="connsiteX32" fmla="*/ 965200 w 1151018"/>
                  <a:gd name="connsiteY32" fmla="*/ 64743 h 993051"/>
                  <a:gd name="connsiteX33" fmla="*/ 969963 w 1151018"/>
                  <a:gd name="connsiteY33" fmla="*/ 91730 h 993051"/>
                  <a:gd name="connsiteX34" fmla="*/ 977900 w 1151018"/>
                  <a:gd name="connsiteY34" fmla="*/ 104430 h 993051"/>
                  <a:gd name="connsiteX35" fmla="*/ 979488 w 1151018"/>
                  <a:gd name="connsiteY35" fmla="*/ 109193 h 993051"/>
                  <a:gd name="connsiteX36" fmla="*/ 982663 w 1151018"/>
                  <a:gd name="connsiteY36" fmla="*/ 121893 h 993051"/>
                  <a:gd name="connsiteX37" fmla="*/ 992188 w 1151018"/>
                  <a:gd name="connsiteY37" fmla="*/ 134593 h 993051"/>
                  <a:gd name="connsiteX38" fmla="*/ 1000125 w 1151018"/>
                  <a:gd name="connsiteY38" fmla="*/ 150468 h 993051"/>
                  <a:gd name="connsiteX39" fmla="*/ 1001713 w 1151018"/>
                  <a:gd name="connsiteY39" fmla="*/ 156818 h 993051"/>
                  <a:gd name="connsiteX40" fmla="*/ 1006475 w 1151018"/>
                  <a:gd name="connsiteY40" fmla="*/ 166343 h 993051"/>
                  <a:gd name="connsiteX41" fmla="*/ 1017663 w 1151018"/>
                  <a:gd name="connsiteY41" fmla="*/ 176548 h 993051"/>
                  <a:gd name="connsiteX42" fmla="*/ 1031875 w 1151018"/>
                  <a:gd name="connsiteY42" fmla="*/ 212380 h 993051"/>
                  <a:gd name="connsiteX43" fmla="*/ 1041400 w 1151018"/>
                  <a:gd name="connsiteY43" fmla="*/ 218730 h 993051"/>
                  <a:gd name="connsiteX44" fmla="*/ 1042988 w 1151018"/>
                  <a:gd name="connsiteY44" fmla="*/ 223493 h 993051"/>
                  <a:gd name="connsiteX45" fmla="*/ 1048583 w 1151018"/>
                  <a:gd name="connsiteY45" fmla="*/ 227424 h 993051"/>
                  <a:gd name="connsiteX46" fmla="*/ 1050925 w 1151018"/>
                  <a:gd name="connsiteY46" fmla="*/ 252068 h 993051"/>
                  <a:gd name="connsiteX47" fmla="*/ 1054100 w 1151018"/>
                  <a:gd name="connsiteY47" fmla="*/ 260005 h 993051"/>
                  <a:gd name="connsiteX48" fmla="*/ 1058863 w 1151018"/>
                  <a:gd name="connsiteY48" fmla="*/ 263180 h 993051"/>
                  <a:gd name="connsiteX49" fmla="*/ 1060450 w 1151018"/>
                  <a:gd name="connsiteY49" fmla="*/ 283818 h 993051"/>
                  <a:gd name="connsiteX50" fmla="*/ 1057275 w 1151018"/>
                  <a:gd name="connsiteY50" fmla="*/ 291755 h 993051"/>
                  <a:gd name="connsiteX51" fmla="*/ 1047750 w 1151018"/>
                  <a:gd name="connsiteY51" fmla="*/ 294930 h 993051"/>
                  <a:gd name="connsiteX52" fmla="*/ 1042988 w 1151018"/>
                  <a:gd name="connsiteY52" fmla="*/ 299693 h 993051"/>
                  <a:gd name="connsiteX53" fmla="*/ 1031875 w 1151018"/>
                  <a:gd name="connsiteY53" fmla="*/ 320330 h 993051"/>
                  <a:gd name="connsiteX54" fmla="*/ 1017588 w 1151018"/>
                  <a:gd name="connsiteY54" fmla="*/ 340968 h 993051"/>
                  <a:gd name="connsiteX55" fmla="*/ 1009650 w 1151018"/>
                  <a:gd name="connsiteY55" fmla="*/ 352080 h 993051"/>
                  <a:gd name="connsiteX56" fmla="*/ 1004888 w 1151018"/>
                  <a:gd name="connsiteY56" fmla="*/ 353668 h 993051"/>
                  <a:gd name="connsiteX57" fmla="*/ 1000125 w 1151018"/>
                  <a:gd name="connsiteY57" fmla="*/ 377480 h 993051"/>
                  <a:gd name="connsiteX58" fmla="*/ 998538 w 1151018"/>
                  <a:gd name="connsiteY58" fmla="*/ 383830 h 993051"/>
                  <a:gd name="connsiteX59" fmla="*/ 996950 w 1151018"/>
                  <a:gd name="connsiteY59" fmla="*/ 391768 h 993051"/>
                  <a:gd name="connsiteX60" fmla="*/ 1008063 w 1151018"/>
                  <a:gd name="connsiteY60" fmla="*/ 394943 h 993051"/>
                  <a:gd name="connsiteX61" fmla="*/ 1027113 w 1151018"/>
                  <a:gd name="connsiteY61" fmla="*/ 396530 h 993051"/>
                  <a:gd name="connsiteX62" fmla="*/ 1039813 w 1151018"/>
                  <a:gd name="connsiteY62" fmla="*/ 406055 h 993051"/>
                  <a:gd name="connsiteX63" fmla="*/ 1049338 w 1151018"/>
                  <a:gd name="connsiteY63" fmla="*/ 413993 h 993051"/>
                  <a:gd name="connsiteX64" fmla="*/ 1050925 w 1151018"/>
                  <a:gd name="connsiteY64" fmla="*/ 420343 h 993051"/>
                  <a:gd name="connsiteX65" fmla="*/ 1046163 w 1151018"/>
                  <a:gd name="connsiteY65" fmla="*/ 433043 h 993051"/>
                  <a:gd name="connsiteX66" fmla="*/ 1046163 w 1151018"/>
                  <a:gd name="connsiteY66" fmla="*/ 447330 h 993051"/>
                  <a:gd name="connsiteX67" fmla="*/ 1044575 w 1151018"/>
                  <a:gd name="connsiteY67" fmla="*/ 460030 h 993051"/>
                  <a:gd name="connsiteX68" fmla="*/ 1042988 w 1151018"/>
                  <a:gd name="connsiteY68" fmla="*/ 474318 h 993051"/>
                  <a:gd name="connsiteX69" fmla="*/ 1044575 w 1151018"/>
                  <a:gd name="connsiteY69" fmla="*/ 487018 h 993051"/>
                  <a:gd name="connsiteX70" fmla="*/ 1046163 w 1151018"/>
                  <a:gd name="connsiteY70" fmla="*/ 491780 h 993051"/>
                  <a:gd name="connsiteX71" fmla="*/ 1050925 w 1151018"/>
                  <a:gd name="connsiteY71" fmla="*/ 493368 h 993051"/>
                  <a:gd name="connsiteX72" fmla="*/ 1057275 w 1151018"/>
                  <a:gd name="connsiteY72" fmla="*/ 496543 h 993051"/>
                  <a:gd name="connsiteX73" fmla="*/ 1062038 w 1151018"/>
                  <a:gd name="connsiteY73" fmla="*/ 501305 h 993051"/>
                  <a:gd name="connsiteX74" fmla="*/ 1066800 w 1151018"/>
                  <a:gd name="connsiteY74" fmla="*/ 504480 h 993051"/>
                  <a:gd name="connsiteX75" fmla="*/ 1068388 w 1151018"/>
                  <a:gd name="connsiteY75" fmla="*/ 521943 h 993051"/>
                  <a:gd name="connsiteX76" fmla="*/ 1071563 w 1151018"/>
                  <a:gd name="connsiteY76" fmla="*/ 526705 h 993051"/>
                  <a:gd name="connsiteX77" fmla="*/ 1073150 w 1151018"/>
                  <a:gd name="connsiteY77" fmla="*/ 539405 h 993051"/>
                  <a:gd name="connsiteX78" fmla="*/ 1077913 w 1151018"/>
                  <a:gd name="connsiteY78" fmla="*/ 553693 h 993051"/>
                  <a:gd name="connsiteX79" fmla="*/ 1085850 w 1151018"/>
                  <a:gd name="connsiteY79" fmla="*/ 555280 h 993051"/>
                  <a:gd name="connsiteX80" fmla="*/ 1089025 w 1151018"/>
                  <a:gd name="connsiteY80" fmla="*/ 560043 h 993051"/>
                  <a:gd name="connsiteX81" fmla="*/ 1096963 w 1151018"/>
                  <a:gd name="connsiteY81" fmla="*/ 582268 h 993051"/>
                  <a:gd name="connsiteX82" fmla="*/ 1108075 w 1151018"/>
                  <a:gd name="connsiteY82" fmla="*/ 596555 h 993051"/>
                  <a:gd name="connsiteX83" fmla="*/ 1109663 w 1151018"/>
                  <a:gd name="connsiteY83" fmla="*/ 602905 h 993051"/>
                  <a:gd name="connsiteX84" fmla="*/ 1119188 w 1151018"/>
                  <a:gd name="connsiteY84" fmla="*/ 609255 h 993051"/>
                  <a:gd name="connsiteX85" fmla="*/ 1123950 w 1151018"/>
                  <a:gd name="connsiteY85" fmla="*/ 612430 h 993051"/>
                  <a:gd name="connsiteX86" fmla="*/ 1130300 w 1151018"/>
                  <a:gd name="connsiteY86" fmla="*/ 614018 h 993051"/>
                  <a:gd name="connsiteX87" fmla="*/ 1138238 w 1151018"/>
                  <a:gd name="connsiteY87" fmla="*/ 617193 h 993051"/>
                  <a:gd name="connsiteX88" fmla="*/ 1133475 w 1151018"/>
                  <a:gd name="connsiteY88" fmla="*/ 621955 h 993051"/>
                  <a:gd name="connsiteX89" fmla="*/ 1131888 w 1151018"/>
                  <a:gd name="connsiteY89" fmla="*/ 629893 h 993051"/>
                  <a:gd name="connsiteX90" fmla="*/ 1143000 w 1151018"/>
                  <a:gd name="connsiteY90" fmla="*/ 637830 h 993051"/>
                  <a:gd name="connsiteX91" fmla="*/ 1144588 w 1151018"/>
                  <a:gd name="connsiteY91" fmla="*/ 642593 h 993051"/>
                  <a:gd name="connsiteX92" fmla="*/ 1146175 w 1151018"/>
                  <a:gd name="connsiteY92" fmla="*/ 648943 h 993051"/>
                  <a:gd name="connsiteX93" fmla="*/ 1149350 w 1151018"/>
                  <a:gd name="connsiteY93" fmla="*/ 656880 h 993051"/>
                  <a:gd name="connsiteX94" fmla="*/ 1146175 w 1151018"/>
                  <a:gd name="connsiteY94" fmla="*/ 690218 h 993051"/>
                  <a:gd name="connsiteX95" fmla="*/ 1133475 w 1151018"/>
                  <a:gd name="connsiteY95" fmla="*/ 693393 h 993051"/>
                  <a:gd name="connsiteX96" fmla="*/ 1127125 w 1151018"/>
                  <a:gd name="connsiteY96" fmla="*/ 701330 h 993051"/>
                  <a:gd name="connsiteX97" fmla="*/ 1123950 w 1151018"/>
                  <a:gd name="connsiteY97" fmla="*/ 718793 h 993051"/>
                  <a:gd name="connsiteX98" fmla="*/ 1119188 w 1151018"/>
                  <a:gd name="connsiteY98" fmla="*/ 721968 h 993051"/>
                  <a:gd name="connsiteX99" fmla="*/ 1116013 w 1151018"/>
                  <a:gd name="connsiteY99" fmla="*/ 733080 h 993051"/>
                  <a:gd name="connsiteX100" fmla="*/ 1112838 w 1151018"/>
                  <a:gd name="connsiteY100" fmla="*/ 737843 h 993051"/>
                  <a:gd name="connsiteX101" fmla="*/ 1106488 w 1151018"/>
                  <a:gd name="connsiteY101" fmla="*/ 739430 h 993051"/>
                  <a:gd name="connsiteX102" fmla="*/ 1096963 w 1151018"/>
                  <a:gd name="connsiteY102" fmla="*/ 747368 h 993051"/>
                  <a:gd name="connsiteX103" fmla="*/ 1079500 w 1151018"/>
                  <a:gd name="connsiteY103" fmla="*/ 763243 h 993051"/>
                  <a:gd name="connsiteX104" fmla="*/ 1071563 w 1151018"/>
                  <a:gd name="connsiteY104" fmla="*/ 774355 h 993051"/>
                  <a:gd name="connsiteX105" fmla="*/ 1068388 w 1151018"/>
                  <a:gd name="connsiteY105" fmla="*/ 782293 h 993051"/>
                  <a:gd name="connsiteX106" fmla="*/ 1065213 w 1151018"/>
                  <a:gd name="connsiteY106" fmla="*/ 787055 h 993051"/>
                  <a:gd name="connsiteX107" fmla="*/ 1062038 w 1151018"/>
                  <a:gd name="connsiteY107" fmla="*/ 794993 h 993051"/>
                  <a:gd name="connsiteX108" fmla="*/ 1058863 w 1151018"/>
                  <a:gd name="connsiteY108" fmla="*/ 804518 h 993051"/>
                  <a:gd name="connsiteX109" fmla="*/ 1052513 w 1151018"/>
                  <a:gd name="connsiteY109" fmla="*/ 817218 h 993051"/>
                  <a:gd name="connsiteX110" fmla="*/ 1046163 w 1151018"/>
                  <a:gd name="connsiteY110" fmla="*/ 831505 h 993051"/>
                  <a:gd name="connsiteX111" fmla="*/ 1044575 w 1151018"/>
                  <a:gd name="connsiteY111" fmla="*/ 836268 h 993051"/>
                  <a:gd name="connsiteX112" fmla="*/ 1041400 w 1151018"/>
                  <a:gd name="connsiteY112" fmla="*/ 842618 h 993051"/>
                  <a:gd name="connsiteX113" fmla="*/ 1039813 w 1151018"/>
                  <a:gd name="connsiteY113" fmla="*/ 847380 h 993051"/>
                  <a:gd name="connsiteX114" fmla="*/ 1033463 w 1151018"/>
                  <a:gd name="connsiteY114" fmla="*/ 853730 h 993051"/>
                  <a:gd name="connsiteX115" fmla="*/ 1028700 w 1151018"/>
                  <a:gd name="connsiteY115" fmla="*/ 866430 h 993051"/>
                  <a:gd name="connsiteX116" fmla="*/ 1022350 w 1151018"/>
                  <a:gd name="connsiteY116" fmla="*/ 882305 h 993051"/>
                  <a:gd name="connsiteX117" fmla="*/ 1025525 w 1151018"/>
                  <a:gd name="connsiteY117" fmla="*/ 891830 h 993051"/>
                  <a:gd name="connsiteX118" fmla="*/ 1030288 w 1151018"/>
                  <a:gd name="connsiteY118" fmla="*/ 896593 h 993051"/>
                  <a:gd name="connsiteX119" fmla="*/ 1033463 w 1151018"/>
                  <a:gd name="connsiteY119" fmla="*/ 902943 h 993051"/>
                  <a:gd name="connsiteX120" fmla="*/ 1036638 w 1151018"/>
                  <a:gd name="connsiteY120" fmla="*/ 910880 h 993051"/>
                  <a:gd name="connsiteX121" fmla="*/ 1039813 w 1151018"/>
                  <a:gd name="connsiteY121" fmla="*/ 921993 h 993051"/>
                  <a:gd name="connsiteX122" fmla="*/ 1044575 w 1151018"/>
                  <a:gd name="connsiteY122" fmla="*/ 925168 h 993051"/>
                  <a:gd name="connsiteX123" fmla="*/ 1033463 w 1151018"/>
                  <a:gd name="connsiteY123" fmla="*/ 936280 h 993051"/>
                  <a:gd name="connsiteX124" fmla="*/ 1039813 w 1151018"/>
                  <a:gd name="connsiteY124" fmla="*/ 939455 h 993051"/>
                  <a:gd name="connsiteX125" fmla="*/ 1046163 w 1151018"/>
                  <a:gd name="connsiteY125" fmla="*/ 944218 h 993051"/>
                  <a:gd name="connsiteX126" fmla="*/ 1049338 w 1151018"/>
                  <a:gd name="connsiteY126" fmla="*/ 956918 h 993051"/>
                  <a:gd name="connsiteX127" fmla="*/ 1050925 w 1151018"/>
                  <a:gd name="connsiteY127" fmla="*/ 961680 h 993051"/>
                  <a:gd name="connsiteX128" fmla="*/ 1060450 w 1151018"/>
                  <a:gd name="connsiteY128" fmla="*/ 971205 h 993051"/>
                  <a:gd name="connsiteX129" fmla="*/ 1022350 w 1151018"/>
                  <a:gd name="connsiteY129" fmla="*/ 971205 h 993051"/>
                  <a:gd name="connsiteX130" fmla="*/ 1019175 w 1151018"/>
                  <a:gd name="connsiteY130" fmla="*/ 964855 h 993051"/>
                  <a:gd name="connsiteX131" fmla="*/ 1014413 w 1151018"/>
                  <a:gd name="connsiteY131" fmla="*/ 963268 h 993051"/>
                  <a:gd name="connsiteX132" fmla="*/ 1000125 w 1151018"/>
                  <a:gd name="connsiteY132" fmla="*/ 960093 h 993051"/>
                  <a:gd name="connsiteX133" fmla="*/ 995363 w 1151018"/>
                  <a:gd name="connsiteY133" fmla="*/ 956918 h 993051"/>
                  <a:gd name="connsiteX134" fmla="*/ 985838 w 1151018"/>
                  <a:gd name="connsiteY134" fmla="*/ 955330 h 993051"/>
                  <a:gd name="connsiteX135" fmla="*/ 965200 w 1151018"/>
                  <a:gd name="connsiteY135" fmla="*/ 952155 h 993051"/>
                  <a:gd name="connsiteX136" fmla="*/ 960438 w 1151018"/>
                  <a:gd name="connsiteY136" fmla="*/ 947393 h 993051"/>
                  <a:gd name="connsiteX137" fmla="*/ 952500 w 1151018"/>
                  <a:gd name="connsiteY137" fmla="*/ 936280 h 993051"/>
                  <a:gd name="connsiteX138" fmla="*/ 938213 w 1151018"/>
                  <a:gd name="connsiteY138" fmla="*/ 928343 h 993051"/>
                  <a:gd name="connsiteX139" fmla="*/ 933450 w 1151018"/>
                  <a:gd name="connsiteY139" fmla="*/ 925168 h 993051"/>
                  <a:gd name="connsiteX140" fmla="*/ 922338 w 1151018"/>
                  <a:gd name="connsiteY140" fmla="*/ 923580 h 993051"/>
                  <a:gd name="connsiteX141" fmla="*/ 915988 w 1151018"/>
                  <a:gd name="connsiteY141" fmla="*/ 921993 h 993051"/>
                  <a:gd name="connsiteX142" fmla="*/ 896938 w 1151018"/>
                  <a:gd name="connsiteY142" fmla="*/ 918818 h 993051"/>
                  <a:gd name="connsiteX143" fmla="*/ 847725 w 1151018"/>
                  <a:gd name="connsiteY143" fmla="*/ 925168 h 993051"/>
                  <a:gd name="connsiteX144" fmla="*/ 844550 w 1151018"/>
                  <a:gd name="connsiteY144" fmla="*/ 929930 h 993051"/>
                  <a:gd name="connsiteX145" fmla="*/ 842963 w 1151018"/>
                  <a:gd name="connsiteY145" fmla="*/ 936280 h 993051"/>
                  <a:gd name="connsiteX146" fmla="*/ 836613 w 1151018"/>
                  <a:gd name="connsiteY146" fmla="*/ 939455 h 993051"/>
                  <a:gd name="connsiteX147" fmla="*/ 830263 w 1151018"/>
                  <a:gd name="connsiteY147" fmla="*/ 945805 h 993051"/>
                  <a:gd name="connsiteX148" fmla="*/ 811213 w 1151018"/>
                  <a:gd name="connsiteY148" fmla="*/ 944218 h 993051"/>
                  <a:gd name="connsiteX149" fmla="*/ 796925 w 1151018"/>
                  <a:gd name="connsiteY149" fmla="*/ 941043 h 993051"/>
                  <a:gd name="connsiteX150" fmla="*/ 746125 w 1151018"/>
                  <a:gd name="connsiteY150" fmla="*/ 950568 h 993051"/>
                  <a:gd name="connsiteX151" fmla="*/ 739775 w 1151018"/>
                  <a:gd name="connsiteY151" fmla="*/ 960093 h 993051"/>
                  <a:gd name="connsiteX152" fmla="*/ 701675 w 1151018"/>
                  <a:gd name="connsiteY152" fmla="*/ 990255 h 993051"/>
                  <a:gd name="connsiteX153" fmla="*/ 696913 w 1151018"/>
                  <a:gd name="connsiteY153" fmla="*/ 983905 h 993051"/>
                  <a:gd name="connsiteX154" fmla="*/ 690563 w 1151018"/>
                  <a:gd name="connsiteY154" fmla="*/ 964855 h 993051"/>
                  <a:gd name="connsiteX155" fmla="*/ 682625 w 1151018"/>
                  <a:gd name="connsiteY155" fmla="*/ 963268 h 993051"/>
                  <a:gd name="connsiteX156" fmla="*/ 677863 w 1151018"/>
                  <a:gd name="connsiteY156" fmla="*/ 952155 h 993051"/>
                  <a:gd name="connsiteX157" fmla="*/ 666750 w 1151018"/>
                  <a:gd name="connsiteY157" fmla="*/ 941043 h 993051"/>
                  <a:gd name="connsiteX158" fmla="*/ 655638 w 1151018"/>
                  <a:gd name="connsiteY158" fmla="*/ 929930 h 993051"/>
                  <a:gd name="connsiteX159" fmla="*/ 654050 w 1151018"/>
                  <a:gd name="connsiteY159" fmla="*/ 915643 h 993051"/>
                  <a:gd name="connsiteX160" fmla="*/ 649288 w 1151018"/>
                  <a:gd name="connsiteY160" fmla="*/ 914055 h 993051"/>
                  <a:gd name="connsiteX161" fmla="*/ 639763 w 1151018"/>
                  <a:gd name="connsiteY161" fmla="*/ 926755 h 993051"/>
                  <a:gd name="connsiteX162" fmla="*/ 635000 w 1151018"/>
                  <a:gd name="connsiteY162" fmla="*/ 933105 h 993051"/>
                  <a:gd name="connsiteX163" fmla="*/ 625475 w 1151018"/>
                  <a:gd name="connsiteY163" fmla="*/ 934693 h 993051"/>
                  <a:gd name="connsiteX164" fmla="*/ 620713 w 1151018"/>
                  <a:gd name="connsiteY164" fmla="*/ 937868 h 993051"/>
                  <a:gd name="connsiteX165" fmla="*/ 619125 w 1151018"/>
                  <a:gd name="connsiteY165" fmla="*/ 944218 h 993051"/>
                  <a:gd name="connsiteX166" fmla="*/ 612775 w 1151018"/>
                  <a:gd name="connsiteY166" fmla="*/ 956918 h 993051"/>
                  <a:gd name="connsiteX167" fmla="*/ 592138 w 1151018"/>
                  <a:gd name="connsiteY167" fmla="*/ 955330 h 993051"/>
                  <a:gd name="connsiteX168" fmla="*/ 588963 w 1151018"/>
                  <a:gd name="connsiteY168" fmla="*/ 937868 h 993051"/>
                  <a:gd name="connsiteX169" fmla="*/ 581025 w 1151018"/>
                  <a:gd name="connsiteY169" fmla="*/ 934693 h 993051"/>
                  <a:gd name="connsiteX170" fmla="*/ 576263 w 1151018"/>
                  <a:gd name="connsiteY170" fmla="*/ 928343 h 993051"/>
                  <a:gd name="connsiteX171" fmla="*/ 573088 w 1151018"/>
                  <a:gd name="connsiteY171" fmla="*/ 917230 h 993051"/>
                  <a:gd name="connsiteX172" fmla="*/ 566738 w 1151018"/>
                  <a:gd name="connsiteY172" fmla="*/ 915643 h 993051"/>
                  <a:gd name="connsiteX173" fmla="*/ 558800 w 1151018"/>
                  <a:gd name="connsiteY173" fmla="*/ 910880 h 993051"/>
                  <a:gd name="connsiteX174" fmla="*/ 555625 w 1151018"/>
                  <a:gd name="connsiteY174" fmla="*/ 906118 h 993051"/>
                  <a:gd name="connsiteX175" fmla="*/ 546100 w 1151018"/>
                  <a:gd name="connsiteY175" fmla="*/ 899768 h 993051"/>
                  <a:gd name="connsiteX176" fmla="*/ 542925 w 1151018"/>
                  <a:gd name="connsiteY176" fmla="*/ 893418 h 993051"/>
                  <a:gd name="connsiteX177" fmla="*/ 541338 w 1151018"/>
                  <a:gd name="connsiteY177" fmla="*/ 887068 h 993051"/>
                  <a:gd name="connsiteX178" fmla="*/ 533400 w 1151018"/>
                  <a:gd name="connsiteY178" fmla="*/ 879130 h 993051"/>
                  <a:gd name="connsiteX179" fmla="*/ 520700 w 1151018"/>
                  <a:gd name="connsiteY179" fmla="*/ 871193 h 993051"/>
                  <a:gd name="connsiteX180" fmla="*/ 511175 w 1151018"/>
                  <a:gd name="connsiteY180" fmla="*/ 868018 h 993051"/>
                  <a:gd name="connsiteX181" fmla="*/ 498475 w 1151018"/>
                  <a:gd name="connsiteY181" fmla="*/ 858493 h 993051"/>
                  <a:gd name="connsiteX182" fmla="*/ 490538 w 1151018"/>
                  <a:gd name="connsiteY182" fmla="*/ 856905 h 993051"/>
                  <a:gd name="connsiteX183" fmla="*/ 474663 w 1151018"/>
                  <a:gd name="connsiteY183" fmla="*/ 858493 h 993051"/>
                  <a:gd name="connsiteX184" fmla="*/ 471488 w 1151018"/>
                  <a:gd name="connsiteY184" fmla="*/ 864843 h 993051"/>
                  <a:gd name="connsiteX185" fmla="*/ 466725 w 1151018"/>
                  <a:gd name="connsiteY185" fmla="*/ 868018 h 993051"/>
                  <a:gd name="connsiteX186" fmla="*/ 461963 w 1151018"/>
                  <a:gd name="connsiteY186" fmla="*/ 872780 h 993051"/>
                  <a:gd name="connsiteX187" fmla="*/ 444500 w 1151018"/>
                  <a:gd name="connsiteY187" fmla="*/ 868018 h 993051"/>
                  <a:gd name="connsiteX188" fmla="*/ 442913 w 1151018"/>
                  <a:gd name="connsiteY188" fmla="*/ 861668 h 993051"/>
                  <a:gd name="connsiteX189" fmla="*/ 434975 w 1151018"/>
                  <a:gd name="connsiteY189" fmla="*/ 845793 h 993051"/>
                  <a:gd name="connsiteX190" fmla="*/ 436563 w 1151018"/>
                  <a:gd name="connsiteY190" fmla="*/ 839443 h 993051"/>
                  <a:gd name="connsiteX191" fmla="*/ 444500 w 1151018"/>
                  <a:gd name="connsiteY191" fmla="*/ 837855 h 993051"/>
                  <a:gd name="connsiteX192" fmla="*/ 454025 w 1151018"/>
                  <a:gd name="connsiteY192" fmla="*/ 836268 h 993051"/>
                  <a:gd name="connsiteX193" fmla="*/ 450850 w 1151018"/>
                  <a:gd name="connsiteY193" fmla="*/ 831505 h 993051"/>
                  <a:gd name="connsiteX194" fmla="*/ 447675 w 1151018"/>
                  <a:gd name="connsiteY194" fmla="*/ 821980 h 993051"/>
                  <a:gd name="connsiteX195" fmla="*/ 433388 w 1151018"/>
                  <a:gd name="connsiteY195" fmla="*/ 820393 h 993051"/>
                  <a:gd name="connsiteX196" fmla="*/ 427038 w 1151018"/>
                  <a:gd name="connsiteY196" fmla="*/ 825155 h 993051"/>
                  <a:gd name="connsiteX197" fmla="*/ 392113 w 1151018"/>
                  <a:gd name="connsiteY197" fmla="*/ 821980 h 993051"/>
                  <a:gd name="connsiteX198" fmla="*/ 377825 w 1151018"/>
                  <a:gd name="connsiteY198" fmla="*/ 815630 h 993051"/>
                  <a:gd name="connsiteX199" fmla="*/ 368300 w 1151018"/>
                  <a:gd name="connsiteY199" fmla="*/ 810868 h 993051"/>
                  <a:gd name="connsiteX200" fmla="*/ 363538 w 1151018"/>
                  <a:gd name="connsiteY200" fmla="*/ 807693 h 993051"/>
                  <a:gd name="connsiteX201" fmla="*/ 350838 w 1151018"/>
                  <a:gd name="connsiteY201" fmla="*/ 801343 h 993051"/>
                  <a:gd name="connsiteX202" fmla="*/ 347663 w 1151018"/>
                  <a:gd name="connsiteY202" fmla="*/ 804518 h 993051"/>
                  <a:gd name="connsiteX203" fmla="*/ 350838 w 1151018"/>
                  <a:gd name="connsiteY203" fmla="*/ 810868 h 993051"/>
                  <a:gd name="connsiteX204" fmla="*/ 354013 w 1151018"/>
                  <a:gd name="connsiteY204" fmla="*/ 831505 h 993051"/>
                  <a:gd name="connsiteX205" fmla="*/ 355600 w 1151018"/>
                  <a:gd name="connsiteY205" fmla="*/ 839443 h 993051"/>
                  <a:gd name="connsiteX206" fmla="*/ 358775 w 1151018"/>
                  <a:gd name="connsiteY206" fmla="*/ 844205 h 993051"/>
                  <a:gd name="connsiteX207" fmla="*/ 354013 w 1151018"/>
                  <a:gd name="connsiteY207" fmla="*/ 847380 h 993051"/>
                  <a:gd name="connsiteX208" fmla="*/ 344488 w 1151018"/>
                  <a:gd name="connsiteY208" fmla="*/ 848968 h 993051"/>
                  <a:gd name="connsiteX209" fmla="*/ 339725 w 1151018"/>
                  <a:gd name="connsiteY209" fmla="*/ 858493 h 993051"/>
                  <a:gd name="connsiteX210" fmla="*/ 334963 w 1151018"/>
                  <a:gd name="connsiteY210" fmla="*/ 864843 h 993051"/>
                  <a:gd name="connsiteX211" fmla="*/ 319088 w 1151018"/>
                  <a:gd name="connsiteY211" fmla="*/ 863255 h 993051"/>
                  <a:gd name="connsiteX212" fmla="*/ 317500 w 1151018"/>
                  <a:gd name="connsiteY212" fmla="*/ 858493 h 993051"/>
                  <a:gd name="connsiteX213" fmla="*/ 311150 w 1151018"/>
                  <a:gd name="connsiteY213" fmla="*/ 850555 h 993051"/>
                  <a:gd name="connsiteX214" fmla="*/ 301625 w 1151018"/>
                  <a:gd name="connsiteY214" fmla="*/ 839443 h 993051"/>
                  <a:gd name="connsiteX215" fmla="*/ 296863 w 1151018"/>
                  <a:gd name="connsiteY215" fmla="*/ 833093 h 993051"/>
                  <a:gd name="connsiteX216" fmla="*/ 284163 w 1151018"/>
                  <a:gd name="connsiteY216" fmla="*/ 828330 h 993051"/>
                  <a:gd name="connsiteX217" fmla="*/ 261938 w 1151018"/>
                  <a:gd name="connsiteY217" fmla="*/ 810868 h 993051"/>
                  <a:gd name="connsiteX218" fmla="*/ 260350 w 1151018"/>
                  <a:gd name="connsiteY218" fmla="*/ 806105 h 993051"/>
                  <a:gd name="connsiteX219" fmla="*/ 276225 w 1151018"/>
                  <a:gd name="connsiteY219" fmla="*/ 799755 h 993051"/>
                  <a:gd name="connsiteX220" fmla="*/ 282575 w 1151018"/>
                  <a:gd name="connsiteY220" fmla="*/ 794993 h 993051"/>
                  <a:gd name="connsiteX221" fmla="*/ 280988 w 1151018"/>
                  <a:gd name="connsiteY221" fmla="*/ 790230 h 993051"/>
                  <a:gd name="connsiteX222" fmla="*/ 268288 w 1151018"/>
                  <a:gd name="connsiteY222" fmla="*/ 782293 h 993051"/>
                  <a:gd name="connsiteX223" fmla="*/ 266700 w 1151018"/>
                  <a:gd name="connsiteY223" fmla="*/ 775943 h 993051"/>
                  <a:gd name="connsiteX224" fmla="*/ 266700 w 1151018"/>
                  <a:gd name="connsiteY224" fmla="*/ 766418 h 993051"/>
                  <a:gd name="connsiteX225" fmla="*/ 241300 w 1151018"/>
                  <a:gd name="connsiteY225" fmla="*/ 774355 h 993051"/>
                  <a:gd name="connsiteX226" fmla="*/ 239713 w 1151018"/>
                  <a:gd name="connsiteY226" fmla="*/ 782293 h 993051"/>
                  <a:gd name="connsiteX227" fmla="*/ 231775 w 1151018"/>
                  <a:gd name="connsiteY227" fmla="*/ 772768 h 993051"/>
                  <a:gd name="connsiteX228" fmla="*/ 225425 w 1151018"/>
                  <a:gd name="connsiteY228" fmla="*/ 769593 h 993051"/>
                  <a:gd name="connsiteX229" fmla="*/ 219075 w 1151018"/>
                  <a:gd name="connsiteY229" fmla="*/ 764830 h 993051"/>
                  <a:gd name="connsiteX230" fmla="*/ 190500 w 1151018"/>
                  <a:gd name="connsiteY230" fmla="*/ 756893 h 993051"/>
                  <a:gd name="connsiteX231" fmla="*/ 185738 w 1151018"/>
                  <a:gd name="connsiteY231" fmla="*/ 753718 h 993051"/>
                  <a:gd name="connsiteX232" fmla="*/ 158750 w 1151018"/>
                  <a:gd name="connsiteY232" fmla="*/ 750543 h 993051"/>
                  <a:gd name="connsiteX233" fmla="*/ 157163 w 1151018"/>
                  <a:gd name="connsiteY233" fmla="*/ 745780 h 993051"/>
                  <a:gd name="connsiteX234" fmla="*/ 155575 w 1151018"/>
                  <a:gd name="connsiteY234" fmla="*/ 729905 h 993051"/>
                  <a:gd name="connsiteX235" fmla="*/ 147638 w 1151018"/>
                  <a:gd name="connsiteY235" fmla="*/ 725143 h 993051"/>
                  <a:gd name="connsiteX236" fmla="*/ 136525 w 1151018"/>
                  <a:gd name="connsiteY236" fmla="*/ 717205 h 993051"/>
                  <a:gd name="connsiteX237" fmla="*/ 130175 w 1151018"/>
                  <a:gd name="connsiteY237" fmla="*/ 725143 h 993051"/>
                  <a:gd name="connsiteX238" fmla="*/ 125413 w 1151018"/>
                  <a:gd name="connsiteY238" fmla="*/ 726730 h 993051"/>
                  <a:gd name="connsiteX239" fmla="*/ 112713 w 1151018"/>
                  <a:gd name="connsiteY239" fmla="*/ 729905 h 993051"/>
                  <a:gd name="connsiteX240" fmla="*/ 114300 w 1151018"/>
                  <a:gd name="connsiteY240" fmla="*/ 723555 h 993051"/>
                  <a:gd name="connsiteX241" fmla="*/ 115888 w 1151018"/>
                  <a:gd name="connsiteY241" fmla="*/ 715618 h 993051"/>
                  <a:gd name="connsiteX242" fmla="*/ 119063 w 1151018"/>
                  <a:gd name="connsiteY242" fmla="*/ 706093 h 993051"/>
                  <a:gd name="connsiteX243" fmla="*/ 117475 w 1151018"/>
                  <a:gd name="connsiteY243" fmla="*/ 658468 h 993051"/>
                  <a:gd name="connsiteX244" fmla="*/ 114300 w 1151018"/>
                  <a:gd name="connsiteY244" fmla="*/ 652118 h 993051"/>
                  <a:gd name="connsiteX245" fmla="*/ 93663 w 1151018"/>
                  <a:gd name="connsiteY245" fmla="*/ 634655 h 993051"/>
                  <a:gd name="connsiteX246" fmla="*/ 87313 w 1151018"/>
                  <a:gd name="connsiteY246" fmla="*/ 633068 h 993051"/>
                  <a:gd name="connsiteX247" fmla="*/ 79375 w 1151018"/>
                  <a:gd name="connsiteY247" fmla="*/ 593380 h 993051"/>
                  <a:gd name="connsiteX248" fmla="*/ 68263 w 1151018"/>
                  <a:gd name="connsiteY248" fmla="*/ 590205 h 993051"/>
                  <a:gd name="connsiteX249" fmla="*/ 61913 w 1151018"/>
                  <a:gd name="connsiteY249" fmla="*/ 577505 h 993051"/>
                  <a:gd name="connsiteX250" fmla="*/ 65088 w 1151018"/>
                  <a:gd name="connsiteY250" fmla="*/ 571155 h 993051"/>
                  <a:gd name="connsiteX251" fmla="*/ 69850 w 1151018"/>
                  <a:gd name="connsiteY251" fmla="*/ 569568 h 993051"/>
                  <a:gd name="connsiteX252" fmla="*/ 73025 w 1151018"/>
                  <a:gd name="connsiteY252" fmla="*/ 514005 h 993051"/>
                  <a:gd name="connsiteX253" fmla="*/ 71438 w 1151018"/>
                  <a:gd name="connsiteY253" fmla="*/ 507655 h 993051"/>
                  <a:gd name="connsiteX254" fmla="*/ 68263 w 1151018"/>
                  <a:gd name="connsiteY254" fmla="*/ 502893 h 993051"/>
                  <a:gd name="connsiteX255" fmla="*/ 65088 w 1151018"/>
                  <a:gd name="connsiteY255" fmla="*/ 494955 h 993051"/>
                  <a:gd name="connsiteX256" fmla="*/ 52388 w 1151018"/>
                  <a:gd name="connsiteY256" fmla="*/ 490193 h 993051"/>
                  <a:gd name="connsiteX257" fmla="*/ 44450 w 1151018"/>
                  <a:gd name="connsiteY257" fmla="*/ 483843 h 993051"/>
                  <a:gd name="connsiteX258" fmla="*/ 44450 w 1151018"/>
                  <a:gd name="connsiteY258" fmla="*/ 466380 h 993051"/>
                  <a:gd name="connsiteX259" fmla="*/ 55563 w 1151018"/>
                  <a:gd name="connsiteY259" fmla="*/ 464793 h 993051"/>
                  <a:gd name="connsiteX260" fmla="*/ 58738 w 1151018"/>
                  <a:gd name="connsiteY260" fmla="*/ 460030 h 993051"/>
                  <a:gd name="connsiteX261" fmla="*/ 49213 w 1151018"/>
                  <a:gd name="connsiteY261" fmla="*/ 436218 h 993051"/>
                  <a:gd name="connsiteX262" fmla="*/ 42863 w 1151018"/>
                  <a:gd name="connsiteY262" fmla="*/ 431455 h 993051"/>
                  <a:gd name="connsiteX263" fmla="*/ 39688 w 1151018"/>
                  <a:gd name="connsiteY263" fmla="*/ 425105 h 993051"/>
                  <a:gd name="connsiteX264" fmla="*/ 34925 w 1151018"/>
                  <a:gd name="connsiteY264" fmla="*/ 421930 h 993051"/>
                  <a:gd name="connsiteX265" fmla="*/ 28575 w 1151018"/>
                  <a:gd name="connsiteY265" fmla="*/ 415580 h 993051"/>
                  <a:gd name="connsiteX266" fmla="*/ 23813 w 1151018"/>
                  <a:gd name="connsiteY266" fmla="*/ 412405 h 993051"/>
                  <a:gd name="connsiteX267" fmla="*/ 14288 w 1151018"/>
                  <a:gd name="connsiteY267" fmla="*/ 402880 h 993051"/>
                  <a:gd name="connsiteX268" fmla="*/ 3175 w 1151018"/>
                  <a:gd name="connsiteY268" fmla="*/ 401293 h 993051"/>
                  <a:gd name="connsiteX269" fmla="*/ 3175 w 1151018"/>
                  <a:gd name="connsiteY269" fmla="*/ 372718 h 993051"/>
                  <a:gd name="connsiteX270" fmla="*/ 9525 w 1151018"/>
                  <a:gd name="connsiteY270" fmla="*/ 361605 h 993051"/>
                  <a:gd name="connsiteX271" fmla="*/ 14288 w 1151018"/>
                  <a:gd name="connsiteY271" fmla="*/ 360018 h 993051"/>
                  <a:gd name="connsiteX272" fmla="*/ 23813 w 1151018"/>
                  <a:gd name="connsiteY272" fmla="*/ 358430 h 993051"/>
                  <a:gd name="connsiteX273" fmla="*/ 22225 w 1151018"/>
                  <a:gd name="connsiteY273" fmla="*/ 294930 h 993051"/>
                  <a:gd name="connsiteX274" fmla="*/ 15875 w 1151018"/>
                  <a:gd name="connsiteY274" fmla="*/ 280643 h 993051"/>
                  <a:gd name="connsiteX275" fmla="*/ 9525 w 1151018"/>
                  <a:gd name="connsiteY275" fmla="*/ 267943 h 993051"/>
                  <a:gd name="connsiteX276" fmla="*/ 6350 w 1151018"/>
                  <a:gd name="connsiteY276" fmla="*/ 258418 h 993051"/>
                  <a:gd name="connsiteX277" fmla="*/ 7938 w 1151018"/>
                  <a:gd name="connsiteY277" fmla="*/ 253655 h 993051"/>
                  <a:gd name="connsiteX278" fmla="*/ 20638 w 1151018"/>
                  <a:gd name="connsiteY278" fmla="*/ 256830 h 993051"/>
                  <a:gd name="connsiteX279" fmla="*/ 38100 w 1151018"/>
                  <a:gd name="connsiteY279" fmla="*/ 250480 h 993051"/>
                  <a:gd name="connsiteX280" fmla="*/ 44450 w 1151018"/>
                  <a:gd name="connsiteY280" fmla="*/ 239368 h 993051"/>
                  <a:gd name="connsiteX281" fmla="*/ 41275 w 1151018"/>
                  <a:gd name="connsiteY281" fmla="*/ 220318 h 993051"/>
                  <a:gd name="connsiteX282" fmla="*/ 34925 w 1151018"/>
                  <a:gd name="connsiteY282" fmla="*/ 215555 h 993051"/>
                  <a:gd name="connsiteX283" fmla="*/ 0 w 1151018"/>
                  <a:gd name="connsiteY283" fmla="*/ 210793 h 993051"/>
                  <a:gd name="connsiteX284" fmla="*/ 7938 w 1151018"/>
                  <a:gd name="connsiteY284" fmla="*/ 207618 h 993051"/>
                  <a:gd name="connsiteX285" fmla="*/ 15875 w 1151018"/>
                  <a:gd name="connsiteY285" fmla="*/ 206030 h 993051"/>
                  <a:gd name="connsiteX286" fmla="*/ 22225 w 1151018"/>
                  <a:gd name="connsiteY286" fmla="*/ 204443 h 993051"/>
                  <a:gd name="connsiteX287" fmla="*/ 30163 w 1151018"/>
                  <a:gd name="connsiteY287" fmla="*/ 196505 h 993051"/>
                  <a:gd name="connsiteX288" fmla="*/ 38100 w 1151018"/>
                  <a:gd name="connsiteY288" fmla="*/ 182218 h 993051"/>
                  <a:gd name="connsiteX289" fmla="*/ 60325 w 1151018"/>
                  <a:gd name="connsiteY289" fmla="*/ 179043 h 993051"/>
                  <a:gd name="connsiteX290" fmla="*/ 61913 w 1151018"/>
                  <a:gd name="connsiteY290" fmla="*/ 174280 h 993051"/>
                  <a:gd name="connsiteX291" fmla="*/ 73025 w 1151018"/>
                  <a:gd name="connsiteY291" fmla="*/ 169518 h 993051"/>
                  <a:gd name="connsiteX292" fmla="*/ 100013 w 1151018"/>
                  <a:gd name="connsiteY292" fmla="*/ 161580 h 993051"/>
                  <a:gd name="connsiteX293" fmla="*/ 106363 w 1151018"/>
                  <a:gd name="connsiteY293" fmla="*/ 156818 h 993051"/>
                  <a:gd name="connsiteX294" fmla="*/ 127000 w 1151018"/>
                  <a:gd name="connsiteY294" fmla="*/ 158405 h 993051"/>
                  <a:gd name="connsiteX295" fmla="*/ 142875 w 1151018"/>
                  <a:gd name="connsiteY295" fmla="*/ 152055 h 993051"/>
                  <a:gd name="connsiteX296" fmla="*/ 147638 w 1151018"/>
                  <a:gd name="connsiteY296" fmla="*/ 139355 h 993051"/>
                  <a:gd name="connsiteX297" fmla="*/ 168275 w 1151018"/>
                  <a:gd name="connsiteY297" fmla="*/ 133005 h 993051"/>
                  <a:gd name="connsiteX298" fmla="*/ 176213 w 1151018"/>
                  <a:gd name="connsiteY298" fmla="*/ 129830 h 993051"/>
                  <a:gd name="connsiteX299" fmla="*/ 190500 w 1151018"/>
                  <a:gd name="connsiteY299" fmla="*/ 128243 h 993051"/>
                  <a:gd name="connsiteX300" fmla="*/ 203200 w 1151018"/>
                  <a:gd name="connsiteY300" fmla="*/ 125068 h 993051"/>
                  <a:gd name="connsiteX301" fmla="*/ 207963 w 1151018"/>
                  <a:gd name="connsiteY301" fmla="*/ 123480 h 993051"/>
                  <a:gd name="connsiteX302" fmla="*/ 214313 w 1151018"/>
                  <a:gd name="connsiteY302" fmla="*/ 115543 h 993051"/>
                  <a:gd name="connsiteX303" fmla="*/ 215900 w 1151018"/>
                  <a:gd name="connsiteY303" fmla="*/ 110780 h 993051"/>
                  <a:gd name="connsiteX304" fmla="*/ 220663 w 1151018"/>
                  <a:gd name="connsiteY304" fmla="*/ 90143 h 993051"/>
                  <a:gd name="connsiteX305" fmla="*/ 230188 w 1151018"/>
                  <a:gd name="connsiteY305" fmla="*/ 86968 h 993051"/>
                  <a:gd name="connsiteX306" fmla="*/ 238125 w 1151018"/>
                  <a:gd name="connsiteY306" fmla="*/ 80618 h 993051"/>
                  <a:gd name="connsiteX307" fmla="*/ 255588 w 1151018"/>
                  <a:gd name="connsiteY307" fmla="*/ 71093 h 993051"/>
                  <a:gd name="connsiteX308" fmla="*/ 265113 w 1151018"/>
                  <a:gd name="connsiteY308" fmla="*/ 64743 h 993051"/>
                  <a:gd name="connsiteX309" fmla="*/ 285750 w 1151018"/>
                  <a:gd name="connsiteY309" fmla="*/ 52043 h 993051"/>
                  <a:gd name="connsiteX310" fmla="*/ 295275 w 1151018"/>
                  <a:gd name="connsiteY310" fmla="*/ 45693 h 993051"/>
                  <a:gd name="connsiteX311" fmla="*/ 300038 w 1151018"/>
                  <a:gd name="connsiteY311" fmla="*/ 40930 h 993051"/>
                  <a:gd name="connsiteX312" fmla="*/ 307975 w 1151018"/>
                  <a:gd name="connsiteY312" fmla="*/ 36168 h 993051"/>
                  <a:gd name="connsiteX313" fmla="*/ 322263 w 1151018"/>
                  <a:gd name="connsiteY313" fmla="*/ 23468 h 993051"/>
                  <a:gd name="connsiteX314" fmla="*/ 341313 w 1151018"/>
                  <a:gd name="connsiteY314" fmla="*/ 18705 h 993051"/>
                  <a:gd name="connsiteX315" fmla="*/ 355600 w 1151018"/>
                  <a:gd name="connsiteY315" fmla="*/ 15530 h 993051"/>
                  <a:gd name="connsiteX316" fmla="*/ 365125 w 1151018"/>
                  <a:gd name="connsiteY316" fmla="*/ 10768 h 993051"/>
                  <a:gd name="connsiteX317" fmla="*/ 419100 w 1151018"/>
                  <a:gd name="connsiteY317" fmla="*/ 10768 h 993051"/>
                  <a:gd name="connsiteX318" fmla="*/ 436563 w 1151018"/>
                  <a:gd name="connsiteY318" fmla="*/ 15530 h 993051"/>
                  <a:gd name="connsiteX319" fmla="*/ 444500 w 1151018"/>
                  <a:gd name="connsiteY319" fmla="*/ 20293 h 993051"/>
                  <a:gd name="connsiteX320" fmla="*/ 452438 w 1151018"/>
                  <a:gd name="connsiteY320" fmla="*/ 21880 h 993051"/>
                  <a:gd name="connsiteX321" fmla="*/ 458788 w 1151018"/>
                  <a:gd name="connsiteY321" fmla="*/ 23468 h 993051"/>
                  <a:gd name="connsiteX322" fmla="*/ 465138 w 1151018"/>
                  <a:gd name="connsiteY322" fmla="*/ 28230 h 993051"/>
                  <a:gd name="connsiteX323" fmla="*/ 466725 w 1151018"/>
                  <a:gd name="connsiteY323" fmla="*/ 32993 h 993051"/>
                  <a:gd name="connsiteX324" fmla="*/ 469900 w 1151018"/>
                  <a:gd name="connsiteY324" fmla="*/ 39343 h 993051"/>
                  <a:gd name="connsiteX325" fmla="*/ 471488 w 1151018"/>
                  <a:gd name="connsiteY325" fmla="*/ 44105 h 993051"/>
                  <a:gd name="connsiteX326" fmla="*/ 463550 w 1151018"/>
                  <a:gd name="connsiteY326" fmla="*/ 42518 h 993051"/>
                  <a:gd name="connsiteX327" fmla="*/ 447675 w 1151018"/>
                  <a:gd name="connsiteY327" fmla="*/ 28230 h 993051"/>
                  <a:gd name="connsiteX328" fmla="*/ 439738 w 1151018"/>
                  <a:gd name="connsiteY328" fmla="*/ 15530 h 993051"/>
                  <a:gd name="connsiteX329" fmla="*/ 423863 w 1151018"/>
                  <a:gd name="connsiteY329" fmla="*/ 23468 h 993051"/>
                  <a:gd name="connsiteX330" fmla="*/ 414338 w 1151018"/>
                  <a:gd name="connsiteY330" fmla="*/ 29818 h 993051"/>
                  <a:gd name="connsiteX331" fmla="*/ 420688 w 1151018"/>
                  <a:gd name="connsiteY331" fmla="*/ 36168 h 993051"/>
                  <a:gd name="connsiteX332" fmla="*/ 430213 w 1151018"/>
                  <a:gd name="connsiteY332" fmla="*/ 42518 h 993051"/>
                  <a:gd name="connsiteX333" fmla="*/ 438150 w 1151018"/>
                  <a:gd name="connsiteY333" fmla="*/ 56805 h 993051"/>
                  <a:gd name="connsiteX334" fmla="*/ 442913 w 1151018"/>
                  <a:gd name="connsiteY334" fmla="*/ 61568 h 993051"/>
                  <a:gd name="connsiteX335" fmla="*/ 452438 w 1151018"/>
                  <a:gd name="connsiteY335" fmla="*/ 71093 h 993051"/>
                  <a:gd name="connsiteX336" fmla="*/ 465138 w 1151018"/>
                  <a:gd name="connsiteY336" fmla="*/ 79030 h 993051"/>
                  <a:gd name="connsiteX337" fmla="*/ 466725 w 1151018"/>
                  <a:gd name="connsiteY337" fmla="*/ 83793 h 993051"/>
                  <a:gd name="connsiteX338" fmla="*/ 473075 w 1151018"/>
                  <a:gd name="connsiteY338" fmla="*/ 85380 h 993051"/>
                  <a:gd name="connsiteX339" fmla="*/ 520700 w 1151018"/>
                  <a:gd name="connsiteY339" fmla="*/ 91730 h 993051"/>
                  <a:gd name="connsiteX340" fmla="*/ 546100 w 1151018"/>
                  <a:gd name="connsiteY340" fmla="*/ 83793 h 993051"/>
                  <a:gd name="connsiteX341" fmla="*/ 550863 w 1151018"/>
                  <a:gd name="connsiteY341" fmla="*/ 77443 h 993051"/>
                  <a:gd name="connsiteX342" fmla="*/ 558800 w 1151018"/>
                  <a:gd name="connsiteY342" fmla="*/ 71093 h 993051"/>
                  <a:gd name="connsiteX343" fmla="*/ 566738 w 1151018"/>
                  <a:gd name="connsiteY343" fmla="*/ 64743 h 993051"/>
                  <a:gd name="connsiteX344" fmla="*/ 573088 w 1151018"/>
                  <a:gd name="connsiteY344" fmla="*/ 58393 h 993051"/>
                  <a:gd name="connsiteX345" fmla="*/ 577850 w 1151018"/>
                  <a:gd name="connsiteY345" fmla="*/ 55218 h 993051"/>
                  <a:gd name="connsiteX346" fmla="*/ 571500 w 1151018"/>
                  <a:gd name="connsiteY346" fmla="*/ 52043 h 993051"/>
                  <a:gd name="connsiteX0" fmla="*/ 571500 w 1151018"/>
                  <a:gd name="connsiteY0" fmla="*/ 52043 h 993051"/>
                  <a:gd name="connsiteX1" fmla="*/ 579438 w 1151018"/>
                  <a:gd name="connsiteY1" fmla="*/ 50455 h 993051"/>
                  <a:gd name="connsiteX2" fmla="*/ 608013 w 1151018"/>
                  <a:gd name="connsiteY2" fmla="*/ 53630 h 993051"/>
                  <a:gd name="connsiteX3" fmla="*/ 612775 w 1151018"/>
                  <a:gd name="connsiteY3" fmla="*/ 56805 h 993051"/>
                  <a:gd name="connsiteX4" fmla="*/ 625475 w 1151018"/>
                  <a:gd name="connsiteY4" fmla="*/ 58393 h 993051"/>
                  <a:gd name="connsiteX5" fmla="*/ 684213 w 1151018"/>
                  <a:gd name="connsiteY5" fmla="*/ 56805 h 993051"/>
                  <a:gd name="connsiteX6" fmla="*/ 693738 w 1151018"/>
                  <a:gd name="connsiteY6" fmla="*/ 55218 h 993051"/>
                  <a:gd name="connsiteX7" fmla="*/ 706438 w 1151018"/>
                  <a:gd name="connsiteY7" fmla="*/ 50455 h 993051"/>
                  <a:gd name="connsiteX8" fmla="*/ 711200 w 1151018"/>
                  <a:gd name="connsiteY8" fmla="*/ 48868 h 993051"/>
                  <a:gd name="connsiteX9" fmla="*/ 720725 w 1151018"/>
                  <a:gd name="connsiteY9" fmla="*/ 47280 h 993051"/>
                  <a:gd name="connsiteX10" fmla="*/ 738188 w 1151018"/>
                  <a:gd name="connsiteY10" fmla="*/ 42518 h 993051"/>
                  <a:gd name="connsiteX11" fmla="*/ 742950 w 1151018"/>
                  <a:gd name="connsiteY11" fmla="*/ 40930 h 993051"/>
                  <a:gd name="connsiteX12" fmla="*/ 758825 w 1151018"/>
                  <a:gd name="connsiteY12" fmla="*/ 39343 h 993051"/>
                  <a:gd name="connsiteX13" fmla="*/ 795338 w 1151018"/>
                  <a:gd name="connsiteY13" fmla="*/ 34580 h 993051"/>
                  <a:gd name="connsiteX14" fmla="*/ 812800 w 1151018"/>
                  <a:gd name="connsiteY14" fmla="*/ 28230 h 993051"/>
                  <a:gd name="connsiteX15" fmla="*/ 819150 w 1151018"/>
                  <a:gd name="connsiteY15" fmla="*/ 26643 h 993051"/>
                  <a:gd name="connsiteX16" fmla="*/ 835025 w 1151018"/>
                  <a:gd name="connsiteY16" fmla="*/ 23468 h 993051"/>
                  <a:gd name="connsiteX17" fmla="*/ 842963 w 1151018"/>
                  <a:gd name="connsiteY17" fmla="*/ 20293 h 993051"/>
                  <a:gd name="connsiteX18" fmla="*/ 852488 w 1151018"/>
                  <a:gd name="connsiteY18" fmla="*/ 18705 h 993051"/>
                  <a:gd name="connsiteX19" fmla="*/ 857250 w 1151018"/>
                  <a:gd name="connsiteY19" fmla="*/ 17118 h 993051"/>
                  <a:gd name="connsiteX20" fmla="*/ 862013 w 1151018"/>
                  <a:gd name="connsiteY20" fmla="*/ 13943 h 993051"/>
                  <a:gd name="connsiteX21" fmla="*/ 866775 w 1151018"/>
                  <a:gd name="connsiteY21" fmla="*/ 12355 h 993051"/>
                  <a:gd name="connsiteX22" fmla="*/ 877888 w 1151018"/>
                  <a:gd name="connsiteY22" fmla="*/ 7593 h 993051"/>
                  <a:gd name="connsiteX23" fmla="*/ 900113 w 1151018"/>
                  <a:gd name="connsiteY23" fmla="*/ 6005 h 993051"/>
                  <a:gd name="connsiteX24" fmla="*/ 904875 w 1151018"/>
                  <a:gd name="connsiteY24" fmla="*/ 12355 h 993051"/>
                  <a:gd name="connsiteX25" fmla="*/ 909638 w 1151018"/>
                  <a:gd name="connsiteY25" fmla="*/ 13943 h 993051"/>
                  <a:gd name="connsiteX26" fmla="*/ 919163 w 1151018"/>
                  <a:gd name="connsiteY26" fmla="*/ 20293 h 993051"/>
                  <a:gd name="connsiteX27" fmla="*/ 928688 w 1151018"/>
                  <a:gd name="connsiteY27" fmla="*/ 26643 h 993051"/>
                  <a:gd name="connsiteX28" fmla="*/ 936625 w 1151018"/>
                  <a:gd name="connsiteY28" fmla="*/ 31405 h 993051"/>
                  <a:gd name="connsiteX29" fmla="*/ 947738 w 1151018"/>
                  <a:gd name="connsiteY29" fmla="*/ 37755 h 993051"/>
                  <a:gd name="connsiteX30" fmla="*/ 960438 w 1151018"/>
                  <a:gd name="connsiteY30" fmla="*/ 48868 h 993051"/>
                  <a:gd name="connsiteX31" fmla="*/ 962025 w 1151018"/>
                  <a:gd name="connsiteY31" fmla="*/ 53630 h 993051"/>
                  <a:gd name="connsiteX32" fmla="*/ 965200 w 1151018"/>
                  <a:gd name="connsiteY32" fmla="*/ 64743 h 993051"/>
                  <a:gd name="connsiteX33" fmla="*/ 969963 w 1151018"/>
                  <a:gd name="connsiteY33" fmla="*/ 91730 h 993051"/>
                  <a:gd name="connsiteX34" fmla="*/ 977900 w 1151018"/>
                  <a:gd name="connsiteY34" fmla="*/ 104430 h 993051"/>
                  <a:gd name="connsiteX35" fmla="*/ 979488 w 1151018"/>
                  <a:gd name="connsiteY35" fmla="*/ 109193 h 993051"/>
                  <a:gd name="connsiteX36" fmla="*/ 982663 w 1151018"/>
                  <a:gd name="connsiteY36" fmla="*/ 121893 h 993051"/>
                  <a:gd name="connsiteX37" fmla="*/ 992188 w 1151018"/>
                  <a:gd name="connsiteY37" fmla="*/ 134593 h 993051"/>
                  <a:gd name="connsiteX38" fmla="*/ 1000125 w 1151018"/>
                  <a:gd name="connsiteY38" fmla="*/ 150468 h 993051"/>
                  <a:gd name="connsiteX39" fmla="*/ 1001713 w 1151018"/>
                  <a:gd name="connsiteY39" fmla="*/ 156818 h 993051"/>
                  <a:gd name="connsiteX40" fmla="*/ 1017663 w 1151018"/>
                  <a:gd name="connsiteY40" fmla="*/ 176548 h 993051"/>
                  <a:gd name="connsiteX41" fmla="*/ 1031875 w 1151018"/>
                  <a:gd name="connsiteY41" fmla="*/ 212380 h 993051"/>
                  <a:gd name="connsiteX42" fmla="*/ 1041400 w 1151018"/>
                  <a:gd name="connsiteY42" fmla="*/ 218730 h 993051"/>
                  <a:gd name="connsiteX43" fmla="*/ 1042988 w 1151018"/>
                  <a:gd name="connsiteY43" fmla="*/ 223493 h 993051"/>
                  <a:gd name="connsiteX44" fmla="*/ 1048583 w 1151018"/>
                  <a:gd name="connsiteY44" fmla="*/ 227424 h 993051"/>
                  <a:gd name="connsiteX45" fmla="*/ 1050925 w 1151018"/>
                  <a:gd name="connsiteY45" fmla="*/ 252068 h 993051"/>
                  <a:gd name="connsiteX46" fmla="*/ 1054100 w 1151018"/>
                  <a:gd name="connsiteY46" fmla="*/ 260005 h 993051"/>
                  <a:gd name="connsiteX47" fmla="*/ 1058863 w 1151018"/>
                  <a:gd name="connsiteY47" fmla="*/ 263180 h 993051"/>
                  <a:gd name="connsiteX48" fmla="*/ 1060450 w 1151018"/>
                  <a:gd name="connsiteY48" fmla="*/ 283818 h 993051"/>
                  <a:gd name="connsiteX49" fmla="*/ 1057275 w 1151018"/>
                  <a:gd name="connsiteY49" fmla="*/ 291755 h 993051"/>
                  <a:gd name="connsiteX50" fmla="*/ 1047750 w 1151018"/>
                  <a:gd name="connsiteY50" fmla="*/ 294930 h 993051"/>
                  <a:gd name="connsiteX51" fmla="*/ 1042988 w 1151018"/>
                  <a:gd name="connsiteY51" fmla="*/ 299693 h 993051"/>
                  <a:gd name="connsiteX52" fmla="*/ 1031875 w 1151018"/>
                  <a:gd name="connsiteY52" fmla="*/ 320330 h 993051"/>
                  <a:gd name="connsiteX53" fmla="*/ 1017588 w 1151018"/>
                  <a:gd name="connsiteY53" fmla="*/ 340968 h 993051"/>
                  <a:gd name="connsiteX54" fmla="*/ 1009650 w 1151018"/>
                  <a:gd name="connsiteY54" fmla="*/ 352080 h 993051"/>
                  <a:gd name="connsiteX55" fmla="*/ 1004888 w 1151018"/>
                  <a:gd name="connsiteY55" fmla="*/ 353668 h 993051"/>
                  <a:gd name="connsiteX56" fmla="*/ 1000125 w 1151018"/>
                  <a:gd name="connsiteY56" fmla="*/ 377480 h 993051"/>
                  <a:gd name="connsiteX57" fmla="*/ 998538 w 1151018"/>
                  <a:gd name="connsiteY57" fmla="*/ 383830 h 993051"/>
                  <a:gd name="connsiteX58" fmla="*/ 996950 w 1151018"/>
                  <a:gd name="connsiteY58" fmla="*/ 391768 h 993051"/>
                  <a:gd name="connsiteX59" fmla="*/ 1008063 w 1151018"/>
                  <a:gd name="connsiteY59" fmla="*/ 394943 h 993051"/>
                  <a:gd name="connsiteX60" fmla="*/ 1027113 w 1151018"/>
                  <a:gd name="connsiteY60" fmla="*/ 396530 h 993051"/>
                  <a:gd name="connsiteX61" fmla="*/ 1039813 w 1151018"/>
                  <a:gd name="connsiteY61" fmla="*/ 406055 h 993051"/>
                  <a:gd name="connsiteX62" fmla="*/ 1049338 w 1151018"/>
                  <a:gd name="connsiteY62" fmla="*/ 413993 h 993051"/>
                  <a:gd name="connsiteX63" fmla="*/ 1050925 w 1151018"/>
                  <a:gd name="connsiteY63" fmla="*/ 420343 h 993051"/>
                  <a:gd name="connsiteX64" fmla="*/ 1046163 w 1151018"/>
                  <a:gd name="connsiteY64" fmla="*/ 433043 h 993051"/>
                  <a:gd name="connsiteX65" fmla="*/ 1046163 w 1151018"/>
                  <a:gd name="connsiteY65" fmla="*/ 447330 h 993051"/>
                  <a:gd name="connsiteX66" fmla="*/ 1044575 w 1151018"/>
                  <a:gd name="connsiteY66" fmla="*/ 460030 h 993051"/>
                  <a:gd name="connsiteX67" fmla="*/ 1042988 w 1151018"/>
                  <a:gd name="connsiteY67" fmla="*/ 474318 h 993051"/>
                  <a:gd name="connsiteX68" fmla="*/ 1044575 w 1151018"/>
                  <a:gd name="connsiteY68" fmla="*/ 487018 h 993051"/>
                  <a:gd name="connsiteX69" fmla="*/ 1046163 w 1151018"/>
                  <a:gd name="connsiteY69" fmla="*/ 491780 h 993051"/>
                  <a:gd name="connsiteX70" fmla="*/ 1050925 w 1151018"/>
                  <a:gd name="connsiteY70" fmla="*/ 493368 h 993051"/>
                  <a:gd name="connsiteX71" fmla="*/ 1057275 w 1151018"/>
                  <a:gd name="connsiteY71" fmla="*/ 496543 h 993051"/>
                  <a:gd name="connsiteX72" fmla="*/ 1062038 w 1151018"/>
                  <a:gd name="connsiteY72" fmla="*/ 501305 h 993051"/>
                  <a:gd name="connsiteX73" fmla="*/ 1066800 w 1151018"/>
                  <a:gd name="connsiteY73" fmla="*/ 504480 h 993051"/>
                  <a:gd name="connsiteX74" fmla="*/ 1068388 w 1151018"/>
                  <a:gd name="connsiteY74" fmla="*/ 521943 h 993051"/>
                  <a:gd name="connsiteX75" fmla="*/ 1071563 w 1151018"/>
                  <a:gd name="connsiteY75" fmla="*/ 526705 h 993051"/>
                  <a:gd name="connsiteX76" fmla="*/ 1073150 w 1151018"/>
                  <a:gd name="connsiteY76" fmla="*/ 539405 h 993051"/>
                  <a:gd name="connsiteX77" fmla="*/ 1077913 w 1151018"/>
                  <a:gd name="connsiteY77" fmla="*/ 553693 h 993051"/>
                  <a:gd name="connsiteX78" fmla="*/ 1085850 w 1151018"/>
                  <a:gd name="connsiteY78" fmla="*/ 555280 h 993051"/>
                  <a:gd name="connsiteX79" fmla="*/ 1089025 w 1151018"/>
                  <a:gd name="connsiteY79" fmla="*/ 560043 h 993051"/>
                  <a:gd name="connsiteX80" fmla="*/ 1096963 w 1151018"/>
                  <a:gd name="connsiteY80" fmla="*/ 582268 h 993051"/>
                  <a:gd name="connsiteX81" fmla="*/ 1108075 w 1151018"/>
                  <a:gd name="connsiteY81" fmla="*/ 596555 h 993051"/>
                  <a:gd name="connsiteX82" fmla="*/ 1109663 w 1151018"/>
                  <a:gd name="connsiteY82" fmla="*/ 602905 h 993051"/>
                  <a:gd name="connsiteX83" fmla="*/ 1119188 w 1151018"/>
                  <a:gd name="connsiteY83" fmla="*/ 609255 h 993051"/>
                  <a:gd name="connsiteX84" fmla="*/ 1123950 w 1151018"/>
                  <a:gd name="connsiteY84" fmla="*/ 612430 h 993051"/>
                  <a:gd name="connsiteX85" fmla="*/ 1130300 w 1151018"/>
                  <a:gd name="connsiteY85" fmla="*/ 614018 h 993051"/>
                  <a:gd name="connsiteX86" fmla="*/ 1138238 w 1151018"/>
                  <a:gd name="connsiteY86" fmla="*/ 617193 h 993051"/>
                  <a:gd name="connsiteX87" fmla="*/ 1133475 w 1151018"/>
                  <a:gd name="connsiteY87" fmla="*/ 621955 h 993051"/>
                  <a:gd name="connsiteX88" fmla="*/ 1131888 w 1151018"/>
                  <a:gd name="connsiteY88" fmla="*/ 629893 h 993051"/>
                  <a:gd name="connsiteX89" fmla="*/ 1143000 w 1151018"/>
                  <a:gd name="connsiteY89" fmla="*/ 637830 h 993051"/>
                  <a:gd name="connsiteX90" fmla="*/ 1144588 w 1151018"/>
                  <a:gd name="connsiteY90" fmla="*/ 642593 h 993051"/>
                  <a:gd name="connsiteX91" fmla="*/ 1146175 w 1151018"/>
                  <a:gd name="connsiteY91" fmla="*/ 648943 h 993051"/>
                  <a:gd name="connsiteX92" fmla="*/ 1149350 w 1151018"/>
                  <a:gd name="connsiteY92" fmla="*/ 656880 h 993051"/>
                  <a:gd name="connsiteX93" fmla="*/ 1146175 w 1151018"/>
                  <a:gd name="connsiteY93" fmla="*/ 690218 h 993051"/>
                  <a:gd name="connsiteX94" fmla="*/ 1133475 w 1151018"/>
                  <a:gd name="connsiteY94" fmla="*/ 693393 h 993051"/>
                  <a:gd name="connsiteX95" fmla="*/ 1127125 w 1151018"/>
                  <a:gd name="connsiteY95" fmla="*/ 701330 h 993051"/>
                  <a:gd name="connsiteX96" fmla="*/ 1123950 w 1151018"/>
                  <a:gd name="connsiteY96" fmla="*/ 718793 h 993051"/>
                  <a:gd name="connsiteX97" fmla="*/ 1119188 w 1151018"/>
                  <a:gd name="connsiteY97" fmla="*/ 721968 h 993051"/>
                  <a:gd name="connsiteX98" fmla="*/ 1116013 w 1151018"/>
                  <a:gd name="connsiteY98" fmla="*/ 733080 h 993051"/>
                  <a:gd name="connsiteX99" fmla="*/ 1112838 w 1151018"/>
                  <a:gd name="connsiteY99" fmla="*/ 737843 h 993051"/>
                  <a:gd name="connsiteX100" fmla="*/ 1106488 w 1151018"/>
                  <a:gd name="connsiteY100" fmla="*/ 739430 h 993051"/>
                  <a:gd name="connsiteX101" fmla="*/ 1096963 w 1151018"/>
                  <a:gd name="connsiteY101" fmla="*/ 747368 h 993051"/>
                  <a:gd name="connsiteX102" fmla="*/ 1079500 w 1151018"/>
                  <a:gd name="connsiteY102" fmla="*/ 763243 h 993051"/>
                  <a:gd name="connsiteX103" fmla="*/ 1071563 w 1151018"/>
                  <a:gd name="connsiteY103" fmla="*/ 774355 h 993051"/>
                  <a:gd name="connsiteX104" fmla="*/ 1068388 w 1151018"/>
                  <a:gd name="connsiteY104" fmla="*/ 782293 h 993051"/>
                  <a:gd name="connsiteX105" fmla="*/ 1065213 w 1151018"/>
                  <a:gd name="connsiteY105" fmla="*/ 787055 h 993051"/>
                  <a:gd name="connsiteX106" fmla="*/ 1062038 w 1151018"/>
                  <a:gd name="connsiteY106" fmla="*/ 794993 h 993051"/>
                  <a:gd name="connsiteX107" fmla="*/ 1058863 w 1151018"/>
                  <a:gd name="connsiteY107" fmla="*/ 804518 h 993051"/>
                  <a:gd name="connsiteX108" fmla="*/ 1052513 w 1151018"/>
                  <a:gd name="connsiteY108" fmla="*/ 817218 h 993051"/>
                  <a:gd name="connsiteX109" fmla="*/ 1046163 w 1151018"/>
                  <a:gd name="connsiteY109" fmla="*/ 831505 h 993051"/>
                  <a:gd name="connsiteX110" fmla="*/ 1044575 w 1151018"/>
                  <a:gd name="connsiteY110" fmla="*/ 836268 h 993051"/>
                  <a:gd name="connsiteX111" fmla="*/ 1041400 w 1151018"/>
                  <a:gd name="connsiteY111" fmla="*/ 842618 h 993051"/>
                  <a:gd name="connsiteX112" fmla="*/ 1039813 w 1151018"/>
                  <a:gd name="connsiteY112" fmla="*/ 847380 h 993051"/>
                  <a:gd name="connsiteX113" fmla="*/ 1033463 w 1151018"/>
                  <a:gd name="connsiteY113" fmla="*/ 853730 h 993051"/>
                  <a:gd name="connsiteX114" fmla="*/ 1028700 w 1151018"/>
                  <a:gd name="connsiteY114" fmla="*/ 866430 h 993051"/>
                  <a:gd name="connsiteX115" fmla="*/ 1022350 w 1151018"/>
                  <a:gd name="connsiteY115" fmla="*/ 882305 h 993051"/>
                  <a:gd name="connsiteX116" fmla="*/ 1025525 w 1151018"/>
                  <a:gd name="connsiteY116" fmla="*/ 891830 h 993051"/>
                  <a:gd name="connsiteX117" fmla="*/ 1030288 w 1151018"/>
                  <a:gd name="connsiteY117" fmla="*/ 896593 h 993051"/>
                  <a:gd name="connsiteX118" fmla="*/ 1033463 w 1151018"/>
                  <a:gd name="connsiteY118" fmla="*/ 902943 h 993051"/>
                  <a:gd name="connsiteX119" fmla="*/ 1036638 w 1151018"/>
                  <a:gd name="connsiteY119" fmla="*/ 910880 h 993051"/>
                  <a:gd name="connsiteX120" fmla="*/ 1039813 w 1151018"/>
                  <a:gd name="connsiteY120" fmla="*/ 921993 h 993051"/>
                  <a:gd name="connsiteX121" fmla="*/ 1044575 w 1151018"/>
                  <a:gd name="connsiteY121" fmla="*/ 925168 h 993051"/>
                  <a:gd name="connsiteX122" fmla="*/ 1033463 w 1151018"/>
                  <a:gd name="connsiteY122" fmla="*/ 936280 h 993051"/>
                  <a:gd name="connsiteX123" fmla="*/ 1039813 w 1151018"/>
                  <a:gd name="connsiteY123" fmla="*/ 939455 h 993051"/>
                  <a:gd name="connsiteX124" fmla="*/ 1046163 w 1151018"/>
                  <a:gd name="connsiteY124" fmla="*/ 944218 h 993051"/>
                  <a:gd name="connsiteX125" fmla="*/ 1049338 w 1151018"/>
                  <a:gd name="connsiteY125" fmla="*/ 956918 h 993051"/>
                  <a:gd name="connsiteX126" fmla="*/ 1050925 w 1151018"/>
                  <a:gd name="connsiteY126" fmla="*/ 961680 h 993051"/>
                  <a:gd name="connsiteX127" fmla="*/ 1060450 w 1151018"/>
                  <a:gd name="connsiteY127" fmla="*/ 971205 h 993051"/>
                  <a:gd name="connsiteX128" fmla="*/ 1022350 w 1151018"/>
                  <a:gd name="connsiteY128" fmla="*/ 971205 h 993051"/>
                  <a:gd name="connsiteX129" fmla="*/ 1019175 w 1151018"/>
                  <a:gd name="connsiteY129" fmla="*/ 964855 h 993051"/>
                  <a:gd name="connsiteX130" fmla="*/ 1014413 w 1151018"/>
                  <a:gd name="connsiteY130" fmla="*/ 963268 h 993051"/>
                  <a:gd name="connsiteX131" fmla="*/ 1000125 w 1151018"/>
                  <a:gd name="connsiteY131" fmla="*/ 960093 h 993051"/>
                  <a:gd name="connsiteX132" fmla="*/ 995363 w 1151018"/>
                  <a:gd name="connsiteY132" fmla="*/ 956918 h 993051"/>
                  <a:gd name="connsiteX133" fmla="*/ 985838 w 1151018"/>
                  <a:gd name="connsiteY133" fmla="*/ 955330 h 993051"/>
                  <a:gd name="connsiteX134" fmla="*/ 965200 w 1151018"/>
                  <a:gd name="connsiteY134" fmla="*/ 952155 h 993051"/>
                  <a:gd name="connsiteX135" fmla="*/ 960438 w 1151018"/>
                  <a:gd name="connsiteY135" fmla="*/ 947393 h 993051"/>
                  <a:gd name="connsiteX136" fmla="*/ 952500 w 1151018"/>
                  <a:gd name="connsiteY136" fmla="*/ 936280 h 993051"/>
                  <a:gd name="connsiteX137" fmla="*/ 938213 w 1151018"/>
                  <a:gd name="connsiteY137" fmla="*/ 928343 h 993051"/>
                  <a:gd name="connsiteX138" fmla="*/ 933450 w 1151018"/>
                  <a:gd name="connsiteY138" fmla="*/ 925168 h 993051"/>
                  <a:gd name="connsiteX139" fmla="*/ 922338 w 1151018"/>
                  <a:gd name="connsiteY139" fmla="*/ 923580 h 993051"/>
                  <a:gd name="connsiteX140" fmla="*/ 915988 w 1151018"/>
                  <a:gd name="connsiteY140" fmla="*/ 921993 h 993051"/>
                  <a:gd name="connsiteX141" fmla="*/ 896938 w 1151018"/>
                  <a:gd name="connsiteY141" fmla="*/ 918818 h 993051"/>
                  <a:gd name="connsiteX142" fmla="*/ 847725 w 1151018"/>
                  <a:gd name="connsiteY142" fmla="*/ 925168 h 993051"/>
                  <a:gd name="connsiteX143" fmla="*/ 844550 w 1151018"/>
                  <a:gd name="connsiteY143" fmla="*/ 929930 h 993051"/>
                  <a:gd name="connsiteX144" fmla="*/ 842963 w 1151018"/>
                  <a:gd name="connsiteY144" fmla="*/ 936280 h 993051"/>
                  <a:gd name="connsiteX145" fmla="*/ 836613 w 1151018"/>
                  <a:gd name="connsiteY145" fmla="*/ 939455 h 993051"/>
                  <a:gd name="connsiteX146" fmla="*/ 830263 w 1151018"/>
                  <a:gd name="connsiteY146" fmla="*/ 945805 h 993051"/>
                  <a:gd name="connsiteX147" fmla="*/ 811213 w 1151018"/>
                  <a:gd name="connsiteY147" fmla="*/ 944218 h 993051"/>
                  <a:gd name="connsiteX148" fmla="*/ 796925 w 1151018"/>
                  <a:gd name="connsiteY148" fmla="*/ 941043 h 993051"/>
                  <a:gd name="connsiteX149" fmla="*/ 746125 w 1151018"/>
                  <a:gd name="connsiteY149" fmla="*/ 950568 h 993051"/>
                  <a:gd name="connsiteX150" fmla="*/ 739775 w 1151018"/>
                  <a:gd name="connsiteY150" fmla="*/ 960093 h 993051"/>
                  <a:gd name="connsiteX151" fmla="*/ 701675 w 1151018"/>
                  <a:gd name="connsiteY151" fmla="*/ 990255 h 993051"/>
                  <a:gd name="connsiteX152" fmla="*/ 696913 w 1151018"/>
                  <a:gd name="connsiteY152" fmla="*/ 983905 h 993051"/>
                  <a:gd name="connsiteX153" fmla="*/ 690563 w 1151018"/>
                  <a:gd name="connsiteY153" fmla="*/ 964855 h 993051"/>
                  <a:gd name="connsiteX154" fmla="*/ 682625 w 1151018"/>
                  <a:gd name="connsiteY154" fmla="*/ 963268 h 993051"/>
                  <a:gd name="connsiteX155" fmla="*/ 677863 w 1151018"/>
                  <a:gd name="connsiteY155" fmla="*/ 952155 h 993051"/>
                  <a:gd name="connsiteX156" fmla="*/ 666750 w 1151018"/>
                  <a:gd name="connsiteY156" fmla="*/ 941043 h 993051"/>
                  <a:gd name="connsiteX157" fmla="*/ 655638 w 1151018"/>
                  <a:gd name="connsiteY157" fmla="*/ 929930 h 993051"/>
                  <a:gd name="connsiteX158" fmla="*/ 654050 w 1151018"/>
                  <a:gd name="connsiteY158" fmla="*/ 915643 h 993051"/>
                  <a:gd name="connsiteX159" fmla="*/ 649288 w 1151018"/>
                  <a:gd name="connsiteY159" fmla="*/ 914055 h 993051"/>
                  <a:gd name="connsiteX160" fmla="*/ 639763 w 1151018"/>
                  <a:gd name="connsiteY160" fmla="*/ 926755 h 993051"/>
                  <a:gd name="connsiteX161" fmla="*/ 635000 w 1151018"/>
                  <a:gd name="connsiteY161" fmla="*/ 933105 h 993051"/>
                  <a:gd name="connsiteX162" fmla="*/ 625475 w 1151018"/>
                  <a:gd name="connsiteY162" fmla="*/ 934693 h 993051"/>
                  <a:gd name="connsiteX163" fmla="*/ 620713 w 1151018"/>
                  <a:gd name="connsiteY163" fmla="*/ 937868 h 993051"/>
                  <a:gd name="connsiteX164" fmla="*/ 619125 w 1151018"/>
                  <a:gd name="connsiteY164" fmla="*/ 944218 h 993051"/>
                  <a:gd name="connsiteX165" fmla="*/ 612775 w 1151018"/>
                  <a:gd name="connsiteY165" fmla="*/ 956918 h 993051"/>
                  <a:gd name="connsiteX166" fmla="*/ 592138 w 1151018"/>
                  <a:gd name="connsiteY166" fmla="*/ 955330 h 993051"/>
                  <a:gd name="connsiteX167" fmla="*/ 588963 w 1151018"/>
                  <a:gd name="connsiteY167" fmla="*/ 937868 h 993051"/>
                  <a:gd name="connsiteX168" fmla="*/ 581025 w 1151018"/>
                  <a:gd name="connsiteY168" fmla="*/ 934693 h 993051"/>
                  <a:gd name="connsiteX169" fmla="*/ 576263 w 1151018"/>
                  <a:gd name="connsiteY169" fmla="*/ 928343 h 993051"/>
                  <a:gd name="connsiteX170" fmla="*/ 573088 w 1151018"/>
                  <a:gd name="connsiteY170" fmla="*/ 917230 h 993051"/>
                  <a:gd name="connsiteX171" fmla="*/ 566738 w 1151018"/>
                  <a:gd name="connsiteY171" fmla="*/ 915643 h 993051"/>
                  <a:gd name="connsiteX172" fmla="*/ 558800 w 1151018"/>
                  <a:gd name="connsiteY172" fmla="*/ 910880 h 993051"/>
                  <a:gd name="connsiteX173" fmla="*/ 555625 w 1151018"/>
                  <a:gd name="connsiteY173" fmla="*/ 906118 h 993051"/>
                  <a:gd name="connsiteX174" fmla="*/ 546100 w 1151018"/>
                  <a:gd name="connsiteY174" fmla="*/ 899768 h 993051"/>
                  <a:gd name="connsiteX175" fmla="*/ 542925 w 1151018"/>
                  <a:gd name="connsiteY175" fmla="*/ 893418 h 993051"/>
                  <a:gd name="connsiteX176" fmla="*/ 541338 w 1151018"/>
                  <a:gd name="connsiteY176" fmla="*/ 887068 h 993051"/>
                  <a:gd name="connsiteX177" fmla="*/ 533400 w 1151018"/>
                  <a:gd name="connsiteY177" fmla="*/ 879130 h 993051"/>
                  <a:gd name="connsiteX178" fmla="*/ 520700 w 1151018"/>
                  <a:gd name="connsiteY178" fmla="*/ 871193 h 993051"/>
                  <a:gd name="connsiteX179" fmla="*/ 511175 w 1151018"/>
                  <a:gd name="connsiteY179" fmla="*/ 868018 h 993051"/>
                  <a:gd name="connsiteX180" fmla="*/ 498475 w 1151018"/>
                  <a:gd name="connsiteY180" fmla="*/ 858493 h 993051"/>
                  <a:gd name="connsiteX181" fmla="*/ 490538 w 1151018"/>
                  <a:gd name="connsiteY181" fmla="*/ 856905 h 993051"/>
                  <a:gd name="connsiteX182" fmla="*/ 474663 w 1151018"/>
                  <a:gd name="connsiteY182" fmla="*/ 858493 h 993051"/>
                  <a:gd name="connsiteX183" fmla="*/ 471488 w 1151018"/>
                  <a:gd name="connsiteY183" fmla="*/ 864843 h 993051"/>
                  <a:gd name="connsiteX184" fmla="*/ 466725 w 1151018"/>
                  <a:gd name="connsiteY184" fmla="*/ 868018 h 993051"/>
                  <a:gd name="connsiteX185" fmla="*/ 461963 w 1151018"/>
                  <a:gd name="connsiteY185" fmla="*/ 872780 h 993051"/>
                  <a:gd name="connsiteX186" fmla="*/ 444500 w 1151018"/>
                  <a:gd name="connsiteY186" fmla="*/ 868018 h 993051"/>
                  <a:gd name="connsiteX187" fmla="*/ 442913 w 1151018"/>
                  <a:gd name="connsiteY187" fmla="*/ 861668 h 993051"/>
                  <a:gd name="connsiteX188" fmla="*/ 434975 w 1151018"/>
                  <a:gd name="connsiteY188" fmla="*/ 845793 h 993051"/>
                  <a:gd name="connsiteX189" fmla="*/ 436563 w 1151018"/>
                  <a:gd name="connsiteY189" fmla="*/ 839443 h 993051"/>
                  <a:gd name="connsiteX190" fmla="*/ 444500 w 1151018"/>
                  <a:gd name="connsiteY190" fmla="*/ 837855 h 993051"/>
                  <a:gd name="connsiteX191" fmla="*/ 454025 w 1151018"/>
                  <a:gd name="connsiteY191" fmla="*/ 836268 h 993051"/>
                  <a:gd name="connsiteX192" fmla="*/ 450850 w 1151018"/>
                  <a:gd name="connsiteY192" fmla="*/ 831505 h 993051"/>
                  <a:gd name="connsiteX193" fmla="*/ 447675 w 1151018"/>
                  <a:gd name="connsiteY193" fmla="*/ 821980 h 993051"/>
                  <a:gd name="connsiteX194" fmla="*/ 433388 w 1151018"/>
                  <a:gd name="connsiteY194" fmla="*/ 820393 h 993051"/>
                  <a:gd name="connsiteX195" fmla="*/ 427038 w 1151018"/>
                  <a:gd name="connsiteY195" fmla="*/ 825155 h 993051"/>
                  <a:gd name="connsiteX196" fmla="*/ 392113 w 1151018"/>
                  <a:gd name="connsiteY196" fmla="*/ 821980 h 993051"/>
                  <a:gd name="connsiteX197" fmla="*/ 377825 w 1151018"/>
                  <a:gd name="connsiteY197" fmla="*/ 815630 h 993051"/>
                  <a:gd name="connsiteX198" fmla="*/ 368300 w 1151018"/>
                  <a:gd name="connsiteY198" fmla="*/ 810868 h 993051"/>
                  <a:gd name="connsiteX199" fmla="*/ 363538 w 1151018"/>
                  <a:gd name="connsiteY199" fmla="*/ 807693 h 993051"/>
                  <a:gd name="connsiteX200" fmla="*/ 350838 w 1151018"/>
                  <a:gd name="connsiteY200" fmla="*/ 801343 h 993051"/>
                  <a:gd name="connsiteX201" fmla="*/ 347663 w 1151018"/>
                  <a:gd name="connsiteY201" fmla="*/ 804518 h 993051"/>
                  <a:gd name="connsiteX202" fmla="*/ 350838 w 1151018"/>
                  <a:gd name="connsiteY202" fmla="*/ 810868 h 993051"/>
                  <a:gd name="connsiteX203" fmla="*/ 354013 w 1151018"/>
                  <a:gd name="connsiteY203" fmla="*/ 831505 h 993051"/>
                  <a:gd name="connsiteX204" fmla="*/ 355600 w 1151018"/>
                  <a:gd name="connsiteY204" fmla="*/ 839443 h 993051"/>
                  <a:gd name="connsiteX205" fmla="*/ 358775 w 1151018"/>
                  <a:gd name="connsiteY205" fmla="*/ 844205 h 993051"/>
                  <a:gd name="connsiteX206" fmla="*/ 354013 w 1151018"/>
                  <a:gd name="connsiteY206" fmla="*/ 847380 h 993051"/>
                  <a:gd name="connsiteX207" fmla="*/ 344488 w 1151018"/>
                  <a:gd name="connsiteY207" fmla="*/ 848968 h 993051"/>
                  <a:gd name="connsiteX208" fmla="*/ 339725 w 1151018"/>
                  <a:gd name="connsiteY208" fmla="*/ 858493 h 993051"/>
                  <a:gd name="connsiteX209" fmla="*/ 334963 w 1151018"/>
                  <a:gd name="connsiteY209" fmla="*/ 864843 h 993051"/>
                  <a:gd name="connsiteX210" fmla="*/ 319088 w 1151018"/>
                  <a:gd name="connsiteY210" fmla="*/ 863255 h 993051"/>
                  <a:gd name="connsiteX211" fmla="*/ 317500 w 1151018"/>
                  <a:gd name="connsiteY211" fmla="*/ 858493 h 993051"/>
                  <a:gd name="connsiteX212" fmla="*/ 311150 w 1151018"/>
                  <a:gd name="connsiteY212" fmla="*/ 850555 h 993051"/>
                  <a:gd name="connsiteX213" fmla="*/ 301625 w 1151018"/>
                  <a:gd name="connsiteY213" fmla="*/ 839443 h 993051"/>
                  <a:gd name="connsiteX214" fmla="*/ 296863 w 1151018"/>
                  <a:gd name="connsiteY214" fmla="*/ 833093 h 993051"/>
                  <a:gd name="connsiteX215" fmla="*/ 284163 w 1151018"/>
                  <a:gd name="connsiteY215" fmla="*/ 828330 h 993051"/>
                  <a:gd name="connsiteX216" fmla="*/ 261938 w 1151018"/>
                  <a:gd name="connsiteY216" fmla="*/ 810868 h 993051"/>
                  <a:gd name="connsiteX217" fmla="*/ 260350 w 1151018"/>
                  <a:gd name="connsiteY217" fmla="*/ 806105 h 993051"/>
                  <a:gd name="connsiteX218" fmla="*/ 276225 w 1151018"/>
                  <a:gd name="connsiteY218" fmla="*/ 799755 h 993051"/>
                  <a:gd name="connsiteX219" fmla="*/ 282575 w 1151018"/>
                  <a:gd name="connsiteY219" fmla="*/ 794993 h 993051"/>
                  <a:gd name="connsiteX220" fmla="*/ 280988 w 1151018"/>
                  <a:gd name="connsiteY220" fmla="*/ 790230 h 993051"/>
                  <a:gd name="connsiteX221" fmla="*/ 268288 w 1151018"/>
                  <a:gd name="connsiteY221" fmla="*/ 782293 h 993051"/>
                  <a:gd name="connsiteX222" fmla="*/ 266700 w 1151018"/>
                  <a:gd name="connsiteY222" fmla="*/ 775943 h 993051"/>
                  <a:gd name="connsiteX223" fmla="*/ 266700 w 1151018"/>
                  <a:gd name="connsiteY223" fmla="*/ 766418 h 993051"/>
                  <a:gd name="connsiteX224" fmla="*/ 241300 w 1151018"/>
                  <a:gd name="connsiteY224" fmla="*/ 774355 h 993051"/>
                  <a:gd name="connsiteX225" fmla="*/ 239713 w 1151018"/>
                  <a:gd name="connsiteY225" fmla="*/ 782293 h 993051"/>
                  <a:gd name="connsiteX226" fmla="*/ 231775 w 1151018"/>
                  <a:gd name="connsiteY226" fmla="*/ 772768 h 993051"/>
                  <a:gd name="connsiteX227" fmla="*/ 225425 w 1151018"/>
                  <a:gd name="connsiteY227" fmla="*/ 769593 h 993051"/>
                  <a:gd name="connsiteX228" fmla="*/ 219075 w 1151018"/>
                  <a:gd name="connsiteY228" fmla="*/ 764830 h 993051"/>
                  <a:gd name="connsiteX229" fmla="*/ 190500 w 1151018"/>
                  <a:gd name="connsiteY229" fmla="*/ 756893 h 993051"/>
                  <a:gd name="connsiteX230" fmla="*/ 185738 w 1151018"/>
                  <a:gd name="connsiteY230" fmla="*/ 753718 h 993051"/>
                  <a:gd name="connsiteX231" fmla="*/ 158750 w 1151018"/>
                  <a:gd name="connsiteY231" fmla="*/ 750543 h 993051"/>
                  <a:gd name="connsiteX232" fmla="*/ 157163 w 1151018"/>
                  <a:gd name="connsiteY232" fmla="*/ 745780 h 993051"/>
                  <a:gd name="connsiteX233" fmla="*/ 155575 w 1151018"/>
                  <a:gd name="connsiteY233" fmla="*/ 729905 h 993051"/>
                  <a:gd name="connsiteX234" fmla="*/ 147638 w 1151018"/>
                  <a:gd name="connsiteY234" fmla="*/ 725143 h 993051"/>
                  <a:gd name="connsiteX235" fmla="*/ 136525 w 1151018"/>
                  <a:gd name="connsiteY235" fmla="*/ 717205 h 993051"/>
                  <a:gd name="connsiteX236" fmla="*/ 130175 w 1151018"/>
                  <a:gd name="connsiteY236" fmla="*/ 725143 h 993051"/>
                  <a:gd name="connsiteX237" fmla="*/ 125413 w 1151018"/>
                  <a:gd name="connsiteY237" fmla="*/ 726730 h 993051"/>
                  <a:gd name="connsiteX238" fmla="*/ 112713 w 1151018"/>
                  <a:gd name="connsiteY238" fmla="*/ 729905 h 993051"/>
                  <a:gd name="connsiteX239" fmla="*/ 114300 w 1151018"/>
                  <a:gd name="connsiteY239" fmla="*/ 723555 h 993051"/>
                  <a:gd name="connsiteX240" fmla="*/ 115888 w 1151018"/>
                  <a:gd name="connsiteY240" fmla="*/ 715618 h 993051"/>
                  <a:gd name="connsiteX241" fmla="*/ 119063 w 1151018"/>
                  <a:gd name="connsiteY241" fmla="*/ 706093 h 993051"/>
                  <a:gd name="connsiteX242" fmla="*/ 117475 w 1151018"/>
                  <a:gd name="connsiteY242" fmla="*/ 658468 h 993051"/>
                  <a:gd name="connsiteX243" fmla="*/ 114300 w 1151018"/>
                  <a:gd name="connsiteY243" fmla="*/ 652118 h 993051"/>
                  <a:gd name="connsiteX244" fmla="*/ 93663 w 1151018"/>
                  <a:gd name="connsiteY244" fmla="*/ 634655 h 993051"/>
                  <a:gd name="connsiteX245" fmla="*/ 87313 w 1151018"/>
                  <a:gd name="connsiteY245" fmla="*/ 633068 h 993051"/>
                  <a:gd name="connsiteX246" fmla="*/ 79375 w 1151018"/>
                  <a:gd name="connsiteY246" fmla="*/ 593380 h 993051"/>
                  <a:gd name="connsiteX247" fmla="*/ 68263 w 1151018"/>
                  <a:gd name="connsiteY247" fmla="*/ 590205 h 993051"/>
                  <a:gd name="connsiteX248" fmla="*/ 61913 w 1151018"/>
                  <a:gd name="connsiteY248" fmla="*/ 577505 h 993051"/>
                  <a:gd name="connsiteX249" fmla="*/ 65088 w 1151018"/>
                  <a:gd name="connsiteY249" fmla="*/ 571155 h 993051"/>
                  <a:gd name="connsiteX250" fmla="*/ 69850 w 1151018"/>
                  <a:gd name="connsiteY250" fmla="*/ 569568 h 993051"/>
                  <a:gd name="connsiteX251" fmla="*/ 73025 w 1151018"/>
                  <a:gd name="connsiteY251" fmla="*/ 514005 h 993051"/>
                  <a:gd name="connsiteX252" fmla="*/ 71438 w 1151018"/>
                  <a:gd name="connsiteY252" fmla="*/ 507655 h 993051"/>
                  <a:gd name="connsiteX253" fmla="*/ 68263 w 1151018"/>
                  <a:gd name="connsiteY253" fmla="*/ 502893 h 993051"/>
                  <a:gd name="connsiteX254" fmla="*/ 65088 w 1151018"/>
                  <a:gd name="connsiteY254" fmla="*/ 494955 h 993051"/>
                  <a:gd name="connsiteX255" fmla="*/ 52388 w 1151018"/>
                  <a:gd name="connsiteY255" fmla="*/ 490193 h 993051"/>
                  <a:gd name="connsiteX256" fmla="*/ 44450 w 1151018"/>
                  <a:gd name="connsiteY256" fmla="*/ 483843 h 993051"/>
                  <a:gd name="connsiteX257" fmla="*/ 44450 w 1151018"/>
                  <a:gd name="connsiteY257" fmla="*/ 466380 h 993051"/>
                  <a:gd name="connsiteX258" fmla="*/ 55563 w 1151018"/>
                  <a:gd name="connsiteY258" fmla="*/ 464793 h 993051"/>
                  <a:gd name="connsiteX259" fmla="*/ 58738 w 1151018"/>
                  <a:gd name="connsiteY259" fmla="*/ 460030 h 993051"/>
                  <a:gd name="connsiteX260" fmla="*/ 49213 w 1151018"/>
                  <a:gd name="connsiteY260" fmla="*/ 436218 h 993051"/>
                  <a:gd name="connsiteX261" fmla="*/ 42863 w 1151018"/>
                  <a:gd name="connsiteY261" fmla="*/ 431455 h 993051"/>
                  <a:gd name="connsiteX262" fmla="*/ 39688 w 1151018"/>
                  <a:gd name="connsiteY262" fmla="*/ 425105 h 993051"/>
                  <a:gd name="connsiteX263" fmla="*/ 34925 w 1151018"/>
                  <a:gd name="connsiteY263" fmla="*/ 421930 h 993051"/>
                  <a:gd name="connsiteX264" fmla="*/ 28575 w 1151018"/>
                  <a:gd name="connsiteY264" fmla="*/ 415580 h 993051"/>
                  <a:gd name="connsiteX265" fmla="*/ 23813 w 1151018"/>
                  <a:gd name="connsiteY265" fmla="*/ 412405 h 993051"/>
                  <a:gd name="connsiteX266" fmla="*/ 14288 w 1151018"/>
                  <a:gd name="connsiteY266" fmla="*/ 402880 h 993051"/>
                  <a:gd name="connsiteX267" fmla="*/ 3175 w 1151018"/>
                  <a:gd name="connsiteY267" fmla="*/ 401293 h 993051"/>
                  <a:gd name="connsiteX268" fmla="*/ 3175 w 1151018"/>
                  <a:gd name="connsiteY268" fmla="*/ 372718 h 993051"/>
                  <a:gd name="connsiteX269" fmla="*/ 9525 w 1151018"/>
                  <a:gd name="connsiteY269" fmla="*/ 361605 h 993051"/>
                  <a:gd name="connsiteX270" fmla="*/ 14288 w 1151018"/>
                  <a:gd name="connsiteY270" fmla="*/ 360018 h 993051"/>
                  <a:gd name="connsiteX271" fmla="*/ 23813 w 1151018"/>
                  <a:gd name="connsiteY271" fmla="*/ 358430 h 993051"/>
                  <a:gd name="connsiteX272" fmla="*/ 22225 w 1151018"/>
                  <a:gd name="connsiteY272" fmla="*/ 294930 h 993051"/>
                  <a:gd name="connsiteX273" fmla="*/ 15875 w 1151018"/>
                  <a:gd name="connsiteY273" fmla="*/ 280643 h 993051"/>
                  <a:gd name="connsiteX274" fmla="*/ 9525 w 1151018"/>
                  <a:gd name="connsiteY274" fmla="*/ 267943 h 993051"/>
                  <a:gd name="connsiteX275" fmla="*/ 6350 w 1151018"/>
                  <a:gd name="connsiteY275" fmla="*/ 258418 h 993051"/>
                  <a:gd name="connsiteX276" fmla="*/ 7938 w 1151018"/>
                  <a:gd name="connsiteY276" fmla="*/ 253655 h 993051"/>
                  <a:gd name="connsiteX277" fmla="*/ 20638 w 1151018"/>
                  <a:gd name="connsiteY277" fmla="*/ 256830 h 993051"/>
                  <a:gd name="connsiteX278" fmla="*/ 38100 w 1151018"/>
                  <a:gd name="connsiteY278" fmla="*/ 250480 h 993051"/>
                  <a:gd name="connsiteX279" fmla="*/ 44450 w 1151018"/>
                  <a:gd name="connsiteY279" fmla="*/ 239368 h 993051"/>
                  <a:gd name="connsiteX280" fmla="*/ 41275 w 1151018"/>
                  <a:gd name="connsiteY280" fmla="*/ 220318 h 993051"/>
                  <a:gd name="connsiteX281" fmla="*/ 34925 w 1151018"/>
                  <a:gd name="connsiteY281" fmla="*/ 215555 h 993051"/>
                  <a:gd name="connsiteX282" fmla="*/ 0 w 1151018"/>
                  <a:gd name="connsiteY282" fmla="*/ 210793 h 993051"/>
                  <a:gd name="connsiteX283" fmla="*/ 7938 w 1151018"/>
                  <a:gd name="connsiteY283" fmla="*/ 207618 h 993051"/>
                  <a:gd name="connsiteX284" fmla="*/ 15875 w 1151018"/>
                  <a:gd name="connsiteY284" fmla="*/ 206030 h 993051"/>
                  <a:gd name="connsiteX285" fmla="*/ 22225 w 1151018"/>
                  <a:gd name="connsiteY285" fmla="*/ 204443 h 993051"/>
                  <a:gd name="connsiteX286" fmla="*/ 30163 w 1151018"/>
                  <a:gd name="connsiteY286" fmla="*/ 196505 h 993051"/>
                  <a:gd name="connsiteX287" fmla="*/ 38100 w 1151018"/>
                  <a:gd name="connsiteY287" fmla="*/ 182218 h 993051"/>
                  <a:gd name="connsiteX288" fmla="*/ 60325 w 1151018"/>
                  <a:gd name="connsiteY288" fmla="*/ 179043 h 993051"/>
                  <a:gd name="connsiteX289" fmla="*/ 61913 w 1151018"/>
                  <a:gd name="connsiteY289" fmla="*/ 174280 h 993051"/>
                  <a:gd name="connsiteX290" fmla="*/ 73025 w 1151018"/>
                  <a:gd name="connsiteY290" fmla="*/ 169518 h 993051"/>
                  <a:gd name="connsiteX291" fmla="*/ 100013 w 1151018"/>
                  <a:gd name="connsiteY291" fmla="*/ 161580 h 993051"/>
                  <a:gd name="connsiteX292" fmla="*/ 106363 w 1151018"/>
                  <a:gd name="connsiteY292" fmla="*/ 156818 h 993051"/>
                  <a:gd name="connsiteX293" fmla="*/ 127000 w 1151018"/>
                  <a:gd name="connsiteY293" fmla="*/ 158405 h 993051"/>
                  <a:gd name="connsiteX294" fmla="*/ 142875 w 1151018"/>
                  <a:gd name="connsiteY294" fmla="*/ 152055 h 993051"/>
                  <a:gd name="connsiteX295" fmla="*/ 147638 w 1151018"/>
                  <a:gd name="connsiteY295" fmla="*/ 139355 h 993051"/>
                  <a:gd name="connsiteX296" fmla="*/ 168275 w 1151018"/>
                  <a:gd name="connsiteY296" fmla="*/ 133005 h 993051"/>
                  <a:gd name="connsiteX297" fmla="*/ 176213 w 1151018"/>
                  <a:gd name="connsiteY297" fmla="*/ 129830 h 993051"/>
                  <a:gd name="connsiteX298" fmla="*/ 190500 w 1151018"/>
                  <a:gd name="connsiteY298" fmla="*/ 128243 h 993051"/>
                  <a:gd name="connsiteX299" fmla="*/ 203200 w 1151018"/>
                  <a:gd name="connsiteY299" fmla="*/ 125068 h 993051"/>
                  <a:gd name="connsiteX300" fmla="*/ 207963 w 1151018"/>
                  <a:gd name="connsiteY300" fmla="*/ 123480 h 993051"/>
                  <a:gd name="connsiteX301" fmla="*/ 214313 w 1151018"/>
                  <a:gd name="connsiteY301" fmla="*/ 115543 h 993051"/>
                  <a:gd name="connsiteX302" fmla="*/ 215900 w 1151018"/>
                  <a:gd name="connsiteY302" fmla="*/ 110780 h 993051"/>
                  <a:gd name="connsiteX303" fmla="*/ 220663 w 1151018"/>
                  <a:gd name="connsiteY303" fmla="*/ 90143 h 993051"/>
                  <a:gd name="connsiteX304" fmla="*/ 230188 w 1151018"/>
                  <a:gd name="connsiteY304" fmla="*/ 86968 h 993051"/>
                  <a:gd name="connsiteX305" fmla="*/ 238125 w 1151018"/>
                  <a:gd name="connsiteY305" fmla="*/ 80618 h 993051"/>
                  <a:gd name="connsiteX306" fmla="*/ 255588 w 1151018"/>
                  <a:gd name="connsiteY306" fmla="*/ 71093 h 993051"/>
                  <a:gd name="connsiteX307" fmla="*/ 265113 w 1151018"/>
                  <a:gd name="connsiteY307" fmla="*/ 64743 h 993051"/>
                  <a:gd name="connsiteX308" fmla="*/ 285750 w 1151018"/>
                  <a:gd name="connsiteY308" fmla="*/ 52043 h 993051"/>
                  <a:gd name="connsiteX309" fmla="*/ 295275 w 1151018"/>
                  <a:gd name="connsiteY309" fmla="*/ 45693 h 993051"/>
                  <a:gd name="connsiteX310" fmla="*/ 300038 w 1151018"/>
                  <a:gd name="connsiteY310" fmla="*/ 40930 h 993051"/>
                  <a:gd name="connsiteX311" fmla="*/ 307975 w 1151018"/>
                  <a:gd name="connsiteY311" fmla="*/ 36168 h 993051"/>
                  <a:gd name="connsiteX312" fmla="*/ 322263 w 1151018"/>
                  <a:gd name="connsiteY312" fmla="*/ 23468 h 993051"/>
                  <a:gd name="connsiteX313" fmla="*/ 341313 w 1151018"/>
                  <a:gd name="connsiteY313" fmla="*/ 18705 h 993051"/>
                  <a:gd name="connsiteX314" fmla="*/ 355600 w 1151018"/>
                  <a:gd name="connsiteY314" fmla="*/ 15530 h 993051"/>
                  <a:gd name="connsiteX315" fmla="*/ 365125 w 1151018"/>
                  <a:gd name="connsiteY315" fmla="*/ 10768 h 993051"/>
                  <a:gd name="connsiteX316" fmla="*/ 419100 w 1151018"/>
                  <a:gd name="connsiteY316" fmla="*/ 10768 h 993051"/>
                  <a:gd name="connsiteX317" fmla="*/ 436563 w 1151018"/>
                  <a:gd name="connsiteY317" fmla="*/ 15530 h 993051"/>
                  <a:gd name="connsiteX318" fmla="*/ 444500 w 1151018"/>
                  <a:gd name="connsiteY318" fmla="*/ 20293 h 993051"/>
                  <a:gd name="connsiteX319" fmla="*/ 452438 w 1151018"/>
                  <a:gd name="connsiteY319" fmla="*/ 21880 h 993051"/>
                  <a:gd name="connsiteX320" fmla="*/ 458788 w 1151018"/>
                  <a:gd name="connsiteY320" fmla="*/ 23468 h 993051"/>
                  <a:gd name="connsiteX321" fmla="*/ 465138 w 1151018"/>
                  <a:gd name="connsiteY321" fmla="*/ 28230 h 993051"/>
                  <a:gd name="connsiteX322" fmla="*/ 466725 w 1151018"/>
                  <a:gd name="connsiteY322" fmla="*/ 32993 h 993051"/>
                  <a:gd name="connsiteX323" fmla="*/ 469900 w 1151018"/>
                  <a:gd name="connsiteY323" fmla="*/ 39343 h 993051"/>
                  <a:gd name="connsiteX324" fmla="*/ 471488 w 1151018"/>
                  <a:gd name="connsiteY324" fmla="*/ 44105 h 993051"/>
                  <a:gd name="connsiteX325" fmla="*/ 463550 w 1151018"/>
                  <a:gd name="connsiteY325" fmla="*/ 42518 h 993051"/>
                  <a:gd name="connsiteX326" fmla="*/ 447675 w 1151018"/>
                  <a:gd name="connsiteY326" fmla="*/ 28230 h 993051"/>
                  <a:gd name="connsiteX327" fmla="*/ 439738 w 1151018"/>
                  <a:gd name="connsiteY327" fmla="*/ 15530 h 993051"/>
                  <a:gd name="connsiteX328" fmla="*/ 423863 w 1151018"/>
                  <a:gd name="connsiteY328" fmla="*/ 23468 h 993051"/>
                  <a:gd name="connsiteX329" fmla="*/ 414338 w 1151018"/>
                  <a:gd name="connsiteY329" fmla="*/ 29818 h 993051"/>
                  <a:gd name="connsiteX330" fmla="*/ 420688 w 1151018"/>
                  <a:gd name="connsiteY330" fmla="*/ 36168 h 993051"/>
                  <a:gd name="connsiteX331" fmla="*/ 430213 w 1151018"/>
                  <a:gd name="connsiteY331" fmla="*/ 42518 h 993051"/>
                  <a:gd name="connsiteX332" fmla="*/ 438150 w 1151018"/>
                  <a:gd name="connsiteY332" fmla="*/ 56805 h 993051"/>
                  <a:gd name="connsiteX333" fmla="*/ 442913 w 1151018"/>
                  <a:gd name="connsiteY333" fmla="*/ 61568 h 993051"/>
                  <a:gd name="connsiteX334" fmla="*/ 452438 w 1151018"/>
                  <a:gd name="connsiteY334" fmla="*/ 71093 h 993051"/>
                  <a:gd name="connsiteX335" fmla="*/ 465138 w 1151018"/>
                  <a:gd name="connsiteY335" fmla="*/ 79030 h 993051"/>
                  <a:gd name="connsiteX336" fmla="*/ 466725 w 1151018"/>
                  <a:gd name="connsiteY336" fmla="*/ 83793 h 993051"/>
                  <a:gd name="connsiteX337" fmla="*/ 473075 w 1151018"/>
                  <a:gd name="connsiteY337" fmla="*/ 85380 h 993051"/>
                  <a:gd name="connsiteX338" fmla="*/ 520700 w 1151018"/>
                  <a:gd name="connsiteY338" fmla="*/ 91730 h 993051"/>
                  <a:gd name="connsiteX339" fmla="*/ 546100 w 1151018"/>
                  <a:gd name="connsiteY339" fmla="*/ 83793 h 993051"/>
                  <a:gd name="connsiteX340" fmla="*/ 550863 w 1151018"/>
                  <a:gd name="connsiteY340" fmla="*/ 77443 h 993051"/>
                  <a:gd name="connsiteX341" fmla="*/ 558800 w 1151018"/>
                  <a:gd name="connsiteY341" fmla="*/ 71093 h 993051"/>
                  <a:gd name="connsiteX342" fmla="*/ 566738 w 1151018"/>
                  <a:gd name="connsiteY342" fmla="*/ 64743 h 993051"/>
                  <a:gd name="connsiteX343" fmla="*/ 573088 w 1151018"/>
                  <a:gd name="connsiteY343" fmla="*/ 58393 h 993051"/>
                  <a:gd name="connsiteX344" fmla="*/ 577850 w 1151018"/>
                  <a:gd name="connsiteY344" fmla="*/ 55218 h 993051"/>
                  <a:gd name="connsiteX345" fmla="*/ 571500 w 1151018"/>
                  <a:gd name="connsiteY345" fmla="*/ 52043 h 993051"/>
                  <a:gd name="connsiteX0" fmla="*/ 571500 w 1151018"/>
                  <a:gd name="connsiteY0" fmla="*/ 52043 h 993051"/>
                  <a:gd name="connsiteX1" fmla="*/ 579438 w 1151018"/>
                  <a:gd name="connsiteY1" fmla="*/ 50455 h 993051"/>
                  <a:gd name="connsiteX2" fmla="*/ 608013 w 1151018"/>
                  <a:gd name="connsiteY2" fmla="*/ 53630 h 993051"/>
                  <a:gd name="connsiteX3" fmla="*/ 612775 w 1151018"/>
                  <a:gd name="connsiteY3" fmla="*/ 56805 h 993051"/>
                  <a:gd name="connsiteX4" fmla="*/ 625475 w 1151018"/>
                  <a:gd name="connsiteY4" fmla="*/ 58393 h 993051"/>
                  <a:gd name="connsiteX5" fmla="*/ 684213 w 1151018"/>
                  <a:gd name="connsiteY5" fmla="*/ 56805 h 993051"/>
                  <a:gd name="connsiteX6" fmla="*/ 693738 w 1151018"/>
                  <a:gd name="connsiteY6" fmla="*/ 55218 h 993051"/>
                  <a:gd name="connsiteX7" fmla="*/ 706438 w 1151018"/>
                  <a:gd name="connsiteY7" fmla="*/ 50455 h 993051"/>
                  <a:gd name="connsiteX8" fmla="*/ 711200 w 1151018"/>
                  <a:gd name="connsiteY8" fmla="*/ 48868 h 993051"/>
                  <a:gd name="connsiteX9" fmla="*/ 720725 w 1151018"/>
                  <a:gd name="connsiteY9" fmla="*/ 47280 h 993051"/>
                  <a:gd name="connsiteX10" fmla="*/ 738188 w 1151018"/>
                  <a:gd name="connsiteY10" fmla="*/ 42518 h 993051"/>
                  <a:gd name="connsiteX11" fmla="*/ 742950 w 1151018"/>
                  <a:gd name="connsiteY11" fmla="*/ 40930 h 993051"/>
                  <a:gd name="connsiteX12" fmla="*/ 758825 w 1151018"/>
                  <a:gd name="connsiteY12" fmla="*/ 39343 h 993051"/>
                  <a:gd name="connsiteX13" fmla="*/ 795338 w 1151018"/>
                  <a:gd name="connsiteY13" fmla="*/ 34580 h 993051"/>
                  <a:gd name="connsiteX14" fmla="*/ 812800 w 1151018"/>
                  <a:gd name="connsiteY14" fmla="*/ 28230 h 993051"/>
                  <a:gd name="connsiteX15" fmla="*/ 819150 w 1151018"/>
                  <a:gd name="connsiteY15" fmla="*/ 26643 h 993051"/>
                  <a:gd name="connsiteX16" fmla="*/ 835025 w 1151018"/>
                  <a:gd name="connsiteY16" fmla="*/ 23468 h 993051"/>
                  <a:gd name="connsiteX17" fmla="*/ 842963 w 1151018"/>
                  <a:gd name="connsiteY17" fmla="*/ 20293 h 993051"/>
                  <a:gd name="connsiteX18" fmla="*/ 852488 w 1151018"/>
                  <a:gd name="connsiteY18" fmla="*/ 18705 h 993051"/>
                  <a:gd name="connsiteX19" fmla="*/ 857250 w 1151018"/>
                  <a:gd name="connsiteY19" fmla="*/ 17118 h 993051"/>
                  <a:gd name="connsiteX20" fmla="*/ 862013 w 1151018"/>
                  <a:gd name="connsiteY20" fmla="*/ 13943 h 993051"/>
                  <a:gd name="connsiteX21" fmla="*/ 866775 w 1151018"/>
                  <a:gd name="connsiteY21" fmla="*/ 12355 h 993051"/>
                  <a:gd name="connsiteX22" fmla="*/ 877888 w 1151018"/>
                  <a:gd name="connsiteY22" fmla="*/ 7593 h 993051"/>
                  <a:gd name="connsiteX23" fmla="*/ 900113 w 1151018"/>
                  <a:gd name="connsiteY23" fmla="*/ 6005 h 993051"/>
                  <a:gd name="connsiteX24" fmla="*/ 904875 w 1151018"/>
                  <a:gd name="connsiteY24" fmla="*/ 12355 h 993051"/>
                  <a:gd name="connsiteX25" fmla="*/ 909638 w 1151018"/>
                  <a:gd name="connsiteY25" fmla="*/ 13943 h 993051"/>
                  <a:gd name="connsiteX26" fmla="*/ 919163 w 1151018"/>
                  <a:gd name="connsiteY26" fmla="*/ 20293 h 993051"/>
                  <a:gd name="connsiteX27" fmla="*/ 928688 w 1151018"/>
                  <a:gd name="connsiteY27" fmla="*/ 26643 h 993051"/>
                  <a:gd name="connsiteX28" fmla="*/ 936625 w 1151018"/>
                  <a:gd name="connsiteY28" fmla="*/ 31405 h 993051"/>
                  <a:gd name="connsiteX29" fmla="*/ 947738 w 1151018"/>
                  <a:gd name="connsiteY29" fmla="*/ 37755 h 993051"/>
                  <a:gd name="connsiteX30" fmla="*/ 960438 w 1151018"/>
                  <a:gd name="connsiteY30" fmla="*/ 48868 h 993051"/>
                  <a:gd name="connsiteX31" fmla="*/ 962025 w 1151018"/>
                  <a:gd name="connsiteY31" fmla="*/ 53630 h 993051"/>
                  <a:gd name="connsiteX32" fmla="*/ 965200 w 1151018"/>
                  <a:gd name="connsiteY32" fmla="*/ 64743 h 993051"/>
                  <a:gd name="connsiteX33" fmla="*/ 969963 w 1151018"/>
                  <a:gd name="connsiteY33" fmla="*/ 91730 h 993051"/>
                  <a:gd name="connsiteX34" fmla="*/ 977900 w 1151018"/>
                  <a:gd name="connsiteY34" fmla="*/ 104430 h 993051"/>
                  <a:gd name="connsiteX35" fmla="*/ 979488 w 1151018"/>
                  <a:gd name="connsiteY35" fmla="*/ 109193 h 993051"/>
                  <a:gd name="connsiteX36" fmla="*/ 982663 w 1151018"/>
                  <a:gd name="connsiteY36" fmla="*/ 121893 h 993051"/>
                  <a:gd name="connsiteX37" fmla="*/ 1000125 w 1151018"/>
                  <a:gd name="connsiteY37" fmla="*/ 150468 h 993051"/>
                  <a:gd name="connsiteX38" fmla="*/ 1001713 w 1151018"/>
                  <a:gd name="connsiteY38" fmla="*/ 156818 h 993051"/>
                  <a:gd name="connsiteX39" fmla="*/ 1017663 w 1151018"/>
                  <a:gd name="connsiteY39" fmla="*/ 176548 h 993051"/>
                  <a:gd name="connsiteX40" fmla="*/ 1031875 w 1151018"/>
                  <a:gd name="connsiteY40" fmla="*/ 212380 h 993051"/>
                  <a:gd name="connsiteX41" fmla="*/ 1041400 w 1151018"/>
                  <a:gd name="connsiteY41" fmla="*/ 218730 h 993051"/>
                  <a:gd name="connsiteX42" fmla="*/ 1042988 w 1151018"/>
                  <a:gd name="connsiteY42" fmla="*/ 223493 h 993051"/>
                  <a:gd name="connsiteX43" fmla="*/ 1048583 w 1151018"/>
                  <a:gd name="connsiteY43" fmla="*/ 227424 h 993051"/>
                  <a:gd name="connsiteX44" fmla="*/ 1050925 w 1151018"/>
                  <a:gd name="connsiteY44" fmla="*/ 252068 h 993051"/>
                  <a:gd name="connsiteX45" fmla="*/ 1054100 w 1151018"/>
                  <a:gd name="connsiteY45" fmla="*/ 260005 h 993051"/>
                  <a:gd name="connsiteX46" fmla="*/ 1058863 w 1151018"/>
                  <a:gd name="connsiteY46" fmla="*/ 263180 h 993051"/>
                  <a:gd name="connsiteX47" fmla="*/ 1060450 w 1151018"/>
                  <a:gd name="connsiteY47" fmla="*/ 283818 h 993051"/>
                  <a:gd name="connsiteX48" fmla="*/ 1057275 w 1151018"/>
                  <a:gd name="connsiteY48" fmla="*/ 291755 h 993051"/>
                  <a:gd name="connsiteX49" fmla="*/ 1047750 w 1151018"/>
                  <a:gd name="connsiteY49" fmla="*/ 294930 h 993051"/>
                  <a:gd name="connsiteX50" fmla="*/ 1042988 w 1151018"/>
                  <a:gd name="connsiteY50" fmla="*/ 299693 h 993051"/>
                  <a:gd name="connsiteX51" fmla="*/ 1031875 w 1151018"/>
                  <a:gd name="connsiteY51" fmla="*/ 320330 h 993051"/>
                  <a:gd name="connsiteX52" fmla="*/ 1017588 w 1151018"/>
                  <a:gd name="connsiteY52" fmla="*/ 340968 h 993051"/>
                  <a:gd name="connsiteX53" fmla="*/ 1009650 w 1151018"/>
                  <a:gd name="connsiteY53" fmla="*/ 352080 h 993051"/>
                  <a:gd name="connsiteX54" fmla="*/ 1004888 w 1151018"/>
                  <a:gd name="connsiteY54" fmla="*/ 353668 h 993051"/>
                  <a:gd name="connsiteX55" fmla="*/ 1000125 w 1151018"/>
                  <a:gd name="connsiteY55" fmla="*/ 377480 h 993051"/>
                  <a:gd name="connsiteX56" fmla="*/ 998538 w 1151018"/>
                  <a:gd name="connsiteY56" fmla="*/ 383830 h 993051"/>
                  <a:gd name="connsiteX57" fmla="*/ 996950 w 1151018"/>
                  <a:gd name="connsiteY57" fmla="*/ 391768 h 993051"/>
                  <a:gd name="connsiteX58" fmla="*/ 1008063 w 1151018"/>
                  <a:gd name="connsiteY58" fmla="*/ 394943 h 993051"/>
                  <a:gd name="connsiteX59" fmla="*/ 1027113 w 1151018"/>
                  <a:gd name="connsiteY59" fmla="*/ 396530 h 993051"/>
                  <a:gd name="connsiteX60" fmla="*/ 1039813 w 1151018"/>
                  <a:gd name="connsiteY60" fmla="*/ 406055 h 993051"/>
                  <a:gd name="connsiteX61" fmla="*/ 1049338 w 1151018"/>
                  <a:gd name="connsiteY61" fmla="*/ 413993 h 993051"/>
                  <a:gd name="connsiteX62" fmla="*/ 1050925 w 1151018"/>
                  <a:gd name="connsiteY62" fmla="*/ 420343 h 993051"/>
                  <a:gd name="connsiteX63" fmla="*/ 1046163 w 1151018"/>
                  <a:gd name="connsiteY63" fmla="*/ 433043 h 993051"/>
                  <a:gd name="connsiteX64" fmla="*/ 1046163 w 1151018"/>
                  <a:gd name="connsiteY64" fmla="*/ 447330 h 993051"/>
                  <a:gd name="connsiteX65" fmla="*/ 1044575 w 1151018"/>
                  <a:gd name="connsiteY65" fmla="*/ 460030 h 993051"/>
                  <a:gd name="connsiteX66" fmla="*/ 1042988 w 1151018"/>
                  <a:gd name="connsiteY66" fmla="*/ 474318 h 993051"/>
                  <a:gd name="connsiteX67" fmla="*/ 1044575 w 1151018"/>
                  <a:gd name="connsiteY67" fmla="*/ 487018 h 993051"/>
                  <a:gd name="connsiteX68" fmla="*/ 1046163 w 1151018"/>
                  <a:gd name="connsiteY68" fmla="*/ 491780 h 993051"/>
                  <a:gd name="connsiteX69" fmla="*/ 1050925 w 1151018"/>
                  <a:gd name="connsiteY69" fmla="*/ 493368 h 993051"/>
                  <a:gd name="connsiteX70" fmla="*/ 1057275 w 1151018"/>
                  <a:gd name="connsiteY70" fmla="*/ 496543 h 993051"/>
                  <a:gd name="connsiteX71" fmla="*/ 1062038 w 1151018"/>
                  <a:gd name="connsiteY71" fmla="*/ 501305 h 993051"/>
                  <a:gd name="connsiteX72" fmla="*/ 1066800 w 1151018"/>
                  <a:gd name="connsiteY72" fmla="*/ 504480 h 993051"/>
                  <a:gd name="connsiteX73" fmla="*/ 1068388 w 1151018"/>
                  <a:gd name="connsiteY73" fmla="*/ 521943 h 993051"/>
                  <a:gd name="connsiteX74" fmla="*/ 1071563 w 1151018"/>
                  <a:gd name="connsiteY74" fmla="*/ 526705 h 993051"/>
                  <a:gd name="connsiteX75" fmla="*/ 1073150 w 1151018"/>
                  <a:gd name="connsiteY75" fmla="*/ 539405 h 993051"/>
                  <a:gd name="connsiteX76" fmla="*/ 1077913 w 1151018"/>
                  <a:gd name="connsiteY76" fmla="*/ 553693 h 993051"/>
                  <a:gd name="connsiteX77" fmla="*/ 1085850 w 1151018"/>
                  <a:gd name="connsiteY77" fmla="*/ 555280 h 993051"/>
                  <a:gd name="connsiteX78" fmla="*/ 1089025 w 1151018"/>
                  <a:gd name="connsiteY78" fmla="*/ 560043 h 993051"/>
                  <a:gd name="connsiteX79" fmla="*/ 1096963 w 1151018"/>
                  <a:gd name="connsiteY79" fmla="*/ 582268 h 993051"/>
                  <a:gd name="connsiteX80" fmla="*/ 1108075 w 1151018"/>
                  <a:gd name="connsiteY80" fmla="*/ 596555 h 993051"/>
                  <a:gd name="connsiteX81" fmla="*/ 1109663 w 1151018"/>
                  <a:gd name="connsiteY81" fmla="*/ 602905 h 993051"/>
                  <a:gd name="connsiteX82" fmla="*/ 1119188 w 1151018"/>
                  <a:gd name="connsiteY82" fmla="*/ 609255 h 993051"/>
                  <a:gd name="connsiteX83" fmla="*/ 1123950 w 1151018"/>
                  <a:gd name="connsiteY83" fmla="*/ 612430 h 993051"/>
                  <a:gd name="connsiteX84" fmla="*/ 1130300 w 1151018"/>
                  <a:gd name="connsiteY84" fmla="*/ 614018 h 993051"/>
                  <a:gd name="connsiteX85" fmla="*/ 1138238 w 1151018"/>
                  <a:gd name="connsiteY85" fmla="*/ 617193 h 993051"/>
                  <a:gd name="connsiteX86" fmla="*/ 1133475 w 1151018"/>
                  <a:gd name="connsiteY86" fmla="*/ 621955 h 993051"/>
                  <a:gd name="connsiteX87" fmla="*/ 1131888 w 1151018"/>
                  <a:gd name="connsiteY87" fmla="*/ 629893 h 993051"/>
                  <a:gd name="connsiteX88" fmla="*/ 1143000 w 1151018"/>
                  <a:gd name="connsiteY88" fmla="*/ 637830 h 993051"/>
                  <a:gd name="connsiteX89" fmla="*/ 1144588 w 1151018"/>
                  <a:gd name="connsiteY89" fmla="*/ 642593 h 993051"/>
                  <a:gd name="connsiteX90" fmla="*/ 1146175 w 1151018"/>
                  <a:gd name="connsiteY90" fmla="*/ 648943 h 993051"/>
                  <a:gd name="connsiteX91" fmla="*/ 1149350 w 1151018"/>
                  <a:gd name="connsiteY91" fmla="*/ 656880 h 993051"/>
                  <a:gd name="connsiteX92" fmla="*/ 1146175 w 1151018"/>
                  <a:gd name="connsiteY92" fmla="*/ 690218 h 993051"/>
                  <a:gd name="connsiteX93" fmla="*/ 1133475 w 1151018"/>
                  <a:gd name="connsiteY93" fmla="*/ 693393 h 993051"/>
                  <a:gd name="connsiteX94" fmla="*/ 1127125 w 1151018"/>
                  <a:gd name="connsiteY94" fmla="*/ 701330 h 993051"/>
                  <a:gd name="connsiteX95" fmla="*/ 1123950 w 1151018"/>
                  <a:gd name="connsiteY95" fmla="*/ 718793 h 993051"/>
                  <a:gd name="connsiteX96" fmla="*/ 1119188 w 1151018"/>
                  <a:gd name="connsiteY96" fmla="*/ 721968 h 993051"/>
                  <a:gd name="connsiteX97" fmla="*/ 1116013 w 1151018"/>
                  <a:gd name="connsiteY97" fmla="*/ 733080 h 993051"/>
                  <a:gd name="connsiteX98" fmla="*/ 1112838 w 1151018"/>
                  <a:gd name="connsiteY98" fmla="*/ 737843 h 993051"/>
                  <a:gd name="connsiteX99" fmla="*/ 1106488 w 1151018"/>
                  <a:gd name="connsiteY99" fmla="*/ 739430 h 993051"/>
                  <a:gd name="connsiteX100" fmla="*/ 1096963 w 1151018"/>
                  <a:gd name="connsiteY100" fmla="*/ 747368 h 993051"/>
                  <a:gd name="connsiteX101" fmla="*/ 1079500 w 1151018"/>
                  <a:gd name="connsiteY101" fmla="*/ 763243 h 993051"/>
                  <a:gd name="connsiteX102" fmla="*/ 1071563 w 1151018"/>
                  <a:gd name="connsiteY102" fmla="*/ 774355 h 993051"/>
                  <a:gd name="connsiteX103" fmla="*/ 1068388 w 1151018"/>
                  <a:gd name="connsiteY103" fmla="*/ 782293 h 993051"/>
                  <a:gd name="connsiteX104" fmla="*/ 1065213 w 1151018"/>
                  <a:gd name="connsiteY104" fmla="*/ 787055 h 993051"/>
                  <a:gd name="connsiteX105" fmla="*/ 1062038 w 1151018"/>
                  <a:gd name="connsiteY105" fmla="*/ 794993 h 993051"/>
                  <a:gd name="connsiteX106" fmla="*/ 1058863 w 1151018"/>
                  <a:gd name="connsiteY106" fmla="*/ 804518 h 993051"/>
                  <a:gd name="connsiteX107" fmla="*/ 1052513 w 1151018"/>
                  <a:gd name="connsiteY107" fmla="*/ 817218 h 993051"/>
                  <a:gd name="connsiteX108" fmla="*/ 1046163 w 1151018"/>
                  <a:gd name="connsiteY108" fmla="*/ 831505 h 993051"/>
                  <a:gd name="connsiteX109" fmla="*/ 1044575 w 1151018"/>
                  <a:gd name="connsiteY109" fmla="*/ 836268 h 993051"/>
                  <a:gd name="connsiteX110" fmla="*/ 1041400 w 1151018"/>
                  <a:gd name="connsiteY110" fmla="*/ 842618 h 993051"/>
                  <a:gd name="connsiteX111" fmla="*/ 1039813 w 1151018"/>
                  <a:gd name="connsiteY111" fmla="*/ 847380 h 993051"/>
                  <a:gd name="connsiteX112" fmla="*/ 1033463 w 1151018"/>
                  <a:gd name="connsiteY112" fmla="*/ 853730 h 993051"/>
                  <a:gd name="connsiteX113" fmla="*/ 1028700 w 1151018"/>
                  <a:gd name="connsiteY113" fmla="*/ 866430 h 993051"/>
                  <a:gd name="connsiteX114" fmla="*/ 1022350 w 1151018"/>
                  <a:gd name="connsiteY114" fmla="*/ 882305 h 993051"/>
                  <a:gd name="connsiteX115" fmla="*/ 1025525 w 1151018"/>
                  <a:gd name="connsiteY115" fmla="*/ 891830 h 993051"/>
                  <a:gd name="connsiteX116" fmla="*/ 1030288 w 1151018"/>
                  <a:gd name="connsiteY116" fmla="*/ 896593 h 993051"/>
                  <a:gd name="connsiteX117" fmla="*/ 1033463 w 1151018"/>
                  <a:gd name="connsiteY117" fmla="*/ 902943 h 993051"/>
                  <a:gd name="connsiteX118" fmla="*/ 1036638 w 1151018"/>
                  <a:gd name="connsiteY118" fmla="*/ 910880 h 993051"/>
                  <a:gd name="connsiteX119" fmla="*/ 1039813 w 1151018"/>
                  <a:gd name="connsiteY119" fmla="*/ 921993 h 993051"/>
                  <a:gd name="connsiteX120" fmla="*/ 1044575 w 1151018"/>
                  <a:gd name="connsiteY120" fmla="*/ 925168 h 993051"/>
                  <a:gd name="connsiteX121" fmla="*/ 1033463 w 1151018"/>
                  <a:gd name="connsiteY121" fmla="*/ 936280 h 993051"/>
                  <a:gd name="connsiteX122" fmla="*/ 1039813 w 1151018"/>
                  <a:gd name="connsiteY122" fmla="*/ 939455 h 993051"/>
                  <a:gd name="connsiteX123" fmla="*/ 1046163 w 1151018"/>
                  <a:gd name="connsiteY123" fmla="*/ 944218 h 993051"/>
                  <a:gd name="connsiteX124" fmla="*/ 1049338 w 1151018"/>
                  <a:gd name="connsiteY124" fmla="*/ 956918 h 993051"/>
                  <a:gd name="connsiteX125" fmla="*/ 1050925 w 1151018"/>
                  <a:gd name="connsiteY125" fmla="*/ 961680 h 993051"/>
                  <a:gd name="connsiteX126" fmla="*/ 1060450 w 1151018"/>
                  <a:gd name="connsiteY126" fmla="*/ 971205 h 993051"/>
                  <a:gd name="connsiteX127" fmla="*/ 1022350 w 1151018"/>
                  <a:gd name="connsiteY127" fmla="*/ 971205 h 993051"/>
                  <a:gd name="connsiteX128" fmla="*/ 1019175 w 1151018"/>
                  <a:gd name="connsiteY128" fmla="*/ 964855 h 993051"/>
                  <a:gd name="connsiteX129" fmla="*/ 1014413 w 1151018"/>
                  <a:gd name="connsiteY129" fmla="*/ 963268 h 993051"/>
                  <a:gd name="connsiteX130" fmla="*/ 1000125 w 1151018"/>
                  <a:gd name="connsiteY130" fmla="*/ 960093 h 993051"/>
                  <a:gd name="connsiteX131" fmla="*/ 995363 w 1151018"/>
                  <a:gd name="connsiteY131" fmla="*/ 956918 h 993051"/>
                  <a:gd name="connsiteX132" fmla="*/ 985838 w 1151018"/>
                  <a:gd name="connsiteY132" fmla="*/ 955330 h 993051"/>
                  <a:gd name="connsiteX133" fmla="*/ 965200 w 1151018"/>
                  <a:gd name="connsiteY133" fmla="*/ 952155 h 993051"/>
                  <a:gd name="connsiteX134" fmla="*/ 960438 w 1151018"/>
                  <a:gd name="connsiteY134" fmla="*/ 947393 h 993051"/>
                  <a:gd name="connsiteX135" fmla="*/ 952500 w 1151018"/>
                  <a:gd name="connsiteY135" fmla="*/ 936280 h 993051"/>
                  <a:gd name="connsiteX136" fmla="*/ 938213 w 1151018"/>
                  <a:gd name="connsiteY136" fmla="*/ 928343 h 993051"/>
                  <a:gd name="connsiteX137" fmla="*/ 933450 w 1151018"/>
                  <a:gd name="connsiteY137" fmla="*/ 925168 h 993051"/>
                  <a:gd name="connsiteX138" fmla="*/ 922338 w 1151018"/>
                  <a:gd name="connsiteY138" fmla="*/ 923580 h 993051"/>
                  <a:gd name="connsiteX139" fmla="*/ 915988 w 1151018"/>
                  <a:gd name="connsiteY139" fmla="*/ 921993 h 993051"/>
                  <a:gd name="connsiteX140" fmla="*/ 896938 w 1151018"/>
                  <a:gd name="connsiteY140" fmla="*/ 918818 h 993051"/>
                  <a:gd name="connsiteX141" fmla="*/ 847725 w 1151018"/>
                  <a:gd name="connsiteY141" fmla="*/ 925168 h 993051"/>
                  <a:gd name="connsiteX142" fmla="*/ 844550 w 1151018"/>
                  <a:gd name="connsiteY142" fmla="*/ 929930 h 993051"/>
                  <a:gd name="connsiteX143" fmla="*/ 842963 w 1151018"/>
                  <a:gd name="connsiteY143" fmla="*/ 936280 h 993051"/>
                  <a:gd name="connsiteX144" fmla="*/ 836613 w 1151018"/>
                  <a:gd name="connsiteY144" fmla="*/ 939455 h 993051"/>
                  <a:gd name="connsiteX145" fmla="*/ 830263 w 1151018"/>
                  <a:gd name="connsiteY145" fmla="*/ 945805 h 993051"/>
                  <a:gd name="connsiteX146" fmla="*/ 811213 w 1151018"/>
                  <a:gd name="connsiteY146" fmla="*/ 944218 h 993051"/>
                  <a:gd name="connsiteX147" fmla="*/ 796925 w 1151018"/>
                  <a:gd name="connsiteY147" fmla="*/ 941043 h 993051"/>
                  <a:gd name="connsiteX148" fmla="*/ 746125 w 1151018"/>
                  <a:gd name="connsiteY148" fmla="*/ 950568 h 993051"/>
                  <a:gd name="connsiteX149" fmla="*/ 739775 w 1151018"/>
                  <a:gd name="connsiteY149" fmla="*/ 960093 h 993051"/>
                  <a:gd name="connsiteX150" fmla="*/ 701675 w 1151018"/>
                  <a:gd name="connsiteY150" fmla="*/ 990255 h 993051"/>
                  <a:gd name="connsiteX151" fmla="*/ 696913 w 1151018"/>
                  <a:gd name="connsiteY151" fmla="*/ 983905 h 993051"/>
                  <a:gd name="connsiteX152" fmla="*/ 690563 w 1151018"/>
                  <a:gd name="connsiteY152" fmla="*/ 964855 h 993051"/>
                  <a:gd name="connsiteX153" fmla="*/ 682625 w 1151018"/>
                  <a:gd name="connsiteY153" fmla="*/ 963268 h 993051"/>
                  <a:gd name="connsiteX154" fmla="*/ 677863 w 1151018"/>
                  <a:gd name="connsiteY154" fmla="*/ 952155 h 993051"/>
                  <a:gd name="connsiteX155" fmla="*/ 666750 w 1151018"/>
                  <a:gd name="connsiteY155" fmla="*/ 941043 h 993051"/>
                  <a:gd name="connsiteX156" fmla="*/ 655638 w 1151018"/>
                  <a:gd name="connsiteY156" fmla="*/ 929930 h 993051"/>
                  <a:gd name="connsiteX157" fmla="*/ 654050 w 1151018"/>
                  <a:gd name="connsiteY157" fmla="*/ 915643 h 993051"/>
                  <a:gd name="connsiteX158" fmla="*/ 649288 w 1151018"/>
                  <a:gd name="connsiteY158" fmla="*/ 914055 h 993051"/>
                  <a:gd name="connsiteX159" fmla="*/ 639763 w 1151018"/>
                  <a:gd name="connsiteY159" fmla="*/ 926755 h 993051"/>
                  <a:gd name="connsiteX160" fmla="*/ 635000 w 1151018"/>
                  <a:gd name="connsiteY160" fmla="*/ 933105 h 993051"/>
                  <a:gd name="connsiteX161" fmla="*/ 625475 w 1151018"/>
                  <a:gd name="connsiteY161" fmla="*/ 934693 h 993051"/>
                  <a:gd name="connsiteX162" fmla="*/ 620713 w 1151018"/>
                  <a:gd name="connsiteY162" fmla="*/ 937868 h 993051"/>
                  <a:gd name="connsiteX163" fmla="*/ 619125 w 1151018"/>
                  <a:gd name="connsiteY163" fmla="*/ 944218 h 993051"/>
                  <a:gd name="connsiteX164" fmla="*/ 612775 w 1151018"/>
                  <a:gd name="connsiteY164" fmla="*/ 956918 h 993051"/>
                  <a:gd name="connsiteX165" fmla="*/ 592138 w 1151018"/>
                  <a:gd name="connsiteY165" fmla="*/ 955330 h 993051"/>
                  <a:gd name="connsiteX166" fmla="*/ 588963 w 1151018"/>
                  <a:gd name="connsiteY166" fmla="*/ 937868 h 993051"/>
                  <a:gd name="connsiteX167" fmla="*/ 581025 w 1151018"/>
                  <a:gd name="connsiteY167" fmla="*/ 934693 h 993051"/>
                  <a:gd name="connsiteX168" fmla="*/ 576263 w 1151018"/>
                  <a:gd name="connsiteY168" fmla="*/ 928343 h 993051"/>
                  <a:gd name="connsiteX169" fmla="*/ 573088 w 1151018"/>
                  <a:gd name="connsiteY169" fmla="*/ 917230 h 993051"/>
                  <a:gd name="connsiteX170" fmla="*/ 566738 w 1151018"/>
                  <a:gd name="connsiteY170" fmla="*/ 915643 h 993051"/>
                  <a:gd name="connsiteX171" fmla="*/ 558800 w 1151018"/>
                  <a:gd name="connsiteY171" fmla="*/ 910880 h 993051"/>
                  <a:gd name="connsiteX172" fmla="*/ 555625 w 1151018"/>
                  <a:gd name="connsiteY172" fmla="*/ 906118 h 993051"/>
                  <a:gd name="connsiteX173" fmla="*/ 546100 w 1151018"/>
                  <a:gd name="connsiteY173" fmla="*/ 899768 h 993051"/>
                  <a:gd name="connsiteX174" fmla="*/ 542925 w 1151018"/>
                  <a:gd name="connsiteY174" fmla="*/ 893418 h 993051"/>
                  <a:gd name="connsiteX175" fmla="*/ 541338 w 1151018"/>
                  <a:gd name="connsiteY175" fmla="*/ 887068 h 993051"/>
                  <a:gd name="connsiteX176" fmla="*/ 533400 w 1151018"/>
                  <a:gd name="connsiteY176" fmla="*/ 879130 h 993051"/>
                  <a:gd name="connsiteX177" fmla="*/ 520700 w 1151018"/>
                  <a:gd name="connsiteY177" fmla="*/ 871193 h 993051"/>
                  <a:gd name="connsiteX178" fmla="*/ 511175 w 1151018"/>
                  <a:gd name="connsiteY178" fmla="*/ 868018 h 993051"/>
                  <a:gd name="connsiteX179" fmla="*/ 498475 w 1151018"/>
                  <a:gd name="connsiteY179" fmla="*/ 858493 h 993051"/>
                  <a:gd name="connsiteX180" fmla="*/ 490538 w 1151018"/>
                  <a:gd name="connsiteY180" fmla="*/ 856905 h 993051"/>
                  <a:gd name="connsiteX181" fmla="*/ 474663 w 1151018"/>
                  <a:gd name="connsiteY181" fmla="*/ 858493 h 993051"/>
                  <a:gd name="connsiteX182" fmla="*/ 471488 w 1151018"/>
                  <a:gd name="connsiteY182" fmla="*/ 864843 h 993051"/>
                  <a:gd name="connsiteX183" fmla="*/ 466725 w 1151018"/>
                  <a:gd name="connsiteY183" fmla="*/ 868018 h 993051"/>
                  <a:gd name="connsiteX184" fmla="*/ 461963 w 1151018"/>
                  <a:gd name="connsiteY184" fmla="*/ 872780 h 993051"/>
                  <a:gd name="connsiteX185" fmla="*/ 444500 w 1151018"/>
                  <a:gd name="connsiteY185" fmla="*/ 868018 h 993051"/>
                  <a:gd name="connsiteX186" fmla="*/ 442913 w 1151018"/>
                  <a:gd name="connsiteY186" fmla="*/ 861668 h 993051"/>
                  <a:gd name="connsiteX187" fmla="*/ 434975 w 1151018"/>
                  <a:gd name="connsiteY187" fmla="*/ 845793 h 993051"/>
                  <a:gd name="connsiteX188" fmla="*/ 436563 w 1151018"/>
                  <a:gd name="connsiteY188" fmla="*/ 839443 h 993051"/>
                  <a:gd name="connsiteX189" fmla="*/ 444500 w 1151018"/>
                  <a:gd name="connsiteY189" fmla="*/ 837855 h 993051"/>
                  <a:gd name="connsiteX190" fmla="*/ 454025 w 1151018"/>
                  <a:gd name="connsiteY190" fmla="*/ 836268 h 993051"/>
                  <a:gd name="connsiteX191" fmla="*/ 450850 w 1151018"/>
                  <a:gd name="connsiteY191" fmla="*/ 831505 h 993051"/>
                  <a:gd name="connsiteX192" fmla="*/ 447675 w 1151018"/>
                  <a:gd name="connsiteY192" fmla="*/ 821980 h 993051"/>
                  <a:gd name="connsiteX193" fmla="*/ 433388 w 1151018"/>
                  <a:gd name="connsiteY193" fmla="*/ 820393 h 993051"/>
                  <a:gd name="connsiteX194" fmla="*/ 427038 w 1151018"/>
                  <a:gd name="connsiteY194" fmla="*/ 825155 h 993051"/>
                  <a:gd name="connsiteX195" fmla="*/ 392113 w 1151018"/>
                  <a:gd name="connsiteY195" fmla="*/ 821980 h 993051"/>
                  <a:gd name="connsiteX196" fmla="*/ 377825 w 1151018"/>
                  <a:gd name="connsiteY196" fmla="*/ 815630 h 993051"/>
                  <a:gd name="connsiteX197" fmla="*/ 368300 w 1151018"/>
                  <a:gd name="connsiteY197" fmla="*/ 810868 h 993051"/>
                  <a:gd name="connsiteX198" fmla="*/ 363538 w 1151018"/>
                  <a:gd name="connsiteY198" fmla="*/ 807693 h 993051"/>
                  <a:gd name="connsiteX199" fmla="*/ 350838 w 1151018"/>
                  <a:gd name="connsiteY199" fmla="*/ 801343 h 993051"/>
                  <a:gd name="connsiteX200" fmla="*/ 347663 w 1151018"/>
                  <a:gd name="connsiteY200" fmla="*/ 804518 h 993051"/>
                  <a:gd name="connsiteX201" fmla="*/ 350838 w 1151018"/>
                  <a:gd name="connsiteY201" fmla="*/ 810868 h 993051"/>
                  <a:gd name="connsiteX202" fmla="*/ 354013 w 1151018"/>
                  <a:gd name="connsiteY202" fmla="*/ 831505 h 993051"/>
                  <a:gd name="connsiteX203" fmla="*/ 355600 w 1151018"/>
                  <a:gd name="connsiteY203" fmla="*/ 839443 h 993051"/>
                  <a:gd name="connsiteX204" fmla="*/ 358775 w 1151018"/>
                  <a:gd name="connsiteY204" fmla="*/ 844205 h 993051"/>
                  <a:gd name="connsiteX205" fmla="*/ 354013 w 1151018"/>
                  <a:gd name="connsiteY205" fmla="*/ 847380 h 993051"/>
                  <a:gd name="connsiteX206" fmla="*/ 344488 w 1151018"/>
                  <a:gd name="connsiteY206" fmla="*/ 848968 h 993051"/>
                  <a:gd name="connsiteX207" fmla="*/ 339725 w 1151018"/>
                  <a:gd name="connsiteY207" fmla="*/ 858493 h 993051"/>
                  <a:gd name="connsiteX208" fmla="*/ 334963 w 1151018"/>
                  <a:gd name="connsiteY208" fmla="*/ 864843 h 993051"/>
                  <a:gd name="connsiteX209" fmla="*/ 319088 w 1151018"/>
                  <a:gd name="connsiteY209" fmla="*/ 863255 h 993051"/>
                  <a:gd name="connsiteX210" fmla="*/ 317500 w 1151018"/>
                  <a:gd name="connsiteY210" fmla="*/ 858493 h 993051"/>
                  <a:gd name="connsiteX211" fmla="*/ 311150 w 1151018"/>
                  <a:gd name="connsiteY211" fmla="*/ 850555 h 993051"/>
                  <a:gd name="connsiteX212" fmla="*/ 301625 w 1151018"/>
                  <a:gd name="connsiteY212" fmla="*/ 839443 h 993051"/>
                  <a:gd name="connsiteX213" fmla="*/ 296863 w 1151018"/>
                  <a:gd name="connsiteY213" fmla="*/ 833093 h 993051"/>
                  <a:gd name="connsiteX214" fmla="*/ 284163 w 1151018"/>
                  <a:gd name="connsiteY214" fmla="*/ 828330 h 993051"/>
                  <a:gd name="connsiteX215" fmla="*/ 261938 w 1151018"/>
                  <a:gd name="connsiteY215" fmla="*/ 810868 h 993051"/>
                  <a:gd name="connsiteX216" fmla="*/ 260350 w 1151018"/>
                  <a:gd name="connsiteY216" fmla="*/ 806105 h 993051"/>
                  <a:gd name="connsiteX217" fmla="*/ 276225 w 1151018"/>
                  <a:gd name="connsiteY217" fmla="*/ 799755 h 993051"/>
                  <a:gd name="connsiteX218" fmla="*/ 282575 w 1151018"/>
                  <a:gd name="connsiteY218" fmla="*/ 794993 h 993051"/>
                  <a:gd name="connsiteX219" fmla="*/ 280988 w 1151018"/>
                  <a:gd name="connsiteY219" fmla="*/ 790230 h 993051"/>
                  <a:gd name="connsiteX220" fmla="*/ 268288 w 1151018"/>
                  <a:gd name="connsiteY220" fmla="*/ 782293 h 993051"/>
                  <a:gd name="connsiteX221" fmla="*/ 266700 w 1151018"/>
                  <a:gd name="connsiteY221" fmla="*/ 775943 h 993051"/>
                  <a:gd name="connsiteX222" fmla="*/ 266700 w 1151018"/>
                  <a:gd name="connsiteY222" fmla="*/ 766418 h 993051"/>
                  <a:gd name="connsiteX223" fmla="*/ 241300 w 1151018"/>
                  <a:gd name="connsiteY223" fmla="*/ 774355 h 993051"/>
                  <a:gd name="connsiteX224" fmla="*/ 239713 w 1151018"/>
                  <a:gd name="connsiteY224" fmla="*/ 782293 h 993051"/>
                  <a:gd name="connsiteX225" fmla="*/ 231775 w 1151018"/>
                  <a:gd name="connsiteY225" fmla="*/ 772768 h 993051"/>
                  <a:gd name="connsiteX226" fmla="*/ 225425 w 1151018"/>
                  <a:gd name="connsiteY226" fmla="*/ 769593 h 993051"/>
                  <a:gd name="connsiteX227" fmla="*/ 219075 w 1151018"/>
                  <a:gd name="connsiteY227" fmla="*/ 764830 h 993051"/>
                  <a:gd name="connsiteX228" fmla="*/ 190500 w 1151018"/>
                  <a:gd name="connsiteY228" fmla="*/ 756893 h 993051"/>
                  <a:gd name="connsiteX229" fmla="*/ 185738 w 1151018"/>
                  <a:gd name="connsiteY229" fmla="*/ 753718 h 993051"/>
                  <a:gd name="connsiteX230" fmla="*/ 158750 w 1151018"/>
                  <a:gd name="connsiteY230" fmla="*/ 750543 h 993051"/>
                  <a:gd name="connsiteX231" fmla="*/ 157163 w 1151018"/>
                  <a:gd name="connsiteY231" fmla="*/ 745780 h 993051"/>
                  <a:gd name="connsiteX232" fmla="*/ 155575 w 1151018"/>
                  <a:gd name="connsiteY232" fmla="*/ 729905 h 993051"/>
                  <a:gd name="connsiteX233" fmla="*/ 147638 w 1151018"/>
                  <a:gd name="connsiteY233" fmla="*/ 725143 h 993051"/>
                  <a:gd name="connsiteX234" fmla="*/ 136525 w 1151018"/>
                  <a:gd name="connsiteY234" fmla="*/ 717205 h 993051"/>
                  <a:gd name="connsiteX235" fmla="*/ 130175 w 1151018"/>
                  <a:gd name="connsiteY235" fmla="*/ 725143 h 993051"/>
                  <a:gd name="connsiteX236" fmla="*/ 125413 w 1151018"/>
                  <a:gd name="connsiteY236" fmla="*/ 726730 h 993051"/>
                  <a:gd name="connsiteX237" fmla="*/ 112713 w 1151018"/>
                  <a:gd name="connsiteY237" fmla="*/ 729905 h 993051"/>
                  <a:gd name="connsiteX238" fmla="*/ 114300 w 1151018"/>
                  <a:gd name="connsiteY238" fmla="*/ 723555 h 993051"/>
                  <a:gd name="connsiteX239" fmla="*/ 115888 w 1151018"/>
                  <a:gd name="connsiteY239" fmla="*/ 715618 h 993051"/>
                  <a:gd name="connsiteX240" fmla="*/ 119063 w 1151018"/>
                  <a:gd name="connsiteY240" fmla="*/ 706093 h 993051"/>
                  <a:gd name="connsiteX241" fmla="*/ 117475 w 1151018"/>
                  <a:gd name="connsiteY241" fmla="*/ 658468 h 993051"/>
                  <a:gd name="connsiteX242" fmla="*/ 114300 w 1151018"/>
                  <a:gd name="connsiteY242" fmla="*/ 652118 h 993051"/>
                  <a:gd name="connsiteX243" fmla="*/ 93663 w 1151018"/>
                  <a:gd name="connsiteY243" fmla="*/ 634655 h 993051"/>
                  <a:gd name="connsiteX244" fmla="*/ 87313 w 1151018"/>
                  <a:gd name="connsiteY244" fmla="*/ 633068 h 993051"/>
                  <a:gd name="connsiteX245" fmla="*/ 79375 w 1151018"/>
                  <a:gd name="connsiteY245" fmla="*/ 593380 h 993051"/>
                  <a:gd name="connsiteX246" fmla="*/ 68263 w 1151018"/>
                  <a:gd name="connsiteY246" fmla="*/ 590205 h 993051"/>
                  <a:gd name="connsiteX247" fmla="*/ 61913 w 1151018"/>
                  <a:gd name="connsiteY247" fmla="*/ 577505 h 993051"/>
                  <a:gd name="connsiteX248" fmla="*/ 65088 w 1151018"/>
                  <a:gd name="connsiteY248" fmla="*/ 571155 h 993051"/>
                  <a:gd name="connsiteX249" fmla="*/ 69850 w 1151018"/>
                  <a:gd name="connsiteY249" fmla="*/ 569568 h 993051"/>
                  <a:gd name="connsiteX250" fmla="*/ 73025 w 1151018"/>
                  <a:gd name="connsiteY250" fmla="*/ 514005 h 993051"/>
                  <a:gd name="connsiteX251" fmla="*/ 71438 w 1151018"/>
                  <a:gd name="connsiteY251" fmla="*/ 507655 h 993051"/>
                  <a:gd name="connsiteX252" fmla="*/ 68263 w 1151018"/>
                  <a:gd name="connsiteY252" fmla="*/ 502893 h 993051"/>
                  <a:gd name="connsiteX253" fmla="*/ 65088 w 1151018"/>
                  <a:gd name="connsiteY253" fmla="*/ 494955 h 993051"/>
                  <a:gd name="connsiteX254" fmla="*/ 52388 w 1151018"/>
                  <a:gd name="connsiteY254" fmla="*/ 490193 h 993051"/>
                  <a:gd name="connsiteX255" fmla="*/ 44450 w 1151018"/>
                  <a:gd name="connsiteY255" fmla="*/ 483843 h 993051"/>
                  <a:gd name="connsiteX256" fmla="*/ 44450 w 1151018"/>
                  <a:gd name="connsiteY256" fmla="*/ 466380 h 993051"/>
                  <a:gd name="connsiteX257" fmla="*/ 55563 w 1151018"/>
                  <a:gd name="connsiteY257" fmla="*/ 464793 h 993051"/>
                  <a:gd name="connsiteX258" fmla="*/ 58738 w 1151018"/>
                  <a:gd name="connsiteY258" fmla="*/ 460030 h 993051"/>
                  <a:gd name="connsiteX259" fmla="*/ 49213 w 1151018"/>
                  <a:gd name="connsiteY259" fmla="*/ 436218 h 993051"/>
                  <a:gd name="connsiteX260" fmla="*/ 42863 w 1151018"/>
                  <a:gd name="connsiteY260" fmla="*/ 431455 h 993051"/>
                  <a:gd name="connsiteX261" fmla="*/ 39688 w 1151018"/>
                  <a:gd name="connsiteY261" fmla="*/ 425105 h 993051"/>
                  <a:gd name="connsiteX262" fmla="*/ 34925 w 1151018"/>
                  <a:gd name="connsiteY262" fmla="*/ 421930 h 993051"/>
                  <a:gd name="connsiteX263" fmla="*/ 28575 w 1151018"/>
                  <a:gd name="connsiteY263" fmla="*/ 415580 h 993051"/>
                  <a:gd name="connsiteX264" fmla="*/ 23813 w 1151018"/>
                  <a:gd name="connsiteY264" fmla="*/ 412405 h 993051"/>
                  <a:gd name="connsiteX265" fmla="*/ 14288 w 1151018"/>
                  <a:gd name="connsiteY265" fmla="*/ 402880 h 993051"/>
                  <a:gd name="connsiteX266" fmla="*/ 3175 w 1151018"/>
                  <a:gd name="connsiteY266" fmla="*/ 401293 h 993051"/>
                  <a:gd name="connsiteX267" fmla="*/ 3175 w 1151018"/>
                  <a:gd name="connsiteY267" fmla="*/ 372718 h 993051"/>
                  <a:gd name="connsiteX268" fmla="*/ 9525 w 1151018"/>
                  <a:gd name="connsiteY268" fmla="*/ 361605 h 993051"/>
                  <a:gd name="connsiteX269" fmla="*/ 14288 w 1151018"/>
                  <a:gd name="connsiteY269" fmla="*/ 360018 h 993051"/>
                  <a:gd name="connsiteX270" fmla="*/ 23813 w 1151018"/>
                  <a:gd name="connsiteY270" fmla="*/ 358430 h 993051"/>
                  <a:gd name="connsiteX271" fmla="*/ 22225 w 1151018"/>
                  <a:gd name="connsiteY271" fmla="*/ 294930 h 993051"/>
                  <a:gd name="connsiteX272" fmla="*/ 15875 w 1151018"/>
                  <a:gd name="connsiteY272" fmla="*/ 280643 h 993051"/>
                  <a:gd name="connsiteX273" fmla="*/ 9525 w 1151018"/>
                  <a:gd name="connsiteY273" fmla="*/ 267943 h 993051"/>
                  <a:gd name="connsiteX274" fmla="*/ 6350 w 1151018"/>
                  <a:gd name="connsiteY274" fmla="*/ 258418 h 993051"/>
                  <a:gd name="connsiteX275" fmla="*/ 7938 w 1151018"/>
                  <a:gd name="connsiteY275" fmla="*/ 253655 h 993051"/>
                  <a:gd name="connsiteX276" fmla="*/ 20638 w 1151018"/>
                  <a:gd name="connsiteY276" fmla="*/ 256830 h 993051"/>
                  <a:gd name="connsiteX277" fmla="*/ 38100 w 1151018"/>
                  <a:gd name="connsiteY277" fmla="*/ 250480 h 993051"/>
                  <a:gd name="connsiteX278" fmla="*/ 44450 w 1151018"/>
                  <a:gd name="connsiteY278" fmla="*/ 239368 h 993051"/>
                  <a:gd name="connsiteX279" fmla="*/ 41275 w 1151018"/>
                  <a:gd name="connsiteY279" fmla="*/ 220318 h 993051"/>
                  <a:gd name="connsiteX280" fmla="*/ 34925 w 1151018"/>
                  <a:gd name="connsiteY280" fmla="*/ 215555 h 993051"/>
                  <a:gd name="connsiteX281" fmla="*/ 0 w 1151018"/>
                  <a:gd name="connsiteY281" fmla="*/ 210793 h 993051"/>
                  <a:gd name="connsiteX282" fmla="*/ 7938 w 1151018"/>
                  <a:gd name="connsiteY282" fmla="*/ 207618 h 993051"/>
                  <a:gd name="connsiteX283" fmla="*/ 15875 w 1151018"/>
                  <a:gd name="connsiteY283" fmla="*/ 206030 h 993051"/>
                  <a:gd name="connsiteX284" fmla="*/ 22225 w 1151018"/>
                  <a:gd name="connsiteY284" fmla="*/ 204443 h 993051"/>
                  <a:gd name="connsiteX285" fmla="*/ 30163 w 1151018"/>
                  <a:gd name="connsiteY285" fmla="*/ 196505 h 993051"/>
                  <a:gd name="connsiteX286" fmla="*/ 38100 w 1151018"/>
                  <a:gd name="connsiteY286" fmla="*/ 182218 h 993051"/>
                  <a:gd name="connsiteX287" fmla="*/ 60325 w 1151018"/>
                  <a:gd name="connsiteY287" fmla="*/ 179043 h 993051"/>
                  <a:gd name="connsiteX288" fmla="*/ 61913 w 1151018"/>
                  <a:gd name="connsiteY288" fmla="*/ 174280 h 993051"/>
                  <a:gd name="connsiteX289" fmla="*/ 73025 w 1151018"/>
                  <a:gd name="connsiteY289" fmla="*/ 169518 h 993051"/>
                  <a:gd name="connsiteX290" fmla="*/ 100013 w 1151018"/>
                  <a:gd name="connsiteY290" fmla="*/ 161580 h 993051"/>
                  <a:gd name="connsiteX291" fmla="*/ 106363 w 1151018"/>
                  <a:gd name="connsiteY291" fmla="*/ 156818 h 993051"/>
                  <a:gd name="connsiteX292" fmla="*/ 127000 w 1151018"/>
                  <a:gd name="connsiteY292" fmla="*/ 158405 h 993051"/>
                  <a:gd name="connsiteX293" fmla="*/ 142875 w 1151018"/>
                  <a:gd name="connsiteY293" fmla="*/ 152055 h 993051"/>
                  <a:gd name="connsiteX294" fmla="*/ 147638 w 1151018"/>
                  <a:gd name="connsiteY294" fmla="*/ 139355 h 993051"/>
                  <a:gd name="connsiteX295" fmla="*/ 168275 w 1151018"/>
                  <a:gd name="connsiteY295" fmla="*/ 133005 h 993051"/>
                  <a:gd name="connsiteX296" fmla="*/ 176213 w 1151018"/>
                  <a:gd name="connsiteY296" fmla="*/ 129830 h 993051"/>
                  <a:gd name="connsiteX297" fmla="*/ 190500 w 1151018"/>
                  <a:gd name="connsiteY297" fmla="*/ 128243 h 993051"/>
                  <a:gd name="connsiteX298" fmla="*/ 203200 w 1151018"/>
                  <a:gd name="connsiteY298" fmla="*/ 125068 h 993051"/>
                  <a:gd name="connsiteX299" fmla="*/ 207963 w 1151018"/>
                  <a:gd name="connsiteY299" fmla="*/ 123480 h 993051"/>
                  <a:gd name="connsiteX300" fmla="*/ 214313 w 1151018"/>
                  <a:gd name="connsiteY300" fmla="*/ 115543 h 993051"/>
                  <a:gd name="connsiteX301" fmla="*/ 215900 w 1151018"/>
                  <a:gd name="connsiteY301" fmla="*/ 110780 h 993051"/>
                  <a:gd name="connsiteX302" fmla="*/ 220663 w 1151018"/>
                  <a:gd name="connsiteY302" fmla="*/ 90143 h 993051"/>
                  <a:gd name="connsiteX303" fmla="*/ 230188 w 1151018"/>
                  <a:gd name="connsiteY303" fmla="*/ 86968 h 993051"/>
                  <a:gd name="connsiteX304" fmla="*/ 238125 w 1151018"/>
                  <a:gd name="connsiteY304" fmla="*/ 80618 h 993051"/>
                  <a:gd name="connsiteX305" fmla="*/ 255588 w 1151018"/>
                  <a:gd name="connsiteY305" fmla="*/ 71093 h 993051"/>
                  <a:gd name="connsiteX306" fmla="*/ 265113 w 1151018"/>
                  <a:gd name="connsiteY306" fmla="*/ 64743 h 993051"/>
                  <a:gd name="connsiteX307" fmla="*/ 285750 w 1151018"/>
                  <a:gd name="connsiteY307" fmla="*/ 52043 h 993051"/>
                  <a:gd name="connsiteX308" fmla="*/ 295275 w 1151018"/>
                  <a:gd name="connsiteY308" fmla="*/ 45693 h 993051"/>
                  <a:gd name="connsiteX309" fmla="*/ 300038 w 1151018"/>
                  <a:gd name="connsiteY309" fmla="*/ 40930 h 993051"/>
                  <a:gd name="connsiteX310" fmla="*/ 307975 w 1151018"/>
                  <a:gd name="connsiteY310" fmla="*/ 36168 h 993051"/>
                  <a:gd name="connsiteX311" fmla="*/ 322263 w 1151018"/>
                  <a:gd name="connsiteY311" fmla="*/ 23468 h 993051"/>
                  <a:gd name="connsiteX312" fmla="*/ 341313 w 1151018"/>
                  <a:gd name="connsiteY312" fmla="*/ 18705 h 993051"/>
                  <a:gd name="connsiteX313" fmla="*/ 355600 w 1151018"/>
                  <a:gd name="connsiteY313" fmla="*/ 15530 h 993051"/>
                  <a:gd name="connsiteX314" fmla="*/ 365125 w 1151018"/>
                  <a:gd name="connsiteY314" fmla="*/ 10768 h 993051"/>
                  <a:gd name="connsiteX315" fmla="*/ 419100 w 1151018"/>
                  <a:gd name="connsiteY315" fmla="*/ 10768 h 993051"/>
                  <a:gd name="connsiteX316" fmla="*/ 436563 w 1151018"/>
                  <a:gd name="connsiteY316" fmla="*/ 15530 h 993051"/>
                  <a:gd name="connsiteX317" fmla="*/ 444500 w 1151018"/>
                  <a:gd name="connsiteY317" fmla="*/ 20293 h 993051"/>
                  <a:gd name="connsiteX318" fmla="*/ 452438 w 1151018"/>
                  <a:gd name="connsiteY318" fmla="*/ 21880 h 993051"/>
                  <a:gd name="connsiteX319" fmla="*/ 458788 w 1151018"/>
                  <a:gd name="connsiteY319" fmla="*/ 23468 h 993051"/>
                  <a:gd name="connsiteX320" fmla="*/ 465138 w 1151018"/>
                  <a:gd name="connsiteY320" fmla="*/ 28230 h 993051"/>
                  <a:gd name="connsiteX321" fmla="*/ 466725 w 1151018"/>
                  <a:gd name="connsiteY321" fmla="*/ 32993 h 993051"/>
                  <a:gd name="connsiteX322" fmla="*/ 469900 w 1151018"/>
                  <a:gd name="connsiteY322" fmla="*/ 39343 h 993051"/>
                  <a:gd name="connsiteX323" fmla="*/ 471488 w 1151018"/>
                  <a:gd name="connsiteY323" fmla="*/ 44105 h 993051"/>
                  <a:gd name="connsiteX324" fmla="*/ 463550 w 1151018"/>
                  <a:gd name="connsiteY324" fmla="*/ 42518 h 993051"/>
                  <a:gd name="connsiteX325" fmla="*/ 447675 w 1151018"/>
                  <a:gd name="connsiteY325" fmla="*/ 28230 h 993051"/>
                  <a:gd name="connsiteX326" fmla="*/ 439738 w 1151018"/>
                  <a:gd name="connsiteY326" fmla="*/ 15530 h 993051"/>
                  <a:gd name="connsiteX327" fmla="*/ 423863 w 1151018"/>
                  <a:gd name="connsiteY327" fmla="*/ 23468 h 993051"/>
                  <a:gd name="connsiteX328" fmla="*/ 414338 w 1151018"/>
                  <a:gd name="connsiteY328" fmla="*/ 29818 h 993051"/>
                  <a:gd name="connsiteX329" fmla="*/ 420688 w 1151018"/>
                  <a:gd name="connsiteY329" fmla="*/ 36168 h 993051"/>
                  <a:gd name="connsiteX330" fmla="*/ 430213 w 1151018"/>
                  <a:gd name="connsiteY330" fmla="*/ 42518 h 993051"/>
                  <a:gd name="connsiteX331" fmla="*/ 438150 w 1151018"/>
                  <a:gd name="connsiteY331" fmla="*/ 56805 h 993051"/>
                  <a:gd name="connsiteX332" fmla="*/ 442913 w 1151018"/>
                  <a:gd name="connsiteY332" fmla="*/ 61568 h 993051"/>
                  <a:gd name="connsiteX333" fmla="*/ 452438 w 1151018"/>
                  <a:gd name="connsiteY333" fmla="*/ 71093 h 993051"/>
                  <a:gd name="connsiteX334" fmla="*/ 465138 w 1151018"/>
                  <a:gd name="connsiteY334" fmla="*/ 79030 h 993051"/>
                  <a:gd name="connsiteX335" fmla="*/ 466725 w 1151018"/>
                  <a:gd name="connsiteY335" fmla="*/ 83793 h 993051"/>
                  <a:gd name="connsiteX336" fmla="*/ 473075 w 1151018"/>
                  <a:gd name="connsiteY336" fmla="*/ 85380 h 993051"/>
                  <a:gd name="connsiteX337" fmla="*/ 520700 w 1151018"/>
                  <a:gd name="connsiteY337" fmla="*/ 91730 h 993051"/>
                  <a:gd name="connsiteX338" fmla="*/ 546100 w 1151018"/>
                  <a:gd name="connsiteY338" fmla="*/ 83793 h 993051"/>
                  <a:gd name="connsiteX339" fmla="*/ 550863 w 1151018"/>
                  <a:gd name="connsiteY339" fmla="*/ 77443 h 993051"/>
                  <a:gd name="connsiteX340" fmla="*/ 558800 w 1151018"/>
                  <a:gd name="connsiteY340" fmla="*/ 71093 h 993051"/>
                  <a:gd name="connsiteX341" fmla="*/ 566738 w 1151018"/>
                  <a:gd name="connsiteY341" fmla="*/ 64743 h 993051"/>
                  <a:gd name="connsiteX342" fmla="*/ 573088 w 1151018"/>
                  <a:gd name="connsiteY342" fmla="*/ 58393 h 993051"/>
                  <a:gd name="connsiteX343" fmla="*/ 577850 w 1151018"/>
                  <a:gd name="connsiteY343" fmla="*/ 55218 h 993051"/>
                  <a:gd name="connsiteX344" fmla="*/ 571500 w 1151018"/>
                  <a:gd name="connsiteY344" fmla="*/ 52043 h 993051"/>
                  <a:gd name="connsiteX0" fmla="*/ 571500 w 1151018"/>
                  <a:gd name="connsiteY0" fmla="*/ 52043 h 993051"/>
                  <a:gd name="connsiteX1" fmla="*/ 579438 w 1151018"/>
                  <a:gd name="connsiteY1" fmla="*/ 50455 h 993051"/>
                  <a:gd name="connsiteX2" fmla="*/ 608013 w 1151018"/>
                  <a:gd name="connsiteY2" fmla="*/ 53630 h 993051"/>
                  <a:gd name="connsiteX3" fmla="*/ 612775 w 1151018"/>
                  <a:gd name="connsiteY3" fmla="*/ 56805 h 993051"/>
                  <a:gd name="connsiteX4" fmla="*/ 625475 w 1151018"/>
                  <a:gd name="connsiteY4" fmla="*/ 58393 h 993051"/>
                  <a:gd name="connsiteX5" fmla="*/ 684213 w 1151018"/>
                  <a:gd name="connsiteY5" fmla="*/ 56805 h 993051"/>
                  <a:gd name="connsiteX6" fmla="*/ 693738 w 1151018"/>
                  <a:gd name="connsiteY6" fmla="*/ 55218 h 993051"/>
                  <a:gd name="connsiteX7" fmla="*/ 706438 w 1151018"/>
                  <a:gd name="connsiteY7" fmla="*/ 50455 h 993051"/>
                  <a:gd name="connsiteX8" fmla="*/ 711200 w 1151018"/>
                  <a:gd name="connsiteY8" fmla="*/ 48868 h 993051"/>
                  <a:gd name="connsiteX9" fmla="*/ 720725 w 1151018"/>
                  <a:gd name="connsiteY9" fmla="*/ 47280 h 993051"/>
                  <a:gd name="connsiteX10" fmla="*/ 738188 w 1151018"/>
                  <a:gd name="connsiteY10" fmla="*/ 42518 h 993051"/>
                  <a:gd name="connsiteX11" fmla="*/ 742950 w 1151018"/>
                  <a:gd name="connsiteY11" fmla="*/ 40930 h 993051"/>
                  <a:gd name="connsiteX12" fmla="*/ 758825 w 1151018"/>
                  <a:gd name="connsiteY12" fmla="*/ 39343 h 993051"/>
                  <a:gd name="connsiteX13" fmla="*/ 795338 w 1151018"/>
                  <a:gd name="connsiteY13" fmla="*/ 34580 h 993051"/>
                  <a:gd name="connsiteX14" fmla="*/ 812800 w 1151018"/>
                  <a:gd name="connsiteY14" fmla="*/ 28230 h 993051"/>
                  <a:gd name="connsiteX15" fmla="*/ 819150 w 1151018"/>
                  <a:gd name="connsiteY15" fmla="*/ 26643 h 993051"/>
                  <a:gd name="connsiteX16" fmla="*/ 835025 w 1151018"/>
                  <a:gd name="connsiteY16" fmla="*/ 23468 h 993051"/>
                  <a:gd name="connsiteX17" fmla="*/ 842963 w 1151018"/>
                  <a:gd name="connsiteY17" fmla="*/ 20293 h 993051"/>
                  <a:gd name="connsiteX18" fmla="*/ 852488 w 1151018"/>
                  <a:gd name="connsiteY18" fmla="*/ 18705 h 993051"/>
                  <a:gd name="connsiteX19" fmla="*/ 857250 w 1151018"/>
                  <a:gd name="connsiteY19" fmla="*/ 17118 h 993051"/>
                  <a:gd name="connsiteX20" fmla="*/ 862013 w 1151018"/>
                  <a:gd name="connsiteY20" fmla="*/ 13943 h 993051"/>
                  <a:gd name="connsiteX21" fmla="*/ 866775 w 1151018"/>
                  <a:gd name="connsiteY21" fmla="*/ 12355 h 993051"/>
                  <a:gd name="connsiteX22" fmla="*/ 877888 w 1151018"/>
                  <a:gd name="connsiteY22" fmla="*/ 7593 h 993051"/>
                  <a:gd name="connsiteX23" fmla="*/ 900113 w 1151018"/>
                  <a:gd name="connsiteY23" fmla="*/ 6005 h 993051"/>
                  <a:gd name="connsiteX24" fmla="*/ 904875 w 1151018"/>
                  <a:gd name="connsiteY24" fmla="*/ 12355 h 993051"/>
                  <a:gd name="connsiteX25" fmla="*/ 909638 w 1151018"/>
                  <a:gd name="connsiteY25" fmla="*/ 13943 h 993051"/>
                  <a:gd name="connsiteX26" fmla="*/ 919163 w 1151018"/>
                  <a:gd name="connsiteY26" fmla="*/ 20293 h 993051"/>
                  <a:gd name="connsiteX27" fmla="*/ 928688 w 1151018"/>
                  <a:gd name="connsiteY27" fmla="*/ 26643 h 993051"/>
                  <a:gd name="connsiteX28" fmla="*/ 936625 w 1151018"/>
                  <a:gd name="connsiteY28" fmla="*/ 31405 h 993051"/>
                  <a:gd name="connsiteX29" fmla="*/ 947738 w 1151018"/>
                  <a:gd name="connsiteY29" fmla="*/ 37755 h 993051"/>
                  <a:gd name="connsiteX30" fmla="*/ 960438 w 1151018"/>
                  <a:gd name="connsiteY30" fmla="*/ 48868 h 993051"/>
                  <a:gd name="connsiteX31" fmla="*/ 962025 w 1151018"/>
                  <a:gd name="connsiteY31" fmla="*/ 53630 h 993051"/>
                  <a:gd name="connsiteX32" fmla="*/ 965200 w 1151018"/>
                  <a:gd name="connsiteY32" fmla="*/ 64743 h 993051"/>
                  <a:gd name="connsiteX33" fmla="*/ 969963 w 1151018"/>
                  <a:gd name="connsiteY33" fmla="*/ 91730 h 993051"/>
                  <a:gd name="connsiteX34" fmla="*/ 977900 w 1151018"/>
                  <a:gd name="connsiteY34" fmla="*/ 104430 h 993051"/>
                  <a:gd name="connsiteX35" fmla="*/ 979488 w 1151018"/>
                  <a:gd name="connsiteY35" fmla="*/ 109193 h 993051"/>
                  <a:gd name="connsiteX36" fmla="*/ 1000125 w 1151018"/>
                  <a:gd name="connsiteY36" fmla="*/ 150468 h 993051"/>
                  <a:gd name="connsiteX37" fmla="*/ 1001713 w 1151018"/>
                  <a:gd name="connsiteY37" fmla="*/ 156818 h 993051"/>
                  <a:gd name="connsiteX38" fmla="*/ 1017663 w 1151018"/>
                  <a:gd name="connsiteY38" fmla="*/ 176548 h 993051"/>
                  <a:gd name="connsiteX39" fmla="*/ 1031875 w 1151018"/>
                  <a:gd name="connsiteY39" fmla="*/ 212380 h 993051"/>
                  <a:gd name="connsiteX40" fmla="*/ 1041400 w 1151018"/>
                  <a:gd name="connsiteY40" fmla="*/ 218730 h 993051"/>
                  <a:gd name="connsiteX41" fmla="*/ 1042988 w 1151018"/>
                  <a:gd name="connsiteY41" fmla="*/ 223493 h 993051"/>
                  <a:gd name="connsiteX42" fmla="*/ 1048583 w 1151018"/>
                  <a:gd name="connsiteY42" fmla="*/ 227424 h 993051"/>
                  <a:gd name="connsiteX43" fmla="*/ 1050925 w 1151018"/>
                  <a:gd name="connsiteY43" fmla="*/ 252068 h 993051"/>
                  <a:gd name="connsiteX44" fmla="*/ 1054100 w 1151018"/>
                  <a:gd name="connsiteY44" fmla="*/ 260005 h 993051"/>
                  <a:gd name="connsiteX45" fmla="*/ 1058863 w 1151018"/>
                  <a:gd name="connsiteY45" fmla="*/ 263180 h 993051"/>
                  <a:gd name="connsiteX46" fmla="*/ 1060450 w 1151018"/>
                  <a:gd name="connsiteY46" fmla="*/ 283818 h 993051"/>
                  <a:gd name="connsiteX47" fmla="*/ 1057275 w 1151018"/>
                  <a:gd name="connsiteY47" fmla="*/ 291755 h 993051"/>
                  <a:gd name="connsiteX48" fmla="*/ 1047750 w 1151018"/>
                  <a:gd name="connsiteY48" fmla="*/ 294930 h 993051"/>
                  <a:gd name="connsiteX49" fmla="*/ 1042988 w 1151018"/>
                  <a:gd name="connsiteY49" fmla="*/ 299693 h 993051"/>
                  <a:gd name="connsiteX50" fmla="*/ 1031875 w 1151018"/>
                  <a:gd name="connsiteY50" fmla="*/ 320330 h 993051"/>
                  <a:gd name="connsiteX51" fmla="*/ 1017588 w 1151018"/>
                  <a:gd name="connsiteY51" fmla="*/ 340968 h 993051"/>
                  <a:gd name="connsiteX52" fmla="*/ 1009650 w 1151018"/>
                  <a:gd name="connsiteY52" fmla="*/ 352080 h 993051"/>
                  <a:gd name="connsiteX53" fmla="*/ 1004888 w 1151018"/>
                  <a:gd name="connsiteY53" fmla="*/ 353668 h 993051"/>
                  <a:gd name="connsiteX54" fmla="*/ 1000125 w 1151018"/>
                  <a:gd name="connsiteY54" fmla="*/ 377480 h 993051"/>
                  <a:gd name="connsiteX55" fmla="*/ 998538 w 1151018"/>
                  <a:gd name="connsiteY55" fmla="*/ 383830 h 993051"/>
                  <a:gd name="connsiteX56" fmla="*/ 996950 w 1151018"/>
                  <a:gd name="connsiteY56" fmla="*/ 391768 h 993051"/>
                  <a:gd name="connsiteX57" fmla="*/ 1008063 w 1151018"/>
                  <a:gd name="connsiteY57" fmla="*/ 394943 h 993051"/>
                  <a:gd name="connsiteX58" fmla="*/ 1027113 w 1151018"/>
                  <a:gd name="connsiteY58" fmla="*/ 396530 h 993051"/>
                  <a:gd name="connsiteX59" fmla="*/ 1039813 w 1151018"/>
                  <a:gd name="connsiteY59" fmla="*/ 406055 h 993051"/>
                  <a:gd name="connsiteX60" fmla="*/ 1049338 w 1151018"/>
                  <a:gd name="connsiteY60" fmla="*/ 413993 h 993051"/>
                  <a:gd name="connsiteX61" fmla="*/ 1050925 w 1151018"/>
                  <a:gd name="connsiteY61" fmla="*/ 420343 h 993051"/>
                  <a:gd name="connsiteX62" fmla="*/ 1046163 w 1151018"/>
                  <a:gd name="connsiteY62" fmla="*/ 433043 h 993051"/>
                  <a:gd name="connsiteX63" fmla="*/ 1046163 w 1151018"/>
                  <a:gd name="connsiteY63" fmla="*/ 447330 h 993051"/>
                  <a:gd name="connsiteX64" fmla="*/ 1044575 w 1151018"/>
                  <a:gd name="connsiteY64" fmla="*/ 460030 h 993051"/>
                  <a:gd name="connsiteX65" fmla="*/ 1042988 w 1151018"/>
                  <a:gd name="connsiteY65" fmla="*/ 474318 h 993051"/>
                  <a:gd name="connsiteX66" fmla="*/ 1044575 w 1151018"/>
                  <a:gd name="connsiteY66" fmla="*/ 487018 h 993051"/>
                  <a:gd name="connsiteX67" fmla="*/ 1046163 w 1151018"/>
                  <a:gd name="connsiteY67" fmla="*/ 491780 h 993051"/>
                  <a:gd name="connsiteX68" fmla="*/ 1050925 w 1151018"/>
                  <a:gd name="connsiteY68" fmla="*/ 493368 h 993051"/>
                  <a:gd name="connsiteX69" fmla="*/ 1057275 w 1151018"/>
                  <a:gd name="connsiteY69" fmla="*/ 496543 h 993051"/>
                  <a:gd name="connsiteX70" fmla="*/ 1062038 w 1151018"/>
                  <a:gd name="connsiteY70" fmla="*/ 501305 h 993051"/>
                  <a:gd name="connsiteX71" fmla="*/ 1066800 w 1151018"/>
                  <a:gd name="connsiteY71" fmla="*/ 504480 h 993051"/>
                  <a:gd name="connsiteX72" fmla="*/ 1068388 w 1151018"/>
                  <a:gd name="connsiteY72" fmla="*/ 521943 h 993051"/>
                  <a:gd name="connsiteX73" fmla="*/ 1071563 w 1151018"/>
                  <a:gd name="connsiteY73" fmla="*/ 526705 h 993051"/>
                  <a:gd name="connsiteX74" fmla="*/ 1073150 w 1151018"/>
                  <a:gd name="connsiteY74" fmla="*/ 539405 h 993051"/>
                  <a:gd name="connsiteX75" fmla="*/ 1077913 w 1151018"/>
                  <a:gd name="connsiteY75" fmla="*/ 553693 h 993051"/>
                  <a:gd name="connsiteX76" fmla="*/ 1085850 w 1151018"/>
                  <a:gd name="connsiteY76" fmla="*/ 555280 h 993051"/>
                  <a:gd name="connsiteX77" fmla="*/ 1089025 w 1151018"/>
                  <a:gd name="connsiteY77" fmla="*/ 560043 h 993051"/>
                  <a:gd name="connsiteX78" fmla="*/ 1096963 w 1151018"/>
                  <a:gd name="connsiteY78" fmla="*/ 582268 h 993051"/>
                  <a:gd name="connsiteX79" fmla="*/ 1108075 w 1151018"/>
                  <a:gd name="connsiteY79" fmla="*/ 596555 h 993051"/>
                  <a:gd name="connsiteX80" fmla="*/ 1109663 w 1151018"/>
                  <a:gd name="connsiteY80" fmla="*/ 602905 h 993051"/>
                  <a:gd name="connsiteX81" fmla="*/ 1119188 w 1151018"/>
                  <a:gd name="connsiteY81" fmla="*/ 609255 h 993051"/>
                  <a:gd name="connsiteX82" fmla="*/ 1123950 w 1151018"/>
                  <a:gd name="connsiteY82" fmla="*/ 612430 h 993051"/>
                  <a:gd name="connsiteX83" fmla="*/ 1130300 w 1151018"/>
                  <a:gd name="connsiteY83" fmla="*/ 614018 h 993051"/>
                  <a:gd name="connsiteX84" fmla="*/ 1138238 w 1151018"/>
                  <a:gd name="connsiteY84" fmla="*/ 617193 h 993051"/>
                  <a:gd name="connsiteX85" fmla="*/ 1133475 w 1151018"/>
                  <a:gd name="connsiteY85" fmla="*/ 621955 h 993051"/>
                  <a:gd name="connsiteX86" fmla="*/ 1131888 w 1151018"/>
                  <a:gd name="connsiteY86" fmla="*/ 629893 h 993051"/>
                  <a:gd name="connsiteX87" fmla="*/ 1143000 w 1151018"/>
                  <a:gd name="connsiteY87" fmla="*/ 637830 h 993051"/>
                  <a:gd name="connsiteX88" fmla="*/ 1144588 w 1151018"/>
                  <a:gd name="connsiteY88" fmla="*/ 642593 h 993051"/>
                  <a:gd name="connsiteX89" fmla="*/ 1146175 w 1151018"/>
                  <a:gd name="connsiteY89" fmla="*/ 648943 h 993051"/>
                  <a:gd name="connsiteX90" fmla="*/ 1149350 w 1151018"/>
                  <a:gd name="connsiteY90" fmla="*/ 656880 h 993051"/>
                  <a:gd name="connsiteX91" fmla="*/ 1146175 w 1151018"/>
                  <a:gd name="connsiteY91" fmla="*/ 690218 h 993051"/>
                  <a:gd name="connsiteX92" fmla="*/ 1133475 w 1151018"/>
                  <a:gd name="connsiteY92" fmla="*/ 693393 h 993051"/>
                  <a:gd name="connsiteX93" fmla="*/ 1127125 w 1151018"/>
                  <a:gd name="connsiteY93" fmla="*/ 701330 h 993051"/>
                  <a:gd name="connsiteX94" fmla="*/ 1123950 w 1151018"/>
                  <a:gd name="connsiteY94" fmla="*/ 718793 h 993051"/>
                  <a:gd name="connsiteX95" fmla="*/ 1119188 w 1151018"/>
                  <a:gd name="connsiteY95" fmla="*/ 721968 h 993051"/>
                  <a:gd name="connsiteX96" fmla="*/ 1116013 w 1151018"/>
                  <a:gd name="connsiteY96" fmla="*/ 733080 h 993051"/>
                  <a:gd name="connsiteX97" fmla="*/ 1112838 w 1151018"/>
                  <a:gd name="connsiteY97" fmla="*/ 737843 h 993051"/>
                  <a:gd name="connsiteX98" fmla="*/ 1106488 w 1151018"/>
                  <a:gd name="connsiteY98" fmla="*/ 739430 h 993051"/>
                  <a:gd name="connsiteX99" fmla="*/ 1096963 w 1151018"/>
                  <a:gd name="connsiteY99" fmla="*/ 747368 h 993051"/>
                  <a:gd name="connsiteX100" fmla="*/ 1079500 w 1151018"/>
                  <a:gd name="connsiteY100" fmla="*/ 763243 h 993051"/>
                  <a:gd name="connsiteX101" fmla="*/ 1071563 w 1151018"/>
                  <a:gd name="connsiteY101" fmla="*/ 774355 h 993051"/>
                  <a:gd name="connsiteX102" fmla="*/ 1068388 w 1151018"/>
                  <a:gd name="connsiteY102" fmla="*/ 782293 h 993051"/>
                  <a:gd name="connsiteX103" fmla="*/ 1065213 w 1151018"/>
                  <a:gd name="connsiteY103" fmla="*/ 787055 h 993051"/>
                  <a:gd name="connsiteX104" fmla="*/ 1062038 w 1151018"/>
                  <a:gd name="connsiteY104" fmla="*/ 794993 h 993051"/>
                  <a:gd name="connsiteX105" fmla="*/ 1058863 w 1151018"/>
                  <a:gd name="connsiteY105" fmla="*/ 804518 h 993051"/>
                  <a:gd name="connsiteX106" fmla="*/ 1052513 w 1151018"/>
                  <a:gd name="connsiteY106" fmla="*/ 817218 h 993051"/>
                  <a:gd name="connsiteX107" fmla="*/ 1046163 w 1151018"/>
                  <a:gd name="connsiteY107" fmla="*/ 831505 h 993051"/>
                  <a:gd name="connsiteX108" fmla="*/ 1044575 w 1151018"/>
                  <a:gd name="connsiteY108" fmla="*/ 836268 h 993051"/>
                  <a:gd name="connsiteX109" fmla="*/ 1041400 w 1151018"/>
                  <a:gd name="connsiteY109" fmla="*/ 842618 h 993051"/>
                  <a:gd name="connsiteX110" fmla="*/ 1039813 w 1151018"/>
                  <a:gd name="connsiteY110" fmla="*/ 847380 h 993051"/>
                  <a:gd name="connsiteX111" fmla="*/ 1033463 w 1151018"/>
                  <a:gd name="connsiteY111" fmla="*/ 853730 h 993051"/>
                  <a:gd name="connsiteX112" fmla="*/ 1028700 w 1151018"/>
                  <a:gd name="connsiteY112" fmla="*/ 866430 h 993051"/>
                  <a:gd name="connsiteX113" fmla="*/ 1022350 w 1151018"/>
                  <a:gd name="connsiteY113" fmla="*/ 882305 h 993051"/>
                  <a:gd name="connsiteX114" fmla="*/ 1025525 w 1151018"/>
                  <a:gd name="connsiteY114" fmla="*/ 891830 h 993051"/>
                  <a:gd name="connsiteX115" fmla="*/ 1030288 w 1151018"/>
                  <a:gd name="connsiteY115" fmla="*/ 896593 h 993051"/>
                  <a:gd name="connsiteX116" fmla="*/ 1033463 w 1151018"/>
                  <a:gd name="connsiteY116" fmla="*/ 902943 h 993051"/>
                  <a:gd name="connsiteX117" fmla="*/ 1036638 w 1151018"/>
                  <a:gd name="connsiteY117" fmla="*/ 910880 h 993051"/>
                  <a:gd name="connsiteX118" fmla="*/ 1039813 w 1151018"/>
                  <a:gd name="connsiteY118" fmla="*/ 921993 h 993051"/>
                  <a:gd name="connsiteX119" fmla="*/ 1044575 w 1151018"/>
                  <a:gd name="connsiteY119" fmla="*/ 925168 h 993051"/>
                  <a:gd name="connsiteX120" fmla="*/ 1033463 w 1151018"/>
                  <a:gd name="connsiteY120" fmla="*/ 936280 h 993051"/>
                  <a:gd name="connsiteX121" fmla="*/ 1039813 w 1151018"/>
                  <a:gd name="connsiteY121" fmla="*/ 939455 h 993051"/>
                  <a:gd name="connsiteX122" fmla="*/ 1046163 w 1151018"/>
                  <a:gd name="connsiteY122" fmla="*/ 944218 h 993051"/>
                  <a:gd name="connsiteX123" fmla="*/ 1049338 w 1151018"/>
                  <a:gd name="connsiteY123" fmla="*/ 956918 h 993051"/>
                  <a:gd name="connsiteX124" fmla="*/ 1050925 w 1151018"/>
                  <a:gd name="connsiteY124" fmla="*/ 961680 h 993051"/>
                  <a:gd name="connsiteX125" fmla="*/ 1060450 w 1151018"/>
                  <a:gd name="connsiteY125" fmla="*/ 971205 h 993051"/>
                  <a:gd name="connsiteX126" fmla="*/ 1022350 w 1151018"/>
                  <a:gd name="connsiteY126" fmla="*/ 971205 h 993051"/>
                  <a:gd name="connsiteX127" fmla="*/ 1019175 w 1151018"/>
                  <a:gd name="connsiteY127" fmla="*/ 964855 h 993051"/>
                  <a:gd name="connsiteX128" fmla="*/ 1014413 w 1151018"/>
                  <a:gd name="connsiteY128" fmla="*/ 963268 h 993051"/>
                  <a:gd name="connsiteX129" fmla="*/ 1000125 w 1151018"/>
                  <a:gd name="connsiteY129" fmla="*/ 960093 h 993051"/>
                  <a:gd name="connsiteX130" fmla="*/ 995363 w 1151018"/>
                  <a:gd name="connsiteY130" fmla="*/ 956918 h 993051"/>
                  <a:gd name="connsiteX131" fmla="*/ 985838 w 1151018"/>
                  <a:gd name="connsiteY131" fmla="*/ 955330 h 993051"/>
                  <a:gd name="connsiteX132" fmla="*/ 965200 w 1151018"/>
                  <a:gd name="connsiteY132" fmla="*/ 952155 h 993051"/>
                  <a:gd name="connsiteX133" fmla="*/ 960438 w 1151018"/>
                  <a:gd name="connsiteY133" fmla="*/ 947393 h 993051"/>
                  <a:gd name="connsiteX134" fmla="*/ 952500 w 1151018"/>
                  <a:gd name="connsiteY134" fmla="*/ 936280 h 993051"/>
                  <a:gd name="connsiteX135" fmla="*/ 938213 w 1151018"/>
                  <a:gd name="connsiteY135" fmla="*/ 928343 h 993051"/>
                  <a:gd name="connsiteX136" fmla="*/ 933450 w 1151018"/>
                  <a:gd name="connsiteY136" fmla="*/ 925168 h 993051"/>
                  <a:gd name="connsiteX137" fmla="*/ 922338 w 1151018"/>
                  <a:gd name="connsiteY137" fmla="*/ 923580 h 993051"/>
                  <a:gd name="connsiteX138" fmla="*/ 915988 w 1151018"/>
                  <a:gd name="connsiteY138" fmla="*/ 921993 h 993051"/>
                  <a:gd name="connsiteX139" fmla="*/ 896938 w 1151018"/>
                  <a:gd name="connsiteY139" fmla="*/ 918818 h 993051"/>
                  <a:gd name="connsiteX140" fmla="*/ 847725 w 1151018"/>
                  <a:gd name="connsiteY140" fmla="*/ 925168 h 993051"/>
                  <a:gd name="connsiteX141" fmla="*/ 844550 w 1151018"/>
                  <a:gd name="connsiteY141" fmla="*/ 929930 h 993051"/>
                  <a:gd name="connsiteX142" fmla="*/ 842963 w 1151018"/>
                  <a:gd name="connsiteY142" fmla="*/ 936280 h 993051"/>
                  <a:gd name="connsiteX143" fmla="*/ 836613 w 1151018"/>
                  <a:gd name="connsiteY143" fmla="*/ 939455 h 993051"/>
                  <a:gd name="connsiteX144" fmla="*/ 830263 w 1151018"/>
                  <a:gd name="connsiteY144" fmla="*/ 945805 h 993051"/>
                  <a:gd name="connsiteX145" fmla="*/ 811213 w 1151018"/>
                  <a:gd name="connsiteY145" fmla="*/ 944218 h 993051"/>
                  <a:gd name="connsiteX146" fmla="*/ 796925 w 1151018"/>
                  <a:gd name="connsiteY146" fmla="*/ 941043 h 993051"/>
                  <a:gd name="connsiteX147" fmla="*/ 746125 w 1151018"/>
                  <a:gd name="connsiteY147" fmla="*/ 950568 h 993051"/>
                  <a:gd name="connsiteX148" fmla="*/ 739775 w 1151018"/>
                  <a:gd name="connsiteY148" fmla="*/ 960093 h 993051"/>
                  <a:gd name="connsiteX149" fmla="*/ 701675 w 1151018"/>
                  <a:gd name="connsiteY149" fmla="*/ 990255 h 993051"/>
                  <a:gd name="connsiteX150" fmla="*/ 696913 w 1151018"/>
                  <a:gd name="connsiteY150" fmla="*/ 983905 h 993051"/>
                  <a:gd name="connsiteX151" fmla="*/ 690563 w 1151018"/>
                  <a:gd name="connsiteY151" fmla="*/ 964855 h 993051"/>
                  <a:gd name="connsiteX152" fmla="*/ 682625 w 1151018"/>
                  <a:gd name="connsiteY152" fmla="*/ 963268 h 993051"/>
                  <a:gd name="connsiteX153" fmla="*/ 677863 w 1151018"/>
                  <a:gd name="connsiteY153" fmla="*/ 952155 h 993051"/>
                  <a:gd name="connsiteX154" fmla="*/ 666750 w 1151018"/>
                  <a:gd name="connsiteY154" fmla="*/ 941043 h 993051"/>
                  <a:gd name="connsiteX155" fmla="*/ 655638 w 1151018"/>
                  <a:gd name="connsiteY155" fmla="*/ 929930 h 993051"/>
                  <a:gd name="connsiteX156" fmla="*/ 654050 w 1151018"/>
                  <a:gd name="connsiteY156" fmla="*/ 915643 h 993051"/>
                  <a:gd name="connsiteX157" fmla="*/ 649288 w 1151018"/>
                  <a:gd name="connsiteY157" fmla="*/ 914055 h 993051"/>
                  <a:gd name="connsiteX158" fmla="*/ 639763 w 1151018"/>
                  <a:gd name="connsiteY158" fmla="*/ 926755 h 993051"/>
                  <a:gd name="connsiteX159" fmla="*/ 635000 w 1151018"/>
                  <a:gd name="connsiteY159" fmla="*/ 933105 h 993051"/>
                  <a:gd name="connsiteX160" fmla="*/ 625475 w 1151018"/>
                  <a:gd name="connsiteY160" fmla="*/ 934693 h 993051"/>
                  <a:gd name="connsiteX161" fmla="*/ 620713 w 1151018"/>
                  <a:gd name="connsiteY161" fmla="*/ 937868 h 993051"/>
                  <a:gd name="connsiteX162" fmla="*/ 619125 w 1151018"/>
                  <a:gd name="connsiteY162" fmla="*/ 944218 h 993051"/>
                  <a:gd name="connsiteX163" fmla="*/ 612775 w 1151018"/>
                  <a:gd name="connsiteY163" fmla="*/ 956918 h 993051"/>
                  <a:gd name="connsiteX164" fmla="*/ 592138 w 1151018"/>
                  <a:gd name="connsiteY164" fmla="*/ 955330 h 993051"/>
                  <a:gd name="connsiteX165" fmla="*/ 588963 w 1151018"/>
                  <a:gd name="connsiteY165" fmla="*/ 937868 h 993051"/>
                  <a:gd name="connsiteX166" fmla="*/ 581025 w 1151018"/>
                  <a:gd name="connsiteY166" fmla="*/ 934693 h 993051"/>
                  <a:gd name="connsiteX167" fmla="*/ 576263 w 1151018"/>
                  <a:gd name="connsiteY167" fmla="*/ 928343 h 993051"/>
                  <a:gd name="connsiteX168" fmla="*/ 573088 w 1151018"/>
                  <a:gd name="connsiteY168" fmla="*/ 917230 h 993051"/>
                  <a:gd name="connsiteX169" fmla="*/ 566738 w 1151018"/>
                  <a:gd name="connsiteY169" fmla="*/ 915643 h 993051"/>
                  <a:gd name="connsiteX170" fmla="*/ 558800 w 1151018"/>
                  <a:gd name="connsiteY170" fmla="*/ 910880 h 993051"/>
                  <a:gd name="connsiteX171" fmla="*/ 555625 w 1151018"/>
                  <a:gd name="connsiteY171" fmla="*/ 906118 h 993051"/>
                  <a:gd name="connsiteX172" fmla="*/ 546100 w 1151018"/>
                  <a:gd name="connsiteY172" fmla="*/ 899768 h 993051"/>
                  <a:gd name="connsiteX173" fmla="*/ 542925 w 1151018"/>
                  <a:gd name="connsiteY173" fmla="*/ 893418 h 993051"/>
                  <a:gd name="connsiteX174" fmla="*/ 541338 w 1151018"/>
                  <a:gd name="connsiteY174" fmla="*/ 887068 h 993051"/>
                  <a:gd name="connsiteX175" fmla="*/ 533400 w 1151018"/>
                  <a:gd name="connsiteY175" fmla="*/ 879130 h 993051"/>
                  <a:gd name="connsiteX176" fmla="*/ 520700 w 1151018"/>
                  <a:gd name="connsiteY176" fmla="*/ 871193 h 993051"/>
                  <a:gd name="connsiteX177" fmla="*/ 511175 w 1151018"/>
                  <a:gd name="connsiteY177" fmla="*/ 868018 h 993051"/>
                  <a:gd name="connsiteX178" fmla="*/ 498475 w 1151018"/>
                  <a:gd name="connsiteY178" fmla="*/ 858493 h 993051"/>
                  <a:gd name="connsiteX179" fmla="*/ 490538 w 1151018"/>
                  <a:gd name="connsiteY179" fmla="*/ 856905 h 993051"/>
                  <a:gd name="connsiteX180" fmla="*/ 474663 w 1151018"/>
                  <a:gd name="connsiteY180" fmla="*/ 858493 h 993051"/>
                  <a:gd name="connsiteX181" fmla="*/ 471488 w 1151018"/>
                  <a:gd name="connsiteY181" fmla="*/ 864843 h 993051"/>
                  <a:gd name="connsiteX182" fmla="*/ 466725 w 1151018"/>
                  <a:gd name="connsiteY182" fmla="*/ 868018 h 993051"/>
                  <a:gd name="connsiteX183" fmla="*/ 461963 w 1151018"/>
                  <a:gd name="connsiteY183" fmla="*/ 872780 h 993051"/>
                  <a:gd name="connsiteX184" fmla="*/ 444500 w 1151018"/>
                  <a:gd name="connsiteY184" fmla="*/ 868018 h 993051"/>
                  <a:gd name="connsiteX185" fmla="*/ 442913 w 1151018"/>
                  <a:gd name="connsiteY185" fmla="*/ 861668 h 993051"/>
                  <a:gd name="connsiteX186" fmla="*/ 434975 w 1151018"/>
                  <a:gd name="connsiteY186" fmla="*/ 845793 h 993051"/>
                  <a:gd name="connsiteX187" fmla="*/ 436563 w 1151018"/>
                  <a:gd name="connsiteY187" fmla="*/ 839443 h 993051"/>
                  <a:gd name="connsiteX188" fmla="*/ 444500 w 1151018"/>
                  <a:gd name="connsiteY188" fmla="*/ 837855 h 993051"/>
                  <a:gd name="connsiteX189" fmla="*/ 454025 w 1151018"/>
                  <a:gd name="connsiteY189" fmla="*/ 836268 h 993051"/>
                  <a:gd name="connsiteX190" fmla="*/ 450850 w 1151018"/>
                  <a:gd name="connsiteY190" fmla="*/ 831505 h 993051"/>
                  <a:gd name="connsiteX191" fmla="*/ 447675 w 1151018"/>
                  <a:gd name="connsiteY191" fmla="*/ 821980 h 993051"/>
                  <a:gd name="connsiteX192" fmla="*/ 433388 w 1151018"/>
                  <a:gd name="connsiteY192" fmla="*/ 820393 h 993051"/>
                  <a:gd name="connsiteX193" fmla="*/ 427038 w 1151018"/>
                  <a:gd name="connsiteY193" fmla="*/ 825155 h 993051"/>
                  <a:gd name="connsiteX194" fmla="*/ 392113 w 1151018"/>
                  <a:gd name="connsiteY194" fmla="*/ 821980 h 993051"/>
                  <a:gd name="connsiteX195" fmla="*/ 377825 w 1151018"/>
                  <a:gd name="connsiteY195" fmla="*/ 815630 h 993051"/>
                  <a:gd name="connsiteX196" fmla="*/ 368300 w 1151018"/>
                  <a:gd name="connsiteY196" fmla="*/ 810868 h 993051"/>
                  <a:gd name="connsiteX197" fmla="*/ 363538 w 1151018"/>
                  <a:gd name="connsiteY197" fmla="*/ 807693 h 993051"/>
                  <a:gd name="connsiteX198" fmla="*/ 350838 w 1151018"/>
                  <a:gd name="connsiteY198" fmla="*/ 801343 h 993051"/>
                  <a:gd name="connsiteX199" fmla="*/ 347663 w 1151018"/>
                  <a:gd name="connsiteY199" fmla="*/ 804518 h 993051"/>
                  <a:gd name="connsiteX200" fmla="*/ 350838 w 1151018"/>
                  <a:gd name="connsiteY200" fmla="*/ 810868 h 993051"/>
                  <a:gd name="connsiteX201" fmla="*/ 354013 w 1151018"/>
                  <a:gd name="connsiteY201" fmla="*/ 831505 h 993051"/>
                  <a:gd name="connsiteX202" fmla="*/ 355600 w 1151018"/>
                  <a:gd name="connsiteY202" fmla="*/ 839443 h 993051"/>
                  <a:gd name="connsiteX203" fmla="*/ 358775 w 1151018"/>
                  <a:gd name="connsiteY203" fmla="*/ 844205 h 993051"/>
                  <a:gd name="connsiteX204" fmla="*/ 354013 w 1151018"/>
                  <a:gd name="connsiteY204" fmla="*/ 847380 h 993051"/>
                  <a:gd name="connsiteX205" fmla="*/ 344488 w 1151018"/>
                  <a:gd name="connsiteY205" fmla="*/ 848968 h 993051"/>
                  <a:gd name="connsiteX206" fmla="*/ 339725 w 1151018"/>
                  <a:gd name="connsiteY206" fmla="*/ 858493 h 993051"/>
                  <a:gd name="connsiteX207" fmla="*/ 334963 w 1151018"/>
                  <a:gd name="connsiteY207" fmla="*/ 864843 h 993051"/>
                  <a:gd name="connsiteX208" fmla="*/ 319088 w 1151018"/>
                  <a:gd name="connsiteY208" fmla="*/ 863255 h 993051"/>
                  <a:gd name="connsiteX209" fmla="*/ 317500 w 1151018"/>
                  <a:gd name="connsiteY209" fmla="*/ 858493 h 993051"/>
                  <a:gd name="connsiteX210" fmla="*/ 311150 w 1151018"/>
                  <a:gd name="connsiteY210" fmla="*/ 850555 h 993051"/>
                  <a:gd name="connsiteX211" fmla="*/ 301625 w 1151018"/>
                  <a:gd name="connsiteY211" fmla="*/ 839443 h 993051"/>
                  <a:gd name="connsiteX212" fmla="*/ 296863 w 1151018"/>
                  <a:gd name="connsiteY212" fmla="*/ 833093 h 993051"/>
                  <a:gd name="connsiteX213" fmla="*/ 284163 w 1151018"/>
                  <a:gd name="connsiteY213" fmla="*/ 828330 h 993051"/>
                  <a:gd name="connsiteX214" fmla="*/ 261938 w 1151018"/>
                  <a:gd name="connsiteY214" fmla="*/ 810868 h 993051"/>
                  <a:gd name="connsiteX215" fmla="*/ 260350 w 1151018"/>
                  <a:gd name="connsiteY215" fmla="*/ 806105 h 993051"/>
                  <a:gd name="connsiteX216" fmla="*/ 276225 w 1151018"/>
                  <a:gd name="connsiteY216" fmla="*/ 799755 h 993051"/>
                  <a:gd name="connsiteX217" fmla="*/ 282575 w 1151018"/>
                  <a:gd name="connsiteY217" fmla="*/ 794993 h 993051"/>
                  <a:gd name="connsiteX218" fmla="*/ 280988 w 1151018"/>
                  <a:gd name="connsiteY218" fmla="*/ 790230 h 993051"/>
                  <a:gd name="connsiteX219" fmla="*/ 268288 w 1151018"/>
                  <a:gd name="connsiteY219" fmla="*/ 782293 h 993051"/>
                  <a:gd name="connsiteX220" fmla="*/ 266700 w 1151018"/>
                  <a:gd name="connsiteY220" fmla="*/ 775943 h 993051"/>
                  <a:gd name="connsiteX221" fmla="*/ 266700 w 1151018"/>
                  <a:gd name="connsiteY221" fmla="*/ 766418 h 993051"/>
                  <a:gd name="connsiteX222" fmla="*/ 241300 w 1151018"/>
                  <a:gd name="connsiteY222" fmla="*/ 774355 h 993051"/>
                  <a:gd name="connsiteX223" fmla="*/ 239713 w 1151018"/>
                  <a:gd name="connsiteY223" fmla="*/ 782293 h 993051"/>
                  <a:gd name="connsiteX224" fmla="*/ 231775 w 1151018"/>
                  <a:gd name="connsiteY224" fmla="*/ 772768 h 993051"/>
                  <a:gd name="connsiteX225" fmla="*/ 225425 w 1151018"/>
                  <a:gd name="connsiteY225" fmla="*/ 769593 h 993051"/>
                  <a:gd name="connsiteX226" fmla="*/ 219075 w 1151018"/>
                  <a:gd name="connsiteY226" fmla="*/ 764830 h 993051"/>
                  <a:gd name="connsiteX227" fmla="*/ 190500 w 1151018"/>
                  <a:gd name="connsiteY227" fmla="*/ 756893 h 993051"/>
                  <a:gd name="connsiteX228" fmla="*/ 185738 w 1151018"/>
                  <a:gd name="connsiteY228" fmla="*/ 753718 h 993051"/>
                  <a:gd name="connsiteX229" fmla="*/ 158750 w 1151018"/>
                  <a:gd name="connsiteY229" fmla="*/ 750543 h 993051"/>
                  <a:gd name="connsiteX230" fmla="*/ 157163 w 1151018"/>
                  <a:gd name="connsiteY230" fmla="*/ 745780 h 993051"/>
                  <a:gd name="connsiteX231" fmla="*/ 155575 w 1151018"/>
                  <a:gd name="connsiteY231" fmla="*/ 729905 h 993051"/>
                  <a:gd name="connsiteX232" fmla="*/ 147638 w 1151018"/>
                  <a:gd name="connsiteY232" fmla="*/ 725143 h 993051"/>
                  <a:gd name="connsiteX233" fmla="*/ 136525 w 1151018"/>
                  <a:gd name="connsiteY233" fmla="*/ 717205 h 993051"/>
                  <a:gd name="connsiteX234" fmla="*/ 130175 w 1151018"/>
                  <a:gd name="connsiteY234" fmla="*/ 725143 h 993051"/>
                  <a:gd name="connsiteX235" fmla="*/ 125413 w 1151018"/>
                  <a:gd name="connsiteY235" fmla="*/ 726730 h 993051"/>
                  <a:gd name="connsiteX236" fmla="*/ 112713 w 1151018"/>
                  <a:gd name="connsiteY236" fmla="*/ 729905 h 993051"/>
                  <a:gd name="connsiteX237" fmla="*/ 114300 w 1151018"/>
                  <a:gd name="connsiteY237" fmla="*/ 723555 h 993051"/>
                  <a:gd name="connsiteX238" fmla="*/ 115888 w 1151018"/>
                  <a:gd name="connsiteY238" fmla="*/ 715618 h 993051"/>
                  <a:gd name="connsiteX239" fmla="*/ 119063 w 1151018"/>
                  <a:gd name="connsiteY239" fmla="*/ 706093 h 993051"/>
                  <a:gd name="connsiteX240" fmla="*/ 117475 w 1151018"/>
                  <a:gd name="connsiteY240" fmla="*/ 658468 h 993051"/>
                  <a:gd name="connsiteX241" fmla="*/ 114300 w 1151018"/>
                  <a:gd name="connsiteY241" fmla="*/ 652118 h 993051"/>
                  <a:gd name="connsiteX242" fmla="*/ 93663 w 1151018"/>
                  <a:gd name="connsiteY242" fmla="*/ 634655 h 993051"/>
                  <a:gd name="connsiteX243" fmla="*/ 87313 w 1151018"/>
                  <a:gd name="connsiteY243" fmla="*/ 633068 h 993051"/>
                  <a:gd name="connsiteX244" fmla="*/ 79375 w 1151018"/>
                  <a:gd name="connsiteY244" fmla="*/ 593380 h 993051"/>
                  <a:gd name="connsiteX245" fmla="*/ 68263 w 1151018"/>
                  <a:gd name="connsiteY245" fmla="*/ 590205 h 993051"/>
                  <a:gd name="connsiteX246" fmla="*/ 61913 w 1151018"/>
                  <a:gd name="connsiteY246" fmla="*/ 577505 h 993051"/>
                  <a:gd name="connsiteX247" fmla="*/ 65088 w 1151018"/>
                  <a:gd name="connsiteY247" fmla="*/ 571155 h 993051"/>
                  <a:gd name="connsiteX248" fmla="*/ 69850 w 1151018"/>
                  <a:gd name="connsiteY248" fmla="*/ 569568 h 993051"/>
                  <a:gd name="connsiteX249" fmla="*/ 73025 w 1151018"/>
                  <a:gd name="connsiteY249" fmla="*/ 514005 h 993051"/>
                  <a:gd name="connsiteX250" fmla="*/ 71438 w 1151018"/>
                  <a:gd name="connsiteY250" fmla="*/ 507655 h 993051"/>
                  <a:gd name="connsiteX251" fmla="*/ 68263 w 1151018"/>
                  <a:gd name="connsiteY251" fmla="*/ 502893 h 993051"/>
                  <a:gd name="connsiteX252" fmla="*/ 65088 w 1151018"/>
                  <a:gd name="connsiteY252" fmla="*/ 494955 h 993051"/>
                  <a:gd name="connsiteX253" fmla="*/ 52388 w 1151018"/>
                  <a:gd name="connsiteY253" fmla="*/ 490193 h 993051"/>
                  <a:gd name="connsiteX254" fmla="*/ 44450 w 1151018"/>
                  <a:gd name="connsiteY254" fmla="*/ 483843 h 993051"/>
                  <a:gd name="connsiteX255" fmla="*/ 44450 w 1151018"/>
                  <a:gd name="connsiteY255" fmla="*/ 466380 h 993051"/>
                  <a:gd name="connsiteX256" fmla="*/ 55563 w 1151018"/>
                  <a:gd name="connsiteY256" fmla="*/ 464793 h 993051"/>
                  <a:gd name="connsiteX257" fmla="*/ 58738 w 1151018"/>
                  <a:gd name="connsiteY257" fmla="*/ 460030 h 993051"/>
                  <a:gd name="connsiteX258" fmla="*/ 49213 w 1151018"/>
                  <a:gd name="connsiteY258" fmla="*/ 436218 h 993051"/>
                  <a:gd name="connsiteX259" fmla="*/ 42863 w 1151018"/>
                  <a:gd name="connsiteY259" fmla="*/ 431455 h 993051"/>
                  <a:gd name="connsiteX260" fmla="*/ 39688 w 1151018"/>
                  <a:gd name="connsiteY260" fmla="*/ 425105 h 993051"/>
                  <a:gd name="connsiteX261" fmla="*/ 34925 w 1151018"/>
                  <a:gd name="connsiteY261" fmla="*/ 421930 h 993051"/>
                  <a:gd name="connsiteX262" fmla="*/ 28575 w 1151018"/>
                  <a:gd name="connsiteY262" fmla="*/ 415580 h 993051"/>
                  <a:gd name="connsiteX263" fmla="*/ 23813 w 1151018"/>
                  <a:gd name="connsiteY263" fmla="*/ 412405 h 993051"/>
                  <a:gd name="connsiteX264" fmla="*/ 14288 w 1151018"/>
                  <a:gd name="connsiteY264" fmla="*/ 402880 h 993051"/>
                  <a:gd name="connsiteX265" fmla="*/ 3175 w 1151018"/>
                  <a:gd name="connsiteY265" fmla="*/ 401293 h 993051"/>
                  <a:gd name="connsiteX266" fmla="*/ 3175 w 1151018"/>
                  <a:gd name="connsiteY266" fmla="*/ 372718 h 993051"/>
                  <a:gd name="connsiteX267" fmla="*/ 9525 w 1151018"/>
                  <a:gd name="connsiteY267" fmla="*/ 361605 h 993051"/>
                  <a:gd name="connsiteX268" fmla="*/ 14288 w 1151018"/>
                  <a:gd name="connsiteY268" fmla="*/ 360018 h 993051"/>
                  <a:gd name="connsiteX269" fmla="*/ 23813 w 1151018"/>
                  <a:gd name="connsiteY269" fmla="*/ 358430 h 993051"/>
                  <a:gd name="connsiteX270" fmla="*/ 22225 w 1151018"/>
                  <a:gd name="connsiteY270" fmla="*/ 294930 h 993051"/>
                  <a:gd name="connsiteX271" fmla="*/ 15875 w 1151018"/>
                  <a:gd name="connsiteY271" fmla="*/ 280643 h 993051"/>
                  <a:gd name="connsiteX272" fmla="*/ 9525 w 1151018"/>
                  <a:gd name="connsiteY272" fmla="*/ 267943 h 993051"/>
                  <a:gd name="connsiteX273" fmla="*/ 6350 w 1151018"/>
                  <a:gd name="connsiteY273" fmla="*/ 258418 h 993051"/>
                  <a:gd name="connsiteX274" fmla="*/ 7938 w 1151018"/>
                  <a:gd name="connsiteY274" fmla="*/ 253655 h 993051"/>
                  <a:gd name="connsiteX275" fmla="*/ 20638 w 1151018"/>
                  <a:gd name="connsiteY275" fmla="*/ 256830 h 993051"/>
                  <a:gd name="connsiteX276" fmla="*/ 38100 w 1151018"/>
                  <a:gd name="connsiteY276" fmla="*/ 250480 h 993051"/>
                  <a:gd name="connsiteX277" fmla="*/ 44450 w 1151018"/>
                  <a:gd name="connsiteY277" fmla="*/ 239368 h 993051"/>
                  <a:gd name="connsiteX278" fmla="*/ 41275 w 1151018"/>
                  <a:gd name="connsiteY278" fmla="*/ 220318 h 993051"/>
                  <a:gd name="connsiteX279" fmla="*/ 34925 w 1151018"/>
                  <a:gd name="connsiteY279" fmla="*/ 215555 h 993051"/>
                  <a:gd name="connsiteX280" fmla="*/ 0 w 1151018"/>
                  <a:gd name="connsiteY280" fmla="*/ 210793 h 993051"/>
                  <a:gd name="connsiteX281" fmla="*/ 7938 w 1151018"/>
                  <a:gd name="connsiteY281" fmla="*/ 207618 h 993051"/>
                  <a:gd name="connsiteX282" fmla="*/ 15875 w 1151018"/>
                  <a:gd name="connsiteY282" fmla="*/ 206030 h 993051"/>
                  <a:gd name="connsiteX283" fmla="*/ 22225 w 1151018"/>
                  <a:gd name="connsiteY283" fmla="*/ 204443 h 993051"/>
                  <a:gd name="connsiteX284" fmla="*/ 30163 w 1151018"/>
                  <a:gd name="connsiteY284" fmla="*/ 196505 h 993051"/>
                  <a:gd name="connsiteX285" fmla="*/ 38100 w 1151018"/>
                  <a:gd name="connsiteY285" fmla="*/ 182218 h 993051"/>
                  <a:gd name="connsiteX286" fmla="*/ 60325 w 1151018"/>
                  <a:gd name="connsiteY286" fmla="*/ 179043 h 993051"/>
                  <a:gd name="connsiteX287" fmla="*/ 61913 w 1151018"/>
                  <a:gd name="connsiteY287" fmla="*/ 174280 h 993051"/>
                  <a:gd name="connsiteX288" fmla="*/ 73025 w 1151018"/>
                  <a:gd name="connsiteY288" fmla="*/ 169518 h 993051"/>
                  <a:gd name="connsiteX289" fmla="*/ 100013 w 1151018"/>
                  <a:gd name="connsiteY289" fmla="*/ 161580 h 993051"/>
                  <a:gd name="connsiteX290" fmla="*/ 106363 w 1151018"/>
                  <a:gd name="connsiteY290" fmla="*/ 156818 h 993051"/>
                  <a:gd name="connsiteX291" fmla="*/ 127000 w 1151018"/>
                  <a:gd name="connsiteY291" fmla="*/ 158405 h 993051"/>
                  <a:gd name="connsiteX292" fmla="*/ 142875 w 1151018"/>
                  <a:gd name="connsiteY292" fmla="*/ 152055 h 993051"/>
                  <a:gd name="connsiteX293" fmla="*/ 147638 w 1151018"/>
                  <a:gd name="connsiteY293" fmla="*/ 139355 h 993051"/>
                  <a:gd name="connsiteX294" fmla="*/ 168275 w 1151018"/>
                  <a:gd name="connsiteY294" fmla="*/ 133005 h 993051"/>
                  <a:gd name="connsiteX295" fmla="*/ 176213 w 1151018"/>
                  <a:gd name="connsiteY295" fmla="*/ 129830 h 993051"/>
                  <a:gd name="connsiteX296" fmla="*/ 190500 w 1151018"/>
                  <a:gd name="connsiteY296" fmla="*/ 128243 h 993051"/>
                  <a:gd name="connsiteX297" fmla="*/ 203200 w 1151018"/>
                  <a:gd name="connsiteY297" fmla="*/ 125068 h 993051"/>
                  <a:gd name="connsiteX298" fmla="*/ 207963 w 1151018"/>
                  <a:gd name="connsiteY298" fmla="*/ 123480 h 993051"/>
                  <a:gd name="connsiteX299" fmla="*/ 214313 w 1151018"/>
                  <a:gd name="connsiteY299" fmla="*/ 115543 h 993051"/>
                  <a:gd name="connsiteX300" fmla="*/ 215900 w 1151018"/>
                  <a:gd name="connsiteY300" fmla="*/ 110780 h 993051"/>
                  <a:gd name="connsiteX301" fmla="*/ 220663 w 1151018"/>
                  <a:gd name="connsiteY301" fmla="*/ 90143 h 993051"/>
                  <a:gd name="connsiteX302" fmla="*/ 230188 w 1151018"/>
                  <a:gd name="connsiteY302" fmla="*/ 86968 h 993051"/>
                  <a:gd name="connsiteX303" fmla="*/ 238125 w 1151018"/>
                  <a:gd name="connsiteY303" fmla="*/ 80618 h 993051"/>
                  <a:gd name="connsiteX304" fmla="*/ 255588 w 1151018"/>
                  <a:gd name="connsiteY304" fmla="*/ 71093 h 993051"/>
                  <a:gd name="connsiteX305" fmla="*/ 265113 w 1151018"/>
                  <a:gd name="connsiteY305" fmla="*/ 64743 h 993051"/>
                  <a:gd name="connsiteX306" fmla="*/ 285750 w 1151018"/>
                  <a:gd name="connsiteY306" fmla="*/ 52043 h 993051"/>
                  <a:gd name="connsiteX307" fmla="*/ 295275 w 1151018"/>
                  <a:gd name="connsiteY307" fmla="*/ 45693 h 993051"/>
                  <a:gd name="connsiteX308" fmla="*/ 300038 w 1151018"/>
                  <a:gd name="connsiteY308" fmla="*/ 40930 h 993051"/>
                  <a:gd name="connsiteX309" fmla="*/ 307975 w 1151018"/>
                  <a:gd name="connsiteY309" fmla="*/ 36168 h 993051"/>
                  <a:gd name="connsiteX310" fmla="*/ 322263 w 1151018"/>
                  <a:gd name="connsiteY310" fmla="*/ 23468 h 993051"/>
                  <a:gd name="connsiteX311" fmla="*/ 341313 w 1151018"/>
                  <a:gd name="connsiteY311" fmla="*/ 18705 h 993051"/>
                  <a:gd name="connsiteX312" fmla="*/ 355600 w 1151018"/>
                  <a:gd name="connsiteY312" fmla="*/ 15530 h 993051"/>
                  <a:gd name="connsiteX313" fmla="*/ 365125 w 1151018"/>
                  <a:gd name="connsiteY313" fmla="*/ 10768 h 993051"/>
                  <a:gd name="connsiteX314" fmla="*/ 419100 w 1151018"/>
                  <a:gd name="connsiteY314" fmla="*/ 10768 h 993051"/>
                  <a:gd name="connsiteX315" fmla="*/ 436563 w 1151018"/>
                  <a:gd name="connsiteY315" fmla="*/ 15530 h 993051"/>
                  <a:gd name="connsiteX316" fmla="*/ 444500 w 1151018"/>
                  <a:gd name="connsiteY316" fmla="*/ 20293 h 993051"/>
                  <a:gd name="connsiteX317" fmla="*/ 452438 w 1151018"/>
                  <a:gd name="connsiteY317" fmla="*/ 21880 h 993051"/>
                  <a:gd name="connsiteX318" fmla="*/ 458788 w 1151018"/>
                  <a:gd name="connsiteY318" fmla="*/ 23468 h 993051"/>
                  <a:gd name="connsiteX319" fmla="*/ 465138 w 1151018"/>
                  <a:gd name="connsiteY319" fmla="*/ 28230 h 993051"/>
                  <a:gd name="connsiteX320" fmla="*/ 466725 w 1151018"/>
                  <a:gd name="connsiteY320" fmla="*/ 32993 h 993051"/>
                  <a:gd name="connsiteX321" fmla="*/ 469900 w 1151018"/>
                  <a:gd name="connsiteY321" fmla="*/ 39343 h 993051"/>
                  <a:gd name="connsiteX322" fmla="*/ 471488 w 1151018"/>
                  <a:gd name="connsiteY322" fmla="*/ 44105 h 993051"/>
                  <a:gd name="connsiteX323" fmla="*/ 463550 w 1151018"/>
                  <a:gd name="connsiteY323" fmla="*/ 42518 h 993051"/>
                  <a:gd name="connsiteX324" fmla="*/ 447675 w 1151018"/>
                  <a:gd name="connsiteY324" fmla="*/ 28230 h 993051"/>
                  <a:gd name="connsiteX325" fmla="*/ 439738 w 1151018"/>
                  <a:gd name="connsiteY325" fmla="*/ 15530 h 993051"/>
                  <a:gd name="connsiteX326" fmla="*/ 423863 w 1151018"/>
                  <a:gd name="connsiteY326" fmla="*/ 23468 h 993051"/>
                  <a:gd name="connsiteX327" fmla="*/ 414338 w 1151018"/>
                  <a:gd name="connsiteY327" fmla="*/ 29818 h 993051"/>
                  <a:gd name="connsiteX328" fmla="*/ 420688 w 1151018"/>
                  <a:gd name="connsiteY328" fmla="*/ 36168 h 993051"/>
                  <a:gd name="connsiteX329" fmla="*/ 430213 w 1151018"/>
                  <a:gd name="connsiteY329" fmla="*/ 42518 h 993051"/>
                  <a:gd name="connsiteX330" fmla="*/ 438150 w 1151018"/>
                  <a:gd name="connsiteY330" fmla="*/ 56805 h 993051"/>
                  <a:gd name="connsiteX331" fmla="*/ 442913 w 1151018"/>
                  <a:gd name="connsiteY331" fmla="*/ 61568 h 993051"/>
                  <a:gd name="connsiteX332" fmla="*/ 452438 w 1151018"/>
                  <a:gd name="connsiteY332" fmla="*/ 71093 h 993051"/>
                  <a:gd name="connsiteX333" fmla="*/ 465138 w 1151018"/>
                  <a:gd name="connsiteY333" fmla="*/ 79030 h 993051"/>
                  <a:gd name="connsiteX334" fmla="*/ 466725 w 1151018"/>
                  <a:gd name="connsiteY334" fmla="*/ 83793 h 993051"/>
                  <a:gd name="connsiteX335" fmla="*/ 473075 w 1151018"/>
                  <a:gd name="connsiteY335" fmla="*/ 85380 h 993051"/>
                  <a:gd name="connsiteX336" fmla="*/ 520700 w 1151018"/>
                  <a:gd name="connsiteY336" fmla="*/ 91730 h 993051"/>
                  <a:gd name="connsiteX337" fmla="*/ 546100 w 1151018"/>
                  <a:gd name="connsiteY337" fmla="*/ 83793 h 993051"/>
                  <a:gd name="connsiteX338" fmla="*/ 550863 w 1151018"/>
                  <a:gd name="connsiteY338" fmla="*/ 77443 h 993051"/>
                  <a:gd name="connsiteX339" fmla="*/ 558800 w 1151018"/>
                  <a:gd name="connsiteY339" fmla="*/ 71093 h 993051"/>
                  <a:gd name="connsiteX340" fmla="*/ 566738 w 1151018"/>
                  <a:gd name="connsiteY340" fmla="*/ 64743 h 993051"/>
                  <a:gd name="connsiteX341" fmla="*/ 573088 w 1151018"/>
                  <a:gd name="connsiteY341" fmla="*/ 58393 h 993051"/>
                  <a:gd name="connsiteX342" fmla="*/ 577850 w 1151018"/>
                  <a:gd name="connsiteY342" fmla="*/ 55218 h 993051"/>
                  <a:gd name="connsiteX343" fmla="*/ 571500 w 1151018"/>
                  <a:gd name="connsiteY343" fmla="*/ 52043 h 993051"/>
                  <a:gd name="connsiteX0" fmla="*/ 571500 w 1151018"/>
                  <a:gd name="connsiteY0" fmla="*/ 52043 h 993051"/>
                  <a:gd name="connsiteX1" fmla="*/ 579438 w 1151018"/>
                  <a:gd name="connsiteY1" fmla="*/ 50455 h 993051"/>
                  <a:gd name="connsiteX2" fmla="*/ 608013 w 1151018"/>
                  <a:gd name="connsiteY2" fmla="*/ 53630 h 993051"/>
                  <a:gd name="connsiteX3" fmla="*/ 612775 w 1151018"/>
                  <a:gd name="connsiteY3" fmla="*/ 56805 h 993051"/>
                  <a:gd name="connsiteX4" fmla="*/ 625475 w 1151018"/>
                  <a:gd name="connsiteY4" fmla="*/ 58393 h 993051"/>
                  <a:gd name="connsiteX5" fmla="*/ 684213 w 1151018"/>
                  <a:gd name="connsiteY5" fmla="*/ 56805 h 993051"/>
                  <a:gd name="connsiteX6" fmla="*/ 693738 w 1151018"/>
                  <a:gd name="connsiteY6" fmla="*/ 55218 h 993051"/>
                  <a:gd name="connsiteX7" fmla="*/ 706438 w 1151018"/>
                  <a:gd name="connsiteY7" fmla="*/ 50455 h 993051"/>
                  <a:gd name="connsiteX8" fmla="*/ 711200 w 1151018"/>
                  <a:gd name="connsiteY8" fmla="*/ 48868 h 993051"/>
                  <a:gd name="connsiteX9" fmla="*/ 720725 w 1151018"/>
                  <a:gd name="connsiteY9" fmla="*/ 47280 h 993051"/>
                  <a:gd name="connsiteX10" fmla="*/ 738188 w 1151018"/>
                  <a:gd name="connsiteY10" fmla="*/ 42518 h 993051"/>
                  <a:gd name="connsiteX11" fmla="*/ 742950 w 1151018"/>
                  <a:gd name="connsiteY11" fmla="*/ 40930 h 993051"/>
                  <a:gd name="connsiteX12" fmla="*/ 758825 w 1151018"/>
                  <a:gd name="connsiteY12" fmla="*/ 39343 h 993051"/>
                  <a:gd name="connsiteX13" fmla="*/ 795338 w 1151018"/>
                  <a:gd name="connsiteY13" fmla="*/ 34580 h 993051"/>
                  <a:gd name="connsiteX14" fmla="*/ 812800 w 1151018"/>
                  <a:gd name="connsiteY14" fmla="*/ 28230 h 993051"/>
                  <a:gd name="connsiteX15" fmla="*/ 819150 w 1151018"/>
                  <a:gd name="connsiteY15" fmla="*/ 26643 h 993051"/>
                  <a:gd name="connsiteX16" fmla="*/ 835025 w 1151018"/>
                  <a:gd name="connsiteY16" fmla="*/ 23468 h 993051"/>
                  <a:gd name="connsiteX17" fmla="*/ 842963 w 1151018"/>
                  <a:gd name="connsiteY17" fmla="*/ 20293 h 993051"/>
                  <a:gd name="connsiteX18" fmla="*/ 852488 w 1151018"/>
                  <a:gd name="connsiteY18" fmla="*/ 18705 h 993051"/>
                  <a:gd name="connsiteX19" fmla="*/ 857250 w 1151018"/>
                  <a:gd name="connsiteY19" fmla="*/ 17118 h 993051"/>
                  <a:gd name="connsiteX20" fmla="*/ 862013 w 1151018"/>
                  <a:gd name="connsiteY20" fmla="*/ 13943 h 993051"/>
                  <a:gd name="connsiteX21" fmla="*/ 866775 w 1151018"/>
                  <a:gd name="connsiteY21" fmla="*/ 12355 h 993051"/>
                  <a:gd name="connsiteX22" fmla="*/ 877888 w 1151018"/>
                  <a:gd name="connsiteY22" fmla="*/ 7593 h 993051"/>
                  <a:gd name="connsiteX23" fmla="*/ 900113 w 1151018"/>
                  <a:gd name="connsiteY23" fmla="*/ 6005 h 993051"/>
                  <a:gd name="connsiteX24" fmla="*/ 904875 w 1151018"/>
                  <a:gd name="connsiteY24" fmla="*/ 12355 h 993051"/>
                  <a:gd name="connsiteX25" fmla="*/ 909638 w 1151018"/>
                  <a:gd name="connsiteY25" fmla="*/ 13943 h 993051"/>
                  <a:gd name="connsiteX26" fmla="*/ 919163 w 1151018"/>
                  <a:gd name="connsiteY26" fmla="*/ 20293 h 993051"/>
                  <a:gd name="connsiteX27" fmla="*/ 928688 w 1151018"/>
                  <a:gd name="connsiteY27" fmla="*/ 26643 h 993051"/>
                  <a:gd name="connsiteX28" fmla="*/ 936625 w 1151018"/>
                  <a:gd name="connsiteY28" fmla="*/ 31405 h 993051"/>
                  <a:gd name="connsiteX29" fmla="*/ 947738 w 1151018"/>
                  <a:gd name="connsiteY29" fmla="*/ 37755 h 993051"/>
                  <a:gd name="connsiteX30" fmla="*/ 960438 w 1151018"/>
                  <a:gd name="connsiteY30" fmla="*/ 48868 h 993051"/>
                  <a:gd name="connsiteX31" fmla="*/ 962025 w 1151018"/>
                  <a:gd name="connsiteY31" fmla="*/ 53630 h 993051"/>
                  <a:gd name="connsiteX32" fmla="*/ 965200 w 1151018"/>
                  <a:gd name="connsiteY32" fmla="*/ 64743 h 993051"/>
                  <a:gd name="connsiteX33" fmla="*/ 969963 w 1151018"/>
                  <a:gd name="connsiteY33" fmla="*/ 91730 h 993051"/>
                  <a:gd name="connsiteX34" fmla="*/ 977900 w 1151018"/>
                  <a:gd name="connsiteY34" fmla="*/ 104430 h 993051"/>
                  <a:gd name="connsiteX35" fmla="*/ 979488 w 1151018"/>
                  <a:gd name="connsiteY35" fmla="*/ 109193 h 993051"/>
                  <a:gd name="connsiteX36" fmla="*/ 1000125 w 1151018"/>
                  <a:gd name="connsiteY36" fmla="*/ 150468 h 993051"/>
                  <a:gd name="connsiteX37" fmla="*/ 1017663 w 1151018"/>
                  <a:gd name="connsiteY37" fmla="*/ 176548 h 993051"/>
                  <a:gd name="connsiteX38" fmla="*/ 1031875 w 1151018"/>
                  <a:gd name="connsiteY38" fmla="*/ 212380 h 993051"/>
                  <a:gd name="connsiteX39" fmla="*/ 1041400 w 1151018"/>
                  <a:gd name="connsiteY39" fmla="*/ 218730 h 993051"/>
                  <a:gd name="connsiteX40" fmla="*/ 1042988 w 1151018"/>
                  <a:gd name="connsiteY40" fmla="*/ 223493 h 993051"/>
                  <a:gd name="connsiteX41" fmla="*/ 1048583 w 1151018"/>
                  <a:gd name="connsiteY41" fmla="*/ 227424 h 993051"/>
                  <a:gd name="connsiteX42" fmla="*/ 1050925 w 1151018"/>
                  <a:gd name="connsiteY42" fmla="*/ 252068 h 993051"/>
                  <a:gd name="connsiteX43" fmla="*/ 1054100 w 1151018"/>
                  <a:gd name="connsiteY43" fmla="*/ 260005 h 993051"/>
                  <a:gd name="connsiteX44" fmla="*/ 1058863 w 1151018"/>
                  <a:gd name="connsiteY44" fmla="*/ 263180 h 993051"/>
                  <a:gd name="connsiteX45" fmla="*/ 1060450 w 1151018"/>
                  <a:gd name="connsiteY45" fmla="*/ 283818 h 993051"/>
                  <a:gd name="connsiteX46" fmla="*/ 1057275 w 1151018"/>
                  <a:gd name="connsiteY46" fmla="*/ 291755 h 993051"/>
                  <a:gd name="connsiteX47" fmla="*/ 1047750 w 1151018"/>
                  <a:gd name="connsiteY47" fmla="*/ 294930 h 993051"/>
                  <a:gd name="connsiteX48" fmla="*/ 1042988 w 1151018"/>
                  <a:gd name="connsiteY48" fmla="*/ 299693 h 993051"/>
                  <a:gd name="connsiteX49" fmla="*/ 1031875 w 1151018"/>
                  <a:gd name="connsiteY49" fmla="*/ 320330 h 993051"/>
                  <a:gd name="connsiteX50" fmla="*/ 1017588 w 1151018"/>
                  <a:gd name="connsiteY50" fmla="*/ 340968 h 993051"/>
                  <a:gd name="connsiteX51" fmla="*/ 1009650 w 1151018"/>
                  <a:gd name="connsiteY51" fmla="*/ 352080 h 993051"/>
                  <a:gd name="connsiteX52" fmla="*/ 1004888 w 1151018"/>
                  <a:gd name="connsiteY52" fmla="*/ 353668 h 993051"/>
                  <a:gd name="connsiteX53" fmla="*/ 1000125 w 1151018"/>
                  <a:gd name="connsiteY53" fmla="*/ 377480 h 993051"/>
                  <a:gd name="connsiteX54" fmla="*/ 998538 w 1151018"/>
                  <a:gd name="connsiteY54" fmla="*/ 383830 h 993051"/>
                  <a:gd name="connsiteX55" fmla="*/ 996950 w 1151018"/>
                  <a:gd name="connsiteY55" fmla="*/ 391768 h 993051"/>
                  <a:gd name="connsiteX56" fmla="*/ 1008063 w 1151018"/>
                  <a:gd name="connsiteY56" fmla="*/ 394943 h 993051"/>
                  <a:gd name="connsiteX57" fmla="*/ 1027113 w 1151018"/>
                  <a:gd name="connsiteY57" fmla="*/ 396530 h 993051"/>
                  <a:gd name="connsiteX58" fmla="*/ 1039813 w 1151018"/>
                  <a:gd name="connsiteY58" fmla="*/ 406055 h 993051"/>
                  <a:gd name="connsiteX59" fmla="*/ 1049338 w 1151018"/>
                  <a:gd name="connsiteY59" fmla="*/ 413993 h 993051"/>
                  <a:gd name="connsiteX60" fmla="*/ 1050925 w 1151018"/>
                  <a:gd name="connsiteY60" fmla="*/ 420343 h 993051"/>
                  <a:gd name="connsiteX61" fmla="*/ 1046163 w 1151018"/>
                  <a:gd name="connsiteY61" fmla="*/ 433043 h 993051"/>
                  <a:gd name="connsiteX62" fmla="*/ 1046163 w 1151018"/>
                  <a:gd name="connsiteY62" fmla="*/ 447330 h 993051"/>
                  <a:gd name="connsiteX63" fmla="*/ 1044575 w 1151018"/>
                  <a:gd name="connsiteY63" fmla="*/ 460030 h 993051"/>
                  <a:gd name="connsiteX64" fmla="*/ 1042988 w 1151018"/>
                  <a:gd name="connsiteY64" fmla="*/ 474318 h 993051"/>
                  <a:gd name="connsiteX65" fmla="*/ 1044575 w 1151018"/>
                  <a:gd name="connsiteY65" fmla="*/ 487018 h 993051"/>
                  <a:gd name="connsiteX66" fmla="*/ 1046163 w 1151018"/>
                  <a:gd name="connsiteY66" fmla="*/ 491780 h 993051"/>
                  <a:gd name="connsiteX67" fmla="*/ 1050925 w 1151018"/>
                  <a:gd name="connsiteY67" fmla="*/ 493368 h 993051"/>
                  <a:gd name="connsiteX68" fmla="*/ 1057275 w 1151018"/>
                  <a:gd name="connsiteY68" fmla="*/ 496543 h 993051"/>
                  <a:gd name="connsiteX69" fmla="*/ 1062038 w 1151018"/>
                  <a:gd name="connsiteY69" fmla="*/ 501305 h 993051"/>
                  <a:gd name="connsiteX70" fmla="*/ 1066800 w 1151018"/>
                  <a:gd name="connsiteY70" fmla="*/ 504480 h 993051"/>
                  <a:gd name="connsiteX71" fmla="*/ 1068388 w 1151018"/>
                  <a:gd name="connsiteY71" fmla="*/ 521943 h 993051"/>
                  <a:gd name="connsiteX72" fmla="*/ 1071563 w 1151018"/>
                  <a:gd name="connsiteY72" fmla="*/ 526705 h 993051"/>
                  <a:gd name="connsiteX73" fmla="*/ 1073150 w 1151018"/>
                  <a:gd name="connsiteY73" fmla="*/ 539405 h 993051"/>
                  <a:gd name="connsiteX74" fmla="*/ 1077913 w 1151018"/>
                  <a:gd name="connsiteY74" fmla="*/ 553693 h 993051"/>
                  <a:gd name="connsiteX75" fmla="*/ 1085850 w 1151018"/>
                  <a:gd name="connsiteY75" fmla="*/ 555280 h 993051"/>
                  <a:gd name="connsiteX76" fmla="*/ 1089025 w 1151018"/>
                  <a:gd name="connsiteY76" fmla="*/ 560043 h 993051"/>
                  <a:gd name="connsiteX77" fmla="*/ 1096963 w 1151018"/>
                  <a:gd name="connsiteY77" fmla="*/ 582268 h 993051"/>
                  <a:gd name="connsiteX78" fmla="*/ 1108075 w 1151018"/>
                  <a:gd name="connsiteY78" fmla="*/ 596555 h 993051"/>
                  <a:gd name="connsiteX79" fmla="*/ 1109663 w 1151018"/>
                  <a:gd name="connsiteY79" fmla="*/ 602905 h 993051"/>
                  <a:gd name="connsiteX80" fmla="*/ 1119188 w 1151018"/>
                  <a:gd name="connsiteY80" fmla="*/ 609255 h 993051"/>
                  <a:gd name="connsiteX81" fmla="*/ 1123950 w 1151018"/>
                  <a:gd name="connsiteY81" fmla="*/ 612430 h 993051"/>
                  <a:gd name="connsiteX82" fmla="*/ 1130300 w 1151018"/>
                  <a:gd name="connsiteY82" fmla="*/ 614018 h 993051"/>
                  <a:gd name="connsiteX83" fmla="*/ 1138238 w 1151018"/>
                  <a:gd name="connsiteY83" fmla="*/ 617193 h 993051"/>
                  <a:gd name="connsiteX84" fmla="*/ 1133475 w 1151018"/>
                  <a:gd name="connsiteY84" fmla="*/ 621955 h 993051"/>
                  <a:gd name="connsiteX85" fmla="*/ 1131888 w 1151018"/>
                  <a:gd name="connsiteY85" fmla="*/ 629893 h 993051"/>
                  <a:gd name="connsiteX86" fmla="*/ 1143000 w 1151018"/>
                  <a:gd name="connsiteY86" fmla="*/ 637830 h 993051"/>
                  <a:gd name="connsiteX87" fmla="*/ 1144588 w 1151018"/>
                  <a:gd name="connsiteY87" fmla="*/ 642593 h 993051"/>
                  <a:gd name="connsiteX88" fmla="*/ 1146175 w 1151018"/>
                  <a:gd name="connsiteY88" fmla="*/ 648943 h 993051"/>
                  <a:gd name="connsiteX89" fmla="*/ 1149350 w 1151018"/>
                  <a:gd name="connsiteY89" fmla="*/ 656880 h 993051"/>
                  <a:gd name="connsiteX90" fmla="*/ 1146175 w 1151018"/>
                  <a:gd name="connsiteY90" fmla="*/ 690218 h 993051"/>
                  <a:gd name="connsiteX91" fmla="*/ 1133475 w 1151018"/>
                  <a:gd name="connsiteY91" fmla="*/ 693393 h 993051"/>
                  <a:gd name="connsiteX92" fmla="*/ 1127125 w 1151018"/>
                  <a:gd name="connsiteY92" fmla="*/ 701330 h 993051"/>
                  <a:gd name="connsiteX93" fmla="*/ 1123950 w 1151018"/>
                  <a:gd name="connsiteY93" fmla="*/ 718793 h 993051"/>
                  <a:gd name="connsiteX94" fmla="*/ 1119188 w 1151018"/>
                  <a:gd name="connsiteY94" fmla="*/ 721968 h 993051"/>
                  <a:gd name="connsiteX95" fmla="*/ 1116013 w 1151018"/>
                  <a:gd name="connsiteY95" fmla="*/ 733080 h 993051"/>
                  <a:gd name="connsiteX96" fmla="*/ 1112838 w 1151018"/>
                  <a:gd name="connsiteY96" fmla="*/ 737843 h 993051"/>
                  <a:gd name="connsiteX97" fmla="*/ 1106488 w 1151018"/>
                  <a:gd name="connsiteY97" fmla="*/ 739430 h 993051"/>
                  <a:gd name="connsiteX98" fmla="*/ 1096963 w 1151018"/>
                  <a:gd name="connsiteY98" fmla="*/ 747368 h 993051"/>
                  <a:gd name="connsiteX99" fmla="*/ 1079500 w 1151018"/>
                  <a:gd name="connsiteY99" fmla="*/ 763243 h 993051"/>
                  <a:gd name="connsiteX100" fmla="*/ 1071563 w 1151018"/>
                  <a:gd name="connsiteY100" fmla="*/ 774355 h 993051"/>
                  <a:gd name="connsiteX101" fmla="*/ 1068388 w 1151018"/>
                  <a:gd name="connsiteY101" fmla="*/ 782293 h 993051"/>
                  <a:gd name="connsiteX102" fmla="*/ 1065213 w 1151018"/>
                  <a:gd name="connsiteY102" fmla="*/ 787055 h 993051"/>
                  <a:gd name="connsiteX103" fmla="*/ 1062038 w 1151018"/>
                  <a:gd name="connsiteY103" fmla="*/ 794993 h 993051"/>
                  <a:gd name="connsiteX104" fmla="*/ 1058863 w 1151018"/>
                  <a:gd name="connsiteY104" fmla="*/ 804518 h 993051"/>
                  <a:gd name="connsiteX105" fmla="*/ 1052513 w 1151018"/>
                  <a:gd name="connsiteY105" fmla="*/ 817218 h 993051"/>
                  <a:gd name="connsiteX106" fmla="*/ 1046163 w 1151018"/>
                  <a:gd name="connsiteY106" fmla="*/ 831505 h 993051"/>
                  <a:gd name="connsiteX107" fmla="*/ 1044575 w 1151018"/>
                  <a:gd name="connsiteY107" fmla="*/ 836268 h 993051"/>
                  <a:gd name="connsiteX108" fmla="*/ 1041400 w 1151018"/>
                  <a:gd name="connsiteY108" fmla="*/ 842618 h 993051"/>
                  <a:gd name="connsiteX109" fmla="*/ 1039813 w 1151018"/>
                  <a:gd name="connsiteY109" fmla="*/ 847380 h 993051"/>
                  <a:gd name="connsiteX110" fmla="*/ 1033463 w 1151018"/>
                  <a:gd name="connsiteY110" fmla="*/ 853730 h 993051"/>
                  <a:gd name="connsiteX111" fmla="*/ 1028700 w 1151018"/>
                  <a:gd name="connsiteY111" fmla="*/ 866430 h 993051"/>
                  <a:gd name="connsiteX112" fmla="*/ 1022350 w 1151018"/>
                  <a:gd name="connsiteY112" fmla="*/ 882305 h 993051"/>
                  <a:gd name="connsiteX113" fmla="*/ 1025525 w 1151018"/>
                  <a:gd name="connsiteY113" fmla="*/ 891830 h 993051"/>
                  <a:gd name="connsiteX114" fmla="*/ 1030288 w 1151018"/>
                  <a:gd name="connsiteY114" fmla="*/ 896593 h 993051"/>
                  <a:gd name="connsiteX115" fmla="*/ 1033463 w 1151018"/>
                  <a:gd name="connsiteY115" fmla="*/ 902943 h 993051"/>
                  <a:gd name="connsiteX116" fmla="*/ 1036638 w 1151018"/>
                  <a:gd name="connsiteY116" fmla="*/ 910880 h 993051"/>
                  <a:gd name="connsiteX117" fmla="*/ 1039813 w 1151018"/>
                  <a:gd name="connsiteY117" fmla="*/ 921993 h 993051"/>
                  <a:gd name="connsiteX118" fmla="*/ 1044575 w 1151018"/>
                  <a:gd name="connsiteY118" fmla="*/ 925168 h 993051"/>
                  <a:gd name="connsiteX119" fmla="*/ 1033463 w 1151018"/>
                  <a:gd name="connsiteY119" fmla="*/ 936280 h 993051"/>
                  <a:gd name="connsiteX120" fmla="*/ 1039813 w 1151018"/>
                  <a:gd name="connsiteY120" fmla="*/ 939455 h 993051"/>
                  <a:gd name="connsiteX121" fmla="*/ 1046163 w 1151018"/>
                  <a:gd name="connsiteY121" fmla="*/ 944218 h 993051"/>
                  <a:gd name="connsiteX122" fmla="*/ 1049338 w 1151018"/>
                  <a:gd name="connsiteY122" fmla="*/ 956918 h 993051"/>
                  <a:gd name="connsiteX123" fmla="*/ 1050925 w 1151018"/>
                  <a:gd name="connsiteY123" fmla="*/ 961680 h 993051"/>
                  <a:gd name="connsiteX124" fmla="*/ 1060450 w 1151018"/>
                  <a:gd name="connsiteY124" fmla="*/ 971205 h 993051"/>
                  <a:gd name="connsiteX125" fmla="*/ 1022350 w 1151018"/>
                  <a:gd name="connsiteY125" fmla="*/ 971205 h 993051"/>
                  <a:gd name="connsiteX126" fmla="*/ 1019175 w 1151018"/>
                  <a:gd name="connsiteY126" fmla="*/ 964855 h 993051"/>
                  <a:gd name="connsiteX127" fmla="*/ 1014413 w 1151018"/>
                  <a:gd name="connsiteY127" fmla="*/ 963268 h 993051"/>
                  <a:gd name="connsiteX128" fmla="*/ 1000125 w 1151018"/>
                  <a:gd name="connsiteY128" fmla="*/ 960093 h 993051"/>
                  <a:gd name="connsiteX129" fmla="*/ 995363 w 1151018"/>
                  <a:gd name="connsiteY129" fmla="*/ 956918 h 993051"/>
                  <a:gd name="connsiteX130" fmla="*/ 985838 w 1151018"/>
                  <a:gd name="connsiteY130" fmla="*/ 955330 h 993051"/>
                  <a:gd name="connsiteX131" fmla="*/ 965200 w 1151018"/>
                  <a:gd name="connsiteY131" fmla="*/ 952155 h 993051"/>
                  <a:gd name="connsiteX132" fmla="*/ 960438 w 1151018"/>
                  <a:gd name="connsiteY132" fmla="*/ 947393 h 993051"/>
                  <a:gd name="connsiteX133" fmla="*/ 952500 w 1151018"/>
                  <a:gd name="connsiteY133" fmla="*/ 936280 h 993051"/>
                  <a:gd name="connsiteX134" fmla="*/ 938213 w 1151018"/>
                  <a:gd name="connsiteY134" fmla="*/ 928343 h 993051"/>
                  <a:gd name="connsiteX135" fmla="*/ 933450 w 1151018"/>
                  <a:gd name="connsiteY135" fmla="*/ 925168 h 993051"/>
                  <a:gd name="connsiteX136" fmla="*/ 922338 w 1151018"/>
                  <a:gd name="connsiteY136" fmla="*/ 923580 h 993051"/>
                  <a:gd name="connsiteX137" fmla="*/ 915988 w 1151018"/>
                  <a:gd name="connsiteY137" fmla="*/ 921993 h 993051"/>
                  <a:gd name="connsiteX138" fmla="*/ 896938 w 1151018"/>
                  <a:gd name="connsiteY138" fmla="*/ 918818 h 993051"/>
                  <a:gd name="connsiteX139" fmla="*/ 847725 w 1151018"/>
                  <a:gd name="connsiteY139" fmla="*/ 925168 h 993051"/>
                  <a:gd name="connsiteX140" fmla="*/ 844550 w 1151018"/>
                  <a:gd name="connsiteY140" fmla="*/ 929930 h 993051"/>
                  <a:gd name="connsiteX141" fmla="*/ 842963 w 1151018"/>
                  <a:gd name="connsiteY141" fmla="*/ 936280 h 993051"/>
                  <a:gd name="connsiteX142" fmla="*/ 836613 w 1151018"/>
                  <a:gd name="connsiteY142" fmla="*/ 939455 h 993051"/>
                  <a:gd name="connsiteX143" fmla="*/ 830263 w 1151018"/>
                  <a:gd name="connsiteY143" fmla="*/ 945805 h 993051"/>
                  <a:gd name="connsiteX144" fmla="*/ 811213 w 1151018"/>
                  <a:gd name="connsiteY144" fmla="*/ 944218 h 993051"/>
                  <a:gd name="connsiteX145" fmla="*/ 796925 w 1151018"/>
                  <a:gd name="connsiteY145" fmla="*/ 941043 h 993051"/>
                  <a:gd name="connsiteX146" fmla="*/ 746125 w 1151018"/>
                  <a:gd name="connsiteY146" fmla="*/ 950568 h 993051"/>
                  <a:gd name="connsiteX147" fmla="*/ 739775 w 1151018"/>
                  <a:gd name="connsiteY147" fmla="*/ 960093 h 993051"/>
                  <a:gd name="connsiteX148" fmla="*/ 701675 w 1151018"/>
                  <a:gd name="connsiteY148" fmla="*/ 990255 h 993051"/>
                  <a:gd name="connsiteX149" fmla="*/ 696913 w 1151018"/>
                  <a:gd name="connsiteY149" fmla="*/ 983905 h 993051"/>
                  <a:gd name="connsiteX150" fmla="*/ 690563 w 1151018"/>
                  <a:gd name="connsiteY150" fmla="*/ 964855 h 993051"/>
                  <a:gd name="connsiteX151" fmla="*/ 682625 w 1151018"/>
                  <a:gd name="connsiteY151" fmla="*/ 963268 h 993051"/>
                  <a:gd name="connsiteX152" fmla="*/ 677863 w 1151018"/>
                  <a:gd name="connsiteY152" fmla="*/ 952155 h 993051"/>
                  <a:gd name="connsiteX153" fmla="*/ 666750 w 1151018"/>
                  <a:gd name="connsiteY153" fmla="*/ 941043 h 993051"/>
                  <a:gd name="connsiteX154" fmla="*/ 655638 w 1151018"/>
                  <a:gd name="connsiteY154" fmla="*/ 929930 h 993051"/>
                  <a:gd name="connsiteX155" fmla="*/ 654050 w 1151018"/>
                  <a:gd name="connsiteY155" fmla="*/ 915643 h 993051"/>
                  <a:gd name="connsiteX156" fmla="*/ 649288 w 1151018"/>
                  <a:gd name="connsiteY156" fmla="*/ 914055 h 993051"/>
                  <a:gd name="connsiteX157" fmla="*/ 639763 w 1151018"/>
                  <a:gd name="connsiteY157" fmla="*/ 926755 h 993051"/>
                  <a:gd name="connsiteX158" fmla="*/ 635000 w 1151018"/>
                  <a:gd name="connsiteY158" fmla="*/ 933105 h 993051"/>
                  <a:gd name="connsiteX159" fmla="*/ 625475 w 1151018"/>
                  <a:gd name="connsiteY159" fmla="*/ 934693 h 993051"/>
                  <a:gd name="connsiteX160" fmla="*/ 620713 w 1151018"/>
                  <a:gd name="connsiteY160" fmla="*/ 937868 h 993051"/>
                  <a:gd name="connsiteX161" fmla="*/ 619125 w 1151018"/>
                  <a:gd name="connsiteY161" fmla="*/ 944218 h 993051"/>
                  <a:gd name="connsiteX162" fmla="*/ 612775 w 1151018"/>
                  <a:gd name="connsiteY162" fmla="*/ 956918 h 993051"/>
                  <a:gd name="connsiteX163" fmla="*/ 592138 w 1151018"/>
                  <a:gd name="connsiteY163" fmla="*/ 955330 h 993051"/>
                  <a:gd name="connsiteX164" fmla="*/ 588963 w 1151018"/>
                  <a:gd name="connsiteY164" fmla="*/ 937868 h 993051"/>
                  <a:gd name="connsiteX165" fmla="*/ 581025 w 1151018"/>
                  <a:gd name="connsiteY165" fmla="*/ 934693 h 993051"/>
                  <a:gd name="connsiteX166" fmla="*/ 576263 w 1151018"/>
                  <a:gd name="connsiteY166" fmla="*/ 928343 h 993051"/>
                  <a:gd name="connsiteX167" fmla="*/ 573088 w 1151018"/>
                  <a:gd name="connsiteY167" fmla="*/ 917230 h 993051"/>
                  <a:gd name="connsiteX168" fmla="*/ 566738 w 1151018"/>
                  <a:gd name="connsiteY168" fmla="*/ 915643 h 993051"/>
                  <a:gd name="connsiteX169" fmla="*/ 558800 w 1151018"/>
                  <a:gd name="connsiteY169" fmla="*/ 910880 h 993051"/>
                  <a:gd name="connsiteX170" fmla="*/ 555625 w 1151018"/>
                  <a:gd name="connsiteY170" fmla="*/ 906118 h 993051"/>
                  <a:gd name="connsiteX171" fmla="*/ 546100 w 1151018"/>
                  <a:gd name="connsiteY171" fmla="*/ 899768 h 993051"/>
                  <a:gd name="connsiteX172" fmla="*/ 542925 w 1151018"/>
                  <a:gd name="connsiteY172" fmla="*/ 893418 h 993051"/>
                  <a:gd name="connsiteX173" fmla="*/ 541338 w 1151018"/>
                  <a:gd name="connsiteY173" fmla="*/ 887068 h 993051"/>
                  <a:gd name="connsiteX174" fmla="*/ 533400 w 1151018"/>
                  <a:gd name="connsiteY174" fmla="*/ 879130 h 993051"/>
                  <a:gd name="connsiteX175" fmla="*/ 520700 w 1151018"/>
                  <a:gd name="connsiteY175" fmla="*/ 871193 h 993051"/>
                  <a:gd name="connsiteX176" fmla="*/ 511175 w 1151018"/>
                  <a:gd name="connsiteY176" fmla="*/ 868018 h 993051"/>
                  <a:gd name="connsiteX177" fmla="*/ 498475 w 1151018"/>
                  <a:gd name="connsiteY177" fmla="*/ 858493 h 993051"/>
                  <a:gd name="connsiteX178" fmla="*/ 490538 w 1151018"/>
                  <a:gd name="connsiteY178" fmla="*/ 856905 h 993051"/>
                  <a:gd name="connsiteX179" fmla="*/ 474663 w 1151018"/>
                  <a:gd name="connsiteY179" fmla="*/ 858493 h 993051"/>
                  <a:gd name="connsiteX180" fmla="*/ 471488 w 1151018"/>
                  <a:gd name="connsiteY180" fmla="*/ 864843 h 993051"/>
                  <a:gd name="connsiteX181" fmla="*/ 466725 w 1151018"/>
                  <a:gd name="connsiteY181" fmla="*/ 868018 h 993051"/>
                  <a:gd name="connsiteX182" fmla="*/ 461963 w 1151018"/>
                  <a:gd name="connsiteY182" fmla="*/ 872780 h 993051"/>
                  <a:gd name="connsiteX183" fmla="*/ 444500 w 1151018"/>
                  <a:gd name="connsiteY183" fmla="*/ 868018 h 993051"/>
                  <a:gd name="connsiteX184" fmla="*/ 442913 w 1151018"/>
                  <a:gd name="connsiteY184" fmla="*/ 861668 h 993051"/>
                  <a:gd name="connsiteX185" fmla="*/ 434975 w 1151018"/>
                  <a:gd name="connsiteY185" fmla="*/ 845793 h 993051"/>
                  <a:gd name="connsiteX186" fmla="*/ 436563 w 1151018"/>
                  <a:gd name="connsiteY186" fmla="*/ 839443 h 993051"/>
                  <a:gd name="connsiteX187" fmla="*/ 444500 w 1151018"/>
                  <a:gd name="connsiteY187" fmla="*/ 837855 h 993051"/>
                  <a:gd name="connsiteX188" fmla="*/ 454025 w 1151018"/>
                  <a:gd name="connsiteY188" fmla="*/ 836268 h 993051"/>
                  <a:gd name="connsiteX189" fmla="*/ 450850 w 1151018"/>
                  <a:gd name="connsiteY189" fmla="*/ 831505 h 993051"/>
                  <a:gd name="connsiteX190" fmla="*/ 447675 w 1151018"/>
                  <a:gd name="connsiteY190" fmla="*/ 821980 h 993051"/>
                  <a:gd name="connsiteX191" fmla="*/ 433388 w 1151018"/>
                  <a:gd name="connsiteY191" fmla="*/ 820393 h 993051"/>
                  <a:gd name="connsiteX192" fmla="*/ 427038 w 1151018"/>
                  <a:gd name="connsiteY192" fmla="*/ 825155 h 993051"/>
                  <a:gd name="connsiteX193" fmla="*/ 392113 w 1151018"/>
                  <a:gd name="connsiteY193" fmla="*/ 821980 h 993051"/>
                  <a:gd name="connsiteX194" fmla="*/ 377825 w 1151018"/>
                  <a:gd name="connsiteY194" fmla="*/ 815630 h 993051"/>
                  <a:gd name="connsiteX195" fmla="*/ 368300 w 1151018"/>
                  <a:gd name="connsiteY195" fmla="*/ 810868 h 993051"/>
                  <a:gd name="connsiteX196" fmla="*/ 363538 w 1151018"/>
                  <a:gd name="connsiteY196" fmla="*/ 807693 h 993051"/>
                  <a:gd name="connsiteX197" fmla="*/ 350838 w 1151018"/>
                  <a:gd name="connsiteY197" fmla="*/ 801343 h 993051"/>
                  <a:gd name="connsiteX198" fmla="*/ 347663 w 1151018"/>
                  <a:gd name="connsiteY198" fmla="*/ 804518 h 993051"/>
                  <a:gd name="connsiteX199" fmla="*/ 350838 w 1151018"/>
                  <a:gd name="connsiteY199" fmla="*/ 810868 h 993051"/>
                  <a:gd name="connsiteX200" fmla="*/ 354013 w 1151018"/>
                  <a:gd name="connsiteY200" fmla="*/ 831505 h 993051"/>
                  <a:gd name="connsiteX201" fmla="*/ 355600 w 1151018"/>
                  <a:gd name="connsiteY201" fmla="*/ 839443 h 993051"/>
                  <a:gd name="connsiteX202" fmla="*/ 358775 w 1151018"/>
                  <a:gd name="connsiteY202" fmla="*/ 844205 h 993051"/>
                  <a:gd name="connsiteX203" fmla="*/ 354013 w 1151018"/>
                  <a:gd name="connsiteY203" fmla="*/ 847380 h 993051"/>
                  <a:gd name="connsiteX204" fmla="*/ 344488 w 1151018"/>
                  <a:gd name="connsiteY204" fmla="*/ 848968 h 993051"/>
                  <a:gd name="connsiteX205" fmla="*/ 339725 w 1151018"/>
                  <a:gd name="connsiteY205" fmla="*/ 858493 h 993051"/>
                  <a:gd name="connsiteX206" fmla="*/ 334963 w 1151018"/>
                  <a:gd name="connsiteY206" fmla="*/ 864843 h 993051"/>
                  <a:gd name="connsiteX207" fmla="*/ 319088 w 1151018"/>
                  <a:gd name="connsiteY207" fmla="*/ 863255 h 993051"/>
                  <a:gd name="connsiteX208" fmla="*/ 317500 w 1151018"/>
                  <a:gd name="connsiteY208" fmla="*/ 858493 h 993051"/>
                  <a:gd name="connsiteX209" fmla="*/ 311150 w 1151018"/>
                  <a:gd name="connsiteY209" fmla="*/ 850555 h 993051"/>
                  <a:gd name="connsiteX210" fmla="*/ 301625 w 1151018"/>
                  <a:gd name="connsiteY210" fmla="*/ 839443 h 993051"/>
                  <a:gd name="connsiteX211" fmla="*/ 296863 w 1151018"/>
                  <a:gd name="connsiteY211" fmla="*/ 833093 h 993051"/>
                  <a:gd name="connsiteX212" fmla="*/ 284163 w 1151018"/>
                  <a:gd name="connsiteY212" fmla="*/ 828330 h 993051"/>
                  <a:gd name="connsiteX213" fmla="*/ 261938 w 1151018"/>
                  <a:gd name="connsiteY213" fmla="*/ 810868 h 993051"/>
                  <a:gd name="connsiteX214" fmla="*/ 260350 w 1151018"/>
                  <a:gd name="connsiteY214" fmla="*/ 806105 h 993051"/>
                  <a:gd name="connsiteX215" fmla="*/ 276225 w 1151018"/>
                  <a:gd name="connsiteY215" fmla="*/ 799755 h 993051"/>
                  <a:gd name="connsiteX216" fmla="*/ 282575 w 1151018"/>
                  <a:gd name="connsiteY216" fmla="*/ 794993 h 993051"/>
                  <a:gd name="connsiteX217" fmla="*/ 280988 w 1151018"/>
                  <a:gd name="connsiteY217" fmla="*/ 790230 h 993051"/>
                  <a:gd name="connsiteX218" fmla="*/ 268288 w 1151018"/>
                  <a:gd name="connsiteY218" fmla="*/ 782293 h 993051"/>
                  <a:gd name="connsiteX219" fmla="*/ 266700 w 1151018"/>
                  <a:gd name="connsiteY219" fmla="*/ 775943 h 993051"/>
                  <a:gd name="connsiteX220" fmla="*/ 266700 w 1151018"/>
                  <a:gd name="connsiteY220" fmla="*/ 766418 h 993051"/>
                  <a:gd name="connsiteX221" fmla="*/ 241300 w 1151018"/>
                  <a:gd name="connsiteY221" fmla="*/ 774355 h 993051"/>
                  <a:gd name="connsiteX222" fmla="*/ 239713 w 1151018"/>
                  <a:gd name="connsiteY222" fmla="*/ 782293 h 993051"/>
                  <a:gd name="connsiteX223" fmla="*/ 231775 w 1151018"/>
                  <a:gd name="connsiteY223" fmla="*/ 772768 h 993051"/>
                  <a:gd name="connsiteX224" fmla="*/ 225425 w 1151018"/>
                  <a:gd name="connsiteY224" fmla="*/ 769593 h 993051"/>
                  <a:gd name="connsiteX225" fmla="*/ 219075 w 1151018"/>
                  <a:gd name="connsiteY225" fmla="*/ 764830 h 993051"/>
                  <a:gd name="connsiteX226" fmla="*/ 190500 w 1151018"/>
                  <a:gd name="connsiteY226" fmla="*/ 756893 h 993051"/>
                  <a:gd name="connsiteX227" fmla="*/ 185738 w 1151018"/>
                  <a:gd name="connsiteY227" fmla="*/ 753718 h 993051"/>
                  <a:gd name="connsiteX228" fmla="*/ 158750 w 1151018"/>
                  <a:gd name="connsiteY228" fmla="*/ 750543 h 993051"/>
                  <a:gd name="connsiteX229" fmla="*/ 157163 w 1151018"/>
                  <a:gd name="connsiteY229" fmla="*/ 745780 h 993051"/>
                  <a:gd name="connsiteX230" fmla="*/ 155575 w 1151018"/>
                  <a:gd name="connsiteY230" fmla="*/ 729905 h 993051"/>
                  <a:gd name="connsiteX231" fmla="*/ 147638 w 1151018"/>
                  <a:gd name="connsiteY231" fmla="*/ 725143 h 993051"/>
                  <a:gd name="connsiteX232" fmla="*/ 136525 w 1151018"/>
                  <a:gd name="connsiteY232" fmla="*/ 717205 h 993051"/>
                  <a:gd name="connsiteX233" fmla="*/ 130175 w 1151018"/>
                  <a:gd name="connsiteY233" fmla="*/ 725143 h 993051"/>
                  <a:gd name="connsiteX234" fmla="*/ 125413 w 1151018"/>
                  <a:gd name="connsiteY234" fmla="*/ 726730 h 993051"/>
                  <a:gd name="connsiteX235" fmla="*/ 112713 w 1151018"/>
                  <a:gd name="connsiteY235" fmla="*/ 729905 h 993051"/>
                  <a:gd name="connsiteX236" fmla="*/ 114300 w 1151018"/>
                  <a:gd name="connsiteY236" fmla="*/ 723555 h 993051"/>
                  <a:gd name="connsiteX237" fmla="*/ 115888 w 1151018"/>
                  <a:gd name="connsiteY237" fmla="*/ 715618 h 993051"/>
                  <a:gd name="connsiteX238" fmla="*/ 119063 w 1151018"/>
                  <a:gd name="connsiteY238" fmla="*/ 706093 h 993051"/>
                  <a:gd name="connsiteX239" fmla="*/ 117475 w 1151018"/>
                  <a:gd name="connsiteY239" fmla="*/ 658468 h 993051"/>
                  <a:gd name="connsiteX240" fmla="*/ 114300 w 1151018"/>
                  <a:gd name="connsiteY240" fmla="*/ 652118 h 993051"/>
                  <a:gd name="connsiteX241" fmla="*/ 93663 w 1151018"/>
                  <a:gd name="connsiteY241" fmla="*/ 634655 h 993051"/>
                  <a:gd name="connsiteX242" fmla="*/ 87313 w 1151018"/>
                  <a:gd name="connsiteY242" fmla="*/ 633068 h 993051"/>
                  <a:gd name="connsiteX243" fmla="*/ 79375 w 1151018"/>
                  <a:gd name="connsiteY243" fmla="*/ 593380 h 993051"/>
                  <a:gd name="connsiteX244" fmla="*/ 68263 w 1151018"/>
                  <a:gd name="connsiteY244" fmla="*/ 590205 h 993051"/>
                  <a:gd name="connsiteX245" fmla="*/ 61913 w 1151018"/>
                  <a:gd name="connsiteY245" fmla="*/ 577505 h 993051"/>
                  <a:gd name="connsiteX246" fmla="*/ 65088 w 1151018"/>
                  <a:gd name="connsiteY246" fmla="*/ 571155 h 993051"/>
                  <a:gd name="connsiteX247" fmla="*/ 69850 w 1151018"/>
                  <a:gd name="connsiteY247" fmla="*/ 569568 h 993051"/>
                  <a:gd name="connsiteX248" fmla="*/ 73025 w 1151018"/>
                  <a:gd name="connsiteY248" fmla="*/ 514005 h 993051"/>
                  <a:gd name="connsiteX249" fmla="*/ 71438 w 1151018"/>
                  <a:gd name="connsiteY249" fmla="*/ 507655 h 993051"/>
                  <a:gd name="connsiteX250" fmla="*/ 68263 w 1151018"/>
                  <a:gd name="connsiteY250" fmla="*/ 502893 h 993051"/>
                  <a:gd name="connsiteX251" fmla="*/ 65088 w 1151018"/>
                  <a:gd name="connsiteY251" fmla="*/ 494955 h 993051"/>
                  <a:gd name="connsiteX252" fmla="*/ 52388 w 1151018"/>
                  <a:gd name="connsiteY252" fmla="*/ 490193 h 993051"/>
                  <a:gd name="connsiteX253" fmla="*/ 44450 w 1151018"/>
                  <a:gd name="connsiteY253" fmla="*/ 483843 h 993051"/>
                  <a:gd name="connsiteX254" fmla="*/ 44450 w 1151018"/>
                  <a:gd name="connsiteY254" fmla="*/ 466380 h 993051"/>
                  <a:gd name="connsiteX255" fmla="*/ 55563 w 1151018"/>
                  <a:gd name="connsiteY255" fmla="*/ 464793 h 993051"/>
                  <a:gd name="connsiteX256" fmla="*/ 58738 w 1151018"/>
                  <a:gd name="connsiteY256" fmla="*/ 460030 h 993051"/>
                  <a:gd name="connsiteX257" fmla="*/ 49213 w 1151018"/>
                  <a:gd name="connsiteY257" fmla="*/ 436218 h 993051"/>
                  <a:gd name="connsiteX258" fmla="*/ 42863 w 1151018"/>
                  <a:gd name="connsiteY258" fmla="*/ 431455 h 993051"/>
                  <a:gd name="connsiteX259" fmla="*/ 39688 w 1151018"/>
                  <a:gd name="connsiteY259" fmla="*/ 425105 h 993051"/>
                  <a:gd name="connsiteX260" fmla="*/ 34925 w 1151018"/>
                  <a:gd name="connsiteY260" fmla="*/ 421930 h 993051"/>
                  <a:gd name="connsiteX261" fmla="*/ 28575 w 1151018"/>
                  <a:gd name="connsiteY261" fmla="*/ 415580 h 993051"/>
                  <a:gd name="connsiteX262" fmla="*/ 23813 w 1151018"/>
                  <a:gd name="connsiteY262" fmla="*/ 412405 h 993051"/>
                  <a:gd name="connsiteX263" fmla="*/ 14288 w 1151018"/>
                  <a:gd name="connsiteY263" fmla="*/ 402880 h 993051"/>
                  <a:gd name="connsiteX264" fmla="*/ 3175 w 1151018"/>
                  <a:gd name="connsiteY264" fmla="*/ 401293 h 993051"/>
                  <a:gd name="connsiteX265" fmla="*/ 3175 w 1151018"/>
                  <a:gd name="connsiteY265" fmla="*/ 372718 h 993051"/>
                  <a:gd name="connsiteX266" fmla="*/ 9525 w 1151018"/>
                  <a:gd name="connsiteY266" fmla="*/ 361605 h 993051"/>
                  <a:gd name="connsiteX267" fmla="*/ 14288 w 1151018"/>
                  <a:gd name="connsiteY267" fmla="*/ 360018 h 993051"/>
                  <a:gd name="connsiteX268" fmla="*/ 23813 w 1151018"/>
                  <a:gd name="connsiteY268" fmla="*/ 358430 h 993051"/>
                  <a:gd name="connsiteX269" fmla="*/ 22225 w 1151018"/>
                  <a:gd name="connsiteY269" fmla="*/ 294930 h 993051"/>
                  <a:gd name="connsiteX270" fmla="*/ 15875 w 1151018"/>
                  <a:gd name="connsiteY270" fmla="*/ 280643 h 993051"/>
                  <a:gd name="connsiteX271" fmla="*/ 9525 w 1151018"/>
                  <a:gd name="connsiteY271" fmla="*/ 267943 h 993051"/>
                  <a:gd name="connsiteX272" fmla="*/ 6350 w 1151018"/>
                  <a:gd name="connsiteY272" fmla="*/ 258418 h 993051"/>
                  <a:gd name="connsiteX273" fmla="*/ 7938 w 1151018"/>
                  <a:gd name="connsiteY273" fmla="*/ 253655 h 993051"/>
                  <a:gd name="connsiteX274" fmla="*/ 20638 w 1151018"/>
                  <a:gd name="connsiteY274" fmla="*/ 256830 h 993051"/>
                  <a:gd name="connsiteX275" fmla="*/ 38100 w 1151018"/>
                  <a:gd name="connsiteY275" fmla="*/ 250480 h 993051"/>
                  <a:gd name="connsiteX276" fmla="*/ 44450 w 1151018"/>
                  <a:gd name="connsiteY276" fmla="*/ 239368 h 993051"/>
                  <a:gd name="connsiteX277" fmla="*/ 41275 w 1151018"/>
                  <a:gd name="connsiteY277" fmla="*/ 220318 h 993051"/>
                  <a:gd name="connsiteX278" fmla="*/ 34925 w 1151018"/>
                  <a:gd name="connsiteY278" fmla="*/ 215555 h 993051"/>
                  <a:gd name="connsiteX279" fmla="*/ 0 w 1151018"/>
                  <a:gd name="connsiteY279" fmla="*/ 210793 h 993051"/>
                  <a:gd name="connsiteX280" fmla="*/ 7938 w 1151018"/>
                  <a:gd name="connsiteY280" fmla="*/ 207618 h 993051"/>
                  <a:gd name="connsiteX281" fmla="*/ 15875 w 1151018"/>
                  <a:gd name="connsiteY281" fmla="*/ 206030 h 993051"/>
                  <a:gd name="connsiteX282" fmla="*/ 22225 w 1151018"/>
                  <a:gd name="connsiteY282" fmla="*/ 204443 h 993051"/>
                  <a:gd name="connsiteX283" fmla="*/ 30163 w 1151018"/>
                  <a:gd name="connsiteY283" fmla="*/ 196505 h 993051"/>
                  <a:gd name="connsiteX284" fmla="*/ 38100 w 1151018"/>
                  <a:gd name="connsiteY284" fmla="*/ 182218 h 993051"/>
                  <a:gd name="connsiteX285" fmla="*/ 60325 w 1151018"/>
                  <a:gd name="connsiteY285" fmla="*/ 179043 h 993051"/>
                  <a:gd name="connsiteX286" fmla="*/ 61913 w 1151018"/>
                  <a:gd name="connsiteY286" fmla="*/ 174280 h 993051"/>
                  <a:gd name="connsiteX287" fmla="*/ 73025 w 1151018"/>
                  <a:gd name="connsiteY287" fmla="*/ 169518 h 993051"/>
                  <a:gd name="connsiteX288" fmla="*/ 100013 w 1151018"/>
                  <a:gd name="connsiteY288" fmla="*/ 161580 h 993051"/>
                  <a:gd name="connsiteX289" fmla="*/ 106363 w 1151018"/>
                  <a:gd name="connsiteY289" fmla="*/ 156818 h 993051"/>
                  <a:gd name="connsiteX290" fmla="*/ 127000 w 1151018"/>
                  <a:gd name="connsiteY290" fmla="*/ 158405 h 993051"/>
                  <a:gd name="connsiteX291" fmla="*/ 142875 w 1151018"/>
                  <a:gd name="connsiteY291" fmla="*/ 152055 h 993051"/>
                  <a:gd name="connsiteX292" fmla="*/ 147638 w 1151018"/>
                  <a:gd name="connsiteY292" fmla="*/ 139355 h 993051"/>
                  <a:gd name="connsiteX293" fmla="*/ 168275 w 1151018"/>
                  <a:gd name="connsiteY293" fmla="*/ 133005 h 993051"/>
                  <a:gd name="connsiteX294" fmla="*/ 176213 w 1151018"/>
                  <a:gd name="connsiteY294" fmla="*/ 129830 h 993051"/>
                  <a:gd name="connsiteX295" fmla="*/ 190500 w 1151018"/>
                  <a:gd name="connsiteY295" fmla="*/ 128243 h 993051"/>
                  <a:gd name="connsiteX296" fmla="*/ 203200 w 1151018"/>
                  <a:gd name="connsiteY296" fmla="*/ 125068 h 993051"/>
                  <a:gd name="connsiteX297" fmla="*/ 207963 w 1151018"/>
                  <a:gd name="connsiteY297" fmla="*/ 123480 h 993051"/>
                  <a:gd name="connsiteX298" fmla="*/ 214313 w 1151018"/>
                  <a:gd name="connsiteY298" fmla="*/ 115543 h 993051"/>
                  <a:gd name="connsiteX299" fmla="*/ 215900 w 1151018"/>
                  <a:gd name="connsiteY299" fmla="*/ 110780 h 993051"/>
                  <a:gd name="connsiteX300" fmla="*/ 220663 w 1151018"/>
                  <a:gd name="connsiteY300" fmla="*/ 90143 h 993051"/>
                  <a:gd name="connsiteX301" fmla="*/ 230188 w 1151018"/>
                  <a:gd name="connsiteY301" fmla="*/ 86968 h 993051"/>
                  <a:gd name="connsiteX302" fmla="*/ 238125 w 1151018"/>
                  <a:gd name="connsiteY302" fmla="*/ 80618 h 993051"/>
                  <a:gd name="connsiteX303" fmla="*/ 255588 w 1151018"/>
                  <a:gd name="connsiteY303" fmla="*/ 71093 h 993051"/>
                  <a:gd name="connsiteX304" fmla="*/ 265113 w 1151018"/>
                  <a:gd name="connsiteY304" fmla="*/ 64743 h 993051"/>
                  <a:gd name="connsiteX305" fmla="*/ 285750 w 1151018"/>
                  <a:gd name="connsiteY305" fmla="*/ 52043 h 993051"/>
                  <a:gd name="connsiteX306" fmla="*/ 295275 w 1151018"/>
                  <a:gd name="connsiteY306" fmla="*/ 45693 h 993051"/>
                  <a:gd name="connsiteX307" fmla="*/ 300038 w 1151018"/>
                  <a:gd name="connsiteY307" fmla="*/ 40930 h 993051"/>
                  <a:gd name="connsiteX308" fmla="*/ 307975 w 1151018"/>
                  <a:gd name="connsiteY308" fmla="*/ 36168 h 993051"/>
                  <a:gd name="connsiteX309" fmla="*/ 322263 w 1151018"/>
                  <a:gd name="connsiteY309" fmla="*/ 23468 h 993051"/>
                  <a:gd name="connsiteX310" fmla="*/ 341313 w 1151018"/>
                  <a:gd name="connsiteY310" fmla="*/ 18705 h 993051"/>
                  <a:gd name="connsiteX311" fmla="*/ 355600 w 1151018"/>
                  <a:gd name="connsiteY311" fmla="*/ 15530 h 993051"/>
                  <a:gd name="connsiteX312" fmla="*/ 365125 w 1151018"/>
                  <a:gd name="connsiteY312" fmla="*/ 10768 h 993051"/>
                  <a:gd name="connsiteX313" fmla="*/ 419100 w 1151018"/>
                  <a:gd name="connsiteY313" fmla="*/ 10768 h 993051"/>
                  <a:gd name="connsiteX314" fmla="*/ 436563 w 1151018"/>
                  <a:gd name="connsiteY314" fmla="*/ 15530 h 993051"/>
                  <a:gd name="connsiteX315" fmla="*/ 444500 w 1151018"/>
                  <a:gd name="connsiteY315" fmla="*/ 20293 h 993051"/>
                  <a:gd name="connsiteX316" fmla="*/ 452438 w 1151018"/>
                  <a:gd name="connsiteY316" fmla="*/ 21880 h 993051"/>
                  <a:gd name="connsiteX317" fmla="*/ 458788 w 1151018"/>
                  <a:gd name="connsiteY317" fmla="*/ 23468 h 993051"/>
                  <a:gd name="connsiteX318" fmla="*/ 465138 w 1151018"/>
                  <a:gd name="connsiteY318" fmla="*/ 28230 h 993051"/>
                  <a:gd name="connsiteX319" fmla="*/ 466725 w 1151018"/>
                  <a:gd name="connsiteY319" fmla="*/ 32993 h 993051"/>
                  <a:gd name="connsiteX320" fmla="*/ 469900 w 1151018"/>
                  <a:gd name="connsiteY320" fmla="*/ 39343 h 993051"/>
                  <a:gd name="connsiteX321" fmla="*/ 471488 w 1151018"/>
                  <a:gd name="connsiteY321" fmla="*/ 44105 h 993051"/>
                  <a:gd name="connsiteX322" fmla="*/ 463550 w 1151018"/>
                  <a:gd name="connsiteY322" fmla="*/ 42518 h 993051"/>
                  <a:gd name="connsiteX323" fmla="*/ 447675 w 1151018"/>
                  <a:gd name="connsiteY323" fmla="*/ 28230 h 993051"/>
                  <a:gd name="connsiteX324" fmla="*/ 439738 w 1151018"/>
                  <a:gd name="connsiteY324" fmla="*/ 15530 h 993051"/>
                  <a:gd name="connsiteX325" fmla="*/ 423863 w 1151018"/>
                  <a:gd name="connsiteY325" fmla="*/ 23468 h 993051"/>
                  <a:gd name="connsiteX326" fmla="*/ 414338 w 1151018"/>
                  <a:gd name="connsiteY326" fmla="*/ 29818 h 993051"/>
                  <a:gd name="connsiteX327" fmla="*/ 420688 w 1151018"/>
                  <a:gd name="connsiteY327" fmla="*/ 36168 h 993051"/>
                  <a:gd name="connsiteX328" fmla="*/ 430213 w 1151018"/>
                  <a:gd name="connsiteY328" fmla="*/ 42518 h 993051"/>
                  <a:gd name="connsiteX329" fmla="*/ 438150 w 1151018"/>
                  <a:gd name="connsiteY329" fmla="*/ 56805 h 993051"/>
                  <a:gd name="connsiteX330" fmla="*/ 442913 w 1151018"/>
                  <a:gd name="connsiteY330" fmla="*/ 61568 h 993051"/>
                  <a:gd name="connsiteX331" fmla="*/ 452438 w 1151018"/>
                  <a:gd name="connsiteY331" fmla="*/ 71093 h 993051"/>
                  <a:gd name="connsiteX332" fmla="*/ 465138 w 1151018"/>
                  <a:gd name="connsiteY332" fmla="*/ 79030 h 993051"/>
                  <a:gd name="connsiteX333" fmla="*/ 466725 w 1151018"/>
                  <a:gd name="connsiteY333" fmla="*/ 83793 h 993051"/>
                  <a:gd name="connsiteX334" fmla="*/ 473075 w 1151018"/>
                  <a:gd name="connsiteY334" fmla="*/ 85380 h 993051"/>
                  <a:gd name="connsiteX335" fmla="*/ 520700 w 1151018"/>
                  <a:gd name="connsiteY335" fmla="*/ 91730 h 993051"/>
                  <a:gd name="connsiteX336" fmla="*/ 546100 w 1151018"/>
                  <a:gd name="connsiteY336" fmla="*/ 83793 h 993051"/>
                  <a:gd name="connsiteX337" fmla="*/ 550863 w 1151018"/>
                  <a:gd name="connsiteY337" fmla="*/ 77443 h 993051"/>
                  <a:gd name="connsiteX338" fmla="*/ 558800 w 1151018"/>
                  <a:gd name="connsiteY338" fmla="*/ 71093 h 993051"/>
                  <a:gd name="connsiteX339" fmla="*/ 566738 w 1151018"/>
                  <a:gd name="connsiteY339" fmla="*/ 64743 h 993051"/>
                  <a:gd name="connsiteX340" fmla="*/ 573088 w 1151018"/>
                  <a:gd name="connsiteY340" fmla="*/ 58393 h 993051"/>
                  <a:gd name="connsiteX341" fmla="*/ 577850 w 1151018"/>
                  <a:gd name="connsiteY341" fmla="*/ 55218 h 993051"/>
                  <a:gd name="connsiteX342" fmla="*/ 571500 w 1151018"/>
                  <a:gd name="connsiteY342" fmla="*/ 52043 h 993051"/>
                  <a:gd name="connsiteX0" fmla="*/ 571500 w 1151018"/>
                  <a:gd name="connsiteY0" fmla="*/ 52043 h 993051"/>
                  <a:gd name="connsiteX1" fmla="*/ 579438 w 1151018"/>
                  <a:gd name="connsiteY1" fmla="*/ 50455 h 993051"/>
                  <a:gd name="connsiteX2" fmla="*/ 608013 w 1151018"/>
                  <a:gd name="connsiteY2" fmla="*/ 53630 h 993051"/>
                  <a:gd name="connsiteX3" fmla="*/ 612775 w 1151018"/>
                  <a:gd name="connsiteY3" fmla="*/ 56805 h 993051"/>
                  <a:gd name="connsiteX4" fmla="*/ 625475 w 1151018"/>
                  <a:gd name="connsiteY4" fmla="*/ 58393 h 993051"/>
                  <a:gd name="connsiteX5" fmla="*/ 684213 w 1151018"/>
                  <a:gd name="connsiteY5" fmla="*/ 56805 h 993051"/>
                  <a:gd name="connsiteX6" fmla="*/ 693738 w 1151018"/>
                  <a:gd name="connsiteY6" fmla="*/ 55218 h 993051"/>
                  <a:gd name="connsiteX7" fmla="*/ 706438 w 1151018"/>
                  <a:gd name="connsiteY7" fmla="*/ 50455 h 993051"/>
                  <a:gd name="connsiteX8" fmla="*/ 711200 w 1151018"/>
                  <a:gd name="connsiteY8" fmla="*/ 48868 h 993051"/>
                  <a:gd name="connsiteX9" fmla="*/ 720725 w 1151018"/>
                  <a:gd name="connsiteY9" fmla="*/ 47280 h 993051"/>
                  <a:gd name="connsiteX10" fmla="*/ 738188 w 1151018"/>
                  <a:gd name="connsiteY10" fmla="*/ 42518 h 993051"/>
                  <a:gd name="connsiteX11" fmla="*/ 742950 w 1151018"/>
                  <a:gd name="connsiteY11" fmla="*/ 40930 h 993051"/>
                  <a:gd name="connsiteX12" fmla="*/ 758825 w 1151018"/>
                  <a:gd name="connsiteY12" fmla="*/ 39343 h 993051"/>
                  <a:gd name="connsiteX13" fmla="*/ 795338 w 1151018"/>
                  <a:gd name="connsiteY13" fmla="*/ 34580 h 993051"/>
                  <a:gd name="connsiteX14" fmla="*/ 812800 w 1151018"/>
                  <a:gd name="connsiteY14" fmla="*/ 28230 h 993051"/>
                  <a:gd name="connsiteX15" fmla="*/ 819150 w 1151018"/>
                  <a:gd name="connsiteY15" fmla="*/ 26643 h 993051"/>
                  <a:gd name="connsiteX16" fmla="*/ 835025 w 1151018"/>
                  <a:gd name="connsiteY16" fmla="*/ 23468 h 993051"/>
                  <a:gd name="connsiteX17" fmla="*/ 842963 w 1151018"/>
                  <a:gd name="connsiteY17" fmla="*/ 20293 h 993051"/>
                  <a:gd name="connsiteX18" fmla="*/ 852488 w 1151018"/>
                  <a:gd name="connsiteY18" fmla="*/ 18705 h 993051"/>
                  <a:gd name="connsiteX19" fmla="*/ 857250 w 1151018"/>
                  <a:gd name="connsiteY19" fmla="*/ 17118 h 993051"/>
                  <a:gd name="connsiteX20" fmla="*/ 862013 w 1151018"/>
                  <a:gd name="connsiteY20" fmla="*/ 13943 h 993051"/>
                  <a:gd name="connsiteX21" fmla="*/ 866775 w 1151018"/>
                  <a:gd name="connsiteY21" fmla="*/ 12355 h 993051"/>
                  <a:gd name="connsiteX22" fmla="*/ 877888 w 1151018"/>
                  <a:gd name="connsiteY22" fmla="*/ 7593 h 993051"/>
                  <a:gd name="connsiteX23" fmla="*/ 900113 w 1151018"/>
                  <a:gd name="connsiteY23" fmla="*/ 6005 h 993051"/>
                  <a:gd name="connsiteX24" fmla="*/ 904875 w 1151018"/>
                  <a:gd name="connsiteY24" fmla="*/ 12355 h 993051"/>
                  <a:gd name="connsiteX25" fmla="*/ 909638 w 1151018"/>
                  <a:gd name="connsiteY25" fmla="*/ 13943 h 993051"/>
                  <a:gd name="connsiteX26" fmla="*/ 919163 w 1151018"/>
                  <a:gd name="connsiteY26" fmla="*/ 20293 h 993051"/>
                  <a:gd name="connsiteX27" fmla="*/ 928688 w 1151018"/>
                  <a:gd name="connsiteY27" fmla="*/ 26643 h 993051"/>
                  <a:gd name="connsiteX28" fmla="*/ 936625 w 1151018"/>
                  <a:gd name="connsiteY28" fmla="*/ 31405 h 993051"/>
                  <a:gd name="connsiteX29" fmla="*/ 947738 w 1151018"/>
                  <a:gd name="connsiteY29" fmla="*/ 37755 h 993051"/>
                  <a:gd name="connsiteX30" fmla="*/ 960438 w 1151018"/>
                  <a:gd name="connsiteY30" fmla="*/ 48868 h 993051"/>
                  <a:gd name="connsiteX31" fmla="*/ 962025 w 1151018"/>
                  <a:gd name="connsiteY31" fmla="*/ 53630 h 993051"/>
                  <a:gd name="connsiteX32" fmla="*/ 965200 w 1151018"/>
                  <a:gd name="connsiteY32" fmla="*/ 64743 h 993051"/>
                  <a:gd name="connsiteX33" fmla="*/ 969963 w 1151018"/>
                  <a:gd name="connsiteY33" fmla="*/ 91730 h 993051"/>
                  <a:gd name="connsiteX34" fmla="*/ 977900 w 1151018"/>
                  <a:gd name="connsiteY34" fmla="*/ 104430 h 993051"/>
                  <a:gd name="connsiteX35" fmla="*/ 984326 w 1151018"/>
                  <a:gd name="connsiteY35" fmla="*/ 111612 h 993051"/>
                  <a:gd name="connsiteX36" fmla="*/ 1000125 w 1151018"/>
                  <a:gd name="connsiteY36" fmla="*/ 150468 h 993051"/>
                  <a:gd name="connsiteX37" fmla="*/ 1017663 w 1151018"/>
                  <a:gd name="connsiteY37" fmla="*/ 176548 h 993051"/>
                  <a:gd name="connsiteX38" fmla="*/ 1031875 w 1151018"/>
                  <a:gd name="connsiteY38" fmla="*/ 212380 h 993051"/>
                  <a:gd name="connsiteX39" fmla="*/ 1041400 w 1151018"/>
                  <a:gd name="connsiteY39" fmla="*/ 218730 h 993051"/>
                  <a:gd name="connsiteX40" fmla="*/ 1042988 w 1151018"/>
                  <a:gd name="connsiteY40" fmla="*/ 223493 h 993051"/>
                  <a:gd name="connsiteX41" fmla="*/ 1048583 w 1151018"/>
                  <a:gd name="connsiteY41" fmla="*/ 227424 h 993051"/>
                  <a:gd name="connsiteX42" fmla="*/ 1050925 w 1151018"/>
                  <a:gd name="connsiteY42" fmla="*/ 252068 h 993051"/>
                  <a:gd name="connsiteX43" fmla="*/ 1054100 w 1151018"/>
                  <a:gd name="connsiteY43" fmla="*/ 260005 h 993051"/>
                  <a:gd name="connsiteX44" fmla="*/ 1058863 w 1151018"/>
                  <a:gd name="connsiteY44" fmla="*/ 263180 h 993051"/>
                  <a:gd name="connsiteX45" fmla="*/ 1060450 w 1151018"/>
                  <a:gd name="connsiteY45" fmla="*/ 283818 h 993051"/>
                  <a:gd name="connsiteX46" fmla="*/ 1057275 w 1151018"/>
                  <a:gd name="connsiteY46" fmla="*/ 291755 h 993051"/>
                  <a:gd name="connsiteX47" fmla="*/ 1047750 w 1151018"/>
                  <a:gd name="connsiteY47" fmla="*/ 294930 h 993051"/>
                  <a:gd name="connsiteX48" fmla="*/ 1042988 w 1151018"/>
                  <a:gd name="connsiteY48" fmla="*/ 299693 h 993051"/>
                  <a:gd name="connsiteX49" fmla="*/ 1031875 w 1151018"/>
                  <a:gd name="connsiteY49" fmla="*/ 320330 h 993051"/>
                  <a:gd name="connsiteX50" fmla="*/ 1017588 w 1151018"/>
                  <a:gd name="connsiteY50" fmla="*/ 340968 h 993051"/>
                  <a:gd name="connsiteX51" fmla="*/ 1009650 w 1151018"/>
                  <a:gd name="connsiteY51" fmla="*/ 352080 h 993051"/>
                  <a:gd name="connsiteX52" fmla="*/ 1004888 w 1151018"/>
                  <a:gd name="connsiteY52" fmla="*/ 353668 h 993051"/>
                  <a:gd name="connsiteX53" fmla="*/ 1000125 w 1151018"/>
                  <a:gd name="connsiteY53" fmla="*/ 377480 h 993051"/>
                  <a:gd name="connsiteX54" fmla="*/ 998538 w 1151018"/>
                  <a:gd name="connsiteY54" fmla="*/ 383830 h 993051"/>
                  <a:gd name="connsiteX55" fmla="*/ 996950 w 1151018"/>
                  <a:gd name="connsiteY55" fmla="*/ 391768 h 993051"/>
                  <a:gd name="connsiteX56" fmla="*/ 1008063 w 1151018"/>
                  <a:gd name="connsiteY56" fmla="*/ 394943 h 993051"/>
                  <a:gd name="connsiteX57" fmla="*/ 1027113 w 1151018"/>
                  <a:gd name="connsiteY57" fmla="*/ 396530 h 993051"/>
                  <a:gd name="connsiteX58" fmla="*/ 1039813 w 1151018"/>
                  <a:gd name="connsiteY58" fmla="*/ 406055 h 993051"/>
                  <a:gd name="connsiteX59" fmla="*/ 1049338 w 1151018"/>
                  <a:gd name="connsiteY59" fmla="*/ 413993 h 993051"/>
                  <a:gd name="connsiteX60" fmla="*/ 1050925 w 1151018"/>
                  <a:gd name="connsiteY60" fmla="*/ 420343 h 993051"/>
                  <a:gd name="connsiteX61" fmla="*/ 1046163 w 1151018"/>
                  <a:gd name="connsiteY61" fmla="*/ 433043 h 993051"/>
                  <a:gd name="connsiteX62" fmla="*/ 1046163 w 1151018"/>
                  <a:gd name="connsiteY62" fmla="*/ 447330 h 993051"/>
                  <a:gd name="connsiteX63" fmla="*/ 1044575 w 1151018"/>
                  <a:gd name="connsiteY63" fmla="*/ 460030 h 993051"/>
                  <a:gd name="connsiteX64" fmla="*/ 1042988 w 1151018"/>
                  <a:gd name="connsiteY64" fmla="*/ 474318 h 993051"/>
                  <a:gd name="connsiteX65" fmla="*/ 1044575 w 1151018"/>
                  <a:gd name="connsiteY65" fmla="*/ 487018 h 993051"/>
                  <a:gd name="connsiteX66" fmla="*/ 1046163 w 1151018"/>
                  <a:gd name="connsiteY66" fmla="*/ 491780 h 993051"/>
                  <a:gd name="connsiteX67" fmla="*/ 1050925 w 1151018"/>
                  <a:gd name="connsiteY67" fmla="*/ 493368 h 993051"/>
                  <a:gd name="connsiteX68" fmla="*/ 1057275 w 1151018"/>
                  <a:gd name="connsiteY68" fmla="*/ 496543 h 993051"/>
                  <a:gd name="connsiteX69" fmla="*/ 1062038 w 1151018"/>
                  <a:gd name="connsiteY69" fmla="*/ 501305 h 993051"/>
                  <a:gd name="connsiteX70" fmla="*/ 1066800 w 1151018"/>
                  <a:gd name="connsiteY70" fmla="*/ 504480 h 993051"/>
                  <a:gd name="connsiteX71" fmla="*/ 1068388 w 1151018"/>
                  <a:gd name="connsiteY71" fmla="*/ 521943 h 993051"/>
                  <a:gd name="connsiteX72" fmla="*/ 1071563 w 1151018"/>
                  <a:gd name="connsiteY72" fmla="*/ 526705 h 993051"/>
                  <a:gd name="connsiteX73" fmla="*/ 1073150 w 1151018"/>
                  <a:gd name="connsiteY73" fmla="*/ 539405 h 993051"/>
                  <a:gd name="connsiteX74" fmla="*/ 1077913 w 1151018"/>
                  <a:gd name="connsiteY74" fmla="*/ 553693 h 993051"/>
                  <a:gd name="connsiteX75" fmla="*/ 1085850 w 1151018"/>
                  <a:gd name="connsiteY75" fmla="*/ 555280 h 993051"/>
                  <a:gd name="connsiteX76" fmla="*/ 1089025 w 1151018"/>
                  <a:gd name="connsiteY76" fmla="*/ 560043 h 993051"/>
                  <a:gd name="connsiteX77" fmla="*/ 1096963 w 1151018"/>
                  <a:gd name="connsiteY77" fmla="*/ 582268 h 993051"/>
                  <a:gd name="connsiteX78" fmla="*/ 1108075 w 1151018"/>
                  <a:gd name="connsiteY78" fmla="*/ 596555 h 993051"/>
                  <a:gd name="connsiteX79" fmla="*/ 1109663 w 1151018"/>
                  <a:gd name="connsiteY79" fmla="*/ 602905 h 993051"/>
                  <a:gd name="connsiteX80" fmla="*/ 1119188 w 1151018"/>
                  <a:gd name="connsiteY80" fmla="*/ 609255 h 993051"/>
                  <a:gd name="connsiteX81" fmla="*/ 1123950 w 1151018"/>
                  <a:gd name="connsiteY81" fmla="*/ 612430 h 993051"/>
                  <a:gd name="connsiteX82" fmla="*/ 1130300 w 1151018"/>
                  <a:gd name="connsiteY82" fmla="*/ 614018 h 993051"/>
                  <a:gd name="connsiteX83" fmla="*/ 1138238 w 1151018"/>
                  <a:gd name="connsiteY83" fmla="*/ 617193 h 993051"/>
                  <a:gd name="connsiteX84" fmla="*/ 1133475 w 1151018"/>
                  <a:gd name="connsiteY84" fmla="*/ 621955 h 993051"/>
                  <a:gd name="connsiteX85" fmla="*/ 1131888 w 1151018"/>
                  <a:gd name="connsiteY85" fmla="*/ 629893 h 993051"/>
                  <a:gd name="connsiteX86" fmla="*/ 1143000 w 1151018"/>
                  <a:gd name="connsiteY86" fmla="*/ 637830 h 993051"/>
                  <a:gd name="connsiteX87" fmla="*/ 1144588 w 1151018"/>
                  <a:gd name="connsiteY87" fmla="*/ 642593 h 993051"/>
                  <a:gd name="connsiteX88" fmla="*/ 1146175 w 1151018"/>
                  <a:gd name="connsiteY88" fmla="*/ 648943 h 993051"/>
                  <a:gd name="connsiteX89" fmla="*/ 1149350 w 1151018"/>
                  <a:gd name="connsiteY89" fmla="*/ 656880 h 993051"/>
                  <a:gd name="connsiteX90" fmla="*/ 1146175 w 1151018"/>
                  <a:gd name="connsiteY90" fmla="*/ 690218 h 993051"/>
                  <a:gd name="connsiteX91" fmla="*/ 1133475 w 1151018"/>
                  <a:gd name="connsiteY91" fmla="*/ 693393 h 993051"/>
                  <a:gd name="connsiteX92" fmla="*/ 1127125 w 1151018"/>
                  <a:gd name="connsiteY92" fmla="*/ 701330 h 993051"/>
                  <a:gd name="connsiteX93" fmla="*/ 1123950 w 1151018"/>
                  <a:gd name="connsiteY93" fmla="*/ 718793 h 993051"/>
                  <a:gd name="connsiteX94" fmla="*/ 1119188 w 1151018"/>
                  <a:gd name="connsiteY94" fmla="*/ 721968 h 993051"/>
                  <a:gd name="connsiteX95" fmla="*/ 1116013 w 1151018"/>
                  <a:gd name="connsiteY95" fmla="*/ 733080 h 993051"/>
                  <a:gd name="connsiteX96" fmla="*/ 1112838 w 1151018"/>
                  <a:gd name="connsiteY96" fmla="*/ 737843 h 993051"/>
                  <a:gd name="connsiteX97" fmla="*/ 1106488 w 1151018"/>
                  <a:gd name="connsiteY97" fmla="*/ 739430 h 993051"/>
                  <a:gd name="connsiteX98" fmla="*/ 1096963 w 1151018"/>
                  <a:gd name="connsiteY98" fmla="*/ 747368 h 993051"/>
                  <a:gd name="connsiteX99" fmla="*/ 1079500 w 1151018"/>
                  <a:gd name="connsiteY99" fmla="*/ 763243 h 993051"/>
                  <a:gd name="connsiteX100" fmla="*/ 1071563 w 1151018"/>
                  <a:gd name="connsiteY100" fmla="*/ 774355 h 993051"/>
                  <a:gd name="connsiteX101" fmla="*/ 1068388 w 1151018"/>
                  <a:gd name="connsiteY101" fmla="*/ 782293 h 993051"/>
                  <a:gd name="connsiteX102" fmla="*/ 1065213 w 1151018"/>
                  <a:gd name="connsiteY102" fmla="*/ 787055 h 993051"/>
                  <a:gd name="connsiteX103" fmla="*/ 1062038 w 1151018"/>
                  <a:gd name="connsiteY103" fmla="*/ 794993 h 993051"/>
                  <a:gd name="connsiteX104" fmla="*/ 1058863 w 1151018"/>
                  <a:gd name="connsiteY104" fmla="*/ 804518 h 993051"/>
                  <a:gd name="connsiteX105" fmla="*/ 1052513 w 1151018"/>
                  <a:gd name="connsiteY105" fmla="*/ 817218 h 993051"/>
                  <a:gd name="connsiteX106" fmla="*/ 1046163 w 1151018"/>
                  <a:gd name="connsiteY106" fmla="*/ 831505 h 993051"/>
                  <a:gd name="connsiteX107" fmla="*/ 1044575 w 1151018"/>
                  <a:gd name="connsiteY107" fmla="*/ 836268 h 993051"/>
                  <a:gd name="connsiteX108" fmla="*/ 1041400 w 1151018"/>
                  <a:gd name="connsiteY108" fmla="*/ 842618 h 993051"/>
                  <a:gd name="connsiteX109" fmla="*/ 1039813 w 1151018"/>
                  <a:gd name="connsiteY109" fmla="*/ 847380 h 993051"/>
                  <a:gd name="connsiteX110" fmla="*/ 1033463 w 1151018"/>
                  <a:gd name="connsiteY110" fmla="*/ 853730 h 993051"/>
                  <a:gd name="connsiteX111" fmla="*/ 1028700 w 1151018"/>
                  <a:gd name="connsiteY111" fmla="*/ 866430 h 993051"/>
                  <a:gd name="connsiteX112" fmla="*/ 1022350 w 1151018"/>
                  <a:gd name="connsiteY112" fmla="*/ 882305 h 993051"/>
                  <a:gd name="connsiteX113" fmla="*/ 1025525 w 1151018"/>
                  <a:gd name="connsiteY113" fmla="*/ 891830 h 993051"/>
                  <a:gd name="connsiteX114" fmla="*/ 1030288 w 1151018"/>
                  <a:gd name="connsiteY114" fmla="*/ 896593 h 993051"/>
                  <a:gd name="connsiteX115" fmla="*/ 1033463 w 1151018"/>
                  <a:gd name="connsiteY115" fmla="*/ 902943 h 993051"/>
                  <a:gd name="connsiteX116" fmla="*/ 1036638 w 1151018"/>
                  <a:gd name="connsiteY116" fmla="*/ 910880 h 993051"/>
                  <a:gd name="connsiteX117" fmla="*/ 1039813 w 1151018"/>
                  <a:gd name="connsiteY117" fmla="*/ 921993 h 993051"/>
                  <a:gd name="connsiteX118" fmla="*/ 1044575 w 1151018"/>
                  <a:gd name="connsiteY118" fmla="*/ 925168 h 993051"/>
                  <a:gd name="connsiteX119" fmla="*/ 1033463 w 1151018"/>
                  <a:gd name="connsiteY119" fmla="*/ 936280 h 993051"/>
                  <a:gd name="connsiteX120" fmla="*/ 1039813 w 1151018"/>
                  <a:gd name="connsiteY120" fmla="*/ 939455 h 993051"/>
                  <a:gd name="connsiteX121" fmla="*/ 1046163 w 1151018"/>
                  <a:gd name="connsiteY121" fmla="*/ 944218 h 993051"/>
                  <a:gd name="connsiteX122" fmla="*/ 1049338 w 1151018"/>
                  <a:gd name="connsiteY122" fmla="*/ 956918 h 993051"/>
                  <a:gd name="connsiteX123" fmla="*/ 1050925 w 1151018"/>
                  <a:gd name="connsiteY123" fmla="*/ 961680 h 993051"/>
                  <a:gd name="connsiteX124" fmla="*/ 1060450 w 1151018"/>
                  <a:gd name="connsiteY124" fmla="*/ 971205 h 993051"/>
                  <a:gd name="connsiteX125" fmla="*/ 1022350 w 1151018"/>
                  <a:gd name="connsiteY125" fmla="*/ 971205 h 993051"/>
                  <a:gd name="connsiteX126" fmla="*/ 1019175 w 1151018"/>
                  <a:gd name="connsiteY126" fmla="*/ 964855 h 993051"/>
                  <a:gd name="connsiteX127" fmla="*/ 1014413 w 1151018"/>
                  <a:gd name="connsiteY127" fmla="*/ 963268 h 993051"/>
                  <a:gd name="connsiteX128" fmla="*/ 1000125 w 1151018"/>
                  <a:gd name="connsiteY128" fmla="*/ 960093 h 993051"/>
                  <a:gd name="connsiteX129" fmla="*/ 995363 w 1151018"/>
                  <a:gd name="connsiteY129" fmla="*/ 956918 h 993051"/>
                  <a:gd name="connsiteX130" fmla="*/ 985838 w 1151018"/>
                  <a:gd name="connsiteY130" fmla="*/ 955330 h 993051"/>
                  <a:gd name="connsiteX131" fmla="*/ 965200 w 1151018"/>
                  <a:gd name="connsiteY131" fmla="*/ 952155 h 993051"/>
                  <a:gd name="connsiteX132" fmla="*/ 960438 w 1151018"/>
                  <a:gd name="connsiteY132" fmla="*/ 947393 h 993051"/>
                  <a:gd name="connsiteX133" fmla="*/ 952500 w 1151018"/>
                  <a:gd name="connsiteY133" fmla="*/ 936280 h 993051"/>
                  <a:gd name="connsiteX134" fmla="*/ 938213 w 1151018"/>
                  <a:gd name="connsiteY134" fmla="*/ 928343 h 993051"/>
                  <a:gd name="connsiteX135" fmla="*/ 933450 w 1151018"/>
                  <a:gd name="connsiteY135" fmla="*/ 925168 h 993051"/>
                  <a:gd name="connsiteX136" fmla="*/ 922338 w 1151018"/>
                  <a:gd name="connsiteY136" fmla="*/ 923580 h 993051"/>
                  <a:gd name="connsiteX137" fmla="*/ 915988 w 1151018"/>
                  <a:gd name="connsiteY137" fmla="*/ 921993 h 993051"/>
                  <a:gd name="connsiteX138" fmla="*/ 896938 w 1151018"/>
                  <a:gd name="connsiteY138" fmla="*/ 918818 h 993051"/>
                  <a:gd name="connsiteX139" fmla="*/ 847725 w 1151018"/>
                  <a:gd name="connsiteY139" fmla="*/ 925168 h 993051"/>
                  <a:gd name="connsiteX140" fmla="*/ 844550 w 1151018"/>
                  <a:gd name="connsiteY140" fmla="*/ 929930 h 993051"/>
                  <a:gd name="connsiteX141" fmla="*/ 842963 w 1151018"/>
                  <a:gd name="connsiteY141" fmla="*/ 936280 h 993051"/>
                  <a:gd name="connsiteX142" fmla="*/ 836613 w 1151018"/>
                  <a:gd name="connsiteY142" fmla="*/ 939455 h 993051"/>
                  <a:gd name="connsiteX143" fmla="*/ 830263 w 1151018"/>
                  <a:gd name="connsiteY143" fmla="*/ 945805 h 993051"/>
                  <a:gd name="connsiteX144" fmla="*/ 811213 w 1151018"/>
                  <a:gd name="connsiteY144" fmla="*/ 944218 h 993051"/>
                  <a:gd name="connsiteX145" fmla="*/ 796925 w 1151018"/>
                  <a:gd name="connsiteY145" fmla="*/ 941043 h 993051"/>
                  <a:gd name="connsiteX146" fmla="*/ 746125 w 1151018"/>
                  <a:gd name="connsiteY146" fmla="*/ 950568 h 993051"/>
                  <a:gd name="connsiteX147" fmla="*/ 739775 w 1151018"/>
                  <a:gd name="connsiteY147" fmla="*/ 960093 h 993051"/>
                  <a:gd name="connsiteX148" fmla="*/ 701675 w 1151018"/>
                  <a:gd name="connsiteY148" fmla="*/ 990255 h 993051"/>
                  <a:gd name="connsiteX149" fmla="*/ 696913 w 1151018"/>
                  <a:gd name="connsiteY149" fmla="*/ 983905 h 993051"/>
                  <a:gd name="connsiteX150" fmla="*/ 690563 w 1151018"/>
                  <a:gd name="connsiteY150" fmla="*/ 964855 h 993051"/>
                  <a:gd name="connsiteX151" fmla="*/ 682625 w 1151018"/>
                  <a:gd name="connsiteY151" fmla="*/ 963268 h 993051"/>
                  <a:gd name="connsiteX152" fmla="*/ 677863 w 1151018"/>
                  <a:gd name="connsiteY152" fmla="*/ 952155 h 993051"/>
                  <a:gd name="connsiteX153" fmla="*/ 666750 w 1151018"/>
                  <a:gd name="connsiteY153" fmla="*/ 941043 h 993051"/>
                  <a:gd name="connsiteX154" fmla="*/ 655638 w 1151018"/>
                  <a:gd name="connsiteY154" fmla="*/ 929930 h 993051"/>
                  <a:gd name="connsiteX155" fmla="*/ 654050 w 1151018"/>
                  <a:gd name="connsiteY155" fmla="*/ 915643 h 993051"/>
                  <a:gd name="connsiteX156" fmla="*/ 649288 w 1151018"/>
                  <a:gd name="connsiteY156" fmla="*/ 914055 h 993051"/>
                  <a:gd name="connsiteX157" fmla="*/ 639763 w 1151018"/>
                  <a:gd name="connsiteY157" fmla="*/ 926755 h 993051"/>
                  <a:gd name="connsiteX158" fmla="*/ 635000 w 1151018"/>
                  <a:gd name="connsiteY158" fmla="*/ 933105 h 993051"/>
                  <a:gd name="connsiteX159" fmla="*/ 625475 w 1151018"/>
                  <a:gd name="connsiteY159" fmla="*/ 934693 h 993051"/>
                  <a:gd name="connsiteX160" fmla="*/ 620713 w 1151018"/>
                  <a:gd name="connsiteY160" fmla="*/ 937868 h 993051"/>
                  <a:gd name="connsiteX161" fmla="*/ 619125 w 1151018"/>
                  <a:gd name="connsiteY161" fmla="*/ 944218 h 993051"/>
                  <a:gd name="connsiteX162" fmla="*/ 612775 w 1151018"/>
                  <a:gd name="connsiteY162" fmla="*/ 956918 h 993051"/>
                  <a:gd name="connsiteX163" fmla="*/ 592138 w 1151018"/>
                  <a:gd name="connsiteY163" fmla="*/ 955330 h 993051"/>
                  <a:gd name="connsiteX164" fmla="*/ 588963 w 1151018"/>
                  <a:gd name="connsiteY164" fmla="*/ 937868 h 993051"/>
                  <a:gd name="connsiteX165" fmla="*/ 581025 w 1151018"/>
                  <a:gd name="connsiteY165" fmla="*/ 934693 h 993051"/>
                  <a:gd name="connsiteX166" fmla="*/ 576263 w 1151018"/>
                  <a:gd name="connsiteY166" fmla="*/ 928343 h 993051"/>
                  <a:gd name="connsiteX167" fmla="*/ 573088 w 1151018"/>
                  <a:gd name="connsiteY167" fmla="*/ 917230 h 993051"/>
                  <a:gd name="connsiteX168" fmla="*/ 566738 w 1151018"/>
                  <a:gd name="connsiteY168" fmla="*/ 915643 h 993051"/>
                  <a:gd name="connsiteX169" fmla="*/ 558800 w 1151018"/>
                  <a:gd name="connsiteY169" fmla="*/ 910880 h 993051"/>
                  <a:gd name="connsiteX170" fmla="*/ 555625 w 1151018"/>
                  <a:gd name="connsiteY170" fmla="*/ 906118 h 993051"/>
                  <a:gd name="connsiteX171" fmla="*/ 546100 w 1151018"/>
                  <a:gd name="connsiteY171" fmla="*/ 899768 h 993051"/>
                  <a:gd name="connsiteX172" fmla="*/ 542925 w 1151018"/>
                  <a:gd name="connsiteY172" fmla="*/ 893418 h 993051"/>
                  <a:gd name="connsiteX173" fmla="*/ 541338 w 1151018"/>
                  <a:gd name="connsiteY173" fmla="*/ 887068 h 993051"/>
                  <a:gd name="connsiteX174" fmla="*/ 533400 w 1151018"/>
                  <a:gd name="connsiteY174" fmla="*/ 879130 h 993051"/>
                  <a:gd name="connsiteX175" fmla="*/ 520700 w 1151018"/>
                  <a:gd name="connsiteY175" fmla="*/ 871193 h 993051"/>
                  <a:gd name="connsiteX176" fmla="*/ 511175 w 1151018"/>
                  <a:gd name="connsiteY176" fmla="*/ 868018 h 993051"/>
                  <a:gd name="connsiteX177" fmla="*/ 498475 w 1151018"/>
                  <a:gd name="connsiteY177" fmla="*/ 858493 h 993051"/>
                  <a:gd name="connsiteX178" fmla="*/ 490538 w 1151018"/>
                  <a:gd name="connsiteY178" fmla="*/ 856905 h 993051"/>
                  <a:gd name="connsiteX179" fmla="*/ 474663 w 1151018"/>
                  <a:gd name="connsiteY179" fmla="*/ 858493 h 993051"/>
                  <a:gd name="connsiteX180" fmla="*/ 471488 w 1151018"/>
                  <a:gd name="connsiteY180" fmla="*/ 864843 h 993051"/>
                  <a:gd name="connsiteX181" fmla="*/ 466725 w 1151018"/>
                  <a:gd name="connsiteY181" fmla="*/ 868018 h 993051"/>
                  <a:gd name="connsiteX182" fmla="*/ 461963 w 1151018"/>
                  <a:gd name="connsiteY182" fmla="*/ 872780 h 993051"/>
                  <a:gd name="connsiteX183" fmla="*/ 444500 w 1151018"/>
                  <a:gd name="connsiteY183" fmla="*/ 868018 h 993051"/>
                  <a:gd name="connsiteX184" fmla="*/ 442913 w 1151018"/>
                  <a:gd name="connsiteY184" fmla="*/ 861668 h 993051"/>
                  <a:gd name="connsiteX185" fmla="*/ 434975 w 1151018"/>
                  <a:gd name="connsiteY185" fmla="*/ 845793 h 993051"/>
                  <a:gd name="connsiteX186" fmla="*/ 436563 w 1151018"/>
                  <a:gd name="connsiteY186" fmla="*/ 839443 h 993051"/>
                  <a:gd name="connsiteX187" fmla="*/ 444500 w 1151018"/>
                  <a:gd name="connsiteY187" fmla="*/ 837855 h 993051"/>
                  <a:gd name="connsiteX188" fmla="*/ 454025 w 1151018"/>
                  <a:gd name="connsiteY188" fmla="*/ 836268 h 993051"/>
                  <a:gd name="connsiteX189" fmla="*/ 450850 w 1151018"/>
                  <a:gd name="connsiteY189" fmla="*/ 831505 h 993051"/>
                  <a:gd name="connsiteX190" fmla="*/ 447675 w 1151018"/>
                  <a:gd name="connsiteY190" fmla="*/ 821980 h 993051"/>
                  <a:gd name="connsiteX191" fmla="*/ 433388 w 1151018"/>
                  <a:gd name="connsiteY191" fmla="*/ 820393 h 993051"/>
                  <a:gd name="connsiteX192" fmla="*/ 427038 w 1151018"/>
                  <a:gd name="connsiteY192" fmla="*/ 825155 h 993051"/>
                  <a:gd name="connsiteX193" fmla="*/ 392113 w 1151018"/>
                  <a:gd name="connsiteY193" fmla="*/ 821980 h 993051"/>
                  <a:gd name="connsiteX194" fmla="*/ 377825 w 1151018"/>
                  <a:gd name="connsiteY194" fmla="*/ 815630 h 993051"/>
                  <a:gd name="connsiteX195" fmla="*/ 368300 w 1151018"/>
                  <a:gd name="connsiteY195" fmla="*/ 810868 h 993051"/>
                  <a:gd name="connsiteX196" fmla="*/ 363538 w 1151018"/>
                  <a:gd name="connsiteY196" fmla="*/ 807693 h 993051"/>
                  <a:gd name="connsiteX197" fmla="*/ 350838 w 1151018"/>
                  <a:gd name="connsiteY197" fmla="*/ 801343 h 993051"/>
                  <a:gd name="connsiteX198" fmla="*/ 347663 w 1151018"/>
                  <a:gd name="connsiteY198" fmla="*/ 804518 h 993051"/>
                  <a:gd name="connsiteX199" fmla="*/ 350838 w 1151018"/>
                  <a:gd name="connsiteY199" fmla="*/ 810868 h 993051"/>
                  <a:gd name="connsiteX200" fmla="*/ 354013 w 1151018"/>
                  <a:gd name="connsiteY200" fmla="*/ 831505 h 993051"/>
                  <a:gd name="connsiteX201" fmla="*/ 355600 w 1151018"/>
                  <a:gd name="connsiteY201" fmla="*/ 839443 h 993051"/>
                  <a:gd name="connsiteX202" fmla="*/ 358775 w 1151018"/>
                  <a:gd name="connsiteY202" fmla="*/ 844205 h 993051"/>
                  <a:gd name="connsiteX203" fmla="*/ 354013 w 1151018"/>
                  <a:gd name="connsiteY203" fmla="*/ 847380 h 993051"/>
                  <a:gd name="connsiteX204" fmla="*/ 344488 w 1151018"/>
                  <a:gd name="connsiteY204" fmla="*/ 848968 h 993051"/>
                  <a:gd name="connsiteX205" fmla="*/ 339725 w 1151018"/>
                  <a:gd name="connsiteY205" fmla="*/ 858493 h 993051"/>
                  <a:gd name="connsiteX206" fmla="*/ 334963 w 1151018"/>
                  <a:gd name="connsiteY206" fmla="*/ 864843 h 993051"/>
                  <a:gd name="connsiteX207" fmla="*/ 319088 w 1151018"/>
                  <a:gd name="connsiteY207" fmla="*/ 863255 h 993051"/>
                  <a:gd name="connsiteX208" fmla="*/ 317500 w 1151018"/>
                  <a:gd name="connsiteY208" fmla="*/ 858493 h 993051"/>
                  <a:gd name="connsiteX209" fmla="*/ 311150 w 1151018"/>
                  <a:gd name="connsiteY209" fmla="*/ 850555 h 993051"/>
                  <a:gd name="connsiteX210" fmla="*/ 301625 w 1151018"/>
                  <a:gd name="connsiteY210" fmla="*/ 839443 h 993051"/>
                  <a:gd name="connsiteX211" fmla="*/ 296863 w 1151018"/>
                  <a:gd name="connsiteY211" fmla="*/ 833093 h 993051"/>
                  <a:gd name="connsiteX212" fmla="*/ 284163 w 1151018"/>
                  <a:gd name="connsiteY212" fmla="*/ 828330 h 993051"/>
                  <a:gd name="connsiteX213" fmla="*/ 261938 w 1151018"/>
                  <a:gd name="connsiteY213" fmla="*/ 810868 h 993051"/>
                  <a:gd name="connsiteX214" fmla="*/ 260350 w 1151018"/>
                  <a:gd name="connsiteY214" fmla="*/ 806105 h 993051"/>
                  <a:gd name="connsiteX215" fmla="*/ 276225 w 1151018"/>
                  <a:gd name="connsiteY215" fmla="*/ 799755 h 993051"/>
                  <a:gd name="connsiteX216" fmla="*/ 282575 w 1151018"/>
                  <a:gd name="connsiteY216" fmla="*/ 794993 h 993051"/>
                  <a:gd name="connsiteX217" fmla="*/ 280988 w 1151018"/>
                  <a:gd name="connsiteY217" fmla="*/ 790230 h 993051"/>
                  <a:gd name="connsiteX218" fmla="*/ 268288 w 1151018"/>
                  <a:gd name="connsiteY218" fmla="*/ 782293 h 993051"/>
                  <a:gd name="connsiteX219" fmla="*/ 266700 w 1151018"/>
                  <a:gd name="connsiteY219" fmla="*/ 775943 h 993051"/>
                  <a:gd name="connsiteX220" fmla="*/ 266700 w 1151018"/>
                  <a:gd name="connsiteY220" fmla="*/ 766418 h 993051"/>
                  <a:gd name="connsiteX221" fmla="*/ 241300 w 1151018"/>
                  <a:gd name="connsiteY221" fmla="*/ 774355 h 993051"/>
                  <a:gd name="connsiteX222" fmla="*/ 239713 w 1151018"/>
                  <a:gd name="connsiteY222" fmla="*/ 782293 h 993051"/>
                  <a:gd name="connsiteX223" fmla="*/ 231775 w 1151018"/>
                  <a:gd name="connsiteY223" fmla="*/ 772768 h 993051"/>
                  <a:gd name="connsiteX224" fmla="*/ 225425 w 1151018"/>
                  <a:gd name="connsiteY224" fmla="*/ 769593 h 993051"/>
                  <a:gd name="connsiteX225" fmla="*/ 219075 w 1151018"/>
                  <a:gd name="connsiteY225" fmla="*/ 764830 h 993051"/>
                  <a:gd name="connsiteX226" fmla="*/ 190500 w 1151018"/>
                  <a:gd name="connsiteY226" fmla="*/ 756893 h 993051"/>
                  <a:gd name="connsiteX227" fmla="*/ 185738 w 1151018"/>
                  <a:gd name="connsiteY227" fmla="*/ 753718 h 993051"/>
                  <a:gd name="connsiteX228" fmla="*/ 158750 w 1151018"/>
                  <a:gd name="connsiteY228" fmla="*/ 750543 h 993051"/>
                  <a:gd name="connsiteX229" fmla="*/ 157163 w 1151018"/>
                  <a:gd name="connsiteY229" fmla="*/ 745780 h 993051"/>
                  <a:gd name="connsiteX230" fmla="*/ 155575 w 1151018"/>
                  <a:gd name="connsiteY230" fmla="*/ 729905 h 993051"/>
                  <a:gd name="connsiteX231" fmla="*/ 147638 w 1151018"/>
                  <a:gd name="connsiteY231" fmla="*/ 725143 h 993051"/>
                  <a:gd name="connsiteX232" fmla="*/ 136525 w 1151018"/>
                  <a:gd name="connsiteY232" fmla="*/ 717205 h 993051"/>
                  <a:gd name="connsiteX233" fmla="*/ 130175 w 1151018"/>
                  <a:gd name="connsiteY233" fmla="*/ 725143 h 993051"/>
                  <a:gd name="connsiteX234" fmla="*/ 125413 w 1151018"/>
                  <a:gd name="connsiteY234" fmla="*/ 726730 h 993051"/>
                  <a:gd name="connsiteX235" fmla="*/ 112713 w 1151018"/>
                  <a:gd name="connsiteY235" fmla="*/ 729905 h 993051"/>
                  <a:gd name="connsiteX236" fmla="*/ 114300 w 1151018"/>
                  <a:gd name="connsiteY236" fmla="*/ 723555 h 993051"/>
                  <a:gd name="connsiteX237" fmla="*/ 115888 w 1151018"/>
                  <a:gd name="connsiteY237" fmla="*/ 715618 h 993051"/>
                  <a:gd name="connsiteX238" fmla="*/ 119063 w 1151018"/>
                  <a:gd name="connsiteY238" fmla="*/ 706093 h 993051"/>
                  <a:gd name="connsiteX239" fmla="*/ 117475 w 1151018"/>
                  <a:gd name="connsiteY239" fmla="*/ 658468 h 993051"/>
                  <a:gd name="connsiteX240" fmla="*/ 114300 w 1151018"/>
                  <a:gd name="connsiteY240" fmla="*/ 652118 h 993051"/>
                  <a:gd name="connsiteX241" fmla="*/ 93663 w 1151018"/>
                  <a:gd name="connsiteY241" fmla="*/ 634655 h 993051"/>
                  <a:gd name="connsiteX242" fmla="*/ 87313 w 1151018"/>
                  <a:gd name="connsiteY242" fmla="*/ 633068 h 993051"/>
                  <a:gd name="connsiteX243" fmla="*/ 79375 w 1151018"/>
                  <a:gd name="connsiteY243" fmla="*/ 593380 h 993051"/>
                  <a:gd name="connsiteX244" fmla="*/ 68263 w 1151018"/>
                  <a:gd name="connsiteY244" fmla="*/ 590205 h 993051"/>
                  <a:gd name="connsiteX245" fmla="*/ 61913 w 1151018"/>
                  <a:gd name="connsiteY245" fmla="*/ 577505 h 993051"/>
                  <a:gd name="connsiteX246" fmla="*/ 65088 w 1151018"/>
                  <a:gd name="connsiteY246" fmla="*/ 571155 h 993051"/>
                  <a:gd name="connsiteX247" fmla="*/ 69850 w 1151018"/>
                  <a:gd name="connsiteY247" fmla="*/ 569568 h 993051"/>
                  <a:gd name="connsiteX248" fmla="*/ 73025 w 1151018"/>
                  <a:gd name="connsiteY248" fmla="*/ 514005 h 993051"/>
                  <a:gd name="connsiteX249" fmla="*/ 71438 w 1151018"/>
                  <a:gd name="connsiteY249" fmla="*/ 507655 h 993051"/>
                  <a:gd name="connsiteX250" fmla="*/ 68263 w 1151018"/>
                  <a:gd name="connsiteY250" fmla="*/ 502893 h 993051"/>
                  <a:gd name="connsiteX251" fmla="*/ 65088 w 1151018"/>
                  <a:gd name="connsiteY251" fmla="*/ 494955 h 993051"/>
                  <a:gd name="connsiteX252" fmla="*/ 52388 w 1151018"/>
                  <a:gd name="connsiteY252" fmla="*/ 490193 h 993051"/>
                  <a:gd name="connsiteX253" fmla="*/ 44450 w 1151018"/>
                  <a:gd name="connsiteY253" fmla="*/ 483843 h 993051"/>
                  <a:gd name="connsiteX254" fmla="*/ 44450 w 1151018"/>
                  <a:gd name="connsiteY254" fmla="*/ 466380 h 993051"/>
                  <a:gd name="connsiteX255" fmla="*/ 55563 w 1151018"/>
                  <a:gd name="connsiteY255" fmla="*/ 464793 h 993051"/>
                  <a:gd name="connsiteX256" fmla="*/ 58738 w 1151018"/>
                  <a:gd name="connsiteY256" fmla="*/ 460030 h 993051"/>
                  <a:gd name="connsiteX257" fmla="*/ 49213 w 1151018"/>
                  <a:gd name="connsiteY257" fmla="*/ 436218 h 993051"/>
                  <a:gd name="connsiteX258" fmla="*/ 42863 w 1151018"/>
                  <a:gd name="connsiteY258" fmla="*/ 431455 h 993051"/>
                  <a:gd name="connsiteX259" fmla="*/ 39688 w 1151018"/>
                  <a:gd name="connsiteY259" fmla="*/ 425105 h 993051"/>
                  <a:gd name="connsiteX260" fmla="*/ 34925 w 1151018"/>
                  <a:gd name="connsiteY260" fmla="*/ 421930 h 993051"/>
                  <a:gd name="connsiteX261" fmla="*/ 28575 w 1151018"/>
                  <a:gd name="connsiteY261" fmla="*/ 415580 h 993051"/>
                  <a:gd name="connsiteX262" fmla="*/ 23813 w 1151018"/>
                  <a:gd name="connsiteY262" fmla="*/ 412405 h 993051"/>
                  <a:gd name="connsiteX263" fmla="*/ 14288 w 1151018"/>
                  <a:gd name="connsiteY263" fmla="*/ 402880 h 993051"/>
                  <a:gd name="connsiteX264" fmla="*/ 3175 w 1151018"/>
                  <a:gd name="connsiteY264" fmla="*/ 401293 h 993051"/>
                  <a:gd name="connsiteX265" fmla="*/ 3175 w 1151018"/>
                  <a:gd name="connsiteY265" fmla="*/ 372718 h 993051"/>
                  <a:gd name="connsiteX266" fmla="*/ 9525 w 1151018"/>
                  <a:gd name="connsiteY266" fmla="*/ 361605 h 993051"/>
                  <a:gd name="connsiteX267" fmla="*/ 14288 w 1151018"/>
                  <a:gd name="connsiteY267" fmla="*/ 360018 h 993051"/>
                  <a:gd name="connsiteX268" fmla="*/ 23813 w 1151018"/>
                  <a:gd name="connsiteY268" fmla="*/ 358430 h 993051"/>
                  <a:gd name="connsiteX269" fmla="*/ 22225 w 1151018"/>
                  <a:gd name="connsiteY269" fmla="*/ 294930 h 993051"/>
                  <a:gd name="connsiteX270" fmla="*/ 15875 w 1151018"/>
                  <a:gd name="connsiteY270" fmla="*/ 280643 h 993051"/>
                  <a:gd name="connsiteX271" fmla="*/ 9525 w 1151018"/>
                  <a:gd name="connsiteY271" fmla="*/ 267943 h 993051"/>
                  <a:gd name="connsiteX272" fmla="*/ 6350 w 1151018"/>
                  <a:gd name="connsiteY272" fmla="*/ 258418 h 993051"/>
                  <a:gd name="connsiteX273" fmla="*/ 7938 w 1151018"/>
                  <a:gd name="connsiteY273" fmla="*/ 253655 h 993051"/>
                  <a:gd name="connsiteX274" fmla="*/ 20638 w 1151018"/>
                  <a:gd name="connsiteY274" fmla="*/ 256830 h 993051"/>
                  <a:gd name="connsiteX275" fmla="*/ 38100 w 1151018"/>
                  <a:gd name="connsiteY275" fmla="*/ 250480 h 993051"/>
                  <a:gd name="connsiteX276" fmla="*/ 44450 w 1151018"/>
                  <a:gd name="connsiteY276" fmla="*/ 239368 h 993051"/>
                  <a:gd name="connsiteX277" fmla="*/ 41275 w 1151018"/>
                  <a:gd name="connsiteY277" fmla="*/ 220318 h 993051"/>
                  <a:gd name="connsiteX278" fmla="*/ 34925 w 1151018"/>
                  <a:gd name="connsiteY278" fmla="*/ 215555 h 993051"/>
                  <a:gd name="connsiteX279" fmla="*/ 0 w 1151018"/>
                  <a:gd name="connsiteY279" fmla="*/ 210793 h 993051"/>
                  <a:gd name="connsiteX280" fmla="*/ 7938 w 1151018"/>
                  <a:gd name="connsiteY280" fmla="*/ 207618 h 993051"/>
                  <a:gd name="connsiteX281" fmla="*/ 15875 w 1151018"/>
                  <a:gd name="connsiteY281" fmla="*/ 206030 h 993051"/>
                  <a:gd name="connsiteX282" fmla="*/ 22225 w 1151018"/>
                  <a:gd name="connsiteY282" fmla="*/ 204443 h 993051"/>
                  <a:gd name="connsiteX283" fmla="*/ 30163 w 1151018"/>
                  <a:gd name="connsiteY283" fmla="*/ 196505 h 993051"/>
                  <a:gd name="connsiteX284" fmla="*/ 38100 w 1151018"/>
                  <a:gd name="connsiteY284" fmla="*/ 182218 h 993051"/>
                  <a:gd name="connsiteX285" fmla="*/ 60325 w 1151018"/>
                  <a:gd name="connsiteY285" fmla="*/ 179043 h 993051"/>
                  <a:gd name="connsiteX286" fmla="*/ 61913 w 1151018"/>
                  <a:gd name="connsiteY286" fmla="*/ 174280 h 993051"/>
                  <a:gd name="connsiteX287" fmla="*/ 73025 w 1151018"/>
                  <a:gd name="connsiteY287" fmla="*/ 169518 h 993051"/>
                  <a:gd name="connsiteX288" fmla="*/ 100013 w 1151018"/>
                  <a:gd name="connsiteY288" fmla="*/ 161580 h 993051"/>
                  <a:gd name="connsiteX289" fmla="*/ 106363 w 1151018"/>
                  <a:gd name="connsiteY289" fmla="*/ 156818 h 993051"/>
                  <a:gd name="connsiteX290" fmla="*/ 127000 w 1151018"/>
                  <a:gd name="connsiteY290" fmla="*/ 158405 h 993051"/>
                  <a:gd name="connsiteX291" fmla="*/ 142875 w 1151018"/>
                  <a:gd name="connsiteY291" fmla="*/ 152055 h 993051"/>
                  <a:gd name="connsiteX292" fmla="*/ 147638 w 1151018"/>
                  <a:gd name="connsiteY292" fmla="*/ 139355 h 993051"/>
                  <a:gd name="connsiteX293" fmla="*/ 168275 w 1151018"/>
                  <a:gd name="connsiteY293" fmla="*/ 133005 h 993051"/>
                  <a:gd name="connsiteX294" fmla="*/ 176213 w 1151018"/>
                  <a:gd name="connsiteY294" fmla="*/ 129830 h 993051"/>
                  <a:gd name="connsiteX295" fmla="*/ 190500 w 1151018"/>
                  <a:gd name="connsiteY295" fmla="*/ 128243 h 993051"/>
                  <a:gd name="connsiteX296" fmla="*/ 203200 w 1151018"/>
                  <a:gd name="connsiteY296" fmla="*/ 125068 h 993051"/>
                  <a:gd name="connsiteX297" fmla="*/ 207963 w 1151018"/>
                  <a:gd name="connsiteY297" fmla="*/ 123480 h 993051"/>
                  <a:gd name="connsiteX298" fmla="*/ 214313 w 1151018"/>
                  <a:gd name="connsiteY298" fmla="*/ 115543 h 993051"/>
                  <a:gd name="connsiteX299" fmla="*/ 215900 w 1151018"/>
                  <a:gd name="connsiteY299" fmla="*/ 110780 h 993051"/>
                  <a:gd name="connsiteX300" fmla="*/ 220663 w 1151018"/>
                  <a:gd name="connsiteY300" fmla="*/ 90143 h 993051"/>
                  <a:gd name="connsiteX301" fmla="*/ 230188 w 1151018"/>
                  <a:gd name="connsiteY301" fmla="*/ 86968 h 993051"/>
                  <a:gd name="connsiteX302" fmla="*/ 238125 w 1151018"/>
                  <a:gd name="connsiteY302" fmla="*/ 80618 h 993051"/>
                  <a:gd name="connsiteX303" fmla="*/ 255588 w 1151018"/>
                  <a:gd name="connsiteY303" fmla="*/ 71093 h 993051"/>
                  <a:gd name="connsiteX304" fmla="*/ 265113 w 1151018"/>
                  <a:gd name="connsiteY304" fmla="*/ 64743 h 993051"/>
                  <a:gd name="connsiteX305" fmla="*/ 285750 w 1151018"/>
                  <a:gd name="connsiteY305" fmla="*/ 52043 h 993051"/>
                  <a:gd name="connsiteX306" fmla="*/ 295275 w 1151018"/>
                  <a:gd name="connsiteY306" fmla="*/ 45693 h 993051"/>
                  <a:gd name="connsiteX307" fmla="*/ 300038 w 1151018"/>
                  <a:gd name="connsiteY307" fmla="*/ 40930 h 993051"/>
                  <a:gd name="connsiteX308" fmla="*/ 307975 w 1151018"/>
                  <a:gd name="connsiteY308" fmla="*/ 36168 h 993051"/>
                  <a:gd name="connsiteX309" fmla="*/ 322263 w 1151018"/>
                  <a:gd name="connsiteY309" fmla="*/ 23468 h 993051"/>
                  <a:gd name="connsiteX310" fmla="*/ 341313 w 1151018"/>
                  <a:gd name="connsiteY310" fmla="*/ 18705 h 993051"/>
                  <a:gd name="connsiteX311" fmla="*/ 355600 w 1151018"/>
                  <a:gd name="connsiteY311" fmla="*/ 15530 h 993051"/>
                  <a:gd name="connsiteX312" fmla="*/ 365125 w 1151018"/>
                  <a:gd name="connsiteY312" fmla="*/ 10768 h 993051"/>
                  <a:gd name="connsiteX313" fmla="*/ 419100 w 1151018"/>
                  <a:gd name="connsiteY313" fmla="*/ 10768 h 993051"/>
                  <a:gd name="connsiteX314" fmla="*/ 436563 w 1151018"/>
                  <a:gd name="connsiteY314" fmla="*/ 15530 h 993051"/>
                  <a:gd name="connsiteX315" fmla="*/ 444500 w 1151018"/>
                  <a:gd name="connsiteY315" fmla="*/ 20293 h 993051"/>
                  <a:gd name="connsiteX316" fmla="*/ 452438 w 1151018"/>
                  <a:gd name="connsiteY316" fmla="*/ 21880 h 993051"/>
                  <a:gd name="connsiteX317" fmla="*/ 458788 w 1151018"/>
                  <a:gd name="connsiteY317" fmla="*/ 23468 h 993051"/>
                  <a:gd name="connsiteX318" fmla="*/ 465138 w 1151018"/>
                  <a:gd name="connsiteY318" fmla="*/ 28230 h 993051"/>
                  <a:gd name="connsiteX319" fmla="*/ 466725 w 1151018"/>
                  <a:gd name="connsiteY319" fmla="*/ 32993 h 993051"/>
                  <a:gd name="connsiteX320" fmla="*/ 469900 w 1151018"/>
                  <a:gd name="connsiteY320" fmla="*/ 39343 h 993051"/>
                  <a:gd name="connsiteX321" fmla="*/ 471488 w 1151018"/>
                  <a:gd name="connsiteY321" fmla="*/ 44105 h 993051"/>
                  <a:gd name="connsiteX322" fmla="*/ 463550 w 1151018"/>
                  <a:gd name="connsiteY322" fmla="*/ 42518 h 993051"/>
                  <a:gd name="connsiteX323" fmla="*/ 447675 w 1151018"/>
                  <a:gd name="connsiteY323" fmla="*/ 28230 h 993051"/>
                  <a:gd name="connsiteX324" fmla="*/ 439738 w 1151018"/>
                  <a:gd name="connsiteY324" fmla="*/ 15530 h 993051"/>
                  <a:gd name="connsiteX325" fmla="*/ 423863 w 1151018"/>
                  <a:gd name="connsiteY325" fmla="*/ 23468 h 993051"/>
                  <a:gd name="connsiteX326" fmla="*/ 414338 w 1151018"/>
                  <a:gd name="connsiteY326" fmla="*/ 29818 h 993051"/>
                  <a:gd name="connsiteX327" fmla="*/ 420688 w 1151018"/>
                  <a:gd name="connsiteY327" fmla="*/ 36168 h 993051"/>
                  <a:gd name="connsiteX328" fmla="*/ 430213 w 1151018"/>
                  <a:gd name="connsiteY328" fmla="*/ 42518 h 993051"/>
                  <a:gd name="connsiteX329" fmla="*/ 438150 w 1151018"/>
                  <a:gd name="connsiteY329" fmla="*/ 56805 h 993051"/>
                  <a:gd name="connsiteX330" fmla="*/ 442913 w 1151018"/>
                  <a:gd name="connsiteY330" fmla="*/ 61568 h 993051"/>
                  <a:gd name="connsiteX331" fmla="*/ 452438 w 1151018"/>
                  <a:gd name="connsiteY331" fmla="*/ 71093 h 993051"/>
                  <a:gd name="connsiteX332" fmla="*/ 465138 w 1151018"/>
                  <a:gd name="connsiteY332" fmla="*/ 79030 h 993051"/>
                  <a:gd name="connsiteX333" fmla="*/ 466725 w 1151018"/>
                  <a:gd name="connsiteY333" fmla="*/ 83793 h 993051"/>
                  <a:gd name="connsiteX334" fmla="*/ 473075 w 1151018"/>
                  <a:gd name="connsiteY334" fmla="*/ 85380 h 993051"/>
                  <a:gd name="connsiteX335" fmla="*/ 520700 w 1151018"/>
                  <a:gd name="connsiteY335" fmla="*/ 91730 h 993051"/>
                  <a:gd name="connsiteX336" fmla="*/ 546100 w 1151018"/>
                  <a:gd name="connsiteY336" fmla="*/ 83793 h 993051"/>
                  <a:gd name="connsiteX337" fmla="*/ 550863 w 1151018"/>
                  <a:gd name="connsiteY337" fmla="*/ 77443 h 993051"/>
                  <a:gd name="connsiteX338" fmla="*/ 558800 w 1151018"/>
                  <a:gd name="connsiteY338" fmla="*/ 71093 h 993051"/>
                  <a:gd name="connsiteX339" fmla="*/ 566738 w 1151018"/>
                  <a:gd name="connsiteY339" fmla="*/ 64743 h 993051"/>
                  <a:gd name="connsiteX340" fmla="*/ 573088 w 1151018"/>
                  <a:gd name="connsiteY340" fmla="*/ 58393 h 993051"/>
                  <a:gd name="connsiteX341" fmla="*/ 577850 w 1151018"/>
                  <a:gd name="connsiteY341" fmla="*/ 55218 h 993051"/>
                  <a:gd name="connsiteX342" fmla="*/ 571500 w 1151018"/>
                  <a:gd name="connsiteY342" fmla="*/ 52043 h 993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Lst>
                <a:rect l="l" t="t" r="r" b="b"/>
                <a:pathLst>
                  <a:path w="1151018" h="993051">
                    <a:moveTo>
                      <a:pt x="571500" y="52043"/>
                    </a:moveTo>
                    <a:cubicBezTo>
                      <a:pt x="571765" y="51249"/>
                      <a:pt x="576740" y="50455"/>
                      <a:pt x="579438" y="50455"/>
                    </a:cubicBezTo>
                    <a:cubicBezTo>
                      <a:pt x="590560" y="50455"/>
                      <a:pt x="597828" y="51933"/>
                      <a:pt x="608013" y="53630"/>
                    </a:cubicBezTo>
                    <a:cubicBezTo>
                      <a:pt x="609600" y="54688"/>
                      <a:pt x="610934" y="56303"/>
                      <a:pt x="612775" y="56805"/>
                    </a:cubicBezTo>
                    <a:cubicBezTo>
                      <a:pt x="616891" y="57928"/>
                      <a:pt x="621209" y="58393"/>
                      <a:pt x="625475" y="58393"/>
                    </a:cubicBezTo>
                    <a:cubicBezTo>
                      <a:pt x="645061" y="58393"/>
                      <a:pt x="664634" y="57334"/>
                      <a:pt x="684213" y="56805"/>
                    </a:cubicBezTo>
                    <a:cubicBezTo>
                      <a:pt x="687388" y="56276"/>
                      <a:pt x="690643" y="56102"/>
                      <a:pt x="693738" y="55218"/>
                    </a:cubicBezTo>
                    <a:cubicBezTo>
                      <a:pt x="698085" y="53976"/>
                      <a:pt x="702189" y="52000"/>
                      <a:pt x="706438" y="50455"/>
                    </a:cubicBezTo>
                    <a:cubicBezTo>
                      <a:pt x="708010" y="49883"/>
                      <a:pt x="709567" y="49231"/>
                      <a:pt x="711200" y="48868"/>
                    </a:cubicBezTo>
                    <a:cubicBezTo>
                      <a:pt x="714342" y="48170"/>
                      <a:pt x="717592" y="48017"/>
                      <a:pt x="720725" y="47280"/>
                    </a:cubicBezTo>
                    <a:cubicBezTo>
                      <a:pt x="726598" y="45898"/>
                      <a:pt x="732387" y="44176"/>
                      <a:pt x="738188" y="42518"/>
                    </a:cubicBezTo>
                    <a:cubicBezTo>
                      <a:pt x="739797" y="42058"/>
                      <a:pt x="741296" y="41184"/>
                      <a:pt x="742950" y="40930"/>
                    </a:cubicBezTo>
                    <a:cubicBezTo>
                      <a:pt x="748206" y="40121"/>
                      <a:pt x="753537" y="39909"/>
                      <a:pt x="758825" y="39343"/>
                    </a:cubicBezTo>
                    <a:cubicBezTo>
                      <a:pt x="777144" y="37380"/>
                      <a:pt x="781646" y="37623"/>
                      <a:pt x="795338" y="34580"/>
                    </a:cubicBezTo>
                    <a:cubicBezTo>
                      <a:pt x="806851" y="32022"/>
                      <a:pt x="797368" y="33842"/>
                      <a:pt x="812800" y="28230"/>
                    </a:cubicBezTo>
                    <a:cubicBezTo>
                      <a:pt x="814850" y="27484"/>
                      <a:pt x="817052" y="27242"/>
                      <a:pt x="819150" y="26643"/>
                    </a:cubicBezTo>
                    <a:cubicBezTo>
                      <a:pt x="830238" y="23475"/>
                      <a:pt x="816052" y="26178"/>
                      <a:pt x="835025" y="23468"/>
                    </a:cubicBezTo>
                    <a:cubicBezTo>
                      <a:pt x="837671" y="22410"/>
                      <a:pt x="840214" y="21043"/>
                      <a:pt x="842963" y="20293"/>
                    </a:cubicBezTo>
                    <a:cubicBezTo>
                      <a:pt x="846068" y="19446"/>
                      <a:pt x="849346" y="19403"/>
                      <a:pt x="852488" y="18705"/>
                    </a:cubicBezTo>
                    <a:cubicBezTo>
                      <a:pt x="854121" y="18342"/>
                      <a:pt x="855663" y="17647"/>
                      <a:pt x="857250" y="17118"/>
                    </a:cubicBezTo>
                    <a:cubicBezTo>
                      <a:pt x="858838" y="16060"/>
                      <a:pt x="860306" y="14796"/>
                      <a:pt x="862013" y="13943"/>
                    </a:cubicBezTo>
                    <a:cubicBezTo>
                      <a:pt x="863510" y="13195"/>
                      <a:pt x="865221" y="12976"/>
                      <a:pt x="866775" y="12355"/>
                    </a:cubicBezTo>
                    <a:cubicBezTo>
                      <a:pt x="870517" y="10858"/>
                      <a:pt x="874184" y="9180"/>
                      <a:pt x="877888" y="7593"/>
                    </a:cubicBezTo>
                    <a:cubicBezTo>
                      <a:pt x="881324" y="-2720"/>
                      <a:pt x="879281" y="-1807"/>
                      <a:pt x="900113" y="6005"/>
                    </a:cubicBezTo>
                    <a:cubicBezTo>
                      <a:pt x="902590" y="6934"/>
                      <a:pt x="902843" y="10661"/>
                      <a:pt x="904875" y="12355"/>
                    </a:cubicBezTo>
                    <a:cubicBezTo>
                      <a:pt x="906161" y="13426"/>
                      <a:pt x="908175" y="13130"/>
                      <a:pt x="909638" y="13943"/>
                    </a:cubicBezTo>
                    <a:cubicBezTo>
                      <a:pt x="912974" y="15796"/>
                      <a:pt x="915988" y="18176"/>
                      <a:pt x="919163" y="20293"/>
                    </a:cubicBezTo>
                    <a:lnTo>
                      <a:pt x="928688" y="26643"/>
                    </a:lnTo>
                    <a:cubicBezTo>
                      <a:pt x="931304" y="28278"/>
                      <a:pt x="934157" y="29554"/>
                      <a:pt x="936625" y="31405"/>
                    </a:cubicBezTo>
                    <a:cubicBezTo>
                      <a:pt x="944314" y="37172"/>
                      <a:pt x="940465" y="35332"/>
                      <a:pt x="947738" y="37755"/>
                    </a:cubicBezTo>
                    <a:cubicBezTo>
                      <a:pt x="949711" y="39334"/>
                      <a:pt x="958393" y="45800"/>
                      <a:pt x="960438" y="48868"/>
                    </a:cubicBezTo>
                    <a:cubicBezTo>
                      <a:pt x="961366" y="50260"/>
                      <a:pt x="961544" y="52027"/>
                      <a:pt x="962025" y="53630"/>
                    </a:cubicBezTo>
                    <a:cubicBezTo>
                      <a:pt x="963132" y="57320"/>
                      <a:pt x="964142" y="61039"/>
                      <a:pt x="965200" y="64743"/>
                    </a:cubicBezTo>
                    <a:cubicBezTo>
                      <a:pt x="966228" y="73990"/>
                      <a:pt x="966575" y="82920"/>
                      <a:pt x="969963" y="91730"/>
                    </a:cubicBezTo>
                    <a:cubicBezTo>
                      <a:pt x="973360" y="100563"/>
                      <a:pt x="975506" y="101116"/>
                      <a:pt x="977900" y="104430"/>
                    </a:cubicBezTo>
                    <a:cubicBezTo>
                      <a:pt x="980294" y="107744"/>
                      <a:pt x="980622" y="103939"/>
                      <a:pt x="984326" y="111612"/>
                    </a:cubicBezTo>
                    <a:cubicBezTo>
                      <a:pt x="988030" y="119285"/>
                      <a:pt x="994569" y="139645"/>
                      <a:pt x="1000125" y="150468"/>
                    </a:cubicBezTo>
                    <a:cubicBezTo>
                      <a:pt x="1005681" y="161291"/>
                      <a:pt x="1012371" y="166229"/>
                      <a:pt x="1017663" y="176548"/>
                    </a:cubicBezTo>
                    <a:cubicBezTo>
                      <a:pt x="1022955" y="186867"/>
                      <a:pt x="1027919" y="205350"/>
                      <a:pt x="1031875" y="212380"/>
                    </a:cubicBezTo>
                    <a:cubicBezTo>
                      <a:pt x="1035831" y="219410"/>
                      <a:pt x="1038225" y="216613"/>
                      <a:pt x="1041400" y="218730"/>
                    </a:cubicBezTo>
                    <a:cubicBezTo>
                      <a:pt x="1041929" y="220318"/>
                      <a:pt x="1041791" y="222044"/>
                      <a:pt x="1042988" y="223493"/>
                    </a:cubicBezTo>
                    <a:cubicBezTo>
                      <a:pt x="1044185" y="224942"/>
                      <a:pt x="1047903" y="225157"/>
                      <a:pt x="1048583" y="227424"/>
                    </a:cubicBezTo>
                    <a:cubicBezTo>
                      <a:pt x="1053011" y="242185"/>
                      <a:pt x="1050006" y="246638"/>
                      <a:pt x="1050925" y="252068"/>
                    </a:cubicBezTo>
                    <a:cubicBezTo>
                      <a:pt x="1051844" y="257498"/>
                      <a:pt x="1052444" y="257686"/>
                      <a:pt x="1054100" y="260005"/>
                    </a:cubicBezTo>
                    <a:cubicBezTo>
                      <a:pt x="1055209" y="261558"/>
                      <a:pt x="1057275" y="262122"/>
                      <a:pt x="1058863" y="263180"/>
                    </a:cubicBezTo>
                    <a:cubicBezTo>
                      <a:pt x="1064497" y="271632"/>
                      <a:pt x="1063595" y="268095"/>
                      <a:pt x="1060450" y="283818"/>
                    </a:cubicBezTo>
                    <a:cubicBezTo>
                      <a:pt x="1059891" y="286612"/>
                      <a:pt x="1059420" y="289879"/>
                      <a:pt x="1057275" y="291755"/>
                    </a:cubicBezTo>
                    <a:cubicBezTo>
                      <a:pt x="1054756" y="293959"/>
                      <a:pt x="1047750" y="294930"/>
                      <a:pt x="1047750" y="294930"/>
                    </a:cubicBezTo>
                    <a:cubicBezTo>
                      <a:pt x="1046163" y="296518"/>
                      <a:pt x="1044425" y="297968"/>
                      <a:pt x="1042988" y="299693"/>
                    </a:cubicBezTo>
                    <a:cubicBezTo>
                      <a:pt x="1038655" y="304893"/>
                      <a:pt x="1034078" y="316657"/>
                      <a:pt x="1031875" y="320330"/>
                    </a:cubicBezTo>
                    <a:cubicBezTo>
                      <a:pt x="1017781" y="343824"/>
                      <a:pt x="1040300" y="306903"/>
                      <a:pt x="1017588" y="340968"/>
                    </a:cubicBezTo>
                    <a:cubicBezTo>
                      <a:pt x="1016140" y="343140"/>
                      <a:pt x="1011127" y="350849"/>
                      <a:pt x="1009650" y="352080"/>
                    </a:cubicBezTo>
                    <a:cubicBezTo>
                      <a:pt x="1008365" y="353151"/>
                      <a:pt x="1006475" y="353139"/>
                      <a:pt x="1004888" y="353668"/>
                    </a:cubicBezTo>
                    <a:cubicBezTo>
                      <a:pt x="999222" y="370665"/>
                      <a:pt x="1003479" y="355676"/>
                      <a:pt x="1000125" y="377480"/>
                    </a:cubicBezTo>
                    <a:cubicBezTo>
                      <a:pt x="999793" y="379636"/>
                      <a:pt x="999011" y="381700"/>
                      <a:pt x="998538" y="383830"/>
                    </a:cubicBezTo>
                    <a:cubicBezTo>
                      <a:pt x="997953" y="386464"/>
                      <a:pt x="997479" y="389122"/>
                      <a:pt x="996950" y="391768"/>
                    </a:cubicBezTo>
                    <a:cubicBezTo>
                      <a:pt x="1000109" y="392820"/>
                      <a:pt x="1004880" y="394545"/>
                      <a:pt x="1008063" y="394943"/>
                    </a:cubicBezTo>
                    <a:cubicBezTo>
                      <a:pt x="1014386" y="395733"/>
                      <a:pt x="1020763" y="396001"/>
                      <a:pt x="1027113" y="396530"/>
                    </a:cubicBezTo>
                    <a:cubicBezTo>
                      <a:pt x="1031346" y="399705"/>
                      <a:pt x="1036072" y="402313"/>
                      <a:pt x="1039813" y="406055"/>
                    </a:cubicBezTo>
                    <a:cubicBezTo>
                      <a:pt x="1045924" y="412167"/>
                      <a:pt x="1042707" y="409573"/>
                      <a:pt x="1049338" y="413993"/>
                    </a:cubicBezTo>
                    <a:cubicBezTo>
                      <a:pt x="1049867" y="416110"/>
                      <a:pt x="1050925" y="418161"/>
                      <a:pt x="1050925" y="420343"/>
                    </a:cubicBezTo>
                    <a:cubicBezTo>
                      <a:pt x="1050925" y="427209"/>
                      <a:pt x="1049448" y="428116"/>
                      <a:pt x="1046163" y="433043"/>
                    </a:cubicBezTo>
                    <a:cubicBezTo>
                      <a:pt x="1042290" y="448530"/>
                      <a:pt x="1046163" y="429192"/>
                      <a:pt x="1046163" y="447330"/>
                    </a:cubicBezTo>
                    <a:cubicBezTo>
                      <a:pt x="1046163" y="451596"/>
                      <a:pt x="1045073" y="455793"/>
                      <a:pt x="1044575" y="460030"/>
                    </a:cubicBezTo>
                    <a:cubicBezTo>
                      <a:pt x="1044015" y="464789"/>
                      <a:pt x="1043517" y="469555"/>
                      <a:pt x="1042988" y="474318"/>
                    </a:cubicBezTo>
                    <a:cubicBezTo>
                      <a:pt x="1043517" y="478551"/>
                      <a:pt x="1043812" y="482821"/>
                      <a:pt x="1044575" y="487018"/>
                    </a:cubicBezTo>
                    <a:cubicBezTo>
                      <a:pt x="1044874" y="488664"/>
                      <a:pt x="1044980" y="490597"/>
                      <a:pt x="1046163" y="491780"/>
                    </a:cubicBezTo>
                    <a:cubicBezTo>
                      <a:pt x="1047346" y="492963"/>
                      <a:pt x="1049387" y="492709"/>
                      <a:pt x="1050925" y="493368"/>
                    </a:cubicBezTo>
                    <a:cubicBezTo>
                      <a:pt x="1053100" y="494300"/>
                      <a:pt x="1055349" y="495168"/>
                      <a:pt x="1057275" y="496543"/>
                    </a:cubicBezTo>
                    <a:cubicBezTo>
                      <a:pt x="1059102" y="497848"/>
                      <a:pt x="1060313" y="499868"/>
                      <a:pt x="1062038" y="501305"/>
                    </a:cubicBezTo>
                    <a:cubicBezTo>
                      <a:pt x="1063504" y="502526"/>
                      <a:pt x="1065213" y="503422"/>
                      <a:pt x="1066800" y="504480"/>
                    </a:cubicBezTo>
                    <a:cubicBezTo>
                      <a:pt x="1067329" y="510301"/>
                      <a:pt x="1067163" y="516228"/>
                      <a:pt x="1068388" y="521943"/>
                    </a:cubicBezTo>
                    <a:cubicBezTo>
                      <a:pt x="1068788" y="523808"/>
                      <a:pt x="1071061" y="524864"/>
                      <a:pt x="1071563" y="526705"/>
                    </a:cubicBezTo>
                    <a:cubicBezTo>
                      <a:pt x="1072685" y="530821"/>
                      <a:pt x="1072449" y="535197"/>
                      <a:pt x="1073150" y="539405"/>
                    </a:cubicBezTo>
                    <a:cubicBezTo>
                      <a:pt x="1073568" y="541911"/>
                      <a:pt x="1076359" y="552361"/>
                      <a:pt x="1077913" y="553693"/>
                    </a:cubicBezTo>
                    <a:cubicBezTo>
                      <a:pt x="1079961" y="555449"/>
                      <a:pt x="1083204" y="554751"/>
                      <a:pt x="1085850" y="555280"/>
                    </a:cubicBezTo>
                    <a:cubicBezTo>
                      <a:pt x="1086908" y="556868"/>
                      <a:pt x="1088172" y="558336"/>
                      <a:pt x="1089025" y="560043"/>
                    </a:cubicBezTo>
                    <a:cubicBezTo>
                      <a:pt x="1092588" y="567170"/>
                      <a:pt x="1093900" y="574916"/>
                      <a:pt x="1096963" y="582268"/>
                    </a:cubicBezTo>
                    <a:cubicBezTo>
                      <a:pt x="1098329" y="585546"/>
                      <a:pt x="1107802" y="596227"/>
                      <a:pt x="1108075" y="596555"/>
                    </a:cubicBezTo>
                    <a:cubicBezTo>
                      <a:pt x="1108604" y="598672"/>
                      <a:pt x="1108581" y="601011"/>
                      <a:pt x="1109663" y="602905"/>
                    </a:cubicBezTo>
                    <a:cubicBezTo>
                      <a:pt x="1112462" y="607803"/>
                      <a:pt x="1114640" y="607740"/>
                      <a:pt x="1119188" y="609255"/>
                    </a:cubicBezTo>
                    <a:cubicBezTo>
                      <a:pt x="1120775" y="610313"/>
                      <a:pt x="1122196" y="611678"/>
                      <a:pt x="1123950" y="612430"/>
                    </a:cubicBezTo>
                    <a:cubicBezTo>
                      <a:pt x="1125955" y="613290"/>
                      <a:pt x="1128230" y="613328"/>
                      <a:pt x="1130300" y="614018"/>
                    </a:cubicBezTo>
                    <a:cubicBezTo>
                      <a:pt x="1133004" y="614919"/>
                      <a:pt x="1135592" y="616135"/>
                      <a:pt x="1138238" y="617193"/>
                    </a:cubicBezTo>
                    <a:cubicBezTo>
                      <a:pt x="1136650" y="618780"/>
                      <a:pt x="1134479" y="619947"/>
                      <a:pt x="1133475" y="621955"/>
                    </a:cubicBezTo>
                    <a:cubicBezTo>
                      <a:pt x="1132268" y="624368"/>
                      <a:pt x="1131234" y="627275"/>
                      <a:pt x="1131888" y="629893"/>
                    </a:cubicBezTo>
                    <a:cubicBezTo>
                      <a:pt x="1132807" y="633570"/>
                      <a:pt x="1140457" y="636559"/>
                      <a:pt x="1143000" y="637830"/>
                    </a:cubicBezTo>
                    <a:cubicBezTo>
                      <a:pt x="1143529" y="639418"/>
                      <a:pt x="1144128" y="640984"/>
                      <a:pt x="1144588" y="642593"/>
                    </a:cubicBezTo>
                    <a:cubicBezTo>
                      <a:pt x="1145187" y="644691"/>
                      <a:pt x="1145485" y="646873"/>
                      <a:pt x="1146175" y="648943"/>
                    </a:cubicBezTo>
                    <a:cubicBezTo>
                      <a:pt x="1147076" y="651646"/>
                      <a:pt x="1148292" y="654234"/>
                      <a:pt x="1149350" y="656880"/>
                    </a:cubicBezTo>
                    <a:cubicBezTo>
                      <a:pt x="1149899" y="664015"/>
                      <a:pt x="1154269" y="682860"/>
                      <a:pt x="1146175" y="690218"/>
                    </a:cubicBezTo>
                    <a:cubicBezTo>
                      <a:pt x="1142946" y="693153"/>
                      <a:pt x="1133475" y="693393"/>
                      <a:pt x="1133475" y="693393"/>
                    </a:cubicBezTo>
                    <a:cubicBezTo>
                      <a:pt x="1131358" y="696039"/>
                      <a:pt x="1128640" y="698299"/>
                      <a:pt x="1127125" y="701330"/>
                    </a:cubicBezTo>
                    <a:cubicBezTo>
                      <a:pt x="1124479" y="706622"/>
                      <a:pt x="1126596" y="713501"/>
                      <a:pt x="1123950" y="718793"/>
                    </a:cubicBezTo>
                    <a:cubicBezTo>
                      <a:pt x="1123097" y="720499"/>
                      <a:pt x="1120775" y="720910"/>
                      <a:pt x="1119188" y="721968"/>
                    </a:cubicBezTo>
                    <a:cubicBezTo>
                      <a:pt x="1118680" y="723998"/>
                      <a:pt x="1117150" y="730806"/>
                      <a:pt x="1116013" y="733080"/>
                    </a:cubicBezTo>
                    <a:cubicBezTo>
                      <a:pt x="1115160" y="734787"/>
                      <a:pt x="1114426" y="736785"/>
                      <a:pt x="1112838" y="737843"/>
                    </a:cubicBezTo>
                    <a:cubicBezTo>
                      <a:pt x="1111023" y="739053"/>
                      <a:pt x="1108605" y="738901"/>
                      <a:pt x="1106488" y="739430"/>
                    </a:cubicBezTo>
                    <a:cubicBezTo>
                      <a:pt x="1103313" y="742076"/>
                      <a:pt x="1100225" y="744831"/>
                      <a:pt x="1096963" y="747368"/>
                    </a:cubicBezTo>
                    <a:cubicBezTo>
                      <a:pt x="1089996" y="752787"/>
                      <a:pt x="1084836" y="752571"/>
                      <a:pt x="1079500" y="763243"/>
                    </a:cubicBezTo>
                    <a:cubicBezTo>
                      <a:pt x="1075321" y="771601"/>
                      <a:pt x="1077998" y="767920"/>
                      <a:pt x="1071563" y="774355"/>
                    </a:cubicBezTo>
                    <a:cubicBezTo>
                      <a:pt x="1070505" y="777001"/>
                      <a:pt x="1069662" y="779744"/>
                      <a:pt x="1068388" y="782293"/>
                    </a:cubicBezTo>
                    <a:cubicBezTo>
                      <a:pt x="1067535" y="783999"/>
                      <a:pt x="1066066" y="785349"/>
                      <a:pt x="1065213" y="787055"/>
                    </a:cubicBezTo>
                    <a:cubicBezTo>
                      <a:pt x="1063939" y="789604"/>
                      <a:pt x="1063012" y="792315"/>
                      <a:pt x="1062038" y="794993"/>
                    </a:cubicBezTo>
                    <a:cubicBezTo>
                      <a:pt x="1060894" y="798138"/>
                      <a:pt x="1060360" y="801525"/>
                      <a:pt x="1058863" y="804518"/>
                    </a:cubicBezTo>
                    <a:cubicBezTo>
                      <a:pt x="1056746" y="808751"/>
                      <a:pt x="1054010" y="812728"/>
                      <a:pt x="1052513" y="817218"/>
                    </a:cubicBezTo>
                    <a:cubicBezTo>
                      <a:pt x="1048935" y="827947"/>
                      <a:pt x="1053512" y="814968"/>
                      <a:pt x="1046163" y="831505"/>
                    </a:cubicBezTo>
                    <a:cubicBezTo>
                      <a:pt x="1045483" y="833034"/>
                      <a:pt x="1045234" y="834730"/>
                      <a:pt x="1044575" y="836268"/>
                    </a:cubicBezTo>
                    <a:cubicBezTo>
                      <a:pt x="1043643" y="838443"/>
                      <a:pt x="1042332" y="840443"/>
                      <a:pt x="1041400" y="842618"/>
                    </a:cubicBezTo>
                    <a:cubicBezTo>
                      <a:pt x="1040741" y="844156"/>
                      <a:pt x="1040785" y="846018"/>
                      <a:pt x="1039813" y="847380"/>
                    </a:cubicBezTo>
                    <a:cubicBezTo>
                      <a:pt x="1038073" y="849816"/>
                      <a:pt x="1035259" y="851335"/>
                      <a:pt x="1033463" y="853730"/>
                    </a:cubicBezTo>
                    <a:cubicBezTo>
                      <a:pt x="1029282" y="859305"/>
                      <a:pt x="1030890" y="860298"/>
                      <a:pt x="1028700" y="866430"/>
                    </a:cubicBezTo>
                    <a:cubicBezTo>
                      <a:pt x="1026783" y="871797"/>
                      <a:pt x="1022350" y="882305"/>
                      <a:pt x="1022350" y="882305"/>
                    </a:cubicBezTo>
                    <a:cubicBezTo>
                      <a:pt x="1023408" y="885480"/>
                      <a:pt x="1023900" y="888904"/>
                      <a:pt x="1025525" y="891830"/>
                    </a:cubicBezTo>
                    <a:cubicBezTo>
                      <a:pt x="1026615" y="893793"/>
                      <a:pt x="1028983" y="894766"/>
                      <a:pt x="1030288" y="896593"/>
                    </a:cubicBezTo>
                    <a:cubicBezTo>
                      <a:pt x="1031664" y="898519"/>
                      <a:pt x="1032502" y="900780"/>
                      <a:pt x="1033463" y="902943"/>
                    </a:cubicBezTo>
                    <a:cubicBezTo>
                      <a:pt x="1034620" y="905547"/>
                      <a:pt x="1035737" y="908177"/>
                      <a:pt x="1036638" y="910880"/>
                    </a:cubicBezTo>
                    <a:cubicBezTo>
                      <a:pt x="1037856" y="914535"/>
                      <a:pt x="1037942" y="918625"/>
                      <a:pt x="1039813" y="921993"/>
                    </a:cubicBezTo>
                    <a:cubicBezTo>
                      <a:pt x="1040739" y="923661"/>
                      <a:pt x="1042988" y="924110"/>
                      <a:pt x="1044575" y="925168"/>
                    </a:cubicBezTo>
                    <a:cubicBezTo>
                      <a:pt x="1040766" y="927073"/>
                      <a:pt x="1032532" y="929769"/>
                      <a:pt x="1033463" y="936280"/>
                    </a:cubicBezTo>
                    <a:cubicBezTo>
                      <a:pt x="1033798" y="938623"/>
                      <a:pt x="1037806" y="938201"/>
                      <a:pt x="1039813" y="939455"/>
                    </a:cubicBezTo>
                    <a:cubicBezTo>
                      <a:pt x="1042057" y="940857"/>
                      <a:pt x="1044046" y="942630"/>
                      <a:pt x="1046163" y="944218"/>
                    </a:cubicBezTo>
                    <a:cubicBezTo>
                      <a:pt x="1047221" y="948451"/>
                      <a:pt x="1047958" y="952778"/>
                      <a:pt x="1049338" y="956918"/>
                    </a:cubicBezTo>
                    <a:cubicBezTo>
                      <a:pt x="1049867" y="958505"/>
                      <a:pt x="1049898" y="960359"/>
                      <a:pt x="1050925" y="961680"/>
                    </a:cubicBezTo>
                    <a:cubicBezTo>
                      <a:pt x="1053682" y="965224"/>
                      <a:pt x="1060450" y="971205"/>
                      <a:pt x="1060450" y="971205"/>
                    </a:cubicBezTo>
                    <a:cubicBezTo>
                      <a:pt x="1046283" y="978289"/>
                      <a:pt x="1048831" y="978427"/>
                      <a:pt x="1022350" y="971205"/>
                    </a:cubicBezTo>
                    <a:cubicBezTo>
                      <a:pt x="1020067" y="970582"/>
                      <a:pt x="1020848" y="966528"/>
                      <a:pt x="1019175" y="964855"/>
                    </a:cubicBezTo>
                    <a:cubicBezTo>
                      <a:pt x="1017992" y="963672"/>
                      <a:pt x="1016022" y="963728"/>
                      <a:pt x="1014413" y="963268"/>
                    </a:cubicBezTo>
                    <a:cubicBezTo>
                      <a:pt x="1009171" y="961770"/>
                      <a:pt x="1005595" y="961187"/>
                      <a:pt x="1000125" y="960093"/>
                    </a:cubicBezTo>
                    <a:cubicBezTo>
                      <a:pt x="998538" y="959035"/>
                      <a:pt x="997173" y="957521"/>
                      <a:pt x="995363" y="956918"/>
                    </a:cubicBezTo>
                    <a:cubicBezTo>
                      <a:pt x="992309" y="955900"/>
                      <a:pt x="989024" y="955785"/>
                      <a:pt x="985838" y="955330"/>
                    </a:cubicBezTo>
                    <a:cubicBezTo>
                      <a:pt x="965649" y="952446"/>
                      <a:pt x="980365" y="955189"/>
                      <a:pt x="965200" y="952155"/>
                    </a:cubicBezTo>
                    <a:cubicBezTo>
                      <a:pt x="963613" y="950568"/>
                      <a:pt x="961528" y="949355"/>
                      <a:pt x="960438" y="947393"/>
                    </a:cubicBezTo>
                    <a:cubicBezTo>
                      <a:pt x="953703" y="935270"/>
                      <a:pt x="961953" y="939432"/>
                      <a:pt x="952500" y="936280"/>
                    </a:cubicBezTo>
                    <a:cubicBezTo>
                      <a:pt x="935666" y="922812"/>
                      <a:pt x="952482" y="934457"/>
                      <a:pt x="938213" y="928343"/>
                    </a:cubicBezTo>
                    <a:cubicBezTo>
                      <a:pt x="936459" y="927591"/>
                      <a:pt x="935278" y="925716"/>
                      <a:pt x="933450" y="925168"/>
                    </a:cubicBezTo>
                    <a:cubicBezTo>
                      <a:pt x="929866" y="924093"/>
                      <a:pt x="926019" y="924249"/>
                      <a:pt x="922338" y="923580"/>
                    </a:cubicBezTo>
                    <a:cubicBezTo>
                      <a:pt x="920191" y="923190"/>
                      <a:pt x="918140" y="922352"/>
                      <a:pt x="915988" y="921993"/>
                    </a:cubicBezTo>
                    <a:cubicBezTo>
                      <a:pt x="893691" y="918277"/>
                      <a:pt x="911228" y="922389"/>
                      <a:pt x="896938" y="918818"/>
                    </a:cubicBezTo>
                    <a:cubicBezTo>
                      <a:pt x="867533" y="919868"/>
                      <a:pt x="860353" y="910015"/>
                      <a:pt x="847725" y="925168"/>
                    </a:cubicBezTo>
                    <a:cubicBezTo>
                      <a:pt x="846504" y="926634"/>
                      <a:pt x="845608" y="928343"/>
                      <a:pt x="844550" y="929930"/>
                    </a:cubicBezTo>
                    <a:cubicBezTo>
                      <a:pt x="844021" y="932047"/>
                      <a:pt x="844360" y="934604"/>
                      <a:pt x="842963" y="936280"/>
                    </a:cubicBezTo>
                    <a:cubicBezTo>
                      <a:pt x="841448" y="938098"/>
                      <a:pt x="838506" y="938035"/>
                      <a:pt x="836613" y="939455"/>
                    </a:cubicBezTo>
                    <a:cubicBezTo>
                      <a:pt x="834218" y="941251"/>
                      <a:pt x="832380" y="943688"/>
                      <a:pt x="830263" y="945805"/>
                    </a:cubicBezTo>
                    <a:cubicBezTo>
                      <a:pt x="823913" y="945276"/>
                      <a:pt x="817541" y="944962"/>
                      <a:pt x="811213" y="944218"/>
                    </a:cubicBezTo>
                    <a:cubicBezTo>
                      <a:pt x="807414" y="943771"/>
                      <a:pt x="800817" y="942016"/>
                      <a:pt x="796925" y="941043"/>
                    </a:cubicBezTo>
                    <a:cubicBezTo>
                      <a:pt x="727718" y="943349"/>
                      <a:pt x="758560" y="927770"/>
                      <a:pt x="746125" y="950568"/>
                    </a:cubicBezTo>
                    <a:cubicBezTo>
                      <a:pt x="744298" y="953918"/>
                      <a:pt x="741892" y="956918"/>
                      <a:pt x="739775" y="960093"/>
                    </a:cubicBezTo>
                    <a:cubicBezTo>
                      <a:pt x="735440" y="1003439"/>
                      <a:pt x="747225" y="992326"/>
                      <a:pt x="701675" y="990255"/>
                    </a:cubicBezTo>
                    <a:cubicBezTo>
                      <a:pt x="700088" y="988138"/>
                      <a:pt x="697931" y="986347"/>
                      <a:pt x="696913" y="983905"/>
                    </a:cubicBezTo>
                    <a:cubicBezTo>
                      <a:pt x="696816" y="983671"/>
                      <a:pt x="693709" y="967102"/>
                      <a:pt x="690563" y="964855"/>
                    </a:cubicBezTo>
                    <a:cubicBezTo>
                      <a:pt x="688367" y="963287"/>
                      <a:pt x="685271" y="963797"/>
                      <a:pt x="682625" y="963268"/>
                    </a:cubicBezTo>
                    <a:cubicBezTo>
                      <a:pt x="681503" y="959900"/>
                      <a:pt x="680071" y="954854"/>
                      <a:pt x="677863" y="952155"/>
                    </a:cubicBezTo>
                    <a:cubicBezTo>
                      <a:pt x="674546" y="948101"/>
                      <a:pt x="670274" y="944919"/>
                      <a:pt x="666750" y="941043"/>
                    </a:cubicBezTo>
                    <a:cubicBezTo>
                      <a:pt x="656163" y="929398"/>
                      <a:pt x="668342" y="939459"/>
                      <a:pt x="655638" y="929930"/>
                    </a:cubicBezTo>
                    <a:cubicBezTo>
                      <a:pt x="657610" y="924013"/>
                      <a:pt x="659101" y="922715"/>
                      <a:pt x="654050" y="915643"/>
                    </a:cubicBezTo>
                    <a:cubicBezTo>
                      <a:pt x="653078" y="914281"/>
                      <a:pt x="650875" y="914584"/>
                      <a:pt x="649288" y="914055"/>
                    </a:cubicBezTo>
                    <a:cubicBezTo>
                      <a:pt x="640907" y="922436"/>
                      <a:pt x="647654" y="914919"/>
                      <a:pt x="639763" y="926755"/>
                    </a:cubicBezTo>
                    <a:cubicBezTo>
                      <a:pt x="638295" y="928957"/>
                      <a:pt x="637313" y="931820"/>
                      <a:pt x="635000" y="933105"/>
                    </a:cubicBezTo>
                    <a:cubicBezTo>
                      <a:pt x="632186" y="934668"/>
                      <a:pt x="628650" y="934164"/>
                      <a:pt x="625475" y="934693"/>
                    </a:cubicBezTo>
                    <a:cubicBezTo>
                      <a:pt x="623888" y="935751"/>
                      <a:pt x="621771" y="936281"/>
                      <a:pt x="620713" y="937868"/>
                    </a:cubicBezTo>
                    <a:cubicBezTo>
                      <a:pt x="619503" y="939683"/>
                      <a:pt x="619815" y="942148"/>
                      <a:pt x="619125" y="944218"/>
                    </a:cubicBezTo>
                    <a:cubicBezTo>
                      <a:pt x="616536" y="951985"/>
                      <a:pt x="616664" y="951084"/>
                      <a:pt x="612775" y="956918"/>
                    </a:cubicBezTo>
                    <a:cubicBezTo>
                      <a:pt x="605896" y="956389"/>
                      <a:pt x="597525" y="959640"/>
                      <a:pt x="592138" y="955330"/>
                    </a:cubicBezTo>
                    <a:cubicBezTo>
                      <a:pt x="587518" y="951634"/>
                      <a:pt x="591768" y="943077"/>
                      <a:pt x="588963" y="937868"/>
                    </a:cubicBezTo>
                    <a:cubicBezTo>
                      <a:pt x="587612" y="935359"/>
                      <a:pt x="583671" y="935751"/>
                      <a:pt x="581025" y="934693"/>
                    </a:cubicBezTo>
                    <a:cubicBezTo>
                      <a:pt x="579438" y="932576"/>
                      <a:pt x="577358" y="930752"/>
                      <a:pt x="576263" y="928343"/>
                    </a:cubicBezTo>
                    <a:cubicBezTo>
                      <a:pt x="574669" y="924836"/>
                      <a:pt x="575400" y="920312"/>
                      <a:pt x="573088" y="917230"/>
                    </a:cubicBezTo>
                    <a:cubicBezTo>
                      <a:pt x="571779" y="915485"/>
                      <a:pt x="568855" y="916172"/>
                      <a:pt x="566738" y="915643"/>
                    </a:cubicBezTo>
                    <a:cubicBezTo>
                      <a:pt x="564092" y="914055"/>
                      <a:pt x="561143" y="912888"/>
                      <a:pt x="558800" y="910880"/>
                    </a:cubicBezTo>
                    <a:cubicBezTo>
                      <a:pt x="557351" y="909638"/>
                      <a:pt x="557061" y="907374"/>
                      <a:pt x="555625" y="906118"/>
                    </a:cubicBezTo>
                    <a:cubicBezTo>
                      <a:pt x="552753" y="903605"/>
                      <a:pt x="546100" y="899768"/>
                      <a:pt x="546100" y="899768"/>
                    </a:cubicBezTo>
                    <a:cubicBezTo>
                      <a:pt x="545042" y="897651"/>
                      <a:pt x="543756" y="895634"/>
                      <a:pt x="542925" y="893418"/>
                    </a:cubicBezTo>
                    <a:cubicBezTo>
                      <a:pt x="542159" y="891375"/>
                      <a:pt x="542548" y="888883"/>
                      <a:pt x="541338" y="887068"/>
                    </a:cubicBezTo>
                    <a:cubicBezTo>
                      <a:pt x="539262" y="883954"/>
                      <a:pt x="536046" y="881776"/>
                      <a:pt x="533400" y="879130"/>
                    </a:cubicBezTo>
                    <a:cubicBezTo>
                      <a:pt x="530725" y="868428"/>
                      <a:pt x="534282" y="874327"/>
                      <a:pt x="520700" y="871193"/>
                    </a:cubicBezTo>
                    <a:cubicBezTo>
                      <a:pt x="517439" y="870441"/>
                      <a:pt x="511175" y="868018"/>
                      <a:pt x="511175" y="868018"/>
                    </a:cubicBezTo>
                    <a:cubicBezTo>
                      <a:pt x="510984" y="867865"/>
                      <a:pt x="500856" y="859386"/>
                      <a:pt x="498475" y="858493"/>
                    </a:cubicBezTo>
                    <a:cubicBezTo>
                      <a:pt x="495949" y="857546"/>
                      <a:pt x="493184" y="857434"/>
                      <a:pt x="490538" y="856905"/>
                    </a:cubicBezTo>
                    <a:cubicBezTo>
                      <a:pt x="485246" y="857434"/>
                      <a:pt x="479572" y="856447"/>
                      <a:pt x="474663" y="858493"/>
                    </a:cubicBezTo>
                    <a:cubicBezTo>
                      <a:pt x="472479" y="859403"/>
                      <a:pt x="473003" y="863025"/>
                      <a:pt x="471488" y="864843"/>
                    </a:cubicBezTo>
                    <a:cubicBezTo>
                      <a:pt x="470266" y="866309"/>
                      <a:pt x="468191" y="866797"/>
                      <a:pt x="466725" y="868018"/>
                    </a:cubicBezTo>
                    <a:cubicBezTo>
                      <a:pt x="465000" y="869455"/>
                      <a:pt x="463550" y="871193"/>
                      <a:pt x="461963" y="872780"/>
                    </a:cubicBezTo>
                    <a:cubicBezTo>
                      <a:pt x="458660" y="872308"/>
                      <a:pt x="447776" y="871950"/>
                      <a:pt x="444500" y="868018"/>
                    </a:cubicBezTo>
                    <a:cubicBezTo>
                      <a:pt x="443103" y="866342"/>
                      <a:pt x="443603" y="863738"/>
                      <a:pt x="442913" y="861668"/>
                    </a:cubicBezTo>
                    <a:cubicBezTo>
                      <a:pt x="440212" y="853565"/>
                      <a:pt x="439450" y="853250"/>
                      <a:pt x="434975" y="845793"/>
                    </a:cubicBezTo>
                    <a:cubicBezTo>
                      <a:pt x="435504" y="843676"/>
                      <a:pt x="434887" y="840840"/>
                      <a:pt x="436563" y="839443"/>
                    </a:cubicBezTo>
                    <a:cubicBezTo>
                      <a:pt x="438636" y="837716"/>
                      <a:pt x="441845" y="838338"/>
                      <a:pt x="444500" y="837855"/>
                    </a:cubicBezTo>
                    <a:cubicBezTo>
                      <a:pt x="447667" y="837279"/>
                      <a:pt x="450850" y="836797"/>
                      <a:pt x="454025" y="836268"/>
                    </a:cubicBezTo>
                    <a:cubicBezTo>
                      <a:pt x="452967" y="834680"/>
                      <a:pt x="451625" y="833249"/>
                      <a:pt x="450850" y="831505"/>
                    </a:cubicBezTo>
                    <a:cubicBezTo>
                      <a:pt x="449491" y="828447"/>
                      <a:pt x="450499" y="823777"/>
                      <a:pt x="447675" y="821980"/>
                    </a:cubicBezTo>
                    <a:cubicBezTo>
                      <a:pt x="443632" y="819408"/>
                      <a:pt x="438150" y="820922"/>
                      <a:pt x="433388" y="820393"/>
                    </a:cubicBezTo>
                    <a:cubicBezTo>
                      <a:pt x="431271" y="821980"/>
                      <a:pt x="429456" y="824080"/>
                      <a:pt x="427038" y="825155"/>
                    </a:cubicBezTo>
                    <a:cubicBezTo>
                      <a:pt x="416792" y="829708"/>
                      <a:pt x="399247" y="823239"/>
                      <a:pt x="392113" y="821980"/>
                    </a:cubicBezTo>
                    <a:cubicBezTo>
                      <a:pt x="381332" y="814794"/>
                      <a:pt x="394831" y="823188"/>
                      <a:pt x="377825" y="815630"/>
                    </a:cubicBezTo>
                    <a:cubicBezTo>
                      <a:pt x="359376" y="807430"/>
                      <a:pt x="385657" y="816651"/>
                      <a:pt x="368300" y="810868"/>
                    </a:cubicBezTo>
                    <a:cubicBezTo>
                      <a:pt x="366713" y="809810"/>
                      <a:pt x="365244" y="808546"/>
                      <a:pt x="363538" y="807693"/>
                    </a:cubicBezTo>
                    <a:cubicBezTo>
                      <a:pt x="348004" y="799926"/>
                      <a:pt x="361870" y="808699"/>
                      <a:pt x="350838" y="801343"/>
                    </a:cubicBezTo>
                    <a:cubicBezTo>
                      <a:pt x="323821" y="804719"/>
                      <a:pt x="342322" y="801180"/>
                      <a:pt x="347663" y="804518"/>
                    </a:cubicBezTo>
                    <a:cubicBezTo>
                      <a:pt x="349670" y="805772"/>
                      <a:pt x="349780" y="808751"/>
                      <a:pt x="350838" y="810868"/>
                    </a:cubicBezTo>
                    <a:cubicBezTo>
                      <a:pt x="351896" y="817747"/>
                      <a:pt x="352869" y="824640"/>
                      <a:pt x="354013" y="831505"/>
                    </a:cubicBezTo>
                    <a:cubicBezTo>
                      <a:pt x="354457" y="834167"/>
                      <a:pt x="354653" y="836916"/>
                      <a:pt x="355600" y="839443"/>
                    </a:cubicBezTo>
                    <a:cubicBezTo>
                      <a:pt x="356270" y="841229"/>
                      <a:pt x="357717" y="842618"/>
                      <a:pt x="358775" y="844205"/>
                    </a:cubicBezTo>
                    <a:cubicBezTo>
                      <a:pt x="357188" y="845263"/>
                      <a:pt x="355823" y="846777"/>
                      <a:pt x="354013" y="847380"/>
                    </a:cubicBezTo>
                    <a:cubicBezTo>
                      <a:pt x="350959" y="848398"/>
                      <a:pt x="347367" y="847528"/>
                      <a:pt x="344488" y="848968"/>
                    </a:cubicBezTo>
                    <a:cubicBezTo>
                      <a:pt x="341170" y="850627"/>
                      <a:pt x="341227" y="855864"/>
                      <a:pt x="339725" y="858493"/>
                    </a:cubicBezTo>
                    <a:cubicBezTo>
                      <a:pt x="338412" y="860790"/>
                      <a:pt x="336550" y="862726"/>
                      <a:pt x="334963" y="864843"/>
                    </a:cubicBezTo>
                    <a:cubicBezTo>
                      <a:pt x="329671" y="864314"/>
                      <a:pt x="324086" y="865072"/>
                      <a:pt x="319088" y="863255"/>
                    </a:cubicBezTo>
                    <a:cubicBezTo>
                      <a:pt x="317515" y="862683"/>
                      <a:pt x="318387" y="859912"/>
                      <a:pt x="317500" y="858493"/>
                    </a:cubicBezTo>
                    <a:cubicBezTo>
                      <a:pt x="315704" y="855620"/>
                      <a:pt x="312969" y="853414"/>
                      <a:pt x="311150" y="850555"/>
                    </a:cubicBezTo>
                    <a:cubicBezTo>
                      <a:pt x="303732" y="838898"/>
                      <a:pt x="310655" y="842452"/>
                      <a:pt x="301625" y="839443"/>
                    </a:cubicBezTo>
                    <a:cubicBezTo>
                      <a:pt x="300038" y="837326"/>
                      <a:pt x="298872" y="834815"/>
                      <a:pt x="296863" y="833093"/>
                    </a:cubicBezTo>
                    <a:cubicBezTo>
                      <a:pt x="293446" y="830164"/>
                      <a:pt x="288306" y="829366"/>
                      <a:pt x="284163" y="828330"/>
                    </a:cubicBezTo>
                    <a:cubicBezTo>
                      <a:pt x="266891" y="818255"/>
                      <a:pt x="267170" y="823075"/>
                      <a:pt x="261938" y="810868"/>
                    </a:cubicBezTo>
                    <a:cubicBezTo>
                      <a:pt x="261279" y="809330"/>
                      <a:pt x="260879" y="807693"/>
                      <a:pt x="260350" y="806105"/>
                    </a:cubicBezTo>
                    <a:cubicBezTo>
                      <a:pt x="275925" y="794425"/>
                      <a:pt x="256000" y="807845"/>
                      <a:pt x="276225" y="799755"/>
                    </a:cubicBezTo>
                    <a:cubicBezTo>
                      <a:pt x="278682" y="798772"/>
                      <a:pt x="280458" y="796580"/>
                      <a:pt x="282575" y="794993"/>
                    </a:cubicBezTo>
                    <a:cubicBezTo>
                      <a:pt x="282046" y="793405"/>
                      <a:pt x="282059" y="791516"/>
                      <a:pt x="280988" y="790230"/>
                    </a:cubicBezTo>
                    <a:cubicBezTo>
                      <a:pt x="278045" y="786698"/>
                      <a:pt x="272263" y="784281"/>
                      <a:pt x="268288" y="782293"/>
                    </a:cubicBezTo>
                    <a:cubicBezTo>
                      <a:pt x="267759" y="780176"/>
                      <a:pt x="266700" y="778125"/>
                      <a:pt x="266700" y="775943"/>
                    </a:cubicBezTo>
                    <a:cubicBezTo>
                      <a:pt x="266700" y="763244"/>
                      <a:pt x="270934" y="779115"/>
                      <a:pt x="266700" y="766418"/>
                    </a:cubicBezTo>
                    <a:cubicBezTo>
                      <a:pt x="253219" y="767455"/>
                      <a:pt x="246447" y="762775"/>
                      <a:pt x="241300" y="774355"/>
                    </a:cubicBezTo>
                    <a:cubicBezTo>
                      <a:pt x="240204" y="776821"/>
                      <a:pt x="240242" y="779647"/>
                      <a:pt x="239713" y="782293"/>
                    </a:cubicBezTo>
                    <a:cubicBezTo>
                      <a:pt x="223239" y="771312"/>
                      <a:pt x="247886" y="788879"/>
                      <a:pt x="231775" y="772768"/>
                    </a:cubicBezTo>
                    <a:cubicBezTo>
                      <a:pt x="230102" y="771095"/>
                      <a:pt x="227432" y="770847"/>
                      <a:pt x="225425" y="769593"/>
                    </a:cubicBezTo>
                    <a:cubicBezTo>
                      <a:pt x="223181" y="768191"/>
                      <a:pt x="221477" y="765939"/>
                      <a:pt x="219075" y="764830"/>
                    </a:cubicBezTo>
                    <a:cubicBezTo>
                      <a:pt x="210295" y="760777"/>
                      <a:pt x="199838" y="758968"/>
                      <a:pt x="190500" y="756893"/>
                    </a:cubicBezTo>
                    <a:cubicBezTo>
                      <a:pt x="188913" y="755835"/>
                      <a:pt x="187492" y="754470"/>
                      <a:pt x="185738" y="753718"/>
                    </a:cubicBezTo>
                    <a:cubicBezTo>
                      <a:pt x="179316" y="750965"/>
                      <a:pt x="160625" y="750687"/>
                      <a:pt x="158750" y="750543"/>
                    </a:cubicBezTo>
                    <a:cubicBezTo>
                      <a:pt x="158221" y="748955"/>
                      <a:pt x="157417" y="747434"/>
                      <a:pt x="157163" y="745780"/>
                    </a:cubicBezTo>
                    <a:cubicBezTo>
                      <a:pt x="156354" y="740524"/>
                      <a:pt x="157804" y="734734"/>
                      <a:pt x="155575" y="729905"/>
                    </a:cubicBezTo>
                    <a:cubicBezTo>
                      <a:pt x="154282" y="727104"/>
                      <a:pt x="150205" y="726854"/>
                      <a:pt x="147638" y="725143"/>
                    </a:cubicBezTo>
                    <a:cubicBezTo>
                      <a:pt x="143850" y="722618"/>
                      <a:pt x="140229" y="719851"/>
                      <a:pt x="136525" y="717205"/>
                    </a:cubicBezTo>
                    <a:cubicBezTo>
                      <a:pt x="134408" y="719851"/>
                      <a:pt x="132748" y="722938"/>
                      <a:pt x="130175" y="725143"/>
                    </a:cubicBezTo>
                    <a:cubicBezTo>
                      <a:pt x="128905" y="726232"/>
                      <a:pt x="127036" y="726324"/>
                      <a:pt x="125413" y="726730"/>
                    </a:cubicBezTo>
                    <a:lnTo>
                      <a:pt x="112713" y="729905"/>
                    </a:lnTo>
                    <a:cubicBezTo>
                      <a:pt x="113242" y="727788"/>
                      <a:pt x="113827" y="725685"/>
                      <a:pt x="114300" y="723555"/>
                    </a:cubicBezTo>
                    <a:cubicBezTo>
                      <a:pt x="114885" y="720921"/>
                      <a:pt x="115178" y="718221"/>
                      <a:pt x="115888" y="715618"/>
                    </a:cubicBezTo>
                    <a:cubicBezTo>
                      <a:pt x="116769" y="712389"/>
                      <a:pt x="118005" y="709268"/>
                      <a:pt x="119063" y="706093"/>
                    </a:cubicBezTo>
                    <a:cubicBezTo>
                      <a:pt x="118534" y="690218"/>
                      <a:pt x="118871" y="674290"/>
                      <a:pt x="117475" y="658468"/>
                    </a:cubicBezTo>
                    <a:cubicBezTo>
                      <a:pt x="117267" y="656111"/>
                      <a:pt x="115799" y="653950"/>
                      <a:pt x="114300" y="652118"/>
                    </a:cubicBezTo>
                    <a:cubicBezTo>
                      <a:pt x="111814" y="649080"/>
                      <a:pt x="99297" y="636063"/>
                      <a:pt x="93663" y="634655"/>
                    </a:cubicBezTo>
                    <a:lnTo>
                      <a:pt x="87313" y="633068"/>
                    </a:lnTo>
                    <a:cubicBezTo>
                      <a:pt x="68366" y="618857"/>
                      <a:pt x="95503" y="641764"/>
                      <a:pt x="79375" y="593380"/>
                    </a:cubicBezTo>
                    <a:cubicBezTo>
                      <a:pt x="78157" y="589725"/>
                      <a:pt x="71967" y="591263"/>
                      <a:pt x="68263" y="590205"/>
                    </a:cubicBezTo>
                    <a:cubicBezTo>
                      <a:pt x="68091" y="589919"/>
                      <a:pt x="61518" y="580268"/>
                      <a:pt x="61913" y="577505"/>
                    </a:cubicBezTo>
                    <a:cubicBezTo>
                      <a:pt x="62248" y="575162"/>
                      <a:pt x="63415" y="572828"/>
                      <a:pt x="65088" y="571155"/>
                    </a:cubicBezTo>
                    <a:cubicBezTo>
                      <a:pt x="66271" y="569972"/>
                      <a:pt x="68263" y="570097"/>
                      <a:pt x="69850" y="569568"/>
                    </a:cubicBezTo>
                    <a:cubicBezTo>
                      <a:pt x="86431" y="552987"/>
                      <a:pt x="75904" y="565828"/>
                      <a:pt x="73025" y="514005"/>
                    </a:cubicBezTo>
                    <a:cubicBezTo>
                      <a:pt x="72904" y="511827"/>
                      <a:pt x="72297" y="509660"/>
                      <a:pt x="71438" y="507655"/>
                    </a:cubicBezTo>
                    <a:cubicBezTo>
                      <a:pt x="70687" y="505901"/>
                      <a:pt x="69116" y="504599"/>
                      <a:pt x="68263" y="502893"/>
                    </a:cubicBezTo>
                    <a:cubicBezTo>
                      <a:pt x="66989" y="500344"/>
                      <a:pt x="66744" y="497274"/>
                      <a:pt x="65088" y="494955"/>
                    </a:cubicBezTo>
                    <a:cubicBezTo>
                      <a:pt x="62363" y="491140"/>
                      <a:pt x="56140" y="490943"/>
                      <a:pt x="52388" y="490193"/>
                    </a:cubicBezTo>
                    <a:cubicBezTo>
                      <a:pt x="49742" y="488076"/>
                      <a:pt x="46681" y="486393"/>
                      <a:pt x="44450" y="483843"/>
                    </a:cubicBezTo>
                    <a:cubicBezTo>
                      <a:pt x="40506" y="479335"/>
                      <a:pt x="39073" y="471160"/>
                      <a:pt x="44450" y="466380"/>
                    </a:cubicBezTo>
                    <a:cubicBezTo>
                      <a:pt x="47247" y="463894"/>
                      <a:pt x="51859" y="465322"/>
                      <a:pt x="55563" y="464793"/>
                    </a:cubicBezTo>
                    <a:cubicBezTo>
                      <a:pt x="56621" y="463205"/>
                      <a:pt x="58548" y="461929"/>
                      <a:pt x="58738" y="460030"/>
                    </a:cubicBezTo>
                    <a:cubicBezTo>
                      <a:pt x="59668" y="450726"/>
                      <a:pt x="54831" y="443085"/>
                      <a:pt x="49213" y="436218"/>
                    </a:cubicBezTo>
                    <a:cubicBezTo>
                      <a:pt x="47538" y="434170"/>
                      <a:pt x="44980" y="433043"/>
                      <a:pt x="42863" y="431455"/>
                    </a:cubicBezTo>
                    <a:cubicBezTo>
                      <a:pt x="41805" y="429338"/>
                      <a:pt x="41203" y="426923"/>
                      <a:pt x="39688" y="425105"/>
                    </a:cubicBezTo>
                    <a:cubicBezTo>
                      <a:pt x="38466" y="423639"/>
                      <a:pt x="36374" y="423172"/>
                      <a:pt x="34925" y="421930"/>
                    </a:cubicBezTo>
                    <a:cubicBezTo>
                      <a:pt x="32652" y="419982"/>
                      <a:pt x="30848" y="417528"/>
                      <a:pt x="28575" y="415580"/>
                    </a:cubicBezTo>
                    <a:cubicBezTo>
                      <a:pt x="27127" y="414338"/>
                      <a:pt x="25162" y="413754"/>
                      <a:pt x="23813" y="412405"/>
                    </a:cubicBezTo>
                    <a:cubicBezTo>
                      <a:pt x="20153" y="408745"/>
                      <a:pt x="19631" y="404483"/>
                      <a:pt x="14288" y="402880"/>
                    </a:cubicBezTo>
                    <a:cubicBezTo>
                      <a:pt x="10704" y="401805"/>
                      <a:pt x="6879" y="401822"/>
                      <a:pt x="3175" y="401293"/>
                    </a:cubicBezTo>
                    <a:cubicBezTo>
                      <a:pt x="853" y="387358"/>
                      <a:pt x="702" y="391264"/>
                      <a:pt x="3175" y="372718"/>
                    </a:cubicBezTo>
                    <a:cubicBezTo>
                      <a:pt x="3689" y="368862"/>
                      <a:pt x="6779" y="363893"/>
                      <a:pt x="9525" y="361605"/>
                    </a:cubicBezTo>
                    <a:cubicBezTo>
                      <a:pt x="10811" y="360534"/>
                      <a:pt x="12654" y="360381"/>
                      <a:pt x="14288" y="360018"/>
                    </a:cubicBezTo>
                    <a:cubicBezTo>
                      <a:pt x="17430" y="359320"/>
                      <a:pt x="20638" y="358959"/>
                      <a:pt x="23813" y="358430"/>
                    </a:cubicBezTo>
                    <a:cubicBezTo>
                      <a:pt x="23284" y="337263"/>
                      <a:pt x="24375" y="315994"/>
                      <a:pt x="22225" y="294930"/>
                    </a:cubicBezTo>
                    <a:cubicBezTo>
                      <a:pt x="21696" y="289745"/>
                      <a:pt x="17523" y="285587"/>
                      <a:pt x="15875" y="280643"/>
                    </a:cubicBezTo>
                    <a:cubicBezTo>
                      <a:pt x="11530" y="267606"/>
                      <a:pt x="18416" y="273869"/>
                      <a:pt x="9525" y="267943"/>
                    </a:cubicBezTo>
                    <a:cubicBezTo>
                      <a:pt x="8467" y="264768"/>
                      <a:pt x="6719" y="261744"/>
                      <a:pt x="6350" y="258418"/>
                    </a:cubicBezTo>
                    <a:cubicBezTo>
                      <a:pt x="6165" y="256755"/>
                      <a:pt x="6275" y="253840"/>
                      <a:pt x="7938" y="253655"/>
                    </a:cubicBezTo>
                    <a:cubicBezTo>
                      <a:pt x="12275" y="253173"/>
                      <a:pt x="16405" y="255772"/>
                      <a:pt x="20638" y="256830"/>
                    </a:cubicBezTo>
                    <a:cubicBezTo>
                      <a:pt x="23717" y="256060"/>
                      <a:pt x="34723" y="254822"/>
                      <a:pt x="38100" y="250480"/>
                    </a:cubicBezTo>
                    <a:cubicBezTo>
                      <a:pt x="40719" y="247113"/>
                      <a:pt x="42333" y="243072"/>
                      <a:pt x="44450" y="239368"/>
                    </a:cubicBezTo>
                    <a:cubicBezTo>
                      <a:pt x="43392" y="233018"/>
                      <a:pt x="43666" y="226295"/>
                      <a:pt x="41275" y="220318"/>
                    </a:cubicBezTo>
                    <a:cubicBezTo>
                      <a:pt x="40292" y="217861"/>
                      <a:pt x="37292" y="216738"/>
                      <a:pt x="34925" y="215555"/>
                    </a:cubicBezTo>
                    <a:cubicBezTo>
                      <a:pt x="24047" y="210116"/>
                      <a:pt x="11770" y="211528"/>
                      <a:pt x="0" y="210793"/>
                    </a:cubicBezTo>
                    <a:cubicBezTo>
                      <a:pt x="2646" y="209735"/>
                      <a:pt x="5208" y="208437"/>
                      <a:pt x="7938" y="207618"/>
                    </a:cubicBezTo>
                    <a:cubicBezTo>
                      <a:pt x="10522" y="206843"/>
                      <a:pt x="13241" y="206615"/>
                      <a:pt x="15875" y="206030"/>
                    </a:cubicBezTo>
                    <a:cubicBezTo>
                      <a:pt x="18005" y="205557"/>
                      <a:pt x="20108" y="204972"/>
                      <a:pt x="22225" y="204443"/>
                    </a:cubicBezTo>
                    <a:cubicBezTo>
                      <a:pt x="24871" y="201797"/>
                      <a:pt x="27988" y="199550"/>
                      <a:pt x="30163" y="196505"/>
                    </a:cubicBezTo>
                    <a:cubicBezTo>
                      <a:pt x="33330" y="192072"/>
                      <a:pt x="33385" y="184948"/>
                      <a:pt x="38100" y="182218"/>
                    </a:cubicBezTo>
                    <a:cubicBezTo>
                      <a:pt x="44576" y="178469"/>
                      <a:pt x="52917" y="180101"/>
                      <a:pt x="60325" y="179043"/>
                    </a:cubicBezTo>
                    <a:cubicBezTo>
                      <a:pt x="60854" y="177455"/>
                      <a:pt x="60730" y="175463"/>
                      <a:pt x="61913" y="174280"/>
                    </a:cubicBezTo>
                    <a:cubicBezTo>
                      <a:pt x="63652" y="172541"/>
                      <a:pt x="70336" y="170309"/>
                      <a:pt x="73025" y="169518"/>
                    </a:cubicBezTo>
                    <a:cubicBezTo>
                      <a:pt x="101948" y="161012"/>
                      <a:pt x="86835" y="165973"/>
                      <a:pt x="100013" y="161580"/>
                    </a:cubicBezTo>
                    <a:cubicBezTo>
                      <a:pt x="102130" y="159993"/>
                      <a:pt x="103997" y="158001"/>
                      <a:pt x="106363" y="156818"/>
                    </a:cubicBezTo>
                    <a:cubicBezTo>
                      <a:pt x="113121" y="153439"/>
                      <a:pt x="120403" y="156207"/>
                      <a:pt x="127000" y="158405"/>
                    </a:cubicBezTo>
                    <a:cubicBezTo>
                      <a:pt x="132292" y="156288"/>
                      <a:pt x="138464" y="155664"/>
                      <a:pt x="142875" y="152055"/>
                    </a:cubicBezTo>
                    <a:cubicBezTo>
                      <a:pt x="148752" y="147247"/>
                      <a:pt x="140198" y="142827"/>
                      <a:pt x="147638" y="139355"/>
                    </a:cubicBezTo>
                    <a:cubicBezTo>
                      <a:pt x="154160" y="136311"/>
                      <a:pt x="161592" y="135678"/>
                      <a:pt x="168275" y="133005"/>
                    </a:cubicBezTo>
                    <a:cubicBezTo>
                      <a:pt x="170921" y="131947"/>
                      <a:pt x="173426" y="130427"/>
                      <a:pt x="176213" y="129830"/>
                    </a:cubicBezTo>
                    <a:cubicBezTo>
                      <a:pt x="180898" y="128826"/>
                      <a:pt x="185738" y="128772"/>
                      <a:pt x="190500" y="128243"/>
                    </a:cubicBezTo>
                    <a:cubicBezTo>
                      <a:pt x="194733" y="127185"/>
                      <a:pt x="198990" y="126216"/>
                      <a:pt x="203200" y="125068"/>
                    </a:cubicBezTo>
                    <a:cubicBezTo>
                      <a:pt x="204815" y="124628"/>
                      <a:pt x="206692" y="124569"/>
                      <a:pt x="207963" y="123480"/>
                    </a:cubicBezTo>
                    <a:cubicBezTo>
                      <a:pt x="210536" y="121275"/>
                      <a:pt x="212196" y="118189"/>
                      <a:pt x="214313" y="115543"/>
                    </a:cubicBezTo>
                    <a:cubicBezTo>
                      <a:pt x="214842" y="113955"/>
                      <a:pt x="215494" y="112404"/>
                      <a:pt x="215900" y="110780"/>
                    </a:cubicBezTo>
                    <a:cubicBezTo>
                      <a:pt x="217612" y="103931"/>
                      <a:pt x="217031" y="96197"/>
                      <a:pt x="220663" y="90143"/>
                    </a:cubicBezTo>
                    <a:cubicBezTo>
                      <a:pt x="222385" y="87273"/>
                      <a:pt x="230188" y="86968"/>
                      <a:pt x="230188" y="86968"/>
                    </a:cubicBezTo>
                    <a:cubicBezTo>
                      <a:pt x="232834" y="84851"/>
                      <a:pt x="235306" y="82497"/>
                      <a:pt x="238125" y="80618"/>
                    </a:cubicBezTo>
                    <a:cubicBezTo>
                      <a:pt x="259968" y="66056"/>
                      <a:pt x="240610" y="80080"/>
                      <a:pt x="255588" y="71093"/>
                    </a:cubicBezTo>
                    <a:cubicBezTo>
                      <a:pt x="258860" y="69130"/>
                      <a:pt x="262101" y="67086"/>
                      <a:pt x="265113" y="64743"/>
                    </a:cubicBezTo>
                    <a:cubicBezTo>
                      <a:pt x="281122" y="52290"/>
                      <a:pt x="273547" y="55093"/>
                      <a:pt x="285750" y="52043"/>
                    </a:cubicBezTo>
                    <a:cubicBezTo>
                      <a:pt x="288925" y="49926"/>
                      <a:pt x="292577" y="48391"/>
                      <a:pt x="295275" y="45693"/>
                    </a:cubicBezTo>
                    <a:cubicBezTo>
                      <a:pt x="296863" y="44105"/>
                      <a:pt x="298242" y="42277"/>
                      <a:pt x="300038" y="40930"/>
                    </a:cubicBezTo>
                    <a:cubicBezTo>
                      <a:pt x="302506" y="39079"/>
                      <a:pt x="305566" y="38095"/>
                      <a:pt x="307975" y="36168"/>
                    </a:cubicBezTo>
                    <a:cubicBezTo>
                      <a:pt x="315301" y="30308"/>
                      <a:pt x="314675" y="27683"/>
                      <a:pt x="322263" y="23468"/>
                    </a:cubicBezTo>
                    <a:cubicBezTo>
                      <a:pt x="330139" y="19093"/>
                      <a:pt x="332022" y="20447"/>
                      <a:pt x="341313" y="18705"/>
                    </a:cubicBezTo>
                    <a:cubicBezTo>
                      <a:pt x="346108" y="17806"/>
                      <a:pt x="350838" y="16588"/>
                      <a:pt x="355600" y="15530"/>
                    </a:cubicBezTo>
                    <a:cubicBezTo>
                      <a:pt x="358775" y="13943"/>
                      <a:pt x="361712" y="11743"/>
                      <a:pt x="365125" y="10768"/>
                    </a:cubicBezTo>
                    <a:cubicBezTo>
                      <a:pt x="378421" y="6969"/>
                      <a:pt x="415728" y="10638"/>
                      <a:pt x="419100" y="10768"/>
                    </a:cubicBezTo>
                    <a:cubicBezTo>
                      <a:pt x="431185" y="14796"/>
                      <a:pt x="425343" y="13287"/>
                      <a:pt x="436563" y="15530"/>
                    </a:cubicBezTo>
                    <a:cubicBezTo>
                      <a:pt x="439209" y="17118"/>
                      <a:pt x="441635" y="19147"/>
                      <a:pt x="444500" y="20293"/>
                    </a:cubicBezTo>
                    <a:cubicBezTo>
                      <a:pt x="447005" y="21295"/>
                      <a:pt x="449804" y="21295"/>
                      <a:pt x="452438" y="21880"/>
                    </a:cubicBezTo>
                    <a:cubicBezTo>
                      <a:pt x="454568" y="22353"/>
                      <a:pt x="456671" y="22939"/>
                      <a:pt x="458788" y="23468"/>
                    </a:cubicBezTo>
                    <a:cubicBezTo>
                      <a:pt x="460905" y="25055"/>
                      <a:pt x="463444" y="26197"/>
                      <a:pt x="465138" y="28230"/>
                    </a:cubicBezTo>
                    <a:cubicBezTo>
                      <a:pt x="466209" y="29516"/>
                      <a:pt x="466066" y="31455"/>
                      <a:pt x="466725" y="32993"/>
                    </a:cubicBezTo>
                    <a:cubicBezTo>
                      <a:pt x="467657" y="35168"/>
                      <a:pt x="468968" y="37168"/>
                      <a:pt x="469900" y="39343"/>
                    </a:cubicBezTo>
                    <a:cubicBezTo>
                      <a:pt x="470559" y="40881"/>
                      <a:pt x="472985" y="43357"/>
                      <a:pt x="471488" y="44105"/>
                    </a:cubicBezTo>
                    <a:cubicBezTo>
                      <a:pt x="469075" y="45312"/>
                      <a:pt x="466196" y="43047"/>
                      <a:pt x="463550" y="42518"/>
                    </a:cubicBezTo>
                    <a:cubicBezTo>
                      <a:pt x="459889" y="39589"/>
                      <a:pt x="450059" y="32204"/>
                      <a:pt x="447675" y="28230"/>
                    </a:cubicBezTo>
                    <a:cubicBezTo>
                      <a:pt x="437908" y="11952"/>
                      <a:pt x="455759" y="27547"/>
                      <a:pt x="439738" y="15530"/>
                    </a:cubicBezTo>
                    <a:cubicBezTo>
                      <a:pt x="434446" y="18176"/>
                      <a:pt x="429019" y="20567"/>
                      <a:pt x="423863" y="23468"/>
                    </a:cubicBezTo>
                    <a:cubicBezTo>
                      <a:pt x="420537" y="25339"/>
                      <a:pt x="415263" y="26116"/>
                      <a:pt x="414338" y="29818"/>
                    </a:cubicBezTo>
                    <a:cubicBezTo>
                      <a:pt x="413612" y="32722"/>
                      <a:pt x="418740" y="33895"/>
                      <a:pt x="420688" y="36168"/>
                    </a:cubicBezTo>
                    <a:cubicBezTo>
                      <a:pt x="426668" y="43144"/>
                      <a:pt x="420189" y="40011"/>
                      <a:pt x="430213" y="42518"/>
                    </a:cubicBezTo>
                    <a:cubicBezTo>
                      <a:pt x="441251" y="53556"/>
                      <a:pt x="428437" y="39322"/>
                      <a:pt x="438150" y="56805"/>
                    </a:cubicBezTo>
                    <a:cubicBezTo>
                      <a:pt x="439240" y="58768"/>
                      <a:pt x="441452" y="59863"/>
                      <a:pt x="442913" y="61568"/>
                    </a:cubicBezTo>
                    <a:cubicBezTo>
                      <a:pt x="450789" y="70757"/>
                      <a:pt x="444053" y="65504"/>
                      <a:pt x="452438" y="71093"/>
                    </a:cubicBezTo>
                    <a:cubicBezTo>
                      <a:pt x="455722" y="84232"/>
                      <a:pt x="450511" y="71717"/>
                      <a:pt x="465138" y="79030"/>
                    </a:cubicBezTo>
                    <a:cubicBezTo>
                      <a:pt x="466635" y="79778"/>
                      <a:pt x="465418" y="82748"/>
                      <a:pt x="466725" y="83793"/>
                    </a:cubicBezTo>
                    <a:cubicBezTo>
                      <a:pt x="468429" y="85156"/>
                      <a:pt x="470912" y="85098"/>
                      <a:pt x="473075" y="85380"/>
                    </a:cubicBezTo>
                    <a:cubicBezTo>
                      <a:pt x="526763" y="92382"/>
                      <a:pt x="482968" y="84869"/>
                      <a:pt x="520700" y="91730"/>
                    </a:cubicBezTo>
                    <a:cubicBezTo>
                      <a:pt x="522191" y="91357"/>
                      <a:pt x="541074" y="88101"/>
                      <a:pt x="546100" y="83793"/>
                    </a:cubicBezTo>
                    <a:cubicBezTo>
                      <a:pt x="548109" y="82071"/>
                      <a:pt x="548992" y="79314"/>
                      <a:pt x="550863" y="77443"/>
                    </a:cubicBezTo>
                    <a:cubicBezTo>
                      <a:pt x="553259" y="75047"/>
                      <a:pt x="556404" y="73489"/>
                      <a:pt x="558800" y="71093"/>
                    </a:cubicBezTo>
                    <a:cubicBezTo>
                      <a:pt x="565980" y="63912"/>
                      <a:pt x="557466" y="67832"/>
                      <a:pt x="566738" y="64743"/>
                    </a:cubicBezTo>
                    <a:cubicBezTo>
                      <a:pt x="568855" y="62626"/>
                      <a:pt x="570815" y="60341"/>
                      <a:pt x="573088" y="58393"/>
                    </a:cubicBezTo>
                    <a:cubicBezTo>
                      <a:pt x="574536" y="57151"/>
                      <a:pt x="576792" y="56805"/>
                      <a:pt x="577850" y="55218"/>
                    </a:cubicBezTo>
                    <a:cubicBezTo>
                      <a:pt x="579060" y="53403"/>
                      <a:pt x="571235" y="52837"/>
                      <a:pt x="571500" y="5204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848" name="Freeform: Shape 847">
                <a:extLst>
                  <a:ext uri="{FF2B5EF4-FFF2-40B4-BE49-F238E27FC236}">
                    <a16:creationId xmlns:a16="http://schemas.microsoft.com/office/drawing/2014/main" id="{39ECD6A7-D8C0-463E-990F-07ECC5B5B9AF}"/>
                  </a:ext>
                </a:extLst>
              </p:cNvPr>
              <p:cNvSpPr/>
              <p:nvPr/>
            </p:nvSpPr>
            <p:spPr>
              <a:xfrm rot="1102675">
                <a:off x="5240541" y="3651004"/>
                <a:ext cx="38716" cy="72000"/>
              </a:xfrm>
              <a:custGeom>
                <a:avLst/>
                <a:gdLst>
                  <a:gd name="connsiteX0" fmla="*/ 36172 w 38716"/>
                  <a:gd name="connsiteY0" fmla="*/ 62 h 81654"/>
                  <a:gd name="connsiteX1" fmla="*/ 29029 w 38716"/>
                  <a:gd name="connsiteY1" fmla="*/ 23874 h 81654"/>
                  <a:gd name="connsiteX2" fmla="*/ 21885 w 38716"/>
                  <a:gd name="connsiteY2" fmla="*/ 28637 h 81654"/>
                  <a:gd name="connsiteX3" fmla="*/ 19504 w 38716"/>
                  <a:gd name="connsiteY3" fmla="*/ 35781 h 81654"/>
                  <a:gd name="connsiteX4" fmla="*/ 14741 w 38716"/>
                  <a:gd name="connsiteY4" fmla="*/ 59593 h 81654"/>
                  <a:gd name="connsiteX5" fmla="*/ 9979 w 38716"/>
                  <a:gd name="connsiteY5" fmla="*/ 66737 h 81654"/>
                  <a:gd name="connsiteX6" fmla="*/ 7597 w 38716"/>
                  <a:gd name="connsiteY6" fmla="*/ 73881 h 81654"/>
                  <a:gd name="connsiteX7" fmla="*/ 454 w 38716"/>
                  <a:gd name="connsiteY7" fmla="*/ 81024 h 81654"/>
                  <a:gd name="connsiteX8" fmla="*/ 9979 w 38716"/>
                  <a:gd name="connsiteY8" fmla="*/ 76262 h 81654"/>
                  <a:gd name="connsiteX9" fmla="*/ 17122 w 38716"/>
                  <a:gd name="connsiteY9" fmla="*/ 59593 h 81654"/>
                  <a:gd name="connsiteX10" fmla="*/ 26647 w 38716"/>
                  <a:gd name="connsiteY10" fmla="*/ 45306 h 81654"/>
                  <a:gd name="connsiteX11" fmla="*/ 31410 w 38716"/>
                  <a:gd name="connsiteY11" fmla="*/ 31018 h 81654"/>
                  <a:gd name="connsiteX12" fmla="*/ 36172 w 38716"/>
                  <a:gd name="connsiteY12" fmla="*/ 23874 h 81654"/>
                  <a:gd name="connsiteX13" fmla="*/ 38554 w 38716"/>
                  <a:gd name="connsiteY13" fmla="*/ 16731 h 81654"/>
                  <a:gd name="connsiteX14" fmla="*/ 36172 w 38716"/>
                  <a:gd name="connsiteY14" fmla="*/ 62 h 81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8716" h="81654">
                    <a:moveTo>
                      <a:pt x="36172" y="62"/>
                    </a:moveTo>
                    <a:cubicBezTo>
                      <a:pt x="34585" y="1252"/>
                      <a:pt x="36248" y="16655"/>
                      <a:pt x="29029" y="23874"/>
                    </a:cubicBezTo>
                    <a:cubicBezTo>
                      <a:pt x="27005" y="25898"/>
                      <a:pt x="24266" y="27049"/>
                      <a:pt x="21885" y="28637"/>
                    </a:cubicBezTo>
                    <a:cubicBezTo>
                      <a:pt x="21091" y="31018"/>
                      <a:pt x="19996" y="33320"/>
                      <a:pt x="19504" y="35781"/>
                    </a:cubicBezTo>
                    <a:cubicBezTo>
                      <a:pt x="18042" y="43091"/>
                      <a:pt x="18326" y="52421"/>
                      <a:pt x="14741" y="59593"/>
                    </a:cubicBezTo>
                    <a:cubicBezTo>
                      <a:pt x="13461" y="62153"/>
                      <a:pt x="11259" y="64177"/>
                      <a:pt x="9979" y="66737"/>
                    </a:cubicBezTo>
                    <a:cubicBezTo>
                      <a:pt x="8856" y="68982"/>
                      <a:pt x="8989" y="71792"/>
                      <a:pt x="7597" y="73881"/>
                    </a:cubicBezTo>
                    <a:cubicBezTo>
                      <a:pt x="5729" y="76683"/>
                      <a:pt x="-1927" y="78643"/>
                      <a:pt x="454" y="81024"/>
                    </a:cubicBezTo>
                    <a:cubicBezTo>
                      <a:pt x="2965" y="83533"/>
                      <a:pt x="6804" y="77849"/>
                      <a:pt x="9979" y="76262"/>
                    </a:cubicBezTo>
                    <a:cubicBezTo>
                      <a:pt x="12442" y="68873"/>
                      <a:pt x="12709" y="66948"/>
                      <a:pt x="17122" y="59593"/>
                    </a:cubicBezTo>
                    <a:cubicBezTo>
                      <a:pt x="20067" y="54685"/>
                      <a:pt x="24837" y="50736"/>
                      <a:pt x="26647" y="45306"/>
                    </a:cubicBezTo>
                    <a:cubicBezTo>
                      <a:pt x="28235" y="40543"/>
                      <a:pt x="28625" y="35195"/>
                      <a:pt x="31410" y="31018"/>
                    </a:cubicBezTo>
                    <a:cubicBezTo>
                      <a:pt x="32997" y="28637"/>
                      <a:pt x="34892" y="26434"/>
                      <a:pt x="36172" y="23874"/>
                    </a:cubicBezTo>
                    <a:cubicBezTo>
                      <a:pt x="37295" y="21629"/>
                      <a:pt x="37622" y="19061"/>
                      <a:pt x="38554" y="16731"/>
                    </a:cubicBezTo>
                    <a:cubicBezTo>
                      <a:pt x="39213" y="15083"/>
                      <a:pt x="37759" y="-1128"/>
                      <a:pt x="36172" y="62"/>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sp>
          <p:nvSpPr>
            <p:cNvPr id="321" name="Freeform: Shape 320">
              <a:extLst>
                <a:ext uri="{FF2B5EF4-FFF2-40B4-BE49-F238E27FC236}">
                  <a16:creationId xmlns:a16="http://schemas.microsoft.com/office/drawing/2014/main" id="{6BD6CE1B-D60C-4196-9945-4CBEFBFA78E1}"/>
                </a:ext>
              </a:extLst>
            </p:cNvPr>
            <p:cNvSpPr/>
            <p:nvPr/>
          </p:nvSpPr>
          <p:spPr>
            <a:xfrm>
              <a:off x="8988246" y="4170494"/>
              <a:ext cx="497097" cy="510053"/>
            </a:xfrm>
            <a:custGeom>
              <a:avLst/>
              <a:gdLst>
                <a:gd name="connsiteX0" fmla="*/ 1567 w 497097"/>
                <a:gd name="connsiteY0" fmla="*/ 64759 h 510053"/>
                <a:gd name="connsiteX1" fmla="*/ 13473 w 497097"/>
                <a:gd name="connsiteY1" fmla="*/ 67140 h 510053"/>
                <a:gd name="connsiteX2" fmla="*/ 20617 w 497097"/>
                <a:gd name="connsiteY2" fmla="*/ 71903 h 510053"/>
                <a:gd name="connsiteX3" fmla="*/ 27761 w 497097"/>
                <a:gd name="connsiteY3" fmla="*/ 74284 h 510053"/>
                <a:gd name="connsiteX4" fmla="*/ 44429 w 497097"/>
                <a:gd name="connsiteY4" fmla="*/ 79047 h 510053"/>
                <a:gd name="connsiteX5" fmla="*/ 58717 w 497097"/>
                <a:gd name="connsiteY5" fmla="*/ 88572 h 510053"/>
                <a:gd name="connsiteX6" fmla="*/ 61098 w 497097"/>
                <a:gd name="connsiteY6" fmla="*/ 95715 h 510053"/>
                <a:gd name="connsiteX7" fmla="*/ 70623 w 497097"/>
                <a:gd name="connsiteY7" fmla="*/ 110003 h 510053"/>
                <a:gd name="connsiteX8" fmla="*/ 75386 w 497097"/>
                <a:gd name="connsiteY8" fmla="*/ 117147 h 510053"/>
                <a:gd name="connsiteX9" fmla="*/ 82529 w 497097"/>
                <a:gd name="connsiteY9" fmla="*/ 124290 h 510053"/>
                <a:gd name="connsiteX10" fmla="*/ 92054 w 497097"/>
                <a:gd name="connsiteY10" fmla="*/ 138578 h 510053"/>
                <a:gd name="connsiteX11" fmla="*/ 96817 w 497097"/>
                <a:gd name="connsiteY11" fmla="*/ 145722 h 510053"/>
                <a:gd name="connsiteX12" fmla="*/ 103961 w 497097"/>
                <a:gd name="connsiteY12" fmla="*/ 155247 h 510053"/>
                <a:gd name="connsiteX13" fmla="*/ 118248 w 497097"/>
                <a:gd name="connsiteY13" fmla="*/ 167153 h 510053"/>
                <a:gd name="connsiteX14" fmla="*/ 132536 w 497097"/>
                <a:gd name="connsiteY14" fmla="*/ 179059 h 510053"/>
                <a:gd name="connsiteX15" fmla="*/ 142061 w 497097"/>
                <a:gd name="connsiteY15" fmla="*/ 193347 h 510053"/>
                <a:gd name="connsiteX16" fmla="*/ 165873 w 497097"/>
                <a:gd name="connsiteY16" fmla="*/ 205253 h 510053"/>
                <a:gd name="connsiteX17" fmla="*/ 175398 w 497097"/>
                <a:gd name="connsiteY17" fmla="*/ 219540 h 510053"/>
                <a:gd name="connsiteX18" fmla="*/ 177779 w 497097"/>
                <a:gd name="connsiteY18" fmla="*/ 226684 h 510053"/>
                <a:gd name="connsiteX19" fmla="*/ 182542 w 497097"/>
                <a:gd name="connsiteY19" fmla="*/ 233828 h 510053"/>
                <a:gd name="connsiteX20" fmla="*/ 189686 w 497097"/>
                <a:gd name="connsiteY20" fmla="*/ 236209 h 510053"/>
                <a:gd name="connsiteX21" fmla="*/ 196829 w 497097"/>
                <a:gd name="connsiteY21" fmla="*/ 240972 h 510053"/>
                <a:gd name="connsiteX22" fmla="*/ 203973 w 497097"/>
                <a:gd name="connsiteY22" fmla="*/ 243353 h 510053"/>
                <a:gd name="connsiteX23" fmla="*/ 208736 w 497097"/>
                <a:gd name="connsiteY23" fmla="*/ 250497 h 510053"/>
                <a:gd name="connsiteX24" fmla="*/ 215879 w 497097"/>
                <a:gd name="connsiteY24" fmla="*/ 255259 h 510053"/>
                <a:gd name="connsiteX25" fmla="*/ 218261 w 497097"/>
                <a:gd name="connsiteY25" fmla="*/ 262403 h 510053"/>
                <a:gd name="connsiteX26" fmla="*/ 225404 w 497097"/>
                <a:gd name="connsiteY26" fmla="*/ 267165 h 510053"/>
                <a:gd name="connsiteX27" fmla="*/ 232548 w 497097"/>
                <a:gd name="connsiteY27" fmla="*/ 274309 h 510053"/>
                <a:gd name="connsiteX28" fmla="*/ 242073 w 497097"/>
                <a:gd name="connsiteY28" fmla="*/ 288597 h 510053"/>
                <a:gd name="connsiteX29" fmla="*/ 246836 w 497097"/>
                <a:gd name="connsiteY29" fmla="*/ 295740 h 510053"/>
                <a:gd name="connsiteX30" fmla="*/ 256361 w 497097"/>
                <a:gd name="connsiteY30" fmla="*/ 310028 h 510053"/>
                <a:gd name="connsiteX31" fmla="*/ 261123 w 497097"/>
                <a:gd name="connsiteY31" fmla="*/ 317172 h 510053"/>
                <a:gd name="connsiteX32" fmla="*/ 268267 w 497097"/>
                <a:gd name="connsiteY32" fmla="*/ 333840 h 510053"/>
                <a:gd name="connsiteX33" fmla="*/ 265886 w 497097"/>
                <a:gd name="connsiteY33" fmla="*/ 343365 h 510053"/>
                <a:gd name="connsiteX34" fmla="*/ 263504 w 497097"/>
                <a:gd name="connsiteY34" fmla="*/ 350509 h 510053"/>
                <a:gd name="connsiteX35" fmla="*/ 258742 w 497097"/>
                <a:gd name="connsiteY35" fmla="*/ 369559 h 510053"/>
                <a:gd name="connsiteX36" fmla="*/ 261123 w 497097"/>
                <a:gd name="connsiteY36" fmla="*/ 417184 h 510053"/>
                <a:gd name="connsiteX37" fmla="*/ 263504 w 497097"/>
                <a:gd name="connsiteY37" fmla="*/ 424328 h 510053"/>
                <a:gd name="connsiteX38" fmla="*/ 268267 w 497097"/>
                <a:gd name="connsiteY38" fmla="*/ 431472 h 510053"/>
                <a:gd name="connsiteX39" fmla="*/ 277792 w 497097"/>
                <a:gd name="connsiteY39" fmla="*/ 452903 h 510053"/>
                <a:gd name="connsiteX40" fmla="*/ 280173 w 497097"/>
                <a:gd name="connsiteY40" fmla="*/ 464809 h 510053"/>
                <a:gd name="connsiteX41" fmla="*/ 282554 w 497097"/>
                <a:gd name="connsiteY41" fmla="*/ 471953 h 510053"/>
                <a:gd name="connsiteX42" fmla="*/ 284936 w 497097"/>
                <a:gd name="connsiteY42" fmla="*/ 483859 h 510053"/>
                <a:gd name="connsiteX43" fmla="*/ 282554 w 497097"/>
                <a:gd name="connsiteY43" fmla="*/ 500528 h 510053"/>
                <a:gd name="connsiteX44" fmla="*/ 280173 w 497097"/>
                <a:gd name="connsiteY44" fmla="*/ 510053 h 510053"/>
                <a:gd name="connsiteX45" fmla="*/ 313511 w 497097"/>
                <a:gd name="connsiteY45" fmla="*/ 505290 h 510053"/>
                <a:gd name="connsiteX46" fmla="*/ 320654 w 497097"/>
                <a:gd name="connsiteY46" fmla="*/ 500528 h 510053"/>
                <a:gd name="connsiteX47" fmla="*/ 342086 w 497097"/>
                <a:gd name="connsiteY47" fmla="*/ 491003 h 510053"/>
                <a:gd name="connsiteX48" fmla="*/ 339704 w 497097"/>
                <a:gd name="connsiteY48" fmla="*/ 483859 h 510053"/>
                <a:gd name="connsiteX49" fmla="*/ 332561 w 497097"/>
                <a:gd name="connsiteY49" fmla="*/ 479097 h 510053"/>
                <a:gd name="connsiteX50" fmla="*/ 327798 w 497097"/>
                <a:gd name="connsiteY50" fmla="*/ 471953 h 510053"/>
                <a:gd name="connsiteX51" fmla="*/ 325417 w 497097"/>
                <a:gd name="connsiteY51" fmla="*/ 464809 h 510053"/>
                <a:gd name="connsiteX52" fmla="*/ 342086 w 497097"/>
                <a:gd name="connsiteY52" fmla="*/ 440997 h 510053"/>
                <a:gd name="connsiteX53" fmla="*/ 346848 w 497097"/>
                <a:gd name="connsiteY53" fmla="*/ 433853 h 510053"/>
                <a:gd name="connsiteX54" fmla="*/ 351611 w 497097"/>
                <a:gd name="connsiteY54" fmla="*/ 419565 h 510053"/>
                <a:gd name="connsiteX55" fmla="*/ 351611 w 497097"/>
                <a:gd name="connsiteY55" fmla="*/ 402897 h 510053"/>
                <a:gd name="connsiteX56" fmla="*/ 358754 w 497097"/>
                <a:gd name="connsiteY56" fmla="*/ 400515 h 510053"/>
                <a:gd name="connsiteX57" fmla="*/ 365898 w 497097"/>
                <a:gd name="connsiteY57" fmla="*/ 393372 h 510053"/>
                <a:gd name="connsiteX58" fmla="*/ 365898 w 497097"/>
                <a:gd name="connsiteY58" fmla="*/ 362415 h 510053"/>
                <a:gd name="connsiteX59" fmla="*/ 363517 w 497097"/>
                <a:gd name="connsiteY59" fmla="*/ 355272 h 510053"/>
                <a:gd name="connsiteX60" fmla="*/ 356373 w 497097"/>
                <a:gd name="connsiteY60" fmla="*/ 350509 h 510053"/>
                <a:gd name="connsiteX61" fmla="*/ 351611 w 497097"/>
                <a:gd name="connsiteY61" fmla="*/ 343365 h 510053"/>
                <a:gd name="connsiteX62" fmla="*/ 351611 w 497097"/>
                <a:gd name="connsiteY62" fmla="*/ 321934 h 510053"/>
                <a:gd name="connsiteX63" fmla="*/ 358754 w 497097"/>
                <a:gd name="connsiteY63" fmla="*/ 314790 h 510053"/>
                <a:gd name="connsiteX64" fmla="*/ 368279 w 497097"/>
                <a:gd name="connsiteY64" fmla="*/ 302884 h 510053"/>
                <a:gd name="connsiteX65" fmla="*/ 373042 w 497097"/>
                <a:gd name="connsiteY65" fmla="*/ 310028 h 510053"/>
                <a:gd name="connsiteX66" fmla="*/ 375423 w 497097"/>
                <a:gd name="connsiteY66" fmla="*/ 317172 h 510053"/>
                <a:gd name="connsiteX67" fmla="*/ 377804 w 497097"/>
                <a:gd name="connsiteY67" fmla="*/ 326697 h 510053"/>
                <a:gd name="connsiteX68" fmla="*/ 384948 w 497097"/>
                <a:gd name="connsiteY68" fmla="*/ 324315 h 510053"/>
                <a:gd name="connsiteX69" fmla="*/ 396854 w 497097"/>
                <a:gd name="connsiteY69" fmla="*/ 302884 h 510053"/>
                <a:gd name="connsiteX70" fmla="*/ 403998 w 497097"/>
                <a:gd name="connsiteY70" fmla="*/ 300503 h 510053"/>
                <a:gd name="connsiteX71" fmla="*/ 413523 w 497097"/>
                <a:gd name="connsiteY71" fmla="*/ 302884 h 510053"/>
                <a:gd name="connsiteX72" fmla="*/ 420667 w 497097"/>
                <a:gd name="connsiteY72" fmla="*/ 307647 h 510053"/>
                <a:gd name="connsiteX73" fmla="*/ 427811 w 497097"/>
                <a:gd name="connsiteY73" fmla="*/ 310028 h 510053"/>
                <a:gd name="connsiteX74" fmla="*/ 430192 w 497097"/>
                <a:gd name="connsiteY74" fmla="*/ 302884 h 510053"/>
                <a:gd name="connsiteX75" fmla="*/ 454004 w 497097"/>
                <a:gd name="connsiteY75" fmla="*/ 300503 h 510053"/>
                <a:gd name="connsiteX76" fmla="*/ 461148 w 497097"/>
                <a:gd name="connsiteY76" fmla="*/ 302884 h 510053"/>
                <a:gd name="connsiteX77" fmla="*/ 482579 w 497097"/>
                <a:gd name="connsiteY77" fmla="*/ 290978 h 510053"/>
                <a:gd name="connsiteX78" fmla="*/ 489723 w 497097"/>
                <a:gd name="connsiteY78" fmla="*/ 288597 h 510053"/>
                <a:gd name="connsiteX79" fmla="*/ 496867 w 497097"/>
                <a:gd name="connsiteY79" fmla="*/ 281453 h 510053"/>
                <a:gd name="connsiteX80" fmla="*/ 484961 w 497097"/>
                <a:gd name="connsiteY80" fmla="*/ 279072 h 510053"/>
                <a:gd name="connsiteX81" fmla="*/ 477817 w 497097"/>
                <a:gd name="connsiteY81" fmla="*/ 274309 h 510053"/>
                <a:gd name="connsiteX82" fmla="*/ 463529 w 497097"/>
                <a:gd name="connsiteY82" fmla="*/ 269547 h 510053"/>
                <a:gd name="connsiteX83" fmla="*/ 458767 w 497097"/>
                <a:gd name="connsiteY83" fmla="*/ 262403 h 510053"/>
                <a:gd name="connsiteX84" fmla="*/ 456386 w 497097"/>
                <a:gd name="connsiteY84" fmla="*/ 243353 h 510053"/>
                <a:gd name="connsiteX85" fmla="*/ 454004 w 497097"/>
                <a:gd name="connsiteY85" fmla="*/ 233828 h 510053"/>
                <a:gd name="connsiteX86" fmla="*/ 446861 w 497097"/>
                <a:gd name="connsiteY86" fmla="*/ 219540 h 510053"/>
                <a:gd name="connsiteX87" fmla="*/ 432573 w 497097"/>
                <a:gd name="connsiteY87" fmla="*/ 214778 h 510053"/>
                <a:gd name="connsiteX88" fmla="*/ 403998 w 497097"/>
                <a:gd name="connsiteY88" fmla="*/ 210015 h 510053"/>
                <a:gd name="connsiteX89" fmla="*/ 396854 w 497097"/>
                <a:gd name="connsiteY89" fmla="*/ 202872 h 510053"/>
                <a:gd name="connsiteX90" fmla="*/ 394473 w 497097"/>
                <a:gd name="connsiteY90" fmla="*/ 195728 h 510053"/>
                <a:gd name="connsiteX91" fmla="*/ 392092 w 497097"/>
                <a:gd name="connsiteY91" fmla="*/ 171915 h 510053"/>
                <a:gd name="connsiteX92" fmla="*/ 368279 w 497097"/>
                <a:gd name="connsiteY92" fmla="*/ 150484 h 510053"/>
                <a:gd name="connsiteX93" fmla="*/ 351611 w 497097"/>
                <a:gd name="connsiteY93" fmla="*/ 148103 h 510053"/>
                <a:gd name="connsiteX94" fmla="*/ 344467 w 497097"/>
                <a:gd name="connsiteY94" fmla="*/ 133815 h 510053"/>
                <a:gd name="connsiteX95" fmla="*/ 323036 w 497097"/>
                <a:gd name="connsiteY95" fmla="*/ 129053 h 510053"/>
                <a:gd name="connsiteX96" fmla="*/ 325417 w 497097"/>
                <a:gd name="connsiteY96" fmla="*/ 114765 h 510053"/>
                <a:gd name="connsiteX97" fmla="*/ 330179 w 497097"/>
                <a:gd name="connsiteY97" fmla="*/ 100478 h 510053"/>
                <a:gd name="connsiteX98" fmla="*/ 327798 w 497097"/>
                <a:gd name="connsiteY98" fmla="*/ 86190 h 510053"/>
                <a:gd name="connsiteX99" fmla="*/ 320654 w 497097"/>
                <a:gd name="connsiteY99" fmla="*/ 81428 h 510053"/>
                <a:gd name="connsiteX100" fmla="*/ 318273 w 497097"/>
                <a:gd name="connsiteY100" fmla="*/ 69522 h 510053"/>
                <a:gd name="connsiteX101" fmla="*/ 306367 w 497097"/>
                <a:gd name="connsiteY101" fmla="*/ 55234 h 510053"/>
                <a:gd name="connsiteX102" fmla="*/ 296842 w 497097"/>
                <a:gd name="connsiteY102" fmla="*/ 43328 h 510053"/>
                <a:gd name="connsiteX103" fmla="*/ 289698 w 497097"/>
                <a:gd name="connsiteY103" fmla="*/ 45709 h 510053"/>
                <a:gd name="connsiteX104" fmla="*/ 277792 w 497097"/>
                <a:gd name="connsiteY104" fmla="*/ 55234 h 510053"/>
                <a:gd name="connsiteX105" fmla="*/ 268267 w 497097"/>
                <a:gd name="connsiteY105" fmla="*/ 50472 h 510053"/>
                <a:gd name="connsiteX106" fmla="*/ 263504 w 497097"/>
                <a:gd name="connsiteY106" fmla="*/ 36184 h 510053"/>
                <a:gd name="connsiteX107" fmla="*/ 256361 w 497097"/>
                <a:gd name="connsiteY107" fmla="*/ 29040 h 510053"/>
                <a:gd name="connsiteX108" fmla="*/ 239692 w 497097"/>
                <a:gd name="connsiteY108" fmla="*/ 24278 h 510053"/>
                <a:gd name="connsiteX109" fmla="*/ 225404 w 497097"/>
                <a:gd name="connsiteY109" fmla="*/ 33803 h 510053"/>
                <a:gd name="connsiteX110" fmla="*/ 211117 w 497097"/>
                <a:gd name="connsiteY110" fmla="*/ 43328 h 510053"/>
                <a:gd name="connsiteX111" fmla="*/ 199211 w 497097"/>
                <a:gd name="connsiteY111" fmla="*/ 21897 h 510053"/>
                <a:gd name="connsiteX112" fmla="*/ 192067 w 497097"/>
                <a:gd name="connsiteY112" fmla="*/ 17134 h 510053"/>
                <a:gd name="connsiteX113" fmla="*/ 196829 w 497097"/>
                <a:gd name="connsiteY113" fmla="*/ 24278 h 510053"/>
                <a:gd name="connsiteX114" fmla="*/ 165873 w 497097"/>
                <a:gd name="connsiteY114" fmla="*/ 29040 h 510053"/>
                <a:gd name="connsiteX115" fmla="*/ 144442 w 497097"/>
                <a:gd name="connsiteY115" fmla="*/ 19515 h 510053"/>
                <a:gd name="connsiteX116" fmla="*/ 137298 w 497097"/>
                <a:gd name="connsiteY116" fmla="*/ 14753 h 510053"/>
                <a:gd name="connsiteX117" fmla="*/ 130154 w 497097"/>
                <a:gd name="connsiteY117" fmla="*/ 12372 h 510053"/>
                <a:gd name="connsiteX118" fmla="*/ 127773 w 497097"/>
                <a:gd name="connsiteY118" fmla="*/ 5228 h 510053"/>
                <a:gd name="connsiteX119" fmla="*/ 99198 w 497097"/>
                <a:gd name="connsiteY119" fmla="*/ 2847 h 510053"/>
                <a:gd name="connsiteX120" fmla="*/ 92054 w 497097"/>
                <a:gd name="connsiteY120" fmla="*/ 5228 h 510053"/>
                <a:gd name="connsiteX121" fmla="*/ 77767 w 497097"/>
                <a:gd name="connsiteY121" fmla="*/ 14753 h 510053"/>
                <a:gd name="connsiteX122" fmla="*/ 73004 w 497097"/>
                <a:gd name="connsiteY122" fmla="*/ 21897 h 510053"/>
                <a:gd name="connsiteX123" fmla="*/ 51573 w 497097"/>
                <a:gd name="connsiteY123" fmla="*/ 31422 h 510053"/>
                <a:gd name="connsiteX124" fmla="*/ 44429 w 497097"/>
                <a:gd name="connsiteY124" fmla="*/ 33803 h 510053"/>
                <a:gd name="connsiteX125" fmla="*/ 37286 w 497097"/>
                <a:gd name="connsiteY125" fmla="*/ 36184 h 510053"/>
                <a:gd name="connsiteX126" fmla="*/ 30142 w 497097"/>
                <a:gd name="connsiteY126" fmla="*/ 43328 h 510053"/>
                <a:gd name="connsiteX127" fmla="*/ 15854 w 497097"/>
                <a:gd name="connsiteY127" fmla="*/ 48090 h 510053"/>
                <a:gd name="connsiteX128" fmla="*/ 8711 w 497097"/>
                <a:gd name="connsiteY128" fmla="*/ 55234 h 510053"/>
                <a:gd name="connsiteX129" fmla="*/ 1567 w 497097"/>
                <a:gd name="connsiteY129" fmla="*/ 64759 h 510053"/>
                <a:gd name="connsiteX0" fmla="*/ 1567 w 497097"/>
                <a:gd name="connsiteY0" fmla="*/ 64759 h 510053"/>
                <a:gd name="connsiteX1" fmla="*/ 13473 w 497097"/>
                <a:gd name="connsiteY1" fmla="*/ 67140 h 510053"/>
                <a:gd name="connsiteX2" fmla="*/ 20617 w 497097"/>
                <a:gd name="connsiteY2" fmla="*/ 71903 h 510053"/>
                <a:gd name="connsiteX3" fmla="*/ 27761 w 497097"/>
                <a:gd name="connsiteY3" fmla="*/ 74284 h 510053"/>
                <a:gd name="connsiteX4" fmla="*/ 44429 w 497097"/>
                <a:gd name="connsiteY4" fmla="*/ 79047 h 510053"/>
                <a:gd name="connsiteX5" fmla="*/ 58717 w 497097"/>
                <a:gd name="connsiteY5" fmla="*/ 88572 h 510053"/>
                <a:gd name="connsiteX6" fmla="*/ 61098 w 497097"/>
                <a:gd name="connsiteY6" fmla="*/ 95715 h 510053"/>
                <a:gd name="connsiteX7" fmla="*/ 70623 w 497097"/>
                <a:gd name="connsiteY7" fmla="*/ 110003 h 510053"/>
                <a:gd name="connsiteX8" fmla="*/ 75386 w 497097"/>
                <a:gd name="connsiteY8" fmla="*/ 117147 h 510053"/>
                <a:gd name="connsiteX9" fmla="*/ 82529 w 497097"/>
                <a:gd name="connsiteY9" fmla="*/ 124290 h 510053"/>
                <a:gd name="connsiteX10" fmla="*/ 92054 w 497097"/>
                <a:gd name="connsiteY10" fmla="*/ 138578 h 510053"/>
                <a:gd name="connsiteX11" fmla="*/ 96817 w 497097"/>
                <a:gd name="connsiteY11" fmla="*/ 145722 h 510053"/>
                <a:gd name="connsiteX12" fmla="*/ 103961 w 497097"/>
                <a:gd name="connsiteY12" fmla="*/ 155247 h 510053"/>
                <a:gd name="connsiteX13" fmla="*/ 118248 w 497097"/>
                <a:gd name="connsiteY13" fmla="*/ 167153 h 510053"/>
                <a:gd name="connsiteX14" fmla="*/ 132536 w 497097"/>
                <a:gd name="connsiteY14" fmla="*/ 179059 h 510053"/>
                <a:gd name="connsiteX15" fmla="*/ 142061 w 497097"/>
                <a:gd name="connsiteY15" fmla="*/ 193347 h 510053"/>
                <a:gd name="connsiteX16" fmla="*/ 165873 w 497097"/>
                <a:gd name="connsiteY16" fmla="*/ 205253 h 510053"/>
                <a:gd name="connsiteX17" fmla="*/ 175398 w 497097"/>
                <a:gd name="connsiteY17" fmla="*/ 219540 h 510053"/>
                <a:gd name="connsiteX18" fmla="*/ 177779 w 497097"/>
                <a:gd name="connsiteY18" fmla="*/ 226684 h 510053"/>
                <a:gd name="connsiteX19" fmla="*/ 182542 w 497097"/>
                <a:gd name="connsiteY19" fmla="*/ 233828 h 510053"/>
                <a:gd name="connsiteX20" fmla="*/ 189686 w 497097"/>
                <a:gd name="connsiteY20" fmla="*/ 236209 h 510053"/>
                <a:gd name="connsiteX21" fmla="*/ 196829 w 497097"/>
                <a:gd name="connsiteY21" fmla="*/ 240972 h 510053"/>
                <a:gd name="connsiteX22" fmla="*/ 203973 w 497097"/>
                <a:gd name="connsiteY22" fmla="*/ 243353 h 510053"/>
                <a:gd name="connsiteX23" fmla="*/ 208736 w 497097"/>
                <a:gd name="connsiteY23" fmla="*/ 250497 h 510053"/>
                <a:gd name="connsiteX24" fmla="*/ 215879 w 497097"/>
                <a:gd name="connsiteY24" fmla="*/ 255259 h 510053"/>
                <a:gd name="connsiteX25" fmla="*/ 218261 w 497097"/>
                <a:gd name="connsiteY25" fmla="*/ 262403 h 510053"/>
                <a:gd name="connsiteX26" fmla="*/ 225404 w 497097"/>
                <a:gd name="connsiteY26" fmla="*/ 267165 h 510053"/>
                <a:gd name="connsiteX27" fmla="*/ 232548 w 497097"/>
                <a:gd name="connsiteY27" fmla="*/ 274309 h 510053"/>
                <a:gd name="connsiteX28" fmla="*/ 242073 w 497097"/>
                <a:gd name="connsiteY28" fmla="*/ 288597 h 510053"/>
                <a:gd name="connsiteX29" fmla="*/ 246836 w 497097"/>
                <a:gd name="connsiteY29" fmla="*/ 295740 h 510053"/>
                <a:gd name="connsiteX30" fmla="*/ 256361 w 497097"/>
                <a:gd name="connsiteY30" fmla="*/ 310028 h 510053"/>
                <a:gd name="connsiteX31" fmla="*/ 261123 w 497097"/>
                <a:gd name="connsiteY31" fmla="*/ 317172 h 510053"/>
                <a:gd name="connsiteX32" fmla="*/ 268267 w 497097"/>
                <a:gd name="connsiteY32" fmla="*/ 333840 h 510053"/>
                <a:gd name="connsiteX33" fmla="*/ 265886 w 497097"/>
                <a:gd name="connsiteY33" fmla="*/ 343365 h 510053"/>
                <a:gd name="connsiteX34" fmla="*/ 263504 w 497097"/>
                <a:gd name="connsiteY34" fmla="*/ 350509 h 510053"/>
                <a:gd name="connsiteX35" fmla="*/ 258742 w 497097"/>
                <a:gd name="connsiteY35" fmla="*/ 369559 h 510053"/>
                <a:gd name="connsiteX36" fmla="*/ 261123 w 497097"/>
                <a:gd name="connsiteY36" fmla="*/ 417184 h 510053"/>
                <a:gd name="connsiteX37" fmla="*/ 263504 w 497097"/>
                <a:gd name="connsiteY37" fmla="*/ 424328 h 510053"/>
                <a:gd name="connsiteX38" fmla="*/ 268267 w 497097"/>
                <a:gd name="connsiteY38" fmla="*/ 431472 h 510053"/>
                <a:gd name="connsiteX39" fmla="*/ 277792 w 497097"/>
                <a:gd name="connsiteY39" fmla="*/ 452903 h 510053"/>
                <a:gd name="connsiteX40" fmla="*/ 280173 w 497097"/>
                <a:gd name="connsiteY40" fmla="*/ 464809 h 510053"/>
                <a:gd name="connsiteX41" fmla="*/ 282554 w 497097"/>
                <a:gd name="connsiteY41" fmla="*/ 471953 h 510053"/>
                <a:gd name="connsiteX42" fmla="*/ 284936 w 497097"/>
                <a:gd name="connsiteY42" fmla="*/ 483859 h 510053"/>
                <a:gd name="connsiteX43" fmla="*/ 282554 w 497097"/>
                <a:gd name="connsiteY43" fmla="*/ 500528 h 510053"/>
                <a:gd name="connsiteX44" fmla="*/ 280173 w 497097"/>
                <a:gd name="connsiteY44" fmla="*/ 510053 h 510053"/>
                <a:gd name="connsiteX45" fmla="*/ 313511 w 497097"/>
                <a:gd name="connsiteY45" fmla="*/ 505290 h 510053"/>
                <a:gd name="connsiteX46" fmla="*/ 320654 w 497097"/>
                <a:gd name="connsiteY46" fmla="*/ 500528 h 510053"/>
                <a:gd name="connsiteX47" fmla="*/ 342086 w 497097"/>
                <a:gd name="connsiteY47" fmla="*/ 491003 h 510053"/>
                <a:gd name="connsiteX48" fmla="*/ 339704 w 497097"/>
                <a:gd name="connsiteY48" fmla="*/ 483859 h 510053"/>
                <a:gd name="connsiteX49" fmla="*/ 332561 w 497097"/>
                <a:gd name="connsiteY49" fmla="*/ 479097 h 510053"/>
                <a:gd name="connsiteX50" fmla="*/ 327798 w 497097"/>
                <a:gd name="connsiteY50" fmla="*/ 471953 h 510053"/>
                <a:gd name="connsiteX51" fmla="*/ 325417 w 497097"/>
                <a:gd name="connsiteY51" fmla="*/ 464809 h 510053"/>
                <a:gd name="connsiteX52" fmla="*/ 342086 w 497097"/>
                <a:gd name="connsiteY52" fmla="*/ 440997 h 510053"/>
                <a:gd name="connsiteX53" fmla="*/ 346848 w 497097"/>
                <a:gd name="connsiteY53" fmla="*/ 433853 h 510053"/>
                <a:gd name="connsiteX54" fmla="*/ 351611 w 497097"/>
                <a:gd name="connsiteY54" fmla="*/ 419565 h 510053"/>
                <a:gd name="connsiteX55" fmla="*/ 351611 w 497097"/>
                <a:gd name="connsiteY55" fmla="*/ 402897 h 510053"/>
                <a:gd name="connsiteX56" fmla="*/ 358754 w 497097"/>
                <a:gd name="connsiteY56" fmla="*/ 400515 h 510053"/>
                <a:gd name="connsiteX57" fmla="*/ 365898 w 497097"/>
                <a:gd name="connsiteY57" fmla="*/ 393372 h 510053"/>
                <a:gd name="connsiteX58" fmla="*/ 365898 w 497097"/>
                <a:gd name="connsiteY58" fmla="*/ 362415 h 510053"/>
                <a:gd name="connsiteX59" fmla="*/ 363517 w 497097"/>
                <a:gd name="connsiteY59" fmla="*/ 355272 h 510053"/>
                <a:gd name="connsiteX60" fmla="*/ 356373 w 497097"/>
                <a:gd name="connsiteY60" fmla="*/ 350509 h 510053"/>
                <a:gd name="connsiteX61" fmla="*/ 351611 w 497097"/>
                <a:gd name="connsiteY61" fmla="*/ 343365 h 510053"/>
                <a:gd name="connsiteX62" fmla="*/ 351611 w 497097"/>
                <a:gd name="connsiteY62" fmla="*/ 321934 h 510053"/>
                <a:gd name="connsiteX63" fmla="*/ 358754 w 497097"/>
                <a:gd name="connsiteY63" fmla="*/ 314790 h 510053"/>
                <a:gd name="connsiteX64" fmla="*/ 368279 w 497097"/>
                <a:gd name="connsiteY64" fmla="*/ 302884 h 510053"/>
                <a:gd name="connsiteX65" fmla="*/ 373042 w 497097"/>
                <a:gd name="connsiteY65" fmla="*/ 310028 h 510053"/>
                <a:gd name="connsiteX66" fmla="*/ 375423 w 497097"/>
                <a:gd name="connsiteY66" fmla="*/ 317172 h 510053"/>
                <a:gd name="connsiteX67" fmla="*/ 377804 w 497097"/>
                <a:gd name="connsiteY67" fmla="*/ 326697 h 510053"/>
                <a:gd name="connsiteX68" fmla="*/ 384948 w 497097"/>
                <a:gd name="connsiteY68" fmla="*/ 324315 h 510053"/>
                <a:gd name="connsiteX69" fmla="*/ 396854 w 497097"/>
                <a:gd name="connsiteY69" fmla="*/ 302884 h 510053"/>
                <a:gd name="connsiteX70" fmla="*/ 403998 w 497097"/>
                <a:gd name="connsiteY70" fmla="*/ 300503 h 510053"/>
                <a:gd name="connsiteX71" fmla="*/ 413523 w 497097"/>
                <a:gd name="connsiteY71" fmla="*/ 302884 h 510053"/>
                <a:gd name="connsiteX72" fmla="*/ 420667 w 497097"/>
                <a:gd name="connsiteY72" fmla="*/ 307647 h 510053"/>
                <a:gd name="connsiteX73" fmla="*/ 427811 w 497097"/>
                <a:gd name="connsiteY73" fmla="*/ 310028 h 510053"/>
                <a:gd name="connsiteX74" fmla="*/ 430192 w 497097"/>
                <a:gd name="connsiteY74" fmla="*/ 302884 h 510053"/>
                <a:gd name="connsiteX75" fmla="*/ 454004 w 497097"/>
                <a:gd name="connsiteY75" fmla="*/ 300503 h 510053"/>
                <a:gd name="connsiteX76" fmla="*/ 461148 w 497097"/>
                <a:gd name="connsiteY76" fmla="*/ 302884 h 510053"/>
                <a:gd name="connsiteX77" fmla="*/ 482579 w 497097"/>
                <a:gd name="connsiteY77" fmla="*/ 290978 h 510053"/>
                <a:gd name="connsiteX78" fmla="*/ 489723 w 497097"/>
                <a:gd name="connsiteY78" fmla="*/ 288597 h 510053"/>
                <a:gd name="connsiteX79" fmla="*/ 496867 w 497097"/>
                <a:gd name="connsiteY79" fmla="*/ 281453 h 510053"/>
                <a:gd name="connsiteX80" fmla="*/ 484961 w 497097"/>
                <a:gd name="connsiteY80" fmla="*/ 279072 h 510053"/>
                <a:gd name="connsiteX81" fmla="*/ 477817 w 497097"/>
                <a:gd name="connsiteY81" fmla="*/ 274309 h 510053"/>
                <a:gd name="connsiteX82" fmla="*/ 463529 w 497097"/>
                <a:gd name="connsiteY82" fmla="*/ 269547 h 510053"/>
                <a:gd name="connsiteX83" fmla="*/ 458767 w 497097"/>
                <a:gd name="connsiteY83" fmla="*/ 262403 h 510053"/>
                <a:gd name="connsiteX84" fmla="*/ 456386 w 497097"/>
                <a:gd name="connsiteY84" fmla="*/ 243353 h 510053"/>
                <a:gd name="connsiteX85" fmla="*/ 454004 w 497097"/>
                <a:gd name="connsiteY85" fmla="*/ 233828 h 510053"/>
                <a:gd name="connsiteX86" fmla="*/ 446861 w 497097"/>
                <a:gd name="connsiteY86" fmla="*/ 219540 h 510053"/>
                <a:gd name="connsiteX87" fmla="*/ 432573 w 497097"/>
                <a:gd name="connsiteY87" fmla="*/ 214778 h 510053"/>
                <a:gd name="connsiteX88" fmla="*/ 403998 w 497097"/>
                <a:gd name="connsiteY88" fmla="*/ 210015 h 510053"/>
                <a:gd name="connsiteX89" fmla="*/ 396854 w 497097"/>
                <a:gd name="connsiteY89" fmla="*/ 202872 h 510053"/>
                <a:gd name="connsiteX90" fmla="*/ 394473 w 497097"/>
                <a:gd name="connsiteY90" fmla="*/ 195728 h 510053"/>
                <a:gd name="connsiteX91" fmla="*/ 392092 w 497097"/>
                <a:gd name="connsiteY91" fmla="*/ 171915 h 510053"/>
                <a:gd name="connsiteX92" fmla="*/ 368279 w 497097"/>
                <a:gd name="connsiteY92" fmla="*/ 150484 h 510053"/>
                <a:gd name="connsiteX93" fmla="*/ 351611 w 497097"/>
                <a:gd name="connsiteY93" fmla="*/ 148103 h 510053"/>
                <a:gd name="connsiteX94" fmla="*/ 344467 w 497097"/>
                <a:gd name="connsiteY94" fmla="*/ 133815 h 510053"/>
                <a:gd name="connsiteX95" fmla="*/ 323036 w 497097"/>
                <a:gd name="connsiteY95" fmla="*/ 129053 h 510053"/>
                <a:gd name="connsiteX96" fmla="*/ 325417 w 497097"/>
                <a:gd name="connsiteY96" fmla="*/ 114765 h 510053"/>
                <a:gd name="connsiteX97" fmla="*/ 330179 w 497097"/>
                <a:gd name="connsiteY97" fmla="*/ 100478 h 510053"/>
                <a:gd name="connsiteX98" fmla="*/ 327798 w 497097"/>
                <a:gd name="connsiteY98" fmla="*/ 86190 h 510053"/>
                <a:gd name="connsiteX99" fmla="*/ 320654 w 497097"/>
                <a:gd name="connsiteY99" fmla="*/ 81428 h 510053"/>
                <a:gd name="connsiteX100" fmla="*/ 318273 w 497097"/>
                <a:gd name="connsiteY100" fmla="*/ 69522 h 510053"/>
                <a:gd name="connsiteX101" fmla="*/ 306367 w 497097"/>
                <a:gd name="connsiteY101" fmla="*/ 55234 h 510053"/>
                <a:gd name="connsiteX102" fmla="*/ 296842 w 497097"/>
                <a:gd name="connsiteY102" fmla="*/ 43328 h 510053"/>
                <a:gd name="connsiteX103" fmla="*/ 289698 w 497097"/>
                <a:gd name="connsiteY103" fmla="*/ 45709 h 510053"/>
                <a:gd name="connsiteX104" fmla="*/ 277792 w 497097"/>
                <a:gd name="connsiteY104" fmla="*/ 55234 h 510053"/>
                <a:gd name="connsiteX105" fmla="*/ 268267 w 497097"/>
                <a:gd name="connsiteY105" fmla="*/ 50472 h 510053"/>
                <a:gd name="connsiteX106" fmla="*/ 263504 w 497097"/>
                <a:gd name="connsiteY106" fmla="*/ 36184 h 510053"/>
                <a:gd name="connsiteX107" fmla="*/ 256361 w 497097"/>
                <a:gd name="connsiteY107" fmla="*/ 29040 h 510053"/>
                <a:gd name="connsiteX108" fmla="*/ 239692 w 497097"/>
                <a:gd name="connsiteY108" fmla="*/ 24278 h 510053"/>
                <a:gd name="connsiteX109" fmla="*/ 225404 w 497097"/>
                <a:gd name="connsiteY109" fmla="*/ 33803 h 510053"/>
                <a:gd name="connsiteX110" fmla="*/ 211117 w 497097"/>
                <a:gd name="connsiteY110" fmla="*/ 43328 h 510053"/>
                <a:gd name="connsiteX111" fmla="*/ 199211 w 497097"/>
                <a:gd name="connsiteY111" fmla="*/ 21897 h 510053"/>
                <a:gd name="connsiteX112" fmla="*/ 192067 w 497097"/>
                <a:gd name="connsiteY112" fmla="*/ 17134 h 510053"/>
                <a:gd name="connsiteX113" fmla="*/ 165873 w 497097"/>
                <a:gd name="connsiteY113" fmla="*/ 29040 h 510053"/>
                <a:gd name="connsiteX114" fmla="*/ 144442 w 497097"/>
                <a:gd name="connsiteY114" fmla="*/ 19515 h 510053"/>
                <a:gd name="connsiteX115" fmla="*/ 137298 w 497097"/>
                <a:gd name="connsiteY115" fmla="*/ 14753 h 510053"/>
                <a:gd name="connsiteX116" fmla="*/ 130154 w 497097"/>
                <a:gd name="connsiteY116" fmla="*/ 12372 h 510053"/>
                <a:gd name="connsiteX117" fmla="*/ 127773 w 497097"/>
                <a:gd name="connsiteY117" fmla="*/ 5228 h 510053"/>
                <a:gd name="connsiteX118" fmla="*/ 99198 w 497097"/>
                <a:gd name="connsiteY118" fmla="*/ 2847 h 510053"/>
                <a:gd name="connsiteX119" fmla="*/ 92054 w 497097"/>
                <a:gd name="connsiteY119" fmla="*/ 5228 h 510053"/>
                <a:gd name="connsiteX120" fmla="*/ 77767 w 497097"/>
                <a:gd name="connsiteY120" fmla="*/ 14753 h 510053"/>
                <a:gd name="connsiteX121" fmla="*/ 73004 w 497097"/>
                <a:gd name="connsiteY121" fmla="*/ 21897 h 510053"/>
                <a:gd name="connsiteX122" fmla="*/ 51573 w 497097"/>
                <a:gd name="connsiteY122" fmla="*/ 31422 h 510053"/>
                <a:gd name="connsiteX123" fmla="*/ 44429 w 497097"/>
                <a:gd name="connsiteY123" fmla="*/ 33803 h 510053"/>
                <a:gd name="connsiteX124" fmla="*/ 37286 w 497097"/>
                <a:gd name="connsiteY124" fmla="*/ 36184 h 510053"/>
                <a:gd name="connsiteX125" fmla="*/ 30142 w 497097"/>
                <a:gd name="connsiteY125" fmla="*/ 43328 h 510053"/>
                <a:gd name="connsiteX126" fmla="*/ 15854 w 497097"/>
                <a:gd name="connsiteY126" fmla="*/ 48090 h 510053"/>
                <a:gd name="connsiteX127" fmla="*/ 8711 w 497097"/>
                <a:gd name="connsiteY127" fmla="*/ 55234 h 510053"/>
                <a:gd name="connsiteX128" fmla="*/ 1567 w 497097"/>
                <a:gd name="connsiteY128" fmla="*/ 64759 h 510053"/>
                <a:gd name="connsiteX0" fmla="*/ 1567 w 497097"/>
                <a:gd name="connsiteY0" fmla="*/ 64759 h 510053"/>
                <a:gd name="connsiteX1" fmla="*/ 13473 w 497097"/>
                <a:gd name="connsiteY1" fmla="*/ 67140 h 510053"/>
                <a:gd name="connsiteX2" fmla="*/ 20617 w 497097"/>
                <a:gd name="connsiteY2" fmla="*/ 71903 h 510053"/>
                <a:gd name="connsiteX3" fmla="*/ 27761 w 497097"/>
                <a:gd name="connsiteY3" fmla="*/ 74284 h 510053"/>
                <a:gd name="connsiteX4" fmla="*/ 44429 w 497097"/>
                <a:gd name="connsiteY4" fmla="*/ 79047 h 510053"/>
                <a:gd name="connsiteX5" fmla="*/ 58717 w 497097"/>
                <a:gd name="connsiteY5" fmla="*/ 88572 h 510053"/>
                <a:gd name="connsiteX6" fmla="*/ 61098 w 497097"/>
                <a:gd name="connsiteY6" fmla="*/ 95715 h 510053"/>
                <a:gd name="connsiteX7" fmla="*/ 70623 w 497097"/>
                <a:gd name="connsiteY7" fmla="*/ 110003 h 510053"/>
                <a:gd name="connsiteX8" fmla="*/ 75386 w 497097"/>
                <a:gd name="connsiteY8" fmla="*/ 117147 h 510053"/>
                <a:gd name="connsiteX9" fmla="*/ 82529 w 497097"/>
                <a:gd name="connsiteY9" fmla="*/ 124290 h 510053"/>
                <a:gd name="connsiteX10" fmla="*/ 92054 w 497097"/>
                <a:gd name="connsiteY10" fmla="*/ 138578 h 510053"/>
                <a:gd name="connsiteX11" fmla="*/ 96817 w 497097"/>
                <a:gd name="connsiteY11" fmla="*/ 145722 h 510053"/>
                <a:gd name="connsiteX12" fmla="*/ 103961 w 497097"/>
                <a:gd name="connsiteY12" fmla="*/ 155247 h 510053"/>
                <a:gd name="connsiteX13" fmla="*/ 118248 w 497097"/>
                <a:gd name="connsiteY13" fmla="*/ 167153 h 510053"/>
                <a:gd name="connsiteX14" fmla="*/ 132536 w 497097"/>
                <a:gd name="connsiteY14" fmla="*/ 179059 h 510053"/>
                <a:gd name="connsiteX15" fmla="*/ 142061 w 497097"/>
                <a:gd name="connsiteY15" fmla="*/ 193347 h 510053"/>
                <a:gd name="connsiteX16" fmla="*/ 165873 w 497097"/>
                <a:gd name="connsiteY16" fmla="*/ 205253 h 510053"/>
                <a:gd name="connsiteX17" fmla="*/ 175398 w 497097"/>
                <a:gd name="connsiteY17" fmla="*/ 219540 h 510053"/>
                <a:gd name="connsiteX18" fmla="*/ 177779 w 497097"/>
                <a:gd name="connsiteY18" fmla="*/ 226684 h 510053"/>
                <a:gd name="connsiteX19" fmla="*/ 182542 w 497097"/>
                <a:gd name="connsiteY19" fmla="*/ 233828 h 510053"/>
                <a:gd name="connsiteX20" fmla="*/ 189686 w 497097"/>
                <a:gd name="connsiteY20" fmla="*/ 236209 h 510053"/>
                <a:gd name="connsiteX21" fmla="*/ 196829 w 497097"/>
                <a:gd name="connsiteY21" fmla="*/ 240972 h 510053"/>
                <a:gd name="connsiteX22" fmla="*/ 203973 w 497097"/>
                <a:gd name="connsiteY22" fmla="*/ 243353 h 510053"/>
                <a:gd name="connsiteX23" fmla="*/ 208736 w 497097"/>
                <a:gd name="connsiteY23" fmla="*/ 250497 h 510053"/>
                <a:gd name="connsiteX24" fmla="*/ 215879 w 497097"/>
                <a:gd name="connsiteY24" fmla="*/ 255259 h 510053"/>
                <a:gd name="connsiteX25" fmla="*/ 218261 w 497097"/>
                <a:gd name="connsiteY25" fmla="*/ 262403 h 510053"/>
                <a:gd name="connsiteX26" fmla="*/ 225404 w 497097"/>
                <a:gd name="connsiteY26" fmla="*/ 267165 h 510053"/>
                <a:gd name="connsiteX27" fmla="*/ 232548 w 497097"/>
                <a:gd name="connsiteY27" fmla="*/ 274309 h 510053"/>
                <a:gd name="connsiteX28" fmla="*/ 242073 w 497097"/>
                <a:gd name="connsiteY28" fmla="*/ 288597 h 510053"/>
                <a:gd name="connsiteX29" fmla="*/ 246836 w 497097"/>
                <a:gd name="connsiteY29" fmla="*/ 295740 h 510053"/>
                <a:gd name="connsiteX30" fmla="*/ 256361 w 497097"/>
                <a:gd name="connsiteY30" fmla="*/ 310028 h 510053"/>
                <a:gd name="connsiteX31" fmla="*/ 261123 w 497097"/>
                <a:gd name="connsiteY31" fmla="*/ 317172 h 510053"/>
                <a:gd name="connsiteX32" fmla="*/ 268267 w 497097"/>
                <a:gd name="connsiteY32" fmla="*/ 333840 h 510053"/>
                <a:gd name="connsiteX33" fmla="*/ 265886 w 497097"/>
                <a:gd name="connsiteY33" fmla="*/ 343365 h 510053"/>
                <a:gd name="connsiteX34" fmla="*/ 263504 w 497097"/>
                <a:gd name="connsiteY34" fmla="*/ 350509 h 510053"/>
                <a:gd name="connsiteX35" fmla="*/ 258742 w 497097"/>
                <a:gd name="connsiteY35" fmla="*/ 369559 h 510053"/>
                <a:gd name="connsiteX36" fmla="*/ 261123 w 497097"/>
                <a:gd name="connsiteY36" fmla="*/ 417184 h 510053"/>
                <a:gd name="connsiteX37" fmla="*/ 263504 w 497097"/>
                <a:gd name="connsiteY37" fmla="*/ 424328 h 510053"/>
                <a:gd name="connsiteX38" fmla="*/ 268267 w 497097"/>
                <a:gd name="connsiteY38" fmla="*/ 431472 h 510053"/>
                <a:gd name="connsiteX39" fmla="*/ 277792 w 497097"/>
                <a:gd name="connsiteY39" fmla="*/ 452903 h 510053"/>
                <a:gd name="connsiteX40" fmla="*/ 280173 w 497097"/>
                <a:gd name="connsiteY40" fmla="*/ 464809 h 510053"/>
                <a:gd name="connsiteX41" fmla="*/ 282554 w 497097"/>
                <a:gd name="connsiteY41" fmla="*/ 471953 h 510053"/>
                <a:gd name="connsiteX42" fmla="*/ 284936 w 497097"/>
                <a:gd name="connsiteY42" fmla="*/ 483859 h 510053"/>
                <a:gd name="connsiteX43" fmla="*/ 282554 w 497097"/>
                <a:gd name="connsiteY43" fmla="*/ 500528 h 510053"/>
                <a:gd name="connsiteX44" fmla="*/ 280173 w 497097"/>
                <a:gd name="connsiteY44" fmla="*/ 510053 h 510053"/>
                <a:gd name="connsiteX45" fmla="*/ 313511 w 497097"/>
                <a:gd name="connsiteY45" fmla="*/ 505290 h 510053"/>
                <a:gd name="connsiteX46" fmla="*/ 320654 w 497097"/>
                <a:gd name="connsiteY46" fmla="*/ 500528 h 510053"/>
                <a:gd name="connsiteX47" fmla="*/ 342086 w 497097"/>
                <a:gd name="connsiteY47" fmla="*/ 491003 h 510053"/>
                <a:gd name="connsiteX48" fmla="*/ 339704 w 497097"/>
                <a:gd name="connsiteY48" fmla="*/ 483859 h 510053"/>
                <a:gd name="connsiteX49" fmla="*/ 332561 w 497097"/>
                <a:gd name="connsiteY49" fmla="*/ 479097 h 510053"/>
                <a:gd name="connsiteX50" fmla="*/ 327798 w 497097"/>
                <a:gd name="connsiteY50" fmla="*/ 471953 h 510053"/>
                <a:gd name="connsiteX51" fmla="*/ 325417 w 497097"/>
                <a:gd name="connsiteY51" fmla="*/ 464809 h 510053"/>
                <a:gd name="connsiteX52" fmla="*/ 342086 w 497097"/>
                <a:gd name="connsiteY52" fmla="*/ 440997 h 510053"/>
                <a:gd name="connsiteX53" fmla="*/ 346848 w 497097"/>
                <a:gd name="connsiteY53" fmla="*/ 433853 h 510053"/>
                <a:gd name="connsiteX54" fmla="*/ 351611 w 497097"/>
                <a:gd name="connsiteY54" fmla="*/ 419565 h 510053"/>
                <a:gd name="connsiteX55" fmla="*/ 351611 w 497097"/>
                <a:gd name="connsiteY55" fmla="*/ 402897 h 510053"/>
                <a:gd name="connsiteX56" fmla="*/ 358754 w 497097"/>
                <a:gd name="connsiteY56" fmla="*/ 400515 h 510053"/>
                <a:gd name="connsiteX57" fmla="*/ 365898 w 497097"/>
                <a:gd name="connsiteY57" fmla="*/ 393372 h 510053"/>
                <a:gd name="connsiteX58" fmla="*/ 365898 w 497097"/>
                <a:gd name="connsiteY58" fmla="*/ 362415 h 510053"/>
                <a:gd name="connsiteX59" fmla="*/ 363517 w 497097"/>
                <a:gd name="connsiteY59" fmla="*/ 355272 h 510053"/>
                <a:gd name="connsiteX60" fmla="*/ 356373 w 497097"/>
                <a:gd name="connsiteY60" fmla="*/ 350509 h 510053"/>
                <a:gd name="connsiteX61" fmla="*/ 351611 w 497097"/>
                <a:gd name="connsiteY61" fmla="*/ 343365 h 510053"/>
                <a:gd name="connsiteX62" fmla="*/ 351611 w 497097"/>
                <a:gd name="connsiteY62" fmla="*/ 321934 h 510053"/>
                <a:gd name="connsiteX63" fmla="*/ 358754 w 497097"/>
                <a:gd name="connsiteY63" fmla="*/ 314790 h 510053"/>
                <a:gd name="connsiteX64" fmla="*/ 368279 w 497097"/>
                <a:gd name="connsiteY64" fmla="*/ 302884 h 510053"/>
                <a:gd name="connsiteX65" fmla="*/ 373042 w 497097"/>
                <a:gd name="connsiteY65" fmla="*/ 310028 h 510053"/>
                <a:gd name="connsiteX66" fmla="*/ 375423 w 497097"/>
                <a:gd name="connsiteY66" fmla="*/ 317172 h 510053"/>
                <a:gd name="connsiteX67" fmla="*/ 377804 w 497097"/>
                <a:gd name="connsiteY67" fmla="*/ 326697 h 510053"/>
                <a:gd name="connsiteX68" fmla="*/ 384948 w 497097"/>
                <a:gd name="connsiteY68" fmla="*/ 324315 h 510053"/>
                <a:gd name="connsiteX69" fmla="*/ 396854 w 497097"/>
                <a:gd name="connsiteY69" fmla="*/ 302884 h 510053"/>
                <a:gd name="connsiteX70" fmla="*/ 403998 w 497097"/>
                <a:gd name="connsiteY70" fmla="*/ 300503 h 510053"/>
                <a:gd name="connsiteX71" fmla="*/ 413523 w 497097"/>
                <a:gd name="connsiteY71" fmla="*/ 302884 h 510053"/>
                <a:gd name="connsiteX72" fmla="*/ 420667 w 497097"/>
                <a:gd name="connsiteY72" fmla="*/ 307647 h 510053"/>
                <a:gd name="connsiteX73" fmla="*/ 427811 w 497097"/>
                <a:gd name="connsiteY73" fmla="*/ 310028 h 510053"/>
                <a:gd name="connsiteX74" fmla="*/ 430192 w 497097"/>
                <a:gd name="connsiteY74" fmla="*/ 302884 h 510053"/>
                <a:gd name="connsiteX75" fmla="*/ 454004 w 497097"/>
                <a:gd name="connsiteY75" fmla="*/ 300503 h 510053"/>
                <a:gd name="connsiteX76" fmla="*/ 461148 w 497097"/>
                <a:gd name="connsiteY76" fmla="*/ 302884 h 510053"/>
                <a:gd name="connsiteX77" fmla="*/ 482579 w 497097"/>
                <a:gd name="connsiteY77" fmla="*/ 290978 h 510053"/>
                <a:gd name="connsiteX78" fmla="*/ 489723 w 497097"/>
                <a:gd name="connsiteY78" fmla="*/ 288597 h 510053"/>
                <a:gd name="connsiteX79" fmla="*/ 496867 w 497097"/>
                <a:gd name="connsiteY79" fmla="*/ 281453 h 510053"/>
                <a:gd name="connsiteX80" fmla="*/ 484961 w 497097"/>
                <a:gd name="connsiteY80" fmla="*/ 279072 h 510053"/>
                <a:gd name="connsiteX81" fmla="*/ 477817 w 497097"/>
                <a:gd name="connsiteY81" fmla="*/ 274309 h 510053"/>
                <a:gd name="connsiteX82" fmla="*/ 463529 w 497097"/>
                <a:gd name="connsiteY82" fmla="*/ 269547 h 510053"/>
                <a:gd name="connsiteX83" fmla="*/ 458767 w 497097"/>
                <a:gd name="connsiteY83" fmla="*/ 262403 h 510053"/>
                <a:gd name="connsiteX84" fmla="*/ 456386 w 497097"/>
                <a:gd name="connsiteY84" fmla="*/ 243353 h 510053"/>
                <a:gd name="connsiteX85" fmla="*/ 454004 w 497097"/>
                <a:gd name="connsiteY85" fmla="*/ 233828 h 510053"/>
                <a:gd name="connsiteX86" fmla="*/ 446861 w 497097"/>
                <a:gd name="connsiteY86" fmla="*/ 219540 h 510053"/>
                <a:gd name="connsiteX87" fmla="*/ 432573 w 497097"/>
                <a:gd name="connsiteY87" fmla="*/ 214778 h 510053"/>
                <a:gd name="connsiteX88" fmla="*/ 403998 w 497097"/>
                <a:gd name="connsiteY88" fmla="*/ 210015 h 510053"/>
                <a:gd name="connsiteX89" fmla="*/ 396854 w 497097"/>
                <a:gd name="connsiteY89" fmla="*/ 202872 h 510053"/>
                <a:gd name="connsiteX90" fmla="*/ 394473 w 497097"/>
                <a:gd name="connsiteY90" fmla="*/ 195728 h 510053"/>
                <a:gd name="connsiteX91" fmla="*/ 392092 w 497097"/>
                <a:gd name="connsiteY91" fmla="*/ 171915 h 510053"/>
                <a:gd name="connsiteX92" fmla="*/ 377804 w 497097"/>
                <a:gd name="connsiteY92" fmla="*/ 143340 h 510053"/>
                <a:gd name="connsiteX93" fmla="*/ 351611 w 497097"/>
                <a:gd name="connsiteY93" fmla="*/ 148103 h 510053"/>
                <a:gd name="connsiteX94" fmla="*/ 344467 w 497097"/>
                <a:gd name="connsiteY94" fmla="*/ 133815 h 510053"/>
                <a:gd name="connsiteX95" fmla="*/ 323036 w 497097"/>
                <a:gd name="connsiteY95" fmla="*/ 129053 h 510053"/>
                <a:gd name="connsiteX96" fmla="*/ 325417 w 497097"/>
                <a:gd name="connsiteY96" fmla="*/ 114765 h 510053"/>
                <a:gd name="connsiteX97" fmla="*/ 330179 w 497097"/>
                <a:gd name="connsiteY97" fmla="*/ 100478 h 510053"/>
                <a:gd name="connsiteX98" fmla="*/ 327798 w 497097"/>
                <a:gd name="connsiteY98" fmla="*/ 86190 h 510053"/>
                <a:gd name="connsiteX99" fmla="*/ 320654 w 497097"/>
                <a:gd name="connsiteY99" fmla="*/ 81428 h 510053"/>
                <a:gd name="connsiteX100" fmla="*/ 318273 w 497097"/>
                <a:gd name="connsiteY100" fmla="*/ 69522 h 510053"/>
                <a:gd name="connsiteX101" fmla="*/ 306367 w 497097"/>
                <a:gd name="connsiteY101" fmla="*/ 55234 h 510053"/>
                <a:gd name="connsiteX102" fmla="*/ 296842 w 497097"/>
                <a:gd name="connsiteY102" fmla="*/ 43328 h 510053"/>
                <a:gd name="connsiteX103" fmla="*/ 289698 w 497097"/>
                <a:gd name="connsiteY103" fmla="*/ 45709 h 510053"/>
                <a:gd name="connsiteX104" fmla="*/ 277792 w 497097"/>
                <a:gd name="connsiteY104" fmla="*/ 55234 h 510053"/>
                <a:gd name="connsiteX105" fmla="*/ 268267 w 497097"/>
                <a:gd name="connsiteY105" fmla="*/ 50472 h 510053"/>
                <a:gd name="connsiteX106" fmla="*/ 263504 w 497097"/>
                <a:gd name="connsiteY106" fmla="*/ 36184 h 510053"/>
                <a:gd name="connsiteX107" fmla="*/ 256361 w 497097"/>
                <a:gd name="connsiteY107" fmla="*/ 29040 h 510053"/>
                <a:gd name="connsiteX108" fmla="*/ 239692 w 497097"/>
                <a:gd name="connsiteY108" fmla="*/ 24278 h 510053"/>
                <a:gd name="connsiteX109" fmla="*/ 225404 w 497097"/>
                <a:gd name="connsiteY109" fmla="*/ 33803 h 510053"/>
                <a:gd name="connsiteX110" fmla="*/ 211117 w 497097"/>
                <a:gd name="connsiteY110" fmla="*/ 43328 h 510053"/>
                <a:gd name="connsiteX111" fmla="*/ 199211 w 497097"/>
                <a:gd name="connsiteY111" fmla="*/ 21897 h 510053"/>
                <a:gd name="connsiteX112" fmla="*/ 192067 w 497097"/>
                <a:gd name="connsiteY112" fmla="*/ 17134 h 510053"/>
                <a:gd name="connsiteX113" fmla="*/ 165873 w 497097"/>
                <a:gd name="connsiteY113" fmla="*/ 29040 h 510053"/>
                <a:gd name="connsiteX114" fmla="*/ 144442 w 497097"/>
                <a:gd name="connsiteY114" fmla="*/ 19515 h 510053"/>
                <a:gd name="connsiteX115" fmla="*/ 137298 w 497097"/>
                <a:gd name="connsiteY115" fmla="*/ 14753 h 510053"/>
                <a:gd name="connsiteX116" fmla="*/ 130154 w 497097"/>
                <a:gd name="connsiteY116" fmla="*/ 12372 h 510053"/>
                <a:gd name="connsiteX117" fmla="*/ 127773 w 497097"/>
                <a:gd name="connsiteY117" fmla="*/ 5228 h 510053"/>
                <a:gd name="connsiteX118" fmla="*/ 99198 w 497097"/>
                <a:gd name="connsiteY118" fmla="*/ 2847 h 510053"/>
                <a:gd name="connsiteX119" fmla="*/ 92054 w 497097"/>
                <a:gd name="connsiteY119" fmla="*/ 5228 h 510053"/>
                <a:gd name="connsiteX120" fmla="*/ 77767 w 497097"/>
                <a:gd name="connsiteY120" fmla="*/ 14753 h 510053"/>
                <a:gd name="connsiteX121" fmla="*/ 73004 w 497097"/>
                <a:gd name="connsiteY121" fmla="*/ 21897 h 510053"/>
                <a:gd name="connsiteX122" fmla="*/ 51573 w 497097"/>
                <a:gd name="connsiteY122" fmla="*/ 31422 h 510053"/>
                <a:gd name="connsiteX123" fmla="*/ 44429 w 497097"/>
                <a:gd name="connsiteY123" fmla="*/ 33803 h 510053"/>
                <a:gd name="connsiteX124" fmla="*/ 37286 w 497097"/>
                <a:gd name="connsiteY124" fmla="*/ 36184 h 510053"/>
                <a:gd name="connsiteX125" fmla="*/ 30142 w 497097"/>
                <a:gd name="connsiteY125" fmla="*/ 43328 h 510053"/>
                <a:gd name="connsiteX126" fmla="*/ 15854 w 497097"/>
                <a:gd name="connsiteY126" fmla="*/ 48090 h 510053"/>
                <a:gd name="connsiteX127" fmla="*/ 8711 w 497097"/>
                <a:gd name="connsiteY127" fmla="*/ 55234 h 510053"/>
                <a:gd name="connsiteX128" fmla="*/ 1567 w 497097"/>
                <a:gd name="connsiteY128" fmla="*/ 64759 h 510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Lst>
              <a:rect l="l" t="t" r="r" b="b"/>
              <a:pathLst>
                <a:path w="497097" h="510053">
                  <a:moveTo>
                    <a:pt x="1567" y="64759"/>
                  </a:moveTo>
                  <a:cubicBezTo>
                    <a:pt x="2361" y="66743"/>
                    <a:pt x="9683" y="65719"/>
                    <a:pt x="13473" y="67140"/>
                  </a:cubicBezTo>
                  <a:cubicBezTo>
                    <a:pt x="16153" y="68145"/>
                    <a:pt x="18057" y="70623"/>
                    <a:pt x="20617" y="71903"/>
                  </a:cubicBezTo>
                  <a:cubicBezTo>
                    <a:pt x="22862" y="73026"/>
                    <a:pt x="25347" y="73594"/>
                    <a:pt x="27761" y="74284"/>
                  </a:cubicBezTo>
                  <a:cubicBezTo>
                    <a:pt x="30307" y="75011"/>
                    <a:pt x="41401" y="77365"/>
                    <a:pt x="44429" y="79047"/>
                  </a:cubicBezTo>
                  <a:cubicBezTo>
                    <a:pt x="49433" y="81827"/>
                    <a:pt x="58717" y="88572"/>
                    <a:pt x="58717" y="88572"/>
                  </a:cubicBezTo>
                  <a:cubicBezTo>
                    <a:pt x="59511" y="90953"/>
                    <a:pt x="59879" y="93521"/>
                    <a:pt x="61098" y="95715"/>
                  </a:cubicBezTo>
                  <a:cubicBezTo>
                    <a:pt x="63878" y="100719"/>
                    <a:pt x="67448" y="105240"/>
                    <a:pt x="70623" y="110003"/>
                  </a:cubicBezTo>
                  <a:cubicBezTo>
                    <a:pt x="72211" y="112384"/>
                    <a:pt x="73362" y="115123"/>
                    <a:pt x="75386" y="117147"/>
                  </a:cubicBezTo>
                  <a:lnTo>
                    <a:pt x="82529" y="124290"/>
                  </a:lnTo>
                  <a:cubicBezTo>
                    <a:pt x="86715" y="136844"/>
                    <a:pt x="82145" y="126687"/>
                    <a:pt x="92054" y="138578"/>
                  </a:cubicBezTo>
                  <a:cubicBezTo>
                    <a:pt x="93886" y="140777"/>
                    <a:pt x="95153" y="143393"/>
                    <a:pt x="96817" y="145722"/>
                  </a:cubicBezTo>
                  <a:cubicBezTo>
                    <a:pt x="99124" y="148951"/>
                    <a:pt x="101378" y="152234"/>
                    <a:pt x="103961" y="155247"/>
                  </a:cubicBezTo>
                  <a:cubicBezTo>
                    <a:pt x="114395" y="167419"/>
                    <a:pt x="107226" y="157967"/>
                    <a:pt x="118248" y="167153"/>
                  </a:cubicBezTo>
                  <a:cubicBezTo>
                    <a:pt x="136576" y="182426"/>
                    <a:pt x="114806" y="167240"/>
                    <a:pt x="132536" y="179059"/>
                  </a:cubicBezTo>
                  <a:cubicBezTo>
                    <a:pt x="135711" y="183822"/>
                    <a:pt x="137298" y="190172"/>
                    <a:pt x="142061" y="193347"/>
                  </a:cubicBezTo>
                  <a:cubicBezTo>
                    <a:pt x="159071" y="204687"/>
                    <a:pt x="150795" y="201484"/>
                    <a:pt x="165873" y="205253"/>
                  </a:cubicBezTo>
                  <a:cubicBezTo>
                    <a:pt x="169048" y="210015"/>
                    <a:pt x="173588" y="214110"/>
                    <a:pt x="175398" y="219540"/>
                  </a:cubicBezTo>
                  <a:cubicBezTo>
                    <a:pt x="176192" y="221921"/>
                    <a:pt x="176656" y="224439"/>
                    <a:pt x="177779" y="226684"/>
                  </a:cubicBezTo>
                  <a:cubicBezTo>
                    <a:pt x="179059" y="229244"/>
                    <a:pt x="180307" y="232040"/>
                    <a:pt x="182542" y="233828"/>
                  </a:cubicBezTo>
                  <a:cubicBezTo>
                    <a:pt x="184502" y="235396"/>
                    <a:pt x="187305" y="235415"/>
                    <a:pt x="189686" y="236209"/>
                  </a:cubicBezTo>
                  <a:cubicBezTo>
                    <a:pt x="192067" y="237797"/>
                    <a:pt x="194269" y="239692"/>
                    <a:pt x="196829" y="240972"/>
                  </a:cubicBezTo>
                  <a:cubicBezTo>
                    <a:pt x="199074" y="242095"/>
                    <a:pt x="202013" y="241785"/>
                    <a:pt x="203973" y="243353"/>
                  </a:cubicBezTo>
                  <a:cubicBezTo>
                    <a:pt x="206208" y="245141"/>
                    <a:pt x="206712" y="248473"/>
                    <a:pt x="208736" y="250497"/>
                  </a:cubicBezTo>
                  <a:cubicBezTo>
                    <a:pt x="210759" y="252520"/>
                    <a:pt x="213498" y="253672"/>
                    <a:pt x="215879" y="255259"/>
                  </a:cubicBezTo>
                  <a:cubicBezTo>
                    <a:pt x="216673" y="257640"/>
                    <a:pt x="216693" y="260443"/>
                    <a:pt x="218261" y="262403"/>
                  </a:cubicBezTo>
                  <a:cubicBezTo>
                    <a:pt x="220049" y="264638"/>
                    <a:pt x="223206" y="265333"/>
                    <a:pt x="225404" y="267165"/>
                  </a:cubicBezTo>
                  <a:cubicBezTo>
                    <a:pt x="227991" y="269321"/>
                    <a:pt x="230480" y="271651"/>
                    <a:pt x="232548" y="274309"/>
                  </a:cubicBezTo>
                  <a:cubicBezTo>
                    <a:pt x="236062" y="278827"/>
                    <a:pt x="238898" y="283834"/>
                    <a:pt x="242073" y="288597"/>
                  </a:cubicBezTo>
                  <a:lnTo>
                    <a:pt x="246836" y="295740"/>
                  </a:lnTo>
                  <a:lnTo>
                    <a:pt x="256361" y="310028"/>
                  </a:lnTo>
                  <a:cubicBezTo>
                    <a:pt x="257948" y="312409"/>
                    <a:pt x="259843" y="314612"/>
                    <a:pt x="261123" y="317172"/>
                  </a:cubicBezTo>
                  <a:cubicBezTo>
                    <a:pt x="267009" y="328942"/>
                    <a:pt x="264763" y="323329"/>
                    <a:pt x="268267" y="333840"/>
                  </a:cubicBezTo>
                  <a:cubicBezTo>
                    <a:pt x="267473" y="337015"/>
                    <a:pt x="266785" y="340218"/>
                    <a:pt x="265886" y="343365"/>
                  </a:cubicBezTo>
                  <a:cubicBezTo>
                    <a:pt x="265196" y="345779"/>
                    <a:pt x="264113" y="348074"/>
                    <a:pt x="263504" y="350509"/>
                  </a:cubicBezTo>
                  <a:cubicBezTo>
                    <a:pt x="257753" y="373512"/>
                    <a:pt x="264188" y="353220"/>
                    <a:pt x="258742" y="369559"/>
                  </a:cubicBezTo>
                  <a:cubicBezTo>
                    <a:pt x="259536" y="385434"/>
                    <a:pt x="259746" y="401349"/>
                    <a:pt x="261123" y="417184"/>
                  </a:cubicBezTo>
                  <a:cubicBezTo>
                    <a:pt x="261340" y="419685"/>
                    <a:pt x="262381" y="422083"/>
                    <a:pt x="263504" y="424328"/>
                  </a:cubicBezTo>
                  <a:cubicBezTo>
                    <a:pt x="264784" y="426888"/>
                    <a:pt x="266679" y="429091"/>
                    <a:pt x="268267" y="431472"/>
                  </a:cubicBezTo>
                  <a:cubicBezTo>
                    <a:pt x="273934" y="448474"/>
                    <a:pt x="270244" y="441582"/>
                    <a:pt x="277792" y="452903"/>
                  </a:cubicBezTo>
                  <a:cubicBezTo>
                    <a:pt x="278586" y="456872"/>
                    <a:pt x="279191" y="460883"/>
                    <a:pt x="280173" y="464809"/>
                  </a:cubicBezTo>
                  <a:cubicBezTo>
                    <a:pt x="280782" y="467244"/>
                    <a:pt x="281945" y="469518"/>
                    <a:pt x="282554" y="471953"/>
                  </a:cubicBezTo>
                  <a:cubicBezTo>
                    <a:pt x="283536" y="475879"/>
                    <a:pt x="284142" y="479890"/>
                    <a:pt x="284936" y="483859"/>
                  </a:cubicBezTo>
                  <a:cubicBezTo>
                    <a:pt x="284142" y="489415"/>
                    <a:pt x="285064" y="495508"/>
                    <a:pt x="282554" y="500528"/>
                  </a:cubicBezTo>
                  <a:cubicBezTo>
                    <a:pt x="277390" y="510856"/>
                    <a:pt x="268666" y="492791"/>
                    <a:pt x="280173" y="510053"/>
                  </a:cubicBezTo>
                  <a:cubicBezTo>
                    <a:pt x="282179" y="509802"/>
                    <a:pt x="309386" y="506665"/>
                    <a:pt x="313511" y="505290"/>
                  </a:cubicBezTo>
                  <a:cubicBezTo>
                    <a:pt x="316226" y="504385"/>
                    <a:pt x="318039" y="501690"/>
                    <a:pt x="320654" y="500528"/>
                  </a:cubicBezTo>
                  <a:cubicBezTo>
                    <a:pt x="346161" y="489191"/>
                    <a:pt x="325917" y="501781"/>
                    <a:pt x="342086" y="491003"/>
                  </a:cubicBezTo>
                  <a:cubicBezTo>
                    <a:pt x="341292" y="488622"/>
                    <a:pt x="341272" y="485819"/>
                    <a:pt x="339704" y="483859"/>
                  </a:cubicBezTo>
                  <a:cubicBezTo>
                    <a:pt x="337916" y="481624"/>
                    <a:pt x="334584" y="481120"/>
                    <a:pt x="332561" y="479097"/>
                  </a:cubicBezTo>
                  <a:cubicBezTo>
                    <a:pt x="330537" y="477073"/>
                    <a:pt x="329386" y="474334"/>
                    <a:pt x="327798" y="471953"/>
                  </a:cubicBezTo>
                  <a:cubicBezTo>
                    <a:pt x="327004" y="469572"/>
                    <a:pt x="325417" y="467319"/>
                    <a:pt x="325417" y="464809"/>
                  </a:cubicBezTo>
                  <a:cubicBezTo>
                    <a:pt x="325417" y="450736"/>
                    <a:pt x="333745" y="453510"/>
                    <a:pt x="342086" y="440997"/>
                  </a:cubicBezTo>
                  <a:cubicBezTo>
                    <a:pt x="343673" y="438616"/>
                    <a:pt x="345686" y="436468"/>
                    <a:pt x="346848" y="433853"/>
                  </a:cubicBezTo>
                  <a:cubicBezTo>
                    <a:pt x="348887" y="429265"/>
                    <a:pt x="351611" y="419565"/>
                    <a:pt x="351611" y="419565"/>
                  </a:cubicBezTo>
                  <a:cubicBezTo>
                    <a:pt x="350402" y="414730"/>
                    <a:pt x="346827" y="407681"/>
                    <a:pt x="351611" y="402897"/>
                  </a:cubicBezTo>
                  <a:cubicBezTo>
                    <a:pt x="353386" y="401122"/>
                    <a:pt x="356373" y="401309"/>
                    <a:pt x="358754" y="400515"/>
                  </a:cubicBezTo>
                  <a:cubicBezTo>
                    <a:pt x="361135" y="398134"/>
                    <a:pt x="364030" y="396174"/>
                    <a:pt x="365898" y="393372"/>
                  </a:cubicBezTo>
                  <a:cubicBezTo>
                    <a:pt x="371359" y="385181"/>
                    <a:pt x="366757" y="368001"/>
                    <a:pt x="365898" y="362415"/>
                  </a:cubicBezTo>
                  <a:cubicBezTo>
                    <a:pt x="365516" y="359934"/>
                    <a:pt x="365085" y="357232"/>
                    <a:pt x="363517" y="355272"/>
                  </a:cubicBezTo>
                  <a:cubicBezTo>
                    <a:pt x="361729" y="353037"/>
                    <a:pt x="358754" y="352097"/>
                    <a:pt x="356373" y="350509"/>
                  </a:cubicBezTo>
                  <a:cubicBezTo>
                    <a:pt x="354786" y="348128"/>
                    <a:pt x="352891" y="345925"/>
                    <a:pt x="351611" y="343365"/>
                  </a:cubicBezTo>
                  <a:cubicBezTo>
                    <a:pt x="348064" y="336271"/>
                    <a:pt x="348119" y="329791"/>
                    <a:pt x="351611" y="321934"/>
                  </a:cubicBezTo>
                  <a:cubicBezTo>
                    <a:pt x="352979" y="318857"/>
                    <a:pt x="356373" y="317171"/>
                    <a:pt x="358754" y="314790"/>
                  </a:cubicBezTo>
                  <a:cubicBezTo>
                    <a:pt x="359847" y="311511"/>
                    <a:pt x="361549" y="301538"/>
                    <a:pt x="368279" y="302884"/>
                  </a:cubicBezTo>
                  <a:cubicBezTo>
                    <a:pt x="371085" y="303445"/>
                    <a:pt x="371454" y="307647"/>
                    <a:pt x="373042" y="310028"/>
                  </a:cubicBezTo>
                  <a:cubicBezTo>
                    <a:pt x="373836" y="312409"/>
                    <a:pt x="374733" y="314758"/>
                    <a:pt x="375423" y="317172"/>
                  </a:cubicBezTo>
                  <a:cubicBezTo>
                    <a:pt x="376322" y="320319"/>
                    <a:pt x="375186" y="324734"/>
                    <a:pt x="377804" y="326697"/>
                  </a:cubicBezTo>
                  <a:cubicBezTo>
                    <a:pt x="379812" y="328203"/>
                    <a:pt x="382567" y="325109"/>
                    <a:pt x="384948" y="324315"/>
                  </a:cubicBezTo>
                  <a:cubicBezTo>
                    <a:pt x="388498" y="313667"/>
                    <a:pt x="387690" y="308994"/>
                    <a:pt x="396854" y="302884"/>
                  </a:cubicBezTo>
                  <a:cubicBezTo>
                    <a:pt x="398943" y="301492"/>
                    <a:pt x="401617" y="301297"/>
                    <a:pt x="403998" y="300503"/>
                  </a:cubicBezTo>
                  <a:cubicBezTo>
                    <a:pt x="407173" y="301297"/>
                    <a:pt x="410515" y="301595"/>
                    <a:pt x="413523" y="302884"/>
                  </a:cubicBezTo>
                  <a:cubicBezTo>
                    <a:pt x="416154" y="304011"/>
                    <a:pt x="418107" y="306367"/>
                    <a:pt x="420667" y="307647"/>
                  </a:cubicBezTo>
                  <a:cubicBezTo>
                    <a:pt x="422912" y="308770"/>
                    <a:pt x="425430" y="309234"/>
                    <a:pt x="427811" y="310028"/>
                  </a:cubicBezTo>
                  <a:cubicBezTo>
                    <a:pt x="428605" y="307647"/>
                    <a:pt x="428624" y="304844"/>
                    <a:pt x="430192" y="302884"/>
                  </a:cubicBezTo>
                  <a:cubicBezTo>
                    <a:pt x="437058" y="294302"/>
                    <a:pt x="444207" y="299104"/>
                    <a:pt x="454004" y="300503"/>
                  </a:cubicBezTo>
                  <a:cubicBezTo>
                    <a:pt x="456385" y="301297"/>
                    <a:pt x="458638" y="302884"/>
                    <a:pt x="461148" y="302884"/>
                  </a:cubicBezTo>
                  <a:cubicBezTo>
                    <a:pt x="468332" y="302884"/>
                    <a:pt x="478494" y="292339"/>
                    <a:pt x="482579" y="290978"/>
                  </a:cubicBezTo>
                  <a:lnTo>
                    <a:pt x="489723" y="288597"/>
                  </a:lnTo>
                  <a:cubicBezTo>
                    <a:pt x="492104" y="286216"/>
                    <a:pt x="498373" y="284465"/>
                    <a:pt x="496867" y="281453"/>
                  </a:cubicBezTo>
                  <a:cubicBezTo>
                    <a:pt x="495057" y="277833"/>
                    <a:pt x="488751" y="280493"/>
                    <a:pt x="484961" y="279072"/>
                  </a:cubicBezTo>
                  <a:cubicBezTo>
                    <a:pt x="482281" y="278067"/>
                    <a:pt x="480432" y="275471"/>
                    <a:pt x="477817" y="274309"/>
                  </a:cubicBezTo>
                  <a:cubicBezTo>
                    <a:pt x="473229" y="272270"/>
                    <a:pt x="463529" y="269547"/>
                    <a:pt x="463529" y="269547"/>
                  </a:cubicBezTo>
                  <a:cubicBezTo>
                    <a:pt x="461942" y="267166"/>
                    <a:pt x="459520" y="265164"/>
                    <a:pt x="458767" y="262403"/>
                  </a:cubicBezTo>
                  <a:cubicBezTo>
                    <a:pt x="457083" y="256229"/>
                    <a:pt x="457438" y="249665"/>
                    <a:pt x="456386" y="243353"/>
                  </a:cubicBezTo>
                  <a:cubicBezTo>
                    <a:pt x="455848" y="240125"/>
                    <a:pt x="454903" y="236975"/>
                    <a:pt x="454004" y="233828"/>
                  </a:cubicBezTo>
                  <a:cubicBezTo>
                    <a:pt x="452932" y="230077"/>
                    <a:pt x="450491" y="221809"/>
                    <a:pt x="446861" y="219540"/>
                  </a:cubicBezTo>
                  <a:cubicBezTo>
                    <a:pt x="442604" y="216879"/>
                    <a:pt x="437336" y="216365"/>
                    <a:pt x="432573" y="214778"/>
                  </a:cubicBezTo>
                  <a:cubicBezTo>
                    <a:pt x="418610" y="210124"/>
                    <a:pt x="427924" y="212674"/>
                    <a:pt x="403998" y="210015"/>
                  </a:cubicBezTo>
                  <a:cubicBezTo>
                    <a:pt x="401617" y="207634"/>
                    <a:pt x="398722" y="205674"/>
                    <a:pt x="396854" y="202872"/>
                  </a:cubicBezTo>
                  <a:cubicBezTo>
                    <a:pt x="395462" y="200783"/>
                    <a:pt x="394855" y="198209"/>
                    <a:pt x="394473" y="195728"/>
                  </a:cubicBezTo>
                  <a:cubicBezTo>
                    <a:pt x="393260" y="187843"/>
                    <a:pt x="394870" y="180646"/>
                    <a:pt x="392092" y="171915"/>
                  </a:cubicBezTo>
                  <a:cubicBezTo>
                    <a:pt x="389314" y="163184"/>
                    <a:pt x="388638" y="145507"/>
                    <a:pt x="377804" y="143340"/>
                  </a:cubicBezTo>
                  <a:cubicBezTo>
                    <a:pt x="372301" y="142239"/>
                    <a:pt x="357167" y="148897"/>
                    <a:pt x="351611" y="148103"/>
                  </a:cubicBezTo>
                  <a:cubicBezTo>
                    <a:pt x="350253" y="144029"/>
                    <a:pt x="348422" y="136452"/>
                    <a:pt x="344467" y="133815"/>
                  </a:cubicBezTo>
                  <a:cubicBezTo>
                    <a:pt x="343026" y="132854"/>
                    <a:pt x="323298" y="129105"/>
                    <a:pt x="323036" y="129053"/>
                  </a:cubicBezTo>
                  <a:cubicBezTo>
                    <a:pt x="318977" y="116880"/>
                    <a:pt x="320141" y="126636"/>
                    <a:pt x="325417" y="114765"/>
                  </a:cubicBezTo>
                  <a:cubicBezTo>
                    <a:pt x="327456" y="110178"/>
                    <a:pt x="330179" y="100478"/>
                    <a:pt x="330179" y="100478"/>
                  </a:cubicBezTo>
                  <a:cubicBezTo>
                    <a:pt x="329385" y="95715"/>
                    <a:pt x="329957" y="90509"/>
                    <a:pt x="327798" y="86190"/>
                  </a:cubicBezTo>
                  <a:cubicBezTo>
                    <a:pt x="326518" y="83630"/>
                    <a:pt x="322074" y="83913"/>
                    <a:pt x="320654" y="81428"/>
                  </a:cubicBezTo>
                  <a:cubicBezTo>
                    <a:pt x="318646" y="77914"/>
                    <a:pt x="319694" y="73312"/>
                    <a:pt x="318273" y="69522"/>
                  </a:cubicBezTo>
                  <a:cubicBezTo>
                    <a:pt x="316284" y="64216"/>
                    <a:pt x="310074" y="58941"/>
                    <a:pt x="306367" y="55234"/>
                  </a:cubicBezTo>
                  <a:cubicBezTo>
                    <a:pt x="304510" y="49661"/>
                    <a:pt x="304446" y="44595"/>
                    <a:pt x="296842" y="43328"/>
                  </a:cubicBezTo>
                  <a:cubicBezTo>
                    <a:pt x="294366" y="42915"/>
                    <a:pt x="292079" y="44915"/>
                    <a:pt x="289698" y="45709"/>
                  </a:cubicBezTo>
                  <a:cubicBezTo>
                    <a:pt x="286801" y="50055"/>
                    <a:pt x="284794" y="56234"/>
                    <a:pt x="277792" y="55234"/>
                  </a:cubicBezTo>
                  <a:cubicBezTo>
                    <a:pt x="274278" y="54732"/>
                    <a:pt x="271442" y="52059"/>
                    <a:pt x="268267" y="50472"/>
                  </a:cubicBezTo>
                  <a:cubicBezTo>
                    <a:pt x="266679" y="45709"/>
                    <a:pt x="267054" y="39734"/>
                    <a:pt x="263504" y="36184"/>
                  </a:cubicBezTo>
                  <a:cubicBezTo>
                    <a:pt x="261123" y="33803"/>
                    <a:pt x="259163" y="30908"/>
                    <a:pt x="256361" y="29040"/>
                  </a:cubicBezTo>
                  <a:cubicBezTo>
                    <a:pt x="254312" y="27674"/>
                    <a:pt x="240961" y="24595"/>
                    <a:pt x="239692" y="24278"/>
                  </a:cubicBezTo>
                  <a:cubicBezTo>
                    <a:pt x="226030" y="28831"/>
                    <a:pt x="238781" y="23398"/>
                    <a:pt x="225404" y="33803"/>
                  </a:cubicBezTo>
                  <a:cubicBezTo>
                    <a:pt x="220886" y="37317"/>
                    <a:pt x="211117" y="43328"/>
                    <a:pt x="211117" y="43328"/>
                  </a:cubicBezTo>
                  <a:cubicBezTo>
                    <a:pt x="208636" y="35883"/>
                    <a:pt x="206230" y="26577"/>
                    <a:pt x="199211" y="21897"/>
                  </a:cubicBezTo>
                  <a:lnTo>
                    <a:pt x="192067" y="17134"/>
                  </a:lnTo>
                  <a:cubicBezTo>
                    <a:pt x="186511" y="18324"/>
                    <a:pt x="173810" y="28643"/>
                    <a:pt x="165873" y="29040"/>
                  </a:cubicBezTo>
                  <a:cubicBezTo>
                    <a:pt x="156696" y="15274"/>
                    <a:pt x="166497" y="26132"/>
                    <a:pt x="144442" y="19515"/>
                  </a:cubicBezTo>
                  <a:cubicBezTo>
                    <a:pt x="141701" y="18693"/>
                    <a:pt x="139858" y="16033"/>
                    <a:pt x="137298" y="14753"/>
                  </a:cubicBezTo>
                  <a:cubicBezTo>
                    <a:pt x="135053" y="13631"/>
                    <a:pt x="132535" y="13166"/>
                    <a:pt x="130154" y="12372"/>
                  </a:cubicBezTo>
                  <a:cubicBezTo>
                    <a:pt x="129360" y="9991"/>
                    <a:pt x="129341" y="7188"/>
                    <a:pt x="127773" y="5228"/>
                  </a:cubicBezTo>
                  <a:cubicBezTo>
                    <a:pt x="120273" y="-4147"/>
                    <a:pt x="109348" y="1719"/>
                    <a:pt x="99198" y="2847"/>
                  </a:cubicBezTo>
                  <a:cubicBezTo>
                    <a:pt x="96817" y="3641"/>
                    <a:pt x="94248" y="4009"/>
                    <a:pt x="92054" y="5228"/>
                  </a:cubicBezTo>
                  <a:cubicBezTo>
                    <a:pt x="87051" y="8008"/>
                    <a:pt x="77767" y="14753"/>
                    <a:pt x="77767" y="14753"/>
                  </a:cubicBezTo>
                  <a:cubicBezTo>
                    <a:pt x="76179" y="17134"/>
                    <a:pt x="75028" y="19873"/>
                    <a:pt x="73004" y="21897"/>
                  </a:cubicBezTo>
                  <a:cubicBezTo>
                    <a:pt x="67344" y="27557"/>
                    <a:pt x="58645" y="29065"/>
                    <a:pt x="51573" y="31422"/>
                  </a:cubicBezTo>
                  <a:lnTo>
                    <a:pt x="44429" y="33803"/>
                  </a:lnTo>
                  <a:lnTo>
                    <a:pt x="37286" y="36184"/>
                  </a:lnTo>
                  <a:cubicBezTo>
                    <a:pt x="34905" y="38565"/>
                    <a:pt x="33086" y="41693"/>
                    <a:pt x="30142" y="43328"/>
                  </a:cubicBezTo>
                  <a:cubicBezTo>
                    <a:pt x="25753" y="45766"/>
                    <a:pt x="15854" y="48090"/>
                    <a:pt x="15854" y="48090"/>
                  </a:cubicBezTo>
                  <a:cubicBezTo>
                    <a:pt x="13473" y="50471"/>
                    <a:pt x="11369" y="53167"/>
                    <a:pt x="8711" y="55234"/>
                  </a:cubicBezTo>
                  <a:cubicBezTo>
                    <a:pt x="-4101" y="65199"/>
                    <a:pt x="773" y="62775"/>
                    <a:pt x="1567" y="64759"/>
                  </a:cubicBezTo>
                  <a:close/>
                </a:path>
              </a:pathLst>
            </a:custGeom>
            <a:solidFill>
              <a:schemeClr val="bg1">
                <a:lumMod val="85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22" name="Freeform: Shape 321">
              <a:extLst>
                <a:ext uri="{FF2B5EF4-FFF2-40B4-BE49-F238E27FC236}">
                  <a16:creationId xmlns:a16="http://schemas.microsoft.com/office/drawing/2014/main" id="{C3BECDC1-BAE6-48C4-9D1C-0A7EBFEE3B16}"/>
                </a:ext>
              </a:extLst>
            </p:cNvPr>
            <p:cNvSpPr/>
            <p:nvPr/>
          </p:nvSpPr>
          <p:spPr>
            <a:xfrm>
              <a:off x="7823000" y="4144451"/>
              <a:ext cx="659607" cy="364646"/>
            </a:xfrm>
            <a:custGeom>
              <a:avLst/>
              <a:gdLst>
                <a:gd name="connsiteX0" fmla="*/ 33338 w 659607"/>
                <a:gd name="connsiteY0" fmla="*/ 164621 h 364646"/>
                <a:gd name="connsiteX1" fmla="*/ 28575 w 659607"/>
                <a:gd name="connsiteY1" fmla="*/ 176527 h 364646"/>
                <a:gd name="connsiteX2" fmla="*/ 21432 w 659607"/>
                <a:gd name="connsiteY2" fmla="*/ 178908 h 364646"/>
                <a:gd name="connsiteX3" fmla="*/ 19050 w 659607"/>
                <a:gd name="connsiteY3" fmla="*/ 186052 h 364646"/>
                <a:gd name="connsiteX4" fmla="*/ 14288 w 659607"/>
                <a:gd name="connsiteY4" fmla="*/ 193196 h 364646"/>
                <a:gd name="connsiteX5" fmla="*/ 21432 w 659607"/>
                <a:gd name="connsiteY5" fmla="*/ 207483 h 364646"/>
                <a:gd name="connsiteX6" fmla="*/ 23813 w 659607"/>
                <a:gd name="connsiteY6" fmla="*/ 214627 h 364646"/>
                <a:gd name="connsiteX7" fmla="*/ 21432 w 659607"/>
                <a:gd name="connsiteY7" fmla="*/ 226533 h 364646"/>
                <a:gd name="connsiteX8" fmla="*/ 11907 w 659607"/>
                <a:gd name="connsiteY8" fmla="*/ 228915 h 364646"/>
                <a:gd name="connsiteX9" fmla="*/ 2382 w 659607"/>
                <a:gd name="connsiteY9" fmla="*/ 238440 h 364646"/>
                <a:gd name="connsiteX10" fmla="*/ 0 w 659607"/>
                <a:gd name="connsiteY10" fmla="*/ 245583 h 364646"/>
                <a:gd name="connsiteX11" fmla="*/ 9525 w 659607"/>
                <a:gd name="connsiteY11" fmla="*/ 269396 h 364646"/>
                <a:gd name="connsiteX12" fmla="*/ 16669 w 659607"/>
                <a:gd name="connsiteY12" fmla="*/ 271777 h 364646"/>
                <a:gd name="connsiteX13" fmla="*/ 23813 w 659607"/>
                <a:gd name="connsiteY13" fmla="*/ 288446 h 364646"/>
                <a:gd name="connsiteX14" fmla="*/ 28575 w 659607"/>
                <a:gd name="connsiteY14" fmla="*/ 295590 h 364646"/>
                <a:gd name="connsiteX15" fmla="*/ 42863 w 659607"/>
                <a:gd name="connsiteY15" fmla="*/ 305115 h 364646"/>
                <a:gd name="connsiteX16" fmla="*/ 50007 w 659607"/>
                <a:gd name="connsiteY16" fmla="*/ 309877 h 364646"/>
                <a:gd name="connsiteX17" fmla="*/ 73819 w 659607"/>
                <a:gd name="connsiteY17" fmla="*/ 312258 h 364646"/>
                <a:gd name="connsiteX18" fmla="*/ 83344 w 659607"/>
                <a:gd name="connsiteY18" fmla="*/ 326546 h 364646"/>
                <a:gd name="connsiteX19" fmla="*/ 85725 w 659607"/>
                <a:gd name="connsiteY19" fmla="*/ 333690 h 364646"/>
                <a:gd name="connsiteX20" fmla="*/ 88107 w 659607"/>
                <a:gd name="connsiteY20" fmla="*/ 343215 h 364646"/>
                <a:gd name="connsiteX21" fmla="*/ 95250 w 659607"/>
                <a:gd name="connsiteY21" fmla="*/ 345596 h 364646"/>
                <a:gd name="connsiteX22" fmla="*/ 109538 w 659607"/>
                <a:gd name="connsiteY22" fmla="*/ 355121 h 364646"/>
                <a:gd name="connsiteX23" fmla="*/ 123825 w 659607"/>
                <a:gd name="connsiteY23" fmla="*/ 364646 h 364646"/>
                <a:gd name="connsiteX24" fmla="*/ 150019 w 659607"/>
                <a:gd name="connsiteY24" fmla="*/ 362265 h 364646"/>
                <a:gd name="connsiteX25" fmla="*/ 164307 w 659607"/>
                <a:gd name="connsiteY25" fmla="*/ 357502 h 364646"/>
                <a:gd name="connsiteX26" fmla="*/ 211932 w 659607"/>
                <a:gd name="connsiteY26" fmla="*/ 352740 h 364646"/>
                <a:gd name="connsiteX27" fmla="*/ 219075 w 659607"/>
                <a:gd name="connsiteY27" fmla="*/ 350358 h 364646"/>
                <a:gd name="connsiteX28" fmla="*/ 230982 w 659607"/>
                <a:gd name="connsiteY28" fmla="*/ 347977 h 364646"/>
                <a:gd name="connsiteX29" fmla="*/ 245269 w 659607"/>
                <a:gd name="connsiteY29" fmla="*/ 338452 h 364646"/>
                <a:gd name="connsiteX30" fmla="*/ 252413 w 659607"/>
                <a:gd name="connsiteY30" fmla="*/ 333690 h 364646"/>
                <a:gd name="connsiteX31" fmla="*/ 259557 w 659607"/>
                <a:gd name="connsiteY31" fmla="*/ 331308 h 364646"/>
                <a:gd name="connsiteX32" fmla="*/ 242888 w 659607"/>
                <a:gd name="connsiteY32" fmla="*/ 319402 h 364646"/>
                <a:gd name="connsiteX33" fmla="*/ 247650 w 659607"/>
                <a:gd name="connsiteY33" fmla="*/ 302733 h 364646"/>
                <a:gd name="connsiteX34" fmla="*/ 250032 w 659607"/>
                <a:gd name="connsiteY34" fmla="*/ 293208 h 364646"/>
                <a:gd name="connsiteX35" fmla="*/ 257175 w 659607"/>
                <a:gd name="connsiteY35" fmla="*/ 290827 h 364646"/>
                <a:gd name="connsiteX36" fmla="*/ 283369 w 659607"/>
                <a:gd name="connsiteY36" fmla="*/ 288446 h 364646"/>
                <a:gd name="connsiteX37" fmla="*/ 316707 w 659607"/>
                <a:gd name="connsiteY37" fmla="*/ 281302 h 364646"/>
                <a:gd name="connsiteX38" fmla="*/ 319088 w 659607"/>
                <a:gd name="connsiteY38" fmla="*/ 274158 h 364646"/>
                <a:gd name="connsiteX39" fmla="*/ 326232 w 659607"/>
                <a:gd name="connsiteY39" fmla="*/ 257490 h 364646"/>
                <a:gd name="connsiteX40" fmla="*/ 333375 w 659607"/>
                <a:gd name="connsiteY40" fmla="*/ 252727 h 364646"/>
                <a:gd name="connsiteX41" fmla="*/ 347663 w 659607"/>
                <a:gd name="connsiteY41" fmla="*/ 255108 h 364646"/>
                <a:gd name="connsiteX42" fmla="*/ 361950 w 659607"/>
                <a:gd name="connsiteY42" fmla="*/ 250346 h 364646"/>
                <a:gd name="connsiteX43" fmla="*/ 364332 w 659607"/>
                <a:gd name="connsiteY43" fmla="*/ 262252 h 364646"/>
                <a:gd name="connsiteX44" fmla="*/ 378619 w 659607"/>
                <a:gd name="connsiteY44" fmla="*/ 257490 h 364646"/>
                <a:gd name="connsiteX45" fmla="*/ 385763 w 659607"/>
                <a:gd name="connsiteY45" fmla="*/ 262252 h 364646"/>
                <a:gd name="connsiteX46" fmla="*/ 395288 w 659607"/>
                <a:gd name="connsiteY46" fmla="*/ 245583 h 364646"/>
                <a:gd name="connsiteX47" fmla="*/ 402432 w 659607"/>
                <a:gd name="connsiteY47" fmla="*/ 243202 h 364646"/>
                <a:gd name="connsiteX48" fmla="*/ 423863 w 659607"/>
                <a:gd name="connsiteY48" fmla="*/ 231296 h 364646"/>
                <a:gd name="connsiteX49" fmla="*/ 428625 w 659607"/>
                <a:gd name="connsiteY49" fmla="*/ 197958 h 364646"/>
                <a:gd name="connsiteX50" fmla="*/ 435769 w 659607"/>
                <a:gd name="connsiteY50" fmla="*/ 183671 h 364646"/>
                <a:gd name="connsiteX51" fmla="*/ 438150 w 659607"/>
                <a:gd name="connsiteY51" fmla="*/ 174146 h 364646"/>
                <a:gd name="connsiteX52" fmla="*/ 483394 w 659607"/>
                <a:gd name="connsiteY52" fmla="*/ 167002 h 364646"/>
                <a:gd name="connsiteX53" fmla="*/ 495300 w 659607"/>
                <a:gd name="connsiteY53" fmla="*/ 169383 h 364646"/>
                <a:gd name="connsiteX54" fmla="*/ 502444 w 659607"/>
                <a:gd name="connsiteY54" fmla="*/ 174146 h 364646"/>
                <a:gd name="connsiteX55" fmla="*/ 509588 w 659607"/>
                <a:gd name="connsiteY55" fmla="*/ 176527 h 364646"/>
                <a:gd name="connsiteX56" fmla="*/ 526257 w 659607"/>
                <a:gd name="connsiteY56" fmla="*/ 171765 h 364646"/>
                <a:gd name="connsiteX57" fmla="*/ 533400 w 659607"/>
                <a:gd name="connsiteY57" fmla="*/ 164621 h 364646"/>
                <a:gd name="connsiteX58" fmla="*/ 538163 w 659607"/>
                <a:gd name="connsiteY58" fmla="*/ 157477 h 364646"/>
                <a:gd name="connsiteX59" fmla="*/ 552450 w 659607"/>
                <a:gd name="connsiteY59" fmla="*/ 152715 h 364646"/>
                <a:gd name="connsiteX60" fmla="*/ 559594 w 659607"/>
                <a:gd name="connsiteY60" fmla="*/ 150333 h 364646"/>
                <a:gd name="connsiteX61" fmla="*/ 564357 w 659607"/>
                <a:gd name="connsiteY61" fmla="*/ 164621 h 364646"/>
                <a:gd name="connsiteX62" fmla="*/ 573882 w 659607"/>
                <a:gd name="connsiteY62" fmla="*/ 178908 h 364646"/>
                <a:gd name="connsiteX63" fmla="*/ 576263 w 659607"/>
                <a:gd name="connsiteY63" fmla="*/ 186052 h 364646"/>
                <a:gd name="connsiteX64" fmla="*/ 590550 w 659607"/>
                <a:gd name="connsiteY64" fmla="*/ 193196 h 364646"/>
                <a:gd name="connsiteX65" fmla="*/ 592932 w 659607"/>
                <a:gd name="connsiteY65" fmla="*/ 186052 h 364646"/>
                <a:gd name="connsiteX66" fmla="*/ 604838 w 659607"/>
                <a:gd name="connsiteY66" fmla="*/ 183671 h 364646"/>
                <a:gd name="connsiteX67" fmla="*/ 611982 w 659607"/>
                <a:gd name="connsiteY67" fmla="*/ 178908 h 364646"/>
                <a:gd name="connsiteX68" fmla="*/ 623888 w 659607"/>
                <a:gd name="connsiteY68" fmla="*/ 176527 h 364646"/>
                <a:gd name="connsiteX69" fmla="*/ 638175 w 659607"/>
                <a:gd name="connsiteY69" fmla="*/ 171765 h 364646"/>
                <a:gd name="connsiteX70" fmla="*/ 635794 w 659607"/>
                <a:gd name="connsiteY70" fmla="*/ 162240 h 364646"/>
                <a:gd name="connsiteX71" fmla="*/ 631032 w 659607"/>
                <a:gd name="connsiteY71" fmla="*/ 147952 h 364646"/>
                <a:gd name="connsiteX72" fmla="*/ 640557 w 659607"/>
                <a:gd name="connsiteY72" fmla="*/ 121758 h 364646"/>
                <a:gd name="connsiteX73" fmla="*/ 647700 w 659607"/>
                <a:gd name="connsiteY73" fmla="*/ 66990 h 364646"/>
                <a:gd name="connsiteX74" fmla="*/ 650082 w 659607"/>
                <a:gd name="connsiteY74" fmla="*/ 59846 h 364646"/>
                <a:gd name="connsiteX75" fmla="*/ 659607 w 659607"/>
                <a:gd name="connsiteY75" fmla="*/ 45558 h 364646"/>
                <a:gd name="connsiteX76" fmla="*/ 650082 w 659607"/>
                <a:gd name="connsiteY76" fmla="*/ 40796 h 364646"/>
                <a:gd name="connsiteX77" fmla="*/ 635794 w 659607"/>
                <a:gd name="connsiteY77" fmla="*/ 38415 h 364646"/>
                <a:gd name="connsiteX78" fmla="*/ 607219 w 659607"/>
                <a:gd name="connsiteY78" fmla="*/ 31271 h 364646"/>
                <a:gd name="connsiteX79" fmla="*/ 600075 w 659607"/>
                <a:gd name="connsiteY79" fmla="*/ 26508 h 364646"/>
                <a:gd name="connsiteX80" fmla="*/ 592932 w 659607"/>
                <a:gd name="connsiteY80" fmla="*/ 24127 h 364646"/>
                <a:gd name="connsiteX81" fmla="*/ 590550 w 659607"/>
                <a:gd name="connsiteY81" fmla="*/ 16983 h 364646"/>
                <a:gd name="connsiteX82" fmla="*/ 578644 w 659607"/>
                <a:gd name="connsiteY82" fmla="*/ 2696 h 364646"/>
                <a:gd name="connsiteX83" fmla="*/ 571500 w 659607"/>
                <a:gd name="connsiteY83" fmla="*/ 315 h 364646"/>
                <a:gd name="connsiteX84" fmla="*/ 561975 w 659607"/>
                <a:gd name="connsiteY84" fmla="*/ 315 h 364646"/>
                <a:gd name="connsiteX85" fmla="*/ 542925 w 659607"/>
                <a:gd name="connsiteY85" fmla="*/ 2696 h 364646"/>
                <a:gd name="connsiteX86" fmla="*/ 526257 w 659607"/>
                <a:gd name="connsiteY86" fmla="*/ 315 h 364646"/>
                <a:gd name="connsiteX87" fmla="*/ 497682 w 659607"/>
                <a:gd name="connsiteY87" fmla="*/ 315 h 364646"/>
                <a:gd name="connsiteX88" fmla="*/ 485775 w 659607"/>
                <a:gd name="connsiteY88" fmla="*/ 2696 h 364646"/>
                <a:gd name="connsiteX89" fmla="*/ 488157 w 659607"/>
                <a:gd name="connsiteY89" fmla="*/ 19365 h 364646"/>
                <a:gd name="connsiteX90" fmla="*/ 473869 w 659607"/>
                <a:gd name="connsiteY90" fmla="*/ 26508 h 364646"/>
                <a:gd name="connsiteX91" fmla="*/ 466725 w 659607"/>
                <a:gd name="connsiteY91" fmla="*/ 31271 h 364646"/>
                <a:gd name="connsiteX92" fmla="*/ 452438 w 659607"/>
                <a:gd name="connsiteY92" fmla="*/ 28890 h 364646"/>
                <a:gd name="connsiteX93" fmla="*/ 445294 w 659607"/>
                <a:gd name="connsiteY93" fmla="*/ 26508 h 364646"/>
                <a:gd name="connsiteX94" fmla="*/ 428625 w 659607"/>
                <a:gd name="connsiteY94" fmla="*/ 24127 h 364646"/>
                <a:gd name="connsiteX95" fmla="*/ 407194 w 659607"/>
                <a:gd name="connsiteY95" fmla="*/ 26508 h 364646"/>
                <a:gd name="connsiteX96" fmla="*/ 388144 w 659607"/>
                <a:gd name="connsiteY96" fmla="*/ 31271 h 364646"/>
                <a:gd name="connsiteX97" fmla="*/ 385763 w 659607"/>
                <a:gd name="connsiteY97" fmla="*/ 43177 h 364646"/>
                <a:gd name="connsiteX98" fmla="*/ 378619 w 659607"/>
                <a:gd name="connsiteY98" fmla="*/ 47940 h 364646"/>
                <a:gd name="connsiteX99" fmla="*/ 373857 w 659607"/>
                <a:gd name="connsiteY99" fmla="*/ 55083 h 364646"/>
                <a:gd name="connsiteX100" fmla="*/ 376238 w 659607"/>
                <a:gd name="connsiteY100" fmla="*/ 76515 h 364646"/>
                <a:gd name="connsiteX101" fmla="*/ 357188 w 659607"/>
                <a:gd name="connsiteY101" fmla="*/ 74133 h 364646"/>
                <a:gd name="connsiteX102" fmla="*/ 330994 w 659607"/>
                <a:gd name="connsiteY102" fmla="*/ 69371 h 364646"/>
                <a:gd name="connsiteX103" fmla="*/ 326232 w 659607"/>
                <a:gd name="connsiteY103" fmla="*/ 50321 h 364646"/>
                <a:gd name="connsiteX104" fmla="*/ 321469 w 659607"/>
                <a:gd name="connsiteY104" fmla="*/ 40796 h 364646"/>
                <a:gd name="connsiteX105" fmla="*/ 300038 w 659607"/>
                <a:gd name="connsiteY105" fmla="*/ 33652 h 364646"/>
                <a:gd name="connsiteX106" fmla="*/ 297657 w 659607"/>
                <a:gd name="connsiteY106" fmla="*/ 24127 h 364646"/>
                <a:gd name="connsiteX107" fmla="*/ 295275 w 659607"/>
                <a:gd name="connsiteY107" fmla="*/ 16983 h 364646"/>
                <a:gd name="connsiteX108" fmla="*/ 285750 w 659607"/>
                <a:gd name="connsiteY108" fmla="*/ 14602 h 364646"/>
                <a:gd name="connsiteX109" fmla="*/ 278607 w 659607"/>
                <a:gd name="connsiteY109" fmla="*/ 16983 h 364646"/>
                <a:gd name="connsiteX110" fmla="*/ 264319 w 659607"/>
                <a:gd name="connsiteY110" fmla="*/ 19365 h 364646"/>
                <a:gd name="connsiteX111" fmla="*/ 254794 w 659607"/>
                <a:gd name="connsiteY111" fmla="*/ 33652 h 364646"/>
                <a:gd name="connsiteX112" fmla="*/ 254794 w 659607"/>
                <a:gd name="connsiteY112" fmla="*/ 47940 h 364646"/>
                <a:gd name="connsiteX113" fmla="*/ 242888 w 659607"/>
                <a:gd name="connsiteY113" fmla="*/ 45558 h 364646"/>
                <a:gd name="connsiteX114" fmla="*/ 235744 w 659607"/>
                <a:gd name="connsiteY114" fmla="*/ 40796 h 364646"/>
                <a:gd name="connsiteX115" fmla="*/ 226219 w 659607"/>
                <a:gd name="connsiteY115" fmla="*/ 26508 h 364646"/>
                <a:gd name="connsiteX116" fmla="*/ 209550 w 659607"/>
                <a:gd name="connsiteY116" fmla="*/ 28890 h 364646"/>
                <a:gd name="connsiteX117" fmla="*/ 202407 w 659607"/>
                <a:gd name="connsiteY117" fmla="*/ 33652 h 364646"/>
                <a:gd name="connsiteX118" fmla="*/ 190500 w 659607"/>
                <a:gd name="connsiteY118" fmla="*/ 36033 h 364646"/>
                <a:gd name="connsiteX119" fmla="*/ 185738 w 659607"/>
                <a:gd name="connsiteY119" fmla="*/ 45558 h 364646"/>
                <a:gd name="connsiteX120" fmla="*/ 166688 w 659607"/>
                <a:gd name="connsiteY120" fmla="*/ 62227 h 364646"/>
                <a:gd name="connsiteX121" fmla="*/ 159544 w 659607"/>
                <a:gd name="connsiteY121" fmla="*/ 66990 h 364646"/>
                <a:gd name="connsiteX122" fmla="*/ 157163 w 659607"/>
                <a:gd name="connsiteY122" fmla="*/ 74133 h 364646"/>
                <a:gd name="connsiteX123" fmla="*/ 152400 w 659607"/>
                <a:gd name="connsiteY123" fmla="*/ 81277 h 364646"/>
                <a:gd name="connsiteX124" fmla="*/ 147638 w 659607"/>
                <a:gd name="connsiteY124" fmla="*/ 95565 h 364646"/>
                <a:gd name="connsiteX125" fmla="*/ 145257 w 659607"/>
                <a:gd name="connsiteY125" fmla="*/ 116996 h 364646"/>
                <a:gd name="connsiteX126" fmla="*/ 135732 w 659607"/>
                <a:gd name="connsiteY126" fmla="*/ 124140 h 364646"/>
                <a:gd name="connsiteX127" fmla="*/ 126207 w 659607"/>
                <a:gd name="connsiteY127" fmla="*/ 136046 h 364646"/>
                <a:gd name="connsiteX128" fmla="*/ 123825 w 659607"/>
                <a:gd name="connsiteY128" fmla="*/ 145571 h 364646"/>
                <a:gd name="connsiteX129" fmla="*/ 111919 w 659607"/>
                <a:gd name="connsiteY129" fmla="*/ 157477 h 364646"/>
                <a:gd name="connsiteX130" fmla="*/ 104775 w 659607"/>
                <a:gd name="connsiteY130" fmla="*/ 159858 h 364646"/>
                <a:gd name="connsiteX131" fmla="*/ 102394 w 659607"/>
                <a:gd name="connsiteY131" fmla="*/ 167002 h 364646"/>
                <a:gd name="connsiteX132" fmla="*/ 95250 w 659607"/>
                <a:gd name="connsiteY132" fmla="*/ 169383 h 364646"/>
                <a:gd name="connsiteX133" fmla="*/ 83344 w 659607"/>
                <a:gd name="connsiteY133" fmla="*/ 171765 h 364646"/>
                <a:gd name="connsiteX134" fmla="*/ 45244 w 659607"/>
                <a:gd name="connsiteY134" fmla="*/ 167002 h 364646"/>
                <a:gd name="connsiteX135" fmla="*/ 33338 w 659607"/>
                <a:gd name="connsiteY135" fmla="*/ 164621 h 364646"/>
                <a:gd name="connsiteX0" fmla="*/ 33338 w 659607"/>
                <a:gd name="connsiteY0" fmla="*/ 164621 h 364646"/>
                <a:gd name="connsiteX1" fmla="*/ 28575 w 659607"/>
                <a:gd name="connsiteY1" fmla="*/ 176527 h 364646"/>
                <a:gd name="connsiteX2" fmla="*/ 21432 w 659607"/>
                <a:gd name="connsiteY2" fmla="*/ 178908 h 364646"/>
                <a:gd name="connsiteX3" fmla="*/ 19050 w 659607"/>
                <a:gd name="connsiteY3" fmla="*/ 186052 h 364646"/>
                <a:gd name="connsiteX4" fmla="*/ 14288 w 659607"/>
                <a:gd name="connsiteY4" fmla="*/ 193196 h 364646"/>
                <a:gd name="connsiteX5" fmla="*/ 21432 w 659607"/>
                <a:gd name="connsiteY5" fmla="*/ 207483 h 364646"/>
                <a:gd name="connsiteX6" fmla="*/ 23813 w 659607"/>
                <a:gd name="connsiteY6" fmla="*/ 214627 h 364646"/>
                <a:gd name="connsiteX7" fmla="*/ 21432 w 659607"/>
                <a:gd name="connsiteY7" fmla="*/ 226533 h 364646"/>
                <a:gd name="connsiteX8" fmla="*/ 11907 w 659607"/>
                <a:gd name="connsiteY8" fmla="*/ 228915 h 364646"/>
                <a:gd name="connsiteX9" fmla="*/ 2382 w 659607"/>
                <a:gd name="connsiteY9" fmla="*/ 238440 h 364646"/>
                <a:gd name="connsiteX10" fmla="*/ 0 w 659607"/>
                <a:gd name="connsiteY10" fmla="*/ 245583 h 364646"/>
                <a:gd name="connsiteX11" fmla="*/ 9525 w 659607"/>
                <a:gd name="connsiteY11" fmla="*/ 269396 h 364646"/>
                <a:gd name="connsiteX12" fmla="*/ 16669 w 659607"/>
                <a:gd name="connsiteY12" fmla="*/ 271777 h 364646"/>
                <a:gd name="connsiteX13" fmla="*/ 23813 w 659607"/>
                <a:gd name="connsiteY13" fmla="*/ 288446 h 364646"/>
                <a:gd name="connsiteX14" fmla="*/ 28575 w 659607"/>
                <a:gd name="connsiteY14" fmla="*/ 295590 h 364646"/>
                <a:gd name="connsiteX15" fmla="*/ 42863 w 659607"/>
                <a:gd name="connsiteY15" fmla="*/ 305115 h 364646"/>
                <a:gd name="connsiteX16" fmla="*/ 50007 w 659607"/>
                <a:gd name="connsiteY16" fmla="*/ 309877 h 364646"/>
                <a:gd name="connsiteX17" fmla="*/ 73819 w 659607"/>
                <a:gd name="connsiteY17" fmla="*/ 312258 h 364646"/>
                <a:gd name="connsiteX18" fmla="*/ 83344 w 659607"/>
                <a:gd name="connsiteY18" fmla="*/ 326546 h 364646"/>
                <a:gd name="connsiteX19" fmla="*/ 85725 w 659607"/>
                <a:gd name="connsiteY19" fmla="*/ 333690 h 364646"/>
                <a:gd name="connsiteX20" fmla="*/ 88107 w 659607"/>
                <a:gd name="connsiteY20" fmla="*/ 343215 h 364646"/>
                <a:gd name="connsiteX21" fmla="*/ 95250 w 659607"/>
                <a:gd name="connsiteY21" fmla="*/ 345596 h 364646"/>
                <a:gd name="connsiteX22" fmla="*/ 109538 w 659607"/>
                <a:gd name="connsiteY22" fmla="*/ 355121 h 364646"/>
                <a:gd name="connsiteX23" fmla="*/ 123825 w 659607"/>
                <a:gd name="connsiteY23" fmla="*/ 364646 h 364646"/>
                <a:gd name="connsiteX24" fmla="*/ 150019 w 659607"/>
                <a:gd name="connsiteY24" fmla="*/ 362265 h 364646"/>
                <a:gd name="connsiteX25" fmla="*/ 164307 w 659607"/>
                <a:gd name="connsiteY25" fmla="*/ 357502 h 364646"/>
                <a:gd name="connsiteX26" fmla="*/ 211932 w 659607"/>
                <a:gd name="connsiteY26" fmla="*/ 352740 h 364646"/>
                <a:gd name="connsiteX27" fmla="*/ 219075 w 659607"/>
                <a:gd name="connsiteY27" fmla="*/ 350358 h 364646"/>
                <a:gd name="connsiteX28" fmla="*/ 230982 w 659607"/>
                <a:gd name="connsiteY28" fmla="*/ 347977 h 364646"/>
                <a:gd name="connsiteX29" fmla="*/ 245269 w 659607"/>
                <a:gd name="connsiteY29" fmla="*/ 338452 h 364646"/>
                <a:gd name="connsiteX30" fmla="*/ 252413 w 659607"/>
                <a:gd name="connsiteY30" fmla="*/ 333690 h 364646"/>
                <a:gd name="connsiteX31" fmla="*/ 242888 w 659607"/>
                <a:gd name="connsiteY31" fmla="*/ 319402 h 364646"/>
                <a:gd name="connsiteX32" fmla="*/ 247650 w 659607"/>
                <a:gd name="connsiteY32" fmla="*/ 302733 h 364646"/>
                <a:gd name="connsiteX33" fmla="*/ 250032 w 659607"/>
                <a:gd name="connsiteY33" fmla="*/ 293208 h 364646"/>
                <a:gd name="connsiteX34" fmla="*/ 257175 w 659607"/>
                <a:gd name="connsiteY34" fmla="*/ 290827 h 364646"/>
                <a:gd name="connsiteX35" fmla="*/ 283369 w 659607"/>
                <a:gd name="connsiteY35" fmla="*/ 288446 h 364646"/>
                <a:gd name="connsiteX36" fmla="*/ 316707 w 659607"/>
                <a:gd name="connsiteY36" fmla="*/ 281302 h 364646"/>
                <a:gd name="connsiteX37" fmla="*/ 319088 w 659607"/>
                <a:gd name="connsiteY37" fmla="*/ 274158 h 364646"/>
                <a:gd name="connsiteX38" fmla="*/ 326232 w 659607"/>
                <a:gd name="connsiteY38" fmla="*/ 257490 h 364646"/>
                <a:gd name="connsiteX39" fmla="*/ 333375 w 659607"/>
                <a:gd name="connsiteY39" fmla="*/ 252727 h 364646"/>
                <a:gd name="connsiteX40" fmla="*/ 347663 w 659607"/>
                <a:gd name="connsiteY40" fmla="*/ 255108 h 364646"/>
                <a:gd name="connsiteX41" fmla="*/ 361950 w 659607"/>
                <a:gd name="connsiteY41" fmla="*/ 250346 h 364646"/>
                <a:gd name="connsiteX42" fmla="*/ 364332 w 659607"/>
                <a:gd name="connsiteY42" fmla="*/ 262252 h 364646"/>
                <a:gd name="connsiteX43" fmla="*/ 378619 w 659607"/>
                <a:gd name="connsiteY43" fmla="*/ 257490 h 364646"/>
                <a:gd name="connsiteX44" fmla="*/ 385763 w 659607"/>
                <a:gd name="connsiteY44" fmla="*/ 262252 h 364646"/>
                <a:gd name="connsiteX45" fmla="*/ 395288 w 659607"/>
                <a:gd name="connsiteY45" fmla="*/ 245583 h 364646"/>
                <a:gd name="connsiteX46" fmla="*/ 402432 w 659607"/>
                <a:gd name="connsiteY46" fmla="*/ 243202 h 364646"/>
                <a:gd name="connsiteX47" fmla="*/ 423863 w 659607"/>
                <a:gd name="connsiteY47" fmla="*/ 231296 h 364646"/>
                <a:gd name="connsiteX48" fmla="*/ 428625 w 659607"/>
                <a:gd name="connsiteY48" fmla="*/ 197958 h 364646"/>
                <a:gd name="connsiteX49" fmla="*/ 435769 w 659607"/>
                <a:gd name="connsiteY49" fmla="*/ 183671 h 364646"/>
                <a:gd name="connsiteX50" fmla="*/ 438150 w 659607"/>
                <a:gd name="connsiteY50" fmla="*/ 174146 h 364646"/>
                <a:gd name="connsiteX51" fmla="*/ 483394 w 659607"/>
                <a:gd name="connsiteY51" fmla="*/ 167002 h 364646"/>
                <a:gd name="connsiteX52" fmla="*/ 495300 w 659607"/>
                <a:gd name="connsiteY52" fmla="*/ 169383 h 364646"/>
                <a:gd name="connsiteX53" fmla="*/ 502444 w 659607"/>
                <a:gd name="connsiteY53" fmla="*/ 174146 h 364646"/>
                <a:gd name="connsiteX54" fmla="*/ 509588 w 659607"/>
                <a:gd name="connsiteY54" fmla="*/ 176527 h 364646"/>
                <a:gd name="connsiteX55" fmla="*/ 526257 w 659607"/>
                <a:gd name="connsiteY55" fmla="*/ 171765 h 364646"/>
                <a:gd name="connsiteX56" fmla="*/ 533400 w 659607"/>
                <a:gd name="connsiteY56" fmla="*/ 164621 h 364646"/>
                <a:gd name="connsiteX57" fmla="*/ 538163 w 659607"/>
                <a:gd name="connsiteY57" fmla="*/ 157477 h 364646"/>
                <a:gd name="connsiteX58" fmla="*/ 552450 w 659607"/>
                <a:gd name="connsiteY58" fmla="*/ 152715 h 364646"/>
                <a:gd name="connsiteX59" fmla="*/ 559594 w 659607"/>
                <a:gd name="connsiteY59" fmla="*/ 150333 h 364646"/>
                <a:gd name="connsiteX60" fmla="*/ 564357 w 659607"/>
                <a:gd name="connsiteY60" fmla="*/ 164621 h 364646"/>
                <a:gd name="connsiteX61" fmla="*/ 573882 w 659607"/>
                <a:gd name="connsiteY61" fmla="*/ 178908 h 364646"/>
                <a:gd name="connsiteX62" fmla="*/ 576263 w 659607"/>
                <a:gd name="connsiteY62" fmla="*/ 186052 h 364646"/>
                <a:gd name="connsiteX63" fmla="*/ 590550 w 659607"/>
                <a:gd name="connsiteY63" fmla="*/ 193196 h 364646"/>
                <a:gd name="connsiteX64" fmla="*/ 592932 w 659607"/>
                <a:gd name="connsiteY64" fmla="*/ 186052 h 364646"/>
                <a:gd name="connsiteX65" fmla="*/ 604838 w 659607"/>
                <a:gd name="connsiteY65" fmla="*/ 183671 h 364646"/>
                <a:gd name="connsiteX66" fmla="*/ 611982 w 659607"/>
                <a:gd name="connsiteY66" fmla="*/ 178908 h 364646"/>
                <a:gd name="connsiteX67" fmla="*/ 623888 w 659607"/>
                <a:gd name="connsiteY67" fmla="*/ 176527 h 364646"/>
                <a:gd name="connsiteX68" fmla="*/ 638175 w 659607"/>
                <a:gd name="connsiteY68" fmla="*/ 171765 h 364646"/>
                <a:gd name="connsiteX69" fmla="*/ 635794 w 659607"/>
                <a:gd name="connsiteY69" fmla="*/ 162240 h 364646"/>
                <a:gd name="connsiteX70" fmla="*/ 631032 w 659607"/>
                <a:gd name="connsiteY70" fmla="*/ 147952 h 364646"/>
                <a:gd name="connsiteX71" fmla="*/ 640557 w 659607"/>
                <a:gd name="connsiteY71" fmla="*/ 121758 h 364646"/>
                <a:gd name="connsiteX72" fmla="*/ 647700 w 659607"/>
                <a:gd name="connsiteY72" fmla="*/ 66990 h 364646"/>
                <a:gd name="connsiteX73" fmla="*/ 650082 w 659607"/>
                <a:gd name="connsiteY73" fmla="*/ 59846 h 364646"/>
                <a:gd name="connsiteX74" fmla="*/ 659607 w 659607"/>
                <a:gd name="connsiteY74" fmla="*/ 45558 h 364646"/>
                <a:gd name="connsiteX75" fmla="*/ 650082 w 659607"/>
                <a:gd name="connsiteY75" fmla="*/ 40796 h 364646"/>
                <a:gd name="connsiteX76" fmla="*/ 635794 w 659607"/>
                <a:gd name="connsiteY76" fmla="*/ 38415 h 364646"/>
                <a:gd name="connsiteX77" fmla="*/ 607219 w 659607"/>
                <a:gd name="connsiteY77" fmla="*/ 31271 h 364646"/>
                <a:gd name="connsiteX78" fmla="*/ 600075 w 659607"/>
                <a:gd name="connsiteY78" fmla="*/ 26508 h 364646"/>
                <a:gd name="connsiteX79" fmla="*/ 592932 w 659607"/>
                <a:gd name="connsiteY79" fmla="*/ 24127 h 364646"/>
                <a:gd name="connsiteX80" fmla="*/ 590550 w 659607"/>
                <a:gd name="connsiteY80" fmla="*/ 16983 h 364646"/>
                <a:gd name="connsiteX81" fmla="*/ 578644 w 659607"/>
                <a:gd name="connsiteY81" fmla="*/ 2696 h 364646"/>
                <a:gd name="connsiteX82" fmla="*/ 571500 w 659607"/>
                <a:gd name="connsiteY82" fmla="*/ 315 h 364646"/>
                <a:gd name="connsiteX83" fmla="*/ 561975 w 659607"/>
                <a:gd name="connsiteY83" fmla="*/ 315 h 364646"/>
                <a:gd name="connsiteX84" fmla="*/ 542925 w 659607"/>
                <a:gd name="connsiteY84" fmla="*/ 2696 h 364646"/>
                <a:gd name="connsiteX85" fmla="*/ 526257 w 659607"/>
                <a:gd name="connsiteY85" fmla="*/ 315 h 364646"/>
                <a:gd name="connsiteX86" fmla="*/ 497682 w 659607"/>
                <a:gd name="connsiteY86" fmla="*/ 315 h 364646"/>
                <a:gd name="connsiteX87" fmla="*/ 485775 w 659607"/>
                <a:gd name="connsiteY87" fmla="*/ 2696 h 364646"/>
                <a:gd name="connsiteX88" fmla="*/ 488157 w 659607"/>
                <a:gd name="connsiteY88" fmla="*/ 19365 h 364646"/>
                <a:gd name="connsiteX89" fmla="*/ 473869 w 659607"/>
                <a:gd name="connsiteY89" fmla="*/ 26508 h 364646"/>
                <a:gd name="connsiteX90" fmla="*/ 466725 w 659607"/>
                <a:gd name="connsiteY90" fmla="*/ 31271 h 364646"/>
                <a:gd name="connsiteX91" fmla="*/ 452438 w 659607"/>
                <a:gd name="connsiteY91" fmla="*/ 28890 h 364646"/>
                <a:gd name="connsiteX92" fmla="*/ 445294 w 659607"/>
                <a:gd name="connsiteY92" fmla="*/ 26508 h 364646"/>
                <a:gd name="connsiteX93" fmla="*/ 428625 w 659607"/>
                <a:gd name="connsiteY93" fmla="*/ 24127 h 364646"/>
                <a:gd name="connsiteX94" fmla="*/ 407194 w 659607"/>
                <a:gd name="connsiteY94" fmla="*/ 26508 h 364646"/>
                <a:gd name="connsiteX95" fmla="*/ 388144 w 659607"/>
                <a:gd name="connsiteY95" fmla="*/ 31271 h 364646"/>
                <a:gd name="connsiteX96" fmla="*/ 385763 w 659607"/>
                <a:gd name="connsiteY96" fmla="*/ 43177 h 364646"/>
                <a:gd name="connsiteX97" fmla="*/ 378619 w 659607"/>
                <a:gd name="connsiteY97" fmla="*/ 47940 h 364646"/>
                <a:gd name="connsiteX98" fmla="*/ 373857 w 659607"/>
                <a:gd name="connsiteY98" fmla="*/ 55083 h 364646"/>
                <a:gd name="connsiteX99" fmla="*/ 376238 w 659607"/>
                <a:gd name="connsiteY99" fmla="*/ 76515 h 364646"/>
                <a:gd name="connsiteX100" fmla="*/ 357188 w 659607"/>
                <a:gd name="connsiteY100" fmla="*/ 74133 h 364646"/>
                <a:gd name="connsiteX101" fmla="*/ 330994 w 659607"/>
                <a:gd name="connsiteY101" fmla="*/ 69371 h 364646"/>
                <a:gd name="connsiteX102" fmla="*/ 326232 w 659607"/>
                <a:gd name="connsiteY102" fmla="*/ 50321 h 364646"/>
                <a:gd name="connsiteX103" fmla="*/ 321469 w 659607"/>
                <a:gd name="connsiteY103" fmla="*/ 40796 h 364646"/>
                <a:gd name="connsiteX104" fmla="*/ 300038 w 659607"/>
                <a:gd name="connsiteY104" fmla="*/ 33652 h 364646"/>
                <a:gd name="connsiteX105" fmla="*/ 297657 w 659607"/>
                <a:gd name="connsiteY105" fmla="*/ 24127 h 364646"/>
                <a:gd name="connsiteX106" fmla="*/ 295275 w 659607"/>
                <a:gd name="connsiteY106" fmla="*/ 16983 h 364646"/>
                <a:gd name="connsiteX107" fmla="*/ 285750 w 659607"/>
                <a:gd name="connsiteY107" fmla="*/ 14602 h 364646"/>
                <a:gd name="connsiteX108" fmla="*/ 278607 w 659607"/>
                <a:gd name="connsiteY108" fmla="*/ 16983 h 364646"/>
                <a:gd name="connsiteX109" fmla="*/ 264319 w 659607"/>
                <a:gd name="connsiteY109" fmla="*/ 19365 h 364646"/>
                <a:gd name="connsiteX110" fmla="*/ 254794 w 659607"/>
                <a:gd name="connsiteY110" fmla="*/ 33652 h 364646"/>
                <a:gd name="connsiteX111" fmla="*/ 254794 w 659607"/>
                <a:gd name="connsiteY111" fmla="*/ 47940 h 364646"/>
                <a:gd name="connsiteX112" fmla="*/ 242888 w 659607"/>
                <a:gd name="connsiteY112" fmla="*/ 45558 h 364646"/>
                <a:gd name="connsiteX113" fmla="*/ 235744 w 659607"/>
                <a:gd name="connsiteY113" fmla="*/ 40796 h 364646"/>
                <a:gd name="connsiteX114" fmla="*/ 226219 w 659607"/>
                <a:gd name="connsiteY114" fmla="*/ 26508 h 364646"/>
                <a:gd name="connsiteX115" fmla="*/ 209550 w 659607"/>
                <a:gd name="connsiteY115" fmla="*/ 28890 h 364646"/>
                <a:gd name="connsiteX116" fmla="*/ 202407 w 659607"/>
                <a:gd name="connsiteY116" fmla="*/ 33652 h 364646"/>
                <a:gd name="connsiteX117" fmla="*/ 190500 w 659607"/>
                <a:gd name="connsiteY117" fmla="*/ 36033 h 364646"/>
                <a:gd name="connsiteX118" fmla="*/ 185738 w 659607"/>
                <a:gd name="connsiteY118" fmla="*/ 45558 h 364646"/>
                <a:gd name="connsiteX119" fmla="*/ 166688 w 659607"/>
                <a:gd name="connsiteY119" fmla="*/ 62227 h 364646"/>
                <a:gd name="connsiteX120" fmla="*/ 159544 w 659607"/>
                <a:gd name="connsiteY120" fmla="*/ 66990 h 364646"/>
                <a:gd name="connsiteX121" fmla="*/ 157163 w 659607"/>
                <a:gd name="connsiteY121" fmla="*/ 74133 h 364646"/>
                <a:gd name="connsiteX122" fmla="*/ 152400 w 659607"/>
                <a:gd name="connsiteY122" fmla="*/ 81277 h 364646"/>
                <a:gd name="connsiteX123" fmla="*/ 147638 w 659607"/>
                <a:gd name="connsiteY123" fmla="*/ 95565 h 364646"/>
                <a:gd name="connsiteX124" fmla="*/ 145257 w 659607"/>
                <a:gd name="connsiteY124" fmla="*/ 116996 h 364646"/>
                <a:gd name="connsiteX125" fmla="*/ 135732 w 659607"/>
                <a:gd name="connsiteY125" fmla="*/ 124140 h 364646"/>
                <a:gd name="connsiteX126" fmla="*/ 126207 w 659607"/>
                <a:gd name="connsiteY126" fmla="*/ 136046 h 364646"/>
                <a:gd name="connsiteX127" fmla="*/ 123825 w 659607"/>
                <a:gd name="connsiteY127" fmla="*/ 145571 h 364646"/>
                <a:gd name="connsiteX128" fmla="*/ 111919 w 659607"/>
                <a:gd name="connsiteY128" fmla="*/ 157477 h 364646"/>
                <a:gd name="connsiteX129" fmla="*/ 104775 w 659607"/>
                <a:gd name="connsiteY129" fmla="*/ 159858 h 364646"/>
                <a:gd name="connsiteX130" fmla="*/ 102394 w 659607"/>
                <a:gd name="connsiteY130" fmla="*/ 167002 h 364646"/>
                <a:gd name="connsiteX131" fmla="*/ 95250 w 659607"/>
                <a:gd name="connsiteY131" fmla="*/ 169383 h 364646"/>
                <a:gd name="connsiteX132" fmla="*/ 83344 w 659607"/>
                <a:gd name="connsiteY132" fmla="*/ 171765 h 364646"/>
                <a:gd name="connsiteX133" fmla="*/ 45244 w 659607"/>
                <a:gd name="connsiteY133" fmla="*/ 167002 h 364646"/>
                <a:gd name="connsiteX134" fmla="*/ 33338 w 659607"/>
                <a:gd name="connsiteY134" fmla="*/ 164621 h 364646"/>
                <a:gd name="connsiteX0" fmla="*/ 33338 w 659607"/>
                <a:gd name="connsiteY0" fmla="*/ 164621 h 364646"/>
                <a:gd name="connsiteX1" fmla="*/ 28575 w 659607"/>
                <a:gd name="connsiteY1" fmla="*/ 176527 h 364646"/>
                <a:gd name="connsiteX2" fmla="*/ 21432 w 659607"/>
                <a:gd name="connsiteY2" fmla="*/ 178908 h 364646"/>
                <a:gd name="connsiteX3" fmla="*/ 19050 w 659607"/>
                <a:gd name="connsiteY3" fmla="*/ 186052 h 364646"/>
                <a:gd name="connsiteX4" fmla="*/ 14288 w 659607"/>
                <a:gd name="connsiteY4" fmla="*/ 193196 h 364646"/>
                <a:gd name="connsiteX5" fmla="*/ 21432 w 659607"/>
                <a:gd name="connsiteY5" fmla="*/ 207483 h 364646"/>
                <a:gd name="connsiteX6" fmla="*/ 23813 w 659607"/>
                <a:gd name="connsiteY6" fmla="*/ 214627 h 364646"/>
                <a:gd name="connsiteX7" fmla="*/ 11907 w 659607"/>
                <a:gd name="connsiteY7" fmla="*/ 228915 h 364646"/>
                <a:gd name="connsiteX8" fmla="*/ 2382 w 659607"/>
                <a:gd name="connsiteY8" fmla="*/ 238440 h 364646"/>
                <a:gd name="connsiteX9" fmla="*/ 0 w 659607"/>
                <a:gd name="connsiteY9" fmla="*/ 245583 h 364646"/>
                <a:gd name="connsiteX10" fmla="*/ 9525 w 659607"/>
                <a:gd name="connsiteY10" fmla="*/ 269396 h 364646"/>
                <a:gd name="connsiteX11" fmla="*/ 16669 w 659607"/>
                <a:gd name="connsiteY11" fmla="*/ 271777 h 364646"/>
                <a:gd name="connsiteX12" fmla="*/ 23813 w 659607"/>
                <a:gd name="connsiteY12" fmla="*/ 288446 h 364646"/>
                <a:gd name="connsiteX13" fmla="*/ 28575 w 659607"/>
                <a:gd name="connsiteY13" fmla="*/ 295590 h 364646"/>
                <a:gd name="connsiteX14" fmla="*/ 42863 w 659607"/>
                <a:gd name="connsiteY14" fmla="*/ 305115 h 364646"/>
                <a:gd name="connsiteX15" fmla="*/ 50007 w 659607"/>
                <a:gd name="connsiteY15" fmla="*/ 309877 h 364646"/>
                <a:gd name="connsiteX16" fmla="*/ 73819 w 659607"/>
                <a:gd name="connsiteY16" fmla="*/ 312258 h 364646"/>
                <a:gd name="connsiteX17" fmla="*/ 83344 w 659607"/>
                <a:gd name="connsiteY17" fmla="*/ 326546 h 364646"/>
                <a:gd name="connsiteX18" fmla="*/ 85725 w 659607"/>
                <a:gd name="connsiteY18" fmla="*/ 333690 h 364646"/>
                <a:gd name="connsiteX19" fmla="*/ 88107 w 659607"/>
                <a:gd name="connsiteY19" fmla="*/ 343215 h 364646"/>
                <a:gd name="connsiteX20" fmla="*/ 95250 w 659607"/>
                <a:gd name="connsiteY20" fmla="*/ 345596 h 364646"/>
                <a:gd name="connsiteX21" fmla="*/ 109538 w 659607"/>
                <a:gd name="connsiteY21" fmla="*/ 355121 h 364646"/>
                <a:gd name="connsiteX22" fmla="*/ 123825 w 659607"/>
                <a:gd name="connsiteY22" fmla="*/ 364646 h 364646"/>
                <a:gd name="connsiteX23" fmla="*/ 150019 w 659607"/>
                <a:gd name="connsiteY23" fmla="*/ 362265 h 364646"/>
                <a:gd name="connsiteX24" fmla="*/ 164307 w 659607"/>
                <a:gd name="connsiteY24" fmla="*/ 357502 h 364646"/>
                <a:gd name="connsiteX25" fmla="*/ 211932 w 659607"/>
                <a:gd name="connsiteY25" fmla="*/ 352740 h 364646"/>
                <a:gd name="connsiteX26" fmla="*/ 219075 w 659607"/>
                <a:gd name="connsiteY26" fmla="*/ 350358 h 364646"/>
                <a:gd name="connsiteX27" fmla="*/ 230982 w 659607"/>
                <a:gd name="connsiteY27" fmla="*/ 347977 h 364646"/>
                <a:gd name="connsiteX28" fmla="*/ 245269 w 659607"/>
                <a:gd name="connsiteY28" fmla="*/ 338452 h 364646"/>
                <a:gd name="connsiteX29" fmla="*/ 252413 w 659607"/>
                <a:gd name="connsiteY29" fmla="*/ 333690 h 364646"/>
                <a:gd name="connsiteX30" fmla="*/ 242888 w 659607"/>
                <a:gd name="connsiteY30" fmla="*/ 319402 h 364646"/>
                <a:gd name="connsiteX31" fmla="*/ 247650 w 659607"/>
                <a:gd name="connsiteY31" fmla="*/ 302733 h 364646"/>
                <a:gd name="connsiteX32" fmla="*/ 250032 w 659607"/>
                <a:gd name="connsiteY32" fmla="*/ 293208 h 364646"/>
                <a:gd name="connsiteX33" fmla="*/ 257175 w 659607"/>
                <a:gd name="connsiteY33" fmla="*/ 290827 h 364646"/>
                <a:gd name="connsiteX34" fmla="*/ 283369 w 659607"/>
                <a:gd name="connsiteY34" fmla="*/ 288446 h 364646"/>
                <a:gd name="connsiteX35" fmla="*/ 316707 w 659607"/>
                <a:gd name="connsiteY35" fmla="*/ 281302 h 364646"/>
                <a:gd name="connsiteX36" fmla="*/ 319088 w 659607"/>
                <a:gd name="connsiteY36" fmla="*/ 274158 h 364646"/>
                <a:gd name="connsiteX37" fmla="*/ 326232 w 659607"/>
                <a:gd name="connsiteY37" fmla="*/ 257490 h 364646"/>
                <a:gd name="connsiteX38" fmla="*/ 333375 w 659607"/>
                <a:gd name="connsiteY38" fmla="*/ 252727 h 364646"/>
                <a:gd name="connsiteX39" fmla="*/ 347663 w 659607"/>
                <a:gd name="connsiteY39" fmla="*/ 255108 h 364646"/>
                <a:gd name="connsiteX40" fmla="*/ 361950 w 659607"/>
                <a:gd name="connsiteY40" fmla="*/ 250346 h 364646"/>
                <a:gd name="connsiteX41" fmla="*/ 364332 w 659607"/>
                <a:gd name="connsiteY41" fmla="*/ 262252 h 364646"/>
                <a:gd name="connsiteX42" fmla="*/ 378619 w 659607"/>
                <a:gd name="connsiteY42" fmla="*/ 257490 h 364646"/>
                <a:gd name="connsiteX43" fmla="*/ 385763 w 659607"/>
                <a:gd name="connsiteY43" fmla="*/ 262252 h 364646"/>
                <a:gd name="connsiteX44" fmla="*/ 395288 w 659607"/>
                <a:gd name="connsiteY44" fmla="*/ 245583 h 364646"/>
                <a:gd name="connsiteX45" fmla="*/ 402432 w 659607"/>
                <a:gd name="connsiteY45" fmla="*/ 243202 h 364646"/>
                <a:gd name="connsiteX46" fmla="*/ 423863 w 659607"/>
                <a:gd name="connsiteY46" fmla="*/ 231296 h 364646"/>
                <a:gd name="connsiteX47" fmla="*/ 428625 w 659607"/>
                <a:gd name="connsiteY47" fmla="*/ 197958 h 364646"/>
                <a:gd name="connsiteX48" fmla="*/ 435769 w 659607"/>
                <a:gd name="connsiteY48" fmla="*/ 183671 h 364646"/>
                <a:gd name="connsiteX49" fmla="*/ 438150 w 659607"/>
                <a:gd name="connsiteY49" fmla="*/ 174146 h 364646"/>
                <a:gd name="connsiteX50" fmla="*/ 483394 w 659607"/>
                <a:gd name="connsiteY50" fmla="*/ 167002 h 364646"/>
                <a:gd name="connsiteX51" fmla="*/ 495300 w 659607"/>
                <a:gd name="connsiteY51" fmla="*/ 169383 h 364646"/>
                <a:gd name="connsiteX52" fmla="*/ 502444 w 659607"/>
                <a:gd name="connsiteY52" fmla="*/ 174146 h 364646"/>
                <a:gd name="connsiteX53" fmla="*/ 509588 w 659607"/>
                <a:gd name="connsiteY53" fmla="*/ 176527 h 364646"/>
                <a:gd name="connsiteX54" fmla="*/ 526257 w 659607"/>
                <a:gd name="connsiteY54" fmla="*/ 171765 h 364646"/>
                <a:gd name="connsiteX55" fmla="*/ 533400 w 659607"/>
                <a:gd name="connsiteY55" fmla="*/ 164621 h 364646"/>
                <a:gd name="connsiteX56" fmla="*/ 538163 w 659607"/>
                <a:gd name="connsiteY56" fmla="*/ 157477 h 364646"/>
                <a:gd name="connsiteX57" fmla="*/ 552450 w 659607"/>
                <a:gd name="connsiteY57" fmla="*/ 152715 h 364646"/>
                <a:gd name="connsiteX58" fmla="*/ 559594 w 659607"/>
                <a:gd name="connsiteY58" fmla="*/ 150333 h 364646"/>
                <a:gd name="connsiteX59" fmla="*/ 564357 w 659607"/>
                <a:gd name="connsiteY59" fmla="*/ 164621 h 364646"/>
                <a:gd name="connsiteX60" fmla="*/ 573882 w 659607"/>
                <a:gd name="connsiteY60" fmla="*/ 178908 h 364646"/>
                <a:gd name="connsiteX61" fmla="*/ 576263 w 659607"/>
                <a:gd name="connsiteY61" fmla="*/ 186052 h 364646"/>
                <a:gd name="connsiteX62" fmla="*/ 590550 w 659607"/>
                <a:gd name="connsiteY62" fmla="*/ 193196 h 364646"/>
                <a:gd name="connsiteX63" fmla="*/ 592932 w 659607"/>
                <a:gd name="connsiteY63" fmla="*/ 186052 h 364646"/>
                <a:gd name="connsiteX64" fmla="*/ 604838 w 659607"/>
                <a:gd name="connsiteY64" fmla="*/ 183671 h 364646"/>
                <a:gd name="connsiteX65" fmla="*/ 611982 w 659607"/>
                <a:gd name="connsiteY65" fmla="*/ 178908 h 364646"/>
                <a:gd name="connsiteX66" fmla="*/ 623888 w 659607"/>
                <a:gd name="connsiteY66" fmla="*/ 176527 h 364646"/>
                <a:gd name="connsiteX67" fmla="*/ 638175 w 659607"/>
                <a:gd name="connsiteY67" fmla="*/ 171765 h 364646"/>
                <a:gd name="connsiteX68" fmla="*/ 635794 w 659607"/>
                <a:gd name="connsiteY68" fmla="*/ 162240 h 364646"/>
                <a:gd name="connsiteX69" fmla="*/ 631032 w 659607"/>
                <a:gd name="connsiteY69" fmla="*/ 147952 h 364646"/>
                <a:gd name="connsiteX70" fmla="*/ 640557 w 659607"/>
                <a:gd name="connsiteY70" fmla="*/ 121758 h 364646"/>
                <a:gd name="connsiteX71" fmla="*/ 647700 w 659607"/>
                <a:gd name="connsiteY71" fmla="*/ 66990 h 364646"/>
                <a:gd name="connsiteX72" fmla="*/ 650082 w 659607"/>
                <a:gd name="connsiteY72" fmla="*/ 59846 h 364646"/>
                <a:gd name="connsiteX73" fmla="*/ 659607 w 659607"/>
                <a:gd name="connsiteY73" fmla="*/ 45558 h 364646"/>
                <a:gd name="connsiteX74" fmla="*/ 650082 w 659607"/>
                <a:gd name="connsiteY74" fmla="*/ 40796 h 364646"/>
                <a:gd name="connsiteX75" fmla="*/ 635794 w 659607"/>
                <a:gd name="connsiteY75" fmla="*/ 38415 h 364646"/>
                <a:gd name="connsiteX76" fmla="*/ 607219 w 659607"/>
                <a:gd name="connsiteY76" fmla="*/ 31271 h 364646"/>
                <a:gd name="connsiteX77" fmla="*/ 600075 w 659607"/>
                <a:gd name="connsiteY77" fmla="*/ 26508 h 364646"/>
                <a:gd name="connsiteX78" fmla="*/ 592932 w 659607"/>
                <a:gd name="connsiteY78" fmla="*/ 24127 h 364646"/>
                <a:gd name="connsiteX79" fmla="*/ 590550 w 659607"/>
                <a:gd name="connsiteY79" fmla="*/ 16983 h 364646"/>
                <a:gd name="connsiteX80" fmla="*/ 578644 w 659607"/>
                <a:gd name="connsiteY80" fmla="*/ 2696 h 364646"/>
                <a:gd name="connsiteX81" fmla="*/ 571500 w 659607"/>
                <a:gd name="connsiteY81" fmla="*/ 315 h 364646"/>
                <a:gd name="connsiteX82" fmla="*/ 561975 w 659607"/>
                <a:gd name="connsiteY82" fmla="*/ 315 h 364646"/>
                <a:gd name="connsiteX83" fmla="*/ 542925 w 659607"/>
                <a:gd name="connsiteY83" fmla="*/ 2696 h 364646"/>
                <a:gd name="connsiteX84" fmla="*/ 526257 w 659607"/>
                <a:gd name="connsiteY84" fmla="*/ 315 h 364646"/>
                <a:gd name="connsiteX85" fmla="*/ 497682 w 659607"/>
                <a:gd name="connsiteY85" fmla="*/ 315 h 364646"/>
                <a:gd name="connsiteX86" fmla="*/ 485775 w 659607"/>
                <a:gd name="connsiteY86" fmla="*/ 2696 h 364646"/>
                <a:gd name="connsiteX87" fmla="*/ 488157 w 659607"/>
                <a:gd name="connsiteY87" fmla="*/ 19365 h 364646"/>
                <a:gd name="connsiteX88" fmla="*/ 473869 w 659607"/>
                <a:gd name="connsiteY88" fmla="*/ 26508 h 364646"/>
                <a:gd name="connsiteX89" fmla="*/ 466725 w 659607"/>
                <a:gd name="connsiteY89" fmla="*/ 31271 h 364646"/>
                <a:gd name="connsiteX90" fmla="*/ 452438 w 659607"/>
                <a:gd name="connsiteY90" fmla="*/ 28890 h 364646"/>
                <a:gd name="connsiteX91" fmla="*/ 445294 w 659607"/>
                <a:gd name="connsiteY91" fmla="*/ 26508 h 364646"/>
                <a:gd name="connsiteX92" fmla="*/ 428625 w 659607"/>
                <a:gd name="connsiteY92" fmla="*/ 24127 h 364646"/>
                <a:gd name="connsiteX93" fmla="*/ 407194 w 659607"/>
                <a:gd name="connsiteY93" fmla="*/ 26508 h 364646"/>
                <a:gd name="connsiteX94" fmla="*/ 388144 w 659607"/>
                <a:gd name="connsiteY94" fmla="*/ 31271 h 364646"/>
                <a:gd name="connsiteX95" fmla="*/ 385763 w 659607"/>
                <a:gd name="connsiteY95" fmla="*/ 43177 h 364646"/>
                <a:gd name="connsiteX96" fmla="*/ 378619 w 659607"/>
                <a:gd name="connsiteY96" fmla="*/ 47940 h 364646"/>
                <a:gd name="connsiteX97" fmla="*/ 373857 w 659607"/>
                <a:gd name="connsiteY97" fmla="*/ 55083 h 364646"/>
                <a:gd name="connsiteX98" fmla="*/ 376238 w 659607"/>
                <a:gd name="connsiteY98" fmla="*/ 76515 h 364646"/>
                <a:gd name="connsiteX99" fmla="*/ 357188 w 659607"/>
                <a:gd name="connsiteY99" fmla="*/ 74133 h 364646"/>
                <a:gd name="connsiteX100" fmla="*/ 330994 w 659607"/>
                <a:gd name="connsiteY100" fmla="*/ 69371 h 364646"/>
                <a:gd name="connsiteX101" fmla="*/ 326232 w 659607"/>
                <a:gd name="connsiteY101" fmla="*/ 50321 h 364646"/>
                <a:gd name="connsiteX102" fmla="*/ 321469 w 659607"/>
                <a:gd name="connsiteY102" fmla="*/ 40796 h 364646"/>
                <a:gd name="connsiteX103" fmla="*/ 300038 w 659607"/>
                <a:gd name="connsiteY103" fmla="*/ 33652 h 364646"/>
                <a:gd name="connsiteX104" fmla="*/ 297657 w 659607"/>
                <a:gd name="connsiteY104" fmla="*/ 24127 h 364646"/>
                <a:gd name="connsiteX105" fmla="*/ 295275 w 659607"/>
                <a:gd name="connsiteY105" fmla="*/ 16983 h 364646"/>
                <a:gd name="connsiteX106" fmla="*/ 285750 w 659607"/>
                <a:gd name="connsiteY106" fmla="*/ 14602 h 364646"/>
                <a:gd name="connsiteX107" fmla="*/ 278607 w 659607"/>
                <a:gd name="connsiteY107" fmla="*/ 16983 h 364646"/>
                <a:gd name="connsiteX108" fmla="*/ 264319 w 659607"/>
                <a:gd name="connsiteY108" fmla="*/ 19365 h 364646"/>
                <a:gd name="connsiteX109" fmla="*/ 254794 w 659607"/>
                <a:gd name="connsiteY109" fmla="*/ 33652 h 364646"/>
                <a:gd name="connsiteX110" fmla="*/ 254794 w 659607"/>
                <a:gd name="connsiteY110" fmla="*/ 47940 h 364646"/>
                <a:gd name="connsiteX111" fmla="*/ 242888 w 659607"/>
                <a:gd name="connsiteY111" fmla="*/ 45558 h 364646"/>
                <a:gd name="connsiteX112" fmla="*/ 235744 w 659607"/>
                <a:gd name="connsiteY112" fmla="*/ 40796 h 364646"/>
                <a:gd name="connsiteX113" fmla="*/ 226219 w 659607"/>
                <a:gd name="connsiteY113" fmla="*/ 26508 h 364646"/>
                <a:gd name="connsiteX114" fmla="*/ 209550 w 659607"/>
                <a:gd name="connsiteY114" fmla="*/ 28890 h 364646"/>
                <a:gd name="connsiteX115" fmla="*/ 202407 w 659607"/>
                <a:gd name="connsiteY115" fmla="*/ 33652 h 364646"/>
                <a:gd name="connsiteX116" fmla="*/ 190500 w 659607"/>
                <a:gd name="connsiteY116" fmla="*/ 36033 h 364646"/>
                <a:gd name="connsiteX117" fmla="*/ 185738 w 659607"/>
                <a:gd name="connsiteY117" fmla="*/ 45558 h 364646"/>
                <a:gd name="connsiteX118" fmla="*/ 166688 w 659607"/>
                <a:gd name="connsiteY118" fmla="*/ 62227 h 364646"/>
                <a:gd name="connsiteX119" fmla="*/ 159544 w 659607"/>
                <a:gd name="connsiteY119" fmla="*/ 66990 h 364646"/>
                <a:gd name="connsiteX120" fmla="*/ 157163 w 659607"/>
                <a:gd name="connsiteY120" fmla="*/ 74133 h 364646"/>
                <a:gd name="connsiteX121" fmla="*/ 152400 w 659607"/>
                <a:gd name="connsiteY121" fmla="*/ 81277 h 364646"/>
                <a:gd name="connsiteX122" fmla="*/ 147638 w 659607"/>
                <a:gd name="connsiteY122" fmla="*/ 95565 h 364646"/>
                <a:gd name="connsiteX123" fmla="*/ 145257 w 659607"/>
                <a:gd name="connsiteY123" fmla="*/ 116996 h 364646"/>
                <a:gd name="connsiteX124" fmla="*/ 135732 w 659607"/>
                <a:gd name="connsiteY124" fmla="*/ 124140 h 364646"/>
                <a:gd name="connsiteX125" fmla="*/ 126207 w 659607"/>
                <a:gd name="connsiteY125" fmla="*/ 136046 h 364646"/>
                <a:gd name="connsiteX126" fmla="*/ 123825 w 659607"/>
                <a:gd name="connsiteY126" fmla="*/ 145571 h 364646"/>
                <a:gd name="connsiteX127" fmla="*/ 111919 w 659607"/>
                <a:gd name="connsiteY127" fmla="*/ 157477 h 364646"/>
                <a:gd name="connsiteX128" fmla="*/ 104775 w 659607"/>
                <a:gd name="connsiteY128" fmla="*/ 159858 h 364646"/>
                <a:gd name="connsiteX129" fmla="*/ 102394 w 659607"/>
                <a:gd name="connsiteY129" fmla="*/ 167002 h 364646"/>
                <a:gd name="connsiteX130" fmla="*/ 95250 w 659607"/>
                <a:gd name="connsiteY130" fmla="*/ 169383 h 364646"/>
                <a:gd name="connsiteX131" fmla="*/ 83344 w 659607"/>
                <a:gd name="connsiteY131" fmla="*/ 171765 h 364646"/>
                <a:gd name="connsiteX132" fmla="*/ 45244 w 659607"/>
                <a:gd name="connsiteY132" fmla="*/ 167002 h 364646"/>
                <a:gd name="connsiteX133" fmla="*/ 33338 w 659607"/>
                <a:gd name="connsiteY133" fmla="*/ 164621 h 364646"/>
                <a:gd name="connsiteX0" fmla="*/ 33338 w 659607"/>
                <a:gd name="connsiteY0" fmla="*/ 164621 h 364646"/>
                <a:gd name="connsiteX1" fmla="*/ 28575 w 659607"/>
                <a:gd name="connsiteY1" fmla="*/ 176527 h 364646"/>
                <a:gd name="connsiteX2" fmla="*/ 21432 w 659607"/>
                <a:gd name="connsiteY2" fmla="*/ 178908 h 364646"/>
                <a:gd name="connsiteX3" fmla="*/ 19050 w 659607"/>
                <a:gd name="connsiteY3" fmla="*/ 186052 h 364646"/>
                <a:gd name="connsiteX4" fmla="*/ 14288 w 659607"/>
                <a:gd name="connsiteY4" fmla="*/ 193196 h 364646"/>
                <a:gd name="connsiteX5" fmla="*/ 21432 w 659607"/>
                <a:gd name="connsiteY5" fmla="*/ 207483 h 364646"/>
                <a:gd name="connsiteX6" fmla="*/ 11907 w 659607"/>
                <a:gd name="connsiteY6" fmla="*/ 228915 h 364646"/>
                <a:gd name="connsiteX7" fmla="*/ 2382 w 659607"/>
                <a:gd name="connsiteY7" fmla="*/ 238440 h 364646"/>
                <a:gd name="connsiteX8" fmla="*/ 0 w 659607"/>
                <a:gd name="connsiteY8" fmla="*/ 245583 h 364646"/>
                <a:gd name="connsiteX9" fmla="*/ 9525 w 659607"/>
                <a:gd name="connsiteY9" fmla="*/ 269396 h 364646"/>
                <a:gd name="connsiteX10" fmla="*/ 16669 w 659607"/>
                <a:gd name="connsiteY10" fmla="*/ 271777 h 364646"/>
                <a:gd name="connsiteX11" fmla="*/ 23813 w 659607"/>
                <a:gd name="connsiteY11" fmla="*/ 288446 h 364646"/>
                <a:gd name="connsiteX12" fmla="*/ 28575 w 659607"/>
                <a:gd name="connsiteY12" fmla="*/ 295590 h 364646"/>
                <a:gd name="connsiteX13" fmla="*/ 42863 w 659607"/>
                <a:gd name="connsiteY13" fmla="*/ 305115 h 364646"/>
                <a:gd name="connsiteX14" fmla="*/ 50007 w 659607"/>
                <a:gd name="connsiteY14" fmla="*/ 309877 h 364646"/>
                <a:gd name="connsiteX15" fmla="*/ 73819 w 659607"/>
                <a:gd name="connsiteY15" fmla="*/ 312258 h 364646"/>
                <a:gd name="connsiteX16" fmla="*/ 83344 w 659607"/>
                <a:gd name="connsiteY16" fmla="*/ 326546 h 364646"/>
                <a:gd name="connsiteX17" fmla="*/ 85725 w 659607"/>
                <a:gd name="connsiteY17" fmla="*/ 333690 h 364646"/>
                <a:gd name="connsiteX18" fmla="*/ 88107 w 659607"/>
                <a:gd name="connsiteY18" fmla="*/ 343215 h 364646"/>
                <a:gd name="connsiteX19" fmla="*/ 95250 w 659607"/>
                <a:gd name="connsiteY19" fmla="*/ 345596 h 364646"/>
                <a:gd name="connsiteX20" fmla="*/ 109538 w 659607"/>
                <a:gd name="connsiteY20" fmla="*/ 355121 h 364646"/>
                <a:gd name="connsiteX21" fmla="*/ 123825 w 659607"/>
                <a:gd name="connsiteY21" fmla="*/ 364646 h 364646"/>
                <a:gd name="connsiteX22" fmla="*/ 150019 w 659607"/>
                <a:gd name="connsiteY22" fmla="*/ 362265 h 364646"/>
                <a:gd name="connsiteX23" fmla="*/ 164307 w 659607"/>
                <a:gd name="connsiteY23" fmla="*/ 357502 h 364646"/>
                <a:gd name="connsiteX24" fmla="*/ 211932 w 659607"/>
                <a:gd name="connsiteY24" fmla="*/ 352740 h 364646"/>
                <a:gd name="connsiteX25" fmla="*/ 219075 w 659607"/>
                <a:gd name="connsiteY25" fmla="*/ 350358 h 364646"/>
                <a:gd name="connsiteX26" fmla="*/ 230982 w 659607"/>
                <a:gd name="connsiteY26" fmla="*/ 347977 h 364646"/>
                <a:gd name="connsiteX27" fmla="*/ 245269 w 659607"/>
                <a:gd name="connsiteY27" fmla="*/ 338452 h 364646"/>
                <a:gd name="connsiteX28" fmla="*/ 252413 w 659607"/>
                <a:gd name="connsiteY28" fmla="*/ 333690 h 364646"/>
                <a:gd name="connsiteX29" fmla="*/ 242888 w 659607"/>
                <a:gd name="connsiteY29" fmla="*/ 319402 h 364646"/>
                <a:gd name="connsiteX30" fmla="*/ 247650 w 659607"/>
                <a:gd name="connsiteY30" fmla="*/ 302733 h 364646"/>
                <a:gd name="connsiteX31" fmla="*/ 250032 w 659607"/>
                <a:gd name="connsiteY31" fmla="*/ 293208 h 364646"/>
                <a:gd name="connsiteX32" fmla="*/ 257175 w 659607"/>
                <a:gd name="connsiteY32" fmla="*/ 290827 h 364646"/>
                <a:gd name="connsiteX33" fmla="*/ 283369 w 659607"/>
                <a:gd name="connsiteY33" fmla="*/ 288446 h 364646"/>
                <a:gd name="connsiteX34" fmla="*/ 316707 w 659607"/>
                <a:gd name="connsiteY34" fmla="*/ 281302 h 364646"/>
                <a:gd name="connsiteX35" fmla="*/ 319088 w 659607"/>
                <a:gd name="connsiteY35" fmla="*/ 274158 h 364646"/>
                <a:gd name="connsiteX36" fmla="*/ 326232 w 659607"/>
                <a:gd name="connsiteY36" fmla="*/ 257490 h 364646"/>
                <a:gd name="connsiteX37" fmla="*/ 333375 w 659607"/>
                <a:gd name="connsiteY37" fmla="*/ 252727 h 364646"/>
                <a:gd name="connsiteX38" fmla="*/ 347663 w 659607"/>
                <a:gd name="connsiteY38" fmla="*/ 255108 h 364646"/>
                <a:gd name="connsiteX39" fmla="*/ 361950 w 659607"/>
                <a:gd name="connsiteY39" fmla="*/ 250346 h 364646"/>
                <a:gd name="connsiteX40" fmla="*/ 364332 w 659607"/>
                <a:gd name="connsiteY40" fmla="*/ 262252 h 364646"/>
                <a:gd name="connsiteX41" fmla="*/ 378619 w 659607"/>
                <a:gd name="connsiteY41" fmla="*/ 257490 h 364646"/>
                <a:gd name="connsiteX42" fmla="*/ 385763 w 659607"/>
                <a:gd name="connsiteY42" fmla="*/ 262252 h 364646"/>
                <a:gd name="connsiteX43" fmla="*/ 395288 w 659607"/>
                <a:gd name="connsiteY43" fmla="*/ 245583 h 364646"/>
                <a:gd name="connsiteX44" fmla="*/ 402432 w 659607"/>
                <a:gd name="connsiteY44" fmla="*/ 243202 h 364646"/>
                <a:gd name="connsiteX45" fmla="*/ 423863 w 659607"/>
                <a:gd name="connsiteY45" fmla="*/ 231296 h 364646"/>
                <a:gd name="connsiteX46" fmla="*/ 428625 w 659607"/>
                <a:gd name="connsiteY46" fmla="*/ 197958 h 364646"/>
                <a:gd name="connsiteX47" fmla="*/ 435769 w 659607"/>
                <a:gd name="connsiteY47" fmla="*/ 183671 h 364646"/>
                <a:gd name="connsiteX48" fmla="*/ 438150 w 659607"/>
                <a:gd name="connsiteY48" fmla="*/ 174146 h 364646"/>
                <a:gd name="connsiteX49" fmla="*/ 483394 w 659607"/>
                <a:gd name="connsiteY49" fmla="*/ 167002 h 364646"/>
                <a:gd name="connsiteX50" fmla="*/ 495300 w 659607"/>
                <a:gd name="connsiteY50" fmla="*/ 169383 h 364646"/>
                <a:gd name="connsiteX51" fmla="*/ 502444 w 659607"/>
                <a:gd name="connsiteY51" fmla="*/ 174146 h 364646"/>
                <a:gd name="connsiteX52" fmla="*/ 509588 w 659607"/>
                <a:gd name="connsiteY52" fmla="*/ 176527 h 364646"/>
                <a:gd name="connsiteX53" fmla="*/ 526257 w 659607"/>
                <a:gd name="connsiteY53" fmla="*/ 171765 h 364646"/>
                <a:gd name="connsiteX54" fmla="*/ 533400 w 659607"/>
                <a:gd name="connsiteY54" fmla="*/ 164621 h 364646"/>
                <a:gd name="connsiteX55" fmla="*/ 538163 w 659607"/>
                <a:gd name="connsiteY55" fmla="*/ 157477 h 364646"/>
                <a:gd name="connsiteX56" fmla="*/ 552450 w 659607"/>
                <a:gd name="connsiteY56" fmla="*/ 152715 h 364646"/>
                <a:gd name="connsiteX57" fmla="*/ 559594 w 659607"/>
                <a:gd name="connsiteY57" fmla="*/ 150333 h 364646"/>
                <a:gd name="connsiteX58" fmla="*/ 564357 w 659607"/>
                <a:gd name="connsiteY58" fmla="*/ 164621 h 364646"/>
                <a:gd name="connsiteX59" fmla="*/ 573882 w 659607"/>
                <a:gd name="connsiteY59" fmla="*/ 178908 h 364646"/>
                <a:gd name="connsiteX60" fmla="*/ 576263 w 659607"/>
                <a:gd name="connsiteY60" fmla="*/ 186052 h 364646"/>
                <a:gd name="connsiteX61" fmla="*/ 590550 w 659607"/>
                <a:gd name="connsiteY61" fmla="*/ 193196 h 364646"/>
                <a:gd name="connsiteX62" fmla="*/ 592932 w 659607"/>
                <a:gd name="connsiteY62" fmla="*/ 186052 h 364646"/>
                <a:gd name="connsiteX63" fmla="*/ 604838 w 659607"/>
                <a:gd name="connsiteY63" fmla="*/ 183671 h 364646"/>
                <a:gd name="connsiteX64" fmla="*/ 611982 w 659607"/>
                <a:gd name="connsiteY64" fmla="*/ 178908 h 364646"/>
                <a:gd name="connsiteX65" fmla="*/ 623888 w 659607"/>
                <a:gd name="connsiteY65" fmla="*/ 176527 h 364646"/>
                <a:gd name="connsiteX66" fmla="*/ 638175 w 659607"/>
                <a:gd name="connsiteY66" fmla="*/ 171765 h 364646"/>
                <a:gd name="connsiteX67" fmla="*/ 635794 w 659607"/>
                <a:gd name="connsiteY67" fmla="*/ 162240 h 364646"/>
                <a:gd name="connsiteX68" fmla="*/ 631032 w 659607"/>
                <a:gd name="connsiteY68" fmla="*/ 147952 h 364646"/>
                <a:gd name="connsiteX69" fmla="*/ 640557 w 659607"/>
                <a:gd name="connsiteY69" fmla="*/ 121758 h 364646"/>
                <a:gd name="connsiteX70" fmla="*/ 647700 w 659607"/>
                <a:gd name="connsiteY70" fmla="*/ 66990 h 364646"/>
                <a:gd name="connsiteX71" fmla="*/ 650082 w 659607"/>
                <a:gd name="connsiteY71" fmla="*/ 59846 h 364646"/>
                <a:gd name="connsiteX72" fmla="*/ 659607 w 659607"/>
                <a:gd name="connsiteY72" fmla="*/ 45558 h 364646"/>
                <a:gd name="connsiteX73" fmla="*/ 650082 w 659607"/>
                <a:gd name="connsiteY73" fmla="*/ 40796 h 364646"/>
                <a:gd name="connsiteX74" fmla="*/ 635794 w 659607"/>
                <a:gd name="connsiteY74" fmla="*/ 38415 h 364646"/>
                <a:gd name="connsiteX75" fmla="*/ 607219 w 659607"/>
                <a:gd name="connsiteY75" fmla="*/ 31271 h 364646"/>
                <a:gd name="connsiteX76" fmla="*/ 600075 w 659607"/>
                <a:gd name="connsiteY76" fmla="*/ 26508 h 364646"/>
                <a:gd name="connsiteX77" fmla="*/ 592932 w 659607"/>
                <a:gd name="connsiteY77" fmla="*/ 24127 h 364646"/>
                <a:gd name="connsiteX78" fmla="*/ 590550 w 659607"/>
                <a:gd name="connsiteY78" fmla="*/ 16983 h 364646"/>
                <a:gd name="connsiteX79" fmla="*/ 578644 w 659607"/>
                <a:gd name="connsiteY79" fmla="*/ 2696 h 364646"/>
                <a:gd name="connsiteX80" fmla="*/ 571500 w 659607"/>
                <a:gd name="connsiteY80" fmla="*/ 315 h 364646"/>
                <a:gd name="connsiteX81" fmla="*/ 561975 w 659607"/>
                <a:gd name="connsiteY81" fmla="*/ 315 h 364646"/>
                <a:gd name="connsiteX82" fmla="*/ 542925 w 659607"/>
                <a:gd name="connsiteY82" fmla="*/ 2696 h 364646"/>
                <a:gd name="connsiteX83" fmla="*/ 526257 w 659607"/>
                <a:gd name="connsiteY83" fmla="*/ 315 h 364646"/>
                <a:gd name="connsiteX84" fmla="*/ 497682 w 659607"/>
                <a:gd name="connsiteY84" fmla="*/ 315 h 364646"/>
                <a:gd name="connsiteX85" fmla="*/ 485775 w 659607"/>
                <a:gd name="connsiteY85" fmla="*/ 2696 h 364646"/>
                <a:gd name="connsiteX86" fmla="*/ 488157 w 659607"/>
                <a:gd name="connsiteY86" fmla="*/ 19365 h 364646"/>
                <a:gd name="connsiteX87" fmla="*/ 473869 w 659607"/>
                <a:gd name="connsiteY87" fmla="*/ 26508 h 364646"/>
                <a:gd name="connsiteX88" fmla="*/ 466725 w 659607"/>
                <a:gd name="connsiteY88" fmla="*/ 31271 h 364646"/>
                <a:gd name="connsiteX89" fmla="*/ 452438 w 659607"/>
                <a:gd name="connsiteY89" fmla="*/ 28890 h 364646"/>
                <a:gd name="connsiteX90" fmla="*/ 445294 w 659607"/>
                <a:gd name="connsiteY90" fmla="*/ 26508 h 364646"/>
                <a:gd name="connsiteX91" fmla="*/ 428625 w 659607"/>
                <a:gd name="connsiteY91" fmla="*/ 24127 h 364646"/>
                <a:gd name="connsiteX92" fmla="*/ 407194 w 659607"/>
                <a:gd name="connsiteY92" fmla="*/ 26508 h 364646"/>
                <a:gd name="connsiteX93" fmla="*/ 388144 w 659607"/>
                <a:gd name="connsiteY93" fmla="*/ 31271 h 364646"/>
                <a:gd name="connsiteX94" fmla="*/ 385763 w 659607"/>
                <a:gd name="connsiteY94" fmla="*/ 43177 h 364646"/>
                <a:gd name="connsiteX95" fmla="*/ 378619 w 659607"/>
                <a:gd name="connsiteY95" fmla="*/ 47940 h 364646"/>
                <a:gd name="connsiteX96" fmla="*/ 373857 w 659607"/>
                <a:gd name="connsiteY96" fmla="*/ 55083 h 364646"/>
                <a:gd name="connsiteX97" fmla="*/ 376238 w 659607"/>
                <a:gd name="connsiteY97" fmla="*/ 76515 h 364646"/>
                <a:gd name="connsiteX98" fmla="*/ 357188 w 659607"/>
                <a:gd name="connsiteY98" fmla="*/ 74133 h 364646"/>
                <a:gd name="connsiteX99" fmla="*/ 330994 w 659607"/>
                <a:gd name="connsiteY99" fmla="*/ 69371 h 364646"/>
                <a:gd name="connsiteX100" fmla="*/ 326232 w 659607"/>
                <a:gd name="connsiteY100" fmla="*/ 50321 h 364646"/>
                <a:gd name="connsiteX101" fmla="*/ 321469 w 659607"/>
                <a:gd name="connsiteY101" fmla="*/ 40796 h 364646"/>
                <a:gd name="connsiteX102" fmla="*/ 300038 w 659607"/>
                <a:gd name="connsiteY102" fmla="*/ 33652 h 364646"/>
                <a:gd name="connsiteX103" fmla="*/ 297657 w 659607"/>
                <a:gd name="connsiteY103" fmla="*/ 24127 h 364646"/>
                <a:gd name="connsiteX104" fmla="*/ 295275 w 659607"/>
                <a:gd name="connsiteY104" fmla="*/ 16983 h 364646"/>
                <a:gd name="connsiteX105" fmla="*/ 285750 w 659607"/>
                <a:gd name="connsiteY105" fmla="*/ 14602 h 364646"/>
                <a:gd name="connsiteX106" fmla="*/ 278607 w 659607"/>
                <a:gd name="connsiteY106" fmla="*/ 16983 h 364646"/>
                <a:gd name="connsiteX107" fmla="*/ 264319 w 659607"/>
                <a:gd name="connsiteY107" fmla="*/ 19365 h 364646"/>
                <a:gd name="connsiteX108" fmla="*/ 254794 w 659607"/>
                <a:gd name="connsiteY108" fmla="*/ 33652 h 364646"/>
                <a:gd name="connsiteX109" fmla="*/ 254794 w 659607"/>
                <a:gd name="connsiteY109" fmla="*/ 47940 h 364646"/>
                <a:gd name="connsiteX110" fmla="*/ 242888 w 659607"/>
                <a:gd name="connsiteY110" fmla="*/ 45558 h 364646"/>
                <a:gd name="connsiteX111" fmla="*/ 235744 w 659607"/>
                <a:gd name="connsiteY111" fmla="*/ 40796 h 364646"/>
                <a:gd name="connsiteX112" fmla="*/ 226219 w 659607"/>
                <a:gd name="connsiteY112" fmla="*/ 26508 h 364646"/>
                <a:gd name="connsiteX113" fmla="*/ 209550 w 659607"/>
                <a:gd name="connsiteY113" fmla="*/ 28890 h 364646"/>
                <a:gd name="connsiteX114" fmla="*/ 202407 w 659607"/>
                <a:gd name="connsiteY114" fmla="*/ 33652 h 364646"/>
                <a:gd name="connsiteX115" fmla="*/ 190500 w 659607"/>
                <a:gd name="connsiteY115" fmla="*/ 36033 h 364646"/>
                <a:gd name="connsiteX116" fmla="*/ 185738 w 659607"/>
                <a:gd name="connsiteY116" fmla="*/ 45558 h 364646"/>
                <a:gd name="connsiteX117" fmla="*/ 166688 w 659607"/>
                <a:gd name="connsiteY117" fmla="*/ 62227 h 364646"/>
                <a:gd name="connsiteX118" fmla="*/ 159544 w 659607"/>
                <a:gd name="connsiteY118" fmla="*/ 66990 h 364646"/>
                <a:gd name="connsiteX119" fmla="*/ 157163 w 659607"/>
                <a:gd name="connsiteY119" fmla="*/ 74133 h 364646"/>
                <a:gd name="connsiteX120" fmla="*/ 152400 w 659607"/>
                <a:gd name="connsiteY120" fmla="*/ 81277 h 364646"/>
                <a:gd name="connsiteX121" fmla="*/ 147638 w 659607"/>
                <a:gd name="connsiteY121" fmla="*/ 95565 h 364646"/>
                <a:gd name="connsiteX122" fmla="*/ 145257 w 659607"/>
                <a:gd name="connsiteY122" fmla="*/ 116996 h 364646"/>
                <a:gd name="connsiteX123" fmla="*/ 135732 w 659607"/>
                <a:gd name="connsiteY123" fmla="*/ 124140 h 364646"/>
                <a:gd name="connsiteX124" fmla="*/ 126207 w 659607"/>
                <a:gd name="connsiteY124" fmla="*/ 136046 h 364646"/>
                <a:gd name="connsiteX125" fmla="*/ 123825 w 659607"/>
                <a:gd name="connsiteY125" fmla="*/ 145571 h 364646"/>
                <a:gd name="connsiteX126" fmla="*/ 111919 w 659607"/>
                <a:gd name="connsiteY126" fmla="*/ 157477 h 364646"/>
                <a:gd name="connsiteX127" fmla="*/ 104775 w 659607"/>
                <a:gd name="connsiteY127" fmla="*/ 159858 h 364646"/>
                <a:gd name="connsiteX128" fmla="*/ 102394 w 659607"/>
                <a:gd name="connsiteY128" fmla="*/ 167002 h 364646"/>
                <a:gd name="connsiteX129" fmla="*/ 95250 w 659607"/>
                <a:gd name="connsiteY129" fmla="*/ 169383 h 364646"/>
                <a:gd name="connsiteX130" fmla="*/ 83344 w 659607"/>
                <a:gd name="connsiteY130" fmla="*/ 171765 h 364646"/>
                <a:gd name="connsiteX131" fmla="*/ 45244 w 659607"/>
                <a:gd name="connsiteY131" fmla="*/ 167002 h 364646"/>
                <a:gd name="connsiteX132" fmla="*/ 33338 w 659607"/>
                <a:gd name="connsiteY132" fmla="*/ 164621 h 3646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Lst>
              <a:rect l="l" t="t" r="r" b="b"/>
              <a:pathLst>
                <a:path w="659607" h="364646">
                  <a:moveTo>
                    <a:pt x="33338" y="164621"/>
                  </a:moveTo>
                  <a:cubicBezTo>
                    <a:pt x="30560" y="166208"/>
                    <a:pt x="31311" y="173243"/>
                    <a:pt x="28575" y="176527"/>
                  </a:cubicBezTo>
                  <a:cubicBezTo>
                    <a:pt x="26968" y="178455"/>
                    <a:pt x="23207" y="177133"/>
                    <a:pt x="21432" y="178908"/>
                  </a:cubicBezTo>
                  <a:cubicBezTo>
                    <a:pt x="19657" y="180683"/>
                    <a:pt x="20173" y="183807"/>
                    <a:pt x="19050" y="186052"/>
                  </a:cubicBezTo>
                  <a:cubicBezTo>
                    <a:pt x="17770" y="188612"/>
                    <a:pt x="15875" y="190815"/>
                    <a:pt x="14288" y="193196"/>
                  </a:cubicBezTo>
                  <a:cubicBezTo>
                    <a:pt x="20273" y="211153"/>
                    <a:pt x="21829" y="201530"/>
                    <a:pt x="21432" y="207483"/>
                  </a:cubicBezTo>
                  <a:cubicBezTo>
                    <a:pt x="21035" y="213436"/>
                    <a:pt x="15082" y="223756"/>
                    <a:pt x="11907" y="228915"/>
                  </a:cubicBezTo>
                  <a:cubicBezTo>
                    <a:pt x="8732" y="234075"/>
                    <a:pt x="5557" y="235265"/>
                    <a:pt x="2382" y="238440"/>
                  </a:cubicBezTo>
                  <a:cubicBezTo>
                    <a:pt x="1588" y="240821"/>
                    <a:pt x="0" y="243073"/>
                    <a:pt x="0" y="245583"/>
                  </a:cubicBezTo>
                  <a:cubicBezTo>
                    <a:pt x="0" y="257504"/>
                    <a:pt x="128" y="263131"/>
                    <a:pt x="9525" y="269396"/>
                  </a:cubicBezTo>
                  <a:cubicBezTo>
                    <a:pt x="11614" y="270788"/>
                    <a:pt x="14288" y="270983"/>
                    <a:pt x="16669" y="271777"/>
                  </a:cubicBezTo>
                  <a:cubicBezTo>
                    <a:pt x="19341" y="279794"/>
                    <a:pt x="19103" y="280203"/>
                    <a:pt x="23813" y="288446"/>
                  </a:cubicBezTo>
                  <a:cubicBezTo>
                    <a:pt x="25233" y="290931"/>
                    <a:pt x="26421" y="293705"/>
                    <a:pt x="28575" y="295590"/>
                  </a:cubicBezTo>
                  <a:cubicBezTo>
                    <a:pt x="32883" y="299359"/>
                    <a:pt x="38100" y="301940"/>
                    <a:pt x="42863" y="305115"/>
                  </a:cubicBezTo>
                  <a:cubicBezTo>
                    <a:pt x="45244" y="306702"/>
                    <a:pt x="47159" y="309592"/>
                    <a:pt x="50007" y="309877"/>
                  </a:cubicBezTo>
                  <a:lnTo>
                    <a:pt x="73819" y="312258"/>
                  </a:lnTo>
                  <a:cubicBezTo>
                    <a:pt x="76994" y="317021"/>
                    <a:pt x="81534" y="321116"/>
                    <a:pt x="83344" y="326546"/>
                  </a:cubicBezTo>
                  <a:cubicBezTo>
                    <a:pt x="84138" y="328927"/>
                    <a:pt x="85035" y="331276"/>
                    <a:pt x="85725" y="333690"/>
                  </a:cubicBezTo>
                  <a:cubicBezTo>
                    <a:pt x="86624" y="336837"/>
                    <a:pt x="86062" y="340659"/>
                    <a:pt x="88107" y="343215"/>
                  </a:cubicBezTo>
                  <a:cubicBezTo>
                    <a:pt x="89675" y="345175"/>
                    <a:pt x="92869" y="344802"/>
                    <a:pt x="95250" y="345596"/>
                  </a:cubicBezTo>
                  <a:cubicBezTo>
                    <a:pt x="111106" y="361452"/>
                    <a:pt x="94029" y="346505"/>
                    <a:pt x="109538" y="355121"/>
                  </a:cubicBezTo>
                  <a:cubicBezTo>
                    <a:pt x="114541" y="357901"/>
                    <a:pt x="123825" y="364646"/>
                    <a:pt x="123825" y="364646"/>
                  </a:cubicBezTo>
                  <a:cubicBezTo>
                    <a:pt x="132556" y="363852"/>
                    <a:pt x="141385" y="363789"/>
                    <a:pt x="150019" y="362265"/>
                  </a:cubicBezTo>
                  <a:cubicBezTo>
                    <a:pt x="154963" y="361393"/>
                    <a:pt x="159317" y="358056"/>
                    <a:pt x="164307" y="357502"/>
                  </a:cubicBezTo>
                  <a:cubicBezTo>
                    <a:pt x="194452" y="354153"/>
                    <a:pt x="178580" y="355772"/>
                    <a:pt x="211932" y="352740"/>
                  </a:cubicBezTo>
                  <a:cubicBezTo>
                    <a:pt x="214313" y="351946"/>
                    <a:pt x="216640" y="350967"/>
                    <a:pt x="219075" y="350358"/>
                  </a:cubicBezTo>
                  <a:cubicBezTo>
                    <a:pt x="223002" y="349376"/>
                    <a:pt x="227297" y="349652"/>
                    <a:pt x="230982" y="347977"/>
                  </a:cubicBezTo>
                  <a:cubicBezTo>
                    <a:pt x="236193" y="345609"/>
                    <a:pt x="240507" y="341627"/>
                    <a:pt x="245269" y="338452"/>
                  </a:cubicBezTo>
                  <a:cubicBezTo>
                    <a:pt x="247650" y="336865"/>
                    <a:pt x="249698" y="334595"/>
                    <a:pt x="252413" y="333690"/>
                  </a:cubicBezTo>
                  <a:lnTo>
                    <a:pt x="242888" y="319402"/>
                  </a:lnTo>
                  <a:cubicBezTo>
                    <a:pt x="250318" y="289678"/>
                    <a:pt x="240828" y="326606"/>
                    <a:pt x="247650" y="302733"/>
                  </a:cubicBezTo>
                  <a:cubicBezTo>
                    <a:pt x="248549" y="299586"/>
                    <a:pt x="247987" y="295764"/>
                    <a:pt x="250032" y="293208"/>
                  </a:cubicBezTo>
                  <a:cubicBezTo>
                    <a:pt x="251600" y="291248"/>
                    <a:pt x="254690" y="291182"/>
                    <a:pt x="257175" y="290827"/>
                  </a:cubicBezTo>
                  <a:cubicBezTo>
                    <a:pt x="265854" y="289587"/>
                    <a:pt x="274638" y="289240"/>
                    <a:pt x="283369" y="288446"/>
                  </a:cubicBezTo>
                  <a:cubicBezTo>
                    <a:pt x="303728" y="281659"/>
                    <a:pt x="292675" y="284306"/>
                    <a:pt x="316707" y="281302"/>
                  </a:cubicBezTo>
                  <a:cubicBezTo>
                    <a:pt x="317501" y="278921"/>
                    <a:pt x="318398" y="276572"/>
                    <a:pt x="319088" y="274158"/>
                  </a:cubicBezTo>
                  <a:cubicBezTo>
                    <a:pt x="321274" y="266504"/>
                    <a:pt x="320430" y="263292"/>
                    <a:pt x="326232" y="257490"/>
                  </a:cubicBezTo>
                  <a:cubicBezTo>
                    <a:pt x="328256" y="255466"/>
                    <a:pt x="330994" y="254315"/>
                    <a:pt x="333375" y="252727"/>
                  </a:cubicBezTo>
                  <a:cubicBezTo>
                    <a:pt x="338138" y="253521"/>
                    <a:pt x="342851" y="255509"/>
                    <a:pt x="347663" y="255108"/>
                  </a:cubicBezTo>
                  <a:cubicBezTo>
                    <a:pt x="352666" y="254691"/>
                    <a:pt x="361950" y="250346"/>
                    <a:pt x="361950" y="250346"/>
                  </a:cubicBezTo>
                  <a:cubicBezTo>
                    <a:pt x="362744" y="254315"/>
                    <a:pt x="360612" y="260658"/>
                    <a:pt x="364332" y="262252"/>
                  </a:cubicBezTo>
                  <a:cubicBezTo>
                    <a:pt x="368946" y="264229"/>
                    <a:pt x="378619" y="257490"/>
                    <a:pt x="378619" y="257490"/>
                  </a:cubicBezTo>
                  <a:cubicBezTo>
                    <a:pt x="381000" y="259077"/>
                    <a:pt x="383048" y="263157"/>
                    <a:pt x="385763" y="262252"/>
                  </a:cubicBezTo>
                  <a:cubicBezTo>
                    <a:pt x="398689" y="257943"/>
                    <a:pt x="388948" y="251923"/>
                    <a:pt x="395288" y="245583"/>
                  </a:cubicBezTo>
                  <a:cubicBezTo>
                    <a:pt x="397063" y="243808"/>
                    <a:pt x="400051" y="243996"/>
                    <a:pt x="402432" y="243202"/>
                  </a:cubicBezTo>
                  <a:cubicBezTo>
                    <a:pt x="418808" y="232285"/>
                    <a:pt x="411289" y="235487"/>
                    <a:pt x="423863" y="231296"/>
                  </a:cubicBezTo>
                  <a:cubicBezTo>
                    <a:pt x="429763" y="213592"/>
                    <a:pt x="423406" y="234484"/>
                    <a:pt x="428625" y="197958"/>
                  </a:cubicBezTo>
                  <a:cubicBezTo>
                    <a:pt x="429521" y="191688"/>
                    <a:pt x="432342" y="188813"/>
                    <a:pt x="435769" y="183671"/>
                  </a:cubicBezTo>
                  <a:cubicBezTo>
                    <a:pt x="436563" y="180496"/>
                    <a:pt x="435665" y="176276"/>
                    <a:pt x="438150" y="174146"/>
                  </a:cubicBezTo>
                  <a:cubicBezTo>
                    <a:pt x="446073" y="167355"/>
                    <a:pt x="480793" y="167202"/>
                    <a:pt x="483394" y="167002"/>
                  </a:cubicBezTo>
                  <a:cubicBezTo>
                    <a:pt x="487363" y="167796"/>
                    <a:pt x="491510" y="167962"/>
                    <a:pt x="495300" y="169383"/>
                  </a:cubicBezTo>
                  <a:cubicBezTo>
                    <a:pt x="497980" y="170388"/>
                    <a:pt x="499884" y="172866"/>
                    <a:pt x="502444" y="174146"/>
                  </a:cubicBezTo>
                  <a:cubicBezTo>
                    <a:pt x="504689" y="175269"/>
                    <a:pt x="507207" y="175733"/>
                    <a:pt x="509588" y="176527"/>
                  </a:cubicBezTo>
                  <a:cubicBezTo>
                    <a:pt x="510857" y="176210"/>
                    <a:pt x="524208" y="173131"/>
                    <a:pt x="526257" y="171765"/>
                  </a:cubicBezTo>
                  <a:cubicBezTo>
                    <a:pt x="529059" y="169897"/>
                    <a:pt x="531244" y="167208"/>
                    <a:pt x="533400" y="164621"/>
                  </a:cubicBezTo>
                  <a:cubicBezTo>
                    <a:pt x="535232" y="162422"/>
                    <a:pt x="535736" y="158994"/>
                    <a:pt x="538163" y="157477"/>
                  </a:cubicBezTo>
                  <a:cubicBezTo>
                    <a:pt x="542420" y="154816"/>
                    <a:pt x="547688" y="154302"/>
                    <a:pt x="552450" y="152715"/>
                  </a:cubicBezTo>
                  <a:lnTo>
                    <a:pt x="559594" y="150333"/>
                  </a:lnTo>
                  <a:cubicBezTo>
                    <a:pt x="561182" y="155096"/>
                    <a:pt x="561572" y="160444"/>
                    <a:pt x="564357" y="164621"/>
                  </a:cubicBezTo>
                  <a:lnTo>
                    <a:pt x="573882" y="178908"/>
                  </a:lnTo>
                  <a:cubicBezTo>
                    <a:pt x="574676" y="181289"/>
                    <a:pt x="574695" y="184092"/>
                    <a:pt x="576263" y="186052"/>
                  </a:cubicBezTo>
                  <a:cubicBezTo>
                    <a:pt x="579620" y="190249"/>
                    <a:pt x="585844" y="191627"/>
                    <a:pt x="590550" y="193196"/>
                  </a:cubicBezTo>
                  <a:cubicBezTo>
                    <a:pt x="591344" y="190815"/>
                    <a:pt x="590843" y="187444"/>
                    <a:pt x="592932" y="186052"/>
                  </a:cubicBezTo>
                  <a:cubicBezTo>
                    <a:pt x="596300" y="183807"/>
                    <a:pt x="601048" y="185092"/>
                    <a:pt x="604838" y="183671"/>
                  </a:cubicBezTo>
                  <a:cubicBezTo>
                    <a:pt x="607518" y="182666"/>
                    <a:pt x="609302" y="179913"/>
                    <a:pt x="611982" y="178908"/>
                  </a:cubicBezTo>
                  <a:cubicBezTo>
                    <a:pt x="615772" y="177487"/>
                    <a:pt x="619983" y="177592"/>
                    <a:pt x="623888" y="176527"/>
                  </a:cubicBezTo>
                  <a:cubicBezTo>
                    <a:pt x="628731" y="175206"/>
                    <a:pt x="638175" y="171765"/>
                    <a:pt x="638175" y="171765"/>
                  </a:cubicBezTo>
                  <a:cubicBezTo>
                    <a:pt x="637381" y="168590"/>
                    <a:pt x="636734" y="165375"/>
                    <a:pt x="635794" y="162240"/>
                  </a:cubicBezTo>
                  <a:cubicBezTo>
                    <a:pt x="634352" y="157431"/>
                    <a:pt x="631032" y="147952"/>
                    <a:pt x="631032" y="147952"/>
                  </a:cubicBezTo>
                  <a:cubicBezTo>
                    <a:pt x="636488" y="126125"/>
                    <a:pt x="632163" y="134348"/>
                    <a:pt x="640557" y="121758"/>
                  </a:cubicBezTo>
                  <a:cubicBezTo>
                    <a:pt x="650587" y="91665"/>
                    <a:pt x="642347" y="120515"/>
                    <a:pt x="647700" y="66990"/>
                  </a:cubicBezTo>
                  <a:cubicBezTo>
                    <a:pt x="647950" y="64492"/>
                    <a:pt x="648863" y="62040"/>
                    <a:pt x="650082" y="59846"/>
                  </a:cubicBezTo>
                  <a:cubicBezTo>
                    <a:pt x="652862" y="54842"/>
                    <a:pt x="659607" y="45558"/>
                    <a:pt x="659607" y="45558"/>
                  </a:cubicBezTo>
                  <a:cubicBezTo>
                    <a:pt x="655005" y="27157"/>
                    <a:pt x="661282" y="39551"/>
                    <a:pt x="650082" y="40796"/>
                  </a:cubicBezTo>
                  <a:cubicBezTo>
                    <a:pt x="645283" y="41329"/>
                    <a:pt x="640557" y="39209"/>
                    <a:pt x="635794" y="38415"/>
                  </a:cubicBezTo>
                  <a:cubicBezTo>
                    <a:pt x="619447" y="27516"/>
                    <a:pt x="639587" y="39363"/>
                    <a:pt x="607219" y="31271"/>
                  </a:cubicBezTo>
                  <a:cubicBezTo>
                    <a:pt x="604442" y="30577"/>
                    <a:pt x="602635" y="27788"/>
                    <a:pt x="600075" y="26508"/>
                  </a:cubicBezTo>
                  <a:cubicBezTo>
                    <a:pt x="597830" y="25386"/>
                    <a:pt x="595313" y="24921"/>
                    <a:pt x="592932" y="24127"/>
                  </a:cubicBezTo>
                  <a:cubicBezTo>
                    <a:pt x="592138" y="21746"/>
                    <a:pt x="591673" y="19228"/>
                    <a:pt x="590550" y="16983"/>
                  </a:cubicBezTo>
                  <a:cubicBezTo>
                    <a:pt x="588353" y="12590"/>
                    <a:pt x="582594" y="5329"/>
                    <a:pt x="578644" y="2696"/>
                  </a:cubicBezTo>
                  <a:cubicBezTo>
                    <a:pt x="576555" y="1304"/>
                    <a:pt x="573881" y="1109"/>
                    <a:pt x="571500" y="315"/>
                  </a:cubicBezTo>
                  <a:cubicBezTo>
                    <a:pt x="560296" y="17122"/>
                    <a:pt x="573181" y="2556"/>
                    <a:pt x="561975" y="315"/>
                  </a:cubicBezTo>
                  <a:cubicBezTo>
                    <a:pt x="555700" y="-940"/>
                    <a:pt x="549275" y="1902"/>
                    <a:pt x="542925" y="2696"/>
                  </a:cubicBezTo>
                  <a:cubicBezTo>
                    <a:pt x="537369" y="1902"/>
                    <a:pt x="531869" y="315"/>
                    <a:pt x="526257" y="315"/>
                  </a:cubicBezTo>
                  <a:cubicBezTo>
                    <a:pt x="494356" y="315"/>
                    <a:pt x="514428" y="5897"/>
                    <a:pt x="497682" y="315"/>
                  </a:cubicBezTo>
                  <a:cubicBezTo>
                    <a:pt x="493713" y="1109"/>
                    <a:pt x="488885" y="105"/>
                    <a:pt x="485775" y="2696"/>
                  </a:cubicBezTo>
                  <a:cubicBezTo>
                    <a:pt x="478526" y="8737"/>
                    <a:pt x="485229" y="14973"/>
                    <a:pt x="488157" y="19365"/>
                  </a:cubicBezTo>
                  <a:cubicBezTo>
                    <a:pt x="467674" y="33018"/>
                    <a:pt x="493595" y="16645"/>
                    <a:pt x="473869" y="26508"/>
                  </a:cubicBezTo>
                  <a:cubicBezTo>
                    <a:pt x="471309" y="27788"/>
                    <a:pt x="469106" y="29683"/>
                    <a:pt x="466725" y="31271"/>
                  </a:cubicBezTo>
                  <a:cubicBezTo>
                    <a:pt x="461963" y="30477"/>
                    <a:pt x="457151" y="29937"/>
                    <a:pt x="452438" y="28890"/>
                  </a:cubicBezTo>
                  <a:cubicBezTo>
                    <a:pt x="449988" y="28345"/>
                    <a:pt x="447755" y="27000"/>
                    <a:pt x="445294" y="26508"/>
                  </a:cubicBezTo>
                  <a:cubicBezTo>
                    <a:pt x="439790" y="25407"/>
                    <a:pt x="434181" y="24921"/>
                    <a:pt x="428625" y="24127"/>
                  </a:cubicBezTo>
                  <a:cubicBezTo>
                    <a:pt x="415530" y="19762"/>
                    <a:pt x="426242" y="21745"/>
                    <a:pt x="407194" y="26508"/>
                  </a:cubicBezTo>
                  <a:lnTo>
                    <a:pt x="388144" y="31271"/>
                  </a:lnTo>
                  <a:cubicBezTo>
                    <a:pt x="387350" y="35240"/>
                    <a:pt x="387771" y="39663"/>
                    <a:pt x="385763" y="43177"/>
                  </a:cubicBezTo>
                  <a:cubicBezTo>
                    <a:pt x="384343" y="45662"/>
                    <a:pt x="380643" y="45916"/>
                    <a:pt x="378619" y="47940"/>
                  </a:cubicBezTo>
                  <a:cubicBezTo>
                    <a:pt x="376596" y="49963"/>
                    <a:pt x="375444" y="52702"/>
                    <a:pt x="373857" y="55083"/>
                  </a:cubicBezTo>
                  <a:cubicBezTo>
                    <a:pt x="376820" y="59529"/>
                    <a:pt x="386642" y="70735"/>
                    <a:pt x="376238" y="76515"/>
                  </a:cubicBezTo>
                  <a:cubicBezTo>
                    <a:pt x="370644" y="79623"/>
                    <a:pt x="363538" y="74927"/>
                    <a:pt x="357188" y="74133"/>
                  </a:cubicBezTo>
                  <a:cubicBezTo>
                    <a:pt x="349944" y="52400"/>
                    <a:pt x="364744" y="89059"/>
                    <a:pt x="330994" y="69371"/>
                  </a:cubicBezTo>
                  <a:cubicBezTo>
                    <a:pt x="325340" y="66073"/>
                    <a:pt x="329159" y="56175"/>
                    <a:pt x="326232" y="50321"/>
                  </a:cubicBezTo>
                  <a:cubicBezTo>
                    <a:pt x="324644" y="47146"/>
                    <a:pt x="323742" y="43523"/>
                    <a:pt x="321469" y="40796"/>
                  </a:cubicBezTo>
                  <a:cubicBezTo>
                    <a:pt x="316068" y="34315"/>
                    <a:pt x="307432" y="34884"/>
                    <a:pt x="300038" y="33652"/>
                  </a:cubicBezTo>
                  <a:cubicBezTo>
                    <a:pt x="299244" y="30477"/>
                    <a:pt x="298556" y="27274"/>
                    <a:pt x="297657" y="24127"/>
                  </a:cubicBezTo>
                  <a:cubicBezTo>
                    <a:pt x="296967" y="21713"/>
                    <a:pt x="297235" y="18551"/>
                    <a:pt x="295275" y="16983"/>
                  </a:cubicBezTo>
                  <a:cubicBezTo>
                    <a:pt x="292719" y="14939"/>
                    <a:pt x="288925" y="15396"/>
                    <a:pt x="285750" y="14602"/>
                  </a:cubicBezTo>
                  <a:cubicBezTo>
                    <a:pt x="283369" y="15396"/>
                    <a:pt x="281057" y="16438"/>
                    <a:pt x="278607" y="16983"/>
                  </a:cubicBezTo>
                  <a:cubicBezTo>
                    <a:pt x="273894" y="18031"/>
                    <a:pt x="268275" y="16596"/>
                    <a:pt x="264319" y="19365"/>
                  </a:cubicBezTo>
                  <a:cubicBezTo>
                    <a:pt x="259630" y="22647"/>
                    <a:pt x="254794" y="33652"/>
                    <a:pt x="254794" y="33652"/>
                  </a:cubicBezTo>
                  <a:cubicBezTo>
                    <a:pt x="255429" y="35557"/>
                    <a:pt x="260509" y="46035"/>
                    <a:pt x="254794" y="47940"/>
                  </a:cubicBezTo>
                  <a:cubicBezTo>
                    <a:pt x="250954" y="49220"/>
                    <a:pt x="246857" y="46352"/>
                    <a:pt x="242888" y="45558"/>
                  </a:cubicBezTo>
                  <a:cubicBezTo>
                    <a:pt x="240507" y="43971"/>
                    <a:pt x="237629" y="42950"/>
                    <a:pt x="235744" y="40796"/>
                  </a:cubicBezTo>
                  <a:cubicBezTo>
                    <a:pt x="231975" y="36488"/>
                    <a:pt x="226219" y="26508"/>
                    <a:pt x="226219" y="26508"/>
                  </a:cubicBezTo>
                  <a:cubicBezTo>
                    <a:pt x="220663" y="27302"/>
                    <a:pt x="214926" y="27277"/>
                    <a:pt x="209550" y="28890"/>
                  </a:cubicBezTo>
                  <a:cubicBezTo>
                    <a:pt x="206809" y="29712"/>
                    <a:pt x="205086" y="32647"/>
                    <a:pt x="202407" y="33652"/>
                  </a:cubicBezTo>
                  <a:cubicBezTo>
                    <a:pt x="198617" y="35073"/>
                    <a:pt x="194469" y="35239"/>
                    <a:pt x="190500" y="36033"/>
                  </a:cubicBezTo>
                  <a:cubicBezTo>
                    <a:pt x="188913" y="39208"/>
                    <a:pt x="187056" y="42262"/>
                    <a:pt x="185738" y="45558"/>
                  </a:cubicBezTo>
                  <a:cubicBezTo>
                    <a:pt x="178101" y="64651"/>
                    <a:pt x="187223" y="58805"/>
                    <a:pt x="166688" y="62227"/>
                  </a:cubicBezTo>
                  <a:cubicBezTo>
                    <a:pt x="164307" y="63815"/>
                    <a:pt x="161332" y="64755"/>
                    <a:pt x="159544" y="66990"/>
                  </a:cubicBezTo>
                  <a:cubicBezTo>
                    <a:pt x="157976" y="68950"/>
                    <a:pt x="158285" y="71888"/>
                    <a:pt x="157163" y="74133"/>
                  </a:cubicBezTo>
                  <a:cubicBezTo>
                    <a:pt x="155883" y="76693"/>
                    <a:pt x="153988" y="78896"/>
                    <a:pt x="152400" y="81277"/>
                  </a:cubicBezTo>
                  <a:cubicBezTo>
                    <a:pt x="150813" y="86040"/>
                    <a:pt x="148192" y="90575"/>
                    <a:pt x="147638" y="95565"/>
                  </a:cubicBezTo>
                  <a:cubicBezTo>
                    <a:pt x="146844" y="102709"/>
                    <a:pt x="148021" y="110361"/>
                    <a:pt x="145257" y="116996"/>
                  </a:cubicBezTo>
                  <a:cubicBezTo>
                    <a:pt x="143731" y="120660"/>
                    <a:pt x="138907" y="121759"/>
                    <a:pt x="135732" y="124140"/>
                  </a:cubicBezTo>
                  <a:cubicBezTo>
                    <a:pt x="127943" y="147496"/>
                    <a:pt x="140571" y="114500"/>
                    <a:pt x="126207" y="136046"/>
                  </a:cubicBezTo>
                  <a:cubicBezTo>
                    <a:pt x="124392" y="138769"/>
                    <a:pt x="125114" y="142563"/>
                    <a:pt x="123825" y="145571"/>
                  </a:cubicBezTo>
                  <a:cubicBezTo>
                    <a:pt x="121227" y="151634"/>
                    <a:pt x="117693" y="154590"/>
                    <a:pt x="111919" y="157477"/>
                  </a:cubicBezTo>
                  <a:cubicBezTo>
                    <a:pt x="109674" y="158599"/>
                    <a:pt x="107156" y="159064"/>
                    <a:pt x="104775" y="159858"/>
                  </a:cubicBezTo>
                  <a:cubicBezTo>
                    <a:pt x="103981" y="162239"/>
                    <a:pt x="104169" y="165227"/>
                    <a:pt x="102394" y="167002"/>
                  </a:cubicBezTo>
                  <a:cubicBezTo>
                    <a:pt x="100619" y="168777"/>
                    <a:pt x="97685" y="168774"/>
                    <a:pt x="95250" y="169383"/>
                  </a:cubicBezTo>
                  <a:cubicBezTo>
                    <a:pt x="91324" y="170365"/>
                    <a:pt x="87313" y="170971"/>
                    <a:pt x="83344" y="171765"/>
                  </a:cubicBezTo>
                  <a:cubicBezTo>
                    <a:pt x="70644" y="170177"/>
                    <a:pt x="55894" y="174101"/>
                    <a:pt x="45244" y="167002"/>
                  </a:cubicBezTo>
                  <a:cubicBezTo>
                    <a:pt x="37440" y="161800"/>
                    <a:pt x="36116" y="163034"/>
                    <a:pt x="33338" y="164621"/>
                  </a:cubicBezTo>
                  <a:close/>
                </a:path>
              </a:pathLst>
            </a:custGeom>
            <a:solidFill>
              <a:srgbClr val="003399"/>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23" name="Freeform: Shape 322">
              <a:extLst>
                <a:ext uri="{FF2B5EF4-FFF2-40B4-BE49-F238E27FC236}">
                  <a16:creationId xmlns:a16="http://schemas.microsoft.com/office/drawing/2014/main" id="{3CA62BD1-C0A0-4B11-8D7B-70CA61D65F8D}"/>
                </a:ext>
              </a:extLst>
            </p:cNvPr>
            <p:cNvSpPr/>
            <p:nvPr/>
          </p:nvSpPr>
          <p:spPr>
            <a:xfrm>
              <a:off x="6164852" y="3863778"/>
              <a:ext cx="429494" cy="352425"/>
            </a:xfrm>
            <a:custGeom>
              <a:avLst/>
              <a:gdLst>
                <a:gd name="connsiteX0" fmla="*/ 86523 w 429494"/>
                <a:gd name="connsiteY0" fmla="*/ 19050 h 352425"/>
                <a:gd name="connsiteX1" fmla="*/ 98430 w 429494"/>
                <a:gd name="connsiteY1" fmla="*/ 28575 h 352425"/>
                <a:gd name="connsiteX2" fmla="*/ 100811 w 429494"/>
                <a:gd name="connsiteY2" fmla="*/ 35719 h 352425"/>
                <a:gd name="connsiteX3" fmla="*/ 115098 w 429494"/>
                <a:gd name="connsiteY3" fmla="*/ 33338 h 352425"/>
                <a:gd name="connsiteX4" fmla="*/ 122242 w 429494"/>
                <a:gd name="connsiteY4" fmla="*/ 30956 h 352425"/>
                <a:gd name="connsiteX5" fmla="*/ 129386 w 429494"/>
                <a:gd name="connsiteY5" fmla="*/ 26194 h 352425"/>
                <a:gd name="connsiteX6" fmla="*/ 148436 w 429494"/>
                <a:gd name="connsiteY6" fmla="*/ 30956 h 352425"/>
                <a:gd name="connsiteX7" fmla="*/ 162723 w 429494"/>
                <a:gd name="connsiteY7" fmla="*/ 38100 h 352425"/>
                <a:gd name="connsiteX8" fmla="*/ 181773 w 429494"/>
                <a:gd name="connsiteY8" fmla="*/ 33338 h 352425"/>
                <a:gd name="connsiteX9" fmla="*/ 188917 w 429494"/>
                <a:gd name="connsiteY9" fmla="*/ 28575 h 352425"/>
                <a:gd name="connsiteX10" fmla="*/ 212730 w 429494"/>
                <a:gd name="connsiteY10" fmla="*/ 33338 h 352425"/>
                <a:gd name="connsiteX11" fmla="*/ 215111 w 429494"/>
                <a:gd name="connsiteY11" fmla="*/ 26194 h 352425"/>
                <a:gd name="connsiteX12" fmla="*/ 222255 w 429494"/>
                <a:gd name="connsiteY12" fmla="*/ 4763 h 352425"/>
                <a:gd name="connsiteX13" fmla="*/ 229398 w 429494"/>
                <a:gd name="connsiteY13" fmla="*/ 2381 h 352425"/>
                <a:gd name="connsiteX14" fmla="*/ 236542 w 429494"/>
                <a:gd name="connsiteY14" fmla="*/ 7144 h 352425"/>
                <a:gd name="connsiteX15" fmla="*/ 250830 w 429494"/>
                <a:gd name="connsiteY15" fmla="*/ 0 h 352425"/>
                <a:gd name="connsiteX16" fmla="*/ 255592 w 429494"/>
                <a:gd name="connsiteY16" fmla="*/ 7144 h 352425"/>
                <a:gd name="connsiteX17" fmla="*/ 272261 w 429494"/>
                <a:gd name="connsiteY17" fmla="*/ 11906 h 352425"/>
                <a:gd name="connsiteX18" fmla="*/ 279405 w 429494"/>
                <a:gd name="connsiteY18" fmla="*/ 9525 h 352425"/>
                <a:gd name="connsiteX19" fmla="*/ 281786 w 429494"/>
                <a:gd name="connsiteY19" fmla="*/ 2381 h 352425"/>
                <a:gd name="connsiteX20" fmla="*/ 286548 w 429494"/>
                <a:gd name="connsiteY20" fmla="*/ 9525 h 352425"/>
                <a:gd name="connsiteX21" fmla="*/ 298455 w 429494"/>
                <a:gd name="connsiteY21" fmla="*/ 30956 h 352425"/>
                <a:gd name="connsiteX22" fmla="*/ 300836 w 429494"/>
                <a:gd name="connsiteY22" fmla="*/ 38100 h 352425"/>
                <a:gd name="connsiteX23" fmla="*/ 307980 w 429494"/>
                <a:gd name="connsiteY23" fmla="*/ 40481 h 352425"/>
                <a:gd name="connsiteX24" fmla="*/ 329411 w 429494"/>
                <a:gd name="connsiteY24" fmla="*/ 42863 h 352425"/>
                <a:gd name="connsiteX25" fmla="*/ 336555 w 429494"/>
                <a:gd name="connsiteY25" fmla="*/ 40481 h 352425"/>
                <a:gd name="connsiteX26" fmla="*/ 348461 w 429494"/>
                <a:gd name="connsiteY26" fmla="*/ 52388 h 352425"/>
                <a:gd name="connsiteX27" fmla="*/ 355605 w 429494"/>
                <a:gd name="connsiteY27" fmla="*/ 57150 h 352425"/>
                <a:gd name="connsiteX28" fmla="*/ 357986 w 429494"/>
                <a:gd name="connsiteY28" fmla="*/ 83344 h 352425"/>
                <a:gd name="connsiteX29" fmla="*/ 355605 w 429494"/>
                <a:gd name="connsiteY29" fmla="*/ 92869 h 352425"/>
                <a:gd name="connsiteX30" fmla="*/ 348461 w 429494"/>
                <a:gd name="connsiteY30" fmla="*/ 97631 h 352425"/>
                <a:gd name="connsiteX31" fmla="*/ 343698 w 429494"/>
                <a:gd name="connsiteY31" fmla="*/ 104775 h 352425"/>
                <a:gd name="connsiteX32" fmla="*/ 348461 w 429494"/>
                <a:gd name="connsiteY32" fmla="*/ 111919 h 352425"/>
                <a:gd name="connsiteX33" fmla="*/ 350842 w 429494"/>
                <a:gd name="connsiteY33" fmla="*/ 119063 h 352425"/>
                <a:gd name="connsiteX34" fmla="*/ 353223 w 429494"/>
                <a:gd name="connsiteY34" fmla="*/ 140494 h 352425"/>
                <a:gd name="connsiteX35" fmla="*/ 360367 w 429494"/>
                <a:gd name="connsiteY35" fmla="*/ 142875 h 352425"/>
                <a:gd name="connsiteX36" fmla="*/ 367511 w 429494"/>
                <a:gd name="connsiteY36" fmla="*/ 147638 h 352425"/>
                <a:gd name="connsiteX37" fmla="*/ 386561 w 429494"/>
                <a:gd name="connsiteY37" fmla="*/ 145256 h 352425"/>
                <a:gd name="connsiteX38" fmla="*/ 396086 w 429494"/>
                <a:gd name="connsiteY38" fmla="*/ 142875 h 352425"/>
                <a:gd name="connsiteX39" fmla="*/ 398467 w 429494"/>
                <a:gd name="connsiteY39" fmla="*/ 152400 h 352425"/>
                <a:gd name="connsiteX40" fmla="*/ 410373 w 429494"/>
                <a:gd name="connsiteY40" fmla="*/ 164306 h 352425"/>
                <a:gd name="connsiteX41" fmla="*/ 412755 w 429494"/>
                <a:gd name="connsiteY41" fmla="*/ 171450 h 352425"/>
                <a:gd name="connsiteX42" fmla="*/ 417517 w 429494"/>
                <a:gd name="connsiteY42" fmla="*/ 185738 h 352425"/>
                <a:gd name="connsiteX43" fmla="*/ 429423 w 429494"/>
                <a:gd name="connsiteY43" fmla="*/ 195263 h 352425"/>
                <a:gd name="connsiteX44" fmla="*/ 427042 w 429494"/>
                <a:gd name="connsiteY44" fmla="*/ 204788 h 352425"/>
                <a:gd name="connsiteX45" fmla="*/ 422280 w 429494"/>
                <a:gd name="connsiteY45" fmla="*/ 219075 h 352425"/>
                <a:gd name="connsiteX46" fmla="*/ 419898 w 429494"/>
                <a:gd name="connsiteY46" fmla="*/ 228600 h 352425"/>
                <a:gd name="connsiteX47" fmla="*/ 412755 w 429494"/>
                <a:gd name="connsiteY47" fmla="*/ 230981 h 352425"/>
                <a:gd name="connsiteX48" fmla="*/ 405611 w 429494"/>
                <a:gd name="connsiteY48" fmla="*/ 235744 h 352425"/>
                <a:gd name="connsiteX49" fmla="*/ 400848 w 429494"/>
                <a:gd name="connsiteY49" fmla="*/ 252413 h 352425"/>
                <a:gd name="connsiteX50" fmla="*/ 372273 w 429494"/>
                <a:gd name="connsiteY50" fmla="*/ 250031 h 352425"/>
                <a:gd name="connsiteX51" fmla="*/ 369892 w 429494"/>
                <a:gd name="connsiteY51" fmla="*/ 257175 h 352425"/>
                <a:gd name="connsiteX52" fmla="*/ 362748 w 429494"/>
                <a:gd name="connsiteY52" fmla="*/ 273844 h 352425"/>
                <a:gd name="connsiteX53" fmla="*/ 355605 w 429494"/>
                <a:gd name="connsiteY53" fmla="*/ 278606 h 352425"/>
                <a:gd name="connsiteX54" fmla="*/ 353223 w 429494"/>
                <a:gd name="connsiteY54" fmla="*/ 285750 h 352425"/>
                <a:gd name="connsiteX55" fmla="*/ 350842 w 429494"/>
                <a:gd name="connsiteY55" fmla="*/ 297656 h 352425"/>
                <a:gd name="connsiteX56" fmla="*/ 348461 w 429494"/>
                <a:gd name="connsiteY56" fmla="*/ 309563 h 352425"/>
                <a:gd name="connsiteX57" fmla="*/ 343698 w 429494"/>
                <a:gd name="connsiteY57" fmla="*/ 316706 h 352425"/>
                <a:gd name="connsiteX58" fmla="*/ 350842 w 429494"/>
                <a:gd name="connsiteY58" fmla="*/ 319088 h 352425"/>
                <a:gd name="connsiteX59" fmla="*/ 348461 w 429494"/>
                <a:gd name="connsiteY59" fmla="*/ 333375 h 352425"/>
                <a:gd name="connsiteX60" fmla="*/ 346080 w 429494"/>
                <a:gd name="connsiteY60" fmla="*/ 345281 h 352425"/>
                <a:gd name="connsiteX61" fmla="*/ 338936 w 429494"/>
                <a:gd name="connsiteY61" fmla="*/ 347663 h 352425"/>
                <a:gd name="connsiteX62" fmla="*/ 322267 w 429494"/>
                <a:gd name="connsiteY62" fmla="*/ 352425 h 352425"/>
                <a:gd name="connsiteX63" fmla="*/ 307980 w 429494"/>
                <a:gd name="connsiteY63" fmla="*/ 350044 h 352425"/>
                <a:gd name="connsiteX64" fmla="*/ 296073 w 429494"/>
                <a:gd name="connsiteY64" fmla="*/ 335756 h 352425"/>
                <a:gd name="connsiteX65" fmla="*/ 288930 w 429494"/>
                <a:gd name="connsiteY65" fmla="*/ 330994 h 352425"/>
                <a:gd name="connsiteX66" fmla="*/ 274642 w 429494"/>
                <a:gd name="connsiteY66" fmla="*/ 326231 h 352425"/>
                <a:gd name="connsiteX67" fmla="*/ 269880 w 429494"/>
                <a:gd name="connsiteY67" fmla="*/ 319088 h 352425"/>
                <a:gd name="connsiteX68" fmla="*/ 267498 w 429494"/>
                <a:gd name="connsiteY68" fmla="*/ 311944 h 352425"/>
                <a:gd name="connsiteX69" fmla="*/ 260355 w 429494"/>
                <a:gd name="connsiteY69" fmla="*/ 309563 h 352425"/>
                <a:gd name="connsiteX70" fmla="*/ 248448 w 429494"/>
                <a:gd name="connsiteY70" fmla="*/ 300038 h 352425"/>
                <a:gd name="connsiteX71" fmla="*/ 243686 w 429494"/>
                <a:gd name="connsiteY71" fmla="*/ 292894 h 352425"/>
                <a:gd name="connsiteX72" fmla="*/ 246067 w 429494"/>
                <a:gd name="connsiteY72" fmla="*/ 271463 h 352425"/>
                <a:gd name="connsiteX73" fmla="*/ 248448 w 429494"/>
                <a:gd name="connsiteY73" fmla="*/ 264319 h 352425"/>
                <a:gd name="connsiteX74" fmla="*/ 246067 w 429494"/>
                <a:gd name="connsiteY74" fmla="*/ 240506 h 352425"/>
                <a:gd name="connsiteX75" fmla="*/ 227017 w 429494"/>
                <a:gd name="connsiteY75" fmla="*/ 245269 h 352425"/>
                <a:gd name="connsiteX76" fmla="*/ 224636 w 429494"/>
                <a:gd name="connsiteY76" fmla="*/ 261938 h 352425"/>
                <a:gd name="connsiteX77" fmla="*/ 217492 w 429494"/>
                <a:gd name="connsiteY77" fmla="*/ 264319 h 352425"/>
                <a:gd name="connsiteX78" fmla="*/ 205586 w 429494"/>
                <a:gd name="connsiteY78" fmla="*/ 266700 h 352425"/>
                <a:gd name="connsiteX79" fmla="*/ 177011 w 429494"/>
                <a:gd name="connsiteY79" fmla="*/ 261938 h 352425"/>
                <a:gd name="connsiteX80" fmla="*/ 169867 w 429494"/>
                <a:gd name="connsiteY80" fmla="*/ 257175 h 352425"/>
                <a:gd name="connsiteX81" fmla="*/ 165105 w 429494"/>
                <a:gd name="connsiteY81" fmla="*/ 250031 h 352425"/>
                <a:gd name="connsiteX82" fmla="*/ 169867 w 429494"/>
                <a:gd name="connsiteY82" fmla="*/ 233363 h 352425"/>
                <a:gd name="connsiteX83" fmla="*/ 167486 w 429494"/>
                <a:gd name="connsiteY83" fmla="*/ 216694 h 352425"/>
                <a:gd name="connsiteX84" fmla="*/ 165105 w 429494"/>
                <a:gd name="connsiteY84" fmla="*/ 197644 h 352425"/>
                <a:gd name="connsiteX85" fmla="*/ 157961 w 429494"/>
                <a:gd name="connsiteY85" fmla="*/ 200025 h 352425"/>
                <a:gd name="connsiteX86" fmla="*/ 141292 w 429494"/>
                <a:gd name="connsiteY86" fmla="*/ 197644 h 352425"/>
                <a:gd name="connsiteX87" fmla="*/ 134148 w 429494"/>
                <a:gd name="connsiteY87" fmla="*/ 200025 h 352425"/>
                <a:gd name="connsiteX88" fmla="*/ 122242 w 429494"/>
                <a:gd name="connsiteY88" fmla="*/ 202406 h 352425"/>
                <a:gd name="connsiteX89" fmla="*/ 115098 w 429494"/>
                <a:gd name="connsiteY89" fmla="*/ 200025 h 352425"/>
                <a:gd name="connsiteX90" fmla="*/ 119861 w 429494"/>
                <a:gd name="connsiteY90" fmla="*/ 178594 h 352425"/>
                <a:gd name="connsiteX91" fmla="*/ 117480 w 429494"/>
                <a:gd name="connsiteY91" fmla="*/ 171450 h 352425"/>
                <a:gd name="connsiteX92" fmla="*/ 110336 w 429494"/>
                <a:gd name="connsiteY92" fmla="*/ 169069 h 352425"/>
                <a:gd name="connsiteX93" fmla="*/ 107955 w 429494"/>
                <a:gd name="connsiteY93" fmla="*/ 159544 h 352425"/>
                <a:gd name="connsiteX94" fmla="*/ 84142 w 429494"/>
                <a:gd name="connsiteY94" fmla="*/ 152400 h 352425"/>
                <a:gd name="connsiteX95" fmla="*/ 60330 w 429494"/>
                <a:gd name="connsiteY95" fmla="*/ 152400 h 352425"/>
                <a:gd name="connsiteX96" fmla="*/ 65092 w 429494"/>
                <a:gd name="connsiteY96" fmla="*/ 138113 h 352425"/>
                <a:gd name="connsiteX97" fmla="*/ 41280 w 429494"/>
                <a:gd name="connsiteY97" fmla="*/ 116681 h 352425"/>
                <a:gd name="connsiteX98" fmla="*/ 22230 w 429494"/>
                <a:gd name="connsiteY98" fmla="*/ 100013 h 352425"/>
                <a:gd name="connsiteX99" fmla="*/ 15086 w 429494"/>
                <a:gd name="connsiteY99" fmla="*/ 95250 h 352425"/>
                <a:gd name="connsiteX100" fmla="*/ 7942 w 429494"/>
                <a:gd name="connsiteY100" fmla="*/ 90488 h 352425"/>
                <a:gd name="connsiteX101" fmla="*/ 3180 w 429494"/>
                <a:gd name="connsiteY101" fmla="*/ 83344 h 352425"/>
                <a:gd name="connsiteX102" fmla="*/ 3180 w 429494"/>
                <a:gd name="connsiteY102" fmla="*/ 52388 h 352425"/>
                <a:gd name="connsiteX103" fmla="*/ 17467 w 429494"/>
                <a:gd name="connsiteY103" fmla="*/ 42863 h 352425"/>
                <a:gd name="connsiteX104" fmla="*/ 22230 w 429494"/>
                <a:gd name="connsiteY104" fmla="*/ 35719 h 352425"/>
                <a:gd name="connsiteX105" fmla="*/ 36517 w 429494"/>
                <a:gd name="connsiteY105" fmla="*/ 28575 h 352425"/>
                <a:gd name="connsiteX106" fmla="*/ 43661 w 429494"/>
                <a:gd name="connsiteY106" fmla="*/ 21431 h 352425"/>
                <a:gd name="connsiteX107" fmla="*/ 50805 w 429494"/>
                <a:gd name="connsiteY107" fmla="*/ 19050 h 352425"/>
                <a:gd name="connsiteX108" fmla="*/ 86523 w 429494"/>
                <a:gd name="connsiteY108" fmla="*/ 19050 h 352425"/>
                <a:gd name="connsiteX0" fmla="*/ 86523 w 429494"/>
                <a:gd name="connsiteY0" fmla="*/ 19050 h 352425"/>
                <a:gd name="connsiteX1" fmla="*/ 98430 w 429494"/>
                <a:gd name="connsiteY1" fmla="*/ 28575 h 352425"/>
                <a:gd name="connsiteX2" fmla="*/ 100811 w 429494"/>
                <a:gd name="connsiteY2" fmla="*/ 35719 h 352425"/>
                <a:gd name="connsiteX3" fmla="*/ 115098 w 429494"/>
                <a:gd name="connsiteY3" fmla="*/ 33338 h 352425"/>
                <a:gd name="connsiteX4" fmla="*/ 122242 w 429494"/>
                <a:gd name="connsiteY4" fmla="*/ 30956 h 352425"/>
                <a:gd name="connsiteX5" fmla="*/ 129386 w 429494"/>
                <a:gd name="connsiteY5" fmla="*/ 26194 h 352425"/>
                <a:gd name="connsiteX6" fmla="*/ 148436 w 429494"/>
                <a:gd name="connsiteY6" fmla="*/ 30956 h 352425"/>
                <a:gd name="connsiteX7" fmla="*/ 162723 w 429494"/>
                <a:gd name="connsiteY7" fmla="*/ 38100 h 352425"/>
                <a:gd name="connsiteX8" fmla="*/ 181773 w 429494"/>
                <a:gd name="connsiteY8" fmla="*/ 33338 h 352425"/>
                <a:gd name="connsiteX9" fmla="*/ 188917 w 429494"/>
                <a:gd name="connsiteY9" fmla="*/ 28575 h 352425"/>
                <a:gd name="connsiteX10" fmla="*/ 212730 w 429494"/>
                <a:gd name="connsiteY10" fmla="*/ 33338 h 352425"/>
                <a:gd name="connsiteX11" fmla="*/ 215111 w 429494"/>
                <a:gd name="connsiteY11" fmla="*/ 26194 h 352425"/>
                <a:gd name="connsiteX12" fmla="*/ 222255 w 429494"/>
                <a:gd name="connsiteY12" fmla="*/ 4763 h 352425"/>
                <a:gd name="connsiteX13" fmla="*/ 229398 w 429494"/>
                <a:gd name="connsiteY13" fmla="*/ 2381 h 352425"/>
                <a:gd name="connsiteX14" fmla="*/ 236542 w 429494"/>
                <a:gd name="connsiteY14" fmla="*/ 7144 h 352425"/>
                <a:gd name="connsiteX15" fmla="*/ 250830 w 429494"/>
                <a:gd name="connsiteY15" fmla="*/ 0 h 352425"/>
                <a:gd name="connsiteX16" fmla="*/ 255592 w 429494"/>
                <a:gd name="connsiteY16" fmla="*/ 7144 h 352425"/>
                <a:gd name="connsiteX17" fmla="*/ 272261 w 429494"/>
                <a:gd name="connsiteY17" fmla="*/ 11906 h 352425"/>
                <a:gd name="connsiteX18" fmla="*/ 279405 w 429494"/>
                <a:gd name="connsiteY18" fmla="*/ 9525 h 352425"/>
                <a:gd name="connsiteX19" fmla="*/ 281786 w 429494"/>
                <a:gd name="connsiteY19" fmla="*/ 2381 h 352425"/>
                <a:gd name="connsiteX20" fmla="*/ 286548 w 429494"/>
                <a:gd name="connsiteY20" fmla="*/ 9525 h 352425"/>
                <a:gd name="connsiteX21" fmla="*/ 298455 w 429494"/>
                <a:gd name="connsiteY21" fmla="*/ 30956 h 352425"/>
                <a:gd name="connsiteX22" fmla="*/ 300836 w 429494"/>
                <a:gd name="connsiteY22" fmla="*/ 38100 h 352425"/>
                <a:gd name="connsiteX23" fmla="*/ 307980 w 429494"/>
                <a:gd name="connsiteY23" fmla="*/ 40481 h 352425"/>
                <a:gd name="connsiteX24" fmla="*/ 329411 w 429494"/>
                <a:gd name="connsiteY24" fmla="*/ 42863 h 352425"/>
                <a:gd name="connsiteX25" fmla="*/ 336555 w 429494"/>
                <a:gd name="connsiteY25" fmla="*/ 40481 h 352425"/>
                <a:gd name="connsiteX26" fmla="*/ 348461 w 429494"/>
                <a:gd name="connsiteY26" fmla="*/ 52388 h 352425"/>
                <a:gd name="connsiteX27" fmla="*/ 355605 w 429494"/>
                <a:gd name="connsiteY27" fmla="*/ 57150 h 352425"/>
                <a:gd name="connsiteX28" fmla="*/ 357986 w 429494"/>
                <a:gd name="connsiteY28" fmla="*/ 83344 h 352425"/>
                <a:gd name="connsiteX29" fmla="*/ 355605 w 429494"/>
                <a:gd name="connsiteY29" fmla="*/ 92869 h 352425"/>
                <a:gd name="connsiteX30" fmla="*/ 348461 w 429494"/>
                <a:gd name="connsiteY30" fmla="*/ 97631 h 352425"/>
                <a:gd name="connsiteX31" fmla="*/ 343698 w 429494"/>
                <a:gd name="connsiteY31" fmla="*/ 104775 h 352425"/>
                <a:gd name="connsiteX32" fmla="*/ 350842 w 429494"/>
                <a:gd name="connsiteY32" fmla="*/ 119063 h 352425"/>
                <a:gd name="connsiteX33" fmla="*/ 353223 w 429494"/>
                <a:gd name="connsiteY33" fmla="*/ 140494 h 352425"/>
                <a:gd name="connsiteX34" fmla="*/ 360367 w 429494"/>
                <a:gd name="connsiteY34" fmla="*/ 142875 h 352425"/>
                <a:gd name="connsiteX35" fmla="*/ 367511 w 429494"/>
                <a:gd name="connsiteY35" fmla="*/ 147638 h 352425"/>
                <a:gd name="connsiteX36" fmla="*/ 386561 w 429494"/>
                <a:gd name="connsiteY36" fmla="*/ 145256 h 352425"/>
                <a:gd name="connsiteX37" fmla="*/ 396086 w 429494"/>
                <a:gd name="connsiteY37" fmla="*/ 142875 h 352425"/>
                <a:gd name="connsiteX38" fmla="*/ 398467 w 429494"/>
                <a:gd name="connsiteY38" fmla="*/ 152400 h 352425"/>
                <a:gd name="connsiteX39" fmla="*/ 410373 w 429494"/>
                <a:gd name="connsiteY39" fmla="*/ 164306 h 352425"/>
                <a:gd name="connsiteX40" fmla="*/ 412755 w 429494"/>
                <a:gd name="connsiteY40" fmla="*/ 171450 h 352425"/>
                <a:gd name="connsiteX41" fmla="*/ 417517 w 429494"/>
                <a:gd name="connsiteY41" fmla="*/ 185738 h 352425"/>
                <a:gd name="connsiteX42" fmla="*/ 429423 w 429494"/>
                <a:gd name="connsiteY42" fmla="*/ 195263 h 352425"/>
                <a:gd name="connsiteX43" fmla="*/ 427042 w 429494"/>
                <a:gd name="connsiteY43" fmla="*/ 204788 h 352425"/>
                <a:gd name="connsiteX44" fmla="*/ 422280 w 429494"/>
                <a:gd name="connsiteY44" fmla="*/ 219075 h 352425"/>
                <a:gd name="connsiteX45" fmla="*/ 419898 w 429494"/>
                <a:gd name="connsiteY45" fmla="*/ 228600 h 352425"/>
                <a:gd name="connsiteX46" fmla="*/ 412755 w 429494"/>
                <a:gd name="connsiteY46" fmla="*/ 230981 h 352425"/>
                <a:gd name="connsiteX47" fmla="*/ 405611 w 429494"/>
                <a:gd name="connsiteY47" fmla="*/ 235744 h 352425"/>
                <a:gd name="connsiteX48" fmla="*/ 400848 w 429494"/>
                <a:gd name="connsiteY48" fmla="*/ 252413 h 352425"/>
                <a:gd name="connsiteX49" fmla="*/ 372273 w 429494"/>
                <a:gd name="connsiteY49" fmla="*/ 250031 h 352425"/>
                <a:gd name="connsiteX50" fmla="*/ 369892 w 429494"/>
                <a:gd name="connsiteY50" fmla="*/ 257175 h 352425"/>
                <a:gd name="connsiteX51" fmla="*/ 362748 w 429494"/>
                <a:gd name="connsiteY51" fmla="*/ 273844 h 352425"/>
                <a:gd name="connsiteX52" fmla="*/ 355605 w 429494"/>
                <a:gd name="connsiteY52" fmla="*/ 278606 h 352425"/>
                <a:gd name="connsiteX53" fmla="*/ 353223 w 429494"/>
                <a:gd name="connsiteY53" fmla="*/ 285750 h 352425"/>
                <a:gd name="connsiteX54" fmla="*/ 350842 w 429494"/>
                <a:gd name="connsiteY54" fmla="*/ 297656 h 352425"/>
                <a:gd name="connsiteX55" fmla="*/ 348461 w 429494"/>
                <a:gd name="connsiteY55" fmla="*/ 309563 h 352425"/>
                <a:gd name="connsiteX56" fmla="*/ 343698 w 429494"/>
                <a:gd name="connsiteY56" fmla="*/ 316706 h 352425"/>
                <a:gd name="connsiteX57" fmla="*/ 350842 w 429494"/>
                <a:gd name="connsiteY57" fmla="*/ 319088 h 352425"/>
                <a:gd name="connsiteX58" fmla="*/ 348461 w 429494"/>
                <a:gd name="connsiteY58" fmla="*/ 333375 h 352425"/>
                <a:gd name="connsiteX59" fmla="*/ 346080 w 429494"/>
                <a:gd name="connsiteY59" fmla="*/ 345281 h 352425"/>
                <a:gd name="connsiteX60" fmla="*/ 338936 w 429494"/>
                <a:gd name="connsiteY60" fmla="*/ 347663 h 352425"/>
                <a:gd name="connsiteX61" fmla="*/ 322267 w 429494"/>
                <a:gd name="connsiteY61" fmla="*/ 352425 h 352425"/>
                <a:gd name="connsiteX62" fmla="*/ 307980 w 429494"/>
                <a:gd name="connsiteY62" fmla="*/ 350044 h 352425"/>
                <a:gd name="connsiteX63" fmla="*/ 296073 w 429494"/>
                <a:gd name="connsiteY63" fmla="*/ 335756 h 352425"/>
                <a:gd name="connsiteX64" fmla="*/ 288930 w 429494"/>
                <a:gd name="connsiteY64" fmla="*/ 330994 h 352425"/>
                <a:gd name="connsiteX65" fmla="*/ 274642 w 429494"/>
                <a:gd name="connsiteY65" fmla="*/ 326231 h 352425"/>
                <a:gd name="connsiteX66" fmla="*/ 269880 w 429494"/>
                <a:gd name="connsiteY66" fmla="*/ 319088 h 352425"/>
                <a:gd name="connsiteX67" fmla="*/ 267498 w 429494"/>
                <a:gd name="connsiteY67" fmla="*/ 311944 h 352425"/>
                <a:gd name="connsiteX68" fmla="*/ 260355 w 429494"/>
                <a:gd name="connsiteY68" fmla="*/ 309563 h 352425"/>
                <a:gd name="connsiteX69" fmla="*/ 248448 w 429494"/>
                <a:gd name="connsiteY69" fmla="*/ 300038 h 352425"/>
                <a:gd name="connsiteX70" fmla="*/ 243686 w 429494"/>
                <a:gd name="connsiteY70" fmla="*/ 292894 h 352425"/>
                <a:gd name="connsiteX71" fmla="*/ 246067 w 429494"/>
                <a:gd name="connsiteY71" fmla="*/ 271463 h 352425"/>
                <a:gd name="connsiteX72" fmla="*/ 248448 w 429494"/>
                <a:gd name="connsiteY72" fmla="*/ 264319 h 352425"/>
                <a:gd name="connsiteX73" fmla="*/ 246067 w 429494"/>
                <a:gd name="connsiteY73" fmla="*/ 240506 h 352425"/>
                <a:gd name="connsiteX74" fmla="*/ 227017 w 429494"/>
                <a:gd name="connsiteY74" fmla="*/ 245269 h 352425"/>
                <a:gd name="connsiteX75" fmla="*/ 224636 w 429494"/>
                <a:gd name="connsiteY75" fmla="*/ 261938 h 352425"/>
                <a:gd name="connsiteX76" fmla="*/ 217492 w 429494"/>
                <a:gd name="connsiteY76" fmla="*/ 264319 h 352425"/>
                <a:gd name="connsiteX77" fmla="*/ 205586 w 429494"/>
                <a:gd name="connsiteY77" fmla="*/ 266700 h 352425"/>
                <a:gd name="connsiteX78" fmla="*/ 177011 w 429494"/>
                <a:gd name="connsiteY78" fmla="*/ 261938 h 352425"/>
                <a:gd name="connsiteX79" fmla="*/ 169867 w 429494"/>
                <a:gd name="connsiteY79" fmla="*/ 257175 h 352425"/>
                <a:gd name="connsiteX80" fmla="*/ 165105 w 429494"/>
                <a:gd name="connsiteY80" fmla="*/ 250031 h 352425"/>
                <a:gd name="connsiteX81" fmla="*/ 169867 w 429494"/>
                <a:gd name="connsiteY81" fmla="*/ 233363 h 352425"/>
                <a:gd name="connsiteX82" fmla="*/ 167486 w 429494"/>
                <a:gd name="connsiteY82" fmla="*/ 216694 h 352425"/>
                <a:gd name="connsiteX83" fmla="*/ 165105 w 429494"/>
                <a:gd name="connsiteY83" fmla="*/ 197644 h 352425"/>
                <a:gd name="connsiteX84" fmla="*/ 157961 w 429494"/>
                <a:gd name="connsiteY84" fmla="*/ 200025 h 352425"/>
                <a:gd name="connsiteX85" fmla="*/ 141292 w 429494"/>
                <a:gd name="connsiteY85" fmla="*/ 197644 h 352425"/>
                <a:gd name="connsiteX86" fmla="*/ 134148 w 429494"/>
                <a:gd name="connsiteY86" fmla="*/ 200025 h 352425"/>
                <a:gd name="connsiteX87" fmla="*/ 122242 w 429494"/>
                <a:gd name="connsiteY87" fmla="*/ 202406 h 352425"/>
                <a:gd name="connsiteX88" fmla="*/ 115098 w 429494"/>
                <a:gd name="connsiteY88" fmla="*/ 200025 h 352425"/>
                <a:gd name="connsiteX89" fmla="*/ 119861 w 429494"/>
                <a:gd name="connsiteY89" fmla="*/ 178594 h 352425"/>
                <a:gd name="connsiteX90" fmla="*/ 117480 w 429494"/>
                <a:gd name="connsiteY90" fmla="*/ 171450 h 352425"/>
                <a:gd name="connsiteX91" fmla="*/ 110336 w 429494"/>
                <a:gd name="connsiteY91" fmla="*/ 169069 h 352425"/>
                <a:gd name="connsiteX92" fmla="*/ 107955 w 429494"/>
                <a:gd name="connsiteY92" fmla="*/ 159544 h 352425"/>
                <a:gd name="connsiteX93" fmla="*/ 84142 w 429494"/>
                <a:gd name="connsiteY93" fmla="*/ 152400 h 352425"/>
                <a:gd name="connsiteX94" fmla="*/ 60330 w 429494"/>
                <a:gd name="connsiteY94" fmla="*/ 152400 h 352425"/>
                <a:gd name="connsiteX95" fmla="*/ 65092 w 429494"/>
                <a:gd name="connsiteY95" fmla="*/ 138113 h 352425"/>
                <a:gd name="connsiteX96" fmla="*/ 41280 w 429494"/>
                <a:gd name="connsiteY96" fmla="*/ 116681 h 352425"/>
                <a:gd name="connsiteX97" fmla="*/ 22230 w 429494"/>
                <a:gd name="connsiteY97" fmla="*/ 100013 h 352425"/>
                <a:gd name="connsiteX98" fmla="*/ 15086 w 429494"/>
                <a:gd name="connsiteY98" fmla="*/ 95250 h 352425"/>
                <a:gd name="connsiteX99" fmla="*/ 7942 w 429494"/>
                <a:gd name="connsiteY99" fmla="*/ 90488 h 352425"/>
                <a:gd name="connsiteX100" fmla="*/ 3180 w 429494"/>
                <a:gd name="connsiteY100" fmla="*/ 83344 h 352425"/>
                <a:gd name="connsiteX101" fmla="*/ 3180 w 429494"/>
                <a:gd name="connsiteY101" fmla="*/ 52388 h 352425"/>
                <a:gd name="connsiteX102" fmla="*/ 17467 w 429494"/>
                <a:gd name="connsiteY102" fmla="*/ 42863 h 352425"/>
                <a:gd name="connsiteX103" fmla="*/ 22230 w 429494"/>
                <a:gd name="connsiteY103" fmla="*/ 35719 h 352425"/>
                <a:gd name="connsiteX104" fmla="*/ 36517 w 429494"/>
                <a:gd name="connsiteY104" fmla="*/ 28575 h 352425"/>
                <a:gd name="connsiteX105" fmla="*/ 43661 w 429494"/>
                <a:gd name="connsiteY105" fmla="*/ 21431 h 352425"/>
                <a:gd name="connsiteX106" fmla="*/ 50805 w 429494"/>
                <a:gd name="connsiteY106" fmla="*/ 19050 h 352425"/>
                <a:gd name="connsiteX107" fmla="*/ 86523 w 429494"/>
                <a:gd name="connsiteY107" fmla="*/ 19050 h 352425"/>
                <a:gd name="connsiteX0" fmla="*/ 86523 w 429494"/>
                <a:gd name="connsiteY0" fmla="*/ 19050 h 352425"/>
                <a:gd name="connsiteX1" fmla="*/ 98430 w 429494"/>
                <a:gd name="connsiteY1" fmla="*/ 28575 h 352425"/>
                <a:gd name="connsiteX2" fmla="*/ 100811 w 429494"/>
                <a:gd name="connsiteY2" fmla="*/ 35719 h 352425"/>
                <a:gd name="connsiteX3" fmla="*/ 115098 w 429494"/>
                <a:gd name="connsiteY3" fmla="*/ 33338 h 352425"/>
                <a:gd name="connsiteX4" fmla="*/ 122242 w 429494"/>
                <a:gd name="connsiteY4" fmla="*/ 30956 h 352425"/>
                <a:gd name="connsiteX5" fmla="*/ 129386 w 429494"/>
                <a:gd name="connsiteY5" fmla="*/ 26194 h 352425"/>
                <a:gd name="connsiteX6" fmla="*/ 148436 w 429494"/>
                <a:gd name="connsiteY6" fmla="*/ 30956 h 352425"/>
                <a:gd name="connsiteX7" fmla="*/ 162723 w 429494"/>
                <a:gd name="connsiteY7" fmla="*/ 38100 h 352425"/>
                <a:gd name="connsiteX8" fmla="*/ 181773 w 429494"/>
                <a:gd name="connsiteY8" fmla="*/ 33338 h 352425"/>
                <a:gd name="connsiteX9" fmla="*/ 188917 w 429494"/>
                <a:gd name="connsiteY9" fmla="*/ 28575 h 352425"/>
                <a:gd name="connsiteX10" fmla="*/ 212730 w 429494"/>
                <a:gd name="connsiteY10" fmla="*/ 33338 h 352425"/>
                <a:gd name="connsiteX11" fmla="*/ 215111 w 429494"/>
                <a:gd name="connsiteY11" fmla="*/ 26194 h 352425"/>
                <a:gd name="connsiteX12" fmla="*/ 222255 w 429494"/>
                <a:gd name="connsiteY12" fmla="*/ 4763 h 352425"/>
                <a:gd name="connsiteX13" fmla="*/ 229398 w 429494"/>
                <a:gd name="connsiteY13" fmla="*/ 2381 h 352425"/>
                <a:gd name="connsiteX14" fmla="*/ 236542 w 429494"/>
                <a:gd name="connsiteY14" fmla="*/ 7144 h 352425"/>
                <a:gd name="connsiteX15" fmla="*/ 250830 w 429494"/>
                <a:gd name="connsiteY15" fmla="*/ 0 h 352425"/>
                <a:gd name="connsiteX16" fmla="*/ 255592 w 429494"/>
                <a:gd name="connsiteY16" fmla="*/ 7144 h 352425"/>
                <a:gd name="connsiteX17" fmla="*/ 272261 w 429494"/>
                <a:gd name="connsiteY17" fmla="*/ 11906 h 352425"/>
                <a:gd name="connsiteX18" fmla="*/ 279405 w 429494"/>
                <a:gd name="connsiteY18" fmla="*/ 9525 h 352425"/>
                <a:gd name="connsiteX19" fmla="*/ 281786 w 429494"/>
                <a:gd name="connsiteY19" fmla="*/ 2381 h 352425"/>
                <a:gd name="connsiteX20" fmla="*/ 286548 w 429494"/>
                <a:gd name="connsiteY20" fmla="*/ 9525 h 352425"/>
                <a:gd name="connsiteX21" fmla="*/ 298455 w 429494"/>
                <a:gd name="connsiteY21" fmla="*/ 30956 h 352425"/>
                <a:gd name="connsiteX22" fmla="*/ 300836 w 429494"/>
                <a:gd name="connsiteY22" fmla="*/ 38100 h 352425"/>
                <a:gd name="connsiteX23" fmla="*/ 307980 w 429494"/>
                <a:gd name="connsiteY23" fmla="*/ 40481 h 352425"/>
                <a:gd name="connsiteX24" fmla="*/ 329411 w 429494"/>
                <a:gd name="connsiteY24" fmla="*/ 42863 h 352425"/>
                <a:gd name="connsiteX25" fmla="*/ 336555 w 429494"/>
                <a:gd name="connsiteY25" fmla="*/ 40481 h 352425"/>
                <a:gd name="connsiteX26" fmla="*/ 348461 w 429494"/>
                <a:gd name="connsiteY26" fmla="*/ 52388 h 352425"/>
                <a:gd name="connsiteX27" fmla="*/ 355605 w 429494"/>
                <a:gd name="connsiteY27" fmla="*/ 57150 h 352425"/>
                <a:gd name="connsiteX28" fmla="*/ 357986 w 429494"/>
                <a:gd name="connsiteY28" fmla="*/ 83344 h 352425"/>
                <a:gd name="connsiteX29" fmla="*/ 355605 w 429494"/>
                <a:gd name="connsiteY29" fmla="*/ 92869 h 352425"/>
                <a:gd name="connsiteX30" fmla="*/ 348461 w 429494"/>
                <a:gd name="connsiteY30" fmla="*/ 97631 h 352425"/>
                <a:gd name="connsiteX31" fmla="*/ 350842 w 429494"/>
                <a:gd name="connsiteY31" fmla="*/ 119063 h 352425"/>
                <a:gd name="connsiteX32" fmla="*/ 353223 w 429494"/>
                <a:gd name="connsiteY32" fmla="*/ 140494 h 352425"/>
                <a:gd name="connsiteX33" fmla="*/ 360367 w 429494"/>
                <a:gd name="connsiteY33" fmla="*/ 142875 h 352425"/>
                <a:gd name="connsiteX34" fmla="*/ 367511 w 429494"/>
                <a:gd name="connsiteY34" fmla="*/ 147638 h 352425"/>
                <a:gd name="connsiteX35" fmla="*/ 386561 w 429494"/>
                <a:gd name="connsiteY35" fmla="*/ 145256 h 352425"/>
                <a:gd name="connsiteX36" fmla="*/ 396086 w 429494"/>
                <a:gd name="connsiteY36" fmla="*/ 142875 h 352425"/>
                <a:gd name="connsiteX37" fmla="*/ 398467 w 429494"/>
                <a:gd name="connsiteY37" fmla="*/ 152400 h 352425"/>
                <a:gd name="connsiteX38" fmla="*/ 410373 w 429494"/>
                <a:gd name="connsiteY38" fmla="*/ 164306 h 352425"/>
                <a:gd name="connsiteX39" fmla="*/ 412755 w 429494"/>
                <a:gd name="connsiteY39" fmla="*/ 171450 h 352425"/>
                <a:gd name="connsiteX40" fmla="*/ 417517 w 429494"/>
                <a:gd name="connsiteY40" fmla="*/ 185738 h 352425"/>
                <a:gd name="connsiteX41" fmla="*/ 429423 w 429494"/>
                <a:gd name="connsiteY41" fmla="*/ 195263 h 352425"/>
                <a:gd name="connsiteX42" fmla="*/ 427042 w 429494"/>
                <a:gd name="connsiteY42" fmla="*/ 204788 h 352425"/>
                <a:gd name="connsiteX43" fmla="*/ 422280 w 429494"/>
                <a:gd name="connsiteY43" fmla="*/ 219075 h 352425"/>
                <a:gd name="connsiteX44" fmla="*/ 419898 w 429494"/>
                <a:gd name="connsiteY44" fmla="*/ 228600 h 352425"/>
                <a:gd name="connsiteX45" fmla="*/ 412755 w 429494"/>
                <a:gd name="connsiteY45" fmla="*/ 230981 h 352425"/>
                <a:gd name="connsiteX46" fmla="*/ 405611 w 429494"/>
                <a:gd name="connsiteY46" fmla="*/ 235744 h 352425"/>
                <a:gd name="connsiteX47" fmla="*/ 400848 w 429494"/>
                <a:gd name="connsiteY47" fmla="*/ 252413 h 352425"/>
                <a:gd name="connsiteX48" fmla="*/ 372273 w 429494"/>
                <a:gd name="connsiteY48" fmla="*/ 250031 h 352425"/>
                <a:gd name="connsiteX49" fmla="*/ 369892 w 429494"/>
                <a:gd name="connsiteY49" fmla="*/ 257175 h 352425"/>
                <a:gd name="connsiteX50" fmla="*/ 362748 w 429494"/>
                <a:gd name="connsiteY50" fmla="*/ 273844 h 352425"/>
                <a:gd name="connsiteX51" fmla="*/ 355605 w 429494"/>
                <a:gd name="connsiteY51" fmla="*/ 278606 h 352425"/>
                <a:gd name="connsiteX52" fmla="*/ 353223 w 429494"/>
                <a:gd name="connsiteY52" fmla="*/ 285750 h 352425"/>
                <a:gd name="connsiteX53" fmla="*/ 350842 w 429494"/>
                <a:gd name="connsiteY53" fmla="*/ 297656 h 352425"/>
                <a:gd name="connsiteX54" fmla="*/ 348461 w 429494"/>
                <a:gd name="connsiteY54" fmla="*/ 309563 h 352425"/>
                <a:gd name="connsiteX55" fmla="*/ 343698 w 429494"/>
                <a:gd name="connsiteY55" fmla="*/ 316706 h 352425"/>
                <a:gd name="connsiteX56" fmla="*/ 350842 w 429494"/>
                <a:gd name="connsiteY56" fmla="*/ 319088 h 352425"/>
                <a:gd name="connsiteX57" fmla="*/ 348461 w 429494"/>
                <a:gd name="connsiteY57" fmla="*/ 333375 h 352425"/>
                <a:gd name="connsiteX58" fmla="*/ 346080 w 429494"/>
                <a:gd name="connsiteY58" fmla="*/ 345281 h 352425"/>
                <a:gd name="connsiteX59" fmla="*/ 338936 w 429494"/>
                <a:gd name="connsiteY59" fmla="*/ 347663 h 352425"/>
                <a:gd name="connsiteX60" fmla="*/ 322267 w 429494"/>
                <a:gd name="connsiteY60" fmla="*/ 352425 h 352425"/>
                <a:gd name="connsiteX61" fmla="*/ 307980 w 429494"/>
                <a:gd name="connsiteY61" fmla="*/ 350044 h 352425"/>
                <a:gd name="connsiteX62" fmla="*/ 296073 w 429494"/>
                <a:gd name="connsiteY62" fmla="*/ 335756 h 352425"/>
                <a:gd name="connsiteX63" fmla="*/ 288930 w 429494"/>
                <a:gd name="connsiteY63" fmla="*/ 330994 h 352425"/>
                <a:gd name="connsiteX64" fmla="*/ 274642 w 429494"/>
                <a:gd name="connsiteY64" fmla="*/ 326231 h 352425"/>
                <a:gd name="connsiteX65" fmla="*/ 269880 w 429494"/>
                <a:gd name="connsiteY65" fmla="*/ 319088 h 352425"/>
                <a:gd name="connsiteX66" fmla="*/ 267498 w 429494"/>
                <a:gd name="connsiteY66" fmla="*/ 311944 h 352425"/>
                <a:gd name="connsiteX67" fmla="*/ 260355 w 429494"/>
                <a:gd name="connsiteY67" fmla="*/ 309563 h 352425"/>
                <a:gd name="connsiteX68" fmla="*/ 248448 w 429494"/>
                <a:gd name="connsiteY68" fmla="*/ 300038 h 352425"/>
                <a:gd name="connsiteX69" fmla="*/ 243686 w 429494"/>
                <a:gd name="connsiteY69" fmla="*/ 292894 h 352425"/>
                <a:gd name="connsiteX70" fmla="*/ 246067 w 429494"/>
                <a:gd name="connsiteY70" fmla="*/ 271463 h 352425"/>
                <a:gd name="connsiteX71" fmla="*/ 248448 w 429494"/>
                <a:gd name="connsiteY71" fmla="*/ 264319 h 352425"/>
                <a:gd name="connsiteX72" fmla="*/ 246067 w 429494"/>
                <a:gd name="connsiteY72" fmla="*/ 240506 h 352425"/>
                <a:gd name="connsiteX73" fmla="*/ 227017 w 429494"/>
                <a:gd name="connsiteY73" fmla="*/ 245269 h 352425"/>
                <a:gd name="connsiteX74" fmla="*/ 224636 w 429494"/>
                <a:gd name="connsiteY74" fmla="*/ 261938 h 352425"/>
                <a:gd name="connsiteX75" fmla="*/ 217492 w 429494"/>
                <a:gd name="connsiteY75" fmla="*/ 264319 h 352425"/>
                <a:gd name="connsiteX76" fmla="*/ 205586 w 429494"/>
                <a:gd name="connsiteY76" fmla="*/ 266700 h 352425"/>
                <a:gd name="connsiteX77" fmla="*/ 177011 w 429494"/>
                <a:gd name="connsiteY77" fmla="*/ 261938 h 352425"/>
                <a:gd name="connsiteX78" fmla="*/ 169867 w 429494"/>
                <a:gd name="connsiteY78" fmla="*/ 257175 h 352425"/>
                <a:gd name="connsiteX79" fmla="*/ 165105 w 429494"/>
                <a:gd name="connsiteY79" fmla="*/ 250031 h 352425"/>
                <a:gd name="connsiteX80" fmla="*/ 169867 w 429494"/>
                <a:gd name="connsiteY80" fmla="*/ 233363 h 352425"/>
                <a:gd name="connsiteX81" fmla="*/ 167486 w 429494"/>
                <a:gd name="connsiteY81" fmla="*/ 216694 h 352425"/>
                <a:gd name="connsiteX82" fmla="*/ 165105 w 429494"/>
                <a:gd name="connsiteY82" fmla="*/ 197644 h 352425"/>
                <a:gd name="connsiteX83" fmla="*/ 157961 w 429494"/>
                <a:gd name="connsiteY83" fmla="*/ 200025 h 352425"/>
                <a:gd name="connsiteX84" fmla="*/ 141292 w 429494"/>
                <a:gd name="connsiteY84" fmla="*/ 197644 h 352425"/>
                <a:gd name="connsiteX85" fmla="*/ 134148 w 429494"/>
                <a:gd name="connsiteY85" fmla="*/ 200025 h 352425"/>
                <a:gd name="connsiteX86" fmla="*/ 122242 w 429494"/>
                <a:gd name="connsiteY86" fmla="*/ 202406 h 352425"/>
                <a:gd name="connsiteX87" fmla="*/ 115098 w 429494"/>
                <a:gd name="connsiteY87" fmla="*/ 200025 h 352425"/>
                <a:gd name="connsiteX88" fmla="*/ 119861 w 429494"/>
                <a:gd name="connsiteY88" fmla="*/ 178594 h 352425"/>
                <a:gd name="connsiteX89" fmla="*/ 117480 w 429494"/>
                <a:gd name="connsiteY89" fmla="*/ 171450 h 352425"/>
                <a:gd name="connsiteX90" fmla="*/ 110336 w 429494"/>
                <a:gd name="connsiteY90" fmla="*/ 169069 h 352425"/>
                <a:gd name="connsiteX91" fmla="*/ 107955 w 429494"/>
                <a:gd name="connsiteY91" fmla="*/ 159544 h 352425"/>
                <a:gd name="connsiteX92" fmla="*/ 84142 w 429494"/>
                <a:gd name="connsiteY92" fmla="*/ 152400 h 352425"/>
                <a:gd name="connsiteX93" fmla="*/ 60330 w 429494"/>
                <a:gd name="connsiteY93" fmla="*/ 152400 h 352425"/>
                <a:gd name="connsiteX94" fmla="*/ 65092 w 429494"/>
                <a:gd name="connsiteY94" fmla="*/ 138113 h 352425"/>
                <a:gd name="connsiteX95" fmla="*/ 41280 w 429494"/>
                <a:gd name="connsiteY95" fmla="*/ 116681 h 352425"/>
                <a:gd name="connsiteX96" fmla="*/ 22230 w 429494"/>
                <a:gd name="connsiteY96" fmla="*/ 100013 h 352425"/>
                <a:gd name="connsiteX97" fmla="*/ 15086 w 429494"/>
                <a:gd name="connsiteY97" fmla="*/ 95250 h 352425"/>
                <a:gd name="connsiteX98" fmla="*/ 7942 w 429494"/>
                <a:gd name="connsiteY98" fmla="*/ 90488 h 352425"/>
                <a:gd name="connsiteX99" fmla="*/ 3180 w 429494"/>
                <a:gd name="connsiteY99" fmla="*/ 83344 h 352425"/>
                <a:gd name="connsiteX100" fmla="*/ 3180 w 429494"/>
                <a:gd name="connsiteY100" fmla="*/ 52388 h 352425"/>
                <a:gd name="connsiteX101" fmla="*/ 17467 w 429494"/>
                <a:gd name="connsiteY101" fmla="*/ 42863 h 352425"/>
                <a:gd name="connsiteX102" fmla="*/ 22230 w 429494"/>
                <a:gd name="connsiteY102" fmla="*/ 35719 h 352425"/>
                <a:gd name="connsiteX103" fmla="*/ 36517 w 429494"/>
                <a:gd name="connsiteY103" fmla="*/ 28575 h 352425"/>
                <a:gd name="connsiteX104" fmla="*/ 43661 w 429494"/>
                <a:gd name="connsiteY104" fmla="*/ 21431 h 352425"/>
                <a:gd name="connsiteX105" fmla="*/ 50805 w 429494"/>
                <a:gd name="connsiteY105" fmla="*/ 19050 h 352425"/>
                <a:gd name="connsiteX106" fmla="*/ 86523 w 429494"/>
                <a:gd name="connsiteY106" fmla="*/ 19050 h 352425"/>
                <a:gd name="connsiteX0" fmla="*/ 86523 w 429494"/>
                <a:gd name="connsiteY0" fmla="*/ 19050 h 352425"/>
                <a:gd name="connsiteX1" fmla="*/ 98430 w 429494"/>
                <a:gd name="connsiteY1" fmla="*/ 28575 h 352425"/>
                <a:gd name="connsiteX2" fmla="*/ 100811 w 429494"/>
                <a:gd name="connsiteY2" fmla="*/ 35719 h 352425"/>
                <a:gd name="connsiteX3" fmla="*/ 115098 w 429494"/>
                <a:gd name="connsiteY3" fmla="*/ 33338 h 352425"/>
                <a:gd name="connsiteX4" fmla="*/ 122242 w 429494"/>
                <a:gd name="connsiteY4" fmla="*/ 30956 h 352425"/>
                <a:gd name="connsiteX5" fmla="*/ 129386 w 429494"/>
                <a:gd name="connsiteY5" fmla="*/ 26194 h 352425"/>
                <a:gd name="connsiteX6" fmla="*/ 148436 w 429494"/>
                <a:gd name="connsiteY6" fmla="*/ 30956 h 352425"/>
                <a:gd name="connsiteX7" fmla="*/ 162723 w 429494"/>
                <a:gd name="connsiteY7" fmla="*/ 38100 h 352425"/>
                <a:gd name="connsiteX8" fmla="*/ 181773 w 429494"/>
                <a:gd name="connsiteY8" fmla="*/ 33338 h 352425"/>
                <a:gd name="connsiteX9" fmla="*/ 188917 w 429494"/>
                <a:gd name="connsiteY9" fmla="*/ 28575 h 352425"/>
                <a:gd name="connsiteX10" fmla="*/ 212730 w 429494"/>
                <a:gd name="connsiteY10" fmla="*/ 33338 h 352425"/>
                <a:gd name="connsiteX11" fmla="*/ 215111 w 429494"/>
                <a:gd name="connsiteY11" fmla="*/ 26194 h 352425"/>
                <a:gd name="connsiteX12" fmla="*/ 222255 w 429494"/>
                <a:gd name="connsiteY12" fmla="*/ 4763 h 352425"/>
                <a:gd name="connsiteX13" fmla="*/ 229398 w 429494"/>
                <a:gd name="connsiteY13" fmla="*/ 2381 h 352425"/>
                <a:gd name="connsiteX14" fmla="*/ 236542 w 429494"/>
                <a:gd name="connsiteY14" fmla="*/ 7144 h 352425"/>
                <a:gd name="connsiteX15" fmla="*/ 250830 w 429494"/>
                <a:gd name="connsiteY15" fmla="*/ 0 h 352425"/>
                <a:gd name="connsiteX16" fmla="*/ 255592 w 429494"/>
                <a:gd name="connsiteY16" fmla="*/ 7144 h 352425"/>
                <a:gd name="connsiteX17" fmla="*/ 272261 w 429494"/>
                <a:gd name="connsiteY17" fmla="*/ 11906 h 352425"/>
                <a:gd name="connsiteX18" fmla="*/ 279405 w 429494"/>
                <a:gd name="connsiteY18" fmla="*/ 9525 h 352425"/>
                <a:gd name="connsiteX19" fmla="*/ 281786 w 429494"/>
                <a:gd name="connsiteY19" fmla="*/ 2381 h 352425"/>
                <a:gd name="connsiteX20" fmla="*/ 286548 w 429494"/>
                <a:gd name="connsiteY20" fmla="*/ 9525 h 352425"/>
                <a:gd name="connsiteX21" fmla="*/ 298455 w 429494"/>
                <a:gd name="connsiteY21" fmla="*/ 30956 h 352425"/>
                <a:gd name="connsiteX22" fmla="*/ 300836 w 429494"/>
                <a:gd name="connsiteY22" fmla="*/ 38100 h 352425"/>
                <a:gd name="connsiteX23" fmla="*/ 307980 w 429494"/>
                <a:gd name="connsiteY23" fmla="*/ 40481 h 352425"/>
                <a:gd name="connsiteX24" fmla="*/ 329411 w 429494"/>
                <a:gd name="connsiteY24" fmla="*/ 42863 h 352425"/>
                <a:gd name="connsiteX25" fmla="*/ 336555 w 429494"/>
                <a:gd name="connsiteY25" fmla="*/ 40481 h 352425"/>
                <a:gd name="connsiteX26" fmla="*/ 348461 w 429494"/>
                <a:gd name="connsiteY26" fmla="*/ 52388 h 352425"/>
                <a:gd name="connsiteX27" fmla="*/ 355605 w 429494"/>
                <a:gd name="connsiteY27" fmla="*/ 57150 h 352425"/>
                <a:gd name="connsiteX28" fmla="*/ 357986 w 429494"/>
                <a:gd name="connsiteY28" fmla="*/ 83344 h 352425"/>
                <a:gd name="connsiteX29" fmla="*/ 355605 w 429494"/>
                <a:gd name="connsiteY29" fmla="*/ 92869 h 352425"/>
                <a:gd name="connsiteX30" fmla="*/ 350842 w 429494"/>
                <a:gd name="connsiteY30" fmla="*/ 119063 h 352425"/>
                <a:gd name="connsiteX31" fmla="*/ 353223 w 429494"/>
                <a:gd name="connsiteY31" fmla="*/ 140494 h 352425"/>
                <a:gd name="connsiteX32" fmla="*/ 360367 w 429494"/>
                <a:gd name="connsiteY32" fmla="*/ 142875 h 352425"/>
                <a:gd name="connsiteX33" fmla="*/ 367511 w 429494"/>
                <a:gd name="connsiteY33" fmla="*/ 147638 h 352425"/>
                <a:gd name="connsiteX34" fmla="*/ 386561 w 429494"/>
                <a:gd name="connsiteY34" fmla="*/ 145256 h 352425"/>
                <a:gd name="connsiteX35" fmla="*/ 396086 w 429494"/>
                <a:gd name="connsiteY35" fmla="*/ 142875 h 352425"/>
                <a:gd name="connsiteX36" fmla="*/ 398467 w 429494"/>
                <a:gd name="connsiteY36" fmla="*/ 152400 h 352425"/>
                <a:gd name="connsiteX37" fmla="*/ 410373 w 429494"/>
                <a:gd name="connsiteY37" fmla="*/ 164306 h 352425"/>
                <a:gd name="connsiteX38" fmla="*/ 412755 w 429494"/>
                <a:gd name="connsiteY38" fmla="*/ 171450 h 352425"/>
                <a:gd name="connsiteX39" fmla="*/ 417517 w 429494"/>
                <a:gd name="connsiteY39" fmla="*/ 185738 h 352425"/>
                <a:gd name="connsiteX40" fmla="*/ 429423 w 429494"/>
                <a:gd name="connsiteY40" fmla="*/ 195263 h 352425"/>
                <a:gd name="connsiteX41" fmla="*/ 427042 w 429494"/>
                <a:gd name="connsiteY41" fmla="*/ 204788 h 352425"/>
                <a:gd name="connsiteX42" fmla="*/ 422280 w 429494"/>
                <a:gd name="connsiteY42" fmla="*/ 219075 h 352425"/>
                <a:gd name="connsiteX43" fmla="*/ 419898 w 429494"/>
                <a:gd name="connsiteY43" fmla="*/ 228600 h 352425"/>
                <a:gd name="connsiteX44" fmla="*/ 412755 w 429494"/>
                <a:gd name="connsiteY44" fmla="*/ 230981 h 352425"/>
                <a:gd name="connsiteX45" fmla="*/ 405611 w 429494"/>
                <a:gd name="connsiteY45" fmla="*/ 235744 h 352425"/>
                <a:gd name="connsiteX46" fmla="*/ 400848 w 429494"/>
                <a:gd name="connsiteY46" fmla="*/ 252413 h 352425"/>
                <a:gd name="connsiteX47" fmla="*/ 372273 w 429494"/>
                <a:gd name="connsiteY47" fmla="*/ 250031 h 352425"/>
                <a:gd name="connsiteX48" fmla="*/ 369892 w 429494"/>
                <a:gd name="connsiteY48" fmla="*/ 257175 h 352425"/>
                <a:gd name="connsiteX49" fmla="*/ 362748 w 429494"/>
                <a:gd name="connsiteY49" fmla="*/ 273844 h 352425"/>
                <a:gd name="connsiteX50" fmla="*/ 355605 w 429494"/>
                <a:gd name="connsiteY50" fmla="*/ 278606 h 352425"/>
                <a:gd name="connsiteX51" fmla="*/ 353223 w 429494"/>
                <a:gd name="connsiteY51" fmla="*/ 285750 h 352425"/>
                <a:gd name="connsiteX52" fmla="*/ 350842 w 429494"/>
                <a:gd name="connsiteY52" fmla="*/ 297656 h 352425"/>
                <a:gd name="connsiteX53" fmla="*/ 348461 w 429494"/>
                <a:gd name="connsiteY53" fmla="*/ 309563 h 352425"/>
                <a:gd name="connsiteX54" fmla="*/ 343698 w 429494"/>
                <a:gd name="connsiteY54" fmla="*/ 316706 h 352425"/>
                <a:gd name="connsiteX55" fmla="*/ 350842 w 429494"/>
                <a:gd name="connsiteY55" fmla="*/ 319088 h 352425"/>
                <a:gd name="connsiteX56" fmla="*/ 348461 w 429494"/>
                <a:gd name="connsiteY56" fmla="*/ 333375 h 352425"/>
                <a:gd name="connsiteX57" fmla="*/ 346080 w 429494"/>
                <a:gd name="connsiteY57" fmla="*/ 345281 h 352425"/>
                <a:gd name="connsiteX58" fmla="*/ 338936 w 429494"/>
                <a:gd name="connsiteY58" fmla="*/ 347663 h 352425"/>
                <a:gd name="connsiteX59" fmla="*/ 322267 w 429494"/>
                <a:gd name="connsiteY59" fmla="*/ 352425 h 352425"/>
                <a:gd name="connsiteX60" fmla="*/ 307980 w 429494"/>
                <a:gd name="connsiteY60" fmla="*/ 350044 h 352425"/>
                <a:gd name="connsiteX61" fmla="*/ 296073 w 429494"/>
                <a:gd name="connsiteY61" fmla="*/ 335756 h 352425"/>
                <a:gd name="connsiteX62" fmla="*/ 288930 w 429494"/>
                <a:gd name="connsiteY62" fmla="*/ 330994 h 352425"/>
                <a:gd name="connsiteX63" fmla="*/ 274642 w 429494"/>
                <a:gd name="connsiteY63" fmla="*/ 326231 h 352425"/>
                <a:gd name="connsiteX64" fmla="*/ 269880 w 429494"/>
                <a:gd name="connsiteY64" fmla="*/ 319088 h 352425"/>
                <a:gd name="connsiteX65" fmla="*/ 267498 w 429494"/>
                <a:gd name="connsiteY65" fmla="*/ 311944 h 352425"/>
                <a:gd name="connsiteX66" fmla="*/ 260355 w 429494"/>
                <a:gd name="connsiteY66" fmla="*/ 309563 h 352425"/>
                <a:gd name="connsiteX67" fmla="*/ 248448 w 429494"/>
                <a:gd name="connsiteY67" fmla="*/ 300038 h 352425"/>
                <a:gd name="connsiteX68" fmla="*/ 243686 w 429494"/>
                <a:gd name="connsiteY68" fmla="*/ 292894 h 352425"/>
                <a:gd name="connsiteX69" fmla="*/ 246067 w 429494"/>
                <a:gd name="connsiteY69" fmla="*/ 271463 h 352425"/>
                <a:gd name="connsiteX70" fmla="*/ 248448 w 429494"/>
                <a:gd name="connsiteY70" fmla="*/ 264319 h 352425"/>
                <a:gd name="connsiteX71" fmla="*/ 246067 w 429494"/>
                <a:gd name="connsiteY71" fmla="*/ 240506 h 352425"/>
                <a:gd name="connsiteX72" fmla="*/ 227017 w 429494"/>
                <a:gd name="connsiteY72" fmla="*/ 245269 h 352425"/>
                <a:gd name="connsiteX73" fmla="*/ 224636 w 429494"/>
                <a:gd name="connsiteY73" fmla="*/ 261938 h 352425"/>
                <a:gd name="connsiteX74" fmla="*/ 217492 w 429494"/>
                <a:gd name="connsiteY74" fmla="*/ 264319 h 352425"/>
                <a:gd name="connsiteX75" fmla="*/ 205586 w 429494"/>
                <a:gd name="connsiteY75" fmla="*/ 266700 h 352425"/>
                <a:gd name="connsiteX76" fmla="*/ 177011 w 429494"/>
                <a:gd name="connsiteY76" fmla="*/ 261938 h 352425"/>
                <a:gd name="connsiteX77" fmla="*/ 169867 w 429494"/>
                <a:gd name="connsiteY77" fmla="*/ 257175 h 352425"/>
                <a:gd name="connsiteX78" fmla="*/ 165105 w 429494"/>
                <a:gd name="connsiteY78" fmla="*/ 250031 h 352425"/>
                <a:gd name="connsiteX79" fmla="*/ 169867 w 429494"/>
                <a:gd name="connsiteY79" fmla="*/ 233363 h 352425"/>
                <a:gd name="connsiteX80" fmla="*/ 167486 w 429494"/>
                <a:gd name="connsiteY80" fmla="*/ 216694 h 352425"/>
                <a:gd name="connsiteX81" fmla="*/ 165105 w 429494"/>
                <a:gd name="connsiteY81" fmla="*/ 197644 h 352425"/>
                <a:gd name="connsiteX82" fmla="*/ 157961 w 429494"/>
                <a:gd name="connsiteY82" fmla="*/ 200025 h 352425"/>
                <a:gd name="connsiteX83" fmla="*/ 141292 w 429494"/>
                <a:gd name="connsiteY83" fmla="*/ 197644 h 352425"/>
                <a:gd name="connsiteX84" fmla="*/ 134148 w 429494"/>
                <a:gd name="connsiteY84" fmla="*/ 200025 h 352425"/>
                <a:gd name="connsiteX85" fmla="*/ 122242 w 429494"/>
                <a:gd name="connsiteY85" fmla="*/ 202406 h 352425"/>
                <a:gd name="connsiteX86" fmla="*/ 115098 w 429494"/>
                <a:gd name="connsiteY86" fmla="*/ 200025 h 352425"/>
                <a:gd name="connsiteX87" fmla="*/ 119861 w 429494"/>
                <a:gd name="connsiteY87" fmla="*/ 178594 h 352425"/>
                <a:gd name="connsiteX88" fmla="*/ 117480 w 429494"/>
                <a:gd name="connsiteY88" fmla="*/ 171450 h 352425"/>
                <a:gd name="connsiteX89" fmla="*/ 110336 w 429494"/>
                <a:gd name="connsiteY89" fmla="*/ 169069 h 352425"/>
                <a:gd name="connsiteX90" fmla="*/ 107955 w 429494"/>
                <a:gd name="connsiteY90" fmla="*/ 159544 h 352425"/>
                <a:gd name="connsiteX91" fmla="*/ 84142 w 429494"/>
                <a:gd name="connsiteY91" fmla="*/ 152400 h 352425"/>
                <a:gd name="connsiteX92" fmla="*/ 60330 w 429494"/>
                <a:gd name="connsiteY92" fmla="*/ 152400 h 352425"/>
                <a:gd name="connsiteX93" fmla="*/ 65092 w 429494"/>
                <a:gd name="connsiteY93" fmla="*/ 138113 h 352425"/>
                <a:gd name="connsiteX94" fmla="*/ 41280 w 429494"/>
                <a:gd name="connsiteY94" fmla="*/ 116681 h 352425"/>
                <a:gd name="connsiteX95" fmla="*/ 22230 w 429494"/>
                <a:gd name="connsiteY95" fmla="*/ 100013 h 352425"/>
                <a:gd name="connsiteX96" fmla="*/ 15086 w 429494"/>
                <a:gd name="connsiteY96" fmla="*/ 95250 h 352425"/>
                <a:gd name="connsiteX97" fmla="*/ 7942 w 429494"/>
                <a:gd name="connsiteY97" fmla="*/ 90488 h 352425"/>
                <a:gd name="connsiteX98" fmla="*/ 3180 w 429494"/>
                <a:gd name="connsiteY98" fmla="*/ 83344 h 352425"/>
                <a:gd name="connsiteX99" fmla="*/ 3180 w 429494"/>
                <a:gd name="connsiteY99" fmla="*/ 52388 h 352425"/>
                <a:gd name="connsiteX100" fmla="*/ 17467 w 429494"/>
                <a:gd name="connsiteY100" fmla="*/ 42863 h 352425"/>
                <a:gd name="connsiteX101" fmla="*/ 22230 w 429494"/>
                <a:gd name="connsiteY101" fmla="*/ 35719 h 352425"/>
                <a:gd name="connsiteX102" fmla="*/ 36517 w 429494"/>
                <a:gd name="connsiteY102" fmla="*/ 28575 h 352425"/>
                <a:gd name="connsiteX103" fmla="*/ 43661 w 429494"/>
                <a:gd name="connsiteY103" fmla="*/ 21431 h 352425"/>
                <a:gd name="connsiteX104" fmla="*/ 50805 w 429494"/>
                <a:gd name="connsiteY104" fmla="*/ 19050 h 352425"/>
                <a:gd name="connsiteX105" fmla="*/ 86523 w 429494"/>
                <a:gd name="connsiteY105" fmla="*/ 19050 h 352425"/>
                <a:gd name="connsiteX0" fmla="*/ 86523 w 429494"/>
                <a:gd name="connsiteY0" fmla="*/ 19050 h 352425"/>
                <a:gd name="connsiteX1" fmla="*/ 98430 w 429494"/>
                <a:gd name="connsiteY1" fmla="*/ 28575 h 352425"/>
                <a:gd name="connsiteX2" fmla="*/ 100811 w 429494"/>
                <a:gd name="connsiteY2" fmla="*/ 35719 h 352425"/>
                <a:gd name="connsiteX3" fmla="*/ 115098 w 429494"/>
                <a:gd name="connsiteY3" fmla="*/ 33338 h 352425"/>
                <a:gd name="connsiteX4" fmla="*/ 122242 w 429494"/>
                <a:gd name="connsiteY4" fmla="*/ 30956 h 352425"/>
                <a:gd name="connsiteX5" fmla="*/ 129386 w 429494"/>
                <a:gd name="connsiteY5" fmla="*/ 26194 h 352425"/>
                <a:gd name="connsiteX6" fmla="*/ 148436 w 429494"/>
                <a:gd name="connsiteY6" fmla="*/ 30956 h 352425"/>
                <a:gd name="connsiteX7" fmla="*/ 162723 w 429494"/>
                <a:gd name="connsiteY7" fmla="*/ 38100 h 352425"/>
                <a:gd name="connsiteX8" fmla="*/ 181773 w 429494"/>
                <a:gd name="connsiteY8" fmla="*/ 33338 h 352425"/>
                <a:gd name="connsiteX9" fmla="*/ 188917 w 429494"/>
                <a:gd name="connsiteY9" fmla="*/ 28575 h 352425"/>
                <a:gd name="connsiteX10" fmla="*/ 212730 w 429494"/>
                <a:gd name="connsiteY10" fmla="*/ 33338 h 352425"/>
                <a:gd name="connsiteX11" fmla="*/ 215111 w 429494"/>
                <a:gd name="connsiteY11" fmla="*/ 26194 h 352425"/>
                <a:gd name="connsiteX12" fmla="*/ 222255 w 429494"/>
                <a:gd name="connsiteY12" fmla="*/ 4763 h 352425"/>
                <a:gd name="connsiteX13" fmla="*/ 229398 w 429494"/>
                <a:gd name="connsiteY13" fmla="*/ 2381 h 352425"/>
                <a:gd name="connsiteX14" fmla="*/ 236542 w 429494"/>
                <a:gd name="connsiteY14" fmla="*/ 7144 h 352425"/>
                <a:gd name="connsiteX15" fmla="*/ 250830 w 429494"/>
                <a:gd name="connsiteY15" fmla="*/ 0 h 352425"/>
                <a:gd name="connsiteX16" fmla="*/ 255592 w 429494"/>
                <a:gd name="connsiteY16" fmla="*/ 7144 h 352425"/>
                <a:gd name="connsiteX17" fmla="*/ 272261 w 429494"/>
                <a:gd name="connsiteY17" fmla="*/ 11906 h 352425"/>
                <a:gd name="connsiteX18" fmla="*/ 279405 w 429494"/>
                <a:gd name="connsiteY18" fmla="*/ 9525 h 352425"/>
                <a:gd name="connsiteX19" fmla="*/ 281786 w 429494"/>
                <a:gd name="connsiteY19" fmla="*/ 2381 h 352425"/>
                <a:gd name="connsiteX20" fmla="*/ 286548 w 429494"/>
                <a:gd name="connsiteY20" fmla="*/ 9525 h 352425"/>
                <a:gd name="connsiteX21" fmla="*/ 298455 w 429494"/>
                <a:gd name="connsiteY21" fmla="*/ 30956 h 352425"/>
                <a:gd name="connsiteX22" fmla="*/ 300836 w 429494"/>
                <a:gd name="connsiteY22" fmla="*/ 38100 h 352425"/>
                <a:gd name="connsiteX23" fmla="*/ 307980 w 429494"/>
                <a:gd name="connsiteY23" fmla="*/ 40481 h 352425"/>
                <a:gd name="connsiteX24" fmla="*/ 329411 w 429494"/>
                <a:gd name="connsiteY24" fmla="*/ 42863 h 352425"/>
                <a:gd name="connsiteX25" fmla="*/ 336555 w 429494"/>
                <a:gd name="connsiteY25" fmla="*/ 40481 h 352425"/>
                <a:gd name="connsiteX26" fmla="*/ 348461 w 429494"/>
                <a:gd name="connsiteY26" fmla="*/ 52388 h 352425"/>
                <a:gd name="connsiteX27" fmla="*/ 355605 w 429494"/>
                <a:gd name="connsiteY27" fmla="*/ 57150 h 352425"/>
                <a:gd name="connsiteX28" fmla="*/ 357986 w 429494"/>
                <a:gd name="connsiteY28" fmla="*/ 83344 h 352425"/>
                <a:gd name="connsiteX29" fmla="*/ 355605 w 429494"/>
                <a:gd name="connsiteY29" fmla="*/ 92869 h 352425"/>
                <a:gd name="connsiteX30" fmla="*/ 353223 w 429494"/>
                <a:gd name="connsiteY30" fmla="*/ 140494 h 352425"/>
                <a:gd name="connsiteX31" fmla="*/ 360367 w 429494"/>
                <a:gd name="connsiteY31" fmla="*/ 142875 h 352425"/>
                <a:gd name="connsiteX32" fmla="*/ 367511 w 429494"/>
                <a:gd name="connsiteY32" fmla="*/ 147638 h 352425"/>
                <a:gd name="connsiteX33" fmla="*/ 386561 w 429494"/>
                <a:gd name="connsiteY33" fmla="*/ 145256 h 352425"/>
                <a:gd name="connsiteX34" fmla="*/ 396086 w 429494"/>
                <a:gd name="connsiteY34" fmla="*/ 142875 h 352425"/>
                <a:gd name="connsiteX35" fmla="*/ 398467 w 429494"/>
                <a:gd name="connsiteY35" fmla="*/ 152400 h 352425"/>
                <a:gd name="connsiteX36" fmla="*/ 410373 w 429494"/>
                <a:gd name="connsiteY36" fmla="*/ 164306 h 352425"/>
                <a:gd name="connsiteX37" fmla="*/ 412755 w 429494"/>
                <a:gd name="connsiteY37" fmla="*/ 171450 h 352425"/>
                <a:gd name="connsiteX38" fmla="*/ 417517 w 429494"/>
                <a:gd name="connsiteY38" fmla="*/ 185738 h 352425"/>
                <a:gd name="connsiteX39" fmla="*/ 429423 w 429494"/>
                <a:gd name="connsiteY39" fmla="*/ 195263 h 352425"/>
                <a:gd name="connsiteX40" fmla="*/ 427042 w 429494"/>
                <a:gd name="connsiteY40" fmla="*/ 204788 h 352425"/>
                <a:gd name="connsiteX41" fmla="*/ 422280 w 429494"/>
                <a:gd name="connsiteY41" fmla="*/ 219075 h 352425"/>
                <a:gd name="connsiteX42" fmla="*/ 419898 w 429494"/>
                <a:gd name="connsiteY42" fmla="*/ 228600 h 352425"/>
                <a:gd name="connsiteX43" fmla="*/ 412755 w 429494"/>
                <a:gd name="connsiteY43" fmla="*/ 230981 h 352425"/>
                <a:gd name="connsiteX44" fmla="*/ 405611 w 429494"/>
                <a:gd name="connsiteY44" fmla="*/ 235744 h 352425"/>
                <a:gd name="connsiteX45" fmla="*/ 400848 w 429494"/>
                <a:gd name="connsiteY45" fmla="*/ 252413 h 352425"/>
                <a:gd name="connsiteX46" fmla="*/ 372273 w 429494"/>
                <a:gd name="connsiteY46" fmla="*/ 250031 h 352425"/>
                <a:gd name="connsiteX47" fmla="*/ 369892 w 429494"/>
                <a:gd name="connsiteY47" fmla="*/ 257175 h 352425"/>
                <a:gd name="connsiteX48" fmla="*/ 362748 w 429494"/>
                <a:gd name="connsiteY48" fmla="*/ 273844 h 352425"/>
                <a:gd name="connsiteX49" fmla="*/ 355605 w 429494"/>
                <a:gd name="connsiteY49" fmla="*/ 278606 h 352425"/>
                <a:gd name="connsiteX50" fmla="*/ 353223 w 429494"/>
                <a:gd name="connsiteY50" fmla="*/ 285750 h 352425"/>
                <a:gd name="connsiteX51" fmla="*/ 350842 w 429494"/>
                <a:gd name="connsiteY51" fmla="*/ 297656 h 352425"/>
                <a:gd name="connsiteX52" fmla="*/ 348461 w 429494"/>
                <a:gd name="connsiteY52" fmla="*/ 309563 h 352425"/>
                <a:gd name="connsiteX53" fmla="*/ 343698 w 429494"/>
                <a:gd name="connsiteY53" fmla="*/ 316706 h 352425"/>
                <a:gd name="connsiteX54" fmla="*/ 350842 w 429494"/>
                <a:gd name="connsiteY54" fmla="*/ 319088 h 352425"/>
                <a:gd name="connsiteX55" fmla="*/ 348461 w 429494"/>
                <a:gd name="connsiteY55" fmla="*/ 333375 h 352425"/>
                <a:gd name="connsiteX56" fmla="*/ 346080 w 429494"/>
                <a:gd name="connsiteY56" fmla="*/ 345281 h 352425"/>
                <a:gd name="connsiteX57" fmla="*/ 338936 w 429494"/>
                <a:gd name="connsiteY57" fmla="*/ 347663 h 352425"/>
                <a:gd name="connsiteX58" fmla="*/ 322267 w 429494"/>
                <a:gd name="connsiteY58" fmla="*/ 352425 h 352425"/>
                <a:gd name="connsiteX59" fmla="*/ 307980 w 429494"/>
                <a:gd name="connsiteY59" fmla="*/ 350044 h 352425"/>
                <a:gd name="connsiteX60" fmla="*/ 296073 w 429494"/>
                <a:gd name="connsiteY60" fmla="*/ 335756 h 352425"/>
                <a:gd name="connsiteX61" fmla="*/ 288930 w 429494"/>
                <a:gd name="connsiteY61" fmla="*/ 330994 h 352425"/>
                <a:gd name="connsiteX62" fmla="*/ 274642 w 429494"/>
                <a:gd name="connsiteY62" fmla="*/ 326231 h 352425"/>
                <a:gd name="connsiteX63" fmla="*/ 269880 w 429494"/>
                <a:gd name="connsiteY63" fmla="*/ 319088 h 352425"/>
                <a:gd name="connsiteX64" fmla="*/ 267498 w 429494"/>
                <a:gd name="connsiteY64" fmla="*/ 311944 h 352425"/>
                <a:gd name="connsiteX65" fmla="*/ 260355 w 429494"/>
                <a:gd name="connsiteY65" fmla="*/ 309563 h 352425"/>
                <a:gd name="connsiteX66" fmla="*/ 248448 w 429494"/>
                <a:gd name="connsiteY66" fmla="*/ 300038 h 352425"/>
                <a:gd name="connsiteX67" fmla="*/ 243686 w 429494"/>
                <a:gd name="connsiteY67" fmla="*/ 292894 h 352425"/>
                <a:gd name="connsiteX68" fmla="*/ 246067 w 429494"/>
                <a:gd name="connsiteY68" fmla="*/ 271463 h 352425"/>
                <a:gd name="connsiteX69" fmla="*/ 248448 w 429494"/>
                <a:gd name="connsiteY69" fmla="*/ 264319 h 352425"/>
                <a:gd name="connsiteX70" fmla="*/ 246067 w 429494"/>
                <a:gd name="connsiteY70" fmla="*/ 240506 h 352425"/>
                <a:gd name="connsiteX71" fmla="*/ 227017 w 429494"/>
                <a:gd name="connsiteY71" fmla="*/ 245269 h 352425"/>
                <a:gd name="connsiteX72" fmla="*/ 224636 w 429494"/>
                <a:gd name="connsiteY72" fmla="*/ 261938 h 352425"/>
                <a:gd name="connsiteX73" fmla="*/ 217492 w 429494"/>
                <a:gd name="connsiteY73" fmla="*/ 264319 h 352425"/>
                <a:gd name="connsiteX74" fmla="*/ 205586 w 429494"/>
                <a:gd name="connsiteY74" fmla="*/ 266700 h 352425"/>
                <a:gd name="connsiteX75" fmla="*/ 177011 w 429494"/>
                <a:gd name="connsiteY75" fmla="*/ 261938 h 352425"/>
                <a:gd name="connsiteX76" fmla="*/ 169867 w 429494"/>
                <a:gd name="connsiteY76" fmla="*/ 257175 h 352425"/>
                <a:gd name="connsiteX77" fmla="*/ 165105 w 429494"/>
                <a:gd name="connsiteY77" fmla="*/ 250031 h 352425"/>
                <a:gd name="connsiteX78" fmla="*/ 169867 w 429494"/>
                <a:gd name="connsiteY78" fmla="*/ 233363 h 352425"/>
                <a:gd name="connsiteX79" fmla="*/ 167486 w 429494"/>
                <a:gd name="connsiteY79" fmla="*/ 216694 h 352425"/>
                <a:gd name="connsiteX80" fmla="*/ 165105 w 429494"/>
                <a:gd name="connsiteY80" fmla="*/ 197644 h 352425"/>
                <a:gd name="connsiteX81" fmla="*/ 157961 w 429494"/>
                <a:gd name="connsiteY81" fmla="*/ 200025 h 352425"/>
                <a:gd name="connsiteX82" fmla="*/ 141292 w 429494"/>
                <a:gd name="connsiteY82" fmla="*/ 197644 h 352425"/>
                <a:gd name="connsiteX83" fmla="*/ 134148 w 429494"/>
                <a:gd name="connsiteY83" fmla="*/ 200025 h 352425"/>
                <a:gd name="connsiteX84" fmla="*/ 122242 w 429494"/>
                <a:gd name="connsiteY84" fmla="*/ 202406 h 352425"/>
                <a:gd name="connsiteX85" fmla="*/ 115098 w 429494"/>
                <a:gd name="connsiteY85" fmla="*/ 200025 h 352425"/>
                <a:gd name="connsiteX86" fmla="*/ 119861 w 429494"/>
                <a:gd name="connsiteY86" fmla="*/ 178594 h 352425"/>
                <a:gd name="connsiteX87" fmla="*/ 117480 w 429494"/>
                <a:gd name="connsiteY87" fmla="*/ 171450 h 352425"/>
                <a:gd name="connsiteX88" fmla="*/ 110336 w 429494"/>
                <a:gd name="connsiteY88" fmla="*/ 169069 h 352425"/>
                <a:gd name="connsiteX89" fmla="*/ 107955 w 429494"/>
                <a:gd name="connsiteY89" fmla="*/ 159544 h 352425"/>
                <a:gd name="connsiteX90" fmla="*/ 84142 w 429494"/>
                <a:gd name="connsiteY90" fmla="*/ 152400 h 352425"/>
                <a:gd name="connsiteX91" fmla="*/ 60330 w 429494"/>
                <a:gd name="connsiteY91" fmla="*/ 152400 h 352425"/>
                <a:gd name="connsiteX92" fmla="*/ 65092 w 429494"/>
                <a:gd name="connsiteY92" fmla="*/ 138113 h 352425"/>
                <a:gd name="connsiteX93" fmla="*/ 41280 w 429494"/>
                <a:gd name="connsiteY93" fmla="*/ 116681 h 352425"/>
                <a:gd name="connsiteX94" fmla="*/ 22230 w 429494"/>
                <a:gd name="connsiteY94" fmla="*/ 100013 h 352425"/>
                <a:gd name="connsiteX95" fmla="*/ 15086 w 429494"/>
                <a:gd name="connsiteY95" fmla="*/ 95250 h 352425"/>
                <a:gd name="connsiteX96" fmla="*/ 7942 w 429494"/>
                <a:gd name="connsiteY96" fmla="*/ 90488 h 352425"/>
                <a:gd name="connsiteX97" fmla="*/ 3180 w 429494"/>
                <a:gd name="connsiteY97" fmla="*/ 83344 h 352425"/>
                <a:gd name="connsiteX98" fmla="*/ 3180 w 429494"/>
                <a:gd name="connsiteY98" fmla="*/ 52388 h 352425"/>
                <a:gd name="connsiteX99" fmla="*/ 17467 w 429494"/>
                <a:gd name="connsiteY99" fmla="*/ 42863 h 352425"/>
                <a:gd name="connsiteX100" fmla="*/ 22230 w 429494"/>
                <a:gd name="connsiteY100" fmla="*/ 35719 h 352425"/>
                <a:gd name="connsiteX101" fmla="*/ 36517 w 429494"/>
                <a:gd name="connsiteY101" fmla="*/ 28575 h 352425"/>
                <a:gd name="connsiteX102" fmla="*/ 43661 w 429494"/>
                <a:gd name="connsiteY102" fmla="*/ 21431 h 352425"/>
                <a:gd name="connsiteX103" fmla="*/ 50805 w 429494"/>
                <a:gd name="connsiteY103" fmla="*/ 19050 h 352425"/>
                <a:gd name="connsiteX104" fmla="*/ 86523 w 429494"/>
                <a:gd name="connsiteY104" fmla="*/ 19050 h 352425"/>
                <a:gd name="connsiteX0" fmla="*/ 86523 w 429494"/>
                <a:gd name="connsiteY0" fmla="*/ 19050 h 352425"/>
                <a:gd name="connsiteX1" fmla="*/ 98430 w 429494"/>
                <a:gd name="connsiteY1" fmla="*/ 28575 h 352425"/>
                <a:gd name="connsiteX2" fmla="*/ 100811 w 429494"/>
                <a:gd name="connsiteY2" fmla="*/ 35719 h 352425"/>
                <a:gd name="connsiteX3" fmla="*/ 115098 w 429494"/>
                <a:gd name="connsiteY3" fmla="*/ 33338 h 352425"/>
                <a:gd name="connsiteX4" fmla="*/ 122242 w 429494"/>
                <a:gd name="connsiteY4" fmla="*/ 30956 h 352425"/>
                <a:gd name="connsiteX5" fmla="*/ 129386 w 429494"/>
                <a:gd name="connsiteY5" fmla="*/ 26194 h 352425"/>
                <a:gd name="connsiteX6" fmla="*/ 148436 w 429494"/>
                <a:gd name="connsiteY6" fmla="*/ 30956 h 352425"/>
                <a:gd name="connsiteX7" fmla="*/ 162723 w 429494"/>
                <a:gd name="connsiteY7" fmla="*/ 38100 h 352425"/>
                <a:gd name="connsiteX8" fmla="*/ 181773 w 429494"/>
                <a:gd name="connsiteY8" fmla="*/ 33338 h 352425"/>
                <a:gd name="connsiteX9" fmla="*/ 188917 w 429494"/>
                <a:gd name="connsiteY9" fmla="*/ 28575 h 352425"/>
                <a:gd name="connsiteX10" fmla="*/ 212730 w 429494"/>
                <a:gd name="connsiteY10" fmla="*/ 33338 h 352425"/>
                <a:gd name="connsiteX11" fmla="*/ 215111 w 429494"/>
                <a:gd name="connsiteY11" fmla="*/ 26194 h 352425"/>
                <a:gd name="connsiteX12" fmla="*/ 222255 w 429494"/>
                <a:gd name="connsiteY12" fmla="*/ 4763 h 352425"/>
                <a:gd name="connsiteX13" fmla="*/ 229398 w 429494"/>
                <a:gd name="connsiteY13" fmla="*/ 2381 h 352425"/>
                <a:gd name="connsiteX14" fmla="*/ 236542 w 429494"/>
                <a:gd name="connsiteY14" fmla="*/ 7144 h 352425"/>
                <a:gd name="connsiteX15" fmla="*/ 250830 w 429494"/>
                <a:gd name="connsiteY15" fmla="*/ 0 h 352425"/>
                <a:gd name="connsiteX16" fmla="*/ 255592 w 429494"/>
                <a:gd name="connsiteY16" fmla="*/ 7144 h 352425"/>
                <a:gd name="connsiteX17" fmla="*/ 272261 w 429494"/>
                <a:gd name="connsiteY17" fmla="*/ 11906 h 352425"/>
                <a:gd name="connsiteX18" fmla="*/ 279405 w 429494"/>
                <a:gd name="connsiteY18" fmla="*/ 9525 h 352425"/>
                <a:gd name="connsiteX19" fmla="*/ 281786 w 429494"/>
                <a:gd name="connsiteY19" fmla="*/ 2381 h 352425"/>
                <a:gd name="connsiteX20" fmla="*/ 286548 w 429494"/>
                <a:gd name="connsiteY20" fmla="*/ 9525 h 352425"/>
                <a:gd name="connsiteX21" fmla="*/ 298455 w 429494"/>
                <a:gd name="connsiteY21" fmla="*/ 30956 h 352425"/>
                <a:gd name="connsiteX22" fmla="*/ 300836 w 429494"/>
                <a:gd name="connsiteY22" fmla="*/ 38100 h 352425"/>
                <a:gd name="connsiteX23" fmla="*/ 307980 w 429494"/>
                <a:gd name="connsiteY23" fmla="*/ 40481 h 352425"/>
                <a:gd name="connsiteX24" fmla="*/ 329411 w 429494"/>
                <a:gd name="connsiteY24" fmla="*/ 42863 h 352425"/>
                <a:gd name="connsiteX25" fmla="*/ 336555 w 429494"/>
                <a:gd name="connsiteY25" fmla="*/ 40481 h 352425"/>
                <a:gd name="connsiteX26" fmla="*/ 348461 w 429494"/>
                <a:gd name="connsiteY26" fmla="*/ 52388 h 352425"/>
                <a:gd name="connsiteX27" fmla="*/ 355605 w 429494"/>
                <a:gd name="connsiteY27" fmla="*/ 57150 h 352425"/>
                <a:gd name="connsiteX28" fmla="*/ 357986 w 429494"/>
                <a:gd name="connsiteY28" fmla="*/ 83344 h 352425"/>
                <a:gd name="connsiteX29" fmla="*/ 353223 w 429494"/>
                <a:gd name="connsiteY29" fmla="*/ 140494 h 352425"/>
                <a:gd name="connsiteX30" fmla="*/ 360367 w 429494"/>
                <a:gd name="connsiteY30" fmla="*/ 142875 h 352425"/>
                <a:gd name="connsiteX31" fmla="*/ 367511 w 429494"/>
                <a:gd name="connsiteY31" fmla="*/ 147638 h 352425"/>
                <a:gd name="connsiteX32" fmla="*/ 386561 w 429494"/>
                <a:gd name="connsiteY32" fmla="*/ 145256 h 352425"/>
                <a:gd name="connsiteX33" fmla="*/ 396086 w 429494"/>
                <a:gd name="connsiteY33" fmla="*/ 142875 h 352425"/>
                <a:gd name="connsiteX34" fmla="*/ 398467 w 429494"/>
                <a:gd name="connsiteY34" fmla="*/ 152400 h 352425"/>
                <a:gd name="connsiteX35" fmla="*/ 410373 w 429494"/>
                <a:gd name="connsiteY35" fmla="*/ 164306 h 352425"/>
                <a:gd name="connsiteX36" fmla="*/ 412755 w 429494"/>
                <a:gd name="connsiteY36" fmla="*/ 171450 h 352425"/>
                <a:gd name="connsiteX37" fmla="*/ 417517 w 429494"/>
                <a:gd name="connsiteY37" fmla="*/ 185738 h 352425"/>
                <a:gd name="connsiteX38" fmla="*/ 429423 w 429494"/>
                <a:gd name="connsiteY38" fmla="*/ 195263 h 352425"/>
                <a:gd name="connsiteX39" fmla="*/ 427042 w 429494"/>
                <a:gd name="connsiteY39" fmla="*/ 204788 h 352425"/>
                <a:gd name="connsiteX40" fmla="*/ 422280 w 429494"/>
                <a:gd name="connsiteY40" fmla="*/ 219075 h 352425"/>
                <a:gd name="connsiteX41" fmla="*/ 419898 w 429494"/>
                <a:gd name="connsiteY41" fmla="*/ 228600 h 352425"/>
                <a:gd name="connsiteX42" fmla="*/ 412755 w 429494"/>
                <a:gd name="connsiteY42" fmla="*/ 230981 h 352425"/>
                <a:gd name="connsiteX43" fmla="*/ 405611 w 429494"/>
                <a:gd name="connsiteY43" fmla="*/ 235744 h 352425"/>
                <a:gd name="connsiteX44" fmla="*/ 400848 w 429494"/>
                <a:gd name="connsiteY44" fmla="*/ 252413 h 352425"/>
                <a:gd name="connsiteX45" fmla="*/ 372273 w 429494"/>
                <a:gd name="connsiteY45" fmla="*/ 250031 h 352425"/>
                <a:gd name="connsiteX46" fmla="*/ 369892 w 429494"/>
                <a:gd name="connsiteY46" fmla="*/ 257175 h 352425"/>
                <a:gd name="connsiteX47" fmla="*/ 362748 w 429494"/>
                <a:gd name="connsiteY47" fmla="*/ 273844 h 352425"/>
                <a:gd name="connsiteX48" fmla="*/ 355605 w 429494"/>
                <a:gd name="connsiteY48" fmla="*/ 278606 h 352425"/>
                <a:gd name="connsiteX49" fmla="*/ 353223 w 429494"/>
                <a:gd name="connsiteY49" fmla="*/ 285750 h 352425"/>
                <a:gd name="connsiteX50" fmla="*/ 350842 w 429494"/>
                <a:gd name="connsiteY50" fmla="*/ 297656 h 352425"/>
                <a:gd name="connsiteX51" fmla="*/ 348461 w 429494"/>
                <a:gd name="connsiteY51" fmla="*/ 309563 h 352425"/>
                <a:gd name="connsiteX52" fmla="*/ 343698 w 429494"/>
                <a:gd name="connsiteY52" fmla="*/ 316706 h 352425"/>
                <a:gd name="connsiteX53" fmla="*/ 350842 w 429494"/>
                <a:gd name="connsiteY53" fmla="*/ 319088 h 352425"/>
                <a:gd name="connsiteX54" fmla="*/ 348461 w 429494"/>
                <a:gd name="connsiteY54" fmla="*/ 333375 h 352425"/>
                <a:gd name="connsiteX55" fmla="*/ 346080 w 429494"/>
                <a:gd name="connsiteY55" fmla="*/ 345281 h 352425"/>
                <a:gd name="connsiteX56" fmla="*/ 338936 w 429494"/>
                <a:gd name="connsiteY56" fmla="*/ 347663 h 352425"/>
                <a:gd name="connsiteX57" fmla="*/ 322267 w 429494"/>
                <a:gd name="connsiteY57" fmla="*/ 352425 h 352425"/>
                <a:gd name="connsiteX58" fmla="*/ 307980 w 429494"/>
                <a:gd name="connsiteY58" fmla="*/ 350044 h 352425"/>
                <a:gd name="connsiteX59" fmla="*/ 296073 w 429494"/>
                <a:gd name="connsiteY59" fmla="*/ 335756 h 352425"/>
                <a:gd name="connsiteX60" fmla="*/ 288930 w 429494"/>
                <a:gd name="connsiteY60" fmla="*/ 330994 h 352425"/>
                <a:gd name="connsiteX61" fmla="*/ 274642 w 429494"/>
                <a:gd name="connsiteY61" fmla="*/ 326231 h 352425"/>
                <a:gd name="connsiteX62" fmla="*/ 269880 w 429494"/>
                <a:gd name="connsiteY62" fmla="*/ 319088 h 352425"/>
                <a:gd name="connsiteX63" fmla="*/ 267498 w 429494"/>
                <a:gd name="connsiteY63" fmla="*/ 311944 h 352425"/>
                <a:gd name="connsiteX64" fmla="*/ 260355 w 429494"/>
                <a:gd name="connsiteY64" fmla="*/ 309563 h 352425"/>
                <a:gd name="connsiteX65" fmla="*/ 248448 w 429494"/>
                <a:gd name="connsiteY65" fmla="*/ 300038 h 352425"/>
                <a:gd name="connsiteX66" fmla="*/ 243686 w 429494"/>
                <a:gd name="connsiteY66" fmla="*/ 292894 h 352425"/>
                <a:gd name="connsiteX67" fmla="*/ 246067 w 429494"/>
                <a:gd name="connsiteY67" fmla="*/ 271463 h 352425"/>
                <a:gd name="connsiteX68" fmla="*/ 248448 w 429494"/>
                <a:gd name="connsiteY68" fmla="*/ 264319 h 352425"/>
                <a:gd name="connsiteX69" fmla="*/ 246067 w 429494"/>
                <a:gd name="connsiteY69" fmla="*/ 240506 h 352425"/>
                <a:gd name="connsiteX70" fmla="*/ 227017 w 429494"/>
                <a:gd name="connsiteY70" fmla="*/ 245269 h 352425"/>
                <a:gd name="connsiteX71" fmla="*/ 224636 w 429494"/>
                <a:gd name="connsiteY71" fmla="*/ 261938 h 352425"/>
                <a:gd name="connsiteX72" fmla="*/ 217492 w 429494"/>
                <a:gd name="connsiteY72" fmla="*/ 264319 h 352425"/>
                <a:gd name="connsiteX73" fmla="*/ 205586 w 429494"/>
                <a:gd name="connsiteY73" fmla="*/ 266700 h 352425"/>
                <a:gd name="connsiteX74" fmla="*/ 177011 w 429494"/>
                <a:gd name="connsiteY74" fmla="*/ 261938 h 352425"/>
                <a:gd name="connsiteX75" fmla="*/ 169867 w 429494"/>
                <a:gd name="connsiteY75" fmla="*/ 257175 h 352425"/>
                <a:gd name="connsiteX76" fmla="*/ 165105 w 429494"/>
                <a:gd name="connsiteY76" fmla="*/ 250031 h 352425"/>
                <a:gd name="connsiteX77" fmla="*/ 169867 w 429494"/>
                <a:gd name="connsiteY77" fmla="*/ 233363 h 352425"/>
                <a:gd name="connsiteX78" fmla="*/ 167486 w 429494"/>
                <a:gd name="connsiteY78" fmla="*/ 216694 h 352425"/>
                <a:gd name="connsiteX79" fmla="*/ 165105 w 429494"/>
                <a:gd name="connsiteY79" fmla="*/ 197644 h 352425"/>
                <a:gd name="connsiteX80" fmla="*/ 157961 w 429494"/>
                <a:gd name="connsiteY80" fmla="*/ 200025 h 352425"/>
                <a:gd name="connsiteX81" fmla="*/ 141292 w 429494"/>
                <a:gd name="connsiteY81" fmla="*/ 197644 h 352425"/>
                <a:gd name="connsiteX82" fmla="*/ 134148 w 429494"/>
                <a:gd name="connsiteY82" fmla="*/ 200025 h 352425"/>
                <a:gd name="connsiteX83" fmla="*/ 122242 w 429494"/>
                <a:gd name="connsiteY83" fmla="*/ 202406 h 352425"/>
                <a:gd name="connsiteX84" fmla="*/ 115098 w 429494"/>
                <a:gd name="connsiteY84" fmla="*/ 200025 h 352425"/>
                <a:gd name="connsiteX85" fmla="*/ 119861 w 429494"/>
                <a:gd name="connsiteY85" fmla="*/ 178594 h 352425"/>
                <a:gd name="connsiteX86" fmla="*/ 117480 w 429494"/>
                <a:gd name="connsiteY86" fmla="*/ 171450 h 352425"/>
                <a:gd name="connsiteX87" fmla="*/ 110336 w 429494"/>
                <a:gd name="connsiteY87" fmla="*/ 169069 h 352425"/>
                <a:gd name="connsiteX88" fmla="*/ 107955 w 429494"/>
                <a:gd name="connsiteY88" fmla="*/ 159544 h 352425"/>
                <a:gd name="connsiteX89" fmla="*/ 84142 w 429494"/>
                <a:gd name="connsiteY89" fmla="*/ 152400 h 352425"/>
                <a:gd name="connsiteX90" fmla="*/ 60330 w 429494"/>
                <a:gd name="connsiteY90" fmla="*/ 152400 h 352425"/>
                <a:gd name="connsiteX91" fmla="*/ 65092 w 429494"/>
                <a:gd name="connsiteY91" fmla="*/ 138113 h 352425"/>
                <a:gd name="connsiteX92" fmla="*/ 41280 w 429494"/>
                <a:gd name="connsiteY92" fmla="*/ 116681 h 352425"/>
                <a:gd name="connsiteX93" fmla="*/ 22230 w 429494"/>
                <a:gd name="connsiteY93" fmla="*/ 100013 h 352425"/>
                <a:gd name="connsiteX94" fmla="*/ 15086 w 429494"/>
                <a:gd name="connsiteY94" fmla="*/ 95250 h 352425"/>
                <a:gd name="connsiteX95" fmla="*/ 7942 w 429494"/>
                <a:gd name="connsiteY95" fmla="*/ 90488 h 352425"/>
                <a:gd name="connsiteX96" fmla="*/ 3180 w 429494"/>
                <a:gd name="connsiteY96" fmla="*/ 83344 h 352425"/>
                <a:gd name="connsiteX97" fmla="*/ 3180 w 429494"/>
                <a:gd name="connsiteY97" fmla="*/ 52388 h 352425"/>
                <a:gd name="connsiteX98" fmla="*/ 17467 w 429494"/>
                <a:gd name="connsiteY98" fmla="*/ 42863 h 352425"/>
                <a:gd name="connsiteX99" fmla="*/ 22230 w 429494"/>
                <a:gd name="connsiteY99" fmla="*/ 35719 h 352425"/>
                <a:gd name="connsiteX100" fmla="*/ 36517 w 429494"/>
                <a:gd name="connsiteY100" fmla="*/ 28575 h 352425"/>
                <a:gd name="connsiteX101" fmla="*/ 43661 w 429494"/>
                <a:gd name="connsiteY101" fmla="*/ 21431 h 352425"/>
                <a:gd name="connsiteX102" fmla="*/ 50805 w 429494"/>
                <a:gd name="connsiteY102" fmla="*/ 19050 h 352425"/>
                <a:gd name="connsiteX103" fmla="*/ 86523 w 429494"/>
                <a:gd name="connsiteY103" fmla="*/ 19050 h 352425"/>
                <a:gd name="connsiteX0" fmla="*/ 86523 w 429494"/>
                <a:gd name="connsiteY0" fmla="*/ 19050 h 352425"/>
                <a:gd name="connsiteX1" fmla="*/ 98430 w 429494"/>
                <a:gd name="connsiteY1" fmla="*/ 28575 h 352425"/>
                <a:gd name="connsiteX2" fmla="*/ 100811 w 429494"/>
                <a:gd name="connsiteY2" fmla="*/ 35719 h 352425"/>
                <a:gd name="connsiteX3" fmla="*/ 115098 w 429494"/>
                <a:gd name="connsiteY3" fmla="*/ 33338 h 352425"/>
                <a:gd name="connsiteX4" fmla="*/ 122242 w 429494"/>
                <a:gd name="connsiteY4" fmla="*/ 30956 h 352425"/>
                <a:gd name="connsiteX5" fmla="*/ 129386 w 429494"/>
                <a:gd name="connsiteY5" fmla="*/ 26194 h 352425"/>
                <a:gd name="connsiteX6" fmla="*/ 148436 w 429494"/>
                <a:gd name="connsiteY6" fmla="*/ 30956 h 352425"/>
                <a:gd name="connsiteX7" fmla="*/ 162723 w 429494"/>
                <a:gd name="connsiteY7" fmla="*/ 38100 h 352425"/>
                <a:gd name="connsiteX8" fmla="*/ 181773 w 429494"/>
                <a:gd name="connsiteY8" fmla="*/ 33338 h 352425"/>
                <a:gd name="connsiteX9" fmla="*/ 188917 w 429494"/>
                <a:gd name="connsiteY9" fmla="*/ 28575 h 352425"/>
                <a:gd name="connsiteX10" fmla="*/ 212730 w 429494"/>
                <a:gd name="connsiteY10" fmla="*/ 33338 h 352425"/>
                <a:gd name="connsiteX11" fmla="*/ 215111 w 429494"/>
                <a:gd name="connsiteY11" fmla="*/ 26194 h 352425"/>
                <a:gd name="connsiteX12" fmla="*/ 222255 w 429494"/>
                <a:gd name="connsiteY12" fmla="*/ 4763 h 352425"/>
                <a:gd name="connsiteX13" fmla="*/ 229398 w 429494"/>
                <a:gd name="connsiteY13" fmla="*/ 2381 h 352425"/>
                <a:gd name="connsiteX14" fmla="*/ 236542 w 429494"/>
                <a:gd name="connsiteY14" fmla="*/ 7144 h 352425"/>
                <a:gd name="connsiteX15" fmla="*/ 250830 w 429494"/>
                <a:gd name="connsiteY15" fmla="*/ 0 h 352425"/>
                <a:gd name="connsiteX16" fmla="*/ 255592 w 429494"/>
                <a:gd name="connsiteY16" fmla="*/ 7144 h 352425"/>
                <a:gd name="connsiteX17" fmla="*/ 272261 w 429494"/>
                <a:gd name="connsiteY17" fmla="*/ 11906 h 352425"/>
                <a:gd name="connsiteX18" fmla="*/ 279405 w 429494"/>
                <a:gd name="connsiteY18" fmla="*/ 9525 h 352425"/>
                <a:gd name="connsiteX19" fmla="*/ 281786 w 429494"/>
                <a:gd name="connsiteY19" fmla="*/ 2381 h 352425"/>
                <a:gd name="connsiteX20" fmla="*/ 286548 w 429494"/>
                <a:gd name="connsiteY20" fmla="*/ 9525 h 352425"/>
                <a:gd name="connsiteX21" fmla="*/ 298455 w 429494"/>
                <a:gd name="connsiteY21" fmla="*/ 30956 h 352425"/>
                <a:gd name="connsiteX22" fmla="*/ 300836 w 429494"/>
                <a:gd name="connsiteY22" fmla="*/ 38100 h 352425"/>
                <a:gd name="connsiteX23" fmla="*/ 307980 w 429494"/>
                <a:gd name="connsiteY23" fmla="*/ 40481 h 352425"/>
                <a:gd name="connsiteX24" fmla="*/ 329411 w 429494"/>
                <a:gd name="connsiteY24" fmla="*/ 42863 h 352425"/>
                <a:gd name="connsiteX25" fmla="*/ 336555 w 429494"/>
                <a:gd name="connsiteY25" fmla="*/ 40481 h 352425"/>
                <a:gd name="connsiteX26" fmla="*/ 348461 w 429494"/>
                <a:gd name="connsiteY26" fmla="*/ 52388 h 352425"/>
                <a:gd name="connsiteX27" fmla="*/ 355605 w 429494"/>
                <a:gd name="connsiteY27" fmla="*/ 57150 h 352425"/>
                <a:gd name="connsiteX28" fmla="*/ 353223 w 429494"/>
                <a:gd name="connsiteY28" fmla="*/ 140494 h 352425"/>
                <a:gd name="connsiteX29" fmla="*/ 360367 w 429494"/>
                <a:gd name="connsiteY29" fmla="*/ 142875 h 352425"/>
                <a:gd name="connsiteX30" fmla="*/ 367511 w 429494"/>
                <a:gd name="connsiteY30" fmla="*/ 147638 h 352425"/>
                <a:gd name="connsiteX31" fmla="*/ 386561 w 429494"/>
                <a:gd name="connsiteY31" fmla="*/ 145256 h 352425"/>
                <a:gd name="connsiteX32" fmla="*/ 396086 w 429494"/>
                <a:gd name="connsiteY32" fmla="*/ 142875 h 352425"/>
                <a:gd name="connsiteX33" fmla="*/ 398467 w 429494"/>
                <a:gd name="connsiteY33" fmla="*/ 152400 h 352425"/>
                <a:gd name="connsiteX34" fmla="*/ 410373 w 429494"/>
                <a:gd name="connsiteY34" fmla="*/ 164306 h 352425"/>
                <a:gd name="connsiteX35" fmla="*/ 412755 w 429494"/>
                <a:gd name="connsiteY35" fmla="*/ 171450 h 352425"/>
                <a:gd name="connsiteX36" fmla="*/ 417517 w 429494"/>
                <a:gd name="connsiteY36" fmla="*/ 185738 h 352425"/>
                <a:gd name="connsiteX37" fmla="*/ 429423 w 429494"/>
                <a:gd name="connsiteY37" fmla="*/ 195263 h 352425"/>
                <a:gd name="connsiteX38" fmla="*/ 427042 w 429494"/>
                <a:gd name="connsiteY38" fmla="*/ 204788 h 352425"/>
                <a:gd name="connsiteX39" fmla="*/ 422280 w 429494"/>
                <a:gd name="connsiteY39" fmla="*/ 219075 h 352425"/>
                <a:gd name="connsiteX40" fmla="*/ 419898 w 429494"/>
                <a:gd name="connsiteY40" fmla="*/ 228600 h 352425"/>
                <a:gd name="connsiteX41" fmla="*/ 412755 w 429494"/>
                <a:gd name="connsiteY41" fmla="*/ 230981 h 352425"/>
                <a:gd name="connsiteX42" fmla="*/ 405611 w 429494"/>
                <a:gd name="connsiteY42" fmla="*/ 235744 h 352425"/>
                <a:gd name="connsiteX43" fmla="*/ 400848 w 429494"/>
                <a:gd name="connsiteY43" fmla="*/ 252413 h 352425"/>
                <a:gd name="connsiteX44" fmla="*/ 372273 w 429494"/>
                <a:gd name="connsiteY44" fmla="*/ 250031 h 352425"/>
                <a:gd name="connsiteX45" fmla="*/ 369892 w 429494"/>
                <a:gd name="connsiteY45" fmla="*/ 257175 h 352425"/>
                <a:gd name="connsiteX46" fmla="*/ 362748 w 429494"/>
                <a:gd name="connsiteY46" fmla="*/ 273844 h 352425"/>
                <a:gd name="connsiteX47" fmla="*/ 355605 w 429494"/>
                <a:gd name="connsiteY47" fmla="*/ 278606 h 352425"/>
                <a:gd name="connsiteX48" fmla="*/ 353223 w 429494"/>
                <a:gd name="connsiteY48" fmla="*/ 285750 h 352425"/>
                <a:gd name="connsiteX49" fmla="*/ 350842 w 429494"/>
                <a:gd name="connsiteY49" fmla="*/ 297656 h 352425"/>
                <a:gd name="connsiteX50" fmla="*/ 348461 w 429494"/>
                <a:gd name="connsiteY50" fmla="*/ 309563 h 352425"/>
                <a:gd name="connsiteX51" fmla="*/ 343698 w 429494"/>
                <a:gd name="connsiteY51" fmla="*/ 316706 h 352425"/>
                <a:gd name="connsiteX52" fmla="*/ 350842 w 429494"/>
                <a:gd name="connsiteY52" fmla="*/ 319088 h 352425"/>
                <a:gd name="connsiteX53" fmla="*/ 348461 w 429494"/>
                <a:gd name="connsiteY53" fmla="*/ 333375 h 352425"/>
                <a:gd name="connsiteX54" fmla="*/ 346080 w 429494"/>
                <a:gd name="connsiteY54" fmla="*/ 345281 h 352425"/>
                <a:gd name="connsiteX55" fmla="*/ 338936 w 429494"/>
                <a:gd name="connsiteY55" fmla="*/ 347663 h 352425"/>
                <a:gd name="connsiteX56" fmla="*/ 322267 w 429494"/>
                <a:gd name="connsiteY56" fmla="*/ 352425 h 352425"/>
                <a:gd name="connsiteX57" fmla="*/ 307980 w 429494"/>
                <a:gd name="connsiteY57" fmla="*/ 350044 h 352425"/>
                <a:gd name="connsiteX58" fmla="*/ 296073 w 429494"/>
                <a:gd name="connsiteY58" fmla="*/ 335756 h 352425"/>
                <a:gd name="connsiteX59" fmla="*/ 288930 w 429494"/>
                <a:gd name="connsiteY59" fmla="*/ 330994 h 352425"/>
                <a:gd name="connsiteX60" fmla="*/ 274642 w 429494"/>
                <a:gd name="connsiteY60" fmla="*/ 326231 h 352425"/>
                <a:gd name="connsiteX61" fmla="*/ 269880 w 429494"/>
                <a:gd name="connsiteY61" fmla="*/ 319088 h 352425"/>
                <a:gd name="connsiteX62" fmla="*/ 267498 w 429494"/>
                <a:gd name="connsiteY62" fmla="*/ 311944 h 352425"/>
                <a:gd name="connsiteX63" fmla="*/ 260355 w 429494"/>
                <a:gd name="connsiteY63" fmla="*/ 309563 h 352425"/>
                <a:gd name="connsiteX64" fmla="*/ 248448 w 429494"/>
                <a:gd name="connsiteY64" fmla="*/ 300038 h 352425"/>
                <a:gd name="connsiteX65" fmla="*/ 243686 w 429494"/>
                <a:gd name="connsiteY65" fmla="*/ 292894 h 352425"/>
                <a:gd name="connsiteX66" fmla="*/ 246067 w 429494"/>
                <a:gd name="connsiteY66" fmla="*/ 271463 h 352425"/>
                <a:gd name="connsiteX67" fmla="*/ 248448 w 429494"/>
                <a:gd name="connsiteY67" fmla="*/ 264319 h 352425"/>
                <a:gd name="connsiteX68" fmla="*/ 246067 w 429494"/>
                <a:gd name="connsiteY68" fmla="*/ 240506 h 352425"/>
                <a:gd name="connsiteX69" fmla="*/ 227017 w 429494"/>
                <a:gd name="connsiteY69" fmla="*/ 245269 h 352425"/>
                <a:gd name="connsiteX70" fmla="*/ 224636 w 429494"/>
                <a:gd name="connsiteY70" fmla="*/ 261938 h 352425"/>
                <a:gd name="connsiteX71" fmla="*/ 217492 w 429494"/>
                <a:gd name="connsiteY71" fmla="*/ 264319 h 352425"/>
                <a:gd name="connsiteX72" fmla="*/ 205586 w 429494"/>
                <a:gd name="connsiteY72" fmla="*/ 266700 h 352425"/>
                <a:gd name="connsiteX73" fmla="*/ 177011 w 429494"/>
                <a:gd name="connsiteY73" fmla="*/ 261938 h 352425"/>
                <a:gd name="connsiteX74" fmla="*/ 169867 w 429494"/>
                <a:gd name="connsiteY74" fmla="*/ 257175 h 352425"/>
                <a:gd name="connsiteX75" fmla="*/ 165105 w 429494"/>
                <a:gd name="connsiteY75" fmla="*/ 250031 h 352425"/>
                <a:gd name="connsiteX76" fmla="*/ 169867 w 429494"/>
                <a:gd name="connsiteY76" fmla="*/ 233363 h 352425"/>
                <a:gd name="connsiteX77" fmla="*/ 167486 w 429494"/>
                <a:gd name="connsiteY77" fmla="*/ 216694 h 352425"/>
                <a:gd name="connsiteX78" fmla="*/ 165105 w 429494"/>
                <a:gd name="connsiteY78" fmla="*/ 197644 h 352425"/>
                <a:gd name="connsiteX79" fmla="*/ 157961 w 429494"/>
                <a:gd name="connsiteY79" fmla="*/ 200025 h 352425"/>
                <a:gd name="connsiteX80" fmla="*/ 141292 w 429494"/>
                <a:gd name="connsiteY80" fmla="*/ 197644 h 352425"/>
                <a:gd name="connsiteX81" fmla="*/ 134148 w 429494"/>
                <a:gd name="connsiteY81" fmla="*/ 200025 h 352425"/>
                <a:gd name="connsiteX82" fmla="*/ 122242 w 429494"/>
                <a:gd name="connsiteY82" fmla="*/ 202406 h 352425"/>
                <a:gd name="connsiteX83" fmla="*/ 115098 w 429494"/>
                <a:gd name="connsiteY83" fmla="*/ 200025 h 352425"/>
                <a:gd name="connsiteX84" fmla="*/ 119861 w 429494"/>
                <a:gd name="connsiteY84" fmla="*/ 178594 h 352425"/>
                <a:gd name="connsiteX85" fmla="*/ 117480 w 429494"/>
                <a:gd name="connsiteY85" fmla="*/ 171450 h 352425"/>
                <a:gd name="connsiteX86" fmla="*/ 110336 w 429494"/>
                <a:gd name="connsiteY86" fmla="*/ 169069 h 352425"/>
                <a:gd name="connsiteX87" fmla="*/ 107955 w 429494"/>
                <a:gd name="connsiteY87" fmla="*/ 159544 h 352425"/>
                <a:gd name="connsiteX88" fmla="*/ 84142 w 429494"/>
                <a:gd name="connsiteY88" fmla="*/ 152400 h 352425"/>
                <a:gd name="connsiteX89" fmla="*/ 60330 w 429494"/>
                <a:gd name="connsiteY89" fmla="*/ 152400 h 352425"/>
                <a:gd name="connsiteX90" fmla="*/ 65092 w 429494"/>
                <a:gd name="connsiteY90" fmla="*/ 138113 h 352425"/>
                <a:gd name="connsiteX91" fmla="*/ 41280 w 429494"/>
                <a:gd name="connsiteY91" fmla="*/ 116681 h 352425"/>
                <a:gd name="connsiteX92" fmla="*/ 22230 w 429494"/>
                <a:gd name="connsiteY92" fmla="*/ 100013 h 352425"/>
                <a:gd name="connsiteX93" fmla="*/ 15086 w 429494"/>
                <a:gd name="connsiteY93" fmla="*/ 95250 h 352425"/>
                <a:gd name="connsiteX94" fmla="*/ 7942 w 429494"/>
                <a:gd name="connsiteY94" fmla="*/ 90488 h 352425"/>
                <a:gd name="connsiteX95" fmla="*/ 3180 w 429494"/>
                <a:gd name="connsiteY95" fmla="*/ 83344 h 352425"/>
                <a:gd name="connsiteX96" fmla="*/ 3180 w 429494"/>
                <a:gd name="connsiteY96" fmla="*/ 52388 h 352425"/>
                <a:gd name="connsiteX97" fmla="*/ 17467 w 429494"/>
                <a:gd name="connsiteY97" fmla="*/ 42863 h 352425"/>
                <a:gd name="connsiteX98" fmla="*/ 22230 w 429494"/>
                <a:gd name="connsiteY98" fmla="*/ 35719 h 352425"/>
                <a:gd name="connsiteX99" fmla="*/ 36517 w 429494"/>
                <a:gd name="connsiteY99" fmla="*/ 28575 h 352425"/>
                <a:gd name="connsiteX100" fmla="*/ 43661 w 429494"/>
                <a:gd name="connsiteY100" fmla="*/ 21431 h 352425"/>
                <a:gd name="connsiteX101" fmla="*/ 50805 w 429494"/>
                <a:gd name="connsiteY101" fmla="*/ 19050 h 352425"/>
                <a:gd name="connsiteX102" fmla="*/ 86523 w 429494"/>
                <a:gd name="connsiteY102" fmla="*/ 19050 h 352425"/>
                <a:gd name="connsiteX0" fmla="*/ 86523 w 429494"/>
                <a:gd name="connsiteY0" fmla="*/ 19050 h 352425"/>
                <a:gd name="connsiteX1" fmla="*/ 98430 w 429494"/>
                <a:gd name="connsiteY1" fmla="*/ 28575 h 352425"/>
                <a:gd name="connsiteX2" fmla="*/ 100811 w 429494"/>
                <a:gd name="connsiteY2" fmla="*/ 35719 h 352425"/>
                <a:gd name="connsiteX3" fmla="*/ 115098 w 429494"/>
                <a:gd name="connsiteY3" fmla="*/ 33338 h 352425"/>
                <a:gd name="connsiteX4" fmla="*/ 122242 w 429494"/>
                <a:gd name="connsiteY4" fmla="*/ 30956 h 352425"/>
                <a:gd name="connsiteX5" fmla="*/ 129386 w 429494"/>
                <a:gd name="connsiteY5" fmla="*/ 26194 h 352425"/>
                <a:gd name="connsiteX6" fmla="*/ 148436 w 429494"/>
                <a:gd name="connsiteY6" fmla="*/ 30956 h 352425"/>
                <a:gd name="connsiteX7" fmla="*/ 162723 w 429494"/>
                <a:gd name="connsiteY7" fmla="*/ 38100 h 352425"/>
                <a:gd name="connsiteX8" fmla="*/ 181773 w 429494"/>
                <a:gd name="connsiteY8" fmla="*/ 33338 h 352425"/>
                <a:gd name="connsiteX9" fmla="*/ 188917 w 429494"/>
                <a:gd name="connsiteY9" fmla="*/ 28575 h 352425"/>
                <a:gd name="connsiteX10" fmla="*/ 212730 w 429494"/>
                <a:gd name="connsiteY10" fmla="*/ 33338 h 352425"/>
                <a:gd name="connsiteX11" fmla="*/ 215111 w 429494"/>
                <a:gd name="connsiteY11" fmla="*/ 26194 h 352425"/>
                <a:gd name="connsiteX12" fmla="*/ 222255 w 429494"/>
                <a:gd name="connsiteY12" fmla="*/ 4763 h 352425"/>
                <a:gd name="connsiteX13" fmla="*/ 229398 w 429494"/>
                <a:gd name="connsiteY13" fmla="*/ 2381 h 352425"/>
                <a:gd name="connsiteX14" fmla="*/ 236542 w 429494"/>
                <a:gd name="connsiteY14" fmla="*/ 7144 h 352425"/>
                <a:gd name="connsiteX15" fmla="*/ 250830 w 429494"/>
                <a:gd name="connsiteY15" fmla="*/ 0 h 352425"/>
                <a:gd name="connsiteX16" fmla="*/ 255592 w 429494"/>
                <a:gd name="connsiteY16" fmla="*/ 7144 h 352425"/>
                <a:gd name="connsiteX17" fmla="*/ 272261 w 429494"/>
                <a:gd name="connsiteY17" fmla="*/ 11906 h 352425"/>
                <a:gd name="connsiteX18" fmla="*/ 279405 w 429494"/>
                <a:gd name="connsiteY18" fmla="*/ 9525 h 352425"/>
                <a:gd name="connsiteX19" fmla="*/ 281786 w 429494"/>
                <a:gd name="connsiteY19" fmla="*/ 2381 h 352425"/>
                <a:gd name="connsiteX20" fmla="*/ 286548 w 429494"/>
                <a:gd name="connsiteY20" fmla="*/ 9525 h 352425"/>
                <a:gd name="connsiteX21" fmla="*/ 298455 w 429494"/>
                <a:gd name="connsiteY21" fmla="*/ 30956 h 352425"/>
                <a:gd name="connsiteX22" fmla="*/ 300836 w 429494"/>
                <a:gd name="connsiteY22" fmla="*/ 38100 h 352425"/>
                <a:gd name="connsiteX23" fmla="*/ 307980 w 429494"/>
                <a:gd name="connsiteY23" fmla="*/ 40481 h 352425"/>
                <a:gd name="connsiteX24" fmla="*/ 329411 w 429494"/>
                <a:gd name="connsiteY24" fmla="*/ 42863 h 352425"/>
                <a:gd name="connsiteX25" fmla="*/ 336555 w 429494"/>
                <a:gd name="connsiteY25" fmla="*/ 40481 h 352425"/>
                <a:gd name="connsiteX26" fmla="*/ 348461 w 429494"/>
                <a:gd name="connsiteY26" fmla="*/ 52388 h 352425"/>
                <a:gd name="connsiteX27" fmla="*/ 355605 w 429494"/>
                <a:gd name="connsiteY27" fmla="*/ 57150 h 352425"/>
                <a:gd name="connsiteX28" fmla="*/ 369892 w 429494"/>
                <a:gd name="connsiteY28" fmla="*/ 80963 h 352425"/>
                <a:gd name="connsiteX29" fmla="*/ 353223 w 429494"/>
                <a:gd name="connsiteY29" fmla="*/ 140494 h 352425"/>
                <a:gd name="connsiteX30" fmla="*/ 360367 w 429494"/>
                <a:gd name="connsiteY30" fmla="*/ 142875 h 352425"/>
                <a:gd name="connsiteX31" fmla="*/ 367511 w 429494"/>
                <a:gd name="connsiteY31" fmla="*/ 147638 h 352425"/>
                <a:gd name="connsiteX32" fmla="*/ 386561 w 429494"/>
                <a:gd name="connsiteY32" fmla="*/ 145256 h 352425"/>
                <a:gd name="connsiteX33" fmla="*/ 396086 w 429494"/>
                <a:gd name="connsiteY33" fmla="*/ 142875 h 352425"/>
                <a:gd name="connsiteX34" fmla="*/ 398467 w 429494"/>
                <a:gd name="connsiteY34" fmla="*/ 152400 h 352425"/>
                <a:gd name="connsiteX35" fmla="*/ 410373 w 429494"/>
                <a:gd name="connsiteY35" fmla="*/ 164306 h 352425"/>
                <a:gd name="connsiteX36" fmla="*/ 412755 w 429494"/>
                <a:gd name="connsiteY36" fmla="*/ 171450 h 352425"/>
                <a:gd name="connsiteX37" fmla="*/ 417517 w 429494"/>
                <a:gd name="connsiteY37" fmla="*/ 185738 h 352425"/>
                <a:gd name="connsiteX38" fmla="*/ 429423 w 429494"/>
                <a:gd name="connsiteY38" fmla="*/ 195263 h 352425"/>
                <a:gd name="connsiteX39" fmla="*/ 427042 w 429494"/>
                <a:gd name="connsiteY39" fmla="*/ 204788 h 352425"/>
                <a:gd name="connsiteX40" fmla="*/ 422280 w 429494"/>
                <a:gd name="connsiteY40" fmla="*/ 219075 h 352425"/>
                <a:gd name="connsiteX41" fmla="*/ 419898 w 429494"/>
                <a:gd name="connsiteY41" fmla="*/ 228600 h 352425"/>
                <a:gd name="connsiteX42" fmla="*/ 412755 w 429494"/>
                <a:gd name="connsiteY42" fmla="*/ 230981 h 352425"/>
                <a:gd name="connsiteX43" fmla="*/ 405611 w 429494"/>
                <a:gd name="connsiteY43" fmla="*/ 235744 h 352425"/>
                <a:gd name="connsiteX44" fmla="*/ 400848 w 429494"/>
                <a:gd name="connsiteY44" fmla="*/ 252413 h 352425"/>
                <a:gd name="connsiteX45" fmla="*/ 372273 w 429494"/>
                <a:gd name="connsiteY45" fmla="*/ 250031 h 352425"/>
                <a:gd name="connsiteX46" fmla="*/ 369892 w 429494"/>
                <a:gd name="connsiteY46" fmla="*/ 257175 h 352425"/>
                <a:gd name="connsiteX47" fmla="*/ 362748 w 429494"/>
                <a:gd name="connsiteY47" fmla="*/ 273844 h 352425"/>
                <a:gd name="connsiteX48" fmla="*/ 355605 w 429494"/>
                <a:gd name="connsiteY48" fmla="*/ 278606 h 352425"/>
                <a:gd name="connsiteX49" fmla="*/ 353223 w 429494"/>
                <a:gd name="connsiteY49" fmla="*/ 285750 h 352425"/>
                <a:gd name="connsiteX50" fmla="*/ 350842 w 429494"/>
                <a:gd name="connsiteY50" fmla="*/ 297656 h 352425"/>
                <a:gd name="connsiteX51" fmla="*/ 348461 w 429494"/>
                <a:gd name="connsiteY51" fmla="*/ 309563 h 352425"/>
                <a:gd name="connsiteX52" fmla="*/ 343698 w 429494"/>
                <a:gd name="connsiteY52" fmla="*/ 316706 h 352425"/>
                <a:gd name="connsiteX53" fmla="*/ 350842 w 429494"/>
                <a:gd name="connsiteY53" fmla="*/ 319088 h 352425"/>
                <a:gd name="connsiteX54" fmla="*/ 348461 w 429494"/>
                <a:gd name="connsiteY54" fmla="*/ 333375 h 352425"/>
                <a:gd name="connsiteX55" fmla="*/ 346080 w 429494"/>
                <a:gd name="connsiteY55" fmla="*/ 345281 h 352425"/>
                <a:gd name="connsiteX56" fmla="*/ 338936 w 429494"/>
                <a:gd name="connsiteY56" fmla="*/ 347663 h 352425"/>
                <a:gd name="connsiteX57" fmla="*/ 322267 w 429494"/>
                <a:gd name="connsiteY57" fmla="*/ 352425 h 352425"/>
                <a:gd name="connsiteX58" fmla="*/ 307980 w 429494"/>
                <a:gd name="connsiteY58" fmla="*/ 350044 h 352425"/>
                <a:gd name="connsiteX59" fmla="*/ 296073 w 429494"/>
                <a:gd name="connsiteY59" fmla="*/ 335756 h 352425"/>
                <a:gd name="connsiteX60" fmla="*/ 288930 w 429494"/>
                <a:gd name="connsiteY60" fmla="*/ 330994 h 352425"/>
                <a:gd name="connsiteX61" fmla="*/ 274642 w 429494"/>
                <a:gd name="connsiteY61" fmla="*/ 326231 h 352425"/>
                <a:gd name="connsiteX62" fmla="*/ 269880 w 429494"/>
                <a:gd name="connsiteY62" fmla="*/ 319088 h 352425"/>
                <a:gd name="connsiteX63" fmla="*/ 267498 w 429494"/>
                <a:gd name="connsiteY63" fmla="*/ 311944 h 352425"/>
                <a:gd name="connsiteX64" fmla="*/ 260355 w 429494"/>
                <a:gd name="connsiteY64" fmla="*/ 309563 h 352425"/>
                <a:gd name="connsiteX65" fmla="*/ 248448 w 429494"/>
                <a:gd name="connsiteY65" fmla="*/ 300038 h 352425"/>
                <a:gd name="connsiteX66" fmla="*/ 243686 w 429494"/>
                <a:gd name="connsiteY66" fmla="*/ 292894 h 352425"/>
                <a:gd name="connsiteX67" fmla="*/ 246067 w 429494"/>
                <a:gd name="connsiteY67" fmla="*/ 271463 h 352425"/>
                <a:gd name="connsiteX68" fmla="*/ 248448 w 429494"/>
                <a:gd name="connsiteY68" fmla="*/ 264319 h 352425"/>
                <a:gd name="connsiteX69" fmla="*/ 246067 w 429494"/>
                <a:gd name="connsiteY69" fmla="*/ 240506 h 352425"/>
                <a:gd name="connsiteX70" fmla="*/ 227017 w 429494"/>
                <a:gd name="connsiteY70" fmla="*/ 245269 h 352425"/>
                <a:gd name="connsiteX71" fmla="*/ 224636 w 429494"/>
                <a:gd name="connsiteY71" fmla="*/ 261938 h 352425"/>
                <a:gd name="connsiteX72" fmla="*/ 217492 w 429494"/>
                <a:gd name="connsiteY72" fmla="*/ 264319 h 352425"/>
                <a:gd name="connsiteX73" fmla="*/ 205586 w 429494"/>
                <a:gd name="connsiteY73" fmla="*/ 266700 h 352425"/>
                <a:gd name="connsiteX74" fmla="*/ 177011 w 429494"/>
                <a:gd name="connsiteY74" fmla="*/ 261938 h 352425"/>
                <a:gd name="connsiteX75" fmla="*/ 169867 w 429494"/>
                <a:gd name="connsiteY75" fmla="*/ 257175 h 352425"/>
                <a:gd name="connsiteX76" fmla="*/ 165105 w 429494"/>
                <a:gd name="connsiteY76" fmla="*/ 250031 h 352425"/>
                <a:gd name="connsiteX77" fmla="*/ 169867 w 429494"/>
                <a:gd name="connsiteY77" fmla="*/ 233363 h 352425"/>
                <a:gd name="connsiteX78" fmla="*/ 167486 w 429494"/>
                <a:gd name="connsiteY78" fmla="*/ 216694 h 352425"/>
                <a:gd name="connsiteX79" fmla="*/ 165105 w 429494"/>
                <a:gd name="connsiteY79" fmla="*/ 197644 h 352425"/>
                <a:gd name="connsiteX80" fmla="*/ 157961 w 429494"/>
                <a:gd name="connsiteY80" fmla="*/ 200025 h 352425"/>
                <a:gd name="connsiteX81" fmla="*/ 141292 w 429494"/>
                <a:gd name="connsiteY81" fmla="*/ 197644 h 352425"/>
                <a:gd name="connsiteX82" fmla="*/ 134148 w 429494"/>
                <a:gd name="connsiteY82" fmla="*/ 200025 h 352425"/>
                <a:gd name="connsiteX83" fmla="*/ 122242 w 429494"/>
                <a:gd name="connsiteY83" fmla="*/ 202406 h 352425"/>
                <a:gd name="connsiteX84" fmla="*/ 115098 w 429494"/>
                <a:gd name="connsiteY84" fmla="*/ 200025 h 352425"/>
                <a:gd name="connsiteX85" fmla="*/ 119861 w 429494"/>
                <a:gd name="connsiteY85" fmla="*/ 178594 h 352425"/>
                <a:gd name="connsiteX86" fmla="*/ 117480 w 429494"/>
                <a:gd name="connsiteY86" fmla="*/ 171450 h 352425"/>
                <a:gd name="connsiteX87" fmla="*/ 110336 w 429494"/>
                <a:gd name="connsiteY87" fmla="*/ 169069 h 352425"/>
                <a:gd name="connsiteX88" fmla="*/ 107955 w 429494"/>
                <a:gd name="connsiteY88" fmla="*/ 159544 h 352425"/>
                <a:gd name="connsiteX89" fmla="*/ 84142 w 429494"/>
                <a:gd name="connsiteY89" fmla="*/ 152400 h 352425"/>
                <a:gd name="connsiteX90" fmla="*/ 60330 w 429494"/>
                <a:gd name="connsiteY90" fmla="*/ 152400 h 352425"/>
                <a:gd name="connsiteX91" fmla="*/ 65092 w 429494"/>
                <a:gd name="connsiteY91" fmla="*/ 138113 h 352425"/>
                <a:gd name="connsiteX92" fmla="*/ 41280 w 429494"/>
                <a:gd name="connsiteY92" fmla="*/ 116681 h 352425"/>
                <a:gd name="connsiteX93" fmla="*/ 22230 w 429494"/>
                <a:gd name="connsiteY93" fmla="*/ 100013 h 352425"/>
                <a:gd name="connsiteX94" fmla="*/ 15086 w 429494"/>
                <a:gd name="connsiteY94" fmla="*/ 95250 h 352425"/>
                <a:gd name="connsiteX95" fmla="*/ 7942 w 429494"/>
                <a:gd name="connsiteY95" fmla="*/ 90488 h 352425"/>
                <a:gd name="connsiteX96" fmla="*/ 3180 w 429494"/>
                <a:gd name="connsiteY96" fmla="*/ 83344 h 352425"/>
                <a:gd name="connsiteX97" fmla="*/ 3180 w 429494"/>
                <a:gd name="connsiteY97" fmla="*/ 52388 h 352425"/>
                <a:gd name="connsiteX98" fmla="*/ 17467 w 429494"/>
                <a:gd name="connsiteY98" fmla="*/ 42863 h 352425"/>
                <a:gd name="connsiteX99" fmla="*/ 22230 w 429494"/>
                <a:gd name="connsiteY99" fmla="*/ 35719 h 352425"/>
                <a:gd name="connsiteX100" fmla="*/ 36517 w 429494"/>
                <a:gd name="connsiteY100" fmla="*/ 28575 h 352425"/>
                <a:gd name="connsiteX101" fmla="*/ 43661 w 429494"/>
                <a:gd name="connsiteY101" fmla="*/ 21431 h 352425"/>
                <a:gd name="connsiteX102" fmla="*/ 50805 w 429494"/>
                <a:gd name="connsiteY102" fmla="*/ 19050 h 352425"/>
                <a:gd name="connsiteX103" fmla="*/ 86523 w 429494"/>
                <a:gd name="connsiteY103" fmla="*/ 19050 h 352425"/>
                <a:gd name="connsiteX0" fmla="*/ 86523 w 429494"/>
                <a:gd name="connsiteY0" fmla="*/ 19050 h 352425"/>
                <a:gd name="connsiteX1" fmla="*/ 98430 w 429494"/>
                <a:gd name="connsiteY1" fmla="*/ 28575 h 352425"/>
                <a:gd name="connsiteX2" fmla="*/ 100811 w 429494"/>
                <a:gd name="connsiteY2" fmla="*/ 35719 h 352425"/>
                <a:gd name="connsiteX3" fmla="*/ 115098 w 429494"/>
                <a:gd name="connsiteY3" fmla="*/ 33338 h 352425"/>
                <a:gd name="connsiteX4" fmla="*/ 122242 w 429494"/>
                <a:gd name="connsiteY4" fmla="*/ 30956 h 352425"/>
                <a:gd name="connsiteX5" fmla="*/ 129386 w 429494"/>
                <a:gd name="connsiteY5" fmla="*/ 26194 h 352425"/>
                <a:gd name="connsiteX6" fmla="*/ 148436 w 429494"/>
                <a:gd name="connsiteY6" fmla="*/ 30956 h 352425"/>
                <a:gd name="connsiteX7" fmla="*/ 162723 w 429494"/>
                <a:gd name="connsiteY7" fmla="*/ 38100 h 352425"/>
                <a:gd name="connsiteX8" fmla="*/ 181773 w 429494"/>
                <a:gd name="connsiteY8" fmla="*/ 33338 h 352425"/>
                <a:gd name="connsiteX9" fmla="*/ 188917 w 429494"/>
                <a:gd name="connsiteY9" fmla="*/ 28575 h 352425"/>
                <a:gd name="connsiteX10" fmla="*/ 212730 w 429494"/>
                <a:gd name="connsiteY10" fmla="*/ 33338 h 352425"/>
                <a:gd name="connsiteX11" fmla="*/ 215111 w 429494"/>
                <a:gd name="connsiteY11" fmla="*/ 26194 h 352425"/>
                <a:gd name="connsiteX12" fmla="*/ 222255 w 429494"/>
                <a:gd name="connsiteY12" fmla="*/ 4763 h 352425"/>
                <a:gd name="connsiteX13" fmla="*/ 229398 w 429494"/>
                <a:gd name="connsiteY13" fmla="*/ 2381 h 352425"/>
                <a:gd name="connsiteX14" fmla="*/ 236542 w 429494"/>
                <a:gd name="connsiteY14" fmla="*/ 7144 h 352425"/>
                <a:gd name="connsiteX15" fmla="*/ 250830 w 429494"/>
                <a:gd name="connsiteY15" fmla="*/ 0 h 352425"/>
                <a:gd name="connsiteX16" fmla="*/ 255592 w 429494"/>
                <a:gd name="connsiteY16" fmla="*/ 7144 h 352425"/>
                <a:gd name="connsiteX17" fmla="*/ 272261 w 429494"/>
                <a:gd name="connsiteY17" fmla="*/ 11906 h 352425"/>
                <a:gd name="connsiteX18" fmla="*/ 279405 w 429494"/>
                <a:gd name="connsiteY18" fmla="*/ 9525 h 352425"/>
                <a:gd name="connsiteX19" fmla="*/ 281786 w 429494"/>
                <a:gd name="connsiteY19" fmla="*/ 2381 h 352425"/>
                <a:gd name="connsiteX20" fmla="*/ 286548 w 429494"/>
                <a:gd name="connsiteY20" fmla="*/ 9525 h 352425"/>
                <a:gd name="connsiteX21" fmla="*/ 298455 w 429494"/>
                <a:gd name="connsiteY21" fmla="*/ 30956 h 352425"/>
                <a:gd name="connsiteX22" fmla="*/ 300836 w 429494"/>
                <a:gd name="connsiteY22" fmla="*/ 38100 h 352425"/>
                <a:gd name="connsiteX23" fmla="*/ 307980 w 429494"/>
                <a:gd name="connsiteY23" fmla="*/ 40481 h 352425"/>
                <a:gd name="connsiteX24" fmla="*/ 329411 w 429494"/>
                <a:gd name="connsiteY24" fmla="*/ 42863 h 352425"/>
                <a:gd name="connsiteX25" fmla="*/ 336555 w 429494"/>
                <a:gd name="connsiteY25" fmla="*/ 40481 h 352425"/>
                <a:gd name="connsiteX26" fmla="*/ 348461 w 429494"/>
                <a:gd name="connsiteY26" fmla="*/ 52388 h 352425"/>
                <a:gd name="connsiteX27" fmla="*/ 355605 w 429494"/>
                <a:gd name="connsiteY27" fmla="*/ 57150 h 352425"/>
                <a:gd name="connsiteX28" fmla="*/ 369892 w 429494"/>
                <a:gd name="connsiteY28" fmla="*/ 80963 h 352425"/>
                <a:gd name="connsiteX29" fmla="*/ 365130 w 429494"/>
                <a:gd name="connsiteY29" fmla="*/ 109538 h 352425"/>
                <a:gd name="connsiteX30" fmla="*/ 353223 w 429494"/>
                <a:gd name="connsiteY30" fmla="*/ 140494 h 352425"/>
                <a:gd name="connsiteX31" fmla="*/ 360367 w 429494"/>
                <a:gd name="connsiteY31" fmla="*/ 142875 h 352425"/>
                <a:gd name="connsiteX32" fmla="*/ 367511 w 429494"/>
                <a:gd name="connsiteY32" fmla="*/ 147638 h 352425"/>
                <a:gd name="connsiteX33" fmla="*/ 386561 w 429494"/>
                <a:gd name="connsiteY33" fmla="*/ 145256 h 352425"/>
                <a:gd name="connsiteX34" fmla="*/ 396086 w 429494"/>
                <a:gd name="connsiteY34" fmla="*/ 142875 h 352425"/>
                <a:gd name="connsiteX35" fmla="*/ 398467 w 429494"/>
                <a:gd name="connsiteY35" fmla="*/ 152400 h 352425"/>
                <a:gd name="connsiteX36" fmla="*/ 410373 w 429494"/>
                <a:gd name="connsiteY36" fmla="*/ 164306 h 352425"/>
                <a:gd name="connsiteX37" fmla="*/ 412755 w 429494"/>
                <a:gd name="connsiteY37" fmla="*/ 171450 h 352425"/>
                <a:gd name="connsiteX38" fmla="*/ 417517 w 429494"/>
                <a:gd name="connsiteY38" fmla="*/ 185738 h 352425"/>
                <a:gd name="connsiteX39" fmla="*/ 429423 w 429494"/>
                <a:gd name="connsiteY39" fmla="*/ 195263 h 352425"/>
                <a:gd name="connsiteX40" fmla="*/ 427042 w 429494"/>
                <a:gd name="connsiteY40" fmla="*/ 204788 h 352425"/>
                <a:gd name="connsiteX41" fmla="*/ 422280 w 429494"/>
                <a:gd name="connsiteY41" fmla="*/ 219075 h 352425"/>
                <a:gd name="connsiteX42" fmla="*/ 419898 w 429494"/>
                <a:gd name="connsiteY42" fmla="*/ 228600 h 352425"/>
                <a:gd name="connsiteX43" fmla="*/ 412755 w 429494"/>
                <a:gd name="connsiteY43" fmla="*/ 230981 h 352425"/>
                <a:gd name="connsiteX44" fmla="*/ 405611 w 429494"/>
                <a:gd name="connsiteY44" fmla="*/ 235744 h 352425"/>
                <a:gd name="connsiteX45" fmla="*/ 400848 w 429494"/>
                <a:gd name="connsiteY45" fmla="*/ 252413 h 352425"/>
                <a:gd name="connsiteX46" fmla="*/ 372273 w 429494"/>
                <a:gd name="connsiteY46" fmla="*/ 250031 h 352425"/>
                <a:gd name="connsiteX47" fmla="*/ 369892 w 429494"/>
                <a:gd name="connsiteY47" fmla="*/ 257175 h 352425"/>
                <a:gd name="connsiteX48" fmla="*/ 362748 w 429494"/>
                <a:gd name="connsiteY48" fmla="*/ 273844 h 352425"/>
                <a:gd name="connsiteX49" fmla="*/ 355605 w 429494"/>
                <a:gd name="connsiteY49" fmla="*/ 278606 h 352425"/>
                <a:gd name="connsiteX50" fmla="*/ 353223 w 429494"/>
                <a:gd name="connsiteY50" fmla="*/ 285750 h 352425"/>
                <a:gd name="connsiteX51" fmla="*/ 350842 w 429494"/>
                <a:gd name="connsiteY51" fmla="*/ 297656 h 352425"/>
                <a:gd name="connsiteX52" fmla="*/ 348461 w 429494"/>
                <a:gd name="connsiteY52" fmla="*/ 309563 h 352425"/>
                <a:gd name="connsiteX53" fmla="*/ 343698 w 429494"/>
                <a:gd name="connsiteY53" fmla="*/ 316706 h 352425"/>
                <a:gd name="connsiteX54" fmla="*/ 350842 w 429494"/>
                <a:gd name="connsiteY54" fmla="*/ 319088 h 352425"/>
                <a:gd name="connsiteX55" fmla="*/ 348461 w 429494"/>
                <a:gd name="connsiteY55" fmla="*/ 333375 h 352425"/>
                <a:gd name="connsiteX56" fmla="*/ 346080 w 429494"/>
                <a:gd name="connsiteY56" fmla="*/ 345281 h 352425"/>
                <a:gd name="connsiteX57" fmla="*/ 338936 w 429494"/>
                <a:gd name="connsiteY57" fmla="*/ 347663 h 352425"/>
                <a:gd name="connsiteX58" fmla="*/ 322267 w 429494"/>
                <a:gd name="connsiteY58" fmla="*/ 352425 h 352425"/>
                <a:gd name="connsiteX59" fmla="*/ 307980 w 429494"/>
                <a:gd name="connsiteY59" fmla="*/ 350044 h 352425"/>
                <a:gd name="connsiteX60" fmla="*/ 296073 w 429494"/>
                <a:gd name="connsiteY60" fmla="*/ 335756 h 352425"/>
                <a:gd name="connsiteX61" fmla="*/ 288930 w 429494"/>
                <a:gd name="connsiteY61" fmla="*/ 330994 h 352425"/>
                <a:gd name="connsiteX62" fmla="*/ 274642 w 429494"/>
                <a:gd name="connsiteY62" fmla="*/ 326231 h 352425"/>
                <a:gd name="connsiteX63" fmla="*/ 269880 w 429494"/>
                <a:gd name="connsiteY63" fmla="*/ 319088 h 352425"/>
                <a:gd name="connsiteX64" fmla="*/ 267498 w 429494"/>
                <a:gd name="connsiteY64" fmla="*/ 311944 h 352425"/>
                <a:gd name="connsiteX65" fmla="*/ 260355 w 429494"/>
                <a:gd name="connsiteY65" fmla="*/ 309563 h 352425"/>
                <a:gd name="connsiteX66" fmla="*/ 248448 w 429494"/>
                <a:gd name="connsiteY66" fmla="*/ 300038 h 352425"/>
                <a:gd name="connsiteX67" fmla="*/ 243686 w 429494"/>
                <a:gd name="connsiteY67" fmla="*/ 292894 h 352425"/>
                <a:gd name="connsiteX68" fmla="*/ 246067 w 429494"/>
                <a:gd name="connsiteY68" fmla="*/ 271463 h 352425"/>
                <a:gd name="connsiteX69" fmla="*/ 248448 w 429494"/>
                <a:gd name="connsiteY69" fmla="*/ 264319 h 352425"/>
                <a:gd name="connsiteX70" fmla="*/ 246067 w 429494"/>
                <a:gd name="connsiteY70" fmla="*/ 240506 h 352425"/>
                <a:gd name="connsiteX71" fmla="*/ 227017 w 429494"/>
                <a:gd name="connsiteY71" fmla="*/ 245269 h 352425"/>
                <a:gd name="connsiteX72" fmla="*/ 224636 w 429494"/>
                <a:gd name="connsiteY72" fmla="*/ 261938 h 352425"/>
                <a:gd name="connsiteX73" fmla="*/ 217492 w 429494"/>
                <a:gd name="connsiteY73" fmla="*/ 264319 h 352425"/>
                <a:gd name="connsiteX74" fmla="*/ 205586 w 429494"/>
                <a:gd name="connsiteY74" fmla="*/ 266700 h 352425"/>
                <a:gd name="connsiteX75" fmla="*/ 177011 w 429494"/>
                <a:gd name="connsiteY75" fmla="*/ 261938 h 352425"/>
                <a:gd name="connsiteX76" fmla="*/ 169867 w 429494"/>
                <a:gd name="connsiteY76" fmla="*/ 257175 h 352425"/>
                <a:gd name="connsiteX77" fmla="*/ 165105 w 429494"/>
                <a:gd name="connsiteY77" fmla="*/ 250031 h 352425"/>
                <a:gd name="connsiteX78" fmla="*/ 169867 w 429494"/>
                <a:gd name="connsiteY78" fmla="*/ 233363 h 352425"/>
                <a:gd name="connsiteX79" fmla="*/ 167486 w 429494"/>
                <a:gd name="connsiteY79" fmla="*/ 216694 h 352425"/>
                <a:gd name="connsiteX80" fmla="*/ 165105 w 429494"/>
                <a:gd name="connsiteY80" fmla="*/ 197644 h 352425"/>
                <a:gd name="connsiteX81" fmla="*/ 157961 w 429494"/>
                <a:gd name="connsiteY81" fmla="*/ 200025 h 352425"/>
                <a:gd name="connsiteX82" fmla="*/ 141292 w 429494"/>
                <a:gd name="connsiteY82" fmla="*/ 197644 h 352425"/>
                <a:gd name="connsiteX83" fmla="*/ 134148 w 429494"/>
                <a:gd name="connsiteY83" fmla="*/ 200025 h 352425"/>
                <a:gd name="connsiteX84" fmla="*/ 122242 w 429494"/>
                <a:gd name="connsiteY84" fmla="*/ 202406 h 352425"/>
                <a:gd name="connsiteX85" fmla="*/ 115098 w 429494"/>
                <a:gd name="connsiteY85" fmla="*/ 200025 h 352425"/>
                <a:gd name="connsiteX86" fmla="*/ 119861 w 429494"/>
                <a:gd name="connsiteY86" fmla="*/ 178594 h 352425"/>
                <a:gd name="connsiteX87" fmla="*/ 117480 w 429494"/>
                <a:gd name="connsiteY87" fmla="*/ 171450 h 352425"/>
                <a:gd name="connsiteX88" fmla="*/ 110336 w 429494"/>
                <a:gd name="connsiteY88" fmla="*/ 169069 h 352425"/>
                <a:gd name="connsiteX89" fmla="*/ 107955 w 429494"/>
                <a:gd name="connsiteY89" fmla="*/ 159544 h 352425"/>
                <a:gd name="connsiteX90" fmla="*/ 84142 w 429494"/>
                <a:gd name="connsiteY90" fmla="*/ 152400 h 352425"/>
                <a:gd name="connsiteX91" fmla="*/ 60330 w 429494"/>
                <a:gd name="connsiteY91" fmla="*/ 152400 h 352425"/>
                <a:gd name="connsiteX92" fmla="*/ 65092 w 429494"/>
                <a:gd name="connsiteY92" fmla="*/ 138113 h 352425"/>
                <a:gd name="connsiteX93" fmla="*/ 41280 w 429494"/>
                <a:gd name="connsiteY93" fmla="*/ 116681 h 352425"/>
                <a:gd name="connsiteX94" fmla="*/ 22230 w 429494"/>
                <a:gd name="connsiteY94" fmla="*/ 100013 h 352425"/>
                <a:gd name="connsiteX95" fmla="*/ 15086 w 429494"/>
                <a:gd name="connsiteY95" fmla="*/ 95250 h 352425"/>
                <a:gd name="connsiteX96" fmla="*/ 7942 w 429494"/>
                <a:gd name="connsiteY96" fmla="*/ 90488 h 352425"/>
                <a:gd name="connsiteX97" fmla="*/ 3180 w 429494"/>
                <a:gd name="connsiteY97" fmla="*/ 83344 h 352425"/>
                <a:gd name="connsiteX98" fmla="*/ 3180 w 429494"/>
                <a:gd name="connsiteY98" fmla="*/ 52388 h 352425"/>
                <a:gd name="connsiteX99" fmla="*/ 17467 w 429494"/>
                <a:gd name="connsiteY99" fmla="*/ 42863 h 352425"/>
                <a:gd name="connsiteX100" fmla="*/ 22230 w 429494"/>
                <a:gd name="connsiteY100" fmla="*/ 35719 h 352425"/>
                <a:gd name="connsiteX101" fmla="*/ 36517 w 429494"/>
                <a:gd name="connsiteY101" fmla="*/ 28575 h 352425"/>
                <a:gd name="connsiteX102" fmla="*/ 43661 w 429494"/>
                <a:gd name="connsiteY102" fmla="*/ 21431 h 352425"/>
                <a:gd name="connsiteX103" fmla="*/ 50805 w 429494"/>
                <a:gd name="connsiteY103" fmla="*/ 19050 h 352425"/>
                <a:gd name="connsiteX104" fmla="*/ 86523 w 429494"/>
                <a:gd name="connsiteY104" fmla="*/ 19050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429494" h="352425">
                  <a:moveTo>
                    <a:pt x="86523" y="19050"/>
                  </a:moveTo>
                  <a:cubicBezTo>
                    <a:pt x="94461" y="20638"/>
                    <a:pt x="95122" y="24716"/>
                    <a:pt x="98430" y="28575"/>
                  </a:cubicBezTo>
                  <a:cubicBezTo>
                    <a:pt x="100064" y="30481"/>
                    <a:pt x="98397" y="35029"/>
                    <a:pt x="100811" y="35719"/>
                  </a:cubicBezTo>
                  <a:cubicBezTo>
                    <a:pt x="105453" y="37046"/>
                    <a:pt x="110336" y="34132"/>
                    <a:pt x="115098" y="33338"/>
                  </a:cubicBezTo>
                  <a:cubicBezTo>
                    <a:pt x="117479" y="32544"/>
                    <a:pt x="119997" y="32079"/>
                    <a:pt x="122242" y="30956"/>
                  </a:cubicBezTo>
                  <a:cubicBezTo>
                    <a:pt x="124802" y="29676"/>
                    <a:pt x="126546" y="26549"/>
                    <a:pt x="129386" y="26194"/>
                  </a:cubicBezTo>
                  <a:cubicBezTo>
                    <a:pt x="133565" y="25672"/>
                    <a:pt x="143771" y="29401"/>
                    <a:pt x="148436" y="30956"/>
                  </a:cubicBezTo>
                  <a:cubicBezTo>
                    <a:pt x="152048" y="33364"/>
                    <a:pt x="157794" y="38100"/>
                    <a:pt x="162723" y="38100"/>
                  </a:cubicBezTo>
                  <a:cubicBezTo>
                    <a:pt x="168472" y="38100"/>
                    <a:pt x="176135" y="35217"/>
                    <a:pt x="181773" y="33338"/>
                  </a:cubicBezTo>
                  <a:cubicBezTo>
                    <a:pt x="184154" y="31750"/>
                    <a:pt x="186069" y="28860"/>
                    <a:pt x="188917" y="28575"/>
                  </a:cubicBezTo>
                  <a:cubicBezTo>
                    <a:pt x="197339" y="27733"/>
                    <a:pt x="205061" y="30781"/>
                    <a:pt x="212730" y="33338"/>
                  </a:cubicBezTo>
                  <a:cubicBezTo>
                    <a:pt x="213524" y="30957"/>
                    <a:pt x="214567" y="28644"/>
                    <a:pt x="215111" y="26194"/>
                  </a:cubicBezTo>
                  <a:cubicBezTo>
                    <a:pt x="216745" y="18842"/>
                    <a:pt x="215535" y="10139"/>
                    <a:pt x="222255" y="4763"/>
                  </a:cubicBezTo>
                  <a:cubicBezTo>
                    <a:pt x="224215" y="3195"/>
                    <a:pt x="227017" y="3175"/>
                    <a:pt x="229398" y="2381"/>
                  </a:cubicBezTo>
                  <a:cubicBezTo>
                    <a:pt x="231779" y="3969"/>
                    <a:pt x="233719" y="6673"/>
                    <a:pt x="236542" y="7144"/>
                  </a:cubicBezTo>
                  <a:cubicBezTo>
                    <a:pt x="240486" y="7802"/>
                    <a:pt x="248342" y="1659"/>
                    <a:pt x="250830" y="0"/>
                  </a:cubicBezTo>
                  <a:cubicBezTo>
                    <a:pt x="252417" y="2381"/>
                    <a:pt x="252816" y="6450"/>
                    <a:pt x="255592" y="7144"/>
                  </a:cubicBezTo>
                  <a:cubicBezTo>
                    <a:pt x="274896" y="11970"/>
                    <a:pt x="267033" y="-3778"/>
                    <a:pt x="272261" y="11906"/>
                  </a:cubicBezTo>
                  <a:cubicBezTo>
                    <a:pt x="274642" y="11112"/>
                    <a:pt x="277630" y="11300"/>
                    <a:pt x="279405" y="9525"/>
                  </a:cubicBezTo>
                  <a:cubicBezTo>
                    <a:pt x="281180" y="7750"/>
                    <a:pt x="279276" y="2381"/>
                    <a:pt x="281786" y="2381"/>
                  </a:cubicBezTo>
                  <a:cubicBezTo>
                    <a:pt x="284648" y="2381"/>
                    <a:pt x="285386" y="6910"/>
                    <a:pt x="286548" y="9525"/>
                  </a:cubicBezTo>
                  <a:cubicBezTo>
                    <a:pt x="295871" y="30502"/>
                    <a:pt x="285417" y="17919"/>
                    <a:pt x="298455" y="30956"/>
                  </a:cubicBezTo>
                  <a:cubicBezTo>
                    <a:pt x="299249" y="33337"/>
                    <a:pt x="299061" y="36325"/>
                    <a:pt x="300836" y="38100"/>
                  </a:cubicBezTo>
                  <a:cubicBezTo>
                    <a:pt x="302611" y="39875"/>
                    <a:pt x="305504" y="40068"/>
                    <a:pt x="307980" y="40481"/>
                  </a:cubicBezTo>
                  <a:cubicBezTo>
                    <a:pt x="315070" y="41663"/>
                    <a:pt x="322267" y="42069"/>
                    <a:pt x="329411" y="42863"/>
                  </a:cubicBezTo>
                  <a:cubicBezTo>
                    <a:pt x="331792" y="42069"/>
                    <a:pt x="334079" y="40068"/>
                    <a:pt x="336555" y="40481"/>
                  </a:cubicBezTo>
                  <a:cubicBezTo>
                    <a:pt x="344173" y="41751"/>
                    <a:pt x="344017" y="47945"/>
                    <a:pt x="348461" y="52388"/>
                  </a:cubicBezTo>
                  <a:cubicBezTo>
                    <a:pt x="350485" y="54412"/>
                    <a:pt x="353224" y="55563"/>
                    <a:pt x="355605" y="57150"/>
                  </a:cubicBezTo>
                  <a:cubicBezTo>
                    <a:pt x="356399" y="62706"/>
                    <a:pt x="370289" y="67072"/>
                    <a:pt x="369892" y="80963"/>
                  </a:cubicBezTo>
                  <a:cubicBezTo>
                    <a:pt x="369892" y="90091"/>
                    <a:pt x="367908" y="99616"/>
                    <a:pt x="365130" y="109538"/>
                  </a:cubicBezTo>
                  <a:cubicBezTo>
                    <a:pt x="362352" y="119460"/>
                    <a:pt x="354017" y="134938"/>
                    <a:pt x="353223" y="140494"/>
                  </a:cubicBezTo>
                  <a:cubicBezTo>
                    <a:pt x="352429" y="146050"/>
                    <a:pt x="358122" y="141752"/>
                    <a:pt x="360367" y="142875"/>
                  </a:cubicBezTo>
                  <a:cubicBezTo>
                    <a:pt x="362927" y="144155"/>
                    <a:pt x="365130" y="146050"/>
                    <a:pt x="367511" y="147638"/>
                  </a:cubicBezTo>
                  <a:cubicBezTo>
                    <a:pt x="373861" y="146844"/>
                    <a:pt x="380249" y="146308"/>
                    <a:pt x="386561" y="145256"/>
                  </a:cubicBezTo>
                  <a:cubicBezTo>
                    <a:pt x="389789" y="144718"/>
                    <a:pt x="393280" y="141191"/>
                    <a:pt x="396086" y="142875"/>
                  </a:cubicBezTo>
                  <a:cubicBezTo>
                    <a:pt x="398892" y="144559"/>
                    <a:pt x="397178" y="149392"/>
                    <a:pt x="398467" y="152400"/>
                  </a:cubicBezTo>
                  <a:cubicBezTo>
                    <a:pt x="401642" y="159808"/>
                    <a:pt x="404024" y="160073"/>
                    <a:pt x="410373" y="164306"/>
                  </a:cubicBezTo>
                  <a:cubicBezTo>
                    <a:pt x="411167" y="166687"/>
                    <a:pt x="412755" y="168940"/>
                    <a:pt x="412755" y="171450"/>
                  </a:cubicBezTo>
                  <a:cubicBezTo>
                    <a:pt x="412755" y="191515"/>
                    <a:pt x="403824" y="194865"/>
                    <a:pt x="417517" y="185738"/>
                  </a:cubicBezTo>
                  <a:cubicBezTo>
                    <a:pt x="422923" y="187540"/>
                    <a:pt x="428346" y="187723"/>
                    <a:pt x="429423" y="195263"/>
                  </a:cubicBezTo>
                  <a:cubicBezTo>
                    <a:pt x="429886" y="198503"/>
                    <a:pt x="427982" y="201653"/>
                    <a:pt x="427042" y="204788"/>
                  </a:cubicBezTo>
                  <a:cubicBezTo>
                    <a:pt x="425600" y="209596"/>
                    <a:pt x="423498" y="214205"/>
                    <a:pt x="422280" y="219075"/>
                  </a:cubicBezTo>
                  <a:cubicBezTo>
                    <a:pt x="421486" y="222250"/>
                    <a:pt x="421943" y="226044"/>
                    <a:pt x="419898" y="228600"/>
                  </a:cubicBezTo>
                  <a:cubicBezTo>
                    <a:pt x="418330" y="230560"/>
                    <a:pt x="415136" y="230187"/>
                    <a:pt x="412755" y="230981"/>
                  </a:cubicBezTo>
                  <a:cubicBezTo>
                    <a:pt x="410374" y="232569"/>
                    <a:pt x="407399" y="233509"/>
                    <a:pt x="405611" y="235744"/>
                  </a:cubicBezTo>
                  <a:cubicBezTo>
                    <a:pt x="404370" y="237295"/>
                    <a:pt x="401003" y="251794"/>
                    <a:pt x="400848" y="252413"/>
                  </a:cubicBezTo>
                  <a:cubicBezTo>
                    <a:pt x="381980" y="246123"/>
                    <a:pt x="391513" y="246825"/>
                    <a:pt x="372273" y="250031"/>
                  </a:cubicBezTo>
                  <a:cubicBezTo>
                    <a:pt x="371479" y="252412"/>
                    <a:pt x="370582" y="254761"/>
                    <a:pt x="369892" y="257175"/>
                  </a:cubicBezTo>
                  <a:cubicBezTo>
                    <a:pt x="367706" y="264827"/>
                    <a:pt x="368549" y="268043"/>
                    <a:pt x="362748" y="273844"/>
                  </a:cubicBezTo>
                  <a:cubicBezTo>
                    <a:pt x="360725" y="275867"/>
                    <a:pt x="357986" y="277019"/>
                    <a:pt x="355605" y="278606"/>
                  </a:cubicBezTo>
                  <a:cubicBezTo>
                    <a:pt x="354811" y="280987"/>
                    <a:pt x="352810" y="283274"/>
                    <a:pt x="353223" y="285750"/>
                  </a:cubicBezTo>
                  <a:cubicBezTo>
                    <a:pt x="355287" y="298133"/>
                    <a:pt x="364654" y="288449"/>
                    <a:pt x="350842" y="297656"/>
                  </a:cubicBezTo>
                  <a:cubicBezTo>
                    <a:pt x="350048" y="301625"/>
                    <a:pt x="349882" y="305773"/>
                    <a:pt x="348461" y="309563"/>
                  </a:cubicBezTo>
                  <a:cubicBezTo>
                    <a:pt x="347456" y="312243"/>
                    <a:pt x="343004" y="313930"/>
                    <a:pt x="343698" y="316706"/>
                  </a:cubicBezTo>
                  <a:cubicBezTo>
                    <a:pt x="344307" y="319141"/>
                    <a:pt x="348461" y="318294"/>
                    <a:pt x="350842" y="319088"/>
                  </a:cubicBezTo>
                  <a:cubicBezTo>
                    <a:pt x="350048" y="323850"/>
                    <a:pt x="349325" y="328625"/>
                    <a:pt x="348461" y="333375"/>
                  </a:cubicBezTo>
                  <a:cubicBezTo>
                    <a:pt x="347737" y="337357"/>
                    <a:pt x="348325" y="341913"/>
                    <a:pt x="346080" y="345281"/>
                  </a:cubicBezTo>
                  <a:cubicBezTo>
                    <a:pt x="344688" y="347370"/>
                    <a:pt x="341350" y="346973"/>
                    <a:pt x="338936" y="347663"/>
                  </a:cubicBezTo>
                  <a:cubicBezTo>
                    <a:pt x="317979" y="353651"/>
                    <a:pt x="339416" y="346709"/>
                    <a:pt x="322267" y="352425"/>
                  </a:cubicBezTo>
                  <a:cubicBezTo>
                    <a:pt x="317505" y="351631"/>
                    <a:pt x="312392" y="352005"/>
                    <a:pt x="307980" y="350044"/>
                  </a:cubicBezTo>
                  <a:cubicBezTo>
                    <a:pt x="300959" y="346924"/>
                    <a:pt x="300880" y="340563"/>
                    <a:pt x="296073" y="335756"/>
                  </a:cubicBezTo>
                  <a:cubicBezTo>
                    <a:pt x="294050" y="333733"/>
                    <a:pt x="291545" y="332156"/>
                    <a:pt x="288930" y="330994"/>
                  </a:cubicBezTo>
                  <a:cubicBezTo>
                    <a:pt x="284342" y="328955"/>
                    <a:pt x="274642" y="326231"/>
                    <a:pt x="274642" y="326231"/>
                  </a:cubicBezTo>
                  <a:cubicBezTo>
                    <a:pt x="273055" y="323850"/>
                    <a:pt x="271160" y="321647"/>
                    <a:pt x="269880" y="319088"/>
                  </a:cubicBezTo>
                  <a:cubicBezTo>
                    <a:pt x="268757" y="316843"/>
                    <a:pt x="269273" y="313719"/>
                    <a:pt x="267498" y="311944"/>
                  </a:cubicBezTo>
                  <a:cubicBezTo>
                    <a:pt x="265723" y="310169"/>
                    <a:pt x="262736" y="310357"/>
                    <a:pt x="260355" y="309563"/>
                  </a:cubicBezTo>
                  <a:cubicBezTo>
                    <a:pt x="246703" y="289086"/>
                    <a:pt x="264882" y="313186"/>
                    <a:pt x="248448" y="300038"/>
                  </a:cubicBezTo>
                  <a:cubicBezTo>
                    <a:pt x="246213" y="298250"/>
                    <a:pt x="245273" y="295275"/>
                    <a:pt x="243686" y="292894"/>
                  </a:cubicBezTo>
                  <a:cubicBezTo>
                    <a:pt x="244480" y="285750"/>
                    <a:pt x="244885" y="278553"/>
                    <a:pt x="246067" y="271463"/>
                  </a:cubicBezTo>
                  <a:cubicBezTo>
                    <a:pt x="246480" y="268987"/>
                    <a:pt x="248448" y="266829"/>
                    <a:pt x="248448" y="264319"/>
                  </a:cubicBezTo>
                  <a:cubicBezTo>
                    <a:pt x="248448" y="256342"/>
                    <a:pt x="246861" y="248444"/>
                    <a:pt x="246067" y="240506"/>
                  </a:cubicBezTo>
                  <a:cubicBezTo>
                    <a:pt x="239717" y="242094"/>
                    <a:pt x="227943" y="238789"/>
                    <a:pt x="227017" y="245269"/>
                  </a:cubicBezTo>
                  <a:cubicBezTo>
                    <a:pt x="226223" y="250825"/>
                    <a:pt x="227146" y="256918"/>
                    <a:pt x="224636" y="261938"/>
                  </a:cubicBezTo>
                  <a:cubicBezTo>
                    <a:pt x="223513" y="264183"/>
                    <a:pt x="219927" y="263710"/>
                    <a:pt x="217492" y="264319"/>
                  </a:cubicBezTo>
                  <a:cubicBezTo>
                    <a:pt x="213566" y="265301"/>
                    <a:pt x="209555" y="265906"/>
                    <a:pt x="205586" y="266700"/>
                  </a:cubicBezTo>
                  <a:cubicBezTo>
                    <a:pt x="198800" y="265946"/>
                    <a:pt x="184988" y="265927"/>
                    <a:pt x="177011" y="261938"/>
                  </a:cubicBezTo>
                  <a:cubicBezTo>
                    <a:pt x="174451" y="260658"/>
                    <a:pt x="172248" y="258763"/>
                    <a:pt x="169867" y="257175"/>
                  </a:cubicBezTo>
                  <a:cubicBezTo>
                    <a:pt x="168280" y="254794"/>
                    <a:pt x="165510" y="252864"/>
                    <a:pt x="165105" y="250031"/>
                  </a:cubicBezTo>
                  <a:cubicBezTo>
                    <a:pt x="164806" y="247937"/>
                    <a:pt x="168973" y="236044"/>
                    <a:pt x="169867" y="233363"/>
                  </a:cubicBezTo>
                  <a:cubicBezTo>
                    <a:pt x="169073" y="227807"/>
                    <a:pt x="168228" y="222258"/>
                    <a:pt x="167486" y="216694"/>
                  </a:cubicBezTo>
                  <a:cubicBezTo>
                    <a:pt x="166640" y="210351"/>
                    <a:pt x="168280" y="203200"/>
                    <a:pt x="165105" y="197644"/>
                  </a:cubicBezTo>
                  <a:cubicBezTo>
                    <a:pt x="163860" y="195465"/>
                    <a:pt x="160342" y="199231"/>
                    <a:pt x="157961" y="200025"/>
                  </a:cubicBezTo>
                  <a:cubicBezTo>
                    <a:pt x="152405" y="199231"/>
                    <a:pt x="146905" y="197644"/>
                    <a:pt x="141292" y="197644"/>
                  </a:cubicBezTo>
                  <a:cubicBezTo>
                    <a:pt x="138782" y="197644"/>
                    <a:pt x="136583" y="199416"/>
                    <a:pt x="134148" y="200025"/>
                  </a:cubicBezTo>
                  <a:cubicBezTo>
                    <a:pt x="130222" y="201007"/>
                    <a:pt x="126211" y="201612"/>
                    <a:pt x="122242" y="202406"/>
                  </a:cubicBezTo>
                  <a:cubicBezTo>
                    <a:pt x="119861" y="201612"/>
                    <a:pt x="115788" y="202439"/>
                    <a:pt x="115098" y="200025"/>
                  </a:cubicBezTo>
                  <a:cubicBezTo>
                    <a:pt x="113809" y="195514"/>
                    <a:pt x="118076" y="183948"/>
                    <a:pt x="119861" y="178594"/>
                  </a:cubicBezTo>
                  <a:cubicBezTo>
                    <a:pt x="119067" y="176213"/>
                    <a:pt x="119255" y="173225"/>
                    <a:pt x="117480" y="171450"/>
                  </a:cubicBezTo>
                  <a:cubicBezTo>
                    <a:pt x="115705" y="169675"/>
                    <a:pt x="111904" y="171029"/>
                    <a:pt x="110336" y="169069"/>
                  </a:cubicBezTo>
                  <a:cubicBezTo>
                    <a:pt x="108292" y="166513"/>
                    <a:pt x="110440" y="161674"/>
                    <a:pt x="107955" y="159544"/>
                  </a:cubicBezTo>
                  <a:cubicBezTo>
                    <a:pt x="105567" y="157497"/>
                    <a:pt x="88756" y="153553"/>
                    <a:pt x="84142" y="152400"/>
                  </a:cubicBezTo>
                  <a:cubicBezTo>
                    <a:pt x="77886" y="154485"/>
                    <a:pt x="65591" y="159766"/>
                    <a:pt x="60330" y="152400"/>
                  </a:cubicBezTo>
                  <a:cubicBezTo>
                    <a:pt x="57412" y="148315"/>
                    <a:pt x="65092" y="138113"/>
                    <a:pt x="65092" y="138113"/>
                  </a:cubicBezTo>
                  <a:cubicBezTo>
                    <a:pt x="58778" y="112855"/>
                    <a:pt x="66825" y="119875"/>
                    <a:pt x="41280" y="116681"/>
                  </a:cubicBezTo>
                  <a:cubicBezTo>
                    <a:pt x="33342" y="104776"/>
                    <a:pt x="38898" y="111126"/>
                    <a:pt x="22230" y="100013"/>
                  </a:cubicBezTo>
                  <a:lnTo>
                    <a:pt x="15086" y="95250"/>
                  </a:lnTo>
                  <a:lnTo>
                    <a:pt x="7942" y="90488"/>
                  </a:lnTo>
                  <a:cubicBezTo>
                    <a:pt x="6355" y="88107"/>
                    <a:pt x="4460" y="85904"/>
                    <a:pt x="3180" y="83344"/>
                  </a:cubicBezTo>
                  <a:cubicBezTo>
                    <a:pt x="-1295" y="74395"/>
                    <a:pt x="-820" y="60387"/>
                    <a:pt x="3180" y="52388"/>
                  </a:cubicBezTo>
                  <a:cubicBezTo>
                    <a:pt x="5740" y="47269"/>
                    <a:pt x="17467" y="42863"/>
                    <a:pt x="17467" y="42863"/>
                  </a:cubicBezTo>
                  <a:cubicBezTo>
                    <a:pt x="19055" y="40482"/>
                    <a:pt x="20206" y="37743"/>
                    <a:pt x="22230" y="35719"/>
                  </a:cubicBezTo>
                  <a:cubicBezTo>
                    <a:pt x="26847" y="31101"/>
                    <a:pt x="30705" y="30512"/>
                    <a:pt x="36517" y="28575"/>
                  </a:cubicBezTo>
                  <a:cubicBezTo>
                    <a:pt x="38898" y="26194"/>
                    <a:pt x="40859" y="23299"/>
                    <a:pt x="43661" y="21431"/>
                  </a:cubicBezTo>
                  <a:cubicBezTo>
                    <a:pt x="45750" y="20039"/>
                    <a:pt x="48295" y="19050"/>
                    <a:pt x="50805" y="19050"/>
                  </a:cubicBezTo>
                  <a:cubicBezTo>
                    <a:pt x="61946" y="19050"/>
                    <a:pt x="78585" y="17462"/>
                    <a:pt x="86523" y="19050"/>
                  </a:cubicBezTo>
                  <a:close/>
                </a:path>
              </a:pathLst>
            </a:custGeom>
            <a:solidFill>
              <a:srgbClr val="003399"/>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nvGrpSpPr>
            <p:cNvPr id="324" name="Group 323">
              <a:extLst>
                <a:ext uri="{FF2B5EF4-FFF2-40B4-BE49-F238E27FC236}">
                  <a16:creationId xmlns:a16="http://schemas.microsoft.com/office/drawing/2014/main" id="{AA040B63-07D9-46C6-804D-2917B7F6B553}"/>
                </a:ext>
              </a:extLst>
            </p:cNvPr>
            <p:cNvGrpSpPr/>
            <p:nvPr/>
          </p:nvGrpSpPr>
          <p:grpSpPr>
            <a:xfrm>
              <a:off x="6272297" y="3496678"/>
              <a:ext cx="441041" cy="512356"/>
              <a:chOff x="3547553" y="3900100"/>
              <a:chExt cx="441041" cy="512356"/>
            </a:xfrm>
            <a:solidFill>
              <a:srgbClr val="003399"/>
            </a:solidFill>
          </p:grpSpPr>
          <p:grpSp>
            <p:nvGrpSpPr>
              <p:cNvPr id="839" name="Group 838">
                <a:extLst>
                  <a:ext uri="{FF2B5EF4-FFF2-40B4-BE49-F238E27FC236}">
                    <a16:creationId xmlns:a16="http://schemas.microsoft.com/office/drawing/2014/main" id="{0E8DF605-1548-4E75-B15B-F537D8001153}"/>
                  </a:ext>
                </a:extLst>
              </p:cNvPr>
              <p:cNvGrpSpPr/>
              <p:nvPr/>
            </p:nvGrpSpPr>
            <p:grpSpPr>
              <a:xfrm>
                <a:off x="3547553" y="3900100"/>
                <a:ext cx="441041" cy="512356"/>
                <a:chOff x="3547553" y="3900100"/>
                <a:chExt cx="441041" cy="512356"/>
              </a:xfrm>
              <a:grpFill/>
            </p:grpSpPr>
            <p:sp>
              <p:nvSpPr>
                <p:cNvPr id="841" name="Freeform: Shape 840">
                  <a:extLst>
                    <a:ext uri="{FF2B5EF4-FFF2-40B4-BE49-F238E27FC236}">
                      <a16:creationId xmlns:a16="http://schemas.microsoft.com/office/drawing/2014/main" id="{217ABDE9-C281-4793-9180-5787F830A7F4}"/>
                    </a:ext>
                  </a:extLst>
                </p:cNvPr>
                <p:cNvSpPr/>
                <p:nvPr/>
              </p:nvSpPr>
              <p:spPr>
                <a:xfrm>
                  <a:off x="3547553" y="3924261"/>
                  <a:ext cx="441041" cy="488195"/>
                </a:xfrm>
                <a:custGeom>
                  <a:avLst/>
                  <a:gdLst>
                    <a:gd name="connsiteX0" fmla="*/ 371985 w 441041"/>
                    <a:gd name="connsiteY0" fmla="*/ 39 h 488195"/>
                    <a:gd name="connsiteX1" fmla="*/ 386272 w 441041"/>
                    <a:gd name="connsiteY1" fmla="*/ 7183 h 488195"/>
                    <a:gd name="connsiteX2" fmla="*/ 400560 w 441041"/>
                    <a:gd name="connsiteY2" fmla="*/ 16708 h 488195"/>
                    <a:gd name="connsiteX3" fmla="*/ 405322 w 441041"/>
                    <a:gd name="connsiteY3" fmla="*/ 23852 h 488195"/>
                    <a:gd name="connsiteX4" fmla="*/ 407703 w 441041"/>
                    <a:gd name="connsiteY4" fmla="*/ 33377 h 488195"/>
                    <a:gd name="connsiteX5" fmla="*/ 414847 w 441041"/>
                    <a:gd name="connsiteY5" fmla="*/ 35758 h 488195"/>
                    <a:gd name="connsiteX6" fmla="*/ 421991 w 441041"/>
                    <a:gd name="connsiteY6" fmla="*/ 40520 h 488195"/>
                    <a:gd name="connsiteX7" fmla="*/ 441041 w 441041"/>
                    <a:gd name="connsiteY7" fmla="*/ 45283 h 488195"/>
                    <a:gd name="connsiteX8" fmla="*/ 438660 w 441041"/>
                    <a:gd name="connsiteY8" fmla="*/ 64333 h 488195"/>
                    <a:gd name="connsiteX9" fmla="*/ 436278 w 441041"/>
                    <a:gd name="connsiteY9" fmla="*/ 78620 h 488195"/>
                    <a:gd name="connsiteX10" fmla="*/ 433897 w 441041"/>
                    <a:gd name="connsiteY10" fmla="*/ 100052 h 488195"/>
                    <a:gd name="connsiteX11" fmla="*/ 426753 w 441041"/>
                    <a:gd name="connsiteY11" fmla="*/ 104814 h 488195"/>
                    <a:gd name="connsiteX12" fmla="*/ 424372 w 441041"/>
                    <a:gd name="connsiteY12" fmla="*/ 111958 h 488195"/>
                    <a:gd name="connsiteX13" fmla="*/ 419610 w 441041"/>
                    <a:gd name="connsiteY13" fmla="*/ 119102 h 488195"/>
                    <a:gd name="connsiteX14" fmla="*/ 414847 w 441041"/>
                    <a:gd name="connsiteY14" fmla="*/ 142914 h 488195"/>
                    <a:gd name="connsiteX15" fmla="*/ 388653 w 441041"/>
                    <a:gd name="connsiteY15" fmla="*/ 147677 h 488195"/>
                    <a:gd name="connsiteX16" fmla="*/ 383891 w 441041"/>
                    <a:gd name="connsiteY16" fmla="*/ 154820 h 488195"/>
                    <a:gd name="connsiteX17" fmla="*/ 381510 w 441041"/>
                    <a:gd name="connsiteY17" fmla="*/ 166727 h 488195"/>
                    <a:gd name="connsiteX18" fmla="*/ 379128 w 441041"/>
                    <a:gd name="connsiteY18" fmla="*/ 173870 h 488195"/>
                    <a:gd name="connsiteX19" fmla="*/ 381510 w 441041"/>
                    <a:gd name="connsiteY19" fmla="*/ 181014 h 488195"/>
                    <a:gd name="connsiteX20" fmla="*/ 402941 w 441041"/>
                    <a:gd name="connsiteY20" fmla="*/ 181014 h 488195"/>
                    <a:gd name="connsiteX21" fmla="*/ 407703 w 441041"/>
                    <a:gd name="connsiteY21" fmla="*/ 188158 h 488195"/>
                    <a:gd name="connsiteX22" fmla="*/ 402941 w 441041"/>
                    <a:gd name="connsiteY22" fmla="*/ 197683 h 488195"/>
                    <a:gd name="connsiteX23" fmla="*/ 398178 w 441041"/>
                    <a:gd name="connsiteY23" fmla="*/ 211970 h 488195"/>
                    <a:gd name="connsiteX24" fmla="*/ 388653 w 441041"/>
                    <a:gd name="connsiteY24" fmla="*/ 226258 h 488195"/>
                    <a:gd name="connsiteX25" fmla="*/ 395797 w 441041"/>
                    <a:gd name="connsiteY25" fmla="*/ 228639 h 488195"/>
                    <a:gd name="connsiteX26" fmla="*/ 388653 w 441041"/>
                    <a:gd name="connsiteY26" fmla="*/ 242927 h 488195"/>
                    <a:gd name="connsiteX27" fmla="*/ 371985 w 441041"/>
                    <a:gd name="connsiteY27" fmla="*/ 245308 h 488195"/>
                    <a:gd name="connsiteX28" fmla="*/ 374366 w 441041"/>
                    <a:gd name="connsiteY28" fmla="*/ 252452 h 488195"/>
                    <a:gd name="connsiteX29" fmla="*/ 381510 w 441041"/>
                    <a:gd name="connsiteY29" fmla="*/ 266739 h 488195"/>
                    <a:gd name="connsiteX30" fmla="*/ 376747 w 441041"/>
                    <a:gd name="connsiteY30" fmla="*/ 273883 h 488195"/>
                    <a:gd name="connsiteX31" fmla="*/ 362460 w 441041"/>
                    <a:gd name="connsiteY31" fmla="*/ 278645 h 488195"/>
                    <a:gd name="connsiteX32" fmla="*/ 355316 w 441041"/>
                    <a:gd name="connsiteY32" fmla="*/ 281027 h 488195"/>
                    <a:gd name="connsiteX33" fmla="*/ 324360 w 441041"/>
                    <a:gd name="connsiteY33" fmla="*/ 285789 h 488195"/>
                    <a:gd name="connsiteX34" fmla="*/ 298166 w 441041"/>
                    <a:gd name="connsiteY34" fmla="*/ 288170 h 488195"/>
                    <a:gd name="connsiteX35" fmla="*/ 295785 w 441041"/>
                    <a:gd name="connsiteY35" fmla="*/ 295314 h 488195"/>
                    <a:gd name="connsiteX36" fmla="*/ 300547 w 441041"/>
                    <a:gd name="connsiteY36" fmla="*/ 309602 h 488195"/>
                    <a:gd name="connsiteX37" fmla="*/ 302928 w 441041"/>
                    <a:gd name="connsiteY37" fmla="*/ 326270 h 488195"/>
                    <a:gd name="connsiteX38" fmla="*/ 305310 w 441041"/>
                    <a:gd name="connsiteY38" fmla="*/ 350083 h 488195"/>
                    <a:gd name="connsiteX39" fmla="*/ 312453 w 441041"/>
                    <a:gd name="connsiteY39" fmla="*/ 354845 h 488195"/>
                    <a:gd name="connsiteX40" fmla="*/ 314835 w 441041"/>
                    <a:gd name="connsiteY40" fmla="*/ 361989 h 488195"/>
                    <a:gd name="connsiteX41" fmla="*/ 305310 w 441041"/>
                    <a:gd name="connsiteY41" fmla="*/ 383420 h 488195"/>
                    <a:gd name="connsiteX42" fmla="*/ 295785 w 441041"/>
                    <a:gd name="connsiteY42" fmla="*/ 385802 h 488195"/>
                    <a:gd name="connsiteX43" fmla="*/ 295785 w 441041"/>
                    <a:gd name="connsiteY43" fmla="*/ 414377 h 488195"/>
                    <a:gd name="connsiteX44" fmla="*/ 302928 w 441041"/>
                    <a:gd name="connsiteY44" fmla="*/ 411995 h 488195"/>
                    <a:gd name="connsiteX45" fmla="*/ 295785 w 441041"/>
                    <a:gd name="connsiteY45" fmla="*/ 416758 h 488195"/>
                    <a:gd name="connsiteX46" fmla="*/ 291022 w 441041"/>
                    <a:gd name="connsiteY46" fmla="*/ 423902 h 488195"/>
                    <a:gd name="connsiteX47" fmla="*/ 276735 w 441041"/>
                    <a:gd name="connsiteY47" fmla="*/ 438189 h 488195"/>
                    <a:gd name="connsiteX48" fmla="*/ 279116 w 441041"/>
                    <a:gd name="connsiteY48" fmla="*/ 459620 h 488195"/>
                    <a:gd name="connsiteX49" fmla="*/ 286260 w 441041"/>
                    <a:gd name="connsiteY49" fmla="*/ 464383 h 488195"/>
                    <a:gd name="connsiteX50" fmla="*/ 291022 w 441041"/>
                    <a:gd name="connsiteY50" fmla="*/ 471527 h 488195"/>
                    <a:gd name="connsiteX51" fmla="*/ 283878 w 441041"/>
                    <a:gd name="connsiteY51" fmla="*/ 476289 h 488195"/>
                    <a:gd name="connsiteX52" fmla="*/ 276735 w 441041"/>
                    <a:gd name="connsiteY52" fmla="*/ 478670 h 488195"/>
                    <a:gd name="connsiteX53" fmla="*/ 264828 w 441041"/>
                    <a:gd name="connsiteY53" fmla="*/ 488195 h 488195"/>
                    <a:gd name="connsiteX54" fmla="*/ 262447 w 441041"/>
                    <a:gd name="connsiteY54" fmla="*/ 481052 h 488195"/>
                    <a:gd name="connsiteX55" fmla="*/ 245778 w 441041"/>
                    <a:gd name="connsiteY55" fmla="*/ 478670 h 488195"/>
                    <a:gd name="connsiteX56" fmla="*/ 248160 w 441041"/>
                    <a:gd name="connsiteY56" fmla="*/ 464383 h 488195"/>
                    <a:gd name="connsiteX57" fmla="*/ 255303 w 441041"/>
                    <a:gd name="connsiteY57" fmla="*/ 457239 h 488195"/>
                    <a:gd name="connsiteX58" fmla="*/ 262447 w 441041"/>
                    <a:gd name="connsiteY58" fmla="*/ 440570 h 488195"/>
                    <a:gd name="connsiteX59" fmla="*/ 264828 w 441041"/>
                    <a:gd name="connsiteY59" fmla="*/ 411995 h 488195"/>
                    <a:gd name="connsiteX60" fmla="*/ 252922 w 441041"/>
                    <a:gd name="connsiteY60" fmla="*/ 409614 h 488195"/>
                    <a:gd name="connsiteX61" fmla="*/ 250541 w 441041"/>
                    <a:gd name="connsiteY61" fmla="*/ 402470 h 488195"/>
                    <a:gd name="connsiteX62" fmla="*/ 229110 w 441041"/>
                    <a:gd name="connsiteY62" fmla="*/ 390564 h 488195"/>
                    <a:gd name="connsiteX63" fmla="*/ 217203 w 441041"/>
                    <a:gd name="connsiteY63" fmla="*/ 378658 h 488195"/>
                    <a:gd name="connsiteX64" fmla="*/ 210060 w 441041"/>
                    <a:gd name="connsiteY64" fmla="*/ 381039 h 488195"/>
                    <a:gd name="connsiteX65" fmla="*/ 193391 w 441041"/>
                    <a:gd name="connsiteY65" fmla="*/ 378658 h 488195"/>
                    <a:gd name="connsiteX66" fmla="*/ 191010 w 441041"/>
                    <a:gd name="connsiteY66" fmla="*/ 371514 h 488195"/>
                    <a:gd name="connsiteX67" fmla="*/ 188628 w 441041"/>
                    <a:gd name="connsiteY67" fmla="*/ 361989 h 488195"/>
                    <a:gd name="connsiteX68" fmla="*/ 183866 w 441041"/>
                    <a:gd name="connsiteY68" fmla="*/ 347702 h 488195"/>
                    <a:gd name="connsiteX69" fmla="*/ 171960 w 441041"/>
                    <a:gd name="connsiteY69" fmla="*/ 359608 h 488195"/>
                    <a:gd name="connsiteX70" fmla="*/ 164816 w 441041"/>
                    <a:gd name="connsiteY70" fmla="*/ 352464 h 488195"/>
                    <a:gd name="connsiteX71" fmla="*/ 157672 w 441041"/>
                    <a:gd name="connsiteY71" fmla="*/ 347702 h 488195"/>
                    <a:gd name="connsiteX72" fmla="*/ 141003 w 441041"/>
                    <a:gd name="connsiteY72" fmla="*/ 345320 h 488195"/>
                    <a:gd name="connsiteX73" fmla="*/ 131478 w 441041"/>
                    <a:gd name="connsiteY73" fmla="*/ 347702 h 488195"/>
                    <a:gd name="connsiteX74" fmla="*/ 129097 w 441041"/>
                    <a:gd name="connsiteY74" fmla="*/ 354845 h 488195"/>
                    <a:gd name="connsiteX75" fmla="*/ 114810 w 441041"/>
                    <a:gd name="connsiteY75" fmla="*/ 350083 h 488195"/>
                    <a:gd name="connsiteX76" fmla="*/ 107666 w 441041"/>
                    <a:gd name="connsiteY76" fmla="*/ 347702 h 488195"/>
                    <a:gd name="connsiteX77" fmla="*/ 95760 w 441041"/>
                    <a:gd name="connsiteY77" fmla="*/ 359608 h 488195"/>
                    <a:gd name="connsiteX78" fmla="*/ 93378 w 441041"/>
                    <a:gd name="connsiteY78" fmla="*/ 366752 h 488195"/>
                    <a:gd name="connsiteX79" fmla="*/ 86235 w 441041"/>
                    <a:gd name="connsiteY79" fmla="*/ 369133 h 488195"/>
                    <a:gd name="connsiteX80" fmla="*/ 79091 w 441041"/>
                    <a:gd name="connsiteY80" fmla="*/ 373895 h 488195"/>
                    <a:gd name="connsiteX81" fmla="*/ 62422 w 441041"/>
                    <a:gd name="connsiteY81" fmla="*/ 378658 h 488195"/>
                    <a:gd name="connsiteX82" fmla="*/ 55278 w 441041"/>
                    <a:gd name="connsiteY82" fmla="*/ 381039 h 488195"/>
                    <a:gd name="connsiteX83" fmla="*/ 45753 w 441041"/>
                    <a:gd name="connsiteY83" fmla="*/ 378658 h 488195"/>
                    <a:gd name="connsiteX84" fmla="*/ 31466 w 441041"/>
                    <a:gd name="connsiteY84" fmla="*/ 376277 h 488195"/>
                    <a:gd name="connsiteX85" fmla="*/ 24322 w 441041"/>
                    <a:gd name="connsiteY85" fmla="*/ 373895 h 488195"/>
                    <a:gd name="connsiteX86" fmla="*/ 2891 w 441041"/>
                    <a:gd name="connsiteY86" fmla="*/ 373895 h 488195"/>
                    <a:gd name="connsiteX87" fmla="*/ 510 w 441041"/>
                    <a:gd name="connsiteY87" fmla="*/ 366752 h 488195"/>
                    <a:gd name="connsiteX88" fmla="*/ 14797 w 441041"/>
                    <a:gd name="connsiteY88" fmla="*/ 361989 h 488195"/>
                    <a:gd name="connsiteX89" fmla="*/ 33847 w 441041"/>
                    <a:gd name="connsiteY89" fmla="*/ 359608 h 488195"/>
                    <a:gd name="connsiteX90" fmla="*/ 50516 w 441041"/>
                    <a:gd name="connsiteY90" fmla="*/ 357227 h 488195"/>
                    <a:gd name="connsiteX91" fmla="*/ 71947 w 441041"/>
                    <a:gd name="connsiteY91" fmla="*/ 354845 h 488195"/>
                    <a:gd name="connsiteX92" fmla="*/ 79091 w 441041"/>
                    <a:gd name="connsiteY92" fmla="*/ 352464 h 488195"/>
                    <a:gd name="connsiteX93" fmla="*/ 88616 w 441041"/>
                    <a:gd name="connsiteY93" fmla="*/ 357227 h 488195"/>
                    <a:gd name="connsiteX94" fmla="*/ 86235 w 441041"/>
                    <a:gd name="connsiteY94" fmla="*/ 350083 h 488195"/>
                    <a:gd name="connsiteX95" fmla="*/ 71947 w 441041"/>
                    <a:gd name="connsiteY95" fmla="*/ 347702 h 488195"/>
                    <a:gd name="connsiteX96" fmla="*/ 31466 w 441041"/>
                    <a:gd name="connsiteY96" fmla="*/ 345320 h 488195"/>
                    <a:gd name="connsiteX97" fmla="*/ 17178 w 441041"/>
                    <a:gd name="connsiteY97" fmla="*/ 333414 h 488195"/>
                    <a:gd name="connsiteX98" fmla="*/ 12416 w 441041"/>
                    <a:gd name="connsiteY98" fmla="*/ 319127 h 488195"/>
                    <a:gd name="connsiteX99" fmla="*/ 19560 w 441041"/>
                    <a:gd name="connsiteY99" fmla="*/ 314364 h 488195"/>
                    <a:gd name="connsiteX100" fmla="*/ 26703 w 441041"/>
                    <a:gd name="connsiteY100" fmla="*/ 319127 h 488195"/>
                    <a:gd name="connsiteX101" fmla="*/ 33847 w 441041"/>
                    <a:gd name="connsiteY101" fmla="*/ 321508 h 488195"/>
                    <a:gd name="connsiteX102" fmla="*/ 38610 w 441041"/>
                    <a:gd name="connsiteY102" fmla="*/ 328652 h 488195"/>
                    <a:gd name="connsiteX103" fmla="*/ 45753 w 441041"/>
                    <a:gd name="connsiteY103" fmla="*/ 331033 h 488195"/>
                    <a:gd name="connsiteX104" fmla="*/ 48135 w 441041"/>
                    <a:gd name="connsiteY104" fmla="*/ 338177 h 488195"/>
                    <a:gd name="connsiteX105" fmla="*/ 62422 w 441041"/>
                    <a:gd name="connsiteY105" fmla="*/ 340558 h 488195"/>
                    <a:gd name="connsiteX106" fmla="*/ 81472 w 441041"/>
                    <a:gd name="connsiteY106" fmla="*/ 338177 h 488195"/>
                    <a:gd name="connsiteX107" fmla="*/ 81472 w 441041"/>
                    <a:gd name="connsiteY107" fmla="*/ 323889 h 488195"/>
                    <a:gd name="connsiteX108" fmla="*/ 74328 w 441041"/>
                    <a:gd name="connsiteY108" fmla="*/ 321508 h 488195"/>
                    <a:gd name="connsiteX109" fmla="*/ 67185 w 441041"/>
                    <a:gd name="connsiteY109" fmla="*/ 316745 h 488195"/>
                    <a:gd name="connsiteX110" fmla="*/ 29085 w 441041"/>
                    <a:gd name="connsiteY110" fmla="*/ 311983 h 488195"/>
                    <a:gd name="connsiteX111" fmla="*/ 33847 w 441041"/>
                    <a:gd name="connsiteY111" fmla="*/ 304839 h 488195"/>
                    <a:gd name="connsiteX112" fmla="*/ 36228 w 441041"/>
                    <a:gd name="connsiteY112" fmla="*/ 297695 h 488195"/>
                    <a:gd name="connsiteX113" fmla="*/ 43372 w 441041"/>
                    <a:gd name="connsiteY113" fmla="*/ 295314 h 488195"/>
                    <a:gd name="connsiteX114" fmla="*/ 69566 w 441041"/>
                    <a:gd name="connsiteY114" fmla="*/ 304839 h 488195"/>
                    <a:gd name="connsiteX115" fmla="*/ 71947 w 441041"/>
                    <a:gd name="connsiteY115" fmla="*/ 311983 h 488195"/>
                    <a:gd name="connsiteX116" fmla="*/ 86235 w 441041"/>
                    <a:gd name="connsiteY116" fmla="*/ 316745 h 488195"/>
                    <a:gd name="connsiteX117" fmla="*/ 95760 w 441041"/>
                    <a:gd name="connsiteY117" fmla="*/ 311983 h 488195"/>
                    <a:gd name="connsiteX118" fmla="*/ 88616 w 441041"/>
                    <a:gd name="connsiteY118" fmla="*/ 304839 h 488195"/>
                    <a:gd name="connsiteX119" fmla="*/ 71947 w 441041"/>
                    <a:gd name="connsiteY119" fmla="*/ 300077 h 488195"/>
                    <a:gd name="connsiteX120" fmla="*/ 64803 w 441041"/>
                    <a:gd name="connsiteY120" fmla="*/ 295314 h 488195"/>
                    <a:gd name="connsiteX121" fmla="*/ 57660 w 441041"/>
                    <a:gd name="connsiteY121" fmla="*/ 292933 h 488195"/>
                    <a:gd name="connsiteX122" fmla="*/ 48135 w 441041"/>
                    <a:gd name="connsiteY122" fmla="*/ 278645 h 488195"/>
                    <a:gd name="connsiteX123" fmla="*/ 60041 w 441041"/>
                    <a:gd name="connsiteY123" fmla="*/ 281027 h 488195"/>
                    <a:gd name="connsiteX124" fmla="*/ 67185 w 441041"/>
                    <a:gd name="connsiteY124" fmla="*/ 285789 h 488195"/>
                    <a:gd name="connsiteX125" fmla="*/ 74328 w 441041"/>
                    <a:gd name="connsiteY125" fmla="*/ 288170 h 488195"/>
                    <a:gd name="connsiteX126" fmla="*/ 79091 w 441041"/>
                    <a:gd name="connsiteY126" fmla="*/ 295314 h 488195"/>
                    <a:gd name="connsiteX127" fmla="*/ 81472 w 441041"/>
                    <a:gd name="connsiteY127" fmla="*/ 288170 h 488195"/>
                    <a:gd name="connsiteX128" fmla="*/ 71947 w 441041"/>
                    <a:gd name="connsiteY128" fmla="*/ 278645 h 488195"/>
                    <a:gd name="connsiteX129" fmla="*/ 64803 w 441041"/>
                    <a:gd name="connsiteY129" fmla="*/ 273883 h 488195"/>
                    <a:gd name="connsiteX130" fmla="*/ 69566 w 441041"/>
                    <a:gd name="connsiteY130" fmla="*/ 257214 h 488195"/>
                    <a:gd name="connsiteX131" fmla="*/ 86235 w 441041"/>
                    <a:gd name="connsiteY131" fmla="*/ 252452 h 488195"/>
                    <a:gd name="connsiteX132" fmla="*/ 100522 w 441041"/>
                    <a:gd name="connsiteY132" fmla="*/ 242927 h 488195"/>
                    <a:gd name="connsiteX133" fmla="*/ 110047 w 441041"/>
                    <a:gd name="connsiteY133" fmla="*/ 231020 h 488195"/>
                    <a:gd name="connsiteX134" fmla="*/ 119572 w 441041"/>
                    <a:gd name="connsiteY134" fmla="*/ 216733 h 488195"/>
                    <a:gd name="connsiteX135" fmla="*/ 126716 w 441041"/>
                    <a:gd name="connsiteY135" fmla="*/ 202445 h 488195"/>
                    <a:gd name="connsiteX136" fmla="*/ 133860 w 441041"/>
                    <a:gd name="connsiteY136" fmla="*/ 181014 h 488195"/>
                    <a:gd name="connsiteX137" fmla="*/ 136241 w 441041"/>
                    <a:gd name="connsiteY137" fmla="*/ 173870 h 488195"/>
                    <a:gd name="connsiteX138" fmla="*/ 141003 w 441041"/>
                    <a:gd name="connsiteY138" fmla="*/ 166727 h 488195"/>
                    <a:gd name="connsiteX139" fmla="*/ 148147 w 441041"/>
                    <a:gd name="connsiteY139" fmla="*/ 152439 h 488195"/>
                    <a:gd name="connsiteX140" fmla="*/ 150528 w 441041"/>
                    <a:gd name="connsiteY140" fmla="*/ 142914 h 488195"/>
                    <a:gd name="connsiteX141" fmla="*/ 152910 w 441041"/>
                    <a:gd name="connsiteY141" fmla="*/ 131008 h 488195"/>
                    <a:gd name="connsiteX142" fmla="*/ 155291 w 441041"/>
                    <a:gd name="connsiteY142" fmla="*/ 123864 h 488195"/>
                    <a:gd name="connsiteX143" fmla="*/ 157672 w 441041"/>
                    <a:gd name="connsiteY143" fmla="*/ 111958 h 488195"/>
                    <a:gd name="connsiteX144" fmla="*/ 162435 w 441041"/>
                    <a:gd name="connsiteY144" fmla="*/ 90527 h 488195"/>
                    <a:gd name="connsiteX145" fmla="*/ 164816 w 441041"/>
                    <a:gd name="connsiteY145" fmla="*/ 52427 h 488195"/>
                    <a:gd name="connsiteX146" fmla="*/ 167197 w 441041"/>
                    <a:gd name="connsiteY146" fmla="*/ 45283 h 488195"/>
                    <a:gd name="connsiteX147" fmla="*/ 174341 w 441041"/>
                    <a:gd name="connsiteY147" fmla="*/ 40520 h 488195"/>
                    <a:gd name="connsiteX148" fmla="*/ 181485 w 441041"/>
                    <a:gd name="connsiteY148" fmla="*/ 54808 h 488195"/>
                    <a:gd name="connsiteX149" fmla="*/ 174341 w 441041"/>
                    <a:gd name="connsiteY149" fmla="*/ 61952 h 488195"/>
                    <a:gd name="connsiteX150" fmla="*/ 162435 w 441041"/>
                    <a:gd name="connsiteY150" fmla="*/ 76239 h 488195"/>
                    <a:gd name="connsiteX151" fmla="*/ 167197 w 441041"/>
                    <a:gd name="connsiteY151" fmla="*/ 83383 h 488195"/>
                    <a:gd name="connsiteX152" fmla="*/ 169578 w 441041"/>
                    <a:gd name="connsiteY152" fmla="*/ 90527 h 488195"/>
                    <a:gd name="connsiteX153" fmla="*/ 179103 w 441041"/>
                    <a:gd name="connsiteY153" fmla="*/ 92908 h 488195"/>
                    <a:gd name="connsiteX154" fmla="*/ 186247 w 441041"/>
                    <a:gd name="connsiteY154" fmla="*/ 88145 h 488195"/>
                    <a:gd name="connsiteX155" fmla="*/ 193391 w 441041"/>
                    <a:gd name="connsiteY155" fmla="*/ 90527 h 488195"/>
                    <a:gd name="connsiteX156" fmla="*/ 200535 w 441041"/>
                    <a:gd name="connsiteY156" fmla="*/ 83383 h 488195"/>
                    <a:gd name="connsiteX157" fmla="*/ 207678 w 441041"/>
                    <a:gd name="connsiteY157" fmla="*/ 81002 h 488195"/>
                    <a:gd name="connsiteX158" fmla="*/ 214822 w 441041"/>
                    <a:gd name="connsiteY158" fmla="*/ 76239 h 488195"/>
                    <a:gd name="connsiteX159" fmla="*/ 229110 w 441041"/>
                    <a:gd name="connsiteY159" fmla="*/ 61952 h 488195"/>
                    <a:gd name="connsiteX160" fmla="*/ 219585 w 441041"/>
                    <a:gd name="connsiteY160" fmla="*/ 71477 h 488195"/>
                    <a:gd name="connsiteX161" fmla="*/ 212441 w 441041"/>
                    <a:gd name="connsiteY161" fmla="*/ 78620 h 488195"/>
                    <a:gd name="connsiteX162" fmla="*/ 205297 w 441041"/>
                    <a:gd name="connsiteY162" fmla="*/ 83383 h 488195"/>
                    <a:gd name="connsiteX163" fmla="*/ 202916 w 441041"/>
                    <a:gd name="connsiteY163" fmla="*/ 102433 h 488195"/>
                    <a:gd name="connsiteX164" fmla="*/ 210060 w 441041"/>
                    <a:gd name="connsiteY164" fmla="*/ 104814 h 488195"/>
                    <a:gd name="connsiteX165" fmla="*/ 214822 w 441041"/>
                    <a:gd name="connsiteY165" fmla="*/ 121483 h 488195"/>
                    <a:gd name="connsiteX166" fmla="*/ 210060 w 441041"/>
                    <a:gd name="connsiteY166" fmla="*/ 135770 h 488195"/>
                    <a:gd name="connsiteX167" fmla="*/ 202916 w 441041"/>
                    <a:gd name="connsiteY167" fmla="*/ 140533 h 488195"/>
                    <a:gd name="connsiteX168" fmla="*/ 200535 w 441041"/>
                    <a:gd name="connsiteY168" fmla="*/ 147677 h 488195"/>
                    <a:gd name="connsiteX169" fmla="*/ 198153 w 441041"/>
                    <a:gd name="connsiteY169" fmla="*/ 171489 h 488195"/>
                    <a:gd name="connsiteX170" fmla="*/ 193391 w 441041"/>
                    <a:gd name="connsiteY170" fmla="*/ 178633 h 488195"/>
                    <a:gd name="connsiteX171" fmla="*/ 195772 w 441041"/>
                    <a:gd name="connsiteY171" fmla="*/ 188158 h 488195"/>
                    <a:gd name="connsiteX172" fmla="*/ 205297 w 441041"/>
                    <a:gd name="connsiteY172" fmla="*/ 192920 h 488195"/>
                    <a:gd name="connsiteX173" fmla="*/ 255303 w 441041"/>
                    <a:gd name="connsiteY173" fmla="*/ 197683 h 488195"/>
                    <a:gd name="connsiteX174" fmla="*/ 260066 w 441041"/>
                    <a:gd name="connsiteY174" fmla="*/ 183395 h 488195"/>
                    <a:gd name="connsiteX175" fmla="*/ 262447 w 441041"/>
                    <a:gd name="connsiteY175" fmla="*/ 176252 h 488195"/>
                    <a:gd name="connsiteX176" fmla="*/ 276735 w 441041"/>
                    <a:gd name="connsiteY176" fmla="*/ 169108 h 488195"/>
                    <a:gd name="connsiteX177" fmla="*/ 276735 w 441041"/>
                    <a:gd name="connsiteY177" fmla="*/ 147677 h 488195"/>
                    <a:gd name="connsiteX178" fmla="*/ 269591 w 441041"/>
                    <a:gd name="connsiteY178" fmla="*/ 145295 h 488195"/>
                    <a:gd name="connsiteX179" fmla="*/ 255303 w 441041"/>
                    <a:gd name="connsiteY179" fmla="*/ 152439 h 488195"/>
                    <a:gd name="connsiteX180" fmla="*/ 252922 w 441041"/>
                    <a:gd name="connsiteY180" fmla="*/ 159583 h 488195"/>
                    <a:gd name="connsiteX181" fmla="*/ 238635 w 441041"/>
                    <a:gd name="connsiteY181" fmla="*/ 169108 h 488195"/>
                    <a:gd name="connsiteX182" fmla="*/ 231491 w 441041"/>
                    <a:gd name="connsiteY182" fmla="*/ 173870 h 488195"/>
                    <a:gd name="connsiteX183" fmla="*/ 207678 w 441041"/>
                    <a:gd name="connsiteY183" fmla="*/ 181014 h 488195"/>
                    <a:gd name="connsiteX184" fmla="*/ 210060 w 441041"/>
                    <a:gd name="connsiteY184" fmla="*/ 171489 h 488195"/>
                    <a:gd name="connsiteX185" fmla="*/ 217203 w 441041"/>
                    <a:gd name="connsiteY185" fmla="*/ 169108 h 488195"/>
                    <a:gd name="connsiteX186" fmla="*/ 233872 w 441041"/>
                    <a:gd name="connsiteY186" fmla="*/ 166727 h 488195"/>
                    <a:gd name="connsiteX187" fmla="*/ 241016 w 441041"/>
                    <a:gd name="connsiteY187" fmla="*/ 159583 h 488195"/>
                    <a:gd name="connsiteX188" fmla="*/ 250541 w 441041"/>
                    <a:gd name="connsiteY188" fmla="*/ 145295 h 488195"/>
                    <a:gd name="connsiteX189" fmla="*/ 252922 w 441041"/>
                    <a:gd name="connsiteY189" fmla="*/ 138152 h 488195"/>
                    <a:gd name="connsiteX190" fmla="*/ 257685 w 441041"/>
                    <a:gd name="connsiteY190" fmla="*/ 131008 h 488195"/>
                    <a:gd name="connsiteX191" fmla="*/ 260066 w 441041"/>
                    <a:gd name="connsiteY191" fmla="*/ 119102 h 488195"/>
                    <a:gd name="connsiteX192" fmla="*/ 257685 w 441041"/>
                    <a:gd name="connsiteY192" fmla="*/ 107195 h 488195"/>
                    <a:gd name="connsiteX193" fmla="*/ 250541 w 441041"/>
                    <a:gd name="connsiteY193" fmla="*/ 104814 h 488195"/>
                    <a:gd name="connsiteX194" fmla="*/ 241016 w 441041"/>
                    <a:gd name="connsiteY194" fmla="*/ 102433 h 488195"/>
                    <a:gd name="connsiteX195" fmla="*/ 238635 w 441041"/>
                    <a:gd name="connsiteY195" fmla="*/ 76239 h 488195"/>
                    <a:gd name="connsiteX196" fmla="*/ 231491 w 441041"/>
                    <a:gd name="connsiteY196" fmla="*/ 69095 h 488195"/>
                    <a:gd name="connsiteX197" fmla="*/ 241016 w 441041"/>
                    <a:gd name="connsiteY197" fmla="*/ 47664 h 488195"/>
                    <a:gd name="connsiteX198" fmla="*/ 255303 w 441041"/>
                    <a:gd name="connsiteY198" fmla="*/ 26233 h 488195"/>
                    <a:gd name="connsiteX199" fmla="*/ 267210 w 441041"/>
                    <a:gd name="connsiteY199" fmla="*/ 11945 h 488195"/>
                    <a:gd name="connsiteX200" fmla="*/ 279116 w 441041"/>
                    <a:gd name="connsiteY200" fmla="*/ 9564 h 488195"/>
                    <a:gd name="connsiteX201" fmla="*/ 307691 w 441041"/>
                    <a:gd name="connsiteY201" fmla="*/ 7183 h 488195"/>
                    <a:gd name="connsiteX202" fmla="*/ 345791 w 441041"/>
                    <a:gd name="connsiteY202" fmla="*/ 4802 h 488195"/>
                    <a:gd name="connsiteX203" fmla="*/ 371985 w 441041"/>
                    <a:gd name="connsiteY203" fmla="*/ 39 h 488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441041" h="488195">
                      <a:moveTo>
                        <a:pt x="371985" y="39"/>
                      </a:moveTo>
                      <a:cubicBezTo>
                        <a:pt x="378732" y="436"/>
                        <a:pt x="381673" y="4500"/>
                        <a:pt x="386272" y="7183"/>
                      </a:cubicBezTo>
                      <a:cubicBezTo>
                        <a:pt x="391216" y="10067"/>
                        <a:pt x="400560" y="16708"/>
                        <a:pt x="400560" y="16708"/>
                      </a:cubicBezTo>
                      <a:cubicBezTo>
                        <a:pt x="402147" y="19089"/>
                        <a:pt x="404195" y="21221"/>
                        <a:pt x="405322" y="23852"/>
                      </a:cubicBezTo>
                      <a:cubicBezTo>
                        <a:pt x="406611" y="26860"/>
                        <a:pt x="405659" y="30821"/>
                        <a:pt x="407703" y="33377"/>
                      </a:cubicBezTo>
                      <a:cubicBezTo>
                        <a:pt x="409271" y="35337"/>
                        <a:pt x="412602" y="34636"/>
                        <a:pt x="414847" y="35758"/>
                      </a:cubicBezTo>
                      <a:cubicBezTo>
                        <a:pt x="417407" y="37038"/>
                        <a:pt x="419431" y="39240"/>
                        <a:pt x="421991" y="40520"/>
                      </a:cubicBezTo>
                      <a:cubicBezTo>
                        <a:pt x="426876" y="42963"/>
                        <a:pt x="436506" y="44376"/>
                        <a:pt x="441041" y="45283"/>
                      </a:cubicBezTo>
                      <a:cubicBezTo>
                        <a:pt x="440247" y="51633"/>
                        <a:pt x="439565" y="57998"/>
                        <a:pt x="438660" y="64333"/>
                      </a:cubicBezTo>
                      <a:cubicBezTo>
                        <a:pt x="437977" y="69113"/>
                        <a:pt x="436916" y="73834"/>
                        <a:pt x="436278" y="78620"/>
                      </a:cubicBezTo>
                      <a:cubicBezTo>
                        <a:pt x="435328" y="85745"/>
                        <a:pt x="436353" y="93297"/>
                        <a:pt x="433897" y="100052"/>
                      </a:cubicBezTo>
                      <a:cubicBezTo>
                        <a:pt x="432919" y="102742"/>
                        <a:pt x="429134" y="103227"/>
                        <a:pt x="426753" y="104814"/>
                      </a:cubicBezTo>
                      <a:cubicBezTo>
                        <a:pt x="425959" y="107195"/>
                        <a:pt x="425494" y="109713"/>
                        <a:pt x="424372" y="111958"/>
                      </a:cubicBezTo>
                      <a:cubicBezTo>
                        <a:pt x="423092" y="114518"/>
                        <a:pt x="419814" y="116247"/>
                        <a:pt x="419610" y="119102"/>
                      </a:cubicBezTo>
                      <a:cubicBezTo>
                        <a:pt x="417669" y="146279"/>
                        <a:pt x="431611" y="148501"/>
                        <a:pt x="414847" y="142914"/>
                      </a:cubicBezTo>
                      <a:cubicBezTo>
                        <a:pt x="406116" y="144502"/>
                        <a:pt x="396936" y="144491"/>
                        <a:pt x="388653" y="147677"/>
                      </a:cubicBezTo>
                      <a:cubicBezTo>
                        <a:pt x="385982" y="148704"/>
                        <a:pt x="384896" y="152141"/>
                        <a:pt x="383891" y="154820"/>
                      </a:cubicBezTo>
                      <a:cubicBezTo>
                        <a:pt x="382470" y="158610"/>
                        <a:pt x="382492" y="162800"/>
                        <a:pt x="381510" y="166727"/>
                      </a:cubicBezTo>
                      <a:cubicBezTo>
                        <a:pt x="380901" y="169162"/>
                        <a:pt x="379922" y="171489"/>
                        <a:pt x="379128" y="173870"/>
                      </a:cubicBezTo>
                      <a:cubicBezTo>
                        <a:pt x="379922" y="176251"/>
                        <a:pt x="379735" y="179239"/>
                        <a:pt x="381510" y="181014"/>
                      </a:cubicBezTo>
                      <a:cubicBezTo>
                        <a:pt x="386534" y="186038"/>
                        <a:pt x="399065" y="181660"/>
                        <a:pt x="402941" y="181014"/>
                      </a:cubicBezTo>
                      <a:cubicBezTo>
                        <a:pt x="404528" y="183395"/>
                        <a:pt x="407703" y="185296"/>
                        <a:pt x="407703" y="188158"/>
                      </a:cubicBezTo>
                      <a:cubicBezTo>
                        <a:pt x="407703" y="191708"/>
                        <a:pt x="404259" y="194387"/>
                        <a:pt x="402941" y="197683"/>
                      </a:cubicBezTo>
                      <a:cubicBezTo>
                        <a:pt x="401077" y="202344"/>
                        <a:pt x="400963" y="207793"/>
                        <a:pt x="398178" y="211970"/>
                      </a:cubicBezTo>
                      <a:lnTo>
                        <a:pt x="388653" y="226258"/>
                      </a:lnTo>
                      <a:cubicBezTo>
                        <a:pt x="391034" y="227052"/>
                        <a:pt x="394674" y="226394"/>
                        <a:pt x="395797" y="228639"/>
                      </a:cubicBezTo>
                      <a:cubicBezTo>
                        <a:pt x="396902" y="230849"/>
                        <a:pt x="389802" y="242416"/>
                        <a:pt x="388653" y="242927"/>
                      </a:cubicBezTo>
                      <a:cubicBezTo>
                        <a:pt x="383524" y="245206"/>
                        <a:pt x="377541" y="244514"/>
                        <a:pt x="371985" y="245308"/>
                      </a:cubicBezTo>
                      <a:cubicBezTo>
                        <a:pt x="372779" y="247689"/>
                        <a:pt x="373244" y="250207"/>
                        <a:pt x="374366" y="252452"/>
                      </a:cubicBezTo>
                      <a:cubicBezTo>
                        <a:pt x="383602" y="270924"/>
                        <a:pt x="375520" y="248774"/>
                        <a:pt x="381510" y="266739"/>
                      </a:cubicBezTo>
                      <a:cubicBezTo>
                        <a:pt x="379922" y="269120"/>
                        <a:pt x="379174" y="272366"/>
                        <a:pt x="376747" y="273883"/>
                      </a:cubicBezTo>
                      <a:cubicBezTo>
                        <a:pt x="372490" y="276544"/>
                        <a:pt x="367222" y="277058"/>
                        <a:pt x="362460" y="278645"/>
                      </a:cubicBezTo>
                      <a:cubicBezTo>
                        <a:pt x="360079" y="279439"/>
                        <a:pt x="357792" y="280614"/>
                        <a:pt x="355316" y="281027"/>
                      </a:cubicBezTo>
                      <a:cubicBezTo>
                        <a:pt x="346039" y="282573"/>
                        <a:pt x="333548" y="284768"/>
                        <a:pt x="324360" y="285789"/>
                      </a:cubicBezTo>
                      <a:cubicBezTo>
                        <a:pt x="315646" y="286757"/>
                        <a:pt x="306897" y="287376"/>
                        <a:pt x="298166" y="288170"/>
                      </a:cubicBezTo>
                      <a:cubicBezTo>
                        <a:pt x="297372" y="290551"/>
                        <a:pt x="295508" y="292819"/>
                        <a:pt x="295785" y="295314"/>
                      </a:cubicBezTo>
                      <a:cubicBezTo>
                        <a:pt x="296339" y="300304"/>
                        <a:pt x="300547" y="309602"/>
                        <a:pt x="300547" y="309602"/>
                      </a:cubicBezTo>
                      <a:cubicBezTo>
                        <a:pt x="301341" y="315158"/>
                        <a:pt x="302272" y="320696"/>
                        <a:pt x="302928" y="326270"/>
                      </a:cubicBezTo>
                      <a:cubicBezTo>
                        <a:pt x="303860" y="334193"/>
                        <a:pt x="302787" y="342515"/>
                        <a:pt x="305310" y="350083"/>
                      </a:cubicBezTo>
                      <a:cubicBezTo>
                        <a:pt x="306215" y="352798"/>
                        <a:pt x="310072" y="353258"/>
                        <a:pt x="312453" y="354845"/>
                      </a:cubicBezTo>
                      <a:cubicBezTo>
                        <a:pt x="313247" y="357226"/>
                        <a:pt x="315112" y="359494"/>
                        <a:pt x="314835" y="361989"/>
                      </a:cubicBezTo>
                      <a:cubicBezTo>
                        <a:pt x="314572" y="364355"/>
                        <a:pt x="309776" y="380443"/>
                        <a:pt x="305310" y="383420"/>
                      </a:cubicBezTo>
                      <a:cubicBezTo>
                        <a:pt x="302587" y="385235"/>
                        <a:pt x="298960" y="385008"/>
                        <a:pt x="295785" y="385802"/>
                      </a:cubicBezTo>
                      <a:cubicBezTo>
                        <a:pt x="294104" y="394202"/>
                        <a:pt x="290331" y="406196"/>
                        <a:pt x="295785" y="414377"/>
                      </a:cubicBezTo>
                      <a:cubicBezTo>
                        <a:pt x="297177" y="416465"/>
                        <a:pt x="302928" y="409485"/>
                        <a:pt x="302928" y="411995"/>
                      </a:cubicBezTo>
                      <a:cubicBezTo>
                        <a:pt x="302928" y="414857"/>
                        <a:pt x="298166" y="415170"/>
                        <a:pt x="295785" y="416758"/>
                      </a:cubicBezTo>
                      <a:cubicBezTo>
                        <a:pt x="294197" y="419139"/>
                        <a:pt x="292923" y="421763"/>
                        <a:pt x="291022" y="423902"/>
                      </a:cubicBezTo>
                      <a:cubicBezTo>
                        <a:pt x="286548" y="428936"/>
                        <a:pt x="276735" y="438189"/>
                        <a:pt x="276735" y="438189"/>
                      </a:cubicBezTo>
                      <a:cubicBezTo>
                        <a:pt x="277529" y="445333"/>
                        <a:pt x="276660" y="452865"/>
                        <a:pt x="279116" y="459620"/>
                      </a:cubicBezTo>
                      <a:cubicBezTo>
                        <a:pt x="280094" y="462310"/>
                        <a:pt x="284236" y="462359"/>
                        <a:pt x="286260" y="464383"/>
                      </a:cubicBezTo>
                      <a:cubicBezTo>
                        <a:pt x="288284" y="466407"/>
                        <a:pt x="289435" y="469146"/>
                        <a:pt x="291022" y="471527"/>
                      </a:cubicBezTo>
                      <a:cubicBezTo>
                        <a:pt x="288641" y="473114"/>
                        <a:pt x="286438" y="475009"/>
                        <a:pt x="283878" y="476289"/>
                      </a:cubicBezTo>
                      <a:cubicBezTo>
                        <a:pt x="281633" y="477411"/>
                        <a:pt x="278695" y="477102"/>
                        <a:pt x="276735" y="478670"/>
                      </a:cubicBezTo>
                      <a:cubicBezTo>
                        <a:pt x="261349" y="490979"/>
                        <a:pt x="282782" y="482211"/>
                        <a:pt x="264828" y="488195"/>
                      </a:cubicBezTo>
                      <a:cubicBezTo>
                        <a:pt x="264034" y="485814"/>
                        <a:pt x="264692" y="482174"/>
                        <a:pt x="262447" y="481052"/>
                      </a:cubicBezTo>
                      <a:cubicBezTo>
                        <a:pt x="257427" y="478542"/>
                        <a:pt x="249431" y="482932"/>
                        <a:pt x="245778" y="478670"/>
                      </a:cubicBezTo>
                      <a:cubicBezTo>
                        <a:pt x="242636" y="475004"/>
                        <a:pt x="246199" y="468795"/>
                        <a:pt x="248160" y="464383"/>
                      </a:cubicBezTo>
                      <a:cubicBezTo>
                        <a:pt x="249528" y="461306"/>
                        <a:pt x="253346" y="459979"/>
                        <a:pt x="255303" y="457239"/>
                      </a:cubicBezTo>
                      <a:cubicBezTo>
                        <a:pt x="258983" y="452087"/>
                        <a:pt x="260503" y="446402"/>
                        <a:pt x="262447" y="440570"/>
                      </a:cubicBezTo>
                      <a:cubicBezTo>
                        <a:pt x="263241" y="431045"/>
                        <a:pt x="267639" y="421130"/>
                        <a:pt x="264828" y="411995"/>
                      </a:cubicBezTo>
                      <a:cubicBezTo>
                        <a:pt x="263638" y="408127"/>
                        <a:pt x="256289" y="411859"/>
                        <a:pt x="252922" y="409614"/>
                      </a:cubicBezTo>
                      <a:cubicBezTo>
                        <a:pt x="250833" y="408222"/>
                        <a:pt x="252316" y="404245"/>
                        <a:pt x="250541" y="402470"/>
                      </a:cubicBezTo>
                      <a:cubicBezTo>
                        <a:pt x="242353" y="394282"/>
                        <a:pt x="238093" y="393558"/>
                        <a:pt x="229110" y="390564"/>
                      </a:cubicBezTo>
                      <a:cubicBezTo>
                        <a:pt x="226646" y="383174"/>
                        <a:pt x="227502" y="380129"/>
                        <a:pt x="217203" y="378658"/>
                      </a:cubicBezTo>
                      <a:cubicBezTo>
                        <a:pt x="214718" y="378303"/>
                        <a:pt x="212441" y="380245"/>
                        <a:pt x="210060" y="381039"/>
                      </a:cubicBezTo>
                      <a:cubicBezTo>
                        <a:pt x="204504" y="380245"/>
                        <a:pt x="198411" y="381168"/>
                        <a:pt x="193391" y="378658"/>
                      </a:cubicBezTo>
                      <a:cubicBezTo>
                        <a:pt x="191146" y="377535"/>
                        <a:pt x="191700" y="373928"/>
                        <a:pt x="191010" y="371514"/>
                      </a:cubicBezTo>
                      <a:cubicBezTo>
                        <a:pt x="190111" y="368367"/>
                        <a:pt x="189568" y="365124"/>
                        <a:pt x="188628" y="361989"/>
                      </a:cubicBezTo>
                      <a:cubicBezTo>
                        <a:pt x="187185" y="357181"/>
                        <a:pt x="183866" y="347702"/>
                        <a:pt x="183866" y="347702"/>
                      </a:cubicBezTo>
                      <a:cubicBezTo>
                        <a:pt x="182279" y="350082"/>
                        <a:pt x="176720" y="360401"/>
                        <a:pt x="171960" y="359608"/>
                      </a:cubicBezTo>
                      <a:cubicBezTo>
                        <a:pt x="168638" y="359054"/>
                        <a:pt x="167403" y="354620"/>
                        <a:pt x="164816" y="352464"/>
                      </a:cubicBezTo>
                      <a:cubicBezTo>
                        <a:pt x="162617" y="350632"/>
                        <a:pt x="160053" y="349289"/>
                        <a:pt x="157672" y="347702"/>
                      </a:cubicBezTo>
                      <a:cubicBezTo>
                        <a:pt x="140349" y="353476"/>
                        <a:pt x="162406" y="347995"/>
                        <a:pt x="141003" y="345320"/>
                      </a:cubicBezTo>
                      <a:cubicBezTo>
                        <a:pt x="137755" y="344914"/>
                        <a:pt x="134653" y="346908"/>
                        <a:pt x="131478" y="347702"/>
                      </a:cubicBezTo>
                      <a:cubicBezTo>
                        <a:pt x="130684" y="350083"/>
                        <a:pt x="131582" y="354490"/>
                        <a:pt x="129097" y="354845"/>
                      </a:cubicBezTo>
                      <a:cubicBezTo>
                        <a:pt x="124128" y="355555"/>
                        <a:pt x="119572" y="351670"/>
                        <a:pt x="114810" y="350083"/>
                      </a:cubicBezTo>
                      <a:lnTo>
                        <a:pt x="107666" y="347702"/>
                      </a:lnTo>
                      <a:cubicBezTo>
                        <a:pt x="102309" y="369133"/>
                        <a:pt x="110642" y="347703"/>
                        <a:pt x="95760" y="359608"/>
                      </a:cubicBezTo>
                      <a:cubicBezTo>
                        <a:pt x="93800" y="361176"/>
                        <a:pt x="95153" y="364977"/>
                        <a:pt x="93378" y="366752"/>
                      </a:cubicBezTo>
                      <a:cubicBezTo>
                        <a:pt x="91603" y="368527"/>
                        <a:pt x="88480" y="368011"/>
                        <a:pt x="86235" y="369133"/>
                      </a:cubicBezTo>
                      <a:cubicBezTo>
                        <a:pt x="83675" y="370413"/>
                        <a:pt x="81651" y="372615"/>
                        <a:pt x="79091" y="373895"/>
                      </a:cubicBezTo>
                      <a:cubicBezTo>
                        <a:pt x="75279" y="375801"/>
                        <a:pt x="65990" y="377639"/>
                        <a:pt x="62422" y="378658"/>
                      </a:cubicBezTo>
                      <a:cubicBezTo>
                        <a:pt x="60008" y="379348"/>
                        <a:pt x="57659" y="380245"/>
                        <a:pt x="55278" y="381039"/>
                      </a:cubicBezTo>
                      <a:cubicBezTo>
                        <a:pt x="52103" y="380245"/>
                        <a:pt x="48962" y="379300"/>
                        <a:pt x="45753" y="378658"/>
                      </a:cubicBezTo>
                      <a:cubicBezTo>
                        <a:pt x="41019" y="377711"/>
                        <a:pt x="36179" y="377324"/>
                        <a:pt x="31466" y="376277"/>
                      </a:cubicBezTo>
                      <a:cubicBezTo>
                        <a:pt x="29016" y="375732"/>
                        <a:pt x="26703" y="374689"/>
                        <a:pt x="24322" y="373895"/>
                      </a:cubicBezTo>
                      <a:cubicBezTo>
                        <a:pt x="7320" y="379563"/>
                        <a:pt x="14212" y="381443"/>
                        <a:pt x="2891" y="373895"/>
                      </a:cubicBezTo>
                      <a:cubicBezTo>
                        <a:pt x="2097" y="371514"/>
                        <a:pt x="-1265" y="368527"/>
                        <a:pt x="510" y="366752"/>
                      </a:cubicBezTo>
                      <a:cubicBezTo>
                        <a:pt x="4060" y="363202"/>
                        <a:pt x="9816" y="362612"/>
                        <a:pt x="14797" y="361989"/>
                      </a:cubicBezTo>
                      <a:lnTo>
                        <a:pt x="33847" y="359608"/>
                      </a:lnTo>
                      <a:lnTo>
                        <a:pt x="50516" y="357227"/>
                      </a:lnTo>
                      <a:cubicBezTo>
                        <a:pt x="57648" y="356335"/>
                        <a:pt x="64803" y="355639"/>
                        <a:pt x="71947" y="354845"/>
                      </a:cubicBezTo>
                      <a:cubicBezTo>
                        <a:pt x="74328" y="354051"/>
                        <a:pt x="76606" y="352109"/>
                        <a:pt x="79091" y="352464"/>
                      </a:cubicBezTo>
                      <a:cubicBezTo>
                        <a:pt x="82605" y="352966"/>
                        <a:pt x="85248" y="358349"/>
                        <a:pt x="88616" y="357227"/>
                      </a:cubicBezTo>
                      <a:cubicBezTo>
                        <a:pt x="90997" y="356433"/>
                        <a:pt x="88414" y="351328"/>
                        <a:pt x="86235" y="350083"/>
                      </a:cubicBezTo>
                      <a:cubicBezTo>
                        <a:pt x="82043" y="347687"/>
                        <a:pt x="76757" y="348120"/>
                        <a:pt x="71947" y="347702"/>
                      </a:cubicBezTo>
                      <a:cubicBezTo>
                        <a:pt x="58481" y="346531"/>
                        <a:pt x="44960" y="346114"/>
                        <a:pt x="31466" y="345320"/>
                      </a:cubicBezTo>
                      <a:cubicBezTo>
                        <a:pt x="27019" y="342356"/>
                        <a:pt x="19875" y="338268"/>
                        <a:pt x="17178" y="333414"/>
                      </a:cubicBezTo>
                      <a:cubicBezTo>
                        <a:pt x="14740" y="329026"/>
                        <a:pt x="12416" y="319127"/>
                        <a:pt x="12416" y="319127"/>
                      </a:cubicBezTo>
                      <a:cubicBezTo>
                        <a:pt x="14797" y="317539"/>
                        <a:pt x="16698" y="314364"/>
                        <a:pt x="19560" y="314364"/>
                      </a:cubicBezTo>
                      <a:cubicBezTo>
                        <a:pt x="22422" y="314364"/>
                        <a:pt x="24143" y="317847"/>
                        <a:pt x="26703" y="319127"/>
                      </a:cubicBezTo>
                      <a:cubicBezTo>
                        <a:pt x="28948" y="320250"/>
                        <a:pt x="31466" y="320714"/>
                        <a:pt x="33847" y="321508"/>
                      </a:cubicBezTo>
                      <a:cubicBezTo>
                        <a:pt x="35435" y="323889"/>
                        <a:pt x="36375" y="326864"/>
                        <a:pt x="38610" y="328652"/>
                      </a:cubicBezTo>
                      <a:cubicBezTo>
                        <a:pt x="40570" y="330220"/>
                        <a:pt x="43978" y="329258"/>
                        <a:pt x="45753" y="331033"/>
                      </a:cubicBezTo>
                      <a:cubicBezTo>
                        <a:pt x="47528" y="332808"/>
                        <a:pt x="45956" y="336932"/>
                        <a:pt x="48135" y="338177"/>
                      </a:cubicBezTo>
                      <a:cubicBezTo>
                        <a:pt x="52327" y="340572"/>
                        <a:pt x="57660" y="339764"/>
                        <a:pt x="62422" y="340558"/>
                      </a:cubicBezTo>
                      <a:cubicBezTo>
                        <a:pt x="68772" y="339764"/>
                        <a:pt x="75624" y="340776"/>
                        <a:pt x="81472" y="338177"/>
                      </a:cubicBezTo>
                      <a:cubicBezTo>
                        <a:pt x="85868" y="336223"/>
                        <a:pt x="83426" y="325843"/>
                        <a:pt x="81472" y="323889"/>
                      </a:cubicBezTo>
                      <a:cubicBezTo>
                        <a:pt x="79697" y="322114"/>
                        <a:pt x="76709" y="322302"/>
                        <a:pt x="74328" y="321508"/>
                      </a:cubicBezTo>
                      <a:cubicBezTo>
                        <a:pt x="71947" y="319920"/>
                        <a:pt x="69865" y="317750"/>
                        <a:pt x="67185" y="316745"/>
                      </a:cubicBezTo>
                      <a:cubicBezTo>
                        <a:pt x="59314" y="313793"/>
                        <a:pt x="31946" y="312243"/>
                        <a:pt x="29085" y="311983"/>
                      </a:cubicBezTo>
                      <a:cubicBezTo>
                        <a:pt x="30672" y="309602"/>
                        <a:pt x="32567" y="307399"/>
                        <a:pt x="33847" y="304839"/>
                      </a:cubicBezTo>
                      <a:cubicBezTo>
                        <a:pt x="34969" y="302594"/>
                        <a:pt x="34453" y="299470"/>
                        <a:pt x="36228" y="297695"/>
                      </a:cubicBezTo>
                      <a:cubicBezTo>
                        <a:pt x="38003" y="295920"/>
                        <a:pt x="40991" y="296108"/>
                        <a:pt x="43372" y="295314"/>
                      </a:cubicBezTo>
                      <a:cubicBezTo>
                        <a:pt x="61830" y="297365"/>
                        <a:pt x="63133" y="291972"/>
                        <a:pt x="69566" y="304839"/>
                      </a:cubicBezTo>
                      <a:cubicBezTo>
                        <a:pt x="70689" y="307084"/>
                        <a:pt x="69904" y="310524"/>
                        <a:pt x="71947" y="311983"/>
                      </a:cubicBezTo>
                      <a:cubicBezTo>
                        <a:pt x="76032" y="314901"/>
                        <a:pt x="86235" y="316745"/>
                        <a:pt x="86235" y="316745"/>
                      </a:cubicBezTo>
                      <a:cubicBezTo>
                        <a:pt x="89410" y="315158"/>
                        <a:pt x="95064" y="315464"/>
                        <a:pt x="95760" y="311983"/>
                      </a:cubicBezTo>
                      <a:cubicBezTo>
                        <a:pt x="96420" y="308681"/>
                        <a:pt x="91418" y="306707"/>
                        <a:pt x="88616" y="304839"/>
                      </a:cubicBezTo>
                      <a:cubicBezTo>
                        <a:pt x="86567" y="303473"/>
                        <a:pt x="73217" y="300394"/>
                        <a:pt x="71947" y="300077"/>
                      </a:cubicBezTo>
                      <a:cubicBezTo>
                        <a:pt x="69566" y="298489"/>
                        <a:pt x="67363" y="296594"/>
                        <a:pt x="64803" y="295314"/>
                      </a:cubicBezTo>
                      <a:cubicBezTo>
                        <a:pt x="62558" y="294192"/>
                        <a:pt x="59435" y="294708"/>
                        <a:pt x="57660" y="292933"/>
                      </a:cubicBezTo>
                      <a:cubicBezTo>
                        <a:pt x="53613" y="288885"/>
                        <a:pt x="42522" y="277522"/>
                        <a:pt x="48135" y="278645"/>
                      </a:cubicBezTo>
                      <a:lnTo>
                        <a:pt x="60041" y="281027"/>
                      </a:lnTo>
                      <a:cubicBezTo>
                        <a:pt x="62422" y="282614"/>
                        <a:pt x="64625" y="284509"/>
                        <a:pt x="67185" y="285789"/>
                      </a:cubicBezTo>
                      <a:cubicBezTo>
                        <a:pt x="69430" y="286911"/>
                        <a:pt x="72368" y="286602"/>
                        <a:pt x="74328" y="288170"/>
                      </a:cubicBezTo>
                      <a:cubicBezTo>
                        <a:pt x="76563" y="289958"/>
                        <a:pt x="77503" y="292933"/>
                        <a:pt x="79091" y="295314"/>
                      </a:cubicBezTo>
                      <a:cubicBezTo>
                        <a:pt x="79885" y="292933"/>
                        <a:pt x="81472" y="290680"/>
                        <a:pt x="81472" y="288170"/>
                      </a:cubicBezTo>
                      <a:cubicBezTo>
                        <a:pt x="81472" y="278647"/>
                        <a:pt x="78297" y="281820"/>
                        <a:pt x="71947" y="278645"/>
                      </a:cubicBezTo>
                      <a:cubicBezTo>
                        <a:pt x="69387" y="277365"/>
                        <a:pt x="67184" y="275470"/>
                        <a:pt x="64803" y="273883"/>
                      </a:cubicBezTo>
                      <a:cubicBezTo>
                        <a:pt x="64823" y="273803"/>
                        <a:pt x="68429" y="258351"/>
                        <a:pt x="69566" y="257214"/>
                      </a:cubicBezTo>
                      <a:cubicBezTo>
                        <a:pt x="70704" y="256076"/>
                        <a:pt x="86153" y="252473"/>
                        <a:pt x="86235" y="252452"/>
                      </a:cubicBezTo>
                      <a:cubicBezTo>
                        <a:pt x="90997" y="249277"/>
                        <a:pt x="98712" y="248357"/>
                        <a:pt x="100522" y="242927"/>
                      </a:cubicBezTo>
                      <a:cubicBezTo>
                        <a:pt x="103808" y="233068"/>
                        <a:pt x="100815" y="237175"/>
                        <a:pt x="110047" y="231020"/>
                      </a:cubicBezTo>
                      <a:cubicBezTo>
                        <a:pt x="113222" y="226258"/>
                        <a:pt x="117762" y="222163"/>
                        <a:pt x="119572" y="216733"/>
                      </a:cubicBezTo>
                      <a:cubicBezTo>
                        <a:pt x="122858" y="206874"/>
                        <a:pt x="120561" y="211677"/>
                        <a:pt x="126716" y="202445"/>
                      </a:cubicBezTo>
                      <a:lnTo>
                        <a:pt x="133860" y="181014"/>
                      </a:lnTo>
                      <a:cubicBezTo>
                        <a:pt x="134654" y="178633"/>
                        <a:pt x="134849" y="175959"/>
                        <a:pt x="136241" y="173870"/>
                      </a:cubicBezTo>
                      <a:cubicBezTo>
                        <a:pt x="137828" y="171489"/>
                        <a:pt x="139723" y="169286"/>
                        <a:pt x="141003" y="166727"/>
                      </a:cubicBezTo>
                      <a:cubicBezTo>
                        <a:pt x="150865" y="147005"/>
                        <a:pt x="134497" y="172917"/>
                        <a:pt x="148147" y="152439"/>
                      </a:cubicBezTo>
                      <a:cubicBezTo>
                        <a:pt x="148941" y="149264"/>
                        <a:pt x="149818" y="146109"/>
                        <a:pt x="150528" y="142914"/>
                      </a:cubicBezTo>
                      <a:cubicBezTo>
                        <a:pt x="151406" y="138963"/>
                        <a:pt x="151928" y="134934"/>
                        <a:pt x="152910" y="131008"/>
                      </a:cubicBezTo>
                      <a:cubicBezTo>
                        <a:pt x="153519" y="128573"/>
                        <a:pt x="154682" y="126299"/>
                        <a:pt x="155291" y="123864"/>
                      </a:cubicBezTo>
                      <a:cubicBezTo>
                        <a:pt x="156273" y="119938"/>
                        <a:pt x="156794" y="115909"/>
                        <a:pt x="157672" y="111958"/>
                      </a:cubicBezTo>
                      <a:cubicBezTo>
                        <a:pt x="164411" y="81629"/>
                        <a:pt x="155235" y="126515"/>
                        <a:pt x="162435" y="90527"/>
                      </a:cubicBezTo>
                      <a:cubicBezTo>
                        <a:pt x="163229" y="77827"/>
                        <a:pt x="163484" y="65082"/>
                        <a:pt x="164816" y="52427"/>
                      </a:cubicBezTo>
                      <a:cubicBezTo>
                        <a:pt x="165079" y="49931"/>
                        <a:pt x="165629" y="47243"/>
                        <a:pt x="167197" y="45283"/>
                      </a:cubicBezTo>
                      <a:cubicBezTo>
                        <a:pt x="168985" y="43048"/>
                        <a:pt x="171960" y="42108"/>
                        <a:pt x="174341" y="40520"/>
                      </a:cubicBezTo>
                      <a:cubicBezTo>
                        <a:pt x="175499" y="42258"/>
                        <a:pt x="182580" y="51523"/>
                        <a:pt x="181485" y="54808"/>
                      </a:cubicBezTo>
                      <a:cubicBezTo>
                        <a:pt x="180420" y="58003"/>
                        <a:pt x="176299" y="59212"/>
                        <a:pt x="174341" y="61952"/>
                      </a:cubicBezTo>
                      <a:cubicBezTo>
                        <a:pt x="163355" y="77332"/>
                        <a:pt x="176517" y="66851"/>
                        <a:pt x="162435" y="76239"/>
                      </a:cubicBezTo>
                      <a:cubicBezTo>
                        <a:pt x="164022" y="78620"/>
                        <a:pt x="165917" y="80823"/>
                        <a:pt x="167197" y="83383"/>
                      </a:cubicBezTo>
                      <a:cubicBezTo>
                        <a:pt x="168319" y="85628"/>
                        <a:pt x="167618" y="88959"/>
                        <a:pt x="169578" y="90527"/>
                      </a:cubicBezTo>
                      <a:cubicBezTo>
                        <a:pt x="172134" y="92571"/>
                        <a:pt x="175928" y="92114"/>
                        <a:pt x="179103" y="92908"/>
                      </a:cubicBezTo>
                      <a:cubicBezTo>
                        <a:pt x="181484" y="91320"/>
                        <a:pt x="183424" y="88615"/>
                        <a:pt x="186247" y="88145"/>
                      </a:cubicBezTo>
                      <a:cubicBezTo>
                        <a:pt x="188723" y="87732"/>
                        <a:pt x="191010" y="91321"/>
                        <a:pt x="193391" y="90527"/>
                      </a:cubicBezTo>
                      <a:cubicBezTo>
                        <a:pt x="196586" y="89462"/>
                        <a:pt x="197733" y="85251"/>
                        <a:pt x="200535" y="83383"/>
                      </a:cubicBezTo>
                      <a:cubicBezTo>
                        <a:pt x="202623" y="81991"/>
                        <a:pt x="205297" y="81796"/>
                        <a:pt x="207678" y="81002"/>
                      </a:cubicBezTo>
                      <a:cubicBezTo>
                        <a:pt x="210059" y="79414"/>
                        <a:pt x="212683" y="78140"/>
                        <a:pt x="214822" y="76239"/>
                      </a:cubicBezTo>
                      <a:cubicBezTo>
                        <a:pt x="219856" y="71764"/>
                        <a:pt x="229110" y="61952"/>
                        <a:pt x="229110" y="61952"/>
                      </a:cubicBezTo>
                      <a:cubicBezTo>
                        <a:pt x="224573" y="75557"/>
                        <a:pt x="230470" y="64220"/>
                        <a:pt x="219585" y="71477"/>
                      </a:cubicBezTo>
                      <a:cubicBezTo>
                        <a:pt x="216783" y="73345"/>
                        <a:pt x="215028" y="76464"/>
                        <a:pt x="212441" y="78620"/>
                      </a:cubicBezTo>
                      <a:cubicBezTo>
                        <a:pt x="210242" y="80452"/>
                        <a:pt x="207678" y="81795"/>
                        <a:pt x="205297" y="83383"/>
                      </a:cubicBezTo>
                      <a:cubicBezTo>
                        <a:pt x="200718" y="90253"/>
                        <a:pt x="196541" y="92871"/>
                        <a:pt x="202916" y="102433"/>
                      </a:cubicBezTo>
                      <a:cubicBezTo>
                        <a:pt x="204308" y="104522"/>
                        <a:pt x="207679" y="104020"/>
                        <a:pt x="210060" y="104814"/>
                      </a:cubicBezTo>
                      <a:cubicBezTo>
                        <a:pt x="211006" y="107653"/>
                        <a:pt x="215052" y="119183"/>
                        <a:pt x="214822" y="121483"/>
                      </a:cubicBezTo>
                      <a:cubicBezTo>
                        <a:pt x="214323" y="126478"/>
                        <a:pt x="214237" y="132985"/>
                        <a:pt x="210060" y="135770"/>
                      </a:cubicBezTo>
                      <a:lnTo>
                        <a:pt x="202916" y="140533"/>
                      </a:lnTo>
                      <a:cubicBezTo>
                        <a:pt x="202122" y="142914"/>
                        <a:pt x="200917" y="145196"/>
                        <a:pt x="200535" y="147677"/>
                      </a:cubicBezTo>
                      <a:cubicBezTo>
                        <a:pt x="199322" y="155561"/>
                        <a:pt x="199947" y="163716"/>
                        <a:pt x="198153" y="171489"/>
                      </a:cubicBezTo>
                      <a:cubicBezTo>
                        <a:pt x="197509" y="174278"/>
                        <a:pt x="194978" y="176252"/>
                        <a:pt x="193391" y="178633"/>
                      </a:cubicBezTo>
                      <a:cubicBezTo>
                        <a:pt x="194185" y="181808"/>
                        <a:pt x="192845" y="186694"/>
                        <a:pt x="195772" y="188158"/>
                      </a:cubicBezTo>
                      <a:cubicBezTo>
                        <a:pt x="207266" y="193905"/>
                        <a:pt x="210740" y="176592"/>
                        <a:pt x="205297" y="192920"/>
                      </a:cubicBezTo>
                      <a:cubicBezTo>
                        <a:pt x="220186" y="207809"/>
                        <a:pt x="219161" y="210333"/>
                        <a:pt x="255303" y="197683"/>
                      </a:cubicBezTo>
                      <a:cubicBezTo>
                        <a:pt x="260041" y="196025"/>
                        <a:pt x="258478" y="188158"/>
                        <a:pt x="260066" y="183395"/>
                      </a:cubicBezTo>
                      <a:cubicBezTo>
                        <a:pt x="260860" y="181014"/>
                        <a:pt x="260066" y="177046"/>
                        <a:pt x="262447" y="176252"/>
                      </a:cubicBezTo>
                      <a:cubicBezTo>
                        <a:pt x="272306" y="172965"/>
                        <a:pt x="267502" y="175262"/>
                        <a:pt x="276735" y="169108"/>
                      </a:cubicBezTo>
                      <a:cubicBezTo>
                        <a:pt x="279343" y="161283"/>
                        <a:pt x="282028" y="156940"/>
                        <a:pt x="276735" y="147677"/>
                      </a:cubicBezTo>
                      <a:cubicBezTo>
                        <a:pt x="275490" y="145498"/>
                        <a:pt x="271972" y="146089"/>
                        <a:pt x="269591" y="145295"/>
                      </a:cubicBezTo>
                      <a:cubicBezTo>
                        <a:pt x="264887" y="146864"/>
                        <a:pt x="258659" y="148244"/>
                        <a:pt x="255303" y="152439"/>
                      </a:cubicBezTo>
                      <a:cubicBezTo>
                        <a:pt x="253735" y="154399"/>
                        <a:pt x="254697" y="157808"/>
                        <a:pt x="252922" y="159583"/>
                      </a:cubicBezTo>
                      <a:cubicBezTo>
                        <a:pt x="248875" y="163630"/>
                        <a:pt x="243397" y="165933"/>
                        <a:pt x="238635" y="169108"/>
                      </a:cubicBezTo>
                      <a:cubicBezTo>
                        <a:pt x="236254" y="170695"/>
                        <a:pt x="234206" y="172965"/>
                        <a:pt x="231491" y="173870"/>
                      </a:cubicBezTo>
                      <a:cubicBezTo>
                        <a:pt x="214098" y="179668"/>
                        <a:pt x="222073" y="177416"/>
                        <a:pt x="207678" y="181014"/>
                      </a:cubicBezTo>
                      <a:cubicBezTo>
                        <a:pt x="208472" y="177839"/>
                        <a:pt x="208015" y="174045"/>
                        <a:pt x="210060" y="171489"/>
                      </a:cubicBezTo>
                      <a:cubicBezTo>
                        <a:pt x="211628" y="169529"/>
                        <a:pt x="214742" y="169600"/>
                        <a:pt x="217203" y="169108"/>
                      </a:cubicBezTo>
                      <a:cubicBezTo>
                        <a:pt x="222707" y="168007"/>
                        <a:pt x="228316" y="167521"/>
                        <a:pt x="233872" y="166727"/>
                      </a:cubicBezTo>
                      <a:cubicBezTo>
                        <a:pt x="236253" y="164346"/>
                        <a:pt x="238948" y="162241"/>
                        <a:pt x="241016" y="159583"/>
                      </a:cubicBezTo>
                      <a:cubicBezTo>
                        <a:pt x="244530" y="155065"/>
                        <a:pt x="250541" y="145295"/>
                        <a:pt x="250541" y="145295"/>
                      </a:cubicBezTo>
                      <a:cubicBezTo>
                        <a:pt x="251335" y="142914"/>
                        <a:pt x="251800" y="140397"/>
                        <a:pt x="252922" y="138152"/>
                      </a:cubicBezTo>
                      <a:cubicBezTo>
                        <a:pt x="254202" y="135592"/>
                        <a:pt x="256680" y="133688"/>
                        <a:pt x="257685" y="131008"/>
                      </a:cubicBezTo>
                      <a:cubicBezTo>
                        <a:pt x="259106" y="127218"/>
                        <a:pt x="259272" y="123071"/>
                        <a:pt x="260066" y="119102"/>
                      </a:cubicBezTo>
                      <a:cubicBezTo>
                        <a:pt x="259272" y="115133"/>
                        <a:pt x="259930" y="110563"/>
                        <a:pt x="257685" y="107195"/>
                      </a:cubicBezTo>
                      <a:cubicBezTo>
                        <a:pt x="256293" y="105106"/>
                        <a:pt x="252955" y="105504"/>
                        <a:pt x="250541" y="104814"/>
                      </a:cubicBezTo>
                      <a:cubicBezTo>
                        <a:pt x="247394" y="103915"/>
                        <a:pt x="244191" y="103227"/>
                        <a:pt x="241016" y="102433"/>
                      </a:cubicBezTo>
                      <a:cubicBezTo>
                        <a:pt x="240222" y="93702"/>
                        <a:pt x="241044" y="84669"/>
                        <a:pt x="238635" y="76239"/>
                      </a:cubicBezTo>
                      <a:cubicBezTo>
                        <a:pt x="237710" y="73001"/>
                        <a:pt x="232222" y="72383"/>
                        <a:pt x="231491" y="69095"/>
                      </a:cubicBezTo>
                      <a:cubicBezTo>
                        <a:pt x="228352" y="54971"/>
                        <a:pt x="234695" y="55791"/>
                        <a:pt x="241016" y="47664"/>
                      </a:cubicBezTo>
                      <a:cubicBezTo>
                        <a:pt x="241033" y="47642"/>
                        <a:pt x="252914" y="29816"/>
                        <a:pt x="255303" y="26233"/>
                      </a:cubicBezTo>
                      <a:cubicBezTo>
                        <a:pt x="258038" y="22131"/>
                        <a:pt x="262627" y="14236"/>
                        <a:pt x="267210" y="11945"/>
                      </a:cubicBezTo>
                      <a:cubicBezTo>
                        <a:pt x="270830" y="10135"/>
                        <a:pt x="275096" y="10037"/>
                        <a:pt x="279116" y="9564"/>
                      </a:cubicBezTo>
                      <a:cubicBezTo>
                        <a:pt x="288609" y="8447"/>
                        <a:pt x="298166" y="7977"/>
                        <a:pt x="307691" y="7183"/>
                      </a:cubicBezTo>
                      <a:cubicBezTo>
                        <a:pt x="329546" y="-103"/>
                        <a:pt x="316983" y="1920"/>
                        <a:pt x="345791" y="4802"/>
                      </a:cubicBezTo>
                      <a:cubicBezTo>
                        <a:pt x="368338" y="2296"/>
                        <a:pt x="365238" y="-358"/>
                        <a:pt x="371985" y="39"/>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42" name="Freeform: Shape 841">
                  <a:extLst>
                    <a:ext uri="{FF2B5EF4-FFF2-40B4-BE49-F238E27FC236}">
                      <a16:creationId xmlns:a16="http://schemas.microsoft.com/office/drawing/2014/main" id="{8ACA8D02-AD42-4657-9C86-86D43F96D649}"/>
                    </a:ext>
                  </a:extLst>
                </p:cNvPr>
                <p:cNvSpPr/>
                <p:nvPr/>
              </p:nvSpPr>
              <p:spPr>
                <a:xfrm>
                  <a:off x="3762367" y="3914775"/>
                  <a:ext cx="43150" cy="14644"/>
                </a:xfrm>
                <a:custGeom>
                  <a:avLst/>
                  <a:gdLst>
                    <a:gd name="connsiteX0" fmla="*/ 8 w 43150"/>
                    <a:gd name="connsiteY0" fmla="*/ 11906 h 14644"/>
                    <a:gd name="connsiteX1" fmla="*/ 19058 w 43150"/>
                    <a:gd name="connsiteY1" fmla="*/ 4763 h 14644"/>
                    <a:gd name="connsiteX2" fmla="*/ 33346 w 43150"/>
                    <a:gd name="connsiteY2" fmla="*/ 0 h 14644"/>
                    <a:gd name="connsiteX3" fmla="*/ 42871 w 43150"/>
                    <a:gd name="connsiteY3" fmla="*/ 2381 h 14644"/>
                    <a:gd name="connsiteX4" fmla="*/ 38108 w 43150"/>
                    <a:gd name="connsiteY4" fmla="*/ 9525 h 14644"/>
                    <a:gd name="connsiteX5" fmla="*/ 19058 w 43150"/>
                    <a:gd name="connsiteY5" fmla="*/ 11906 h 14644"/>
                    <a:gd name="connsiteX6" fmla="*/ 8 w 43150"/>
                    <a:gd name="connsiteY6" fmla="*/ 11906 h 14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3150" h="14644">
                      <a:moveTo>
                        <a:pt x="8" y="11906"/>
                      </a:moveTo>
                      <a:cubicBezTo>
                        <a:pt x="8" y="10716"/>
                        <a:pt x="-1006" y="13680"/>
                        <a:pt x="19058" y="4763"/>
                      </a:cubicBezTo>
                      <a:cubicBezTo>
                        <a:pt x="23646" y="2724"/>
                        <a:pt x="33346" y="0"/>
                        <a:pt x="33346" y="0"/>
                      </a:cubicBezTo>
                      <a:cubicBezTo>
                        <a:pt x="36521" y="794"/>
                        <a:pt x="41408" y="-546"/>
                        <a:pt x="42871" y="2381"/>
                      </a:cubicBezTo>
                      <a:cubicBezTo>
                        <a:pt x="44151" y="4941"/>
                        <a:pt x="40765" y="8462"/>
                        <a:pt x="38108" y="9525"/>
                      </a:cubicBezTo>
                      <a:cubicBezTo>
                        <a:pt x="32166" y="11902"/>
                        <a:pt x="25408" y="11112"/>
                        <a:pt x="19058" y="11906"/>
                      </a:cubicBezTo>
                      <a:cubicBezTo>
                        <a:pt x="2512" y="17422"/>
                        <a:pt x="8" y="13096"/>
                        <a:pt x="8" y="11906"/>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43" name="Freeform: Shape 842">
                  <a:extLst>
                    <a:ext uri="{FF2B5EF4-FFF2-40B4-BE49-F238E27FC236}">
                      <a16:creationId xmlns:a16="http://schemas.microsoft.com/office/drawing/2014/main" id="{F8F2E678-E093-401E-8C29-659F82F3E14B}"/>
                    </a:ext>
                  </a:extLst>
                </p:cNvPr>
                <p:cNvSpPr/>
                <p:nvPr/>
              </p:nvSpPr>
              <p:spPr>
                <a:xfrm>
                  <a:off x="3824593" y="3905250"/>
                  <a:ext cx="36235" cy="7585"/>
                </a:xfrm>
                <a:custGeom>
                  <a:avLst/>
                  <a:gdLst>
                    <a:gd name="connsiteX0" fmla="*/ 2076 w 36235"/>
                    <a:gd name="connsiteY0" fmla="*/ 7144 h 7585"/>
                    <a:gd name="connsiteX1" fmla="*/ 23507 w 36235"/>
                    <a:gd name="connsiteY1" fmla="*/ 2381 h 7585"/>
                    <a:gd name="connsiteX2" fmla="*/ 35413 w 36235"/>
                    <a:gd name="connsiteY2" fmla="*/ 0 h 7585"/>
                    <a:gd name="connsiteX3" fmla="*/ 2076 w 36235"/>
                    <a:gd name="connsiteY3" fmla="*/ 7144 h 7585"/>
                  </a:gdLst>
                  <a:ahLst/>
                  <a:cxnLst>
                    <a:cxn ang="0">
                      <a:pos x="connsiteX0" y="connsiteY0"/>
                    </a:cxn>
                    <a:cxn ang="0">
                      <a:pos x="connsiteX1" y="connsiteY1"/>
                    </a:cxn>
                    <a:cxn ang="0">
                      <a:pos x="connsiteX2" y="connsiteY2"/>
                    </a:cxn>
                    <a:cxn ang="0">
                      <a:pos x="connsiteX3" y="connsiteY3"/>
                    </a:cxn>
                  </a:cxnLst>
                  <a:rect l="l" t="t" r="r" b="b"/>
                  <a:pathLst>
                    <a:path w="36235" h="7585">
                      <a:moveTo>
                        <a:pt x="2076" y="7144"/>
                      </a:moveTo>
                      <a:cubicBezTo>
                        <a:pt x="92" y="7541"/>
                        <a:pt x="-6758" y="9107"/>
                        <a:pt x="23507" y="2381"/>
                      </a:cubicBezTo>
                      <a:cubicBezTo>
                        <a:pt x="27458" y="1503"/>
                        <a:pt x="39460" y="0"/>
                        <a:pt x="35413" y="0"/>
                      </a:cubicBezTo>
                      <a:cubicBezTo>
                        <a:pt x="15370" y="0"/>
                        <a:pt x="4060" y="6747"/>
                        <a:pt x="2076" y="714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44" name="Freeform: Shape 843">
                  <a:extLst>
                    <a:ext uri="{FF2B5EF4-FFF2-40B4-BE49-F238E27FC236}">
                      <a16:creationId xmlns:a16="http://schemas.microsoft.com/office/drawing/2014/main" id="{D3AB0E04-5A5F-4B5A-8942-D4F4C961E4DF}"/>
                    </a:ext>
                  </a:extLst>
                </p:cNvPr>
                <p:cNvSpPr/>
                <p:nvPr/>
              </p:nvSpPr>
              <p:spPr>
                <a:xfrm rot="20249152">
                  <a:off x="3725298" y="3941896"/>
                  <a:ext cx="18000" cy="3600"/>
                </a:xfrm>
                <a:custGeom>
                  <a:avLst/>
                  <a:gdLst>
                    <a:gd name="connsiteX0" fmla="*/ 2076 w 36235"/>
                    <a:gd name="connsiteY0" fmla="*/ 7144 h 7585"/>
                    <a:gd name="connsiteX1" fmla="*/ 23507 w 36235"/>
                    <a:gd name="connsiteY1" fmla="*/ 2381 h 7585"/>
                    <a:gd name="connsiteX2" fmla="*/ 35413 w 36235"/>
                    <a:gd name="connsiteY2" fmla="*/ 0 h 7585"/>
                    <a:gd name="connsiteX3" fmla="*/ 2076 w 36235"/>
                    <a:gd name="connsiteY3" fmla="*/ 7144 h 7585"/>
                  </a:gdLst>
                  <a:ahLst/>
                  <a:cxnLst>
                    <a:cxn ang="0">
                      <a:pos x="connsiteX0" y="connsiteY0"/>
                    </a:cxn>
                    <a:cxn ang="0">
                      <a:pos x="connsiteX1" y="connsiteY1"/>
                    </a:cxn>
                    <a:cxn ang="0">
                      <a:pos x="connsiteX2" y="connsiteY2"/>
                    </a:cxn>
                    <a:cxn ang="0">
                      <a:pos x="connsiteX3" y="connsiteY3"/>
                    </a:cxn>
                  </a:cxnLst>
                  <a:rect l="l" t="t" r="r" b="b"/>
                  <a:pathLst>
                    <a:path w="36235" h="7585">
                      <a:moveTo>
                        <a:pt x="2076" y="7144"/>
                      </a:moveTo>
                      <a:cubicBezTo>
                        <a:pt x="92" y="7541"/>
                        <a:pt x="-6758" y="9107"/>
                        <a:pt x="23507" y="2381"/>
                      </a:cubicBezTo>
                      <a:cubicBezTo>
                        <a:pt x="27458" y="1503"/>
                        <a:pt x="39460" y="0"/>
                        <a:pt x="35413" y="0"/>
                      </a:cubicBezTo>
                      <a:cubicBezTo>
                        <a:pt x="15370" y="0"/>
                        <a:pt x="4060" y="6747"/>
                        <a:pt x="2076" y="714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45" name="Freeform: Shape 844">
                  <a:extLst>
                    <a:ext uri="{FF2B5EF4-FFF2-40B4-BE49-F238E27FC236}">
                      <a16:creationId xmlns:a16="http://schemas.microsoft.com/office/drawing/2014/main" id="{48884485-26C9-4AA8-9096-6381F95DBD73}"/>
                    </a:ext>
                  </a:extLst>
                </p:cNvPr>
                <p:cNvSpPr/>
                <p:nvPr/>
              </p:nvSpPr>
              <p:spPr>
                <a:xfrm rot="2827077">
                  <a:off x="3553574" y="4232638"/>
                  <a:ext cx="64800" cy="50400"/>
                </a:xfrm>
                <a:custGeom>
                  <a:avLst/>
                  <a:gdLst>
                    <a:gd name="connsiteX0" fmla="*/ 54769 w 74168"/>
                    <a:gd name="connsiteY0" fmla="*/ 5906 h 55912"/>
                    <a:gd name="connsiteX1" fmla="*/ 42863 w 74168"/>
                    <a:gd name="connsiteY1" fmla="*/ 13050 h 55912"/>
                    <a:gd name="connsiteX2" fmla="*/ 35719 w 74168"/>
                    <a:gd name="connsiteY2" fmla="*/ 17812 h 55912"/>
                    <a:gd name="connsiteX3" fmla="*/ 21432 w 74168"/>
                    <a:gd name="connsiteY3" fmla="*/ 22575 h 55912"/>
                    <a:gd name="connsiteX4" fmla="*/ 14288 w 74168"/>
                    <a:gd name="connsiteY4" fmla="*/ 27337 h 55912"/>
                    <a:gd name="connsiteX5" fmla="*/ 0 w 74168"/>
                    <a:gd name="connsiteY5" fmla="*/ 32100 h 55912"/>
                    <a:gd name="connsiteX6" fmla="*/ 2382 w 74168"/>
                    <a:gd name="connsiteY6" fmla="*/ 39244 h 55912"/>
                    <a:gd name="connsiteX7" fmla="*/ 14288 w 74168"/>
                    <a:gd name="connsiteY7" fmla="*/ 53531 h 55912"/>
                    <a:gd name="connsiteX8" fmla="*/ 21432 w 74168"/>
                    <a:gd name="connsiteY8" fmla="*/ 55912 h 55912"/>
                    <a:gd name="connsiteX9" fmla="*/ 33338 w 74168"/>
                    <a:gd name="connsiteY9" fmla="*/ 53531 h 55912"/>
                    <a:gd name="connsiteX10" fmla="*/ 38100 w 74168"/>
                    <a:gd name="connsiteY10" fmla="*/ 46387 h 55912"/>
                    <a:gd name="connsiteX11" fmla="*/ 45244 w 74168"/>
                    <a:gd name="connsiteY11" fmla="*/ 39244 h 55912"/>
                    <a:gd name="connsiteX12" fmla="*/ 66675 w 74168"/>
                    <a:gd name="connsiteY12" fmla="*/ 27337 h 55912"/>
                    <a:gd name="connsiteX13" fmla="*/ 69057 w 74168"/>
                    <a:gd name="connsiteY13" fmla="*/ 1144 h 55912"/>
                    <a:gd name="connsiteX14" fmla="*/ 54769 w 74168"/>
                    <a:gd name="connsiteY14" fmla="*/ 3525 h 55912"/>
                    <a:gd name="connsiteX15" fmla="*/ 54769 w 74168"/>
                    <a:gd name="connsiteY15" fmla="*/ 5906 h 55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4168" h="55912">
                      <a:moveTo>
                        <a:pt x="54769" y="5906"/>
                      </a:moveTo>
                      <a:cubicBezTo>
                        <a:pt x="52785" y="7494"/>
                        <a:pt x="46788" y="10597"/>
                        <a:pt x="42863" y="13050"/>
                      </a:cubicBezTo>
                      <a:cubicBezTo>
                        <a:pt x="40436" y="14567"/>
                        <a:pt x="38334" y="16650"/>
                        <a:pt x="35719" y="17812"/>
                      </a:cubicBezTo>
                      <a:cubicBezTo>
                        <a:pt x="31132" y="19851"/>
                        <a:pt x="25609" y="19791"/>
                        <a:pt x="21432" y="22575"/>
                      </a:cubicBezTo>
                      <a:cubicBezTo>
                        <a:pt x="19051" y="24162"/>
                        <a:pt x="16903" y="26175"/>
                        <a:pt x="14288" y="27337"/>
                      </a:cubicBezTo>
                      <a:cubicBezTo>
                        <a:pt x="9700" y="29376"/>
                        <a:pt x="0" y="32100"/>
                        <a:pt x="0" y="32100"/>
                      </a:cubicBezTo>
                      <a:cubicBezTo>
                        <a:pt x="794" y="34481"/>
                        <a:pt x="1259" y="36999"/>
                        <a:pt x="2382" y="39244"/>
                      </a:cubicBezTo>
                      <a:cubicBezTo>
                        <a:pt x="4579" y="43637"/>
                        <a:pt x="10338" y="50898"/>
                        <a:pt x="14288" y="53531"/>
                      </a:cubicBezTo>
                      <a:cubicBezTo>
                        <a:pt x="16377" y="54923"/>
                        <a:pt x="19051" y="55118"/>
                        <a:pt x="21432" y="55912"/>
                      </a:cubicBezTo>
                      <a:cubicBezTo>
                        <a:pt x="25401" y="55118"/>
                        <a:pt x="29824" y="55539"/>
                        <a:pt x="33338" y="53531"/>
                      </a:cubicBezTo>
                      <a:cubicBezTo>
                        <a:pt x="35823" y="52111"/>
                        <a:pt x="36268" y="48586"/>
                        <a:pt x="38100" y="46387"/>
                      </a:cubicBezTo>
                      <a:cubicBezTo>
                        <a:pt x="40256" y="43800"/>
                        <a:pt x="42586" y="41311"/>
                        <a:pt x="45244" y="39244"/>
                      </a:cubicBezTo>
                      <a:cubicBezTo>
                        <a:pt x="57526" y="29692"/>
                        <a:pt x="55897" y="30931"/>
                        <a:pt x="66675" y="27337"/>
                      </a:cubicBezTo>
                      <a:cubicBezTo>
                        <a:pt x="71562" y="20009"/>
                        <a:pt x="79455" y="11542"/>
                        <a:pt x="69057" y="1144"/>
                      </a:cubicBezTo>
                      <a:cubicBezTo>
                        <a:pt x="65643" y="-2270"/>
                        <a:pt x="59568" y="2992"/>
                        <a:pt x="54769" y="3525"/>
                      </a:cubicBezTo>
                      <a:cubicBezTo>
                        <a:pt x="52402" y="3788"/>
                        <a:pt x="56753" y="4318"/>
                        <a:pt x="54769" y="5906"/>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46" name="Freeform: Shape 845">
                  <a:extLst>
                    <a:ext uri="{FF2B5EF4-FFF2-40B4-BE49-F238E27FC236}">
                      <a16:creationId xmlns:a16="http://schemas.microsoft.com/office/drawing/2014/main" id="{75B5EB63-DFB0-4D98-89F3-D4C0F58AE6AD}"/>
                    </a:ext>
                  </a:extLst>
                </p:cNvPr>
                <p:cNvSpPr/>
                <p:nvPr/>
              </p:nvSpPr>
              <p:spPr>
                <a:xfrm>
                  <a:off x="3919481" y="3900100"/>
                  <a:ext cx="7200" cy="7200"/>
                </a:xfrm>
                <a:custGeom>
                  <a:avLst/>
                  <a:gdLst>
                    <a:gd name="connsiteX0" fmla="*/ 57 w 16804"/>
                    <a:gd name="connsiteY0" fmla="*/ 2769 h 12318"/>
                    <a:gd name="connsiteX1" fmla="*/ 11963 w 16804"/>
                    <a:gd name="connsiteY1" fmla="*/ 12294 h 12318"/>
                    <a:gd name="connsiteX2" fmla="*/ 16725 w 16804"/>
                    <a:gd name="connsiteY2" fmla="*/ 5150 h 12318"/>
                    <a:gd name="connsiteX3" fmla="*/ 57 w 16804"/>
                    <a:gd name="connsiteY3" fmla="*/ 2769 h 12318"/>
                  </a:gdLst>
                  <a:ahLst/>
                  <a:cxnLst>
                    <a:cxn ang="0">
                      <a:pos x="connsiteX0" y="connsiteY0"/>
                    </a:cxn>
                    <a:cxn ang="0">
                      <a:pos x="connsiteX1" y="connsiteY1"/>
                    </a:cxn>
                    <a:cxn ang="0">
                      <a:pos x="connsiteX2" y="connsiteY2"/>
                    </a:cxn>
                    <a:cxn ang="0">
                      <a:pos x="connsiteX3" y="connsiteY3"/>
                    </a:cxn>
                  </a:cxnLst>
                  <a:rect l="l" t="t" r="r" b="b"/>
                  <a:pathLst>
                    <a:path w="16804" h="12318">
                      <a:moveTo>
                        <a:pt x="57" y="2769"/>
                      </a:moveTo>
                      <a:cubicBezTo>
                        <a:pt x="-737" y="3959"/>
                        <a:pt x="6932" y="11575"/>
                        <a:pt x="11963" y="12294"/>
                      </a:cubicBezTo>
                      <a:cubicBezTo>
                        <a:pt x="14796" y="12699"/>
                        <a:pt x="17286" y="7956"/>
                        <a:pt x="16725" y="5150"/>
                      </a:cubicBezTo>
                      <a:cubicBezTo>
                        <a:pt x="14897" y="-3992"/>
                        <a:pt x="851" y="1579"/>
                        <a:pt x="57" y="2769"/>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sp>
            <p:nvSpPr>
              <p:cNvPr id="840" name="Freeform: Shape 839">
                <a:extLst>
                  <a:ext uri="{FF2B5EF4-FFF2-40B4-BE49-F238E27FC236}">
                    <a16:creationId xmlns:a16="http://schemas.microsoft.com/office/drawing/2014/main" id="{B535A321-1B87-441B-AED3-360EC234DE6A}"/>
                  </a:ext>
                </a:extLst>
              </p:cNvPr>
              <p:cNvSpPr/>
              <p:nvPr/>
            </p:nvSpPr>
            <p:spPr>
              <a:xfrm rot="20901612">
                <a:off x="3743625" y="4065433"/>
                <a:ext cx="108754" cy="79200"/>
              </a:xfrm>
              <a:custGeom>
                <a:avLst/>
                <a:gdLst>
                  <a:gd name="connsiteX0" fmla="*/ 54851 w 76282"/>
                  <a:gd name="connsiteY0" fmla="*/ 168 h 50856"/>
                  <a:gd name="connsiteX1" fmla="*/ 76282 w 76282"/>
                  <a:gd name="connsiteY1" fmla="*/ 9693 h 50856"/>
                  <a:gd name="connsiteX2" fmla="*/ 73901 w 76282"/>
                  <a:gd name="connsiteY2" fmla="*/ 16837 h 50856"/>
                  <a:gd name="connsiteX3" fmla="*/ 59613 w 76282"/>
                  <a:gd name="connsiteY3" fmla="*/ 26362 h 50856"/>
                  <a:gd name="connsiteX4" fmla="*/ 57232 w 76282"/>
                  <a:gd name="connsiteY4" fmla="*/ 35887 h 50856"/>
                  <a:gd name="connsiteX5" fmla="*/ 42945 w 76282"/>
                  <a:gd name="connsiteY5" fmla="*/ 45412 h 50856"/>
                  <a:gd name="connsiteX6" fmla="*/ 19132 w 76282"/>
                  <a:gd name="connsiteY6" fmla="*/ 47793 h 50856"/>
                  <a:gd name="connsiteX7" fmla="*/ 4845 w 76282"/>
                  <a:gd name="connsiteY7" fmla="*/ 43031 h 50856"/>
                  <a:gd name="connsiteX8" fmla="*/ 82 w 76282"/>
                  <a:gd name="connsiteY8" fmla="*/ 35887 h 50856"/>
                  <a:gd name="connsiteX9" fmla="*/ 7226 w 76282"/>
                  <a:gd name="connsiteY9" fmla="*/ 33506 h 50856"/>
                  <a:gd name="connsiteX10" fmla="*/ 11988 w 76282"/>
                  <a:gd name="connsiteY10" fmla="*/ 26362 h 50856"/>
                  <a:gd name="connsiteX11" fmla="*/ 21513 w 76282"/>
                  <a:gd name="connsiteY11" fmla="*/ 23981 h 50856"/>
                  <a:gd name="connsiteX12" fmla="*/ 28657 w 76282"/>
                  <a:gd name="connsiteY12" fmla="*/ 21600 h 50856"/>
                  <a:gd name="connsiteX13" fmla="*/ 31038 w 76282"/>
                  <a:gd name="connsiteY13" fmla="*/ 14456 h 50856"/>
                  <a:gd name="connsiteX14" fmla="*/ 38182 w 76282"/>
                  <a:gd name="connsiteY14" fmla="*/ 12075 h 50856"/>
                  <a:gd name="connsiteX15" fmla="*/ 45326 w 76282"/>
                  <a:gd name="connsiteY15" fmla="*/ 7312 h 50856"/>
                  <a:gd name="connsiteX16" fmla="*/ 54851 w 76282"/>
                  <a:gd name="connsiteY16" fmla="*/ 168 h 50856"/>
                  <a:gd name="connsiteX0" fmla="*/ 54851 w 76282"/>
                  <a:gd name="connsiteY0" fmla="*/ 401 h 51089"/>
                  <a:gd name="connsiteX1" fmla="*/ 76282 w 76282"/>
                  <a:gd name="connsiteY1" fmla="*/ 9926 h 51089"/>
                  <a:gd name="connsiteX2" fmla="*/ 73901 w 76282"/>
                  <a:gd name="connsiteY2" fmla="*/ 17070 h 51089"/>
                  <a:gd name="connsiteX3" fmla="*/ 59613 w 76282"/>
                  <a:gd name="connsiteY3" fmla="*/ 26595 h 51089"/>
                  <a:gd name="connsiteX4" fmla="*/ 57232 w 76282"/>
                  <a:gd name="connsiteY4" fmla="*/ 36120 h 51089"/>
                  <a:gd name="connsiteX5" fmla="*/ 42945 w 76282"/>
                  <a:gd name="connsiteY5" fmla="*/ 45645 h 51089"/>
                  <a:gd name="connsiteX6" fmla="*/ 19132 w 76282"/>
                  <a:gd name="connsiteY6" fmla="*/ 48026 h 51089"/>
                  <a:gd name="connsiteX7" fmla="*/ 4845 w 76282"/>
                  <a:gd name="connsiteY7" fmla="*/ 43264 h 51089"/>
                  <a:gd name="connsiteX8" fmla="*/ 82 w 76282"/>
                  <a:gd name="connsiteY8" fmla="*/ 36120 h 51089"/>
                  <a:gd name="connsiteX9" fmla="*/ 7226 w 76282"/>
                  <a:gd name="connsiteY9" fmla="*/ 33739 h 51089"/>
                  <a:gd name="connsiteX10" fmla="*/ 11988 w 76282"/>
                  <a:gd name="connsiteY10" fmla="*/ 26595 h 51089"/>
                  <a:gd name="connsiteX11" fmla="*/ 21513 w 76282"/>
                  <a:gd name="connsiteY11" fmla="*/ 24214 h 51089"/>
                  <a:gd name="connsiteX12" fmla="*/ 28657 w 76282"/>
                  <a:gd name="connsiteY12" fmla="*/ 21833 h 51089"/>
                  <a:gd name="connsiteX13" fmla="*/ 31038 w 76282"/>
                  <a:gd name="connsiteY13" fmla="*/ 14689 h 51089"/>
                  <a:gd name="connsiteX14" fmla="*/ 38182 w 76282"/>
                  <a:gd name="connsiteY14" fmla="*/ 12308 h 51089"/>
                  <a:gd name="connsiteX15" fmla="*/ 49025 w 76282"/>
                  <a:gd name="connsiteY15" fmla="*/ 10695 h 51089"/>
                  <a:gd name="connsiteX16" fmla="*/ 54851 w 76282"/>
                  <a:gd name="connsiteY16" fmla="*/ 401 h 51089"/>
                  <a:gd name="connsiteX0" fmla="*/ 54851 w 76282"/>
                  <a:gd name="connsiteY0" fmla="*/ 401 h 51089"/>
                  <a:gd name="connsiteX1" fmla="*/ 76282 w 76282"/>
                  <a:gd name="connsiteY1" fmla="*/ 9926 h 51089"/>
                  <a:gd name="connsiteX2" fmla="*/ 73901 w 76282"/>
                  <a:gd name="connsiteY2" fmla="*/ 17070 h 51089"/>
                  <a:gd name="connsiteX3" fmla="*/ 59613 w 76282"/>
                  <a:gd name="connsiteY3" fmla="*/ 26595 h 51089"/>
                  <a:gd name="connsiteX4" fmla="*/ 57232 w 76282"/>
                  <a:gd name="connsiteY4" fmla="*/ 36120 h 51089"/>
                  <a:gd name="connsiteX5" fmla="*/ 42945 w 76282"/>
                  <a:gd name="connsiteY5" fmla="*/ 45645 h 51089"/>
                  <a:gd name="connsiteX6" fmla="*/ 19132 w 76282"/>
                  <a:gd name="connsiteY6" fmla="*/ 48026 h 51089"/>
                  <a:gd name="connsiteX7" fmla="*/ 4845 w 76282"/>
                  <a:gd name="connsiteY7" fmla="*/ 43264 h 51089"/>
                  <a:gd name="connsiteX8" fmla="*/ 82 w 76282"/>
                  <a:gd name="connsiteY8" fmla="*/ 36120 h 51089"/>
                  <a:gd name="connsiteX9" fmla="*/ 7226 w 76282"/>
                  <a:gd name="connsiteY9" fmla="*/ 33739 h 51089"/>
                  <a:gd name="connsiteX10" fmla="*/ 11988 w 76282"/>
                  <a:gd name="connsiteY10" fmla="*/ 26595 h 51089"/>
                  <a:gd name="connsiteX11" fmla="*/ 21513 w 76282"/>
                  <a:gd name="connsiteY11" fmla="*/ 24214 h 51089"/>
                  <a:gd name="connsiteX12" fmla="*/ 28657 w 76282"/>
                  <a:gd name="connsiteY12" fmla="*/ 21833 h 51089"/>
                  <a:gd name="connsiteX13" fmla="*/ 31038 w 76282"/>
                  <a:gd name="connsiteY13" fmla="*/ 14689 h 51089"/>
                  <a:gd name="connsiteX14" fmla="*/ 38182 w 76282"/>
                  <a:gd name="connsiteY14" fmla="*/ 15458 h 51089"/>
                  <a:gd name="connsiteX15" fmla="*/ 49025 w 76282"/>
                  <a:gd name="connsiteY15" fmla="*/ 10695 h 51089"/>
                  <a:gd name="connsiteX16" fmla="*/ 54851 w 76282"/>
                  <a:gd name="connsiteY16" fmla="*/ 401 h 510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76282" h="51089">
                    <a:moveTo>
                      <a:pt x="54851" y="401"/>
                    </a:moveTo>
                    <a:cubicBezTo>
                      <a:pt x="59394" y="273"/>
                      <a:pt x="76282" y="-2737"/>
                      <a:pt x="76282" y="9926"/>
                    </a:cubicBezTo>
                    <a:cubicBezTo>
                      <a:pt x="76282" y="12436"/>
                      <a:pt x="75676" y="15295"/>
                      <a:pt x="73901" y="17070"/>
                    </a:cubicBezTo>
                    <a:cubicBezTo>
                      <a:pt x="69854" y="21117"/>
                      <a:pt x="59613" y="26595"/>
                      <a:pt x="59613" y="26595"/>
                    </a:cubicBezTo>
                    <a:cubicBezTo>
                      <a:pt x="58819" y="29770"/>
                      <a:pt x="58856" y="33278"/>
                      <a:pt x="57232" y="36120"/>
                    </a:cubicBezTo>
                    <a:cubicBezTo>
                      <a:pt x="53035" y="43465"/>
                      <a:pt x="49764" y="43372"/>
                      <a:pt x="42945" y="45645"/>
                    </a:cubicBezTo>
                    <a:cubicBezTo>
                      <a:pt x="32105" y="52872"/>
                      <a:pt x="36725" y="52086"/>
                      <a:pt x="19132" y="48026"/>
                    </a:cubicBezTo>
                    <a:cubicBezTo>
                      <a:pt x="14241" y="46897"/>
                      <a:pt x="4845" y="43264"/>
                      <a:pt x="4845" y="43264"/>
                    </a:cubicBezTo>
                    <a:cubicBezTo>
                      <a:pt x="3257" y="40883"/>
                      <a:pt x="-612" y="38897"/>
                      <a:pt x="82" y="36120"/>
                    </a:cubicBezTo>
                    <a:cubicBezTo>
                      <a:pt x="691" y="33685"/>
                      <a:pt x="5266" y="35307"/>
                      <a:pt x="7226" y="33739"/>
                    </a:cubicBezTo>
                    <a:cubicBezTo>
                      <a:pt x="9461" y="31951"/>
                      <a:pt x="9607" y="28183"/>
                      <a:pt x="11988" y="26595"/>
                    </a:cubicBezTo>
                    <a:cubicBezTo>
                      <a:pt x="14711" y="24780"/>
                      <a:pt x="18366" y="25113"/>
                      <a:pt x="21513" y="24214"/>
                    </a:cubicBezTo>
                    <a:cubicBezTo>
                      <a:pt x="23927" y="23524"/>
                      <a:pt x="26276" y="22627"/>
                      <a:pt x="28657" y="21833"/>
                    </a:cubicBezTo>
                    <a:cubicBezTo>
                      <a:pt x="29451" y="19452"/>
                      <a:pt x="29451" y="15751"/>
                      <a:pt x="31038" y="14689"/>
                    </a:cubicBezTo>
                    <a:cubicBezTo>
                      <a:pt x="32625" y="13627"/>
                      <a:pt x="35937" y="16581"/>
                      <a:pt x="38182" y="15458"/>
                    </a:cubicBezTo>
                    <a:cubicBezTo>
                      <a:pt x="40742" y="14178"/>
                      <a:pt x="46826" y="12527"/>
                      <a:pt x="49025" y="10695"/>
                    </a:cubicBezTo>
                    <a:cubicBezTo>
                      <a:pt x="51612" y="8539"/>
                      <a:pt x="50308" y="529"/>
                      <a:pt x="54851" y="401"/>
                    </a:cubicBezTo>
                    <a:close/>
                  </a:path>
                </a:pathLst>
              </a:custGeom>
              <a:grp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sp>
          <p:nvSpPr>
            <p:cNvPr id="325" name="Freeform: Shape 324">
              <a:extLst>
                <a:ext uri="{FF2B5EF4-FFF2-40B4-BE49-F238E27FC236}">
                  <a16:creationId xmlns:a16="http://schemas.microsoft.com/office/drawing/2014/main" id="{DAEFA6BB-D02A-4CA8-A44A-0AD2997A86E0}"/>
                </a:ext>
              </a:extLst>
            </p:cNvPr>
            <p:cNvSpPr/>
            <p:nvPr/>
          </p:nvSpPr>
          <p:spPr>
            <a:xfrm>
              <a:off x="8422772" y="5392541"/>
              <a:ext cx="334158" cy="283368"/>
            </a:xfrm>
            <a:custGeom>
              <a:avLst/>
              <a:gdLst>
                <a:gd name="connsiteX0" fmla="*/ 2686 w 333679"/>
                <a:gd name="connsiteY0" fmla="*/ 116681 h 283368"/>
                <a:gd name="connsiteX1" fmla="*/ 21736 w 333679"/>
                <a:gd name="connsiteY1" fmla="*/ 114300 h 283368"/>
                <a:gd name="connsiteX2" fmla="*/ 19354 w 333679"/>
                <a:gd name="connsiteY2" fmla="*/ 104775 h 283368"/>
                <a:gd name="connsiteX3" fmla="*/ 21736 w 333679"/>
                <a:gd name="connsiteY3" fmla="*/ 83343 h 283368"/>
                <a:gd name="connsiteX4" fmla="*/ 28879 w 333679"/>
                <a:gd name="connsiteY4" fmla="*/ 78581 h 283368"/>
                <a:gd name="connsiteX5" fmla="*/ 36023 w 333679"/>
                <a:gd name="connsiteY5" fmla="*/ 76200 h 283368"/>
                <a:gd name="connsiteX6" fmla="*/ 55073 w 333679"/>
                <a:gd name="connsiteY6" fmla="*/ 69056 h 283368"/>
                <a:gd name="connsiteX7" fmla="*/ 59836 w 333679"/>
                <a:gd name="connsiteY7" fmla="*/ 61912 h 283368"/>
                <a:gd name="connsiteX8" fmla="*/ 66979 w 333679"/>
                <a:gd name="connsiteY8" fmla="*/ 47625 h 283368"/>
                <a:gd name="connsiteX9" fmla="*/ 83648 w 333679"/>
                <a:gd name="connsiteY9" fmla="*/ 54768 h 283368"/>
                <a:gd name="connsiteX10" fmla="*/ 86029 w 333679"/>
                <a:gd name="connsiteY10" fmla="*/ 47625 h 283368"/>
                <a:gd name="connsiteX11" fmla="*/ 100317 w 333679"/>
                <a:gd name="connsiteY11" fmla="*/ 38100 h 283368"/>
                <a:gd name="connsiteX12" fmla="*/ 112223 w 333679"/>
                <a:gd name="connsiteY12" fmla="*/ 28575 h 283368"/>
                <a:gd name="connsiteX13" fmla="*/ 126511 w 333679"/>
                <a:gd name="connsiteY13" fmla="*/ 33337 h 283368"/>
                <a:gd name="connsiteX14" fmla="*/ 138417 w 333679"/>
                <a:gd name="connsiteY14" fmla="*/ 30956 h 283368"/>
                <a:gd name="connsiteX15" fmla="*/ 140798 w 333679"/>
                <a:gd name="connsiteY15" fmla="*/ 23812 h 283368"/>
                <a:gd name="connsiteX16" fmla="*/ 150323 w 333679"/>
                <a:gd name="connsiteY16" fmla="*/ 21431 h 283368"/>
                <a:gd name="connsiteX17" fmla="*/ 176517 w 333679"/>
                <a:gd name="connsiteY17" fmla="*/ 14287 h 283368"/>
                <a:gd name="connsiteX18" fmla="*/ 183661 w 333679"/>
                <a:gd name="connsiteY18" fmla="*/ 9525 h 283368"/>
                <a:gd name="connsiteX19" fmla="*/ 197948 w 333679"/>
                <a:gd name="connsiteY19" fmla="*/ 14287 h 283368"/>
                <a:gd name="connsiteX20" fmla="*/ 212236 w 333679"/>
                <a:gd name="connsiteY20" fmla="*/ 2381 h 283368"/>
                <a:gd name="connsiteX21" fmla="*/ 219379 w 333679"/>
                <a:gd name="connsiteY21" fmla="*/ 0 h 283368"/>
                <a:gd name="connsiteX22" fmla="*/ 233667 w 333679"/>
                <a:gd name="connsiteY22" fmla="*/ 11906 h 283368"/>
                <a:gd name="connsiteX23" fmla="*/ 240811 w 333679"/>
                <a:gd name="connsiteY23" fmla="*/ 19050 h 283368"/>
                <a:gd name="connsiteX24" fmla="*/ 250336 w 333679"/>
                <a:gd name="connsiteY24" fmla="*/ 21431 h 283368"/>
                <a:gd name="connsiteX25" fmla="*/ 257479 w 333679"/>
                <a:gd name="connsiteY25" fmla="*/ 23812 h 283368"/>
                <a:gd name="connsiteX26" fmla="*/ 278911 w 333679"/>
                <a:gd name="connsiteY26" fmla="*/ 35718 h 283368"/>
                <a:gd name="connsiteX27" fmla="*/ 288436 w 333679"/>
                <a:gd name="connsiteY27" fmla="*/ 38100 h 283368"/>
                <a:gd name="connsiteX28" fmla="*/ 302723 w 333679"/>
                <a:gd name="connsiteY28" fmla="*/ 42862 h 283368"/>
                <a:gd name="connsiteX29" fmla="*/ 309867 w 333679"/>
                <a:gd name="connsiteY29" fmla="*/ 47625 h 283368"/>
                <a:gd name="connsiteX30" fmla="*/ 319392 w 333679"/>
                <a:gd name="connsiteY30" fmla="*/ 69056 h 283368"/>
                <a:gd name="connsiteX31" fmla="*/ 324154 w 333679"/>
                <a:gd name="connsiteY31" fmla="*/ 83343 h 283368"/>
                <a:gd name="connsiteX32" fmla="*/ 328917 w 333679"/>
                <a:gd name="connsiteY32" fmla="*/ 90487 h 283368"/>
                <a:gd name="connsiteX33" fmla="*/ 331298 w 333679"/>
                <a:gd name="connsiteY33" fmla="*/ 97631 h 283368"/>
                <a:gd name="connsiteX34" fmla="*/ 324154 w 333679"/>
                <a:gd name="connsiteY34" fmla="*/ 102393 h 283368"/>
                <a:gd name="connsiteX35" fmla="*/ 319392 w 333679"/>
                <a:gd name="connsiteY35" fmla="*/ 109537 h 283368"/>
                <a:gd name="connsiteX36" fmla="*/ 321773 w 333679"/>
                <a:gd name="connsiteY36" fmla="*/ 119062 h 283368"/>
                <a:gd name="connsiteX37" fmla="*/ 328917 w 333679"/>
                <a:gd name="connsiteY37" fmla="*/ 123825 h 283368"/>
                <a:gd name="connsiteX38" fmla="*/ 333679 w 333679"/>
                <a:gd name="connsiteY38" fmla="*/ 138112 h 283368"/>
                <a:gd name="connsiteX39" fmla="*/ 331298 w 333679"/>
                <a:gd name="connsiteY39" fmla="*/ 152400 h 283368"/>
                <a:gd name="connsiteX40" fmla="*/ 321773 w 333679"/>
                <a:gd name="connsiteY40" fmla="*/ 154781 h 283368"/>
                <a:gd name="connsiteX41" fmla="*/ 314629 w 333679"/>
                <a:gd name="connsiteY41" fmla="*/ 157162 h 283368"/>
                <a:gd name="connsiteX42" fmla="*/ 309867 w 333679"/>
                <a:gd name="connsiteY42" fmla="*/ 171450 h 283368"/>
                <a:gd name="connsiteX43" fmla="*/ 307486 w 333679"/>
                <a:gd name="connsiteY43" fmla="*/ 178593 h 283368"/>
                <a:gd name="connsiteX44" fmla="*/ 300342 w 333679"/>
                <a:gd name="connsiteY44" fmla="*/ 202406 h 283368"/>
                <a:gd name="connsiteX45" fmla="*/ 295579 w 333679"/>
                <a:gd name="connsiteY45" fmla="*/ 209550 h 283368"/>
                <a:gd name="connsiteX46" fmla="*/ 286054 w 333679"/>
                <a:gd name="connsiteY46" fmla="*/ 207168 h 283368"/>
                <a:gd name="connsiteX47" fmla="*/ 269386 w 333679"/>
                <a:gd name="connsiteY47" fmla="*/ 202406 h 283368"/>
                <a:gd name="connsiteX48" fmla="*/ 250336 w 333679"/>
                <a:gd name="connsiteY48" fmla="*/ 197643 h 283368"/>
                <a:gd name="connsiteX49" fmla="*/ 226523 w 333679"/>
                <a:gd name="connsiteY49" fmla="*/ 204787 h 283368"/>
                <a:gd name="connsiteX50" fmla="*/ 219379 w 333679"/>
                <a:gd name="connsiteY50" fmla="*/ 207168 h 283368"/>
                <a:gd name="connsiteX51" fmla="*/ 209854 w 333679"/>
                <a:gd name="connsiteY51" fmla="*/ 209550 h 283368"/>
                <a:gd name="connsiteX52" fmla="*/ 202711 w 333679"/>
                <a:gd name="connsiteY52" fmla="*/ 214312 h 283368"/>
                <a:gd name="connsiteX53" fmla="*/ 207473 w 333679"/>
                <a:gd name="connsiteY53" fmla="*/ 228600 h 283368"/>
                <a:gd name="connsiteX54" fmla="*/ 200329 w 333679"/>
                <a:gd name="connsiteY54" fmla="*/ 235743 h 283368"/>
                <a:gd name="connsiteX55" fmla="*/ 193186 w 333679"/>
                <a:gd name="connsiteY55" fmla="*/ 250031 h 283368"/>
                <a:gd name="connsiteX56" fmla="*/ 181279 w 333679"/>
                <a:gd name="connsiteY56" fmla="*/ 252412 h 283368"/>
                <a:gd name="connsiteX57" fmla="*/ 169373 w 333679"/>
                <a:gd name="connsiteY57" fmla="*/ 264318 h 283368"/>
                <a:gd name="connsiteX58" fmla="*/ 162229 w 333679"/>
                <a:gd name="connsiteY58" fmla="*/ 261937 h 283368"/>
                <a:gd name="connsiteX59" fmla="*/ 145561 w 333679"/>
                <a:gd name="connsiteY59" fmla="*/ 259556 h 283368"/>
                <a:gd name="connsiteX60" fmla="*/ 133654 w 333679"/>
                <a:gd name="connsiteY60" fmla="*/ 269081 h 283368"/>
                <a:gd name="connsiteX61" fmla="*/ 107461 w 333679"/>
                <a:gd name="connsiteY61" fmla="*/ 283368 h 283368"/>
                <a:gd name="connsiteX62" fmla="*/ 97936 w 333679"/>
                <a:gd name="connsiteY62" fmla="*/ 280987 h 283368"/>
                <a:gd name="connsiteX63" fmla="*/ 90792 w 333679"/>
                <a:gd name="connsiteY63" fmla="*/ 278606 h 283368"/>
                <a:gd name="connsiteX64" fmla="*/ 83648 w 333679"/>
                <a:gd name="connsiteY64" fmla="*/ 280987 h 283368"/>
                <a:gd name="connsiteX65" fmla="*/ 76504 w 333679"/>
                <a:gd name="connsiteY65" fmla="*/ 278606 h 283368"/>
                <a:gd name="connsiteX66" fmla="*/ 74123 w 333679"/>
                <a:gd name="connsiteY66" fmla="*/ 271462 h 283368"/>
                <a:gd name="connsiteX67" fmla="*/ 59836 w 333679"/>
                <a:gd name="connsiteY67" fmla="*/ 266700 h 283368"/>
                <a:gd name="connsiteX68" fmla="*/ 52692 w 333679"/>
                <a:gd name="connsiteY68" fmla="*/ 269081 h 283368"/>
                <a:gd name="connsiteX69" fmla="*/ 43167 w 333679"/>
                <a:gd name="connsiteY69" fmla="*/ 273843 h 283368"/>
                <a:gd name="connsiteX70" fmla="*/ 31261 w 333679"/>
                <a:gd name="connsiteY70" fmla="*/ 252412 h 283368"/>
                <a:gd name="connsiteX71" fmla="*/ 26498 w 333679"/>
                <a:gd name="connsiteY71" fmla="*/ 245268 h 283368"/>
                <a:gd name="connsiteX72" fmla="*/ 19354 w 333679"/>
                <a:gd name="connsiteY72" fmla="*/ 240506 h 283368"/>
                <a:gd name="connsiteX73" fmla="*/ 16973 w 333679"/>
                <a:gd name="connsiteY73" fmla="*/ 233362 h 283368"/>
                <a:gd name="connsiteX74" fmla="*/ 12211 w 333679"/>
                <a:gd name="connsiteY74" fmla="*/ 207168 h 283368"/>
                <a:gd name="connsiteX75" fmla="*/ 7448 w 333679"/>
                <a:gd name="connsiteY75" fmla="*/ 197643 h 283368"/>
                <a:gd name="connsiteX76" fmla="*/ 14592 w 333679"/>
                <a:gd name="connsiteY76" fmla="*/ 195262 h 283368"/>
                <a:gd name="connsiteX77" fmla="*/ 2686 w 333679"/>
                <a:gd name="connsiteY77" fmla="*/ 180975 h 283368"/>
                <a:gd name="connsiteX78" fmla="*/ 2686 w 333679"/>
                <a:gd name="connsiteY78" fmla="*/ 145256 h 283368"/>
                <a:gd name="connsiteX79" fmla="*/ 5067 w 333679"/>
                <a:gd name="connsiteY79" fmla="*/ 109537 h 283368"/>
                <a:gd name="connsiteX80" fmla="*/ 2686 w 333679"/>
                <a:gd name="connsiteY80" fmla="*/ 116681 h 283368"/>
                <a:gd name="connsiteX0" fmla="*/ 2686 w 333679"/>
                <a:gd name="connsiteY0" fmla="*/ 116681 h 283368"/>
                <a:gd name="connsiteX1" fmla="*/ 21736 w 333679"/>
                <a:gd name="connsiteY1" fmla="*/ 114300 h 283368"/>
                <a:gd name="connsiteX2" fmla="*/ 19354 w 333679"/>
                <a:gd name="connsiteY2" fmla="*/ 104775 h 283368"/>
                <a:gd name="connsiteX3" fmla="*/ 21736 w 333679"/>
                <a:gd name="connsiteY3" fmla="*/ 83343 h 283368"/>
                <a:gd name="connsiteX4" fmla="*/ 28879 w 333679"/>
                <a:gd name="connsiteY4" fmla="*/ 78581 h 283368"/>
                <a:gd name="connsiteX5" fmla="*/ 36023 w 333679"/>
                <a:gd name="connsiteY5" fmla="*/ 76200 h 283368"/>
                <a:gd name="connsiteX6" fmla="*/ 55073 w 333679"/>
                <a:gd name="connsiteY6" fmla="*/ 69056 h 283368"/>
                <a:gd name="connsiteX7" fmla="*/ 59836 w 333679"/>
                <a:gd name="connsiteY7" fmla="*/ 61912 h 283368"/>
                <a:gd name="connsiteX8" fmla="*/ 66979 w 333679"/>
                <a:gd name="connsiteY8" fmla="*/ 47625 h 283368"/>
                <a:gd name="connsiteX9" fmla="*/ 83648 w 333679"/>
                <a:gd name="connsiteY9" fmla="*/ 54768 h 283368"/>
                <a:gd name="connsiteX10" fmla="*/ 86029 w 333679"/>
                <a:gd name="connsiteY10" fmla="*/ 47625 h 283368"/>
                <a:gd name="connsiteX11" fmla="*/ 100317 w 333679"/>
                <a:gd name="connsiteY11" fmla="*/ 38100 h 283368"/>
                <a:gd name="connsiteX12" fmla="*/ 112223 w 333679"/>
                <a:gd name="connsiteY12" fmla="*/ 28575 h 283368"/>
                <a:gd name="connsiteX13" fmla="*/ 126511 w 333679"/>
                <a:gd name="connsiteY13" fmla="*/ 33337 h 283368"/>
                <a:gd name="connsiteX14" fmla="*/ 138417 w 333679"/>
                <a:gd name="connsiteY14" fmla="*/ 30956 h 283368"/>
                <a:gd name="connsiteX15" fmla="*/ 140798 w 333679"/>
                <a:gd name="connsiteY15" fmla="*/ 23812 h 283368"/>
                <a:gd name="connsiteX16" fmla="*/ 150323 w 333679"/>
                <a:gd name="connsiteY16" fmla="*/ 21431 h 283368"/>
                <a:gd name="connsiteX17" fmla="*/ 176517 w 333679"/>
                <a:gd name="connsiteY17" fmla="*/ 14287 h 283368"/>
                <a:gd name="connsiteX18" fmla="*/ 183661 w 333679"/>
                <a:gd name="connsiteY18" fmla="*/ 9525 h 283368"/>
                <a:gd name="connsiteX19" fmla="*/ 197948 w 333679"/>
                <a:gd name="connsiteY19" fmla="*/ 14287 h 283368"/>
                <a:gd name="connsiteX20" fmla="*/ 212236 w 333679"/>
                <a:gd name="connsiteY20" fmla="*/ 2381 h 283368"/>
                <a:gd name="connsiteX21" fmla="*/ 219379 w 333679"/>
                <a:gd name="connsiteY21" fmla="*/ 0 h 283368"/>
                <a:gd name="connsiteX22" fmla="*/ 233667 w 333679"/>
                <a:gd name="connsiteY22" fmla="*/ 11906 h 283368"/>
                <a:gd name="connsiteX23" fmla="*/ 240811 w 333679"/>
                <a:gd name="connsiteY23" fmla="*/ 19050 h 283368"/>
                <a:gd name="connsiteX24" fmla="*/ 250336 w 333679"/>
                <a:gd name="connsiteY24" fmla="*/ 21431 h 283368"/>
                <a:gd name="connsiteX25" fmla="*/ 257479 w 333679"/>
                <a:gd name="connsiteY25" fmla="*/ 23812 h 283368"/>
                <a:gd name="connsiteX26" fmla="*/ 278911 w 333679"/>
                <a:gd name="connsiteY26" fmla="*/ 35718 h 283368"/>
                <a:gd name="connsiteX27" fmla="*/ 288436 w 333679"/>
                <a:gd name="connsiteY27" fmla="*/ 38100 h 283368"/>
                <a:gd name="connsiteX28" fmla="*/ 302723 w 333679"/>
                <a:gd name="connsiteY28" fmla="*/ 42862 h 283368"/>
                <a:gd name="connsiteX29" fmla="*/ 309867 w 333679"/>
                <a:gd name="connsiteY29" fmla="*/ 47625 h 283368"/>
                <a:gd name="connsiteX30" fmla="*/ 319392 w 333679"/>
                <a:gd name="connsiteY30" fmla="*/ 69056 h 283368"/>
                <a:gd name="connsiteX31" fmla="*/ 324154 w 333679"/>
                <a:gd name="connsiteY31" fmla="*/ 83343 h 283368"/>
                <a:gd name="connsiteX32" fmla="*/ 328917 w 333679"/>
                <a:gd name="connsiteY32" fmla="*/ 90487 h 283368"/>
                <a:gd name="connsiteX33" fmla="*/ 331298 w 333679"/>
                <a:gd name="connsiteY33" fmla="*/ 97631 h 283368"/>
                <a:gd name="connsiteX34" fmla="*/ 324154 w 333679"/>
                <a:gd name="connsiteY34" fmla="*/ 102393 h 283368"/>
                <a:gd name="connsiteX35" fmla="*/ 319392 w 333679"/>
                <a:gd name="connsiteY35" fmla="*/ 109537 h 283368"/>
                <a:gd name="connsiteX36" fmla="*/ 321773 w 333679"/>
                <a:gd name="connsiteY36" fmla="*/ 119062 h 283368"/>
                <a:gd name="connsiteX37" fmla="*/ 328917 w 333679"/>
                <a:gd name="connsiteY37" fmla="*/ 123825 h 283368"/>
                <a:gd name="connsiteX38" fmla="*/ 333679 w 333679"/>
                <a:gd name="connsiteY38" fmla="*/ 138112 h 283368"/>
                <a:gd name="connsiteX39" fmla="*/ 331298 w 333679"/>
                <a:gd name="connsiteY39" fmla="*/ 152400 h 283368"/>
                <a:gd name="connsiteX40" fmla="*/ 321773 w 333679"/>
                <a:gd name="connsiteY40" fmla="*/ 154781 h 283368"/>
                <a:gd name="connsiteX41" fmla="*/ 309867 w 333679"/>
                <a:gd name="connsiteY41" fmla="*/ 171450 h 283368"/>
                <a:gd name="connsiteX42" fmla="*/ 307486 w 333679"/>
                <a:gd name="connsiteY42" fmla="*/ 178593 h 283368"/>
                <a:gd name="connsiteX43" fmla="*/ 300342 w 333679"/>
                <a:gd name="connsiteY43" fmla="*/ 202406 h 283368"/>
                <a:gd name="connsiteX44" fmla="*/ 295579 w 333679"/>
                <a:gd name="connsiteY44" fmla="*/ 209550 h 283368"/>
                <a:gd name="connsiteX45" fmla="*/ 286054 w 333679"/>
                <a:gd name="connsiteY45" fmla="*/ 207168 h 283368"/>
                <a:gd name="connsiteX46" fmla="*/ 269386 w 333679"/>
                <a:gd name="connsiteY46" fmla="*/ 202406 h 283368"/>
                <a:gd name="connsiteX47" fmla="*/ 250336 w 333679"/>
                <a:gd name="connsiteY47" fmla="*/ 197643 h 283368"/>
                <a:gd name="connsiteX48" fmla="*/ 226523 w 333679"/>
                <a:gd name="connsiteY48" fmla="*/ 204787 h 283368"/>
                <a:gd name="connsiteX49" fmla="*/ 219379 w 333679"/>
                <a:gd name="connsiteY49" fmla="*/ 207168 h 283368"/>
                <a:gd name="connsiteX50" fmla="*/ 209854 w 333679"/>
                <a:gd name="connsiteY50" fmla="*/ 209550 h 283368"/>
                <a:gd name="connsiteX51" fmla="*/ 202711 w 333679"/>
                <a:gd name="connsiteY51" fmla="*/ 214312 h 283368"/>
                <a:gd name="connsiteX52" fmla="*/ 207473 w 333679"/>
                <a:gd name="connsiteY52" fmla="*/ 228600 h 283368"/>
                <a:gd name="connsiteX53" fmla="*/ 200329 w 333679"/>
                <a:gd name="connsiteY53" fmla="*/ 235743 h 283368"/>
                <a:gd name="connsiteX54" fmla="*/ 193186 w 333679"/>
                <a:gd name="connsiteY54" fmla="*/ 250031 h 283368"/>
                <a:gd name="connsiteX55" fmla="*/ 181279 w 333679"/>
                <a:gd name="connsiteY55" fmla="*/ 252412 h 283368"/>
                <a:gd name="connsiteX56" fmla="*/ 169373 w 333679"/>
                <a:gd name="connsiteY56" fmla="*/ 264318 h 283368"/>
                <a:gd name="connsiteX57" fmla="*/ 162229 w 333679"/>
                <a:gd name="connsiteY57" fmla="*/ 261937 h 283368"/>
                <a:gd name="connsiteX58" fmla="*/ 145561 w 333679"/>
                <a:gd name="connsiteY58" fmla="*/ 259556 h 283368"/>
                <a:gd name="connsiteX59" fmla="*/ 133654 w 333679"/>
                <a:gd name="connsiteY59" fmla="*/ 269081 h 283368"/>
                <a:gd name="connsiteX60" fmla="*/ 107461 w 333679"/>
                <a:gd name="connsiteY60" fmla="*/ 283368 h 283368"/>
                <a:gd name="connsiteX61" fmla="*/ 97936 w 333679"/>
                <a:gd name="connsiteY61" fmla="*/ 280987 h 283368"/>
                <a:gd name="connsiteX62" fmla="*/ 90792 w 333679"/>
                <a:gd name="connsiteY62" fmla="*/ 278606 h 283368"/>
                <a:gd name="connsiteX63" fmla="*/ 83648 w 333679"/>
                <a:gd name="connsiteY63" fmla="*/ 280987 h 283368"/>
                <a:gd name="connsiteX64" fmla="*/ 76504 w 333679"/>
                <a:gd name="connsiteY64" fmla="*/ 278606 h 283368"/>
                <a:gd name="connsiteX65" fmla="*/ 74123 w 333679"/>
                <a:gd name="connsiteY65" fmla="*/ 271462 h 283368"/>
                <a:gd name="connsiteX66" fmla="*/ 59836 w 333679"/>
                <a:gd name="connsiteY66" fmla="*/ 266700 h 283368"/>
                <a:gd name="connsiteX67" fmla="*/ 52692 w 333679"/>
                <a:gd name="connsiteY67" fmla="*/ 269081 h 283368"/>
                <a:gd name="connsiteX68" fmla="*/ 43167 w 333679"/>
                <a:gd name="connsiteY68" fmla="*/ 273843 h 283368"/>
                <a:gd name="connsiteX69" fmla="*/ 31261 w 333679"/>
                <a:gd name="connsiteY69" fmla="*/ 252412 h 283368"/>
                <a:gd name="connsiteX70" fmla="*/ 26498 w 333679"/>
                <a:gd name="connsiteY70" fmla="*/ 245268 h 283368"/>
                <a:gd name="connsiteX71" fmla="*/ 19354 w 333679"/>
                <a:gd name="connsiteY71" fmla="*/ 240506 h 283368"/>
                <a:gd name="connsiteX72" fmla="*/ 16973 w 333679"/>
                <a:gd name="connsiteY72" fmla="*/ 233362 h 283368"/>
                <a:gd name="connsiteX73" fmla="*/ 12211 w 333679"/>
                <a:gd name="connsiteY73" fmla="*/ 207168 h 283368"/>
                <a:gd name="connsiteX74" fmla="*/ 7448 w 333679"/>
                <a:gd name="connsiteY74" fmla="*/ 197643 h 283368"/>
                <a:gd name="connsiteX75" fmla="*/ 14592 w 333679"/>
                <a:gd name="connsiteY75" fmla="*/ 195262 h 283368"/>
                <a:gd name="connsiteX76" fmla="*/ 2686 w 333679"/>
                <a:gd name="connsiteY76" fmla="*/ 180975 h 283368"/>
                <a:gd name="connsiteX77" fmla="*/ 2686 w 333679"/>
                <a:gd name="connsiteY77" fmla="*/ 145256 h 283368"/>
                <a:gd name="connsiteX78" fmla="*/ 5067 w 333679"/>
                <a:gd name="connsiteY78" fmla="*/ 109537 h 283368"/>
                <a:gd name="connsiteX79" fmla="*/ 2686 w 333679"/>
                <a:gd name="connsiteY79" fmla="*/ 116681 h 283368"/>
                <a:gd name="connsiteX0" fmla="*/ 2686 w 333679"/>
                <a:gd name="connsiteY0" fmla="*/ 116681 h 283368"/>
                <a:gd name="connsiteX1" fmla="*/ 21736 w 333679"/>
                <a:gd name="connsiteY1" fmla="*/ 114300 h 283368"/>
                <a:gd name="connsiteX2" fmla="*/ 19354 w 333679"/>
                <a:gd name="connsiteY2" fmla="*/ 104775 h 283368"/>
                <a:gd name="connsiteX3" fmla="*/ 21736 w 333679"/>
                <a:gd name="connsiteY3" fmla="*/ 83343 h 283368"/>
                <a:gd name="connsiteX4" fmla="*/ 28879 w 333679"/>
                <a:gd name="connsiteY4" fmla="*/ 78581 h 283368"/>
                <a:gd name="connsiteX5" fmla="*/ 36023 w 333679"/>
                <a:gd name="connsiteY5" fmla="*/ 76200 h 283368"/>
                <a:gd name="connsiteX6" fmla="*/ 55073 w 333679"/>
                <a:gd name="connsiteY6" fmla="*/ 69056 h 283368"/>
                <a:gd name="connsiteX7" fmla="*/ 59836 w 333679"/>
                <a:gd name="connsiteY7" fmla="*/ 61912 h 283368"/>
                <a:gd name="connsiteX8" fmla="*/ 66979 w 333679"/>
                <a:gd name="connsiteY8" fmla="*/ 47625 h 283368"/>
                <a:gd name="connsiteX9" fmla="*/ 83648 w 333679"/>
                <a:gd name="connsiteY9" fmla="*/ 54768 h 283368"/>
                <a:gd name="connsiteX10" fmla="*/ 86029 w 333679"/>
                <a:gd name="connsiteY10" fmla="*/ 47625 h 283368"/>
                <a:gd name="connsiteX11" fmla="*/ 100317 w 333679"/>
                <a:gd name="connsiteY11" fmla="*/ 38100 h 283368"/>
                <a:gd name="connsiteX12" fmla="*/ 112223 w 333679"/>
                <a:gd name="connsiteY12" fmla="*/ 28575 h 283368"/>
                <a:gd name="connsiteX13" fmla="*/ 126511 w 333679"/>
                <a:gd name="connsiteY13" fmla="*/ 33337 h 283368"/>
                <a:gd name="connsiteX14" fmla="*/ 138417 w 333679"/>
                <a:gd name="connsiteY14" fmla="*/ 30956 h 283368"/>
                <a:gd name="connsiteX15" fmla="*/ 140798 w 333679"/>
                <a:gd name="connsiteY15" fmla="*/ 23812 h 283368"/>
                <a:gd name="connsiteX16" fmla="*/ 150323 w 333679"/>
                <a:gd name="connsiteY16" fmla="*/ 21431 h 283368"/>
                <a:gd name="connsiteX17" fmla="*/ 176517 w 333679"/>
                <a:gd name="connsiteY17" fmla="*/ 14287 h 283368"/>
                <a:gd name="connsiteX18" fmla="*/ 183661 w 333679"/>
                <a:gd name="connsiteY18" fmla="*/ 9525 h 283368"/>
                <a:gd name="connsiteX19" fmla="*/ 197948 w 333679"/>
                <a:gd name="connsiteY19" fmla="*/ 14287 h 283368"/>
                <a:gd name="connsiteX20" fmla="*/ 212236 w 333679"/>
                <a:gd name="connsiteY20" fmla="*/ 2381 h 283368"/>
                <a:gd name="connsiteX21" fmla="*/ 219379 w 333679"/>
                <a:gd name="connsiteY21" fmla="*/ 0 h 283368"/>
                <a:gd name="connsiteX22" fmla="*/ 233667 w 333679"/>
                <a:gd name="connsiteY22" fmla="*/ 11906 h 283368"/>
                <a:gd name="connsiteX23" fmla="*/ 240811 w 333679"/>
                <a:gd name="connsiteY23" fmla="*/ 19050 h 283368"/>
                <a:gd name="connsiteX24" fmla="*/ 250336 w 333679"/>
                <a:gd name="connsiteY24" fmla="*/ 21431 h 283368"/>
                <a:gd name="connsiteX25" fmla="*/ 257479 w 333679"/>
                <a:gd name="connsiteY25" fmla="*/ 23812 h 283368"/>
                <a:gd name="connsiteX26" fmla="*/ 278911 w 333679"/>
                <a:gd name="connsiteY26" fmla="*/ 35718 h 283368"/>
                <a:gd name="connsiteX27" fmla="*/ 288436 w 333679"/>
                <a:gd name="connsiteY27" fmla="*/ 38100 h 283368"/>
                <a:gd name="connsiteX28" fmla="*/ 302723 w 333679"/>
                <a:gd name="connsiteY28" fmla="*/ 42862 h 283368"/>
                <a:gd name="connsiteX29" fmla="*/ 309867 w 333679"/>
                <a:gd name="connsiteY29" fmla="*/ 47625 h 283368"/>
                <a:gd name="connsiteX30" fmla="*/ 319392 w 333679"/>
                <a:gd name="connsiteY30" fmla="*/ 69056 h 283368"/>
                <a:gd name="connsiteX31" fmla="*/ 324154 w 333679"/>
                <a:gd name="connsiteY31" fmla="*/ 83343 h 283368"/>
                <a:gd name="connsiteX32" fmla="*/ 328917 w 333679"/>
                <a:gd name="connsiteY32" fmla="*/ 90487 h 283368"/>
                <a:gd name="connsiteX33" fmla="*/ 331298 w 333679"/>
                <a:gd name="connsiteY33" fmla="*/ 97631 h 283368"/>
                <a:gd name="connsiteX34" fmla="*/ 324154 w 333679"/>
                <a:gd name="connsiteY34" fmla="*/ 102393 h 283368"/>
                <a:gd name="connsiteX35" fmla="*/ 319392 w 333679"/>
                <a:gd name="connsiteY35" fmla="*/ 109537 h 283368"/>
                <a:gd name="connsiteX36" fmla="*/ 321773 w 333679"/>
                <a:gd name="connsiteY36" fmla="*/ 119062 h 283368"/>
                <a:gd name="connsiteX37" fmla="*/ 328917 w 333679"/>
                <a:gd name="connsiteY37" fmla="*/ 123825 h 283368"/>
                <a:gd name="connsiteX38" fmla="*/ 333679 w 333679"/>
                <a:gd name="connsiteY38" fmla="*/ 138112 h 283368"/>
                <a:gd name="connsiteX39" fmla="*/ 331298 w 333679"/>
                <a:gd name="connsiteY39" fmla="*/ 152400 h 283368"/>
                <a:gd name="connsiteX40" fmla="*/ 309867 w 333679"/>
                <a:gd name="connsiteY40" fmla="*/ 171450 h 283368"/>
                <a:gd name="connsiteX41" fmla="*/ 307486 w 333679"/>
                <a:gd name="connsiteY41" fmla="*/ 178593 h 283368"/>
                <a:gd name="connsiteX42" fmla="*/ 300342 w 333679"/>
                <a:gd name="connsiteY42" fmla="*/ 202406 h 283368"/>
                <a:gd name="connsiteX43" fmla="*/ 295579 w 333679"/>
                <a:gd name="connsiteY43" fmla="*/ 209550 h 283368"/>
                <a:gd name="connsiteX44" fmla="*/ 286054 w 333679"/>
                <a:gd name="connsiteY44" fmla="*/ 207168 h 283368"/>
                <a:gd name="connsiteX45" fmla="*/ 269386 w 333679"/>
                <a:gd name="connsiteY45" fmla="*/ 202406 h 283368"/>
                <a:gd name="connsiteX46" fmla="*/ 250336 w 333679"/>
                <a:gd name="connsiteY46" fmla="*/ 197643 h 283368"/>
                <a:gd name="connsiteX47" fmla="*/ 226523 w 333679"/>
                <a:gd name="connsiteY47" fmla="*/ 204787 h 283368"/>
                <a:gd name="connsiteX48" fmla="*/ 219379 w 333679"/>
                <a:gd name="connsiteY48" fmla="*/ 207168 h 283368"/>
                <a:gd name="connsiteX49" fmla="*/ 209854 w 333679"/>
                <a:gd name="connsiteY49" fmla="*/ 209550 h 283368"/>
                <a:gd name="connsiteX50" fmla="*/ 202711 w 333679"/>
                <a:gd name="connsiteY50" fmla="*/ 214312 h 283368"/>
                <a:gd name="connsiteX51" fmla="*/ 207473 w 333679"/>
                <a:gd name="connsiteY51" fmla="*/ 228600 h 283368"/>
                <a:gd name="connsiteX52" fmla="*/ 200329 w 333679"/>
                <a:gd name="connsiteY52" fmla="*/ 235743 h 283368"/>
                <a:gd name="connsiteX53" fmla="*/ 193186 w 333679"/>
                <a:gd name="connsiteY53" fmla="*/ 250031 h 283368"/>
                <a:gd name="connsiteX54" fmla="*/ 181279 w 333679"/>
                <a:gd name="connsiteY54" fmla="*/ 252412 h 283368"/>
                <a:gd name="connsiteX55" fmla="*/ 169373 w 333679"/>
                <a:gd name="connsiteY55" fmla="*/ 264318 h 283368"/>
                <a:gd name="connsiteX56" fmla="*/ 162229 w 333679"/>
                <a:gd name="connsiteY56" fmla="*/ 261937 h 283368"/>
                <a:gd name="connsiteX57" fmla="*/ 145561 w 333679"/>
                <a:gd name="connsiteY57" fmla="*/ 259556 h 283368"/>
                <a:gd name="connsiteX58" fmla="*/ 133654 w 333679"/>
                <a:gd name="connsiteY58" fmla="*/ 269081 h 283368"/>
                <a:gd name="connsiteX59" fmla="*/ 107461 w 333679"/>
                <a:gd name="connsiteY59" fmla="*/ 283368 h 283368"/>
                <a:gd name="connsiteX60" fmla="*/ 97936 w 333679"/>
                <a:gd name="connsiteY60" fmla="*/ 280987 h 283368"/>
                <a:gd name="connsiteX61" fmla="*/ 90792 w 333679"/>
                <a:gd name="connsiteY61" fmla="*/ 278606 h 283368"/>
                <a:gd name="connsiteX62" fmla="*/ 83648 w 333679"/>
                <a:gd name="connsiteY62" fmla="*/ 280987 h 283368"/>
                <a:gd name="connsiteX63" fmla="*/ 76504 w 333679"/>
                <a:gd name="connsiteY63" fmla="*/ 278606 h 283368"/>
                <a:gd name="connsiteX64" fmla="*/ 74123 w 333679"/>
                <a:gd name="connsiteY64" fmla="*/ 271462 h 283368"/>
                <a:gd name="connsiteX65" fmla="*/ 59836 w 333679"/>
                <a:gd name="connsiteY65" fmla="*/ 266700 h 283368"/>
                <a:gd name="connsiteX66" fmla="*/ 52692 w 333679"/>
                <a:gd name="connsiteY66" fmla="*/ 269081 h 283368"/>
                <a:gd name="connsiteX67" fmla="*/ 43167 w 333679"/>
                <a:gd name="connsiteY67" fmla="*/ 273843 h 283368"/>
                <a:gd name="connsiteX68" fmla="*/ 31261 w 333679"/>
                <a:gd name="connsiteY68" fmla="*/ 252412 h 283368"/>
                <a:gd name="connsiteX69" fmla="*/ 26498 w 333679"/>
                <a:gd name="connsiteY69" fmla="*/ 245268 h 283368"/>
                <a:gd name="connsiteX70" fmla="*/ 19354 w 333679"/>
                <a:gd name="connsiteY70" fmla="*/ 240506 h 283368"/>
                <a:gd name="connsiteX71" fmla="*/ 16973 w 333679"/>
                <a:gd name="connsiteY71" fmla="*/ 233362 h 283368"/>
                <a:gd name="connsiteX72" fmla="*/ 12211 w 333679"/>
                <a:gd name="connsiteY72" fmla="*/ 207168 h 283368"/>
                <a:gd name="connsiteX73" fmla="*/ 7448 w 333679"/>
                <a:gd name="connsiteY73" fmla="*/ 197643 h 283368"/>
                <a:gd name="connsiteX74" fmla="*/ 14592 w 333679"/>
                <a:gd name="connsiteY74" fmla="*/ 195262 h 283368"/>
                <a:gd name="connsiteX75" fmla="*/ 2686 w 333679"/>
                <a:gd name="connsiteY75" fmla="*/ 180975 h 283368"/>
                <a:gd name="connsiteX76" fmla="*/ 2686 w 333679"/>
                <a:gd name="connsiteY76" fmla="*/ 145256 h 283368"/>
                <a:gd name="connsiteX77" fmla="*/ 5067 w 333679"/>
                <a:gd name="connsiteY77" fmla="*/ 109537 h 283368"/>
                <a:gd name="connsiteX78" fmla="*/ 2686 w 333679"/>
                <a:gd name="connsiteY78" fmla="*/ 116681 h 283368"/>
                <a:gd name="connsiteX0" fmla="*/ 2686 w 334158"/>
                <a:gd name="connsiteY0" fmla="*/ 116681 h 283368"/>
                <a:gd name="connsiteX1" fmla="*/ 21736 w 334158"/>
                <a:gd name="connsiteY1" fmla="*/ 114300 h 283368"/>
                <a:gd name="connsiteX2" fmla="*/ 19354 w 334158"/>
                <a:gd name="connsiteY2" fmla="*/ 104775 h 283368"/>
                <a:gd name="connsiteX3" fmla="*/ 21736 w 334158"/>
                <a:gd name="connsiteY3" fmla="*/ 83343 h 283368"/>
                <a:gd name="connsiteX4" fmla="*/ 28879 w 334158"/>
                <a:gd name="connsiteY4" fmla="*/ 78581 h 283368"/>
                <a:gd name="connsiteX5" fmla="*/ 36023 w 334158"/>
                <a:gd name="connsiteY5" fmla="*/ 76200 h 283368"/>
                <a:gd name="connsiteX6" fmla="*/ 55073 w 334158"/>
                <a:gd name="connsiteY6" fmla="*/ 69056 h 283368"/>
                <a:gd name="connsiteX7" fmla="*/ 59836 w 334158"/>
                <a:gd name="connsiteY7" fmla="*/ 61912 h 283368"/>
                <a:gd name="connsiteX8" fmla="*/ 66979 w 334158"/>
                <a:gd name="connsiteY8" fmla="*/ 47625 h 283368"/>
                <a:gd name="connsiteX9" fmla="*/ 83648 w 334158"/>
                <a:gd name="connsiteY9" fmla="*/ 54768 h 283368"/>
                <a:gd name="connsiteX10" fmla="*/ 86029 w 334158"/>
                <a:gd name="connsiteY10" fmla="*/ 47625 h 283368"/>
                <a:gd name="connsiteX11" fmla="*/ 100317 w 334158"/>
                <a:gd name="connsiteY11" fmla="*/ 38100 h 283368"/>
                <a:gd name="connsiteX12" fmla="*/ 112223 w 334158"/>
                <a:gd name="connsiteY12" fmla="*/ 28575 h 283368"/>
                <a:gd name="connsiteX13" fmla="*/ 126511 w 334158"/>
                <a:gd name="connsiteY13" fmla="*/ 33337 h 283368"/>
                <a:gd name="connsiteX14" fmla="*/ 138417 w 334158"/>
                <a:gd name="connsiteY14" fmla="*/ 30956 h 283368"/>
                <a:gd name="connsiteX15" fmla="*/ 140798 w 334158"/>
                <a:gd name="connsiteY15" fmla="*/ 23812 h 283368"/>
                <a:gd name="connsiteX16" fmla="*/ 150323 w 334158"/>
                <a:gd name="connsiteY16" fmla="*/ 21431 h 283368"/>
                <a:gd name="connsiteX17" fmla="*/ 176517 w 334158"/>
                <a:gd name="connsiteY17" fmla="*/ 14287 h 283368"/>
                <a:gd name="connsiteX18" fmla="*/ 183661 w 334158"/>
                <a:gd name="connsiteY18" fmla="*/ 9525 h 283368"/>
                <a:gd name="connsiteX19" fmla="*/ 197948 w 334158"/>
                <a:gd name="connsiteY19" fmla="*/ 14287 h 283368"/>
                <a:gd name="connsiteX20" fmla="*/ 212236 w 334158"/>
                <a:gd name="connsiteY20" fmla="*/ 2381 h 283368"/>
                <a:gd name="connsiteX21" fmla="*/ 219379 w 334158"/>
                <a:gd name="connsiteY21" fmla="*/ 0 h 283368"/>
                <a:gd name="connsiteX22" fmla="*/ 233667 w 334158"/>
                <a:gd name="connsiteY22" fmla="*/ 11906 h 283368"/>
                <a:gd name="connsiteX23" fmla="*/ 240811 w 334158"/>
                <a:gd name="connsiteY23" fmla="*/ 19050 h 283368"/>
                <a:gd name="connsiteX24" fmla="*/ 250336 w 334158"/>
                <a:gd name="connsiteY24" fmla="*/ 21431 h 283368"/>
                <a:gd name="connsiteX25" fmla="*/ 257479 w 334158"/>
                <a:gd name="connsiteY25" fmla="*/ 23812 h 283368"/>
                <a:gd name="connsiteX26" fmla="*/ 278911 w 334158"/>
                <a:gd name="connsiteY26" fmla="*/ 35718 h 283368"/>
                <a:gd name="connsiteX27" fmla="*/ 288436 w 334158"/>
                <a:gd name="connsiteY27" fmla="*/ 38100 h 283368"/>
                <a:gd name="connsiteX28" fmla="*/ 302723 w 334158"/>
                <a:gd name="connsiteY28" fmla="*/ 42862 h 283368"/>
                <a:gd name="connsiteX29" fmla="*/ 309867 w 334158"/>
                <a:gd name="connsiteY29" fmla="*/ 47625 h 283368"/>
                <a:gd name="connsiteX30" fmla="*/ 319392 w 334158"/>
                <a:gd name="connsiteY30" fmla="*/ 69056 h 283368"/>
                <a:gd name="connsiteX31" fmla="*/ 324154 w 334158"/>
                <a:gd name="connsiteY31" fmla="*/ 83343 h 283368"/>
                <a:gd name="connsiteX32" fmla="*/ 328917 w 334158"/>
                <a:gd name="connsiteY32" fmla="*/ 90487 h 283368"/>
                <a:gd name="connsiteX33" fmla="*/ 331298 w 334158"/>
                <a:gd name="connsiteY33" fmla="*/ 97631 h 283368"/>
                <a:gd name="connsiteX34" fmla="*/ 324154 w 334158"/>
                <a:gd name="connsiteY34" fmla="*/ 102393 h 283368"/>
                <a:gd name="connsiteX35" fmla="*/ 319392 w 334158"/>
                <a:gd name="connsiteY35" fmla="*/ 109537 h 283368"/>
                <a:gd name="connsiteX36" fmla="*/ 321773 w 334158"/>
                <a:gd name="connsiteY36" fmla="*/ 119062 h 283368"/>
                <a:gd name="connsiteX37" fmla="*/ 328917 w 334158"/>
                <a:gd name="connsiteY37" fmla="*/ 123825 h 283368"/>
                <a:gd name="connsiteX38" fmla="*/ 333679 w 334158"/>
                <a:gd name="connsiteY38" fmla="*/ 138112 h 283368"/>
                <a:gd name="connsiteX39" fmla="*/ 331298 w 334158"/>
                <a:gd name="connsiteY39" fmla="*/ 154781 h 283368"/>
                <a:gd name="connsiteX40" fmla="*/ 309867 w 334158"/>
                <a:gd name="connsiteY40" fmla="*/ 171450 h 283368"/>
                <a:gd name="connsiteX41" fmla="*/ 307486 w 334158"/>
                <a:gd name="connsiteY41" fmla="*/ 178593 h 283368"/>
                <a:gd name="connsiteX42" fmla="*/ 300342 w 334158"/>
                <a:gd name="connsiteY42" fmla="*/ 202406 h 283368"/>
                <a:gd name="connsiteX43" fmla="*/ 295579 w 334158"/>
                <a:gd name="connsiteY43" fmla="*/ 209550 h 283368"/>
                <a:gd name="connsiteX44" fmla="*/ 286054 w 334158"/>
                <a:gd name="connsiteY44" fmla="*/ 207168 h 283368"/>
                <a:gd name="connsiteX45" fmla="*/ 269386 w 334158"/>
                <a:gd name="connsiteY45" fmla="*/ 202406 h 283368"/>
                <a:gd name="connsiteX46" fmla="*/ 250336 w 334158"/>
                <a:gd name="connsiteY46" fmla="*/ 197643 h 283368"/>
                <a:gd name="connsiteX47" fmla="*/ 226523 w 334158"/>
                <a:gd name="connsiteY47" fmla="*/ 204787 h 283368"/>
                <a:gd name="connsiteX48" fmla="*/ 219379 w 334158"/>
                <a:gd name="connsiteY48" fmla="*/ 207168 h 283368"/>
                <a:gd name="connsiteX49" fmla="*/ 209854 w 334158"/>
                <a:gd name="connsiteY49" fmla="*/ 209550 h 283368"/>
                <a:gd name="connsiteX50" fmla="*/ 202711 w 334158"/>
                <a:gd name="connsiteY50" fmla="*/ 214312 h 283368"/>
                <a:gd name="connsiteX51" fmla="*/ 207473 w 334158"/>
                <a:gd name="connsiteY51" fmla="*/ 228600 h 283368"/>
                <a:gd name="connsiteX52" fmla="*/ 200329 w 334158"/>
                <a:gd name="connsiteY52" fmla="*/ 235743 h 283368"/>
                <a:gd name="connsiteX53" fmla="*/ 193186 w 334158"/>
                <a:gd name="connsiteY53" fmla="*/ 250031 h 283368"/>
                <a:gd name="connsiteX54" fmla="*/ 181279 w 334158"/>
                <a:gd name="connsiteY54" fmla="*/ 252412 h 283368"/>
                <a:gd name="connsiteX55" fmla="*/ 169373 w 334158"/>
                <a:gd name="connsiteY55" fmla="*/ 264318 h 283368"/>
                <a:gd name="connsiteX56" fmla="*/ 162229 w 334158"/>
                <a:gd name="connsiteY56" fmla="*/ 261937 h 283368"/>
                <a:gd name="connsiteX57" fmla="*/ 145561 w 334158"/>
                <a:gd name="connsiteY57" fmla="*/ 259556 h 283368"/>
                <a:gd name="connsiteX58" fmla="*/ 133654 w 334158"/>
                <a:gd name="connsiteY58" fmla="*/ 269081 h 283368"/>
                <a:gd name="connsiteX59" fmla="*/ 107461 w 334158"/>
                <a:gd name="connsiteY59" fmla="*/ 283368 h 283368"/>
                <a:gd name="connsiteX60" fmla="*/ 97936 w 334158"/>
                <a:gd name="connsiteY60" fmla="*/ 280987 h 283368"/>
                <a:gd name="connsiteX61" fmla="*/ 90792 w 334158"/>
                <a:gd name="connsiteY61" fmla="*/ 278606 h 283368"/>
                <a:gd name="connsiteX62" fmla="*/ 83648 w 334158"/>
                <a:gd name="connsiteY62" fmla="*/ 280987 h 283368"/>
                <a:gd name="connsiteX63" fmla="*/ 76504 w 334158"/>
                <a:gd name="connsiteY63" fmla="*/ 278606 h 283368"/>
                <a:gd name="connsiteX64" fmla="*/ 74123 w 334158"/>
                <a:gd name="connsiteY64" fmla="*/ 271462 h 283368"/>
                <a:gd name="connsiteX65" fmla="*/ 59836 w 334158"/>
                <a:gd name="connsiteY65" fmla="*/ 266700 h 283368"/>
                <a:gd name="connsiteX66" fmla="*/ 52692 w 334158"/>
                <a:gd name="connsiteY66" fmla="*/ 269081 h 283368"/>
                <a:gd name="connsiteX67" fmla="*/ 43167 w 334158"/>
                <a:gd name="connsiteY67" fmla="*/ 273843 h 283368"/>
                <a:gd name="connsiteX68" fmla="*/ 31261 w 334158"/>
                <a:gd name="connsiteY68" fmla="*/ 252412 h 283368"/>
                <a:gd name="connsiteX69" fmla="*/ 26498 w 334158"/>
                <a:gd name="connsiteY69" fmla="*/ 245268 h 283368"/>
                <a:gd name="connsiteX70" fmla="*/ 19354 w 334158"/>
                <a:gd name="connsiteY70" fmla="*/ 240506 h 283368"/>
                <a:gd name="connsiteX71" fmla="*/ 16973 w 334158"/>
                <a:gd name="connsiteY71" fmla="*/ 233362 h 283368"/>
                <a:gd name="connsiteX72" fmla="*/ 12211 w 334158"/>
                <a:gd name="connsiteY72" fmla="*/ 207168 h 283368"/>
                <a:gd name="connsiteX73" fmla="*/ 7448 w 334158"/>
                <a:gd name="connsiteY73" fmla="*/ 197643 h 283368"/>
                <a:gd name="connsiteX74" fmla="*/ 14592 w 334158"/>
                <a:gd name="connsiteY74" fmla="*/ 195262 h 283368"/>
                <a:gd name="connsiteX75" fmla="*/ 2686 w 334158"/>
                <a:gd name="connsiteY75" fmla="*/ 180975 h 283368"/>
                <a:gd name="connsiteX76" fmla="*/ 2686 w 334158"/>
                <a:gd name="connsiteY76" fmla="*/ 145256 h 283368"/>
                <a:gd name="connsiteX77" fmla="*/ 5067 w 334158"/>
                <a:gd name="connsiteY77" fmla="*/ 109537 h 283368"/>
                <a:gd name="connsiteX78" fmla="*/ 2686 w 334158"/>
                <a:gd name="connsiteY78" fmla="*/ 116681 h 283368"/>
                <a:gd name="connsiteX0" fmla="*/ 2686 w 334158"/>
                <a:gd name="connsiteY0" fmla="*/ 116681 h 283368"/>
                <a:gd name="connsiteX1" fmla="*/ 21736 w 334158"/>
                <a:gd name="connsiteY1" fmla="*/ 114300 h 283368"/>
                <a:gd name="connsiteX2" fmla="*/ 19354 w 334158"/>
                <a:gd name="connsiteY2" fmla="*/ 104775 h 283368"/>
                <a:gd name="connsiteX3" fmla="*/ 21736 w 334158"/>
                <a:gd name="connsiteY3" fmla="*/ 83343 h 283368"/>
                <a:gd name="connsiteX4" fmla="*/ 28879 w 334158"/>
                <a:gd name="connsiteY4" fmla="*/ 78581 h 283368"/>
                <a:gd name="connsiteX5" fmla="*/ 36023 w 334158"/>
                <a:gd name="connsiteY5" fmla="*/ 76200 h 283368"/>
                <a:gd name="connsiteX6" fmla="*/ 55073 w 334158"/>
                <a:gd name="connsiteY6" fmla="*/ 69056 h 283368"/>
                <a:gd name="connsiteX7" fmla="*/ 59836 w 334158"/>
                <a:gd name="connsiteY7" fmla="*/ 61912 h 283368"/>
                <a:gd name="connsiteX8" fmla="*/ 66979 w 334158"/>
                <a:gd name="connsiteY8" fmla="*/ 47625 h 283368"/>
                <a:gd name="connsiteX9" fmla="*/ 83648 w 334158"/>
                <a:gd name="connsiteY9" fmla="*/ 54768 h 283368"/>
                <a:gd name="connsiteX10" fmla="*/ 86029 w 334158"/>
                <a:gd name="connsiteY10" fmla="*/ 47625 h 283368"/>
                <a:gd name="connsiteX11" fmla="*/ 100317 w 334158"/>
                <a:gd name="connsiteY11" fmla="*/ 38100 h 283368"/>
                <a:gd name="connsiteX12" fmla="*/ 112223 w 334158"/>
                <a:gd name="connsiteY12" fmla="*/ 28575 h 283368"/>
                <a:gd name="connsiteX13" fmla="*/ 126511 w 334158"/>
                <a:gd name="connsiteY13" fmla="*/ 33337 h 283368"/>
                <a:gd name="connsiteX14" fmla="*/ 138417 w 334158"/>
                <a:gd name="connsiteY14" fmla="*/ 30956 h 283368"/>
                <a:gd name="connsiteX15" fmla="*/ 140798 w 334158"/>
                <a:gd name="connsiteY15" fmla="*/ 23812 h 283368"/>
                <a:gd name="connsiteX16" fmla="*/ 150323 w 334158"/>
                <a:gd name="connsiteY16" fmla="*/ 21431 h 283368"/>
                <a:gd name="connsiteX17" fmla="*/ 176517 w 334158"/>
                <a:gd name="connsiteY17" fmla="*/ 14287 h 283368"/>
                <a:gd name="connsiteX18" fmla="*/ 183661 w 334158"/>
                <a:gd name="connsiteY18" fmla="*/ 9525 h 283368"/>
                <a:gd name="connsiteX19" fmla="*/ 197948 w 334158"/>
                <a:gd name="connsiteY19" fmla="*/ 14287 h 283368"/>
                <a:gd name="connsiteX20" fmla="*/ 212236 w 334158"/>
                <a:gd name="connsiteY20" fmla="*/ 2381 h 283368"/>
                <a:gd name="connsiteX21" fmla="*/ 219379 w 334158"/>
                <a:gd name="connsiteY21" fmla="*/ 0 h 283368"/>
                <a:gd name="connsiteX22" fmla="*/ 233667 w 334158"/>
                <a:gd name="connsiteY22" fmla="*/ 11906 h 283368"/>
                <a:gd name="connsiteX23" fmla="*/ 240811 w 334158"/>
                <a:gd name="connsiteY23" fmla="*/ 19050 h 283368"/>
                <a:gd name="connsiteX24" fmla="*/ 250336 w 334158"/>
                <a:gd name="connsiteY24" fmla="*/ 21431 h 283368"/>
                <a:gd name="connsiteX25" fmla="*/ 257479 w 334158"/>
                <a:gd name="connsiteY25" fmla="*/ 23812 h 283368"/>
                <a:gd name="connsiteX26" fmla="*/ 278911 w 334158"/>
                <a:gd name="connsiteY26" fmla="*/ 35718 h 283368"/>
                <a:gd name="connsiteX27" fmla="*/ 288436 w 334158"/>
                <a:gd name="connsiteY27" fmla="*/ 38100 h 283368"/>
                <a:gd name="connsiteX28" fmla="*/ 302723 w 334158"/>
                <a:gd name="connsiteY28" fmla="*/ 42862 h 283368"/>
                <a:gd name="connsiteX29" fmla="*/ 309867 w 334158"/>
                <a:gd name="connsiteY29" fmla="*/ 47625 h 283368"/>
                <a:gd name="connsiteX30" fmla="*/ 319392 w 334158"/>
                <a:gd name="connsiteY30" fmla="*/ 69056 h 283368"/>
                <a:gd name="connsiteX31" fmla="*/ 324154 w 334158"/>
                <a:gd name="connsiteY31" fmla="*/ 83343 h 283368"/>
                <a:gd name="connsiteX32" fmla="*/ 328917 w 334158"/>
                <a:gd name="connsiteY32" fmla="*/ 90487 h 283368"/>
                <a:gd name="connsiteX33" fmla="*/ 331298 w 334158"/>
                <a:gd name="connsiteY33" fmla="*/ 97631 h 283368"/>
                <a:gd name="connsiteX34" fmla="*/ 324154 w 334158"/>
                <a:gd name="connsiteY34" fmla="*/ 102393 h 283368"/>
                <a:gd name="connsiteX35" fmla="*/ 319392 w 334158"/>
                <a:gd name="connsiteY35" fmla="*/ 109537 h 283368"/>
                <a:gd name="connsiteX36" fmla="*/ 321773 w 334158"/>
                <a:gd name="connsiteY36" fmla="*/ 119062 h 283368"/>
                <a:gd name="connsiteX37" fmla="*/ 328917 w 334158"/>
                <a:gd name="connsiteY37" fmla="*/ 123825 h 283368"/>
                <a:gd name="connsiteX38" fmla="*/ 333679 w 334158"/>
                <a:gd name="connsiteY38" fmla="*/ 138112 h 283368"/>
                <a:gd name="connsiteX39" fmla="*/ 331298 w 334158"/>
                <a:gd name="connsiteY39" fmla="*/ 161925 h 283368"/>
                <a:gd name="connsiteX40" fmla="*/ 309867 w 334158"/>
                <a:gd name="connsiteY40" fmla="*/ 171450 h 283368"/>
                <a:gd name="connsiteX41" fmla="*/ 307486 w 334158"/>
                <a:gd name="connsiteY41" fmla="*/ 178593 h 283368"/>
                <a:gd name="connsiteX42" fmla="*/ 300342 w 334158"/>
                <a:gd name="connsiteY42" fmla="*/ 202406 h 283368"/>
                <a:gd name="connsiteX43" fmla="*/ 295579 w 334158"/>
                <a:gd name="connsiteY43" fmla="*/ 209550 h 283368"/>
                <a:gd name="connsiteX44" fmla="*/ 286054 w 334158"/>
                <a:gd name="connsiteY44" fmla="*/ 207168 h 283368"/>
                <a:gd name="connsiteX45" fmla="*/ 269386 w 334158"/>
                <a:gd name="connsiteY45" fmla="*/ 202406 h 283368"/>
                <a:gd name="connsiteX46" fmla="*/ 250336 w 334158"/>
                <a:gd name="connsiteY46" fmla="*/ 197643 h 283368"/>
                <a:gd name="connsiteX47" fmla="*/ 226523 w 334158"/>
                <a:gd name="connsiteY47" fmla="*/ 204787 h 283368"/>
                <a:gd name="connsiteX48" fmla="*/ 219379 w 334158"/>
                <a:gd name="connsiteY48" fmla="*/ 207168 h 283368"/>
                <a:gd name="connsiteX49" fmla="*/ 209854 w 334158"/>
                <a:gd name="connsiteY49" fmla="*/ 209550 h 283368"/>
                <a:gd name="connsiteX50" fmla="*/ 202711 w 334158"/>
                <a:gd name="connsiteY50" fmla="*/ 214312 h 283368"/>
                <a:gd name="connsiteX51" fmla="*/ 207473 w 334158"/>
                <a:gd name="connsiteY51" fmla="*/ 228600 h 283368"/>
                <a:gd name="connsiteX52" fmla="*/ 200329 w 334158"/>
                <a:gd name="connsiteY52" fmla="*/ 235743 h 283368"/>
                <a:gd name="connsiteX53" fmla="*/ 193186 w 334158"/>
                <a:gd name="connsiteY53" fmla="*/ 250031 h 283368"/>
                <a:gd name="connsiteX54" fmla="*/ 181279 w 334158"/>
                <a:gd name="connsiteY54" fmla="*/ 252412 h 283368"/>
                <a:gd name="connsiteX55" fmla="*/ 169373 w 334158"/>
                <a:gd name="connsiteY55" fmla="*/ 264318 h 283368"/>
                <a:gd name="connsiteX56" fmla="*/ 162229 w 334158"/>
                <a:gd name="connsiteY56" fmla="*/ 261937 h 283368"/>
                <a:gd name="connsiteX57" fmla="*/ 145561 w 334158"/>
                <a:gd name="connsiteY57" fmla="*/ 259556 h 283368"/>
                <a:gd name="connsiteX58" fmla="*/ 133654 w 334158"/>
                <a:gd name="connsiteY58" fmla="*/ 269081 h 283368"/>
                <a:gd name="connsiteX59" fmla="*/ 107461 w 334158"/>
                <a:gd name="connsiteY59" fmla="*/ 283368 h 283368"/>
                <a:gd name="connsiteX60" fmla="*/ 97936 w 334158"/>
                <a:gd name="connsiteY60" fmla="*/ 280987 h 283368"/>
                <a:gd name="connsiteX61" fmla="*/ 90792 w 334158"/>
                <a:gd name="connsiteY61" fmla="*/ 278606 h 283368"/>
                <a:gd name="connsiteX62" fmla="*/ 83648 w 334158"/>
                <a:gd name="connsiteY62" fmla="*/ 280987 h 283368"/>
                <a:gd name="connsiteX63" fmla="*/ 76504 w 334158"/>
                <a:gd name="connsiteY63" fmla="*/ 278606 h 283368"/>
                <a:gd name="connsiteX64" fmla="*/ 74123 w 334158"/>
                <a:gd name="connsiteY64" fmla="*/ 271462 h 283368"/>
                <a:gd name="connsiteX65" fmla="*/ 59836 w 334158"/>
                <a:gd name="connsiteY65" fmla="*/ 266700 h 283368"/>
                <a:gd name="connsiteX66" fmla="*/ 52692 w 334158"/>
                <a:gd name="connsiteY66" fmla="*/ 269081 h 283368"/>
                <a:gd name="connsiteX67" fmla="*/ 43167 w 334158"/>
                <a:gd name="connsiteY67" fmla="*/ 273843 h 283368"/>
                <a:gd name="connsiteX68" fmla="*/ 31261 w 334158"/>
                <a:gd name="connsiteY68" fmla="*/ 252412 h 283368"/>
                <a:gd name="connsiteX69" fmla="*/ 26498 w 334158"/>
                <a:gd name="connsiteY69" fmla="*/ 245268 h 283368"/>
                <a:gd name="connsiteX70" fmla="*/ 19354 w 334158"/>
                <a:gd name="connsiteY70" fmla="*/ 240506 h 283368"/>
                <a:gd name="connsiteX71" fmla="*/ 16973 w 334158"/>
                <a:gd name="connsiteY71" fmla="*/ 233362 h 283368"/>
                <a:gd name="connsiteX72" fmla="*/ 12211 w 334158"/>
                <a:gd name="connsiteY72" fmla="*/ 207168 h 283368"/>
                <a:gd name="connsiteX73" fmla="*/ 7448 w 334158"/>
                <a:gd name="connsiteY73" fmla="*/ 197643 h 283368"/>
                <a:gd name="connsiteX74" fmla="*/ 14592 w 334158"/>
                <a:gd name="connsiteY74" fmla="*/ 195262 h 283368"/>
                <a:gd name="connsiteX75" fmla="*/ 2686 w 334158"/>
                <a:gd name="connsiteY75" fmla="*/ 180975 h 283368"/>
                <a:gd name="connsiteX76" fmla="*/ 2686 w 334158"/>
                <a:gd name="connsiteY76" fmla="*/ 145256 h 283368"/>
                <a:gd name="connsiteX77" fmla="*/ 5067 w 334158"/>
                <a:gd name="connsiteY77" fmla="*/ 109537 h 283368"/>
                <a:gd name="connsiteX78" fmla="*/ 2686 w 334158"/>
                <a:gd name="connsiteY78" fmla="*/ 116681 h 283368"/>
                <a:gd name="connsiteX0" fmla="*/ 2686 w 334158"/>
                <a:gd name="connsiteY0" fmla="*/ 116681 h 283368"/>
                <a:gd name="connsiteX1" fmla="*/ 21736 w 334158"/>
                <a:gd name="connsiteY1" fmla="*/ 114300 h 283368"/>
                <a:gd name="connsiteX2" fmla="*/ 19354 w 334158"/>
                <a:gd name="connsiteY2" fmla="*/ 104775 h 283368"/>
                <a:gd name="connsiteX3" fmla="*/ 21736 w 334158"/>
                <a:gd name="connsiteY3" fmla="*/ 83343 h 283368"/>
                <a:gd name="connsiteX4" fmla="*/ 28879 w 334158"/>
                <a:gd name="connsiteY4" fmla="*/ 78581 h 283368"/>
                <a:gd name="connsiteX5" fmla="*/ 36023 w 334158"/>
                <a:gd name="connsiteY5" fmla="*/ 76200 h 283368"/>
                <a:gd name="connsiteX6" fmla="*/ 55073 w 334158"/>
                <a:gd name="connsiteY6" fmla="*/ 69056 h 283368"/>
                <a:gd name="connsiteX7" fmla="*/ 59836 w 334158"/>
                <a:gd name="connsiteY7" fmla="*/ 61912 h 283368"/>
                <a:gd name="connsiteX8" fmla="*/ 66979 w 334158"/>
                <a:gd name="connsiteY8" fmla="*/ 47625 h 283368"/>
                <a:gd name="connsiteX9" fmla="*/ 83648 w 334158"/>
                <a:gd name="connsiteY9" fmla="*/ 54768 h 283368"/>
                <a:gd name="connsiteX10" fmla="*/ 86029 w 334158"/>
                <a:gd name="connsiteY10" fmla="*/ 47625 h 283368"/>
                <a:gd name="connsiteX11" fmla="*/ 100317 w 334158"/>
                <a:gd name="connsiteY11" fmla="*/ 38100 h 283368"/>
                <a:gd name="connsiteX12" fmla="*/ 112223 w 334158"/>
                <a:gd name="connsiteY12" fmla="*/ 28575 h 283368"/>
                <a:gd name="connsiteX13" fmla="*/ 126511 w 334158"/>
                <a:gd name="connsiteY13" fmla="*/ 33337 h 283368"/>
                <a:gd name="connsiteX14" fmla="*/ 138417 w 334158"/>
                <a:gd name="connsiteY14" fmla="*/ 30956 h 283368"/>
                <a:gd name="connsiteX15" fmla="*/ 140798 w 334158"/>
                <a:gd name="connsiteY15" fmla="*/ 23812 h 283368"/>
                <a:gd name="connsiteX16" fmla="*/ 150323 w 334158"/>
                <a:gd name="connsiteY16" fmla="*/ 21431 h 283368"/>
                <a:gd name="connsiteX17" fmla="*/ 176517 w 334158"/>
                <a:gd name="connsiteY17" fmla="*/ 14287 h 283368"/>
                <a:gd name="connsiteX18" fmla="*/ 183661 w 334158"/>
                <a:gd name="connsiteY18" fmla="*/ 9525 h 283368"/>
                <a:gd name="connsiteX19" fmla="*/ 197948 w 334158"/>
                <a:gd name="connsiteY19" fmla="*/ 14287 h 283368"/>
                <a:gd name="connsiteX20" fmla="*/ 212236 w 334158"/>
                <a:gd name="connsiteY20" fmla="*/ 2381 h 283368"/>
                <a:gd name="connsiteX21" fmla="*/ 219379 w 334158"/>
                <a:gd name="connsiteY21" fmla="*/ 0 h 283368"/>
                <a:gd name="connsiteX22" fmla="*/ 233667 w 334158"/>
                <a:gd name="connsiteY22" fmla="*/ 11906 h 283368"/>
                <a:gd name="connsiteX23" fmla="*/ 240811 w 334158"/>
                <a:gd name="connsiteY23" fmla="*/ 19050 h 283368"/>
                <a:gd name="connsiteX24" fmla="*/ 250336 w 334158"/>
                <a:gd name="connsiteY24" fmla="*/ 21431 h 283368"/>
                <a:gd name="connsiteX25" fmla="*/ 257479 w 334158"/>
                <a:gd name="connsiteY25" fmla="*/ 23812 h 283368"/>
                <a:gd name="connsiteX26" fmla="*/ 278911 w 334158"/>
                <a:gd name="connsiteY26" fmla="*/ 35718 h 283368"/>
                <a:gd name="connsiteX27" fmla="*/ 288436 w 334158"/>
                <a:gd name="connsiteY27" fmla="*/ 38100 h 283368"/>
                <a:gd name="connsiteX28" fmla="*/ 302723 w 334158"/>
                <a:gd name="connsiteY28" fmla="*/ 42862 h 283368"/>
                <a:gd name="connsiteX29" fmla="*/ 309867 w 334158"/>
                <a:gd name="connsiteY29" fmla="*/ 47625 h 283368"/>
                <a:gd name="connsiteX30" fmla="*/ 319392 w 334158"/>
                <a:gd name="connsiteY30" fmla="*/ 69056 h 283368"/>
                <a:gd name="connsiteX31" fmla="*/ 324154 w 334158"/>
                <a:gd name="connsiteY31" fmla="*/ 83343 h 283368"/>
                <a:gd name="connsiteX32" fmla="*/ 328917 w 334158"/>
                <a:gd name="connsiteY32" fmla="*/ 90487 h 283368"/>
                <a:gd name="connsiteX33" fmla="*/ 331298 w 334158"/>
                <a:gd name="connsiteY33" fmla="*/ 97631 h 283368"/>
                <a:gd name="connsiteX34" fmla="*/ 324154 w 334158"/>
                <a:gd name="connsiteY34" fmla="*/ 102393 h 283368"/>
                <a:gd name="connsiteX35" fmla="*/ 319392 w 334158"/>
                <a:gd name="connsiteY35" fmla="*/ 109537 h 283368"/>
                <a:gd name="connsiteX36" fmla="*/ 321773 w 334158"/>
                <a:gd name="connsiteY36" fmla="*/ 119062 h 283368"/>
                <a:gd name="connsiteX37" fmla="*/ 328917 w 334158"/>
                <a:gd name="connsiteY37" fmla="*/ 123825 h 283368"/>
                <a:gd name="connsiteX38" fmla="*/ 333679 w 334158"/>
                <a:gd name="connsiteY38" fmla="*/ 138112 h 283368"/>
                <a:gd name="connsiteX39" fmla="*/ 331298 w 334158"/>
                <a:gd name="connsiteY39" fmla="*/ 161925 h 283368"/>
                <a:gd name="connsiteX40" fmla="*/ 309867 w 334158"/>
                <a:gd name="connsiteY40" fmla="*/ 171450 h 283368"/>
                <a:gd name="connsiteX41" fmla="*/ 307486 w 334158"/>
                <a:gd name="connsiteY41" fmla="*/ 178593 h 283368"/>
                <a:gd name="connsiteX42" fmla="*/ 300342 w 334158"/>
                <a:gd name="connsiteY42" fmla="*/ 202406 h 283368"/>
                <a:gd name="connsiteX43" fmla="*/ 295579 w 334158"/>
                <a:gd name="connsiteY43" fmla="*/ 209550 h 283368"/>
                <a:gd name="connsiteX44" fmla="*/ 286054 w 334158"/>
                <a:gd name="connsiteY44" fmla="*/ 207168 h 283368"/>
                <a:gd name="connsiteX45" fmla="*/ 269386 w 334158"/>
                <a:gd name="connsiteY45" fmla="*/ 202406 h 283368"/>
                <a:gd name="connsiteX46" fmla="*/ 250336 w 334158"/>
                <a:gd name="connsiteY46" fmla="*/ 197643 h 283368"/>
                <a:gd name="connsiteX47" fmla="*/ 226523 w 334158"/>
                <a:gd name="connsiteY47" fmla="*/ 204787 h 283368"/>
                <a:gd name="connsiteX48" fmla="*/ 219379 w 334158"/>
                <a:gd name="connsiteY48" fmla="*/ 207168 h 283368"/>
                <a:gd name="connsiteX49" fmla="*/ 209854 w 334158"/>
                <a:gd name="connsiteY49" fmla="*/ 209550 h 283368"/>
                <a:gd name="connsiteX50" fmla="*/ 202711 w 334158"/>
                <a:gd name="connsiteY50" fmla="*/ 214312 h 283368"/>
                <a:gd name="connsiteX51" fmla="*/ 207473 w 334158"/>
                <a:gd name="connsiteY51" fmla="*/ 228600 h 283368"/>
                <a:gd name="connsiteX52" fmla="*/ 200329 w 334158"/>
                <a:gd name="connsiteY52" fmla="*/ 235743 h 283368"/>
                <a:gd name="connsiteX53" fmla="*/ 193186 w 334158"/>
                <a:gd name="connsiteY53" fmla="*/ 250031 h 283368"/>
                <a:gd name="connsiteX54" fmla="*/ 181279 w 334158"/>
                <a:gd name="connsiteY54" fmla="*/ 252412 h 283368"/>
                <a:gd name="connsiteX55" fmla="*/ 169373 w 334158"/>
                <a:gd name="connsiteY55" fmla="*/ 264318 h 283368"/>
                <a:gd name="connsiteX56" fmla="*/ 162229 w 334158"/>
                <a:gd name="connsiteY56" fmla="*/ 261937 h 283368"/>
                <a:gd name="connsiteX57" fmla="*/ 145561 w 334158"/>
                <a:gd name="connsiteY57" fmla="*/ 259556 h 283368"/>
                <a:gd name="connsiteX58" fmla="*/ 133654 w 334158"/>
                <a:gd name="connsiteY58" fmla="*/ 269081 h 283368"/>
                <a:gd name="connsiteX59" fmla="*/ 107461 w 334158"/>
                <a:gd name="connsiteY59" fmla="*/ 283368 h 283368"/>
                <a:gd name="connsiteX60" fmla="*/ 97936 w 334158"/>
                <a:gd name="connsiteY60" fmla="*/ 280987 h 283368"/>
                <a:gd name="connsiteX61" fmla="*/ 90792 w 334158"/>
                <a:gd name="connsiteY61" fmla="*/ 278606 h 283368"/>
                <a:gd name="connsiteX62" fmla="*/ 83648 w 334158"/>
                <a:gd name="connsiteY62" fmla="*/ 280987 h 283368"/>
                <a:gd name="connsiteX63" fmla="*/ 76504 w 334158"/>
                <a:gd name="connsiteY63" fmla="*/ 278606 h 283368"/>
                <a:gd name="connsiteX64" fmla="*/ 74123 w 334158"/>
                <a:gd name="connsiteY64" fmla="*/ 271462 h 283368"/>
                <a:gd name="connsiteX65" fmla="*/ 59836 w 334158"/>
                <a:gd name="connsiteY65" fmla="*/ 266700 h 283368"/>
                <a:gd name="connsiteX66" fmla="*/ 52692 w 334158"/>
                <a:gd name="connsiteY66" fmla="*/ 269081 h 283368"/>
                <a:gd name="connsiteX67" fmla="*/ 43167 w 334158"/>
                <a:gd name="connsiteY67" fmla="*/ 273843 h 283368"/>
                <a:gd name="connsiteX68" fmla="*/ 31261 w 334158"/>
                <a:gd name="connsiteY68" fmla="*/ 252412 h 283368"/>
                <a:gd name="connsiteX69" fmla="*/ 26498 w 334158"/>
                <a:gd name="connsiteY69" fmla="*/ 245268 h 283368"/>
                <a:gd name="connsiteX70" fmla="*/ 19354 w 334158"/>
                <a:gd name="connsiteY70" fmla="*/ 240506 h 283368"/>
                <a:gd name="connsiteX71" fmla="*/ 16973 w 334158"/>
                <a:gd name="connsiteY71" fmla="*/ 233362 h 283368"/>
                <a:gd name="connsiteX72" fmla="*/ 12211 w 334158"/>
                <a:gd name="connsiteY72" fmla="*/ 207168 h 283368"/>
                <a:gd name="connsiteX73" fmla="*/ 7448 w 334158"/>
                <a:gd name="connsiteY73" fmla="*/ 197643 h 283368"/>
                <a:gd name="connsiteX74" fmla="*/ 14592 w 334158"/>
                <a:gd name="connsiteY74" fmla="*/ 195262 h 283368"/>
                <a:gd name="connsiteX75" fmla="*/ 2686 w 334158"/>
                <a:gd name="connsiteY75" fmla="*/ 180975 h 283368"/>
                <a:gd name="connsiteX76" fmla="*/ 2686 w 334158"/>
                <a:gd name="connsiteY76" fmla="*/ 145256 h 283368"/>
                <a:gd name="connsiteX77" fmla="*/ 5067 w 334158"/>
                <a:gd name="connsiteY77" fmla="*/ 109537 h 283368"/>
                <a:gd name="connsiteX78" fmla="*/ 2686 w 334158"/>
                <a:gd name="connsiteY78" fmla="*/ 116681 h 283368"/>
                <a:gd name="connsiteX0" fmla="*/ 2686 w 334158"/>
                <a:gd name="connsiteY0" fmla="*/ 116681 h 283368"/>
                <a:gd name="connsiteX1" fmla="*/ 21736 w 334158"/>
                <a:gd name="connsiteY1" fmla="*/ 114300 h 283368"/>
                <a:gd name="connsiteX2" fmla="*/ 19354 w 334158"/>
                <a:gd name="connsiteY2" fmla="*/ 104775 h 283368"/>
                <a:gd name="connsiteX3" fmla="*/ 21736 w 334158"/>
                <a:gd name="connsiteY3" fmla="*/ 83343 h 283368"/>
                <a:gd name="connsiteX4" fmla="*/ 28879 w 334158"/>
                <a:gd name="connsiteY4" fmla="*/ 78581 h 283368"/>
                <a:gd name="connsiteX5" fmla="*/ 36023 w 334158"/>
                <a:gd name="connsiteY5" fmla="*/ 76200 h 283368"/>
                <a:gd name="connsiteX6" fmla="*/ 55073 w 334158"/>
                <a:gd name="connsiteY6" fmla="*/ 69056 h 283368"/>
                <a:gd name="connsiteX7" fmla="*/ 59836 w 334158"/>
                <a:gd name="connsiteY7" fmla="*/ 61912 h 283368"/>
                <a:gd name="connsiteX8" fmla="*/ 66979 w 334158"/>
                <a:gd name="connsiteY8" fmla="*/ 47625 h 283368"/>
                <a:gd name="connsiteX9" fmla="*/ 83648 w 334158"/>
                <a:gd name="connsiteY9" fmla="*/ 54768 h 283368"/>
                <a:gd name="connsiteX10" fmla="*/ 86029 w 334158"/>
                <a:gd name="connsiteY10" fmla="*/ 47625 h 283368"/>
                <a:gd name="connsiteX11" fmla="*/ 100317 w 334158"/>
                <a:gd name="connsiteY11" fmla="*/ 38100 h 283368"/>
                <a:gd name="connsiteX12" fmla="*/ 112223 w 334158"/>
                <a:gd name="connsiteY12" fmla="*/ 28575 h 283368"/>
                <a:gd name="connsiteX13" fmla="*/ 126511 w 334158"/>
                <a:gd name="connsiteY13" fmla="*/ 33337 h 283368"/>
                <a:gd name="connsiteX14" fmla="*/ 138417 w 334158"/>
                <a:gd name="connsiteY14" fmla="*/ 30956 h 283368"/>
                <a:gd name="connsiteX15" fmla="*/ 140798 w 334158"/>
                <a:gd name="connsiteY15" fmla="*/ 23812 h 283368"/>
                <a:gd name="connsiteX16" fmla="*/ 150323 w 334158"/>
                <a:gd name="connsiteY16" fmla="*/ 21431 h 283368"/>
                <a:gd name="connsiteX17" fmla="*/ 176517 w 334158"/>
                <a:gd name="connsiteY17" fmla="*/ 14287 h 283368"/>
                <a:gd name="connsiteX18" fmla="*/ 183661 w 334158"/>
                <a:gd name="connsiteY18" fmla="*/ 9525 h 283368"/>
                <a:gd name="connsiteX19" fmla="*/ 197948 w 334158"/>
                <a:gd name="connsiteY19" fmla="*/ 14287 h 283368"/>
                <a:gd name="connsiteX20" fmla="*/ 212236 w 334158"/>
                <a:gd name="connsiteY20" fmla="*/ 2381 h 283368"/>
                <a:gd name="connsiteX21" fmla="*/ 219379 w 334158"/>
                <a:gd name="connsiteY21" fmla="*/ 0 h 283368"/>
                <a:gd name="connsiteX22" fmla="*/ 233667 w 334158"/>
                <a:gd name="connsiteY22" fmla="*/ 11906 h 283368"/>
                <a:gd name="connsiteX23" fmla="*/ 240811 w 334158"/>
                <a:gd name="connsiteY23" fmla="*/ 19050 h 283368"/>
                <a:gd name="connsiteX24" fmla="*/ 250336 w 334158"/>
                <a:gd name="connsiteY24" fmla="*/ 21431 h 283368"/>
                <a:gd name="connsiteX25" fmla="*/ 257479 w 334158"/>
                <a:gd name="connsiteY25" fmla="*/ 23812 h 283368"/>
                <a:gd name="connsiteX26" fmla="*/ 278911 w 334158"/>
                <a:gd name="connsiteY26" fmla="*/ 35718 h 283368"/>
                <a:gd name="connsiteX27" fmla="*/ 288436 w 334158"/>
                <a:gd name="connsiteY27" fmla="*/ 38100 h 283368"/>
                <a:gd name="connsiteX28" fmla="*/ 302723 w 334158"/>
                <a:gd name="connsiteY28" fmla="*/ 42862 h 283368"/>
                <a:gd name="connsiteX29" fmla="*/ 309867 w 334158"/>
                <a:gd name="connsiteY29" fmla="*/ 47625 h 283368"/>
                <a:gd name="connsiteX30" fmla="*/ 319392 w 334158"/>
                <a:gd name="connsiteY30" fmla="*/ 69056 h 283368"/>
                <a:gd name="connsiteX31" fmla="*/ 324154 w 334158"/>
                <a:gd name="connsiteY31" fmla="*/ 83343 h 283368"/>
                <a:gd name="connsiteX32" fmla="*/ 328917 w 334158"/>
                <a:gd name="connsiteY32" fmla="*/ 90487 h 283368"/>
                <a:gd name="connsiteX33" fmla="*/ 331298 w 334158"/>
                <a:gd name="connsiteY33" fmla="*/ 97631 h 283368"/>
                <a:gd name="connsiteX34" fmla="*/ 324154 w 334158"/>
                <a:gd name="connsiteY34" fmla="*/ 102393 h 283368"/>
                <a:gd name="connsiteX35" fmla="*/ 319392 w 334158"/>
                <a:gd name="connsiteY35" fmla="*/ 109537 h 283368"/>
                <a:gd name="connsiteX36" fmla="*/ 321773 w 334158"/>
                <a:gd name="connsiteY36" fmla="*/ 119062 h 283368"/>
                <a:gd name="connsiteX37" fmla="*/ 328917 w 334158"/>
                <a:gd name="connsiteY37" fmla="*/ 123825 h 283368"/>
                <a:gd name="connsiteX38" fmla="*/ 333679 w 334158"/>
                <a:gd name="connsiteY38" fmla="*/ 138112 h 283368"/>
                <a:gd name="connsiteX39" fmla="*/ 331298 w 334158"/>
                <a:gd name="connsiteY39" fmla="*/ 161925 h 283368"/>
                <a:gd name="connsiteX40" fmla="*/ 309867 w 334158"/>
                <a:gd name="connsiteY40" fmla="*/ 171450 h 283368"/>
                <a:gd name="connsiteX41" fmla="*/ 307486 w 334158"/>
                <a:gd name="connsiteY41" fmla="*/ 178593 h 283368"/>
                <a:gd name="connsiteX42" fmla="*/ 300342 w 334158"/>
                <a:gd name="connsiteY42" fmla="*/ 202406 h 283368"/>
                <a:gd name="connsiteX43" fmla="*/ 295579 w 334158"/>
                <a:gd name="connsiteY43" fmla="*/ 209550 h 283368"/>
                <a:gd name="connsiteX44" fmla="*/ 286054 w 334158"/>
                <a:gd name="connsiteY44" fmla="*/ 207168 h 283368"/>
                <a:gd name="connsiteX45" fmla="*/ 269386 w 334158"/>
                <a:gd name="connsiteY45" fmla="*/ 202406 h 283368"/>
                <a:gd name="connsiteX46" fmla="*/ 240811 w 334158"/>
                <a:gd name="connsiteY46" fmla="*/ 204787 h 283368"/>
                <a:gd name="connsiteX47" fmla="*/ 226523 w 334158"/>
                <a:gd name="connsiteY47" fmla="*/ 204787 h 283368"/>
                <a:gd name="connsiteX48" fmla="*/ 219379 w 334158"/>
                <a:gd name="connsiteY48" fmla="*/ 207168 h 283368"/>
                <a:gd name="connsiteX49" fmla="*/ 209854 w 334158"/>
                <a:gd name="connsiteY49" fmla="*/ 209550 h 283368"/>
                <a:gd name="connsiteX50" fmla="*/ 202711 w 334158"/>
                <a:gd name="connsiteY50" fmla="*/ 214312 h 283368"/>
                <a:gd name="connsiteX51" fmla="*/ 207473 w 334158"/>
                <a:gd name="connsiteY51" fmla="*/ 228600 h 283368"/>
                <a:gd name="connsiteX52" fmla="*/ 200329 w 334158"/>
                <a:gd name="connsiteY52" fmla="*/ 235743 h 283368"/>
                <a:gd name="connsiteX53" fmla="*/ 193186 w 334158"/>
                <a:gd name="connsiteY53" fmla="*/ 250031 h 283368"/>
                <a:gd name="connsiteX54" fmla="*/ 181279 w 334158"/>
                <a:gd name="connsiteY54" fmla="*/ 252412 h 283368"/>
                <a:gd name="connsiteX55" fmla="*/ 169373 w 334158"/>
                <a:gd name="connsiteY55" fmla="*/ 264318 h 283368"/>
                <a:gd name="connsiteX56" fmla="*/ 162229 w 334158"/>
                <a:gd name="connsiteY56" fmla="*/ 261937 h 283368"/>
                <a:gd name="connsiteX57" fmla="*/ 145561 w 334158"/>
                <a:gd name="connsiteY57" fmla="*/ 259556 h 283368"/>
                <a:gd name="connsiteX58" fmla="*/ 133654 w 334158"/>
                <a:gd name="connsiteY58" fmla="*/ 269081 h 283368"/>
                <a:gd name="connsiteX59" fmla="*/ 107461 w 334158"/>
                <a:gd name="connsiteY59" fmla="*/ 283368 h 283368"/>
                <a:gd name="connsiteX60" fmla="*/ 97936 w 334158"/>
                <a:gd name="connsiteY60" fmla="*/ 280987 h 283368"/>
                <a:gd name="connsiteX61" fmla="*/ 90792 w 334158"/>
                <a:gd name="connsiteY61" fmla="*/ 278606 h 283368"/>
                <a:gd name="connsiteX62" fmla="*/ 83648 w 334158"/>
                <a:gd name="connsiteY62" fmla="*/ 280987 h 283368"/>
                <a:gd name="connsiteX63" fmla="*/ 76504 w 334158"/>
                <a:gd name="connsiteY63" fmla="*/ 278606 h 283368"/>
                <a:gd name="connsiteX64" fmla="*/ 74123 w 334158"/>
                <a:gd name="connsiteY64" fmla="*/ 271462 h 283368"/>
                <a:gd name="connsiteX65" fmla="*/ 59836 w 334158"/>
                <a:gd name="connsiteY65" fmla="*/ 266700 h 283368"/>
                <a:gd name="connsiteX66" fmla="*/ 52692 w 334158"/>
                <a:gd name="connsiteY66" fmla="*/ 269081 h 283368"/>
                <a:gd name="connsiteX67" fmla="*/ 43167 w 334158"/>
                <a:gd name="connsiteY67" fmla="*/ 273843 h 283368"/>
                <a:gd name="connsiteX68" fmla="*/ 31261 w 334158"/>
                <a:gd name="connsiteY68" fmla="*/ 252412 h 283368"/>
                <a:gd name="connsiteX69" fmla="*/ 26498 w 334158"/>
                <a:gd name="connsiteY69" fmla="*/ 245268 h 283368"/>
                <a:gd name="connsiteX70" fmla="*/ 19354 w 334158"/>
                <a:gd name="connsiteY70" fmla="*/ 240506 h 283368"/>
                <a:gd name="connsiteX71" fmla="*/ 16973 w 334158"/>
                <a:gd name="connsiteY71" fmla="*/ 233362 h 283368"/>
                <a:gd name="connsiteX72" fmla="*/ 12211 w 334158"/>
                <a:gd name="connsiteY72" fmla="*/ 207168 h 283368"/>
                <a:gd name="connsiteX73" fmla="*/ 7448 w 334158"/>
                <a:gd name="connsiteY73" fmla="*/ 197643 h 283368"/>
                <a:gd name="connsiteX74" fmla="*/ 14592 w 334158"/>
                <a:gd name="connsiteY74" fmla="*/ 195262 h 283368"/>
                <a:gd name="connsiteX75" fmla="*/ 2686 w 334158"/>
                <a:gd name="connsiteY75" fmla="*/ 180975 h 283368"/>
                <a:gd name="connsiteX76" fmla="*/ 2686 w 334158"/>
                <a:gd name="connsiteY76" fmla="*/ 145256 h 283368"/>
                <a:gd name="connsiteX77" fmla="*/ 5067 w 334158"/>
                <a:gd name="connsiteY77" fmla="*/ 109537 h 283368"/>
                <a:gd name="connsiteX78" fmla="*/ 2686 w 334158"/>
                <a:gd name="connsiteY78" fmla="*/ 116681 h 283368"/>
                <a:gd name="connsiteX0" fmla="*/ 2686 w 334158"/>
                <a:gd name="connsiteY0" fmla="*/ 116681 h 283368"/>
                <a:gd name="connsiteX1" fmla="*/ 21736 w 334158"/>
                <a:gd name="connsiteY1" fmla="*/ 114300 h 283368"/>
                <a:gd name="connsiteX2" fmla="*/ 19354 w 334158"/>
                <a:gd name="connsiteY2" fmla="*/ 104775 h 283368"/>
                <a:gd name="connsiteX3" fmla="*/ 21736 w 334158"/>
                <a:gd name="connsiteY3" fmla="*/ 83343 h 283368"/>
                <a:gd name="connsiteX4" fmla="*/ 28879 w 334158"/>
                <a:gd name="connsiteY4" fmla="*/ 78581 h 283368"/>
                <a:gd name="connsiteX5" fmla="*/ 36023 w 334158"/>
                <a:gd name="connsiteY5" fmla="*/ 76200 h 283368"/>
                <a:gd name="connsiteX6" fmla="*/ 55073 w 334158"/>
                <a:gd name="connsiteY6" fmla="*/ 69056 h 283368"/>
                <a:gd name="connsiteX7" fmla="*/ 59836 w 334158"/>
                <a:gd name="connsiteY7" fmla="*/ 61912 h 283368"/>
                <a:gd name="connsiteX8" fmla="*/ 66979 w 334158"/>
                <a:gd name="connsiteY8" fmla="*/ 47625 h 283368"/>
                <a:gd name="connsiteX9" fmla="*/ 83648 w 334158"/>
                <a:gd name="connsiteY9" fmla="*/ 54768 h 283368"/>
                <a:gd name="connsiteX10" fmla="*/ 86029 w 334158"/>
                <a:gd name="connsiteY10" fmla="*/ 47625 h 283368"/>
                <a:gd name="connsiteX11" fmla="*/ 100317 w 334158"/>
                <a:gd name="connsiteY11" fmla="*/ 38100 h 283368"/>
                <a:gd name="connsiteX12" fmla="*/ 112223 w 334158"/>
                <a:gd name="connsiteY12" fmla="*/ 28575 h 283368"/>
                <a:gd name="connsiteX13" fmla="*/ 126511 w 334158"/>
                <a:gd name="connsiteY13" fmla="*/ 33337 h 283368"/>
                <a:gd name="connsiteX14" fmla="*/ 138417 w 334158"/>
                <a:gd name="connsiteY14" fmla="*/ 30956 h 283368"/>
                <a:gd name="connsiteX15" fmla="*/ 140798 w 334158"/>
                <a:gd name="connsiteY15" fmla="*/ 23812 h 283368"/>
                <a:gd name="connsiteX16" fmla="*/ 150323 w 334158"/>
                <a:gd name="connsiteY16" fmla="*/ 21431 h 283368"/>
                <a:gd name="connsiteX17" fmla="*/ 176517 w 334158"/>
                <a:gd name="connsiteY17" fmla="*/ 14287 h 283368"/>
                <a:gd name="connsiteX18" fmla="*/ 183661 w 334158"/>
                <a:gd name="connsiteY18" fmla="*/ 9525 h 283368"/>
                <a:gd name="connsiteX19" fmla="*/ 197948 w 334158"/>
                <a:gd name="connsiteY19" fmla="*/ 14287 h 283368"/>
                <a:gd name="connsiteX20" fmla="*/ 212236 w 334158"/>
                <a:gd name="connsiteY20" fmla="*/ 2381 h 283368"/>
                <a:gd name="connsiteX21" fmla="*/ 219379 w 334158"/>
                <a:gd name="connsiteY21" fmla="*/ 0 h 283368"/>
                <a:gd name="connsiteX22" fmla="*/ 233667 w 334158"/>
                <a:gd name="connsiteY22" fmla="*/ 11906 h 283368"/>
                <a:gd name="connsiteX23" fmla="*/ 240811 w 334158"/>
                <a:gd name="connsiteY23" fmla="*/ 19050 h 283368"/>
                <a:gd name="connsiteX24" fmla="*/ 250336 w 334158"/>
                <a:gd name="connsiteY24" fmla="*/ 21431 h 283368"/>
                <a:gd name="connsiteX25" fmla="*/ 257479 w 334158"/>
                <a:gd name="connsiteY25" fmla="*/ 23812 h 283368"/>
                <a:gd name="connsiteX26" fmla="*/ 278911 w 334158"/>
                <a:gd name="connsiteY26" fmla="*/ 35718 h 283368"/>
                <a:gd name="connsiteX27" fmla="*/ 288436 w 334158"/>
                <a:gd name="connsiteY27" fmla="*/ 38100 h 283368"/>
                <a:gd name="connsiteX28" fmla="*/ 302723 w 334158"/>
                <a:gd name="connsiteY28" fmla="*/ 42862 h 283368"/>
                <a:gd name="connsiteX29" fmla="*/ 309867 w 334158"/>
                <a:gd name="connsiteY29" fmla="*/ 47625 h 283368"/>
                <a:gd name="connsiteX30" fmla="*/ 319392 w 334158"/>
                <a:gd name="connsiteY30" fmla="*/ 69056 h 283368"/>
                <a:gd name="connsiteX31" fmla="*/ 324154 w 334158"/>
                <a:gd name="connsiteY31" fmla="*/ 83343 h 283368"/>
                <a:gd name="connsiteX32" fmla="*/ 328917 w 334158"/>
                <a:gd name="connsiteY32" fmla="*/ 90487 h 283368"/>
                <a:gd name="connsiteX33" fmla="*/ 331298 w 334158"/>
                <a:gd name="connsiteY33" fmla="*/ 97631 h 283368"/>
                <a:gd name="connsiteX34" fmla="*/ 324154 w 334158"/>
                <a:gd name="connsiteY34" fmla="*/ 102393 h 283368"/>
                <a:gd name="connsiteX35" fmla="*/ 319392 w 334158"/>
                <a:gd name="connsiteY35" fmla="*/ 109537 h 283368"/>
                <a:gd name="connsiteX36" fmla="*/ 321773 w 334158"/>
                <a:gd name="connsiteY36" fmla="*/ 119062 h 283368"/>
                <a:gd name="connsiteX37" fmla="*/ 328917 w 334158"/>
                <a:gd name="connsiteY37" fmla="*/ 123825 h 283368"/>
                <a:gd name="connsiteX38" fmla="*/ 333679 w 334158"/>
                <a:gd name="connsiteY38" fmla="*/ 138112 h 283368"/>
                <a:gd name="connsiteX39" fmla="*/ 331298 w 334158"/>
                <a:gd name="connsiteY39" fmla="*/ 161925 h 283368"/>
                <a:gd name="connsiteX40" fmla="*/ 309867 w 334158"/>
                <a:gd name="connsiteY40" fmla="*/ 171450 h 283368"/>
                <a:gd name="connsiteX41" fmla="*/ 307486 w 334158"/>
                <a:gd name="connsiteY41" fmla="*/ 178593 h 283368"/>
                <a:gd name="connsiteX42" fmla="*/ 300342 w 334158"/>
                <a:gd name="connsiteY42" fmla="*/ 202406 h 283368"/>
                <a:gd name="connsiteX43" fmla="*/ 295579 w 334158"/>
                <a:gd name="connsiteY43" fmla="*/ 209550 h 283368"/>
                <a:gd name="connsiteX44" fmla="*/ 286054 w 334158"/>
                <a:gd name="connsiteY44" fmla="*/ 207168 h 283368"/>
                <a:gd name="connsiteX45" fmla="*/ 269386 w 334158"/>
                <a:gd name="connsiteY45" fmla="*/ 202406 h 283368"/>
                <a:gd name="connsiteX46" fmla="*/ 245573 w 334158"/>
                <a:gd name="connsiteY46" fmla="*/ 209549 h 283368"/>
                <a:gd name="connsiteX47" fmla="*/ 226523 w 334158"/>
                <a:gd name="connsiteY47" fmla="*/ 204787 h 283368"/>
                <a:gd name="connsiteX48" fmla="*/ 219379 w 334158"/>
                <a:gd name="connsiteY48" fmla="*/ 207168 h 283368"/>
                <a:gd name="connsiteX49" fmla="*/ 209854 w 334158"/>
                <a:gd name="connsiteY49" fmla="*/ 209550 h 283368"/>
                <a:gd name="connsiteX50" fmla="*/ 202711 w 334158"/>
                <a:gd name="connsiteY50" fmla="*/ 214312 h 283368"/>
                <a:gd name="connsiteX51" fmla="*/ 207473 w 334158"/>
                <a:gd name="connsiteY51" fmla="*/ 228600 h 283368"/>
                <a:gd name="connsiteX52" fmla="*/ 200329 w 334158"/>
                <a:gd name="connsiteY52" fmla="*/ 235743 h 283368"/>
                <a:gd name="connsiteX53" fmla="*/ 193186 w 334158"/>
                <a:gd name="connsiteY53" fmla="*/ 250031 h 283368"/>
                <a:gd name="connsiteX54" fmla="*/ 181279 w 334158"/>
                <a:gd name="connsiteY54" fmla="*/ 252412 h 283368"/>
                <a:gd name="connsiteX55" fmla="*/ 169373 w 334158"/>
                <a:gd name="connsiteY55" fmla="*/ 264318 h 283368"/>
                <a:gd name="connsiteX56" fmla="*/ 162229 w 334158"/>
                <a:gd name="connsiteY56" fmla="*/ 261937 h 283368"/>
                <a:gd name="connsiteX57" fmla="*/ 145561 w 334158"/>
                <a:gd name="connsiteY57" fmla="*/ 259556 h 283368"/>
                <a:gd name="connsiteX58" fmla="*/ 133654 w 334158"/>
                <a:gd name="connsiteY58" fmla="*/ 269081 h 283368"/>
                <a:gd name="connsiteX59" fmla="*/ 107461 w 334158"/>
                <a:gd name="connsiteY59" fmla="*/ 283368 h 283368"/>
                <a:gd name="connsiteX60" fmla="*/ 97936 w 334158"/>
                <a:gd name="connsiteY60" fmla="*/ 280987 h 283368"/>
                <a:gd name="connsiteX61" fmla="*/ 90792 w 334158"/>
                <a:gd name="connsiteY61" fmla="*/ 278606 h 283368"/>
                <a:gd name="connsiteX62" fmla="*/ 83648 w 334158"/>
                <a:gd name="connsiteY62" fmla="*/ 280987 h 283368"/>
                <a:gd name="connsiteX63" fmla="*/ 76504 w 334158"/>
                <a:gd name="connsiteY63" fmla="*/ 278606 h 283368"/>
                <a:gd name="connsiteX64" fmla="*/ 74123 w 334158"/>
                <a:gd name="connsiteY64" fmla="*/ 271462 h 283368"/>
                <a:gd name="connsiteX65" fmla="*/ 59836 w 334158"/>
                <a:gd name="connsiteY65" fmla="*/ 266700 h 283368"/>
                <a:gd name="connsiteX66" fmla="*/ 52692 w 334158"/>
                <a:gd name="connsiteY66" fmla="*/ 269081 h 283368"/>
                <a:gd name="connsiteX67" fmla="*/ 43167 w 334158"/>
                <a:gd name="connsiteY67" fmla="*/ 273843 h 283368"/>
                <a:gd name="connsiteX68" fmla="*/ 31261 w 334158"/>
                <a:gd name="connsiteY68" fmla="*/ 252412 h 283368"/>
                <a:gd name="connsiteX69" fmla="*/ 26498 w 334158"/>
                <a:gd name="connsiteY69" fmla="*/ 245268 h 283368"/>
                <a:gd name="connsiteX70" fmla="*/ 19354 w 334158"/>
                <a:gd name="connsiteY70" fmla="*/ 240506 h 283368"/>
                <a:gd name="connsiteX71" fmla="*/ 16973 w 334158"/>
                <a:gd name="connsiteY71" fmla="*/ 233362 h 283368"/>
                <a:gd name="connsiteX72" fmla="*/ 12211 w 334158"/>
                <a:gd name="connsiteY72" fmla="*/ 207168 h 283368"/>
                <a:gd name="connsiteX73" fmla="*/ 7448 w 334158"/>
                <a:gd name="connsiteY73" fmla="*/ 197643 h 283368"/>
                <a:gd name="connsiteX74" fmla="*/ 14592 w 334158"/>
                <a:gd name="connsiteY74" fmla="*/ 195262 h 283368"/>
                <a:gd name="connsiteX75" fmla="*/ 2686 w 334158"/>
                <a:gd name="connsiteY75" fmla="*/ 180975 h 283368"/>
                <a:gd name="connsiteX76" fmla="*/ 2686 w 334158"/>
                <a:gd name="connsiteY76" fmla="*/ 145256 h 283368"/>
                <a:gd name="connsiteX77" fmla="*/ 5067 w 334158"/>
                <a:gd name="connsiteY77" fmla="*/ 109537 h 283368"/>
                <a:gd name="connsiteX78" fmla="*/ 2686 w 334158"/>
                <a:gd name="connsiteY78" fmla="*/ 116681 h 283368"/>
                <a:gd name="connsiteX0" fmla="*/ 2686 w 334158"/>
                <a:gd name="connsiteY0" fmla="*/ 116681 h 283368"/>
                <a:gd name="connsiteX1" fmla="*/ 21736 w 334158"/>
                <a:gd name="connsiteY1" fmla="*/ 114300 h 283368"/>
                <a:gd name="connsiteX2" fmla="*/ 19354 w 334158"/>
                <a:gd name="connsiteY2" fmla="*/ 104775 h 283368"/>
                <a:gd name="connsiteX3" fmla="*/ 21736 w 334158"/>
                <a:gd name="connsiteY3" fmla="*/ 83343 h 283368"/>
                <a:gd name="connsiteX4" fmla="*/ 28879 w 334158"/>
                <a:gd name="connsiteY4" fmla="*/ 78581 h 283368"/>
                <a:gd name="connsiteX5" fmla="*/ 36023 w 334158"/>
                <a:gd name="connsiteY5" fmla="*/ 76200 h 283368"/>
                <a:gd name="connsiteX6" fmla="*/ 55073 w 334158"/>
                <a:gd name="connsiteY6" fmla="*/ 69056 h 283368"/>
                <a:gd name="connsiteX7" fmla="*/ 59836 w 334158"/>
                <a:gd name="connsiteY7" fmla="*/ 61912 h 283368"/>
                <a:gd name="connsiteX8" fmla="*/ 66979 w 334158"/>
                <a:gd name="connsiteY8" fmla="*/ 47625 h 283368"/>
                <a:gd name="connsiteX9" fmla="*/ 83648 w 334158"/>
                <a:gd name="connsiteY9" fmla="*/ 54768 h 283368"/>
                <a:gd name="connsiteX10" fmla="*/ 86029 w 334158"/>
                <a:gd name="connsiteY10" fmla="*/ 47625 h 283368"/>
                <a:gd name="connsiteX11" fmla="*/ 100317 w 334158"/>
                <a:gd name="connsiteY11" fmla="*/ 38100 h 283368"/>
                <a:gd name="connsiteX12" fmla="*/ 112223 w 334158"/>
                <a:gd name="connsiteY12" fmla="*/ 28575 h 283368"/>
                <a:gd name="connsiteX13" fmla="*/ 126511 w 334158"/>
                <a:gd name="connsiteY13" fmla="*/ 33337 h 283368"/>
                <a:gd name="connsiteX14" fmla="*/ 138417 w 334158"/>
                <a:gd name="connsiteY14" fmla="*/ 30956 h 283368"/>
                <a:gd name="connsiteX15" fmla="*/ 140798 w 334158"/>
                <a:gd name="connsiteY15" fmla="*/ 23812 h 283368"/>
                <a:gd name="connsiteX16" fmla="*/ 150323 w 334158"/>
                <a:gd name="connsiteY16" fmla="*/ 21431 h 283368"/>
                <a:gd name="connsiteX17" fmla="*/ 176517 w 334158"/>
                <a:gd name="connsiteY17" fmla="*/ 14287 h 283368"/>
                <a:gd name="connsiteX18" fmla="*/ 183661 w 334158"/>
                <a:gd name="connsiteY18" fmla="*/ 9525 h 283368"/>
                <a:gd name="connsiteX19" fmla="*/ 197948 w 334158"/>
                <a:gd name="connsiteY19" fmla="*/ 14287 h 283368"/>
                <a:gd name="connsiteX20" fmla="*/ 212236 w 334158"/>
                <a:gd name="connsiteY20" fmla="*/ 2381 h 283368"/>
                <a:gd name="connsiteX21" fmla="*/ 219379 w 334158"/>
                <a:gd name="connsiteY21" fmla="*/ 0 h 283368"/>
                <a:gd name="connsiteX22" fmla="*/ 233667 w 334158"/>
                <a:gd name="connsiteY22" fmla="*/ 11906 h 283368"/>
                <a:gd name="connsiteX23" fmla="*/ 240811 w 334158"/>
                <a:gd name="connsiteY23" fmla="*/ 19050 h 283368"/>
                <a:gd name="connsiteX24" fmla="*/ 250336 w 334158"/>
                <a:gd name="connsiteY24" fmla="*/ 21431 h 283368"/>
                <a:gd name="connsiteX25" fmla="*/ 257479 w 334158"/>
                <a:gd name="connsiteY25" fmla="*/ 23812 h 283368"/>
                <a:gd name="connsiteX26" fmla="*/ 278911 w 334158"/>
                <a:gd name="connsiteY26" fmla="*/ 35718 h 283368"/>
                <a:gd name="connsiteX27" fmla="*/ 288436 w 334158"/>
                <a:gd name="connsiteY27" fmla="*/ 38100 h 283368"/>
                <a:gd name="connsiteX28" fmla="*/ 302723 w 334158"/>
                <a:gd name="connsiteY28" fmla="*/ 42862 h 283368"/>
                <a:gd name="connsiteX29" fmla="*/ 309867 w 334158"/>
                <a:gd name="connsiteY29" fmla="*/ 47625 h 283368"/>
                <a:gd name="connsiteX30" fmla="*/ 319392 w 334158"/>
                <a:gd name="connsiteY30" fmla="*/ 69056 h 283368"/>
                <a:gd name="connsiteX31" fmla="*/ 324154 w 334158"/>
                <a:gd name="connsiteY31" fmla="*/ 83343 h 283368"/>
                <a:gd name="connsiteX32" fmla="*/ 328917 w 334158"/>
                <a:gd name="connsiteY32" fmla="*/ 90487 h 283368"/>
                <a:gd name="connsiteX33" fmla="*/ 331298 w 334158"/>
                <a:gd name="connsiteY33" fmla="*/ 97631 h 283368"/>
                <a:gd name="connsiteX34" fmla="*/ 324154 w 334158"/>
                <a:gd name="connsiteY34" fmla="*/ 102393 h 283368"/>
                <a:gd name="connsiteX35" fmla="*/ 319392 w 334158"/>
                <a:gd name="connsiteY35" fmla="*/ 109537 h 283368"/>
                <a:gd name="connsiteX36" fmla="*/ 321773 w 334158"/>
                <a:gd name="connsiteY36" fmla="*/ 119062 h 283368"/>
                <a:gd name="connsiteX37" fmla="*/ 328917 w 334158"/>
                <a:gd name="connsiteY37" fmla="*/ 123825 h 283368"/>
                <a:gd name="connsiteX38" fmla="*/ 333679 w 334158"/>
                <a:gd name="connsiteY38" fmla="*/ 138112 h 283368"/>
                <a:gd name="connsiteX39" fmla="*/ 331298 w 334158"/>
                <a:gd name="connsiteY39" fmla="*/ 161925 h 283368"/>
                <a:gd name="connsiteX40" fmla="*/ 309867 w 334158"/>
                <a:gd name="connsiteY40" fmla="*/ 171450 h 283368"/>
                <a:gd name="connsiteX41" fmla="*/ 307486 w 334158"/>
                <a:gd name="connsiteY41" fmla="*/ 178593 h 283368"/>
                <a:gd name="connsiteX42" fmla="*/ 300342 w 334158"/>
                <a:gd name="connsiteY42" fmla="*/ 202406 h 283368"/>
                <a:gd name="connsiteX43" fmla="*/ 295579 w 334158"/>
                <a:gd name="connsiteY43" fmla="*/ 209550 h 283368"/>
                <a:gd name="connsiteX44" fmla="*/ 286054 w 334158"/>
                <a:gd name="connsiteY44" fmla="*/ 207168 h 283368"/>
                <a:gd name="connsiteX45" fmla="*/ 269386 w 334158"/>
                <a:gd name="connsiteY45" fmla="*/ 202406 h 283368"/>
                <a:gd name="connsiteX46" fmla="*/ 247954 w 334158"/>
                <a:gd name="connsiteY46" fmla="*/ 202406 h 283368"/>
                <a:gd name="connsiteX47" fmla="*/ 226523 w 334158"/>
                <a:gd name="connsiteY47" fmla="*/ 204787 h 283368"/>
                <a:gd name="connsiteX48" fmla="*/ 219379 w 334158"/>
                <a:gd name="connsiteY48" fmla="*/ 207168 h 283368"/>
                <a:gd name="connsiteX49" fmla="*/ 209854 w 334158"/>
                <a:gd name="connsiteY49" fmla="*/ 209550 h 283368"/>
                <a:gd name="connsiteX50" fmla="*/ 202711 w 334158"/>
                <a:gd name="connsiteY50" fmla="*/ 214312 h 283368"/>
                <a:gd name="connsiteX51" fmla="*/ 207473 w 334158"/>
                <a:gd name="connsiteY51" fmla="*/ 228600 h 283368"/>
                <a:gd name="connsiteX52" fmla="*/ 200329 w 334158"/>
                <a:gd name="connsiteY52" fmla="*/ 235743 h 283368"/>
                <a:gd name="connsiteX53" fmla="*/ 193186 w 334158"/>
                <a:gd name="connsiteY53" fmla="*/ 250031 h 283368"/>
                <a:gd name="connsiteX54" fmla="*/ 181279 w 334158"/>
                <a:gd name="connsiteY54" fmla="*/ 252412 h 283368"/>
                <a:gd name="connsiteX55" fmla="*/ 169373 w 334158"/>
                <a:gd name="connsiteY55" fmla="*/ 264318 h 283368"/>
                <a:gd name="connsiteX56" fmla="*/ 162229 w 334158"/>
                <a:gd name="connsiteY56" fmla="*/ 261937 h 283368"/>
                <a:gd name="connsiteX57" fmla="*/ 145561 w 334158"/>
                <a:gd name="connsiteY57" fmla="*/ 259556 h 283368"/>
                <a:gd name="connsiteX58" fmla="*/ 133654 w 334158"/>
                <a:gd name="connsiteY58" fmla="*/ 269081 h 283368"/>
                <a:gd name="connsiteX59" fmla="*/ 107461 w 334158"/>
                <a:gd name="connsiteY59" fmla="*/ 283368 h 283368"/>
                <a:gd name="connsiteX60" fmla="*/ 97936 w 334158"/>
                <a:gd name="connsiteY60" fmla="*/ 280987 h 283368"/>
                <a:gd name="connsiteX61" fmla="*/ 90792 w 334158"/>
                <a:gd name="connsiteY61" fmla="*/ 278606 h 283368"/>
                <a:gd name="connsiteX62" fmla="*/ 83648 w 334158"/>
                <a:gd name="connsiteY62" fmla="*/ 280987 h 283368"/>
                <a:gd name="connsiteX63" fmla="*/ 76504 w 334158"/>
                <a:gd name="connsiteY63" fmla="*/ 278606 h 283368"/>
                <a:gd name="connsiteX64" fmla="*/ 74123 w 334158"/>
                <a:gd name="connsiteY64" fmla="*/ 271462 h 283368"/>
                <a:gd name="connsiteX65" fmla="*/ 59836 w 334158"/>
                <a:gd name="connsiteY65" fmla="*/ 266700 h 283368"/>
                <a:gd name="connsiteX66" fmla="*/ 52692 w 334158"/>
                <a:gd name="connsiteY66" fmla="*/ 269081 h 283368"/>
                <a:gd name="connsiteX67" fmla="*/ 43167 w 334158"/>
                <a:gd name="connsiteY67" fmla="*/ 273843 h 283368"/>
                <a:gd name="connsiteX68" fmla="*/ 31261 w 334158"/>
                <a:gd name="connsiteY68" fmla="*/ 252412 h 283368"/>
                <a:gd name="connsiteX69" fmla="*/ 26498 w 334158"/>
                <a:gd name="connsiteY69" fmla="*/ 245268 h 283368"/>
                <a:gd name="connsiteX70" fmla="*/ 19354 w 334158"/>
                <a:gd name="connsiteY70" fmla="*/ 240506 h 283368"/>
                <a:gd name="connsiteX71" fmla="*/ 16973 w 334158"/>
                <a:gd name="connsiteY71" fmla="*/ 233362 h 283368"/>
                <a:gd name="connsiteX72" fmla="*/ 12211 w 334158"/>
                <a:gd name="connsiteY72" fmla="*/ 207168 h 283368"/>
                <a:gd name="connsiteX73" fmla="*/ 7448 w 334158"/>
                <a:gd name="connsiteY73" fmla="*/ 197643 h 283368"/>
                <a:gd name="connsiteX74" fmla="*/ 14592 w 334158"/>
                <a:gd name="connsiteY74" fmla="*/ 195262 h 283368"/>
                <a:gd name="connsiteX75" fmla="*/ 2686 w 334158"/>
                <a:gd name="connsiteY75" fmla="*/ 180975 h 283368"/>
                <a:gd name="connsiteX76" fmla="*/ 2686 w 334158"/>
                <a:gd name="connsiteY76" fmla="*/ 145256 h 283368"/>
                <a:gd name="connsiteX77" fmla="*/ 5067 w 334158"/>
                <a:gd name="connsiteY77" fmla="*/ 109537 h 283368"/>
                <a:gd name="connsiteX78" fmla="*/ 2686 w 334158"/>
                <a:gd name="connsiteY78" fmla="*/ 116681 h 283368"/>
                <a:gd name="connsiteX0" fmla="*/ 2686 w 334158"/>
                <a:gd name="connsiteY0" fmla="*/ 116681 h 283368"/>
                <a:gd name="connsiteX1" fmla="*/ 21736 w 334158"/>
                <a:gd name="connsiteY1" fmla="*/ 114300 h 283368"/>
                <a:gd name="connsiteX2" fmla="*/ 19354 w 334158"/>
                <a:gd name="connsiteY2" fmla="*/ 104775 h 283368"/>
                <a:gd name="connsiteX3" fmla="*/ 21736 w 334158"/>
                <a:gd name="connsiteY3" fmla="*/ 83343 h 283368"/>
                <a:gd name="connsiteX4" fmla="*/ 28879 w 334158"/>
                <a:gd name="connsiteY4" fmla="*/ 78581 h 283368"/>
                <a:gd name="connsiteX5" fmla="*/ 36023 w 334158"/>
                <a:gd name="connsiteY5" fmla="*/ 76200 h 283368"/>
                <a:gd name="connsiteX6" fmla="*/ 55073 w 334158"/>
                <a:gd name="connsiteY6" fmla="*/ 69056 h 283368"/>
                <a:gd name="connsiteX7" fmla="*/ 59836 w 334158"/>
                <a:gd name="connsiteY7" fmla="*/ 61912 h 283368"/>
                <a:gd name="connsiteX8" fmla="*/ 66979 w 334158"/>
                <a:gd name="connsiteY8" fmla="*/ 47625 h 283368"/>
                <a:gd name="connsiteX9" fmla="*/ 83648 w 334158"/>
                <a:gd name="connsiteY9" fmla="*/ 54768 h 283368"/>
                <a:gd name="connsiteX10" fmla="*/ 86029 w 334158"/>
                <a:gd name="connsiteY10" fmla="*/ 47625 h 283368"/>
                <a:gd name="connsiteX11" fmla="*/ 100317 w 334158"/>
                <a:gd name="connsiteY11" fmla="*/ 38100 h 283368"/>
                <a:gd name="connsiteX12" fmla="*/ 112223 w 334158"/>
                <a:gd name="connsiteY12" fmla="*/ 28575 h 283368"/>
                <a:gd name="connsiteX13" fmla="*/ 126511 w 334158"/>
                <a:gd name="connsiteY13" fmla="*/ 33337 h 283368"/>
                <a:gd name="connsiteX14" fmla="*/ 138417 w 334158"/>
                <a:gd name="connsiteY14" fmla="*/ 30956 h 283368"/>
                <a:gd name="connsiteX15" fmla="*/ 140798 w 334158"/>
                <a:gd name="connsiteY15" fmla="*/ 23812 h 283368"/>
                <a:gd name="connsiteX16" fmla="*/ 150323 w 334158"/>
                <a:gd name="connsiteY16" fmla="*/ 21431 h 283368"/>
                <a:gd name="connsiteX17" fmla="*/ 176517 w 334158"/>
                <a:gd name="connsiteY17" fmla="*/ 14287 h 283368"/>
                <a:gd name="connsiteX18" fmla="*/ 183661 w 334158"/>
                <a:gd name="connsiteY18" fmla="*/ 9525 h 283368"/>
                <a:gd name="connsiteX19" fmla="*/ 197948 w 334158"/>
                <a:gd name="connsiteY19" fmla="*/ 14287 h 283368"/>
                <a:gd name="connsiteX20" fmla="*/ 212236 w 334158"/>
                <a:gd name="connsiteY20" fmla="*/ 2381 h 283368"/>
                <a:gd name="connsiteX21" fmla="*/ 219379 w 334158"/>
                <a:gd name="connsiteY21" fmla="*/ 0 h 283368"/>
                <a:gd name="connsiteX22" fmla="*/ 233667 w 334158"/>
                <a:gd name="connsiteY22" fmla="*/ 11906 h 283368"/>
                <a:gd name="connsiteX23" fmla="*/ 240811 w 334158"/>
                <a:gd name="connsiteY23" fmla="*/ 19050 h 283368"/>
                <a:gd name="connsiteX24" fmla="*/ 250336 w 334158"/>
                <a:gd name="connsiteY24" fmla="*/ 21431 h 283368"/>
                <a:gd name="connsiteX25" fmla="*/ 257479 w 334158"/>
                <a:gd name="connsiteY25" fmla="*/ 23812 h 283368"/>
                <a:gd name="connsiteX26" fmla="*/ 278911 w 334158"/>
                <a:gd name="connsiteY26" fmla="*/ 35718 h 283368"/>
                <a:gd name="connsiteX27" fmla="*/ 288436 w 334158"/>
                <a:gd name="connsiteY27" fmla="*/ 38100 h 283368"/>
                <a:gd name="connsiteX28" fmla="*/ 302723 w 334158"/>
                <a:gd name="connsiteY28" fmla="*/ 42862 h 283368"/>
                <a:gd name="connsiteX29" fmla="*/ 309867 w 334158"/>
                <a:gd name="connsiteY29" fmla="*/ 47625 h 283368"/>
                <a:gd name="connsiteX30" fmla="*/ 319392 w 334158"/>
                <a:gd name="connsiteY30" fmla="*/ 69056 h 283368"/>
                <a:gd name="connsiteX31" fmla="*/ 324154 w 334158"/>
                <a:gd name="connsiteY31" fmla="*/ 83343 h 283368"/>
                <a:gd name="connsiteX32" fmla="*/ 328917 w 334158"/>
                <a:gd name="connsiteY32" fmla="*/ 90487 h 283368"/>
                <a:gd name="connsiteX33" fmla="*/ 331298 w 334158"/>
                <a:gd name="connsiteY33" fmla="*/ 97631 h 283368"/>
                <a:gd name="connsiteX34" fmla="*/ 324154 w 334158"/>
                <a:gd name="connsiteY34" fmla="*/ 102393 h 283368"/>
                <a:gd name="connsiteX35" fmla="*/ 319392 w 334158"/>
                <a:gd name="connsiteY35" fmla="*/ 109537 h 283368"/>
                <a:gd name="connsiteX36" fmla="*/ 321773 w 334158"/>
                <a:gd name="connsiteY36" fmla="*/ 119062 h 283368"/>
                <a:gd name="connsiteX37" fmla="*/ 328917 w 334158"/>
                <a:gd name="connsiteY37" fmla="*/ 123825 h 283368"/>
                <a:gd name="connsiteX38" fmla="*/ 333679 w 334158"/>
                <a:gd name="connsiteY38" fmla="*/ 138112 h 283368"/>
                <a:gd name="connsiteX39" fmla="*/ 331298 w 334158"/>
                <a:gd name="connsiteY39" fmla="*/ 161925 h 283368"/>
                <a:gd name="connsiteX40" fmla="*/ 309867 w 334158"/>
                <a:gd name="connsiteY40" fmla="*/ 171450 h 283368"/>
                <a:gd name="connsiteX41" fmla="*/ 307486 w 334158"/>
                <a:gd name="connsiteY41" fmla="*/ 178593 h 283368"/>
                <a:gd name="connsiteX42" fmla="*/ 300342 w 334158"/>
                <a:gd name="connsiteY42" fmla="*/ 202406 h 283368"/>
                <a:gd name="connsiteX43" fmla="*/ 295579 w 334158"/>
                <a:gd name="connsiteY43" fmla="*/ 209550 h 283368"/>
                <a:gd name="connsiteX44" fmla="*/ 286054 w 334158"/>
                <a:gd name="connsiteY44" fmla="*/ 207168 h 283368"/>
                <a:gd name="connsiteX45" fmla="*/ 269386 w 334158"/>
                <a:gd name="connsiteY45" fmla="*/ 202406 h 283368"/>
                <a:gd name="connsiteX46" fmla="*/ 247954 w 334158"/>
                <a:gd name="connsiteY46" fmla="*/ 202406 h 283368"/>
                <a:gd name="connsiteX47" fmla="*/ 226523 w 334158"/>
                <a:gd name="connsiteY47" fmla="*/ 204787 h 283368"/>
                <a:gd name="connsiteX48" fmla="*/ 219379 w 334158"/>
                <a:gd name="connsiteY48" fmla="*/ 207168 h 283368"/>
                <a:gd name="connsiteX49" fmla="*/ 209854 w 334158"/>
                <a:gd name="connsiteY49" fmla="*/ 209550 h 283368"/>
                <a:gd name="connsiteX50" fmla="*/ 207473 w 334158"/>
                <a:gd name="connsiteY50" fmla="*/ 228600 h 283368"/>
                <a:gd name="connsiteX51" fmla="*/ 200329 w 334158"/>
                <a:gd name="connsiteY51" fmla="*/ 235743 h 283368"/>
                <a:gd name="connsiteX52" fmla="*/ 193186 w 334158"/>
                <a:gd name="connsiteY52" fmla="*/ 250031 h 283368"/>
                <a:gd name="connsiteX53" fmla="*/ 181279 w 334158"/>
                <a:gd name="connsiteY53" fmla="*/ 252412 h 283368"/>
                <a:gd name="connsiteX54" fmla="*/ 169373 w 334158"/>
                <a:gd name="connsiteY54" fmla="*/ 264318 h 283368"/>
                <a:gd name="connsiteX55" fmla="*/ 162229 w 334158"/>
                <a:gd name="connsiteY55" fmla="*/ 261937 h 283368"/>
                <a:gd name="connsiteX56" fmla="*/ 145561 w 334158"/>
                <a:gd name="connsiteY56" fmla="*/ 259556 h 283368"/>
                <a:gd name="connsiteX57" fmla="*/ 133654 w 334158"/>
                <a:gd name="connsiteY57" fmla="*/ 269081 h 283368"/>
                <a:gd name="connsiteX58" fmla="*/ 107461 w 334158"/>
                <a:gd name="connsiteY58" fmla="*/ 283368 h 283368"/>
                <a:gd name="connsiteX59" fmla="*/ 97936 w 334158"/>
                <a:gd name="connsiteY59" fmla="*/ 280987 h 283368"/>
                <a:gd name="connsiteX60" fmla="*/ 90792 w 334158"/>
                <a:gd name="connsiteY60" fmla="*/ 278606 h 283368"/>
                <a:gd name="connsiteX61" fmla="*/ 83648 w 334158"/>
                <a:gd name="connsiteY61" fmla="*/ 280987 h 283368"/>
                <a:gd name="connsiteX62" fmla="*/ 76504 w 334158"/>
                <a:gd name="connsiteY62" fmla="*/ 278606 h 283368"/>
                <a:gd name="connsiteX63" fmla="*/ 74123 w 334158"/>
                <a:gd name="connsiteY63" fmla="*/ 271462 h 283368"/>
                <a:gd name="connsiteX64" fmla="*/ 59836 w 334158"/>
                <a:gd name="connsiteY64" fmla="*/ 266700 h 283368"/>
                <a:gd name="connsiteX65" fmla="*/ 52692 w 334158"/>
                <a:gd name="connsiteY65" fmla="*/ 269081 h 283368"/>
                <a:gd name="connsiteX66" fmla="*/ 43167 w 334158"/>
                <a:gd name="connsiteY66" fmla="*/ 273843 h 283368"/>
                <a:gd name="connsiteX67" fmla="*/ 31261 w 334158"/>
                <a:gd name="connsiteY67" fmla="*/ 252412 h 283368"/>
                <a:gd name="connsiteX68" fmla="*/ 26498 w 334158"/>
                <a:gd name="connsiteY68" fmla="*/ 245268 h 283368"/>
                <a:gd name="connsiteX69" fmla="*/ 19354 w 334158"/>
                <a:gd name="connsiteY69" fmla="*/ 240506 h 283368"/>
                <a:gd name="connsiteX70" fmla="*/ 16973 w 334158"/>
                <a:gd name="connsiteY70" fmla="*/ 233362 h 283368"/>
                <a:gd name="connsiteX71" fmla="*/ 12211 w 334158"/>
                <a:gd name="connsiteY71" fmla="*/ 207168 h 283368"/>
                <a:gd name="connsiteX72" fmla="*/ 7448 w 334158"/>
                <a:gd name="connsiteY72" fmla="*/ 197643 h 283368"/>
                <a:gd name="connsiteX73" fmla="*/ 14592 w 334158"/>
                <a:gd name="connsiteY73" fmla="*/ 195262 h 283368"/>
                <a:gd name="connsiteX74" fmla="*/ 2686 w 334158"/>
                <a:gd name="connsiteY74" fmla="*/ 180975 h 283368"/>
                <a:gd name="connsiteX75" fmla="*/ 2686 w 334158"/>
                <a:gd name="connsiteY75" fmla="*/ 145256 h 283368"/>
                <a:gd name="connsiteX76" fmla="*/ 5067 w 334158"/>
                <a:gd name="connsiteY76" fmla="*/ 109537 h 283368"/>
                <a:gd name="connsiteX77" fmla="*/ 2686 w 334158"/>
                <a:gd name="connsiteY77" fmla="*/ 116681 h 283368"/>
                <a:gd name="connsiteX0" fmla="*/ 2686 w 334158"/>
                <a:gd name="connsiteY0" fmla="*/ 116681 h 283368"/>
                <a:gd name="connsiteX1" fmla="*/ 21736 w 334158"/>
                <a:gd name="connsiteY1" fmla="*/ 114300 h 283368"/>
                <a:gd name="connsiteX2" fmla="*/ 19354 w 334158"/>
                <a:gd name="connsiteY2" fmla="*/ 104775 h 283368"/>
                <a:gd name="connsiteX3" fmla="*/ 21736 w 334158"/>
                <a:gd name="connsiteY3" fmla="*/ 83343 h 283368"/>
                <a:gd name="connsiteX4" fmla="*/ 28879 w 334158"/>
                <a:gd name="connsiteY4" fmla="*/ 78581 h 283368"/>
                <a:gd name="connsiteX5" fmla="*/ 36023 w 334158"/>
                <a:gd name="connsiteY5" fmla="*/ 76200 h 283368"/>
                <a:gd name="connsiteX6" fmla="*/ 55073 w 334158"/>
                <a:gd name="connsiteY6" fmla="*/ 69056 h 283368"/>
                <a:gd name="connsiteX7" fmla="*/ 59836 w 334158"/>
                <a:gd name="connsiteY7" fmla="*/ 61912 h 283368"/>
                <a:gd name="connsiteX8" fmla="*/ 66979 w 334158"/>
                <a:gd name="connsiteY8" fmla="*/ 47625 h 283368"/>
                <a:gd name="connsiteX9" fmla="*/ 83648 w 334158"/>
                <a:gd name="connsiteY9" fmla="*/ 54768 h 283368"/>
                <a:gd name="connsiteX10" fmla="*/ 86029 w 334158"/>
                <a:gd name="connsiteY10" fmla="*/ 47625 h 283368"/>
                <a:gd name="connsiteX11" fmla="*/ 100317 w 334158"/>
                <a:gd name="connsiteY11" fmla="*/ 38100 h 283368"/>
                <a:gd name="connsiteX12" fmla="*/ 112223 w 334158"/>
                <a:gd name="connsiteY12" fmla="*/ 28575 h 283368"/>
                <a:gd name="connsiteX13" fmla="*/ 126511 w 334158"/>
                <a:gd name="connsiteY13" fmla="*/ 33337 h 283368"/>
                <a:gd name="connsiteX14" fmla="*/ 138417 w 334158"/>
                <a:gd name="connsiteY14" fmla="*/ 30956 h 283368"/>
                <a:gd name="connsiteX15" fmla="*/ 140798 w 334158"/>
                <a:gd name="connsiteY15" fmla="*/ 23812 h 283368"/>
                <a:gd name="connsiteX16" fmla="*/ 150323 w 334158"/>
                <a:gd name="connsiteY16" fmla="*/ 21431 h 283368"/>
                <a:gd name="connsiteX17" fmla="*/ 176517 w 334158"/>
                <a:gd name="connsiteY17" fmla="*/ 14287 h 283368"/>
                <a:gd name="connsiteX18" fmla="*/ 183661 w 334158"/>
                <a:gd name="connsiteY18" fmla="*/ 9525 h 283368"/>
                <a:gd name="connsiteX19" fmla="*/ 197948 w 334158"/>
                <a:gd name="connsiteY19" fmla="*/ 14287 h 283368"/>
                <a:gd name="connsiteX20" fmla="*/ 212236 w 334158"/>
                <a:gd name="connsiteY20" fmla="*/ 2381 h 283368"/>
                <a:gd name="connsiteX21" fmla="*/ 219379 w 334158"/>
                <a:gd name="connsiteY21" fmla="*/ 0 h 283368"/>
                <a:gd name="connsiteX22" fmla="*/ 233667 w 334158"/>
                <a:gd name="connsiteY22" fmla="*/ 11906 h 283368"/>
                <a:gd name="connsiteX23" fmla="*/ 240811 w 334158"/>
                <a:gd name="connsiteY23" fmla="*/ 19050 h 283368"/>
                <a:gd name="connsiteX24" fmla="*/ 250336 w 334158"/>
                <a:gd name="connsiteY24" fmla="*/ 21431 h 283368"/>
                <a:gd name="connsiteX25" fmla="*/ 257479 w 334158"/>
                <a:gd name="connsiteY25" fmla="*/ 23812 h 283368"/>
                <a:gd name="connsiteX26" fmla="*/ 278911 w 334158"/>
                <a:gd name="connsiteY26" fmla="*/ 35718 h 283368"/>
                <a:gd name="connsiteX27" fmla="*/ 288436 w 334158"/>
                <a:gd name="connsiteY27" fmla="*/ 38100 h 283368"/>
                <a:gd name="connsiteX28" fmla="*/ 302723 w 334158"/>
                <a:gd name="connsiteY28" fmla="*/ 42862 h 283368"/>
                <a:gd name="connsiteX29" fmla="*/ 309867 w 334158"/>
                <a:gd name="connsiteY29" fmla="*/ 47625 h 283368"/>
                <a:gd name="connsiteX30" fmla="*/ 319392 w 334158"/>
                <a:gd name="connsiteY30" fmla="*/ 69056 h 283368"/>
                <a:gd name="connsiteX31" fmla="*/ 324154 w 334158"/>
                <a:gd name="connsiteY31" fmla="*/ 83343 h 283368"/>
                <a:gd name="connsiteX32" fmla="*/ 328917 w 334158"/>
                <a:gd name="connsiteY32" fmla="*/ 90487 h 283368"/>
                <a:gd name="connsiteX33" fmla="*/ 331298 w 334158"/>
                <a:gd name="connsiteY33" fmla="*/ 97631 h 283368"/>
                <a:gd name="connsiteX34" fmla="*/ 324154 w 334158"/>
                <a:gd name="connsiteY34" fmla="*/ 102393 h 283368"/>
                <a:gd name="connsiteX35" fmla="*/ 319392 w 334158"/>
                <a:gd name="connsiteY35" fmla="*/ 109537 h 283368"/>
                <a:gd name="connsiteX36" fmla="*/ 321773 w 334158"/>
                <a:gd name="connsiteY36" fmla="*/ 119062 h 283368"/>
                <a:gd name="connsiteX37" fmla="*/ 328917 w 334158"/>
                <a:gd name="connsiteY37" fmla="*/ 123825 h 283368"/>
                <a:gd name="connsiteX38" fmla="*/ 333679 w 334158"/>
                <a:gd name="connsiteY38" fmla="*/ 138112 h 283368"/>
                <a:gd name="connsiteX39" fmla="*/ 331298 w 334158"/>
                <a:gd name="connsiteY39" fmla="*/ 161925 h 283368"/>
                <a:gd name="connsiteX40" fmla="*/ 309867 w 334158"/>
                <a:gd name="connsiteY40" fmla="*/ 171450 h 283368"/>
                <a:gd name="connsiteX41" fmla="*/ 307486 w 334158"/>
                <a:gd name="connsiteY41" fmla="*/ 178593 h 283368"/>
                <a:gd name="connsiteX42" fmla="*/ 300342 w 334158"/>
                <a:gd name="connsiteY42" fmla="*/ 202406 h 283368"/>
                <a:gd name="connsiteX43" fmla="*/ 295579 w 334158"/>
                <a:gd name="connsiteY43" fmla="*/ 209550 h 283368"/>
                <a:gd name="connsiteX44" fmla="*/ 286054 w 334158"/>
                <a:gd name="connsiteY44" fmla="*/ 207168 h 283368"/>
                <a:gd name="connsiteX45" fmla="*/ 269386 w 334158"/>
                <a:gd name="connsiteY45" fmla="*/ 202406 h 283368"/>
                <a:gd name="connsiteX46" fmla="*/ 247954 w 334158"/>
                <a:gd name="connsiteY46" fmla="*/ 202406 h 283368"/>
                <a:gd name="connsiteX47" fmla="*/ 226523 w 334158"/>
                <a:gd name="connsiteY47" fmla="*/ 204787 h 283368"/>
                <a:gd name="connsiteX48" fmla="*/ 219379 w 334158"/>
                <a:gd name="connsiteY48" fmla="*/ 207168 h 283368"/>
                <a:gd name="connsiteX49" fmla="*/ 207473 w 334158"/>
                <a:gd name="connsiteY49" fmla="*/ 228600 h 283368"/>
                <a:gd name="connsiteX50" fmla="*/ 200329 w 334158"/>
                <a:gd name="connsiteY50" fmla="*/ 235743 h 283368"/>
                <a:gd name="connsiteX51" fmla="*/ 193186 w 334158"/>
                <a:gd name="connsiteY51" fmla="*/ 250031 h 283368"/>
                <a:gd name="connsiteX52" fmla="*/ 181279 w 334158"/>
                <a:gd name="connsiteY52" fmla="*/ 252412 h 283368"/>
                <a:gd name="connsiteX53" fmla="*/ 169373 w 334158"/>
                <a:gd name="connsiteY53" fmla="*/ 264318 h 283368"/>
                <a:gd name="connsiteX54" fmla="*/ 162229 w 334158"/>
                <a:gd name="connsiteY54" fmla="*/ 261937 h 283368"/>
                <a:gd name="connsiteX55" fmla="*/ 145561 w 334158"/>
                <a:gd name="connsiteY55" fmla="*/ 259556 h 283368"/>
                <a:gd name="connsiteX56" fmla="*/ 133654 w 334158"/>
                <a:gd name="connsiteY56" fmla="*/ 269081 h 283368"/>
                <a:gd name="connsiteX57" fmla="*/ 107461 w 334158"/>
                <a:gd name="connsiteY57" fmla="*/ 283368 h 283368"/>
                <a:gd name="connsiteX58" fmla="*/ 97936 w 334158"/>
                <a:gd name="connsiteY58" fmla="*/ 280987 h 283368"/>
                <a:gd name="connsiteX59" fmla="*/ 90792 w 334158"/>
                <a:gd name="connsiteY59" fmla="*/ 278606 h 283368"/>
                <a:gd name="connsiteX60" fmla="*/ 83648 w 334158"/>
                <a:gd name="connsiteY60" fmla="*/ 280987 h 283368"/>
                <a:gd name="connsiteX61" fmla="*/ 76504 w 334158"/>
                <a:gd name="connsiteY61" fmla="*/ 278606 h 283368"/>
                <a:gd name="connsiteX62" fmla="*/ 74123 w 334158"/>
                <a:gd name="connsiteY62" fmla="*/ 271462 h 283368"/>
                <a:gd name="connsiteX63" fmla="*/ 59836 w 334158"/>
                <a:gd name="connsiteY63" fmla="*/ 266700 h 283368"/>
                <a:gd name="connsiteX64" fmla="*/ 52692 w 334158"/>
                <a:gd name="connsiteY64" fmla="*/ 269081 h 283368"/>
                <a:gd name="connsiteX65" fmla="*/ 43167 w 334158"/>
                <a:gd name="connsiteY65" fmla="*/ 273843 h 283368"/>
                <a:gd name="connsiteX66" fmla="*/ 31261 w 334158"/>
                <a:gd name="connsiteY66" fmla="*/ 252412 h 283368"/>
                <a:gd name="connsiteX67" fmla="*/ 26498 w 334158"/>
                <a:gd name="connsiteY67" fmla="*/ 245268 h 283368"/>
                <a:gd name="connsiteX68" fmla="*/ 19354 w 334158"/>
                <a:gd name="connsiteY68" fmla="*/ 240506 h 283368"/>
                <a:gd name="connsiteX69" fmla="*/ 16973 w 334158"/>
                <a:gd name="connsiteY69" fmla="*/ 233362 h 283368"/>
                <a:gd name="connsiteX70" fmla="*/ 12211 w 334158"/>
                <a:gd name="connsiteY70" fmla="*/ 207168 h 283368"/>
                <a:gd name="connsiteX71" fmla="*/ 7448 w 334158"/>
                <a:gd name="connsiteY71" fmla="*/ 197643 h 283368"/>
                <a:gd name="connsiteX72" fmla="*/ 14592 w 334158"/>
                <a:gd name="connsiteY72" fmla="*/ 195262 h 283368"/>
                <a:gd name="connsiteX73" fmla="*/ 2686 w 334158"/>
                <a:gd name="connsiteY73" fmla="*/ 180975 h 283368"/>
                <a:gd name="connsiteX74" fmla="*/ 2686 w 334158"/>
                <a:gd name="connsiteY74" fmla="*/ 145256 h 283368"/>
                <a:gd name="connsiteX75" fmla="*/ 5067 w 334158"/>
                <a:gd name="connsiteY75" fmla="*/ 109537 h 283368"/>
                <a:gd name="connsiteX76" fmla="*/ 2686 w 334158"/>
                <a:gd name="connsiteY76" fmla="*/ 116681 h 28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334158" h="283368">
                  <a:moveTo>
                    <a:pt x="2686" y="116681"/>
                  </a:moveTo>
                  <a:cubicBezTo>
                    <a:pt x="5464" y="117475"/>
                    <a:pt x="16529" y="118020"/>
                    <a:pt x="21736" y="114300"/>
                  </a:cubicBezTo>
                  <a:cubicBezTo>
                    <a:pt x="24399" y="112398"/>
                    <a:pt x="19354" y="108048"/>
                    <a:pt x="19354" y="104775"/>
                  </a:cubicBezTo>
                  <a:cubicBezTo>
                    <a:pt x="19354" y="97587"/>
                    <a:pt x="19280" y="90098"/>
                    <a:pt x="21736" y="83343"/>
                  </a:cubicBezTo>
                  <a:cubicBezTo>
                    <a:pt x="22714" y="80654"/>
                    <a:pt x="26319" y="79861"/>
                    <a:pt x="28879" y="78581"/>
                  </a:cubicBezTo>
                  <a:cubicBezTo>
                    <a:pt x="31124" y="77459"/>
                    <a:pt x="33716" y="77189"/>
                    <a:pt x="36023" y="76200"/>
                  </a:cubicBezTo>
                  <a:cubicBezTo>
                    <a:pt x="53458" y="68728"/>
                    <a:pt x="37510" y="73446"/>
                    <a:pt x="55073" y="69056"/>
                  </a:cubicBezTo>
                  <a:cubicBezTo>
                    <a:pt x="56661" y="66675"/>
                    <a:pt x="58556" y="64472"/>
                    <a:pt x="59836" y="61912"/>
                  </a:cubicBezTo>
                  <a:cubicBezTo>
                    <a:pt x="69696" y="42192"/>
                    <a:pt x="53330" y="68099"/>
                    <a:pt x="66979" y="47625"/>
                  </a:cubicBezTo>
                  <a:cubicBezTo>
                    <a:pt x="78372" y="64714"/>
                    <a:pt x="72457" y="65959"/>
                    <a:pt x="83648" y="54768"/>
                  </a:cubicBezTo>
                  <a:cubicBezTo>
                    <a:pt x="84442" y="52387"/>
                    <a:pt x="84254" y="49400"/>
                    <a:pt x="86029" y="47625"/>
                  </a:cubicBezTo>
                  <a:cubicBezTo>
                    <a:pt x="90077" y="43578"/>
                    <a:pt x="100317" y="38100"/>
                    <a:pt x="100317" y="38100"/>
                  </a:cubicBezTo>
                  <a:cubicBezTo>
                    <a:pt x="103371" y="33518"/>
                    <a:pt x="105083" y="27782"/>
                    <a:pt x="112223" y="28575"/>
                  </a:cubicBezTo>
                  <a:cubicBezTo>
                    <a:pt x="117213" y="29129"/>
                    <a:pt x="126511" y="33337"/>
                    <a:pt x="126511" y="33337"/>
                  </a:cubicBezTo>
                  <a:cubicBezTo>
                    <a:pt x="130480" y="32543"/>
                    <a:pt x="135050" y="33201"/>
                    <a:pt x="138417" y="30956"/>
                  </a:cubicBezTo>
                  <a:cubicBezTo>
                    <a:pt x="140506" y="29564"/>
                    <a:pt x="138838" y="25380"/>
                    <a:pt x="140798" y="23812"/>
                  </a:cubicBezTo>
                  <a:cubicBezTo>
                    <a:pt x="143354" y="21768"/>
                    <a:pt x="147188" y="22371"/>
                    <a:pt x="150323" y="21431"/>
                  </a:cubicBezTo>
                  <a:cubicBezTo>
                    <a:pt x="174495" y="14179"/>
                    <a:pt x="154815" y="18627"/>
                    <a:pt x="176517" y="14287"/>
                  </a:cubicBezTo>
                  <a:cubicBezTo>
                    <a:pt x="178898" y="12700"/>
                    <a:pt x="180799" y="9525"/>
                    <a:pt x="183661" y="9525"/>
                  </a:cubicBezTo>
                  <a:cubicBezTo>
                    <a:pt x="188681" y="9525"/>
                    <a:pt x="197948" y="14287"/>
                    <a:pt x="197948" y="14287"/>
                  </a:cubicBezTo>
                  <a:cubicBezTo>
                    <a:pt x="203216" y="9019"/>
                    <a:pt x="205604" y="5697"/>
                    <a:pt x="212236" y="2381"/>
                  </a:cubicBezTo>
                  <a:cubicBezTo>
                    <a:pt x="214481" y="1259"/>
                    <a:pt x="216998" y="794"/>
                    <a:pt x="219379" y="0"/>
                  </a:cubicBezTo>
                  <a:cubicBezTo>
                    <a:pt x="228769" y="14083"/>
                    <a:pt x="218285" y="919"/>
                    <a:pt x="233667" y="11906"/>
                  </a:cubicBezTo>
                  <a:cubicBezTo>
                    <a:pt x="236407" y="13864"/>
                    <a:pt x="237887" y="17379"/>
                    <a:pt x="240811" y="19050"/>
                  </a:cubicBezTo>
                  <a:cubicBezTo>
                    <a:pt x="243653" y="20674"/>
                    <a:pt x="247189" y="20532"/>
                    <a:pt x="250336" y="21431"/>
                  </a:cubicBezTo>
                  <a:cubicBezTo>
                    <a:pt x="252749" y="22120"/>
                    <a:pt x="255098" y="23018"/>
                    <a:pt x="257479" y="23812"/>
                  </a:cubicBezTo>
                  <a:cubicBezTo>
                    <a:pt x="270276" y="32343"/>
                    <a:pt x="267906" y="32574"/>
                    <a:pt x="278911" y="35718"/>
                  </a:cubicBezTo>
                  <a:cubicBezTo>
                    <a:pt x="282058" y="36617"/>
                    <a:pt x="285301" y="37160"/>
                    <a:pt x="288436" y="38100"/>
                  </a:cubicBezTo>
                  <a:cubicBezTo>
                    <a:pt x="293244" y="39543"/>
                    <a:pt x="302723" y="42862"/>
                    <a:pt x="302723" y="42862"/>
                  </a:cubicBezTo>
                  <a:cubicBezTo>
                    <a:pt x="305104" y="44450"/>
                    <a:pt x="307843" y="45601"/>
                    <a:pt x="309867" y="47625"/>
                  </a:cubicBezTo>
                  <a:cubicBezTo>
                    <a:pt x="315527" y="53285"/>
                    <a:pt x="317035" y="61984"/>
                    <a:pt x="319392" y="69056"/>
                  </a:cubicBezTo>
                  <a:cubicBezTo>
                    <a:pt x="319392" y="69057"/>
                    <a:pt x="324153" y="83342"/>
                    <a:pt x="324154" y="83343"/>
                  </a:cubicBezTo>
                  <a:lnTo>
                    <a:pt x="328917" y="90487"/>
                  </a:lnTo>
                  <a:cubicBezTo>
                    <a:pt x="329711" y="92868"/>
                    <a:pt x="332230" y="95300"/>
                    <a:pt x="331298" y="97631"/>
                  </a:cubicBezTo>
                  <a:cubicBezTo>
                    <a:pt x="330235" y="100288"/>
                    <a:pt x="326178" y="100369"/>
                    <a:pt x="324154" y="102393"/>
                  </a:cubicBezTo>
                  <a:cubicBezTo>
                    <a:pt x="322130" y="104417"/>
                    <a:pt x="320979" y="107156"/>
                    <a:pt x="319392" y="109537"/>
                  </a:cubicBezTo>
                  <a:cubicBezTo>
                    <a:pt x="320186" y="112712"/>
                    <a:pt x="319958" y="116339"/>
                    <a:pt x="321773" y="119062"/>
                  </a:cubicBezTo>
                  <a:cubicBezTo>
                    <a:pt x="323361" y="121443"/>
                    <a:pt x="327400" y="121398"/>
                    <a:pt x="328917" y="123825"/>
                  </a:cubicBezTo>
                  <a:cubicBezTo>
                    <a:pt x="331578" y="128082"/>
                    <a:pt x="333282" y="131762"/>
                    <a:pt x="333679" y="138112"/>
                  </a:cubicBezTo>
                  <a:cubicBezTo>
                    <a:pt x="334076" y="144462"/>
                    <a:pt x="335267" y="156369"/>
                    <a:pt x="331298" y="161925"/>
                  </a:cubicBezTo>
                  <a:cubicBezTo>
                    <a:pt x="327329" y="167481"/>
                    <a:pt x="313836" y="168672"/>
                    <a:pt x="309867" y="171450"/>
                  </a:cubicBezTo>
                  <a:cubicBezTo>
                    <a:pt x="305898" y="174228"/>
                    <a:pt x="308095" y="176158"/>
                    <a:pt x="307486" y="178593"/>
                  </a:cubicBezTo>
                  <a:cubicBezTo>
                    <a:pt x="306155" y="183914"/>
                    <a:pt x="302658" y="198932"/>
                    <a:pt x="300342" y="202406"/>
                  </a:cubicBezTo>
                  <a:lnTo>
                    <a:pt x="295579" y="209550"/>
                  </a:lnTo>
                  <a:cubicBezTo>
                    <a:pt x="292404" y="208756"/>
                    <a:pt x="289201" y="208067"/>
                    <a:pt x="286054" y="207168"/>
                  </a:cubicBezTo>
                  <a:cubicBezTo>
                    <a:pt x="272145" y="203193"/>
                    <a:pt x="275736" y="203200"/>
                    <a:pt x="269386" y="202406"/>
                  </a:cubicBezTo>
                  <a:cubicBezTo>
                    <a:pt x="263036" y="201612"/>
                    <a:pt x="260716" y="206662"/>
                    <a:pt x="247954" y="202406"/>
                  </a:cubicBezTo>
                  <a:cubicBezTo>
                    <a:pt x="234923" y="211094"/>
                    <a:pt x="231285" y="203993"/>
                    <a:pt x="226523" y="204787"/>
                  </a:cubicBezTo>
                  <a:cubicBezTo>
                    <a:pt x="221761" y="205581"/>
                    <a:pt x="222554" y="203199"/>
                    <a:pt x="219379" y="207168"/>
                  </a:cubicBezTo>
                  <a:cubicBezTo>
                    <a:pt x="216204" y="211137"/>
                    <a:pt x="210648" y="223838"/>
                    <a:pt x="207473" y="228600"/>
                  </a:cubicBezTo>
                  <a:cubicBezTo>
                    <a:pt x="204298" y="233362"/>
                    <a:pt x="202197" y="232941"/>
                    <a:pt x="200329" y="235743"/>
                  </a:cubicBezTo>
                  <a:cubicBezTo>
                    <a:pt x="197132" y="240538"/>
                    <a:pt x="199238" y="246573"/>
                    <a:pt x="193186" y="250031"/>
                  </a:cubicBezTo>
                  <a:cubicBezTo>
                    <a:pt x="189672" y="252039"/>
                    <a:pt x="185248" y="251618"/>
                    <a:pt x="181279" y="252412"/>
                  </a:cubicBezTo>
                  <a:cubicBezTo>
                    <a:pt x="178501" y="256580"/>
                    <a:pt x="175327" y="263326"/>
                    <a:pt x="169373" y="264318"/>
                  </a:cubicBezTo>
                  <a:cubicBezTo>
                    <a:pt x="166897" y="264731"/>
                    <a:pt x="164690" y="262429"/>
                    <a:pt x="162229" y="261937"/>
                  </a:cubicBezTo>
                  <a:cubicBezTo>
                    <a:pt x="156726" y="260836"/>
                    <a:pt x="151117" y="260350"/>
                    <a:pt x="145561" y="259556"/>
                  </a:cubicBezTo>
                  <a:cubicBezTo>
                    <a:pt x="129475" y="264917"/>
                    <a:pt x="146910" y="257482"/>
                    <a:pt x="133654" y="269081"/>
                  </a:cubicBezTo>
                  <a:cubicBezTo>
                    <a:pt x="123635" y="277847"/>
                    <a:pt x="118838" y="278818"/>
                    <a:pt x="107461" y="283368"/>
                  </a:cubicBezTo>
                  <a:cubicBezTo>
                    <a:pt x="104286" y="282574"/>
                    <a:pt x="101083" y="281886"/>
                    <a:pt x="97936" y="280987"/>
                  </a:cubicBezTo>
                  <a:cubicBezTo>
                    <a:pt x="95522" y="280297"/>
                    <a:pt x="93302" y="278606"/>
                    <a:pt x="90792" y="278606"/>
                  </a:cubicBezTo>
                  <a:cubicBezTo>
                    <a:pt x="88282" y="278606"/>
                    <a:pt x="86029" y="280193"/>
                    <a:pt x="83648" y="280987"/>
                  </a:cubicBezTo>
                  <a:cubicBezTo>
                    <a:pt x="81267" y="280193"/>
                    <a:pt x="78279" y="280381"/>
                    <a:pt x="76504" y="278606"/>
                  </a:cubicBezTo>
                  <a:cubicBezTo>
                    <a:pt x="74729" y="276831"/>
                    <a:pt x="76166" y="272921"/>
                    <a:pt x="74123" y="271462"/>
                  </a:cubicBezTo>
                  <a:cubicBezTo>
                    <a:pt x="70038" y="268544"/>
                    <a:pt x="59836" y="266700"/>
                    <a:pt x="59836" y="266700"/>
                  </a:cubicBezTo>
                  <a:cubicBezTo>
                    <a:pt x="57455" y="267494"/>
                    <a:pt x="54467" y="267306"/>
                    <a:pt x="52692" y="269081"/>
                  </a:cubicBezTo>
                  <a:cubicBezTo>
                    <a:pt x="44755" y="277018"/>
                    <a:pt x="57455" y="278607"/>
                    <a:pt x="43167" y="273843"/>
                  </a:cubicBezTo>
                  <a:cubicBezTo>
                    <a:pt x="38976" y="261270"/>
                    <a:pt x="42178" y="268787"/>
                    <a:pt x="31261" y="252412"/>
                  </a:cubicBezTo>
                  <a:cubicBezTo>
                    <a:pt x="29673" y="250031"/>
                    <a:pt x="28879" y="246855"/>
                    <a:pt x="26498" y="245268"/>
                  </a:cubicBezTo>
                  <a:lnTo>
                    <a:pt x="19354" y="240506"/>
                  </a:lnTo>
                  <a:cubicBezTo>
                    <a:pt x="18560" y="238125"/>
                    <a:pt x="17465" y="235823"/>
                    <a:pt x="16973" y="233362"/>
                  </a:cubicBezTo>
                  <a:cubicBezTo>
                    <a:pt x="15360" y="225295"/>
                    <a:pt x="15236" y="215233"/>
                    <a:pt x="12211" y="207168"/>
                  </a:cubicBezTo>
                  <a:cubicBezTo>
                    <a:pt x="10965" y="203844"/>
                    <a:pt x="9036" y="200818"/>
                    <a:pt x="7448" y="197643"/>
                  </a:cubicBezTo>
                  <a:cubicBezTo>
                    <a:pt x="9829" y="196849"/>
                    <a:pt x="14100" y="197723"/>
                    <a:pt x="14592" y="195262"/>
                  </a:cubicBezTo>
                  <a:cubicBezTo>
                    <a:pt x="16014" y="188154"/>
                    <a:pt x="6765" y="183695"/>
                    <a:pt x="2686" y="180975"/>
                  </a:cubicBezTo>
                  <a:cubicBezTo>
                    <a:pt x="-1941" y="162474"/>
                    <a:pt x="323" y="175971"/>
                    <a:pt x="2686" y="145256"/>
                  </a:cubicBezTo>
                  <a:cubicBezTo>
                    <a:pt x="3601" y="133358"/>
                    <a:pt x="4273" y="121443"/>
                    <a:pt x="5067" y="109537"/>
                  </a:cubicBezTo>
                  <a:cubicBezTo>
                    <a:pt x="2375" y="96074"/>
                    <a:pt x="-92" y="115887"/>
                    <a:pt x="2686" y="116681"/>
                  </a:cubicBezTo>
                  <a:close/>
                </a:path>
              </a:pathLst>
            </a:custGeom>
            <a:solidFill>
              <a:schemeClr val="bg1">
                <a:lumMod val="85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nvGrpSpPr>
            <p:cNvPr id="326" name="Group 325">
              <a:extLst>
                <a:ext uri="{FF2B5EF4-FFF2-40B4-BE49-F238E27FC236}">
                  <a16:creationId xmlns:a16="http://schemas.microsoft.com/office/drawing/2014/main" id="{91CF50D3-17AF-4DA8-B701-F70169519C5F}"/>
                </a:ext>
              </a:extLst>
            </p:cNvPr>
            <p:cNvGrpSpPr/>
            <p:nvPr/>
          </p:nvGrpSpPr>
          <p:grpSpPr>
            <a:xfrm>
              <a:off x="6827778" y="2764994"/>
              <a:ext cx="731910" cy="557750"/>
              <a:chOff x="4095748" y="3164144"/>
              <a:chExt cx="731910" cy="557750"/>
            </a:xfrm>
            <a:solidFill>
              <a:srgbClr val="003399"/>
            </a:solidFill>
          </p:grpSpPr>
          <p:sp>
            <p:nvSpPr>
              <p:cNvPr id="826" name="Freeform: Shape 825">
                <a:extLst>
                  <a:ext uri="{FF2B5EF4-FFF2-40B4-BE49-F238E27FC236}">
                    <a16:creationId xmlns:a16="http://schemas.microsoft.com/office/drawing/2014/main" id="{23E3B5C4-A30E-4670-9E7A-C41AD5762AA6}"/>
                  </a:ext>
                </a:extLst>
              </p:cNvPr>
              <p:cNvSpPr/>
              <p:nvPr/>
            </p:nvSpPr>
            <p:spPr>
              <a:xfrm>
                <a:off x="4095748" y="3164144"/>
                <a:ext cx="283371" cy="524412"/>
              </a:xfrm>
              <a:custGeom>
                <a:avLst/>
                <a:gdLst>
                  <a:gd name="connsiteX0" fmla="*/ 250033 w 283371"/>
                  <a:gd name="connsiteY0" fmla="*/ 537 h 524412"/>
                  <a:gd name="connsiteX1" fmla="*/ 238127 w 283371"/>
                  <a:gd name="connsiteY1" fmla="*/ 10062 h 524412"/>
                  <a:gd name="connsiteX2" fmla="*/ 226221 w 283371"/>
                  <a:gd name="connsiteY2" fmla="*/ 21969 h 524412"/>
                  <a:gd name="connsiteX3" fmla="*/ 223840 w 283371"/>
                  <a:gd name="connsiteY3" fmla="*/ 29112 h 524412"/>
                  <a:gd name="connsiteX4" fmla="*/ 233365 w 283371"/>
                  <a:gd name="connsiteY4" fmla="*/ 48162 h 524412"/>
                  <a:gd name="connsiteX5" fmla="*/ 240508 w 283371"/>
                  <a:gd name="connsiteY5" fmla="*/ 50544 h 524412"/>
                  <a:gd name="connsiteX6" fmla="*/ 242890 w 283371"/>
                  <a:gd name="connsiteY6" fmla="*/ 67212 h 524412"/>
                  <a:gd name="connsiteX7" fmla="*/ 247652 w 283371"/>
                  <a:gd name="connsiteY7" fmla="*/ 91025 h 524412"/>
                  <a:gd name="connsiteX8" fmla="*/ 240508 w 283371"/>
                  <a:gd name="connsiteY8" fmla="*/ 95787 h 524412"/>
                  <a:gd name="connsiteX9" fmla="*/ 233365 w 283371"/>
                  <a:gd name="connsiteY9" fmla="*/ 93406 h 524412"/>
                  <a:gd name="connsiteX10" fmla="*/ 226221 w 283371"/>
                  <a:gd name="connsiteY10" fmla="*/ 95787 h 524412"/>
                  <a:gd name="connsiteX11" fmla="*/ 223840 w 283371"/>
                  <a:gd name="connsiteY11" fmla="*/ 112456 h 524412"/>
                  <a:gd name="connsiteX12" fmla="*/ 219077 w 283371"/>
                  <a:gd name="connsiteY12" fmla="*/ 119600 h 524412"/>
                  <a:gd name="connsiteX13" fmla="*/ 216696 w 283371"/>
                  <a:gd name="connsiteY13" fmla="*/ 126744 h 524412"/>
                  <a:gd name="connsiteX14" fmla="*/ 197646 w 283371"/>
                  <a:gd name="connsiteY14" fmla="*/ 121981 h 524412"/>
                  <a:gd name="connsiteX15" fmla="*/ 200027 w 283371"/>
                  <a:gd name="connsiteY15" fmla="*/ 129125 h 524412"/>
                  <a:gd name="connsiteX16" fmla="*/ 209552 w 283371"/>
                  <a:gd name="connsiteY16" fmla="*/ 143412 h 524412"/>
                  <a:gd name="connsiteX17" fmla="*/ 207171 w 283371"/>
                  <a:gd name="connsiteY17" fmla="*/ 174369 h 524412"/>
                  <a:gd name="connsiteX18" fmla="*/ 178596 w 283371"/>
                  <a:gd name="connsiteY18" fmla="*/ 188656 h 524412"/>
                  <a:gd name="connsiteX19" fmla="*/ 183358 w 283371"/>
                  <a:gd name="connsiteY19" fmla="*/ 188656 h 524412"/>
                  <a:gd name="connsiteX20" fmla="*/ 211933 w 283371"/>
                  <a:gd name="connsiteY20" fmla="*/ 186275 h 524412"/>
                  <a:gd name="connsiteX21" fmla="*/ 216696 w 283371"/>
                  <a:gd name="connsiteY21" fmla="*/ 193419 h 524412"/>
                  <a:gd name="connsiteX22" fmla="*/ 211933 w 283371"/>
                  <a:gd name="connsiteY22" fmla="*/ 210087 h 524412"/>
                  <a:gd name="connsiteX23" fmla="*/ 207171 w 283371"/>
                  <a:gd name="connsiteY23" fmla="*/ 217231 h 524412"/>
                  <a:gd name="connsiteX24" fmla="*/ 200027 w 283371"/>
                  <a:gd name="connsiteY24" fmla="*/ 224375 h 524412"/>
                  <a:gd name="connsiteX25" fmla="*/ 209552 w 283371"/>
                  <a:gd name="connsiteY25" fmla="*/ 219612 h 524412"/>
                  <a:gd name="connsiteX26" fmla="*/ 223840 w 283371"/>
                  <a:gd name="connsiteY26" fmla="*/ 214850 h 524412"/>
                  <a:gd name="connsiteX27" fmla="*/ 226221 w 283371"/>
                  <a:gd name="connsiteY27" fmla="*/ 207706 h 524412"/>
                  <a:gd name="connsiteX28" fmla="*/ 233365 w 283371"/>
                  <a:gd name="connsiteY28" fmla="*/ 202944 h 524412"/>
                  <a:gd name="connsiteX29" fmla="*/ 235746 w 283371"/>
                  <a:gd name="connsiteY29" fmla="*/ 217231 h 524412"/>
                  <a:gd name="connsiteX30" fmla="*/ 238127 w 283371"/>
                  <a:gd name="connsiteY30" fmla="*/ 224375 h 524412"/>
                  <a:gd name="connsiteX31" fmla="*/ 245271 w 283371"/>
                  <a:gd name="connsiteY31" fmla="*/ 226756 h 524412"/>
                  <a:gd name="connsiteX32" fmla="*/ 259558 w 283371"/>
                  <a:gd name="connsiteY32" fmla="*/ 221994 h 524412"/>
                  <a:gd name="connsiteX33" fmla="*/ 266702 w 283371"/>
                  <a:gd name="connsiteY33" fmla="*/ 219612 h 524412"/>
                  <a:gd name="connsiteX34" fmla="*/ 269083 w 283371"/>
                  <a:gd name="connsiteY34" fmla="*/ 226756 h 524412"/>
                  <a:gd name="connsiteX35" fmla="*/ 283371 w 283371"/>
                  <a:gd name="connsiteY35" fmla="*/ 233900 h 524412"/>
                  <a:gd name="connsiteX36" fmla="*/ 278608 w 283371"/>
                  <a:gd name="connsiteY36" fmla="*/ 241044 h 524412"/>
                  <a:gd name="connsiteX37" fmla="*/ 271465 w 283371"/>
                  <a:gd name="connsiteY37" fmla="*/ 255331 h 524412"/>
                  <a:gd name="connsiteX38" fmla="*/ 269083 w 283371"/>
                  <a:gd name="connsiteY38" fmla="*/ 264856 h 524412"/>
                  <a:gd name="connsiteX39" fmla="*/ 273846 w 283371"/>
                  <a:gd name="connsiteY39" fmla="*/ 279144 h 524412"/>
                  <a:gd name="connsiteX40" fmla="*/ 259558 w 283371"/>
                  <a:gd name="connsiteY40" fmla="*/ 269619 h 524412"/>
                  <a:gd name="connsiteX41" fmla="*/ 257177 w 283371"/>
                  <a:gd name="connsiteY41" fmla="*/ 276762 h 524412"/>
                  <a:gd name="connsiteX42" fmla="*/ 254796 w 283371"/>
                  <a:gd name="connsiteY42" fmla="*/ 293431 h 524412"/>
                  <a:gd name="connsiteX43" fmla="*/ 247652 w 283371"/>
                  <a:gd name="connsiteY43" fmla="*/ 288669 h 524412"/>
                  <a:gd name="connsiteX44" fmla="*/ 238127 w 283371"/>
                  <a:gd name="connsiteY44" fmla="*/ 274381 h 524412"/>
                  <a:gd name="connsiteX45" fmla="*/ 235746 w 283371"/>
                  <a:gd name="connsiteY45" fmla="*/ 267237 h 524412"/>
                  <a:gd name="connsiteX46" fmla="*/ 228602 w 283371"/>
                  <a:gd name="connsiteY46" fmla="*/ 264856 h 524412"/>
                  <a:gd name="connsiteX47" fmla="*/ 223840 w 283371"/>
                  <a:gd name="connsiteY47" fmla="*/ 274381 h 524412"/>
                  <a:gd name="connsiteX48" fmla="*/ 221458 w 283371"/>
                  <a:gd name="connsiteY48" fmla="*/ 281525 h 524412"/>
                  <a:gd name="connsiteX49" fmla="*/ 228602 w 283371"/>
                  <a:gd name="connsiteY49" fmla="*/ 283906 h 524412"/>
                  <a:gd name="connsiteX50" fmla="*/ 233365 w 283371"/>
                  <a:gd name="connsiteY50" fmla="*/ 298194 h 524412"/>
                  <a:gd name="connsiteX51" fmla="*/ 230983 w 283371"/>
                  <a:gd name="connsiteY51" fmla="*/ 305337 h 524412"/>
                  <a:gd name="connsiteX52" fmla="*/ 238127 w 283371"/>
                  <a:gd name="connsiteY52" fmla="*/ 319625 h 524412"/>
                  <a:gd name="connsiteX53" fmla="*/ 240508 w 283371"/>
                  <a:gd name="connsiteY53" fmla="*/ 326769 h 524412"/>
                  <a:gd name="connsiteX54" fmla="*/ 228602 w 283371"/>
                  <a:gd name="connsiteY54" fmla="*/ 338675 h 524412"/>
                  <a:gd name="connsiteX55" fmla="*/ 223840 w 283371"/>
                  <a:gd name="connsiteY55" fmla="*/ 331531 h 524412"/>
                  <a:gd name="connsiteX56" fmla="*/ 209552 w 283371"/>
                  <a:gd name="connsiteY56" fmla="*/ 326769 h 524412"/>
                  <a:gd name="connsiteX57" fmla="*/ 202408 w 283371"/>
                  <a:gd name="connsiteY57" fmla="*/ 329150 h 524412"/>
                  <a:gd name="connsiteX58" fmla="*/ 214315 w 283371"/>
                  <a:gd name="connsiteY58" fmla="*/ 338675 h 524412"/>
                  <a:gd name="connsiteX59" fmla="*/ 219077 w 283371"/>
                  <a:gd name="connsiteY59" fmla="*/ 345819 h 524412"/>
                  <a:gd name="connsiteX60" fmla="*/ 211933 w 283371"/>
                  <a:gd name="connsiteY60" fmla="*/ 352962 h 524412"/>
                  <a:gd name="connsiteX61" fmla="*/ 197646 w 283371"/>
                  <a:gd name="connsiteY61" fmla="*/ 360106 h 524412"/>
                  <a:gd name="connsiteX62" fmla="*/ 183358 w 283371"/>
                  <a:gd name="connsiteY62" fmla="*/ 362487 h 524412"/>
                  <a:gd name="connsiteX63" fmla="*/ 157165 w 283371"/>
                  <a:gd name="connsiteY63" fmla="*/ 364869 h 524412"/>
                  <a:gd name="connsiteX64" fmla="*/ 154783 w 283371"/>
                  <a:gd name="connsiteY64" fmla="*/ 381537 h 524412"/>
                  <a:gd name="connsiteX65" fmla="*/ 147640 w 283371"/>
                  <a:gd name="connsiteY65" fmla="*/ 388681 h 524412"/>
                  <a:gd name="connsiteX66" fmla="*/ 142877 w 283371"/>
                  <a:gd name="connsiteY66" fmla="*/ 398206 h 524412"/>
                  <a:gd name="connsiteX67" fmla="*/ 138115 w 283371"/>
                  <a:gd name="connsiteY67" fmla="*/ 405350 h 524412"/>
                  <a:gd name="connsiteX68" fmla="*/ 142877 w 283371"/>
                  <a:gd name="connsiteY68" fmla="*/ 412494 h 524412"/>
                  <a:gd name="connsiteX69" fmla="*/ 145258 w 283371"/>
                  <a:gd name="connsiteY69" fmla="*/ 419637 h 524412"/>
                  <a:gd name="connsiteX70" fmla="*/ 152402 w 283371"/>
                  <a:gd name="connsiteY70" fmla="*/ 426781 h 524412"/>
                  <a:gd name="connsiteX71" fmla="*/ 154783 w 283371"/>
                  <a:gd name="connsiteY71" fmla="*/ 433925 h 524412"/>
                  <a:gd name="connsiteX72" fmla="*/ 145258 w 283371"/>
                  <a:gd name="connsiteY72" fmla="*/ 445831 h 524412"/>
                  <a:gd name="connsiteX73" fmla="*/ 133352 w 283371"/>
                  <a:gd name="connsiteY73" fmla="*/ 460119 h 524412"/>
                  <a:gd name="connsiteX74" fmla="*/ 135733 w 283371"/>
                  <a:gd name="connsiteY74" fmla="*/ 472025 h 524412"/>
                  <a:gd name="connsiteX75" fmla="*/ 138115 w 283371"/>
                  <a:gd name="connsiteY75" fmla="*/ 479169 h 524412"/>
                  <a:gd name="connsiteX76" fmla="*/ 130971 w 283371"/>
                  <a:gd name="connsiteY76" fmla="*/ 486312 h 524412"/>
                  <a:gd name="connsiteX77" fmla="*/ 138115 w 283371"/>
                  <a:gd name="connsiteY77" fmla="*/ 488694 h 524412"/>
                  <a:gd name="connsiteX78" fmla="*/ 145258 w 283371"/>
                  <a:gd name="connsiteY78" fmla="*/ 481550 h 524412"/>
                  <a:gd name="connsiteX79" fmla="*/ 152402 w 283371"/>
                  <a:gd name="connsiteY79" fmla="*/ 479169 h 524412"/>
                  <a:gd name="connsiteX80" fmla="*/ 159546 w 283371"/>
                  <a:gd name="connsiteY80" fmla="*/ 483931 h 524412"/>
                  <a:gd name="connsiteX81" fmla="*/ 171452 w 283371"/>
                  <a:gd name="connsiteY81" fmla="*/ 486312 h 524412"/>
                  <a:gd name="connsiteX82" fmla="*/ 169071 w 283371"/>
                  <a:gd name="connsiteY82" fmla="*/ 479169 h 524412"/>
                  <a:gd name="connsiteX83" fmla="*/ 173833 w 283371"/>
                  <a:gd name="connsiteY83" fmla="*/ 472025 h 524412"/>
                  <a:gd name="connsiteX84" fmla="*/ 180977 w 283371"/>
                  <a:gd name="connsiteY84" fmla="*/ 476787 h 524412"/>
                  <a:gd name="connsiteX85" fmla="*/ 190502 w 283371"/>
                  <a:gd name="connsiteY85" fmla="*/ 479169 h 524412"/>
                  <a:gd name="connsiteX86" fmla="*/ 204790 w 283371"/>
                  <a:gd name="connsiteY86" fmla="*/ 488694 h 524412"/>
                  <a:gd name="connsiteX87" fmla="*/ 202408 w 283371"/>
                  <a:gd name="connsiteY87" fmla="*/ 500600 h 524412"/>
                  <a:gd name="connsiteX88" fmla="*/ 169071 w 283371"/>
                  <a:gd name="connsiteY88" fmla="*/ 507744 h 524412"/>
                  <a:gd name="connsiteX89" fmla="*/ 164308 w 283371"/>
                  <a:gd name="connsiteY89" fmla="*/ 514887 h 524412"/>
                  <a:gd name="connsiteX90" fmla="*/ 147640 w 283371"/>
                  <a:gd name="connsiteY90" fmla="*/ 524412 h 524412"/>
                  <a:gd name="connsiteX91" fmla="*/ 107158 w 283371"/>
                  <a:gd name="connsiteY91" fmla="*/ 517269 h 524412"/>
                  <a:gd name="connsiteX92" fmla="*/ 104777 w 283371"/>
                  <a:gd name="connsiteY92" fmla="*/ 510125 h 524412"/>
                  <a:gd name="connsiteX93" fmla="*/ 97633 w 283371"/>
                  <a:gd name="connsiteY93" fmla="*/ 507744 h 524412"/>
                  <a:gd name="connsiteX94" fmla="*/ 90490 w 283371"/>
                  <a:gd name="connsiteY94" fmla="*/ 502981 h 524412"/>
                  <a:gd name="connsiteX95" fmla="*/ 50008 w 283371"/>
                  <a:gd name="connsiteY95" fmla="*/ 495837 h 524412"/>
                  <a:gd name="connsiteX96" fmla="*/ 57152 w 283371"/>
                  <a:gd name="connsiteY96" fmla="*/ 493456 h 524412"/>
                  <a:gd name="connsiteX97" fmla="*/ 52390 w 283371"/>
                  <a:gd name="connsiteY97" fmla="*/ 462500 h 524412"/>
                  <a:gd name="connsiteX98" fmla="*/ 52390 w 283371"/>
                  <a:gd name="connsiteY98" fmla="*/ 414875 h 524412"/>
                  <a:gd name="connsiteX99" fmla="*/ 30958 w 283371"/>
                  <a:gd name="connsiteY99" fmla="*/ 402969 h 524412"/>
                  <a:gd name="connsiteX100" fmla="*/ 23815 w 283371"/>
                  <a:gd name="connsiteY100" fmla="*/ 400587 h 524412"/>
                  <a:gd name="connsiteX101" fmla="*/ 19052 w 283371"/>
                  <a:gd name="connsiteY101" fmla="*/ 407731 h 524412"/>
                  <a:gd name="connsiteX102" fmla="*/ 14290 w 283371"/>
                  <a:gd name="connsiteY102" fmla="*/ 400587 h 524412"/>
                  <a:gd name="connsiteX103" fmla="*/ 2 w 283371"/>
                  <a:gd name="connsiteY103" fmla="*/ 388681 h 524412"/>
                  <a:gd name="connsiteX104" fmla="*/ 2383 w 283371"/>
                  <a:gd name="connsiteY104" fmla="*/ 376775 h 524412"/>
                  <a:gd name="connsiteX105" fmla="*/ 4765 w 283371"/>
                  <a:gd name="connsiteY105" fmla="*/ 362487 h 524412"/>
                  <a:gd name="connsiteX106" fmla="*/ 7146 w 283371"/>
                  <a:gd name="connsiteY106" fmla="*/ 355344 h 524412"/>
                  <a:gd name="connsiteX107" fmla="*/ 4765 w 283371"/>
                  <a:gd name="connsiteY107" fmla="*/ 338675 h 524412"/>
                  <a:gd name="connsiteX108" fmla="*/ 2383 w 283371"/>
                  <a:gd name="connsiteY108" fmla="*/ 331531 h 524412"/>
                  <a:gd name="connsiteX109" fmla="*/ 2 w 283371"/>
                  <a:gd name="connsiteY109" fmla="*/ 283906 h 524412"/>
                  <a:gd name="connsiteX110" fmla="*/ 2383 w 283371"/>
                  <a:gd name="connsiteY110" fmla="*/ 317244 h 524412"/>
                  <a:gd name="connsiteX111" fmla="*/ 9527 w 283371"/>
                  <a:gd name="connsiteY111" fmla="*/ 324387 h 524412"/>
                  <a:gd name="connsiteX112" fmla="*/ 23815 w 283371"/>
                  <a:gd name="connsiteY112" fmla="*/ 312481 h 524412"/>
                  <a:gd name="connsiteX113" fmla="*/ 19052 w 283371"/>
                  <a:gd name="connsiteY113" fmla="*/ 305337 h 524412"/>
                  <a:gd name="connsiteX114" fmla="*/ 9527 w 283371"/>
                  <a:gd name="connsiteY114" fmla="*/ 293431 h 524412"/>
                  <a:gd name="connsiteX115" fmla="*/ 2 w 283371"/>
                  <a:gd name="connsiteY115" fmla="*/ 295812 h 524412"/>
                  <a:gd name="connsiteX116" fmla="*/ 2383 w 283371"/>
                  <a:gd name="connsiteY116" fmla="*/ 260094 h 524412"/>
                  <a:gd name="connsiteX117" fmla="*/ 9527 w 283371"/>
                  <a:gd name="connsiteY117" fmla="*/ 198181 h 524412"/>
                  <a:gd name="connsiteX118" fmla="*/ 14290 w 283371"/>
                  <a:gd name="connsiteY118" fmla="*/ 191037 h 524412"/>
                  <a:gd name="connsiteX119" fmla="*/ 19052 w 283371"/>
                  <a:gd name="connsiteY119" fmla="*/ 210087 h 524412"/>
                  <a:gd name="connsiteX120" fmla="*/ 30958 w 283371"/>
                  <a:gd name="connsiteY120" fmla="*/ 207706 h 524412"/>
                  <a:gd name="connsiteX121" fmla="*/ 21433 w 283371"/>
                  <a:gd name="connsiteY121" fmla="*/ 193419 h 524412"/>
                  <a:gd name="connsiteX122" fmla="*/ 16671 w 283371"/>
                  <a:gd name="connsiteY122" fmla="*/ 186275 h 524412"/>
                  <a:gd name="connsiteX123" fmla="*/ 11908 w 283371"/>
                  <a:gd name="connsiteY123" fmla="*/ 171987 h 524412"/>
                  <a:gd name="connsiteX124" fmla="*/ 21433 w 283371"/>
                  <a:gd name="connsiteY124" fmla="*/ 143412 h 524412"/>
                  <a:gd name="connsiteX125" fmla="*/ 28577 w 283371"/>
                  <a:gd name="connsiteY125" fmla="*/ 138650 h 524412"/>
                  <a:gd name="connsiteX126" fmla="*/ 35721 w 283371"/>
                  <a:gd name="connsiteY126" fmla="*/ 136269 h 524412"/>
                  <a:gd name="connsiteX127" fmla="*/ 40483 w 283371"/>
                  <a:gd name="connsiteY127" fmla="*/ 129125 h 524412"/>
                  <a:gd name="connsiteX128" fmla="*/ 47627 w 283371"/>
                  <a:gd name="connsiteY128" fmla="*/ 126744 h 524412"/>
                  <a:gd name="connsiteX129" fmla="*/ 54771 w 283371"/>
                  <a:gd name="connsiteY129" fmla="*/ 121981 h 524412"/>
                  <a:gd name="connsiteX130" fmla="*/ 76202 w 283371"/>
                  <a:gd name="connsiteY130" fmla="*/ 117219 h 524412"/>
                  <a:gd name="connsiteX131" fmla="*/ 97633 w 283371"/>
                  <a:gd name="connsiteY131" fmla="*/ 110075 h 524412"/>
                  <a:gd name="connsiteX132" fmla="*/ 111921 w 283371"/>
                  <a:gd name="connsiteY132" fmla="*/ 105312 h 524412"/>
                  <a:gd name="connsiteX133" fmla="*/ 128590 w 283371"/>
                  <a:gd name="connsiteY133" fmla="*/ 98169 h 524412"/>
                  <a:gd name="connsiteX134" fmla="*/ 142877 w 283371"/>
                  <a:gd name="connsiteY134" fmla="*/ 88644 h 524412"/>
                  <a:gd name="connsiteX135" fmla="*/ 145258 w 283371"/>
                  <a:gd name="connsiteY135" fmla="*/ 81500 h 524412"/>
                  <a:gd name="connsiteX136" fmla="*/ 159546 w 283371"/>
                  <a:gd name="connsiteY136" fmla="*/ 69594 h 524412"/>
                  <a:gd name="connsiteX137" fmla="*/ 169071 w 283371"/>
                  <a:gd name="connsiteY137" fmla="*/ 55306 h 524412"/>
                  <a:gd name="connsiteX138" fmla="*/ 176215 w 283371"/>
                  <a:gd name="connsiteY138" fmla="*/ 41019 h 524412"/>
                  <a:gd name="connsiteX139" fmla="*/ 185740 w 283371"/>
                  <a:gd name="connsiteY139" fmla="*/ 33875 h 524412"/>
                  <a:gd name="connsiteX140" fmla="*/ 195265 w 283371"/>
                  <a:gd name="connsiteY140" fmla="*/ 31494 h 524412"/>
                  <a:gd name="connsiteX141" fmla="*/ 202408 w 283371"/>
                  <a:gd name="connsiteY141" fmla="*/ 29112 h 524412"/>
                  <a:gd name="connsiteX142" fmla="*/ 216696 w 283371"/>
                  <a:gd name="connsiteY142" fmla="*/ 21969 h 524412"/>
                  <a:gd name="connsiteX143" fmla="*/ 238127 w 283371"/>
                  <a:gd name="connsiteY143" fmla="*/ 12444 h 524412"/>
                  <a:gd name="connsiteX144" fmla="*/ 245271 w 283371"/>
                  <a:gd name="connsiteY144" fmla="*/ 10062 h 524412"/>
                  <a:gd name="connsiteX145" fmla="*/ 238127 w 283371"/>
                  <a:gd name="connsiteY145" fmla="*/ 14825 h 524412"/>
                  <a:gd name="connsiteX146" fmla="*/ 221458 w 283371"/>
                  <a:gd name="connsiteY146" fmla="*/ 19587 h 524412"/>
                  <a:gd name="connsiteX147" fmla="*/ 214315 w 283371"/>
                  <a:gd name="connsiteY147" fmla="*/ 21969 h 524412"/>
                  <a:gd name="connsiteX148" fmla="*/ 197646 w 283371"/>
                  <a:gd name="connsiteY148" fmla="*/ 26731 h 524412"/>
                  <a:gd name="connsiteX149" fmla="*/ 192883 w 283371"/>
                  <a:gd name="connsiteY149" fmla="*/ 33875 h 524412"/>
                  <a:gd name="connsiteX150" fmla="*/ 188121 w 283371"/>
                  <a:gd name="connsiteY150" fmla="*/ 48162 h 524412"/>
                  <a:gd name="connsiteX151" fmla="*/ 180977 w 283371"/>
                  <a:gd name="connsiteY151" fmla="*/ 50544 h 524412"/>
                  <a:gd name="connsiteX152" fmla="*/ 166690 w 283371"/>
                  <a:gd name="connsiteY152" fmla="*/ 60069 h 524412"/>
                  <a:gd name="connsiteX153" fmla="*/ 161927 w 283371"/>
                  <a:gd name="connsiteY153" fmla="*/ 67212 h 524412"/>
                  <a:gd name="connsiteX154" fmla="*/ 157165 w 283371"/>
                  <a:gd name="connsiteY154" fmla="*/ 76737 h 524412"/>
                  <a:gd name="connsiteX155" fmla="*/ 150021 w 283371"/>
                  <a:gd name="connsiteY155" fmla="*/ 81500 h 524412"/>
                  <a:gd name="connsiteX156" fmla="*/ 147640 w 283371"/>
                  <a:gd name="connsiteY156" fmla="*/ 88644 h 524412"/>
                  <a:gd name="connsiteX157" fmla="*/ 140496 w 283371"/>
                  <a:gd name="connsiteY157" fmla="*/ 93406 h 524412"/>
                  <a:gd name="connsiteX158" fmla="*/ 133352 w 283371"/>
                  <a:gd name="connsiteY158" fmla="*/ 100550 h 524412"/>
                  <a:gd name="connsiteX159" fmla="*/ 119065 w 283371"/>
                  <a:gd name="connsiteY159" fmla="*/ 114837 h 524412"/>
                  <a:gd name="connsiteX160" fmla="*/ 121446 w 283371"/>
                  <a:gd name="connsiteY160" fmla="*/ 121981 h 524412"/>
                  <a:gd name="connsiteX161" fmla="*/ 128590 w 283371"/>
                  <a:gd name="connsiteY161" fmla="*/ 124362 h 524412"/>
                  <a:gd name="connsiteX162" fmla="*/ 142877 w 283371"/>
                  <a:gd name="connsiteY162" fmla="*/ 126744 h 524412"/>
                  <a:gd name="connsiteX163" fmla="*/ 169071 w 283371"/>
                  <a:gd name="connsiteY163" fmla="*/ 124362 h 524412"/>
                  <a:gd name="connsiteX164" fmla="*/ 154783 w 283371"/>
                  <a:gd name="connsiteY164" fmla="*/ 129125 h 524412"/>
                  <a:gd name="connsiteX165" fmla="*/ 147640 w 283371"/>
                  <a:gd name="connsiteY165" fmla="*/ 131506 h 524412"/>
                  <a:gd name="connsiteX166" fmla="*/ 128590 w 283371"/>
                  <a:gd name="connsiteY166" fmla="*/ 136269 h 524412"/>
                  <a:gd name="connsiteX167" fmla="*/ 121446 w 283371"/>
                  <a:gd name="connsiteY167" fmla="*/ 138650 h 524412"/>
                  <a:gd name="connsiteX168" fmla="*/ 116683 w 283371"/>
                  <a:gd name="connsiteY168" fmla="*/ 145794 h 524412"/>
                  <a:gd name="connsiteX169" fmla="*/ 114302 w 283371"/>
                  <a:gd name="connsiteY169" fmla="*/ 155319 h 524412"/>
                  <a:gd name="connsiteX170" fmla="*/ 100015 w 283371"/>
                  <a:gd name="connsiteY170" fmla="*/ 164844 h 524412"/>
                  <a:gd name="connsiteX171" fmla="*/ 102396 w 283371"/>
                  <a:gd name="connsiteY171" fmla="*/ 171987 h 524412"/>
                  <a:gd name="connsiteX172" fmla="*/ 116683 w 283371"/>
                  <a:gd name="connsiteY172" fmla="*/ 179131 h 524412"/>
                  <a:gd name="connsiteX173" fmla="*/ 128590 w 283371"/>
                  <a:gd name="connsiteY173" fmla="*/ 191037 h 524412"/>
                  <a:gd name="connsiteX174" fmla="*/ 119065 w 283371"/>
                  <a:gd name="connsiteY174" fmla="*/ 193419 h 524412"/>
                  <a:gd name="connsiteX175" fmla="*/ 123827 w 283371"/>
                  <a:gd name="connsiteY175" fmla="*/ 207706 h 524412"/>
                  <a:gd name="connsiteX176" fmla="*/ 107158 w 283371"/>
                  <a:gd name="connsiteY176" fmla="*/ 205325 h 524412"/>
                  <a:gd name="connsiteX177" fmla="*/ 97633 w 283371"/>
                  <a:gd name="connsiteY177" fmla="*/ 176750 h 524412"/>
                  <a:gd name="connsiteX178" fmla="*/ 90490 w 283371"/>
                  <a:gd name="connsiteY178" fmla="*/ 174369 h 524412"/>
                  <a:gd name="connsiteX179" fmla="*/ 47627 w 283371"/>
                  <a:gd name="connsiteY179" fmla="*/ 179131 h 524412"/>
                  <a:gd name="connsiteX180" fmla="*/ 38102 w 283371"/>
                  <a:gd name="connsiteY180" fmla="*/ 181512 h 524412"/>
                  <a:gd name="connsiteX181" fmla="*/ 21433 w 283371"/>
                  <a:gd name="connsiteY181" fmla="*/ 183894 h 524412"/>
                  <a:gd name="connsiteX182" fmla="*/ 14290 w 283371"/>
                  <a:gd name="connsiteY182" fmla="*/ 186275 h 524412"/>
                  <a:gd name="connsiteX183" fmla="*/ 23815 w 283371"/>
                  <a:gd name="connsiteY183" fmla="*/ 195800 h 524412"/>
                  <a:gd name="connsiteX184" fmla="*/ 38102 w 283371"/>
                  <a:gd name="connsiteY184" fmla="*/ 193419 h 524412"/>
                  <a:gd name="connsiteX185" fmla="*/ 52390 w 283371"/>
                  <a:gd name="connsiteY185" fmla="*/ 188656 h 524412"/>
                  <a:gd name="connsiteX186" fmla="*/ 59533 w 283371"/>
                  <a:gd name="connsiteY186" fmla="*/ 191037 h 524412"/>
                  <a:gd name="connsiteX187" fmla="*/ 59533 w 283371"/>
                  <a:gd name="connsiteY187" fmla="*/ 214850 h 524412"/>
                  <a:gd name="connsiteX188" fmla="*/ 50008 w 283371"/>
                  <a:gd name="connsiteY188" fmla="*/ 219612 h 524412"/>
                  <a:gd name="connsiteX189" fmla="*/ 42865 w 283371"/>
                  <a:gd name="connsiteY189" fmla="*/ 217231 h 524412"/>
                  <a:gd name="connsiteX190" fmla="*/ 38102 w 283371"/>
                  <a:gd name="connsiteY190" fmla="*/ 210087 h 524412"/>
                  <a:gd name="connsiteX191" fmla="*/ 23815 w 283371"/>
                  <a:gd name="connsiteY191" fmla="*/ 205325 h 524412"/>
                  <a:gd name="connsiteX192" fmla="*/ 16671 w 283371"/>
                  <a:gd name="connsiteY192" fmla="*/ 202944 h 524412"/>
                  <a:gd name="connsiteX193" fmla="*/ 9527 w 283371"/>
                  <a:gd name="connsiteY193" fmla="*/ 188656 h 524412"/>
                  <a:gd name="connsiteX194" fmla="*/ 16671 w 283371"/>
                  <a:gd name="connsiteY194" fmla="*/ 183894 h 524412"/>
                  <a:gd name="connsiteX195" fmla="*/ 30958 w 283371"/>
                  <a:gd name="connsiteY195" fmla="*/ 188656 h 524412"/>
                  <a:gd name="connsiteX196" fmla="*/ 40483 w 283371"/>
                  <a:gd name="connsiteY196" fmla="*/ 174369 h 524412"/>
                  <a:gd name="connsiteX197" fmla="*/ 42865 w 283371"/>
                  <a:gd name="connsiteY197" fmla="*/ 167225 h 524412"/>
                  <a:gd name="connsiteX198" fmla="*/ 57152 w 283371"/>
                  <a:gd name="connsiteY198" fmla="*/ 160081 h 524412"/>
                  <a:gd name="connsiteX199" fmla="*/ 64296 w 283371"/>
                  <a:gd name="connsiteY199" fmla="*/ 152937 h 524412"/>
                  <a:gd name="connsiteX200" fmla="*/ 73821 w 283371"/>
                  <a:gd name="connsiteY200" fmla="*/ 162462 h 524412"/>
                  <a:gd name="connsiteX201" fmla="*/ 78583 w 283371"/>
                  <a:gd name="connsiteY201" fmla="*/ 136269 h 524412"/>
                  <a:gd name="connsiteX202" fmla="*/ 80965 w 283371"/>
                  <a:gd name="connsiteY202" fmla="*/ 126744 h 524412"/>
                  <a:gd name="connsiteX203" fmla="*/ 95252 w 283371"/>
                  <a:gd name="connsiteY203" fmla="*/ 117219 h 524412"/>
                  <a:gd name="connsiteX204" fmla="*/ 102396 w 283371"/>
                  <a:gd name="connsiteY204" fmla="*/ 110075 h 524412"/>
                  <a:gd name="connsiteX205" fmla="*/ 133352 w 283371"/>
                  <a:gd name="connsiteY205" fmla="*/ 102931 h 524412"/>
                  <a:gd name="connsiteX206" fmla="*/ 140496 w 283371"/>
                  <a:gd name="connsiteY206" fmla="*/ 98169 h 524412"/>
                  <a:gd name="connsiteX207" fmla="*/ 142877 w 283371"/>
                  <a:gd name="connsiteY207" fmla="*/ 91025 h 524412"/>
                  <a:gd name="connsiteX208" fmla="*/ 150021 w 283371"/>
                  <a:gd name="connsiteY208" fmla="*/ 83881 h 524412"/>
                  <a:gd name="connsiteX209" fmla="*/ 159546 w 283371"/>
                  <a:gd name="connsiteY209" fmla="*/ 67212 h 524412"/>
                  <a:gd name="connsiteX210" fmla="*/ 173833 w 283371"/>
                  <a:gd name="connsiteY210" fmla="*/ 57687 h 524412"/>
                  <a:gd name="connsiteX211" fmla="*/ 176215 w 283371"/>
                  <a:gd name="connsiteY211" fmla="*/ 45781 h 524412"/>
                  <a:gd name="connsiteX212" fmla="*/ 178596 w 283371"/>
                  <a:gd name="connsiteY212" fmla="*/ 38637 h 524412"/>
                  <a:gd name="connsiteX213" fmla="*/ 185740 w 283371"/>
                  <a:gd name="connsiteY213" fmla="*/ 36256 h 524412"/>
                  <a:gd name="connsiteX214" fmla="*/ 204790 w 283371"/>
                  <a:gd name="connsiteY214" fmla="*/ 33875 h 524412"/>
                  <a:gd name="connsiteX215" fmla="*/ 211933 w 283371"/>
                  <a:gd name="connsiteY215" fmla="*/ 31494 h 524412"/>
                  <a:gd name="connsiteX216" fmla="*/ 219077 w 283371"/>
                  <a:gd name="connsiteY216" fmla="*/ 26731 h 524412"/>
                  <a:gd name="connsiteX217" fmla="*/ 250033 w 283371"/>
                  <a:gd name="connsiteY217" fmla="*/ 537 h 524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283371" h="524412">
                    <a:moveTo>
                      <a:pt x="250033" y="537"/>
                    </a:moveTo>
                    <a:cubicBezTo>
                      <a:pt x="253208" y="-2241"/>
                      <a:pt x="241721" y="6468"/>
                      <a:pt x="238127" y="10062"/>
                    </a:cubicBezTo>
                    <a:cubicBezTo>
                      <a:pt x="222251" y="25939"/>
                      <a:pt x="245273" y="9266"/>
                      <a:pt x="226221" y="21969"/>
                    </a:cubicBezTo>
                    <a:cubicBezTo>
                      <a:pt x="225427" y="24350"/>
                      <a:pt x="223840" y="26602"/>
                      <a:pt x="223840" y="29112"/>
                    </a:cubicBezTo>
                    <a:cubicBezTo>
                      <a:pt x="223840" y="38286"/>
                      <a:pt x="225889" y="43178"/>
                      <a:pt x="233365" y="48162"/>
                    </a:cubicBezTo>
                    <a:cubicBezTo>
                      <a:pt x="235453" y="49554"/>
                      <a:pt x="238127" y="49750"/>
                      <a:pt x="240508" y="50544"/>
                    </a:cubicBezTo>
                    <a:cubicBezTo>
                      <a:pt x="250959" y="66216"/>
                      <a:pt x="241537" y="48270"/>
                      <a:pt x="242890" y="67212"/>
                    </a:cubicBezTo>
                    <a:cubicBezTo>
                      <a:pt x="243467" y="75286"/>
                      <a:pt x="247652" y="91025"/>
                      <a:pt x="247652" y="91025"/>
                    </a:cubicBezTo>
                    <a:cubicBezTo>
                      <a:pt x="243514" y="111717"/>
                      <a:pt x="248362" y="102070"/>
                      <a:pt x="240508" y="95787"/>
                    </a:cubicBezTo>
                    <a:cubicBezTo>
                      <a:pt x="238548" y="94219"/>
                      <a:pt x="235746" y="94200"/>
                      <a:pt x="233365" y="93406"/>
                    </a:cubicBezTo>
                    <a:cubicBezTo>
                      <a:pt x="230984" y="94200"/>
                      <a:pt x="227344" y="93542"/>
                      <a:pt x="226221" y="95787"/>
                    </a:cubicBezTo>
                    <a:cubicBezTo>
                      <a:pt x="223711" y="100807"/>
                      <a:pt x="225453" y="107080"/>
                      <a:pt x="223840" y="112456"/>
                    </a:cubicBezTo>
                    <a:cubicBezTo>
                      <a:pt x="223018" y="115197"/>
                      <a:pt x="220665" y="117219"/>
                      <a:pt x="219077" y="119600"/>
                    </a:cubicBezTo>
                    <a:cubicBezTo>
                      <a:pt x="218283" y="121981"/>
                      <a:pt x="219077" y="125950"/>
                      <a:pt x="216696" y="126744"/>
                    </a:cubicBezTo>
                    <a:cubicBezTo>
                      <a:pt x="213825" y="127701"/>
                      <a:pt x="201500" y="123265"/>
                      <a:pt x="197646" y="121981"/>
                    </a:cubicBezTo>
                    <a:cubicBezTo>
                      <a:pt x="198440" y="124362"/>
                      <a:pt x="198808" y="126931"/>
                      <a:pt x="200027" y="129125"/>
                    </a:cubicBezTo>
                    <a:cubicBezTo>
                      <a:pt x="202807" y="134128"/>
                      <a:pt x="209552" y="143412"/>
                      <a:pt x="209552" y="143412"/>
                    </a:cubicBezTo>
                    <a:cubicBezTo>
                      <a:pt x="208758" y="153731"/>
                      <a:pt x="211112" y="164799"/>
                      <a:pt x="207171" y="174369"/>
                    </a:cubicBezTo>
                    <a:cubicBezTo>
                      <a:pt x="204233" y="181503"/>
                      <a:pt x="184696" y="186623"/>
                      <a:pt x="178596" y="188656"/>
                    </a:cubicBezTo>
                    <a:cubicBezTo>
                      <a:pt x="167614" y="192316"/>
                      <a:pt x="168989" y="191530"/>
                      <a:pt x="183358" y="188656"/>
                    </a:cubicBezTo>
                    <a:cubicBezTo>
                      <a:pt x="194113" y="181487"/>
                      <a:pt x="193608" y="179611"/>
                      <a:pt x="211933" y="186275"/>
                    </a:cubicBezTo>
                    <a:cubicBezTo>
                      <a:pt x="214623" y="187253"/>
                      <a:pt x="215108" y="191038"/>
                      <a:pt x="216696" y="193419"/>
                    </a:cubicBezTo>
                    <a:cubicBezTo>
                      <a:pt x="215931" y="196479"/>
                      <a:pt x="213644" y="206665"/>
                      <a:pt x="211933" y="210087"/>
                    </a:cubicBezTo>
                    <a:cubicBezTo>
                      <a:pt x="210653" y="212647"/>
                      <a:pt x="209003" y="215032"/>
                      <a:pt x="207171" y="217231"/>
                    </a:cubicBezTo>
                    <a:cubicBezTo>
                      <a:pt x="205015" y="219818"/>
                      <a:pt x="197646" y="221994"/>
                      <a:pt x="200027" y="224375"/>
                    </a:cubicBezTo>
                    <a:cubicBezTo>
                      <a:pt x="202537" y="226885"/>
                      <a:pt x="206256" y="220930"/>
                      <a:pt x="209552" y="219612"/>
                    </a:cubicBezTo>
                    <a:cubicBezTo>
                      <a:pt x="214213" y="217748"/>
                      <a:pt x="223840" y="214850"/>
                      <a:pt x="223840" y="214850"/>
                    </a:cubicBezTo>
                    <a:cubicBezTo>
                      <a:pt x="224634" y="212469"/>
                      <a:pt x="224653" y="209666"/>
                      <a:pt x="226221" y="207706"/>
                    </a:cubicBezTo>
                    <a:cubicBezTo>
                      <a:pt x="228009" y="205471"/>
                      <a:pt x="231341" y="200920"/>
                      <a:pt x="233365" y="202944"/>
                    </a:cubicBezTo>
                    <a:cubicBezTo>
                      <a:pt x="236779" y="206358"/>
                      <a:pt x="234699" y="212518"/>
                      <a:pt x="235746" y="217231"/>
                    </a:cubicBezTo>
                    <a:cubicBezTo>
                      <a:pt x="236290" y="219681"/>
                      <a:pt x="236352" y="222600"/>
                      <a:pt x="238127" y="224375"/>
                    </a:cubicBezTo>
                    <a:cubicBezTo>
                      <a:pt x="239902" y="226150"/>
                      <a:pt x="242890" y="225962"/>
                      <a:pt x="245271" y="226756"/>
                    </a:cubicBezTo>
                    <a:lnTo>
                      <a:pt x="259558" y="221994"/>
                    </a:lnTo>
                    <a:lnTo>
                      <a:pt x="266702" y="219612"/>
                    </a:lnTo>
                    <a:cubicBezTo>
                      <a:pt x="267496" y="221993"/>
                      <a:pt x="267515" y="224796"/>
                      <a:pt x="269083" y="226756"/>
                    </a:cubicBezTo>
                    <a:cubicBezTo>
                      <a:pt x="272441" y="230953"/>
                      <a:pt x="278664" y="232331"/>
                      <a:pt x="283371" y="233900"/>
                    </a:cubicBezTo>
                    <a:cubicBezTo>
                      <a:pt x="281783" y="236281"/>
                      <a:pt x="279888" y="238484"/>
                      <a:pt x="278608" y="241044"/>
                    </a:cubicBezTo>
                    <a:cubicBezTo>
                      <a:pt x="268744" y="260770"/>
                      <a:pt x="285119" y="234847"/>
                      <a:pt x="271465" y="255331"/>
                    </a:cubicBezTo>
                    <a:cubicBezTo>
                      <a:pt x="270671" y="258506"/>
                      <a:pt x="268757" y="261599"/>
                      <a:pt x="269083" y="264856"/>
                    </a:cubicBezTo>
                    <a:cubicBezTo>
                      <a:pt x="269582" y="269851"/>
                      <a:pt x="278023" y="281929"/>
                      <a:pt x="273846" y="279144"/>
                    </a:cubicBezTo>
                    <a:lnTo>
                      <a:pt x="259558" y="269619"/>
                    </a:lnTo>
                    <a:cubicBezTo>
                      <a:pt x="258764" y="272000"/>
                      <a:pt x="257669" y="274301"/>
                      <a:pt x="257177" y="276762"/>
                    </a:cubicBezTo>
                    <a:cubicBezTo>
                      <a:pt x="256076" y="282266"/>
                      <a:pt x="258302" y="289048"/>
                      <a:pt x="254796" y="293431"/>
                    </a:cubicBezTo>
                    <a:cubicBezTo>
                      <a:pt x="253008" y="295666"/>
                      <a:pt x="250033" y="290256"/>
                      <a:pt x="247652" y="288669"/>
                    </a:cubicBezTo>
                    <a:cubicBezTo>
                      <a:pt x="244477" y="283906"/>
                      <a:pt x="239937" y="279811"/>
                      <a:pt x="238127" y="274381"/>
                    </a:cubicBezTo>
                    <a:cubicBezTo>
                      <a:pt x="237333" y="272000"/>
                      <a:pt x="237521" y="269012"/>
                      <a:pt x="235746" y="267237"/>
                    </a:cubicBezTo>
                    <a:cubicBezTo>
                      <a:pt x="233971" y="265462"/>
                      <a:pt x="230983" y="265650"/>
                      <a:pt x="228602" y="264856"/>
                    </a:cubicBezTo>
                    <a:cubicBezTo>
                      <a:pt x="227015" y="268031"/>
                      <a:pt x="225238" y="271118"/>
                      <a:pt x="223840" y="274381"/>
                    </a:cubicBezTo>
                    <a:cubicBezTo>
                      <a:pt x="222851" y="276688"/>
                      <a:pt x="220335" y="279280"/>
                      <a:pt x="221458" y="281525"/>
                    </a:cubicBezTo>
                    <a:cubicBezTo>
                      <a:pt x="222580" y="283770"/>
                      <a:pt x="226221" y="283112"/>
                      <a:pt x="228602" y="283906"/>
                    </a:cubicBezTo>
                    <a:cubicBezTo>
                      <a:pt x="230190" y="288669"/>
                      <a:pt x="232811" y="293204"/>
                      <a:pt x="233365" y="298194"/>
                    </a:cubicBezTo>
                    <a:cubicBezTo>
                      <a:pt x="233642" y="300689"/>
                      <a:pt x="230983" y="302827"/>
                      <a:pt x="230983" y="305337"/>
                    </a:cubicBezTo>
                    <a:cubicBezTo>
                      <a:pt x="230983" y="311320"/>
                      <a:pt x="235720" y="314811"/>
                      <a:pt x="238127" y="319625"/>
                    </a:cubicBezTo>
                    <a:cubicBezTo>
                      <a:pt x="239249" y="321870"/>
                      <a:pt x="239714" y="324388"/>
                      <a:pt x="240508" y="326769"/>
                    </a:cubicBezTo>
                    <a:cubicBezTo>
                      <a:pt x="239043" y="332630"/>
                      <a:pt x="239593" y="342339"/>
                      <a:pt x="228602" y="338675"/>
                    </a:cubicBezTo>
                    <a:cubicBezTo>
                      <a:pt x="225887" y="337770"/>
                      <a:pt x="226267" y="333048"/>
                      <a:pt x="223840" y="331531"/>
                    </a:cubicBezTo>
                    <a:cubicBezTo>
                      <a:pt x="219583" y="328870"/>
                      <a:pt x="209552" y="326769"/>
                      <a:pt x="209552" y="326769"/>
                    </a:cubicBezTo>
                    <a:cubicBezTo>
                      <a:pt x="207171" y="327563"/>
                      <a:pt x="203017" y="326715"/>
                      <a:pt x="202408" y="329150"/>
                    </a:cubicBezTo>
                    <a:cubicBezTo>
                      <a:pt x="200751" y="335779"/>
                      <a:pt x="211307" y="337673"/>
                      <a:pt x="214315" y="338675"/>
                    </a:cubicBezTo>
                    <a:cubicBezTo>
                      <a:pt x="215902" y="341056"/>
                      <a:pt x="219548" y="342996"/>
                      <a:pt x="219077" y="345819"/>
                    </a:cubicBezTo>
                    <a:cubicBezTo>
                      <a:pt x="218523" y="349141"/>
                      <a:pt x="214520" y="350806"/>
                      <a:pt x="211933" y="352962"/>
                    </a:cubicBezTo>
                    <a:cubicBezTo>
                      <a:pt x="205776" y="358093"/>
                      <a:pt x="204808" y="357719"/>
                      <a:pt x="197646" y="360106"/>
                    </a:cubicBezTo>
                    <a:cubicBezTo>
                      <a:pt x="182792" y="370010"/>
                      <a:pt x="198148" y="362487"/>
                      <a:pt x="183358" y="362487"/>
                    </a:cubicBezTo>
                    <a:cubicBezTo>
                      <a:pt x="174591" y="362487"/>
                      <a:pt x="165896" y="364075"/>
                      <a:pt x="157165" y="364869"/>
                    </a:cubicBezTo>
                    <a:cubicBezTo>
                      <a:pt x="156371" y="370425"/>
                      <a:pt x="156867" y="376326"/>
                      <a:pt x="154783" y="381537"/>
                    </a:cubicBezTo>
                    <a:cubicBezTo>
                      <a:pt x="153532" y="384664"/>
                      <a:pt x="149597" y="385941"/>
                      <a:pt x="147640" y="388681"/>
                    </a:cubicBezTo>
                    <a:cubicBezTo>
                      <a:pt x="145577" y="391570"/>
                      <a:pt x="144638" y="395124"/>
                      <a:pt x="142877" y="398206"/>
                    </a:cubicBezTo>
                    <a:cubicBezTo>
                      <a:pt x="141457" y="400691"/>
                      <a:pt x="139702" y="402969"/>
                      <a:pt x="138115" y="405350"/>
                    </a:cubicBezTo>
                    <a:cubicBezTo>
                      <a:pt x="139702" y="407731"/>
                      <a:pt x="141597" y="409934"/>
                      <a:pt x="142877" y="412494"/>
                    </a:cubicBezTo>
                    <a:cubicBezTo>
                      <a:pt x="143999" y="414739"/>
                      <a:pt x="143866" y="417549"/>
                      <a:pt x="145258" y="419637"/>
                    </a:cubicBezTo>
                    <a:cubicBezTo>
                      <a:pt x="147126" y="422439"/>
                      <a:pt x="150021" y="424400"/>
                      <a:pt x="152402" y="426781"/>
                    </a:cubicBezTo>
                    <a:cubicBezTo>
                      <a:pt x="153196" y="429162"/>
                      <a:pt x="154783" y="431415"/>
                      <a:pt x="154783" y="433925"/>
                    </a:cubicBezTo>
                    <a:cubicBezTo>
                      <a:pt x="154783" y="442396"/>
                      <a:pt x="150744" y="441259"/>
                      <a:pt x="145258" y="445831"/>
                    </a:cubicBezTo>
                    <a:cubicBezTo>
                      <a:pt x="138385" y="451558"/>
                      <a:pt x="138033" y="453097"/>
                      <a:pt x="133352" y="460119"/>
                    </a:cubicBezTo>
                    <a:cubicBezTo>
                      <a:pt x="134146" y="464088"/>
                      <a:pt x="134751" y="468099"/>
                      <a:pt x="135733" y="472025"/>
                    </a:cubicBezTo>
                    <a:cubicBezTo>
                      <a:pt x="136342" y="474460"/>
                      <a:pt x="138909" y="476788"/>
                      <a:pt x="138115" y="479169"/>
                    </a:cubicBezTo>
                    <a:cubicBezTo>
                      <a:pt x="137050" y="482364"/>
                      <a:pt x="133352" y="483931"/>
                      <a:pt x="130971" y="486312"/>
                    </a:cubicBezTo>
                    <a:cubicBezTo>
                      <a:pt x="133352" y="487106"/>
                      <a:pt x="135734" y="489488"/>
                      <a:pt x="138115" y="488694"/>
                    </a:cubicBezTo>
                    <a:cubicBezTo>
                      <a:pt x="141310" y="487629"/>
                      <a:pt x="142456" y="483418"/>
                      <a:pt x="145258" y="481550"/>
                    </a:cubicBezTo>
                    <a:cubicBezTo>
                      <a:pt x="147347" y="480158"/>
                      <a:pt x="150021" y="479963"/>
                      <a:pt x="152402" y="479169"/>
                    </a:cubicBezTo>
                    <a:cubicBezTo>
                      <a:pt x="154783" y="480756"/>
                      <a:pt x="156866" y="482926"/>
                      <a:pt x="159546" y="483931"/>
                    </a:cubicBezTo>
                    <a:cubicBezTo>
                      <a:pt x="163336" y="485352"/>
                      <a:pt x="172732" y="490152"/>
                      <a:pt x="171452" y="486312"/>
                    </a:cubicBezTo>
                    <a:lnTo>
                      <a:pt x="169071" y="479169"/>
                    </a:lnTo>
                    <a:cubicBezTo>
                      <a:pt x="170658" y="476788"/>
                      <a:pt x="171027" y="472586"/>
                      <a:pt x="173833" y="472025"/>
                    </a:cubicBezTo>
                    <a:cubicBezTo>
                      <a:pt x="176639" y="471464"/>
                      <a:pt x="178347" y="475660"/>
                      <a:pt x="180977" y="476787"/>
                    </a:cubicBezTo>
                    <a:cubicBezTo>
                      <a:pt x="183985" y="478076"/>
                      <a:pt x="187327" y="478375"/>
                      <a:pt x="190502" y="479169"/>
                    </a:cubicBezTo>
                    <a:cubicBezTo>
                      <a:pt x="195265" y="482344"/>
                      <a:pt x="205913" y="483081"/>
                      <a:pt x="204790" y="488694"/>
                    </a:cubicBezTo>
                    <a:cubicBezTo>
                      <a:pt x="203996" y="492663"/>
                      <a:pt x="204416" y="497086"/>
                      <a:pt x="202408" y="500600"/>
                    </a:cubicBezTo>
                    <a:cubicBezTo>
                      <a:pt x="197398" y="509368"/>
                      <a:pt x="169231" y="507729"/>
                      <a:pt x="169071" y="507744"/>
                    </a:cubicBezTo>
                    <a:cubicBezTo>
                      <a:pt x="167483" y="510125"/>
                      <a:pt x="166868" y="513607"/>
                      <a:pt x="164308" y="514887"/>
                    </a:cubicBezTo>
                    <a:cubicBezTo>
                      <a:pt x="145311" y="524386"/>
                      <a:pt x="152709" y="509204"/>
                      <a:pt x="147640" y="524412"/>
                    </a:cubicBezTo>
                    <a:cubicBezTo>
                      <a:pt x="126687" y="510445"/>
                      <a:pt x="161021" y="531632"/>
                      <a:pt x="107158" y="517269"/>
                    </a:cubicBezTo>
                    <a:cubicBezTo>
                      <a:pt x="104733" y="516622"/>
                      <a:pt x="106552" y="511900"/>
                      <a:pt x="104777" y="510125"/>
                    </a:cubicBezTo>
                    <a:cubicBezTo>
                      <a:pt x="103002" y="508350"/>
                      <a:pt x="100014" y="508538"/>
                      <a:pt x="97633" y="507744"/>
                    </a:cubicBezTo>
                    <a:cubicBezTo>
                      <a:pt x="95252" y="506156"/>
                      <a:pt x="93105" y="504143"/>
                      <a:pt x="90490" y="502981"/>
                    </a:cubicBezTo>
                    <a:cubicBezTo>
                      <a:pt x="74993" y="496093"/>
                      <a:pt x="68787" y="497545"/>
                      <a:pt x="50008" y="495837"/>
                    </a:cubicBezTo>
                    <a:cubicBezTo>
                      <a:pt x="52389" y="495043"/>
                      <a:pt x="56660" y="495917"/>
                      <a:pt x="57152" y="493456"/>
                    </a:cubicBezTo>
                    <a:cubicBezTo>
                      <a:pt x="58676" y="485838"/>
                      <a:pt x="54572" y="471227"/>
                      <a:pt x="52390" y="462500"/>
                    </a:cubicBezTo>
                    <a:cubicBezTo>
                      <a:pt x="54587" y="444921"/>
                      <a:pt x="57347" y="433465"/>
                      <a:pt x="52390" y="414875"/>
                    </a:cubicBezTo>
                    <a:cubicBezTo>
                      <a:pt x="50303" y="407050"/>
                      <a:pt x="35610" y="404520"/>
                      <a:pt x="30958" y="402969"/>
                    </a:cubicBezTo>
                    <a:lnTo>
                      <a:pt x="23815" y="400587"/>
                    </a:lnTo>
                    <a:cubicBezTo>
                      <a:pt x="22227" y="402968"/>
                      <a:pt x="21914" y="407731"/>
                      <a:pt x="19052" y="407731"/>
                    </a:cubicBezTo>
                    <a:cubicBezTo>
                      <a:pt x="16190" y="407731"/>
                      <a:pt x="16122" y="402786"/>
                      <a:pt x="14290" y="400587"/>
                    </a:cubicBezTo>
                    <a:cubicBezTo>
                      <a:pt x="8563" y="393714"/>
                      <a:pt x="7024" y="393362"/>
                      <a:pt x="2" y="388681"/>
                    </a:cubicBezTo>
                    <a:cubicBezTo>
                      <a:pt x="796" y="384712"/>
                      <a:pt x="1659" y="380757"/>
                      <a:pt x="2383" y="376775"/>
                    </a:cubicBezTo>
                    <a:cubicBezTo>
                      <a:pt x="3247" y="372024"/>
                      <a:pt x="3717" y="367200"/>
                      <a:pt x="4765" y="362487"/>
                    </a:cubicBezTo>
                    <a:cubicBezTo>
                      <a:pt x="5310" y="360037"/>
                      <a:pt x="6352" y="357725"/>
                      <a:pt x="7146" y="355344"/>
                    </a:cubicBezTo>
                    <a:cubicBezTo>
                      <a:pt x="6352" y="349788"/>
                      <a:pt x="5866" y="344179"/>
                      <a:pt x="4765" y="338675"/>
                    </a:cubicBezTo>
                    <a:cubicBezTo>
                      <a:pt x="4273" y="336214"/>
                      <a:pt x="2600" y="334032"/>
                      <a:pt x="2383" y="331531"/>
                    </a:cubicBezTo>
                    <a:cubicBezTo>
                      <a:pt x="1006" y="315696"/>
                      <a:pt x="2" y="299801"/>
                      <a:pt x="2" y="283906"/>
                    </a:cubicBezTo>
                    <a:cubicBezTo>
                      <a:pt x="2" y="272765"/>
                      <a:pt x="-169" y="306399"/>
                      <a:pt x="2383" y="317244"/>
                    </a:cubicBezTo>
                    <a:cubicBezTo>
                      <a:pt x="3154" y="320522"/>
                      <a:pt x="7146" y="322006"/>
                      <a:pt x="9527" y="324387"/>
                    </a:cubicBezTo>
                    <a:cubicBezTo>
                      <a:pt x="16755" y="322580"/>
                      <a:pt x="23815" y="323377"/>
                      <a:pt x="23815" y="312481"/>
                    </a:cubicBezTo>
                    <a:cubicBezTo>
                      <a:pt x="23815" y="309619"/>
                      <a:pt x="20640" y="307718"/>
                      <a:pt x="19052" y="305337"/>
                    </a:cubicBezTo>
                    <a:cubicBezTo>
                      <a:pt x="17250" y="299932"/>
                      <a:pt x="17067" y="294508"/>
                      <a:pt x="9527" y="293431"/>
                    </a:cubicBezTo>
                    <a:cubicBezTo>
                      <a:pt x="6287" y="292968"/>
                      <a:pt x="3177" y="295018"/>
                      <a:pt x="2" y="295812"/>
                    </a:cubicBezTo>
                    <a:cubicBezTo>
                      <a:pt x="796" y="283906"/>
                      <a:pt x="1702" y="272007"/>
                      <a:pt x="2383" y="260094"/>
                    </a:cubicBezTo>
                    <a:cubicBezTo>
                      <a:pt x="2520" y="257699"/>
                      <a:pt x="528" y="211679"/>
                      <a:pt x="9527" y="198181"/>
                    </a:cubicBezTo>
                    <a:lnTo>
                      <a:pt x="14290" y="191037"/>
                    </a:lnTo>
                    <a:cubicBezTo>
                      <a:pt x="20937" y="171096"/>
                      <a:pt x="11227" y="197045"/>
                      <a:pt x="19052" y="210087"/>
                    </a:cubicBezTo>
                    <a:cubicBezTo>
                      <a:pt x="21134" y="213557"/>
                      <a:pt x="26989" y="208500"/>
                      <a:pt x="30958" y="207706"/>
                    </a:cubicBezTo>
                    <a:cubicBezTo>
                      <a:pt x="17419" y="194165"/>
                      <a:pt x="28325" y="207201"/>
                      <a:pt x="21433" y="193419"/>
                    </a:cubicBezTo>
                    <a:cubicBezTo>
                      <a:pt x="20153" y="190859"/>
                      <a:pt x="17833" y="188890"/>
                      <a:pt x="16671" y="186275"/>
                    </a:cubicBezTo>
                    <a:cubicBezTo>
                      <a:pt x="14632" y="181687"/>
                      <a:pt x="11908" y="171987"/>
                      <a:pt x="11908" y="171987"/>
                    </a:cubicBezTo>
                    <a:cubicBezTo>
                      <a:pt x="13496" y="162463"/>
                      <a:pt x="14013" y="150832"/>
                      <a:pt x="21433" y="143412"/>
                    </a:cubicBezTo>
                    <a:cubicBezTo>
                      <a:pt x="23457" y="141388"/>
                      <a:pt x="26017" y="139930"/>
                      <a:pt x="28577" y="138650"/>
                    </a:cubicBezTo>
                    <a:cubicBezTo>
                      <a:pt x="30822" y="137528"/>
                      <a:pt x="33340" y="137063"/>
                      <a:pt x="35721" y="136269"/>
                    </a:cubicBezTo>
                    <a:cubicBezTo>
                      <a:pt x="37308" y="133888"/>
                      <a:pt x="38248" y="130913"/>
                      <a:pt x="40483" y="129125"/>
                    </a:cubicBezTo>
                    <a:cubicBezTo>
                      <a:pt x="42443" y="127557"/>
                      <a:pt x="45382" y="127867"/>
                      <a:pt x="47627" y="126744"/>
                    </a:cubicBezTo>
                    <a:cubicBezTo>
                      <a:pt x="50187" y="125464"/>
                      <a:pt x="52211" y="123261"/>
                      <a:pt x="54771" y="121981"/>
                    </a:cubicBezTo>
                    <a:cubicBezTo>
                      <a:pt x="60632" y="119051"/>
                      <a:pt x="70717" y="118133"/>
                      <a:pt x="76202" y="117219"/>
                    </a:cubicBezTo>
                    <a:lnTo>
                      <a:pt x="97633" y="110075"/>
                    </a:lnTo>
                    <a:lnTo>
                      <a:pt x="111921" y="105312"/>
                    </a:lnTo>
                    <a:cubicBezTo>
                      <a:pt x="123691" y="99428"/>
                      <a:pt x="118078" y="101672"/>
                      <a:pt x="128590" y="98169"/>
                    </a:cubicBezTo>
                    <a:cubicBezTo>
                      <a:pt x="133352" y="94994"/>
                      <a:pt x="141067" y="94074"/>
                      <a:pt x="142877" y="88644"/>
                    </a:cubicBezTo>
                    <a:cubicBezTo>
                      <a:pt x="143671" y="86263"/>
                      <a:pt x="143866" y="83589"/>
                      <a:pt x="145258" y="81500"/>
                    </a:cubicBezTo>
                    <a:cubicBezTo>
                      <a:pt x="148925" y="75999"/>
                      <a:pt x="154274" y="73108"/>
                      <a:pt x="159546" y="69594"/>
                    </a:cubicBezTo>
                    <a:cubicBezTo>
                      <a:pt x="165207" y="52607"/>
                      <a:pt x="157180" y="73144"/>
                      <a:pt x="169071" y="55306"/>
                    </a:cubicBezTo>
                    <a:cubicBezTo>
                      <a:pt x="176819" y="43683"/>
                      <a:pt x="164972" y="52261"/>
                      <a:pt x="176215" y="41019"/>
                    </a:cubicBezTo>
                    <a:cubicBezTo>
                      <a:pt x="179021" y="38213"/>
                      <a:pt x="182190" y="35650"/>
                      <a:pt x="185740" y="33875"/>
                    </a:cubicBezTo>
                    <a:cubicBezTo>
                      <a:pt x="188667" y="32411"/>
                      <a:pt x="192118" y="32393"/>
                      <a:pt x="195265" y="31494"/>
                    </a:cubicBezTo>
                    <a:cubicBezTo>
                      <a:pt x="197678" y="30804"/>
                      <a:pt x="200163" y="30235"/>
                      <a:pt x="202408" y="29112"/>
                    </a:cubicBezTo>
                    <a:cubicBezTo>
                      <a:pt x="220862" y="19885"/>
                      <a:pt x="198749" y="27950"/>
                      <a:pt x="216696" y="21969"/>
                    </a:cubicBezTo>
                    <a:cubicBezTo>
                      <a:pt x="228018" y="14421"/>
                      <a:pt x="221123" y="18112"/>
                      <a:pt x="238127" y="12444"/>
                    </a:cubicBezTo>
                    <a:cubicBezTo>
                      <a:pt x="240508" y="11650"/>
                      <a:pt x="247360" y="8670"/>
                      <a:pt x="245271" y="10062"/>
                    </a:cubicBezTo>
                    <a:cubicBezTo>
                      <a:pt x="242890" y="11650"/>
                      <a:pt x="240687" y="13545"/>
                      <a:pt x="238127" y="14825"/>
                    </a:cubicBezTo>
                    <a:cubicBezTo>
                      <a:pt x="234321" y="16728"/>
                      <a:pt x="225018" y="18570"/>
                      <a:pt x="221458" y="19587"/>
                    </a:cubicBezTo>
                    <a:cubicBezTo>
                      <a:pt x="219045" y="20277"/>
                      <a:pt x="216728" y="21279"/>
                      <a:pt x="214315" y="21969"/>
                    </a:cubicBezTo>
                    <a:cubicBezTo>
                      <a:pt x="193350" y="27960"/>
                      <a:pt x="214801" y="21013"/>
                      <a:pt x="197646" y="26731"/>
                    </a:cubicBezTo>
                    <a:cubicBezTo>
                      <a:pt x="196058" y="29112"/>
                      <a:pt x="194045" y="31260"/>
                      <a:pt x="192883" y="33875"/>
                    </a:cubicBezTo>
                    <a:cubicBezTo>
                      <a:pt x="190844" y="38462"/>
                      <a:pt x="192883" y="46574"/>
                      <a:pt x="188121" y="48162"/>
                    </a:cubicBezTo>
                    <a:cubicBezTo>
                      <a:pt x="185740" y="48956"/>
                      <a:pt x="183171" y="49325"/>
                      <a:pt x="180977" y="50544"/>
                    </a:cubicBezTo>
                    <a:cubicBezTo>
                      <a:pt x="175974" y="53324"/>
                      <a:pt x="166690" y="60069"/>
                      <a:pt x="166690" y="60069"/>
                    </a:cubicBezTo>
                    <a:cubicBezTo>
                      <a:pt x="165102" y="62450"/>
                      <a:pt x="163347" y="64727"/>
                      <a:pt x="161927" y="67212"/>
                    </a:cubicBezTo>
                    <a:cubicBezTo>
                      <a:pt x="160166" y="70294"/>
                      <a:pt x="159437" y="74010"/>
                      <a:pt x="157165" y="76737"/>
                    </a:cubicBezTo>
                    <a:cubicBezTo>
                      <a:pt x="155333" y="78936"/>
                      <a:pt x="152402" y="79912"/>
                      <a:pt x="150021" y="81500"/>
                    </a:cubicBezTo>
                    <a:cubicBezTo>
                      <a:pt x="149227" y="83881"/>
                      <a:pt x="149208" y="86684"/>
                      <a:pt x="147640" y="88644"/>
                    </a:cubicBezTo>
                    <a:cubicBezTo>
                      <a:pt x="145852" y="90879"/>
                      <a:pt x="142695" y="91574"/>
                      <a:pt x="140496" y="93406"/>
                    </a:cubicBezTo>
                    <a:cubicBezTo>
                      <a:pt x="137909" y="95562"/>
                      <a:pt x="135544" y="97993"/>
                      <a:pt x="133352" y="100550"/>
                    </a:cubicBezTo>
                    <a:cubicBezTo>
                      <a:pt x="121538" y="114333"/>
                      <a:pt x="131640" y="106454"/>
                      <a:pt x="119065" y="114837"/>
                    </a:cubicBezTo>
                    <a:cubicBezTo>
                      <a:pt x="119859" y="117218"/>
                      <a:pt x="119671" y="120206"/>
                      <a:pt x="121446" y="121981"/>
                    </a:cubicBezTo>
                    <a:cubicBezTo>
                      <a:pt x="123221" y="123756"/>
                      <a:pt x="126140" y="123817"/>
                      <a:pt x="128590" y="124362"/>
                    </a:cubicBezTo>
                    <a:cubicBezTo>
                      <a:pt x="133303" y="125409"/>
                      <a:pt x="138115" y="125950"/>
                      <a:pt x="142877" y="126744"/>
                    </a:cubicBezTo>
                    <a:cubicBezTo>
                      <a:pt x="151608" y="125950"/>
                      <a:pt x="160474" y="122643"/>
                      <a:pt x="169071" y="124362"/>
                    </a:cubicBezTo>
                    <a:cubicBezTo>
                      <a:pt x="173994" y="125346"/>
                      <a:pt x="159546" y="127537"/>
                      <a:pt x="154783" y="129125"/>
                    </a:cubicBezTo>
                    <a:cubicBezTo>
                      <a:pt x="152402" y="129919"/>
                      <a:pt x="150075" y="130897"/>
                      <a:pt x="147640" y="131506"/>
                    </a:cubicBezTo>
                    <a:cubicBezTo>
                      <a:pt x="141290" y="133094"/>
                      <a:pt x="134800" y="134199"/>
                      <a:pt x="128590" y="136269"/>
                    </a:cubicBezTo>
                    <a:lnTo>
                      <a:pt x="121446" y="138650"/>
                    </a:lnTo>
                    <a:cubicBezTo>
                      <a:pt x="119858" y="141031"/>
                      <a:pt x="117810" y="143163"/>
                      <a:pt x="116683" y="145794"/>
                    </a:cubicBezTo>
                    <a:cubicBezTo>
                      <a:pt x="115394" y="148802"/>
                      <a:pt x="115926" y="152478"/>
                      <a:pt x="114302" y="155319"/>
                    </a:cubicBezTo>
                    <a:cubicBezTo>
                      <a:pt x="110106" y="162662"/>
                      <a:pt x="106832" y="162571"/>
                      <a:pt x="100015" y="164844"/>
                    </a:cubicBezTo>
                    <a:cubicBezTo>
                      <a:pt x="100809" y="167225"/>
                      <a:pt x="100828" y="170027"/>
                      <a:pt x="102396" y="171987"/>
                    </a:cubicBezTo>
                    <a:cubicBezTo>
                      <a:pt x="105754" y="176184"/>
                      <a:pt x="111976" y="177562"/>
                      <a:pt x="116683" y="179131"/>
                    </a:cubicBezTo>
                    <a:cubicBezTo>
                      <a:pt x="117873" y="179924"/>
                      <a:pt x="130574" y="187069"/>
                      <a:pt x="128590" y="191037"/>
                    </a:cubicBezTo>
                    <a:cubicBezTo>
                      <a:pt x="127126" y="193964"/>
                      <a:pt x="122240" y="192625"/>
                      <a:pt x="119065" y="193419"/>
                    </a:cubicBezTo>
                    <a:cubicBezTo>
                      <a:pt x="119573" y="193758"/>
                      <a:pt x="137604" y="202539"/>
                      <a:pt x="123827" y="207706"/>
                    </a:cubicBezTo>
                    <a:cubicBezTo>
                      <a:pt x="118572" y="209677"/>
                      <a:pt x="112714" y="206119"/>
                      <a:pt x="107158" y="205325"/>
                    </a:cubicBezTo>
                    <a:cubicBezTo>
                      <a:pt x="105166" y="185401"/>
                      <a:pt x="111173" y="183520"/>
                      <a:pt x="97633" y="176750"/>
                    </a:cubicBezTo>
                    <a:cubicBezTo>
                      <a:pt x="95388" y="175628"/>
                      <a:pt x="92871" y="175163"/>
                      <a:pt x="90490" y="174369"/>
                    </a:cubicBezTo>
                    <a:cubicBezTo>
                      <a:pt x="76202" y="175956"/>
                      <a:pt x="61871" y="177189"/>
                      <a:pt x="47627" y="179131"/>
                    </a:cubicBezTo>
                    <a:cubicBezTo>
                      <a:pt x="44384" y="179573"/>
                      <a:pt x="41322" y="180927"/>
                      <a:pt x="38102" y="181512"/>
                    </a:cubicBezTo>
                    <a:cubicBezTo>
                      <a:pt x="32580" y="182516"/>
                      <a:pt x="26989" y="183100"/>
                      <a:pt x="21433" y="183894"/>
                    </a:cubicBezTo>
                    <a:cubicBezTo>
                      <a:pt x="19052" y="184688"/>
                      <a:pt x="15412" y="184030"/>
                      <a:pt x="14290" y="186275"/>
                    </a:cubicBezTo>
                    <a:cubicBezTo>
                      <a:pt x="10661" y="193533"/>
                      <a:pt x="21093" y="194893"/>
                      <a:pt x="23815" y="195800"/>
                    </a:cubicBezTo>
                    <a:cubicBezTo>
                      <a:pt x="28577" y="195006"/>
                      <a:pt x="33418" y="194590"/>
                      <a:pt x="38102" y="193419"/>
                    </a:cubicBezTo>
                    <a:cubicBezTo>
                      <a:pt x="42972" y="192201"/>
                      <a:pt x="52390" y="188656"/>
                      <a:pt x="52390" y="188656"/>
                    </a:cubicBezTo>
                    <a:cubicBezTo>
                      <a:pt x="54771" y="189450"/>
                      <a:pt x="57758" y="189262"/>
                      <a:pt x="59533" y="191037"/>
                    </a:cubicBezTo>
                    <a:cubicBezTo>
                      <a:pt x="64386" y="195890"/>
                      <a:pt x="60714" y="212724"/>
                      <a:pt x="59533" y="214850"/>
                    </a:cubicBezTo>
                    <a:cubicBezTo>
                      <a:pt x="57809" y="217953"/>
                      <a:pt x="53183" y="218025"/>
                      <a:pt x="50008" y="219612"/>
                    </a:cubicBezTo>
                    <a:cubicBezTo>
                      <a:pt x="47627" y="218818"/>
                      <a:pt x="44825" y="218799"/>
                      <a:pt x="42865" y="217231"/>
                    </a:cubicBezTo>
                    <a:cubicBezTo>
                      <a:pt x="40630" y="215443"/>
                      <a:pt x="40529" y="211604"/>
                      <a:pt x="38102" y="210087"/>
                    </a:cubicBezTo>
                    <a:cubicBezTo>
                      <a:pt x="33845" y="207426"/>
                      <a:pt x="28577" y="206912"/>
                      <a:pt x="23815" y="205325"/>
                    </a:cubicBezTo>
                    <a:lnTo>
                      <a:pt x="16671" y="202944"/>
                    </a:lnTo>
                    <a:cubicBezTo>
                      <a:pt x="15668" y="201439"/>
                      <a:pt x="8294" y="191738"/>
                      <a:pt x="9527" y="188656"/>
                    </a:cubicBezTo>
                    <a:cubicBezTo>
                      <a:pt x="10590" y="185999"/>
                      <a:pt x="14290" y="185481"/>
                      <a:pt x="16671" y="183894"/>
                    </a:cubicBezTo>
                    <a:cubicBezTo>
                      <a:pt x="21433" y="185481"/>
                      <a:pt x="28173" y="192833"/>
                      <a:pt x="30958" y="188656"/>
                    </a:cubicBezTo>
                    <a:cubicBezTo>
                      <a:pt x="34133" y="183894"/>
                      <a:pt x="38673" y="179799"/>
                      <a:pt x="40483" y="174369"/>
                    </a:cubicBezTo>
                    <a:cubicBezTo>
                      <a:pt x="41277" y="171988"/>
                      <a:pt x="41297" y="169185"/>
                      <a:pt x="42865" y="167225"/>
                    </a:cubicBezTo>
                    <a:cubicBezTo>
                      <a:pt x="46223" y="163027"/>
                      <a:pt x="52444" y="161650"/>
                      <a:pt x="57152" y="160081"/>
                    </a:cubicBezTo>
                    <a:cubicBezTo>
                      <a:pt x="59533" y="157700"/>
                      <a:pt x="61101" y="154002"/>
                      <a:pt x="64296" y="152937"/>
                    </a:cubicBezTo>
                    <a:cubicBezTo>
                      <a:pt x="71916" y="150397"/>
                      <a:pt x="72551" y="158652"/>
                      <a:pt x="73821" y="162462"/>
                    </a:cubicBezTo>
                    <a:cubicBezTo>
                      <a:pt x="78930" y="147134"/>
                      <a:pt x="74094" y="163199"/>
                      <a:pt x="78583" y="136269"/>
                    </a:cubicBezTo>
                    <a:cubicBezTo>
                      <a:pt x="79121" y="133041"/>
                      <a:pt x="78810" y="129207"/>
                      <a:pt x="80965" y="126744"/>
                    </a:cubicBezTo>
                    <a:cubicBezTo>
                      <a:pt x="84734" y="122437"/>
                      <a:pt x="91205" y="121266"/>
                      <a:pt x="95252" y="117219"/>
                    </a:cubicBezTo>
                    <a:cubicBezTo>
                      <a:pt x="97633" y="114838"/>
                      <a:pt x="99330" y="111469"/>
                      <a:pt x="102396" y="110075"/>
                    </a:cubicBezTo>
                    <a:cubicBezTo>
                      <a:pt x="106912" y="108022"/>
                      <a:pt x="126442" y="104313"/>
                      <a:pt x="133352" y="102931"/>
                    </a:cubicBezTo>
                    <a:cubicBezTo>
                      <a:pt x="135733" y="101344"/>
                      <a:pt x="138708" y="100404"/>
                      <a:pt x="140496" y="98169"/>
                    </a:cubicBezTo>
                    <a:cubicBezTo>
                      <a:pt x="142064" y="96209"/>
                      <a:pt x="141485" y="93114"/>
                      <a:pt x="142877" y="91025"/>
                    </a:cubicBezTo>
                    <a:cubicBezTo>
                      <a:pt x="144745" y="88223"/>
                      <a:pt x="147640" y="86262"/>
                      <a:pt x="150021" y="83881"/>
                    </a:cubicBezTo>
                    <a:cubicBezTo>
                      <a:pt x="151426" y="81071"/>
                      <a:pt x="156553" y="69831"/>
                      <a:pt x="159546" y="67212"/>
                    </a:cubicBezTo>
                    <a:cubicBezTo>
                      <a:pt x="163853" y="63443"/>
                      <a:pt x="173833" y="57687"/>
                      <a:pt x="173833" y="57687"/>
                    </a:cubicBezTo>
                    <a:cubicBezTo>
                      <a:pt x="174627" y="53718"/>
                      <a:pt x="175233" y="49707"/>
                      <a:pt x="176215" y="45781"/>
                    </a:cubicBezTo>
                    <a:cubicBezTo>
                      <a:pt x="176824" y="43346"/>
                      <a:pt x="176821" y="40412"/>
                      <a:pt x="178596" y="38637"/>
                    </a:cubicBezTo>
                    <a:cubicBezTo>
                      <a:pt x="180371" y="36862"/>
                      <a:pt x="183270" y="36705"/>
                      <a:pt x="185740" y="36256"/>
                    </a:cubicBezTo>
                    <a:cubicBezTo>
                      <a:pt x="192036" y="35111"/>
                      <a:pt x="198440" y="34669"/>
                      <a:pt x="204790" y="33875"/>
                    </a:cubicBezTo>
                    <a:cubicBezTo>
                      <a:pt x="207171" y="33081"/>
                      <a:pt x="209688" y="32616"/>
                      <a:pt x="211933" y="31494"/>
                    </a:cubicBezTo>
                    <a:cubicBezTo>
                      <a:pt x="214493" y="30214"/>
                      <a:pt x="216623" y="28203"/>
                      <a:pt x="219077" y="26731"/>
                    </a:cubicBezTo>
                    <a:cubicBezTo>
                      <a:pt x="220599" y="25818"/>
                      <a:pt x="246858" y="3315"/>
                      <a:pt x="250033" y="537"/>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27" name="Freeform: Shape 826">
                <a:extLst>
                  <a:ext uri="{FF2B5EF4-FFF2-40B4-BE49-F238E27FC236}">
                    <a16:creationId xmlns:a16="http://schemas.microsoft.com/office/drawing/2014/main" id="{16B37254-192C-431A-B65F-822159A8DF65}"/>
                  </a:ext>
                </a:extLst>
              </p:cNvPr>
              <p:cNvSpPr/>
              <p:nvPr/>
            </p:nvSpPr>
            <p:spPr>
              <a:xfrm>
                <a:off x="4362450" y="3226366"/>
                <a:ext cx="33338" cy="31184"/>
              </a:xfrm>
              <a:custGeom>
                <a:avLst/>
                <a:gdLst>
                  <a:gd name="connsiteX0" fmla="*/ 28575 w 33338"/>
                  <a:gd name="connsiteY0" fmla="*/ 4990 h 31184"/>
                  <a:gd name="connsiteX1" fmla="*/ 16669 w 33338"/>
                  <a:gd name="connsiteY1" fmla="*/ 12134 h 31184"/>
                  <a:gd name="connsiteX2" fmla="*/ 9525 w 33338"/>
                  <a:gd name="connsiteY2" fmla="*/ 16897 h 31184"/>
                  <a:gd name="connsiteX3" fmla="*/ 0 w 33338"/>
                  <a:gd name="connsiteY3" fmla="*/ 19278 h 31184"/>
                  <a:gd name="connsiteX4" fmla="*/ 2381 w 33338"/>
                  <a:gd name="connsiteY4" fmla="*/ 26422 h 31184"/>
                  <a:gd name="connsiteX5" fmla="*/ 16669 w 33338"/>
                  <a:gd name="connsiteY5" fmla="*/ 31184 h 31184"/>
                  <a:gd name="connsiteX6" fmla="*/ 26194 w 33338"/>
                  <a:gd name="connsiteY6" fmla="*/ 28803 h 31184"/>
                  <a:gd name="connsiteX7" fmla="*/ 33338 w 33338"/>
                  <a:gd name="connsiteY7" fmla="*/ 14515 h 31184"/>
                  <a:gd name="connsiteX8" fmla="*/ 26194 w 33338"/>
                  <a:gd name="connsiteY8" fmla="*/ 228 h 31184"/>
                  <a:gd name="connsiteX9" fmla="*/ 28575 w 33338"/>
                  <a:gd name="connsiteY9" fmla="*/ 4990 h 31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338" h="31184">
                    <a:moveTo>
                      <a:pt x="28575" y="4990"/>
                    </a:moveTo>
                    <a:cubicBezTo>
                      <a:pt x="26987" y="6974"/>
                      <a:pt x="20594" y="9681"/>
                      <a:pt x="16669" y="12134"/>
                    </a:cubicBezTo>
                    <a:cubicBezTo>
                      <a:pt x="14242" y="13651"/>
                      <a:pt x="12156" y="15770"/>
                      <a:pt x="9525" y="16897"/>
                    </a:cubicBezTo>
                    <a:cubicBezTo>
                      <a:pt x="6517" y="18186"/>
                      <a:pt x="3175" y="18484"/>
                      <a:pt x="0" y="19278"/>
                    </a:cubicBezTo>
                    <a:cubicBezTo>
                      <a:pt x="794" y="21659"/>
                      <a:pt x="338" y="24963"/>
                      <a:pt x="2381" y="26422"/>
                    </a:cubicBezTo>
                    <a:cubicBezTo>
                      <a:pt x="6466" y="29340"/>
                      <a:pt x="16669" y="31184"/>
                      <a:pt x="16669" y="31184"/>
                    </a:cubicBezTo>
                    <a:cubicBezTo>
                      <a:pt x="19844" y="30390"/>
                      <a:pt x="23471" y="30618"/>
                      <a:pt x="26194" y="28803"/>
                    </a:cubicBezTo>
                    <a:cubicBezTo>
                      <a:pt x="30149" y="26166"/>
                      <a:pt x="31980" y="18589"/>
                      <a:pt x="33338" y="14515"/>
                    </a:cubicBezTo>
                    <a:cubicBezTo>
                      <a:pt x="32076" y="10731"/>
                      <a:pt x="30039" y="2535"/>
                      <a:pt x="26194" y="228"/>
                    </a:cubicBezTo>
                    <a:cubicBezTo>
                      <a:pt x="24152" y="-997"/>
                      <a:pt x="30163" y="3006"/>
                      <a:pt x="28575" y="499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28" name="Freeform: Shape 827">
                <a:extLst>
                  <a:ext uri="{FF2B5EF4-FFF2-40B4-BE49-F238E27FC236}">
                    <a16:creationId xmlns:a16="http://schemas.microsoft.com/office/drawing/2014/main" id="{EDE9F12A-1BF0-4F5D-8C67-763B42FBFBB2}"/>
                  </a:ext>
                </a:extLst>
              </p:cNvPr>
              <p:cNvSpPr/>
              <p:nvPr/>
            </p:nvSpPr>
            <p:spPr>
              <a:xfrm>
                <a:off x="4114791" y="3581249"/>
                <a:ext cx="21440" cy="16852"/>
              </a:xfrm>
              <a:custGeom>
                <a:avLst/>
                <a:gdLst>
                  <a:gd name="connsiteX0" fmla="*/ 9 w 21440"/>
                  <a:gd name="connsiteY0" fmla="*/ 7295 h 16852"/>
                  <a:gd name="connsiteX1" fmla="*/ 19059 w 21440"/>
                  <a:gd name="connsiteY1" fmla="*/ 14439 h 16852"/>
                  <a:gd name="connsiteX2" fmla="*/ 21440 w 21440"/>
                  <a:gd name="connsiteY2" fmla="*/ 7295 h 16852"/>
                  <a:gd name="connsiteX3" fmla="*/ 16678 w 21440"/>
                  <a:gd name="connsiteY3" fmla="*/ 151 h 16852"/>
                  <a:gd name="connsiteX4" fmla="*/ 9 w 21440"/>
                  <a:gd name="connsiteY4" fmla="*/ 7295 h 1685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440" h="16852">
                    <a:moveTo>
                      <a:pt x="9" y="7295"/>
                    </a:moveTo>
                    <a:cubicBezTo>
                      <a:pt x="406" y="9676"/>
                      <a:pt x="11525" y="21973"/>
                      <a:pt x="19059" y="14439"/>
                    </a:cubicBezTo>
                    <a:cubicBezTo>
                      <a:pt x="20834" y="12664"/>
                      <a:pt x="20646" y="9676"/>
                      <a:pt x="21440" y="7295"/>
                    </a:cubicBezTo>
                    <a:cubicBezTo>
                      <a:pt x="19853" y="4914"/>
                      <a:pt x="19454" y="845"/>
                      <a:pt x="16678" y="151"/>
                    </a:cubicBezTo>
                    <a:cubicBezTo>
                      <a:pt x="11994" y="-1020"/>
                      <a:pt x="-388" y="4914"/>
                      <a:pt x="9" y="7295"/>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29" name="Freeform: Shape 828">
                <a:extLst>
                  <a:ext uri="{FF2B5EF4-FFF2-40B4-BE49-F238E27FC236}">
                    <a16:creationId xmlns:a16="http://schemas.microsoft.com/office/drawing/2014/main" id="{F4733D61-97A9-4A20-80D8-3DCF841A062E}"/>
                  </a:ext>
                </a:extLst>
              </p:cNvPr>
              <p:cNvSpPr/>
              <p:nvPr/>
            </p:nvSpPr>
            <p:spPr>
              <a:xfrm>
                <a:off x="4102803" y="3621500"/>
                <a:ext cx="35865" cy="50591"/>
              </a:xfrm>
              <a:custGeom>
                <a:avLst/>
                <a:gdLst>
                  <a:gd name="connsiteX0" fmla="*/ 19141 w 35865"/>
                  <a:gd name="connsiteY0" fmla="*/ 381 h 50591"/>
                  <a:gd name="connsiteX1" fmla="*/ 26285 w 35865"/>
                  <a:gd name="connsiteY1" fmla="*/ 19431 h 50591"/>
                  <a:gd name="connsiteX2" fmla="*/ 33428 w 35865"/>
                  <a:gd name="connsiteY2" fmla="*/ 21813 h 50591"/>
                  <a:gd name="connsiteX3" fmla="*/ 35810 w 35865"/>
                  <a:gd name="connsiteY3" fmla="*/ 14669 h 50591"/>
                  <a:gd name="connsiteX4" fmla="*/ 31047 w 35865"/>
                  <a:gd name="connsiteY4" fmla="*/ 7525 h 50591"/>
                  <a:gd name="connsiteX5" fmla="*/ 28666 w 35865"/>
                  <a:gd name="connsiteY5" fmla="*/ 381 h 50591"/>
                  <a:gd name="connsiteX6" fmla="*/ 21522 w 35865"/>
                  <a:gd name="connsiteY6" fmla="*/ 7525 h 50591"/>
                  <a:gd name="connsiteX7" fmla="*/ 14378 w 35865"/>
                  <a:gd name="connsiteY7" fmla="*/ 21813 h 50591"/>
                  <a:gd name="connsiteX8" fmla="*/ 2472 w 35865"/>
                  <a:gd name="connsiteY8" fmla="*/ 36100 h 50591"/>
                  <a:gd name="connsiteX9" fmla="*/ 4853 w 35865"/>
                  <a:gd name="connsiteY9" fmla="*/ 50388 h 50591"/>
                  <a:gd name="connsiteX10" fmla="*/ 11997 w 35865"/>
                  <a:gd name="connsiteY10" fmla="*/ 48006 h 50591"/>
                  <a:gd name="connsiteX11" fmla="*/ 7235 w 35865"/>
                  <a:gd name="connsiteY11" fmla="*/ 40863 h 50591"/>
                  <a:gd name="connsiteX12" fmla="*/ 91 w 35865"/>
                  <a:gd name="connsiteY12" fmla="*/ 38481 h 50591"/>
                  <a:gd name="connsiteX13" fmla="*/ 19141 w 35865"/>
                  <a:gd name="connsiteY13" fmla="*/ 381 h 50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5865" h="50591">
                    <a:moveTo>
                      <a:pt x="19141" y="381"/>
                    </a:moveTo>
                    <a:cubicBezTo>
                      <a:pt x="23507" y="-2794"/>
                      <a:pt x="20444" y="14758"/>
                      <a:pt x="26285" y="19431"/>
                    </a:cubicBezTo>
                    <a:cubicBezTo>
                      <a:pt x="28245" y="20999"/>
                      <a:pt x="31047" y="21019"/>
                      <a:pt x="33428" y="21813"/>
                    </a:cubicBezTo>
                    <a:cubicBezTo>
                      <a:pt x="34222" y="19432"/>
                      <a:pt x="36223" y="17145"/>
                      <a:pt x="35810" y="14669"/>
                    </a:cubicBezTo>
                    <a:cubicBezTo>
                      <a:pt x="35340" y="11846"/>
                      <a:pt x="32327" y="10085"/>
                      <a:pt x="31047" y="7525"/>
                    </a:cubicBezTo>
                    <a:cubicBezTo>
                      <a:pt x="29924" y="5280"/>
                      <a:pt x="29460" y="2762"/>
                      <a:pt x="28666" y="381"/>
                    </a:cubicBezTo>
                    <a:cubicBezTo>
                      <a:pt x="26285" y="2762"/>
                      <a:pt x="23390" y="4723"/>
                      <a:pt x="21522" y="7525"/>
                    </a:cubicBezTo>
                    <a:cubicBezTo>
                      <a:pt x="7202" y="29006"/>
                      <a:pt x="33115" y="-671"/>
                      <a:pt x="14378" y="21813"/>
                    </a:cubicBezTo>
                    <a:cubicBezTo>
                      <a:pt x="-901" y="40148"/>
                      <a:pt x="14298" y="18362"/>
                      <a:pt x="2472" y="36100"/>
                    </a:cubicBezTo>
                    <a:cubicBezTo>
                      <a:pt x="933" y="40719"/>
                      <a:pt x="-3293" y="47130"/>
                      <a:pt x="4853" y="50388"/>
                    </a:cubicBezTo>
                    <a:cubicBezTo>
                      <a:pt x="7184" y="51320"/>
                      <a:pt x="9616" y="48800"/>
                      <a:pt x="11997" y="48006"/>
                    </a:cubicBezTo>
                    <a:cubicBezTo>
                      <a:pt x="10410" y="45625"/>
                      <a:pt x="9470" y="42651"/>
                      <a:pt x="7235" y="40863"/>
                    </a:cubicBezTo>
                    <a:cubicBezTo>
                      <a:pt x="5275" y="39295"/>
                      <a:pt x="446" y="40966"/>
                      <a:pt x="91" y="38481"/>
                    </a:cubicBezTo>
                    <a:cubicBezTo>
                      <a:pt x="-619" y="33512"/>
                      <a:pt x="14775" y="3556"/>
                      <a:pt x="19141" y="381"/>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30" name="Freeform: Shape 829">
                <a:extLst>
                  <a:ext uri="{FF2B5EF4-FFF2-40B4-BE49-F238E27FC236}">
                    <a16:creationId xmlns:a16="http://schemas.microsoft.com/office/drawing/2014/main" id="{72827724-11C7-47A0-99D5-3096BB7584A0}"/>
                  </a:ext>
                </a:extLst>
              </p:cNvPr>
              <p:cNvSpPr/>
              <p:nvPr/>
            </p:nvSpPr>
            <p:spPr>
              <a:xfrm rot="12963927">
                <a:off x="4352248" y="3481436"/>
                <a:ext cx="18000" cy="36000"/>
              </a:xfrm>
              <a:custGeom>
                <a:avLst/>
                <a:gdLst>
                  <a:gd name="connsiteX0" fmla="*/ 176 w 2557"/>
                  <a:gd name="connsiteY0" fmla="*/ 6496 h 18928"/>
                  <a:gd name="connsiteX1" fmla="*/ 2557 w 2557"/>
                  <a:gd name="connsiteY1" fmla="*/ 18402 h 18928"/>
                  <a:gd name="connsiteX2" fmla="*/ 176 w 2557"/>
                  <a:gd name="connsiteY2" fmla="*/ 11258 h 18928"/>
                  <a:gd name="connsiteX3" fmla="*/ 176 w 2557"/>
                  <a:gd name="connsiteY3" fmla="*/ 6496 h 18928"/>
                </a:gdLst>
                <a:ahLst/>
                <a:cxnLst>
                  <a:cxn ang="0">
                    <a:pos x="connsiteX0" y="connsiteY0"/>
                  </a:cxn>
                  <a:cxn ang="0">
                    <a:pos x="connsiteX1" y="connsiteY1"/>
                  </a:cxn>
                  <a:cxn ang="0">
                    <a:pos x="connsiteX2" y="connsiteY2"/>
                  </a:cxn>
                  <a:cxn ang="0">
                    <a:pos x="connsiteX3" y="connsiteY3"/>
                  </a:cxn>
                </a:cxnLst>
                <a:rect l="l" t="t" r="r" b="b"/>
                <a:pathLst>
                  <a:path w="2557" h="18928">
                    <a:moveTo>
                      <a:pt x="176" y="6496"/>
                    </a:moveTo>
                    <a:cubicBezTo>
                      <a:pt x="573" y="7687"/>
                      <a:pt x="2557" y="14355"/>
                      <a:pt x="2557" y="18402"/>
                    </a:cubicBezTo>
                    <a:cubicBezTo>
                      <a:pt x="2557" y="20912"/>
                      <a:pt x="176" y="13768"/>
                      <a:pt x="176" y="11258"/>
                    </a:cubicBezTo>
                    <a:cubicBezTo>
                      <a:pt x="176" y="-10127"/>
                      <a:pt x="-221" y="5305"/>
                      <a:pt x="176" y="6496"/>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31" name="Freeform: Shape 830">
                <a:extLst>
                  <a:ext uri="{FF2B5EF4-FFF2-40B4-BE49-F238E27FC236}">
                    <a16:creationId xmlns:a16="http://schemas.microsoft.com/office/drawing/2014/main" id="{65E541EC-18ED-4EDC-B9CD-A610A014191F}"/>
                  </a:ext>
                </a:extLst>
              </p:cNvPr>
              <p:cNvSpPr/>
              <p:nvPr/>
            </p:nvSpPr>
            <p:spPr>
              <a:xfrm>
                <a:off x="4255294" y="3540919"/>
                <a:ext cx="108000" cy="108000"/>
              </a:xfrm>
              <a:custGeom>
                <a:avLst/>
                <a:gdLst>
                  <a:gd name="connsiteX0" fmla="*/ 23812 w 128587"/>
                  <a:gd name="connsiteY0" fmla="*/ 16669 h 124280"/>
                  <a:gd name="connsiteX1" fmla="*/ 4762 w 128587"/>
                  <a:gd name="connsiteY1" fmla="*/ 14287 h 124280"/>
                  <a:gd name="connsiteX2" fmla="*/ 0 w 128587"/>
                  <a:gd name="connsiteY2" fmla="*/ 28575 h 124280"/>
                  <a:gd name="connsiteX3" fmla="*/ 9525 w 128587"/>
                  <a:gd name="connsiteY3" fmla="*/ 38100 h 124280"/>
                  <a:gd name="connsiteX4" fmla="*/ 14287 w 128587"/>
                  <a:gd name="connsiteY4" fmla="*/ 54769 h 124280"/>
                  <a:gd name="connsiteX5" fmla="*/ 21431 w 128587"/>
                  <a:gd name="connsiteY5" fmla="*/ 59531 h 124280"/>
                  <a:gd name="connsiteX6" fmla="*/ 23812 w 128587"/>
                  <a:gd name="connsiteY6" fmla="*/ 66675 h 124280"/>
                  <a:gd name="connsiteX7" fmla="*/ 28575 w 128587"/>
                  <a:gd name="connsiteY7" fmla="*/ 83344 h 124280"/>
                  <a:gd name="connsiteX8" fmla="*/ 35719 w 128587"/>
                  <a:gd name="connsiteY8" fmla="*/ 90487 h 124280"/>
                  <a:gd name="connsiteX9" fmla="*/ 50006 w 128587"/>
                  <a:gd name="connsiteY9" fmla="*/ 95250 h 124280"/>
                  <a:gd name="connsiteX10" fmla="*/ 57150 w 128587"/>
                  <a:gd name="connsiteY10" fmla="*/ 97631 h 124280"/>
                  <a:gd name="connsiteX11" fmla="*/ 73819 w 128587"/>
                  <a:gd name="connsiteY11" fmla="*/ 97631 h 124280"/>
                  <a:gd name="connsiteX12" fmla="*/ 71437 w 128587"/>
                  <a:gd name="connsiteY12" fmla="*/ 116681 h 124280"/>
                  <a:gd name="connsiteX13" fmla="*/ 73819 w 128587"/>
                  <a:gd name="connsiteY13" fmla="*/ 123825 h 124280"/>
                  <a:gd name="connsiteX14" fmla="*/ 100012 w 128587"/>
                  <a:gd name="connsiteY14" fmla="*/ 119062 h 124280"/>
                  <a:gd name="connsiteX15" fmla="*/ 104775 w 128587"/>
                  <a:gd name="connsiteY15" fmla="*/ 111919 h 124280"/>
                  <a:gd name="connsiteX16" fmla="*/ 111919 w 128587"/>
                  <a:gd name="connsiteY16" fmla="*/ 109537 h 124280"/>
                  <a:gd name="connsiteX17" fmla="*/ 128587 w 128587"/>
                  <a:gd name="connsiteY17" fmla="*/ 107156 h 124280"/>
                  <a:gd name="connsiteX18" fmla="*/ 123825 w 128587"/>
                  <a:gd name="connsiteY18" fmla="*/ 64294 h 124280"/>
                  <a:gd name="connsiteX19" fmla="*/ 119062 w 128587"/>
                  <a:gd name="connsiteY19" fmla="*/ 50006 h 124280"/>
                  <a:gd name="connsiteX20" fmla="*/ 114300 w 128587"/>
                  <a:gd name="connsiteY20" fmla="*/ 42862 h 124280"/>
                  <a:gd name="connsiteX21" fmla="*/ 100012 w 128587"/>
                  <a:gd name="connsiteY21" fmla="*/ 33337 h 124280"/>
                  <a:gd name="connsiteX22" fmla="*/ 104775 w 128587"/>
                  <a:gd name="connsiteY22" fmla="*/ 26194 h 124280"/>
                  <a:gd name="connsiteX23" fmla="*/ 111919 w 128587"/>
                  <a:gd name="connsiteY23" fmla="*/ 23812 h 124280"/>
                  <a:gd name="connsiteX24" fmla="*/ 100012 w 128587"/>
                  <a:gd name="connsiteY24" fmla="*/ 14287 h 124280"/>
                  <a:gd name="connsiteX25" fmla="*/ 92869 w 128587"/>
                  <a:gd name="connsiteY25" fmla="*/ 7144 h 124280"/>
                  <a:gd name="connsiteX26" fmla="*/ 90487 w 128587"/>
                  <a:gd name="connsiteY26" fmla="*/ 14287 h 124280"/>
                  <a:gd name="connsiteX27" fmla="*/ 71437 w 128587"/>
                  <a:gd name="connsiteY27" fmla="*/ 21431 h 124280"/>
                  <a:gd name="connsiteX28" fmla="*/ 66675 w 128587"/>
                  <a:gd name="connsiteY28" fmla="*/ 7144 h 124280"/>
                  <a:gd name="connsiteX29" fmla="*/ 64294 w 128587"/>
                  <a:gd name="connsiteY29" fmla="*/ 0 h 124280"/>
                  <a:gd name="connsiteX30" fmla="*/ 54769 w 128587"/>
                  <a:gd name="connsiteY30" fmla="*/ 2381 h 124280"/>
                  <a:gd name="connsiteX31" fmla="*/ 47625 w 128587"/>
                  <a:gd name="connsiteY31" fmla="*/ 4762 h 124280"/>
                  <a:gd name="connsiteX32" fmla="*/ 35719 w 128587"/>
                  <a:gd name="connsiteY32" fmla="*/ 7144 h 124280"/>
                  <a:gd name="connsiteX33" fmla="*/ 21431 w 128587"/>
                  <a:gd name="connsiteY33" fmla="*/ 11906 h 124280"/>
                  <a:gd name="connsiteX34" fmla="*/ 23812 w 128587"/>
                  <a:gd name="connsiteY34" fmla="*/ 16669 h 124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28587" h="124280">
                    <a:moveTo>
                      <a:pt x="23812" y="16669"/>
                    </a:moveTo>
                    <a:cubicBezTo>
                      <a:pt x="20877" y="15495"/>
                      <a:pt x="9324" y="7899"/>
                      <a:pt x="4762" y="14287"/>
                    </a:cubicBezTo>
                    <a:cubicBezTo>
                      <a:pt x="1844" y="18372"/>
                      <a:pt x="0" y="28575"/>
                      <a:pt x="0" y="28575"/>
                    </a:cubicBezTo>
                    <a:cubicBezTo>
                      <a:pt x="6349" y="47626"/>
                      <a:pt x="-3175" y="25400"/>
                      <a:pt x="9525" y="38100"/>
                    </a:cubicBezTo>
                    <a:cubicBezTo>
                      <a:pt x="10742" y="39317"/>
                      <a:pt x="14164" y="54584"/>
                      <a:pt x="14287" y="54769"/>
                    </a:cubicBezTo>
                    <a:cubicBezTo>
                      <a:pt x="15875" y="57150"/>
                      <a:pt x="19050" y="57944"/>
                      <a:pt x="21431" y="59531"/>
                    </a:cubicBezTo>
                    <a:cubicBezTo>
                      <a:pt x="22225" y="61912"/>
                      <a:pt x="23122" y="64261"/>
                      <a:pt x="23812" y="66675"/>
                    </a:cubicBezTo>
                    <a:cubicBezTo>
                      <a:pt x="24208" y="68060"/>
                      <a:pt x="27150" y="81206"/>
                      <a:pt x="28575" y="83344"/>
                    </a:cubicBezTo>
                    <a:cubicBezTo>
                      <a:pt x="30443" y="86146"/>
                      <a:pt x="32775" y="88852"/>
                      <a:pt x="35719" y="90487"/>
                    </a:cubicBezTo>
                    <a:cubicBezTo>
                      <a:pt x="40107" y="92925"/>
                      <a:pt x="45244" y="93662"/>
                      <a:pt x="50006" y="95250"/>
                    </a:cubicBezTo>
                    <a:lnTo>
                      <a:pt x="57150" y="97631"/>
                    </a:lnTo>
                    <a:cubicBezTo>
                      <a:pt x="59831" y="96738"/>
                      <a:pt x="71726" y="91353"/>
                      <a:pt x="73819" y="97631"/>
                    </a:cubicBezTo>
                    <a:cubicBezTo>
                      <a:pt x="75843" y="103702"/>
                      <a:pt x="72231" y="110331"/>
                      <a:pt x="71437" y="116681"/>
                    </a:cubicBezTo>
                    <a:cubicBezTo>
                      <a:pt x="72231" y="119062"/>
                      <a:pt x="71369" y="123280"/>
                      <a:pt x="73819" y="123825"/>
                    </a:cubicBezTo>
                    <a:cubicBezTo>
                      <a:pt x="81900" y="125621"/>
                      <a:pt x="92077" y="121708"/>
                      <a:pt x="100012" y="119062"/>
                    </a:cubicBezTo>
                    <a:cubicBezTo>
                      <a:pt x="101600" y="116681"/>
                      <a:pt x="102540" y="113707"/>
                      <a:pt x="104775" y="111919"/>
                    </a:cubicBezTo>
                    <a:cubicBezTo>
                      <a:pt x="106735" y="110351"/>
                      <a:pt x="109458" y="110029"/>
                      <a:pt x="111919" y="109537"/>
                    </a:cubicBezTo>
                    <a:cubicBezTo>
                      <a:pt x="117422" y="108436"/>
                      <a:pt x="123031" y="107950"/>
                      <a:pt x="128587" y="107156"/>
                    </a:cubicBezTo>
                    <a:cubicBezTo>
                      <a:pt x="127055" y="85704"/>
                      <a:pt x="128590" y="80177"/>
                      <a:pt x="123825" y="64294"/>
                    </a:cubicBezTo>
                    <a:cubicBezTo>
                      <a:pt x="122382" y="59485"/>
                      <a:pt x="121847" y="54183"/>
                      <a:pt x="119062" y="50006"/>
                    </a:cubicBezTo>
                    <a:cubicBezTo>
                      <a:pt x="117475" y="47625"/>
                      <a:pt x="116454" y="44747"/>
                      <a:pt x="114300" y="42862"/>
                    </a:cubicBezTo>
                    <a:cubicBezTo>
                      <a:pt x="109992" y="39093"/>
                      <a:pt x="100012" y="33337"/>
                      <a:pt x="100012" y="33337"/>
                    </a:cubicBezTo>
                    <a:cubicBezTo>
                      <a:pt x="101600" y="30956"/>
                      <a:pt x="102540" y="27982"/>
                      <a:pt x="104775" y="26194"/>
                    </a:cubicBezTo>
                    <a:cubicBezTo>
                      <a:pt x="106735" y="24626"/>
                      <a:pt x="111310" y="26247"/>
                      <a:pt x="111919" y="23812"/>
                    </a:cubicBezTo>
                    <a:cubicBezTo>
                      <a:pt x="113576" y="17185"/>
                      <a:pt x="103018" y="15289"/>
                      <a:pt x="100012" y="14287"/>
                    </a:cubicBezTo>
                    <a:cubicBezTo>
                      <a:pt x="97631" y="11906"/>
                      <a:pt x="96236" y="7144"/>
                      <a:pt x="92869" y="7144"/>
                    </a:cubicBezTo>
                    <a:cubicBezTo>
                      <a:pt x="90359" y="7144"/>
                      <a:pt x="92055" y="12327"/>
                      <a:pt x="90487" y="14287"/>
                    </a:cubicBezTo>
                    <a:cubicBezTo>
                      <a:pt x="85814" y="20128"/>
                      <a:pt x="77894" y="20140"/>
                      <a:pt x="71437" y="21431"/>
                    </a:cubicBezTo>
                    <a:lnTo>
                      <a:pt x="66675" y="7144"/>
                    </a:lnTo>
                    <a:lnTo>
                      <a:pt x="64294" y="0"/>
                    </a:lnTo>
                    <a:cubicBezTo>
                      <a:pt x="61119" y="794"/>
                      <a:pt x="57916" y="1482"/>
                      <a:pt x="54769" y="2381"/>
                    </a:cubicBezTo>
                    <a:cubicBezTo>
                      <a:pt x="52355" y="3071"/>
                      <a:pt x="50060" y="4153"/>
                      <a:pt x="47625" y="4762"/>
                    </a:cubicBezTo>
                    <a:cubicBezTo>
                      <a:pt x="43699" y="5744"/>
                      <a:pt x="39624" y="6079"/>
                      <a:pt x="35719" y="7144"/>
                    </a:cubicBezTo>
                    <a:cubicBezTo>
                      <a:pt x="30876" y="8465"/>
                      <a:pt x="26194" y="10319"/>
                      <a:pt x="21431" y="11906"/>
                    </a:cubicBezTo>
                    <a:lnTo>
                      <a:pt x="23812" y="16669"/>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32" name="Freeform: Shape 831">
                <a:extLst>
                  <a:ext uri="{FF2B5EF4-FFF2-40B4-BE49-F238E27FC236}">
                    <a16:creationId xmlns:a16="http://schemas.microsoft.com/office/drawing/2014/main" id="{42644D49-7D9A-4B6E-9CAF-B3F656C1EC93}"/>
                  </a:ext>
                </a:extLst>
              </p:cNvPr>
              <p:cNvSpPr/>
              <p:nvPr/>
            </p:nvSpPr>
            <p:spPr>
              <a:xfrm>
                <a:off x="4352719" y="3626577"/>
                <a:ext cx="41709" cy="72000"/>
              </a:xfrm>
              <a:custGeom>
                <a:avLst/>
                <a:gdLst>
                  <a:gd name="connsiteX0" fmla="*/ 12833 w 41709"/>
                  <a:gd name="connsiteY0" fmla="*/ 48199 h 60343"/>
                  <a:gd name="connsiteX1" fmla="*/ 24740 w 41709"/>
                  <a:gd name="connsiteY1" fmla="*/ 41055 h 60343"/>
                  <a:gd name="connsiteX2" fmla="*/ 34265 w 41709"/>
                  <a:gd name="connsiteY2" fmla="*/ 19624 h 60343"/>
                  <a:gd name="connsiteX3" fmla="*/ 39027 w 41709"/>
                  <a:gd name="connsiteY3" fmla="*/ 12480 h 60343"/>
                  <a:gd name="connsiteX4" fmla="*/ 41408 w 41709"/>
                  <a:gd name="connsiteY4" fmla="*/ 2955 h 60343"/>
                  <a:gd name="connsiteX5" fmla="*/ 34265 w 41709"/>
                  <a:gd name="connsiteY5" fmla="*/ 574 h 60343"/>
                  <a:gd name="connsiteX6" fmla="*/ 24740 w 41709"/>
                  <a:gd name="connsiteY6" fmla="*/ 14861 h 60343"/>
                  <a:gd name="connsiteX7" fmla="*/ 17596 w 41709"/>
                  <a:gd name="connsiteY7" fmla="*/ 17243 h 60343"/>
                  <a:gd name="connsiteX8" fmla="*/ 927 w 41709"/>
                  <a:gd name="connsiteY8" fmla="*/ 36293 h 60343"/>
                  <a:gd name="connsiteX9" fmla="*/ 3308 w 41709"/>
                  <a:gd name="connsiteY9" fmla="*/ 43436 h 60343"/>
                  <a:gd name="connsiteX10" fmla="*/ 3308 w 41709"/>
                  <a:gd name="connsiteY10" fmla="*/ 60105 h 60343"/>
                  <a:gd name="connsiteX11" fmla="*/ 12833 w 41709"/>
                  <a:gd name="connsiteY11" fmla="*/ 48199 h 603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709" h="60343">
                    <a:moveTo>
                      <a:pt x="12833" y="48199"/>
                    </a:moveTo>
                    <a:cubicBezTo>
                      <a:pt x="16405" y="45024"/>
                      <a:pt x="21226" y="44067"/>
                      <a:pt x="24740" y="41055"/>
                    </a:cubicBezTo>
                    <a:cubicBezTo>
                      <a:pt x="32274" y="34597"/>
                      <a:pt x="28618" y="28096"/>
                      <a:pt x="34265" y="19624"/>
                    </a:cubicBezTo>
                    <a:lnTo>
                      <a:pt x="39027" y="12480"/>
                    </a:lnTo>
                    <a:cubicBezTo>
                      <a:pt x="39821" y="9305"/>
                      <a:pt x="42623" y="5994"/>
                      <a:pt x="41408" y="2955"/>
                    </a:cubicBezTo>
                    <a:cubicBezTo>
                      <a:pt x="40476" y="625"/>
                      <a:pt x="36307" y="-885"/>
                      <a:pt x="34265" y="574"/>
                    </a:cubicBezTo>
                    <a:cubicBezTo>
                      <a:pt x="29607" y="3901"/>
                      <a:pt x="27915" y="10099"/>
                      <a:pt x="24740" y="14861"/>
                    </a:cubicBezTo>
                    <a:cubicBezTo>
                      <a:pt x="23348" y="16950"/>
                      <a:pt x="19977" y="16449"/>
                      <a:pt x="17596" y="17243"/>
                    </a:cubicBezTo>
                    <a:cubicBezTo>
                      <a:pt x="6483" y="33911"/>
                      <a:pt x="12833" y="28355"/>
                      <a:pt x="927" y="36293"/>
                    </a:cubicBezTo>
                    <a:cubicBezTo>
                      <a:pt x="1721" y="38674"/>
                      <a:pt x="3308" y="40926"/>
                      <a:pt x="3308" y="43436"/>
                    </a:cubicBezTo>
                    <a:cubicBezTo>
                      <a:pt x="3308" y="51647"/>
                      <a:pt x="-4135" y="50801"/>
                      <a:pt x="3308" y="60105"/>
                    </a:cubicBezTo>
                    <a:cubicBezTo>
                      <a:pt x="4876" y="62065"/>
                      <a:pt x="9261" y="51374"/>
                      <a:pt x="12833" y="48199"/>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33" name="Freeform: Shape 832">
                <a:extLst>
                  <a:ext uri="{FF2B5EF4-FFF2-40B4-BE49-F238E27FC236}">
                    <a16:creationId xmlns:a16="http://schemas.microsoft.com/office/drawing/2014/main" id="{55964EF9-FE75-4941-9994-63E2CD6A0FC1}"/>
                  </a:ext>
                </a:extLst>
              </p:cNvPr>
              <p:cNvSpPr/>
              <p:nvPr/>
            </p:nvSpPr>
            <p:spPr>
              <a:xfrm>
                <a:off x="4317206" y="3676650"/>
                <a:ext cx="23813" cy="16943"/>
              </a:xfrm>
              <a:custGeom>
                <a:avLst/>
                <a:gdLst>
                  <a:gd name="connsiteX0" fmla="*/ 2382 w 23813"/>
                  <a:gd name="connsiteY0" fmla="*/ 9525 h 16943"/>
                  <a:gd name="connsiteX1" fmla="*/ 14288 w 23813"/>
                  <a:gd name="connsiteY1" fmla="*/ 14288 h 16943"/>
                  <a:gd name="connsiteX2" fmla="*/ 21432 w 23813"/>
                  <a:gd name="connsiteY2" fmla="*/ 16669 h 16943"/>
                  <a:gd name="connsiteX3" fmla="*/ 23813 w 23813"/>
                  <a:gd name="connsiteY3" fmla="*/ 9525 h 16943"/>
                  <a:gd name="connsiteX4" fmla="*/ 2382 w 23813"/>
                  <a:gd name="connsiteY4" fmla="*/ 0 h 16943"/>
                  <a:gd name="connsiteX5" fmla="*/ 0 w 23813"/>
                  <a:gd name="connsiteY5" fmla="*/ 7144 h 16943"/>
                  <a:gd name="connsiteX6" fmla="*/ 2382 w 23813"/>
                  <a:gd name="connsiteY6" fmla="*/ 9525 h 169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813" h="16943">
                    <a:moveTo>
                      <a:pt x="2382" y="9525"/>
                    </a:moveTo>
                    <a:cubicBezTo>
                      <a:pt x="4763" y="10716"/>
                      <a:pt x="10286" y="12787"/>
                      <a:pt x="14288" y="14288"/>
                    </a:cubicBezTo>
                    <a:cubicBezTo>
                      <a:pt x="16638" y="15169"/>
                      <a:pt x="19187" y="17792"/>
                      <a:pt x="21432" y="16669"/>
                    </a:cubicBezTo>
                    <a:cubicBezTo>
                      <a:pt x="23677" y="15546"/>
                      <a:pt x="23019" y="11906"/>
                      <a:pt x="23813" y="9525"/>
                    </a:cubicBezTo>
                    <a:cubicBezTo>
                      <a:pt x="6810" y="3858"/>
                      <a:pt x="13702" y="7548"/>
                      <a:pt x="2382" y="0"/>
                    </a:cubicBezTo>
                    <a:cubicBezTo>
                      <a:pt x="1588" y="2381"/>
                      <a:pt x="0" y="4634"/>
                      <a:pt x="0" y="7144"/>
                    </a:cubicBezTo>
                    <a:cubicBezTo>
                      <a:pt x="0" y="12616"/>
                      <a:pt x="1" y="8334"/>
                      <a:pt x="2382" y="9525"/>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34" name="Freeform: Shape 833">
                <a:extLst>
                  <a:ext uri="{FF2B5EF4-FFF2-40B4-BE49-F238E27FC236}">
                    <a16:creationId xmlns:a16="http://schemas.microsoft.com/office/drawing/2014/main" id="{F841ABD0-459F-403F-926C-F5169A0B795A}"/>
                  </a:ext>
                </a:extLst>
              </p:cNvPr>
              <p:cNvSpPr/>
              <p:nvPr/>
            </p:nvSpPr>
            <p:spPr>
              <a:xfrm>
                <a:off x="4383881" y="3657600"/>
                <a:ext cx="92869" cy="64294"/>
              </a:xfrm>
              <a:custGeom>
                <a:avLst/>
                <a:gdLst>
                  <a:gd name="connsiteX0" fmla="*/ 61913 w 92869"/>
                  <a:gd name="connsiteY0" fmla="*/ 23813 h 64294"/>
                  <a:gd name="connsiteX1" fmla="*/ 52388 w 92869"/>
                  <a:gd name="connsiteY1" fmla="*/ 11906 h 64294"/>
                  <a:gd name="connsiteX2" fmla="*/ 38100 w 92869"/>
                  <a:gd name="connsiteY2" fmla="*/ 7144 h 64294"/>
                  <a:gd name="connsiteX3" fmla="*/ 23813 w 92869"/>
                  <a:gd name="connsiteY3" fmla="*/ 0 h 64294"/>
                  <a:gd name="connsiteX4" fmla="*/ 14288 w 92869"/>
                  <a:gd name="connsiteY4" fmla="*/ 2381 h 64294"/>
                  <a:gd name="connsiteX5" fmla="*/ 11907 w 92869"/>
                  <a:gd name="connsiteY5" fmla="*/ 9525 h 64294"/>
                  <a:gd name="connsiteX6" fmla="*/ 16669 w 92869"/>
                  <a:gd name="connsiteY6" fmla="*/ 16669 h 64294"/>
                  <a:gd name="connsiteX7" fmla="*/ 19050 w 92869"/>
                  <a:gd name="connsiteY7" fmla="*/ 26194 h 64294"/>
                  <a:gd name="connsiteX8" fmla="*/ 16669 w 92869"/>
                  <a:gd name="connsiteY8" fmla="*/ 33338 h 64294"/>
                  <a:gd name="connsiteX9" fmla="*/ 7144 w 92869"/>
                  <a:gd name="connsiteY9" fmla="*/ 35719 h 64294"/>
                  <a:gd name="connsiteX10" fmla="*/ 0 w 92869"/>
                  <a:gd name="connsiteY10" fmla="*/ 40481 h 64294"/>
                  <a:gd name="connsiteX11" fmla="*/ 2382 w 92869"/>
                  <a:gd name="connsiteY11" fmla="*/ 47625 h 64294"/>
                  <a:gd name="connsiteX12" fmla="*/ 28575 w 92869"/>
                  <a:gd name="connsiteY12" fmla="*/ 57150 h 64294"/>
                  <a:gd name="connsiteX13" fmla="*/ 42863 w 92869"/>
                  <a:gd name="connsiteY13" fmla="*/ 61913 h 64294"/>
                  <a:gd name="connsiteX14" fmla="*/ 50007 w 92869"/>
                  <a:gd name="connsiteY14" fmla="*/ 64294 h 64294"/>
                  <a:gd name="connsiteX15" fmla="*/ 88107 w 92869"/>
                  <a:gd name="connsiteY15" fmla="*/ 54769 h 64294"/>
                  <a:gd name="connsiteX16" fmla="*/ 92869 w 92869"/>
                  <a:gd name="connsiteY16" fmla="*/ 47625 h 64294"/>
                  <a:gd name="connsiteX17" fmla="*/ 90488 w 92869"/>
                  <a:gd name="connsiteY17" fmla="*/ 40481 h 64294"/>
                  <a:gd name="connsiteX18" fmla="*/ 73819 w 92869"/>
                  <a:gd name="connsiteY18" fmla="*/ 19050 h 64294"/>
                  <a:gd name="connsiteX19" fmla="*/ 61913 w 92869"/>
                  <a:gd name="connsiteY19" fmla="*/ 21431 h 64294"/>
                  <a:gd name="connsiteX20" fmla="*/ 54769 w 92869"/>
                  <a:gd name="connsiteY20" fmla="*/ 23813 h 64294"/>
                  <a:gd name="connsiteX21" fmla="*/ 40482 w 92869"/>
                  <a:gd name="connsiteY21" fmla="*/ 16669 h 64294"/>
                  <a:gd name="connsiteX22" fmla="*/ 33338 w 92869"/>
                  <a:gd name="connsiteY22" fmla="*/ 9525 h 64294"/>
                  <a:gd name="connsiteX23" fmla="*/ 26194 w 92869"/>
                  <a:gd name="connsiteY23" fmla="*/ 7144 h 64294"/>
                  <a:gd name="connsiteX24" fmla="*/ 61913 w 92869"/>
                  <a:gd name="connsiteY24" fmla="*/ 23813 h 64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92869" h="64294">
                    <a:moveTo>
                      <a:pt x="61913" y="23813"/>
                    </a:moveTo>
                    <a:cubicBezTo>
                      <a:pt x="58738" y="19844"/>
                      <a:pt x="56552" y="14821"/>
                      <a:pt x="52388" y="11906"/>
                    </a:cubicBezTo>
                    <a:cubicBezTo>
                      <a:pt x="48275" y="9027"/>
                      <a:pt x="38100" y="7144"/>
                      <a:pt x="38100" y="7144"/>
                    </a:cubicBezTo>
                    <a:cubicBezTo>
                      <a:pt x="34487" y="4735"/>
                      <a:pt x="28744" y="0"/>
                      <a:pt x="23813" y="0"/>
                    </a:cubicBezTo>
                    <a:cubicBezTo>
                      <a:pt x="20540" y="0"/>
                      <a:pt x="17463" y="1587"/>
                      <a:pt x="14288" y="2381"/>
                    </a:cubicBezTo>
                    <a:cubicBezTo>
                      <a:pt x="13494" y="4762"/>
                      <a:pt x="11494" y="7049"/>
                      <a:pt x="11907" y="9525"/>
                    </a:cubicBezTo>
                    <a:cubicBezTo>
                      <a:pt x="12377" y="12348"/>
                      <a:pt x="15542" y="14038"/>
                      <a:pt x="16669" y="16669"/>
                    </a:cubicBezTo>
                    <a:cubicBezTo>
                      <a:pt x="17958" y="19677"/>
                      <a:pt x="18256" y="23019"/>
                      <a:pt x="19050" y="26194"/>
                    </a:cubicBezTo>
                    <a:cubicBezTo>
                      <a:pt x="18256" y="28575"/>
                      <a:pt x="18629" y="31770"/>
                      <a:pt x="16669" y="33338"/>
                    </a:cubicBezTo>
                    <a:cubicBezTo>
                      <a:pt x="14113" y="35382"/>
                      <a:pt x="10152" y="34430"/>
                      <a:pt x="7144" y="35719"/>
                    </a:cubicBezTo>
                    <a:cubicBezTo>
                      <a:pt x="4513" y="36846"/>
                      <a:pt x="2381" y="38894"/>
                      <a:pt x="0" y="40481"/>
                    </a:cubicBezTo>
                    <a:cubicBezTo>
                      <a:pt x="794" y="42862"/>
                      <a:pt x="814" y="45665"/>
                      <a:pt x="2382" y="47625"/>
                    </a:cubicBezTo>
                    <a:cubicBezTo>
                      <a:pt x="7829" y="54434"/>
                      <a:pt x="23083" y="55319"/>
                      <a:pt x="28575" y="57150"/>
                    </a:cubicBezTo>
                    <a:lnTo>
                      <a:pt x="42863" y="61913"/>
                    </a:lnTo>
                    <a:lnTo>
                      <a:pt x="50007" y="64294"/>
                    </a:lnTo>
                    <a:cubicBezTo>
                      <a:pt x="62276" y="45887"/>
                      <a:pt x="46745" y="65110"/>
                      <a:pt x="88107" y="54769"/>
                    </a:cubicBezTo>
                    <a:cubicBezTo>
                      <a:pt x="90883" y="54075"/>
                      <a:pt x="91282" y="50006"/>
                      <a:pt x="92869" y="47625"/>
                    </a:cubicBezTo>
                    <a:cubicBezTo>
                      <a:pt x="92075" y="45244"/>
                      <a:pt x="91707" y="42675"/>
                      <a:pt x="90488" y="40481"/>
                    </a:cubicBezTo>
                    <a:cubicBezTo>
                      <a:pt x="83368" y="27665"/>
                      <a:pt x="82496" y="27727"/>
                      <a:pt x="73819" y="19050"/>
                    </a:cubicBezTo>
                    <a:cubicBezTo>
                      <a:pt x="69850" y="19844"/>
                      <a:pt x="65839" y="20449"/>
                      <a:pt x="61913" y="21431"/>
                    </a:cubicBezTo>
                    <a:cubicBezTo>
                      <a:pt x="59478" y="22040"/>
                      <a:pt x="57279" y="23813"/>
                      <a:pt x="54769" y="23813"/>
                    </a:cubicBezTo>
                    <a:cubicBezTo>
                      <a:pt x="50475" y="23813"/>
                      <a:pt x="43371" y="19076"/>
                      <a:pt x="40482" y="16669"/>
                    </a:cubicBezTo>
                    <a:cubicBezTo>
                      <a:pt x="37895" y="14513"/>
                      <a:pt x="36140" y="11393"/>
                      <a:pt x="33338" y="9525"/>
                    </a:cubicBezTo>
                    <a:cubicBezTo>
                      <a:pt x="31249" y="8133"/>
                      <a:pt x="28575" y="7938"/>
                      <a:pt x="26194" y="7144"/>
                    </a:cubicBezTo>
                    <a:lnTo>
                      <a:pt x="61913" y="23813"/>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35" name="Freeform: Shape 834">
                <a:extLst>
                  <a:ext uri="{FF2B5EF4-FFF2-40B4-BE49-F238E27FC236}">
                    <a16:creationId xmlns:a16="http://schemas.microsoft.com/office/drawing/2014/main" id="{1ADB9F4D-41F5-4751-B0F9-2D5643195D17}"/>
                  </a:ext>
                </a:extLst>
              </p:cNvPr>
              <p:cNvSpPr/>
              <p:nvPr/>
            </p:nvSpPr>
            <p:spPr>
              <a:xfrm>
                <a:off x="4462363" y="3652838"/>
                <a:ext cx="47725" cy="64459"/>
              </a:xfrm>
              <a:custGeom>
                <a:avLst/>
                <a:gdLst>
                  <a:gd name="connsiteX0" fmla="*/ 7243 w 47725"/>
                  <a:gd name="connsiteY0" fmla="*/ 4762 h 71437"/>
                  <a:gd name="connsiteX1" fmla="*/ 100 w 47725"/>
                  <a:gd name="connsiteY1" fmla="*/ 16668 h 71437"/>
                  <a:gd name="connsiteX2" fmla="*/ 7243 w 47725"/>
                  <a:gd name="connsiteY2" fmla="*/ 33337 h 71437"/>
                  <a:gd name="connsiteX3" fmla="*/ 14387 w 47725"/>
                  <a:gd name="connsiteY3" fmla="*/ 35718 h 71437"/>
                  <a:gd name="connsiteX4" fmla="*/ 19150 w 47725"/>
                  <a:gd name="connsiteY4" fmla="*/ 50006 h 71437"/>
                  <a:gd name="connsiteX5" fmla="*/ 28675 w 47725"/>
                  <a:gd name="connsiteY5" fmla="*/ 71437 h 71437"/>
                  <a:gd name="connsiteX6" fmla="*/ 31056 w 47725"/>
                  <a:gd name="connsiteY6" fmla="*/ 64293 h 71437"/>
                  <a:gd name="connsiteX7" fmla="*/ 35818 w 47725"/>
                  <a:gd name="connsiteY7" fmla="*/ 57150 h 71437"/>
                  <a:gd name="connsiteX8" fmla="*/ 33437 w 47725"/>
                  <a:gd name="connsiteY8" fmla="*/ 45243 h 71437"/>
                  <a:gd name="connsiteX9" fmla="*/ 35818 w 47725"/>
                  <a:gd name="connsiteY9" fmla="*/ 33337 h 71437"/>
                  <a:gd name="connsiteX10" fmla="*/ 42962 w 47725"/>
                  <a:gd name="connsiteY10" fmla="*/ 30956 h 71437"/>
                  <a:gd name="connsiteX11" fmla="*/ 47725 w 47725"/>
                  <a:gd name="connsiteY11" fmla="*/ 23812 h 71437"/>
                  <a:gd name="connsiteX12" fmla="*/ 45343 w 47725"/>
                  <a:gd name="connsiteY12" fmla="*/ 14287 h 71437"/>
                  <a:gd name="connsiteX13" fmla="*/ 31056 w 47725"/>
                  <a:gd name="connsiteY13" fmla="*/ 7143 h 71437"/>
                  <a:gd name="connsiteX14" fmla="*/ 16768 w 47725"/>
                  <a:gd name="connsiteY14" fmla="*/ 0 h 71437"/>
                  <a:gd name="connsiteX15" fmla="*/ 9625 w 47725"/>
                  <a:gd name="connsiteY15" fmla="*/ 4762 h 71437"/>
                  <a:gd name="connsiteX16" fmla="*/ 7243 w 47725"/>
                  <a:gd name="connsiteY16" fmla="*/ 4762 h 71437"/>
                  <a:gd name="connsiteX0" fmla="*/ 7243 w 47725"/>
                  <a:gd name="connsiteY0" fmla="*/ 4762 h 64459"/>
                  <a:gd name="connsiteX1" fmla="*/ 100 w 47725"/>
                  <a:gd name="connsiteY1" fmla="*/ 16668 h 64459"/>
                  <a:gd name="connsiteX2" fmla="*/ 7243 w 47725"/>
                  <a:gd name="connsiteY2" fmla="*/ 33337 h 64459"/>
                  <a:gd name="connsiteX3" fmla="*/ 14387 w 47725"/>
                  <a:gd name="connsiteY3" fmla="*/ 35718 h 64459"/>
                  <a:gd name="connsiteX4" fmla="*/ 19150 w 47725"/>
                  <a:gd name="connsiteY4" fmla="*/ 50006 h 64459"/>
                  <a:gd name="connsiteX5" fmla="*/ 31056 w 47725"/>
                  <a:gd name="connsiteY5" fmla="*/ 64293 h 64459"/>
                  <a:gd name="connsiteX6" fmla="*/ 35818 w 47725"/>
                  <a:gd name="connsiteY6" fmla="*/ 57150 h 64459"/>
                  <a:gd name="connsiteX7" fmla="*/ 33437 w 47725"/>
                  <a:gd name="connsiteY7" fmla="*/ 45243 h 64459"/>
                  <a:gd name="connsiteX8" fmla="*/ 35818 w 47725"/>
                  <a:gd name="connsiteY8" fmla="*/ 33337 h 64459"/>
                  <a:gd name="connsiteX9" fmla="*/ 42962 w 47725"/>
                  <a:gd name="connsiteY9" fmla="*/ 30956 h 64459"/>
                  <a:gd name="connsiteX10" fmla="*/ 47725 w 47725"/>
                  <a:gd name="connsiteY10" fmla="*/ 23812 h 64459"/>
                  <a:gd name="connsiteX11" fmla="*/ 45343 w 47725"/>
                  <a:gd name="connsiteY11" fmla="*/ 14287 h 64459"/>
                  <a:gd name="connsiteX12" fmla="*/ 31056 w 47725"/>
                  <a:gd name="connsiteY12" fmla="*/ 7143 h 64459"/>
                  <a:gd name="connsiteX13" fmla="*/ 16768 w 47725"/>
                  <a:gd name="connsiteY13" fmla="*/ 0 h 64459"/>
                  <a:gd name="connsiteX14" fmla="*/ 9625 w 47725"/>
                  <a:gd name="connsiteY14" fmla="*/ 4762 h 64459"/>
                  <a:gd name="connsiteX15" fmla="*/ 7243 w 47725"/>
                  <a:gd name="connsiteY15" fmla="*/ 4762 h 64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725" h="64459">
                    <a:moveTo>
                      <a:pt x="7243" y="4762"/>
                    </a:moveTo>
                    <a:cubicBezTo>
                      <a:pt x="5655" y="6746"/>
                      <a:pt x="1104" y="12150"/>
                      <a:pt x="100" y="16668"/>
                    </a:cubicBezTo>
                    <a:cubicBezTo>
                      <a:pt x="-763" y="20552"/>
                      <a:pt x="4110" y="30830"/>
                      <a:pt x="7243" y="33337"/>
                    </a:cubicBezTo>
                    <a:cubicBezTo>
                      <a:pt x="9203" y="34905"/>
                      <a:pt x="12006" y="34924"/>
                      <a:pt x="14387" y="35718"/>
                    </a:cubicBezTo>
                    <a:cubicBezTo>
                      <a:pt x="15975" y="40481"/>
                      <a:pt x="16372" y="45244"/>
                      <a:pt x="19150" y="50006"/>
                    </a:cubicBezTo>
                    <a:cubicBezTo>
                      <a:pt x="21928" y="54769"/>
                      <a:pt x="28278" y="63102"/>
                      <a:pt x="31056" y="64293"/>
                    </a:cubicBezTo>
                    <a:cubicBezTo>
                      <a:pt x="33834" y="65484"/>
                      <a:pt x="35463" y="59990"/>
                      <a:pt x="35818" y="57150"/>
                    </a:cubicBezTo>
                    <a:cubicBezTo>
                      <a:pt x="36320" y="53134"/>
                      <a:pt x="34231" y="49212"/>
                      <a:pt x="33437" y="45243"/>
                    </a:cubicBezTo>
                    <a:cubicBezTo>
                      <a:pt x="34231" y="41274"/>
                      <a:pt x="33573" y="36704"/>
                      <a:pt x="35818" y="33337"/>
                    </a:cubicBezTo>
                    <a:cubicBezTo>
                      <a:pt x="37210" y="31248"/>
                      <a:pt x="41002" y="32524"/>
                      <a:pt x="42962" y="30956"/>
                    </a:cubicBezTo>
                    <a:cubicBezTo>
                      <a:pt x="45197" y="29168"/>
                      <a:pt x="46137" y="26193"/>
                      <a:pt x="47725" y="23812"/>
                    </a:cubicBezTo>
                    <a:cubicBezTo>
                      <a:pt x="46931" y="20637"/>
                      <a:pt x="47158" y="17010"/>
                      <a:pt x="45343" y="14287"/>
                    </a:cubicBezTo>
                    <a:cubicBezTo>
                      <a:pt x="41932" y="9171"/>
                      <a:pt x="35809" y="9519"/>
                      <a:pt x="31056" y="7143"/>
                    </a:cubicBezTo>
                    <a:cubicBezTo>
                      <a:pt x="12598" y="-2086"/>
                      <a:pt x="34718" y="5983"/>
                      <a:pt x="16768" y="0"/>
                    </a:cubicBezTo>
                    <a:cubicBezTo>
                      <a:pt x="14387" y="1587"/>
                      <a:pt x="11212" y="2381"/>
                      <a:pt x="9625" y="4762"/>
                    </a:cubicBezTo>
                    <a:cubicBezTo>
                      <a:pt x="7810" y="7485"/>
                      <a:pt x="8831" y="2778"/>
                      <a:pt x="7243" y="4762"/>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36" name="Freeform: Shape 835">
                <a:extLst>
                  <a:ext uri="{FF2B5EF4-FFF2-40B4-BE49-F238E27FC236}">
                    <a16:creationId xmlns:a16="http://schemas.microsoft.com/office/drawing/2014/main" id="{A26A65A8-D3EC-4AAB-ACC1-2B5E97CCE3DD}"/>
                  </a:ext>
                </a:extLst>
              </p:cNvPr>
              <p:cNvSpPr/>
              <p:nvPr/>
            </p:nvSpPr>
            <p:spPr>
              <a:xfrm>
                <a:off x="4502944" y="3638550"/>
                <a:ext cx="50373" cy="38100"/>
              </a:xfrm>
              <a:custGeom>
                <a:avLst/>
                <a:gdLst>
                  <a:gd name="connsiteX0" fmla="*/ 50006 w 50373"/>
                  <a:gd name="connsiteY0" fmla="*/ 14288 h 38100"/>
                  <a:gd name="connsiteX1" fmla="*/ 38100 w 50373"/>
                  <a:gd name="connsiteY1" fmla="*/ 7144 h 38100"/>
                  <a:gd name="connsiteX2" fmla="*/ 4762 w 50373"/>
                  <a:gd name="connsiteY2" fmla="*/ 0 h 38100"/>
                  <a:gd name="connsiteX3" fmla="*/ 2381 w 50373"/>
                  <a:gd name="connsiteY3" fmla="*/ 21431 h 38100"/>
                  <a:gd name="connsiteX4" fmla="*/ 0 w 50373"/>
                  <a:gd name="connsiteY4" fmla="*/ 28575 h 38100"/>
                  <a:gd name="connsiteX5" fmla="*/ 2381 w 50373"/>
                  <a:gd name="connsiteY5" fmla="*/ 35719 h 38100"/>
                  <a:gd name="connsiteX6" fmla="*/ 9525 w 50373"/>
                  <a:gd name="connsiteY6" fmla="*/ 38100 h 38100"/>
                  <a:gd name="connsiteX7" fmla="*/ 23812 w 50373"/>
                  <a:gd name="connsiteY7" fmla="*/ 28575 h 38100"/>
                  <a:gd name="connsiteX8" fmla="*/ 50006 w 50373"/>
                  <a:gd name="connsiteY8" fmla="*/ 14288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0373" h="38100">
                    <a:moveTo>
                      <a:pt x="50006" y="14288"/>
                    </a:moveTo>
                    <a:cubicBezTo>
                      <a:pt x="52387" y="10716"/>
                      <a:pt x="42590" y="8267"/>
                      <a:pt x="38100" y="7144"/>
                    </a:cubicBezTo>
                    <a:cubicBezTo>
                      <a:pt x="-2033" y="-2889"/>
                      <a:pt x="22821" y="12040"/>
                      <a:pt x="4762" y="0"/>
                    </a:cubicBezTo>
                    <a:cubicBezTo>
                      <a:pt x="3968" y="7144"/>
                      <a:pt x="3563" y="14341"/>
                      <a:pt x="2381" y="21431"/>
                    </a:cubicBezTo>
                    <a:cubicBezTo>
                      <a:pt x="1968" y="23907"/>
                      <a:pt x="0" y="26065"/>
                      <a:pt x="0" y="28575"/>
                    </a:cubicBezTo>
                    <a:cubicBezTo>
                      <a:pt x="0" y="31085"/>
                      <a:pt x="606" y="33944"/>
                      <a:pt x="2381" y="35719"/>
                    </a:cubicBezTo>
                    <a:cubicBezTo>
                      <a:pt x="4156" y="37494"/>
                      <a:pt x="7144" y="37306"/>
                      <a:pt x="9525" y="38100"/>
                    </a:cubicBezTo>
                    <a:cubicBezTo>
                      <a:pt x="15501" y="32124"/>
                      <a:pt x="15667" y="29828"/>
                      <a:pt x="23812" y="28575"/>
                    </a:cubicBezTo>
                    <a:cubicBezTo>
                      <a:pt x="31697" y="27362"/>
                      <a:pt x="47625" y="17860"/>
                      <a:pt x="50006" y="14288"/>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37" name="Freeform: Shape 836">
                <a:extLst>
                  <a:ext uri="{FF2B5EF4-FFF2-40B4-BE49-F238E27FC236}">
                    <a16:creationId xmlns:a16="http://schemas.microsoft.com/office/drawing/2014/main" id="{9D9D30EE-B4A8-489A-9A34-BA6F99CCBC05}"/>
                  </a:ext>
                </a:extLst>
              </p:cNvPr>
              <p:cNvSpPr/>
              <p:nvPr/>
            </p:nvSpPr>
            <p:spPr>
              <a:xfrm>
                <a:off x="4757738" y="3584354"/>
                <a:ext cx="69920" cy="63721"/>
              </a:xfrm>
              <a:custGeom>
                <a:avLst/>
                <a:gdLst>
                  <a:gd name="connsiteX0" fmla="*/ 2381 w 69920"/>
                  <a:gd name="connsiteY0" fmla="*/ 0 h 61912"/>
                  <a:gd name="connsiteX1" fmla="*/ 0 w 69920"/>
                  <a:gd name="connsiteY1" fmla="*/ 33337 h 61912"/>
                  <a:gd name="connsiteX2" fmla="*/ 2381 w 69920"/>
                  <a:gd name="connsiteY2" fmla="*/ 42862 h 61912"/>
                  <a:gd name="connsiteX3" fmla="*/ 19050 w 69920"/>
                  <a:gd name="connsiteY3" fmla="*/ 52387 h 61912"/>
                  <a:gd name="connsiteX4" fmla="*/ 26193 w 69920"/>
                  <a:gd name="connsiteY4" fmla="*/ 57150 h 61912"/>
                  <a:gd name="connsiteX5" fmla="*/ 57150 w 69920"/>
                  <a:gd name="connsiteY5" fmla="*/ 61912 h 61912"/>
                  <a:gd name="connsiteX6" fmla="*/ 66675 w 69920"/>
                  <a:gd name="connsiteY6" fmla="*/ 59531 h 61912"/>
                  <a:gd name="connsiteX7" fmla="*/ 57150 w 69920"/>
                  <a:gd name="connsiteY7" fmla="*/ 30956 h 61912"/>
                  <a:gd name="connsiteX8" fmla="*/ 50006 w 69920"/>
                  <a:gd name="connsiteY8" fmla="*/ 26193 h 61912"/>
                  <a:gd name="connsiteX9" fmla="*/ 40481 w 69920"/>
                  <a:gd name="connsiteY9" fmla="*/ 23812 h 61912"/>
                  <a:gd name="connsiteX10" fmla="*/ 33337 w 69920"/>
                  <a:gd name="connsiteY10" fmla="*/ 21431 h 61912"/>
                  <a:gd name="connsiteX11" fmla="*/ 4762 w 69920"/>
                  <a:gd name="connsiteY11" fmla="*/ 7143 h 61912"/>
                  <a:gd name="connsiteX12" fmla="*/ 2381 w 69920"/>
                  <a:gd name="connsiteY12" fmla="*/ 0 h 61912"/>
                  <a:gd name="connsiteX0" fmla="*/ 4762 w 69920"/>
                  <a:gd name="connsiteY0" fmla="*/ 0 h 54769"/>
                  <a:gd name="connsiteX1" fmla="*/ 0 w 69920"/>
                  <a:gd name="connsiteY1" fmla="*/ 26194 h 54769"/>
                  <a:gd name="connsiteX2" fmla="*/ 2381 w 69920"/>
                  <a:gd name="connsiteY2" fmla="*/ 35719 h 54769"/>
                  <a:gd name="connsiteX3" fmla="*/ 19050 w 69920"/>
                  <a:gd name="connsiteY3" fmla="*/ 45244 h 54769"/>
                  <a:gd name="connsiteX4" fmla="*/ 26193 w 69920"/>
                  <a:gd name="connsiteY4" fmla="*/ 50007 h 54769"/>
                  <a:gd name="connsiteX5" fmla="*/ 57150 w 69920"/>
                  <a:gd name="connsiteY5" fmla="*/ 54769 h 54769"/>
                  <a:gd name="connsiteX6" fmla="*/ 66675 w 69920"/>
                  <a:gd name="connsiteY6" fmla="*/ 52388 h 54769"/>
                  <a:gd name="connsiteX7" fmla="*/ 57150 w 69920"/>
                  <a:gd name="connsiteY7" fmla="*/ 23813 h 54769"/>
                  <a:gd name="connsiteX8" fmla="*/ 50006 w 69920"/>
                  <a:gd name="connsiteY8" fmla="*/ 19050 h 54769"/>
                  <a:gd name="connsiteX9" fmla="*/ 40481 w 69920"/>
                  <a:gd name="connsiteY9" fmla="*/ 16669 h 54769"/>
                  <a:gd name="connsiteX10" fmla="*/ 33337 w 69920"/>
                  <a:gd name="connsiteY10" fmla="*/ 14288 h 54769"/>
                  <a:gd name="connsiteX11" fmla="*/ 4762 w 69920"/>
                  <a:gd name="connsiteY11" fmla="*/ 0 h 547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9920" h="54769">
                    <a:moveTo>
                      <a:pt x="4762" y="0"/>
                    </a:moveTo>
                    <a:lnTo>
                      <a:pt x="0" y="26194"/>
                    </a:lnTo>
                    <a:cubicBezTo>
                      <a:pt x="0" y="29467"/>
                      <a:pt x="566" y="32996"/>
                      <a:pt x="2381" y="35719"/>
                    </a:cubicBezTo>
                    <a:cubicBezTo>
                      <a:pt x="4167" y="38398"/>
                      <a:pt x="17273" y="44229"/>
                      <a:pt x="19050" y="45244"/>
                    </a:cubicBezTo>
                    <a:cubicBezTo>
                      <a:pt x="21535" y="46664"/>
                      <a:pt x="23633" y="48727"/>
                      <a:pt x="26193" y="50007"/>
                    </a:cubicBezTo>
                    <a:cubicBezTo>
                      <a:pt x="34773" y="54297"/>
                      <a:pt x="50328" y="54087"/>
                      <a:pt x="57150" y="54769"/>
                    </a:cubicBezTo>
                    <a:cubicBezTo>
                      <a:pt x="60325" y="53975"/>
                      <a:pt x="65881" y="55563"/>
                      <a:pt x="66675" y="52388"/>
                    </a:cubicBezTo>
                    <a:cubicBezTo>
                      <a:pt x="73095" y="26704"/>
                      <a:pt x="70026" y="28105"/>
                      <a:pt x="57150" y="23813"/>
                    </a:cubicBezTo>
                    <a:cubicBezTo>
                      <a:pt x="54769" y="22225"/>
                      <a:pt x="52637" y="20177"/>
                      <a:pt x="50006" y="19050"/>
                    </a:cubicBezTo>
                    <a:cubicBezTo>
                      <a:pt x="46998" y="17761"/>
                      <a:pt x="43628" y="17568"/>
                      <a:pt x="40481" y="16669"/>
                    </a:cubicBezTo>
                    <a:cubicBezTo>
                      <a:pt x="38067" y="15979"/>
                      <a:pt x="35718" y="15082"/>
                      <a:pt x="33337" y="14288"/>
                    </a:cubicBezTo>
                    <a:cubicBezTo>
                      <a:pt x="26113" y="9472"/>
                      <a:pt x="14621" y="0"/>
                      <a:pt x="4762" y="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38" name="Freeform: Shape 837">
                <a:extLst>
                  <a:ext uri="{FF2B5EF4-FFF2-40B4-BE49-F238E27FC236}">
                    <a16:creationId xmlns:a16="http://schemas.microsoft.com/office/drawing/2014/main" id="{CB50183C-76D2-4789-AE47-C45E8A071903}"/>
                  </a:ext>
                </a:extLst>
              </p:cNvPr>
              <p:cNvSpPr/>
              <p:nvPr/>
            </p:nvSpPr>
            <p:spPr>
              <a:xfrm>
                <a:off x="4374006" y="3455194"/>
                <a:ext cx="176742" cy="200025"/>
              </a:xfrm>
              <a:custGeom>
                <a:avLst/>
                <a:gdLst>
                  <a:gd name="connsiteX0" fmla="*/ 9875 w 176742"/>
                  <a:gd name="connsiteY0" fmla="*/ 71437 h 200025"/>
                  <a:gd name="connsiteX1" fmla="*/ 45594 w 176742"/>
                  <a:gd name="connsiteY1" fmla="*/ 71437 h 200025"/>
                  <a:gd name="connsiteX2" fmla="*/ 50357 w 176742"/>
                  <a:gd name="connsiteY2" fmla="*/ 57150 h 200025"/>
                  <a:gd name="connsiteX3" fmla="*/ 55119 w 176742"/>
                  <a:gd name="connsiteY3" fmla="*/ 50006 h 200025"/>
                  <a:gd name="connsiteX4" fmla="*/ 38450 w 176742"/>
                  <a:gd name="connsiteY4" fmla="*/ 30956 h 200025"/>
                  <a:gd name="connsiteX5" fmla="*/ 45594 w 176742"/>
                  <a:gd name="connsiteY5" fmla="*/ 33337 h 200025"/>
                  <a:gd name="connsiteX6" fmla="*/ 52738 w 176742"/>
                  <a:gd name="connsiteY6" fmla="*/ 35719 h 200025"/>
                  <a:gd name="connsiteX7" fmla="*/ 78932 w 176742"/>
                  <a:gd name="connsiteY7" fmla="*/ 33337 h 200025"/>
                  <a:gd name="connsiteX8" fmla="*/ 86075 w 176742"/>
                  <a:gd name="connsiteY8" fmla="*/ 30956 h 200025"/>
                  <a:gd name="connsiteX9" fmla="*/ 90838 w 176742"/>
                  <a:gd name="connsiteY9" fmla="*/ 38100 h 200025"/>
                  <a:gd name="connsiteX10" fmla="*/ 86075 w 176742"/>
                  <a:gd name="connsiteY10" fmla="*/ 45244 h 200025"/>
                  <a:gd name="connsiteX11" fmla="*/ 83694 w 176742"/>
                  <a:gd name="connsiteY11" fmla="*/ 52387 h 200025"/>
                  <a:gd name="connsiteX12" fmla="*/ 76550 w 176742"/>
                  <a:gd name="connsiteY12" fmla="*/ 54769 h 200025"/>
                  <a:gd name="connsiteX13" fmla="*/ 74169 w 176742"/>
                  <a:gd name="connsiteY13" fmla="*/ 61912 h 200025"/>
                  <a:gd name="connsiteX14" fmla="*/ 88457 w 176742"/>
                  <a:gd name="connsiteY14" fmla="*/ 66675 h 200025"/>
                  <a:gd name="connsiteX15" fmla="*/ 93219 w 176742"/>
                  <a:gd name="connsiteY15" fmla="*/ 73819 h 200025"/>
                  <a:gd name="connsiteX16" fmla="*/ 95600 w 176742"/>
                  <a:gd name="connsiteY16" fmla="*/ 80962 h 200025"/>
                  <a:gd name="connsiteX17" fmla="*/ 102744 w 176742"/>
                  <a:gd name="connsiteY17" fmla="*/ 83344 h 200025"/>
                  <a:gd name="connsiteX18" fmla="*/ 105125 w 176742"/>
                  <a:gd name="connsiteY18" fmla="*/ 64294 h 200025"/>
                  <a:gd name="connsiteX19" fmla="*/ 112269 w 176742"/>
                  <a:gd name="connsiteY19" fmla="*/ 59531 h 200025"/>
                  <a:gd name="connsiteX20" fmla="*/ 117032 w 176742"/>
                  <a:gd name="connsiteY20" fmla="*/ 73819 h 200025"/>
                  <a:gd name="connsiteX21" fmla="*/ 124175 w 176742"/>
                  <a:gd name="connsiteY21" fmla="*/ 69056 h 200025"/>
                  <a:gd name="connsiteX22" fmla="*/ 121794 w 176742"/>
                  <a:gd name="connsiteY22" fmla="*/ 59531 h 200025"/>
                  <a:gd name="connsiteX23" fmla="*/ 112269 w 176742"/>
                  <a:gd name="connsiteY23" fmla="*/ 47625 h 200025"/>
                  <a:gd name="connsiteX24" fmla="*/ 109888 w 176742"/>
                  <a:gd name="connsiteY24" fmla="*/ 33337 h 200025"/>
                  <a:gd name="connsiteX25" fmla="*/ 105125 w 176742"/>
                  <a:gd name="connsiteY25" fmla="*/ 19050 h 200025"/>
                  <a:gd name="connsiteX26" fmla="*/ 112269 w 176742"/>
                  <a:gd name="connsiteY26" fmla="*/ 16669 h 200025"/>
                  <a:gd name="connsiteX27" fmla="*/ 124175 w 176742"/>
                  <a:gd name="connsiteY27" fmla="*/ 2381 h 200025"/>
                  <a:gd name="connsiteX28" fmla="*/ 147988 w 176742"/>
                  <a:gd name="connsiteY28" fmla="*/ 0 h 200025"/>
                  <a:gd name="connsiteX29" fmla="*/ 155132 w 176742"/>
                  <a:gd name="connsiteY29" fmla="*/ 14287 h 200025"/>
                  <a:gd name="connsiteX30" fmla="*/ 162275 w 176742"/>
                  <a:gd name="connsiteY30" fmla="*/ 28575 h 200025"/>
                  <a:gd name="connsiteX31" fmla="*/ 164657 w 176742"/>
                  <a:gd name="connsiteY31" fmla="*/ 45244 h 200025"/>
                  <a:gd name="connsiteX32" fmla="*/ 171800 w 176742"/>
                  <a:gd name="connsiteY32" fmla="*/ 50006 h 200025"/>
                  <a:gd name="connsiteX33" fmla="*/ 174182 w 176742"/>
                  <a:gd name="connsiteY33" fmla="*/ 57150 h 200025"/>
                  <a:gd name="connsiteX34" fmla="*/ 174182 w 176742"/>
                  <a:gd name="connsiteY34" fmla="*/ 83344 h 200025"/>
                  <a:gd name="connsiteX35" fmla="*/ 159894 w 176742"/>
                  <a:gd name="connsiteY35" fmla="*/ 80962 h 200025"/>
                  <a:gd name="connsiteX36" fmla="*/ 157513 w 176742"/>
                  <a:gd name="connsiteY36" fmla="*/ 73819 h 200025"/>
                  <a:gd name="connsiteX37" fmla="*/ 150369 w 176742"/>
                  <a:gd name="connsiteY37" fmla="*/ 78581 h 200025"/>
                  <a:gd name="connsiteX38" fmla="*/ 136082 w 176742"/>
                  <a:gd name="connsiteY38" fmla="*/ 90487 h 200025"/>
                  <a:gd name="connsiteX39" fmla="*/ 138463 w 176742"/>
                  <a:gd name="connsiteY39" fmla="*/ 97631 h 200025"/>
                  <a:gd name="connsiteX40" fmla="*/ 140844 w 176742"/>
                  <a:gd name="connsiteY40" fmla="*/ 119062 h 200025"/>
                  <a:gd name="connsiteX41" fmla="*/ 150369 w 176742"/>
                  <a:gd name="connsiteY41" fmla="*/ 121444 h 200025"/>
                  <a:gd name="connsiteX42" fmla="*/ 155132 w 176742"/>
                  <a:gd name="connsiteY42" fmla="*/ 128587 h 200025"/>
                  <a:gd name="connsiteX43" fmla="*/ 150369 w 176742"/>
                  <a:gd name="connsiteY43" fmla="*/ 147637 h 200025"/>
                  <a:gd name="connsiteX44" fmla="*/ 143225 w 176742"/>
                  <a:gd name="connsiteY44" fmla="*/ 150019 h 200025"/>
                  <a:gd name="connsiteX45" fmla="*/ 136082 w 176742"/>
                  <a:gd name="connsiteY45" fmla="*/ 154781 h 200025"/>
                  <a:gd name="connsiteX46" fmla="*/ 119413 w 176742"/>
                  <a:gd name="connsiteY46" fmla="*/ 159544 h 200025"/>
                  <a:gd name="connsiteX47" fmla="*/ 121794 w 176742"/>
                  <a:gd name="connsiteY47" fmla="*/ 166687 h 200025"/>
                  <a:gd name="connsiteX48" fmla="*/ 126557 w 176742"/>
                  <a:gd name="connsiteY48" fmla="*/ 173831 h 200025"/>
                  <a:gd name="connsiteX49" fmla="*/ 112269 w 176742"/>
                  <a:gd name="connsiteY49" fmla="*/ 183356 h 200025"/>
                  <a:gd name="connsiteX50" fmla="*/ 121794 w 176742"/>
                  <a:gd name="connsiteY50" fmla="*/ 195262 h 200025"/>
                  <a:gd name="connsiteX51" fmla="*/ 114650 w 176742"/>
                  <a:gd name="connsiteY51" fmla="*/ 200025 h 200025"/>
                  <a:gd name="connsiteX52" fmla="*/ 107507 w 176742"/>
                  <a:gd name="connsiteY52" fmla="*/ 197644 h 200025"/>
                  <a:gd name="connsiteX53" fmla="*/ 100363 w 176742"/>
                  <a:gd name="connsiteY53" fmla="*/ 192881 h 200025"/>
                  <a:gd name="connsiteX54" fmla="*/ 90838 w 176742"/>
                  <a:gd name="connsiteY54" fmla="*/ 195262 h 200025"/>
                  <a:gd name="connsiteX55" fmla="*/ 88457 w 176742"/>
                  <a:gd name="connsiteY55" fmla="*/ 176212 h 200025"/>
                  <a:gd name="connsiteX56" fmla="*/ 86075 w 176742"/>
                  <a:gd name="connsiteY56" fmla="*/ 161925 h 200025"/>
                  <a:gd name="connsiteX57" fmla="*/ 81313 w 176742"/>
                  <a:gd name="connsiteY57" fmla="*/ 154781 h 200025"/>
                  <a:gd name="connsiteX58" fmla="*/ 62263 w 176742"/>
                  <a:gd name="connsiteY58" fmla="*/ 159544 h 200025"/>
                  <a:gd name="connsiteX59" fmla="*/ 45594 w 176742"/>
                  <a:gd name="connsiteY59" fmla="*/ 154781 h 200025"/>
                  <a:gd name="connsiteX60" fmla="*/ 38450 w 176742"/>
                  <a:gd name="connsiteY60" fmla="*/ 157162 h 200025"/>
                  <a:gd name="connsiteX61" fmla="*/ 28925 w 176742"/>
                  <a:gd name="connsiteY61" fmla="*/ 147637 h 200025"/>
                  <a:gd name="connsiteX62" fmla="*/ 26544 w 176742"/>
                  <a:gd name="connsiteY62" fmla="*/ 140494 h 200025"/>
                  <a:gd name="connsiteX63" fmla="*/ 28925 w 176742"/>
                  <a:gd name="connsiteY63" fmla="*/ 121444 h 200025"/>
                  <a:gd name="connsiteX64" fmla="*/ 33688 w 176742"/>
                  <a:gd name="connsiteY64" fmla="*/ 114300 h 200025"/>
                  <a:gd name="connsiteX65" fmla="*/ 24163 w 176742"/>
                  <a:gd name="connsiteY65" fmla="*/ 97631 h 200025"/>
                  <a:gd name="connsiteX66" fmla="*/ 12257 w 176742"/>
                  <a:gd name="connsiteY66" fmla="*/ 88106 h 200025"/>
                  <a:gd name="connsiteX67" fmla="*/ 7494 w 176742"/>
                  <a:gd name="connsiteY67" fmla="*/ 80962 h 200025"/>
                  <a:gd name="connsiteX68" fmla="*/ 7494 w 176742"/>
                  <a:gd name="connsiteY68" fmla="*/ 73819 h 200025"/>
                  <a:gd name="connsiteX69" fmla="*/ 28925 w 176742"/>
                  <a:gd name="connsiteY69" fmla="*/ 76200 h 200025"/>
                  <a:gd name="connsiteX70" fmla="*/ 36069 w 176742"/>
                  <a:gd name="connsiteY70" fmla="*/ 73819 h 200025"/>
                  <a:gd name="connsiteX71" fmla="*/ 9875 w 176742"/>
                  <a:gd name="connsiteY71" fmla="*/ 71437 h 200025"/>
                  <a:gd name="connsiteX0" fmla="*/ 9875 w 176742"/>
                  <a:gd name="connsiteY0" fmla="*/ 71437 h 200025"/>
                  <a:gd name="connsiteX1" fmla="*/ 45594 w 176742"/>
                  <a:gd name="connsiteY1" fmla="*/ 71437 h 200025"/>
                  <a:gd name="connsiteX2" fmla="*/ 50357 w 176742"/>
                  <a:gd name="connsiteY2" fmla="*/ 57150 h 200025"/>
                  <a:gd name="connsiteX3" fmla="*/ 55119 w 176742"/>
                  <a:gd name="connsiteY3" fmla="*/ 50006 h 200025"/>
                  <a:gd name="connsiteX4" fmla="*/ 38450 w 176742"/>
                  <a:gd name="connsiteY4" fmla="*/ 30956 h 200025"/>
                  <a:gd name="connsiteX5" fmla="*/ 52738 w 176742"/>
                  <a:gd name="connsiteY5" fmla="*/ 35719 h 200025"/>
                  <a:gd name="connsiteX6" fmla="*/ 78932 w 176742"/>
                  <a:gd name="connsiteY6" fmla="*/ 33337 h 200025"/>
                  <a:gd name="connsiteX7" fmla="*/ 86075 w 176742"/>
                  <a:gd name="connsiteY7" fmla="*/ 30956 h 200025"/>
                  <a:gd name="connsiteX8" fmla="*/ 90838 w 176742"/>
                  <a:gd name="connsiteY8" fmla="*/ 38100 h 200025"/>
                  <a:gd name="connsiteX9" fmla="*/ 86075 w 176742"/>
                  <a:gd name="connsiteY9" fmla="*/ 45244 h 200025"/>
                  <a:gd name="connsiteX10" fmla="*/ 83694 w 176742"/>
                  <a:gd name="connsiteY10" fmla="*/ 52387 h 200025"/>
                  <a:gd name="connsiteX11" fmla="*/ 76550 w 176742"/>
                  <a:gd name="connsiteY11" fmla="*/ 54769 h 200025"/>
                  <a:gd name="connsiteX12" fmla="*/ 74169 w 176742"/>
                  <a:gd name="connsiteY12" fmla="*/ 61912 h 200025"/>
                  <a:gd name="connsiteX13" fmla="*/ 88457 w 176742"/>
                  <a:gd name="connsiteY13" fmla="*/ 66675 h 200025"/>
                  <a:gd name="connsiteX14" fmla="*/ 93219 w 176742"/>
                  <a:gd name="connsiteY14" fmla="*/ 73819 h 200025"/>
                  <a:gd name="connsiteX15" fmla="*/ 95600 w 176742"/>
                  <a:gd name="connsiteY15" fmla="*/ 80962 h 200025"/>
                  <a:gd name="connsiteX16" fmla="*/ 102744 w 176742"/>
                  <a:gd name="connsiteY16" fmla="*/ 83344 h 200025"/>
                  <a:gd name="connsiteX17" fmla="*/ 105125 w 176742"/>
                  <a:gd name="connsiteY17" fmla="*/ 64294 h 200025"/>
                  <a:gd name="connsiteX18" fmla="*/ 112269 w 176742"/>
                  <a:gd name="connsiteY18" fmla="*/ 59531 h 200025"/>
                  <a:gd name="connsiteX19" fmla="*/ 117032 w 176742"/>
                  <a:gd name="connsiteY19" fmla="*/ 73819 h 200025"/>
                  <a:gd name="connsiteX20" fmla="*/ 124175 w 176742"/>
                  <a:gd name="connsiteY20" fmla="*/ 69056 h 200025"/>
                  <a:gd name="connsiteX21" fmla="*/ 121794 w 176742"/>
                  <a:gd name="connsiteY21" fmla="*/ 59531 h 200025"/>
                  <a:gd name="connsiteX22" fmla="*/ 112269 w 176742"/>
                  <a:gd name="connsiteY22" fmla="*/ 47625 h 200025"/>
                  <a:gd name="connsiteX23" fmla="*/ 109888 w 176742"/>
                  <a:gd name="connsiteY23" fmla="*/ 33337 h 200025"/>
                  <a:gd name="connsiteX24" fmla="*/ 105125 w 176742"/>
                  <a:gd name="connsiteY24" fmla="*/ 19050 h 200025"/>
                  <a:gd name="connsiteX25" fmla="*/ 112269 w 176742"/>
                  <a:gd name="connsiteY25" fmla="*/ 16669 h 200025"/>
                  <a:gd name="connsiteX26" fmla="*/ 124175 w 176742"/>
                  <a:gd name="connsiteY26" fmla="*/ 2381 h 200025"/>
                  <a:gd name="connsiteX27" fmla="*/ 147988 w 176742"/>
                  <a:gd name="connsiteY27" fmla="*/ 0 h 200025"/>
                  <a:gd name="connsiteX28" fmla="*/ 155132 w 176742"/>
                  <a:gd name="connsiteY28" fmla="*/ 14287 h 200025"/>
                  <a:gd name="connsiteX29" fmla="*/ 162275 w 176742"/>
                  <a:gd name="connsiteY29" fmla="*/ 28575 h 200025"/>
                  <a:gd name="connsiteX30" fmla="*/ 164657 w 176742"/>
                  <a:gd name="connsiteY30" fmla="*/ 45244 h 200025"/>
                  <a:gd name="connsiteX31" fmla="*/ 171800 w 176742"/>
                  <a:gd name="connsiteY31" fmla="*/ 50006 h 200025"/>
                  <a:gd name="connsiteX32" fmla="*/ 174182 w 176742"/>
                  <a:gd name="connsiteY32" fmla="*/ 57150 h 200025"/>
                  <a:gd name="connsiteX33" fmla="*/ 174182 w 176742"/>
                  <a:gd name="connsiteY33" fmla="*/ 83344 h 200025"/>
                  <a:gd name="connsiteX34" fmla="*/ 159894 w 176742"/>
                  <a:gd name="connsiteY34" fmla="*/ 80962 h 200025"/>
                  <a:gd name="connsiteX35" fmla="*/ 157513 w 176742"/>
                  <a:gd name="connsiteY35" fmla="*/ 73819 h 200025"/>
                  <a:gd name="connsiteX36" fmla="*/ 150369 w 176742"/>
                  <a:gd name="connsiteY36" fmla="*/ 78581 h 200025"/>
                  <a:gd name="connsiteX37" fmla="*/ 136082 w 176742"/>
                  <a:gd name="connsiteY37" fmla="*/ 90487 h 200025"/>
                  <a:gd name="connsiteX38" fmla="*/ 138463 w 176742"/>
                  <a:gd name="connsiteY38" fmla="*/ 97631 h 200025"/>
                  <a:gd name="connsiteX39" fmla="*/ 140844 w 176742"/>
                  <a:gd name="connsiteY39" fmla="*/ 119062 h 200025"/>
                  <a:gd name="connsiteX40" fmla="*/ 150369 w 176742"/>
                  <a:gd name="connsiteY40" fmla="*/ 121444 h 200025"/>
                  <a:gd name="connsiteX41" fmla="*/ 155132 w 176742"/>
                  <a:gd name="connsiteY41" fmla="*/ 128587 h 200025"/>
                  <a:gd name="connsiteX42" fmla="*/ 150369 w 176742"/>
                  <a:gd name="connsiteY42" fmla="*/ 147637 h 200025"/>
                  <a:gd name="connsiteX43" fmla="*/ 143225 w 176742"/>
                  <a:gd name="connsiteY43" fmla="*/ 150019 h 200025"/>
                  <a:gd name="connsiteX44" fmla="*/ 136082 w 176742"/>
                  <a:gd name="connsiteY44" fmla="*/ 154781 h 200025"/>
                  <a:gd name="connsiteX45" fmla="*/ 119413 w 176742"/>
                  <a:gd name="connsiteY45" fmla="*/ 159544 h 200025"/>
                  <a:gd name="connsiteX46" fmla="*/ 121794 w 176742"/>
                  <a:gd name="connsiteY46" fmla="*/ 166687 h 200025"/>
                  <a:gd name="connsiteX47" fmla="*/ 126557 w 176742"/>
                  <a:gd name="connsiteY47" fmla="*/ 173831 h 200025"/>
                  <a:gd name="connsiteX48" fmla="*/ 112269 w 176742"/>
                  <a:gd name="connsiteY48" fmla="*/ 183356 h 200025"/>
                  <a:gd name="connsiteX49" fmla="*/ 121794 w 176742"/>
                  <a:gd name="connsiteY49" fmla="*/ 195262 h 200025"/>
                  <a:gd name="connsiteX50" fmla="*/ 114650 w 176742"/>
                  <a:gd name="connsiteY50" fmla="*/ 200025 h 200025"/>
                  <a:gd name="connsiteX51" fmla="*/ 107507 w 176742"/>
                  <a:gd name="connsiteY51" fmla="*/ 197644 h 200025"/>
                  <a:gd name="connsiteX52" fmla="*/ 100363 w 176742"/>
                  <a:gd name="connsiteY52" fmla="*/ 192881 h 200025"/>
                  <a:gd name="connsiteX53" fmla="*/ 90838 w 176742"/>
                  <a:gd name="connsiteY53" fmla="*/ 195262 h 200025"/>
                  <a:gd name="connsiteX54" fmla="*/ 88457 w 176742"/>
                  <a:gd name="connsiteY54" fmla="*/ 176212 h 200025"/>
                  <a:gd name="connsiteX55" fmla="*/ 86075 w 176742"/>
                  <a:gd name="connsiteY55" fmla="*/ 161925 h 200025"/>
                  <a:gd name="connsiteX56" fmla="*/ 81313 w 176742"/>
                  <a:gd name="connsiteY56" fmla="*/ 154781 h 200025"/>
                  <a:gd name="connsiteX57" fmla="*/ 62263 w 176742"/>
                  <a:gd name="connsiteY57" fmla="*/ 159544 h 200025"/>
                  <a:gd name="connsiteX58" fmla="*/ 45594 w 176742"/>
                  <a:gd name="connsiteY58" fmla="*/ 154781 h 200025"/>
                  <a:gd name="connsiteX59" fmla="*/ 38450 w 176742"/>
                  <a:gd name="connsiteY59" fmla="*/ 157162 h 200025"/>
                  <a:gd name="connsiteX60" fmla="*/ 28925 w 176742"/>
                  <a:gd name="connsiteY60" fmla="*/ 147637 h 200025"/>
                  <a:gd name="connsiteX61" fmla="*/ 26544 w 176742"/>
                  <a:gd name="connsiteY61" fmla="*/ 140494 h 200025"/>
                  <a:gd name="connsiteX62" fmla="*/ 28925 w 176742"/>
                  <a:gd name="connsiteY62" fmla="*/ 121444 h 200025"/>
                  <a:gd name="connsiteX63" fmla="*/ 33688 w 176742"/>
                  <a:gd name="connsiteY63" fmla="*/ 114300 h 200025"/>
                  <a:gd name="connsiteX64" fmla="*/ 24163 w 176742"/>
                  <a:gd name="connsiteY64" fmla="*/ 97631 h 200025"/>
                  <a:gd name="connsiteX65" fmla="*/ 12257 w 176742"/>
                  <a:gd name="connsiteY65" fmla="*/ 88106 h 200025"/>
                  <a:gd name="connsiteX66" fmla="*/ 7494 w 176742"/>
                  <a:gd name="connsiteY66" fmla="*/ 80962 h 200025"/>
                  <a:gd name="connsiteX67" fmla="*/ 7494 w 176742"/>
                  <a:gd name="connsiteY67" fmla="*/ 73819 h 200025"/>
                  <a:gd name="connsiteX68" fmla="*/ 28925 w 176742"/>
                  <a:gd name="connsiteY68" fmla="*/ 76200 h 200025"/>
                  <a:gd name="connsiteX69" fmla="*/ 36069 w 176742"/>
                  <a:gd name="connsiteY69" fmla="*/ 73819 h 200025"/>
                  <a:gd name="connsiteX70" fmla="*/ 9875 w 176742"/>
                  <a:gd name="connsiteY70" fmla="*/ 71437 h 200025"/>
                  <a:gd name="connsiteX0" fmla="*/ 9875 w 176742"/>
                  <a:gd name="connsiteY0" fmla="*/ 71437 h 200025"/>
                  <a:gd name="connsiteX1" fmla="*/ 45594 w 176742"/>
                  <a:gd name="connsiteY1" fmla="*/ 71437 h 200025"/>
                  <a:gd name="connsiteX2" fmla="*/ 50357 w 176742"/>
                  <a:gd name="connsiteY2" fmla="*/ 57150 h 200025"/>
                  <a:gd name="connsiteX3" fmla="*/ 55119 w 176742"/>
                  <a:gd name="connsiteY3" fmla="*/ 50006 h 200025"/>
                  <a:gd name="connsiteX4" fmla="*/ 52738 w 176742"/>
                  <a:gd name="connsiteY4" fmla="*/ 35719 h 200025"/>
                  <a:gd name="connsiteX5" fmla="*/ 78932 w 176742"/>
                  <a:gd name="connsiteY5" fmla="*/ 33337 h 200025"/>
                  <a:gd name="connsiteX6" fmla="*/ 86075 w 176742"/>
                  <a:gd name="connsiteY6" fmla="*/ 30956 h 200025"/>
                  <a:gd name="connsiteX7" fmla="*/ 90838 w 176742"/>
                  <a:gd name="connsiteY7" fmla="*/ 38100 h 200025"/>
                  <a:gd name="connsiteX8" fmla="*/ 86075 w 176742"/>
                  <a:gd name="connsiteY8" fmla="*/ 45244 h 200025"/>
                  <a:gd name="connsiteX9" fmla="*/ 83694 w 176742"/>
                  <a:gd name="connsiteY9" fmla="*/ 52387 h 200025"/>
                  <a:gd name="connsiteX10" fmla="*/ 76550 w 176742"/>
                  <a:gd name="connsiteY10" fmla="*/ 54769 h 200025"/>
                  <a:gd name="connsiteX11" fmla="*/ 74169 w 176742"/>
                  <a:gd name="connsiteY11" fmla="*/ 61912 h 200025"/>
                  <a:gd name="connsiteX12" fmla="*/ 88457 w 176742"/>
                  <a:gd name="connsiteY12" fmla="*/ 66675 h 200025"/>
                  <a:gd name="connsiteX13" fmla="*/ 93219 w 176742"/>
                  <a:gd name="connsiteY13" fmla="*/ 73819 h 200025"/>
                  <a:gd name="connsiteX14" fmla="*/ 95600 w 176742"/>
                  <a:gd name="connsiteY14" fmla="*/ 80962 h 200025"/>
                  <a:gd name="connsiteX15" fmla="*/ 102744 w 176742"/>
                  <a:gd name="connsiteY15" fmla="*/ 83344 h 200025"/>
                  <a:gd name="connsiteX16" fmla="*/ 105125 w 176742"/>
                  <a:gd name="connsiteY16" fmla="*/ 64294 h 200025"/>
                  <a:gd name="connsiteX17" fmla="*/ 112269 w 176742"/>
                  <a:gd name="connsiteY17" fmla="*/ 59531 h 200025"/>
                  <a:gd name="connsiteX18" fmla="*/ 117032 w 176742"/>
                  <a:gd name="connsiteY18" fmla="*/ 73819 h 200025"/>
                  <a:gd name="connsiteX19" fmla="*/ 124175 w 176742"/>
                  <a:gd name="connsiteY19" fmla="*/ 69056 h 200025"/>
                  <a:gd name="connsiteX20" fmla="*/ 121794 w 176742"/>
                  <a:gd name="connsiteY20" fmla="*/ 59531 h 200025"/>
                  <a:gd name="connsiteX21" fmla="*/ 112269 w 176742"/>
                  <a:gd name="connsiteY21" fmla="*/ 47625 h 200025"/>
                  <a:gd name="connsiteX22" fmla="*/ 109888 w 176742"/>
                  <a:gd name="connsiteY22" fmla="*/ 33337 h 200025"/>
                  <a:gd name="connsiteX23" fmla="*/ 105125 w 176742"/>
                  <a:gd name="connsiteY23" fmla="*/ 19050 h 200025"/>
                  <a:gd name="connsiteX24" fmla="*/ 112269 w 176742"/>
                  <a:gd name="connsiteY24" fmla="*/ 16669 h 200025"/>
                  <a:gd name="connsiteX25" fmla="*/ 124175 w 176742"/>
                  <a:gd name="connsiteY25" fmla="*/ 2381 h 200025"/>
                  <a:gd name="connsiteX26" fmla="*/ 147988 w 176742"/>
                  <a:gd name="connsiteY26" fmla="*/ 0 h 200025"/>
                  <a:gd name="connsiteX27" fmla="*/ 155132 w 176742"/>
                  <a:gd name="connsiteY27" fmla="*/ 14287 h 200025"/>
                  <a:gd name="connsiteX28" fmla="*/ 162275 w 176742"/>
                  <a:gd name="connsiteY28" fmla="*/ 28575 h 200025"/>
                  <a:gd name="connsiteX29" fmla="*/ 164657 w 176742"/>
                  <a:gd name="connsiteY29" fmla="*/ 45244 h 200025"/>
                  <a:gd name="connsiteX30" fmla="*/ 171800 w 176742"/>
                  <a:gd name="connsiteY30" fmla="*/ 50006 h 200025"/>
                  <a:gd name="connsiteX31" fmla="*/ 174182 w 176742"/>
                  <a:gd name="connsiteY31" fmla="*/ 57150 h 200025"/>
                  <a:gd name="connsiteX32" fmla="*/ 174182 w 176742"/>
                  <a:gd name="connsiteY32" fmla="*/ 83344 h 200025"/>
                  <a:gd name="connsiteX33" fmla="*/ 159894 w 176742"/>
                  <a:gd name="connsiteY33" fmla="*/ 80962 h 200025"/>
                  <a:gd name="connsiteX34" fmla="*/ 157513 w 176742"/>
                  <a:gd name="connsiteY34" fmla="*/ 73819 h 200025"/>
                  <a:gd name="connsiteX35" fmla="*/ 150369 w 176742"/>
                  <a:gd name="connsiteY35" fmla="*/ 78581 h 200025"/>
                  <a:gd name="connsiteX36" fmla="*/ 136082 w 176742"/>
                  <a:gd name="connsiteY36" fmla="*/ 90487 h 200025"/>
                  <a:gd name="connsiteX37" fmla="*/ 138463 w 176742"/>
                  <a:gd name="connsiteY37" fmla="*/ 97631 h 200025"/>
                  <a:gd name="connsiteX38" fmla="*/ 140844 w 176742"/>
                  <a:gd name="connsiteY38" fmla="*/ 119062 h 200025"/>
                  <a:gd name="connsiteX39" fmla="*/ 150369 w 176742"/>
                  <a:gd name="connsiteY39" fmla="*/ 121444 h 200025"/>
                  <a:gd name="connsiteX40" fmla="*/ 155132 w 176742"/>
                  <a:gd name="connsiteY40" fmla="*/ 128587 h 200025"/>
                  <a:gd name="connsiteX41" fmla="*/ 150369 w 176742"/>
                  <a:gd name="connsiteY41" fmla="*/ 147637 h 200025"/>
                  <a:gd name="connsiteX42" fmla="*/ 143225 w 176742"/>
                  <a:gd name="connsiteY42" fmla="*/ 150019 h 200025"/>
                  <a:gd name="connsiteX43" fmla="*/ 136082 w 176742"/>
                  <a:gd name="connsiteY43" fmla="*/ 154781 h 200025"/>
                  <a:gd name="connsiteX44" fmla="*/ 119413 w 176742"/>
                  <a:gd name="connsiteY44" fmla="*/ 159544 h 200025"/>
                  <a:gd name="connsiteX45" fmla="*/ 121794 w 176742"/>
                  <a:gd name="connsiteY45" fmla="*/ 166687 h 200025"/>
                  <a:gd name="connsiteX46" fmla="*/ 126557 w 176742"/>
                  <a:gd name="connsiteY46" fmla="*/ 173831 h 200025"/>
                  <a:gd name="connsiteX47" fmla="*/ 112269 w 176742"/>
                  <a:gd name="connsiteY47" fmla="*/ 183356 h 200025"/>
                  <a:gd name="connsiteX48" fmla="*/ 121794 w 176742"/>
                  <a:gd name="connsiteY48" fmla="*/ 195262 h 200025"/>
                  <a:gd name="connsiteX49" fmla="*/ 114650 w 176742"/>
                  <a:gd name="connsiteY49" fmla="*/ 200025 h 200025"/>
                  <a:gd name="connsiteX50" fmla="*/ 107507 w 176742"/>
                  <a:gd name="connsiteY50" fmla="*/ 197644 h 200025"/>
                  <a:gd name="connsiteX51" fmla="*/ 100363 w 176742"/>
                  <a:gd name="connsiteY51" fmla="*/ 192881 h 200025"/>
                  <a:gd name="connsiteX52" fmla="*/ 90838 w 176742"/>
                  <a:gd name="connsiteY52" fmla="*/ 195262 h 200025"/>
                  <a:gd name="connsiteX53" fmla="*/ 88457 w 176742"/>
                  <a:gd name="connsiteY53" fmla="*/ 176212 h 200025"/>
                  <a:gd name="connsiteX54" fmla="*/ 86075 w 176742"/>
                  <a:gd name="connsiteY54" fmla="*/ 161925 h 200025"/>
                  <a:gd name="connsiteX55" fmla="*/ 81313 w 176742"/>
                  <a:gd name="connsiteY55" fmla="*/ 154781 h 200025"/>
                  <a:gd name="connsiteX56" fmla="*/ 62263 w 176742"/>
                  <a:gd name="connsiteY56" fmla="*/ 159544 h 200025"/>
                  <a:gd name="connsiteX57" fmla="*/ 45594 w 176742"/>
                  <a:gd name="connsiteY57" fmla="*/ 154781 h 200025"/>
                  <a:gd name="connsiteX58" fmla="*/ 38450 w 176742"/>
                  <a:gd name="connsiteY58" fmla="*/ 157162 h 200025"/>
                  <a:gd name="connsiteX59" fmla="*/ 28925 w 176742"/>
                  <a:gd name="connsiteY59" fmla="*/ 147637 h 200025"/>
                  <a:gd name="connsiteX60" fmla="*/ 26544 w 176742"/>
                  <a:gd name="connsiteY60" fmla="*/ 140494 h 200025"/>
                  <a:gd name="connsiteX61" fmla="*/ 28925 w 176742"/>
                  <a:gd name="connsiteY61" fmla="*/ 121444 h 200025"/>
                  <a:gd name="connsiteX62" fmla="*/ 33688 w 176742"/>
                  <a:gd name="connsiteY62" fmla="*/ 114300 h 200025"/>
                  <a:gd name="connsiteX63" fmla="*/ 24163 w 176742"/>
                  <a:gd name="connsiteY63" fmla="*/ 97631 h 200025"/>
                  <a:gd name="connsiteX64" fmla="*/ 12257 w 176742"/>
                  <a:gd name="connsiteY64" fmla="*/ 88106 h 200025"/>
                  <a:gd name="connsiteX65" fmla="*/ 7494 w 176742"/>
                  <a:gd name="connsiteY65" fmla="*/ 80962 h 200025"/>
                  <a:gd name="connsiteX66" fmla="*/ 7494 w 176742"/>
                  <a:gd name="connsiteY66" fmla="*/ 73819 h 200025"/>
                  <a:gd name="connsiteX67" fmla="*/ 28925 w 176742"/>
                  <a:gd name="connsiteY67" fmla="*/ 76200 h 200025"/>
                  <a:gd name="connsiteX68" fmla="*/ 36069 w 176742"/>
                  <a:gd name="connsiteY68" fmla="*/ 73819 h 200025"/>
                  <a:gd name="connsiteX69" fmla="*/ 9875 w 176742"/>
                  <a:gd name="connsiteY69" fmla="*/ 71437 h 200025"/>
                  <a:gd name="connsiteX0" fmla="*/ 9875 w 176742"/>
                  <a:gd name="connsiteY0" fmla="*/ 71437 h 200025"/>
                  <a:gd name="connsiteX1" fmla="*/ 45594 w 176742"/>
                  <a:gd name="connsiteY1" fmla="*/ 71437 h 200025"/>
                  <a:gd name="connsiteX2" fmla="*/ 50357 w 176742"/>
                  <a:gd name="connsiteY2" fmla="*/ 57150 h 200025"/>
                  <a:gd name="connsiteX3" fmla="*/ 55119 w 176742"/>
                  <a:gd name="connsiteY3" fmla="*/ 50006 h 200025"/>
                  <a:gd name="connsiteX4" fmla="*/ 40247 w 176742"/>
                  <a:gd name="connsiteY4" fmla="*/ 30722 h 200025"/>
                  <a:gd name="connsiteX5" fmla="*/ 78932 w 176742"/>
                  <a:gd name="connsiteY5" fmla="*/ 33337 h 200025"/>
                  <a:gd name="connsiteX6" fmla="*/ 86075 w 176742"/>
                  <a:gd name="connsiteY6" fmla="*/ 30956 h 200025"/>
                  <a:gd name="connsiteX7" fmla="*/ 90838 w 176742"/>
                  <a:gd name="connsiteY7" fmla="*/ 38100 h 200025"/>
                  <a:gd name="connsiteX8" fmla="*/ 86075 w 176742"/>
                  <a:gd name="connsiteY8" fmla="*/ 45244 h 200025"/>
                  <a:gd name="connsiteX9" fmla="*/ 83694 w 176742"/>
                  <a:gd name="connsiteY9" fmla="*/ 52387 h 200025"/>
                  <a:gd name="connsiteX10" fmla="*/ 76550 w 176742"/>
                  <a:gd name="connsiteY10" fmla="*/ 54769 h 200025"/>
                  <a:gd name="connsiteX11" fmla="*/ 74169 w 176742"/>
                  <a:gd name="connsiteY11" fmla="*/ 61912 h 200025"/>
                  <a:gd name="connsiteX12" fmla="*/ 88457 w 176742"/>
                  <a:gd name="connsiteY12" fmla="*/ 66675 h 200025"/>
                  <a:gd name="connsiteX13" fmla="*/ 93219 w 176742"/>
                  <a:gd name="connsiteY13" fmla="*/ 73819 h 200025"/>
                  <a:gd name="connsiteX14" fmla="*/ 95600 w 176742"/>
                  <a:gd name="connsiteY14" fmla="*/ 80962 h 200025"/>
                  <a:gd name="connsiteX15" fmla="*/ 102744 w 176742"/>
                  <a:gd name="connsiteY15" fmla="*/ 83344 h 200025"/>
                  <a:gd name="connsiteX16" fmla="*/ 105125 w 176742"/>
                  <a:gd name="connsiteY16" fmla="*/ 64294 h 200025"/>
                  <a:gd name="connsiteX17" fmla="*/ 112269 w 176742"/>
                  <a:gd name="connsiteY17" fmla="*/ 59531 h 200025"/>
                  <a:gd name="connsiteX18" fmla="*/ 117032 w 176742"/>
                  <a:gd name="connsiteY18" fmla="*/ 73819 h 200025"/>
                  <a:gd name="connsiteX19" fmla="*/ 124175 w 176742"/>
                  <a:gd name="connsiteY19" fmla="*/ 69056 h 200025"/>
                  <a:gd name="connsiteX20" fmla="*/ 121794 w 176742"/>
                  <a:gd name="connsiteY20" fmla="*/ 59531 h 200025"/>
                  <a:gd name="connsiteX21" fmla="*/ 112269 w 176742"/>
                  <a:gd name="connsiteY21" fmla="*/ 47625 h 200025"/>
                  <a:gd name="connsiteX22" fmla="*/ 109888 w 176742"/>
                  <a:gd name="connsiteY22" fmla="*/ 33337 h 200025"/>
                  <a:gd name="connsiteX23" fmla="*/ 105125 w 176742"/>
                  <a:gd name="connsiteY23" fmla="*/ 19050 h 200025"/>
                  <a:gd name="connsiteX24" fmla="*/ 112269 w 176742"/>
                  <a:gd name="connsiteY24" fmla="*/ 16669 h 200025"/>
                  <a:gd name="connsiteX25" fmla="*/ 124175 w 176742"/>
                  <a:gd name="connsiteY25" fmla="*/ 2381 h 200025"/>
                  <a:gd name="connsiteX26" fmla="*/ 147988 w 176742"/>
                  <a:gd name="connsiteY26" fmla="*/ 0 h 200025"/>
                  <a:gd name="connsiteX27" fmla="*/ 155132 w 176742"/>
                  <a:gd name="connsiteY27" fmla="*/ 14287 h 200025"/>
                  <a:gd name="connsiteX28" fmla="*/ 162275 w 176742"/>
                  <a:gd name="connsiteY28" fmla="*/ 28575 h 200025"/>
                  <a:gd name="connsiteX29" fmla="*/ 164657 w 176742"/>
                  <a:gd name="connsiteY29" fmla="*/ 45244 h 200025"/>
                  <a:gd name="connsiteX30" fmla="*/ 171800 w 176742"/>
                  <a:gd name="connsiteY30" fmla="*/ 50006 h 200025"/>
                  <a:gd name="connsiteX31" fmla="*/ 174182 w 176742"/>
                  <a:gd name="connsiteY31" fmla="*/ 57150 h 200025"/>
                  <a:gd name="connsiteX32" fmla="*/ 174182 w 176742"/>
                  <a:gd name="connsiteY32" fmla="*/ 83344 h 200025"/>
                  <a:gd name="connsiteX33" fmla="*/ 159894 w 176742"/>
                  <a:gd name="connsiteY33" fmla="*/ 80962 h 200025"/>
                  <a:gd name="connsiteX34" fmla="*/ 157513 w 176742"/>
                  <a:gd name="connsiteY34" fmla="*/ 73819 h 200025"/>
                  <a:gd name="connsiteX35" fmla="*/ 150369 w 176742"/>
                  <a:gd name="connsiteY35" fmla="*/ 78581 h 200025"/>
                  <a:gd name="connsiteX36" fmla="*/ 136082 w 176742"/>
                  <a:gd name="connsiteY36" fmla="*/ 90487 h 200025"/>
                  <a:gd name="connsiteX37" fmla="*/ 138463 w 176742"/>
                  <a:gd name="connsiteY37" fmla="*/ 97631 h 200025"/>
                  <a:gd name="connsiteX38" fmla="*/ 140844 w 176742"/>
                  <a:gd name="connsiteY38" fmla="*/ 119062 h 200025"/>
                  <a:gd name="connsiteX39" fmla="*/ 150369 w 176742"/>
                  <a:gd name="connsiteY39" fmla="*/ 121444 h 200025"/>
                  <a:gd name="connsiteX40" fmla="*/ 155132 w 176742"/>
                  <a:gd name="connsiteY40" fmla="*/ 128587 h 200025"/>
                  <a:gd name="connsiteX41" fmla="*/ 150369 w 176742"/>
                  <a:gd name="connsiteY41" fmla="*/ 147637 h 200025"/>
                  <a:gd name="connsiteX42" fmla="*/ 143225 w 176742"/>
                  <a:gd name="connsiteY42" fmla="*/ 150019 h 200025"/>
                  <a:gd name="connsiteX43" fmla="*/ 136082 w 176742"/>
                  <a:gd name="connsiteY43" fmla="*/ 154781 h 200025"/>
                  <a:gd name="connsiteX44" fmla="*/ 119413 w 176742"/>
                  <a:gd name="connsiteY44" fmla="*/ 159544 h 200025"/>
                  <a:gd name="connsiteX45" fmla="*/ 121794 w 176742"/>
                  <a:gd name="connsiteY45" fmla="*/ 166687 h 200025"/>
                  <a:gd name="connsiteX46" fmla="*/ 126557 w 176742"/>
                  <a:gd name="connsiteY46" fmla="*/ 173831 h 200025"/>
                  <a:gd name="connsiteX47" fmla="*/ 112269 w 176742"/>
                  <a:gd name="connsiteY47" fmla="*/ 183356 h 200025"/>
                  <a:gd name="connsiteX48" fmla="*/ 121794 w 176742"/>
                  <a:gd name="connsiteY48" fmla="*/ 195262 h 200025"/>
                  <a:gd name="connsiteX49" fmla="*/ 114650 w 176742"/>
                  <a:gd name="connsiteY49" fmla="*/ 200025 h 200025"/>
                  <a:gd name="connsiteX50" fmla="*/ 107507 w 176742"/>
                  <a:gd name="connsiteY50" fmla="*/ 197644 h 200025"/>
                  <a:gd name="connsiteX51" fmla="*/ 100363 w 176742"/>
                  <a:gd name="connsiteY51" fmla="*/ 192881 h 200025"/>
                  <a:gd name="connsiteX52" fmla="*/ 90838 w 176742"/>
                  <a:gd name="connsiteY52" fmla="*/ 195262 h 200025"/>
                  <a:gd name="connsiteX53" fmla="*/ 88457 w 176742"/>
                  <a:gd name="connsiteY53" fmla="*/ 176212 h 200025"/>
                  <a:gd name="connsiteX54" fmla="*/ 86075 w 176742"/>
                  <a:gd name="connsiteY54" fmla="*/ 161925 h 200025"/>
                  <a:gd name="connsiteX55" fmla="*/ 81313 w 176742"/>
                  <a:gd name="connsiteY55" fmla="*/ 154781 h 200025"/>
                  <a:gd name="connsiteX56" fmla="*/ 62263 w 176742"/>
                  <a:gd name="connsiteY56" fmla="*/ 159544 h 200025"/>
                  <a:gd name="connsiteX57" fmla="*/ 45594 w 176742"/>
                  <a:gd name="connsiteY57" fmla="*/ 154781 h 200025"/>
                  <a:gd name="connsiteX58" fmla="*/ 38450 w 176742"/>
                  <a:gd name="connsiteY58" fmla="*/ 157162 h 200025"/>
                  <a:gd name="connsiteX59" fmla="*/ 28925 w 176742"/>
                  <a:gd name="connsiteY59" fmla="*/ 147637 h 200025"/>
                  <a:gd name="connsiteX60" fmla="*/ 26544 w 176742"/>
                  <a:gd name="connsiteY60" fmla="*/ 140494 h 200025"/>
                  <a:gd name="connsiteX61" fmla="*/ 28925 w 176742"/>
                  <a:gd name="connsiteY61" fmla="*/ 121444 h 200025"/>
                  <a:gd name="connsiteX62" fmla="*/ 33688 w 176742"/>
                  <a:gd name="connsiteY62" fmla="*/ 114300 h 200025"/>
                  <a:gd name="connsiteX63" fmla="*/ 24163 w 176742"/>
                  <a:gd name="connsiteY63" fmla="*/ 97631 h 200025"/>
                  <a:gd name="connsiteX64" fmla="*/ 12257 w 176742"/>
                  <a:gd name="connsiteY64" fmla="*/ 88106 h 200025"/>
                  <a:gd name="connsiteX65" fmla="*/ 7494 w 176742"/>
                  <a:gd name="connsiteY65" fmla="*/ 80962 h 200025"/>
                  <a:gd name="connsiteX66" fmla="*/ 7494 w 176742"/>
                  <a:gd name="connsiteY66" fmla="*/ 73819 h 200025"/>
                  <a:gd name="connsiteX67" fmla="*/ 28925 w 176742"/>
                  <a:gd name="connsiteY67" fmla="*/ 76200 h 200025"/>
                  <a:gd name="connsiteX68" fmla="*/ 36069 w 176742"/>
                  <a:gd name="connsiteY68" fmla="*/ 73819 h 200025"/>
                  <a:gd name="connsiteX69" fmla="*/ 9875 w 176742"/>
                  <a:gd name="connsiteY69" fmla="*/ 71437 h 200025"/>
                  <a:gd name="connsiteX0" fmla="*/ 9875 w 176742"/>
                  <a:gd name="connsiteY0" fmla="*/ 71437 h 200025"/>
                  <a:gd name="connsiteX1" fmla="*/ 45594 w 176742"/>
                  <a:gd name="connsiteY1" fmla="*/ 71437 h 200025"/>
                  <a:gd name="connsiteX2" fmla="*/ 50357 w 176742"/>
                  <a:gd name="connsiteY2" fmla="*/ 57150 h 200025"/>
                  <a:gd name="connsiteX3" fmla="*/ 60116 w 176742"/>
                  <a:gd name="connsiteY3" fmla="*/ 40013 h 200025"/>
                  <a:gd name="connsiteX4" fmla="*/ 40247 w 176742"/>
                  <a:gd name="connsiteY4" fmla="*/ 30722 h 200025"/>
                  <a:gd name="connsiteX5" fmla="*/ 78932 w 176742"/>
                  <a:gd name="connsiteY5" fmla="*/ 33337 h 200025"/>
                  <a:gd name="connsiteX6" fmla="*/ 86075 w 176742"/>
                  <a:gd name="connsiteY6" fmla="*/ 30956 h 200025"/>
                  <a:gd name="connsiteX7" fmla="*/ 90838 w 176742"/>
                  <a:gd name="connsiteY7" fmla="*/ 38100 h 200025"/>
                  <a:gd name="connsiteX8" fmla="*/ 86075 w 176742"/>
                  <a:gd name="connsiteY8" fmla="*/ 45244 h 200025"/>
                  <a:gd name="connsiteX9" fmla="*/ 83694 w 176742"/>
                  <a:gd name="connsiteY9" fmla="*/ 52387 h 200025"/>
                  <a:gd name="connsiteX10" fmla="*/ 76550 w 176742"/>
                  <a:gd name="connsiteY10" fmla="*/ 54769 h 200025"/>
                  <a:gd name="connsiteX11" fmla="*/ 74169 w 176742"/>
                  <a:gd name="connsiteY11" fmla="*/ 61912 h 200025"/>
                  <a:gd name="connsiteX12" fmla="*/ 88457 w 176742"/>
                  <a:gd name="connsiteY12" fmla="*/ 66675 h 200025"/>
                  <a:gd name="connsiteX13" fmla="*/ 93219 w 176742"/>
                  <a:gd name="connsiteY13" fmla="*/ 73819 h 200025"/>
                  <a:gd name="connsiteX14" fmla="*/ 95600 w 176742"/>
                  <a:gd name="connsiteY14" fmla="*/ 80962 h 200025"/>
                  <a:gd name="connsiteX15" fmla="*/ 102744 w 176742"/>
                  <a:gd name="connsiteY15" fmla="*/ 83344 h 200025"/>
                  <a:gd name="connsiteX16" fmla="*/ 105125 w 176742"/>
                  <a:gd name="connsiteY16" fmla="*/ 64294 h 200025"/>
                  <a:gd name="connsiteX17" fmla="*/ 112269 w 176742"/>
                  <a:gd name="connsiteY17" fmla="*/ 59531 h 200025"/>
                  <a:gd name="connsiteX18" fmla="*/ 117032 w 176742"/>
                  <a:gd name="connsiteY18" fmla="*/ 73819 h 200025"/>
                  <a:gd name="connsiteX19" fmla="*/ 124175 w 176742"/>
                  <a:gd name="connsiteY19" fmla="*/ 69056 h 200025"/>
                  <a:gd name="connsiteX20" fmla="*/ 121794 w 176742"/>
                  <a:gd name="connsiteY20" fmla="*/ 59531 h 200025"/>
                  <a:gd name="connsiteX21" fmla="*/ 112269 w 176742"/>
                  <a:gd name="connsiteY21" fmla="*/ 47625 h 200025"/>
                  <a:gd name="connsiteX22" fmla="*/ 109888 w 176742"/>
                  <a:gd name="connsiteY22" fmla="*/ 33337 h 200025"/>
                  <a:gd name="connsiteX23" fmla="*/ 105125 w 176742"/>
                  <a:gd name="connsiteY23" fmla="*/ 19050 h 200025"/>
                  <a:gd name="connsiteX24" fmla="*/ 112269 w 176742"/>
                  <a:gd name="connsiteY24" fmla="*/ 16669 h 200025"/>
                  <a:gd name="connsiteX25" fmla="*/ 124175 w 176742"/>
                  <a:gd name="connsiteY25" fmla="*/ 2381 h 200025"/>
                  <a:gd name="connsiteX26" fmla="*/ 147988 w 176742"/>
                  <a:gd name="connsiteY26" fmla="*/ 0 h 200025"/>
                  <a:gd name="connsiteX27" fmla="*/ 155132 w 176742"/>
                  <a:gd name="connsiteY27" fmla="*/ 14287 h 200025"/>
                  <a:gd name="connsiteX28" fmla="*/ 162275 w 176742"/>
                  <a:gd name="connsiteY28" fmla="*/ 28575 h 200025"/>
                  <a:gd name="connsiteX29" fmla="*/ 164657 w 176742"/>
                  <a:gd name="connsiteY29" fmla="*/ 45244 h 200025"/>
                  <a:gd name="connsiteX30" fmla="*/ 171800 w 176742"/>
                  <a:gd name="connsiteY30" fmla="*/ 50006 h 200025"/>
                  <a:gd name="connsiteX31" fmla="*/ 174182 w 176742"/>
                  <a:gd name="connsiteY31" fmla="*/ 57150 h 200025"/>
                  <a:gd name="connsiteX32" fmla="*/ 174182 w 176742"/>
                  <a:gd name="connsiteY32" fmla="*/ 83344 h 200025"/>
                  <a:gd name="connsiteX33" fmla="*/ 159894 w 176742"/>
                  <a:gd name="connsiteY33" fmla="*/ 80962 h 200025"/>
                  <a:gd name="connsiteX34" fmla="*/ 157513 w 176742"/>
                  <a:gd name="connsiteY34" fmla="*/ 73819 h 200025"/>
                  <a:gd name="connsiteX35" fmla="*/ 150369 w 176742"/>
                  <a:gd name="connsiteY35" fmla="*/ 78581 h 200025"/>
                  <a:gd name="connsiteX36" fmla="*/ 136082 w 176742"/>
                  <a:gd name="connsiteY36" fmla="*/ 90487 h 200025"/>
                  <a:gd name="connsiteX37" fmla="*/ 138463 w 176742"/>
                  <a:gd name="connsiteY37" fmla="*/ 97631 h 200025"/>
                  <a:gd name="connsiteX38" fmla="*/ 140844 w 176742"/>
                  <a:gd name="connsiteY38" fmla="*/ 119062 h 200025"/>
                  <a:gd name="connsiteX39" fmla="*/ 150369 w 176742"/>
                  <a:gd name="connsiteY39" fmla="*/ 121444 h 200025"/>
                  <a:gd name="connsiteX40" fmla="*/ 155132 w 176742"/>
                  <a:gd name="connsiteY40" fmla="*/ 128587 h 200025"/>
                  <a:gd name="connsiteX41" fmla="*/ 150369 w 176742"/>
                  <a:gd name="connsiteY41" fmla="*/ 147637 h 200025"/>
                  <a:gd name="connsiteX42" fmla="*/ 143225 w 176742"/>
                  <a:gd name="connsiteY42" fmla="*/ 150019 h 200025"/>
                  <a:gd name="connsiteX43" fmla="*/ 136082 w 176742"/>
                  <a:gd name="connsiteY43" fmla="*/ 154781 h 200025"/>
                  <a:gd name="connsiteX44" fmla="*/ 119413 w 176742"/>
                  <a:gd name="connsiteY44" fmla="*/ 159544 h 200025"/>
                  <a:gd name="connsiteX45" fmla="*/ 121794 w 176742"/>
                  <a:gd name="connsiteY45" fmla="*/ 166687 h 200025"/>
                  <a:gd name="connsiteX46" fmla="*/ 126557 w 176742"/>
                  <a:gd name="connsiteY46" fmla="*/ 173831 h 200025"/>
                  <a:gd name="connsiteX47" fmla="*/ 112269 w 176742"/>
                  <a:gd name="connsiteY47" fmla="*/ 183356 h 200025"/>
                  <a:gd name="connsiteX48" fmla="*/ 121794 w 176742"/>
                  <a:gd name="connsiteY48" fmla="*/ 195262 h 200025"/>
                  <a:gd name="connsiteX49" fmla="*/ 114650 w 176742"/>
                  <a:gd name="connsiteY49" fmla="*/ 200025 h 200025"/>
                  <a:gd name="connsiteX50" fmla="*/ 107507 w 176742"/>
                  <a:gd name="connsiteY50" fmla="*/ 197644 h 200025"/>
                  <a:gd name="connsiteX51" fmla="*/ 100363 w 176742"/>
                  <a:gd name="connsiteY51" fmla="*/ 192881 h 200025"/>
                  <a:gd name="connsiteX52" fmla="*/ 90838 w 176742"/>
                  <a:gd name="connsiteY52" fmla="*/ 195262 h 200025"/>
                  <a:gd name="connsiteX53" fmla="*/ 88457 w 176742"/>
                  <a:gd name="connsiteY53" fmla="*/ 176212 h 200025"/>
                  <a:gd name="connsiteX54" fmla="*/ 86075 w 176742"/>
                  <a:gd name="connsiteY54" fmla="*/ 161925 h 200025"/>
                  <a:gd name="connsiteX55" fmla="*/ 81313 w 176742"/>
                  <a:gd name="connsiteY55" fmla="*/ 154781 h 200025"/>
                  <a:gd name="connsiteX56" fmla="*/ 62263 w 176742"/>
                  <a:gd name="connsiteY56" fmla="*/ 159544 h 200025"/>
                  <a:gd name="connsiteX57" fmla="*/ 45594 w 176742"/>
                  <a:gd name="connsiteY57" fmla="*/ 154781 h 200025"/>
                  <a:gd name="connsiteX58" fmla="*/ 38450 w 176742"/>
                  <a:gd name="connsiteY58" fmla="*/ 157162 h 200025"/>
                  <a:gd name="connsiteX59" fmla="*/ 28925 w 176742"/>
                  <a:gd name="connsiteY59" fmla="*/ 147637 h 200025"/>
                  <a:gd name="connsiteX60" fmla="*/ 26544 w 176742"/>
                  <a:gd name="connsiteY60" fmla="*/ 140494 h 200025"/>
                  <a:gd name="connsiteX61" fmla="*/ 28925 w 176742"/>
                  <a:gd name="connsiteY61" fmla="*/ 121444 h 200025"/>
                  <a:gd name="connsiteX62" fmla="*/ 33688 w 176742"/>
                  <a:gd name="connsiteY62" fmla="*/ 114300 h 200025"/>
                  <a:gd name="connsiteX63" fmla="*/ 24163 w 176742"/>
                  <a:gd name="connsiteY63" fmla="*/ 97631 h 200025"/>
                  <a:gd name="connsiteX64" fmla="*/ 12257 w 176742"/>
                  <a:gd name="connsiteY64" fmla="*/ 88106 h 200025"/>
                  <a:gd name="connsiteX65" fmla="*/ 7494 w 176742"/>
                  <a:gd name="connsiteY65" fmla="*/ 80962 h 200025"/>
                  <a:gd name="connsiteX66" fmla="*/ 7494 w 176742"/>
                  <a:gd name="connsiteY66" fmla="*/ 73819 h 200025"/>
                  <a:gd name="connsiteX67" fmla="*/ 28925 w 176742"/>
                  <a:gd name="connsiteY67" fmla="*/ 76200 h 200025"/>
                  <a:gd name="connsiteX68" fmla="*/ 36069 w 176742"/>
                  <a:gd name="connsiteY68" fmla="*/ 73819 h 200025"/>
                  <a:gd name="connsiteX69" fmla="*/ 9875 w 176742"/>
                  <a:gd name="connsiteY69" fmla="*/ 71437 h 2000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176742" h="200025">
                    <a:moveTo>
                      <a:pt x="9875" y="71437"/>
                    </a:moveTo>
                    <a:cubicBezTo>
                      <a:pt x="11463" y="71040"/>
                      <a:pt x="34930" y="77658"/>
                      <a:pt x="45594" y="71437"/>
                    </a:cubicBezTo>
                    <a:cubicBezTo>
                      <a:pt x="49930" y="68908"/>
                      <a:pt x="47937" y="62387"/>
                      <a:pt x="50357" y="57150"/>
                    </a:cubicBezTo>
                    <a:cubicBezTo>
                      <a:pt x="52777" y="51913"/>
                      <a:pt x="56863" y="45725"/>
                      <a:pt x="60116" y="40013"/>
                    </a:cubicBezTo>
                    <a:cubicBezTo>
                      <a:pt x="60513" y="36441"/>
                      <a:pt x="37111" y="31835"/>
                      <a:pt x="40247" y="30722"/>
                    </a:cubicBezTo>
                    <a:cubicBezTo>
                      <a:pt x="43383" y="29609"/>
                      <a:pt x="71294" y="33298"/>
                      <a:pt x="78932" y="33337"/>
                    </a:cubicBezTo>
                    <a:cubicBezTo>
                      <a:pt x="86570" y="33376"/>
                      <a:pt x="83745" y="30024"/>
                      <a:pt x="86075" y="30956"/>
                    </a:cubicBezTo>
                    <a:cubicBezTo>
                      <a:pt x="88732" y="32019"/>
                      <a:pt x="89250" y="35719"/>
                      <a:pt x="90838" y="38100"/>
                    </a:cubicBezTo>
                    <a:cubicBezTo>
                      <a:pt x="89250" y="40481"/>
                      <a:pt x="87355" y="42684"/>
                      <a:pt x="86075" y="45244"/>
                    </a:cubicBezTo>
                    <a:cubicBezTo>
                      <a:pt x="84953" y="47489"/>
                      <a:pt x="85469" y="50612"/>
                      <a:pt x="83694" y="52387"/>
                    </a:cubicBezTo>
                    <a:cubicBezTo>
                      <a:pt x="81919" y="54162"/>
                      <a:pt x="78931" y="53975"/>
                      <a:pt x="76550" y="54769"/>
                    </a:cubicBezTo>
                    <a:cubicBezTo>
                      <a:pt x="75756" y="57150"/>
                      <a:pt x="72394" y="60137"/>
                      <a:pt x="74169" y="61912"/>
                    </a:cubicBezTo>
                    <a:cubicBezTo>
                      <a:pt x="77719" y="65462"/>
                      <a:pt x="88457" y="66675"/>
                      <a:pt x="88457" y="66675"/>
                    </a:cubicBezTo>
                    <a:cubicBezTo>
                      <a:pt x="90044" y="69056"/>
                      <a:pt x="91939" y="71259"/>
                      <a:pt x="93219" y="73819"/>
                    </a:cubicBezTo>
                    <a:cubicBezTo>
                      <a:pt x="94341" y="76064"/>
                      <a:pt x="93825" y="79187"/>
                      <a:pt x="95600" y="80962"/>
                    </a:cubicBezTo>
                    <a:cubicBezTo>
                      <a:pt x="97375" y="82737"/>
                      <a:pt x="100363" y="82550"/>
                      <a:pt x="102744" y="83344"/>
                    </a:cubicBezTo>
                    <a:cubicBezTo>
                      <a:pt x="103538" y="76994"/>
                      <a:pt x="102748" y="70236"/>
                      <a:pt x="105125" y="64294"/>
                    </a:cubicBezTo>
                    <a:cubicBezTo>
                      <a:pt x="106188" y="61637"/>
                      <a:pt x="110034" y="57743"/>
                      <a:pt x="112269" y="59531"/>
                    </a:cubicBezTo>
                    <a:cubicBezTo>
                      <a:pt x="116189" y="62667"/>
                      <a:pt x="117032" y="73819"/>
                      <a:pt x="117032" y="73819"/>
                    </a:cubicBezTo>
                    <a:cubicBezTo>
                      <a:pt x="119413" y="72231"/>
                      <a:pt x="123270" y="71771"/>
                      <a:pt x="124175" y="69056"/>
                    </a:cubicBezTo>
                    <a:cubicBezTo>
                      <a:pt x="125210" y="65951"/>
                      <a:pt x="122693" y="62678"/>
                      <a:pt x="121794" y="59531"/>
                    </a:cubicBezTo>
                    <a:cubicBezTo>
                      <a:pt x="119088" y="50058"/>
                      <a:pt x="120841" y="53339"/>
                      <a:pt x="112269" y="47625"/>
                    </a:cubicBezTo>
                    <a:cubicBezTo>
                      <a:pt x="111475" y="42862"/>
                      <a:pt x="111059" y="38021"/>
                      <a:pt x="109888" y="33337"/>
                    </a:cubicBezTo>
                    <a:cubicBezTo>
                      <a:pt x="108670" y="28467"/>
                      <a:pt x="105125" y="19050"/>
                      <a:pt x="105125" y="19050"/>
                    </a:cubicBezTo>
                    <a:cubicBezTo>
                      <a:pt x="107506" y="18256"/>
                      <a:pt x="110309" y="18237"/>
                      <a:pt x="112269" y="16669"/>
                    </a:cubicBezTo>
                    <a:cubicBezTo>
                      <a:pt x="117370" y="12589"/>
                      <a:pt x="116809" y="4647"/>
                      <a:pt x="124175" y="2381"/>
                    </a:cubicBezTo>
                    <a:cubicBezTo>
                      <a:pt x="131799" y="35"/>
                      <a:pt x="140050" y="794"/>
                      <a:pt x="147988" y="0"/>
                    </a:cubicBezTo>
                    <a:cubicBezTo>
                      <a:pt x="161636" y="20474"/>
                      <a:pt x="145273" y="-5430"/>
                      <a:pt x="155132" y="14287"/>
                    </a:cubicBezTo>
                    <a:cubicBezTo>
                      <a:pt x="164359" y="32741"/>
                      <a:pt x="156294" y="10628"/>
                      <a:pt x="162275" y="28575"/>
                    </a:cubicBezTo>
                    <a:cubicBezTo>
                      <a:pt x="163069" y="34131"/>
                      <a:pt x="162377" y="40115"/>
                      <a:pt x="164657" y="45244"/>
                    </a:cubicBezTo>
                    <a:cubicBezTo>
                      <a:pt x="165819" y="47859"/>
                      <a:pt x="170012" y="47771"/>
                      <a:pt x="171800" y="50006"/>
                    </a:cubicBezTo>
                    <a:cubicBezTo>
                      <a:pt x="173368" y="51966"/>
                      <a:pt x="173388" y="54769"/>
                      <a:pt x="174182" y="57150"/>
                    </a:cubicBezTo>
                    <a:cubicBezTo>
                      <a:pt x="174553" y="59376"/>
                      <a:pt x="179753" y="80161"/>
                      <a:pt x="174182" y="83344"/>
                    </a:cubicBezTo>
                    <a:cubicBezTo>
                      <a:pt x="169990" y="85740"/>
                      <a:pt x="164657" y="81756"/>
                      <a:pt x="159894" y="80962"/>
                    </a:cubicBezTo>
                    <a:cubicBezTo>
                      <a:pt x="159100" y="78581"/>
                      <a:pt x="159948" y="74428"/>
                      <a:pt x="157513" y="73819"/>
                    </a:cubicBezTo>
                    <a:cubicBezTo>
                      <a:pt x="154737" y="73125"/>
                      <a:pt x="152568" y="76749"/>
                      <a:pt x="150369" y="78581"/>
                    </a:cubicBezTo>
                    <a:cubicBezTo>
                      <a:pt x="132029" y="93864"/>
                      <a:pt x="153821" y="78661"/>
                      <a:pt x="136082" y="90487"/>
                    </a:cubicBezTo>
                    <a:cubicBezTo>
                      <a:pt x="136876" y="92868"/>
                      <a:pt x="138050" y="95155"/>
                      <a:pt x="138463" y="97631"/>
                    </a:cubicBezTo>
                    <a:cubicBezTo>
                      <a:pt x="139645" y="104721"/>
                      <a:pt x="137630" y="112633"/>
                      <a:pt x="140844" y="119062"/>
                    </a:cubicBezTo>
                    <a:cubicBezTo>
                      <a:pt x="142308" y="121989"/>
                      <a:pt x="147194" y="120650"/>
                      <a:pt x="150369" y="121444"/>
                    </a:cubicBezTo>
                    <a:cubicBezTo>
                      <a:pt x="151957" y="123825"/>
                      <a:pt x="155132" y="125725"/>
                      <a:pt x="155132" y="128587"/>
                    </a:cubicBezTo>
                    <a:cubicBezTo>
                      <a:pt x="155132" y="135132"/>
                      <a:pt x="153548" y="141915"/>
                      <a:pt x="150369" y="147637"/>
                    </a:cubicBezTo>
                    <a:cubicBezTo>
                      <a:pt x="149150" y="149831"/>
                      <a:pt x="145470" y="148896"/>
                      <a:pt x="143225" y="150019"/>
                    </a:cubicBezTo>
                    <a:cubicBezTo>
                      <a:pt x="140666" y="151299"/>
                      <a:pt x="138642" y="153501"/>
                      <a:pt x="136082" y="154781"/>
                    </a:cubicBezTo>
                    <a:cubicBezTo>
                      <a:pt x="132669" y="156487"/>
                      <a:pt x="122460" y="158782"/>
                      <a:pt x="119413" y="159544"/>
                    </a:cubicBezTo>
                    <a:cubicBezTo>
                      <a:pt x="120207" y="161925"/>
                      <a:pt x="120672" y="164442"/>
                      <a:pt x="121794" y="166687"/>
                    </a:cubicBezTo>
                    <a:cubicBezTo>
                      <a:pt x="123074" y="169247"/>
                      <a:pt x="127027" y="171008"/>
                      <a:pt x="126557" y="173831"/>
                    </a:cubicBezTo>
                    <a:cubicBezTo>
                      <a:pt x="125508" y="180127"/>
                      <a:pt x="116742" y="181865"/>
                      <a:pt x="112269" y="183356"/>
                    </a:cubicBezTo>
                    <a:cubicBezTo>
                      <a:pt x="114993" y="185172"/>
                      <a:pt x="124215" y="189209"/>
                      <a:pt x="121794" y="195262"/>
                    </a:cubicBezTo>
                    <a:cubicBezTo>
                      <a:pt x="120731" y="197919"/>
                      <a:pt x="117031" y="198437"/>
                      <a:pt x="114650" y="200025"/>
                    </a:cubicBezTo>
                    <a:cubicBezTo>
                      <a:pt x="112269" y="199231"/>
                      <a:pt x="109752" y="198766"/>
                      <a:pt x="107507" y="197644"/>
                    </a:cubicBezTo>
                    <a:cubicBezTo>
                      <a:pt x="104947" y="196364"/>
                      <a:pt x="103196" y="193286"/>
                      <a:pt x="100363" y="192881"/>
                    </a:cubicBezTo>
                    <a:cubicBezTo>
                      <a:pt x="97123" y="192418"/>
                      <a:pt x="94013" y="194468"/>
                      <a:pt x="90838" y="195262"/>
                    </a:cubicBezTo>
                    <a:cubicBezTo>
                      <a:pt x="90044" y="188912"/>
                      <a:pt x="90141" y="182386"/>
                      <a:pt x="88457" y="176212"/>
                    </a:cubicBezTo>
                    <a:cubicBezTo>
                      <a:pt x="84302" y="160978"/>
                      <a:pt x="81034" y="177049"/>
                      <a:pt x="86075" y="161925"/>
                    </a:cubicBezTo>
                    <a:cubicBezTo>
                      <a:pt x="84488" y="159544"/>
                      <a:pt x="84065" y="155567"/>
                      <a:pt x="81313" y="154781"/>
                    </a:cubicBezTo>
                    <a:cubicBezTo>
                      <a:pt x="78217" y="153896"/>
                      <a:pt x="66256" y="158213"/>
                      <a:pt x="62263" y="159544"/>
                    </a:cubicBezTo>
                    <a:cubicBezTo>
                      <a:pt x="58892" y="158420"/>
                      <a:pt x="48588" y="154781"/>
                      <a:pt x="45594" y="154781"/>
                    </a:cubicBezTo>
                    <a:cubicBezTo>
                      <a:pt x="43084" y="154781"/>
                      <a:pt x="40831" y="156368"/>
                      <a:pt x="38450" y="157162"/>
                    </a:cubicBezTo>
                    <a:cubicBezTo>
                      <a:pt x="32101" y="138116"/>
                      <a:pt x="41624" y="160336"/>
                      <a:pt x="28925" y="147637"/>
                    </a:cubicBezTo>
                    <a:cubicBezTo>
                      <a:pt x="27150" y="145862"/>
                      <a:pt x="27338" y="142875"/>
                      <a:pt x="26544" y="140494"/>
                    </a:cubicBezTo>
                    <a:cubicBezTo>
                      <a:pt x="37714" y="123740"/>
                      <a:pt x="25983" y="144984"/>
                      <a:pt x="28925" y="121444"/>
                    </a:cubicBezTo>
                    <a:cubicBezTo>
                      <a:pt x="29280" y="118604"/>
                      <a:pt x="32100" y="116681"/>
                      <a:pt x="33688" y="114300"/>
                    </a:cubicBezTo>
                    <a:cubicBezTo>
                      <a:pt x="29834" y="98882"/>
                      <a:pt x="34297" y="109791"/>
                      <a:pt x="24163" y="97631"/>
                    </a:cubicBezTo>
                    <a:cubicBezTo>
                      <a:pt x="15878" y="87689"/>
                      <a:pt x="23983" y="92015"/>
                      <a:pt x="12257" y="88106"/>
                    </a:cubicBezTo>
                    <a:cubicBezTo>
                      <a:pt x="10669" y="85725"/>
                      <a:pt x="9729" y="82750"/>
                      <a:pt x="7494" y="80962"/>
                    </a:cubicBezTo>
                    <a:cubicBezTo>
                      <a:pt x="772" y="75585"/>
                      <a:pt x="-5316" y="82358"/>
                      <a:pt x="7494" y="73819"/>
                    </a:cubicBezTo>
                    <a:cubicBezTo>
                      <a:pt x="14638" y="74613"/>
                      <a:pt x="21737" y="76200"/>
                      <a:pt x="28925" y="76200"/>
                    </a:cubicBezTo>
                    <a:cubicBezTo>
                      <a:pt x="31435" y="76200"/>
                      <a:pt x="33593" y="74232"/>
                      <a:pt x="36069" y="73819"/>
                    </a:cubicBezTo>
                    <a:cubicBezTo>
                      <a:pt x="38418" y="73428"/>
                      <a:pt x="8287" y="71834"/>
                      <a:pt x="9875" y="71437"/>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grpSp>
        <p:grpSp>
          <p:nvGrpSpPr>
            <p:cNvPr id="327" name="Group 326">
              <a:extLst>
                <a:ext uri="{FF2B5EF4-FFF2-40B4-BE49-F238E27FC236}">
                  <a16:creationId xmlns:a16="http://schemas.microsoft.com/office/drawing/2014/main" id="{E5C6C3F9-411D-41B8-863D-FB7000A98A04}"/>
                </a:ext>
              </a:extLst>
            </p:cNvPr>
            <p:cNvGrpSpPr/>
            <p:nvPr/>
          </p:nvGrpSpPr>
          <p:grpSpPr>
            <a:xfrm>
              <a:off x="6550036" y="3259155"/>
              <a:ext cx="1022316" cy="1380812"/>
              <a:chOff x="3825292" y="3662577"/>
              <a:chExt cx="1022316" cy="1380812"/>
            </a:xfrm>
            <a:solidFill>
              <a:srgbClr val="003399"/>
            </a:solidFill>
          </p:grpSpPr>
          <p:sp>
            <p:nvSpPr>
              <p:cNvPr id="823" name="Freeform: Shape 822">
                <a:extLst>
                  <a:ext uri="{FF2B5EF4-FFF2-40B4-BE49-F238E27FC236}">
                    <a16:creationId xmlns:a16="http://schemas.microsoft.com/office/drawing/2014/main" id="{016833CD-70D2-49EF-8AF0-3569147ADB9B}"/>
                  </a:ext>
                </a:extLst>
              </p:cNvPr>
              <p:cNvSpPr/>
              <p:nvPr/>
            </p:nvSpPr>
            <p:spPr>
              <a:xfrm>
                <a:off x="3825292" y="3662577"/>
                <a:ext cx="1022316" cy="1380812"/>
              </a:xfrm>
              <a:custGeom>
                <a:avLst/>
                <a:gdLst>
                  <a:gd name="connsiteX0" fmla="*/ 710914 w 1017431"/>
                  <a:gd name="connsiteY0" fmla="*/ 95478 h 1380812"/>
                  <a:gd name="connsiteX1" fmla="*/ 767581 w 1017431"/>
                  <a:gd name="connsiteY1" fmla="*/ 95478 h 1380812"/>
                  <a:gd name="connsiteX2" fmla="*/ 770157 w 1017431"/>
                  <a:gd name="connsiteY2" fmla="*/ 103206 h 1380812"/>
                  <a:gd name="connsiteX3" fmla="*/ 775308 w 1017431"/>
                  <a:gd name="connsiteY3" fmla="*/ 110933 h 1380812"/>
                  <a:gd name="connsiteX4" fmla="*/ 777884 w 1017431"/>
                  <a:gd name="connsiteY4" fmla="*/ 98054 h 1380812"/>
                  <a:gd name="connsiteX5" fmla="*/ 785611 w 1017431"/>
                  <a:gd name="connsiteY5" fmla="*/ 92902 h 1380812"/>
                  <a:gd name="connsiteX6" fmla="*/ 788187 w 1017431"/>
                  <a:gd name="connsiteY6" fmla="*/ 85175 h 1380812"/>
                  <a:gd name="connsiteX7" fmla="*/ 798490 w 1017431"/>
                  <a:gd name="connsiteY7" fmla="*/ 43963 h 1380812"/>
                  <a:gd name="connsiteX8" fmla="*/ 816520 w 1017431"/>
                  <a:gd name="connsiteY8" fmla="*/ 46538 h 1380812"/>
                  <a:gd name="connsiteX9" fmla="*/ 829399 w 1017431"/>
                  <a:gd name="connsiteY9" fmla="*/ 61993 h 1380812"/>
                  <a:gd name="connsiteX10" fmla="*/ 831975 w 1017431"/>
                  <a:gd name="connsiteY10" fmla="*/ 85175 h 1380812"/>
                  <a:gd name="connsiteX11" fmla="*/ 834551 w 1017431"/>
                  <a:gd name="connsiteY11" fmla="*/ 95478 h 1380812"/>
                  <a:gd name="connsiteX12" fmla="*/ 842278 w 1017431"/>
                  <a:gd name="connsiteY12" fmla="*/ 98054 h 1380812"/>
                  <a:gd name="connsiteX13" fmla="*/ 852581 w 1017431"/>
                  <a:gd name="connsiteY13" fmla="*/ 100630 h 1380812"/>
                  <a:gd name="connsiteX14" fmla="*/ 829399 w 1017431"/>
                  <a:gd name="connsiteY14" fmla="*/ 100630 h 1380812"/>
                  <a:gd name="connsiteX15" fmla="*/ 813945 w 1017431"/>
                  <a:gd name="connsiteY15" fmla="*/ 108357 h 1380812"/>
                  <a:gd name="connsiteX16" fmla="*/ 808793 w 1017431"/>
                  <a:gd name="connsiteY16" fmla="*/ 116084 h 1380812"/>
                  <a:gd name="connsiteX17" fmla="*/ 775308 w 1017431"/>
                  <a:gd name="connsiteY17" fmla="*/ 116084 h 1380812"/>
                  <a:gd name="connsiteX18" fmla="*/ 777884 w 1017431"/>
                  <a:gd name="connsiteY18" fmla="*/ 105781 h 1380812"/>
                  <a:gd name="connsiteX19" fmla="*/ 785611 w 1017431"/>
                  <a:gd name="connsiteY19" fmla="*/ 108357 h 1380812"/>
                  <a:gd name="connsiteX20" fmla="*/ 803642 w 1017431"/>
                  <a:gd name="connsiteY20" fmla="*/ 126388 h 1380812"/>
                  <a:gd name="connsiteX21" fmla="*/ 816520 w 1017431"/>
                  <a:gd name="connsiteY21" fmla="*/ 149569 h 1380812"/>
                  <a:gd name="connsiteX22" fmla="*/ 824248 w 1017431"/>
                  <a:gd name="connsiteY22" fmla="*/ 146994 h 1380812"/>
                  <a:gd name="connsiteX23" fmla="*/ 839702 w 1017431"/>
                  <a:gd name="connsiteY23" fmla="*/ 136691 h 1380812"/>
                  <a:gd name="connsiteX24" fmla="*/ 855157 w 1017431"/>
                  <a:gd name="connsiteY24" fmla="*/ 139266 h 1380812"/>
                  <a:gd name="connsiteX25" fmla="*/ 857733 w 1017431"/>
                  <a:gd name="connsiteY25" fmla="*/ 146994 h 1380812"/>
                  <a:gd name="connsiteX26" fmla="*/ 865460 w 1017431"/>
                  <a:gd name="connsiteY26" fmla="*/ 149569 h 1380812"/>
                  <a:gd name="connsiteX27" fmla="*/ 880915 w 1017431"/>
                  <a:gd name="connsiteY27" fmla="*/ 152145 h 1380812"/>
                  <a:gd name="connsiteX28" fmla="*/ 891218 w 1017431"/>
                  <a:gd name="connsiteY28" fmla="*/ 172751 h 1380812"/>
                  <a:gd name="connsiteX29" fmla="*/ 888642 w 1017431"/>
                  <a:gd name="connsiteY29" fmla="*/ 165024 h 1380812"/>
                  <a:gd name="connsiteX30" fmla="*/ 880915 w 1017431"/>
                  <a:gd name="connsiteY30" fmla="*/ 162448 h 1380812"/>
                  <a:gd name="connsiteX31" fmla="*/ 873188 w 1017431"/>
                  <a:gd name="connsiteY31" fmla="*/ 157297 h 1380812"/>
                  <a:gd name="connsiteX32" fmla="*/ 862884 w 1017431"/>
                  <a:gd name="connsiteY32" fmla="*/ 159873 h 1380812"/>
                  <a:gd name="connsiteX33" fmla="*/ 873188 w 1017431"/>
                  <a:gd name="connsiteY33" fmla="*/ 198509 h 1380812"/>
                  <a:gd name="connsiteX34" fmla="*/ 880915 w 1017431"/>
                  <a:gd name="connsiteY34" fmla="*/ 195933 h 1380812"/>
                  <a:gd name="connsiteX35" fmla="*/ 883491 w 1017431"/>
                  <a:gd name="connsiteY35" fmla="*/ 206237 h 1380812"/>
                  <a:gd name="connsiteX36" fmla="*/ 888642 w 1017431"/>
                  <a:gd name="connsiteY36" fmla="*/ 213964 h 1380812"/>
                  <a:gd name="connsiteX37" fmla="*/ 904097 w 1017431"/>
                  <a:gd name="connsiteY37" fmla="*/ 208812 h 1380812"/>
                  <a:gd name="connsiteX38" fmla="*/ 909248 w 1017431"/>
                  <a:gd name="connsiteY38" fmla="*/ 224267 h 1380812"/>
                  <a:gd name="connsiteX39" fmla="*/ 914400 w 1017431"/>
                  <a:gd name="connsiteY39" fmla="*/ 242297 h 1380812"/>
                  <a:gd name="connsiteX40" fmla="*/ 916976 w 1017431"/>
                  <a:gd name="connsiteY40" fmla="*/ 257752 h 1380812"/>
                  <a:gd name="connsiteX41" fmla="*/ 924703 w 1017431"/>
                  <a:gd name="connsiteY41" fmla="*/ 265479 h 1380812"/>
                  <a:gd name="connsiteX42" fmla="*/ 929855 w 1017431"/>
                  <a:gd name="connsiteY42" fmla="*/ 273207 h 1380812"/>
                  <a:gd name="connsiteX43" fmla="*/ 935006 w 1017431"/>
                  <a:gd name="connsiteY43" fmla="*/ 291237 h 1380812"/>
                  <a:gd name="connsiteX44" fmla="*/ 940158 w 1017431"/>
                  <a:gd name="connsiteY44" fmla="*/ 311843 h 1380812"/>
                  <a:gd name="connsiteX45" fmla="*/ 937582 w 1017431"/>
                  <a:gd name="connsiteY45" fmla="*/ 327298 h 1380812"/>
                  <a:gd name="connsiteX46" fmla="*/ 929855 w 1017431"/>
                  <a:gd name="connsiteY46" fmla="*/ 329874 h 1380812"/>
                  <a:gd name="connsiteX47" fmla="*/ 911824 w 1017431"/>
                  <a:gd name="connsiteY47" fmla="*/ 335025 h 1380812"/>
                  <a:gd name="connsiteX48" fmla="*/ 904097 w 1017431"/>
                  <a:gd name="connsiteY48" fmla="*/ 340177 h 1380812"/>
                  <a:gd name="connsiteX49" fmla="*/ 901521 w 1017431"/>
                  <a:gd name="connsiteY49" fmla="*/ 347904 h 1380812"/>
                  <a:gd name="connsiteX50" fmla="*/ 914400 w 1017431"/>
                  <a:gd name="connsiteY50" fmla="*/ 371086 h 1380812"/>
                  <a:gd name="connsiteX51" fmla="*/ 922127 w 1017431"/>
                  <a:gd name="connsiteY51" fmla="*/ 373662 h 1380812"/>
                  <a:gd name="connsiteX52" fmla="*/ 937582 w 1017431"/>
                  <a:gd name="connsiteY52" fmla="*/ 386541 h 1380812"/>
                  <a:gd name="connsiteX53" fmla="*/ 940158 w 1017431"/>
                  <a:gd name="connsiteY53" fmla="*/ 394268 h 1380812"/>
                  <a:gd name="connsiteX54" fmla="*/ 947885 w 1017431"/>
                  <a:gd name="connsiteY54" fmla="*/ 396844 h 1380812"/>
                  <a:gd name="connsiteX55" fmla="*/ 950461 w 1017431"/>
                  <a:gd name="connsiteY55" fmla="*/ 407147 h 1380812"/>
                  <a:gd name="connsiteX56" fmla="*/ 955612 w 1017431"/>
                  <a:gd name="connsiteY56" fmla="*/ 422602 h 1380812"/>
                  <a:gd name="connsiteX57" fmla="*/ 958188 w 1017431"/>
                  <a:gd name="connsiteY57" fmla="*/ 430329 h 1380812"/>
                  <a:gd name="connsiteX58" fmla="*/ 955612 w 1017431"/>
                  <a:gd name="connsiteY58" fmla="*/ 438056 h 1380812"/>
                  <a:gd name="connsiteX59" fmla="*/ 950461 w 1017431"/>
                  <a:gd name="connsiteY59" fmla="*/ 456087 h 1380812"/>
                  <a:gd name="connsiteX60" fmla="*/ 965915 w 1017431"/>
                  <a:gd name="connsiteY60" fmla="*/ 466390 h 1380812"/>
                  <a:gd name="connsiteX61" fmla="*/ 971067 w 1017431"/>
                  <a:gd name="connsiteY61" fmla="*/ 476693 h 1380812"/>
                  <a:gd name="connsiteX62" fmla="*/ 973643 w 1017431"/>
                  <a:gd name="connsiteY62" fmla="*/ 507602 h 1380812"/>
                  <a:gd name="connsiteX63" fmla="*/ 976218 w 1017431"/>
                  <a:gd name="connsiteY63" fmla="*/ 525633 h 1380812"/>
                  <a:gd name="connsiteX64" fmla="*/ 973643 w 1017431"/>
                  <a:gd name="connsiteY64" fmla="*/ 535936 h 1380812"/>
                  <a:gd name="connsiteX65" fmla="*/ 965915 w 1017431"/>
                  <a:gd name="connsiteY65" fmla="*/ 541087 h 1380812"/>
                  <a:gd name="connsiteX66" fmla="*/ 960764 w 1017431"/>
                  <a:gd name="connsiteY66" fmla="*/ 548815 h 1380812"/>
                  <a:gd name="connsiteX67" fmla="*/ 963340 w 1017431"/>
                  <a:gd name="connsiteY67" fmla="*/ 561693 h 1380812"/>
                  <a:gd name="connsiteX68" fmla="*/ 971067 w 1017431"/>
                  <a:gd name="connsiteY68" fmla="*/ 564269 h 1380812"/>
                  <a:gd name="connsiteX69" fmla="*/ 981370 w 1017431"/>
                  <a:gd name="connsiteY69" fmla="*/ 569421 h 1380812"/>
                  <a:gd name="connsiteX70" fmla="*/ 986522 w 1017431"/>
                  <a:gd name="connsiteY70" fmla="*/ 577148 h 1380812"/>
                  <a:gd name="connsiteX71" fmla="*/ 978794 w 1017431"/>
                  <a:gd name="connsiteY71" fmla="*/ 595178 h 1380812"/>
                  <a:gd name="connsiteX72" fmla="*/ 986522 w 1017431"/>
                  <a:gd name="connsiteY72" fmla="*/ 600330 h 1380812"/>
                  <a:gd name="connsiteX73" fmla="*/ 994249 w 1017431"/>
                  <a:gd name="connsiteY73" fmla="*/ 602906 h 1380812"/>
                  <a:gd name="connsiteX74" fmla="*/ 1007128 w 1017431"/>
                  <a:gd name="connsiteY74" fmla="*/ 618360 h 1380812"/>
                  <a:gd name="connsiteX75" fmla="*/ 1014855 w 1017431"/>
                  <a:gd name="connsiteY75" fmla="*/ 641542 h 1380812"/>
                  <a:gd name="connsiteX76" fmla="*/ 1017431 w 1017431"/>
                  <a:gd name="connsiteY76" fmla="*/ 649270 h 1380812"/>
                  <a:gd name="connsiteX77" fmla="*/ 1014855 w 1017431"/>
                  <a:gd name="connsiteY77" fmla="*/ 667300 h 1380812"/>
                  <a:gd name="connsiteX78" fmla="*/ 1012279 w 1017431"/>
                  <a:gd name="connsiteY78" fmla="*/ 708513 h 1380812"/>
                  <a:gd name="connsiteX79" fmla="*/ 996825 w 1017431"/>
                  <a:gd name="connsiteY79" fmla="*/ 713664 h 1380812"/>
                  <a:gd name="connsiteX80" fmla="*/ 994249 w 1017431"/>
                  <a:gd name="connsiteY80" fmla="*/ 731695 h 1380812"/>
                  <a:gd name="connsiteX81" fmla="*/ 981370 w 1017431"/>
                  <a:gd name="connsiteY81" fmla="*/ 729119 h 1380812"/>
                  <a:gd name="connsiteX82" fmla="*/ 976218 w 1017431"/>
                  <a:gd name="connsiteY82" fmla="*/ 713664 h 1380812"/>
                  <a:gd name="connsiteX83" fmla="*/ 978794 w 1017431"/>
                  <a:gd name="connsiteY83" fmla="*/ 705937 h 1380812"/>
                  <a:gd name="connsiteX84" fmla="*/ 955612 w 1017431"/>
                  <a:gd name="connsiteY84" fmla="*/ 693058 h 1380812"/>
                  <a:gd name="connsiteX85" fmla="*/ 947885 w 1017431"/>
                  <a:gd name="connsiteY85" fmla="*/ 695634 h 1380812"/>
                  <a:gd name="connsiteX86" fmla="*/ 950461 w 1017431"/>
                  <a:gd name="connsiteY86" fmla="*/ 708513 h 1380812"/>
                  <a:gd name="connsiteX87" fmla="*/ 947885 w 1017431"/>
                  <a:gd name="connsiteY87" fmla="*/ 744573 h 1380812"/>
                  <a:gd name="connsiteX88" fmla="*/ 940158 w 1017431"/>
                  <a:gd name="connsiteY88" fmla="*/ 723967 h 1380812"/>
                  <a:gd name="connsiteX89" fmla="*/ 937582 w 1017431"/>
                  <a:gd name="connsiteY89" fmla="*/ 713664 h 1380812"/>
                  <a:gd name="connsiteX90" fmla="*/ 935006 w 1017431"/>
                  <a:gd name="connsiteY90" fmla="*/ 723967 h 1380812"/>
                  <a:gd name="connsiteX91" fmla="*/ 914400 w 1017431"/>
                  <a:gd name="connsiteY91" fmla="*/ 731695 h 1380812"/>
                  <a:gd name="connsiteX92" fmla="*/ 906673 w 1017431"/>
                  <a:gd name="connsiteY92" fmla="*/ 736846 h 1380812"/>
                  <a:gd name="connsiteX93" fmla="*/ 891218 w 1017431"/>
                  <a:gd name="connsiteY93" fmla="*/ 741998 h 1380812"/>
                  <a:gd name="connsiteX94" fmla="*/ 883491 w 1017431"/>
                  <a:gd name="connsiteY94" fmla="*/ 749725 h 1380812"/>
                  <a:gd name="connsiteX95" fmla="*/ 868036 w 1017431"/>
                  <a:gd name="connsiteY95" fmla="*/ 754877 h 1380812"/>
                  <a:gd name="connsiteX96" fmla="*/ 860309 w 1017431"/>
                  <a:gd name="connsiteY96" fmla="*/ 752301 h 1380812"/>
                  <a:gd name="connsiteX97" fmla="*/ 852581 w 1017431"/>
                  <a:gd name="connsiteY97" fmla="*/ 760028 h 1380812"/>
                  <a:gd name="connsiteX98" fmla="*/ 844854 w 1017431"/>
                  <a:gd name="connsiteY98" fmla="*/ 765180 h 1380812"/>
                  <a:gd name="connsiteX99" fmla="*/ 829399 w 1017431"/>
                  <a:gd name="connsiteY99" fmla="*/ 770331 h 1380812"/>
                  <a:gd name="connsiteX100" fmla="*/ 813945 w 1017431"/>
                  <a:gd name="connsiteY100" fmla="*/ 780634 h 1380812"/>
                  <a:gd name="connsiteX101" fmla="*/ 795914 w 1017431"/>
                  <a:gd name="connsiteY101" fmla="*/ 803816 h 1380812"/>
                  <a:gd name="connsiteX102" fmla="*/ 767581 w 1017431"/>
                  <a:gd name="connsiteY102" fmla="*/ 801240 h 1380812"/>
                  <a:gd name="connsiteX103" fmla="*/ 759853 w 1017431"/>
                  <a:gd name="connsiteY103" fmla="*/ 803816 h 1380812"/>
                  <a:gd name="connsiteX104" fmla="*/ 744399 w 1017431"/>
                  <a:gd name="connsiteY104" fmla="*/ 816695 h 1380812"/>
                  <a:gd name="connsiteX105" fmla="*/ 728944 w 1017431"/>
                  <a:gd name="connsiteY105" fmla="*/ 824422 h 1380812"/>
                  <a:gd name="connsiteX106" fmla="*/ 713489 w 1017431"/>
                  <a:gd name="connsiteY106" fmla="*/ 834726 h 1380812"/>
                  <a:gd name="connsiteX107" fmla="*/ 698035 w 1017431"/>
                  <a:gd name="connsiteY107" fmla="*/ 829574 h 1380812"/>
                  <a:gd name="connsiteX108" fmla="*/ 700611 w 1017431"/>
                  <a:gd name="connsiteY108" fmla="*/ 834726 h 1380812"/>
                  <a:gd name="connsiteX109" fmla="*/ 705762 w 1017431"/>
                  <a:gd name="connsiteY109" fmla="*/ 850180 h 1380812"/>
                  <a:gd name="connsiteX110" fmla="*/ 708338 w 1017431"/>
                  <a:gd name="connsiteY110" fmla="*/ 873362 h 1380812"/>
                  <a:gd name="connsiteX111" fmla="*/ 716065 w 1017431"/>
                  <a:gd name="connsiteY111" fmla="*/ 875938 h 1380812"/>
                  <a:gd name="connsiteX112" fmla="*/ 736671 w 1017431"/>
                  <a:gd name="connsiteY112" fmla="*/ 878514 h 1380812"/>
                  <a:gd name="connsiteX113" fmla="*/ 744399 w 1017431"/>
                  <a:gd name="connsiteY113" fmla="*/ 886241 h 1380812"/>
                  <a:gd name="connsiteX114" fmla="*/ 746975 w 1017431"/>
                  <a:gd name="connsiteY114" fmla="*/ 893968 h 1380812"/>
                  <a:gd name="connsiteX115" fmla="*/ 752126 w 1017431"/>
                  <a:gd name="connsiteY115" fmla="*/ 901696 h 1380812"/>
                  <a:gd name="connsiteX116" fmla="*/ 749550 w 1017431"/>
                  <a:gd name="connsiteY116" fmla="*/ 911999 h 1380812"/>
                  <a:gd name="connsiteX117" fmla="*/ 741823 w 1017431"/>
                  <a:gd name="connsiteY117" fmla="*/ 919726 h 1380812"/>
                  <a:gd name="connsiteX118" fmla="*/ 736671 w 1017431"/>
                  <a:gd name="connsiteY118" fmla="*/ 927453 h 1380812"/>
                  <a:gd name="connsiteX119" fmla="*/ 734096 w 1017431"/>
                  <a:gd name="connsiteY119" fmla="*/ 935181 h 1380812"/>
                  <a:gd name="connsiteX120" fmla="*/ 752126 w 1017431"/>
                  <a:gd name="connsiteY120" fmla="*/ 971242 h 1380812"/>
                  <a:gd name="connsiteX121" fmla="*/ 767581 w 1017431"/>
                  <a:gd name="connsiteY121" fmla="*/ 981545 h 1380812"/>
                  <a:gd name="connsiteX122" fmla="*/ 777884 w 1017431"/>
                  <a:gd name="connsiteY122" fmla="*/ 1004727 h 1380812"/>
                  <a:gd name="connsiteX123" fmla="*/ 801066 w 1017431"/>
                  <a:gd name="connsiteY123" fmla="*/ 1004727 h 1380812"/>
                  <a:gd name="connsiteX124" fmla="*/ 806217 w 1017431"/>
                  <a:gd name="connsiteY124" fmla="*/ 1012454 h 1380812"/>
                  <a:gd name="connsiteX125" fmla="*/ 813945 w 1017431"/>
                  <a:gd name="connsiteY125" fmla="*/ 1020181 h 1380812"/>
                  <a:gd name="connsiteX126" fmla="*/ 824248 w 1017431"/>
                  <a:gd name="connsiteY126" fmla="*/ 1035636 h 1380812"/>
                  <a:gd name="connsiteX127" fmla="*/ 831975 w 1017431"/>
                  <a:gd name="connsiteY127" fmla="*/ 1043363 h 1380812"/>
                  <a:gd name="connsiteX128" fmla="*/ 837127 w 1017431"/>
                  <a:gd name="connsiteY128" fmla="*/ 1051091 h 1380812"/>
                  <a:gd name="connsiteX129" fmla="*/ 844854 w 1017431"/>
                  <a:gd name="connsiteY129" fmla="*/ 1056242 h 1380812"/>
                  <a:gd name="connsiteX130" fmla="*/ 860309 w 1017431"/>
                  <a:gd name="connsiteY130" fmla="*/ 1066545 h 1380812"/>
                  <a:gd name="connsiteX131" fmla="*/ 868036 w 1017431"/>
                  <a:gd name="connsiteY131" fmla="*/ 1071697 h 1380812"/>
                  <a:gd name="connsiteX132" fmla="*/ 883491 w 1017431"/>
                  <a:gd name="connsiteY132" fmla="*/ 1076848 h 1380812"/>
                  <a:gd name="connsiteX133" fmla="*/ 891218 w 1017431"/>
                  <a:gd name="connsiteY133" fmla="*/ 1084576 h 1380812"/>
                  <a:gd name="connsiteX134" fmla="*/ 896369 w 1017431"/>
                  <a:gd name="connsiteY134" fmla="*/ 1092303 h 1380812"/>
                  <a:gd name="connsiteX135" fmla="*/ 904097 w 1017431"/>
                  <a:gd name="connsiteY135" fmla="*/ 1097455 h 1380812"/>
                  <a:gd name="connsiteX136" fmla="*/ 909248 w 1017431"/>
                  <a:gd name="connsiteY136" fmla="*/ 1105182 h 1380812"/>
                  <a:gd name="connsiteX137" fmla="*/ 904097 w 1017431"/>
                  <a:gd name="connsiteY137" fmla="*/ 1123212 h 1380812"/>
                  <a:gd name="connsiteX138" fmla="*/ 901521 w 1017431"/>
                  <a:gd name="connsiteY138" fmla="*/ 1141243 h 1380812"/>
                  <a:gd name="connsiteX139" fmla="*/ 883491 w 1017431"/>
                  <a:gd name="connsiteY139" fmla="*/ 1141243 h 1380812"/>
                  <a:gd name="connsiteX140" fmla="*/ 862884 w 1017431"/>
                  <a:gd name="connsiteY140" fmla="*/ 1138667 h 1380812"/>
                  <a:gd name="connsiteX141" fmla="*/ 857733 w 1017431"/>
                  <a:gd name="connsiteY141" fmla="*/ 1148970 h 1380812"/>
                  <a:gd name="connsiteX142" fmla="*/ 860309 w 1017431"/>
                  <a:gd name="connsiteY142" fmla="*/ 1156697 h 1380812"/>
                  <a:gd name="connsiteX143" fmla="*/ 852581 w 1017431"/>
                  <a:gd name="connsiteY143" fmla="*/ 1177304 h 1380812"/>
                  <a:gd name="connsiteX144" fmla="*/ 844854 w 1017431"/>
                  <a:gd name="connsiteY144" fmla="*/ 1182455 h 1380812"/>
                  <a:gd name="connsiteX145" fmla="*/ 837127 w 1017431"/>
                  <a:gd name="connsiteY145" fmla="*/ 1185031 h 1380812"/>
                  <a:gd name="connsiteX146" fmla="*/ 829399 w 1017431"/>
                  <a:gd name="connsiteY146" fmla="*/ 1190182 h 1380812"/>
                  <a:gd name="connsiteX147" fmla="*/ 813945 w 1017431"/>
                  <a:gd name="connsiteY147" fmla="*/ 1195334 h 1380812"/>
                  <a:gd name="connsiteX148" fmla="*/ 806217 w 1017431"/>
                  <a:gd name="connsiteY148" fmla="*/ 1197910 h 1380812"/>
                  <a:gd name="connsiteX149" fmla="*/ 798490 w 1017431"/>
                  <a:gd name="connsiteY149" fmla="*/ 1203061 h 1380812"/>
                  <a:gd name="connsiteX150" fmla="*/ 788187 w 1017431"/>
                  <a:gd name="connsiteY150" fmla="*/ 1221092 h 1380812"/>
                  <a:gd name="connsiteX151" fmla="*/ 790763 w 1017431"/>
                  <a:gd name="connsiteY151" fmla="*/ 1233971 h 1380812"/>
                  <a:gd name="connsiteX152" fmla="*/ 795914 w 1017431"/>
                  <a:gd name="connsiteY152" fmla="*/ 1241698 h 1380812"/>
                  <a:gd name="connsiteX153" fmla="*/ 801066 w 1017431"/>
                  <a:gd name="connsiteY153" fmla="*/ 1257153 h 1380812"/>
                  <a:gd name="connsiteX154" fmla="*/ 811369 w 1017431"/>
                  <a:gd name="connsiteY154" fmla="*/ 1272607 h 1380812"/>
                  <a:gd name="connsiteX155" fmla="*/ 808793 w 1017431"/>
                  <a:gd name="connsiteY155" fmla="*/ 1285486 h 1380812"/>
                  <a:gd name="connsiteX156" fmla="*/ 806217 w 1017431"/>
                  <a:gd name="connsiteY156" fmla="*/ 1293213 h 1380812"/>
                  <a:gd name="connsiteX157" fmla="*/ 813945 w 1017431"/>
                  <a:gd name="connsiteY157" fmla="*/ 1298365 h 1380812"/>
                  <a:gd name="connsiteX158" fmla="*/ 831975 w 1017431"/>
                  <a:gd name="connsiteY158" fmla="*/ 1303517 h 1380812"/>
                  <a:gd name="connsiteX159" fmla="*/ 824248 w 1017431"/>
                  <a:gd name="connsiteY159" fmla="*/ 1326698 h 1380812"/>
                  <a:gd name="connsiteX160" fmla="*/ 821672 w 1017431"/>
                  <a:gd name="connsiteY160" fmla="*/ 1334426 h 1380812"/>
                  <a:gd name="connsiteX161" fmla="*/ 813945 w 1017431"/>
                  <a:gd name="connsiteY161" fmla="*/ 1337002 h 1380812"/>
                  <a:gd name="connsiteX162" fmla="*/ 798490 w 1017431"/>
                  <a:gd name="connsiteY162" fmla="*/ 1329274 h 1380812"/>
                  <a:gd name="connsiteX163" fmla="*/ 793338 w 1017431"/>
                  <a:gd name="connsiteY163" fmla="*/ 1321547 h 1380812"/>
                  <a:gd name="connsiteX164" fmla="*/ 785611 w 1017431"/>
                  <a:gd name="connsiteY164" fmla="*/ 1306092 h 1380812"/>
                  <a:gd name="connsiteX165" fmla="*/ 777884 w 1017431"/>
                  <a:gd name="connsiteY165" fmla="*/ 1303517 h 1380812"/>
                  <a:gd name="connsiteX166" fmla="*/ 762429 w 1017431"/>
                  <a:gd name="connsiteY166" fmla="*/ 1311244 h 1380812"/>
                  <a:gd name="connsiteX167" fmla="*/ 752126 w 1017431"/>
                  <a:gd name="connsiteY167" fmla="*/ 1308668 h 1380812"/>
                  <a:gd name="connsiteX168" fmla="*/ 744399 w 1017431"/>
                  <a:gd name="connsiteY168" fmla="*/ 1303517 h 1380812"/>
                  <a:gd name="connsiteX169" fmla="*/ 726368 w 1017431"/>
                  <a:gd name="connsiteY169" fmla="*/ 1308668 h 1380812"/>
                  <a:gd name="connsiteX170" fmla="*/ 718641 w 1017431"/>
                  <a:gd name="connsiteY170" fmla="*/ 1313820 h 1380812"/>
                  <a:gd name="connsiteX171" fmla="*/ 713489 w 1017431"/>
                  <a:gd name="connsiteY171" fmla="*/ 1306092 h 1380812"/>
                  <a:gd name="connsiteX172" fmla="*/ 705762 w 1017431"/>
                  <a:gd name="connsiteY172" fmla="*/ 1300941 h 1380812"/>
                  <a:gd name="connsiteX173" fmla="*/ 677429 w 1017431"/>
                  <a:gd name="connsiteY173" fmla="*/ 1308668 h 1380812"/>
                  <a:gd name="connsiteX174" fmla="*/ 661974 w 1017431"/>
                  <a:gd name="connsiteY174" fmla="*/ 1316395 h 1380812"/>
                  <a:gd name="connsiteX175" fmla="*/ 641368 w 1017431"/>
                  <a:gd name="connsiteY175" fmla="*/ 1318971 h 1380812"/>
                  <a:gd name="connsiteX176" fmla="*/ 625913 w 1017431"/>
                  <a:gd name="connsiteY176" fmla="*/ 1329274 h 1380812"/>
                  <a:gd name="connsiteX177" fmla="*/ 602731 w 1017431"/>
                  <a:gd name="connsiteY177" fmla="*/ 1342153 h 1380812"/>
                  <a:gd name="connsiteX178" fmla="*/ 595004 w 1017431"/>
                  <a:gd name="connsiteY178" fmla="*/ 1347305 h 1380812"/>
                  <a:gd name="connsiteX179" fmla="*/ 579549 w 1017431"/>
                  <a:gd name="connsiteY179" fmla="*/ 1352456 h 1380812"/>
                  <a:gd name="connsiteX180" fmla="*/ 569246 w 1017431"/>
                  <a:gd name="connsiteY180" fmla="*/ 1349880 h 1380812"/>
                  <a:gd name="connsiteX181" fmla="*/ 561519 w 1017431"/>
                  <a:gd name="connsiteY181" fmla="*/ 1334426 h 1380812"/>
                  <a:gd name="connsiteX182" fmla="*/ 553791 w 1017431"/>
                  <a:gd name="connsiteY182" fmla="*/ 1337002 h 1380812"/>
                  <a:gd name="connsiteX183" fmla="*/ 538337 w 1017431"/>
                  <a:gd name="connsiteY183" fmla="*/ 1331850 h 1380812"/>
                  <a:gd name="connsiteX184" fmla="*/ 512579 w 1017431"/>
                  <a:gd name="connsiteY184" fmla="*/ 1334426 h 1380812"/>
                  <a:gd name="connsiteX185" fmla="*/ 515155 w 1017431"/>
                  <a:gd name="connsiteY185" fmla="*/ 1347305 h 1380812"/>
                  <a:gd name="connsiteX186" fmla="*/ 512579 w 1017431"/>
                  <a:gd name="connsiteY186" fmla="*/ 1357608 h 1380812"/>
                  <a:gd name="connsiteX187" fmla="*/ 504852 w 1017431"/>
                  <a:gd name="connsiteY187" fmla="*/ 1360184 h 1380812"/>
                  <a:gd name="connsiteX188" fmla="*/ 497124 w 1017431"/>
                  <a:gd name="connsiteY188" fmla="*/ 1365335 h 1380812"/>
                  <a:gd name="connsiteX189" fmla="*/ 481670 w 1017431"/>
                  <a:gd name="connsiteY189" fmla="*/ 1378214 h 1380812"/>
                  <a:gd name="connsiteX190" fmla="*/ 473942 w 1017431"/>
                  <a:gd name="connsiteY190" fmla="*/ 1362759 h 1380812"/>
                  <a:gd name="connsiteX191" fmla="*/ 468791 w 1017431"/>
                  <a:gd name="connsiteY191" fmla="*/ 1347305 h 1380812"/>
                  <a:gd name="connsiteX192" fmla="*/ 458488 w 1017431"/>
                  <a:gd name="connsiteY192" fmla="*/ 1342153 h 1380812"/>
                  <a:gd name="connsiteX193" fmla="*/ 435306 w 1017431"/>
                  <a:gd name="connsiteY193" fmla="*/ 1329274 h 1380812"/>
                  <a:gd name="connsiteX194" fmla="*/ 412124 w 1017431"/>
                  <a:gd name="connsiteY194" fmla="*/ 1331850 h 1380812"/>
                  <a:gd name="connsiteX195" fmla="*/ 394093 w 1017431"/>
                  <a:gd name="connsiteY195" fmla="*/ 1337002 h 1380812"/>
                  <a:gd name="connsiteX196" fmla="*/ 391518 w 1017431"/>
                  <a:gd name="connsiteY196" fmla="*/ 1324123 h 1380812"/>
                  <a:gd name="connsiteX197" fmla="*/ 383790 w 1017431"/>
                  <a:gd name="connsiteY197" fmla="*/ 1318971 h 1380812"/>
                  <a:gd name="connsiteX198" fmla="*/ 355457 w 1017431"/>
                  <a:gd name="connsiteY198" fmla="*/ 1313820 h 1380812"/>
                  <a:gd name="connsiteX199" fmla="*/ 340002 w 1017431"/>
                  <a:gd name="connsiteY199" fmla="*/ 1308668 h 1380812"/>
                  <a:gd name="connsiteX200" fmla="*/ 332275 w 1017431"/>
                  <a:gd name="connsiteY200" fmla="*/ 1306092 h 1380812"/>
                  <a:gd name="connsiteX201" fmla="*/ 311669 w 1017431"/>
                  <a:gd name="connsiteY201" fmla="*/ 1303517 h 1380812"/>
                  <a:gd name="connsiteX202" fmla="*/ 303941 w 1017431"/>
                  <a:gd name="connsiteY202" fmla="*/ 1300941 h 1380812"/>
                  <a:gd name="connsiteX203" fmla="*/ 298790 w 1017431"/>
                  <a:gd name="connsiteY203" fmla="*/ 1293213 h 1380812"/>
                  <a:gd name="connsiteX204" fmla="*/ 291062 w 1017431"/>
                  <a:gd name="connsiteY204" fmla="*/ 1288062 h 1380812"/>
                  <a:gd name="connsiteX205" fmla="*/ 278184 w 1017431"/>
                  <a:gd name="connsiteY205" fmla="*/ 1290638 h 1380812"/>
                  <a:gd name="connsiteX206" fmla="*/ 270456 w 1017431"/>
                  <a:gd name="connsiteY206" fmla="*/ 1293213 h 1380812"/>
                  <a:gd name="connsiteX207" fmla="*/ 275608 w 1017431"/>
                  <a:gd name="connsiteY207" fmla="*/ 1300941 h 1380812"/>
                  <a:gd name="connsiteX208" fmla="*/ 283335 w 1017431"/>
                  <a:gd name="connsiteY208" fmla="*/ 1303517 h 1380812"/>
                  <a:gd name="connsiteX209" fmla="*/ 291062 w 1017431"/>
                  <a:gd name="connsiteY209" fmla="*/ 1308668 h 1380812"/>
                  <a:gd name="connsiteX210" fmla="*/ 252426 w 1017431"/>
                  <a:gd name="connsiteY210" fmla="*/ 1313820 h 1380812"/>
                  <a:gd name="connsiteX211" fmla="*/ 229244 w 1017431"/>
                  <a:gd name="connsiteY211" fmla="*/ 1316395 h 1380812"/>
                  <a:gd name="connsiteX212" fmla="*/ 221517 w 1017431"/>
                  <a:gd name="connsiteY212" fmla="*/ 1318971 h 1380812"/>
                  <a:gd name="connsiteX213" fmla="*/ 136516 w 1017431"/>
                  <a:gd name="connsiteY213" fmla="*/ 1318971 h 1380812"/>
                  <a:gd name="connsiteX214" fmla="*/ 151971 w 1017431"/>
                  <a:gd name="connsiteY214" fmla="*/ 1311244 h 1380812"/>
                  <a:gd name="connsiteX215" fmla="*/ 159698 w 1017431"/>
                  <a:gd name="connsiteY215" fmla="*/ 1306092 h 1380812"/>
                  <a:gd name="connsiteX216" fmla="*/ 157122 w 1017431"/>
                  <a:gd name="connsiteY216" fmla="*/ 1298365 h 1380812"/>
                  <a:gd name="connsiteX217" fmla="*/ 151971 w 1017431"/>
                  <a:gd name="connsiteY217" fmla="*/ 1277759 h 1380812"/>
                  <a:gd name="connsiteX218" fmla="*/ 154546 w 1017431"/>
                  <a:gd name="connsiteY218" fmla="*/ 1259728 h 1380812"/>
                  <a:gd name="connsiteX219" fmla="*/ 162274 w 1017431"/>
                  <a:gd name="connsiteY219" fmla="*/ 1252001 h 1380812"/>
                  <a:gd name="connsiteX220" fmla="*/ 164849 w 1017431"/>
                  <a:gd name="connsiteY220" fmla="*/ 1244274 h 1380812"/>
                  <a:gd name="connsiteX221" fmla="*/ 167425 w 1017431"/>
                  <a:gd name="connsiteY221" fmla="*/ 1208213 h 1380812"/>
                  <a:gd name="connsiteX222" fmla="*/ 170001 w 1017431"/>
                  <a:gd name="connsiteY222" fmla="*/ 1200486 h 1380812"/>
                  <a:gd name="connsiteX223" fmla="*/ 177728 w 1017431"/>
                  <a:gd name="connsiteY223" fmla="*/ 1195334 h 1380812"/>
                  <a:gd name="connsiteX224" fmla="*/ 180304 w 1017431"/>
                  <a:gd name="connsiteY224" fmla="*/ 1185031 h 1380812"/>
                  <a:gd name="connsiteX225" fmla="*/ 193183 w 1017431"/>
                  <a:gd name="connsiteY225" fmla="*/ 1136091 h 1380812"/>
                  <a:gd name="connsiteX226" fmla="*/ 200910 w 1017431"/>
                  <a:gd name="connsiteY226" fmla="*/ 1128364 h 1380812"/>
                  <a:gd name="connsiteX227" fmla="*/ 216365 w 1017431"/>
                  <a:gd name="connsiteY227" fmla="*/ 1118061 h 1380812"/>
                  <a:gd name="connsiteX228" fmla="*/ 226668 w 1017431"/>
                  <a:gd name="connsiteY228" fmla="*/ 1102606 h 1380812"/>
                  <a:gd name="connsiteX229" fmla="*/ 231820 w 1017431"/>
                  <a:gd name="connsiteY229" fmla="*/ 1094879 h 1380812"/>
                  <a:gd name="connsiteX230" fmla="*/ 236971 w 1017431"/>
                  <a:gd name="connsiteY230" fmla="*/ 1074273 h 1380812"/>
                  <a:gd name="connsiteX231" fmla="*/ 239547 w 1017431"/>
                  <a:gd name="connsiteY231" fmla="*/ 1066545 h 1380812"/>
                  <a:gd name="connsiteX232" fmla="*/ 231820 w 1017431"/>
                  <a:gd name="connsiteY232" fmla="*/ 1063969 h 1380812"/>
                  <a:gd name="connsiteX233" fmla="*/ 224092 w 1017431"/>
                  <a:gd name="connsiteY233" fmla="*/ 1069121 h 1380812"/>
                  <a:gd name="connsiteX234" fmla="*/ 216365 w 1017431"/>
                  <a:gd name="connsiteY234" fmla="*/ 1071697 h 1380812"/>
                  <a:gd name="connsiteX235" fmla="*/ 190607 w 1017431"/>
                  <a:gd name="connsiteY235" fmla="*/ 1063969 h 1380812"/>
                  <a:gd name="connsiteX236" fmla="*/ 182880 w 1017431"/>
                  <a:gd name="connsiteY236" fmla="*/ 1061394 h 1380812"/>
                  <a:gd name="connsiteX237" fmla="*/ 172577 w 1017431"/>
                  <a:gd name="connsiteY237" fmla="*/ 1056242 h 1380812"/>
                  <a:gd name="connsiteX238" fmla="*/ 167425 w 1017431"/>
                  <a:gd name="connsiteY238" fmla="*/ 1048515 h 1380812"/>
                  <a:gd name="connsiteX239" fmla="*/ 151971 w 1017431"/>
                  <a:gd name="connsiteY239" fmla="*/ 1033060 h 1380812"/>
                  <a:gd name="connsiteX240" fmla="*/ 136516 w 1017431"/>
                  <a:gd name="connsiteY240" fmla="*/ 1045939 h 1380812"/>
                  <a:gd name="connsiteX241" fmla="*/ 126213 w 1017431"/>
                  <a:gd name="connsiteY241" fmla="*/ 1048515 h 1380812"/>
                  <a:gd name="connsiteX242" fmla="*/ 113334 w 1017431"/>
                  <a:gd name="connsiteY242" fmla="*/ 1038212 h 1380812"/>
                  <a:gd name="connsiteX243" fmla="*/ 110758 w 1017431"/>
                  <a:gd name="connsiteY243" fmla="*/ 1030484 h 1380812"/>
                  <a:gd name="connsiteX244" fmla="*/ 103031 w 1017431"/>
                  <a:gd name="connsiteY244" fmla="*/ 1027909 h 1380812"/>
                  <a:gd name="connsiteX245" fmla="*/ 90152 w 1017431"/>
                  <a:gd name="connsiteY245" fmla="*/ 1030484 h 1380812"/>
                  <a:gd name="connsiteX246" fmla="*/ 74697 w 1017431"/>
                  <a:gd name="connsiteY246" fmla="*/ 1025333 h 1380812"/>
                  <a:gd name="connsiteX247" fmla="*/ 66970 w 1017431"/>
                  <a:gd name="connsiteY247" fmla="*/ 1027909 h 1380812"/>
                  <a:gd name="connsiteX248" fmla="*/ 64394 w 1017431"/>
                  <a:gd name="connsiteY248" fmla="*/ 1009878 h 1380812"/>
                  <a:gd name="connsiteX249" fmla="*/ 56667 w 1017431"/>
                  <a:gd name="connsiteY249" fmla="*/ 1002151 h 1380812"/>
                  <a:gd name="connsiteX250" fmla="*/ 51515 w 1017431"/>
                  <a:gd name="connsiteY250" fmla="*/ 994424 h 1380812"/>
                  <a:gd name="connsiteX251" fmla="*/ 36061 w 1017431"/>
                  <a:gd name="connsiteY251" fmla="*/ 981545 h 1380812"/>
                  <a:gd name="connsiteX252" fmla="*/ 25758 w 1017431"/>
                  <a:gd name="connsiteY252" fmla="*/ 976393 h 1380812"/>
                  <a:gd name="connsiteX253" fmla="*/ 25758 w 1017431"/>
                  <a:gd name="connsiteY253" fmla="*/ 948060 h 1380812"/>
                  <a:gd name="connsiteX254" fmla="*/ 30909 w 1017431"/>
                  <a:gd name="connsiteY254" fmla="*/ 940332 h 1380812"/>
                  <a:gd name="connsiteX255" fmla="*/ 25758 w 1017431"/>
                  <a:gd name="connsiteY255" fmla="*/ 919726 h 1380812"/>
                  <a:gd name="connsiteX256" fmla="*/ 23182 w 1017431"/>
                  <a:gd name="connsiteY256" fmla="*/ 911999 h 1380812"/>
                  <a:gd name="connsiteX257" fmla="*/ 12879 w 1017431"/>
                  <a:gd name="connsiteY257" fmla="*/ 906847 h 1380812"/>
                  <a:gd name="connsiteX258" fmla="*/ 7727 w 1017431"/>
                  <a:gd name="connsiteY258" fmla="*/ 873362 h 1380812"/>
                  <a:gd name="connsiteX259" fmla="*/ 2576 w 1017431"/>
                  <a:gd name="connsiteY259" fmla="*/ 857908 h 1380812"/>
                  <a:gd name="connsiteX260" fmla="*/ 12879 w 1017431"/>
                  <a:gd name="connsiteY260" fmla="*/ 839877 h 1380812"/>
                  <a:gd name="connsiteX261" fmla="*/ 15455 w 1017431"/>
                  <a:gd name="connsiteY261" fmla="*/ 832150 h 1380812"/>
                  <a:gd name="connsiteX262" fmla="*/ 30909 w 1017431"/>
                  <a:gd name="connsiteY262" fmla="*/ 824422 h 1380812"/>
                  <a:gd name="connsiteX263" fmla="*/ 38637 w 1017431"/>
                  <a:gd name="connsiteY263" fmla="*/ 819271 h 1380812"/>
                  <a:gd name="connsiteX264" fmla="*/ 30909 w 1017431"/>
                  <a:gd name="connsiteY264" fmla="*/ 793513 h 1380812"/>
                  <a:gd name="connsiteX265" fmla="*/ 25758 w 1017431"/>
                  <a:gd name="connsiteY265" fmla="*/ 785786 h 1380812"/>
                  <a:gd name="connsiteX266" fmla="*/ 20606 w 1017431"/>
                  <a:gd name="connsiteY266" fmla="*/ 770331 h 1380812"/>
                  <a:gd name="connsiteX267" fmla="*/ 18030 w 1017431"/>
                  <a:gd name="connsiteY267" fmla="*/ 762604 h 1380812"/>
                  <a:gd name="connsiteX268" fmla="*/ 15455 w 1017431"/>
                  <a:gd name="connsiteY268" fmla="*/ 754877 h 1380812"/>
                  <a:gd name="connsiteX269" fmla="*/ 10303 w 1017431"/>
                  <a:gd name="connsiteY269" fmla="*/ 747149 h 1380812"/>
                  <a:gd name="connsiteX270" fmla="*/ 7727 w 1017431"/>
                  <a:gd name="connsiteY270" fmla="*/ 736846 h 1380812"/>
                  <a:gd name="connsiteX271" fmla="*/ 2576 w 1017431"/>
                  <a:gd name="connsiteY271" fmla="*/ 721391 h 1380812"/>
                  <a:gd name="connsiteX272" fmla="*/ 7727 w 1017431"/>
                  <a:gd name="connsiteY272" fmla="*/ 685331 h 1380812"/>
                  <a:gd name="connsiteX273" fmla="*/ 12879 w 1017431"/>
                  <a:gd name="connsiteY273" fmla="*/ 669876 h 1380812"/>
                  <a:gd name="connsiteX274" fmla="*/ 18030 w 1017431"/>
                  <a:gd name="connsiteY274" fmla="*/ 644118 h 1380812"/>
                  <a:gd name="connsiteX275" fmla="*/ 28333 w 1017431"/>
                  <a:gd name="connsiteY275" fmla="*/ 628664 h 1380812"/>
                  <a:gd name="connsiteX276" fmla="*/ 25758 w 1017431"/>
                  <a:gd name="connsiteY276" fmla="*/ 608057 h 1380812"/>
                  <a:gd name="connsiteX277" fmla="*/ 20606 w 1017431"/>
                  <a:gd name="connsiteY277" fmla="*/ 600330 h 1380812"/>
                  <a:gd name="connsiteX278" fmla="*/ 18030 w 1017431"/>
                  <a:gd name="connsiteY278" fmla="*/ 592603 h 1380812"/>
                  <a:gd name="connsiteX279" fmla="*/ 12879 w 1017431"/>
                  <a:gd name="connsiteY279" fmla="*/ 584875 h 1380812"/>
                  <a:gd name="connsiteX280" fmla="*/ 7727 w 1017431"/>
                  <a:gd name="connsiteY280" fmla="*/ 569421 h 1380812"/>
                  <a:gd name="connsiteX281" fmla="*/ 5151 w 1017431"/>
                  <a:gd name="connsiteY281" fmla="*/ 561693 h 1380812"/>
                  <a:gd name="connsiteX282" fmla="*/ 0 w 1017431"/>
                  <a:gd name="connsiteY282" fmla="*/ 553966 h 1380812"/>
                  <a:gd name="connsiteX283" fmla="*/ 2576 w 1017431"/>
                  <a:gd name="connsiteY283" fmla="*/ 546239 h 1380812"/>
                  <a:gd name="connsiteX284" fmla="*/ 10303 w 1017431"/>
                  <a:gd name="connsiteY284" fmla="*/ 541087 h 1380812"/>
                  <a:gd name="connsiteX285" fmla="*/ 30909 w 1017431"/>
                  <a:gd name="connsiteY285" fmla="*/ 535936 h 1380812"/>
                  <a:gd name="connsiteX286" fmla="*/ 54091 w 1017431"/>
                  <a:gd name="connsiteY286" fmla="*/ 538511 h 1380812"/>
                  <a:gd name="connsiteX287" fmla="*/ 72122 w 1017431"/>
                  <a:gd name="connsiteY287" fmla="*/ 535936 h 1380812"/>
                  <a:gd name="connsiteX288" fmla="*/ 100455 w 1017431"/>
                  <a:gd name="connsiteY288" fmla="*/ 533360 h 1380812"/>
                  <a:gd name="connsiteX289" fmla="*/ 97879 w 1017431"/>
                  <a:gd name="connsiteY289" fmla="*/ 510178 h 1380812"/>
                  <a:gd name="connsiteX290" fmla="*/ 95304 w 1017431"/>
                  <a:gd name="connsiteY290" fmla="*/ 502451 h 1380812"/>
                  <a:gd name="connsiteX291" fmla="*/ 103031 w 1017431"/>
                  <a:gd name="connsiteY291" fmla="*/ 486996 h 1380812"/>
                  <a:gd name="connsiteX292" fmla="*/ 108182 w 1017431"/>
                  <a:gd name="connsiteY292" fmla="*/ 471541 h 1380812"/>
                  <a:gd name="connsiteX293" fmla="*/ 115910 w 1017431"/>
                  <a:gd name="connsiteY293" fmla="*/ 456087 h 1380812"/>
                  <a:gd name="connsiteX294" fmla="*/ 113334 w 1017431"/>
                  <a:gd name="connsiteY294" fmla="*/ 443208 h 1380812"/>
                  <a:gd name="connsiteX295" fmla="*/ 105607 w 1017431"/>
                  <a:gd name="connsiteY295" fmla="*/ 440632 h 1380812"/>
                  <a:gd name="connsiteX296" fmla="*/ 95304 w 1017431"/>
                  <a:gd name="connsiteY296" fmla="*/ 438056 h 1380812"/>
                  <a:gd name="connsiteX297" fmla="*/ 92728 w 1017431"/>
                  <a:gd name="connsiteY297" fmla="*/ 430329 h 1380812"/>
                  <a:gd name="connsiteX298" fmla="*/ 103031 w 1017431"/>
                  <a:gd name="connsiteY298" fmla="*/ 412298 h 1380812"/>
                  <a:gd name="connsiteX299" fmla="*/ 105607 w 1017431"/>
                  <a:gd name="connsiteY299" fmla="*/ 404571 h 1380812"/>
                  <a:gd name="connsiteX300" fmla="*/ 121061 w 1017431"/>
                  <a:gd name="connsiteY300" fmla="*/ 399420 h 1380812"/>
                  <a:gd name="connsiteX301" fmla="*/ 128789 w 1017431"/>
                  <a:gd name="connsiteY301" fmla="*/ 394268 h 1380812"/>
                  <a:gd name="connsiteX302" fmla="*/ 136516 w 1017431"/>
                  <a:gd name="connsiteY302" fmla="*/ 391692 h 1380812"/>
                  <a:gd name="connsiteX303" fmla="*/ 141668 w 1017431"/>
                  <a:gd name="connsiteY303" fmla="*/ 376238 h 1380812"/>
                  <a:gd name="connsiteX304" fmla="*/ 141668 w 1017431"/>
                  <a:gd name="connsiteY304" fmla="*/ 353056 h 1380812"/>
                  <a:gd name="connsiteX305" fmla="*/ 144243 w 1017431"/>
                  <a:gd name="connsiteY305" fmla="*/ 345328 h 1380812"/>
                  <a:gd name="connsiteX306" fmla="*/ 151971 w 1017431"/>
                  <a:gd name="connsiteY306" fmla="*/ 329874 h 1380812"/>
                  <a:gd name="connsiteX307" fmla="*/ 149395 w 1017431"/>
                  <a:gd name="connsiteY307" fmla="*/ 311843 h 1380812"/>
                  <a:gd name="connsiteX308" fmla="*/ 146819 w 1017431"/>
                  <a:gd name="connsiteY308" fmla="*/ 296389 h 1380812"/>
                  <a:gd name="connsiteX309" fmla="*/ 154546 w 1017431"/>
                  <a:gd name="connsiteY309" fmla="*/ 293813 h 1380812"/>
                  <a:gd name="connsiteX310" fmla="*/ 162274 w 1017431"/>
                  <a:gd name="connsiteY310" fmla="*/ 288661 h 1380812"/>
                  <a:gd name="connsiteX311" fmla="*/ 164849 w 1017431"/>
                  <a:gd name="connsiteY311" fmla="*/ 280934 h 1380812"/>
                  <a:gd name="connsiteX312" fmla="*/ 157122 w 1017431"/>
                  <a:gd name="connsiteY312" fmla="*/ 278358 h 1380812"/>
                  <a:gd name="connsiteX313" fmla="*/ 136516 w 1017431"/>
                  <a:gd name="connsiteY313" fmla="*/ 270631 h 1380812"/>
                  <a:gd name="connsiteX314" fmla="*/ 139092 w 1017431"/>
                  <a:gd name="connsiteY314" fmla="*/ 260328 h 1380812"/>
                  <a:gd name="connsiteX315" fmla="*/ 141668 w 1017431"/>
                  <a:gd name="connsiteY315" fmla="*/ 252600 h 1380812"/>
                  <a:gd name="connsiteX316" fmla="*/ 146819 w 1017431"/>
                  <a:gd name="connsiteY316" fmla="*/ 231994 h 1380812"/>
                  <a:gd name="connsiteX317" fmla="*/ 149395 w 1017431"/>
                  <a:gd name="connsiteY317" fmla="*/ 224267 h 1380812"/>
                  <a:gd name="connsiteX318" fmla="*/ 164849 w 1017431"/>
                  <a:gd name="connsiteY318" fmla="*/ 219115 h 1380812"/>
                  <a:gd name="connsiteX319" fmla="*/ 188031 w 1017431"/>
                  <a:gd name="connsiteY319" fmla="*/ 221691 h 1380812"/>
                  <a:gd name="connsiteX320" fmla="*/ 195759 w 1017431"/>
                  <a:gd name="connsiteY320" fmla="*/ 226843 h 1380812"/>
                  <a:gd name="connsiteX321" fmla="*/ 216365 w 1017431"/>
                  <a:gd name="connsiteY321" fmla="*/ 224267 h 1380812"/>
                  <a:gd name="connsiteX322" fmla="*/ 236971 w 1017431"/>
                  <a:gd name="connsiteY322" fmla="*/ 224267 h 1380812"/>
                  <a:gd name="connsiteX323" fmla="*/ 242123 w 1017431"/>
                  <a:gd name="connsiteY323" fmla="*/ 231994 h 1380812"/>
                  <a:gd name="connsiteX324" fmla="*/ 244698 w 1017431"/>
                  <a:gd name="connsiteY324" fmla="*/ 260328 h 1380812"/>
                  <a:gd name="connsiteX325" fmla="*/ 239547 w 1017431"/>
                  <a:gd name="connsiteY325" fmla="*/ 268055 h 1380812"/>
                  <a:gd name="connsiteX326" fmla="*/ 252426 w 1017431"/>
                  <a:gd name="connsiteY326" fmla="*/ 280934 h 1380812"/>
                  <a:gd name="connsiteX327" fmla="*/ 260153 w 1017431"/>
                  <a:gd name="connsiteY327" fmla="*/ 278358 h 1380812"/>
                  <a:gd name="connsiteX328" fmla="*/ 257577 w 1017431"/>
                  <a:gd name="connsiteY328" fmla="*/ 270631 h 1380812"/>
                  <a:gd name="connsiteX329" fmla="*/ 252426 w 1017431"/>
                  <a:gd name="connsiteY329" fmla="*/ 262904 h 1380812"/>
                  <a:gd name="connsiteX330" fmla="*/ 260153 w 1017431"/>
                  <a:gd name="connsiteY330" fmla="*/ 257752 h 1380812"/>
                  <a:gd name="connsiteX331" fmla="*/ 288487 w 1017431"/>
                  <a:gd name="connsiteY331" fmla="*/ 260328 h 1380812"/>
                  <a:gd name="connsiteX332" fmla="*/ 291062 w 1017431"/>
                  <a:gd name="connsiteY332" fmla="*/ 270631 h 1380812"/>
                  <a:gd name="connsiteX333" fmla="*/ 306517 w 1017431"/>
                  <a:gd name="connsiteY333" fmla="*/ 286086 h 1380812"/>
                  <a:gd name="connsiteX334" fmla="*/ 298790 w 1017431"/>
                  <a:gd name="connsiteY334" fmla="*/ 257752 h 1380812"/>
                  <a:gd name="connsiteX335" fmla="*/ 296214 w 1017431"/>
                  <a:gd name="connsiteY335" fmla="*/ 250025 h 1380812"/>
                  <a:gd name="connsiteX336" fmla="*/ 298790 w 1017431"/>
                  <a:gd name="connsiteY336" fmla="*/ 231994 h 1380812"/>
                  <a:gd name="connsiteX337" fmla="*/ 301366 w 1017431"/>
                  <a:gd name="connsiteY337" fmla="*/ 203661 h 1380812"/>
                  <a:gd name="connsiteX338" fmla="*/ 309093 w 1017431"/>
                  <a:gd name="connsiteY338" fmla="*/ 201085 h 1380812"/>
                  <a:gd name="connsiteX339" fmla="*/ 321972 w 1017431"/>
                  <a:gd name="connsiteY339" fmla="*/ 211388 h 1380812"/>
                  <a:gd name="connsiteX340" fmla="*/ 329699 w 1017431"/>
                  <a:gd name="connsiteY340" fmla="*/ 213964 h 1380812"/>
                  <a:gd name="connsiteX341" fmla="*/ 345154 w 1017431"/>
                  <a:gd name="connsiteY341" fmla="*/ 206237 h 1380812"/>
                  <a:gd name="connsiteX342" fmla="*/ 350305 w 1017431"/>
                  <a:gd name="connsiteY342" fmla="*/ 198509 h 1380812"/>
                  <a:gd name="connsiteX343" fmla="*/ 373487 w 1017431"/>
                  <a:gd name="connsiteY343" fmla="*/ 201085 h 1380812"/>
                  <a:gd name="connsiteX344" fmla="*/ 391518 w 1017431"/>
                  <a:gd name="connsiteY344" fmla="*/ 221691 h 1380812"/>
                  <a:gd name="connsiteX345" fmla="*/ 399245 w 1017431"/>
                  <a:gd name="connsiteY345" fmla="*/ 229418 h 1380812"/>
                  <a:gd name="connsiteX346" fmla="*/ 409548 w 1017431"/>
                  <a:gd name="connsiteY346" fmla="*/ 244873 h 1380812"/>
                  <a:gd name="connsiteX347" fmla="*/ 425003 w 1017431"/>
                  <a:gd name="connsiteY347" fmla="*/ 250025 h 1380812"/>
                  <a:gd name="connsiteX348" fmla="*/ 414700 w 1017431"/>
                  <a:gd name="connsiteY348" fmla="*/ 237146 h 1380812"/>
                  <a:gd name="connsiteX349" fmla="*/ 404397 w 1017431"/>
                  <a:gd name="connsiteY349" fmla="*/ 221691 h 1380812"/>
                  <a:gd name="connsiteX350" fmla="*/ 396669 w 1017431"/>
                  <a:gd name="connsiteY350" fmla="*/ 213964 h 1380812"/>
                  <a:gd name="connsiteX351" fmla="*/ 386366 w 1017431"/>
                  <a:gd name="connsiteY351" fmla="*/ 198509 h 1380812"/>
                  <a:gd name="connsiteX352" fmla="*/ 370911 w 1017431"/>
                  <a:gd name="connsiteY352" fmla="*/ 193358 h 1380812"/>
                  <a:gd name="connsiteX353" fmla="*/ 363184 w 1017431"/>
                  <a:gd name="connsiteY353" fmla="*/ 190782 h 1380812"/>
                  <a:gd name="connsiteX354" fmla="*/ 342578 w 1017431"/>
                  <a:gd name="connsiteY354" fmla="*/ 193358 h 1380812"/>
                  <a:gd name="connsiteX355" fmla="*/ 337426 w 1017431"/>
                  <a:gd name="connsiteY355" fmla="*/ 162448 h 1380812"/>
                  <a:gd name="connsiteX356" fmla="*/ 340002 w 1017431"/>
                  <a:gd name="connsiteY356" fmla="*/ 154721 h 1380812"/>
                  <a:gd name="connsiteX357" fmla="*/ 347729 w 1017431"/>
                  <a:gd name="connsiteY357" fmla="*/ 149569 h 1380812"/>
                  <a:gd name="connsiteX358" fmla="*/ 340002 w 1017431"/>
                  <a:gd name="connsiteY358" fmla="*/ 144418 h 1380812"/>
                  <a:gd name="connsiteX359" fmla="*/ 332275 w 1017431"/>
                  <a:gd name="connsiteY359" fmla="*/ 141842 h 1380812"/>
                  <a:gd name="connsiteX360" fmla="*/ 329699 w 1017431"/>
                  <a:gd name="connsiteY360" fmla="*/ 128963 h 1380812"/>
                  <a:gd name="connsiteX361" fmla="*/ 316820 w 1017431"/>
                  <a:gd name="connsiteY361" fmla="*/ 116084 h 1380812"/>
                  <a:gd name="connsiteX362" fmla="*/ 306517 w 1017431"/>
                  <a:gd name="connsiteY362" fmla="*/ 100630 h 1380812"/>
                  <a:gd name="connsiteX363" fmla="*/ 324548 w 1017431"/>
                  <a:gd name="connsiteY363" fmla="*/ 95478 h 1380812"/>
                  <a:gd name="connsiteX364" fmla="*/ 332275 w 1017431"/>
                  <a:gd name="connsiteY364" fmla="*/ 92902 h 1380812"/>
                  <a:gd name="connsiteX365" fmla="*/ 355457 w 1017431"/>
                  <a:gd name="connsiteY365" fmla="*/ 87751 h 1380812"/>
                  <a:gd name="connsiteX366" fmla="*/ 352881 w 1017431"/>
                  <a:gd name="connsiteY366" fmla="*/ 77448 h 1380812"/>
                  <a:gd name="connsiteX367" fmla="*/ 345154 w 1017431"/>
                  <a:gd name="connsiteY367" fmla="*/ 72296 h 1380812"/>
                  <a:gd name="connsiteX368" fmla="*/ 337426 w 1017431"/>
                  <a:gd name="connsiteY368" fmla="*/ 64569 h 1380812"/>
                  <a:gd name="connsiteX369" fmla="*/ 327123 w 1017431"/>
                  <a:gd name="connsiteY369" fmla="*/ 41387 h 1380812"/>
                  <a:gd name="connsiteX370" fmla="*/ 316820 w 1017431"/>
                  <a:gd name="connsiteY370" fmla="*/ 38811 h 1380812"/>
                  <a:gd name="connsiteX371" fmla="*/ 283335 w 1017431"/>
                  <a:gd name="connsiteY371" fmla="*/ 41387 h 1380812"/>
                  <a:gd name="connsiteX372" fmla="*/ 280759 w 1017431"/>
                  <a:gd name="connsiteY372" fmla="*/ 33660 h 1380812"/>
                  <a:gd name="connsiteX373" fmla="*/ 296214 w 1017431"/>
                  <a:gd name="connsiteY373" fmla="*/ 28508 h 1380812"/>
                  <a:gd name="connsiteX374" fmla="*/ 303941 w 1017431"/>
                  <a:gd name="connsiteY374" fmla="*/ 31084 h 1380812"/>
                  <a:gd name="connsiteX375" fmla="*/ 306517 w 1017431"/>
                  <a:gd name="connsiteY375" fmla="*/ 23357 h 1380812"/>
                  <a:gd name="connsiteX376" fmla="*/ 293638 w 1017431"/>
                  <a:gd name="connsiteY376" fmla="*/ 13053 h 1380812"/>
                  <a:gd name="connsiteX377" fmla="*/ 291062 w 1017431"/>
                  <a:gd name="connsiteY377" fmla="*/ 5326 h 1380812"/>
                  <a:gd name="connsiteX378" fmla="*/ 309093 w 1017431"/>
                  <a:gd name="connsiteY378" fmla="*/ 5326 h 1380812"/>
                  <a:gd name="connsiteX379" fmla="*/ 316820 w 1017431"/>
                  <a:gd name="connsiteY379" fmla="*/ 7902 h 1380812"/>
                  <a:gd name="connsiteX380" fmla="*/ 350305 w 1017431"/>
                  <a:gd name="connsiteY380" fmla="*/ 7902 h 1380812"/>
                  <a:gd name="connsiteX381" fmla="*/ 358033 w 1017431"/>
                  <a:gd name="connsiteY381" fmla="*/ 10478 h 1380812"/>
                  <a:gd name="connsiteX382" fmla="*/ 381215 w 1017431"/>
                  <a:gd name="connsiteY382" fmla="*/ 23357 h 1380812"/>
                  <a:gd name="connsiteX383" fmla="*/ 409548 w 1017431"/>
                  <a:gd name="connsiteY383" fmla="*/ 25932 h 1380812"/>
                  <a:gd name="connsiteX384" fmla="*/ 430154 w 1017431"/>
                  <a:gd name="connsiteY384" fmla="*/ 28508 h 1380812"/>
                  <a:gd name="connsiteX385" fmla="*/ 437882 w 1017431"/>
                  <a:gd name="connsiteY385" fmla="*/ 31084 h 1380812"/>
                  <a:gd name="connsiteX386" fmla="*/ 450760 w 1017431"/>
                  <a:gd name="connsiteY386" fmla="*/ 46538 h 1380812"/>
                  <a:gd name="connsiteX387" fmla="*/ 466215 w 1017431"/>
                  <a:gd name="connsiteY387" fmla="*/ 51690 h 1380812"/>
                  <a:gd name="connsiteX388" fmla="*/ 458488 w 1017431"/>
                  <a:gd name="connsiteY388" fmla="*/ 54266 h 1380812"/>
                  <a:gd name="connsiteX389" fmla="*/ 445609 w 1017431"/>
                  <a:gd name="connsiteY389" fmla="*/ 67145 h 1380812"/>
                  <a:gd name="connsiteX390" fmla="*/ 440457 w 1017431"/>
                  <a:gd name="connsiteY390" fmla="*/ 82599 h 1380812"/>
                  <a:gd name="connsiteX391" fmla="*/ 437882 w 1017431"/>
                  <a:gd name="connsiteY391" fmla="*/ 90327 h 1380812"/>
                  <a:gd name="connsiteX392" fmla="*/ 453336 w 1017431"/>
                  <a:gd name="connsiteY392" fmla="*/ 87751 h 1380812"/>
                  <a:gd name="connsiteX393" fmla="*/ 468791 w 1017431"/>
                  <a:gd name="connsiteY393" fmla="*/ 85175 h 1380812"/>
                  <a:gd name="connsiteX394" fmla="*/ 491973 w 1017431"/>
                  <a:gd name="connsiteY394" fmla="*/ 87751 h 1380812"/>
                  <a:gd name="connsiteX395" fmla="*/ 507428 w 1017431"/>
                  <a:gd name="connsiteY395" fmla="*/ 100630 h 1380812"/>
                  <a:gd name="connsiteX396" fmla="*/ 530609 w 1017431"/>
                  <a:gd name="connsiteY396" fmla="*/ 113509 h 1380812"/>
                  <a:gd name="connsiteX397" fmla="*/ 548640 w 1017431"/>
                  <a:gd name="connsiteY397" fmla="*/ 110933 h 1380812"/>
                  <a:gd name="connsiteX398" fmla="*/ 551216 w 1017431"/>
                  <a:gd name="connsiteY398" fmla="*/ 103206 h 1380812"/>
                  <a:gd name="connsiteX399" fmla="*/ 553791 w 1017431"/>
                  <a:gd name="connsiteY399" fmla="*/ 87751 h 1380812"/>
                  <a:gd name="connsiteX400" fmla="*/ 561519 w 1017431"/>
                  <a:gd name="connsiteY400" fmla="*/ 85175 h 1380812"/>
                  <a:gd name="connsiteX401" fmla="*/ 576973 w 1017431"/>
                  <a:gd name="connsiteY401" fmla="*/ 74872 h 1380812"/>
                  <a:gd name="connsiteX402" fmla="*/ 587277 w 1017431"/>
                  <a:gd name="connsiteY402" fmla="*/ 77448 h 1380812"/>
                  <a:gd name="connsiteX403" fmla="*/ 584701 w 1017431"/>
                  <a:gd name="connsiteY403" fmla="*/ 85175 h 1380812"/>
                  <a:gd name="connsiteX404" fmla="*/ 569246 w 1017431"/>
                  <a:gd name="connsiteY404" fmla="*/ 87751 h 1380812"/>
                  <a:gd name="connsiteX405" fmla="*/ 553791 w 1017431"/>
                  <a:gd name="connsiteY405" fmla="*/ 100630 h 1380812"/>
                  <a:gd name="connsiteX406" fmla="*/ 569246 w 1017431"/>
                  <a:gd name="connsiteY406" fmla="*/ 103206 h 1380812"/>
                  <a:gd name="connsiteX407" fmla="*/ 561519 w 1017431"/>
                  <a:gd name="connsiteY407" fmla="*/ 118660 h 1380812"/>
                  <a:gd name="connsiteX408" fmla="*/ 556367 w 1017431"/>
                  <a:gd name="connsiteY408" fmla="*/ 136691 h 1380812"/>
                  <a:gd name="connsiteX409" fmla="*/ 540913 w 1017431"/>
                  <a:gd name="connsiteY409" fmla="*/ 144418 h 1380812"/>
                  <a:gd name="connsiteX410" fmla="*/ 533185 w 1017431"/>
                  <a:gd name="connsiteY410" fmla="*/ 152145 h 1380812"/>
                  <a:gd name="connsiteX411" fmla="*/ 522882 w 1017431"/>
                  <a:gd name="connsiteY411" fmla="*/ 167600 h 1380812"/>
                  <a:gd name="connsiteX412" fmla="*/ 538337 w 1017431"/>
                  <a:gd name="connsiteY412" fmla="*/ 175327 h 1380812"/>
                  <a:gd name="connsiteX413" fmla="*/ 540913 w 1017431"/>
                  <a:gd name="connsiteY413" fmla="*/ 193358 h 1380812"/>
                  <a:gd name="connsiteX414" fmla="*/ 556367 w 1017431"/>
                  <a:gd name="connsiteY414" fmla="*/ 185630 h 1380812"/>
                  <a:gd name="connsiteX415" fmla="*/ 571822 w 1017431"/>
                  <a:gd name="connsiteY415" fmla="*/ 177903 h 1380812"/>
                  <a:gd name="connsiteX416" fmla="*/ 576973 w 1017431"/>
                  <a:gd name="connsiteY416" fmla="*/ 177903 h 1380812"/>
                  <a:gd name="connsiteX417" fmla="*/ 592428 w 1017431"/>
                  <a:gd name="connsiteY417" fmla="*/ 183055 h 1380812"/>
                  <a:gd name="connsiteX418" fmla="*/ 607883 w 1017431"/>
                  <a:gd name="connsiteY418" fmla="*/ 172751 h 1380812"/>
                  <a:gd name="connsiteX419" fmla="*/ 610458 w 1017431"/>
                  <a:gd name="connsiteY419" fmla="*/ 165024 h 1380812"/>
                  <a:gd name="connsiteX420" fmla="*/ 625913 w 1017431"/>
                  <a:gd name="connsiteY420" fmla="*/ 152145 h 1380812"/>
                  <a:gd name="connsiteX421" fmla="*/ 633640 w 1017431"/>
                  <a:gd name="connsiteY421" fmla="*/ 149569 h 1380812"/>
                  <a:gd name="connsiteX422" fmla="*/ 641368 w 1017431"/>
                  <a:gd name="connsiteY422" fmla="*/ 141842 h 1380812"/>
                  <a:gd name="connsiteX423" fmla="*/ 674853 w 1017431"/>
                  <a:gd name="connsiteY423" fmla="*/ 134115 h 1380812"/>
                  <a:gd name="connsiteX424" fmla="*/ 682580 w 1017431"/>
                  <a:gd name="connsiteY424" fmla="*/ 128963 h 1380812"/>
                  <a:gd name="connsiteX425" fmla="*/ 698035 w 1017431"/>
                  <a:gd name="connsiteY425" fmla="*/ 126388 h 1380812"/>
                  <a:gd name="connsiteX426" fmla="*/ 703186 w 1017431"/>
                  <a:gd name="connsiteY426" fmla="*/ 118660 h 1380812"/>
                  <a:gd name="connsiteX427" fmla="*/ 710914 w 1017431"/>
                  <a:gd name="connsiteY427" fmla="*/ 95478 h 1380812"/>
                  <a:gd name="connsiteX0" fmla="*/ 710914 w 1017431"/>
                  <a:gd name="connsiteY0" fmla="*/ 95478 h 1380812"/>
                  <a:gd name="connsiteX1" fmla="*/ 767581 w 1017431"/>
                  <a:gd name="connsiteY1" fmla="*/ 95478 h 1380812"/>
                  <a:gd name="connsiteX2" fmla="*/ 770157 w 1017431"/>
                  <a:gd name="connsiteY2" fmla="*/ 103206 h 1380812"/>
                  <a:gd name="connsiteX3" fmla="*/ 775308 w 1017431"/>
                  <a:gd name="connsiteY3" fmla="*/ 110933 h 1380812"/>
                  <a:gd name="connsiteX4" fmla="*/ 777884 w 1017431"/>
                  <a:gd name="connsiteY4" fmla="*/ 98054 h 1380812"/>
                  <a:gd name="connsiteX5" fmla="*/ 785611 w 1017431"/>
                  <a:gd name="connsiteY5" fmla="*/ 92902 h 1380812"/>
                  <a:gd name="connsiteX6" fmla="*/ 788187 w 1017431"/>
                  <a:gd name="connsiteY6" fmla="*/ 85175 h 1380812"/>
                  <a:gd name="connsiteX7" fmla="*/ 798490 w 1017431"/>
                  <a:gd name="connsiteY7" fmla="*/ 43963 h 1380812"/>
                  <a:gd name="connsiteX8" fmla="*/ 816520 w 1017431"/>
                  <a:gd name="connsiteY8" fmla="*/ 46538 h 1380812"/>
                  <a:gd name="connsiteX9" fmla="*/ 829399 w 1017431"/>
                  <a:gd name="connsiteY9" fmla="*/ 61993 h 1380812"/>
                  <a:gd name="connsiteX10" fmla="*/ 831975 w 1017431"/>
                  <a:gd name="connsiteY10" fmla="*/ 85175 h 1380812"/>
                  <a:gd name="connsiteX11" fmla="*/ 834551 w 1017431"/>
                  <a:gd name="connsiteY11" fmla="*/ 95478 h 1380812"/>
                  <a:gd name="connsiteX12" fmla="*/ 842278 w 1017431"/>
                  <a:gd name="connsiteY12" fmla="*/ 98054 h 1380812"/>
                  <a:gd name="connsiteX13" fmla="*/ 852581 w 1017431"/>
                  <a:gd name="connsiteY13" fmla="*/ 100630 h 1380812"/>
                  <a:gd name="connsiteX14" fmla="*/ 829399 w 1017431"/>
                  <a:gd name="connsiteY14" fmla="*/ 100630 h 1380812"/>
                  <a:gd name="connsiteX15" fmla="*/ 813945 w 1017431"/>
                  <a:gd name="connsiteY15" fmla="*/ 108357 h 1380812"/>
                  <a:gd name="connsiteX16" fmla="*/ 808793 w 1017431"/>
                  <a:gd name="connsiteY16" fmla="*/ 116084 h 1380812"/>
                  <a:gd name="connsiteX17" fmla="*/ 775308 w 1017431"/>
                  <a:gd name="connsiteY17" fmla="*/ 116084 h 1380812"/>
                  <a:gd name="connsiteX18" fmla="*/ 777884 w 1017431"/>
                  <a:gd name="connsiteY18" fmla="*/ 105781 h 1380812"/>
                  <a:gd name="connsiteX19" fmla="*/ 785611 w 1017431"/>
                  <a:gd name="connsiteY19" fmla="*/ 108357 h 1380812"/>
                  <a:gd name="connsiteX20" fmla="*/ 803642 w 1017431"/>
                  <a:gd name="connsiteY20" fmla="*/ 126388 h 1380812"/>
                  <a:gd name="connsiteX21" fmla="*/ 816520 w 1017431"/>
                  <a:gd name="connsiteY21" fmla="*/ 149569 h 1380812"/>
                  <a:gd name="connsiteX22" fmla="*/ 824248 w 1017431"/>
                  <a:gd name="connsiteY22" fmla="*/ 146994 h 1380812"/>
                  <a:gd name="connsiteX23" fmla="*/ 839702 w 1017431"/>
                  <a:gd name="connsiteY23" fmla="*/ 136691 h 1380812"/>
                  <a:gd name="connsiteX24" fmla="*/ 855157 w 1017431"/>
                  <a:gd name="connsiteY24" fmla="*/ 139266 h 1380812"/>
                  <a:gd name="connsiteX25" fmla="*/ 857733 w 1017431"/>
                  <a:gd name="connsiteY25" fmla="*/ 146994 h 1380812"/>
                  <a:gd name="connsiteX26" fmla="*/ 865460 w 1017431"/>
                  <a:gd name="connsiteY26" fmla="*/ 149569 h 1380812"/>
                  <a:gd name="connsiteX27" fmla="*/ 880915 w 1017431"/>
                  <a:gd name="connsiteY27" fmla="*/ 152145 h 1380812"/>
                  <a:gd name="connsiteX28" fmla="*/ 891218 w 1017431"/>
                  <a:gd name="connsiteY28" fmla="*/ 172751 h 1380812"/>
                  <a:gd name="connsiteX29" fmla="*/ 888642 w 1017431"/>
                  <a:gd name="connsiteY29" fmla="*/ 165024 h 1380812"/>
                  <a:gd name="connsiteX30" fmla="*/ 880915 w 1017431"/>
                  <a:gd name="connsiteY30" fmla="*/ 162448 h 1380812"/>
                  <a:gd name="connsiteX31" fmla="*/ 873188 w 1017431"/>
                  <a:gd name="connsiteY31" fmla="*/ 157297 h 1380812"/>
                  <a:gd name="connsiteX32" fmla="*/ 862884 w 1017431"/>
                  <a:gd name="connsiteY32" fmla="*/ 159873 h 1380812"/>
                  <a:gd name="connsiteX33" fmla="*/ 873188 w 1017431"/>
                  <a:gd name="connsiteY33" fmla="*/ 198509 h 1380812"/>
                  <a:gd name="connsiteX34" fmla="*/ 880915 w 1017431"/>
                  <a:gd name="connsiteY34" fmla="*/ 195933 h 1380812"/>
                  <a:gd name="connsiteX35" fmla="*/ 883491 w 1017431"/>
                  <a:gd name="connsiteY35" fmla="*/ 206237 h 1380812"/>
                  <a:gd name="connsiteX36" fmla="*/ 888642 w 1017431"/>
                  <a:gd name="connsiteY36" fmla="*/ 213964 h 1380812"/>
                  <a:gd name="connsiteX37" fmla="*/ 904097 w 1017431"/>
                  <a:gd name="connsiteY37" fmla="*/ 208812 h 1380812"/>
                  <a:gd name="connsiteX38" fmla="*/ 909248 w 1017431"/>
                  <a:gd name="connsiteY38" fmla="*/ 224267 h 1380812"/>
                  <a:gd name="connsiteX39" fmla="*/ 914400 w 1017431"/>
                  <a:gd name="connsiteY39" fmla="*/ 242297 h 1380812"/>
                  <a:gd name="connsiteX40" fmla="*/ 916976 w 1017431"/>
                  <a:gd name="connsiteY40" fmla="*/ 257752 h 1380812"/>
                  <a:gd name="connsiteX41" fmla="*/ 924703 w 1017431"/>
                  <a:gd name="connsiteY41" fmla="*/ 265479 h 1380812"/>
                  <a:gd name="connsiteX42" fmla="*/ 929855 w 1017431"/>
                  <a:gd name="connsiteY42" fmla="*/ 273207 h 1380812"/>
                  <a:gd name="connsiteX43" fmla="*/ 935006 w 1017431"/>
                  <a:gd name="connsiteY43" fmla="*/ 291237 h 1380812"/>
                  <a:gd name="connsiteX44" fmla="*/ 940158 w 1017431"/>
                  <a:gd name="connsiteY44" fmla="*/ 311843 h 1380812"/>
                  <a:gd name="connsiteX45" fmla="*/ 937582 w 1017431"/>
                  <a:gd name="connsiteY45" fmla="*/ 327298 h 1380812"/>
                  <a:gd name="connsiteX46" fmla="*/ 929855 w 1017431"/>
                  <a:gd name="connsiteY46" fmla="*/ 329874 h 1380812"/>
                  <a:gd name="connsiteX47" fmla="*/ 911824 w 1017431"/>
                  <a:gd name="connsiteY47" fmla="*/ 335025 h 1380812"/>
                  <a:gd name="connsiteX48" fmla="*/ 904097 w 1017431"/>
                  <a:gd name="connsiteY48" fmla="*/ 340177 h 1380812"/>
                  <a:gd name="connsiteX49" fmla="*/ 901521 w 1017431"/>
                  <a:gd name="connsiteY49" fmla="*/ 347904 h 1380812"/>
                  <a:gd name="connsiteX50" fmla="*/ 914400 w 1017431"/>
                  <a:gd name="connsiteY50" fmla="*/ 371086 h 1380812"/>
                  <a:gd name="connsiteX51" fmla="*/ 922127 w 1017431"/>
                  <a:gd name="connsiteY51" fmla="*/ 373662 h 1380812"/>
                  <a:gd name="connsiteX52" fmla="*/ 937582 w 1017431"/>
                  <a:gd name="connsiteY52" fmla="*/ 386541 h 1380812"/>
                  <a:gd name="connsiteX53" fmla="*/ 940158 w 1017431"/>
                  <a:gd name="connsiteY53" fmla="*/ 394268 h 1380812"/>
                  <a:gd name="connsiteX54" fmla="*/ 947885 w 1017431"/>
                  <a:gd name="connsiteY54" fmla="*/ 396844 h 1380812"/>
                  <a:gd name="connsiteX55" fmla="*/ 950461 w 1017431"/>
                  <a:gd name="connsiteY55" fmla="*/ 407147 h 1380812"/>
                  <a:gd name="connsiteX56" fmla="*/ 955612 w 1017431"/>
                  <a:gd name="connsiteY56" fmla="*/ 422602 h 1380812"/>
                  <a:gd name="connsiteX57" fmla="*/ 958188 w 1017431"/>
                  <a:gd name="connsiteY57" fmla="*/ 430329 h 1380812"/>
                  <a:gd name="connsiteX58" fmla="*/ 955612 w 1017431"/>
                  <a:gd name="connsiteY58" fmla="*/ 438056 h 1380812"/>
                  <a:gd name="connsiteX59" fmla="*/ 950461 w 1017431"/>
                  <a:gd name="connsiteY59" fmla="*/ 456087 h 1380812"/>
                  <a:gd name="connsiteX60" fmla="*/ 965915 w 1017431"/>
                  <a:gd name="connsiteY60" fmla="*/ 466390 h 1380812"/>
                  <a:gd name="connsiteX61" fmla="*/ 971067 w 1017431"/>
                  <a:gd name="connsiteY61" fmla="*/ 476693 h 1380812"/>
                  <a:gd name="connsiteX62" fmla="*/ 973643 w 1017431"/>
                  <a:gd name="connsiteY62" fmla="*/ 507602 h 1380812"/>
                  <a:gd name="connsiteX63" fmla="*/ 976218 w 1017431"/>
                  <a:gd name="connsiteY63" fmla="*/ 525633 h 1380812"/>
                  <a:gd name="connsiteX64" fmla="*/ 973643 w 1017431"/>
                  <a:gd name="connsiteY64" fmla="*/ 535936 h 1380812"/>
                  <a:gd name="connsiteX65" fmla="*/ 965915 w 1017431"/>
                  <a:gd name="connsiteY65" fmla="*/ 541087 h 1380812"/>
                  <a:gd name="connsiteX66" fmla="*/ 960764 w 1017431"/>
                  <a:gd name="connsiteY66" fmla="*/ 548815 h 1380812"/>
                  <a:gd name="connsiteX67" fmla="*/ 963340 w 1017431"/>
                  <a:gd name="connsiteY67" fmla="*/ 561693 h 1380812"/>
                  <a:gd name="connsiteX68" fmla="*/ 971067 w 1017431"/>
                  <a:gd name="connsiteY68" fmla="*/ 564269 h 1380812"/>
                  <a:gd name="connsiteX69" fmla="*/ 981370 w 1017431"/>
                  <a:gd name="connsiteY69" fmla="*/ 569421 h 1380812"/>
                  <a:gd name="connsiteX70" fmla="*/ 986522 w 1017431"/>
                  <a:gd name="connsiteY70" fmla="*/ 577148 h 1380812"/>
                  <a:gd name="connsiteX71" fmla="*/ 978794 w 1017431"/>
                  <a:gd name="connsiteY71" fmla="*/ 595178 h 1380812"/>
                  <a:gd name="connsiteX72" fmla="*/ 986522 w 1017431"/>
                  <a:gd name="connsiteY72" fmla="*/ 600330 h 1380812"/>
                  <a:gd name="connsiteX73" fmla="*/ 994249 w 1017431"/>
                  <a:gd name="connsiteY73" fmla="*/ 602906 h 1380812"/>
                  <a:gd name="connsiteX74" fmla="*/ 1007128 w 1017431"/>
                  <a:gd name="connsiteY74" fmla="*/ 618360 h 1380812"/>
                  <a:gd name="connsiteX75" fmla="*/ 1014855 w 1017431"/>
                  <a:gd name="connsiteY75" fmla="*/ 641542 h 1380812"/>
                  <a:gd name="connsiteX76" fmla="*/ 1017431 w 1017431"/>
                  <a:gd name="connsiteY76" fmla="*/ 649270 h 1380812"/>
                  <a:gd name="connsiteX77" fmla="*/ 1014855 w 1017431"/>
                  <a:gd name="connsiteY77" fmla="*/ 667300 h 1380812"/>
                  <a:gd name="connsiteX78" fmla="*/ 1012279 w 1017431"/>
                  <a:gd name="connsiteY78" fmla="*/ 708513 h 1380812"/>
                  <a:gd name="connsiteX79" fmla="*/ 996825 w 1017431"/>
                  <a:gd name="connsiteY79" fmla="*/ 713664 h 1380812"/>
                  <a:gd name="connsiteX80" fmla="*/ 994249 w 1017431"/>
                  <a:gd name="connsiteY80" fmla="*/ 731695 h 1380812"/>
                  <a:gd name="connsiteX81" fmla="*/ 981370 w 1017431"/>
                  <a:gd name="connsiteY81" fmla="*/ 729119 h 1380812"/>
                  <a:gd name="connsiteX82" fmla="*/ 976218 w 1017431"/>
                  <a:gd name="connsiteY82" fmla="*/ 713664 h 1380812"/>
                  <a:gd name="connsiteX83" fmla="*/ 978794 w 1017431"/>
                  <a:gd name="connsiteY83" fmla="*/ 705937 h 1380812"/>
                  <a:gd name="connsiteX84" fmla="*/ 955612 w 1017431"/>
                  <a:gd name="connsiteY84" fmla="*/ 693058 h 1380812"/>
                  <a:gd name="connsiteX85" fmla="*/ 947885 w 1017431"/>
                  <a:gd name="connsiteY85" fmla="*/ 695634 h 1380812"/>
                  <a:gd name="connsiteX86" fmla="*/ 950461 w 1017431"/>
                  <a:gd name="connsiteY86" fmla="*/ 708513 h 1380812"/>
                  <a:gd name="connsiteX87" fmla="*/ 947885 w 1017431"/>
                  <a:gd name="connsiteY87" fmla="*/ 744573 h 1380812"/>
                  <a:gd name="connsiteX88" fmla="*/ 940158 w 1017431"/>
                  <a:gd name="connsiteY88" fmla="*/ 723967 h 1380812"/>
                  <a:gd name="connsiteX89" fmla="*/ 937582 w 1017431"/>
                  <a:gd name="connsiteY89" fmla="*/ 713664 h 1380812"/>
                  <a:gd name="connsiteX90" fmla="*/ 935006 w 1017431"/>
                  <a:gd name="connsiteY90" fmla="*/ 723967 h 1380812"/>
                  <a:gd name="connsiteX91" fmla="*/ 914400 w 1017431"/>
                  <a:gd name="connsiteY91" fmla="*/ 731695 h 1380812"/>
                  <a:gd name="connsiteX92" fmla="*/ 906673 w 1017431"/>
                  <a:gd name="connsiteY92" fmla="*/ 736846 h 1380812"/>
                  <a:gd name="connsiteX93" fmla="*/ 891218 w 1017431"/>
                  <a:gd name="connsiteY93" fmla="*/ 741998 h 1380812"/>
                  <a:gd name="connsiteX94" fmla="*/ 883491 w 1017431"/>
                  <a:gd name="connsiteY94" fmla="*/ 749725 h 1380812"/>
                  <a:gd name="connsiteX95" fmla="*/ 868036 w 1017431"/>
                  <a:gd name="connsiteY95" fmla="*/ 754877 h 1380812"/>
                  <a:gd name="connsiteX96" fmla="*/ 860309 w 1017431"/>
                  <a:gd name="connsiteY96" fmla="*/ 752301 h 1380812"/>
                  <a:gd name="connsiteX97" fmla="*/ 852581 w 1017431"/>
                  <a:gd name="connsiteY97" fmla="*/ 760028 h 1380812"/>
                  <a:gd name="connsiteX98" fmla="*/ 844854 w 1017431"/>
                  <a:gd name="connsiteY98" fmla="*/ 765180 h 1380812"/>
                  <a:gd name="connsiteX99" fmla="*/ 829399 w 1017431"/>
                  <a:gd name="connsiteY99" fmla="*/ 770331 h 1380812"/>
                  <a:gd name="connsiteX100" fmla="*/ 813945 w 1017431"/>
                  <a:gd name="connsiteY100" fmla="*/ 780634 h 1380812"/>
                  <a:gd name="connsiteX101" fmla="*/ 795914 w 1017431"/>
                  <a:gd name="connsiteY101" fmla="*/ 803816 h 1380812"/>
                  <a:gd name="connsiteX102" fmla="*/ 767581 w 1017431"/>
                  <a:gd name="connsiteY102" fmla="*/ 801240 h 1380812"/>
                  <a:gd name="connsiteX103" fmla="*/ 759853 w 1017431"/>
                  <a:gd name="connsiteY103" fmla="*/ 803816 h 1380812"/>
                  <a:gd name="connsiteX104" fmla="*/ 744399 w 1017431"/>
                  <a:gd name="connsiteY104" fmla="*/ 816695 h 1380812"/>
                  <a:gd name="connsiteX105" fmla="*/ 728944 w 1017431"/>
                  <a:gd name="connsiteY105" fmla="*/ 824422 h 1380812"/>
                  <a:gd name="connsiteX106" fmla="*/ 713489 w 1017431"/>
                  <a:gd name="connsiteY106" fmla="*/ 834726 h 1380812"/>
                  <a:gd name="connsiteX107" fmla="*/ 698035 w 1017431"/>
                  <a:gd name="connsiteY107" fmla="*/ 829574 h 1380812"/>
                  <a:gd name="connsiteX108" fmla="*/ 700611 w 1017431"/>
                  <a:gd name="connsiteY108" fmla="*/ 834726 h 1380812"/>
                  <a:gd name="connsiteX109" fmla="*/ 705762 w 1017431"/>
                  <a:gd name="connsiteY109" fmla="*/ 850180 h 1380812"/>
                  <a:gd name="connsiteX110" fmla="*/ 708338 w 1017431"/>
                  <a:gd name="connsiteY110" fmla="*/ 873362 h 1380812"/>
                  <a:gd name="connsiteX111" fmla="*/ 716065 w 1017431"/>
                  <a:gd name="connsiteY111" fmla="*/ 875938 h 1380812"/>
                  <a:gd name="connsiteX112" fmla="*/ 736671 w 1017431"/>
                  <a:gd name="connsiteY112" fmla="*/ 878514 h 1380812"/>
                  <a:gd name="connsiteX113" fmla="*/ 744399 w 1017431"/>
                  <a:gd name="connsiteY113" fmla="*/ 886241 h 1380812"/>
                  <a:gd name="connsiteX114" fmla="*/ 746975 w 1017431"/>
                  <a:gd name="connsiteY114" fmla="*/ 893968 h 1380812"/>
                  <a:gd name="connsiteX115" fmla="*/ 752126 w 1017431"/>
                  <a:gd name="connsiteY115" fmla="*/ 901696 h 1380812"/>
                  <a:gd name="connsiteX116" fmla="*/ 749550 w 1017431"/>
                  <a:gd name="connsiteY116" fmla="*/ 911999 h 1380812"/>
                  <a:gd name="connsiteX117" fmla="*/ 741823 w 1017431"/>
                  <a:gd name="connsiteY117" fmla="*/ 919726 h 1380812"/>
                  <a:gd name="connsiteX118" fmla="*/ 736671 w 1017431"/>
                  <a:gd name="connsiteY118" fmla="*/ 927453 h 1380812"/>
                  <a:gd name="connsiteX119" fmla="*/ 734096 w 1017431"/>
                  <a:gd name="connsiteY119" fmla="*/ 935181 h 1380812"/>
                  <a:gd name="connsiteX120" fmla="*/ 752126 w 1017431"/>
                  <a:gd name="connsiteY120" fmla="*/ 971242 h 1380812"/>
                  <a:gd name="connsiteX121" fmla="*/ 767581 w 1017431"/>
                  <a:gd name="connsiteY121" fmla="*/ 981545 h 1380812"/>
                  <a:gd name="connsiteX122" fmla="*/ 777884 w 1017431"/>
                  <a:gd name="connsiteY122" fmla="*/ 1004727 h 1380812"/>
                  <a:gd name="connsiteX123" fmla="*/ 801066 w 1017431"/>
                  <a:gd name="connsiteY123" fmla="*/ 1004727 h 1380812"/>
                  <a:gd name="connsiteX124" fmla="*/ 806217 w 1017431"/>
                  <a:gd name="connsiteY124" fmla="*/ 1012454 h 1380812"/>
                  <a:gd name="connsiteX125" fmla="*/ 813945 w 1017431"/>
                  <a:gd name="connsiteY125" fmla="*/ 1020181 h 1380812"/>
                  <a:gd name="connsiteX126" fmla="*/ 824248 w 1017431"/>
                  <a:gd name="connsiteY126" fmla="*/ 1035636 h 1380812"/>
                  <a:gd name="connsiteX127" fmla="*/ 831975 w 1017431"/>
                  <a:gd name="connsiteY127" fmla="*/ 1043363 h 1380812"/>
                  <a:gd name="connsiteX128" fmla="*/ 837127 w 1017431"/>
                  <a:gd name="connsiteY128" fmla="*/ 1051091 h 1380812"/>
                  <a:gd name="connsiteX129" fmla="*/ 844854 w 1017431"/>
                  <a:gd name="connsiteY129" fmla="*/ 1056242 h 1380812"/>
                  <a:gd name="connsiteX130" fmla="*/ 860309 w 1017431"/>
                  <a:gd name="connsiteY130" fmla="*/ 1066545 h 1380812"/>
                  <a:gd name="connsiteX131" fmla="*/ 868036 w 1017431"/>
                  <a:gd name="connsiteY131" fmla="*/ 1071697 h 1380812"/>
                  <a:gd name="connsiteX132" fmla="*/ 883491 w 1017431"/>
                  <a:gd name="connsiteY132" fmla="*/ 1076848 h 1380812"/>
                  <a:gd name="connsiteX133" fmla="*/ 891218 w 1017431"/>
                  <a:gd name="connsiteY133" fmla="*/ 1084576 h 1380812"/>
                  <a:gd name="connsiteX134" fmla="*/ 896369 w 1017431"/>
                  <a:gd name="connsiteY134" fmla="*/ 1092303 h 1380812"/>
                  <a:gd name="connsiteX135" fmla="*/ 904097 w 1017431"/>
                  <a:gd name="connsiteY135" fmla="*/ 1097455 h 1380812"/>
                  <a:gd name="connsiteX136" fmla="*/ 909248 w 1017431"/>
                  <a:gd name="connsiteY136" fmla="*/ 1105182 h 1380812"/>
                  <a:gd name="connsiteX137" fmla="*/ 904097 w 1017431"/>
                  <a:gd name="connsiteY137" fmla="*/ 1123212 h 1380812"/>
                  <a:gd name="connsiteX138" fmla="*/ 901521 w 1017431"/>
                  <a:gd name="connsiteY138" fmla="*/ 1141243 h 1380812"/>
                  <a:gd name="connsiteX139" fmla="*/ 883491 w 1017431"/>
                  <a:gd name="connsiteY139" fmla="*/ 1141243 h 1380812"/>
                  <a:gd name="connsiteX140" fmla="*/ 862884 w 1017431"/>
                  <a:gd name="connsiteY140" fmla="*/ 1138667 h 1380812"/>
                  <a:gd name="connsiteX141" fmla="*/ 857733 w 1017431"/>
                  <a:gd name="connsiteY141" fmla="*/ 1148970 h 1380812"/>
                  <a:gd name="connsiteX142" fmla="*/ 860309 w 1017431"/>
                  <a:gd name="connsiteY142" fmla="*/ 1156697 h 1380812"/>
                  <a:gd name="connsiteX143" fmla="*/ 852581 w 1017431"/>
                  <a:gd name="connsiteY143" fmla="*/ 1177304 h 1380812"/>
                  <a:gd name="connsiteX144" fmla="*/ 844854 w 1017431"/>
                  <a:gd name="connsiteY144" fmla="*/ 1182455 h 1380812"/>
                  <a:gd name="connsiteX145" fmla="*/ 837127 w 1017431"/>
                  <a:gd name="connsiteY145" fmla="*/ 1185031 h 1380812"/>
                  <a:gd name="connsiteX146" fmla="*/ 829399 w 1017431"/>
                  <a:gd name="connsiteY146" fmla="*/ 1190182 h 1380812"/>
                  <a:gd name="connsiteX147" fmla="*/ 813945 w 1017431"/>
                  <a:gd name="connsiteY147" fmla="*/ 1195334 h 1380812"/>
                  <a:gd name="connsiteX148" fmla="*/ 806217 w 1017431"/>
                  <a:gd name="connsiteY148" fmla="*/ 1197910 h 1380812"/>
                  <a:gd name="connsiteX149" fmla="*/ 798490 w 1017431"/>
                  <a:gd name="connsiteY149" fmla="*/ 1203061 h 1380812"/>
                  <a:gd name="connsiteX150" fmla="*/ 788187 w 1017431"/>
                  <a:gd name="connsiteY150" fmla="*/ 1221092 h 1380812"/>
                  <a:gd name="connsiteX151" fmla="*/ 790763 w 1017431"/>
                  <a:gd name="connsiteY151" fmla="*/ 1233971 h 1380812"/>
                  <a:gd name="connsiteX152" fmla="*/ 795914 w 1017431"/>
                  <a:gd name="connsiteY152" fmla="*/ 1241698 h 1380812"/>
                  <a:gd name="connsiteX153" fmla="*/ 801066 w 1017431"/>
                  <a:gd name="connsiteY153" fmla="*/ 1257153 h 1380812"/>
                  <a:gd name="connsiteX154" fmla="*/ 811369 w 1017431"/>
                  <a:gd name="connsiteY154" fmla="*/ 1272607 h 1380812"/>
                  <a:gd name="connsiteX155" fmla="*/ 808793 w 1017431"/>
                  <a:gd name="connsiteY155" fmla="*/ 1285486 h 1380812"/>
                  <a:gd name="connsiteX156" fmla="*/ 806217 w 1017431"/>
                  <a:gd name="connsiteY156" fmla="*/ 1293213 h 1380812"/>
                  <a:gd name="connsiteX157" fmla="*/ 813945 w 1017431"/>
                  <a:gd name="connsiteY157" fmla="*/ 1298365 h 1380812"/>
                  <a:gd name="connsiteX158" fmla="*/ 831975 w 1017431"/>
                  <a:gd name="connsiteY158" fmla="*/ 1303517 h 1380812"/>
                  <a:gd name="connsiteX159" fmla="*/ 824248 w 1017431"/>
                  <a:gd name="connsiteY159" fmla="*/ 1326698 h 1380812"/>
                  <a:gd name="connsiteX160" fmla="*/ 821672 w 1017431"/>
                  <a:gd name="connsiteY160" fmla="*/ 1334426 h 1380812"/>
                  <a:gd name="connsiteX161" fmla="*/ 813945 w 1017431"/>
                  <a:gd name="connsiteY161" fmla="*/ 1337002 h 1380812"/>
                  <a:gd name="connsiteX162" fmla="*/ 798490 w 1017431"/>
                  <a:gd name="connsiteY162" fmla="*/ 1329274 h 1380812"/>
                  <a:gd name="connsiteX163" fmla="*/ 793338 w 1017431"/>
                  <a:gd name="connsiteY163" fmla="*/ 1321547 h 1380812"/>
                  <a:gd name="connsiteX164" fmla="*/ 785611 w 1017431"/>
                  <a:gd name="connsiteY164" fmla="*/ 1306092 h 1380812"/>
                  <a:gd name="connsiteX165" fmla="*/ 777884 w 1017431"/>
                  <a:gd name="connsiteY165" fmla="*/ 1303517 h 1380812"/>
                  <a:gd name="connsiteX166" fmla="*/ 762429 w 1017431"/>
                  <a:gd name="connsiteY166" fmla="*/ 1311244 h 1380812"/>
                  <a:gd name="connsiteX167" fmla="*/ 752126 w 1017431"/>
                  <a:gd name="connsiteY167" fmla="*/ 1308668 h 1380812"/>
                  <a:gd name="connsiteX168" fmla="*/ 744399 w 1017431"/>
                  <a:gd name="connsiteY168" fmla="*/ 1303517 h 1380812"/>
                  <a:gd name="connsiteX169" fmla="*/ 726368 w 1017431"/>
                  <a:gd name="connsiteY169" fmla="*/ 1308668 h 1380812"/>
                  <a:gd name="connsiteX170" fmla="*/ 718641 w 1017431"/>
                  <a:gd name="connsiteY170" fmla="*/ 1313820 h 1380812"/>
                  <a:gd name="connsiteX171" fmla="*/ 713489 w 1017431"/>
                  <a:gd name="connsiteY171" fmla="*/ 1306092 h 1380812"/>
                  <a:gd name="connsiteX172" fmla="*/ 705762 w 1017431"/>
                  <a:gd name="connsiteY172" fmla="*/ 1300941 h 1380812"/>
                  <a:gd name="connsiteX173" fmla="*/ 677429 w 1017431"/>
                  <a:gd name="connsiteY173" fmla="*/ 1308668 h 1380812"/>
                  <a:gd name="connsiteX174" fmla="*/ 661974 w 1017431"/>
                  <a:gd name="connsiteY174" fmla="*/ 1316395 h 1380812"/>
                  <a:gd name="connsiteX175" fmla="*/ 641368 w 1017431"/>
                  <a:gd name="connsiteY175" fmla="*/ 1318971 h 1380812"/>
                  <a:gd name="connsiteX176" fmla="*/ 625913 w 1017431"/>
                  <a:gd name="connsiteY176" fmla="*/ 1329274 h 1380812"/>
                  <a:gd name="connsiteX177" fmla="*/ 602731 w 1017431"/>
                  <a:gd name="connsiteY177" fmla="*/ 1342153 h 1380812"/>
                  <a:gd name="connsiteX178" fmla="*/ 595004 w 1017431"/>
                  <a:gd name="connsiteY178" fmla="*/ 1347305 h 1380812"/>
                  <a:gd name="connsiteX179" fmla="*/ 579549 w 1017431"/>
                  <a:gd name="connsiteY179" fmla="*/ 1352456 h 1380812"/>
                  <a:gd name="connsiteX180" fmla="*/ 569246 w 1017431"/>
                  <a:gd name="connsiteY180" fmla="*/ 1349880 h 1380812"/>
                  <a:gd name="connsiteX181" fmla="*/ 561519 w 1017431"/>
                  <a:gd name="connsiteY181" fmla="*/ 1334426 h 1380812"/>
                  <a:gd name="connsiteX182" fmla="*/ 553791 w 1017431"/>
                  <a:gd name="connsiteY182" fmla="*/ 1337002 h 1380812"/>
                  <a:gd name="connsiteX183" fmla="*/ 538337 w 1017431"/>
                  <a:gd name="connsiteY183" fmla="*/ 1331850 h 1380812"/>
                  <a:gd name="connsiteX184" fmla="*/ 512579 w 1017431"/>
                  <a:gd name="connsiteY184" fmla="*/ 1334426 h 1380812"/>
                  <a:gd name="connsiteX185" fmla="*/ 515155 w 1017431"/>
                  <a:gd name="connsiteY185" fmla="*/ 1347305 h 1380812"/>
                  <a:gd name="connsiteX186" fmla="*/ 512579 w 1017431"/>
                  <a:gd name="connsiteY186" fmla="*/ 1357608 h 1380812"/>
                  <a:gd name="connsiteX187" fmla="*/ 504852 w 1017431"/>
                  <a:gd name="connsiteY187" fmla="*/ 1360184 h 1380812"/>
                  <a:gd name="connsiteX188" fmla="*/ 497124 w 1017431"/>
                  <a:gd name="connsiteY188" fmla="*/ 1365335 h 1380812"/>
                  <a:gd name="connsiteX189" fmla="*/ 481670 w 1017431"/>
                  <a:gd name="connsiteY189" fmla="*/ 1378214 h 1380812"/>
                  <a:gd name="connsiteX190" fmla="*/ 473942 w 1017431"/>
                  <a:gd name="connsiteY190" fmla="*/ 1362759 h 1380812"/>
                  <a:gd name="connsiteX191" fmla="*/ 468791 w 1017431"/>
                  <a:gd name="connsiteY191" fmla="*/ 1347305 h 1380812"/>
                  <a:gd name="connsiteX192" fmla="*/ 458488 w 1017431"/>
                  <a:gd name="connsiteY192" fmla="*/ 1342153 h 1380812"/>
                  <a:gd name="connsiteX193" fmla="*/ 435306 w 1017431"/>
                  <a:gd name="connsiteY193" fmla="*/ 1329274 h 1380812"/>
                  <a:gd name="connsiteX194" fmla="*/ 412124 w 1017431"/>
                  <a:gd name="connsiteY194" fmla="*/ 1331850 h 1380812"/>
                  <a:gd name="connsiteX195" fmla="*/ 394093 w 1017431"/>
                  <a:gd name="connsiteY195" fmla="*/ 1337002 h 1380812"/>
                  <a:gd name="connsiteX196" fmla="*/ 391518 w 1017431"/>
                  <a:gd name="connsiteY196" fmla="*/ 1324123 h 1380812"/>
                  <a:gd name="connsiteX197" fmla="*/ 383790 w 1017431"/>
                  <a:gd name="connsiteY197" fmla="*/ 1318971 h 1380812"/>
                  <a:gd name="connsiteX198" fmla="*/ 355457 w 1017431"/>
                  <a:gd name="connsiteY198" fmla="*/ 1313820 h 1380812"/>
                  <a:gd name="connsiteX199" fmla="*/ 340002 w 1017431"/>
                  <a:gd name="connsiteY199" fmla="*/ 1308668 h 1380812"/>
                  <a:gd name="connsiteX200" fmla="*/ 332275 w 1017431"/>
                  <a:gd name="connsiteY200" fmla="*/ 1306092 h 1380812"/>
                  <a:gd name="connsiteX201" fmla="*/ 311669 w 1017431"/>
                  <a:gd name="connsiteY201" fmla="*/ 1303517 h 1380812"/>
                  <a:gd name="connsiteX202" fmla="*/ 303941 w 1017431"/>
                  <a:gd name="connsiteY202" fmla="*/ 1300941 h 1380812"/>
                  <a:gd name="connsiteX203" fmla="*/ 298790 w 1017431"/>
                  <a:gd name="connsiteY203" fmla="*/ 1293213 h 1380812"/>
                  <a:gd name="connsiteX204" fmla="*/ 291062 w 1017431"/>
                  <a:gd name="connsiteY204" fmla="*/ 1288062 h 1380812"/>
                  <a:gd name="connsiteX205" fmla="*/ 278184 w 1017431"/>
                  <a:gd name="connsiteY205" fmla="*/ 1290638 h 1380812"/>
                  <a:gd name="connsiteX206" fmla="*/ 270456 w 1017431"/>
                  <a:gd name="connsiteY206" fmla="*/ 1293213 h 1380812"/>
                  <a:gd name="connsiteX207" fmla="*/ 275608 w 1017431"/>
                  <a:gd name="connsiteY207" fmla="*/ 1300941 h 1380812"/>
                  <a:gd name="connsiteX208" fmla="*/ 283335 w 1017431"/>
                  <a:gd name="connsiteY208" fmla="*/ 1303517 h 1380812"/>
                  <a:gd name="connsiteX209" fmla="*/ 291062 w 1017431"/>
                  <a:gd name="connsiteY209" fmla="*/ 1308668 h 1380812"/>
                  <a:gd name="connsiteX210" fmla="*/ 252426 w 1017431"/>
                  <a:gd name="connsiteY210" fmla="*/ 1313820 h 1380812"/>
                  <a:gd name="connsiteX211" fmla="*/ 229244 w 1017431"/>
                  <a:gd name="connsiteY211" fmla="*/ 1316395 h 1380812"/>
                  <a:gd name="connsiteX212" fmla="*/ 221517 w 1017431"/>
                  <a:gd name="connsiteY212" fmla="*/ 1318971 h 1380812"/>
                  <a:gd name="connsiteX213" fmla="*/ 136516 w 1017431"/>
                  <a:gd name="connsiteY213" fmla="*/ 1318971 h 1380812"/>
                  <a:gd name="connsiteX214" fmla="*/ 164850 w 1017431"/>
                  <a:gd name="connsiteY214" fmla="*/ 1324123 h 1380812"/>
                  <a:gd name="connsiteX215" fmla="*/ 159698 w 1017431"/>
                  <a:gd name="connsiteY215" fmla="*/ 1306092 h 1380812"/>
                  <a:gd name="connsiteX216" fmla="*/ 157122 w 1017431"/>
                  <a:gd name="connsiteY216" fmla="*/ 1298365 h 1380812"/>
                  <a:gd name="connsiteX217" fmla="*/ 151971 w 1017431"/>
                  <a:gd name="connsiteY217" fmla="*/ 1277759 h 1380812"/>
                  <a:gd name="connsiteX218" fmla="*/ 154546 w 1017431"/>
                  <a:gd name="connsiteY218" fmla="*/ 1259728 h 1380812"/>
                  <a:gd name="connsiteX219" fmla="*/ 162274 w 1017431"/>
                  <a:gd name="connsiteY219" fmla="*/ 1252001 h 1380812"/>
                  <a:gd name="connsiteX220" fmla="*/ 164849 w 1017431"/>
                  <a:gd name="connsiteY220" fmla="*/ 1244274 h 1380812"/>
                  <a:gd name="connsiteX221" fmla="*/ 167425 w 1017431"/>
                  <a:gd name="connsiteY221" fmla="*/ 1208213 h 1380812"/>
                  <a:gd name="connsiteX222" fmla="*/ 170001 w 1017431"/>
                  <a:gd name="connsiteY222" fmla="*/ 1200486 h 1380812"/>
                  <a:gd name="connsiteX223" fmla="*/ 177728 w 1017431"/>
                  <a:gd name="connsiteY223" fmla="*/ 1195334 h 1380812"/>
                  <a:gd name="connsiteX224" fmla="*/ 180304 w 1017431"/>
                  <a:gd name="connsiteY224" fmla="*/ 1185031 h 1380812"/>
                  <a:gd name="connsiteX225" fmla="*/ 193183 w 1017431"/>
                  <a:gd name="connsiteY225" fmla="*/ 1136091 h 1380812"/>
                  <a:gd name="connsiteX226" fmla="*/ 200910 w 1017431"/>
                  <a:gd name="connsiteY226" fmla="*/ 1128364 h 1380812"/>
                  <a:gd name="connsiteX227" fmla="*/ 216365 w 1017431"/>
                  <a:gd name="connsiteY227" fmla="*/ 1118061 h 1380812"/>
                  <a:gd name="connsiteX228" fmla="*/ 226668 w 1017431"/>
                  <a:gd name="connsiteY228" fmla="*/ 1102606 h 1380812"/>
                  <a:gd name="connsiteX229" fmla="*/ 231820 w 1017431"/>
                  <a:gd name="connsiteY229" fmla="*/ 1094879 h 1380812"/>
                  <a:gd name="connsiteX230" fmla="*/ 236971 w 1017431"/>
                  <a:gd name="connsiteY230" fmla="*/ 1074273 h 1380812"/>
                  <a:gd name="connsiteX231" fmla="*/ 239547 w 1017431"/>
                  <a:gd name="connsiteY231" fmla="*/ 1066545 h 1380812"/>
                  <a:gd name="connsiteX232" fmla="*/ 231820 w 1017431"/>
                  <a:gd name="connsiteY232" fmla="*/ 1063969 h 1380812"/>
                  <a:gd name="connsiteX233" fmla="*/ 224092 w 1017431"/>
                  <a:gd name="connsiteY233" fmla="*/ 1069121 h 1380812"/>
                  <a:gd name="connsiteX234" fmla="*/ 216365 w 1017431"/>
                  <a:gd name="connsiteY234" fmla="*/ 1071697 h 1380812"/>
                  <a:gd name="connsiteX235" fmla="*/ 190607 w 1017431"/>
                  <a:gd name="connsiteY235" fmla="*/ 1063969 h 1380812"/>
                  <a:gd name="connsiteX236" fmla="*/ 182880 w 1017431"/>
                  <a:gd name="connsiteY236" fmla="*/ 1061394 h 1380812"/>
                  <a:gd name="connsiteX237" fmla="*/ 172577 w 1017431"/>
                  <a:gd name="connsiteY237" fmla="*/ 1056242 h 1380812"/>
                  <a:gd name="connsiteX238" fmla="*/ 167425 w 1017431"/>
                  <a:gd name="connsiteY238" fmla="*/ 1048515 h 1380812"/>
                  <a:gd name="connsiteX239" fmla="*/ 151971 w 1017431"/>
                  <a:gd name="connsiteY239" fmla="*/ 1033060 h 1380812"/>
                  <a:gd name="connsiteX240" fmla="*/ 136516 w 1017431"/>
                  <a:gd name="connsiteY240" fmla="*/ 1045939 h 1380812"/>
                  <a:gd name="connsiteX241" fmla="*/ 126213 w 1017431"/>
                  <a:gd name="connsiteY241" fmla="*/ 1048515 h 1380812"/>
                  <a:gd name="connsiteX242" fmla="*/ 113334 w 1017431"/>
                  <a:gd name="connsiteY242" fmla="*/ 1038212 h 1380812"/>
                  <a:gd name="connsiteX243" fmla="*/ 110758 w 1017431"/>
                  <a:gd name="connsiteY243" fmla="*/ 1030484 h 1380812"/>
                  <a:gd name="connsiteX244" fmla="*/ 103031 w 1017431"/>
                  <a:gd name="connsiteY244" fmla="*/ 1027909 h 1380812"/>
                  <a:gd name="connsiteX245" fmla="*/ 90152 w 1017431"/>
                  <a:gd name="connsiteY245" fmla="*/ 1030484 h 1380812"/>
                  <a:gd name="connsiteX246" fmla="*/ 74697 w 1017431"/>
                  <a:gd name="connsiteY246" fmla="*/ 1025333 h 1380812"/>
                  <a:gd name="connsiteX247" fmla="*/ 66970 w 1017431"/>
                  <a:gd name="connsiteY247" fmla="*/ 1027909 h 1380812"/>
                  <a:gd name="connsiteX248" fmla="*/ 64394 w 1017431"/>
                  <a:gd name="connsiteY248" fmla="*/ 1009878 h 1380812"/>
                  <a:gd name="connsiteX249" fmla="*/ 56667 w 1017431"/>
                  <a:gd name="connsiteY249" fmla="*/ 1002151 h 1380812"/>
                  <a:gd name="connsiteX250" fmla="*/ 51515 w 1017431"/>
                  <a:gd name="connsiteY250" fmla="*/ 994424 h 1380812"/>
                  <a:gd name="connsiteX251" fmla="*/ 36061 w 1017431"/>
                  <a:gd name="connsiteY251" fmla="*/ 981545 h 1380812"/>
                  <a:gd name="connsiteX252" fmla="*/ 25758 w 1017431"/>
                  <a:gd name="connsiteY252" fmla="*/ 976393 h 1380812"/>
                  <a:gd name="connsiteX253" fmla="*/ 25758 w 1017431"/>
                  <a:gd name="connsiteY253" fmla="*/ 948060 h 1380812"/>
                  <a:gd name="connsiteX254" fmla="*/ 30909 w 1017431"/>
                  <a:gd name="connsiteY254" fmla="*/ 940332 h 1380812"/>
                  <a:gd name="connsiteX255" fmla="*/ 25758 w 1017431"/>
                  <a:gd name="connsiteY255" fmla="*/ 919726 h 1380812"/>
                  <a:gd name="connsiteX256" fmla="*/ 23182 w 1017431"/>
                  <a:gd name="connsiteY256" fmla="*/ 911999 h 1380812"/>
                  <a:gd name="connsiteX257" fmla="*/ 12879 w 1017431"/>
                  <a:gd name="connsiteY257" fmla="*/ 906847 h 1380812"/>
                  <a:gd name="connsiteX258" fmla="*/ 7727 w 1017431"/>
                  <a:gd name="connsiteY258" fmla="*/ 873362 h 1380812"/>
                  <a:gd name="connsiteX259" fmla="*/ 2576 w 1017431"/>
                  <a:gd name="connsiteY259" fmla="*/ 857908 h 1380812"/>
                  <a:gd name="connsiteX260" fmla="*/ 12879 w 1017431"/>
                  <a:gd name="connsiteY260" fmla="*/ 839877 h 1380812"/>
                  <a:gd name="connsiteX261" fmla="*/ 15455 w 1017431"/>
                  <a:gd name="connsiteY261" fmla="*/ 832150 h 1380812"/>
                  <a:gd name="connsiteX262" fmla="*/ 30909 w 1017431"/>
                  <a:gd name="connsiteY262" fmla="*/ 824422 h 1380812"/>
                  <a:gd name="connsiteX263" fmla="*/ 38637 w 1017431"/>
                  <a:gd name="connsiteY263" fmla="*/ 819271 h 1380812"/>
                  <a:gd name="connsiteX264" fmla="*/ 30909 w 1017431"/>
                  <a:gd name="connsiteY264" fmla="*/ 793513 h 1380812"/>
                  <a:gd name="connsiteX265" fmla="*/ 25758 w 1017431"/>
                  <a:gd name="connsiteY265" fmla="*/ 785786 h 1380812"/>
                  <a:gd name="connsiteX266" fmla="*/ 20606 w 1017431"/>
                  <a:gd name="connsiteY266" fmla="*/ 770331 h 1380812"/>
                  <a:gd name="connsiteX267" fmla="*/ 18030 w 1017431"/>
                  <a:gd name="connsiteY267" fmla="*/ 762604 h 1380812"/>
                  <a:gd name="connsiteX268" fmla="*/ 15455 w 1017431"/>
                  <a:gd name="connsiteY268" fmla="*/ 754877 h 1380812"/>
                  <a:gd name="connsiteX269" fmla="*/ 10303 w 1017431"/>
                  <a:gd name="connsiteY269" fmla="*/ 747149 h 1380812"/>
                  <a:gd name="connsiteX270" fmla="*/ 7727 w 1017431"/>
                  <a:gd name="connsiteY270" fmla="*/ 736846 h 1380812"/>
                  <a:gd name="connsiteX271" fmla="*/ 2576 w 1017431"/>
                  <a:gd name="connsiteY271" fmla="*/ 721391 h 1380812"/>
                  <a:gd name="connsiteX272" fmla="*/ 7727 w 1017431"/>
                  <a:gd name="connsiteY272" fmla="*/ 685331 h 1380812"/>
                  <a:gd name="connsiteX273" fmla="*/ 12879 w 1017431"/>
                  <a:gd name="connsiteY273" fmla="*/ 669876 h 1380812"/>
                  <a:gd name="connsiteX274" fmla="*/ 18030 w 1017431"/>
                  <a:gd name="connsiteY274" fmla="*/ 644118 h 1380812"/>
                  <a:gd name="connsiteX275" fmla="*/ 28333 w 1017431"/>
                  <a:gd name="connsiteY275" fmla="*/ 628664 h 1380812"/>
                  <a:gd name="connsiteX276" fmla="*/ 25758 w 1017431"/>
                  <a:gd name="connsiteY276" fmla="*/ 608057 h 1380812"/>
                  <a:gd name="connsiteX277" fmla="*/ 20606 w 1017431"/>
                  <a:gd name="connsiteY277" fmla="*/ 600330 h 1380812"/>
                  <a:gd name="connsiteX278" fmla="*/ 18030 w 1017431"/>
                  <a:gd name="connsiteY278" fmla="*/ 592603 h 1380812"/>
                  <a:gd name="connsiteX279" fmla="*/ 12879 w 1017431"/>
                  <a:gd name="connsiteY279" fmla="*/ 584875 h 1380812"/>
                  <a:gd name="connsiteX280" fmla="*/ 7727 w 1017431"/>
                  <a:gd name="connsiteY280" fmla="*/ 569421 h 1380812"/>
                  <a:gd name="connsiteX281" fmla="*/ 5151 w 1017431"/>
                  <a:gd name="connsiteY281" fmla="*/ 561693 h 1380812"/>
                  <a:gd name="connsiteX282" fmla="*/ 0 w 1017431"/>
                  <a:gd name="connsiteY282" fmla="*/ 553966 h 1380812"/>
                  <a:gd name="connsiteX283" fmla="*/ 2576 w 1017431"/>
                  <a:gd name="connsiteY283" fmla="*/ 546239 h 1380812"/>
                  <a:gd name="connsiteX284" fmla="*/ 10303 w 1017431"/>
                  <a:gd name="connsiteY284" fmla="*/ 541087 h 1380812"/>
                  <a:gd name="connsiteX285" fmla="*/ 30909 w 1017431"/>
                  <a:gd name="connsiteY285" fmla="*/ 535936 h 1380812"/>
                  <a:gd name="connsiteX286" fmla="*/ 54091 w 1017431"/>
                  <a:gd name="connsiteY286" fmla="*/ 538511 h 1380812"/>
                  <a:gd name="connsiteX287" fmla="*/ 72122 w 1017431"/>
                  <a:gd name="connsiteY287" fmla="*/ 535936 h 1380812"/>
                  <a:gd name="connsiteX288" fmla="*/ 100455 w 1017431"/>
                  <a:gd name="connsiteY288" fmla="*/ 533360 h 1380812"/>
                  <a:gd name="connsiteX289" fmla="*/ 97879 w 1017431"/>
                  <a:gd name="connsiteY289" fmla="*/ 510178 h 1380812"/>
                  <a:gd name="connsiteX290" fmla="*/ 95304 w 1017431"/>
                  <a:gd name="connsiteY290" fmla="*/ 502451 h 1380812"/>
                  <a:gd name="connsiteX291" fmla="*/ 103031 w 1017431"/>
                  <a:gd name="connsiteY291" fmla="*/ 486996 h 1380812"/>
                  <a:gd name="connsiteX292" fmla="*/ 108182 w 1017431"/>
                  <a:gd name="connsiteY292" fmla="*/ 471541 h 1380812"/>
                  <a:gd name="connsiteX293" fmla="*/ 115910 w 1017431"/>
                  <a:gd name="connsiteY293" fmla="*/ 456087 h 1380812"/>
                  <a:gd name="connsiteX294" fmla="*/ 113334 w 1017431"/>
                  <a:gd name="connsiteY294" fmla="*/ 443208 h 1380812"/>
                  <a:gd name="connsiteX295" fmla="*/ 105607 w 1017431"/>
                  <a:gd name="connsiteY295" fmla="*/ 440632 h 1380812"/>
                  <a:gd name="connsiteX296" fmla="*/ 95304 w 1017431"/>
                  <a:gd name="connsiteY296" fmla="*/ 438056 h 1380812"/>
                  <a:gd name="connsiteX297" fmla="*/ 92728 w 1017431"/>
                  <a:gd name="connsiteY297" fmla="*/ 430329 h 1380812"/>
                  <a:gd name="connsiteX298" fmla="*/ 103031 w 1017431"/>
                  <a:gd name="connsiteY298" fmla="*/ 412298 h 1380812"/>
                  <a:gd name="connsiteX299" fmla="*/ 105607 w 1017431"/>
                  <a:gd name="connsiteY299" fmla="*/ 404571 h 1380812"/>
                  <a:gd name="connsiteX300" fmla="*/ 121061 w 1017431"/>
                  <a:gd name="connsiteY300" fmla="*/ 399420 h 1380812"/>
                  <a:gd name="connsiteX301" fmla="*/ 128789 w 1017431"/>
                  <a:gd name="connsiteY301" fmla="*/ 394268 h 1380812"/>
                  <a:gd name="connsiteX302" fmla="*/ 136516 w 1017431"/>
                  <a:gd name="connsiteY302" fmla="*/ 391692 h 1380812"/>
                  <a:gd name="connsiteX303" fmla="*/ 141668 w 1017431"/>
                  <a:gd name="connsiteY303" fmla="*/ 376238 h 1380812"/>
                  <a:gd name="connsiteX304" fmla="*/ 141668 w 1017431"/>
                  <a:gd name="connsiteY304" fmla="*/ 353056 h 1380812"/>
                  <a:gd name="connsiteX305" fmla="*/ 144243 w 1017431"/>
                  <a:gd name="connsiteY305" fmla="*/ 345328 h 1380812"/>
                  <a:gd name="connsiteX306" fmla="*/ 151971 w 1017431"/>
                  <a:gd name="connsiteY306" fmla="*/ 329874 h 1380812"/>
                  <a:gd name="connsiteX307" fmla="*/ 149395 w 1017431"/>
                  <a:gd name="connsiteY307" fmla="*/ 311843 h 1380812"/>
                  <a:gd name="connsiteX308" fmla="*/ 146819 w 1017431"/>
                  <a:gd name="connsiteY308" fmla="*/ 296389 h 1380812"/>
                  <a:gd name="connsiteX309" fmla="*/ 154546 w 1017431"/>
                  <a:gd name="connsiteY309" fmla="*/ 293813 h 1380812"/>
                  <a:gd name="connsiteX310" fmla="*/ 162274 w 1017431"/>
                  <a:gd name="connsiteY310" fmla="*/ 288661 h 1380812"/>
                  <a:gd name="connsiteX311" fmla="*/ 164849 w 1017431"/>
                  <a:gd name="connsiteY311" fmla="*/ 280934 h 1380812"/>
                  <a:gd name="connsiteX312" fmla="*/ 157122 w 1017431"/>
                  <a:gd name="connsiteY312" fmla="*/ 278358 h 1380812"/>
                  <a:gd name="connsiteX313" fmla="*/ 136516 w 1017431"/>
                  <a:gd name="connsiteY313" fmla="*/ 270631 h 1380812"/>
                  <a:gd name="connsiteX314" fmla="*/ 139092 w 1017431"/>
                  <a:gd name="connsiteY314" fmla="*/ 260328 h 1380812"/>
                  <a:gd name="connsiteX315" fmla="*/ 141668 w 1017431"/>
                  <a:gd name="connsiteY315" fmla="*/ 252600 h 1380812"/>
                  <a:gd name="connsiteX316" fmla="*/ 146819 w 1017431"/>
                  <a:gd name="connsiteY316" fmla="*/ 231994 h 1380812"/>
                  <a:gd name="connsiteX317" fmla="*/ 149395 w 1017431"/>
                  <a:gd name="connsiteY317" fmla="*/ 224267 h 1380812"/>
                  <a:gd name="connsiteX318" fmla="*/ 164849 w 1017431"/>
                  <a:gd name="connsiteY318" fmla="*/ 219115 h 1380812"/>
                  <a:gd name="connsiteX319" fmla="*/ 188031 w 1017431"/>
                  <a:gd name="connsiteY319" fmla="*/ 221691 h 1380812"/>
                  <a:gd name="connsiteX320" fmla="*/ 195759 w 1017431"/>
                  <a:gd name="connsiteY320" fmla="*/ 226843 h 1380812"/>
                  <a:gd name="connsiteX321" fmla="*/ 216365 w 1017431"/>
                  <a:gd name="connsiteY321" fmla="*/ 224267 h 1380812"/>
                  <a:gd name="connsiteX322" fmla="*/ 236971 w 1017431"/>
                  <a:gd name="connsiteY322" fmla="*/ 224267 h 1380812"/>
                  <a:gd name="connsiteX323" fmla="*/ 242123 w 1017431"/>
                  <a:gd name="connsiteY323" fmla="*/ 231994 h 1380812"/>
                  <a:gd name="connsiteX324" fmla="*/ 244698 w 1017431"/>
                  <a:gd name="connsiteY324" fmla="*/ 260328 h 1380812"/>
                  <a:gd name="connsiteX325" fmla="*/ 239547 w 1017431"/>
                  <a:gd name="connsiteY325" fmla="*/ 268055 h 1380812"/>
                  <a:gd name="connsiteX326" fmla="*/ 252426 w 1017431"/>
                  <a:gd name="connsiteY326" fmla="*/ 280934 h 1380812"/>
                  <a:gd name="connsiteX327" fmla="*/ 260153 w 1017431"/>
                  <a:gd name="connsiteY327" fmla="*/ 278358 h 1380812"/>
                  <a:gd name="connsiteX328" fmla="*/ 257577 w 1017431"/>
                  <a:gd name="connsiteY328" fmla="*/ 270631 h 1380812"/>
                  <a:gd name="connsiteX329" fmla="*/ 252426 w 1017431"/>
                  <a:gd name="connsiteY329" fmla="*/ 262904 h 1380812"/>
                  <a:gd name="connsiteX330" fmla="*/ 260153 w 1017431"/>
                  <a:gd name="connsiteY330" fmla="*/ 257752 h 1380812"/>
                  <a:gd name="connsiteX331" fmla="*/ 288487 w 1017431"/>
                  <a:gd name="connsiteY331" fmla="*/ 260328 h 1380812"/>
                  <a:gd name="connsiteX332" fmla="*/ 291062 w 1017431"/>
                  <a:gd name="connsiteY332" fmla="*/ 270631 h 1380812"/>
                  <a:gd name="connsiteX333" fmla="*/ 306517 w 1017431"/>
                  <a:gd name="connsiteY333" fmla="*/ 286086 h 1380812"/>
                  <a:gd name="connsiteX334" fmla="*/ 298790 w 1017431"/>
                  <a:gd name="connsiteY334" fmla="*/ 257752 h 1380812"/>
                  <a:gd name="connsiteX335" fmla="*/ 296214 w 1017431"/>
                  <a:gd name="connsiteY335" fmla="*/ 250025 h 1380812"/>
                  <a:gd name="connsiteX336" fmla="*/ 298790 w 1017431"/>
                  <a:gd name="connsiteY336" fmla="*/ 231994 h 1380812"/>
                  <a:gd name="connsiteX337" fmla="*/ 301366 w 1017431"/>
                  <a:gd name="connsiteY337" fmla="*/ 203661 h 1380812"/>
                  <a:gd name="connsiteX338" fmla="*/ 309093 w 1017431"/>
                  <a:gd name="connsiteY338" fmla="*/ 201085 h 1380812"/>
                  <a:gd name="connsiteX339" fmla="*/ 321972 w 1017431"/>
                  <a:gd name="connsiteY339" fmla="*/ 211388 h 1380812"/>
                  <a:gd name="connsiteX340" fmla="*/ 329699 w 1017431"/>
                  <a:gd name="connsiteY340" fmla="*/ 213964 h 1380812"/>
                  <a:gd name="connsiteX341" fmla="*/ 345154 w 1017431"/>
                  <a:gd name="connsiteY341" fmla="*/ 206237 h 1380812"/>
                  <a:gd name="connsiteX342" fmla="*/ 350305 w 1017431"/>
                  <a:gd name="connsiteY342" fmla="*/ 198509 h 1380812"/>
                  <a:gd name="connsiteX343" fmla="*/ 373487 w 1017431"/>
                  <a:gd name="connsiteY343" fmla="*/ 201085 h 1380812"/>
                  <a:gd name="connsiteX344" fmla="*/ 391518 w 1017431"/>
                  <a:gd name="connsiteY344" fmla="*/ 221691 h 1380812"/>
                  <a:gd name="connsiteX345" fmla="*/ 399245 w 1017431"/>
                  <a:gd name="connsiteY345" fmla="*/ 229418 h 1380812"/>
                  <a:gd name="connsiteX346" fmla="*/ 409548 w 1017431"/>
                  <a:gd name="connsiteY346" fmla="*/ 244873 h 1380812"/>
                  <a:gd name="connsiteX347" fmla="*/ 425003 w 1017431"/>
                  <a:gd name="connsiteY347" fmla="*/ 250025 h 1380812"/>
                  <a:gd name="connsiteX348" fmla="*/ 414700 w 1017431"/>
                  <a:gd name="connsiteY348" fmla="*/ 237146 h 1380812"/>
                  <a:gd name="connsiteX349" fmla="*/ 404397 w 1017431"/>
                  <a:gd name="connsiteY349" fmla="*/ 221691 h 1380812"/>
                  <a:gd name="connsiteX350" fmla="*/ 396669 w 1017431"/>
                  <a:gd name="connsiteY350" fmla="*/ 213964 h 1380812"/>
                  <a:gd name="connsiteX351" fmla="*/ 386366 w 1017431"/>
                  <a:gd name="connsiteY351" fmla="*/ 198509 h 1380812"/>
                  <a:gd name="connsiteX352" fmla="*/ 370911 w 1017431"/>
                  <a:gd name="connsiteY352" fmla="*/ 193358 h 1380812"/>
                  <a:gd name="connsiteX353" fmla="*/ 363184 w 1017431"/>
                  <a:gd name="connsiteY353" fmla="*/ 190782 h 1380812"/>
                  <a:gd name="connsiteX354" fmla="*/ 342578 w 1017431"/>
                  <a:gd name="connsiteY354" fmla="*/ 193358 h 1380812"/>
                  <a:gd name="connsiteX355" fmla="*/ 337426 w 1017431"/>
                  <a:gd name="connsiteY355" fmla="*/ 162448 h 1380812"/>
                  <a:gd name="connsiteX356" fmla="*/ 340002 w 1017431"/>
                  <a:gd name="connsiteY356" fmla="*/ 154721 h 1380812"/>
                  <a:gd name="connsiteX357" fmla="*/ 347729 w 1017431"/>
                  <a:gd name="connsiteY357" fmla="*/ 149569 h 1380812"/>
                  <a:gd name="connsiteX358" fmla="*/ 340002 w 1017431"/>
                  <a:gd name="connsiteY358" fmla="*/ 144418 h 1380812"/>
                  <a:gd name="connsiteX359" fmla="*/ 332275 w 1017431"/>
                  <a:gd name="connsiteY359" fmla="*/ 141842 h 1380812"/>
                  <a:gd name="connsiteX360" fmla="*/ 329699 w 1017431"/>
                  <a:gd name="connsiteY360" fmla="*/ 128963 h 1380812"/>
                  <a:gd name="connsiteX361" fmla="*/ 316820 w 1017431"/>
                  <a:gd name="connsiteY361" fmla="*/ 116084 h 1380812"/>
                  <a:gd name="connsiteX362" fmla="*/ 306517 w 1017431"/>
                  <a:gd name="connsiteY362" fmla="*/ 100630 h 1380812"/>
                  <a:gd name="connsiteX363" fmla="*/ 324548 w 1017431"/>
                  <a:gd name="connsiteY363" fmla="*/ 95478 h 1380812"/>
                  <a:gd name="connsiteX364" fmla="*/ 332275 w 1017431"/>
                  <a:gd name="connsiteY364" fmla="*/ 92902 h 1380812"/>
                  <a:gd name="connsiteX365" fmla="*/ 355457 w 1017431"/>
                  <a:gd name="connsiteY365" fmla="*/ 87751 h 1380812"/>
                  <a:gd name="connsiteX366" fmla="*/ 352881 w 1017431"/>
                  <a:gd name="connsiteY366" fmla="*/ 77448 h 1380812"/>
                  <a:gd name="connsiteX367" fmla="*/ 345154 w 1017431"/>
                  <a:gd name="connsiteY367" fmla="*/ 72296 h 1380812"/>
                  <a:gd name="connsiteX368" fmla="*/ 337426 w 1017431"/>
                  <a:gd name="connsiteY368" fmla="*/ 64569 h 1380812"/>
                  <a:gd name="connsiteX369" fmla="*/ 327123 w 1017431"/>
                  <a:gd name="connsiteY369" fmla="*/ 41387 h 1380812"/>
                  <a:gd name="connsiteX370" fmla="*/ 316820 w 1017431"/>
                  <a:gd name="connsiteY370" fmla="*/ 38811 h 1380812"/>
                  <a:gd name="connsiteX371" fmla="*/ 283335 w 1017431"/>
                  <a:gd name="connsiteY371" fmla="*/ 41387 h 1380812"/>
                  <a:gd name="connsiteX372" fmla="*/ 280759 w 1017431"/>
                  <a:gd name="connsiteY372" fmla="*/ 33660 h 1380812"/>
                  <a:gd name="connsiteX373" fmla="*/ 296214 w 1017431"/>
                  <a:gd name="connsiteY373" fmla="*/ 28508 h 1380812"/>
                  <a:gd name="connsiteX374" fmla="*/ 303941 w 1017431"/>
                  <a:gd name="connsiteY374" fmla="*/ 31084 h 1380812"/>
                  <a:gd name="connsiteX375" fmla="*/ 306517 w 1017431"/>
                  <a:gd name="connsiteY375" fmla="*/ 23357 h 1380812"/>
                  <a:gd name="connsiteX376" fmla="*/ 293638 w 1017431"/>
                  <a:gd name="connsiteY376" fmla="*/ 13053 h 1380812"/>
                  <a:gd name="connsiteX377" fmla="*/ 291062 w 1017431"/>
                  <a:gd name="connsiteY377" fmla="*/ 5326 h 1380812"/>
                  <a:gd name="connsiteX378" fmla="*/ 309093 w 1017431"/>
                  <a:gd name="connsiteY378" fmla="*/ 5326 h 1380812"/>
                  <a:gd name="connsiteX379" fmla="*/ 316820 w 1017431"/>
                  <a:gd name="connsiteY379" fmla="*/ 7902 h 1380812"/>
                  <a:gd name="connsiteX380" fmla="*/ 350305 w 1017431"/>
                  <a:gd name="connsiteY380" fmla="*/ 7902 h 1380812"/>
                  <a:gd name="connsiteX381" fmla="*/ 358033 w 1017431"/>
                  <a:gd name="connsiteY381" fmla="*/ 10478 h 1380812"/>
                  <a:gd name="connsiteX382" fmla="*/ 381215 w 1017431"/>
                  <a:gd name="connsiteY382" fmla="*/ 23357 h 1380812"/>
                  <a:gd name="connsiteX383" fmla="*/ 409548 w 1017431"/>
                  <a:gd name="connsiteY383" fmla="*/ 25932 h 1380812"/>
                  <a:gd name="connsiteX384" fmla="*/ 430154 w 1017431"/>
                  <a:gd name="connsiteY384" fmla="*/ 28508 h 1380812"/>
                  <a:gd name="connsiteX385" fmla="*/ 437882 w 1017431"/>
                  <a:gd name="connsiteY385" fmla="*/ 31084 h 1380812"/>
                  <a:gd name="connsiteX386" fmla="*/ 450760 w 1017431"/>
                  <a:gd name="connsiteY386" fmla="*/ 46538 h 1380812"/>
                  <a:gd name="connsiteX387" fmla="*/ 466215 w 1017431"/>
                  <a:gd name="connsiteY387" fmla="*/ 51690 h 1380812"/>
                  <a:gd name="connsiteX388" fmla="*/ 458488 w 1017431"/>
                  <a:gd name="connsiteY388" fmla="*/ 54266 h 1380812"/>
                  <a:gd name="connsiteX389" fmla="*/ 445609 w 1017431"/>
                  <a:gd name="connsiteY389" fmla="*/ 67145 h 1380812"/>
                  <a:gd name="connsiteX390" fmla="*/ 440457 w 1017431"/>
                  <a:gd name="connsiteY390" fmla="*/ 82599 h 1380812"/>
                  <a:gd name="connsiteX391" fmla="*/ 437882 w 1017431"/>
                  <a:gd name="connsiteY391" fmla="*/ 90327 h 1380812"/>
                  <a:gd name="connsiteX392" fmla="*/ 453336 w 1017431"/>
                  <a:gd name="connsiteY392" fmla="*/ 87751 h 1380812"/>
                  <a:gd name="connsiteX393" fmla="*/ 468791 w 1017431"/>
                  <a:gd name="connsiteY393" fmla="*/ 85175 h 1380812"/>
                  <a:gd name="connsiteX394" fmla="*/ 491973 w 1017431"/>
                  <a:gd name="connsiteY394" fmla="*/ 87751 h 1380812"/>
                  <a:gd name="connsiteX395" fmla="*/ 507428 w 1017431"/>
                  <a:gd name="connsiteY395" fmla="*/ 100630 h 1380812"/>
                  <a:gd name="connsiteX396" fmla="*/ 530609 w 1017431"/>
                  <a:gd name="connsiteY396" fmla="*/ 113509 h 1380812"/>
                  <a:gd name="connsiteX397" fmla="*/ 548640 w 1017431"/>
                  <a:gd name="connsiteY397" fmla="*/ 110933 h 1380812"/>
                  <a:gd name="connsiteX398" fmla="*/ 551216 w 1017431"/>
                  <a:gd name="connsiteY398" fmla="*/ 103206 h 1380812"/>
                  <a:gd name="connsiteX399" fmla="*/ 553791 w 1017431"/>
                  <a:gd name="connsiteY399" fmla="*/ 87751 h 1380812"/>
                  <a:gd name="connsiteX400" fmla="*/ 561519 w 1017431"/>
                  <a:gd name="connsiteY400" fmla="*/ 85175 h 1380812"/>
                  <a:gd name="connsiteX401" fmla="*/ 576973 w 1017431"/>
                  <a:gd name="connsiteY401" fmla="*/ 74872 h 1380812"/>
                  <a:gd name="connsiteX402" fmla="*/ 587277 w 1017431"/>
                  <a:gd name="connsiteY402" fmla="*/ 77448 h 1380812"/>
                  <a:gd name="connsiteX403" fmla="*/ 584701 w 1017431"/>
                  <a:gd name="connsiteY403" fmla="*/ 85175 h 1380812"/>
                  <a:gd name="connsiteX404" fmla="*/ 569246 w 1017431"/>
                  <a:gd name="connsiteY404" fmla="*/ 87751 h 1380812"/>
                  <a:gd name="connsiteX405" fmla="*/ 553791 w 1017431"/>
                  <a:gd name="connsiteY405" fmla="*/ 100630 h 1380812"/>
                  <a:gd name="connsiteX406" fmla="*/ 569246 w 1017431"/>
                  <a:gd name="connsiteY406" fmla="*/ 103206 h 1380812"/>
                  <a:gd name="connsiteX407" fmla="*/ 561519 w 1017431"/>
                  <a:gd name="connsiteY407" fmla="*/ 118660 h 1380812"/>
                  <a:gd name="connsiteX408" fmla="*/ 556367 w 1017431"/>
                  <a:gd name="connsiteY408" fmla="*/ 136691 h 1380812"/>
                  <a:gd name="connsiteX409" fmla="*/ 540913 w 1017431"/>
                  <a:gd name="connsiteY409" fmla="*/ 144418 h 1380812"/>
                  <a:gd name="connsiteX410" fmla="*/ 533185 w 1017431"/>
                  <a:gd name="connsiteY410" fmla="*/ 152145 h 1380812"/>
                  <a:gd name="connsiteX411" fmla="*/ 522882 w 1017431"/>
                  <a:gd name="connsiteY411" fmla="*/ 167600 h 1380812"/>
                  <a:gd name="connsiteX412" fmla="*/ 538337 w 1017431"/>
                  <a:gd name="connsiteY412" fmla="*/ 175327 h 1380812"/>
                  <a:gd name="connsiteX413" fmla="*/ 540913 w 1017431"/>
                  <a:gd name="connsiteY413" fmla="*/ 193358 h 1380812"/>
                  <a:gd name="connsiteX414" fmla="*/ 556367 w 1017431"/>
                  <a:gd name="connsiteY414" fmla="*/ 185630 h 1380812"/>
                  <a:gd name="connsiteX415" fmla="*/ 571822 w 1017431"/>
                  <a:gd name="connsiteY415" fmla="*/ 177903 h 1380812"/>
                  <a:gd name="connsiteX416" fmla="*/ 576973 w 1017431"/>
                  <a:gd name="connsiteY416" fmla="*/ 177903 h 1380812"/>
                  <a:gd name="connsiteX417" fmla="*/ 592428 w 1017431"/>
                  <a:gd name="connsiteY417" fmla="*/ 183055 h 1380812"/>
                  <a:gd name="connsiteX418" fmla="*/ 607883 w 1017431"/>
                  <a:gd name="connsiteY418" fmla="*/ 172751 h 1380812"/>
                  <a:gd name="connsiteX419" fmla="*/ 610458 w 1017431"/>
                  <a:gd name="connsiteY419" fmla="*/ 165024 h 1380812"/>
                  <a:gd name="connsiteX420" fmla="*/ 625913 w 1017431"/>
                  <a:gd name="connsiteY420" fmla="*/ 152145 h 1380812"/>
                  <a:gd name="connsiteX421" fmla="*/ 633640 w 1017431"/>
                  <a:gd name="connsiteY421" fmla="*/ 149569 h 1380812"/>
                  <a:gd name="connsiteX422" fmla="*/ 641368 w 1017431"/>
                  <a:gd name="connsiteY422" fmla="*/ 141842 h 1380812"/>
                  <a:gd name="connsiteX423" fmla="*/ 674853 w 1017431"/>
                  <a:gd name="connsiteY423" fmla="*/ 134115 h 1380812"/>
                  <a:gd name="connsiteX424" fmla="*/ 682580 w 1017431"/>
                  <a:gd name="connsiteY424" fmla="*/ 128963 h 1380812"/>
                  <a:gd name="connsiteX425" fmla="*/ 698035 w 1017431"/>
                  <a:gd name="connsiteY425" fmla="*/ 126388 h 1380812"/>
                  <a:gd name="connsiteX426" fmla="*/ 703186 w 1017431"/>
                  <a:gd name="connsiteY426" fmla="*/ 118660 h 1380812"/>
                  <a:gd name="connsiteX427" fmla="*/ 710914 w 1017431"/>
                  <a:gd name="connsiteY427" fmla="*/ 95478 h 1380812"/>
                  <a:gd name="connsiteX0" fmla="*/ 710914 w 1017431"/>
                  <a:gd name="connsiteY0" fmla="*/ 95478 h 1380812"/>
                  <a:gd name="connsiteX1" fmla="*/ 767581 w 1017431"/>
                  <a:gd name="connsiteY1" fmla="*/ 95478 h 1380812"/>
                  <a:gd name="connsiteX2" fmla="*/ 770157 w 1017431"/>
                  <a:gd name="connsiteY2" fmla="*/ 103206 h 1380812"/>
                  <a:gd name="connsiteX3" fmla="*/ 775308 w 1017431"/>
                  <a:gd name="connsiteY3" fmla="*/ 110933 h 1380812"/>
                  <a:gd name="connsiteX4" fmla="*/ 777884 w 1017431"/>
                  <a:gd name="connsiteY4" fmla="*/ 98054 h 1380812"/>
                  <a:gd name="connsiteX5" fmla="*/ 785611 w 1017431"/>
                  <a:gd name="connsiteY5" fmla="*/ 92902 h 1380812"/>
                  <a:gd name="connsiteX6" fmla="*/ 788187 w 1017431"/>
                  <a:gd name="connsiteY6" fmla="*/ 85175 h 1380812"/>
                  <a:gd name="connsiteX7" fmla="*/ 798490 w 1017431"/>
                  <a:gd name="connsiteY7" fmla="*/ 43963 h 1380812"/>
                  <a:gd name="connsiteX8" fmla="*/ 816520 w 1017431"/>
                  <a:gd name="connsiteY8" fmla="*/ 46538 h 1380812"/>
                  <a:gd name="connsiteX9" fmla="*/ 829399 w 1017431"/>
                  <a:gd name="connsiteY9" fmla="*/ 61993 h 1380812"/>
                  <a:gd name="connsiteX10" fmla="*/ 831975 w 1017431"/>
                  <a:gd name="connsiteY10" fmla="*/ 85175 h 1380812"/>
                  <a:gd name="connsiteX11" fmla="*/ 834551 w 1017431"/>
                  <a:gd name="connsiteY11" fmla="*/ 95478 h 1380812"/>
                  <a:gd name="connsiteX12" fmla="*/ 842278 w 1017431"/>
                  <a:gd name="connsiteY12" fmla="*/ 98054 h 1380812"/>
                  <a:gd name="connsiteX13" fmla="*/ 852581 w 1017431"/>
                  <a:gd name="connsiteY13" fmla="*/ 100630 h 1380812"/>
                  <a:gd name="connsiteX14" fmla="*/ 829399 w 1017431"/>
                  <a:gd name="connsiteY14" fmla="*/ 100630 h 1380812"/>
                  <a:gd name="connsiteX15" fmla="*/ 813945 w 1017431"/>
                  <a:gd name="connsiteY15" fmla="*/ 108357 h 1380812"/>
                  <a:gd name="connsiteX16" fmla="*/ 808793 w 1017431"/>
                  <a:gd name="connsiteY16" fmla="*/ 116084 h 1380812"/>
                  <a:gd name="connsiteX17" fmla="*/ 775308 w 1017431"/>
                  <a:gd name="connsiteY17" fmla="*/ 116084 h 1380812"/>
                  <a:gd name="connsiteX18" fmla="*/ 777884 w 1017431"/>
                  <a:gd name="connsiteY18" fmla="*/ 105781 h 1380812"/>
                  <a:gd name="connsiteX19" fmla="*/ 785611 w 1017431"/>
                  <a:gd name="connsiteY19" fmla="*/ 108357 h 1380812"/>
                  <a:gd name="connsiteX20" fmla="*/ 803642 w 1017431"/>
                  <a:gd name="connsiteY20" fmla="*/ 126388 h 1380812"/>
                  <a:gd name="connsiteX21" fmla="*/ 816520 w 1017431"/>
                  <a:gd name="connsiteY21" fmla="*/ 149569 h 1380812"/>
                  <a:gd name="connsiteX22" fmla="*/ 824248 w 1017431"/>
                  <a:gd name="connsiteY22" fmla="*/ 146994 h 1380812"/>
                  <a:gd name="connsiteX23" fmla="*/ 839702 w 1017431"/>
                  <a:gd name="connsiteY23" fmla="*/ 136691 h 1380812"/>
                  <a:gd name="connsiteX24" fmla="*/ 855157 w 1017431"/>
                  <a:gd name="connsiteY24" fmla="*/ 139266 h 1380812"/>
                  <a:gd name="connsiteX25" fmla="*/ 857733 w 1017431"/>
                  <a:gd name="connsiteY25" fmla="*/ 146994 h 1380812"/>
                  <a:gd name="connsiteX26" fmla="*/ 865460 w 1017431"/>
                  <a:gd name="connsiteY26" fmla="*/ 149569 h 1380812"/>
                  <a:gd name="connsiteX27" fmla="*/ 880915 w 1017431"/>
                  <a:gd name="connsiteY27" fmla="*/ 152145 h 1380812"/>
                  <a:gd name="connsiteX28" fmla="*/ 891218 w 1017431"/>
                  <a:gd name="connsiteY28" fmla="*/ 172751 h 1380812"/>
                  <a:gd name="connsiteX29" fmla="*/ 888642 w 1017431"/>
                  <a:gd name="connsiteY29" fmla="*/ 165024 h 1380812"/>
                  <a:gd name="connsiteX30" fmla="*/ 880915 w 1017431"/>
                  <a:gd name="connsiteY30" fmla="*/ 162448 h 1380812"/>
                  <a:gd name="connsiteX31" fmla="*/ 873188 w 1017431"/>
                  <a:gd name="connsiteY31" fmla="*/ 157297 h 1380812"/>
                  <a:gd name="connsiteX32" fmla="*/ 862884 w 1017431"/>
                  <a:gd name="connsiteY32" fmla="*/ 159873 h 1380812"/>
                  <a:gd name="connsiteX33" fmla="*/ 873188 w 1017431"/>
                  <a:gd name="connsiteY33" fmla="*/ 198509 h 1380812"/>
                  <a:gd name="connsiteX34" fmla="*/ 880915 w 1017431"/>
                  <a:gd name="connsiteY34" fmla="*/ 195933 h 1380812"/>
                  <a:gd name="connsiteX35" fmla="*/ 883491 w 1017431"/>
                  <a:gd name="connsiteY35" fmla="*/ 206237 h 1380812"/>
                  <a:gd name="connsiteX36" fmla="*/ 888642 w 1017431"/>
                  <a:gd name="connsiteY36" fmla="*/ 213964 h 1380812"/>
                  <a:gd name="connsiteX37" fmla="*/ 904097 w 1017431"/>
                  <a:gd name="connsiteY37" fmla="*/ 208812 h 1380812"/>
                  <a:gd name="connsiteX38" fmla="*/ 909248 w 1017431"/>
                  <a:gd name="connsiteY38" fmla="*/ 224267 h 1380812"/>
                  <a:gd name="connsiteX39" fmla="*/ 914400 w 1017431"/>
                  <a:gd name="connsiteY39" fmla="*/ 242297 h 1380812"/>
                  <a:gd name="connsiteX40" fmla="*/ 916976 w 1017431"/>
                  <a:gd name="connsiteY40" fmla="*/ 257752 h 1380812"/>
                  <a:gd name="connsiteX41" fmla="*/ 924703 w 1017431"/>
                  <a:gd name="connsiteY41" fmla="*/ 265479 h 1380812"/>
                  <a:gd name="connsiteX42" fmla="*/ 929855 w 1017431"/>
                  <a:gd name="connsiteY42" fmla="*/ 273207 h 1380812"/>
                  <a:gd name="connsiteX43" fmla="*/ 935006 w 1017431"/>
                  <a:gd name="connsiteY43" fmla="*/ 291237 h 1380812"/>
                  <a:gd name="connsiteX44" fmla="*/ 940158 w 1017431"/>
                  <a:gd name="connsiteY44" fmla="*/ 311843 h 1380812"/>
                  <a:gd name="connsiteX45" fmla="*/ 937582 w 1017431"/>
                  <a:gd name="connsiteY45" fmla="*/ 327298 h 1380812"/>
                  <a:gd name="connsiteX46" fmla="*/ 929855 w 1017431"/>
                  <a:gd name="connsiteY46" fmla="*/ 329874 h 1380812"/>
                  <a:gd name="connsiteX47" fmla="*/ 911824 w 1017431"/>
                  <a:gd name="connsiteY47" fmla="*/ 335025 h 1380812"/>
                  <a:gd name="connsiteX48" fmla="*/ 904097 w 1017431"/>
                  <a:gd name="connsiteY48" fmla="*/ 340177 h 1380812"/>
                  <a:gd name="connsiteX49" fmla="*/ 901521 w 1017431"/>
                  <a:gd name="connsiteY49" fmla="*/ 347904 h 1380812"/>
                  <a:gd name="connsiteX50" fmla="*/ 914400 w 1017431"/>
                  <a:gd name="connsiteY50" fmla="*/ 371086 h 1380812"/>
                  <a:gd name="connsiteX51" fmla="*/ 922127 w 1017431"/>
                  <a:gd name="connsiteY51" fmla="*/ 373662 h 1380812"/>
                  <a:gd name="connsiteX52" fmla="*/ 937582 w 1017431"/>
                  <a:gd name="connsiteY52" fmla="*/ 386541 h 1380812"/>
                  <a:gd name="connsiteX53" fmla="*/ 940158 w 1017431"/>
                  <a:gd name="connsiteY53" fmla="*/ 394268 h 1380812"/>
                  <a:gd name="connsiteX54" fmla="*/ 947885 w 1017431"/>
                  <a:gd name="connsiteY54" fmla="*/ 396844 h 1380812"/>
                  <a:gd name="connsiteX55" fmla="*/ 950461 w 1017431"/>
                  <a:gd name="connsiteY55" fmla="*/ 407147 h 1380812"/>
                  <a:gd name="connsiteX56" fmla="*/ 955612 w 1017431"/>
                  <a:gd name="connsiteY56" fmla="*/ 422602 h 1380812"/>
                  <a:gd name="connsiteX57" fmla="*/ 958188 w 1017431"/>
                  <a:gd name="connsiteY57" fmla="*/ 430329 h 1380812"/>
                  <a:gd name="connsiteX58" fmla="*/ 955612 w 1017431"/>
                  <a:gd name="connsiteY58" fmla="*/ 438056 h 1380812"/>
                  <a:gd name="connsiteX59" fmla="*/ 950461 w 1017431"/>
                  <a:gd name="connsiteY59" fmla="*/ 456087 h 1380812"/>
                  <a:gd name="connsiteX60" fmla="*/ 965915 w 1017431"/>
                  <a:gd name="connsiteY60" fmla="*/ 466390 h 1380812"/>
                  <a:gd name="connsiteX61" fmla="*/ 971067 w 1017431"/>
                  <a:gd name="connsiteY61" fmla="*/ 476693 h 1380812"/>
                  <a:gd name="connsiteX62" fmla="*/ 973643 w 1017431"/>
                  <a:gd name="connsiteY62" fmla="*/ 507602 h 1380812"/>
                  <a:gd name="connsiteX63" fmla="*/ 976218 w 1017431"/>
                  <a:gd name="connsiteY63" fmla="*/ 525633 h 1380812"/>
                  <a:gd name="connsiteX64" fmla="*/ 973643 w 1017431"/>
                  <a:gd name="connsiteY64" fmla="*/ 535936 h 1380812"/>
                  <a:gd name="connsiteX65" fmla="*/ 965915 w 1017431"/>
                  <a:gd name="connsiteY65" fmla="*/ 541087 h 1380812"/>
                  <a:gd name="connsiteX66" fmla="*/ 960764 w 1017431"/>
                  <a:gd name="connsiteY66" fmla="*/ 548815 h 1380812"/>
                  <a:gd name="connsiteX67" fmla="*/ 963340 w 1017431"/>
                  <a:gd name="connsiteY67" fmla="*/ 561693 h 1380812"/>
                  <a:gd name="connsiteX68" fmla="*/ 971067 w 1017431"/>
                  <a:gd name="connsiteY68" fmla="*/ 564269 h 1380812"/>
                  <a:gd name="connsiteX69" fmla="*/ 981370 w 1017431"/>
                  <a:gd name="connsiteY69" fmla="*/ 569421 h 1380812"/>
                  <a:gd name="connsiteX70" fmla="*/ 986522 w 1017431"/>
                  <a:gd name="connsiteY70" fmla="*/ 577148 h 1380812"/>
                  <a:gd name="connsiteX71" fmla="*/ 978794 w 1017431"/>
                  <a:gd name="connsiteY71" fmla="*/ 595178 h 1380812"/>
                  <a:gd name="connsiteX72" fmla="*/ 986522 w 1017431"/>
                  <a:gd name="connsiteY72" fmla="*/ 600330 h 1380812"/>
                  <a:gd name="connsiteX73" fmla="*/ 994249 w 1017431"/>
                  <a:gd name="connsiteY73" fmla="*/ 602906 h 1380812"/>
                  <a:gd name="connsiteX74" fmla="*/ 1007128 w 1017431"/>
                  <a:gd name="connsiteY74" fmla="*/ 618360 h 1380812"/>
                  <a:gd name="connsiteX75" fmla="*/ 1014855 w 1017431"/>
                  <a:gd name="connsiteY75" fmla="*/ 641542 h 1380812"/>
                  <a:gd name="connsiteX76" fmla="*/ 1017431 w 1017431"/>
                  <a:gd name="connsiteY76" fmla="*/ 649270 h 1380812"/>
                  <a:gd name="connsiteX77" fmla="*/ 1014855 w 1017431"/>
                  <a:gd name="connsiteY77" fmla="*/ 667300 h 1380812"/>
                  <a:gd name="connsiteX78" fmla="*/ 1012279 w 1017431"/>
                  <a:gd name="connsiteY78" fmla="*/ 708513 h 1380812"/>
                  <a:gd name="connsiteX79" fmla="*/ 996825 w 1017431"/>
                  <a:gd name="connsiteY79" fmla="*/ 713664 h 1380812"/>
                  <a:gd name="connsiteX80" fmla="*/ 994249 w 1017431"/>
                  <a:gd name="connsiteY80" fmla="*/ 731695 h 1380812"/>
                  <a:gd name="connsiteX81" fmla="*/ 981370 w 1017431"/>
                  <a:gd name="connsiteY81" fmla="*/ 729119 h 1380812"/>
                  <a:gd name="connsiteX82" fmla="*/ 976218 w 1017431"/>
                  <a:gd name="connsiteY82" fmla="*/ 713664 h 1380812"/>
                  <a:gd name="connsiteX83" fmla="*/ 978794 w 1017431"/>
                  <a:gd name="connsiteY83" fmla="*/ 705937 h 1380812"/>
                  <a:gd name="connsiteX84" fmla="*/ 955612 w 1017431"/>
                  <a:gd name="connsiteY84" fmla="*/ 693058 h 1380812"/>
                  <a:gd name="connsiteX85" fmla="*/ 947885 w 1017431"/>
                  <a:gd name="connsiteY85" fmla="*/ 695634 h 1380812"/>
                  <a:gd name="connsiteX86" fmla="*/ 950461 w 1017431"/>
                  <a:gd name="connsiteY86" fmla="*/ 708513 h 1380812"/>
                  <a:gd name="connsiteX87" fmla="*/ 947885 w 1017431"/>
                  <a:gd name="connsiteY87" fmla="*/ 744573 h 1380812"/>
                  <a:gd name="connsiteX88" fmla="*/ 940158 w 1017431"/>
                  <a:gd name="connsiteY88" fmla="*/ 723967 h 1380812"/>
                  <a:gd name="connsiteX89" fmla="*/ 937582 w 1017431"/>
                  <a:gd name="connsiteY89" fmla="*/ 713664 h 1380812"/>
                  <a:gd name="connsiteX90" fmla="*/ 935006 w 1017431"/>
                  <a:gd name="connsiteY90" fmla="*/ 723967 h 1380812"/>
                  <a:gd name="connsiteX91" fmla="*/ 914400 w 1017431"/>
                  <a:gd name="connsiteY91" fmla="*/ 731695 h 1380812"/>
                  <a:gd name="connsiteX92" fmla="*/ 906673 w 1017431"/>
                  <a:gd name="connsiteY92" fmla="*/ 736846 h 1380812"/>
                  <a:gd name="connsiteX93" fmla="*/ 891218 w 1017431"/>
                  <a:gd name="connsiteY93" fmla="*/ 741998 h 1380812"/>
                  <a:gd name="connsiteX94" fmla="*/ 883491 w 1017431"/>
                  <a:gd name="connsiteY94" fmla="*/ 749725 h 1380812"/>
                  <a:gd name="connsiteX95" fmla="*/ 868036 w 1017431"/>
                  <a:gd name="connsiteY95" fmla="*/ 754877 h 1380812"/>
                  <a:gd name="connsiteX96" fmla="*/ 860309 w 1017431"/>
                  <a:gd name="connsiteY96" fmla="*/ 752301 h 1380812"/>
                  <a:gd name="connsiteX97" fmla="*/ 852581 w 1017431"/>
                  <a:gd name="connsiteY97" fmla="*/ 760028 h 1380812"/>
                  <a:gd name="connsiteX98" fmla="*/ 844854 w 1017431"/>
                  <a:gd name="connsiteY98" fmla="*/ 765180 h 1380812"/>
                  <a:gd name="connsiteX99" fmla="*/ 829399 w 1017431"/>
                  <a:gd name="connsiteY99" fmla="*/ 770331 h 1380812"/>
                  <a:gd name="connsiteX100" fmla="*/ 813945 w 1017431"/>
                  <a:gd name="connsiteY100" fmla="*/ 780634 h 1380812"/>
                  <a:gd name="connsiteX101" fmla="*/ 795914 w 1017431"/>
                  <a:gd name="connsiteY101" fmla="*/ 803816 h 1380812"/>
                  <a:gd name="connsiteX102" fmla="*/ 767581 w 1017431"/>
                  <a:gd name="connsiteY102" fmla="*/ 801240 h 1380812"/>
                  <a:gd name="connsiteX103" fmla="*/ 759853 w 1017431"/>
                  <a:gd name="connsiteY103" fmla="*/ 803816 h 1380812"/>
                  <a:gd name="connsiteX104" fmla="*/ 744399 w 1017431"/>
                  <a:gd name="connsiteY104" fmla="*/ 816695 h 1380812"/>
                  <a:gd name="connsiteX105" fmla="*/ 728944 w 1017431"/>
                  <a:gd name="connsiteY105" fmla="*/ 824422 h 1380812"/>
                  <a:gd name="connsiteX106" fmla="*/ 713489 w 1017431"/>
                  <a:gd name="connsiteY106" fmla="*/ 834726 h 1380812"/>
                  <a:gd name="connsiteX107" fmla="*/ 698035 w 1017431"/>
                  <a:gd name="connsiteY107" fmla="*/ 829574 h 1380812"/>
                  <a:gd name="connsiteX108" fmla="*/ 700611 w 1017431"/>
                  <a:gd name="connsiteY108" fmla="*/ 834726 h 1380812"/>
                  <a:gd name="connsiteX109" fmla="*/ 705762 w 1017431"/>
                  <a:gd name="connsiteY109" fmla="*/ 850180 h 1380812"/>
                  <a:gd name="connsiteX110" fmla="*/ 708338 w 1017431"/>
                  <a:gd name="connsiteY110" fmla="*/ 873362 h 1380812"/>
                  <a:gd name="connsiteX111" fmla="*/ 716065 w 1017431"/>
                  <a:gd name="connsiteY111" fmla="*/ 875938 h 1380812"/>
                  <a:gd name="connsiteX112" fmla="*/ 736671 w 1017431"/>
                  <a:gd name="connsiteY112" fmla="*/ 878514 h 1380812"/>
                  <a:gd name="connsiteX113" fmla="*/ 744399 w 1017431"/>
                  <a:gd name="connsiteY113" fmla="*/ 886241 h 1380812"/>
                  <a:gd name="connsiteX114" fmla="*/ 746975 w 1017431"/>
                  <a:gd name="connsiteY114" fmla="*/ 893968 h 1380812"/>
                  <a:gd name="connsiteX115" fmla="*/ 752126 w 1017431"/>
                  <a:gd name="connsiteY115" fmla="*/ 901696 h 1380812"/>
                  <a:gd name="connsiteX116" fmla="*/ 749550 w 1017431"/>
                  <a:gd name="connsiteY116" fmla="*/ 911999 h 1380812"/>
                  <a:gd name="connsiteX117" fmla="*/ 741823 w 1017431"/>
                  <a:gd name="connsiteY117" fmla="*/ 919726 h 1380812"/>
                  <a:gd name="connsiteX118" fmla="*/ 736671 w 1017431"/>
                  <a:gd name="connsiteY118" fmla="*/ 927453 h 1380812"/>
                  <a:gd name="connsiteX119" fmla="*/ 734096 w 1017431"/>
                  <a:gd name="connsiteY119" fmla="*/ 935181 h 1380812"/>
                  <a:gd name="connsiteX120" fmla="*/ 752126 w 1017431"/>
                  <a:gd name="connsiteY120" fmla="*/ 971242 h 1380812"/>
                  <a:gd name="connsiteX121" fmla="*/ 767581 w 1017431"/>
                  <a:gd name="connsiteY121" fmla="*/ 981545 h 1380812"/>
                  <a:gd name="connsiteX122" fmla="*/ 777884 w 1017431"/>
                  <a:gd name="connsiteY122" fmla="*/ 1004727 h 1380812"/>
                  <a:gd name="connsiteX123" fmla="*/ 801066 w 1017431"/>
                  <a:gd name="connsiteY123" fmla="*/ 1004727 h 1380812"/>
                  <a:gd name="connsiteX124" fmla="*/ 806217 w 1017431"/>
                  <a:gd name="connsiteY124" fmla="*/ 1012454 h 1380812"/>
                  <a:gd name="connsiteX125" fmla="*/ 813945 w 1017431"/>
                  <a:gd name="connsiteY125" fmla="*/ 1020181 h 1380812"/>
                  <a:gd name="connsiteX126" fmla="*/ 824248 w 1017431"/>
                  <a:gd name="connsiteY126" fmla="*/ 1035636 h 1380812"/>
                  <a:gd name="connsiteX127" fmla="*/ 831975 w 1017431"/>
                  <a:gd name="connsiteY127" fmla="*/ 1043363 h 1380812"/>
                  <a:gd name="connsiteX128" fmla="*/ 837127 w 1017431"/>
                  <a:gd name="connsiteY128" fmla="*/ 1051091 h 1380812"/>
                  <a:gd name="connsiteX129" fmla="*/ 844854 w 1017431"/>
                  <a:gd name="connsiteY129" fmla="*/ 1056242 h 1380812"/>
                  <a:gd name="connsiteX130" fmla="*/ 860309 w 1017431"/>
                  <a:gd name="connsiteY130" fmla="*/ 1066545 h 1380812"/>
                  <a:gd name="connsiteX131" fmla="*/ 868036 w 1017431"/>
                  <a:gd name="connsiteY131" fmla="*/ 1071697 h 1380812"/>
                  <a:gd name="connsiteX132" fmla="*/ 883491 w 1017431"/>
                  <a:gd name="connsiteY132" fmla="*/ 1076848 h 1380812"/>
                  <a:gd name="connsiteX133" fmla="*/ 891218 w 1017431"/>
                  <a:gd name="connsiteY133" fmla="*/ 1084576 h 1380812"/>
                  <a:gd name="connsiteX134" fmla="*/ 896369 w 1017431"/>
                  <a:gd name="connsiteY134" fmla="*/ 1092303 h 1380812"/>
                  <a:gd name="connsiteX135" fmla="*/ 904097 w 1017431"/>
                  <a:gd name="connsiteY135" fmla="*/ 1097455 h 1380812"/>
                  <a:gd name="connsiteX136" fmla="*/ 909248 w 1017431"/>
                  <a:gd name="connsiteY136" fmla="*/ 1105182 h 1380812"/>
                  <a:gd name="connsiteX137" fmla="*/ 904097 w 1017431"/>
                  <a:gd name="connsiteY137" fmla="*/ 1123212 h 1380812"/>
                  <a:gd name="connsiteX138" fmla="*/ 901521 w 1017431"/>
                  <a:gd name="connsiteY138" fmla="*/ 1141243 h 1380812"/>
                  <a:gd name="connsiteX139" fmla="*/ 883491 w 1017431"/>
                  <a:gd name="connsiteY139" fmla="*/ 1141243 h 1380812"/>
                  <a:gd name="connsiteX140" fmla="*/ 862884 w 1017431"/>
                  <a:gd name="connsiteY140" fmla="*/ 1138667 h 1380812"/>
                  <a:gd name="connsiteX141" fmla="*/ 857733 w 1017431"/>
                  <a:gd name="connsiteY141" fmla="*/ 1148970 h 1380812"/>
                  <a:gd name="connsiteX142" fmla="*/ 860309 w 1017431"/>
                  <a:gd name="connsiteY142" fmla="*/ 1156697 h 1380812"/>
                  <a:gd name="connsiteX143" fmla="*/ 852581 w 1017431"/>
                  <a:gd name="connsiteY143" fmla="*/ 1177304 h 1380812"/>
                  <a:gd name="connsiteX144" fmla="*/ 844854 w 1017431"/>
                  <a:gd name="connsiteY144" fmla="*/ 1182455 h 1380812"/>
                  <a:gd name="connsiteX145" fmla="*/ 837127 w 1017431"/>
                  <a:gd name="connsiteY145" fmla="*/ 1185031 h 1380812"/>
                  <a:gd name="connsiteX146" fmla="*/ 829399 w 1017431"/>
                  <a:gd name="connsiteY146" fmla="*/ 1190182 h 1380812"/>
                  <a:gd name="connsiteX147" fmla="*/ 813945 w 1017431"/>
                  <a:gd name="connsiteY147" fmla="*/ 1195334 h 1380812"/>
                  <a:gd name="connsiteX148" fmla="*/ 806217 w 1017431"/>
                  <a:gd name="connsiteY148" fmla="*/ 1197910 h 1380812"/>
                  <a:gd name="connsiteX149" fmla="*/ 798490 w 1017431"/>
                  <a:gd name="connsiteY149" fmla="*/ 1203061 h 1380812"/>
                  <a:gd name="connsiteX150" fmla="*/ 788187 w 1017431"/>
                  <a:gd name="connsiteY150" fmla="*/ 1221092 h 1380812"/>
                  <a:gd name="connsiteX151" fmla="*/ 790763 w 1017431"/>
                  <a:gd name="connsiteY151" fmla="*/ 1233971 h 1380812"/>
                  <a:gd name="connsiteX152" fmla="*/ 795914 w 1017431"/>
                  <a:gd name="connsiteY152" fmla="*/ 1241698 h 1380812"/>
                  <a:gd name="connsiteX153" fmla="*/ 801066 w 1017431"/>
                  <a:gd name="connsiteY153" fmla="*/ 1257153 h 1380812"/>
                  <a:gd name="connsiteX154" fmla="*/ 811369 w 1017431"/>
                  <a:gd name="connsiteY154" fmla="*/ 1272607 h 1380812"/>
                  <a:gd name="connsiteX155" fmla="*/ 808793 w 1017431"/>
                  <a:gd name="connsiteY155" fmla="*/ 1285486 h 1380812"/>
                  <a:gd name="connsiteX156" fmla="*/ 806217 w 1017431"/>
                  <a:gd name="connsiteY156" fmla="*/ 1293213 h 1380812"/>
                  <a:gd name="connsiteX157" fmla="*/ 813945 w 1017431"/>
                  <a:gd name="connsiteY157" fmla="*/ 1298365 h 1380812"/>
                  <a:gd name="connsiteX158" fmla="*/ 831975 w 1017431"/>
                  <a:gd name="connsiteY158" fmla="*/ 1303517 h 1380812"/>
                  <a:gd name="connsiteX159" fmla="*/ 824248 w 1017431"/>
                  <a:gd name="connsiteY159" fmla="*/ 1326698 h 1380812"/>
                  <a:gd name="connsiteX160" fmla="*/ 821672 w 1017431"/>
                  <a:gd name="connsiteY160" fmla="*/ 1334426 h 1380812"/>
                  <a:gd name="connsiteX161" fmla="*/ 813945 w 1017431"/>
                  <a:gd name="connsiteY161" fmla="*/ 1337002 h 1380812"/>
                  <a:gd name="connsiteX162" fmla="*/ 798490 w 1017431"/>
                  <a:gd name="connsiteY162" fmla="*/ 1329274 h 1380812"/>
                  <a:gd name="connsiteX163" fmla="*/ 793338 w 1017431"/>
                  <a:gd name="connsiteY163" fmla="*/ 1321547 h 1380812"/>
                  <a:gd name="connsiteX164" fmla="*/ 785611 w 1017431"/>
                  <a:gd name="connsiteY164" fmla="*/ 1306092 h 1380812"/>
                  <a:gd name="connsiteX165" fmla="*/ 777884 w 1017431"/>
                  <a:gd name="connsiteY165" fmla="*/ 1303517 h 1380812"/>
                  <a:gd name="connsiteX166" fmla="*/ 762429 w 1017431"/>
                  <a:gd name="connsiteY166" fmla="*/ 1311244 h 1380812"/>
                  <a:gd name="connsiteX167" fmla="*/ 752126 w 1017431"/>
                  <a:gd name="connsiteY167" fmla="*/ 1308668 h 1380812"/>
                  <a:gd name="connsiteX168" fmla="*/ 744399 w 1017431"/>
                  <a:gd name="connsiteY168" fmla="*/ 1303517 h 1380812"/>
                  <a:gd name="connsiteX169" fmla="*/ 726368 w 1017431"/>
                  <a:gd name="connsiteY169" fmla="*/ 1308668 h 1380812"/>
                  <a:gd name="connsiteX170" fmla="*/ 718641 w 1017431"/>
                  <a:gd name="connsiteY170" fmla="*/ 1313820 h 1380812"/>
                  <a:gd name="connsiteX171" fmla="*/ 713489 w 1017431"/>
                  <a:gd name="connsiteY171" fmla="*/ 1306092 h 1380812"/>
                  <a:gd name="connsiteX172" fmla="*/ 705762 w 1017431"/>
                  <a:gd name="connsiteY172" fmla="*/ 1300941 h 1380812"/>
                  <a:gd name="connsiteX173" fmla="*/ 677429 w 1017431"/>
                  <a:gd name="connsiteY173" fmla="*/ 1308668 h 1380812"/>
                  <a:gd name="connsiteX174" fmla="*/ 661974 w 1017431"/>
                  <a:gd name="connsiteY174" fmla="*/ 1316395 h 1380812"/>
                  <a:gd name="connsiteX175" fmla="*/ 641368 w 1017431"/>
                  <a:gd name="connsiteY175" fmla="*/ 1318971 h 1380812"/>
                  <a:gd name="connsiteX176" fmla="*/ 625913 w 1017431"/>
                  <a:gd name="connsiteY176" fmla="*/ 1329274 h 1380812"/>
                  <a:gd name="connsiteX177" fmla="*/ 602731 w 1017431"/>
                  <a:gd name="connsiteY177" fmla="*/ 1342153 h 1380812"/>
                  <a:gd name="connsiteX178" fmla="*/ 595004 w 1017431"/>
                  <a:gd name="connsiteY178" fmla="*/ 1347305 h 1380812"/>
                  <a:gd name="connsiteX179" fmla="*/ 579549 w 1017431"/>
                  <a:gd name="connsiteY179" fmla="*/ 1352456 h 1380812"/>
                  <a:gd name="connsiteX180" fmla="*/ 569246 w 1017431"/>
                  <a:gd name="connsiteY180" fmla="*/ 1349880 h 1380812"/>
                  <a:gd name="connsiteX181" fmla="*/ 561519 w 1017431"/>
                  <a:gd name="connsiteY181" fmla="*/ 1334426 h 1380812"/>
                  <a:gd name="connsiteX182" fmla="*/ 553791 w 1017431"/>
                  <a:gd name="connsiteY182" fmla="*/ 1337002 h 1380812"/>
                  <a:gd name="connsiteX183" fmla="*/ 538337 w 1017431"/>
                  <a:gd name="connsiteY183" fmla="*/ 1331850 h 1380812"/>
                  <a:gd name="connsiteX184" fmla="*/ 512579 w 1017431"/>
                  <a:gd name="connsiteY184" fmla="*/ 1334426 h 1380812"/>
                  <a:gd name="connsiteX185" fmla="*/ 515155 w 1017431"/>
                  <a:gd name="connsiteY185" fmla="*/ 1347305 h 1380812"/>
                  <a:gd name="connsiteX186" fmla="*/ 512579 w 1017431"/>
                  <a:gd name="connsiteY186" fmla="*/ 1357608 h 1380812"/>
                  <a:gd name="connsiteX187" fmla="*/ 504852 w 1017431"/>
                  <a:gd name="connsiteY187" fmla="*/ 1360184 h 1380812"/>
                  <a:gd name="connsiteX188" fmla="*/ 497124 w 1017431"/>
                  <a:gd name="connsiteY188" fmla="*/ 1365335 h 1380812"/>
                  <a:gd name="connsiteX189" fmla="*/ 481670 w 1017431"/>
                  <a:gd name="connsiteY189" fmla="*/ 1378214 h 1380812"/>
                  <a:gd name="connsiteX190" fmla="*/ 473942 w 1017431"/>
                  <a:gd name="connsiteY190" fmla="*/ 1362759 h 1380812"/>
                  <a:gd name="connsiteX191" fmla="*/ 468791 w 1017431"/>
                  <a:gd name="connsiteY191" fmla="*/ 1347305 h 1380812"/>
                  <a:gd name="connsiteX192" fmla="*/ 458488 w 1017431"/>
                  <a:gd name="connsiteY192" fmla="*/ 1342153 h 1380812"/>
                  <a:gd name="connsiteX193" fmla="*/ 435306 w 1017431"/>
                  <a:gd name="connsiteY193" fmla="*/ 1329274 h 1380812"/>
                  <a:gd name="connsiteX194" fmla="*/ 412124 w 1017431"/>
                  <a:gd name="connsiteY194" fmla="*/ 1331850 h 1380812"/>
                  <a:gd name="connsiteX195" fmla="*/ 394093 w 1017431"/>
                  <a:gd name="connsiteY195" fmla="*/ 1337002 h 1380812"/>
                  <a:gd name="connsiteX196" fmla="*/ 391518 w 1017431"/>
                  <a:gd name="connsiteY196" fmla="*/ 1324123 h 1380812"/>
                  <a:gd name="connsiteX197" fmla="*/ 383790 w 1017431"/>
                  <a:gd name="connsiteY197" fmla="*/ 1318971 h 1380812"/>
                  <a:gd name="connsiteX198" fmla="*/ 355457 w 1017431"/>
                  <a:gd name="connsiteY198" fmla="*/ 1313820 h 1380812"/>
                  <a:gd name="connsiteX199" fmla="*/ 340002 w 1017431"/>
                  <a:gd name="connsiteY199" fmla="*/ 1308668 h 1380812"/>
                  <a:gd name="connsiteX200" fmla="*/ 332275 w 1017431"/>
                  <a:gd name="connsiteY200" fmla="*/ 1306092 h 1380812"/>
                  <a:gd name="connsiteX201" fmla="*/ 311669 w 1017431"/>
                  <a:gd name="connsiteY201" fmla="*/ 1303517 h 1380812"/>
                  <a:gd name="connsiteX202" fmla="*/ 303941 w 1017431"/>
                  <a:gd name="connsiteY202" fmla="*/ 1300941 h 1380812"/>
                  <a:gd name="connsiteX203" fmla="*/ 298790 w 1017431"/>
                  <a:gd name="connsiteY203" fmla="*/ 1293213 h 1380812"/>
                  <a:gd name="connsiteX204" fmla="*/ 291062 w 1017431"/>
                  <a:gd name="connsiteY204" fmla="*/ 1288062 h 1380812"/>
                  <a:gd name="connsiteX205" fmla="*/ 278184 w 1017431"/>
                  <a:gd name="connsiteY205" fmla="*/ 1290638 h 1380812"/>
                  <a:gd name="connsiteX206" fmla="*/ 270456 w 1017431"/>
                  <a:gd name="connsiteY206" fmla="*/ 1293213 h 1380812"/>
                  <a:gd name="connsiteX207" fmla="*/ 275608 w 1017431"/>
                  <a:gd name="connsiteY207" fmla="*/ 1300941 h 1380812"/>
                  <a:gd name="connsiteX208" fmla="*/ 283335 w 1017431"/>
                  <a:gd name="connsiteY208" fmla="*/ 1303517 h 1380812"/>
                  <a:gd name="connsiteX209" fmla="*/ 291062 w 1017431"/>
                  <a:gd name="connsiteY209" fmla="*/ 1308668 h 1380812"/>
                  <a:gd name="connsiteX210" fmla="*/ 252426 w 1017431"/>
                  <a:gd name="connsiteY210" fmla="*/ 1313820 h 1380812"/>
                  <a:gd name="connsiteX211" fmla="*/ 229244 w 1017431"/>
                  <a:gd name="connsiteY211" fmla="*/ 1316395 h 1380812"/>
                  <a:gd name="connsiteX212" fmla="*/ 221517 w 1017431"/>
                  <a:gd name="connsiteY212" fmla="*/ 1318971 h 1380812"/>
                  <a:gd name="connsiteX213" fmla="*/ 164850 w 1017431"/>
                  <a:gd name="connsiteY213" fmla="*/ 1324123 h 1380812"/>
                  <a:gd name="connsiteX214" fmla="*/ 159698 w 1017431"/>
                  <a:gd name="connsiteY214" fmla="*/ 1306092 h 1380812"/>
                  <a:gd name="connsiteX215" fmla="*/ 157122 w 1017431"/>
                  <a:gd name="connsiteY215" fmla="*/ 1298365 h 1380812"/>
                  <a:gd name="connsiteX216" fmla="*/ 151971 w 1017431"/>
                  <a:gd name="connsiteY216" fmla="*/ 1277759 h 1380812"/>
                  <a:gd name="connsiteX217" fmla="*/ 154546 w 1017431"/>
                  <a:gd name="connsiteY217" fmla="*/ 1259728 h 1380812"/>
                  <a:gd name="connsiteX218" fmla="*/ 162274 w 1017431"/>
                  <a:gd name="connsiteY218" fmla="*/ 1252001 h 1380812"/>
                  <a:gd name="connsiteX219" fmla="*/ 164849 w 1017431"/>
                  <a:gd name="connsiteY219" fmla="*/ 1244274 h 1380812"/>
                  <a:gd name="connsiteX220" fmla="*/ 167425 w 1017431"/>
                  <a:gd name="connsiteY220" fmla="*/ 1208213 h 1380812"/>
                  <a:gd name="connsiteX221" fmla="*/ 170001 w 1017431"/>
                  <a:gd name="connsiteY221" fmla="*/ 1200486 h 1380812"/>
                  <a:gd name="connsiteX222" fmla="*/ 177728 w 1017431"/>
                  <a:gd name="connsiteY222" fmla="*/ 1195334 h 1380812"/>
                  <a:gd name="connsiteX223" fmla="*/ 180304 w 1017431"/>
                  <a:gd name="connsiteY223" fmla="*/ 1185031 h 1380812"/>
                  <a:gd name="connsiteX224" fmla="*/ 193183 w 1017431"/>
                  <a:gd name="connsiteY224" fmla="*/ 1136091 h 1380812"/>
                  <a:gd name="connsiteX225" fmla="*/ 200910 w 1017431"/>
                  <a:gd name="connsiteY225" fmla="*/ 1128364 h 1380812"/>
                  <a:gd name="connsiteX226" fmla="*/ 216365 w 1017431"/>
                  <a:gd name="connsiteY226" fmla="*/ 1118061 h 1380812"/>
                  <a:gd name="connsiteX227" fmla="*/ 226668 w 1017431"/>
                  <a:gd name="connsiteY227" fmla="*/ 1102606 h 1380812"/>
                  <a:gd name="connsiteX228" fmla="*/ 231820 w 1017431"/>
                  <a:gd name="connsiteY228" fmla="*/ 1094879 h 1380812"/>
                  <a:gd name="connsiteX229" fmla="*/ 236971 w 1017431"/>
                  <a:gd name="connsiteY229" fmla="*/ 1074273 h 1380812"/>
                  <a:gd name="connsiteX230" fmla="*/ 239547 w 1017431"/>
                  <a:gd name="connsiteY230" fmla="*/ 1066545 h 1380812"/>
                  <a:gd name="connsiteX231" fmla="*/ 231820 w 1017431"/>
                  <a:gd name="connsiteY231" fmla="*/ 1063969 h 1380812"/>
                  <a:gd name="connsiteX232" fmla="*/ 224092 w 1017431"/>
                  <a:gd name="connsiteY232" fmla="*/ 1069121 h 1380812"/>
                  <a:gd name="connsiteX233" fmla="*/ 216365 w 1017431"/>
                  <a:gd name="connsiteY233" fmla="*/ 1071697 h 1380812"/>
                  <a:gd name="connsiteX234" fmla="*/ 190607 w 1017431"/>
                  <a:gd name="connsiteY234" fmla="*/ 1063969 h 1380812"/>
                  <a:gd name="connsiteX235" fmla="*/ 182880 w 1017431"/>
                  <a:gd name="connsiteY235" fmla="*/ 1061394 h 1380812"/>
                  <a:gd name="connsiteX236" fmla="*/ 172577 w 1017431"/>
                  <a:gd name="connsiteY236" fmla="*/ 1056242 h 1380812"/>
                  <a:gd name="connsiteX237" fmla="*/ 167425 w 1017431"/>
                  <a:gd name="connsiteY237" fmla="*/ 1048515 h 1380812"/>
                  <a:gd name="connsiteX238" fmla="*/ 151971 w 1017431"/>
                  <a:gd name="connsiteY238" fmla="*/ 1033060 h 1380812"/>
                  <a:gd name="connsiteX239" fmla="*/ 136516 w 1017431"/>
                  <a:gd name="connsiteY239" fmla="*/ 1045939 h 1380812"/>
                  <a:gd name="connsiteX240" fmla="*/ 126213 w 1017431"/>
                  <a:gd name="connsiteY240" fmla="*/ 1048515 h 1380812"/>
                  <a:gd name="connsiteX241" fmla="*/ 113334 w 1017431"/>
                  <a:gd name="connsiteY241" fmla="*/ 1038212 h 1380812"/>
                  <a:gd name="connsiteX242" fmla="*/ 110758 w 1017431"/>
                  <a:gd name="connsiteY242" fmla="*/ 1030484 h 1380812"/>
                  <a:gd name="connsiteX243" fmla="*/ 103031 w 1017431"/>
                  <a:gd name="connsiteY243" fmla="*/ 1027909 h 1380812"/>
                  <a:gd name="connsiteX244" fmla="*/ 90152 w 1017431"/>
                  <a:gd name="connsiteY244" fmla="*/ 1030484 h 1380812"/>
                  <a:gd name="connsiteX245" fmla="*/ 74697 w 1017431"/>
                  <a:gd name="connsiteY245" fmla="*/ 1025333 h 1380812"/>
                  <a:gd name="connsiteX246" fmla="*/ 66970 w 1017431"/>
                  <a:gd name="connsiteY246" fmla="*/ 1027909 h 1380812"/>
                  <a:gd name="connsiteX247" fmla="*/ 64394 w 1017431"/>
                  <a:gd name="connsiteY247" fmla="*/ 1009878 h 1380812"/>
                  <a:gd name="connsiteX248" fmla="*/ 56667 w 1017431"/>
                  <a:gd name="connsiteY248" fmla="*/ 1002151 h 1380812"/>
                  <a:gd name="connsiteX249" fmla="*/ 51515 w 1017431"/>
                  <a:gd name="connsiteY249" fmla="*/ 994424 h 1380812"/>
                  <a:gd name="connsiteX250" fmla="*/ 36061 w 1017431"/>
                  <a:gd name="connsiteY250" fmla="*/ 981545 h 1380812"/>
                  <a:gd name="connsiteX251" fmla="*/ 25758 w 1017431"/>
                  <a:gd name="connsiteY251" fmla="*/ 976393 h 1380812"/>
                  <a:gd name="connsiteX252" fmla="*/ 25758 w 1017431"/>
                  <a:gd name="connsiteY252" fmla="*/ 948060 h 1380812"/>
                  <a:gd name="connsiteX253" fmla="*/ 30909 w 1017431"/>
                  <a:gd name="connsiteY253" fmla="*/ 940332 h 1380812"/>
                  <a:gd name="connsiteX254" fmla="*/ 25758 w 1017431"/>
                  <a:gd name="connsiteY254" fmla="*/ 919726 h 1380812"/>
                  <a:gd name="connsiteX255" fmla="*/ 23182 w 1017431"/>
                  <a:gd name="connsiteY255" fmla="*/ 911999 h 1380812"/>
                  <a:gd name="connsiteX256" fmla="*/ 12879 w 1017431"/>
                  <a:gd name="connsiteY256" fmla="*/ 906847 h 1380812"/>
                  <a:gd name="connsiteX257" fmla="*/ 7727 w 1017431"/>
                  <a:gd name="connsiteY257" fmla="*/ 873362 h 1380812"/>
                  <a:gd name="connsiteX258" fmla="*/ 2576 w 1017431"/>
                  <a:gd name="connsiteY258" fmla="*/ 857908 h 1380812"/>
                  <a:gd name="connsiteX259" fmla="*/ 12879 w 1017431"/>
                  <a:gd name="connsiteY259" fmla="*/ 839877 h 1380812"/>
                  <a:gd name="connsiteX260" fmla="*/ 15455 w 1017431"/>
                  <a:gd name="connsiteY260" fmla="*/ 832150 h 1380812"/>
                  <a:gd name="connsiteX261" fmla="*/ 30909 w 1017431"/>
                  <a:gd name="connsiteY261" fmla="*/ 824422 h 1380812"/>
                  <a:gd name="connsiteX262" fmla="*/ 38637 w 1017431"/>
                  <a:gd name="connsiteY262" fmla="*/ 819271 h 1380812"/>
                  <a:gd name="connsiteX263" fmla="*/ 30909 w 1017431"/>
                  <a:gd name="connsiteY263" fmla="*/ 793513 h 1380812"/>
                  <a:gd name="connsiteX264" fmla="*/ 25758 w 1017431"/>
                  <a:gd name="connsiteY264" fmla="*/ 785786 h 1380812"/>
                  <a:gd name="connsiteX265" fmla="*/ 20606 w 1017431"/>
                  <a:gd name="connsiteY265" fmla="*/ 770331 h 1380812"/>
                  <a:gd name="connsiteX266" fmla="*/ 18030 w 1017431"/>
                  <a:gd name="connsiteY266" fmla="*/ 762604 h 1380812"/>
                  <a:gd name="connsiteX267" fmla="*/ 15455 w 1017431"/>
                  <a:gd name="connsiteY267" fmla="*/ 754877 h 1380812"/>
                  <a:gd name="connsiteX268" fmla="*/ 10303 w 1017431"/>
                  <a:gd name="connsiteY268" fmla="*/ 747149 h 1380812"/>
                  <a:gd name="connsiteX269" fmla="*/ 7727 w 1017431"/>
                  <a:gd name="connsiteY269" fmla="*/ 736846 h 1380812"/>
                  <a:gd name="connsiteX270" fmla="*/ 2576 w 1017431"/>
                  <a:gd name="connsiteY270" fmla="*/ 721391 h 1380812"/>
                  <a:gd name="connsiteX271" fmla="*/ 7727 w 1017431"/>
                  <a:gd name="connsiteY271" fmla="*/ 685331 h 1380812"/>
                  <a:gd name="connsiteX272" fmla="*/ 12879 w 1017431"/>
                  <a:gd name="connsiteY272" fmla="*/ 669876 h 1380812"/>
                  <a:gd name="connsiteX273" fmla="*/ 18030 w 1017431"/>
                  <a:gd name="connsiteY273" fmla="*/ 644118 h 1380812"/>
                  <a:gd name="connsiteX274" fmla="*/ 28333 w 1017431"/>
                  <a:gd name="connsiteY274" fmla="*/ 628664 h 1380812"/>
                  <a:gd name="connsiteX275" fmla="*/ 25758 w 1017431"/>
                  <a:gd name="connsiteY275" fmla="*/ 608057 h 1380812"/>
                  <a:gd name="connsiteX276" fmla="*/ 20606 w 1017431"/>
                  <a:gd name="connsiteY276" fmla="*/ 600330 h 1380812"/>
                  <a:gd name="connsiteX277" fmla="*/ 18030 w 1017431"/>
                  <a:gd name="connsiteY277" fmla="*/ 592603 h 1380812"/>
                  <a:gd name="connsiteX278" fmla="*/ 12879 w 1017431"/>
                  <a:gd name="connsiteY278" fmla="*/ 584875 h 1380812"/>
                  <a:gd name="connsiteX279" fmla="*/ 7727 w 1017431"/>
                  <a:gd name="connsiteY279" fmla="*/ 569421 h 1380812"/>
                  <a:gd name="connsiteX280" fmla="*/ 5151 w 1017431"/>
                  <a:gd name="connsiteY280" fmla="*/ 561693 h 1380812"/>
                  <a:gd name="connsiteX281" fmla="*/ 0 w 1017431"/>
                  <a:gd name="connsiteY281" fmla="*/ 553966 h 1380812"/>
                  <a:gd name="connsiteX282" fmla="*/ 2576 w 1017431"/>
                  <a:gd name="connsiteY282" fmla="*/ 546239 h 1380812"/>
                  <a:gd name="connsiteX283" fmla="*/ 10303 w 1017431"/>
                  <a:gd name="connsiteY283" fmla="*/ 541087 h 1380812"/>
                  <a:gd name="connsiteX284" fmla="*/ 30909 w 1017431"/>
                  <a:gd name="connsiteY284" fmla="*/ 535936 h 1380812"/>
                  <a:gd name="connsiteX285" fmla="*/ 54091 w 1017431"/>
                  <a:gd name="connsiteY285" fmla="*/ 538511 h 1380812"/>
                  <a:gd name="connsiteX286" fmla="*/ 72122 w 1017431"/>
                  <a:gd name="connsiteY286" fmla="*/ 535936 h 1380812"/>
                  <a:gd name="connsiteX287" fmla="*/ 100455 w 1017431"/>
                  <a:gd name="connsiteY287" fmla="*/ 533360 h 1380812"/>
                  <a:gd name="connsiteX288" fmla="*/ 97879 w 1017431"/>
                  <a:gd name="connsiteY288" fmla="*/ 510178 h 1380812"/>
                  <a:gd name="connsiteX289" fmla="*/ 95304 w 1017431"/>
                  <a:gd name="connsiteY289" fmla="*/ 502451 h 1380812"/>
                  <a:gd name="connsiteX290" fmla="*/ 103031 w 1017431"/>
                  <a:gd name="connsiteY290" fmla="*/ 486996 h 1380812"/>
                  <a:gd name="connsiteX291" fmla="*/ 108182 w 1017431"/>
                  <a:gd name="connsiteY291" fmla="*/ 471541 h 1380812"/>
                  <a:gd name="connsiteX292" fmla="*/ 115910 w 1017431"/>
                  <a:gd name="connsiteY292" fmla="*/ 456087 h 1380812"/>
                  <a:gd name="connsiteX293" fmla="*/ 113334 w 1017431"/>
                  <a:gd name="connsiteY293" fmla="*/ 443208 h 1380812"/>
                  <a:gd name="connsiteX294" fmla="*/ 105607 w 1017431"/>
                  <a:gd name="connsiteY294" fmla="*/ 440632 h 1380812"/>
                  <a:gd name="connsiteX295" fmla="*/ 95304 w 1017431"/>
                  <a:gd name="connsiteY295" fmla="*/ 438056 h 1380812"/>
                  <a:gd name="connsiteX296" fmla="*/ 92728 w 1017431"/>
                  <a:gd name="connsiteY296" fmla="*/ 430329 h 1380812"/>
                  <a:gd name="connsiteX297" fmla="*/ 103031 w 1017431"/>
                  <a:gd name="connsiteY297" fmla="*/ 412298 h 1380812"/>
                  <a:gd name="connsiteX298" fmla="*/ 105607 w 1017431"/>
                  <a:gd name="connsiteY298" fmla="*/ 404571 h 1380812"/>
                  <a:gd name="connsiteX299" fmla="*/ 121061 w 1017431"/>
                  <a:gd name="connsiteY299" fmla="*/ 399420 h 1380812"/>
                  <a:gd name="connsiteX300" fmla="*/ 128789 w 1017431"/>
                  <a:gd name="connsiteY300" fmla="*/ 394268 h 1380812"/>
                  <a:gd name="connsiteX301" fmla="*/ 136516 w 1017431"/>
                  <a:gd name="connsiteY301" fmla="*/ 391692 h 1380812"/>
                  <a:gd name="connsiteX302" fmla="*/ 141668 w 1017431"/>
                  <a:gd name="connsiteY302" fmla="*/ 376238 h 1380812"/>
                  <a:gd name="connsiteX303" fmla="*/ 141668 w 1017431"/>
                  <a:gd name="connsiteY303" fmla="*/ 353056 h 1380812"/>
                  <a:gd name="connsiteX304" fmla="*/ 144243 w 1017431"/>
                  <a:gd name="connsiteY304" fmla="*/ 345328 h 1380812"/>
                  <a:gd name="connsiteX305" fmla="*/ 151971 w 1017431"/>
                  <a:gd name="connsiteY305" fmla="*/ 329874 h 1380812"/>
                  <a:gd name="connsiteX306" fmla="*/ 149395 w 1017431"/>
                  <a:gd name="connsiteY306" fmla="*/ 311843 h 1380812"/>
                  <a:gd name="connsiteX307" fmla="*/ 146819 w 1017431"/>
                  <a:gd name="connsiteY307" fmla="*/ 296389 h 1380812"/>
                  <a:gd name="connsiteX308" fmla="*/ 154546 w 1017431"/>
                  <a:gd name="connsiteY308" fmla="*/ 293813 h 1380812"/>
                  <a:gd name="connsiteX309" fmla="*/ 162274 w 1017431"/>
                  <a:gd name="connsiteY309" fmla="*/ 288661 h 1380812"/>
                  <a:gd name="connsiteX310" fmla="*/ 164849 w 1017431"/>
                  <a:gd name="connsiteY310" fmla="*/ 280934 h 1380812"/>
                  <a:gd name="connsiteX311" fmla="*/ 157122 w 1017431"/>
                  <a:gd name="connsiteY311" fmla="*/ 278358 h 1380812"/>
                  <a:gd name="connsiteX312" fmla="*/ 136516 w 1017431"/>
                  <a:gd name="connsiteY312" fmla="*/ 270631 h 1380812"/>
                  <a:gd name="connsiteX313" fmla="*/ 139092 w 1017431"/>
                  <a:gd name="connsiteY313" fmla="*/ 260328 h 1380812"/>
                  <a:gd name="connsiteX314" fmla="*/ 141668 w 1017431"/>
                  <a:gd name="connsiteY314" fmla="*/ 252600 h 1380812"/>
                  <a:gd name="connsiteX315" fmla="*/ 146819 w 1017431"/>
                  <a:gd name="connsiteY315" fmla="*/ 231994 h 1380812"/>
                  <a:gd name="connsiteX316" fmla="*/ 149395 w 1017431"/>
                  <a:gd name="connsiteY316" fmla="*/ 224267 h 1380812"/>
                  <a:gd name="connsiteX317" fmla="*/ 164849 w 1017431"/>
                  <a:gd name="connsiteY317" fmla="*/ 219115 h 1380812"/>
                  <a:gd name="connsiteX318" fmla="*/ 188031 w 1017431"/>
                  <a:gd name="connsiteY318" fmla="*/ 221691 h 1380812"/>
                  <a:gd name="connsiteX319" fmla="*/ 195759 w 1017431"/>
                  <a:gd name="connsiteY319" fmla="*/ 226843 h 1380812"/>
                  <a:gd name="connsiteX320" fmla="*/ 216365 w 1017431"/>
                  <a:gd name="connsiteY320" fmla="*/ 224267 h 1380812"/>
                  <a:gd name="connsiteX321" fmla="*/ 236971 w 1017431"/>
                  <a:gd name="connsiteY321" fmla="*/ 224267 h 1380812"/>
                  <a:gd name="connsiteX322" fmla="*/ 242123 w 1017431"/>
                  <a:gd name="connsiteY322" fmla="*/ 231994 h 1380812"/>
                  <a:gd name="connsiteX323" fmla="*/ 244698 w 1017431"/>
                  <a:gd name="connsiteY323" fmla="*/ 260328 h 1380812"/>
                  <a:gd name="connsiteX324" fmla="*/ 239547 w 1017431"/>
                  <a:gd name="connsiteY324" fmla="*/ 268055 h 1380812"/>
                  <a:gd name="connsiteX325" fmla="*/ 252426 w 1017431"/>
                  <a:gd name="connsiteY325" fmla="*/ 280934 h 1380812"/>
                  <a:gd name="connsiteX326" fmla="*/ 260153 w 1017431"/>
                  <a:gd name="connsiteY326" fmla="*/ 278358 h 1380812"/>
                  <a:gd name="connsiteX327" fmla="*/ 257577 w 1017431"/>
                  <a:gd name="connsiteY327" fmla="*/ 270631 h 1380812"/>
                  <a:gd name="connsiteX328" fmla="*/ 252426 w 1017431"/>
                  <a:gd name="connsiteY328" fmla="*/ 262904 h 1380812"/>
                  <a:gd name="connsiteX329" fmla="*/ 260153 w 1017431"/>
                  <a:gd name="connsiteY329" fmla="*/ 257752 h 1380812"/>
                  <a:gd name="connsiteX330" fmla="*/ 288487 w 1017431"/>
                  <a:gd name="connsiteY330" fmla="*/ 260328 h 1380812"/>
                  <a:gd name="connsiteX331" fmla="*/ 291062 w 1017431"/>
                  <a:gd name="connsiteY331" fmla="*/ 270631 h 1380812"/>
                  <a:gd name="connsiteX332" fmla="*/ 306517 w 1017431"/>
                  <a:gd name="connsiteY332" fmla="*/ 286086 h 1380812"/>
                  <a:gd name="connsiteX333" fmla="*/ 298790 w 1017431"/>
                  <a:gd name="connsiteY333" fmla="*/ 257752 h 1380812"/>
                  <a:gd name="connsiteX334" fmla="*/ 296214 w 1017431"/>
                  <a:gd name="connsiteY334" fmla="*/ 250025 h 1380812"/>
                  <a:gd name="connsiteX335" fmla="*/ 298790 w 1017431"/>
                  <a:gd name="connsiteY335" fmla="*/ 231994 h 1380812"/>
                  <a:gd name="connsiteX336" fmla="*/ 301366 w 1017431"/>
                  <a:gd name="connsiteY336" fmla="*/ 203661 h 1380812"/>
                  <a:gd name="connsiteX337" fmla="*/ 309093 w 1017431"/>
                  <a:gd name="connsiteY337" fmla="*/ 201085 h 1380812"/>
                  <a:gd name="connsiteX338" fmla="*/ 321972 w 1017431"/>
                  <a:gd name="connsiteY338" fmla="*/ 211388 h 1380812"/>
                  <a:gd name="connsiteX339" fmla="*/ 329699 w 1017431"/>
                  <a:gd name="connsiteY339" fmla="*/ 213964 h 1380812"/>
                  <a:gd name="connsiteX340" fmla="*/ 345154 w 1017431"/>
                  <a:gd name="connsiteY340" fmla="*/ 206237 h 1380812"/>
                  <a:gd name="connsiteX341" fmla="*/ 350305 w 1017431"/>
                  <a:gd name="connsiteY341" fmla="*/ 198509 h 1380812"/>
                  <a:gd name="connsiteX342" fmla="*/ 373487 w 1017431"/>
                  <a:gd name="connsiteY342" fmla="*/ 201085 h 1380812"/>
                  <a:gd name="connsiteX343" fmla="*/ 391518 w 1017431"/>
                  <a:gd name="connsiteY343" fmla="*/ 221691 h 1380812"/>
                  <a:gd name="connsiteX344" fmla="*/ 399245 w 1017431"/>
                  <a:gd name="connsiteY344" fmla="*/ 229418 h 1380812"/>
                  <a:gd name="connsiteX345" fmla="*/ 409548 w 1017431"/>
                  <a:gd name="connsiteY345" fmla="*/ 244873 h 1380812"/>
                  <a:gd name="connsiteX346" fmla="*/ 425003 w 1017431"/>
                  <a:gd name="connsiteY346" fmla="*/ 250025 h 1380812"/>
                  <a:gd name="connsiteX347" fmla="*/ 414700 w 1017431"/>
                  <a:gd name="connsiteY347" fmla="*/ 237146 h 1380812"/>
                  <a:gd name="connsiteX348" fmla="*/ 404397 w 1017431"/>
                  <a:gd name="connsiteY348" fmla="*/ 221691 h 1380812"/>
                  <a:gd name="connsiteX349" fmla="*/ 396669 w 1017431"/>
                  <a:gd name="connsiteY349" fmla="*/ 213964 h 1380812"/>
                  <a:gd name="connsiteX350" fmla="*/ 386366 w 1017431"/>
                  <a:gd name="connsiteY350" fmla="*/ 198509 h 1380812"/>
                  <a:gd name="connsiteX351" fmla="*/ 370911 w 1017431"/>
                  <a:gd name="connsiteY351" fmla="*/ 193358 h 1380812"/>
                  <a:gd name="connsiteX352" fmla="*/ 363184 w 1017431"/>
                  <a:gd name="connsiteY352" fmla="*/ 190782 h 1380812"/>
                  <a:gd name="connsiteX353" fmla="*/ 342578 w 1017431"/>
                  <a:gd name="connsiteY353" fmla="*/ 193358 h 1380812"/>
                  <a:gd name="connsiteX354" fmla="*/ 337426 w 1017431"/>
                  <a:gd name="connsiteY354" fmla="*/ 162448 h 1380812"/>
                  <a:gd name="connsiteX355" fmla="*/ 340002 w 1017431"/>
                  <a:gd name="connsiteY355" fmla="*/ 154721 h 1380812"/>
                  <a:gd name="connsiteX356" fmla="*/ 347729 w 1017431"/>
                  <a:gd name="connsiteY356" fmla="*/ 149569 h 1380812"/>
                  <a:gd name="connsiteX357" fmla="*/ 340002 w 1017431"/>
                  <a:gd name="connsiteY357" fmla="*/ 144418 h 1380812"/>
                  <a:gd name="connsiteX358" fmla="*/ 332275 w 1017431"/>
                  <a:gd name="connsiteY358" fmla="*/ 141842 h 1380812"/>
                  <a:gd name="connsiteX359" fmla="*/ 329699 w 1017431"/>
                  <a:gd name="connsiteY359" fmla="*/ 128963 h 1380812"/>
                  <a:gd name="connsiteX360" fmla="*/ 316820 w 1017431"/>
                  <a:gd name="connsiteY360" fmla="*/ 116084 h 1380812"/>
                  <a:gd name="connsiteX361" fmla="*/ 306517 w 1017431"/>
                  <a:gd name="connsiteY361" fmla="*/ 100630 h 1380812"/>
                  <a:gd name="connsiteX362" fmla="*/ 324548 w 1017431"/>
                  <a:gd name="connsiteY362" fmla="*/ 95478 h 1380812"/>
                  <a:gd name="connsiteX363" fmla="*/ 332275 w 1017431"/>
                  <a:gd name="connsiteY363" fmla="*/ 92902 h 1380812"/>
                  <a:gd name="connsiteX364" fmla="*/ 355457 w 1017431"/>
                  <a:gd name="connsiteY364" fmla="*/ 87751 h 1380812"/>
                  <a:gd name="connsiteX365" fmla="*/ 352881 w 1017431"/>
                  <a:gd name="connsiteY365" fmla="*/ 77448 h 1380812"/>
                  <a:gd name="connsiteX366" fmla="*/ 345154 w 1017431"/>
                  <a:gd name="connsiteY366" fmla="*/ 72296 h 1380812"/>
                  <a:gd name="connsiteX367" fmla="*/ 337426 w 1017431"/>
                  <a:gd name="connsiteY367" fmla="*/ 64569 h 1380812"/>
                  <a:gd name="connsiteX368" fmla="*/ 327123 w 1017431"/>
                  <a:gd name="connsiteY368" fmla="*/ 41387 h 1380812"/>
                  <a:gd name="connsiteX369" fmla="*/ 316820 w 1017431"/>
                  <a:gd name="connsiteY369" fmla="*/ 38811 h 1380812"/>
                  <a:gd name="connsiteX370" fmla="*/ 283335 w 1017431"/>
                  <a:gd name="connsiteY370" fmla="*/ 41387 h 1380812"/>
                  <a:gd name="connsiteX371" fmla="*/ 280759 w 1017431"/>
                  <a:gd name="connsiteY371" fmla="*/ 33660 h 1380812"/>
                  <a:gd name="connsiteX372" fmla="*/ 296214 w 1017431"/>
                  <a:gd name="connsiteY372" fmla="*/ 28508 h 1380812"/>
                  <a:gd name="connsiteX373" fmla="*/ 303941 w 1017431"/>
                  <a:gd name="connsiteY373" fmla="*/ 31084 h 1380812"/>
                  <a:gd name="connsiteX374" fmla="*/ 306517 w 1017431"/>
                  <a:gd name="connsiteY374" fmla="*/ 23357 h 1380812"/>
                  <a:gd name="connsiteX375" fmla="*/ 293638 w 1017431"/>
                  <a:gd name="connsiteY375" fmla="*/ 13053 h 1380812"/>
                  <a:gd name="connsiteX376" fmla="*/ 291062 w 1017431"/>
                  <a:gd name="connsiteY376" fmla="*/ 5326 h 1380812"/>
                  <a:gd name="connsiteX377" fmla="*/ 309093 w 1017431"/>
                  <a:gd name="connsiteY377" fmla="*/ 5326 h 1380812"/>
                  <a:gd name="connsiteX378" fmla="*/ 316820 w 1017431"/>
                  <a:gd name="connsiteY378" fmla="*/ 7902 h 1380812"/>
                  <a:gd name="connsiteX379" fmla="*/ 350305 w 1017431"/>
                  <a:gd name="connsiteY379" fmla="*/ 7902 h 1380812"/>
                  <a:gd name="connsiteX380" fmla="*/ 358033 w 1017431"/>
                  <a:gd name="connsiteY380" fmla="*/ 10478 h 1380812"/>
                  <a:gd name="connsiteX381" fmla="*/ 381215 w 1017431"/>
                  <a:gd name="connsiteY381" fmla="*/ 23357 h 1380812"/>
                  <a:gd name="connsiteX382" fmla="*/ 409548 w 1017431"/>
                  <a:gd name="connsiteY382" fmla="*/ 25932 h 1380812"/>
                  <a:gd name="connsiteX383" fmla="*/ 430154 w 1017431"/>
                  <a:gd name="connsiteY383" fmla="*/ 28508 h 1380812"/>
                  <a:gd name="connsiteX384" fmla="*/ 437882 w 1017431"/>
                  <a:gd name="connsiteY384" fmla="*/ 31084 h 1380812"/>
                  <a:gd name="connsiteX385" fmla="*/ 450760 w 1017431"/>
                  <a:gd name="connsiteY385" fmla="*/ 46538 h 1380812"/>
                  <a:gd name="connsiteX386" fmla="*/ 466215 w 1017431"/>
                  <a:gd name="connsiteY386" fmla="*/ 51690 h 1380812"/>
                  <a:gd name="connsiteX387" fmla="*/ 458488 w 1017431"/>
                  <a:gd name="connsiteY387" fmla="*/ 54266 h 1380812"/>
                  <a:gd name="connsiteX388" fmla="*/ 445609 w 1017431"/>
                  <a:gd name="connsiteY388" fmla="*/ 67145 h 1380812"/>
                  <a:gd name="connsiteX389" fmla="*/ 440457 w 1017431"/>
                  <a:gd name="connsiteY389" fmla="*/ 82599 h 1380812"/>
                  <a:gd name="connsiteX390" fmla="*/ 437882 w 1017431"/>
                  <a:gd name="connsiteY390" fmla="*/ 90327 h 1380812"/>
                  <a:gd name="connsiteX391" fmla="*/ 453336 w 1017431"/>
                  <a:gd name="connsiteY391" fmla="*/ 87751 h 1380812"/>
                  <a:gd name="connsiteX392" fmla="*/ 468791 w 1017431"/>
                  <a:gd name="connsiteY392" fmla="*/ 85175 h 1380812"/>
                  <a:gd name="connsiteX393" fmla="*/ 491973 w 1017431"/>
                  <a:gd name="connsiteY393" fmla="*/ 87751 h 1380812"/>
                  <a:gd name="connsiteX394" fmla="*/ 507428 w 1017431"/>
                  <a:gd name="connsiteY394" fmla="*/ 100630 h 1380812"/>
                  <a:gd name="connsiteX395" fmla="*/ 530609 w 1017431"/>
                  <a:gd name="connsiteY395" fmla="*/ 113509 h 1380812"/>
                  <a:gd name="connsiteX396" fmla="*/ 548640 w 1017431"/>
                  <a:gd name="connsiteY396" fmla="*/ 110933 h 1380812"/>
                  <a:gd name="connsiteX397" fmla="*/ 551216 w 1017431"/>
                  <a:gd name="connsiteY397" fmla="*/ 103206 h 1380812"/>
                  <a:gd name="connsiteX398" fmla="*/ 553791 w 1017431"/>
                  <a:gd name="connsiteY398" fmla="*/ 87751 h 1380812"/>
                  <a:gd name="connsiteX399" fmla="*/ 561519 w 1017431"/>
                  <a:gd name="connsiteY399" fmla="*/ 85175 h 1380812"/>
                  <a:gd name="connsiteX400" fmla="*/ 576973 w 1017431"/>
                  <a:gd name="connsiteY400" fmla="*/ 74872 h 1380812"/>
                  <a:gd name="connsiteX401" fmla="*/ 587277 w 1017431"/>
                  <a:gd name="connsiteY401" fmla="*/ 77448 h 1380812"/>
                  <a:gd name="connsiteX402" fmla="*/ 584701 w 1017431"/>
                  <a:gd name="connsiteY402" fmla="*/ 85175 h 1380812"/>
                  <a:gd name="connsiteX403" fmla="*/ 569246 w 1017431"/>
                  <a:gd name="connsiteY403" fmla="*/ 87751 h 1380812"/>
                  <a:gd name="connsiteX404" fmla="*/ 553791 w 1017431"/>
                  <a:gd name="connsiteY404" fmla="*/ 100630 h 1380812"/>
                  <a:gd name="connsiteX405" fmla="*/ 569246 w 1017431"/>
                  <a:gd name="connsiteY405" fmla="*/ 103206 h 1380812"/>
                  <a:gd name="connsiteX406" fmla="*/ 561519 w 1017431"/>
                  <a:gd name="connsiteY406" fmla="*/ 118660 h 1380812"/>
                  <a:gd name="connsiteX407" fmla="*/ 556367 w 1017431"/>
                  <a:gd name="connsiteY407" fmla="*/ 136691 h 1380812"/>
                  <a:gd name="connsiteX408" fmla="*/ 540913 w 1017431"/>
                  <a:gd name="connsiteY408" fmla="*/ 144418 h 1380812"/>
                  <a:gd name="connsiteX409" fmla="*/ 533185 w 1017431"/>
                  <a:gd name="connsiteY409" fmla="*/ 152145 h 1380812"/>
                  <a:gd name="connsiteX410" fmla="*/ 522882 w 1017431"/>
                  <a:gd name="connsiteY410" fmla="*/ 167600 h 1380812"/>
                  <a:gd name="connsiteX411" fmla="*/ 538337 w 1017431"/>
                  <a:gd name="connsiteY411" fmla="*/ 175327 h 1380812"/>
                  <a:gd name="connsiteX412" fmla="*/ 540913 w 1017431"/>
                  <a:gd name="connsiteY412" fmla="*/ 193358 h 1380812"/>
                  <a:gd name="connsiteX413" fmla="*/ 556367 w 1017431"/>
                  <a:gd name="connsiteY413" fmla="*/ 185630 h 1380812"/>
                  <a:gd name="connsiteX414" fmla="*/ 571822 w 1017431"/>
                  <a:gd name="connsiteY414" fmla="*/ 177903 h 1380812"/>
                  <a:gd name="connsiteX415" fmla="*/ 576973 w 1017431"/>
                  <a:gd name="connsiteY415" fmla="*/ 177903 h 1380812"/>
                  <a:gd name="connsiteX416" fmla="*/ 592428 w 1017431"/>
                  <a:gd name="connsiteY416" fmla="*/ 183055 h 1380812"/>
                  <a:gd name="connsiteX417" fmla="*/ 607883 w 1017431"/>
                  <a:gd name="connsiteY417" fmla="*/ 172751 h 1380812"/>
                  <a:gd name="connsiteX418" fmla="*/ 610458 w 1017431"/>
                  <a:gd name="connsiteY418" fmla="*/ 165024 h 1380812"/>
                  <a:gd name="connsiteX419" fmla="*/ 625913 w 1017431"/>
                  <a:gd name="connsiteY419" fmla="*/ 152145 h 1380812"/>
                  <a:gd name="connsiteX420" fmla="*/ 633640 w 1017431"/>
                  <a:gd name="connsiteY420" fmla="*/ 149569 h 1380812"/>
                  <a:gd name="connsiteX421" fmla="*/ 641368 w 1017431"/>
                  <a:gd name="connsiteY421" fmla="*/ 141842 h 1380812"/>
                  <a:gd name="connsiteX422" fmla="*/ 674853 w 1017431"/>
                  <a:gd name="connsiteY422" fmla="*/ 134115 h 1380812"/>
                  <a:gd name="connsiteX423" fmla="*/ 682580 w 1017431"/>
                  <a:gd name="connsiteY423" fmla="*/ 128963 h 1380812"/>
                  <a:gd name="connsiteX424" fmla="*/ 698035 w 1017431"/>
                  <a:gd name="connsiteY424" fmla="*/ 126388 h 1380812"/>
                  <a:gd name="connsiteX425" fmla="*/ 703186 w 1017431"/>
                  <a:gd name="connsiteY425" fmla="*/ 118660 h 1380812"/>
                  <a:gd name="connsiteX426" fmla="*/ 710914 w 1017431"/>
                  <a:gd name="connsiteY426" fmla="*/ 95478 h 1380812"/>
                  <a:gd name="connsiteX0" fmla="*/ 710914 w 1017431"/>
                  <a:gd name="connsiteY0" fmla="*/ 95478 h 1380812"/>
                  <a:gd name="connsiteX1" fmla="*/ 767581 w 1017431"/>
                  <a:gd name="connsiteY1" fmla="*/ 95478 h 1380812"/>
                  <a:gd name="connsiteX2" fmla="*/ 770157 w 1017431"/>
                  <a:gd name="connsiteY2" fmla="*/ 103206 h 1380812"/>
                  <a:gd name="connsiteX3" fmla="*/ 775308 w 1017431"/>
                  <a:gd name="connsiteY3" fmla="*/ 110933 h 1380812"/>
                  <a:gd name="connsiteX4" fmla="*/ 777884 w 1017431"/>
                  <a:gd name="connsiteY4" fmla="*/ 98054 h 1380812"/>
                  <a:gd name="connsiteX5" fmla="*/ 785611 w 1017431"/>
                  <a:gd name="connsiteY5" fmla="*/ 92902 h 1380812"/>
                  <a:gd name="connsiteX6" fmla="*/ 788187 w 1017431"/>
                  <a:gd name="connsiteY6" fmla="*/ 85175 h 1380812"/>
                  <a:gd name="connsiteX7" fmla="*/ 798490 w 1017431"/>
                  <a:gd name="connsiteY7" fmla="*/ 43963 h 1380812"/>
                  <a:gd name="connsiteX8" fmla="*/ 816520 w 1017431"/>
                  <a:gd name="connsiteY8" fmla="*/ 46538 h 1380812"/>
                  <a:gd name="connsiteX9" fmla="*/ 829399 w 1017431"/>
                  <a:gd name="connsiteY9" fmla="*/ 61993 h 1380812"/>
                  <a:gd name="connsiteX10" fmla="*/ 831975 w 1017431"/>
                  <a:gd name="connsiteY10" fmla="*/ 85175 h 1380812"/>
                  <a:gd name="connsiteX11" fmla="*/ 834551 w 1017431"/>
                  <a:gd name="connsiteY11" fmla="*/ 95478 h 1380812"/>
                  <a:gd name="connsiteX12" fmla="*/ 842278 w 1017431"/>
                  <a:gd name="connsiteY12" fmla="*/ 98054 h 1380812"/>
                  <a:gd name="connsiteX13" fmla="*/ 852581 w 1017431"/>
                  <a:gd name="connsiteY13" fmla="*/ 100630 h 1380812"/>
                  <a:gd name="connsiteX14" fmla="*/ 829399 w 1017431"/>
                  <a:gd name="connsiteY14" fmla="*/ 100630 h 1380812"/>
                  <a:gd name="connsiteX15" fmla="*/ 813945 w 1017431"/>
                  <a:gd name="connsiteY15" fmla="*/ 108357 h 1380812"/>
                  <a:gd name="connsiteX16" fmla="*/ 808793 w 1017431"/>
                  <a:gd name="connsiteY16" fmla="*/ 116084 h 1380812"/>
                  <a:gd name="connsiteX17" fmla="*/ 775308 w 1017431"/>
                  <a:gd name="connsiteY17" fmla="*/ 116084 h 1380812"/>
                  <a:gd name="connsiteX18" fmla="*/ 777884 w 1017431"/>
                  <a:gd name="connsiteY18" fmla="*/ 105781 h 1380812"/>
                  <a:gd name="connsiteX19" fmla="*/ 785611 w 1017431"/>
                  <a:gd name="connsiteY19" fmla="*/ 108357 h 1380812"/>
                  <a:gd name="connsiteX20" fmla="*/ 803642 w 1017431"/>
                  <a:gd name="connsiteY20" fmla="*/ 126388 h 1380812"/>
                  <a:gd name="connsiteX21" fmla="*/ 816520 w 1017431"/>
                  <a:gd name="connsiteY21" fmla="*/ 149569 h 1380812"/>
                  <a:gd name="connsiteX22" fmla="*/ 824248 w 1017431"/>
                  <a:gd name="connsiteY22" fmla="*/ 146994 h 1380812"/>
                  <a:gd name="connsiteX23" fmla="*/ 839702 w 1017431"/>
                  <a:gd name="connsiteY23" fmla="*/ 136691 h 1380812"/>
                  <a:gd name="connsiteX24" fmla="*/ 855157 w 1017431"/>
                  <a:gd name="connsiteY24" fmla="*/ 139266 h 1380812"/>
                  <a:gd name="connsiteX25" fmla="*/ 857733 w 1017431"/>
                  <a:gd name="connsiteY25" fmla="*/ 146994 h 1380812"/>
                  <a:gd name="connsiteX26" fmla="*/ 865460 w 1017431"/>
                  <a:gd name="connsiteY26" fmla="*/ 149569 h 1380812"/>
                  <a:gd name="connsiteX27" fmla="*/ 880915 w 1017431"/>
                  <a:gd name="connsiteY27" fmla="*/ 152145 h 1380812"/>
                  <a:gd name="connsiteX28" fmla="*/ 891218 w 1017431"/>
                  <a:gd name="connsiteY28" fmla="*/ 172751 h 1380812"/>
                  <a:gd name="connsiteX29" fmla="*/ 888642 w 1017431"/>
                  <a:gd name="connsiteY29" fmla="*/ 165024 h 1380812"/>
                  <a:gd name="connsiteX30" fmla="*/ 880915 w 1017431"/>
                  <a:gd name="connsiteY30" fmla="*/ 162448 h 1380812"/>
                  <a:gd name="connsiteX31" fmla="*/ 873188 w 1017431"/>
                  <a:gd name="connsiteY31" fmla="*/ 157297 h 1380812"/>
                  <a:gd name="connsiteX32" fmla="*/ 862884 w 1017431"/>
                  <a:gd name="connsiteY32" fmla="*/ 159873 h 1380812"/>
                  <a:gd name="connsiteX33" fmla="*/ 873188 w 1017431"/>
                  <a:gd name="connsiteY33" fmla="*/ 198509 h 1380812"/>
                  <a:gd name="connsiteX34" fmla="*/ 880915 w 1017431"/>
                  <a:gd name="connsiteY34" fmla="*/ 195933 h 1380812"/>
                  <a:gd name="connsiteX35" fmla="*/ 883491 w 1017431"/>
                  <a:gd name="connsiteY35" fmla="*/ 206237 h 1380812"/>
                  <a:gd name="connsiteX36" fmla="*/ 888642 w 1017431"/>
                  <a:gd name="connsiteY36" fmla="*/ 213964 h 1380812"/>
                  <a:gd name="connsiteX37" fmla="*/ 904097 w 1017431"/>
                  <a:gd name="connsiteY37" fmla="*/ 208812 h 1380812"/>
                  <a:gd name="connsiteX38" fmla="*/ 909248 w 1017431"/>
                  <a:gd name="connsiteY38" fmla="*/ 224267 h 1380812"/>
                  <a:gd name="connsiteX39" fmla="*/ 914400 w 1017431"/>
                  <a:gd name="connsiteY39" fmla="*/ 242297 h 1380812"/>
                  <a:gd name="connsiteX40" fmla="*/ 916976 w 1017431"/>
                  <a:gd name="connsiteY40" fmla="*/ 257752 h 1380812"/>
                  <a:gd name="connsiteX41" fmla="*/ 924703 w 1017431"/>
                  <a:gd name="connsiteY41" fmla="*/ 265479 h 1380812"/>
                  <a:gd name="connsiteX42" fmla="*/ 929855 w 1017431"/>
                  <a:gd name="connsiteY42" fmla="*/ 273207 h 1380812"/>
                  <a:gd name="connsiteX43" fmla="*/ 935006 w 1017431"/>
                  <a:gd name="connsiteY43" fmla="*/ 291237 h 1380812"/>
                  <a:gd name="connsiteX44" fmla="*/ 940158 w 1017431"/>
                  <a:gd name="connsiteY44" fmla="*/ 311843 h 1380812"/>
                  <a:gd name="connsiteX45" fmla="*/ 937582 w 1017431"/>
                  <a:gd name="connsiteY45" fmla="*/ 327298 h 1380812"/>
                  <a:gd name="connsiteX46" fmla="*/ 929855 w 1017431"/>
                  <a:gd name="connsiteY46" fmla="*/ 329874 h 1380812"/>
                  <a:gd name="connsiteX47" fmla="*/ 911824 w 1017431"/>
                  <a:gd name="connsiteY47" fmla="*/ 335025 h 1380812"/>
                  <a:gd name="connsiteX48" fmla="*/ 904097 w 1017431"/>
                  <a:gd name="connsiteY48" fmla="*/ 340177 h 1380812"/>
                  <a:gd name="connsiteX49" fmla="*/ 901521 w 1017431"/>
                  <a:gd name="connsiteY49" fmla="*/ 347904 h 1380812"/>
                  <a:gd name="connsiteX50" fmla="*/ 914400 w 1017431"/>
                  <a:gd name="connsiteY50" fmla="*/ 371086 h 1380812"/>
                  <a:gd name="connsiteX51" fmla="*/ 922127 w 1017431"/>
                  <a:gd name="connsiteY51" fmla="*/ 373662 h 1380812"/>
                  <a:gd name="connsiteX52" fmla="*/ 937582 w 1017431"/>
                  <a:gd name="connsiteY52" fmla="*/ 386541 h 1380812"/>
                  <a:gd name="connsiteX53" fmla="*/ 940158 w 1017431"/>
                  <a:gd name="connsiteY53" fmla="*/ 394268 h 1380812"/>
                  <a:gd name="connsiteX54" fmla="*/ 947885 w 1017431"/>
                  <a:gd name="connsiteY54" fmla="*/ 396844 h 1380812"/>
                  <a:gd name="connsiteX55" fmla="*/ 950461 w 1017431"/>
                  <a:gd name="connsiteY55" fmla="*/ 407147 h 1380812"/>
                  <a:gd name="connsiteX56" fmla="*/ 955612 w 1017431"/>
                  <a:gd name="connsiteY56" fmla="*/ 422602 h 1380812"/>
                  <a:gd name="connsiteX57" fmla="*/ 958188 w 1017431"/>
                  <a:gd name="connsiteY57" fmla="*/ 430329 h 1380812"/>
                  <a:gd name="connsiteX58" fmla="*/ 955612 w 1017431"/>
                  <a:gd name="connsiteY58" fmla="*/ 438056 h 1380812"/>
                  <a:gd name="connsiteX59" fmla="*/ 950461 w 1017431"/>
                  <a:gd name="connsiteY59" fmla="*/ 456087 h 1380812"/>
                  <a:gd name="connsiteX60" fmla="*/ 965915 w 1017431"/>
                  <a:gd name="connsiteY60" fmla="*/ 466390 h 1380812"/>
                  <a:gd name="connsiteX61" fmla="*/ 971067 w 1017431"/>
                  <a:gd name="connsiteY61" fmla="*/ 476693 h 1380812"/>
                  <a:gd name="connsiteX62" fmla="*/ 973643 w 1017431"/>
                  <a:gd name="connsiteY62" fmla="*/ 507602 h 1380812"/>
                  <a:gd name="connsiteX63" fmla="*/ 976218 w 1017431"/>
                  <a:gd name="connsiteY63" fmla="*/ 525633 h 1380812"/>
                  <a:gd name="connsiteX64" fmla="*/ 973643 w 1017431"/>
                  <a:gd name="connsiteY64" fmla="*/ 535936 h 1380812"/>
                  <a:gd name="connsiteX65" fmla="*/ 965915 w 1017431"/>
                  <a:gd name="connsiteY65" fmla="*/ 541087 h 1380812"/>
                  <a:gd name="connsiteX66" fmla="*/ 960764 w 1017431"/>
                  <a:gd name="connsiteY66" fmla="*/ 548815 h 1380812"/>
                  <a:gd name="connsiteX67" fmla="*/ 963340 w 1017431"/>
                  <a:gd name="connsiteY67" fmla="*/ 561693 h 1380812"/>
                  <a:gd name="connsiteX68" fmla="*/ 971067 w 1017431"/>
                  <a:gd name="connsiteY68" fmla="*/ 564269 h 1380812"/>
                  <a:gd name="connsiteX69" fmla="*/ 981370 w 1017431"/>
                  <a:gd name="connsiteY69" fmla="*/ 569421 h 1380812"/>
                  <a:gd name="connsiteX70" fmla="*/ 986522 w 1017431"/>
                  <a:gd name="connsiteY70" fmla="*/ 577148 h 1380812"/>
                  <a:gd name="connsiteX71" fmla="*/ 978794 w 1017431"/>
                  <a:gd name="connsiteY71" fmla="*/ 595178 h 1380812"/>
                  <a:gd name="connsiteX72" fmla="*/ 986522 w 1017431"/>
                  <a:gd name="connsiteY72" fmla="*/ 600330 h 1380812"/>
                  <a:gd name="connsiteX73" fmla="*/ 994249 w 1017431"/>
                  <a:gd name="connsiteY73" fmla="*/ 602906 h 1380812"/>
                  <a:gd name="connsiteX74" fmla="*/ 1007128 w 1017431"/>
                  <a:gd name="connsiteY74" fmla="*/ 618360 h 1380812"/>
                  <a:gd name="connsiteX75" fmla="*/ 1014855 w 1017431"/>
                  <a:gd name="connsiteY75" fmla="*/ 641542 h 1380812"/>
                  <a:gd name="connsiteX76" fmla="*/ 1017431 w 1017431"/>
                  <a:gd name="connsiteY76" fmla="*/ 649270 h 1380812"/>
                  <a:gd name="connsiteX77" fmla="*/ 1014855 w 1017431"/>
                  <a:gd name="connsiteY77" fmla="*/ 667300 h 1380812"/>
                  <a:gd name="connsiteX78" fmla="*/ 1012279 w 1017431"/>
                  <a:gd name="connsiteY78" fmla="*/ 708513 h 1380812"/>
                  <a:gd name="connsiteX79" fmla="*/ 996825 w 1017431"/>
                  <a:gd name="connsiteY79" fmla="*/ 713664 h 1380812"/>
                  <a:gd name="connsiteX80" fmla="*/ 994249 w 1017431"/>
                  <a:gd name="connsiteY80" fmla="*/ 731695 h 1380812"/>
                  <a:gd name="connsiteX81" fmla="*/ 981370 w 1017431"/>
                  <a:gd name="connsiteY81" fmla="*/ 729119 h 1380812"/>
                  <a:gd name="connsiteX82" fmla="*/ 976218 w 1017431"/>
                  <a:gd name="connsiteY82" fmla="*/ 713664 h 1380812"/>
                  <a:gd name="connsiteX83" fmla="*/ 978794 w 1017431"/>
                  <a:gd name="connsiteY83" fmla="*/ 705937 h 1380812"/>
                  <a:gd name="connsiteX84" fmla="*/ 955612 w 1017431"/>
                  <a:gd name="connsiteY84" fmla="*/ 693058 h 1380812"/>
                  <a:gd name="connsiteX85" fmla="*/ 947885 w 1017431"/>
                  <a:gd name="connsiteY85" fmla="*/ 695634 h 1380812"/>
                  <a:gd name="connsiteX86" fmla="*/ 950461 w 1017431"/>
                  <a:gd name="connsiteY86" fmla="*/ 708513 h 1380812"/>
                  <a:gd name="connsiteX87" fmla="*/ 947885 w 1017431"/>
                  <a:gd name="connsiteY87" fmla="*/ 744573 h 1380812"/>
                  <a:gd name="connsiteX88" fmla="*/ 940158 w 1017431"/>
                  <a:gd name="connsiteY88" fmla="*/ 723967 h 1380812"/>
                  <a:gd name="connsiteX89" fmla="*/ 937582 w 1017431"/>
                  <a:gd name="connsiteY89" fmla="*/ 713664 h 1380812"/>
                  <a:gd name="connsiteX90" fmla="*/ 935006 w 1017431"/>
                  <a:gd name="connsiteY90" fmla="*/ 723967 h 1380812"/>
                  <a:gd name="connsiteX91" fmla="*/ 914400 w 1017431"/>
                  <a:gd name="connsiteY91" fmla="*/ 731695 h 1380812"/>
                  <a:gd name="connsiteX92" fmla="*/ 906673 w 1017431"/>
                  <a:gd name="connsiteY92" fmla="*/ 736846 h 1380812"/>
                  <a:gd name="connsiteX93" fmla="*/ 891218 w 1017431"/>
                  <a:gd name="connsiteY93" fmla="*/ 741998 h 1380812"/>
                  <a:gd name="connsiteX94" fmla="*/ 883491 w 1017431"/>
                  <a:gd name="connsiteY94" fmla="*/ 749725 h 1380812"/>
                  <a:gd name="connsiteX95" fmla="*/ 868036 w 1017431"/>
                  <a:gd name="connsiteY95" fmla="*/ 754877 h 1380812"/>
                  <a:gd name="connsiteX96" fmla="*/ 860309 w 1017431"/>
                  <a:gd name="connsiteY96" fmla="*/ 752301 h 1380812"/>
                  <a:gd name="connsiteX97" fmla="*/ 852581 w 1017431"/>
                  <a:gd name="connsiteY97" fmla="*/ 760028 h 1380812"/>
                  <a:gd name="connsiteX98" fmla="*/ 844854 w 1017431"/>
                  <a:gd name="connsiteY98" fmla="*/ 765180 h 1380812"/>
                  <a:gd name="connsiteX99" fmla="*/ 829399 w 1017431"/>
                  <a:gd name="connsiteY99" fmla="*/ 770331 h 1380812"/>
                  <a:gd name="connsiteX100" fmla="*/ 813945 w 1017431"/>
                  <a:gd name="connsiteY100" fmla="*/ 780634 h 1380812"/>
                  <a:gd name="connsiteX101" fmla="*/ 795914 w 1017431"/>
                  <a:gd name="connsiteY101" fmla="*/ 803816 h 1380812"/>
                  <a:gd name="connsiteX102" fmla="*/ 767581 w 1017431"/>
                  <a:gd name="connsiteY102" fmla="*/ 801240 h 1380812"/>
                  <a:gd name="connsiteX103" fmla="*/ 759853 w 1017431"/>
                  <a:gd name="connsiteY103" fmla="*/ 803816 h 1380812"/>
                  <a:gd name="connsiteX104" fmla="*/ 744399 w 1017431"/>
                  <a:gd name="connsiteY104" fmla="*/ 816695 h 1380812"/>
                  <a:gd name="connsiteX105" fmla="*/ 728944 w 1017431"/>
                  <a:gd name="connsiteY105" fmla="*/ 824422 h 1380812"/>
                  <a:gd name="connsiteX106" fmla="*/ 713489 w 1017431"/>
                  <a:gd name="connsiteY106" fmla="*/ 834726 h 1380812"/>
                  <a:gd name="connsiteX107" fmla="*/ 698035 w 1017431"/>
                  <a:gd name="connsiteY107" fmla="*/ 829574 h 1380812"/>
                  <a:gd name="connsiteX108" fmla="*/ 700611 w 1017431"/>
                  <a:gd name="connsiteY108" fmla="*/ 834726 h 1380812"/>
                  <a:gd name="connsiteX109" fmla="*/ 705762 w 1017431"/>
                  <a:gd name="connsiteY109" fmla="*/ 850180 h 1380812"/>
                  <a:gd name="connsiteX110" fmla="*/ 708338 w 1017431"/>
                  <a:gd name="connsiteY110" fmla="*/ 873362 h 1380812"/>
                  <a:gd name="connsiteX111" fmla="*/ 716065 w 1017431"/>
                  <a:gd name="connsiteY111" fmla="*/ 875938 h 1380812"/>
                  <a:gd name="connsiteX112" fmla="*/ 736671 w 1017431"/>
                  <a:gd name="connsiteY112" fmla="*/ 878514 h 1380812"/>
                  <a:gd name="connsiteX113" fmla="*/ 744399 w 1017431"/>
                  <a:gd name="connsiteY113" fmla="*/ 886241 h 1380812"/>
                  <a:gd name="connsiteX114" fmla="*/ 746975 w 1017431"/>
                  <a:gd name="connsiteY114" fmla="*/ 893968 h 1380812"/>
                  <a:gd name="connsiteX115" fmla="*/ 752126 w 1017431"/>
                  <a:gd name="connsiteY115" fmla="*/ 901696 h 1380812"/>
                  <a:gd name="connsiteX116" fmla="*/ 749550 w 1017431"/>
                  <a:gd name="connsiteY116" fmla="*/ 911999 h 1380812"/>
                  <a:gd name="connsiteX117" fmla="*/ 741823 w 1017431"/>
                  <a:gd name="connsiteY117" fmla="*/ 919726 h 1380812"/>
                  <a:gd name="connsiteX118" fmla="*/ 736671 w 1017431"/>
                  <a:gd name="connsiteY118" fmla="*/ 927453 h 1380812"/>
                  <a:gd name="connsiteX119" fmla="*/ 734096 w 1017431"/>
                  <a:gd name="connsiteY119" fmla="*/ 935181 h 1380812"/>
                  <a:gd name="connsiteX120" fmla="*/ 752126 w 1017431"/>
                  <a:gd name="connsiteY120" fmla="*/ 971242 h 1380812"/>
                  <a:gd name="connsiteX121" fmla="*/ 767581 w 1017431"/>
                  <a:gd name="connsiteY121" fmla="*/ 981545 h 1380812"/>
                  <a:gd name="connsiteX122" fmla="*/ 777884 w 1017431"/>
                  <a:gd name="connsiteY122" fmla="*/ 1004727 h 1380812"/>
                  <a:gd name="connsiteX123" fmla="*/ 801066 w 1017431"/>
                  <a:gd name="connsiteY123" fmla="*/ 1004727 h 1380812"/>
                  <a:gd name="connsiteX124" fmla="*/ 806217 w 1017431"/>
                  <a:gd name="connsiteY124" fmla="*/ 1012454 h 1380812"/>
                  <a:gd name="connsiteX125" fmla="*/ 813945 w 1017431"/>
                  <a:gd name="connsiteY125" fmla="*/ 1020181 h 1380812"/>
                  <a:gd name="connsiteX126" fmla="*/ 824248 w 1017431"/>
                  <a:gd name="connsiteY126" fmla="*/ 1035636 h 1380812"/>
                  <a:gd name="connsiteX127" fmla="*/ 831975 w 1017431"/>
                  <a:gd name="connsiteY127" fmla="*/ 1043363 h 1380812"/>
                  <a:gd name="connsiteX128" fmla="*/ 837127 w 1017431"/>
                  <a:gd name="connsiteY128" fmla="*/ 1051091 h 1380812"/>
                  <a:gd name="connsiteX129" fmla="*/ 844854 w 1017431"/>
                  <a:gd name="connsiteY129" fmla="*/ 1056242 h 1380812"/>
                  <a:gd name="connsiteX130" fmla="*/ 860309 w 1017431"/>
                  <a:gd name="connsiteY130" fmla="*/ 1066545 h 1380812"/>
                  <a:gd name="connsiteX131" fmla="*/ 868036 w 1017431"/>
                  <a:gd name="connsiteY131" fmla="*/ 1071697 h 1380812"/>
                  <a:gd name="connsiteX132" fmla="*/ 883491 w 1017431"/>
                  <a:gd name="connsiteY132" fmla="*/ 1076848 h 1380812"/>
                  <a:gd name="connsiteX133" fmla="*/ 891218 w 1017431"/>
                  <a:gd name="connsiteY133" fmla="*/ 1084576 h 1380812"/>
                  <a:gd name="connsiteX134" fmla="*/ 896369 w 1017431"/>
                  <a:gd name="connsiteY134" fmla="*/ 1092303 h 1380812"/>
                  <a:gd name="connsiteX135" fmla="*/ 904097 w 1017431"/>
                  <a:gd name="connsiteY135" fmla="*/ 1097455 h 1380812"/>
                  <a:gd name="connsiteX136" fmla="*/ 909248 w 1017431"/>
                  <a:gd name="connsiteY136" fmla="*/ 1105182 h 1380812"/>
                  <a:gd name="connsiteX137" fmla="*/ 904097 w 1017431"/>
                  <a:gd name="connsiteY137" fmla="*/ 1123212 h 1380812"/>
                  <a:gd name="connsiteX138" fmla="*/ 901521 w 1017431"/>
                  <a:gd name="connsiteY138" fmla="*/ 1141243 h 1380812"/>
                  <a:gd name="connsiteX139" fmla="*/ 883491 w 1017431"/>
                  <a:gd name="connsiteY139" fmla="*/ 1141243 h 1380812"/>
                  <a:gd name="connsiteX140" fmla="*/ 862884 w 1017431"/>
                  <a:gd name="connsiteY140" fmla="*/ 1138667 h 1380812"/>
                  <a:gd name="connsiteX141" fmla="*/ 857733 w 1017431"/>
                  <a:gd name="connsiteY141" fmla="*/ 1148970 h 1380812"/>
                  <a:gd name="connsiteX142" fmla="*/ 860309 w 1017431"/>
                  <a:gd name="connsiteY142" fmla="*/ 1156697 h 1380812"/>
                  <a:gd name="connsiteX143" fmla="*/ 852581 w 1017431"/>
                  <a:gd name="connsiteY143" fmla="*/ 1177304 h 1380812"/>
                  <a:gd name="connsiteX144" fmla="*/ 844854 w 1017431"/>
                  <a:gd name="connsiteY144" fmla="*/ 1182455 h 1380812"/>
                  <a:gd name="connsiteX145" fmla="*/ 837127 w 1017431"/>
                  <a:gd name="connsiteY145" fmla="*/ 1185031 h 1380812"/>
                  <a:gd name="connsiteX146" fmla="*/ 829399 w 1017431"/>
                  <a:gd name="connsiteY146" fmla="*/ 1190182 h 1380812"/>
                  <a:gd name="connsiteX147" fmla="*/ 813945 w 1017431"/>
                  <a:gd name="connsiteY147" fmla="*/ 1195334 h 1380812"/>
                  <a:gd name="connsiteX148" fmla="*/ 806217 w 1017431"/>
                  <a:gd name="connsiteY148" fmla="*/ 1197910 h 1380812"/>
                  <a:gd name="connsiteX149" fmla="*/ 798490 w 1017431"/>
                  <a:gd name="connsiteY149" fmla="*/ 1203061 h 1380812"/>
                  <a:gd name="connsiteX150" fmla="*/ 788187 w 1017431"/>
                  <a:gd name="connsiteY150" fmla="*/ 1221092 h 1380812"/>
                  <a:gd name="connsiteX151" fmla="*/ 790763 w 1017431"/>
                  <a:gd name="connsiteY151" fmla="*/ 1233971 h 1380812"/>
                  <a:gd name="connsiteX152" fmla="*/ 795914 w 1017431"/>
                  <a:gd name="connsiteY152" fmla="*/ 1241698 h 1380812"/>
                  <a:gd name="connsiteX153" fmla="*/ 801066 w 1017431"/>
                  <a:gd name="connsiteY153" fmla="*/ 1257153 h 1380812"/>
                  <a:gd name="connsiteX154" fmla="*/ 811369 w 1017431"/>
                  <a:gd name="connsiteY154" fmla="*/ 1272607 h 1380812"/>
                  <a:gd name="connsiteX155" fmla="*/ 808793 w 1017431"/>
                  <a:gd name="connsiteY155" fmla="*/ 1285486 h 1380812"/>
                  <a:gd name="connsiteX156" fmla="*/ 806217 w 1017431"/>
                  <a:gd name="connsiteY156" fmla="*/ 1293213 h 1380812"/>
                  <a:gd name="connsiteX157" fmla="*/ 813945 w 1017431"/>
                  <a:gd name="connsiteY157" fmla="*/ 1298365 h 1380812"/>
                  <a:gd name="connsiteX158" fmla="*/ 831975 w 1017431"/>
                  <a:gd name="connsiteY158" fmla="*/ 1303517 h 1380812"/>
                  <a:gd name="connsiteX159" fmla="*/ 824248 w 1017431"/>
                  <a:gd name="connsiteY159" fmla="*/ 1326698 h 1380812"/>
                  <a:gd name="connsiteX160" fmla="*/ 821672 w 1017431"/>
                  <a:gd name="connsiteY160" fmla="*/ 1334426 h 1380812"/>
                  <a:gd name="connsiteX161" fmla="*/ 813945 w 1017431"/>
                  <a:gd name="connsiteY161" fmla="*/ 1337002 h 1380812"/>
                  <a:gd name="connsiteX162" fmla="*/ 798490 w 1017431"/>
                  <a:gd name="connsiteY162" fmla="*/ 1329274 h 1380812"/>
                  <a:gd name="connsiteX163" fmla="*/ 793338 w 1017431"/>
                  <a:gd name="connsiteY163" fmla="*/ 1321547 h 1380812"/>
                  <a:gd name="connsiteX164" fmla="*/ 785611 w 1017431"/>
                  <a:gd name="connsiteY164" fmla="*/ 1306092 h 1380812"/>
                  <a:gd name="connsiteX165" fmla="*/ 777884 w 1017431"/>
                  <a:gd name="connsiteY165" fmla="*/ 1303517 h 1380812"/>
                  <a:gd name="connsiteX166" fmla="*/ 762429 w 1017431"/>
                  <a:gd name="connsiteY166" fmla="*/ 1311244 h 1380812"/>
                  <a:gd name="connsiteX167" fmla="*/ 752126 w 1017431"/>
                  <a:gd name="connsiteY167" fmla="*/ 1308668 h 1380812"/>
                  <a:gd name="connsiteX168" fmla="*/ 744399 w 1017431"/>
                  <a:gd name="connsiteY168" fmla="*/ 1303517 h 1380812"/>
                  <a:gd name="connsiteX169" fmla="*/ 726368 w 1017431"/>
                  <a:gd name="connsiteY169" fmla="*/ 1308668 h 1380812"/>
                  <a:gd name="connsiteX170" fmla="*/ 718641 w 1017431"/>
                  <a:gd name="connsiteY170" fmla="*/ 1313820 h 1380812"/>
                  <a:gd name="connsiteX171" fmla="*/ 713489 w 1017431"/>
                  <a:gd name="connsiteY171" fmla="*/ 1306092 h 1380812"/>
                  <a:gd name="connsiteX172" fmla="*/ 705762 w 1017431"/>
                  <a:gd name="connsiteY172" fmla="*/ 1300941 h 1380812"/>
                  <a:gd name="connsiteX173" fmla="*/ 677429 w 1017431"/>
                  <a:gd name="connsiteY173" fmla="*/ 1308668 h 1380812"/>
                  <a:gd name="connsiteX174" fmla="*/ 661974 w 1017431"/>
                  <a:gd name="connsiteY174" fmla="*/ 1316395 h 1380812"/>
                  <a:gd name="connsiteX175" fmla="*/ 641368 w 1017431"/>
                  <a:gd name="connsiteY175" fmla="*/ 1318971 h 1380812"/>
                  <a:gd name="connsiteX176" fmla="*/ 625913 w 1017431"/>
                  <a:gd name="connsiteY176" fmla="*/ 1329274 h 1380812"/>
                  <a:gd name="connsiteX177" fmla="*/ 602731 w 1017431"/>
                  <a:gd name="connsiteY177" fmla="*/ 1342153 h 1380812"/>
                  <a:gd name="connsiteX178" fmla="*/ 595004 w 1017431"/>
                  <a:gd name="connsiteY178" fmla="*/ 1347305 h 1380812"/>
                  <a:gd name="connsiteX179" fmla="*/ 579549 w 1017431"/>
                  <a:gd name="connsiteY179" fmla="*/ 1352456 h 1380812"/>
                  <a:gd name="connsiteX180" fmla="*/ 569246 w 1017431"/>
                  <a:gd name="connsiteY180" fmla="*/ 1349880 h 1380812"/>
                  <a:gd name="connsiteX181" fmla="*/ 561519 w 1017431"/>
                  <a:gd name="connsiteY181" fmla="*/ 1334426 h 1380812"/>
                  <a:gd name="connsiteX182" fmla="*/ 553791 w 1017431"/>
                  <a:gd name="connsiteY182" fmla="*/ 1337002 h 1380812"/>
                  <a:gd name="connsiteX183" fmla="*/ 538337 w 1017431"/>
                  <a:gd name="connsiteY183" fmla="*/ 1331850 h 1380812"/>
                  <a:gd name="connsiteX184" fmla="*/ 512579 w 1017431"/>
                  <a:gd name="connsiteY184" fmla="*/ 1334426 h 1380812"/>
                  <a:gd name="connsiteX185" fmla="*/ 515155 w 1017431"/>
                  <a:gd name="connsiteY185" fmla="*/ 1347305 h 1380812"/>
                  <a:gd name="connsiteX186" fmla="*/ 512579 w 1017431"/>
                  <a:gd name="connsiteY186" fmla="*/ 1357608 h 1380812"/>
                  <a:gd name="connsiteX187" fmla="*/ 504852 w 1017431"/>
                  <a:gd name="connsiteY187" fmla="*/ 1360184 h 1380812"/>
                  <a:gd name="connsiteX188" fmla="*/ 497124 w 1017431"/>
                  <a:gd name="connsiteY188" fmla="*/ 1365335 h 1380812"/>
                  <a:gd name="connsiteX189" fmla="*/ 481670 w 1017431"/>
                  <a:gd name="connsiteY189" fmla="*/ 1378214 h 1380812"/>
                  <a:gd name="connsiteX190" fmla="*/ 473942 w 1017431"/>
                  <a:gd name="connsiteY190" fmla="*/ 1362759 h 1380812"/>
                  <a:gd name="connsiteX191" fmla="*/ 468791 w 1017431"/>
                  <a:gd name="connsiteY191" fmla="*/ 1347305 h 1380812"/>
                  <a:gd name="connsiteX192" fmla="*/ 458488 w 1017431"/>
                  <a:gd name="connsiteY192" fmla="*/ 1342153 h 1380812"/>
                  <a:gd name="connsiteX193" fmla="*/ 435306 w 1017431"/>
                  <a:gd name="connsiteY193" fmla="*/ 1329274 h 1380812"/>
                  <a:gd name="connsiteX194" fmla="*/ 412124 w 1017431"/>
                  <a:gd name="connsiteY194" fmla="*/ 1331850 h 1380812"/>
                  <a:gd name="connsiteX195" fmla="*/ 394093 w 1017431"/>
                  <a:gd name="connsiteY195" fmla="*/ 1337002 h 1380812"/>
                  <a:gd name="connsiteX196" fmla="*/ 391518 w 1017431"/>
                  <a:gd name="connsiteY196" fmla="*/ 1324123 h 1380812"/>
                  <a:gd name="connsiteX197" fmla="*/ 383790 w 1017431"/>
                  <a:gd name="connsiteY197" fmla="*/ 1318971 h 1380812"/>
                  <a:gd name="connsiteX198" fmla="*/ 355457 w 1017431"/>
                  <a:gd name="connsiteY198" fmla="*/ 1313820 h 1380812"/>
                  <a:gd name="connsiteX199" fmla="*/ 340002 w 1017431"/>
                  <a:gd name="connsiteY199" fmla="*/ 1308668 h 1380812"/>
                  <a:gd name="connsiteX200" fmla="*/ 332275 w 1017431"/>
                  <a:gd name="connsiteY200" fmla="*/ 1306092 h 1380812"/>
                  <a:gd name="connsiteX201" fmla="*/ 311669 w 1017431"/>
                  <a:gd name="connsiteY201" fmla="*/ 1303517 h 1380812"/>
                  <a:gd name="connsiteX202" fmla="*/ 303941 w 1017431"/>
                  <a:gd name="connsiteY202" fmla="*/ 1300941 h 1380812"/>
                  <a:gd name="connsiteX203" fmla="*/ 298790 w 1017431"/>
                  <a:gd name="connsiteY203" fmla="*/ 1293213 h 1380812"/>
                  <a:gd name="connsiteX204" fmla="*/ 291062 w 1017431"/>
                  <a:gd name="connsiteY204" fmla="*/ 1288062 h 1380812"/>
                  <a:gd name="connsiteX205" fmla="*/ 278184 w 1017431"/>
                  <a:gd name="connsiteY205" fmla="*/ 1290638 h 1380812"/>
                  <a:gd name="connsiteX206" fmla="*/ 270456 w 1017431"/>
                  <a:gd name="connsiteY206" fmla="*/ 1293213 h 1380812"/>
                  <a:gd name="connsiteX207" fmla="*/ 275608 w 1017431"/>
                  <a:gd name="connsiteY207" fmla="*/ 1300941 h 1380812"/>
                  <a:gd name="connsiteX208" fmla="*/ 283335 w 1017431"/>
                  <a:gd name="connsiteY208" fmla="*/ 1303517 h 1380812"/>
                  <a:gd name="connsiteX209" fmla="*/ 291062 w 1017431"/>
                  <a:gd name="connsiteY209" fmla="*/ 1308668 h 1380812"/>
                  <a:gd name="connsiteX210" fmla="*/ 252426 w 1017431"/>
                  <a:gd name="connsiteY210" fmla="*/ 1313820 h 1380812"/>
                  <a:gd name="connsiteX211" fmla="*/ 229244 w 1017431"/>
                  <a:gd name="connsiteY211" fmla="*/ 1316395 h 1380812"/>
                  <a:gd name="connsiteX212" fmla="*/ 221517 w 1017431"/>
                  <a:gd name="connsiteY212" fmla="*/ 1318971 h 1380812"/>
                  <a:gd name="connsiteX213" fmla="*/ 190607 w 1017431"/>
                  <a:gd name="connsiteY213" fmla="*/ 1316395 h 1380812"/>
                  <a:gd name="connsiteX214" fmla="*/ 164850 w 1017431"/>
                  <a:gd name="connsiteY214" fmla="*/ 1324123 h 1380812"/>
                  <a:gd name="connsiteX215" fmla="*/ 159698 w 1017431"/>
                  <a:gd name="connsiteY215" fmla="*/ 1306092 h 1380812"/>
                  <a:gd name="connsiteX216" fmla="*/ 157122 w 1017431"/>
                  <a:gd name="connsiteY216" fmla="*/ 1298365 h 1380812"/>
                  <a:gd name="connsiteX217" fmla="*/ 151971 w 1017431"/>
                  <a:gd name="connsiteY217" fmla="*/ 1277759 h 1380812"/>
                  <a:gd name="connsiteX218" fmla="*/ 154546 w 1017431"/>
                  <a:gd name="connsiteY218" fmla="*/ 1259728 h 1380812"/>
                  <a:gd name="connsiteX219" fmla="*/ 162274 w 1017431"/>
                  <a:gd name="connsiteY219" fmla="*/ 1252001 h 1380812"/>
                  <a:gd name="connsiteX220" fmla="*/ 164849 w 1017431"/>
                  <a:gd name="connsiteY220" fmla="*/ 1244274 h 1380812"/>
                  <a:gd name="connsiteX221" fmla="*/ 167425 w 1017431"/>
                  <a:gd name="connsiteY221" fmla="*/ 1208213 h 1380812"/>
                  <a:gd name="connsiteX222" fmla="*/ 170001 w 1017431"/>
                  <a:gd name="connsiteY222" fmla="*/ 1200486 h 1380812"/>
                  <a:gd name="connsiteX223" fmla="*/ 177728 w 1017431"/>
                  <a:gd name="connsiteY223" fmla="*/ 1195334 h 1380812"/>
                  <a:gd name="connsiteX224" fmla="*/ 180304 w 1017431"/>
                  <a:gd name="connsiteY224" fmla="*/ 1185031 h 1380812"/>
                  <a:gd name="connsiteX225" fmla="*/ 193183 w 1017431"/>
                  <a:gd name="connsiteY225" fmla="*/ 1136091 h 1380812"/>
                  <a:gd name="connsiteX226" fmla="*/ 200910 w 1017431"/>
                  <a:gd name="connsiteY226" fmla="*/ 1128364 h 1380812"/>
                  <a:gd name="connsiteX227" fmla="*/ 216365 w 1017431"/>
                  <a:gd name="connsiteY227" fmla="*/ 1118061 h 1380812"/>
                  <a:gd name="connsiteX228" fmla="*/ 226668 w 1017431"/>
                  <a:gd name="connsiteY228" fmla="*/ 1102606 h 1380812"/>
                  <a:gd name="connsiteX229" fmla="*/ 231820 w 1017431"/>
                  <a:gd name="connsiteY229" fmla="*/ 1094879 h 1380812"/>
                  <a:gd name="connsiteX230" fmla="*/ 236971 w 1017431"/>
                  <a:gd name="connsiteY230" fmla="*/ 1074273 h 1380812"/>
                  <a:gd name="connsiteX231" fmla="*/ 239547 w 1017431"/>
                  <a:gd name="connsiteY231" fmla="*/ 1066545 h 1380812"/>
                  <a:gd name="connsiteX232" fmla="*/ 231820 w 1017431"/>
                  <a:gd name="connsiteY232" fmla="*/ 1063969 h 1380812"/>
                  <a:gd name="connsiteX233" fmla="*/ 224092 w 1017431"/>
                  <a:gd name="connsiteY233" fmla="*/ 1069121 h 1380812"/>
                  <a:gd name="connsiteX234" fmla="*/ 216365 w 1017431"/>
                  <a:gd name="connsiteY234" fmla="*/ 1071697 h 1380812"/>
                  <a:gd name="connsiteX235" fmla="*/ 190607 w 1017431"/>
                  <a:gd name="connsiteY235" fmla="*/ 1063969 h 1380812"/>
                  <a:gd name="connsiteX236" fmla="*/ 182880 w 1017431"/>
                  <a:gd name="connsiteY236" fmla="*/ 1061394 h 1380812"/>
                  <a:gd name="connsiteX237" fmla="*/ 172577 w 1017431"/>
                  <a:gd name="connsiteY237" fmla="*/ 1056242 h 1380812"/>
                  <a:gd name="connsiteX238" fmla="*/ 167425 w 1017431"/>
                  <a:gd name="connsiteY238" fmla="*/ 1048515 h 1380812"/>
                  <a:gd name="connsiteX239" fmla="*/ 151971 w 1017431"/>
                  <a:gd name="connsiteY239" fmla="*/ 1033060 h 1380812"/>
                  <a:gd name="connsiteX240" fmla="*/ 136516 w 1017431"/>
                  <a:gd name="connsiteY240" fmla="*/ 1045939 h 1380812"/>
                  <a:gd name="connsiteX241" fmla="*/ 126213 w 1017431"/>
                  <a:gd name="connsiteY241" fmla="*/ 1048515 h 1380812"/>
                  <a:gd name="connsiteX242" fmla="*/ 113334 w 1017431"/>
                  <a:gd name="connsiteY242" fmla="*/ 1038212 h 1380812"/>
                  <a:gd name="connsiteX243" fmla="*/ 110758 w 1017431"/>
                  <a:gd name="connsiteY243" fmla="*/ 1030484 h 1380812"/>
                  <a:gd name="connsiteX244" fmla="*/ 103031 w 1017431"/>
                  <a:gd name="connsiteY244" fmla="*/ 1027909 h 1380812"/>
                  <a:gd name="connsiteX245" fmla="*/ 90152 w 1017431"/>
                  <a:gd name="connsiteY245" fmla="*/ 1030484 h 1380812"/>
                  <a:gd name="connsiteX246" fmla="*/ 74697 w 1017431"/>
                  <a:gd name="connsiteY246" fmla="*/ 1025333 h 1380812"/>
                  <a:gd name="connsiteX247" fmla="*/ 66970 w 1017431"/>
                  <a:gd name="connsiteY247" fmla="*/ 1027909 h 1380812"/>
                  <a:gd name="connsiteX248" fmla="*/ 64394 w 1017431"/>
                  <a:gd name="connsiteY248" fmla="*/ 1009878 h 1380812"/>
                  <a:gd name="connsiteX249" fmla="*/ 56667 w 1017431"/>
                  <a:gd name="connsiteY249" fmla="*/ 1002151 h 1380812"/>
                  <a:gd name="connsiteX250" fmla="*/ 51515 w 1017431"/>
                  <a:gd name="connsiteY250" fmla="*/ 994424 h 1380812"/>
                  <a:gd name="connsiteX251" fmla="*/ 36061 w 1017431"/>
                  <a:gd name="connsiteY251" fmla="*/ 981545 h 1380812"/>
                  <a:gd name="connsiteX252" fmla="*/ 25758 w 1017431"/>
                  <a:gd name="connsiteY252" fmla="*/ 976393 h 1380812"/>
                  <a:gd name="connsiteX253" fmla="*/ 25758 w 1017431"/>
                  <a:gd name="connsiteY253" fmla="*/ 948060 h 1380812"/>
                  <a:gd name="connsiteX254" fmla="*/ 30909 w 1017431"/>
                  <a:gd name="connsiteY254" fmla="*/ 940332 h 1380812"/>
                  <a:gd name="connsiteX255" fmla="*/ 25758 w 1017431"/>
                  <a:gd name="connsiteY255" fmla="*/ 919726 h 1380812"/>
                  <a:gd name="connsiteX256" fmla="*/ 23182 w 1017431"/>
                  <a:gd name="connsiteY256" fmla="*/ 911999 h 1380812"/>
                  <a:gd name="connsiteX257" fmla="*/ 12879 w 1017431"/>
                  <a:gd name="connsiteY257" fmla="*/ 906847 h 1380812"/>
                  <a:gd name="connsiteX258" fmla="*/ 7727 w 1017431"/>
                  <a:gd name="connsiteY258" fmla="*/ 873362 h 1380812"/>
                  <a:gd name="connsiteX259" fmla="*/ 2576 w 1017431"/>
                  <a:gd name="connsiteY259" fmla="*/ 857908 h 1380812"/>
                  <a:gd name="connsiteX260" fmla="*/ 12879 w 1017431"/>
                  <a:gd name="connsiteY260" fmla="*/ 839877 h 1380812"/>
                  <a:gd name="connsiteX261" fmla="*/ 15455 w 1017431"/>
                  <a:gd name="connsiteY261" fmla="*/ 832150 h 1380812"/>
                  <a:gd name="connsiteX262" fmla="*/ 30909 w 1017431"/>
                  <a:gd name="connsiteY262" fmla="*/ 824422 h 1380812"/>
                  <a:gd name="connsiteX263" fmla="*/ 38637 w 1017431"/>
                  <a:gd name="connsiteY263" fmla="*/ 819271 h 1380812"/>
                  <a:gd name="connsiteX264" fmla="*/ 30909 w 1017431"/>
                  <a:gd name="connsiteY264" fmla="*/ 793513 h 1380812"/>
                  <a:gd name="connsiteX265" fmla="*/ 25758 w 1017431"/>
                  <a:gd name="connsiteY265" fmla="*/ 785786 h 1380812"/>
                  <a:gd name="connsiteX266" fmla="*/ 20606 w 1017431"/>
                  <a:gd name="connsiteY266" fmla="*/ 770331 h 1380812"/>
                  <a:gd name="connsiteX267" fmla="*/ 18030 w 1017431"/>
                  <a:gd name="connsiteY267" fmla="*/ 762604 h 1380812"/>
                  <a:gd name="connsiteX268" fmla="*/ 15455 w 1017431"/>
                  <a:gd name="connsiteY268" fmla="*/ 754877 h 1380812"/>
                  <a:gd name="connsiteX269" fmla="*/ 10303 w 1017431"/>
                  <a:gd name="connsiteY269" fmla="*/ 747149 h 1380812"/>
                  <a:gd name="connsiteX270" fmla="*/ 7727 w 1017431"/>
                  <a:gd name="connsiteY270" fmla="*/ 736846 h 1380812"/>
                  <a:gd name="connsiteX271" fmla="*/ 2576 w 1017431"/>
                  <a:gd name="connsiteY271" fmla="*/ 721391 h 1380812"/>
                  <a:gd name="connsiteX272" fmla="*/ 7727 w 1017431"/>
                  <a:gd name="connsiteY272" fmla="*/ 685331 h 1380812"/>
                  <a:gd name="connsiteX273" fmla="*/ 12879 w 1017431"/>
                  <a:gd name="connsiteY273" fmla="*/ 669876 h 1380812"/>
                  <a:gd name="connsiteX274" fmla="*/ 18030 w 1017431"/>
                  <a:gd name="connsiteY274" fmla="*/ 644118 h 1380812"/>
                  <a:gd name="connsiteX275" fmla="*/ 28333 w 1017431"/>
                  <a:gd name="connsiteY275" fmla="*/ 628664 h 1380812"/>
                  <a:gd name="connsiteX276" fmla="*/ 25758 w 1017431"/>
                  <a:gd name="connsiteY276" fmla="*/ 608057 h 1380812"/>
                  <a:gd name="connsiteX277" fmla="*/ 20606 w 1017431"/>
                  <a:gd name="connsiteY277" fmla="*/ 600330 h 1380812"/>
                  <a:gd name="connsiteX278" fmla="*/ 18030 w 1017431"/>
                  <a:gd name="connsiteY278" fmla="*/ 592603 h 1380812"/>
                  <a:gd name="connsiteX279" fmla="*/ 12879 w 1017431"/>
                  <a:gd name="connsiteY279" fmla="*/ 584875 h 1380812"/>
                  <a:gd name="connsiteX280" fmla="*/ 7727 w 1017431"/>
                  <a:gd name="connsiteY280" fmla="*/ 569421 h 1380812"/>
                  <a:gd name="connsiteX281" fmla="*/ 5151 w 1017431"/>
                  <a:gd name="connsiteY281" fmla="*/ 561693 h 1380812"/>
                  <a:gd name="connsiteX282" fmla="*/ 0 w 1017431"/>
                  <a:gd name="connsiteY282" fmla="*/ 553966 h 1380812"/>
                  <a:gd name="connsiteX283" fmla="*/ 2576 w 1017431"/>
                  <a:gd name="connsiteY283" fmla="*/ 546239 h 1380812"/>
                  <a:gd name="connsiteX284" fmla="*/ 10303 w 1017431"/>
                  <a:gd name="connsiteY284" fmla="*/ 541087 h 1380812"/>
                  <a:gd name="connsiteX285" fmla="*/ 30909 w 1017431"/>
                  <a:gd name="connsiteY285" fmla="*/ 535936 h 1380812"/>
                  <a:gd name="connsiteX286" fmla="*/ 54091 w 1017431"/>
                  <a:gd name="connsiteY286" fmla="*/ 538511 h 1380812"/>
                  <a:gd name="connsiteX287" fmla="*/ 72122 w 1017431"/>
                  <a:gd name="connsiteY287" fmla="*/ 535936 h 1380812"/>
                  <a:gd name="connsiteX288" fmla="*/ 100455 w 1017431"/>
                  <a:gd name="connsiteY288" fmla="*/ 533360 h 1380812"/>
                  <a:gd name="connsiteX289" fmla="*/ 97879 w 1017431"/>
                  <a:gd name="connsiteY289" fmla="*/ 510178 h 1380812"/>
                  <a:gd name="connsiteX290" fmla="*/ 95304 w 1017431"/>
                  <a:gd name="connsiteY290" fmla="*/ 502451 h 1380812"/>
                  <a:gd name="connsiteX291" fmla="*/ 103031 w 1017431"/>
                  <a:gd name="connsiteY291" fmla="*/ 486996 h 1380812"/>
                  <a:gd name="connsiteX292" fmla="*/ 108182 w 1017431"/>
                  <a:gd name="connsiteY292" fmla="*/ 471541 h 1380812"/>
                  <a:gd name="connsiteX293" fmla="*/ 115910 w 1017431"/>
                  <a:gd name="connsiteY293" fmla="*/ 456087 h 1380812"/>
                  <a:gd name="connsiteX294" fmla="*/ 113334 w 1017431"/>
                  <a:gd name="connsiteY294" fmla="*/ 443208 h 1380812"/>
                  <a:gd name="connsiteX295" fmla="*/ 105607 w 1017431"/>
                  <a:gd name="connsiteY295" fmla="*/ 440632 h 1380812"/>
                  <a:gd name="connsiteX296" fmla="*/ 95304 w 1017431"/>
                  <a:gd name="connsiteY296" fmla="*/ 438056 h 1380812"/>
                  <a:gd name="connsiteX297" fmla="*/ 92728 w 1017431"/>
                  <a:gd name="connsiteY297" fmla="*/ 430329 h 1380812"/>
                  <a:gd name="connsiteX298" fmla="*/ 103031 w 1017431"/>
                  <a:gd name="connsiteY298" fmla="*/ 412298 h 1380812"/>
                  <a:gd name="connsiteX299" fmla="*/ 105607 w 1017431"/>
                  <a:gd name="connsiteY299" fmla="*/ 404571 h 1380812"/>
                  <a:gd name="connsiteX300" fmla="*/ 121061 w 1017431"/>
                  <a:gd name="connsiteY300" fmla="*/ 399420 h 1380812"/>
                  <a:gd name="connsiteX301" fmla="*/ 128789 w 1017431"/>
                  <a:gd name="connsiteY301" fmla="*/ 394268 h 1380812"/>
                  <a:gd name="connsiteX302" fmla="*/ 136516 w 1017431"/>
                  <a:gd name="connsiteY302" fmla="*/ 391692 h 1380812"/>
                  <a:gd name="connsiteX303" fmla="*/ 141668 w 1017431"/>
                  <a:gd name="connsiteY303" fmla="*/ 376238 h 1380812"/>
                  <a:gd name="connsiteX304" fmla="*/ 141668 w 1017431"/>
                  <a:gd name="connsiteY304" fmla="*/ 353056 h 1380812"/>
                  <a:gd name="connsiteX305" fmla="*/ 144243 w 1017431"/>
                  <a:gd name="connsiteY305" fmla="*/ 345328 h 1380812"/>
                  <a:gd name="connsiteX306" fmla="*/ 151971 w 1017431"/>
                  <a:gd name="connsiteY306" fmla="*/ 329874 h 1380812"/>
                  <a:gd name="connsiteX307" fmla="*/ 149395 w 1017431"/>
                  <a:gd name="connsiteY307" fmla="*/ 311843 h 1380812"/>
                  <a:gd name="connsiteX308" fmla="*/ 146819 w 1017431"/>
                  <a:gd name="connsiteY308" fmla="*/ 296389 h 1380812"/>
                  <a:gd name="connsiteX309" fmla="*/ 154546 w 1017431"/>
                  <a:gd name="connsiteY309" fmla="*/ 293813 h 1380812"/>
                  <a:gd name="connsiteX310" fmla="*/ 162274 w 1017431"/>
                  <a:gd name="connsiteY310" fmla="*/ 288661 h 1380812"/>
                  <a:gd name="connsiteX311" fmla="*/ 164849 w 1017431"/>
                  <a:gd name="connsiteY311" fmla="*/ 280934 h 1380812"/>
                  <a:gd name="connsiteX312" fmla="*/ 157122 w 1017431"/>
                  <a:gd name="connsiteY312" fmla="*/ 278358 h 1380812"/>
                  <a:gd name="connsiteX313" fmla="*/ 136516 w 1017431"/>
                  <a:gd name="connsiteY313" fmla="*/ 270631 h 1380812"/>
                  <a:gd name="connsiteX314" fmla="*/ 139092 w 1017431"/>
                  <a:gd name="connsiteY314" fmla="*/ 260328 h 1380812"/>
                  <a:gd name="connsiteX315" fmla="*/ 141668 w 1017431"/>
                  <a:gd name="connsiteY315" fmla="*/ 252600 h 1380812"/>
                  <a:gd name="connsiteX316" fmla="*/ 146819 w 1017431"/>
                  <a:gd name="connsiteY316" fmla="*/ 231994 h 1380812"/>
                  <a:gd name="connsiteX317" fmla="*/ 149395 w 1017431"/>
                  <a:gd name="connsiteY317" fmla="*/ 224267 h 1380812"/>
                  <a:gd name="connsiteX318" fmla="*/ 164849 w 1017431"/>
                  <a:gd name="connsiteY318" fmla="*/ 219115 h 1380812"/>
                  <a:gd name="connsiteX319" fmla="*/ 188031 w 1017431"/>
                  <a:gd name="connsiteY319" fmla="*/ 221691 h 1380812"/>
                  <a:gd name="connsiteX320" fmla="*/ 195759 w 1017431"/>
                  <a:gd name="connsiteY320" fmla="*/ 226843 h 1380812"/>
                  <a:gd name="connsiteX321" fmla="*/ 216365 w 1017431"/>
                  <a:gd name="connsiteY321" fmla="*/ 224267 h 1380812"/>
                  <a:gd name="connsiteX322" fmla="*/ 236971 w 1017431"/>
                  <a:gd name="connsiteY322" fmla="*/ 224267 h 1380812"/>
                  <a:gd name="connsiteX323" fmla="*/ 242123 w 1017431"/>
                  <a:gd name="connsiteY323" fmla="*/ 231994 h 1380812"/>
                  <a:gd name="connsiteX324" fmla="*/ 244698 w 1017431"/>
                  <a:gd name="connsiteY324" fmla="*/ 260328 h 1380812"/>
                  <a:gd name="connsiteX325" fmla="*/ 239547 w 1017431"/>
                  <a:gd name="connsiteY325" fmla="*/ 268055 h 1380812"/>
                  <a:gd name="connsiteX326" fmla="*/ 252426 w 1017431"/>
                  <a:gd name="connsiteY326" fmla="*/ 280934 h 1380812"/>
                  <a:gd name="connsiteX327" fmla="*/ 260153 w 1017431"/>
                  <a:gd name="connsiteY327" fmla="*/ 278358 h 1380812"/>
                  <a:gd name="connsiteX328" fmla="*/ 257577 w 1017431"/>
                  <a:gd name="connsiteY328" fmla="*/ 270631 h 1380812"/>
                  <a:gd name="connsiteX329" fmla="*/ 252426 w 1017431"/>
                  <a:gd name="connsiteY329" fmla="*/ 262904 h 1380812"/>
                  <a:gd name="connsiteX330" fmla="*/ 260153 w 1017431"/>
                  <a:gd name="connsiteY330" fmla="*/ 257752 h 1380812"/>
                  <a:gd name="connsiteX331" fmla="*/ 288487 w 1017431"/>
                  <a:gd name="connsiteY331" fmla="*/ 260328 h 1380812"/>
                  <a:gd name="connsiteX332" fmla="*/ 291062 w 1017431"/>
                  <a:gd name="connsiteY332" fmla="*/ 270631 h 1380812"/>
                  <a:gd name="connsiteX333" fmla="*/ 306517 w 1017431"/>
                  <a:gd name="connsiteY333" fmla="*/ 286086 h 1380812"/>
                  <a:gd name="connsiteX334" fmla="*/ 298790 w 1017431"/>
                  <a:gd name="connsiteY334" fmla="*/ 257752 h 1380812"/>
                  <a:gd name="connsiteX335" fmla="*/ 296214 w 1017431"/>
                  <a:gd name="connsiteY335" fmla="*/ 250025 h 1380812"/>
                  <a:gd name="connsiteX336" fmla="*/ 298790 w 1017431"/>
                  <a:gd name="connsiteY336" fmla="*/ 231994 h 1380812"/>
                  <a:gd name="connsiteX337" fmla="*/ 301366 w 1017431"/>
                  <a:gd name="connsiteY337" fmla="*/ 203661 h 1380812"/>
                  <a:gd name="connsiteX338" fmla="*/ 309093 w 1017431"/>
                  <a:gd name="connsiteY338" fmla="*/ 201085 h 1380812"/>
                  <a:gd name="connsiteX339" fmla="*/ 321972 w 1017431"/>
                  <a:gd name="connsiteY339" fmla="*/ 211388 h 1380812"/>
                  <a:gd name="connsiteX340" fmla="*/ 329699 w 1017431"/>
                  <a:gd name="connsiteY340" fmla="*/ 213964 h 1380812"/>
                  <a:gd name="connsiteX341" fmla="*/ 345154 w 1017431"/>
                  <a:gd name="connsiteY341" fmla="*/ 206237 h 1380812"/>
                  <a:gd name="connsiteX342" fmla="*/ 350305 w 1017431"/>
                  <a:gd name="connsiteY342" fmla="*/ 198509 h 1380812"/>
                  <a:gd name="connsiteX343" fmla="*/ 373487 w 1017431"/>
                  <a:gd name="connsiteY343" fmla="*/ 201085 h 1380812"/>
                  <a:gd name="connsiteX344" fmla="*/ 391518 w 1017431"/>
                  <a:gd name="connsiteY344" fmla="*/ 221691 h 1380812"/>
                  <a:gd name="connsiteX345" fmla="*/ 399245 w 1017431"/>
                  <a:gd name="connsiteY345" fmla="*/ 229418 h 1380812"/>
                  <a:gd name="connsiteX346" fmla="*/ 409548 w 1017431"/>
                  <a:gd name="connsiteY346" fmla="*/ 244873 h 1380812"/>
                  <a:gd name="connsiteX347" fmla="*/ 425003 w 1017431"/>
                  <a:gd name="connsiteY347" fmla="*/ 250025 h 1380812"/>
                  <a:gd name="connsiteX348" fmla="*/ 414700 w 1017431"/>
                  <a:gd name="connsiteY348" fmla="*/ 237146 h 1380812"/>
                  <a:gd name="connsiteX349" fmla="*/ 404397 w 1017431"/>
                  <a:gd name="connsiteY349" fmla="*/ 221691 h 1380812"/>
                  <a:gd name="connsiteX350" fmla="*/ 396669 w 1017431"/>
                  <a:gd name="connsiteY350" fmla="*/ 213964 h 1380812"/>
                  <a:gd name="connsiteX351" fmla="*/ 386366 w 1017431"/>
                  <a:gd name="connsiteY351" fmla="*/ 198509 h 1380812"/>
                  <a:gd name="connsiteX352" fmla="*/ 370911 w 1017431"/>
                  <a:gd name="connsiteY352" fmla="*/ 193358 h 1380812"/>
                  <a:gd name="connsiteX353" fmla="*/ 363184 w 1017431"/>
                  <a:gd name="connsiteY353" fmla="*/ 190782 h 1380812"/>
                  <a:gd name="connsiteX354" fmla="*/ 342578 w 1017431"/>
                  <a:gd name="connsiteY354" fmla="*/ 193358 h 1380812"/>
                  <a:gd name="connsiteX355" fmla="*/ 337426 w 1017431"/>
                  <a:gd name="connsiteY355" fmla="*/ 162448 h 1380812"/>
                  <a:gd name="connsiteX356" fmla="*/ 340002 w 1017431"/>
                  <a:gd name="connsiteY356" fmla="*/ 154721 h 1380812"/>
                  <a:gd name="connsiteX357" fmla="*/ 347729 w 1017431"/>
                  <a:gd name="connsiteY357" fmla="*/ 149569 h 1380812"/>
                  <a:gd name="connsiteX358" fmla="*/ 340002 w 1017431"/>
                  <a:gd name="connsiteY358" fmla="*/ 144418 h 1380812"/>
                  <a:gd name="connsiteX359" fmla="*/ 332275 w 1017431"/>
                  <a:gd name="connsiteY359" fmla="*/ 141842 h 1380812"/>
                  <a:gd name="connsiteX360" fmla="*/ 329699 w 1017431"/>
                  <a:gd name="connsiteY360" fmla="*/ 128963 h 1380812"/>
                  <a:gd name="connsiteX361" fmla="*/ 316820 w 1017431"/>
                  <a:gd name="connsiteY361" fmla="*/ 116084 h 1380812"/>
                  <a:gd name="connsiteX362" fmla="*/ 306517 w 1017431"/>
                  <a:gd name="connsiteY362" fmla="*/ 100630 h 1380812"/>
                  <a:gd name="connsiteX363" fmla="*/ 324548 w 1017431"/>
                  <a:gd name="connsiteY363" fmla="*/ 95478 h 1380812"/>
                  <a:gd name="connsiteX364" fmla="*/ 332275 w 1017431"/>
                  <a:gd name="connsiteY364" fmla="*/ 92902 h 1380812"/>
                  <a:gd name="connsiteX365" fmla="*/ 355457 w 1017431"/>
                  <a:gd name="connsiteY365" fmla="*/ 87751 h 1380812"/>
                  <a:gd name="connsiteX366" fmla="*/ 352881 w 1017431"/>
                  <a:gd name="connsiteY366" fmla="*/ 77448 h 1380812"/>
                  <a:gd name="connsiteX367" fmla="*/ 345154 w 1017431"/>
                  <a:gd name="connsiteY367" fmla="*/ 72296 h 1380812"/>
                  <a:gd name="connsiteX368" fmla="*/ 337426 w 1017431"/>
                  <a:gd name="connsiteY368" fmla="*/ 64569 h 1380812"/>
                  <a:gd name="connsiteX369" fmla="*/ 327123 w 1017431"/>
                  <a:gd name="connsiteY369" fmla="*/ 41387 h 1380812"/>
                  <a:gd name="connsiteX370" fmla="*/ 316820 w 1017431"/>
                  <a:gd name="connsiteY370" fmla="*/ 38811 h 1380812"/>
                  <a:gd name="connsiteX371" fmla="*/ 283335 w 1017431"/>
                  <a:gd name="connsiteY371" fmla="*/ 41387 h 1380812"/>
                  <a:gd name="connsiteX372" fmla="*/ 280759 w 1017431"/>
                  <a:gd name="connsiteY372" fmla="*/ 33660 h 1380812"/>
                  <a:gd name="connsiteX373" fmla="*/ 296214 w 1017431"/>
                  <a:gd name="connsiteY373" fmla="*/ 28508 h 1380812"/>
                  <a:gd name="connsiteX374" fmla="*/ 303941 w 1017431"/>
                  <a:gd name="connsiteY374" fmla="*/ 31084 h 1380812"/>
                  <a:gd name="connsiteX375" fmla="*/ 306517 w 1017431"/>
                  <a:gd name="connsiteY375" fmla="*/ 23357 h 1380812"/>
                  <a:gd name="connsiteX376" fmla="*/ 293638 w 1017431"/>
                  <a:gd name="connsiteY376" fmla="*/ 13053 h 1380812"/>
                  <a:gd name="connsiteX377" fmla="*/ 291062 w 1017431"/>
                  <a:gd name="connsiteY377" fmla="*/ 5326 h 1380812"/>
                  <a:gd name="connsiteX378" fmla="*/ 309093 w 1017431"/>
                  <a:gd name="connsiteY378" fmla="*/ 5326 h 1380812"/>
                  <a:gd name="connsiteX379" fmla="*/ 316820 w 1017431"/>
                  <a:gd name="connsiteY379" fmla="*/ 7902 h 1380812"/>
                  <a:gd name="connsiteX380" fmla="*/ 350305 w 1017431"/>
                  <a:gd name="connsiteY380" fmla="*/ 7902 h 1380812"/>
                  <a:gd name="connsiteX381" fmla="*/ 358033 w 1017431"/>
                  <a:gd name="connsiteY381" fmla="*/ 10478 h 1380812"/>
                  <a:gd name="connsiteX382" fmla="*/ 381215 w 1017431"/>
                  <a:gd name="connsiteY382" fmla="*/ 23357 h 1380812"/>
                  <a:gd name="connsiteX383" fmla="*/ 409548 w 1017431"/>
                  <a:gd name="connsiteY383" fmla="*/ 25932 h 1380812"/>
                  <a:gd name="connsiteX384" fmla="*/ 430154 w 1017431"/>
                  <a:gd name="connsiteY384" fmla="*/ 28508 h 1380812"/>
                  <a:gd name="connsiteX385" fmla="*/ 437882 w 1017431"/>
                  <a:gd name="connsiteY385" fmla="*/ 31084 h 1380812"/>
                  <a:gd name="connsiteX386" fmla="*/ 450760 w 1017431"/>
                  <a:gd name="connsiteY386" fmla="*/ 46538 h 1380812"/>
                  <a:gd name="connsiteX387" fmla="*/ 466215 w 1017431"/>
                  <a:gd name="connsiteY387" fmla="*/ 51690 h 1380812"/>
                  <a:gd name="connsiteX388" fmla="*/ 458488 w 1017431"/>
                  <a:gd name="connsiteY388" fmla="*/ 54266 h 1380812"/>
                  <a:gd name="connsiteX389" fmla="*/ 445609 w 1017431"/>
                  <a:gd name="connsiteY389" fmla="*/ 67145 h 1380812"/>
                  <a:gd name="connsiteX390" fmla="*/ 440457 w 1017431"/>
                  <a:gd name="connsiteY390" fmla="*/ 82599 h 1380812"/>
                  <a:gd name="connsiteX391" fmla="*/ 437882 w 1017431"/>
                  <a:gd name="connsiteY391" fmla="*/ 90327 h 1380812"/>
                  <a:gd name="connsiteX392" fmla="*/ 453336 w 1017431"/>
                  <a:gd name="connsiteY392" fmla="*/ 87751 h 1380812"/>
                  <a:gd name="connsiteX393" fmla="*/ 468791 w 1017431"/>
                  <a:gd name="connsiteY393" fmla="*/ 85175 h 1380812"/>
                  <a:gd name="connsiteX394" fmla="*/ 491973 w 1017431"/>
                  <a:gd name="connsiteY394" fmla="*/ 87751 h 1380812"/>
                  <a:gd name="connsiteX395" fmla="*/ 507428 w 1017431"/>
                  <a:gd name="connsiteY395" fmla="*/ 100630 h 1380812"/>
                  <a:gd name="connsiteX396" fmla="*/ 530609 w 1017431"/>
                  <a:gd name="connsiteY396" fmla="*/ 113509 h 1380812"/>
                  <a:gd name="connsiteX397" fmla="*/ 548640 w 1017431"/>
                  <a:gd name="connsiteY397" fmla="*/ 110933 h 1380812"/>
                  <a:gd name="connsiteX398" fmla="*/ 551216 w 1017431"/>
                  <a:gd name="connsiteY398" fmla="*/ 103206 h 1380812"/>
                  <a:gd name="connsiteX399" fmla="*/ 553791 w 1017431"/>
                  <a:gd name="connsiteY399" fmla="*/ 87751 h 1380812"/>
                  <a:gd name="connsiteX400" fmla="*/ 561519 w 1017431"/>
                  <a:gd name="connsiteY400" fmla="*/ 85175 h 1380812"/>
                  <a:gd name="connsiteX401" fmla="*/ 576973 w 1017431"/>
                  <a:gd name="connsiteY401" fmla="*/ 74872 h 1380812"/>
                  <a:gd name="connsiteX402" fmla="*/ 587277 w 1017431"/>
                  <a:gd name="connsiteY402" fmla="*/ 77448 h 1380812"/>
                  <a:gd name="connsiteX403" fmla="*/ 584701 w 1017431"/>
                  <a:gd name="connsiteY403" fmla="*/ 85175 h 1380812"/>
                  <a:gd name="connsiteX404" fmla="*/ 569246 w 1017431"/>
                  <a:gd name="connsiteY404" fmla="*/ 87751 h 1380812"/>
                  <a:gd name="connsiteX405" fmla="*/ 553791 w 1017431"/>
                  <a:gd name="connsiteY405" fmla="*/ 100630 h 1380812"/>
                  <a:gd name="connsiteX406" fmla="*/ 569246 w 1017431"/>
                  <a:gd name="connsiteY406" fmla="*/ 103206 h 1380812"/>
                  <a:gd name="connsiteX407" fmla="*/ 561519 w 1017431"/>
                  <a:gd name="connsiteY407" fmla="*/ 118660 h 1380812"/>
                  <a:gd name="connsiteX408" fmla="*/ 556367 w 1017431"/>
                  <a:gd name="connsiteY408" fmla="*/ 136691 h 1380812"/>
                  <a:gd name="connsiteX409" fmla="*/ 540913 w 1017431"/>
                  <a:gd name="connsiteY409" fmla="*/ 144418 h 1380812"/>
                  <a:gd name="connsiteX410" fmla="*/ 533185 w 1017431"/>
                  <a:gd name="connsiteY410" fmla="*/ 152145 h 1380812"/>
                  <a:gd name="connsiteX411" fmla="*/ 522882 w 1017431"/>
                  <a:gd name="connsiteY411" fmla="*/ 167600 h 1380812"/>
                  <a:gd name="connsiteX412" fmla="*/ 538337 w 1017431"/>
                  <a:gd name="connsiteY412" fmla="*/ 175327 h 1380812"/>
                  <a:gd name="connsiteX413" fmla="*/ 540913 w 1017431"/>
                  <a:gd name="connsiteY413" fmla="*/ 193358 h 1380812"/>
                  <a:gd name="connsiteX414" fmla="*/ 556367 w 1017431"/>
                  <a:gd name="connsiteY414" fmla="*/ 185630 h 1380812"/>
                  <a:gd name="connsiteX415" fmla="*/ 571822 w 1017431"/>
                  <a:gd name="connsiteY415" fmla="*/ 177903 h 1380812"/>
                  <a:gd name="connsiteX416" fmla="*/ 576973 w 1017431"/>
                  <a:gd name="connsiteY416" fmla="*/ 177903 h 1380812"/>
                  <a:gd name="connsiteX417" fmla="*/ 592428 w 1017431"/>
                  <a:gd name="connsiteY417" fmla="*/ 183055 h 1380812"/>
                  <a:gd name="connsiteX418" fmla="*/ 607883 w 1017431"/>
                  <a:gd name="connsiteY418" fmla="*/ 172751 h 1380812"/>
                  <a:gd name="connsiteX419" fmla="*/ 610458 w 1017431"/>
                  <a:gd name="connsiteY419" fmla="*/ 165024 h 1380812"/>
                  <a:gd name="connsiteX420" fmla="*/ 625913 w 1017431"/>
                  <a:gd name="connsiteY420" fmla="*/ 152145 h 1380812"/>
                  <a:gd name="connsiteX421" fmla="*/ 633640 w 1017431"/>
                  <a:gd name="connsiteY421" fmla="*/ 149569 h 1380812"/>
                  <a:gd name="connsiteX422" fmla="*/ 641368 w 1017431"/>
                  <a:gd name="connsiteY422" fmla="*/ 141842 h 1380812"/>
                  <a:gd name="connsiteX423" fmla="*/ 674853 w 1017431"/>
                  <a:gd name="connsiteY423" fmla="*/ 134115 h 1380812"/>
                  <a:gd name="connsiteX424" fmla="*/ 682580 w 1017431"/>
                  <a:gd name="connsiteY424" fmla="*/ 128963 h 1380812"/>
                  <a:gd name="connsiteX425" fmla="*/ 698035 w 1017431"/>
                  <a:gd name="connsiteY425" fmla="*/ 126388 h 1380812"/>
                  <a:gd name="connsiteX426" fmla="*/ 703186 w 1017431"/>
                  <a:gd name="connsiteY426" fmla="*/ 118660 h 1380812"/>
                  <a:gd name="connsiteX427" fmla="*/ 710914 w 1017431"/>
                  <a:gd name="connsiteY427" fmla="*/ 95478 h 1380812"/>
                  <a:gd name="connsiteX0" fmla="*/ 710914 w 1017431"/>
                  <a:gd name="connsiteY0" fmla="*/ 95478 h 1380812"/>
                  <a:gd name="connsiteX1" fmla="*/ 767581 w 1017431"/>
                  <a:gd name="connsiteY1" fmla="*/ 95478 h 1380812"/>
                  <a:gd name="connsiteX2" fmla="*/ 770157 w 1017431"/>
                  <a:gd name="connsiteY2" fmla="*/ 103206 h 1380812"/>
                  <a:gd name="connsiteX3" fmla="*/ 775308 w 1017431"/>
                  <a:gd name="connsiteY3" fmla="*/ 110933 h 1380812"/>
                  <a:gd name="connsiteX4" fmla="*/ 777884 w 1017431"/>
                  <a:gd name="connsiteY4" fmla="*/ 98054 h 1380812"/>
                  <a:gd name="connsiteX5" fmla="*/ 785611 w 1017431"/>
                  <a:gd name="connsiteY5" fmla="*/ 92902 h 1380812"/>
                  <a:gd name="connsiteX6" fmla="*/ 788187 w 1017431"/>
                  <a:gd name="connsiteY6" fmla="*/ 85175 h 1380812"/>
                  <a:gd name="connsiteX7" fmla="*/ 798490 w 1017431"/>
                  <a:gd name="connsiteY7" fmla="*/ 43963 h 1380812"/>
                  <a:gd name="connsiteX8" fmla="*/ 816520 w 1017431"/>
                  <a:gd name="connsiteY8" fmla="*/ 46538 h 1380812"/>
                  <a:gd name="connsiteX9" fmla="*/ 829399 w 1017431"/>
                  <a:gd name="connsiteY9" fmla="*/ 61993 h 1380812"/>
                  <a:gd name="connsiteX10" fmla="*/ 831975 w 1017431"/>
                  <a:gd name="connsiteY10" fmla="*/ 85175 h 1380812"/>
                  <a:gd name="connsiteX11" fmla="*/ 834551 w 1017431"/>
                  <a:gd name="connsiteY11" fmla="*/ 95478 h 1380812"/>
                  <a:gd name="connsiteX12" fmla="*/ 842278 w 1017431"/>
                  <a:gd name="connsiteY12" fmla="*/ 98054 h 1380812"/>
                  <a:gd name="connsiteX13" fmla="*/ 829399 w 1017431"/>
                  <a:gd name="connsiteY13" fmla="*/ 100630 h 1380812"/>
                  <a:gd name="connsiteX14" fmla="*/ 813945 w 1017431"/>
                  <a:gd name="connsiteY14" fmla="*/ 108357 h 1380812"/>
                  <a:gd name="connsiteX15" fmla="*/ 808793 w 1017431"/>
                  <a:gd name="connsiteY15" fmla="*/ 116084 h 1380812"/>
                  <a:gd name="connsiteX16" fmla="*/ 775308 w 1017431"/>
                  <a:gd name="connsiteY16" fmla="*/ 116084 h 1380812"/>
                  <a:gd name="connsiteX17" fmla="*/ 777884 w 1017431"/>
                  <a:gd name="connsiteY17" fmla="*/ 105781 h 1380812"/>
                  <a:gd name="connsiteX18" fmla="*/ 785611 w 1017431"/>
                  <a:gd name="connsiteY18" fmla="*/ 108357 h 1380812"/>
                  <a:gd name="connsiteX19" fmla="*/ 803642 w 1017431"/>
                  <a:gd name="connsiteY19" fmla="*/ 126388 h 1380812"/>
                  <a:gd name="connsiteX20" fmla="*/ 816520 w 1017431"/>
                  <a:gd name="connsiteY20" fmla="*/ 149569 h 1380812"/>
                  <a:gd name="connsiteX21" fmla="*/ 824248 w 1017431"/>
                  <a:gd name="connsiteY21" fmla="*/ 146994 h 1380812"/>
                  <a:gd name="connsiteX22" fmla="*/ 839702 w 1017431"/>
                  <a:gd name="connsiteY22" fmla="*/ 136691 h 1380812"/>
                  <a:gd name="connsiteX23" fmla="*/ 855157 w 1017431"/>
                  <a:gd name="connsiteY23" fmla="*/ 139266 h 1380812"/>
                  <a:gd name="connsiteX24" fmla="*/ 857733 w 1017431"/>
                  <a:gd name="connsiteY24" fmla="*/ 146994 h 1380812"/>
                  <a:gd name="connsiteX25" fmla="*/ 865460 w 1017431"/>
                  <a:gd name="connsiteY25" fmla="*/ 149569 h 1380812"/>
                  <a:gd name="connsiteX26" fmla="*/ 880915 w 1017431"/>
                  <a:gd name="connsiteY26" fmla="*/ 152145 h 1380812"/>
                  <a:gd name="connsiteX27" fmla="*/ 891218 w 1017431"/>
                  <a:gd name="connsiteY27" fmla="*/ 172751 h 1380812"/>
                  <a:gd name="connsiteX28" fmla="*/ 888642 w 1017431"/>
                  <a:gd name="connsiteY28" fmla="*/ 165024 h 1380812"/>
                  <a:gd name="connsiteX29" fmla="*/ 880915 w 1017431"/>
                  <a:gd name="connsiteY29" fmla="*/ 162448 h 1380812"/>
                  <a:gd name="connsiteX30" fmla="*/ 873188 w 1017431"/>
                  <a:gd name="connsiteY30" fmla="*/ 157297 h 1380812"/>
                  <a:gd name="connsiteX31" fmla="*/ 862884 w 1017431"/>
                  <a:gd name="connsiteY31" fmla="*/ 159873 h 1380812"/>
                  <a:gd name="connsiteX32" fmla="*/ 873188 w 1017431"/>
                  <a:gd name="connsiteY32" fmla="*/ 198509 h 1380812"/>
                  <a:gd name="connsiteX33" fmla="*/ 880915 w 1017431"/>
                  <a:gd name="connsiteY33" fmla="*/ 195933 h 1380812"/>
                  <a:gd name="connsiteX34" fmla="*/ 883491 w 1017431"/>
                  <a:gd name="connsiteY34" fmla="*/ 206237 h 1380812"/>
                  <a:gd name="connsiteX35" fmla="*/ 888642 w 1017431"/>
                  <a:gd name="connsiteY35" fmla="*/ 213964 h 1380812"/>
                  <a:gd name="connsiteX36" fmla="*/ 904097 w 1017431"/>
                  <a:gd name="connsiteY36" fmla="*/ 208812 h 1380812"/>
                  <a:gd name="connsiteX37" fmla="*/ 909248 w 1017431"/>
                  <a:gd name="connsiteY37" fmla="*/ 224267 h 1380812"/>
                  <a:gd name="connsiteX38" fmla="*/ 914400 w 1017431"/>
                  <a:gd name="connsiteY38" fmla="*/ 242297 h 1380812"/>
                  <a:gd name="connsiteX39" fmla="*/ 916976 w 1017431"/>
                  <a:gd name="connsiteY39" fmla="*/ 257752 h 1380812"/>
                  <a:gd name="connsiteX40" fmla="*/ 924703 w 1017431"/>
                  <a:gd name="connsiteY40" fmla="*/ 265479 h 1380812"/>
                  <a:gd name="connsiteX41" fmla="*/ 929855 w 1017431"/>
                  <a:gd name="connsiteY41" fmla="*/ 273207 h 1380812"/>
                  <a:gd name="connsiteX42" fmla="*/ 935006 w 1017431"/>
                  <a:gd name="connsiteY42" fmla="*/ 291237 h 1380812"/>
                  <a:gd name="connsiteX43" fmla="*/ 940158 w 1017431"/>
                  <a:gd name="connsiteY43" fmla="*/ 311843 h 1380812"/>
                  <a:gd name="connsiteX44" fmla="*/ 937582 w 1017431"/>
                  <a:gd name="connsiteY44" fmla="*/ 327298 h 1380812"/>
                  <a:gd name="connsiteX45" fmla="*/ 929855 w 1017431"/>
                  <a:gd name="connsiteY45" fmla="*/ 329874 h 1380812"/>
                  <a:gd name="connsiteX46" fmla="*/ 911824 w 1017431"/>
                  <a:gd name="connsiteY46" fmla="*/ 335025 h 1380812"/>
                  <a:gd name="connsiteX47" fmla="*/ 904097 w 1017431"/>
                  <a:gd name="connsiteY47" fmla="*/ 340177 h 1380812"/>
                  <a:gd name="connsiteX48" fmla="*/ 901521 w 1017431"/>
                  <a:gd name="connsiteY48" fmla="*/ 347904 h 1380812"/>
                  <a:gd name="connsiteX49" fmla="*/ 914400 w 1017431"/>
                  <a:gd name="connsiteY49" fmla="*/ 371086 h 1380812"/>
                  <a:gd name="connsiteX50" fmla="*/ 922127 w 1017431"/>
                  <a:gd name="connsiteY50" fmla="*/ 373662 h 1380812"/>
                  <a:gd name="connsiteX51" fmla="*/ 937582 w 1017431"/>
                  <a:gd name="connsiteY51" fmla="*/ 386541 h 1380812"/>
                  <a:gd name="connsiteX52" fmla="*/ 940158 w 1017431"/>
                  <a:gd name="connsiteY52" fmla="*/ 394268 h 1380812"/>
                  <a:gd name="connsiteX53" fmla="*/ 947885 w 1017431"/>
                  <a:gd name="connsiteY53" fmla="*/ 396844 h 1380812"/>
                  <a:gd name="connsiteX54" fmla="*/ 950461 w 1017431"/>
                  <a:gd name="connsiteY54" fmla="*/ 407147 h 1380812"/>
                  <a:gd name="connsiteX55" fmla="*/ 955612 w 1017431"/>
                  <a:gd name="connsiteY55" fmla="*/ 422602 h 1380812"/>
                  <a:gd name="connsiteX56" fmla="*/ 958188 w 1017431"/>
                  <a:gd name="connsiteY56" fmla="*/ 430329 h 1380812"/>
                  <a:gd name="connsiteX57" fmla="*/ 955612 w 1017431"/>
                  <a:gd name="connsiteY57" fmla="*/ 438056 h 1380812"/>
                  <a:gd name="connsiteX58" fmla="*/ 950461 w 1017431"/>
                  <a:gd name="connsiteY58" fmla="*/ 456087 h 1380812"/>
                  <a:gd name="connsiteX59" fmla="*/ 965915 w 1017431"/>
                  <a:gd name="connsiteY59" fmla="*/ 466390 h 1380812"/>
                  <a:gd name="connsiteX60" fmla="*/ 971067 w 1017431"/>
                  <a:gd name="connsiteY60" fmla="*/ 476693 h 1380812"/>
                  <a:gd name="connsiteX61" fmla="*/ 973643 w 1017431"/>
                  <a:gd name="connsiteY61" fmla="*/ 507602 h 1380812"/>
                  <a:gd name="connsiteX62" fmla="*/ 976218 w 1017431"/>
                  <a:gd name="connsiteY62" fmla="*/ 525633 h 1380812"/>
                  <a:gd name="connsiteX63" fmla="*/ 973643 w 1017431"/>
                  <a:gd name="connsiteY63" fmla="*/ 535936 h 1380812"/>
                  <a:gd name="connsiteX64" fmla="*/ 965915 w 1017431"/>
                  <a:gd name="connsiteY64" fmla="*/ 541087 h 1380812"/>
                  <a:gd name="connsiteX65" fmla="*/ 960764 w 1017431"/>
                  <a:gd name="connsiteY65" fmla="*/ 548815 h 1380812"/>
                  <a:gd name="connsiteX66" fmla="*/ 963340 w 1017431"/>
                  <a:gd name="connsiteY66" fmla="*/ 561693 h 1380812"/>
                  <a:gd name="connsiteX67" fmla="*/ 971067 w 1017431"/>
                  <a:gd name="connsiteY67" fmla="*/ 564269 h 1380812"/>
                  <a:gd name="connsiteX68" fmla="*/ 981370 w 1017431"/>
                  <a:gd name="connsiteY68" fmla="*/ 569421 h 1380812"/>
                  <a:gd name="connsiteX69" fmla="*/ 986522 w 1017431"/>
                  <a:gd name="connsiteY69" fmla="*/ 577148 h 1380812"/>
                  <a:gd name="connsiteX70" fmla="*/ 978794 w 1017431"/>
                  <a:gd name="connsiteY70" fmla="*/ 595178 h 1380812"/>
                  <a:gd name="connsiteX71" fmla="*/ 986522 w 1017431"/>
                  <a:gd name="connsiteY71" fmla="*/ 600330 h 1380812"/>
                  <a:gd name="connsiteX72" fmla="*/ 994249 w 1017431"/>
                  <a:gd name="connsiteY72" fmla="*/ 602906 h 1380812"/>
                  <a:gd name="connsiteX73" fmla="*/ 1007128 w 1017431"/>
                  <a:gd name="connsiteY73" fmla="*/ 618360 h 1380812"/>
                  <a:gd name="connsiteX74" fmla="*/ 1014855 w 1017431"/>
                  <a:gd name="connsiteY74" fmla="*/ 641542 h 1380812"/>
                  <a:gd name="connsiteX75" fmla="*/ 1017431 w 1017431"/>
                  <a:gd name="connsiteY75" fmla="*/ 649270 h 1380812"/>
                  <a:gd name="connsiteX76" fmla="*/ 1014855 w 1017431"/>
                  <a:gd name="connsiteY76" fmla="*/ 667300 h 1380812"/>
                  <a:gd name="connsiteX77" fmla="*/ 1012279 w 1017431"/>
                  <a:gd name="connsiteY77" fmla="*/ 708513 h 1380812"/>
                  <a:gd name="connsiteX78" fmla="*/ 996825 w 1017431"/>
                  <a:gd name="connsiteY78" fmla="*/ 713664 h 1380812"/>
                  <a:gd name="connsiteX79" fmla="*/ 994249 w 1017431"/>
                  <a:gd name="connsiteY79" fmla="*/ 731695 h 1380812"/>
                  <a:gd name="connsiteX80" fmla="*/ 981370 w 1017431"/>
                  <a:gd name="connsiteY80" fmla="*/ 729119 h 1380812"/>
                  <a:gd name="connsiteX81" fmla="*/ 976218 w 1017431"/>
                  <a:gd name="connsiteY81" fmla="*/ 713664 h 1380812"/>
                  <a:gd name="connsiteX82" fmla="*/ 978794 w 1017431"/>
                  <a:gd name="connsiteY82" fmla="*/ 705937 h 1380812"/>
                  <a:gd name="connsiteX83" fmla="*/ 955612 w 1017431"/>
                  <a:gd name="connsiteY83" fmla="*/ 693058 h 1380812"/>
                  <a:gd name="connsiteX84" fmla="*/ 947885 w 1017431"/>
                  <a:gd name="connsiteY84" fmla="*/ 695634 h 1380812"/>
                  <a:gd name="connsiteX85" fmla="*/ 950461 w 1017431"/>
                  <a:gd name="connsiteY85" fmla="*/ 708513 h 1380812"/>
                  <a:gd name="connsiteX86" fmla="*/ 947885 w 1017431"/>
                  <a:gd name="connsiteY86" fmla="*/ 744573 h 1380812"/>
                  <a:gd name="connsiteX87" fmla="*/ 940158 w 1017431"/>
                  <a:gd name="connsiteY87" fmla="*/ 723967 h 1380812"/>
                  <a:gd name="connsiteX88" fmla="*/ 937582 w 1017431"/>
                  <a:gd name="connsiteY88" fmla="*/ 713664 h 1380812"/>
                  <a:gd name="connsiteX89" fmla="*/ 935006 w 1017431"/>
                  <a:gd name="connsiteY89" fmla="*/ 723967 h 1380812"/>
                  <a:gd name="connsiteX90" fmla="*/ 914400 w 1017431"/>
                  <a:gd name="connsiteY90" fmla="*/ 731695 h 1380812"/>
                  <a:gd name="connsiteX91" fmla="*/ 906673 w 1017431"/>
                  <a:gd name="connsiteY91" fmla="*/ 736846 h 1380812"/>
                  <a:gd name="connsiteX92" fmla="*/ 891218 w 1017431"/>
                  <a:gd name="connsiteY92" fmla="*/ 741998 h 1380812"/>
                  <a:gd name="connsiteX93" fmla="*/ 883491 w 1017431"/>
                  <a:gd name="connsiteY93" fmla="*/ 749725 h 1380812"/>
                  <a:gd name="connsiteX94" fmla="*/ 868036 w 1017431"/>
                  <a:gd name="connsiteY94" fmla="*/ 754877 h 1380812"/>
                  <a:gd name="connsiteX95" fmla="*/ 860309 w 1017431"/>
                  <a:gd name="connsiteY95" fmla="*/ 752301 h 1380812"/>
                  <a:gd name="connsiteX96" fmla="*/ 852581 w 1017431"/>
                  <a:gd name="connsiteY96" fmla="*/ 760028 h 1380812"/>
                  <a:gd name="connsiteX97" fmla="*/ 844854 w 1017431"/>
                  <a:gd name="connsiteY97" fmla="*/ 765180 h 1380812"/>
                  <a:gd name="connsiteX98" fmla="*/ 829399 w 1017431"/>
                  <a:gd name="connsiteY98" fmla="*/ 770331 h 1380812"/>
                  <a:gd name="connsiteX99" fmla="*/ 813945 w 1017431"/>
                  <a:gd name="connsiteY99" fmla="*/ 780634 h 1380812"/>
                  <a:gd name="connsiteX100" fmla="*/ 795914 w 1017431"/>
                  <a:gd name="connsiteY100" fmla="*/ 803816 h 1380812"/>
                  <a:gd name="connsiteX101" fmla="*/ 767581 w 1017431"/>
                  <a:gd name="connsiteY101" fmla="*/ 801240 h 1380812"/>
                  <a:gd name="connsiteX102" fmla="*/ 759853 w 1017431"/>
                  <a:gd name="connsiteY102" fmla="*/ 803816 h 1380812"/>
                  <a:gd name="connsiteX103" fmla="*/ 744399 w 1017431"/>
                  <a:gd name="connsiteY103" fmla="*/ 816695 h 1380812"/>
                  <a:gd name="connsiteX104" fmla="*/ 728944 w 1017431"/>
                  <a:gd name="connsiteY104" fmla="*/ 824422 h 1380812"/>
                  <a:gd name="connsiteX105" fmla="*/ 713489 w 1017431"/>
                  <a:gd name="connsiteY105" fmla="*/ 834726 h 1380812"/>
                  <a:gd name="connsiteX106" fmla="*/ 698035 w 1017431"/>
                  <a:gd name="connsiteY106" fmla="*/ 829574 h 1380812"/>
                  <a:gd name="connsiteX107" fmla="*/ 700611 w 1017431"/>
                  <a:gd name="connsiteY107" fmla="*/ 834726 h 1380812"/>
                  <a:gd name="connsiteX108" fmla="*/ 705762 w 1017431"/>
                  <a:gd name="connsiteY108" fmla="*/ 850180 h 1380812"/>
                  <a:gd name="connsiteX109" fmla="*/ 708338 w 1017431"/>
                  <a:gd name="connsiteY109" fmla="*/ 873362 h 1380812"/>
                  <a:gd name="connsiteX110" fmla="*/ 716065 w 1017431"/>
                  <a:gd name="connsiteY110" fmla="*/ 875938 h 1380812"/>
                  <a:gd name="connsiteX111" fmla="*/ 736671 w 1017431"/>
                  <a:gd name="connsiteY111" fmla="*/ 878514 h 1380812"/>
                  <a:gd name="connsiteX112" fmla="*/ 744399 w 1017431"/>
                  <a:gd name="connsiteY112" fmla="*/ 886241 h 1380812"/>
                  <a:gd name="connsiteX113" fmla="*/ 746975 w 1017431"/>
                  <a:gd name="connsiteY113" fmla="*/ 893968 h 1380812"/>
                  <a:gd name="connsiteX114" fmla="*/ 752126 w 1017431"/>
                  <a:gd name="connsiteY114" fmla="*/ 901696 h 1380812"/>
                  <a:gd name="connsiteX115" fmla="*/ 749550 w 1017431"/>
                  <a:gd name="connsiteY115" fmla="*/ 911999 h 1380812"/>
                  <a:gd name="connsiteX116" fmla="*/ 741823 w 1017431"/>
                  <a:gd name="connsiteY116" fmla="*/ 919726 h 1380812"/>
                  <a:gd name="connsiteX117" fmla="*/ 736671 w 1017431"/>
                  <a:gd name="connsiteY117" fmla="*/ 927453 h 1380812"/>
                  <a:gd name="connsiteX118" fmla="*/ 734096 w 1017431"/>
                  <a:gd name="connsiteY118" fmla="*/ 935181 h 1380812"/>
                  <a:gd name="connsiteX119" fmla="*/ 752126 w 1017431"/>
                  <a:gd name="connsiteY119" fmla="*/ 971242 h 1380812"/>
                  <a:gd name="connsiteX120" fmla="*/ 767581 w 1017431"/>
                  <a:gd name="connsiteY120" fmla="*/ 981545 h 1380812"/>
                  <a:gd name="connsiteX121" fmla="*/ 777884 w 1017431"/>
                  <a:gd name="connsiteY121" fmla="*/ 1004727 h 1380812"/>
                  <a:gd name="connsiteX122" fmla="*/ 801066 w 1017431"/>
                  <a:gd name="connsiteY122" fmla="*/ 1004727 h 1380812"/>
                  <a:gd name="connsiteX123" fmla="*/ 806217 w 1017431"/>
                  <a:gd name="connsiteY123" fmla="*/ 1012454 h 1380812"/>
                  <a:gd name="connsiteX124" fmla="*/ 813945 w 1017431"/>
                  <a:gd name="connsiteY124" fmla="*/ 1020181 h 1380812"/>
                  <a:gd name="connsiteX125" fmla="*/ 824248 w 1017431"/>
                  <a:gd name="connsiteY125" fmla="*/ 1035636 h 1380812"/>
                  <a:gd name="connsiteX126" fmla="*/ 831975 w 1017431"/>
                  <a:gd name="connsiteY126" fmla="*/ 1043363 h 1380812"/>
                  <a:gd name="connsiteX127" fmla="*/ 837127 w 1017431"/>
                  <a:gd name="connsiteY127" fmla="*/ 1051091 h 1380812"/>
                  <a:gd name="connsiteX128" fmla="*/ 844854 w 1017431"/>
                  <a:gd name="connsiteY128" fmla="*/ 1056242 h 1380812"/>
                  <a:gd name="connsiteX129" fmla="*/ 860309 w 1017431"/>
                  <a:gd name="connsiteY129" fmla="*/ 1066545 h 1380812"/>
                  <a:gd name="connsiteX130" fmla="*/ 868036 w 1017431"/>
                  <a:gd name="connsiteY130" fmla="*/ 1071697 h 1380812"/>
                  <a:gd name="connsiteX131" fmla="*/ 883491 w 1017431"/>
                  <a:gd name="connsiteY131" fmla="*/ 1076848 h 1380812"/>
                  <a:gd name="connsiteX132" fmla="*/ 891218 w 1017431"/>
                  <a:gd name="connsiteY132" fmla="*/ 1084576 h 1380812"/>
                  <a:gd name="connsiteX133" fmla="*/ 896369 w 1017431"/>
                  <a:gd name="connsiteY133" fmla="*/ 1092303 h 1380812"/>
                  <a:gd name="connsiteX134" fmla="*/ 904097 w 1017431"/>
                  <a:gd name="connsiteY134" fmla="*/ 1097455 h 1380812"/>
                  <a:gd name="connsiteX135" fmla="*/ 909248 w 1017431"/>
                  <a:gd name="connsiteY135" fmla="*/ 1105182 h 1380812"/>
                  <a:gd name="connsiteX136" fmla="*/ 904097 w 1017431"/>
                  <a:gd name="connsiteY136" fmla="*/ 1123212 h 1380812"/>
                  <a:gd name="connsiteX137" fmla="*/ 901521 w 1017431"/>
                  <a:gd name="connsiteY137" fmla="*/ 1141243 h 1380812"/>
                  <a:gd name="connsiteX138" fmla="*/ 883491 w 1017431"/>
                  <a:gd name="connsiteY138" fmla="*/ 1141243 h 1380812"/>
                  <a:gd name="connsiteX139" fmla="*/ 862884 w 1017431"/>
                  <a:gd name="connsiteY139" fmla="*/ 1138667 h 1380812"/>
                  <a:gd name="connsiteX140" fmla="*/ 857733 w 1017431"/>
                  <a:gd name="connsiteY140" fmla="*/ 1148970 h 1380812"/>
                  <a:gd name="connsiteX141" fmla="*/ 860309 w 1017431"/>
                  <a:gd name="connsiteY141" fmla="*/ 1156697 h 1380812"/>
                  <a:gd name="connsiteX142" fmla="*/ 852581 w 1017431"/>
                  <a:gd name="connsiteY142" fmla="*/ 1177304 h 1380812"/>
                  <a:gd name="connsiteX143" fmla="*/ 844854 w 1017431"/>
                  <a:gd name="connsiteY143" fmla="*/ 1182455 h 1380812"/>
                  <a:gd name="connsiteX144" fmla="*/ 837127 w 1017431"/>
                  <a:gd name="connsiteY144" fmla="*/ 1185031 h 1380812"/>
                  <a:gd name="connsiteX145" fmla="*/ 829399 w 1017431"/>
                  <a:gd name="connsiteY145" fmla="*/ 1190182 h 1380812"/>
                  <a:gd name="connsiteX146" fmla="*/ 813945 w 1017431"/>
                  <a:gd name="connsiteY146" fmla="*/ 1195334 h 1380812"/>
                  <a:gd name="connsiteX147" fmla="*/ 806217 w 1017431"/>
                  <a:gd name="connsiteY147" fmla="*/ 1197910 h 1380812"/>
                  <a:gd name="connsiteX148" fmla="*/ 798490 w 1017431"/>
                  <a:gd name="connsiteY148" fmla="*/ 1203061 h 1380812"/>
                  <a:gd name="connsiteX149" fmla="*/ 788187 w 1017431"/>
                  <a:gd name="connsiteY149" fmla="*/ 1221092 h 1380812"/>
                  <a:gd name="connsiteX150" fmla="*/ 790763 w 1017431"/>
                  <a:gd name="connsiteY150" fmla="*/ 1233971 h 1380812"/>
                  <a:gd name="connsiteX151" fmla="*/ 795914 w 1017431"/>
                  <a:gd name="connsiteY151" fmla="*/ 1241698 h 1380812"/>
                  <a:gd name="connsiteX152" fmla="*/ 801066 w 1017431"/>
                  <a:gd name="connsiteY152" fmla="*/ 1257153 h 1380812"/>
                  <a:gd name="connsiteX153" fmla="*/ 811369 w 1017431"/>
                  <a:gd name="connsiteY153" fmla="*/ 1272607 h 1380812"/>
                  <a:gd name="connsiteX154" fmla="*/ 808793 w 1017431"/>
                  <a:gd name="connsiteY154" fmla="*/ 1285486 h 1380812"/>
                  <a:gd name="connsiteX155" fmla="*/ 806217 w 1017431"/>
                  <a:gd name="connsiteY155" fmla="*/ 1293213 h 1380812"/>
                  <a:gd name="connsiteX156" fmla="*/ 813945 w 1017431"/>
                  <a:gd name="connsiteY156" fmla="*/ 1298365 h 1380812"/>
                  <a:gd name="connsiteX157" fmla="*/ 831975 w 1017431"/>
                  <a:gd name="connsiteY157" fmla="*/ 1303517 h 1380812"/>
                  <a:gd name="connsiteX158" fmla="*/ 824248 w 1017431"/>
                  <a:gd name="connsiteY158" fmla="*/ 1326698 h 1380812"/>
                  <a:gd name="connsiteX159" fmla="*/ 821672 w 1017431"/>
                  <a:gd name="connsiteY159" fmla="*/ 1334426 h 1380812"/>
                  <a:gd name="connsiteX160" fmla="*/ 813945 w 1017431"/>
                  <a:gd name="connsiteY160" fmla="*/ 1337002 h 1380812"/>
                  <a:gd name="connsiteX161" fmla="*/ 798490 w 1017431"/>
                  <a:gd name="connsiteY161" fmla="*/ 1329274 h 1380812"/>
                  <a:gd name="connsiteX162" fmla="*/ 793338 w 1017431"/>
                  <a:gd name="connsiteY162" fmla="*/ 1321547 h 1380812"/>
                  <a:gd name="connsiteX163" fmla="*/ 785611 w 1017431"/>
                  <a:gd name="connsiteY163" fmla="*/ 1306092 h 1380812"/>
                  <a:gd name="connsiteX164" fmla="*/ 777884 w 1017431"/>
                  <a:gd name="connsiteY164" fmla="*/ 1303517 h 1380812"/>
                  <a:gd name="connsiteX165" fmla="*/ 762429 w 1017431"/>
                  <a:gd name="connsiteY165" fmla="*/ 1311244 h 1380812"/>
                  <a:gd name="connsiteX166" fmla="*/ 752126 w 1017431"/>
                  <a:gd name="connsiteY166" fmla="*/ 1308668 h 1380812"/>
                  <a:gd name="connsiteX167" fmla="*/ 744399 w 1017431"/>
                  <a:gd name="connsiteY167" fmla="*/ 1303517 h 1380812"/>
                  <a:gd name="connsiteX168" fmla="*/ 726368 w 1017431"/>
                  <a:gd name="connsiteY168" fmla="*/ 1308668 h 1380812"/>
                  <a:gd name="connsiteX169" fmla="*/ 718641 w 1017431"/>
                  <a:gd name="connsiteY169" fmla="*/ 1313820 h 1380812"/>
                  <a:gd name="connsiteX170" fmla="*/ 713489 w 1017431"/>
                  <a:gd name="connsiteY170" fmla="*/ 1306092 h 1380812"/>
                  <a:gd name="connsiteX171" fmla="*/ 705762 w 1017431"/>
                  <a:gd name="connsiteY171" fmla="*/ 1300941 h 1380812"/>
                  <a:gd name="connsiteX172" fmla="*/ 677429 w 1017431"/>
                  <a:gd name="connsiteY172" fmla="*/ 1308668 h 1380812"/>
                  <a:gd name="connsiteX173" fmla="*/ 661974 w 1017431"/>
                  <a:gd name="connsiteY173" fmla="*/ 1316395 h 1380812"/>
                  <a:gd name="connsiteX174" fmla="*/ 641368 w 1017431"/>
                  <a:gd name="connsiteY174" fmla="*/ 1318971 h 1380812"/>
                  <a:gd name="connsiteX175" fmla="*/ 625913 w 1017431"/>
                  <a:gd name="connsiteY175" fmla="*/ 1329274 h 1380812"/>
                  <a:gd name="connsiteX176" fmla="*/ 602731 w 1017431"/>
                  <a:gd name="connsiteY176" fmla="*/ 1342153 h 1380812"/>
                  <a:gd name="connsiteX177" fmla="*/ 595004 w 1017431"/>
                  <a:gd name="connsiteY177" fmla="*/ 1347305 h 1380812"/>
                  <a:gd name="connsiteX178" fmla="*/ 579549 w 1017431"/>
                  <a:gd name="connsiteY178" fmla="*/ 1352456 h 1380812"/>
                  <a:gd name="connsiteX179" fmla="*/ 569246 w 1017431"/>
                  <a:gd name="connsiteY179" fmla="*/ 1349880 h 1380812"/>
                  <a:gd name="connsiteX180" fmla="*/ 561519 w 1017431"/>
                  <a:gd name="connsiteY180" fmla="*/ 1334426 h 1380812"/>
                  <a:gd name="connsiteX181" fmla="*/ 553791 w 1017431"/>
                  <a:gd name="connsiteY181" fmla="*/ 1337002 h 1380812"/>
                  <a:gd name="connsiteX182" fmla="*/ 538337 w 1017431"/>
                  <a:gd name="connsiteY182" fmla="*/ 1331850 h 1380812"/>
                  <a:gd name="connsiteX183" fmla="*/ 512579 w 1017431"/>
                  <a:gd name="connsiteY183" fmla="*/ 1334426 h 1380812"/>
                  <a:gd name="connsiteX184" fmla="*/ 515155 w 1017431"/>
                  <a:gd name="connsiteY184" fmla="*/ 1347305 h 1380812"/>
                  <a:gd name="connsiteX185" fmla="*/ 512579 w 1017431"/>
                  <a:gd name="connsiteY185" fmla="*/ 1357608 h 1380812"/>
                  <a:gd name="connsiteX186" fmla="*/ 504852 w 1017431"/>
                  <a:gd name="connsiteY186" fmla="*/ 1360184 h 1380812"/>
                  <a:gd name="connsiteX187" fmla="*/ 497124 w 1017431"/>
                  <a:gd name="connsiteY187" fmla="*/ 1365335 h 1380812"/>
                  <a:gd name="connsiteX188" fmla="*/ 481670 w 1017431"/>
                  <a:gd name="connsiteY188" fmla="*/ 1378214 h 1380812"/>
                  <a:gd name="connsiteX189" fmla="*/ 473942 w 1017431"/>
                  <a:gd name="connsiteY189" fmla="*/ 1362759 h 1380812"/>
                  <a:gd name="connsiteX190" fmla="*/ 468791 w 1017431"/>
                  <a:gd name="connsiteY190" fmla="*/ 1347305 h 1380812"/>
                  <a:gd name="connsiteX191" fmla="*/ 458488 w 1017431"/>
                  <a:gd name="connsiteY191" fmla="*/ 1342153 h 1380812"/>
                  <a:gd name="connsiteX192" fmla="*/ 435306 w 1017431"/>
                  <a:gd name="connsiteY192" fmla="*/ 1329274 h 1380812"/>
                  <a:gd name="connsiteX193" fmla="*/ 412124 w 1017431"/>
                  <a:gd name="connsiteY193" fmla="*/ 1331850 h 1380812"/>
                  <a:gd name="connsiteX194" fmla="*/ 394093 w 1017431"/>
                  <a:gd name="connsiteY194" fmla="*/ 1337002 h 1380812"/>
                  <a:gd name="connsiteX195" fmla="*/ 391518 w 1017431"/>
                  <a:gd name="connsiteY195" fmla="*/ 1324123 h 1380812"/>
                  <a:gd name="connsiteX196" fmla="*/ 383790 w 1017431"/>
                  <a:gd name="connsiteY196" fmla="*/ 1318971 h 1380812"/>
                  <a:gd name="connsiteX197" fmla="*/ 355457 w 1017431"/>
                  <a:gd name="connsiteY197" fmla="*/ 1313820 h 1380812"/>
                  <a:gd name="connsiteX198" fmla="*/ 340002 w 1017431"/>
                  <a:gd name="connsiteY198" fmla="*/ 1308668 h 1380812"/>
                  <a:gd name="connsiteX199" fmla="*/ 332275 w 1017431"/>
                  <a:gd name="connsiteY199" fmla="*/ 1306092 h 1380812"/>
                  <a:gd name="connsiteX200" fmla="*/ 311669 w 1017431"/>
                  <a:gd name="connsiteY200" fmla="*/ 1303517 h 1380812"/>
                  <a:gd name="connsiteX201" fmla="*/ 303941 w 1017431"/>
                  <a:gd name="connsiteY201" fmla="*/ 1300941 h 1380812"/>
                  <a:gd name="connsiteX202" fmla="*/ 298790 w 1017431"/>
                  <a:gd name="connsiteY202" fmla="*/ 1293213 h 1380812"/>
                  <a:gd name="connsiteX203" fmla="*/ 291062 w 1017431"/>
                  <a:gd name="connsiteY203" fmla="*/ 1288062 h 1380812"/>
                  <a:gd name="connsiteX204" fmla="*/ 278184 w 1017431"/>
                  <a:gd name="connsiteY204" fmla="*/ 1290638 h 1380812"/>
                  <a:gd name="connsiteX205" fmla="*/ 270456 w 1017431"/>
                  <a:gd name="connsiteY205" fmla="*/ 1293213 h 1380812"/>
                  <a:gd name="connsiteX206" fmla="*/ 275608 w 1017431"/>
                  <a:gd name="connsiteY206" fmla="*/ 1300941 h 1380812"/>
                  <a:gd name="connsiteX207" fmla="*/ 283335 w 1017431"/>
                  <a:gd name="connsiteY207" fmla="*/ 1303517 h 1380812"/>
                  <a:gd name="connsiteX208" fmla="*/ 291062 w 1017431"/>
                  <a:gd name="connsiteY208" fmla="*/ 1308668 h 1380812"/>
                  <a:gd name="connsiteX209" fmla="*/ 252426 w 1017431"/>
                  <a:gd name="connsiteY209" fmla="*/ 1313820 h 1380812"/>
                  <a:gd name="connsiteX210" fmla="*/ 229244 w 1017431"/>
                  <a:gd name="connsiteY210" fmla="*/ 1316395 h 1380812"/>
                  <a:gd name="connsiteX211" fmla="*/ 221517 w 1017431"/>
                  <a:gd name="connsiteY211" fmla="*/ 1318971 h 1380812"/>
                  <a:gd name="connsiteX212" fmla="*/ 190607 w 1017431"/>
                  <a:gd name="connsiteY212" fmla="*/ 1316395 h 1380812"/>
                  <a:gd name="connsiteX213" fmla="*/ 164850 w 1017431"/>
                  <a:gd name="connsiteY213" fmla="*/ 1324123 h 1380812"/>
                  <a:gd name="connsiteX214" fmla="*/ 159698 w 1017431"/>
                  <a:gd name="connsiteY214" fmla="*/ 1306092 h 1380812"/>
                  <a:gd name="connsiteX215" fmla="*/ 157122 w 1017431"/>
                  <a:gd name="connsiteY215" fmla="*/ 1298365 h 1380812"/>
                  <a:gd name="connsiteX216" fmla="*/ 151971 w 1017431"/>
                  <a:gd name="connsiteY216" fmla="*/ 1277759 h 1380812"/>
                  <a:gd name="connsiteX217" fmla="*/ 154546 w 1017431"/>
                  <a:gd name="connsiteY217" fmla="*/ 1259728 h 1380812"/>
                  <a:gd name="connsiteX218" fmla="*/ 162274 w 1017431"/>
                  <a:gd name="connsiteY218" fmla="*/ 1252001 h 1380812"/>
                  <a:gd name="connsiteX219" fmla="*/ 164849 w 1017431"/>
                  <a:gd name="connsiteY219" fmla="*/ 1244274 h 1380812"/>
                  <a:gd name="connsiteX220" fmla="*/ 167425 w 1017431"/>
                  <a:gd name="connsiteY220" fmla="*/ 1208213 h 1380812"/>
                  <a:gd name="connsiteX221" fmla="*/ 170001 w 1017431"/>
                  <a:gd name="connsiteY221" fmla="*/ 1200486 h 1380812"/>
                  <a:gd name="connsiteX222" fmla="*/ 177728 w 1017431"/>
                  <a:gd name="connsiteY222" fmla="*/ 1195334 h 1380812"/>
                  <a:gd name="connsiteX223" fmla="*/ 180304 w 1017431"/>
                  <a:gd name="connsiteY223" fmla="*/ 1185031 h 1380812"/>
                  <a:gd name="connsiteX224" fmla="*/ 193183 w 1017431"/>
                  <a:gd name="connsiteY224" fmla="*/ 1136091 h 1380812"/>
                  <a:gd name="connsiteX225" fmla="*/ 200910 w 1017431"/>
                  <a:gd name="connsiteY225" fmla="*/ 1128364 h 1380812"/>
                  <a:gd name="connsiteX226" fmla="*/ 216365 w 1017431"/>
                  <a:gd name="connsiteY226" fmla="*/ 1118061 h 1380812"/>
                  <a:gd name="connsiteX227" fmla="*/ 226668 w 1017431"/>
                  <a:gd name="connsiteY227" fmla="*/ 1102606 h 1380812"/>
                  <a:gd name="connsiteX228" fmla="*/ 231820 w 1017431"/>
                  <a:gd name="connsiteY228" fmla="*/ 1094879 h 1380812"/>
                  <a:gd name="connsiteX229" fmla="*/ 236971 w 1017431"/>
                  <a:gd name="connsiteY229" fmla="*/ 1074273 h 1380812"/>
                  <a:gd name="connsiteX230" fmla="*/ 239547 w 1017431"/>
                  <a:gd name="connsiteY230" fmla="*/ 1066545 h 1380812"/>
                  <a:gd name="connsiteX231" fmla="*/ 231820 w 1017431"/>
                  <a:gd name="connsiteY231" fmla="*/ 1063969 h 1380812"/>
                  <a:gd name="connsiteX232" fmla="*/ 224092 w 1017431"/>
                  <a:gd name="connsiteY232" fmla="*/ 1069121 h 1380812"/>
                  <a:gd name="connsiteX233" fmla="*/ 216365 w 1017431"/>
                  <a:gd name="connsiteY233" fmla="*/ 1071697 h 1380812"/>
                  <a:gd name="connsiteX234" fmla="*/ 190607 w 1017431"/>
                  <a:gd name="connsiteY234" fmla="*/ 1063969 h 1380812"/>
                  <a:gd name="connsiteX235" fmla="*/ 182880 w 1017431"/>
                  <a:gd name="connsiteY235" fmla="*/ 1061394 h 1380812"/>
                  <a:gd name="connsiteX236" fmla="*/ 172577 w 1017431"/>
                  <a:gd name="connsiteY236" fmla="*/ 1056242 h 1380812"/>
                  <a:gd name="connsiteX237" fmla="*/ 167425 w 1017431"/>
                  <a:gd name="connsiteY237" fmla="*/ 1048515 h 1380812"/>
                  <a:gd name="connsiteX238" fmla="*/ 151971 w 1017431"/>
                  <a:gd name="connsiteY238" fmla="*/ 1033060 h 1380812"/>
                  <a:gd name="connsiteX239" fmla="*/ 136516 w 1017431"/>
                  <a:gd name="connsiteY239" fmla="*/ 1045939 h 1380812"/>
                  <a:gd name="connsiteX240" fmla="*/ 126213 w 1017431"/>
                  <a:gd name="connsiteY240" fmla="*/ 1048515 h 1380812"/>
                  <a:gd name="connsiteX241" fmla="*/ 113334 w 1017431"/>
                  <a:gd name="connsiteY241" fmla="*/ 1038212 h 1380812"/>
                  <a:gd name="connsiteX242" fmla="*/ 110758 w 1017431"/>
                  <a:gd name="connsiteY242" fmla="*/ 1030484 h 1380812"/>
                  <a:gd name="connsiteX243" fmla="*/ 103031 w 1017431"/>
                  <a:gd name="connsiteY243" fmla="*/ 1027909 h 1380812"/>
                  <a:gd name="connsiteX244" fmla="*/ 90152 w 1017431"/>
                  <a:gd name="connsiteY244" fmla="*/ 1030484 h 1380812"/>
                  <a:gd name="connsiteX245" fmla="*/ 74697 w 1017431"/>
                  <a:gd name="connsiteY245" fmla="*/ 1025333 h 1380812"/>
                  <a:gd name="connsiteX246" fmla="*/ 66970 w 1017431"/>
                  <a:gd name="connsiteY246" fmla="*/ 1027909 h 1380812"/>
                  <a:gd name="connsiteX247" fmla="*/ 64394 w 1017431"/>
                  <a:gd name="connsiteY247" fmla="*/ 1009878 h 1380812"/>
                  <a:gd name="connsiteX248" fmla="*/ 56667 w 1017431"/>
                  <a:gd name="connsiteY248" fmla="*/ 1002151 h 1380812"/>
                  <a:gd name="connsiteX249" fmla="*/ 51515 w 1017431"/>
                  <a:gd name="connsiteY249" fmla="*/ 994424 h 1380812"/>
                  <a:gd name="connsiteX250" fmla="*/ 36061 w 1017431"/>
                  <a:gd name="connsiteY250" fmla="*/ 981545 h 1380812"/>
                  <a:gd name="connsiteX251" fmla="*/ 25758 w 1017431"/>
                  <a:gd name="connsiteY251" fmla="*/ 976393 h 1380812"/>
                  <a:gd name="connsiteX252" fmla="*/ 25758 w 1017431"/>
                  <a:gd name="connsiteY252" fmla="*/ 948060 h 1380812"/>
                  <a:gd name="connsiteX253" fmla="*/ 30909 w 1017431"/>
                  <a:gd name="connsiteY253" fmla="*/ 940332 h 1380812"/>
                  <a:gd name="connsiteX254" fmla="*/ 25758 w 1017431"/>
                  <a:gd name="connsiteY254" fmla="*/ 919726 h 1380812"/>
                  <a:gd name="connsiteX255" fmla="*/ 23182 w 1017431"/>
                  <a:gd name="connsiteY255" fmla="*/ 911999 h 1380812"/>
                  <a:gd name="connsiteX256" fmla="*/ 12879 w 1017431"/>
                  <a:gd name="connsiteY256" fmla="*/ 906847 h 1380812"/>
                  <a:gd name="connsiteX257" fmla="*/ 7727 w 1017431"/>
                  <a:gd name="connsiteY257" fmla="*/ 873362 h 1380812"/>
                  <a:gd name="connsiteX258" fmla="*/ 2576 w 1017431"/>
                  <a:gd name="connsiteY258" fmla="*/ 857908 h 1380812"/>
                  <a:gd name="connsiteX259" fmla="*/ 12879 w 1017431"/>
                  <a:gd name="connsiteY259" fmla="*/ 839877 h 1380812"/>
                  <a:gd name="connsiteX260" fmla="*/ 15455 w 1017431"/>
                  <a:gd name="connsiteY260" fmla="*/ 832150 h 1380812"/>
                  <a:gd name="connsiteX261" fmla="*/ 30909 w 1017431"/>
                  <a:gd name="connsiteY261" fmla="*/ 824422 h 1380812"/>
                  <a:gd name="connsiteX262" fmla="*/ 38637 w 1017431"/>
                  <a:gd name="connsiteY262" fmla="*/ 819271 h 1380812"/>
                  <a:gd name="connsiteX263" fmla="*/ 30909 w 1017431"/>
                  <a:gd name="connsiteY263" fmla="*/ 793513 h 1380812"/>
                  <a:gd name="connsiteX264" fmla="*/ 25758 w 1017431"/>
                  <a:gd name="connsiteY264" fmla="*/ 785786 h 1380812"/>
                  <a:gd name="connsiteX265" fmla="*/ 20606 w 1017431"/>
                  <a:gd name="connsiteY265" fmla="*/ 770331 h 1380812"/>
                  <a:gd name="connsiteX266" fmla="*/ 18030 w 1017431"/>
                  <a:gd name="connsiteY266" fmla="*/ 762604 h 1380812"/>
                  <a:gd name="connsiteX267" fmla="*/ 15455 w 1017431"/>
                  <a:gd name="connsiteY267" fmla="*/ 754877 h 1380812"/>
                  <a:gd name="connsiteX268" fmla="*/ 10303 w 1017431"/>
                  <a:gd name="connsiteY268" fmla="*/ 747149 h 1380812"/>
                  <a:gd name="connsiteX269" fmla="*/ 7727 w 1017431"/>
                  <a:gd name="connsiteY269" fmla="*/ 736846 h 1380812"/>
                  <a:gd name="connsiteX270" fmla="*/ 2576 w 1017431"/>
                  <a:gd name="connsiteY270" fmla="*/ 721391 h 1380812"/>
                  <a:gd name="connsiteX271" fmla="*/ 7727 w 1017431"/>
                  <a:gd name="connsiteY271" fmla="*/ 685331 h 1380812"/>
                  <a:gd name="connsiteX272" fmla="*/ 12879 w 1017431"/>
                  <a:gd name="connsiteY272" fmla="*/ 669876 h 1380812"/>
                  <a:gd name="connsiteX273" fmla="*/ 18030 w 1017431"/>
                  <a:gd name="connsiteY273" fmla="*/ 644118 h 1380812"/>
                  <a:gd name="connsiteX274" fmla="*/ 28333 w 1017431"/>
                  <a:gd name="connsiteY274" fmla="*/ 628664 h 1380812"/>
                  <a:gd name="connsiteX275" fmla="*/ 25758 w 1017431"/>
                  <a:gd name="connsiteY275" fmla="*/ 608057 h 1380812"/>
                  <a:gd name="connsiteX276" fmla="*/ 20606 w 1017431"/>
                  <a:gd name="connsiteY276" fmla="*/ 600330 h 1380812"/>
                  <a:gd name="connsiteX277" fmla="*/ 18030 w 1017431"/>
                  <a:gd name="connsiteY277" fmla="*/ 592603 h 1380812"/>
                  <a:gd name="connsiteX278" fmla="*/ 12879 w 1017431"/>
                  <a:gd name="connsiteY278" fmla="*/ 584875 h 1380812"/>
                  <a:gd name="connsiteX279" fmla="*/ 7727 w 1017431"/>
                  <a:gd name="connsiteY279" fmla="*/ 569421 h 1380812"/>
                  <a:gd name="connsiteX280" fmla="*/ 5151 w 1017431"/>
                  <a:gd name="connsiteY280" fmla="*/ 561693 h 1380812"/>
                  <a:gd name="connsiteX281" fmla="*/ 0 w 1017431"/>
                  <a:gd name="connsiteY281" fmla="*/ 553966 h 1380812"/>
                  <a:gd name="connsiteX282" fmla="*/ 2576 w 1017431"/>
                  <a:gd name="connsiteY282" fmla="*/ 546239 h 1380812"/>
                  <a:gd name="connsiteX283" fmla="*/ 10303 w 1017431"/>
                  <a:gd name="connsiteY283" fmla="*/ 541087 h 1380812"/>
                  <a:gd name="connsiteX284" fmla="*/ 30909 w 1017431"/>
                  <a:gd name="connsiteY284" fmla="*/ 535936 h 1380812"/>
                  <a:gd name="connsiteX285" fmla="*/ 54091 w 1017431"/>
                  <a:gd name="connsiteY285" fmla="*/ 538511 h 1380812"/>
                  <a:gd name="connsiteX286" fmla="*/ 72122 w 1017431"/>
                  <a:gd name="connsiteY286" fmla="*/ 535936 h 1380812"/>
                  <a:gd name="connsiteX287" fmla="*/ 100455 w 1017431"/>
                  <a:gd name="connsiteY287" fmla="*/ 533360 h 1380812"/>
                  <a:gd name="connsiteX288" fmla="*/ 97879 w 1017431"/>
                  <a:gd name="connsiteY288" fmla="*/ 510178 h 1380812"/>
                  <a:gd name="connsiteX289" fmla="*/ 95304 w 1017431"/>
                  <a:gd name="connsiteY289" fmla="*/ 502451 h 1380812"/>
                  <a:gd name="connsiteX290" fmla="*/ 103031 w 1017431"/>
                  <a:gd name="connsiteY290" fmla="*/ 486996 h 1380812"/>
                  <a:gd name="connsiteX291" fmla="*/ 108182 w 1017431"/>
                  <a:gd name="connsiteY291" fmla="*/ 471541 h 1380812"/>
                  <a:gd name="connsiteX292" fmla="*/ 115910 w 1017431"/>
                  <a:gd name="connsiteY292" fmla="*/ 456087 h 1380812"/>
                  <a:gd name="connsiteX293" fmla="*/ 113334 w 1017431"/>
                  <a:gd name="connsiteY293" fmla="*/ 443208 h 1380812"/>
                  <a:gd name="connsiteX294" fmla="*/ 105607 w 1017431"/>
                  <a:gd name="connsiteY294" fmla="*/ 440632 h 1380812"/>
                  <a:gd name="connsiteX295" fmla="*/ 95304 w 1017431"/>
                  <a:gd name="connsiteY295" fmla="*/ 438056 h 1380812"/>
                  <a:gd name="connsiteX296" fmla="*/ 92728 w 1017431"/>
                  <a:gd name="connsiteY296" fmla="*/ 430329 h 1380812"/>
                  <a:gd name="connsiteX297" fmla="*/ 103031 w 1017431"/>
                  <a:gd name="connsiteY297" fmla="*/ 412298 h 1380812"/>
                  <a:gd name="connsiteX298" fmla="*/ 105607 w 1017431"/>
                  <a:gd name="connsiteY298" fmla="*/ 404571 h 1380812"/>
                  <a:gd name="connsiteX299" fmla="*/ 121061 w 1017431"/>
                  <a:gd name="connsiteY299" fmla="*/ 399420 h 1380812"/>
                  <a:gd name="connsiteX300" fmla="*/ 128789 w 1017431"/>
                  <a:gd name="connsiteY300" fmla="*/ 394268 h 1380812"/>
                  <a:gd name="connsiteX301" fmla="*/ 136516 w 1017431"/>
                  <a:gd name="connsiteY301" fmla="*/ 391692 h 1380812"/>
                  <a:gd name="connsiteX302" fmla="*/ 141668 w 1017431"/>
                  <a:gd name="connsiteY302" fmla="*/ 376238 h 1380812"/>
                  <a:gd name="connsiteX303" fmla="*/ 141668 w 1017431"/>
                  <a:gd name="connsiteY303" fmla="*/ 353056 h 1380812"/>
                  <a:gd name="connsiteX304" fmla="*/ 144243 w 1017431"/>
                  <a:gd name="connsiteY304" fmla="*/ 345328 h 1380812"/>
                  <a:gd name="connsiteX305" fmla="*/ 151971 w 1017431"/>
                  <a:gd name="connsiteY305" fmla="*/ 329874 h 1380812"/>
                  <a:gd name="connsiteX306" fmla="*/ 149395 w 1017431"/>
                  <a:gd name="connsiteY306" fmla="*/ 311843 h 1380812"/>
                  <a:gd name="connsiteX307" fmla="*/ 146819 w 1017431"/>
                  <a:gd name="connsiteY307" fmla="*/ 296389 h 1380812"/>
                  <a:gd name="connsiteX308" fmla="*/ 154546 w 1017431"/>
                  <a:gd name="connsiteY308" fmla="*/ 293813 h 1380812"/>
                  <a:gd name="connsiteX309" fmla="*/ 162274 w 1017431"/>
                  <a:gd name="connsiteY309" fmla="*/ 288661 h 1380812"/>
                  <a:gd name="connsiteX310" fmla="*/ 164849 w 1017431"/>
                  <a:gd name="connsiteY310" fmla="*/ 280934 h 1380812"/>
                  <a:gd name="connsiteX311" fmla="*/ 157122 w 1017431"/>
                  <a:gd name="connsiteY311" fmla="*/ 278358 h 1380812"/>
                  <a:gd name="connsiteX312" fmla="*/ 136516 w 1017431"/>
                  <a:gd name="connsiteY312" fmla="*/ 270631 h 1380812"/>
                  <a:gd name="connsiteX313" fmla="*/ 139092 w 1017431"/>
                  <a:gd name="connsiteY313" fmla="*/ 260328 h 1380812"/>
                  <a:gd name="connsiteX314" fmla="*/ 141668 w 1017431"/>
                  <a:gd name="connsiteY314" fmla="*/ 252600 h 1380812"/>
                  <a:gd name="connsiteX315" fmla="*/ 146819 w 1017431"/>
                  <a:gd name="connsiteY315" fmla="*/ 231994 h 1380812"/>
                  <a:gd name="connsiteX316" fmla="*/ 149395 w 1017431"/>
                  <a:gd name="connsiteY316" fmla="*/ 224267 h 1380812"/>
                  <a:gd name="connsiteX317" fmla="*/ 164849 w 1017431"/>
                  <a:gd name="connsiteY317" fmla="*/ 219115 h 1380812"/>
                  <a:gd name="connsiteX318" fmla="*/ 188031 w 1017431"/>
                  <a:gd name="connsiteY318" fmla="*/ 221691 h 1380812"/>
                  <a:gd name="connsiteX319" fmla="*/ 195759 w 1017431"/>
                  <a:gd name="connsiteY319" fmla="*/ 226843 h 1380812"/>
                  <a:gd name="connsiteX320" fmla="*/ 216365 w 1017431"/>
                  <a:gd name="connsiteY320" fmla="*/ 224267 h 1380812"/>
                  <a:gd name="connsiteX321" fmla="*/ 236971 w 1017431"/>
                  <a:gd name="connsiteY321" fmla="*/ 224267 h 1380812"/>
                  <a:gd name="connsiteX322" fmla="*/ 242123 w 1017431"/>
                  <a:gd name="connsiteY322" fmla="*/ 231994 h 1380812"/>
                  <a:gd name="connsiteX323" fmla="*/ 244698 w 1017431"/>
                  <a:gd name="connsiteY323" fmla="*/ 260328 h 1380812"/>
                  <a:gd name="connsiteX324" fmla="*/ 239547 w 1017431"/>
                  <a:gd name="connsiteY324" fmla="*/ 268055 h 1380812"/>
                  <a:gd name="connsiteX325" fmla="*/ 252426 w 1017431"/>
                  <a:gd name="connsiteY325" fmla="*/ 280934 h 1380812"/>
                  <a:gd name="connsiteX326" fmla="*/ 260153 w 1017431"/>
                  <a:gd name="connsiteY326" fmla="*/ 278358 h 1380812"/>
                  <a:gd name="connsiteX327" fmla="*/ 257577 w 1017431"/>
                  <a:gd name="connsiteY327" fmla="*/ 270631 h 1380812"/>
                  <a:gd name="connsiteX328" fmla="*/ 252426 w 1017431"/>
                  <a:gd name="connsiteY328" fmla="*/ 262904 h 1380812"/>
                  <a:gd name="connsiteX329" fmla="*/ 260153 w 1017431"/>
                  <a:gd name="connsiteY329" fmla="*/ 257752 h 1380812"/>
                  <a:gd name="connsiteX330" fmla="*/ 288487 w 1017431"/>
                  <a:gd name="connsiteY330" fmla="*/ 260328 h 1380812"/>
                  <a:gd name="connsiteX331" fmla="*/ 291062 w 1017431"/>
                  <a:gd name="connsiteY331" fmla="*/ 270631 h 1380812"/>
                  <a:gd name="connsiteX332" fmla="*/ 306517 w 1017431"/>
                  <a:gd name="connsiteY332" fmla="*/ 286086 h 1380812"/>
                  <a:gd name="connsiteX333" fmla="*/ 298790 w 1017431"/>
                  <a:gd name="connsiteY333" fmla="*/ 257752 h 1380812"/>
                  <a:gd name="connsiteX334" fmla="*/ 296214 w 1017431"/>
                  <a:gd name="connsiteY334" fmla="*/ 250025 h 1380812"/>
                  <a:gd name="connsiteX335" fmla="*/ 298790 w 1017431"/>
                  <a:gd name="connsiteY335" fmla="*/ 231994 h 1380812"/>
                  <a:gd name="connsiteX336" fmla="*/ 301366 w 1017431"/>
                  <a:gd name="connsiteY336" fmla="*/ 203661 h 1380812"/>
                  <a:gd name="connsiteX337" fmla="*/ 309093 w 1017431"/>
                  <a:gd name="connsiteY337" fmla="*/ 201085 h 1380812"/>
                  <a:gd name="connsiteX338" fmla="*/ 321972 w 1017431"/>
                  <a:gd name="connsiteY338" fmla="*/ 211388 h 1380812"/>
                  <a:gd name="connsiteX339" fmla="*/ 329699 w 1017431"/>
                  <a:gd name="connsiteY339" fmla="*/ 213964 h 1380812"/>
                  <a:gd name="connsiteX340" fmla="*/ 345154 w 1017431"/>
                  <a:gd name="connsiteY340" fmla="*/ 206237 h 1380812"/>
                  <a:gd name="connsiteX341" fmla="*/ 350305 w 1017431"/>
                  <a:gd name="connsiteY341" fmla="*/ 198509 h 1380812"/>
                  <a:gd name="connsiteX342" fmla="*/ 373487 w 1017431"/>
                  <a:gd name="connsiteY342" fmla="*/ 201085 h 1380812"/>
                  <a:gd name="connsiteX343" fmla="*/ 391518 w 1017431"/>
                  <a:gd name="connsiteY343" fmla="*/ 221691 h 1380812"/>
                  <a:gd name="connsiteX344" fmla="*/ 399245 w 1017431"/>
                  <a:gd name="connsiteY344" fmla="*/ 229418 h 1380812"/>
                  <a:gd name="connsiteX345" fmla="*/ 409548 w 1017431"/>
                  <a:gd name="connsiteY345" fmla="*/ 244873 h 1380812"/>
                  <a:gd name="connsiteX346" fmla="*/ 425003 w 1017431"/>
                  <a:gd name="connsiteY346" fmla="*/ 250025 h 1380812"/>
                  <a:gd name="connsiteX347" fmla="*/ 414700 w 1017431"/>
                  <a:gd name="connsiteY347" fmla="*/ 237146 h 1380812"/>
                  <a:gd name="connsiteX348" fmla="*/ 404397 w 1017431"/>
                  <a:gd name="connsiteY348" fmla="*/ 221691 h 1380812"/>
                  <a:gd name="connsiteX349" fmla="*/ 396669 w 1017431"/>
                  <a:gd name="connsiteY349" fmla="*/ 213964 h 1380812"/>
                  <a:gd name="connsiteX350" fmla="*/ 386366 w 1017431"/>
                  <a:gd name="connsiteY350" fmla="*/ 198509 h 1380812"/>
                  <a:gd name="connsiteX351" fmla="*/ 370911 w 1017431"/>
                  <a:gd name="connsiteY351" fmla="*/ 193358 h 1380812"/>
                  <a:gd name="connsiteX352" fmla="*/ 363184 w 1017431"/>
                  <a:gd name="connsiteY352" fmla="*/ 190782 h 1380812"/>
                  <a:gd name="connsiteX353" fmla="*/ 342578 w 1017431"/>
                  <a:gd name="connsiteY353" fmla="*/ 193358 h 1380812"/>
                  <a:gd name="connsiteX354" fmla="*/ 337426 w 1017431"/>
                  <a:gd name="connsiteY354" fmla="*/ 162448 h 1380812"/>
                  <a:gd name="connsiteX355" fmla="*/ 340002 w 1017431"/>
                  <a:gd name="connsiteY355" fmla="*/ 154721 h 1380812"/>
                  <a:gd name="connsiteX356" fmla="*/ 347729 w 1017431"/>
                  <a:gd name="connsiteY356" fmla="*/ 149569 h 1380812"/>
                  <a:gd name="connsiteX357" fmla="*/ 340002 w 1017431"/>
                  <a:gd name="connsiteY357" fmla="*/ 144418 h 1380812"/>
                  <a:gd name="connsiteX358" fmla="*/ 332275 w 1017431"/>
                  <a:gd name="connsiteY358" fmla="*/ 141842 h 1380812"/>
                  <a:gd name="connsiteX359" fmla="*/ 329699 w 1017431"/>
                  <a:gd name="connsiteY359" fmla="*/ 128963 h 1380812"/>
                  <a:gd name="connsiteX360" fmla="*/ 316820 w 1017431"/>
                  <a:gd name="connsiteY360" fmla="*/ 116084 h 1380812"/>
                  <a:gd name="connsiteX361" fmla="*/ 306517 w 1017431"/>
                  <a:gd name="connsiteY361" fmla="*/ 100630 h 1380812"/>
                  <a:gd name="connsiteX362" fmla="*/ 324548 w 1017431"/>
                  <a:gd name="connsiteY362" fmla="*/ 95478 h 1380812"/>
                  <a:gd name="connsiteX363" fmla="*/ 332275 w 1017431"/>
                  <a:gd name="connsiteY363" fmla="*/ 92902 h 1380812"/>
                  <a:gd name="connsiteX364" fmla="*/ 355457 w 1017431"/>
                  <a:gd name="connsiteY364" fmla="*/ 87751 h 1380812"/>
                  <a:gd name="connsiteX365" fmla="*/ 352881 w 1017431"/>
                  <a:gd name="connsiteY365" fmla="*/ 77448 h 1380812"/>
                  <a:gd name="connsiteX366" fmla="*/ 345154 w 1017431"/>
                  <a:gd name="connsiteY366" fmla="*/ 72296 h 1380812"/>
                  <a:gd name="connsiteX367" fmla="*/ 337426 w 1017431"/>
                  <a:gd name="connsiteY367" fmla="*/ 64569 h 1380812"/>
                  <a:gd name="connsiteX368" fmla="*/ 327123 w 1017431"/>
                  <a:gd name="connsiteY368" fmla="*/ 41387 h 1380812"/>
                  <a:gd name="connsiteX369" fmla="*/ 316820 w 1017431"/>
                  <a:gd name="connsiteY369" fmla="*/ 38811 h 1380812"/>
                  <a:gd name="connsiteX370" fmla="*/ 283335 w 1017431"/>
                  <a:gd name="connsiteY370" fmla="*/ 41387 h 1380812"/>
                  <a:gd name="connsiteX371" fmla="*/ 280759 w 1017431"/>
                  <a:gd name="connsiteY371" fmla="*/ 33660 h 1380812"/>
                  <a:gd name="connsiteX372" fmla="*/ 296214 w 1017431"/>
                  <a:gd name="connsiteY372" fmla="*/ 28508 h 1380812"/>
                  <a:gd name="connsiteX373" fmla="*/ 303941 w 1017431"/>
                  <a:gd name="connsiteY373" fmla="*/ 31084 h 1380812"/>
                  <a:gd name="connsiteX374" fmla="*/ 306517 w 1017431"/>
                  <a:gd name="connsiteY374" fmla="*/ 23357 h 1380812"/>
                  <a:gd name="connsiteX375" fmla="*/ 293638 w 1017431"/>
                  <a:gd name="connsiteY375" fmla="*/ 13053 h 1380812"/>
                  <a:gd name="connsiteX376" fmla="*/ 291062 w 1017431"/>
                  <a:gd name="connsiteY376" fmla="*/ 5326 h 1380812"/>
                  <a:gd name="connsiteX377" fmla="*/ 309093 w 1017431"/>
                  <a:gd name="connsiteY377" fmla="*/ 5326 h 1380812"/>
                  <a:gd name="connsiteX378" fmla="*/ 316820 w 1017431"/>
                  <a:gd name="connsiteY378" fmla="*/ 7902 h 1380812"/>
                  <a:gd name="connsiteX379" fmla="*/ 350305 w 1017431"/>
                  <a:gd name="connsiteY379" fmla="*/ 7902 h 1380812"/>
                  <a:gd name="connsiteX380" fmla="*/ 358033 w 1017431"/>
                  <a:gd name="connsiteY380" fmla="*/ 10478 h 1380812"/>
                  <a:gd name="connsiteX381" fmla="*/ 381215 w 1017431"/>
                  <a:gd name="connsiteY381" fmla="*/ 23357 h 1380812"/>
                  <a:gd name="connsiteX382" fmla="*/ 409548 w 1017431"/>
                  <a:gd name="connsiteY382" fmla="*/ 25932 h 1380812"/>
                  <a:gd name="connsiteX383" fmla="*/ 430154 w 1017431"/>
                  <a:gd name="connsiteY383" fmla="*/ 28508 h 1380812"/>
                  <a:gd name="connsiteX384" fmla="*/ 437882 w 1017431"/>
                  <a:gd name="connsiteY384" fmla="*/ 31084 h 1380812"/>
                  <a:gd name="connsiteX385" fmla="*/ 450760 w 1017431"/>
                  <a:gd name="connsiteY385" fmla="*/ 46538 h 1380812"/>
                  <a:gd name="connsiteX386" fmla="*/ 466215 w 1017431"/>
                  <a:gd name="connsiteY386" fmla="*/ 51690 h 1380812"/>
                  <a:gd name="connsiteX387" fmla="*/ 458488 w 1017431"/>
                  <a:gd name="connsiteY387" fmla="*/ 54266 h 1380812"/>
                  <a:gd name="connsiteX388" fmla="*/ 445609 w 1017431"/>
                  <a:gd name="connsiteY388" fmla="*/ 67145 h 1380812"/>
                  <a:gd name="connsiteX389" fmla="*/ 440457 w 1017431"/>
                  <a:gd name="connsiteY389" fmla="*/ 82599 h 1380812"/>
                  <a:gd name="connsiteX390" fmla="*/ 437882 w 1017431"/>
                  <a:gd name="connsiteY390" fmla="*/ 90327 h 1380812"/>
                  <a:gd name="connsiteX391" fmla="*/ 453336 w 1017431"/>
                  <a:gd name="connsiteY391" fmla="*/ 87751 h 1380812"/>
                  <a:gd name="connsiteX392" fmla="*/ 468791 w 1017431"/>
                  <a:gd name="connsiteY392" fmla="*/ 85175 h 1380812"/>
                  <a:gd name="connsiteX393" fmla="*/ 491973 w 1017431"/>
                  <a:gd name="connsiteY393" fmla="*/ 87751 h 1380812"/>
                  <a:gd name="connsiteX394" fmla="*/ 507428 w 1017431"/>
                  <a:gd name="connsiteY394" fmla="*/ 100630 h 1380812"/>
                  <a:gd name="connsiteX395" fmla="*/ 530609 w 1017431"/>
                  <a:gd name="connsiteY395" fmla="*/ 113509 h 1380812"/>
                  <a:gd name="connsiteX396" fmla="*/ 548640 w 1017431"/>
                  <a:gd name="connsiteY396" fmla="*/ 110933 h 1380812"/>
                  <a:gd name="connsiteX397" fmla="*/ 551216 w 1017431"/>
                  <a:gd name="connsiteY397" fmla="*/ 103206 h 1380812"/>
                  <a:gd name="connsiteX398" fmla="*/ 553791 w 1017431"/>
                  <a:gd name="connsiteY398" fmla="*/ 87751 h 1380812"/>
                  <a:gd name="connsiteX399" fmla="*/ 561519 w 1017431"/>
                  <a:gd name="connsiteY399" fmla="*/ 85175 h 1380812"/>
                  <a:gd name="connsiteX400" fmla="*/ 576973 w 1017431"/>
                  <a:gd name="connsiteY400" fmla="*/ 74872 h 1380812"/>
                  <a:gd name="connsiteX401" fmla="*/ 587277 w 1017431"/>
                  <a:gd name="connsiteY401" fmla="*/ 77448 h 1380812"/>
                  <a:gd name="connsiteX402" fmla="*/ 584701 w 1017431"/>
                  <a:gd name="connsiteY402" fmla="*/ 85175 h 1380812"/>
                  <a:gd name="connsiteX403" fmla="*/ 569246 w 1017431"/>
                  <a:gd name="connsiteY403" fmla="*/ 87751 h 1380812"/>
                  <a:gd name="connsiteX404" fmla="*/ 553791 w 1017431"/>
                  <a:gd name="connsiteY404" fmla="*/ 100630 h 1380812"/>
                  <a:gd name="connsiteX405" fmla="*/ 569246 w 1017431"/>
                  <a:gd name="connsiteY405" fmla="*/ 103206 h 1380812"/>
                  <a:gd name="connsiteX406" fmla="*/ 561519 w 1017431"/>
                  <a:gd name="connsiteY406" fmla="*/ 118660 h 1380812"/>
                  <a:gd name="connsiteX407" fmla="*/ 556367 w 1017431"/>
                  <a:gd name="connsiteY407" fmla="*/ 136691 h 1380812"/>
                  <a:gd name="connsiteX408" fmla="*/ 540913 w 1017431"/>
                  <a:gd name="connsiteY408" fmla="*/ 144418 h 1380812"/>
                  <a:gd name="connsiteX409" fmla="*/ 533185 w 1017431"/>
                  <a:gd name="connsiteY409" fmla="*/ 152145 h 1380812"/>
                  <a:gd name="connsiteX410" fmla="*/ 522882 w 1017431"/>
                  <a:gd name="connsiteY410" fmla="*/ 167600 h 1380812"/>
                  <a:gd name="connsiteX411" fmla="*/ 538337 w 1017431"/>
                  <a:gd name="connsiteY411" fmla="*/ 175327 h 1380812"/>
                  <a:gd name="connsiteX412" fmla="*/ 540913 w 1017431"/>
                  <a:gd name="connsiteY412" fmla="*/ 193358 h 1380812"/>
                  <a:gd name="connsiteX413" fmla="*/ 556367 w 1017431"/>
                  <a:gd name="connsiteY413" fmla="*/ 185630 h 1380812"/>
                  <a:gd name="connsiteX414" fmla="*/ 571822 w 1017431"/>
                  <a:gd name="connsiteY414" fmla="*/ 177903 h 1380812"/>
                  <a:gd name="connsiteX415" fmla="*/ 576973 w 1017431"/>
                  <a:gd name="connsiteY415" fmla="*/ 177903 h 1380812"/>
                  <a:gd name="connsiteX416" fmla="*/ 592428 w 1017431"/>
                  <a:gd name="connsiteY416" fmla="*/ 183055 h 1380812"/>
                  <a:gd name="connsiteX417" fmla="*/ 607883 w 1017431"/>
                  <a:gd name="connsiteY417" fmla="*/ 172751 h 1380812"/>
                  <a:gd name="connsiteX418" fmla="*/ 610458 w 1017431"/>
                  <a:gd name="connsiteY418" fmla="*/ 165024 h 1380812"/>
                  <a:gd name="connsiteX419" fmla="*/ 625913 w 1017431"/>
                  <a:gd name="connsiteY419" fmla="*/ 152145 h 1380812"/>
                  <a:gd name="connsiteX420" fmla="*/ 633640 w 1017431"/>
                  <a:gd name="connsiteY420" fmla="*/ 149569 h 1380812"/>
                  <a:gd name="connsiteX421" fmla="*/ 641368 w 1017431"/>
                  <a:gd name="connsiteY421" fmla="*/ 141842 h 1380812"/>
                  <a:gd name="connsiteX422" fmla="*/ 674853 w 1017431"/>
                  <a:gd name="connsiteY422" fmla="*/ 134115 h 1380812"/>
                  <a:gd name="connsiteX423" fmla="*/ 682580 w 1017431"/>
                  <a:gd name="connsiteY423" fmla="*/ 128963 h 1380812"/>
                  <a:gd name="connsiteX424" fmla="*/ 698035 w 1017431"/>
                  <a:gd name="connsiteY424" fmla="*/ 126388 h 1380812"/>
                  <a:gd name="connsiteX425" fmla="*/ 703186 w 1017431"/>
                  <a:gd name="connsiteY425" fmla="*/ 118660 h 1380812"/>
                  <a:gd name="connsiteX426" fmla="*/ 710914 w 1017431"/>
                  <a:gd name="connsiteY426" fmla="*/ 95478 h 1380812"/>
                  <a:gd name="connsiteX0" fmla="*/ 710914 w 1017431"/>
                  <a:gd name="connsiteY0" fmla="*/ 95478 h 1380812"/>
                  <a:gd name="connsiteX1" fmla="*/ 767581 w 1017431"/>
                  <a:gd name="connsiteY1" fmla="*/ 95478 h 1380812"/>
                  <a:gd name="connsiteX2" fmla="*/ 770157 w 1017431"/>
                  <a:gd name="connsiteY2" fmla="*/ 103206 h 1380812"/>
                  <a:gd name="connsiteX3" fmla="*/ 775308 w 1017431"/>
                  <a:gd name="connsiteY3" fmla="*/ 110933 h 1380812"/>
                  <a:gd name="connsiteX4" fmla="*/ 777884 w 1017431"/>
                  <a:gd name="connsiteY4" fmla="*/ 98054 h 1380812"/>
                  <a:gd name="connsiteX5" fmla="*/ 785611 w 1017431"/>
                  <a:gd name="connsiteY5" fmla="*/ 92902 h 1380812"/>
                  <a:gd name="connsiteX6" fmla="*/ 788187 w 1017431"/>
                  <a:gd name="connsiteY6" fmla="*/ 85175 h 1380812"/>
                  <a:gd name="connsiteX7" fmla="*/ 798490 w 1017431"/>
                  <a:gd name="connsiteY7" fmla="*/ 43963 h 1380812"/>
                  <a:gd name="connsiteX8" fmla="*/ 816520 w 1017431"/>
                  <a:gd name="connsiteY8" fmla="*/ 46538 h 1380812"/>
                  <a:gd name="connsiteX9" fmla="*/ 829399 w 1017431"/>
                  <a:gd name="connsiteY9" fmla="*/ 61993 h 1380812"/>
                  <a:gd name="connsiteX10" fmla="*/ 831975 w 1017431"/>
                  <a:gd name="connsiteY10" fmla="*/ 85175 h 1380812"/>
                  <a:gd name="connsiteX11" fmla="*/ 834551 w 1017431"/>
                  <a:gd name="connsiteY11" fmla="*/ 95478 h 1380812"/>
                  <a:gd name="connsiteX12" fmla="*/ 842278 w 1017431"/>
                  <a:gd name="connsiteY12" fmla="*/ 98054 h 1380812"/>
                  <a:gd name="connsiteX13" fmla="*/ 829399 w 1017431"/>
                  <a:gd name="connsiteY13" fmla="*/ 100630 h 1380812"/>
                  <a:gd name="connsiteX14" fmla="*/ 813945 w 1017431"/>
                  <a:gd name="connsiteY14" fmla="*/ 108357 h 1380812"/>
                  <a:gd name="connsiteX15" fmla="*/ 808793 w 1017431"/>
                  <a:gd name="connsiteY15" fmla="*/ 116084 h 1380812"/>
                  <a:gd name="connsiteX16" fmla="*/ 775308 w 1017431"/>
                  <a:gd name="connsiteY16" fmla="*/ 116084 h 1380812"/>
                  <a:gd name="connsiteX17" fmla="*/ 777884 w 1017431"/>
                  <a:gd name="connsiteY17" fmla="*/ 105781 h 1380812"/>
                  <a:gd name="connsiteX18" fmla="*/ 785611 w 1017431"/>
                  <a:gd name="connsiteY18" fmla="*/ 108357 h 1380812"/>
                  <a:gd name="connsiteX19" fmla="*/ 803642 w 1017431"/>
                  <a:gd name="connsiteY19" fmla="*/ 126388 h 1380812"/>
                  <a:gd name="connsiteX20" fmla="*/ 816520 w 1017431"/>
                  <a:gd name="connsiteY20" fmla="*/ 149569 h 1380812"/>
                  <a:gd name="connsiteX21" fmla="*/ 824248 w 1017431"/>
                  <a:gd name="connsiteY21" fmla="*/ 146994 h 1380812"/>
                  <a:gd name="connsiteX22" fmla="*/ 839702 w 1017431"/>
                  <a:gd name="connsiteY22" fmla="*/ 136691 h 1380812"/>
                  <a:gd name="connsiteX23" fmla="*/ 855157 w 1017431"/>
                  <a:gd name="connsiteY23" fmla="*/ 139266 h 1380812"/>
                  <a:gd name="connsiteX24" fmla="*/ 857733 w 1017431"/>
                  <a:gd name="connsiteY24" fmla="*/ 146994 h 1380812"/>
                  <a:gd name="connsiteX25" fmla="*/ 865460 w 1017431"/>
                  <a:gd name="connsiteY25" fmla="*/ 149569 h 1380812"/>
                  <a:gd name="connsiteX26" fmla="*/ 880915 w 1017431"/>
                  <a:gd name="connsiteY26" fmla="*/ 152145 h 1380812"/>
                  <a:gd name="connsiteX27" fmla="*/ 891218 w 1017431"/>
                  <a:gd name="connsiteY27" fmla="*/ 172751 h 1380812"/>
                  <a:gd name="connsiteX28" fmla="*/ 888642 w 1017431"/>
                  <a:gd name="connsiteY28" fmla="*/ 165024 h 1380812"/>
                  <a:gd name="connsiteX29" fmla="*/ 880915 w 1017431"/>
                  <a:gd name="connsiteY29" fmla="*/ 162448 h 1380812"/>
                  <a:gd name="connsiteX30" fmla="*/ 873188 w 1017431"/>
                  <a:gd name="connsiteY30" fmla="*/ 157297 h 1380812"/>
                  <a:gd name="connsiteX31" fmla="*/ 862884 w 1017431"/>
                  <a:gd name="connsiteY31" fmla="*/ 159873 h 1380812"/>
                  <a:gd name="connsiteX32" fmla="*/ 873188 w 1017431"/>
                  <a:gd name="connsiteY32" fmla="*/ 198509 h 1380812"/>
                  <a:gd name="connsiteX33" fmla="*/ 880915 w 1017431"/>
                  <a:gd name="connsiteY33" fmla="*/ 195933 h 1380812"/>
                  <a:gd name="connsiteX34" fmla="*/ 883491 w 1017431"/>
                  <a:gd name="connsiteY34" fmla="*/ 206237 h 1380812"/>
                  <a:gd name="connsiteX35" fmla="*/ 888642 w 1017431"/>
                  <a:gd name="connsiteY35" fmla="*/ 213964 h 1380812"/>
                  <a:gd name="connsiteX36" fmla="*/ 904097 w 1017431"/>
                  <a:gd name="connsiteY36" fmla="*/ 208812 h 1380812"/>
                  <a:gd name="connsiteX37" fmla="*/ 909248 w 1017431"/>
                  <a:gd name="connsiteY37" fmla="*/ 224267 h 1380812"/>
                  <a:gd name="connsiteX38" fmla="*/ 914400 w 1017431"/>
                  <a:gd name="connsiteY38" fmla="*/ 242297 h 1380812"/>
                  <a:gd name="connsiteX39" fmla="*/ 916976 w 1017431"/>
                  <a:gd name="connsiteY39" fmla="*/ 257752 h 1380812"/>
                  <a:gd name="connsiteX40" fmla="*/ 924703 w 1017431"/>
                  <a:gd name="connsiteY40" fmla="*/ 265479 h 1380812"/>
                  <a:gd name="connsiteX41" fmla="*/ 929855 w 1017431"/>
                  <a:gd name="connsiteY41" fmla="*/ 273207 h 1380812"/>
                  <a:gd name="connsiteX42" fmla="*/ 935006 w 1017431"/>
                  <a:gd name="connsiteY42" fmla="*/ 291237 h 1380812"/>
                  <a:gd name="connsiteX43" fmla="*/ 940158 w 1017431"/>
                  <a:gd name="connsiteY43" fmla="*/ 311843 h 1380812"/>
                  <a:gd name="connsiteX44" fmla="*/ 937582 w 1017431"/>
                  <a:gd name="connsiteY44" fmla="*/ 327298 h 1380812"/>
                  <a:gd name="connsiteX45" fmla="*/ 929855 w 1017431"/>
                  <a:gd name="connsiteY45" fmla="*/ 329874 h 1380812"/>
                  <a:gd name="connsiteX46" fmla="*/ 911824 w 1017431"/>
                  <a:gd name="connsiteY46" fmla="*/ 335025 h 1380812"/>
                  <a:gd name="connsiteX47" fmla="*/ 904097 w 1017431"/>
                  <a:gd name="connsiteY47" fmla="*/ 340177 h 1380812"/>
                  <a:gd name="connsiteX48" fmla="*/ 901521 w 1017431"/>
                  <a:gd name="connsiteY48" fmla="*/ 347904 h 1380812"/>
                  <a:gd name="connsiteX49" fmla="*/ 914400 w 1017431"/>
                  <a:gd name="connsiteY49" fmla="*/ 371086 h 1380812"/>
                  <a:gd name="connsiteX50" fmla="*/ 922127 w 1017431"/>
                  <a:gd name="connsiteY50" fmla="*/ 373662 h 1380812"/>
                  <a:gd name="connsiteX51" fmla="*/ 937582 w 1017431"/>
                  <a:gd name="connsiteY51" fmla="*/ 386541 h 1380812"/>
                  <a:gd name="connsiteX52" fmla="*/ 940158 w 1017431"/>
                  <a:gd name="connsiteY52" fmla="*/ 394268 h 1380812"/>
                  <a:gd name="connsiteX53" fmla="*/ 947885 w 1017431"/>
                  <a:gd name="connsiteY53" fmla="*/ 396844 h 1380812"/>
                  <a:gd name="connsiteX54" fmla="*/ 950461 w 1017431"/>
                  <a:gd name="connsiteY54" fmla="*/ 407147 h 1380812"/>
                  <a:gd name="connsiteX55" fmla="*/ 955612 w 1017431"/>
                  <a:gd name="connsiteY55" fmla="*/ 422602 h 1380812"/>
                  <a:gd name="connsiteX56" fmla="*/ 958188 w 1017431"/>
                  <a:gd name="connsiteY56" fmla="*/ 430329 h 1380812"/>
                  <a:gd name="connsiteX57" fmla="*/ 955612 w 1017431"/>
                  <a:gd name="connsiteY57" fmla="*/ 438056 h 1380812"/>
                  <a:gd name="connsiteX58" fmla="*/ 950461 w 1017431"/>
                  <a:gd name="connsiteY58" fmla="*/ 456087 h 1380812"/>
                  <a:gd name="connsiteX59" fmla="*/ 965915 w 1017431"/>
                  <a:gd name="connsiteY59" fmla="*/ 466390 h 1380812"/>
                  <a:gd name="connsiteX60" fmla="*/ 971067 w 1017431"/>
                  <a:gd name="connsiteY60" fmla="*/ 476693 h 1380812"/>
                  <a:gd name="connsiteX61" fmla="*/ 973643 w 1017431"/>
                  <a:gd name="connsiteY61" fmla="*/ 507602 h 1380812"/>
                  <a:gd name="connsiteX62" fmla="*/ 976218 w 1017431"/>
                  <a:gd name="connsiteY62" fmla="*/ 525633 h 1380812"/>
                  <a:gd name="connsiteX63" fmla="*/ 973643 w 1017431"/>
                  <a:gd name="connsiteY63" fmla="*/ 535936 h 1380812"/>
                  <a:gd name="connsiteX64" fmla="*/ 965915 w 1017431"/>
                  <a:gd name="connsiteY64" fmla="*/ 541087 h 1380812"/>
                  <a:gd name="connsiteX65" fmla="*/ 960764 w 1017431"/>
                  <a:gd name="connsiteY65" fmla="*/ 548815 h 1380812"/>
                  <a:gd name="connsiteX66" fmla="*/ 963340 w 1017431"/>
                  <a:gd name="connsiteY66" fmla="*/ 561693 h 1380812"/>
                  <a:gd name="connsiteX67" fmla="*/ 971067 w 1017431"/>
                  <a:gd name="connsiteY67" fmla="*/ 564269 h 1380812"/>
                  <a:gd name="connsiteX68" fmla="*/ 981370 w 1017431"/>
                  <a:gd name="connsiteY68" fmla="*/ 569421 h 1380812"/>
                  <a:gd name="connsiteX69" fmla="*/ 986522 w 1017431"/>
                  <a:gd name="connsiteY69" fmla="*/ 577148 h 1380812"/>
                  <a:gd name="connsiteX70" fmla="*/ 978794 w 1017431"/>
                  <a:gd name="connsiteY70" fmla="*/ 595178 h 1380812"/>
                  <a:gd name="connsiteX71" fmla="*/ 986522 w 1017431"/>
                  <a:gd name="connsiteY71" fmla="*/ 600330 h 1380812"/>
                  <a:gd name="connsiteX72" fmla="*/ 994249 w 1017431"/>
                  <a:gd name="connsiteY72" fmla="*/ 602906 h 1380812"/>
                  <a:gd name="connsiteX73" fmla="*/ 1007128 w 1017431"/>
                  <a:gd name="connsiteY73" fmla="*/ 618360 h 1380812"/>
                  <a:gd name="connsiteX74" fmla="*/ 1014855 w 1017431"/>
                  <a:gd name="connsiteY74" fmla="*/ 641542 h 1380812"/>
                  <a:gd name="connsiteX75" fmla="*/ 1017431 w 1017431"/>
                  <a:gd name="connsiteY75" fmla="*/ 649270 h 1380812"/>
                  <a:gd name="connsiteX76" fmla="*/ 1014855 w 1017431"/>
                  <a:gd name="connsiteY76" fmla="*/ 667300 h 1380812"/>
                  <a:gd name="connsiteX77" fmla="*/ 1012279 w 1017431"/>
                  <a:gd name="connsiteY77" fmla="*/ 708513 h 1380812"/>
                  <a:gd name="connsiteX78" fmla="*/ 996825 w 1017431"/>
                  <a:gd name="connsiteY78" fmla="*/ 713664 h 1380812"/>
                  <a:gd name="connsiteX79" fmla="*/ 994249 w 1017431"/>
                  <a:gd name="connsiteY79" fmla="*/ 731695 h 1380812"/>
                  <a:gd name="connsiteX80" fmla="*/ 981370 w 1017431"/>
                  <a:gd name="connsiteY80" fmla="*/ 729119 h 1380812"/>
                  <a:gd name="connsiteX81" fmla="*/ 976218 w 1017431"/>
                  <a:gd name="connsiteY81" fmla="*/ 713664 h 1380812"/>
                  <a:gd name="connsiteX82" fmla="*/ 978794 w 1017431"/>
                  <a:gd name="connsiteY82" fmla="*/ 705937 h 1380812"/>
                  <a:gd name="connsiteX83" fmla="*/ 955612 w 1017431"/>
                  <a:gd name="connsiteY83" fmla="*/ 693058 h 1380812"/>
                  <a:gd name="connsiteX84" fmla="*/ 947885 w 1017431"/>
                  <a:gd name="connsiteY84" fmla="*/ 695634 h 1380812"/>
                  <a:gd name="connsiteX85" fmla="*/ 950461 w 1017431"/>
                  <a:gd name="connsiteY85" fmla="*/ 708513 h 1380812"/>
                  <a:gd name="connsiteX86" fmla="*/ 940158 w 1017431"/>
                  <a:gd name="connsiteY86" fmla="*/ 723967 h 1380812"/>
                  <a:gd name="connsiteX87" fmla="*/ 937582 w 1017431"/>
                  <a:gd name="connsiteY87" fmla="*/ 713664 h 1380812"/>
                  <a:gd name="connsiteX88" fmla="*/ 935006 w 1017431"/>
                  <a:gd name="connsiteY88" fmla="*/ 723967 h 1380812"/>
                  <a:gd name="connsiteX89" fmla="*/ 914400 w 1017431"/>
                  <a:gd name="connsiteY89" fmla="*/ 731695 h 1380812"/>
                  <a:gd name="connsiteX90" fmla="*/ 906673 w 1017431"/>
                  <a:gd name="connsiteY90" fmla="*/ 736846 h 1380812"/>
                  <a:gd name="connsiteX91" fmla="*/ 891218 w 1017431"/>
                  <a:gd name="connsiteY91" fmla="*/ 741998 h 1380812"/>
                  <a:gd name="connsiteX92" fmla="*/ 883491 w 1017431"/>
                  <a:gd name="connsiteY92" fmla="*/ 749725 h 1380812"/>
                  <a:gd name="connsiteX93" fmla="*/ 868036 w 1017431"/>
                  <a:gd name="connsiteY93" fmla="*/ 754877 h 1380812"/>
                  <a:gd name="connsiteX94" fmla="*/ 860309 w 1017431"/>
                  <a:gd name="connsiteY94" fmla="*/ 752301 h 1380812"/>
                  <a:gd name="connsiteX95" fmla="*/ 852581 w 1017431"/>
                  <a:gd name="connsiteY95" fmla="*/ 760028 h 1380812"/>
                  <a:gd name="connsiteX96" fmla="*/ 844854 w 1017431"/>
                  <a:gd name="connsiteY96" fmla="*/ 765180 h 1380812"/>
                  <a:gd name="connsiteX97" fmla="*/ 829399 w 1017431"/>
                  <a:gd name="connsiteY97" fmla="*/ 770331 h 1380812"/>
                  <a:gd name="connsiteX98" fmla="*/ 813945 w 1017431"/>
                  <a:gd name="connsiteY98" fmla="*/ 780634 h 1380812"/>
                  <a:gd name="connsiteX99" fmla="*/ 795914 w 1017431"/>
                  <a:gd name="connsiteY99" fmla="*/ 803816 h 1380812"/>
                  <a:gd name="connsiteX100" fmla="*/ 767581 w 1017431"/>
                  <a:gd name="connsiteY100" fmla="*/ 801240 h 1380812"/>
                  <a:gd name="connsiteX101" fmla="*/ 759853 w 1017431"/>
                  <a:gd name="connsiteY101" fmla="*/ 803816 h 1380812"/>
                  <a:gd name="connsiteX102" fmla="*/ 744399 w 1017431"/>
                  <a:gd name="connsiteY102" fmla="*/ 816695 h 1380812"/>
                  <a:gd name="connsiteX103" fmla="*/ 728944 w 1017431"/>
                  <a:gd name="connsiteY103" fmla="*/ 824422 h 1380812"/>
                  <a:gd name="connsiteX104" fmla="*/ 713489 w 1017431"/>
                  <a:gd name="connsiteY104" fmla="*/ 834726 h 1380812"/>
                  <a:gd name="connsiteX105" fmla="*/ 698035 w 1017431"/>
                  <a:gd name="connsiteY105" fmla="*/ 829574 h 1380812"/>
                  <a:gd name="connsiteX106" fmla="*/ 700611 w 1017431"/>
                  <a:gd name="connsiteY106" fmla="*/ 834726 h 1380812"/>
                  <a:gd name="connsiteX107" fmla="*/ 705762 w 1017431"/>
                  <a:gd name="connsiteY107" fmla="*/ 850180 h 1380812"/>
                  <a:gd name="connsiteX108" fmla="*/ 708338 w 1017431"/>
                  <a:gd name="connsiteY108" fmla="*/ 873362 h 1380812"/>
                  <a:gd name="connsiteX109" fmla="*/ 716065 w 1017431"/>
                  <a:gd name="connsiteY109" fmla="*/ 875938 h 1380812"/>
                  <a:gd name="connsiteX110" fmla="*/ 736671 w 1017431"/>
                  <a:gd name="connsiteY110" fmla="*/ 878514 h 1380812"/>
                  <a:gd name="connsiteX111" fmla="*/ 744399 w 1017431"/>
                  <a:gd name="connsiteY111" fmla="*/ 886241 h 1380812"/>
                  <a:gd name="connsiteX112" fmla="*/ 746975 w 1017431"/>
                  <a:gd name="connsiteY112" fmla="*/ 893968 h 1380812"/>
                  <a:gd name="connsiteX113" fmla="*/ 752126 w 1017431"/>
                  <a:gd name="connsiteY113" fmla="*/ 901696 h 1380812"/>
                  <a:gd name="connsiteX114" fmla="*/ 749550 w 1017431"/>
                  <a:gd name="connsiteY114" fmla="*/ 911999 h 1380812"/>
                  <a:gd name="connsiteX115" fmla="*/ 741823 w 1017431"/>
                  <a:gd name="connsiteY115" fmla="*/ 919726 h 1380812"/>
                  <a:gd name="connsiteX116" fmla="*/ 736671 w 1017431"/>
                  <a:gd name="connsiteY116" fmla="*/ 927453 h 1380812"/>
                  <a:gd name="connsiteX117" fmla="*/ 734096 w 1017431"/>
                  <a:gd name="connsiteY117" fmla="*/ 935181 h 1380812"/>
                  <a:gd name="connsiteX118" fmla="*/ 752126 w 1017431"/>
                  <a:gd name="connsiteY118" fmla="*/ 971242 h 1380812"/>
                  <a:gd name="connsiteX119" fmla="*/ 767581 w 1017431"/>
                  <a:gd name="connsiteY119" fmla="*/ 981545 h 1380812"/>
                  <a:gd name="connsiteX120" fmla="*/ 777884 w 1017431"/>
                  <a:gd name="connsiteY120" fmla="*/ 1004727 h 1380812"/>
                  <a:gd name="connsiteX121" fmla="*/ 801066 w 1017431"/>
                  <a:gd name="connsiteY121" fmla="*/ 1004727 h 1380812"/>
                  <a:gd name="connsiteX122" fmla="*/ 806217 w 1017431"/>
                  <a:gd name="connsiteY122" fmla="*/ 1012454 h 1380812"/>
                  <a:gd name="connsiteX123" fmla="*/ 813945 w 1017431"/>
                  <a:gd name="connsiteY123" fmla="*/ 1020181 h 1380812"/>
                  <a:gd name="connsiteX124" fmla="*/ 824248 w 1017431"/>
                  <a:gd name="connsiteY124" fmla="*/ 1035636 h 1380812"/>
                  <a:gd name="connsiteX125" fmla="*/ 831975 w 1017431"/>
                  <a:gd name="connsiteY125" fmla="*/ 1043363 h 1380812"/>
                  <a:gd name="connsiteX126" fmla="*/ 837127 w 1017431"/>
                  <a:gd name="connsiteY126" fmla="*/ 1051091 h 1380812"/>
                  <a:gd name="connsiteX127" fmla="*/ 844854 w 1017431"/>
                  <a:gd name="connsiteY127" fmla="*/ 1056242 h 1380812"/>
                  <a:gd name="connsiteX128" fmla="*/ 860309 w 1017431"/>
                  <a:gd name="connsiteY128" fmla="*/ 1066545 h 1380812"/>
                  <a:gd name="connsiteX129" fmla="*/ 868036 w 1017431"/>
                  <a:gd name="connsiteY129" fmla="*/ 1071697 h 1380812"/>
                  <a:gd name="connsiteX130" fmla="*/ 883491 w 1017431"/>
                  <a:gd name="connsiteY130" fmla="*/ 1076848 h 1380812"/>
                  <a:gd name="connsiteX131" fmla="*/ 891218 w 1017431"/>
                  <a:gd name="connsiteY131" fmla="*/ 1084576 h 1380812"/>
                  <a:gd name="connsiteX132" fmla="*/ 896369 w 1017431"/>
                  <a:gd name="connsiteY132" fmla="*/ 1092303 h 1380812"/>
                  <a:gd name="connsiteX133" fmla="*/ 904097 w 1017431"/>
                  <a:gd name="connsiteY133" fmla="*/ 1097455 h 1380812"/>
                  <a:gd name="connsiteX134" fmla="*/ 909248 w 1017431"/>
                  <a:gd name="connsiteY134" fmla="*/ 1105182 h 1380812"/>
                  <a:gd name="connsiteX135" fmla="*/ 904097 w 1017431"/>
                  <a:gd name="connsiteY135" fmla="*/ 1123212 h 1380812"/>
                  <a:gd name="connsiteX136" fmla="*/ 901521 w 1017431"/>
                  <a:gd name="connsiteY136" fmla="*/ 1141243 h 1380812"/>
                  <a:gd name="connsiteX137" fmla="*/ 883491 w 1017431"/>
                  <a:gd name="connsiteY137" fmla="*/ 1141243 h 1380812"/>
                  <a:gd name="connsiteX138" fmla="*/ 862884 w 1017431"/>
                  <a:gd name="connsiteY138" fmla="*/ 1138667 h 1380812"/>
                  <a:gd name="connsiteX139" fmla="*/ 857733 w 1017431"/>
                  <a:gd name="connsiteY139" fmla="*/ 1148970 h 1380812"/>
                  <a:gd name="connsiteX140" fmla="*/ 860309 w 1017431"/>
                  <a:gd name="connsiteY140" fmla="*/ 1156697 h 1380812"/>
                  <a:gd name="connsiteX141" fmla="*/ 852581 w 1017431"/>
                  <a:gd name="connsiteY141" fmla="*/ 1177304 h 1380812"/>
                  <a:gd name="connsiteX142" fmla="*/ 844854 w 1017431"/>
                  <a:gd name="connsiteY142" fmla="*/ 1182455 h 1380812"/>
                  <a:gd name="connsiteX143" fmla="*/ 837127 w 1017431"/>
                  <a:gd name="connsiteY143" fmla="*/ 1185031 h 1380812"/>
                  <a:gd name="connsiteX144" fmla="*/ 829399 w 1017431"/>
                  <a:gd name="connsiteY144" fmla="*/ 1190182 h 1380812"/>
                  <a:gd name="connsiteX145" fmla="*/ 813945 w 1017431"/>
                  <a:gd name="connsiteY145" fmla="*/ 1195334 h 1380812"/>
                  <a:gd name="connsiteX146" fmla="*/ 806217 w 1017431"/>
                  <a:gd name="connsiteY146" fmla="*/ 1197910 h 1380812"/>
                  <a:gd name="connsiteX147" fmla="*/ 798490 w 1017431"/>
                  <a:gd name="connsiteY147" fmla="*/ 1203061 h 1380812"/>
                  <a:gd name="connsiteX148" fmla="*/ 788187 w 1017431"/>
                  <a:gd name="connsiteY148" fmla="*/ 1221092 h 1380812"/>
                  <a:gd name="connsiteX149" fmla="*/ 790763 w 1017431"/>
                  <a:gd name="connsiteY149" fmla="*/ 1233971 h 1380812"/>
                  <a:gd name="connsiteX150" fmla="*/ 795914 w 1017431"/>
                  <a:gd name="connsiteY150" fmla="*/ 1241698 h 1380812"/>
                  <a:gd name="connsiteX151" fmla="*/ 801066 w 1017431"/>
                  <a:gd name="connsiteY151" fmla="*/ 1257153 h 1380812"/>
                  <a:gd name="connsiteX152" fmla="*/ 811369 w 1017431"/>
                  <a:gd name="connsiteY152" fmla="*/ 1272607 h 1380812"/>
                  <a:gd name="connsiteX153" fmla="*/ 808793 w 1017431"/>
                  <a:gd name="connsiteY153" fmla="*/ 1285486 h 1380812"/>
                  <a:gd name="connsiteX154" fmla="*/ 806217 w 1017431"/>
                  <a:gd name="connsiteY154" fmla="*/ 1293213 h 1380812"/>
                  <a:gd name="connsiteX155" fmla="*/ 813945 w 1017431"/>
                  <a:gd name="connsiteY155" fmla="*/ 1298365 h 1380812"/>
                  <a:gd name="connsiteX156" fmla="*/ 831975 w 1017431"/>
                  <a:gd name="connsiteY156" fmla="*/ 1303517 h 1380812"/>
                  <a:gd name="connsiteX157" fmla="*/ 824248 w 1017431"/>
                  <a:gd name="connsiteY157" fmla="*/ 1326698 h 1380812"/>
                  <a:gd name="connsiteX158" fmla="*/ 821672 w 1017431"/>
                  <a:gd name="connsiteY158" fmla="*/ 1334426 h 1380812"/>
                  <a:gd name="connsiteX159" fmla="*/ 813945 w 1017431"/>
                  <a:gd name="connsiteY159" fmla="*/ 1337002 h 1380812"/>
                  <a:gd name="connsiteX160" fmla="*/ 798490 w 1017431"/>
                  <a:gd name="connsiteY160" fmla="*/ 1329274 h 1380812"/>
                  <a:gd name="connsiteX161" fmla="*/ 793338 w 1017431"/>
                  <a:gd name="connsiteY161" fmla="*/ 1321547 h 1380812"/>
                  <a:gd name="connsiteX162" fmla="*/ 785611 w 1017431"/>
                  <a:gd name="connsiteY162" fmla="*/ 1306092 h 1380812"/>
                  <a:gd name="connsiteX163" fmla="*/ 777884 w 1017431"/>
                  <a:gd name="connsiteY163" fmla="*/ 1303517 h 1380812"/>
                  <a:gd name="connsiteX164" fmla="*/ 762429 w 1017431"/>
                  <a:gd name="connsiteY164" fmla="*/ 1311244 h 1380812"/>
                  <a:gd name="connsiteX165" fmla="*/ 752126 w 1017431"/>
                  <a:gd name="connsiteY165" fmla="*/ 1308668 h 1380812"/>
                  <a:gd name="connsiteX166" fmla="*/ 744399 w 1017431"/>
                  <a:gd name="connsiteY166" fmla="*/ 1303517 h 1380812"/>
                  <a:gd name="connsiteX167" fmla="*/ 726368 w 1017431"/>
                  <a:gd name="connsiteY167" fmla="*/ 1308668 h 1380812"/>
                  <a:gd name="connsiteX168" fmla="*/ 718641 w 1017431"/>
                  <a:gd name="connsiteY168" fmla="*/ 1313820 h 1380812"/>
                  <a:gd name="connsiteX169" fmla="*/ 713489 w 1017431"/>
                  <a:gd name="connsiteY169" fmla="*/ 1306092 h 1380812"/>
                  <a:gd name="connsiteX170" fmla="*/ 705762 w 1017431"/>
                  <a:gd name="connsiteY170" fmla="*/ 1300941 h 1380812"/>
                  <a:gd name="connsiteX171" fmla="*/ 677429 w 1017431"/>
                  <a:gd name="connsiteY171" fmla="*/ 1308668 h 1380812"/>
                  <a:gd name="connsiteX172" fmla="*/ 661974 w 1017431"/>
                  <a:gd name="connsiteY172" fmla="*/ 1316395 h 1380812"/>
                  <a:gd name="connsiteX173" fmla="*/ 641368 w 1017431"/>
                  <a:gd name="connsiteY173" fmla="*/ 1318971 h 1380812"/>
                  <a:gd name="connsiteX174" fmla="*/ 625913 w 1017431"/>
                  <a:gd name="connsiteY174" fmla="*/ 1329274 h 1380812"/>
                  <a:gd name="connsiteX175" fmla="*/ 602731 w 1017431"/>
                  <a:gd name="connsiteY175" fmla="*/ 1342153 h 1380812"/>
                  <a:gd name="connsiteX176" fmla="*/ 595004 w 1017431"/>
                  <a:gd name="connsiteY176" fmla="*/ 1347305 h 1380812"/>
                  <a:gd name="connsiteX177" fmla="*/ 579549 w 1017431"/>
                  <a:gd name="connsiteY177" fmla="*/ 1352456 h 1380812"/>
                  <a:gd name="connsiteX178" fmla="*/ 569246 w 1017431"/>
                  <a:gd name="connsiteY178" fmla="*/ 1349880 h 1380812"/>
                  <a:gd name="connsiteX179" fmla="*/ 561519 w 1017431"/>
                  <a:gd name="connsiteY179" fmla="*/ 1334426 h 1380812"/>
                  <a:gd name="connsiteX180" fmla="*/ 553791 w 1017431"/>
                  <a:gd name="connsiteY180" fmla="*/ 1337002 h 1380812"/>
                  <a:gd name="connsiteX181" fmla="*/ 538337 w 1017431"/>
                  <a:gd name="connsiteY181" fmla="*/ 1331850 h 1380812"/>
                  <a:gd name="connsiteX182" fmla="*/ 512579 w 1017431"/>
                  <a:gd name="connsiteY182" fmla="*/ 1334426 h 1380812"/>
                  <a:gd name="connsiteX183" fmla="*/ 515155 w 1017431"/>
                  <a:gd name="connsiteY183" fmla="*/ 1347305 h 1380812"/>
                  <a:gd name="connsiteX184" fmla="*/ 512579 w 1017431"/>
                  <a:gd name="connsiteY184" fmla="*/ 1357608 h 1380812"/>
                  <a:gd name="connsiteX185" fmla="*/ 504852 w 1017431"/>
                  <a:gd name="connsiteY185" fmla="*/ 1360184 h 1380812"/>
                  <a:gd name="connsiteX186" fmla="*/ 497124 w 1017431"/>
                  <a:gd name="connsiteY186" fmla="*/ 1365335 h 1380812"/>
                  <a:gd name="connsiteX187" fmla="*/ 481670 w 1017431"/>
                  <a:gd name="connsiteY187" fmla="*/ 1378214 h 1380812"/>
                  <a:gd name="connsiteX188" fmla="*/ 473942 w 1017431"/>
                  <a:gd name="connsiteY188" fmla="*/ 1362759 h 1380812"/>
                  <a:gd name="connsiteX189" fmla="*/ 468791 w 1017431"/>
                  <a:gd name="connsiteY189" fmla="*/ 1347305 h 1380812"/>
                  <a:gd name="connsiteX190" fmla="*/ 458488 w 1017431"/>
                  <a:gd name="connsiteY190" fmla="*/ 1342153 h 1380812"/>
                  <a:gd name="connsiteX191" fmla="*/ 435306 w 1017431"/>
                  <a:gd name="connsiteY191" fmla="*/ 1329274 h 1380812"/>
                  <a:gd name="connsiteX192" fmla="*/ 412124 w 1017431"/>
                  <a:gd name="connsiteY192" fmla="*/ 1331850 h 1380812"/>
                  <a:gd name="connsiteX193" fmla="*/ 394093 w 1017431"/>
                  <a:gd name="connsiteY193" fmla="*/ 1337002 h 1380812"/>
                  <a:gd name="connsiteX194" fmla="*/ 391518 w 1017431"/>
                  <a:gd name="connsiteY194" fmla="*/ 1324123 h 1380812"/>
                  <a:gd name="connsiteX195" fmla="*/ 383790 w 1017431"/>
                  <a:gd name="connsiteY195" fmla="*/ 1318971 h 1380812"/>
                  <a:gd name="connsiteX196" fmla="*/ 355457 w 1017431"/>
                  <a:gd name="connsiteY196" fmla="*/ 1313820 h 1380812"/>
                  <a:gd name="connsiteX197" fmla="*/ 340002 w 1017431"/>
                  <a:gd name="connsiteY197" fmla="*/ 1308668 h 1380812"/>
                  <a:gd name="connsiteX198" fmla="*/ 332275 w 1017431"/>
                  <a:gd name="connsiteY198" fmla="*/ 1306092 h 1380812"/>
                  <a:gd name="connsiteX199" fmla="*/ 311669 w 1017431"/>
                  <a:gd name="connsiteY199" fmla="*/ 1303517 h 1380812"/>
                  <a:gd name="connsiteX200" fmla="*/ 303941 w 1017431"/>
                  <a:gd name="connsiteY200" fmla="*/ 1300941 h 1380812"/>
                  <a:gd name="connsiteX201" fmla="*/ 298790 w 1017431"/>
                  <a:gd name="connsiteY201" fmla="*/ 1293213 h 1380812"/>
                  <a:gd name="connsiteX202" fmla="*/ 291062 w 1017431"/>
                  <a:gd name="connsiteY202" fmla="*/ 1288062 h 1380812"/>
                  <a:gd name="connsiteX203" fmla="*/ 278184 w 1017431"/>
                  <a:gd name="connsiteY203" fmla="*/ 1290638 h 1380812"/>
                  <a:gd name="connsiteX204" fmla="*/ 270456 w 1017431"/>
                  <a:gd name="connsiteY204" fmla="*/ 1293213 h 1380812"/>
                  <a:gd name="connsiteX205" fmla="*/ 275608 w 1017431"/>
                  <a:gd name="connsiteY205" fmla="*/ 1300941 h 1380812"/>
                  <a:gd name="connsiteX206" fmla="*/ 283335 w 1017431"/>
                  <a:gd name="connsiteY206" fmla="*/ 1303517 h 1380812"/>
                  <a:gd name="connsiteX207" fmla="*/ 291062 w 1017431"/>
                  <a:gd name="connsiteY207" fmla="*/ 1308668 h 1380812"/>
                  <a:gd name="connsiteX208" fmla="*/ 252426 w 1017431"/>
                  <a:gd name="connsiteY208" fmla="*/ 1313820 h 1380812"/>
                  <a:gd name="connsiteX209" fmla="*/ 229244 w 1017431"/>
                  <a:gd name="connsiteY209" fmla="*/ 1316395 h 1380812"/>
                  <a:gd name="connsiteX210" fmla="*/ 221517 w 1017431"/>
                  <a:gd name="connsiteY210" fmla="*/ 1318971 h 1380812"/>
                  <a:gd name="connsiteX211" fmla="*/ 190607 w 1017431"/>
                  <a:gd name="connsiteY211" fmla="*/ 1316395 h 1380812"/>
                  <a:gd name="connsiteX212" fmla="*/ 164850 w 1017431"/>
                  <a:gd name="connsiteY212" fmla="*/ 1324123 h 1380812"/>
                  <a:gd name="connsiteX213" fmla="*/ 159698 w 1017431"/>
                  <a:gd name="connsiteY213" fmla="*/ 1306092 h 1380812"/>
                  <a:gd name="connsiteX214" fmla="*/ 157122 w 1017431"/>
                  <a:gd name="connsiteY214" fmla="*/ 1298365 h 1380812"/>
                  <a:gd name="connsiteX215" fmla="*/ 151971 w 1017431"/>
                  <a:gd name="connsiteY215" fmla="*/ 1277759 h 1380812"/>
                  <a:gd name="connsiteX216" fmla="*/ 154546 w 1017431"/>
                  <a:gd name="connsiteY216" fmla="*/ 1259728 h 1380812"/>
                  <a:gd name="connsiteX217" fmla="*/ 162274 w 1017431"/>
                  <a:gd name="connsiteY217" fmla="*/ 1252001 h 1380812"/>
                  <a:gd name="connsiteX218" fmla="*/ 164849 w 1017431"/>
                  <a:gd name="connsiteY218" fmla="*/ 1244274 h 1380812"/>
                  <a:gd name="connsiteX219" fmla="*/ 167425 w 1017431"/>
                  <a:gd name="connsiteY219" fmla="*/ 1208213 h 1380812"/>
                  <a:gd name="connsiteX220" fmla="*/ 170001 w 1017431"/>
                  <a:gd name="connsiteY220" fmla="*/ 1200486 h 1380812"/>
                  <a:gd name="connsiteX221" fmla="*/ 177728 w 1017431"/>
                  <a:gd name="connsiteY221" fmla="*/ 1195334 h 1380812"/>
                  <a:gd name="connsiteX222" fmla="*/ 180304 w 1017431"/>
                  <a:gd name="connsiteY222" fmla="*/ 1185031 h 1380812"/>
                  <a:gd name="connsiteX223" fmla="*/ 193183 w 1017431"/>
                  <a:gd name="connsiteY223" fmla="*/ 1136091 h 1380812"/>
                  <a:gd name="connsiteX224" fmla="*/ 200910 w 1017431"/>
                  <a:gd name="connsiteY224" fmla="*/ 1128364 h 1380812"/>
                  <a:gd name="connsiteX225" fmla="*/ 216365 w 1017431"/>
                  <a:gd name="connsiteY225" fmla="*/ 1118061 h 1380812"/>
                  <a:gd name="connsiteX226" fmla="*/ 226668 w 1017431"/>
                  <a:gd name="connsiteY226" fmla="*/ 1102606 h 1380812"/>
                  <a:gd name="connsiteX227" fmla="*/ 231820 w 1017431"/>
                  <a:gd name="connsiteY227" fmla="*/ 1094879 h 1380812"/>
                  <a:gd name="connsiteX228" fmla="*/ 236971 w 1017431"/>
                  <a:gd name="connsiteY228" fmla="*/ 1074273 h 1380812"/>
                  <a:gd name="connsiteX229" fmla="*/ 239547 w 1017431"/>
                  <a:gd name="connsiteY229" fmla="*/ 1066545 h 1380812"/>
                  <a:gd name="connsiteX230" fmla="*/ 231820 w 1017431"/>
                  <a:gd name="connsiteY230" fmla="*/ 1063969 h 1380812"/>
                  <a:gd name="connsiteX231" fmla="*/ 224092 w 1017431"/>
                  <a:gd name="connsiteY231" fmla="*/ 1069121 h 1380812"/>
                  <a:gd name="connsiteX232" fmla="*/ 216365 w 1017431"/>
                  <a:gd name="connsiteY232" fmla="*/ 1071697 h 1380812"/>
                  <a:gd name="connsiteX233" fmla="*/ 190607 w 1017431"/>
                  <a:gd name="connsiteY233" fmla="*/ 1063969 h 1380812"/>
                  <a:gd name="connsiteX234" fmla="*/ 182880 w 1017431"/>
                  <a:gd name="connsiteY234" fmla="*/ 1061394 h 1380812"/>
                  <a:gd name="connsiteX235" fmla="*/ 172577 w 1017431"/>
                  <a:gd name="connsiteY235" fmla="*/ 1056242 h 1380812"/>
                  <a:gd name="connsiteX236" fmla="*/ 167425 w 1017431"/>
                  <a:gd name="connsiteY236" fmla="*/ 1048515 h 1380812"/>
                  <a:gd name="connsiteX237" fmla="*/ 151971 w 1017431"/>
                  <a:gd name="connsiteY237" fmla="*/ 1033060 h 1380812"/>
                  <a:gd name="connsiteX238" fmla="*/ 136516 w 1017431"/>
                  <a:gd name="connsiteY238" fmla="*/ 1045939 h 1380812"/>
                  <a:gd name="connsiteX239" fmla="*/ 126213 w 1017431"/>
                  <a:gd name="connsiteY239" fmla="*/ 1048515 h 1380812"/>
                  <a:gd name="connsiteX240" fmla="*/ 113334 w 1017431"/>
                  <a:gd name="connsiteY240" fmla="*/ 1038212 h 1380812"/>
                  <a:gd name="connsiteX241" fmla="*/ 110758 w 1017431"/>
                  <a:gd name="connsiteY241" fmla="*/ 1030484 h 1380812"/>
                  <a:gd name="connsiteX242" fmla="*/ 103031 w 1017431"/>
                  <a:gd name="connsiteY242" fmla="*/ 1027909 h 1380812"/>
                  <a:gd name="connsiteX243" fmla="*/ 90152 w 1017431"/>
                  <a:gd name="connsiteY243" fmla="*/ 1030484 h 1380812"/>
                  <a:gd name="connsiteX244" fmla="*/ 74697 w 1017431"/>
                  <a:gd name="connsiteY244" fmla="*/ 1025333 h 1380812"/>
                  <a:gd name="connsiteX245" fmla="*/ 66970 w 1017431"/>
                  <a:gd name="connsiteY245" fmla="*/ 1027909 h 1380812"/>
                  <a:gd name="connsiteX246" fmla="*/ 64394 w 1017431"/>
                  <a:gd name="connsiteY246" fmla="*/ 1009878 h 1380812"/>
                  <a:gd name="connsiteX247" fmla="*/ 56667 w 1017431"/>
                  <a:gd name="connsiteY247" fmla="*/ 1002151 h 1380812"/>
                  <a:gd name="connsiteX248" fmla="*/ 51515 w 1017431"/>
                  <a:gd name="connsiteY248" fmla="*/ 994424 h 1380812"/>
                  <a:gd name="connsiteX249" fmla="*/ 36061 w 1017431"/>
                  <a:gd name="connsiteY249" fmla="*/ 981545 h 1380812"/>
                  <a:gd name="connsiteX250" fmla="*/ 25758 w 1017431"/>
                  <a:gd name="connsiteY250" fmla="*/ 976393 h 1380812"/>
                  <a:gd name="connsiteX251" fmla="*/ 25758 w 1017431"/>
                  <a:gd name="connsiteY251" fmla="*/ 948060 h 1380812"/>
                  <a:gd name="connsiteX252" fmla="*/ 30909 w 1017431"/>
                  <a:gd name="connsiteY252" fmla="*/ 940332 h 1380812"/>
                  <a:gd name="connsiteX253" fmla="*/ 25758 w 1017431"/>
                  <a:gd name="connsiteY253" fmla="*/ 919726 h 1380812"/>
                  <a:gd name="connsiteX254" fmla="*/ 23182 w 1017431"/>
                  <a:gd name="connsiteY254" fmla="*/ 911999 h 1380812"/>
                  <a:gd name="connsiteX255" fmla="*/ 12879 w 1017431"/>
                  <a:gd name="connsiteY255" fmla="*/ 906847 h 1380812"/>
                  <a:gd name="connsiteX256" fmla="*/ 7727 w 1017431"/>
                  <a:gd name="connsiteY256" fmla="*/ 873362 h 1380812"/>
                  <a:gd name="connsiteX257" fmla="*/ 2576 w 1017431"/>
                  <a:gd name="connsiteY257" fmla="*/ 857908 h 1380812"/>
                  <a:gd name="connsiteX258" fmla="*/ 12879 w 1017431"/>
                  <a:gd name="connsiteY258" fmla="*/ 839877 h 1380812"/>
                  <a:gd name="connsiteX259" fmla="*/ 15455 w 1017431"/>
                  <a:gd name="connsiteY259" fmla="*/ 832150 h 1380812"/>
                  <a:gd name="connsiteX260" fmla="*/ 30909 w 1017431"/>
                  <a:gd name="connsiteY260" fmla="*/ 824422 h 1380812"/>
                  <a:gd name="connsiteX261" fmla="*/ 38637 w 1017431"/>
                  <a:gd name="connsiteY261" fmla="*/ 819271 h 1380812"/>
                  <a:gd name="connsiteX262" fmla="*/ 30909 w 1017431"/>
                  <a:gd name="connsiteY262" fmla="*/ 793513 h 1380812"/>
                  <a:gd name="connsiteX263" fmla="*/ 25758 w 1017431"/>
                  <a:gd name="connsiteY263" fmla="*/ 785786 h 1380812"/>
                  <a:gd name="connsiteX264" fmla="*/ 20606 w 1017431"/>
                  <a:gd name="connsiteY264" fmla="*/ 770331 h 1380812"/>
                  <a:gd name="connsiteX265" fmla="*/ 18030 w 1017431"/>
                  <a:gd name="connsiteY265" fmla="*/ 762604 h 1380812"/>
                  <a:gd name="connsiteX266" fmla="*/ 15455 w 1017431"/>
                  <a:gd name="connsiteY266" fmla="*/ 754877 h 1380812"/>
                  <a:gd name="connsiteX267" fmla="*/ 10303 w 1017431"/>
                  <a:gd name="connsiteY267" fmla="*/ 747149 h 1380812"/>
                  <a:gd name="connsiteX268" fmla="*/ 7727 w 1017431"/>
                  <a:gd name="connsiteY268" fmla="*/ 736846 h 1380812"/>
                  <a:gd name="connsiteX269" fmla="*/ 2576 w 1017431"/>
                  <a:gd name="connsiteY269" fmla="*/ 721391 h 1380812"/>
                  <a:gd name="connsiteX270" fmla="*/ 7727 w 1017431"/>
                  <a:gd name="connsiteY270" fmla="*/ 685331 h 1380812"/>
                  <a:gd name="connsiteX271" fmla="*/ 12879 w 1017431"/>
                  <a:gd name="connsiteY271" fmla="*/ 669876 h 1380812"/>
                  <a:gd name="connsiteX272" fmla="*/ 18030 w 1017431"/>
                  <a:gd name="connsiteY272" fmla="*/ 644118 h 1380812"/>
                  <a:gd name="connsiteX273" fmla="*/ 28333 w 1017431"/>
                  <a:gd name="connsiteY273" fmla="*/ 628664 h 1380812"/>
                  <a:gd name="connsiteX274" fmla="*/ 25758 w 1017431"/>
                  <a:gd name="connsiteY274" fmla="*/ 608057 h 1380812"/>
                  <a:gd name="connsiteX275" fmla="*/ 20606 w 1017431"/>
                  <a:gd name="connsiteY275" fmla="*/ 600330 h 1380812"/>
                  <a:gd name="connsiteX276" fmla="*/ 18030 w 1017431"/>
                  <a:gd name="connsiteY276" fmla="*/ 592603 h 1380812"/>
                  <a:gd name="connsiteX277" fmla="*/ 12879 w 1017431"/>
                  <a:gd name="connsiteY277" fmla="*/ 584875 h 1380812"/>
                  <a:gd name="connsiteX278" fmla="*/ 7727 w 1017431"/>
                  <a:gd name="connsiteY278" fmla="*/ 569421 h 1380812"/>
                  <a:gd name="connsiteX279" fmla="*/ 5151 w 1017431"/>
                  <a:gd name="connsiteY279" fmla="*/ 561693 h 1380812"/>
                  <a:gd name="connsiteX280" fmla="*/ 0 w 1017431"/>
                  <a:gd name="connsiteY280" fmla="*/ 553966 h 1380812"/>
                  <a:gd name="connsiteX281" fmla="*/ 2576 w 1017431"/>
                  <a:gd name="connsiteY281" fmla="*/ 546239 h 1380812"/>
                  <a:gd name="connsiteX282" fmla="*/ 10303 w 1017431"/>
                  <a:gd name="connsiteY282" fmla="*/ 541087 h 1380812"/>
                  <a:gd name="connsiteX283" fmla="*/ 30909 w 1017431"/>
                  <a:gd name="connsiteY283" fmla="*/ 535936 h 1380812"/>
                  <a:gd name="connsiteX284" fmla="*/ 54091 w 1017431"/>
                  <a:gd name="connsiteY284" fmla="*/ 538511 h 1380812"/>
                  <a:gd name="connsiteX285" fmla="*/ 72122 w 1017431"/>
                  <a:gd name="connsiteY285" fmla="*/ 535936 h 1380812"/>
                  <a:gd name="connsiteX286" fmla="*/ 100455 w 1017431"/>
                  <a:gd name="connsiteY286" fmla="*/ 533360 h 1380812"/>
                  <a:gd name="connsiteX287" fmla="*/ 97879 w 1017431"/>
                  <a:gd name="connsiteY287" fmla="*/ 510178 h 1380812"/>
                  <a:gd name="connsiteX288" fmla="*/ 95304 w 1017431"/>
                  <a:gd name="connsiteY288" fmla="*/ 502451 h 1380812"/>
                  <a:gd name="connsiteX289" fmla="*/ 103031 w 1017431"/>
                  <a:gd name="connsiteY289" fmla="*/ 486996 h 1380812"/>
                  <a:gd name="connsiteX290" fmla="*/ 108182 w 1017431"/>
                  <a:gd name="connsiteY290" fmla="*/ 471541 h 1380812"/>
                  <a:gd name="connsiteX291" fmla="*/ 115910 w 1017431"/>
                  <a:gd name="connsiteY291" fmla="*/ 456087 h 1380812"/>
                  <a:gd name="connsiteX292" fmla="*/ 113334 w 1017431"/>
                  <a:gd name="connsiteY292" fmla="*/ 443208 h 1380812"/>
                  <a:gd name="connsiteX293" fmla="*/ 105607 w 1017431"/>
                  <a:gd name="connsiteY293" fmla="*/ 440632 h 1380812"/>
                  <a:gd name="connsiteX294" fmla="*/ 95304 w 1017431"/>
                  <a:gd name="connsiteY294" fmla="*/ 438056 h 1380812"/>
                  <a:gd name="connsiteX295" fmla="*/ 92728 w 1017431"/>
                  <a:gd name="connsiteY295" fmla="*/ 430329 h 1380812"/>
                  <a:gd name="connsiteX296" fmla="*/ 103031 w 1017431"/>
                  <a:gd name="connsiteY296" fmla="*/ 412298 h 1380812"/>
                  <a:gd name="connsiteX297" fmla="*/ 105607 w 1017431"/>
                  <a:gd name="connsiteY297" fmla="*/ 404571 h 1380812"/>
                  <a:gd name="connsiteX298" fmla="*/ 121061 w 1017431"/>
                  <a:gd name="connsiteY298" fmla="*/ 399420 h 1380812"/>
                  <a:gd name="connsiteX299" fmla="*/ 128789 w 1017431"/>
                  <a:gd name="connsiteY299" fmla="*/ 394268 h 1380812"/>
                  <a:gd name="connsiteX300" fmla="*/ 136516 w 1017431"/>
                  <a:gd name="connsiteY300" fmla="*/ 391692 h 1380812"/>
                  <a:gd name="connsiteX301" fmla="*/ 141668 w 1017431"/>
                  <a:gd name="connsiteY301" fmla="*/ 376238 h 1380812"/>
                  <a:gd name="connsiteX302" fmla="*/ 141668 w 1017431"/>
                  <a:gd name="connsiteY302" fmla="*/ 353056 h 1380812"/>
                  <a:gd name="connsiteX303" fmla="*/ 144243 w 1017431"/>
                  <a:gd name="connsiteY303" fmla="*/ 345328 h 1380812"/>
                  <a:gd name="connsiteX304" fmla="*/ 151971 w 1017431"/>
                  <a:gd name="connsiteY304" fmla="*/ 329874 h 1380812"/>
                  <a:gd name="connsiteX305" fmla="*/ 149395 w 1017431"/>
                  <a:gd name="connsiteY305" fmla="*/ 311843 h 1380812"/>
                  <a:gd name="connsiteX306" fmla="*/ 146819 w 1017431"/>
                  <a:gd name="connsiteY306" fmla="*/ 296389 h 1380812"/>
                  <a:gd name="connsiteX307" fmla="*/ 154546 w 1017431"/>
                  <a:gd name="connsiteY307" fmla="*/ 293813 h 1380812"/>
                  <a:gd name="connsiteX308" fmla="*/ 162274 w 1017431"/>
                  <a:gd name="connsiteY308" fmla="*/ 288661 h 1380812"/>
                  <a:gd name="connsiteX309" fmla="*/ 164849 w 1017431"/>
                  <a:gd name="connsiteY309" fmla="*/ 280934 h 1380812"/>
                  <a:gd name="connsiteX310" fmla="*/ 157122 w 1017431"/>
                  <a:gd name="connsiteY310" fmla="*/ 278358 h 1380812"/>
                  <a:gd name="connsiteX311" fmla="*/ 136516 w 1017431"/>
                  <a:gd name="connsiteY311" fmla="*/ 270631 h 1380812"/>
                  <a:gd name="connsiteX312" fmla="*/ 139092 w 1017431"/>
                  <a:gd name="connsiteY312" fmla="*/ 260328 h 1380812"/>
                  <a:gd name="connsiteX313" fmla="*/ 141668 w 1017431"/>
                  <a:gd name="connsiteY313" fmla="*/ 252600 h 1380812"/>
                  <a:gd name="connsiteX314" fmla="*/ 146819 w 1017431"/>
                  <a:gd name="connsiteY314" fmla="*/ 231994 h 1380812"/>
                  <a:gd name="connsiteX315" fmla="*/ 149395 w 1017431"/>
                  <a:gd name="connsiteY315" fmla="*/ 224267 h 1380812"/>
                  <a:gd name="connsiteX316" fmla="*/ 164849 w 1017431"/>
                  <a:gd name="connsiteY316" fmla="*/ 219115 h 1380812"/>
                  <a:gd name="connsiteX317" fmla="*/ 188031 w 1017431"/>
                  <a:gd name="connsiteY317" fmla="*/ 221691 h 1380812"/>
                  <a:gd name="connsiteX318" fmla="*/ 195759 w 1017431"/>
                  <a:gd name="connsiteY318" fmla="*/ 226843 h 1380812"/>
                  <a:gd name="connsiteX319" fmla="*/ 216365 w 1017431"/>
                  <a:gd name="connsiteY319" fmla="*/ 224267 h 1380812"/>
                  <a:gd name="connsiteX320" fmla="*/ 236971 w 1017431"/>
                  <a:gd name="connsiteY320" fmla="*/ 224267 h 1380812"/>
                  <a:gd name="connsiteX321" fmla="*/ 242123 w 1017431"/>
                  <a:gd name="connsiteY321" fmla="*/ 231994 h 1380812"/>
                  <a:gd name="connsiteX322" fmla="*/ 244698 w 1017431"/>
                  <a:gd name="connsiteY322" fmla="*/ 260328 h 1380812"/>
                  <a:gd name="connsiteX323" fmla="*/ 239547 w 1017431"/>
                  <a:gd name="connsiteY323" fmla="*/ 268055 h 1380812"/>
                  <a:gd name="connsiteX324" fmla="*/ 252426 w 1017431"/>
                  <a:gd name="connsiteY324" fmla="*/ 280934 h 1380812"/>
                  <a:gd name="connsiteX325" fmla="*/ 260153 w 1017431"/>
                  <a:gd name="connsiteY325" fmla="*/ 278358 h 1380812"/>
                  <a:gd name="connsiteX326" fmla="*/ 257577 w 1017431"/>
                  <a:gd name="connsiteY326" fmla="*/ 270631 h 1380812"/>
                  <a:gd name="connsiteX327" fmla="*/ 252426 w 1017431"/>
                  <a:gd name="connsiteY327" fmla="*/ 262904 h 1380812"/>
                  <a:gd name="connsiteX328" fmla="*/ 260153 w 1017431"/>
                  <a:gd name="connsiteY328" fmla="*/ 257752 h 1380812"/>
                  <a:gd name="connsiteX329" fmla="*/ 288487 w 1017431"/>
                  <a:gd name="connsiteY329" fmla="*/ 260328 h 1380812"/>
                  <a:gd name="connsiteX330" fmla="*/ 291062 w 1017431"/>
                  <a:gd name="connsiteY330" fmla="*/ 270631 h 1380812"/>
                  <a:gd name="connsiteX331" fmla="*/ 306517 w 1017431"/>
                  <a:gd name="connsiteY331" fmla="*/ 286086 h 1380812"/>
                  <a:gd name="connsiteX332" fmla="*/ 298790 w 1017431"/>
                  <a:gd name="connsiteY332" fmla="*/ 257752 h 1380812"/>
                  <a:gd name="connsiteX333" fmla="*/ 296214 w 1017431"/>
                  <a:gd name="connsiteY333" fmla="*/ 250025 h 1380812"/>
                  <a:gd name="connsiteX334" fmla="*/ 298790 w 1017431"/>
                  <a:gd name="connsiteY334" fmla="*/ 231994 h 1380812"/>
                  <a:gd name="connsiteX335" fmla="*/ 301366 w 1017431"/>
                  <a:gd name="connsiteY335" fmla="*/ 203661 h 1380812"/>
                  <a:gd name="connsiteX336" fmla="*/ 309093 w 1017431"/>
                  <a:gd name="connsiteY336" fmla="*/ 201085 h 1380812"/>
                  <a:gd name="connsiteX337" fmla="*/ 321972 w 1017431"/>
                  <a:gd name="connsiteY337" fmla="*/ 211388 h 1380812"/>
                  <a:gd name="connsiteX338" fmla="*/ 329699 w 1017431"/>
                  <a:gd name="connsiteY338" fmla="*/ 213964 h 1380812"/>
                  <a:gd name="connsiteX339" fmla="*/ 345154 w 1017431"/>
                  <a:gd name="connsiteY339" fmla="*/ 206237 h 1380812"/>
                  <a:gd name="connsiteX340" fmla="*/ 350305 w 1017431"/>
                  <a:gd name="connsiteY340" fmla="*/ 198509 h 1380812"/>
                  <a:gd name="connsiteX341" fmla="*/ 373487 w 1017431"/>
                  <a:gd name="connsiteY341" fmla="*/ 201085 h 1380812"/>
                  <a:gd name="connsiteX342" fmla="*/ 391518 w 1017431"/>
                  <a:gd name="connsiteY342" fmla="*/ 221691 h 1380812"/>
                  <a:gd name="connsiteX343" fmla="*/ 399245 w 1017431"/>
                  <a:gd name="connsiteY343" fmla="*/ 229418 h 1380812"/>
                  <a:gd name="connsiteX344" fmla="*/ 409548 w 1017431"/>
                  <a:gd name="connsiteY344" fmla="*/ 244873 h 1380812"/>
                  <a:gd name="connsiteX345" fmla="*/ 425003 w 1017431"/>
                  <a:gd name="connsiteY345" fmla="*/ 250025 h 1380812"/>
                  <a:gd name="connsiteX346" fmla="*/ 414700 w 1017431"/>
                  <a:gd name="connsiteY346" fmla="*/ 237146 h 1380812"/>
                  <a:gd name="connsiteX347" fmla="*/ 404397 w 1017431"/>
                  <a:gd name="connsiteY347" fmla="*/ 221691 h 1380812"/>
                  <a:gd name="connsiteX348" fmla="*/ 396669 w 1017431"/>
                  <a:gd name="connsiteY348" fmla="*/ 213964 h 1380812"/>
                  <a:gd name="connsiteX349" fmla="*/ 386366 w 1017431"/>
                  <a:gd name="connsiteY349" fmla="*/ 198509 h 1380812"/>
                  <a:gd name="connsiteX350" fmla="*/ 370911 w 1017431"/>
                  <a:gd name="connsiteY350" fmla="*/ 193358 h 1380812"/>
                  <a:gd name="connsiteX351" fmla="*/ 363184 w 1017431"/>
                  <a:gd name="connsiteY351" fmla="*/ 190782 h 1380812"/>
                  <a:gd name="connsiteX352" fmla="*/ 342578 w 1017431"/>
                  <a:gd name="connsiteY352" fmla="*/ 193358 h 1380812"/>
                  <a:gd name="connsiteX353" fmla="*/ 337426 w 1017431"/>
                  <a:gd name="connsiteY353" fmla="*/ 162448 h 1380812"/>
                  <a:gd name="connsiteX354" fmla="*/ 340002 w 1017431"/>
                  <a:gd name="connsiteY354" fmla="*/ 154721 h 1380812"/>
                  <a:gd name="connsiteX355" fmla="*/ 347729 w 1017431"/>
                  <a:gd name="connsiteY355" fmla="*/ 149569 h 1380812"/>
                  <a:gd name="connsiteX356" fmla="*/ 340002 w 1017431"/>
                  <a:gd name="connsiteY356" fmla="*/ 144418 h 1380812"/>
                  <a:gd name="connsiteX357" fmla="*/ 332275 w 1017431"/>
                  <a:gd name="connsiteY357" fmla="*/ 141842 h 1380812"/>
                  <a:gd name="connsiteX358" fmla="*/ 329699 w 1017431"/>
                  <a:gd name="connsiteY358" fmla="*/ 128963 h 1380812"/>
                  <a:gd name="connsiteX359" fmla="*/ 316820 w 1017431"/>
                  <a:gd name="connsiteY359" fmla="*/ 116084 h 1380812"/>
                  <a:gd name="connsiteX360" fmla="*/ 306517 w 1017431"/>
                  <a:gd name="connsiteY360" fmla="*/ 100630 h 1380812"/>
                  <a:gd name="connsiteX361" fmla="*/ 324548 w 1017431"/>
                  <a:gd name="connsiteY361" fmla="*/ 95478 h 1380812"/>
                  <a:gd name="connsiteX362" fmla="*/ 332275 w 1017431"/>
                  <a:gd name="connsiteY362" fmla="*/ 92902 h 1380812"/>
                  <a:gd name="connsiteX363" fmla="*/ 355457 w 1017431"/>
                  <a:gd name="connsiteY363" fmla="*/ 87751 h 1380812"/>
                  <a:gd name="connsiteX364" fmla="*/ 352881 w 1017431"/>
                  <a:gd name="connsiteY364" fmla="*/ 77448 h 1380812"/>
                  <a:gd name="connsiteX365" fmla="*/ 345154 w 1017431"/>
                  <a:gd name="connsiteY365" fmla="*/ 72296 h 1380812"/>
                  <a:gd name="connsiteX366" fmla="*/ 337426 w 1017431"/>
                  <a:gd name="connsiteY366" fmla="*/ 64569 h 1380812"/>
                  <a:gd name="connsiteX367" fmla="*/ 327123 w 1017431"/>
                  <a:gd name="connsiteY367" fmla="*/ 41387 h 1380812"/>
                  <a:gd name="connsiteX368" fmla="*/ 316820 w 1017431"/>
                  <a:gd name="connsiteY368" fmla="*/ 38811 h 1380812"/>
                  <a:gd name="connsiteX369" fmla="*/ 283335 w 1017431"/>
                  <a:gd name="connsiteY369" fmla="*/ 41387 h 1380812"/>
                  <a:gd name="connsiteX370" fmla="*/ 280759 w 1017431"/>
                  <a:gd name="connsiteY370" fmla="*/ 33660 h 1380812"/>
                  <a:gd name="connsiteX371" fmla="*/ 296214 w 1017431"/>
                  <a:gd name="connsiteY371" fmla="*/ 28508 h 1380812"/>
                  <a:gd name="connsiteX372" fmla="*/ 303941 w 1017431"/>
                  <a:gd name="connsiteY372" fmla="*/ 31084 h 1380812"/>
                  <a:gd name="connsiteX373" fmla="*/ 306517 w 1017431"/>
                  <a:gd name="connsiteY373" fmla="*/ 23357 h 1380812"/>
                  <a:gd name="connsiteX374" fmla="*/ 293638 w 1017431"/>
                  <a:gd name="connsiteY374" fmla="*/ 13053 h 1380812"/>
                  <a:gd name="connsiteX375" fmla="*/ 291062 w 1017431"/>
                  <a:gd name="connsiteY375" fmla="*/ 5326 h 1380812"/>
                  <a:gd name="connsiteX376" fmla="*/ 309093 w 1017431"/>
                  <a:gd name="connsiteY376" fmla="*/ 5326 h 1380812"/>
                  <a:gd name="connsiteX377" fmla="*/ 316820 w 1017431"/>
                  <a:gd name="connsiteY377" fmla="*/ 7902 h 1380812"/>
                  <a:gd name="connsiteX378" fmla="*/ 350305 w 1017431"/>
                  <a:gd name="connsiteY378" fmla="*/ 7902 h 1380812"/>
                  <a:gd name="connsiteX379" fmla="*/ 358033 w 1017431"/>
                  <a:gd name="connsiteY379" fmla="*/ 10478 h 1380812"/>
                  <a:gd name="connsiteX380" fmla="*/ 381215 w 1017431"/>
                  <a:gd name="connsiteY380" fmla="*/ 23357 h 1380812"/>
                  <a:gd name="connsiteX381" fmla="*/ 409548 w 1017431"/>
                  <a:gd name="connsiteY381" fmla="*/ 25932 h 1380812"/>
                  <a:gd name="connsiteX382" fmla="*/ 430154 w 1017431"/>
                  <a:gd name="connsiteY382" fmla="*/ 28508 h 1380812"/>
                  <a:gd name="connsiteX383" fmla="*/ 437882 w 1017431"/>
                  <a:gd name="connsiteY383" fmla="*/ 31084 h 1380812"/>
                  <a:gd name="connsiteX384" fmla="*/ 450760 w 1017431"/>
                  <a:gd name="connsiteY384" fmla="*/ 46538 h 1380812"/>
                  <a:gd name="connsiteX385" fmla="*/ 466215 w 1017431"/>
                  <a:gd name="connsiteY385" fmla="*/ 51690 h 1380812"/>
                  <a:gd name="connsiteX386" fmla="*/ 458488 w 1017431"/>
                  <a:gd name="connsiteY386" fmla="*/ 54266 h 1380812"/>
                  <a:gd name="connsiteX387" fmla="*/ 445609 w 1017431"/>
                  <a:gd name="connsiteY387" fmla="*/ 67145 h 1380812"/>
                  <a:gd name="connsiteX388" fmla="*/ 440457 w 1017431"/>
                  <a:gd name="connsiteY388" fmla="*/ 82599 h 1380812"/>
                  <a:gd name="connsiteX389" fmla="*/ 437882 w 1017431"/>
                  <a:gd name="connsiteY389" fmla="*/ 90327 h 1380812"/>
                  <a:gd name="connsiteX390" fmla="*/ 453336 w 1017431"/>
                  <a:gd name="connsiteY390" fmla="*/ 87751 h 1380812"/>
                  <a:gd name="connsiteX391" fmla="*/ 468791 w 1017431"/>
                  <a:gd name="connsiteY391" fmla="*/ 85175 h 1380812"/>
                  <a:gd name="connsiteX392" fmla="*/ 491973 w 1017431"/>
                  <a:gd name="connsiteY392" fmla="*/ 87751 h 1380812"/>
                  <a:gd name="connsiteX393" fmla="*/ 507428 w 1017431"/>
                  <a:gd name="connsiteY393" fmla="*/ 100630 h 1380812"/>
                  <a:gd name="connsiteX394" fmla="*/ 530609 w 1017431"/>
                  <a:gd name="connsiteY394" fmla="*/ 113509 h 1380812"/>
                  <a:gd name="connsiteX395" fmla="*/ 548640 w 1017431"/>
                  <a:gd name="connsiteY395" fmla="*/ 110933 h 1380812"/>
                  <a:gd name="connsiteX396" fmla="*/ 551216 w 1017431"/>
                  <a:gd name="connsiteY396" fmla="*/ 103206 h 1380812"/>
                  <a:gd name="connsiteX397" fmla="*/ 553791 w 1017431"/>
                  <a:gd name="connsiteY397" fmla="*/ 87751 h 1380812"/>
                  <a:gd name="connsiteX398" fmla="*/ 561519 w 1017431"/>
                  <a:gd name="connsiteY398" fmla="*/ 85175 h 1380812"/>
                  <a:gd name="connsiteX399" fmla="*/ 576973 w 1017431"/>
                  <a:gd name="connsiteY399" fmla="*/ 74872 h 1380812"/>
                  <a:gd name="connsiteX400" fmla="*/ 587277 w 1017431"/>
                  <a:gd name="connsiteY400" fmla="*/ 77448 h 1380812"/>
                  <a:gd name="connsiteX401" fmla="*/ 584701 w 1017431"/>
                  <a:gd name="connsiteY401" fmla="*/ 85175 h 1380812"/>
                  <a:gd name="connsiteX402" fmla="*/ 569246 w 1017431"/>
                  <a:gd name="connsiteY402" fmla="*/ 87751 h 1380812"/>
                  <a:gd name="connsiteX403" fmla="*/ 553791 w 1017431"/>
                  <a:gd name="connsiteY403" fmla="*/ 100630 h 1380812"/>
                  <a:gd name="connsiteX404" fmla="*/ 569246 w 1017431"/>
                  <a:gd name="connsiteY404" fmla="*/ 103206 h 1380812"/>
                  <a:gd name="connsiteX405" fmla="*/ 561519 w 1017431"/>
                  <a:gd name="connsiteY405" fmla="*/ 118660 h 1380812"/>
                  <a:gd name="connsiteX406" fmla="*/ 556367 w 1017431"/>
                  <a:gd name="connsiteY406" fmla="*/ 136691 h 1380812"/>
                  <a:gd name="connsiteX407" fmla="*/ 540913 w 1017431"/>
                  <a:gd name="connsiteY407" fmla="*/ 144418 h 1380812"/>
                  <a:gd name="connsiteX408" fmla="*/ 533185 w 1017431"/>
                  <a:gd name="connsiteY408" fmla="*/ 152145 h 1380812"/>
                  <a:gd name="connsiteX409" fmla="*/ 522882 w 1017431"/>
                  <a:gd name="connsiteY409" fmla="*/ 167600 h 1380812"/>
                  <a:gd name="connsiteX410" fmla="*/ 538337 w 1017431"/>
                  <a:gd name="connsiteY410" fmla="*/ 175327 h 1380812"/>
                  <a:gd name="connsiteX411" fmla="*/ 540913 w 1017431"/>
                  <a:gd name="connsiteY411" fmla="*/ 193358 h 1380812"/>
                  <a:gd name="connsiteX412" fmla="*/ 556367 w 1017431"/>
                  <a:gd name="connsiteY412" fmla="*/ 185630 h 1380812"/>
                  <a:gd name="connsiteX413" fmla="*/ 571822 w 1017431"/>
                  <a:gd name="connsiteY413" fmla="*/ 177903 h 1380812"/>
                  <a:gd name="connsiteX414" fmla="*/ 576973 w 1017431"/>
                  <a:gd name="connsiteY414" fmla="*/ 177903 h 1380812"/>
                  <a:gd name="connsiteX415" fmla="*/ 592428 w 1017431"/>
                  <a:gd name="connsiteY415" fmla="*/ 183055 h 1380812"/>
                  <a:gd name="connsiteX416" fmla="*/ 607883 w 1017431"/>
                  <a:gd name="connsiteY416" fmla="*/ 172751 h 1380812"/>
                  <a:gd name="connsiteX417" fmla="*/ 610458 w 1017431"/>
                  <a:gd name="connsiteY417" fmla="*/ 165024 h 1380812"/>
                  <a:gd name="connsiteX418" fmla="*/ 625913 w 1017431"/>
                  <a:gd name="connsiteY418" fmla="*/ 152145 h 1380812"/>
                  <a:gd name="connsiteX419" fmla="*/ 633640 w 1017431"/>
                  <a:gd name="connsiteY419" fmla="*/ 149569 h 1380812"/>
                  <a:gd name="connsiteX420" fmla="*/ 641368 w 1017431"/>
                  <a:gd name="connsiteY420" fmla="*/ 141842 h 1380812"/>
                  <a:gd name="connsiteX421" fmla="*/ 674853 w 1017431"/>
                  <a:gd name="connsiteY421" fmla="*/ 134115 h 1380812"/>
                  <a:gd name="connsiteX422" fmla="*/ 682580 w 1017431"/>
                  <a:gd name="connsiteY422" fmla="*/ 128963 h 1380812"/>
                  <a:gd name="connsiteX423" fmla="*/ 698035 w 1017431"/>
                  <a:gd name="connsiteY423" fmla="*/ 126388 h 1380812"/>
                  <a:gd name="connsiteX424" fmla="*/ 703186 w 1017431"/>
                  <a:gd name="connsiteY424" fmla="*/ 118660 h 1380812"/>
                  <a:gd name="connsiteX425" fmla="*/ 710914 w 1017431"/>
                  <a:gd name="connsiteY425" fmla="*/ 95478 h 1380812"/>
                  <a:gd name="connsiteX0" fmla="*/ 715799 w 1022316"/>
                  <a:gd name="connsiteY0" fmla="*/ 95478 h 1380812"/>
                  <a:gd name="connsiteX1" fmla="*/ 772466 w 1022316"/>
                  <a:gd name="connsiteY1" fmla="*/ 95478 h 1380812"/>
                  <a:gd name="connsiteX2" fmla="*/ 775042 w 1022316"/>
                  <a:gd name="connsiteY2" fmla="*/ 103206 h 1380812"/>
                  <a:gd name="connsiteX3" fmla="*/ 780193 w 1022316"/>
                  <a:gd name="connsiteY3" fmla="*/ 110933 h 1380812"/>
                  <a:gd name="connsiteX4" fmla="*/ 782769 w 1022316"/>
                  <a:gd name="connsiteY4" fmla="*/ 98054 h 1380812"/>
                  <a:gd name="connsiteX5" fmla="*/ 790496 w 1022316"/>
                  <a:gd name="connsiteY5" fmla="*/ 92902 h 1380812"/>
                  <a:gd name="connsiteX6" fmla="*/ 793072 w 1022316"/>
                  <a:gd name="connsiteY6" fmla="*/ 85175 h 1380812"/>
                  <a:gd name="connsiteX7" fmla="*/ 803375 w 1022316"/>
                  <a:gd name="connsiteY7" fmla="*/ 43963 h 1380812"/>
                  <a:gd name="connsiteX8" fmla="*/ 821405 w 1022316"/>
                  <a:gd name="connsiteY8" fmla="*/ 46538 h 1380812"/>
                  <a:gd name="connsiteX9" fmla="*/ 834284 w 1022316"/>
                  <a:gd name="connsiteY9" fmla="*/ 61993 h 1380812"/>
                  <a:gd name="connsiteX10" fmla="*/ 836860 w 1022316"/>
                  <a:gd name="connsiteY10" fmla="*/ 85175 h 1380812"/>
                  <a:gd name="connsiteX11" fmla="*/ 839436 w 1022316"/>
                  <a:gd name="connsiteY11" fmla="*/ 95478 h 1380812"/>
                  <a:gd name="connsiteX12" fmla="*/ 847163 w 1022316"/>
                  <a:gd name="connsiteY12" fmla="*/ 98054 h 1380812"/>
                  <a:gd name="connsiteX13" fmla="*/ 834284 w 1022316"/>
                  <a:gd name="connsiteY13" fmla="*/ 100630 h 1380812"/>
                  <a:gd name="connsiteX14" fmla="*/ 818830 w 1022316"/>
                  <a:gd name="connsiteY14" fmla="*/ 108357 h 1380812"/>
                  <a:gd name="connsiteX15" fmla="*/ 813678 w 1022316"/>
                  <a:gd name="connsiteY15" fmla="*/ 116084 h 1380812"/>
                  <a:gd name="connsiteX16" fmla="*/ 780193 w 1022316"/>
                  <a:gd name="connsiteY16" fmla="*/ 116084 h 1380812"/>
                  <a:gd name="connsiteX17" fmla="*/ 782769 w 1022316"/>
                  <a:gd name="connsiteY17" fmla="*/ 105781 h 1380812"/>
                  <a:gd name="connsiteX18" fmla="*/ 790496 w 1022316"/>
                  <a:gd name="connsiteY18" fmla="*/ 108357 h 1380812"/>
                  <a:gd name="connsiteX19" fmla="*/ 808527 w 1022316"/>
                  <a:gd name="connsiteY19" fmla="*/ 126388 h 1380812"/>
                  <a:gd name="connsiteX20" fmla="*/ 821405 w 1022316"/>
                  <a:gd name="connsiteY20" fmla="*/ 149569 h 1380812"/>
                  <a:gd name="connsiteX21" fmla="*/ 829133 w 1022316"/>
                  <a:gd name="connsiteY21" fmla="*/ 146994 h 1380812"/>
                  <a:gd name="connsiteX22" fmla="*/ 844587 w 1022316"/>
                  <a:gd name="connsiteY22" fmla="*/ 136691 h 1380812"/>
                  <a:gd name="connsiteX23" fmla="*/ 860042 w 1022316"/>
                  <a:gd name="connsiteY23" fmla="*/ 139266 h 1380812"/>
                  <a:gd name="connsiteX24" fmla="*/ 862618 w 1022316"/>
                  <a:gd name="connsiteY24" fmla="*/ 146994 h 1380812"/>
                  <a:gd name="connsiteX25" fmla="*/ 870345 w 1022316"/>
                  <a:gd name="connsiteY25" fmla="*/ 149569 h 1380812"/>
                  <a:gd name="connsiteX26" fmla="*/ 885800 w 1022316"/>
                  <a:gd name="connsiteY26" fmla="*/ 152145 h 1380812"/>
                  <a:gd name="connsiteX27" fmla="*/ 896103 w 1022316"/>
                  <a:gd name="connsiteY27" fmla="*/ 172751 h 1380812"/>
                  <a:gd name="connsiteX28" fmla="*/ 893527 w 1022316"/>
                  <a:gd name="connsiteY28" fmla="*/ 165024 h 1380812"/>
                  <a:gd name="connsiteX29" fmla="*/ 885800 w 1022316"/>
                  <a:gd name="connsiteY29" fmla="*/ 162448 h 1380812"/>
                  <a:gd name="connsiteX30" fmla="*/ 878073 w 1022316"/>
                  <a:gd name="connsiteY30" fmla="*/ 157297 h 1380812"/>
                  <a:gd name="connsiteX31" fmla="*/ 867769 w 1022316"/>
                  <a:gd name="connsiteY31" fmla="*/ 159873 h 1380812"/>
                  <a:gd name="connsiteX32" fmla="*/ 878073 w 1022316"/>
                  <a:gd name="connsiteY32" fmla="*/ 198509 h 1380812"/>
                  <a:gd name="connsiteX33" fmla="*/ 885800 w 1022316"/>
                  <a:gd name="connsiteY33" fmla="*/ 195933 h 1380812"/>
                  <a:gd name="connsiteX34" fmla="*/ 888376 w 1022316"/>
                  <a:gd name="connsiteY34" fmla="*/ 206237 h 1380812"/>
                  <a:gd name="connsiteX35" fmla="*/ 893527 w 1022316"/>
                  <a:gd name="connsiteY35" fmla="*/ 213964 h 1380812"/>
                  <a:gd name="connsiteX36" fmla="*/ 908982 w 1022316"/>
                  <a:gd name="connsiteY36" fmla="*/ 208812 h 1380812"/>
                  <a:gd name="connsiteX37" fmla="*/ 914133 w 1022316"/>
                  <a:gd name="connsiteY37" fmla="*/ 224267 h 1380812"/>
                  <a:gd name="connsiteX38" fmla="*/ 919285 w 1022316"/>
                  <a:gd name="connsiteY38" fmla="*/ 242297 h 1380812"/>
                  <a:gd name="connsiteX39" fmla="*/ 921861 w 1022316"/>
                  <a:gd name="connsiteY39" fmla="*/ 257752 h 1380812"/>
                  <a:gd name="connsiteX40" fmla="*/ 929588 w 1022316"/>
                  <a:gd name="connsiteY40" fmla="*/ 265479 h 1380812"/>
                  <a:gd name="connsiteX41" fmla="*/ 934740 w 1022316"/>
                  <a:gd name="connsiteY41" fmla="*/ 273207 h 1380812"/>
                  <a:gd name="connsiteX42" fmla="*/ 939891 w 1022316"/>
                  <a:gd name="connsiteY42" fmla="*/ 291237 h 1380812"/>
                  <a:gd name="connsiteX43" fmla="*/ 945043 w 1022316"/>
                  <a:gd name="connsiteY43" fmla="*/ 311843 h 1380812"/>
                  <a:gd name="connsiteX44" fmla="*/ 942467 w 1022316"/>
                  <a:gd name="connsiteY44" fmla="*/ 327298 h 1380812"/>
                  <a:gd name="connsiteX45" fmla="*/ 934740 w 1022316"/>
                  <a:gd name="connsiteY45" fmla="*/ 329874 h 1380812"/>
                  <a:gd name="connsiteX46" fmla="*/ 916709 w 1022316"/>
                  <a:gd name="connsiteY46" fmla="*/ 335025 h 1380812"/>
                  <a:gd name="connsiteX47" fmla="*/ 908982 w 1022316"/>
                  <a:gd name="connsiteY47" fmla="*/ 340177 h 1380812"/>
                  <a:gd name="connsiteX48" fmla="*/ 906406 w 1022316"/>
                  <a:gd name="connsiteY48" fmla="*/ 347904 h 1380812"/>
                  <a:gd name="connsiteX49" fmla="*/ 919285 w 1022316"/>
                  <a:gd name="connsiteY49" fmla="*/ 371086 h 1380812"/>
                  <a:gd name="connsiteX50" fmla="*/ 927012 w 1022316"/>
                  <a:gd name="connsiteY50" fmla="*/ 373662 h 1380812"/>
                  <a:gd name="connsiteX51" fmla="*/ 942467 w 1022316"/>
                  <a:gd name="connsiteY51" fmla="*/ 386541 h 1380812"/>
                  <a:gd name="connsiteX52" fmla="*/ 945043 w 1022316"/>
                  <a:gd name="connsiteY52" fmla="*/ 394268 h 1380812"/>
                  <a:gd name="connsiteX53" fmla="*/ 952770 w 1022316"/>
                  <a:gd name="connsiteY53" fmla="*/ 396844 h 1380812"/>
                  <a:gd name="connsiteX54" fmla="*/ 955346 w 1022316"/>
                  <a:gd name="connsiteY54" fmla="*/ 407147 h 1380812"/>
                  <a:gd name="connsiteX55" fmla="*/ 960497 w 1022316"/>
                  <a:gd name="connsiteY55" fmla="*/ 422602 h 1380812"/>
                  <a:gd name="connsiteX56" fmla="*/ 963073 w 1022316"/>
                  <a:gd name="connsiteY56" fmla="*/ 430329 h 1380812"/>
                  <a:gd name="connsiteX57" fmla="*/ 960497 w 1022316"/>
                  <a:gd name="connsiteY57" fmla="*/ 438056 h 1380812"/>
                  <a:gd name="connsiteX58" fmla="*/ 955346 w 1022316"/>
                  <a:gd name="connsiteY58" fmla="*/ 456087 h 1380812"/>
                  <a:gd name="connsiteX59" fmla="*/ 970800 w 1022316"/>
                  <a:gd name="connsiteY59" fmla="*/ 466390 h 1380812"/>
                  <a:gd name="connsiteX60" fmla="*/ 975952 w 1022316"/>
                  <a:gd name="connsiteY60" fmla="*/ 476693 h 1380812"/>
                  <a:gd name="connsiteX61" fmla="*/ 978528 w 1022316"/>
                  <a:gd name="connsiteY61" fmla="*/ 507602 h 1380812"/>
                  <a:gd name="connsiteX62" fmla="*/ 981103 w 1022316"/>
                  <a:gd name="connsiteY62" fmla="*/ 525633 h 1380812"/>
                  <a:gd name="connsiteX63" fmla="*/ 978528 w 1022316"/>
                  <a:gd name="connsiteY63" fmla="*/ 535936 h 1380812"/>
                  <a:gd name="connsiteX64" fmla="*/ 970800 w 1022316"/>
                  <a:gd name="connsiteY64" fmla="*/ 541087 h 1380812"/>
                  <a:gd name="connsiteX65" fmla="*/ 965649 w 1022316"/>
                  <a:gd name="connsiteY65" fmla="*/ 548815 h 1380812"/>
                  <a:gd name="connsiteX66" fmla="*/ 968225 w 1022316"/>
                  <a:gd name="connsiteY66" fmla="*/ 561693 h 1380812"/>
                  <a:gd name="connsiteX67" fmla="*/ 975952 w 1022316"/>
                  <a:gd name="connsiteY67" fmla="*/ 564269 h 1380812"/>
                  <a:gd name="connsiteX68" fmla="*/ 986255 w 1022316"/>
                  <a:gd name="connsiteY68" fmla="*/ 569421 h 1380812"/>
                  <a:gd name="connsiteX69" fmla="*/ 991407 w 1022316"/>
                  <a:gd name="connsiteY69" fmla="*/ 577148 h 1380812"/>
                  <a:gd name="connsiteX70" fmla="*/ 983679 w 1022316"/>
                  <a:gd name="connsiteY70" fmla="*/ 595178 h 1380812"/>
                  <a:gd name="connsiteX71" fmla="*/ 991407 w 1022316"/>
                  <a:gd name="connsiteY71" fmla="*/ 600330 h 1380812"/>
                  <a:gd name="connsiteX72" fmla="*/ 999134 w 1022316"/>
                  <a:gd name="connsiteY72" fmla="*/ 602906 h 1380812"/>
                  <a:gd name="connsiteX73" fmla="*/ 1012013 w 1022316"/>
                  <a:gd name="connsiteY73" fmla="*/ 618360 h 1380812"/>
                  <a:gd name="connsiteX74" fmla="*/ 1019740 w 1022316"/>
                  <a:gd name="connsiteY74" fmla="*/ 641542 h 1380812"/>
                  <a:gd name="connsiteX75" fmla="*/ 1022316 w 1022316"/>
                  <a:gd name="connsiteY75" fmla="*/ 649270 h 1380812"/>
                  <a:gd name="connsiteX76" fmla="*/ 1019740 w 1022316"/>
                  <a:gd name="connsiteY76" fmla="*/ 667300 h 1380812"/>
                  <a:gd name="connsiteX77" fmla="*/ 1017164 w 1022316"/>
                  <a:gd name="connsiteY77" fmla="*/ 708513 h 1380812"/>
                  <a:gd name="connsiteX78" fmla="*/ 1001710 w 1022316"/>
                  <a:gd name="connsiteY78" fmla="*/ 713664 h 1380812"/>
                  <a:gd name="connsiteX79" fmla="*/ 999134 w 1022316"/>
                  <a:gd name="connsiteY79" fmla="*/ 731695 h 1380812"/>
                  <a:gd name="connsiteX80" fmla="*/ 986255 w 1022316"/>
                  <a:gd name="connsiteY80" fmla="*/ 729119 h 1380812"/>
                  <a:gd name="connsiteX81" fmla="*/ 981103 w 1022316"/>
                  <a:gd name="connsiteY81" fmla="*/ 713664 h 1380812"/>
                  <a:gd name="connsiteX82" fmla="*/ 983679 w 1022316"/>
                  <a:gd name="connsiteY82" fmla="*/ 705937 h 1380812"/>
                  <a:gd name="connsiteX83" fmla="*/ 960497 w 1022316"/>
                  <a:gd name="connsiteY83" fmla="*/ 693058 h 1380812"/>
                  <a:gd name="connsiteX84" fmla="*/ 952770 w 1022316"/>
                  <a:gd name="connsiteY84" fmla="*/ 695634 h 1380812"/>
                  <a:gd name="connsiteX85" fmla="*/ 955346 w 1022316"/>
                  <a:gd name="connsiteY85" fmla="*/ 708513 h 1380812"/>
                  <a:gd name="connsiteX86" fmla="*/ 945043 w 1022316"/>
                  <a:gd name="connsiteY86" fmla="*/ 723967 h 1380812"/>
                  <a:gd name="connsiteX87" fmla="*/ 942467 w 1022316"/>
                  <a:gd name="connsiteY87" fmla="*/ 713664 h 1380812"/>
                  <a:gd name="connsiteX88" fmla="*/ 939891 w 1022316"/>
                  <a:gd name="connsiteY88" fmla="*/ 723967 h 1380812"/>
                  <a:gd name="connsiteX89" fmla="*/ 919285 w 1022316"/>
                  <a:gd name="connsiteY89" fmla="*/ 731695 h 1380812"/>
                  <a:gd name="connsiteX90" fmla="*/ 911558 w 1022316"/>
                  <a:gd name="connsiteY90" fmla="*/ 736846 h 1380812"/>
                  <a:gd name="connsiteX91" fmla="*/ 896103 w 1022316"/>
                  <a:gd name="connsiteY91" fmla="*/ 741998 h 1380812"/>
                  <a:gd name="connsiteX92" fmla="*/ 888376 w 1022316"/>
                  <a:gd name="connsiteY92" fmla="*/ 749725 h 1380812"/>
                  <a:gd name="connsiteX93" fmla="*/ 872921 w 1022316"/>
                  <a:gd name="connsiteY93" fmla="*/ 754877 h 1380812"/>
                  <a:gd name="connsiteX94" fmla="*/ 865194 w 1022316"/>
                  <a:gd name="connsiteY94" fmla="*/ 752301 h 1380812"/>
                  <a:gd name="connsiteX95" fmla="*/ 857466 w 1022316"/>
                  <a:gd name="connsiteY95" fmla="*/ 760028 h 1380812"/>
                  <a:gd name="connsiteX96" fmla="*/ 849739 w 1022316"/>
                  <a:gd name="connsiteY96" fmla="*/ 765180 h 1380812"/>
                  <a:gd name="connsiteX97" fmla="*/ 834284 w 1022316"/>
                  <a:gd name="connsiteY97" fmla="*/ 770331 h 1380812"/>
                  <a:gd name="connsiteX98" fmla="*/ 818830 w 1022316"/>
                  <a:gd name="connsiteY98" fmla="*/ 780634 h 1380812"/>
                  <a:gd name="connsiteX99" fmla="*/ 800799 w 1022316"/>
                  <a:gd name="connsiteY99" fmla="*/ 803816 h 1380812"/>
                  <a:gd name="connsiteX100" fmla="*/ 772466 w 1022316"/>
                  <a:gd name="connsiteY100" fmla="*/ 801240 h 1380812"/>
                  <a:gd name="connsiteX101" fmla="*/ 764738 w 1022316"/>
                  <a:gd name="connsiteY101" fmla="*/ 803816 h 1380812"/>
                  <a:gd name="connsiteX102" fmla="*/ 749284 w 1022316"/>
                  <a:gd name="connsiteY102" fmla="*/ 816695 h 1380812"/>
                  <a:gd name="connsiteX103" fmla="*/ 733829 w 1022316"/>
                  <a:gd name="connsiteY103" fmla="*/ 824422 h 1380812"/>
                  <a:gd name="connsiteX104" fmla="*/ 718374 w 1022316"/>
                  <a:gd name="connsiteY104" fmla="*/ 834726 h 1380812"/>
                  <a:gd name="connsiteX105" fmla="*/ 702920 w 1022316"/>
                  <a:gd name="connsiteY105" fmla="*/ 829574 h 1380812"/>
                  <a:gd name="connsiteX106" fmla="*/ 705496 w 1022316"/>
                  <a:gd name="connsiteY106" fmla="*/ 834726 h 1380812"/>
                  <a:gd name="connsiteX107" fmla="*/ 710647 w 1022316"/>
                  <a:gd name="connsiteY107" fmla="*/ 850180 h 1380812"/>
                  <a:gd name="connsiteX108" fmla="*/ 713223 w 1022316"/>
                  <a:gd name="connsiteY108" fmla="*/ 873362 h 1380812"/>
                  <a:gd name="connsiteX109" fmla="*/ 720950 w 1022316"/>
                  <a:gd name="connsiteY109" fmla="*/ 875938 h 1380812"/>
                  <a:gd name="connsiteX110" fmla="*/ 741556 w 1022316"/>
                  <a:gd name="connsiteY110" fmla="*/ 878514 h 1380812"/>
                  <a:gd name="connsiteX111" fmla="*/ 749284 w 1022316"/>
                  <a:gd name="connsiteY111" fmla="*/ 886241 h 1380812"/>
                  <a:gd name="connsiteX112" fmla="*/ 751860 w 1022316"/>
                  <a:gd name="connsiteY112" fmla="*/ 893968 h 1380812"/>
                  <a:gd name="connsiteX113" fmla="*/ 757011 w 1022316"/>
                  <a:gd name="connsiteY113" fmla="*/ 901696 h 1380812"/>
                  <a:gd name="connsiteX114" fmla="*/ 754435 w 1022316"/>
                  <a:gd name="connsiteY114" fmla="*/ 911999 h 1380812"/>
                  <a:gd name="connsiteX115" fmla="*/ 746708 w 1022316"/>
                  <a:gd name="connsiteY115" fmla="*/ 919726 h 1380812"/>
                  <a:gd name="connsiteX116" fmla="*/ 741556 w 1022316"/>
                  <a:gd name="connsiteY116" fmla="*/ 927453 h 1380812"/>
                  <a:gd name="connsiteX117" fmla="*/ 738981 w 1022316"/>
                  <a:gd name="connsiteY117" fmla="*/ 935181 h 1380812"/>
                  <a:gd name="connsiteX118" fmla="*/ 757011 w 1022316"/>
                  <a:gd name="connsiteY118" fmla="*/ 971242 h 1380812"/>
                  <a:gd name="connsiteX119" fmla="*/ 772466 w 1022316"/>
                  <a:gd name="connsiteY119" fmla="*/ 981545 h 1380812"/>
                  <a:gd name="connsiteX120" fmla="*/ 782769 w 1022316"/>
                  <a:gd name="connsiteY120" fmla="*/ 1004727 h 1380812"/>
                  <a:gd name="connsiteX121" fmla="*/ 805951 w 1022316"/>
                  <a:gd name="connsiteY121" fmla="*/ 1004727 h 1380812"/>
                  <a:gd name="connsiteX122" fmla="*/ 811102 w 1022316"/>
                  <a:gd name="connsiteY122" fmla="*/ 1012454 h 1380812"/>
                  <a:gd name="connsiteX123" fmla="*/ 818830 w 1022316"/>
                  <a:gd name="connsiteY123" fmla="*/ 1020181 h 1380812"/>
                  <a:gd name="connsiteX124" fmla="*/ 829133 w 1022316"/>
                  <a:gd name="connsiteY124" fmla="*/ 1035636 h 1380812"/>
                  <a:gd name="connsiteX125" fmla="*/ 836860 w 1022316"/>
                  <a:gd name="connsiteY125" fmla="*/ 1043363 h 1380812"/>
                  <a:gd name="connsiteX126" fmla="*/ 842012 w 1022316"/>
                  <a:gd name="connsiteY126" fmla="*/ 1051091 h 1380812"/>
                  <a:gd name="connsiteX127" fmla="*/ 849739 w 1022316"/>
                  <a:gd name="connsiteY127" fmla="*/ 1056242 h 1380812"/>
                  <a:gd name="connsiteX128" fmla="*/ 865194 w 1022316"/>
                  <a:gd name="connsiteY128" fmla="*/ 1066545 h 1380812"/>
                  <a:gd name="connsiteX129" fmla="*/ 872921 w 1022316"/>
                  <a:gd name="connsiteY129" fmla="*/ 1071697 h 1380812"/>
                  <a:gd name="connsiteX130" fmla="*/ 888376 w 1022316"/>
                  <a:gd name="connsiteY130" fmla="*/ 1076848 h 1380812"/>
                  <a:gd name="connsiteX131" fmla="*/ 896103 w 1022316"/>
                  <a:gd name="connsiteY131" fmla="*/ 1084576 h 1380812"/>
                  <a:gd name="connsiteX132" fmla="*/ 901254 w 1022316"/>
                  <a:gd name="connsiteY132" fmla="*/ 1092303 h 1380812"/>
                  <a:gd name="connsiteX133" fmla="*/ 908982 w 1022316"/>
                  <a:gd name="connsiteY133" fmla="*/ 1097455 h 1380812"/>
                  <a:gd name="connsiteX134" fmla="*/ 914133 w 1022316"/>
                  <a:gd name="connsiteY134" fmla="*/ 1105182 h 1380812"/>
                  <a:gd name="connsiteX135" fmla="*/ 908982 w 1022316"/>
                  <a:gd name="connsiteY135" fmla="*/ 1123212 h 1380812"/>
                  <a:gd name="connsiteX136" fmla="*/ 906406 w 1022316"/>
                  <a:gd name="connsiteY136" fmla="*/ 1141243 h 1380812"/>
                  <a:gd name="connsiteX137" fmla="*/ 888376 w 1022316"/>
                  <a:gd name="connsiteY137" fmla="*/ 1141243 h 1380812"/>
                  <a:gd name="connsiteX138" fmla="*/ 867769 w 1022316"/>
                  <a:gd name="connsiteY138" fmla="*/ 1138667 h 1380812"/>
                  <a:gd name="connsiteX139" fmla="*/ 862618 w 1022316"/>
                  <a:gd name="connsiteY139" fmla="*/ 1148970 h 1380812"/>
                  <a:gd name="connsiteX140" fmla="*/ 865194 w 1022316"/>
                  <a:gd name="connsiteY140" fmla="*/ 1156697 h 1380812"/>
                  <a:gd name="connsiteX141" fmla="*/ 857466 w 1022316"/>
                  <a:gd name="connsiteY141" fmla="*/ 1177304 h 1380812"/>
                  <a:gd name="connsiteX142" fmla="*/ 849739 w 1022316"/>
                  <a:gd name="connsiteY142" fmla="*/ 1182455 h 1380812"/>
                  <a:gd name="connsiteX143" fmla="*/ 842012 w 1022316"/>
                  <a:gd name="connsiteY143" fmla="*/ 1185031 h 1380812"/>
                  <a:gd name="connsiteX144" fmla="*/ 834284 w 1022316"/>
                  <a:gd name="connsiteY144" fmla="*/ 1190182 h 1380812"/>
                  <a:gd name="connsiteX145" fmla="*/ 818830 w 1022316"/>
                  <a:gd name="connsiteY145" fmla="*/ 1195334 h 1380812"/>
                  <a:gd name="connsiteX146" fmla="*/ 811102 w 1022316"/>
                  <a:gd name="connsiteY146" fmla="*/ 1197910 h 1380812"/>
                  <a:gd name="connsiteX147" fmla="*/ 803375 w 1022316"/>
                  <a:gd name="connsiteY147" fmla="*/ 1203061 h 1380812"/>
                  <a:gd name="connsiteX148" fmla="*/ 793072 w 1022316"/>
                  <a:gd name="connsiteY148" fmla="*/ 1221092 h 1380812"/>
                  <a:gd name="connsiteX149" fmla="*/ 795648 w 1022316"/>
                  <a:gd name="connsiteY149" fmla="*/ 1233971 h 1380812"/>
                  <a:gd name="connsiteX150" fmla="*/ 800799 w 1022316"/>
                  <a:gd name="connsiteY150" fmla="*/ 1241698 h 1380812"/>
                  <a:gd name="connsiteX151" fmla="*/ 805951 w 1022316"/>
                  <a:gd name="connsiteY151" fmla="*/ 1257153 h 1380812"/>
                  <a:gd name="connsiteX152" fmla="*/ 816254 w 1022316"/>
                  <a:gd name="connsiteY152" fmla="*/ 1272607 h 1380812"/>
                  <a:gd name="connsiteX153" fmla="*/ 813678 w 1022316"/>
                  <a:gd name="connsiteY153" fmla="*/ 1285486 h 1380812"/>
                  <a:gd name="connsiteX154" fmla="*/ 811102 w 1022316"/>
                  <a:gd name="connsiteY154" fmla="*/ 1293213 h 1380812"/>
                  <a:gd name="connsiteX155" fmla="*/ 818830 w 1022316"/>
                  <a:gd name="connsiteY155" fmla="*/ 1298365 h 1380812"/>
                  <a:gd name="connsiteX156" fmla="*/ 836860 w 1022316"/>
                  <a:gd name="connsiteY156" fmla="*/ 1303517 h 1380812"/>
                  <a:gd name="connsiteX157" fmla="*/ 829133 w 1022316"/>
                  <a:gd name="connsiteY157" fmla="*/ 1326698 h 1380812"/>
                  <a:gd name="connsiteX158" fmla="*/ 826557 w 1022316"/>
                  <a:gd name="connsiteY158" fmla="*/ 1334426 h 1380812"/>
                  <a:gd name="connsiteX159" fmla="*/ 818830 w 1022316"/>
                  <a:gd name="connsiteY159" fmla="*/ 1337002 h 1380812"/>
                  <a:gd name="connsiteX160" fmla="*/ 803375 w 1022316"/>
                  <a:gd name="connsiteY160" fmla="*/ 1329274 h 1380812"/>
                  <a:gd name="connsiteX161" fmla="*/ 798223 w 1022316"/>
                  <a:gd name="connsiteY161" fmla="*/ 1321547 h 1380812"/>
                  <a:gd name="connsiteX162" fmla="*/ 790496 w 1022316"/>
                  <a:gd name="connsiteY162" fmla="*/ 1306092 h 1380812"/>
                  <a:gd name="connsiteX163" fmla="*/ 782769 w 1022316"/>
                  <a:gd name="connsiteY163" fmla="*/ 1303517 h 1380812"/>
                  <a:gd name="connsiteX164" fmla="*/ 767314 w 1022316"/>
                  <a:gd name="connsiteY164" fmla="*/ 1311244 h 1380812"/>
                  <a:gd name="connsiteX165" fmla="*/ 757011 w 1022316"/>
                  <a:gd name="connsiteY165" fmla="*/ 1308668 h 1380812"/>
                  <a:gd name="connsiteX166" fmla="*/ 749284 w 1022316"/>
                  <a:gd name="connsiteY166" fmla="*/ 1303517 h 1380812"/>
                  <a:gd name="connsiteX167" fmla="*/ 731253 w 1022316"/>
                  <a:gd name="connsiteY167" fmla="*/ 1308668 h 1380812"/>
                  <a:gd name="connsiteX168" fmla="*/ 723526 w 1022316"/>
                  <a:gd name="connsiteY168" fmla="*/ 1313820 h 1380812"/>
                  <a:gd name="connsiteX169" fmla="*/ 718374 w 1022316"/>
                  <a:gd name="connsiteY169" fmla="*/ 1306092 h 1380812"/>
                  <a:gd name="connsiteX170" fmla="*/ 710647 w 1022316"/>
                  <a:gd name="connsiteY170" fmla="*/ 1300941 h 1380812"/>
                  <a:gd name="connsiteX171" fmla="*/ 682314 w 1022316"/>
                  <a:gd name="connsiteY171" fmla="*/ 1308668 h 1380812"/>
                  <a:gd name="connsiteX172" fmla="*/ 666859 w 1022316"/>
                  <a:gd name="connsiteY172" fmla="*/ 1316395 h 1380812"/>
                  <a:gd name="connsiteX173" fmla="*/ 646253 w 1022316"/>
                  <a:gd name="connsiteY173" fmla="*/ 1318971 h 1380812"/>
                  <a:gd name="connsiteX174" fmla="*/ 630798 w 1022316"/>
                  <a:gd name="connsiteY174" fmla="*/ 1329274 h 1380812"/>
                  <a:gd name="connsiteX175" fmla="*/ 607616 w 1022316"/>
                  <a:gd name="connsiteY175" fmla="*/ 1342153 h 1380812"/>
                  <a:gd name="connsiteX176" fmla="*/ 599889 w 1022316"/>
                  <a:gd name="connsiteY176" fmla="*/ 1347305 h 1380812"/>
                  <a:gd name="connsiteX177" fmla="*/ 584434 w 1022316"/>
                  <a:gd name="connsiteY177" fmla="*/ 1352456 h 1380812"/>
                  <a:gd name="connsiteX178" fmla="*/ 574131 w 1022316"/>
                  <a:gd name="connsiteY178" fmla="*/ 1349880 h 1380812"/>
                  <a:gd name="connsiteX179" fmla="*/ 566404 w 1022316"/>
                  <a:gd name="connsiteY179" fmla="*/ 1334426 h 1380812"/>
                  <a:gd name="connsiteX180" fmla="*/ 558676 w 1022316"/>
                  <a:gd name="connsiteY180" fmla="*/ 1337002 h 1380812"/>
                  <a:gd name="connsiteX181" fmla="*/ 543222 w 1022316"/>
                  <a:gd name="connsiteY181" fmla="*/ 1331850 h 1380812"/>
                  <a:gd name="connsiteX182" fmla="*/ 517464 w 1022316"/>
                  <a:gd name="connsiteY182" fmla="*/ 1334426 h 1380812"/>
                  <a:gd name="connsiteX183" fmla="*/ 520040 w 1022316"/>
                  <a:gd name="connsiteY183" fmla="*/ 1347305 h 1380812"/>
                  <a:gd name="connsiteX184" fmla="*/ 517464 w 1022316"/>
                  <a:gd name="connsiteY184" fmla="*/ 1357608 h 1380812"/>
                  <a:gd name="connsiteX185" fmla="*/ 509737 w 1022316"/>
                  <a:gd name="connsiteY185" fmla="*/ 1360184 h 1380812"/>
                  <a:gd name="connsiteX186" fmla="*/ 502009 w 1022316"/>
                  <a:gd name="connsiteY186" fmla="*/ 1365335 h 1380812"/>
                  <a:gd name="connsiteX187" fmla="*/ 486555 w 1022316"/>
                  <a:gd name="connsiteY187" fmla="*/ 1378214 h 1380812"/>
                  <a:gd name="connsiteX188" fmla="*/ 478827 w 1022316"/>
                  <a:gd name="connsiteY188" fmla="*/ 1362759 h 1380812"/>
                  <a:gd name="connsiteX189" fmla="*/ 473676 w 1022316"/>
                  <a:gd name="connsiteY189" fmla="*/ 1347305 h 1380812"/>
                  <a:gd name="connsiteX190" fmla="*/ 463373 w 1022316"/>
                  <a:gd name="connsiteY190" fmla="*/ 1342153 h 1380812"/>
                  <a:gd name="connsiteX191" fmla="*/ 440191 w 1022316"/>
                  <a:gd name="connsiteY191" fmla="*/ 1329274 h 1380812"/>
                  <a:gd name="connsiteX192" fmla="*/ 417009 w 1022316"/>
                  <a:gd name="connsiteY192" fmla="*/ 1331850 h 1380812"/>
                  <a:gd name="connsiteX193" fmla="*/ 398978 w 1022316"/>
                  <a:gd name="connsiteY193" fmla="*/ 1337002 h 1380812"/>
                  <a:gd name="connsiteX194" fmla="*/ 396403 w 1022316"/>
                  <a:gd name="connsiteY194" fmla="*/ 1324123 h 1380812"/>
                  <a:gd name="connsiteX195" fmla="*/ 388675 w 1022316"/>
                  <a:gd name="connsiteY195" fmla="*/ 1318971 h 1380812"/>
                  <a:gd name="connsiteX196" fmla="*/ 360342 w 1022316"/>
                  <a:gd name="connsiteY196" fmla="*/ 1313820 h 1380812"/>
                  <a:gd name="connsiteX197" fmla="*/ 344887 w 1022316"/>
                  <a:gd name="connsiteY197" fmla="*/ 1308668 h 1380812"/>
                  <a:gd name="connsiteX198" fmla="*/ 337160 w 1022316"/>
                  <a:gd name="connsiteY198" fmla="*/ 1306092 h 1380812"/>
                  <a:gd name="connsiteX199" fmla="*/ 316554 w 1022316"/>
                  <a:gd name="connsiteY199" fmla="*/ 1303517 h 1380812"/>
                  <a:gd name="connsiteX200" fmla="*/ 308826 w 1022316"/>
                  <a:gd name="connsiteY200" fmla="*/ 1300941 h 1380812"/>
                  <a:gd name="connsiteX201" fmla="*/ 303675 w 1022316"/>
                  <a:gd name="connsiteY201" fmla="*/ 1293213 h 1380812"/>
                  <a:gd name="connsiteX202" fmla="*/ 295947 w 1022316"/>
                  <a:gd name="connsiteY202" fmla="*/ 1288062 h 1380812"/>
                  <a:gd name="connsiteX203" fmla="*/ 283069 w 1022316"/>
                  <a:gd name="connsiteY203" fmla="*/ 1290638 h 1380812"/>
                  <a:gd name="connsiteX204" fmla="*/ 275341 w 1022316"/>
                  <a:gd name="connsiteY204" fmla="*/ 1293213 h 1380812"/>
                  <a:gd name="connsiteX205" fmla="*/ 280493 w 1022316"/>
                  <a:gd name="connsiteY205" fmla="*/ 1300941 h 1380812"/>
                  <a:gd name="connsiteX206" fmla="*/ 288220 w 1022316"/>
                  <a:gd name="connsiteY206" fmla="*/ 1303517 h 1380812"/>
                  <a:gd name="connsiteX207" fmla="*/ 295947 w 1022316"/>
                  <a:gd name="connsiteY207" fmla="*/ 1308668 h 1380812"/>
                  <a:gd name="connsiteX208" fmla="*/ 257311 w 1022316"/>
                  <a:gd name="connsiteY208" fmla="*/ 1313820 h 1380812"/>
                  <a:gd name="connsiteX209" fmla="*/ 234129 w 1022316"/>
                  <a:gd name="connsiteY209" fmla="*/ 1316395 h 1380812"/>
                  <a:gd name="connsiteX210" fmla="*/ 226402 w 1022316"/>
                  <a:gd name="connsiteY210" fmla="*/ 1318971 h 1380812"/>
                  <a:gd name="connsiteX211" fmla="*/ 195492 w 1022316"/>
                  <a:gd name="connsiteY211" fmla="*/ 1316395 h 1380812"/>
                  <a:gd name="connsiteX212" fmla="*/ 169735 w 1022316"/>
                  <a:gd name="connsiteY212" fmla="*/ 1324123 h 1380812"/>
                  <a:gd name="connsiteX213" fmla="*/ 164583 w 1022316"/>
                  <a:gd name="connsiteY213" fmla="*/ 1306092 h 1380812"/>
                  <a:gd name="connsiteX214" fmla="*/ 162007 w 1022316"/>
                  <a:gd name="connsiteY214" fmla="*/ 1298365 h 1380812"/>
                  <a:gd name="connsiteX215" fmla="*/ 156856 w 1022316"/>
                  <a:gd name="connsiteY215" fmla="*/ 1277759 h 1380812"/>
                  <a:gd name="connsiteX216" fmla="*/ 159431 w 1022316"/>
                  <a:gd name="connsiteY216" fmla="*/ 1259728 h 1380812"/>
                  <a:gd name="connsiteX217" fmla="*/ 167159 w 1022316"/>
                  <a:gd name="connsiteY217" fmla="*/ 1252001 h 1380812"/>
                  <a:gd name="connsiteX218" fmla="*/ 169734 w 1022316"/>
                  <a:gd name="connsiteY218" fmla="*/ 1244274 h 1380812"/>
                  <a:gd name="connsiteX219" fmla="*/ 172310 w 1022316"/>
                  <a:gd name="connsiteY219" fmla="*/ 1208213 h 1380812"/>
                  <a:gd name="connsiteX220" fmla="*/ 174886 w 1022316"/>
                  <a:gd name="connsiteY220" fmla="*/ 1200486 h 1380812"/>
                  <a:gd name="connsiteX221" fmla="*/ 182613 w 1022316"/>
                  <a:gd name="connsiteY221" fmla="*/ 1195334 h 1380812"/>
                  <a:gd name="connsiteX222" fmla="*/ 185189 w 1022316"/>
                  <a:gd name="connsiteY222" fmla="*/ 1185031 h 1380812"/>
                  <a:gd name="connsiteX223" fmla="*/ 198068 w 1022316"/>
                  <a:gd name="connsiteY223" fmla="*/ 1136091 h 1380812"/>
                  <a:gd name="connsiteX224" fmla="*/ 205795 w 1022316"/>
                  <a:gd name="connsiteY224" fmla="*/ 1128364 h 1380812"/>
                  <a:gd name="connsiteX225" fmla="*/ 221250 w 1022316"/>
                  <a:gd name="connsiteY225" fmla="*/ 1118061 h 1380812"/>
                  <a:gd name="connsiteX226" fmla="*/ 231553 w 1022316"/>
                  <a:gd name="connsiteY226" fmla="*/ 1102606 h 1380812"/>
                  <a:gd name="connsiteX227" fmla="*/ 236705 w 1022316"/>
                  <a:gd name="connsiteY227" fmla="*/ 1094879 h 1380812"/>
                  <a:gd name="connsiteX228" fmla="*/ 241856 w 1022316"/>
                  <a:gd name="connsiteY228" fmla="*/ 1074273 h 1380812"/>
                  <a:gd name="connsiteX229" fmla="*/ 244432 w 1022316"/>
                  <a:gd name="connsiteY229" fmla="*/ 1066545 h 1380812"/>
                  <a:gd name="connsiteX230" fmla="*/ 236705 w 1022316"/>
                  <a:gd name="connsiteY230" fmla="*/ 1063969 h 1380812"/>
                  <a:gd name="connsiteX231" fmla="*/ 228977 w 1022316"/>
                  <a:gd name="connsiteY231" fmla="*/ 1069121 h 1380812"/>
                  <a:gd name="connsiteX232" fmla="*/ 221250 w 1022316"/>
                  <a:gd name="connsiteY232" fmla="*/ 1071697 h 1380812"/>
                  <a:gd name="connsiteX233" fmla="*/ 195492 w 1022316"/>
                  <a:gd name="connsiteY233" fmla="*/ 1063969 h 1380812"/>
                  <a:gd name="connsiteX234" fmla="*/ 187765 w 1022316"/>
                  <a:gd name="connsiteY234" fmla="*/ 1061394 h 1380812"/>
                  <a:gd name="connsiteX235" fmla="*/ 177462 w 1022316"/>
                  <a:gd name="connsiteY235" fmla="*/ 1056242 h 1380812"/>
                  <a:gd name="connsiteX236" fmla="*/ 172310 w 1022316"/>
                  <a:gd name="connsiteY236" fmla="*/ 1048515 h 1380812"/>
                  <a:gd name="connsiteX237" fmla="*/ 156856 w 1022316"/>
                  <a:gd name="connsiteY237" fmla="*/ 1033060 h 1380812"/>
                  <a:gd name="connsiteX238" fmla="*/ 141401 w 1022316"/>
                  <a:gd name="connsiteY238" fmla="*/ 1045939 h 1380812"/>
                  <a:gd name="connsiteX239" fmla="*/ 131098 w 1022316"/>
                  <a:gd name="connsiteY239" fmla="*/ 1048515 h 1380812"/>
                  <a:gd name="connsiteX240" fmla="*/ 118219 w 1022316"/>
                  <a:gd name="connsiteY240" fmla="*/ 1038212 h 1380812"/>
                  <a:gd name="connsiteX241" fmla="*/ 115643 w 1022316"/>
                  <a:gd name="connsiteY241" fmla="*/ 1030484 h 1380812"/>
                  <a:gd name="connsiteX242" fmla="*/ 107916 w 1022316"/>
                  <a:gd name="connsiteY242" fmla="*/ 1027909 h 1380812"/>
                  <a:gd name="connsiteX243" fmla="*/ 95037 w 1022316"/>
                  <a:gd name="connsiteY243" fmla="*/ 1030484 h 1380812"/>
                  <a:gd name="connsiteX244" fmla="*/ 79582 w 1022316"/>
                  <a:gd name="connsiteY244" fmla="*/ 1025333 h 1380812"/>
                  <a:gd name="connsiteX245" fmla="*/ 71855 w 1022316"/>
                  <a:gd name="connsiteY245" fmla="*/ 1027909 h 1380812"/>
                  <a:gd name="connsiteX246" fmla="*/ 69279 w 1022316"/>
                  <a:gd name="connsiteY246" fmla="*/ 1009878 h 1380812"/>
                  <a:gd name="connsiteX247" fmla="*/ 61552 w 1022316"/>
                  <a:gd name="connsiteY247" fmla="*/ 1002151 h 1380812"/>
                  <a:gd name="connsiteX248" fmla="*/ 56400 w 1022316"/>
                  <a:gd name="connsiteY248" fmla="*/ 994424 h 1380812"/>
                  <a:gd name="connsiteX249" fmla="*/ 40946 w 1022316"/>
                  <a:gd name="connsiteY249" fmla="*/ 981545 h 1380812"/>
                  <a:gd name="connsiteX250" fmla="*/ 30643 w 1022316"/>
                  <a:gd name="connsiteY250" fmla="*/ 976393 h 1380812"/>
                  <a:gd name="connsiteX251" fmla="*/ 30643 w 1022316"/>
                  <a:gd name="connsiteY251" fmla="*/ 948060 h 1380812"/>
                  <a:gd name="connsiteX252" fmla="*/ 35794 w 1022316"/>
                  <a:gd name="connsiteY252" fmla="*/ 940332 h 1380812"/>
                  <a:gd name="connsiteX253" fmla="*/ 30643 w 1022316"/>
                  <a:gd name="connsiteY253" fmla="*/ 919726 h 1380812"/>
                  <a:gd name="connsiteX254" fmla="*/ 28067 w 1022316"/>
                  <a:gd name="connsiteY254" fmla="*/ 911999 h 1380812"/>
                  <a:gd name="connsiteX255" fmla="*/ 17764 w 1022316"/>
                  <a:gd name="connsiteY255" fmla="*/ 906847 h 1380812"/>
                  <a:gd name="connsiteX256" fmla="*/ 12612 w 1022316"/>
                  <a:gd name="connsiteY256" fmla="*/ 873362 h 1380812"/>
                  <a:gd name="connsiteX257" fmla="*/ 7461 w 1022316"/>
                  <a:gd name="connsiteY257" fmla="*/ 857908 h 1380812"/>
                  <a:gd name="connsiteX258" fmla="*/ 17764 w 1022316"/>
                  <a:gd name="connsiteY258" fmla="*/ 839877 h 1380812"/>
                  <a:gd name="connsiteX259" fmla="*/ 20340 w 1022316"/>
                  <a:gd name="connsiteY259" fmla="*/ 832150 h 1380812"/>
                  <a:gd name="connsiteX260" fmla="*/ 35794 w 1022316"/>
                  <a:gd name="connsiteY260" fmla="*/ 824422 h 1380812"/>
                  <a:gd name="connsiteX261" fmla="*/ 43522 w 1022316"/>
                  <a:gd name="connsiteY261" fmla="*/ 819271 h 1380812"/>
                  <a:gd name="connsiteX262" fmla="*/ 35794 w 1022316"/>
                  <a:gd name="connsiteY262" fmla="*/ 793513 h 1380812"/>
                  <a:gd name="connsiteX263" fmla="*/ 30643 w 1022316"/>
                  <a:gd name="connsiteY263" fmla="*/ 785786 h 1380812"/>
                  <a:gd name="connsiteX264" fmla="*/ 25491 w 1022316"/>
                  <a:gd name="connsiteY264" fmla="*/ 770331 h 1380812"/>
                  <a:gd name="connsiteX265" fmla="*/ 22915 w 1022316"/>
                  <a:gd name="connsiteY265" fmla="*/ 762604 h 1380812"/>
                  <a:gd name="connsiteX266" fmla="*/ 20340 w 1022316"/>
                  <a:gd name="connsiteY266" fmla="*/ 754877 h 1380812"/>
                  <a:gd name="connsiteX267" fmla="*/ 15188 w 1022316"/>
                  <a:gd name="connsiteY267" fmla="*/ 747149 h 1380812"/>
                  <a:gd name="connsiteX268" fmla="*/ 12612 w 1022316"/>
                  <a:gd name="connsiteY268" fmla="*/ 736846 h 1380812"/>
                  <a:gd name="connsiteX269" fmla="*/ 7461 w 1022316"/>
                  <a:gd name="connsiteY269" fmla="*/ 721391 h 1380812"/>
                  <a:gd name="connsiteX270" fmla="*/ 706 w 1022316"/>
                  <a:gd name="connsiteY270" fmla="*/ 690093 h 1380812"/>
                  <a:gd name="connsiteX271" fmla="*/ 17764 w 1022316"/>
                  <a:gd name="connsiteY271" fmla="*/ 669876 h 1380812"/>
                  <a:gd name="connsiteX272" fmla="*/ 22915 w 1022316"/>
                  <a:gd name="connsiteY272" fmla="*/ 644118 h 1380812"/>
                  <a:gd name="connsiteX273" fmla="*/ 33218 w 1022316"/>
                  <a:gd name="connsiteY273" fmla="*/ 628664 h 1380812"/>
                  <a:gd name="connsiteX274" fmla="*/ 30643 w 1022316"/>
                  <a:gd name="connsiteY274" fmla="*/ 608057 h 1380812"/>
                  <a:gd name="connsiteX275" fmla="*/ 25491 w 1022316"/>
                  <a:gd name="connsiteY275" fmla="*/ 600330 h 1380812"/>
                  <a:gd name="connsiteX276" fmla="*/ 22915 w 1022316"/>
                  <a:gd name="connsiteY276" fmla="*/ 592603 h 1380812"/>
                  <a:gd name="connsiteX277" fmla="*/ 17764 w 1022316"/>
                  <a:gd name="connsiteY277" fmla="*/ 584875 h 1380812"/>
                  <a:gd name="connsiteX278" fmla="*/ 12612 w 1022316"/>
                  <a:gd name="connsiteY278" fmla="*/ 569421 h 1380812"/>
                  <a:gd name="connsiteX279" fmla="*/ 10036 w 1022316"/>
                  <a:gd name="connsiteY279" fmla="*/ 561693 h 1380812"/>
                  <a:gd name="connsiteX280" fmla="*/ 4885 w 1022316"/>
                  <a:gd name="connsiteY280" fmla="*/ 553966 h 1380812"/>
                  <a:gd name="connsiteX281" fmla="*/ 7461 w 1022316"/>
                  <a:gd name="connsiteY281" fmla="*/ 546239 h 1380812"/>
                  <a:gd name="connsiteX282" fmla="*/ 15188 w 1022316"/>
                  <a:gd name="connsiteY282" fmla="*/ 541087 h 1380812"/>
                  <a:gd name="connsiteX283" fmla="*/ 35794 w 1022316"/>
                  <a:gd name="connsiteY283" fmla="*/ 535936 h 1380812"/>
                  <a:gd name="connsiteX284" fmla="*/ 58976 w 1022316"/>
                  <a:gd name="connsiteY284" fmla="*/ 538511 h 1380812"/>
                  <a:gd name="connsiteX285" fmla="*/ 77007 w 1022316"/>
                  <a:gd name="connsiteY285" fmla="*/ 535936 h 1380812"/>
                  <a:gd name="connsiteX286" fmla="*/ 105340 w 1022316"/>
                  <a:gd name="connsiteY286" fmla="*/ 533360 h 1380812"/>
                  <a:gd name="connsiteX287" fmla="*/ 102764 w 1022316"/>
                  <a:gd name="connsiteY287" fmla="*/ 510178 h 1380812"/>
                  <a:gd name="connsiteX288" fmla="*/ 100189 w 1022316"/>
                  <a:gd name="connsiteY288" fmla="*/ 502451 h 1380812"/>
                  <a:gd name="connsiteX289" fmla="*/ 107916 w 1022316"/>
                  <a:gd name="connsiteY289" fmla="*/ 486996 h 1380812"/>
                  <a:gd name="connsiteX290" fmla="*/ 113067 w 1022316"/>
                  <a:gd name="connsiteY290" fmla="*/ 471541 h 1380812"/>
                  <a:gd name="connsiteX291" fmla="*/ 120795 w 1022316"/>
                  <a:gd name="connsiteY291" fmla="*/ 456087 h 1380812"/>
                  <a:gd name="connsiteX292" fmla="*/ 118219 w 1022316"/>
                  <a:gd name="connsiteY292" fmla="*/ 443208 h 1380812"/>
                  <a:gd name="connsiteX293" fmla="*/ 110492 w 1022316"/>
                  <a:gd name="connsiteY293" fmla="*/ 440632 h 1380812"/>
                  <a:gd name="connsiteX294" fmla="*/ 100189 w 1022316"/>
                  <a:gd name="connsiteY294" fmla="*/ 438056 h 1380812"/>
                  <a:gd name="connsiteX295" fmla="*/ 97613 w 1022316"/>
                  <a:gd name="connsiteY295" fmla="*/ 430329 h 1380812"/>
                  <a:gd name="connsiteX296" fmla="*/ 107916 w 1022316"/>
                  <a:gd name="connsiteY296" fmla="*/ 412298 h 1380812"/>
                  <a:gd name="connsiteX297" fmla="*/ 110492 w 1022316"/>
                  <a:gd name="connsiteY297" fmla="*/ 404571 h 1380812"/>
                  <a:gd name="connsiteX298" fmla="*/ 125946 w 1022316"/>
                  <a:gd name="connsiteY298" fmla="*/ 399420 h 1380812"/>
                  <a:gd name="connsiteX299" fmla="*/ 133674 w 1022316"/>
                  <a:gd name="connsiteY299" fmla="*/ 394268 h 1380812"/>
                  <a:gd name="connsiteX300" fmla="*/ 141401 w 1022316"/>
                  <a:gd name="connsiteY300" fmla="*/ 391692 h 1380812"/>
                  <a:gd name="connsiteX301" fmla="*/ 146553 w 1022316"/>
                  <a:gd name="connsiteY301" fmla="*/ 376238 h 1380812"/>
                  <a:gd name="connsiteX302" fmla="*/ 146553 w 1022316"/>
                  <a:gd name="connsiteY302" fmla="*/ 353056 h 1380812"/>
                  <a:gd name="connsiteX303" fmla="*/ 149128 w 1022316"/>
                  <a:gd name="connsiteY303" fmla="*/ 345328 h 1380812"/>
                  <a:gd name="connsiteX304" fmla="*/ 156856 w 1022316"/>
                  <a:gd name="connsiteY304" fmla="*/ 329874 h 1380812"/>
                  <a:gd name="connsiteX305" fmla="*/ 154280 w 1022316"/>
                  <a:gd name="connsiteY305" fmla="*/ 311843 h 1380812"/>
                  <a:gd name="connsiteX306" fmla="*/ 151704 w 1022316"/>
                  <a:gd name="connsiteY306" fmla="*/ 296389 h 1380812"/>
                  <a:gd name="connsiteX307" fmla="*/ 159431 w 1022316"/>
                  <a:gd name="connsiteY307" fmla="*/ 293813 h 1380812"/>
                  <a:gd name="connsiteX308" fmla="*/ 167159 w 1022316"/>
                  <a:gd name="connsiteY308" fmla="*/ 288661 h 1380812"/>
                  <a:gd name="connsiteX309" fmla="*/ 169734 w 1022316"/>
                  <a:gd name="connsiteY309" fmla="*/ 280934 h 1380812"/>
                  <a:gd name="connsiteX310" fmla="*/ 162007 w 1022316"/>
                  <a:gd name="connsiteY310" fmla="*/ 278358 h 1380812"/>
                  <a:gd name="connsiteX311" fmla="*/ 141401 w 1022316"/>
                  <a:gd name="connsiteY311" fmla="*/ 270631 h 1380812"/>
                  <a:gd name="connsiteX312" fmla="*/ 143977 w 1022316"/>
                  <a:gd name="connsiteY312" fmla="*/ 260328 h 1380812"/>
                  <a:gd name="connsiteX313" fmla="*/ 146553 w 1022316"/>
                  <a:gd name="connsiteY313" fmla="*/ 252600 h 1380812"/>
                  <a:gd name="connsiteX314" fmla="*/ 151704 w 1022316"/>
                  <a:gd name="connsiteY314" fmla="*/ 231994 h 1380812"/>
                  <a:gd name="connsiteX315" fmla="*/ 154280 w 1022316"/>
                  <a:gd name="connsiteY315" fmla="*/ 224267 h 1380812"/>
                  <a:gd name="connsiteX316" fmla="*/ 169734 w 1022316"/>
                  <a:gd name="connsiteY316" fmla="*/ 219115 h 1380812"/>
                  <a:gd name="connsiteX317" fmla="*/ 192916 w 1022316"/>
                  <a:gd name="connsiteY317" fmla="*/ 221691 h 1380812"/>
                  <a:gd name="connsiteX318" fmla="*/ 200644 w 1022316"/>
                  <a:gd name="connsiteY318" fmla="*/ 226843 h 1380812"/>
                  <a:gd name="connsiteX319" fmla="*/ 221250 w 1022316"/>
                  <a:gd name="connsiteY319" fmla="*/ 224267 h 1380812"/>
                  <a:gd name="connsiteX320" fmla="*/ 241856 w 1022316"/>
                  <a:gd name="connsiteY320" fmla="*/ 224267 h 1380812"/>
                  <a:gd name="connsiteX321" fmla="*/ 247008 w 1022316"/>
                  <a:gd name="connsiteY321" fmla="*/ 231994 h 1380812"/>
                  <a:gd name="connsiteX322" fmla="*/ 249583 w 1022316"/>
                  <a:gd name="connsiteY322" fmla="*/ 260328 h 1380812"/>
                  <a:gd name="connsiteX323" fmla="*/ 244432 w 1022316"/>
                  <a:gd name="connsiteY323" fmla="*/ 268055 h 1380812"/>
                  <a:gd name="connsiteX324" fmla="*/ 257311 w 1022316"/>
                  <a:gd name="connsiteY324" fmla="*/ 280934 h 1380812"/>
                  <a:gd name="connsiteX325" fmla="*/ 265038 w 1022316"/>
                  <a:gd name="connsiteY325" fmla="*/ 278358 h 1380812"/>
                  <a:gd name="connsiteX326" fmla="*/ 262462 w 1022316"/>
                  <a:gd name="connsiteY326" fmla="*/ 270631 h 1380812"/>
                  <a:gd name="connsiteX327" fmla="*/ 257311 w 1022316"/>
                  <a:gd name="connsiteY327" fmla="*/ 262904 h 1380812"/>
                  <a:gd name="connsiteX328" fmla="*/ 265038 w 1022316"/>
                  <a:gd name="connsiteY328" fmla="*/ 257752 h 1380812"/>
                  <a:gd name="connsiteX329" fmla="*/ 293372 w 1022316"/>
                  <a:gd name="connsiteY329" fmla="*/ 260328 h 1380812"/>
                  <a:gd name="connsiteX330" fmla="*/ 295947 w 1022316"/>
                  <a:gd name="connsiteY330" fmla="*/ 270631 h 1380812"/>
                  <a:gd name="connsiteX331" fmla="*/ 311402 w 1022316"/>
                  <a:gd name="connsiteY331" fmla="*/ 286086 h 1380812"/>
                  <a:gd name="connsiteX332" fmla="*/ 303675 w 1022316"/>
                  <a:gd name="connsiteY332" fmla="*/ 257752 h 1380812"/>
                  <a:gd name="connsiteX333" fmla="*/ 301099 w 1022316"/>
                  <a:gd name="connsiteY333" fmla="*/ 250025 h 1380812"/>
                  <a:gd name="connsiteX334" fmla="*/ 303675 w 1022316"/>
                  <a:gd name="connsiteY334" fmla="*/ 231994 h 1380812"/>
                  <a:gd name="connsiteX335" fmla="*/ 306251 w 1022316"/>
                  <a:gd name="connsiteY335" fmla="*/ 203661 h 1380812"/>
                  <a:gd name="connsiteX336" fmla="*/ 313978 w 1022316"/>
                  <a:gd name="connsiteY336" fmla="*/ 201085 h 1380812"/>
                  <a:gd name="connsiteX337" fmla="*/ 326857 w 1022316"/>
                  <a:gd name="connsiteY337" fmla="*/ 211388 h 1380812"/>
                  <a:gd name="connsiteX338" fmla="*/ 334584 w 1022316"/>
                  <a:gd name="connsiteY338" fmla="*/ 213964 h 1380812"/>
                  <a:gd name="connsiteX339" fmla="*/ 350039 w 1022316"/>
                  <a:gd name="connsiteY339" fmla="*/ 206237 h 1380812"/>
                  <a:gd name="connsiteX340" fmla="*/ 355190 w 1022316"/>
                  <a:gd name="connsiteY340" fmla="*/ 198509 h 1380812"/>
                  <a:gd name="connsiteX341" fmla="*/ 378372 w 1022316"/>
                  <a:gd name="connsiteY341" fmla="*/ 201085 h 1380812"/>
                  <a:gd name="connsiteX342" fmla="*/ 396403 w 1022316"/>
                  <a:gd name="connsiteY342" fmla="*/ 221691 h 1380812"/>
                  <a:gd name="connsiteX343" fmla="*/ 404130 w 1022316"/>
                  <a:gd name="connsiteY343" fmla="*/ 229418 h 1380812"/>
                  <a:gd name="connsiteX344" fmla="*/ 414433 w 1022316"/>
                  <a:gd name="connsiteY344" fmla="*/ 244873 h 1380812"/>
                  <a:gd name="connsiteX345" fmla="*/ 429888 w 1022316"/>
                  <a:gd name="connsiteY345" fmla="*/ 250025 h 1380812"/>
                  <a:gd name="connsiteX346" fmla="*/ 419585 w 1022316"/>
                  <a:gd name="connsiteY346" fmla="*/ 237146 h 1380812"/>
                  <a:gd name="connsiteX347" fmla="*/ 409282 w 1022316"/>
                  <a:gd name="connsiteY347" fmla="*/ 221691 h 1380812"/>
                  <a:gd name="connsiteX348" fmla="*/ 401554 w 1022316"/>
                  <a:gd name="connsiteY348" fmla="*/ 213964 h 1380812"/>
                  <a:gd name="connsiteX349" fmla="*/ 391251 w 1022316"/>
                  <a:gd name="connsiteY349" fmla="*/ 198509 h 1380812"/>
                  <a:gd name="connsiteX350" fmla="*/ 375796 w 1022316"/>
                  <a:gd name="connsiteY350" fmla="*/ 193358 h 1380812"/>
                  <a:gd name="connsiteX351" fmla="*/ 368069 w 1022316"/>
                  <a:gd name="connsiteY351" fmla="*/ 190782 h 1380812"/>
                  <a:gd name="connsiteX352" fmla="*/ 347463 w 1022316"/>
                  <a:gd name="connsiteY352" fmla="*/ 193358 h 1380812"/>
                  <a:gd name="connsiteX353" fmla="*/ 342311 w 1022316"/>
                  <a:gd name="connsiteY353" fmla="*/ 162448 h 1380812"/>
                  <a:gd name="connsiteX354" fmla="*/ 344887 w 1022316"/>
                  <a:gd name="connsiteY354" fmla="*/ 154721 h 1380812"/>
                  <a:gd name="connsiteX355" fmla="*/ 352614 w 1022316"/>
                  <a:gd name="connsiteY355" fmla="*/ 149569 h 1380812"/>
                  <a:gd name="connsiteX356" fmla="*/ 344887 w 1022316"/>
                  <a:gd name="connsiteY356" fmla="*/ 144418 h 1380812"/>
                  <a:gd name="connsiteX357" fmla="*/ 337160 w 1022316"/>
                  <a:gd name="connsiteY357" fmla="*/ 141842 h 1380812"/>
                  <a:gd name="connsiteX358" fmla="*/ 334584 w 1022316"/>
                  <a:gd name="connsiteY358" fmla="*/ 128963 h 1380812"/>
                  <a:gd name="connsiteX359" fmla="*/ 321705 w 1022316"/>
                  <a:gd name="connsiteY359" fmla="*/ 116084 h 1380812"/>
                  <a:gd name="connsiteX360" fmla="*/ 311402 w 1022316"/>
                  <a:gd name="connsiteY360" fmla="*/ 100630 h 1380812"/>
                  <a:gd name="connsiteX361" fmla="*/ 329433 w 1022316"/>
                  <a:gd name="connsiteY361" fmla="*/ 95478 h 1380812"/>
                  <a:gd name="connsiteX362" fmla="*/ 337160 w 1022316"/>
                  <a:gd name="connsiteY362" fmla="*/ 92902 h 1380812"/>
                  <a:gd name="connsiteX363" fmla="*/ 360342 w 1022316"/>
                  <a:gd name="connsiteY363" fmla="*/ 87751 h 1380812"/>
                  <a:gd name="connsiteX364" fmla="*/ 357766 w 1022316"/>
                  <a:gd name="connsiteY364" fmla="*/ 77448 h 1380812"/>
                  <a:gd name="connsiteX365" fmla="*/ 350039 w 1022316"/>
                  <a:gd name="connsiteY365" fmla="*/ 72296 h 1380812"/>
                  <a:gd name="connsiteX366" fmla="*/ 342311 w 1022316"/>
                  <a:gd name="connsiteY366" fmla="*/ 64569 h 1380812"/>
                  <a:gd name="connsiteX367" fmla="*/ 332008 w 1022316"/>
                  <a:gd name="connsiteY367" fmla="*/ 41387 h 1380812"/>
                  <a:gd name="connsiteX368" fmla="*/ 321705 w 1022316"/>
                  <a:gd name="connsiteY368" fmla="*/ 38811 h 1380812"/>
                  <a:gd name="connsiteX369" fmla="*/ 288220 w 1022316"/>
                  <a:gd name="connsiteY369" fmla="*/ 41387 h 1380812"/>
                  <a:gd name="connsiteX370" fmla="*/ 285644 w 1022316"/>
                  <a:gd name="connsiteY370" fmla="*/ 33660 h 1380812"/>
                  <a:gd name="connsiteX371" fmla="*/ 301099 w 1022316"/>
                  <a:gd name="connsiteY371" fmla="*/ 28508 h 1380812"/>
                  <a:gd name="connsiteX372" fmla="*/ 308826 w 1022316"/>
                  <a:gd name="connsiteY372" fmla="*/ 31084 h 1380812"/>
                  <a:gd name="connsiteX373" fmla="*/ 311402 w 1022316"/>
                  <a:gd name="connsiteY373" fmla="*/ 23357 h 1380812"/>
                  <a:gd name="connsiteX374" fmla="*/ 298523 w 1022316"/>
                  <a:gd name="connsiteY374" fmla="*/ 13053 h 1380812"/>
                  <a:gd name="connsiteX375" fmla="*/ 295947 w 1022316"/>
                  <a:gd name="connsiteY375" fmla="*/ 5326 h 1380812"/>
                  <a:gd name="connsiteX376" fmla="*/ 313978 w 1022316"/>
                  <a:gd name="connsiteY376" fmla="*/ 5326 h 1380812"/>
                  <a:gd name="connsiteX377" fmla="*/ 321705 w 1022316"/>
                  <a:gd name="connsiteY377" fmla="*/ 7902 h 1380812"/>
                  <a:gd name="connsiteX378" fmla="*/ 355190 w 1022316"/>
                  <a:gd name="connsiteY378" fmla="*/ 7902 h 1380812"/>
                  <a:gd name="connsiteX379" fmla="*/ 362918 w 1022316"/>
                  <a:gd name="connsiteY379" fmla="*/ 10478 h 1380812"/>
                  <a:gd name="connsiteX380" fmla="*/ 386100 w 1022316"/>
                  <a:gd name="connsiteY380" fmla="*/ 23357 h 1380812"/>
                  <a:gd name="connsiteX381" fmla="*/ 414433 w 1022316"/>
                  <a:gd name="connsiteY381" fmla="*/ 25932 h 1380812"/>
                  <a:gd name="connsiteX382" fmla="*/ 435039 w 1022316"/>
                  <a:gd name="connsiteY382" fmla="*/ 28508 h 1380812"/>
                  <a:gd name="connsiteX383" fmla="*/ 442767 w 1022316"/>
                  <a:gd name="connsiteY383" fmla="*/ 31084 h 1380812"/>
                  <a:gd name="connsiteX384" fmla="*/ 455645 w 1022316"/>
                  <a:gd name="connsiteY384" fmla="*/ 46538 h 1380812"/>
                  <a:gd name="connsiteX385" fmla="*/ 471100 w 1022316"/>
                  <a:gd name="connsiteY385" fmla="*/ 51690 h 1380812"/>
                  <a:gd name="connsiteX386" fmla="*/ 463373 w 1022316"/>
                  <a:gd name="connsiteY386" fmla="*/ 54266 h 1380812"/>
                  <a:gd name="connsiteX387" fmla="*/ 450494 w 1022316"/>
                  <a:gd name="connsiteY387" fmla="*/ 67145 h 1380812"/>
                  <a:gd name="connsiteX388" fmla="*/ 445342 w 1022316"/>
                  <a:gd name="connsiteY388" fmla="*/ 82599 h 1380812"/>
                  <a:gd name="connsiteX389" fmla="*/ 442767 w 1022316"/>
                  <a:gd name="connsiteY389" fmla="*/ 90327 h 1380812"/>
                  <a:gd name="connsiteX390" fmla="*/ 458221 w 1022316"/>
                  <a:gd name="connsiteY390" fmla="*/ 87751 h 1380812"/>
                  <a:gd name="connsiteX391" fmla="*/ 473676 w 1022316"/>
                  <a:gd name="connsiteY391" fmla="*/ 85175 h 1380812"/>
                  <a:gd name="connsiteX392" fmla="*/ 496858 w 1022316"/>
                  <a:gd name="connsiteY392" fmla="*/ 87751 h 1380812"/>
                  <a:gd name="connsiteX393" fmla="*/ 512313 w 1022316"/>
                  <a:gd name="connsiteY393" fmla="*/ 100630 h 1380812"/>
                  <a:gd name="connsiteX394" fmla="*/ 535494 w 1022316"/>
                  <a:gd name="connsiteY394" fmla="*/ 113509 h 1380812"/>
                  <a:gd name="connsiteX395" fmla="*/ 553525 w 1022316"/>
                  <a:gd name="connsiteY395" fmla="*/ 110933 h 1380812"/>
                  <a:gd name="connsiteX396" fmla="*/ 556101 w 1022316"/>
                  <a:gd name="connsiteY396" fmla="*/ 103206 h 1380812"/>
                  <a:gd name="connsiteX397" fmla="*/ 558676 w 1022316"/>
                  <a:gd name="connsiteY397" fmla="*/ 87751 h 1380812"/>
                  <a:gd name="connsiteX398" fmla="*/ 566404 w 1022316"/>
                  <a:gd name="connsiteY398" fmla="*/ 85175 h 1380812"/>
                  <a:gd name="connsiteX399" fmla="*/ 581858 w 1022316"/>
                  <a:gd name="connsiteY399" fmla="*/ 74872 h 1380812"/>
                  <a:gd name="connsiteX400" fmla="*/ 592162 w 1022316"/>
                  <a:gd name="connsiteY400" fmla="*/ 77448 h 1380812"/>
                  <a:gd name="connsiteX401" fmla="*/ 589586 w 1022316"/>
                  <a:gd name="connsiteY401" fmla="*/ 85175 h 1380812"/>
                  <a:gd name="connsiteX402" fmla="*/ 574131 w 1022316"/>
                  <a:gd name="connsiteY402" fmla="*/ 87751 h 1380812"/>
                  <a:gd name="connsiteX403" fmla="*/ 558676 w 1022316"/>
                  <a:gd name="connsiteY403" fmla="*/ 100630 h 1380812"/>
                  <a:gd name="connsiteX404" fmla="*/ 574131 w 1022316"/>
                  <a:gd name="connsiteY404" fmla="*/ 103206 h 1380812"/>
                  <a:gd name="connsiteX405" fmla="*/ 566404 w 1022316"/>
                  <a:gd name="connsiteY405" fmla="*/ 118660 h 1380812"/>
                  <a:gd name="connsiteX406" fmla="*/ 561252 w 1022316"/>
                  <a:gd name="connsiteY406" fmla="*/ 136691 h 1380812"/>
                  <a:gd name="connsiteX407" fmla="*/ 545798 w 1022316"/>
                  <a:gd name="connsiteY407" fmla="*/ 144418 h 1380812"/>
                  <a:gd name="connsiteX408" fmla="*/ 538070 w 1022316"/>
                  <a:gd name="connsiteY408" fmla="*/ 152145 h 1380812"/>
                  <a:gd name="connsiteX409" fmla="*/ 527767 w 1022316"/>
                  <a:gd name="connsiteY409" fmla="*/ 167600 h 1380812"/>
                  <a:gd name="connsiteX410" fmla="*/ 543222 w 1022316"/>
                  <a:gd name="connsiteY410" fmla="*/ 175327 h 1380812"/>
                  <a:gd name="connsiteX411" fmla="*/ 545798 w 1022316"/>
                  <a:gd name="connsiteY411" fmla="*/ 193358 h 1380812"/>
                  <a:gd name="connsiteX412" fmla="*/ 561252 w 1022316"/>
                  <a:gd name="connsiteY412" fmla="*/ 185630 h 1380812"/>
                  <a:gd name="connsiteX413" fmla="*/ 576707 w 1022316"/>
                  <a:gd name="connsiteY413" fmla="*/ 177903 h 1380812"/>
                  <a:gd name="connsiteX414" fmla="*/ 581858 w 1022316"/>
                  <a:gd name="connsiteY414" fmla="*/ 177903 h 1380812"/>
                  <a:gd name="connsiteX415" fmla="*/ 597313 w 1022316"/>
                  <a:gd name="connsiteY415" fmla="*/ 183055 h 1380812"/>
                  <a:gd name="connsiteX416" fmla="*/ 612768 w 1022316"/>
                  <a:gd name="connsiteY416" fmla="*/ 172751 h 1380812"/>
                  <a:gd name="connsiteX417" fmla="*/ 615343 w 1022316"/>
                  <a:gd name="connsiteY417" fmla="*/ 165024 h 1380812"/>
                  <a:gd name="connsiteX418" fmla="*/ 630798 w 1022316"/>
                  <a:gd name="connsiteY418" fmla="*/ 152145 h 1380812"/>
                  <a:gd name="connsiteX419" fmla="*/ 638525 w 1022316"/>
                  <a:gd name="connsiteY419" fmla="*/ 149569 h 1380812"/>
                  <a:gd name="connsiteX420" fmla="*/ 646253 w 1022316"/>
                  <a:gd name="connsiteY420" fmla="*/ 141842 h 1380812"/>
                  <a:gd name="connsiteX421" fmla="*/ 679738 w 1022316"/>
                  <a:gd name="connsiteY421" fmla="*/ 134115 h 1380812"/>
                  <a:gd name="connsiteX422" fmla="*/ 687465 w 1022316"/>
                  <a:gd name="connsiteY422" fmla="*/ 128963 h 1380812"/>
                  <a:gd name="connsiteX423" fmla="*/ 702920 w 1022316"/>
                  <a:gd name="connsiteY423" fmla="*/ 126388 h 1380812"/>
                  <a:gd name="connsiteX424" fmla="*/ 708071 w 1022316"/>
                  <a:gd name="connsiteY424" fmla="*/ 118660 h 1380812"/>
                  <a:gd name="connsiteX425" fmla="*/ 715799 w 1022316"/>
                  <a:gd name="connsiteY425" fmla="*/ 95478 h 1380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022316" h="1380812">
                    <a:moveTo>
                      <a:pt x="715799" y="95478"/>
                    </a:moveTo>
                    <a:cubicBezTo>
                      <a:pt x="726532" y="91614"/>
                      <a:pt x="756275" y="90081"/>
                      <a:pt x="772466" y="95478"/>
                    </a:cubicBezTo>
                    <a:cubicBezTo>
                      <a:pt x="775042" y="96337"/>
                      <a:pt x="773828" y="100777"/>
                      <a:pt x="775042" y="103206"/>
                    </a:cubicBezTo>
                    <a:cubicBezTo>
                      <a:pt x="776426" y="105975"/>
                      <a:pt x="778476" y="108357"/>
                      <a:pt x="780193" y="110933"/>
                    </a:cubicBezTo>
                    <a:cubicBezTo>
                      <a:pt x="781052" y="106640"/>
                      <a:pt x="780597" y="101855"/>
                      <a:pt x="782769" y="98054"/>
                    </a:cubicBezTo>
                    <a:cubicBezTo>
                      <a:pt x="784305" y="95366"/>
                      <a:pt x="788562" y="95319"/>
                      <a:pt x="790496" y="92902"/>
                    </a:cubicBezTo>
                    <a:cubicBezTo>
                      <a:pt x="792192" y="90782"/>
                      <a:pt x="792213" y="87751"/>
                      <a:pt x="793072" y="85175"/>
                    </a:cubicBezTo>
                    <a:cubicBezTo>
                      <a:pt x="793719" y="75473"/>
                      <a:pt x="783846" y="43963"/>
                      <a:pt x="803375" y="43963"/>
                    </a:cubicBezTo>
                    <a:cubicBezTo>
                      <a:pt x="809446" y="43963"/>
                      <a:pt x="815395" y="45680"/>
                      <a:pt x="821405" y="46538"/>
                    </a:cubicBezTo>
                    <a:cubicBezTo>
                      <a:pt x="824289" y="49422"/>
                      <a:pt x="833089" y="57211"/>
                      <a:pt x="834284" y="61993"/>
                    </a:cubicBezTo>
                    <a:cubicBezTo>
                      <a:pt x="836170" y="69536"/>
                      <a:pt x="835678" y="77491"/>
                      <a:pt x="836860" y="85175"/>
                    </a:cubicBezTo>
                    <a:cubicBezTo>
                      <a:pt x="837398" y="88674"/>
                      <a:pt x="837225" y="92714"/>
                      <a:pt x="839436" y="95478"/>
                    </a:cubicBezTo>
                    <a:cubicBezTo>
                      <a:pt x="841132" y="97598"/>
                      <a:pt x="848022" y="97195"/>
                      <a:pt x="847163" y="98054"/>
                    </a:cubicBezTo>
                    <a:cubicBezTo>
                      <a:pt x="846304" y="98913"/>
                      <a:pt x="839006" y="98913"/>
                      <a:pt x="834284" y="100630"/>
                    </a:cubicBezTo>
                    <a:cubicBezTo>
                      <a:pt x="829562" y="102347"/>
                      <a:pt x="822736" y="105753"/>
                      <a:pt x="818830" y="108357"/>
                    </a:cubicBezTo>
                    <a:cubicBezTo>
                      <a:pt x="817113" y="110933"/>
                      <a:pt x="816095" y="114150"/>
                      <a:pt x="813678" y="116084"/>
                    </a:cubicBezTo>
                    <a:cubicBezTo>
                      <a:pt x="806015" y="122214"/>
                      <a:pt x="782432" y="116308"/>
                      <a:pt x="780193" y="116084"/>
                    </a:cubicBezTo>
                    <a:cubicBezTo>
                      <a:pt x="781052" y="112650"/>
                      <a:pt x="779937" y="107905"/>
                      <a:pt x="782769" y="105781"/>
                    </a:cubicBezTo>
                    <a:cubicBezTo>
                      <a:pt x="784941" y="104152"/>
                      <a:pt x="788576" y="106437"/>
                      <a:pt x="790496" y="108357"/>
                    </a:cubicBezTo>
                    <a:cubicBezTo>
                      <a:pt x="811161" y="129023"/>
                      <a:pt x="791041" y="120559"/>
                      <a:pt x="808527" y="126388"/>
                    </a:cubicBezTo>
                    <a:cubicBezTo>
                      <a:pt x="820336" y="144101"/>
                      <a:pt x="816873" y="135968"/>
                      <a:pt x="821405" y="149569"/>
                    </a:cubicBezTo>
                    <a:cubicBezTo>
                      <a:pt x="823981" y="148711"/>
                      <a:pt x="826874" y="148500"/>
                      <a:pt x="829133" y="146994"/>
                    </a:cubicBezTo>
                    <a:cubicBezTo>
                      <a:pt x="848429" y="134131"/>
                      <a:pt x="826213" y="142814"/>
                      <a:pt x="844587" y="136691"/>
                    </a:cubicBezTo>
                    <a:cubicBezTo>
                      <a:pt x="849739" y="137549"/>
                      <a:pt x="855507" y="136675"/>
                      <a:pt x="860042" y="139266"/>
                    </a:cubicBezTo>
                    <a:cubicBezTo>
                      <a:pt x="862400" y="140613"/>
                      <a:pt x="860698" y="145074"/>
                      <a:pt x="862618" y="146994"/>
                    </a:cubicBezTo>
                    <a:cubicBezTo>
                      <a:pt x="864538" y="148914"/>
                      <a:pt x="867695" y="148980"/>
                      <a:pt x="870345" y="149569"/>
                    </a:cubicBezTo>
                    <a:cubicBezTo>
                      <a:pt x="875443" y="150702"/>
                      <a:pt x="880648" y="151286"/>
                      <a:pt x="885800" y="152145"/>
                    </a:cubicBezTo>
                    <a:cubicBezTo>
                      <a:pt x="896043" y="158975"/>
                      <a:pt x="896103" y="156300"/>
                      <a:pt x="896103" y="172751"/>
                    </a:cubicBezTo>
                    <a:cubicBezTo>
                      <a:pt x="896103" y="175466"/>
                      <a:pt x="895447" y="166944"/>
                      <a:pt x="893527" y="165024"/>
                    </a:cubicBezTo>
                    <a:cubicBezTo>
                      <a:pt x="891607" y="163104"/>
                      <a:pt x="888228" y="163662"/>
                      <a:pt x="885800" y="162448"/>
                    </a:cubicBezTo>
                    <a:cubicBezTo>
                      <a:pt x="883031" y="161064"/>
                      <a:pt x="880649" y="159014"/>
                      <a:pt x="878073" y="157297"/>
                    </a:cubicBezTo>
                    <a:cubicBezTo>
                      <a:pt x="874638" y="158156"/>
                      <a:pt x="868463" y="156401"/>
                      <a:pt x="867769" y="159873"/>
                    </a:cubicBezTo>
                    <a:cubicBezTo>
                      <a:pt x="860672" y="195353"/>
                      <a:pt x="861136" y="192863"/>
                      <a:pt x="878073" y="198509"/>
                    </a:cubicBezTo>
                    <a:cubicBezTo>
                      <a:pt x="880649" y="197650"/>
                      <a:pt x="883628" y="194304"/>
                      <a:pt x="885800" y="195933"/>
                    </a:cubicBezTo>
                    <a:cubicBezTo>
                      <a:pt x="888632" y="198057"/>
                      <a:pt x="886981" y="202983"/>
                      <a:pt x="888376" y="206237"/>
                    </a:cubicBezTo>
                    <a:cubicBezTo>
                      <a:pt x="889595" y="209082"/>
                      <a:pt x="891810" y="211388"/>
                      <a:pt x="893527" y="213964"/>
                    </a:cubicBezTo>
                    <a:cubicBezTo>
                      <a:pt x="898679" y="212247"/>
                      <a:pt x="907265" y="203660"/>
                      <a:pt x="908982" y="208812"/>
                    </a:cubicBezTo>
                    <a:cubicBezTo>
                      <a:pt x="910699" y="213964"/>
                      <a:pt x="912816" y="218999"/>
                      <a:pt x="914133" y="224267"/>
                    </a:cubicBezTo>
                    <a:cubicBezTo>
                      <a:pt x="917368" y="237204"/>
                      <a:pt x="915589" y="231212"/>
                      <a:pt x="919285" y="242297"/>
                    </a:cubicBezTo>
                    <a:cubicBezTo>
                      <a:pt x="920144" y="247449"/>
                      <a:pt x="919740" y="252979"/>
                      <a:pt x="921861" y="257752"/>
                    </a:cubicBezTo>
                    <a:cubicBezTo>
                      <a:pt x="923340" y="261081"/>
                      <a:pt x="927256" y="262681"/>
                      <a:pt x="929588" y="265479"/>
                    </a:cubicBezTo>
                    <a:cubicBezTo>
                      <a:pt x="931570" y="267857"/>
                      <a:pt x="933023" y="270631"/>
                      <a:pt x="934740" y="273207"/>
                    </a:cubicBezTo>
                    <a:cubicBezTo>
                      <a:pt x="937607" y="281809"/>
                      <a:pt x="937735" y="281538"/>
                      <a:pt x="939891" y="291237"/>
                    </a:cubicBezTo>
                    <a:cubicBezTo>
                      <a:pt x="944036" y="309886"/>
                      <a:pt x="940440" y="298035"/>
                      <a:pt x="945043" y="311843"/>
                    </a:cubicBezTo>
                    <a:cubicBezTo>
                      <a:pt x="944184" y="316995"/>
                      <a:pt x="945058" y="322763"/>
                      <a:pt x="942467" y="327298"/>
                    </a:cubicBezTo>
                    <a:cubicBezTo>
                      <a:pt x="941120" y="329655"/>
                      <a:pt x="937351" y="329128"/>
                      <a:pt x="934740" y="329874"/>
                    </a:cubicBezTo>
                    <a:cubicBezTo>
                      <a:pt x="930882" y="330976"/>
                      <a:pt x="920831" y="332964"/>
                      <a:pt x="916709" y="335025"/>
                    </a:cubicBezTo>
                    <a:cubicBezTo>
                      <a:pt x="913940" y="336410"/>
                      <a:pt x="911558" y="338460"/>
                      <a:pt x="908982" y="340177"/>
                    </a:cubicBezTo>
                    <a:cubicBezTo>
                      <a:pt x="908123" y="342753"/>
                      <a:pt x="906406" y="345189"/>
                      <a:pt x="906406" y="347904"/>
                    </a:cubicBezTo>
                    <a:cubicBezTo>
                      <a:pt x="906406" y="353952"/>
                      <a:pt x="917816" y="370596"/>
                      <a:pt x="919285" y="371086"/>
                    </a:cubicBezTo>
                    <a:cubicBezTo>
                      <a:pt x="921861" y="371945"/>
                      <a:pt x="924584" y="372448"/>
                      <a:pt x="927012" y="373662"/>
                    </a:cubicBezTo>
                    <a:cubicBezTo>
                      <a:pt x="934188" y="377250"/>
                      <a:pt x="936767" y="380841"/>
                      <a:pt x="942467" y="386541"/>
                    </a:cubicBezTo>
                    <a:cubicBezTo>
                      <a:pt x="943326" y="389117"/>
                      <a:pt x="943123" y="392348"/>
                      <a:pt x="945043" y="394268"/>
                    </a:cubicBezTo>
                    <a:cubicBezTo>
                      <a:pt x="946963" y="396188"/>
                      <a:pt x="951074" y="394724"/>
                      <a:pt x="952770" y="396844"/>
                    </a:cubicBezTo>
                    <a:cubicBezTo>
                      <a:pt x="954981" y="399608"/>
                      <a:pt x="954329" y="403756"/>
                      <a:pt x="955346" y="407147"/>
                    </a:cubicBezTo>
                    <a:cubicBezTo>
                      <a:pt x="956906" y="412348"/>
                      <a:pt x="958780" y="417450"/>
                      <a:pt x="960497" y="422602"/>
                    </a:cubicBezTo>
                    <a:lnTo>
                      <a:pt x="963073" y="430329"/>
                    </a:lnTo>
                    <a:cubicBezTo>
                      <a:pt x="962214" y="432905"/>
                      <a:pt x="962193" y="435936"/>
                      <a:pt x="960497" y="438056"/>
                    </a:cubicBezTo>
                    <a:cubicBezTo>
                      <a:pt x="955039" y="444878"/>
                      <a:pt x="943802" y="441245"/>
                      <a:pt x="955346" y="456087"/>
                    </a:cubicBezTo>
                    <a:cubicBezTo>
                      <a:pt x="959147" y="460974"/>
                      <a:pt x="970800" y="466390"/>
                      <a:pt x="970800" y="466390"/>
                    </a:cubicBezTo>
                    <a:cubicBezTo>
                      <a:pt x="972517" y="469824"/>
                      <a:pt x="975244" y="472919"/>
                      <a:pt x="975952" y="476693"/>
                    </a:cubicBezTo>
                    <a:cubicBezTo>
                      <a:pt x="977857" y="486855"/>
                      <a:pt x="977446" y="497320"/>
                      <a:pt x="978528" y="507602"/>
                    </a:cubicBezTo>
                    <a:cubicBezTo>
                      <a:pt x="979164" y="513640"/>
                      <a:pt x="980245" y="519623"/>
                      <a:pt x="981103" y="525633"/>
                    </a:cubicBezTo>
                    <a:cubicBezTo>
                      <a:pt x="980245" y="529067"/>
                      <a:pt x="980492" y="532991"/>
                      <a:pt x="978528" y="535936"/>
                    </a:cubicBezTo>
                    <a:cubicBezTo>
                      <a:pt x="976811" y="538512"/>
                      <a:pt x="972989" y="538898"/>
                      <a:pt x="970800" y="541087"/>
                    </a:cubicBezTo>
                    <a:cubicBezTo>
                      <a:pt x="968611" y="543276"/>
                      <a:pt x="967366" y="546239"/>
                      <a:pt x="965649" y="548815"/>
                    </a:cubicBezTo>
                    <a:cubicBezTo>
                      <a:pt x="966508" y="553108"/>
                      <a:pt x="965797" y="558051"/>
                      <a:pt x="968225" y="561693"/>
                    </a:cubicBezTo>
                    <a:cubicBezTo>
                      <a:pt x="969731" y="563952"/>
                      <a:pt x="973457" y="563199"/>
                      <a:pt x="975952" y="564269"/>
                    </a:cubicBezTo>
                    <a:cubicBezTo>
                      <a:pt x="979481" y="565782"/>
                      <a:pt x="982821" y="567704"/>
                      <a:pt x="986255" y="569421"/>
                    </a:cubicBezTo>
                    <a:cubicBezTo>
                      <a:pt x="987972" y="571997"/>
                      <a:pt x="990969" y="574083"/>
                      <a:pt x="991407" y="577148"/>
                    </a:cubicBezTo>
                    <a:cubicBezTo>
                      <a:pt x="992386" y="583997"/>
                      <a:pt x="987030" y="590152"/>
                      <a:pt x="983679" y="595178"/>
                    </a:cubicBezTo>
                    <a:cubicBezTo>
                      <a:pt x="986255" y="596895"/>
                      <a:pt x="988638" y="598945"/>
                      <a:pt x="991407" y="600330"/>
                    </a:cubicBezTo>
                    <a:cubicBezTo>
                      <a:pt x="993835" y="601544"/>
                      <a:pt x="996875" y="601400"/>
                      <a:pt x="999134" y="602906"/>
                    </a:cubicBezTo>
                    <a:cubicBezTo>
                      <a:pt x="1005083" y="606872"/>
                      <a:pt x="1008212" y="612659"/>
                      <a:pt x="1012013" y="618360"/>
                    </a:cubicBezTo>
                    <a:lnTo>
                      <a:pt x="1019740" y="641542"/>
                    </a:lnTo>
                    <a:lnTo>
                      <a:pt x="1022316" y="649270"/>
                    </a:lnTo>
                    <a:cubicBezTo>
                      <a:pt x="1021457" y="655280"/>
                      <a:pt x="1020266" y="661252"/>
                      <a:pt x="1019740" y="667300"/>
                    </a:cubicBezTo>
                    <a:cubicBezTo>
                      <a:pt x="1018547" y="681013"/>
                      <a:pt x="1022153" y="695684"/>
                      <a:pt x="1017164" y="708513"/>
                    </a:cubicBezTo>
                    <a:cubicBezTo>
                      <a:pt x="1015196" y="713574"/>
                      <a:pt x="1001710" y="713664"/>
                      <a:pt x="1001710" y="713664"/>
                    </a:cubicBezTo>
                    <a:cubicBezTo>
                      <a:pt x="1000851" y="719674"/>
                      <a:pt x="1003427" y="727402"/>
                      <a:pt x="999134" y="731695"/>
                    </a:cubicBezTo>
                    <a:cubicBezTo>
                      <a:pt x="996038" y="734791"/>
                      <a:pt x="989351" y="732215"/>
                      <a:pt x="986255" y="729119"/>
                    </a:cubicBezTo>
                    <a:cubicBezTo>
                      <a:pt x="982415" y="725279"/>
                      <a:pt x="981103" y="713664"/>
                      <a:pt x="981103" y="713664"/>
                    </a:cubicBezTo>
                    <a:cubicBezTo>
                      <a:pt x="981962" y="711088"/>
                      <a:pt x="985257" y="708146"/>
                      <a:pt x="983679" y="705937"/>
                    </a:cubicBezTo>
                    <a:cubicBezTo>
                      <a:pt x="978144" y="698187"/>
                      <a:pt x="968758" y="695812"/>
                      <a:pt x="960497" y="693058"/>
                    </a:cubicBezTo>
                    <a:cubicBezTo>
                      <a:pt x="957921" y="693917"/>
                      <a:pt x="953628" y="693058"/>
                      <a:pt x="952770" y="695634"/>
                    </a:cubicBezTo>
                    <a:cubicBezTo>
                      <a:pt x="951386" y="699787"/>
                      <a:pt x="956634" y="703791"/>
                      <a:pt x="955346" y="708513"/>
                    </a:cubicBezTo>
                    <a:cubicBezTo>
                      <a:pt x="954058" y="713235"/>
                      <a:pt x="947190" y="723108"/>
                      <a:pt x="945043" y="723967"/>
                    </a:cubicBezTo>
                    <a:cubicBezTo>
                      <a:pt x="942896" y="724826"/>
                      <a:pt x="942467" y="713664"/>
                      <a:pt x="942467" y="713664"/>
                    </a:cubicBezTo>
                    <a:cubicBezTo>
                      <a:pt x="941608" y="717098"/>
                      <a:pt x="942157" y="721247"/>
                      <a:pt x="939891" y="723967"/>
                    </a:cubicBezTo>
                    <a:cubicBezTo>
                      <a:pt x="936346" y="728221"/>
                      <a:pt x="924163" y="730475"/>
                      <a:pt x="919285" y="731695"/>
                    </a:cubicBezTo>
                    <a:cubicBezTo>
                      <a:pt x="916709" y="733412"/>
                      <a:pt x="914387" y="735589"/>
                      <a:pt x="911558" y="736846"/>
                    </a:cubicBezTo>
                    <a:cubicBezTo>
                      <a:pt x="906596" y="739051"/>
                      <a:pt x="896103" y="741998"/>
                      <a:pt x="896103" y="741998"/>
                    </a:cubicBezTo>
                    <a:cubicBezTo>
                      <a:pt x="893527" y="744574"/>
                      <a:pt x="891560" y="747956"/>
                      <a:pt x="888376" y="749725"/>
                    </a:cubicBezTo>
                    <a:cubicBezTo>
                      <a:pt x="883629" y="752362"/>
                      <a:pt x="872921" y="754877"/>
                      <a:pt x="872921" y="754877"/>
                    </a:cubicBezTo>
                    <a:cubicBezTo>
                      <a:pt x="870345" y="754018"/>
                      <a:pt x="867770" y="751443"/>
                      <a:pt x="865194" y="752301"/>
                    </a:cubicBezTo>
                    <a:cubicBezTo>
                      <a:pt x="861738" y="753453"/>
                      <a:pt x="860264" y="757696"/>
                      <a:pt x="857466" y="760028"/>
                    </a:cubicBezTo>
                    <a:cubicBezTo>
                      <a:pt x="855088" y="762010"/>
                      <a:pt x="852568" y="763923"/>
                      <a:pt x="849739" y="765180"/>
                    </a:cubicBezTo>
                    <a:cubicBezTo>
                      <a:pt x="844777" y="767385"/>
                      <a:pt x="834284" y="770331"/>
                      <a:pt x="834284" y="770331"/>
                    </a:cubicBezTo>
                    <a:cubicBezTo>
                      <a:pt x="829133" y="773765"/>
                      <a:pt x="822264" y="775483"/>
                      <a:pt x="818830" y="780634"/>
                    </a:cubicBezTo>
                    <a:cubicBezTo>
                      <a:pt x="806506" y="799120"/>
                      <a:pt x="812905" y="791711"/>
                      <a:pt x="800799" y="803816"/>
                    </a:cubicBezTo>
                    <a:cubicBezTo>
                      <a:pt x="791355" y="802957"/>
                      <a:pt x="781949" y="801240"/>
                      <a:pt x="772466" y="801240"/>
                    </a:cubicBezTo>
                    <a:cubicBezTo>
                      <a:pt x="769751" y="801240"/>
                      <a:pt x="767167" y="802602"/>
                      <a:pt x="764738" y="803816"/>
                    </a:cubicBezTo>
                    <a:cubicBezTo>
                      <a:pt x="755147" y="808612"/>
                      <a:pt x="757827" y="809576"/>
                      <a:pt x="749284" y="816695"/>
                    </a:cubicBezTo>
                    <a:cubicBezTo>
                      <a:pt x="742625" y="822244"/>
                      <a:pt x="741575" y="821841"/>
                      <a:pt x="733829" y="824422"/>
                    </a:cubicBezTo>
                    <a:cubicBezTo>
                      <a:pt x="730183" y="828069"/>
                      <a:pt x="725085" y="835472"/>
                      <a:pt x="718374" y="834726"/>
                    </a:cubicBezTo>
                    <a:cubicBezTo>
                      <a:pt x="712977" y="834126"/>
                      <a:pt x="702920" y="829574"/>
                      <a:pt x="702920" y="829574"/>
                    </a:cubicBezTo>
                    <a:cubicBezTo>
                      <a:pt x="685772" y="835291"/>
                      <a:pt x="700465" y="828856"/>
                      <a:pt x="705496" y="834726"/>
                    </a:cubicBezTo>
                    <a:cubicBezTo>
                      <a:pt x="709030" y="838849"/>
                      <a:pt x="710647" y="850180"/>
                      <a:pt x="710647" y="850180"/>
                    </a:cubicBezTo>
                    <a:cubicBezTo>
                      <a:pt x="711506" y="857907"/>
                      <a:pt x="710336" y="866143"/>
                      <a:pt x="713223" y="873362"/>
                    </a:cubicBezTo>
                    <a:cubicBezTo>
                      <a:pt x="714231" y="875883"/>
                      <a:pt x="718279" y="875452"/>
                      <a:pt x="720950" y="875938"/>
                    </a:cubicBezTo>
                    <a:cubicBezTo>
                      <a:pt x="727760" y="877176"/>
                      <a:pt x="734687" y="877655"/>
                      <a:pt x="741556" y="878514"/>
                    </a:cubicBezTo>
                    <a:cubicBezTo>
                      <a:pt x="744132" y="881090"/>
                      <a:pt x="747263" y="883210"/>
                      <a:pt x="749284" y="886241"/>
                    </a:cubicBezTo>
                    <a:cubicBezTo>
                      <a:pt x="750790" y="888500"/>
                      <a:pt x="750646" y="891540"/>
                      <a:pt x="751860" y="893968"/>
                    </a:cubicBezTo>
                    <a:cubicBezTo>
                      <a:pt x="753244" y="896737"/>
                      <a:pt x="755294" y="899120"/>
                      <a:pt x="757011" y="901696"/>
                    </a:cubicBezTo>
                    <a:cubicBezTo>
                      <a:pt x="756152" y="905130"/>
                      <a:pt x="756191" y="908925"/>
                      <a:pt x="754435" y="911999"/>
                    </a:cubicBezTo>
                    <a:cubicBezTo>
                      <a:pt x="752628" y="915162"/>
                      <a:pt x="749040" y="916928"/>
                      <a:pt x="746708" y="919726"/>
                    </a:cubicBezTo>
                    <a:cubicBezTo>
                      <a:pt x="744726" y="922104"/>
                      <a:pt x="743273" y="924877"/>
                      <a:pt x="741556" y="927453"/>
                    </a:cubicBezTo>
                    <a:cubicBezTo>
                      <a:pt x="740698" y="930029"/>
                      <a:pt x="738981" y="932466"/>
                      <a:pt x="738981" y="935181"/>
                    </a:cubicBezTo>
                    <a:cubicBezTo>
                      <a:pt x="738981" y="954252"/>
                      <a:pt x="740322" y="960117"/>
                      <a:pt x="757011" y="971242"/>
                    </a:cubicBezTo>
                    <a:lnTo>
                      <a:pt x="772466" y="981545"/>
                    </a:lnTo>
                    <a:cubicBezTo>
                      <a:pt x="778596" y="999936"/>
                      <a:pt x="774605" y="992481"/>
                      <a:pt x="782769" y="1004727"/>
                    </a:cubicBezTo>
                    <a:cubicBezTo>
                      <a:pt x="791342" y="1002584"/>
                      <a:pt x="796993" y="999608"/>
                      <a:pt x="805951" y="1004727"/>
                    </a:cubicBezTo>
                    <a:cubicBezTo>
                      <a:pt x="808639" y="1006263"/>
                      <a:pt x="809120" y="1010076"/>
                      <a:pt x="811102" y="1012454"/>
                    </a:cubicBezTo>
                    <a:cubicBezTo>
                      <a:pt x="813434" y="1015252"/>
                      <a:pt x="816594" y="1017306"/>
                      <a:pt x="818830" y="1020181"/>
                    </a:cubicBezTo>
                    <a:cubicBezTo>
                      <a:pt x="822631" y="1025068"/>
                      <a:pt x="824755" y="1031258"/>
                      <a:pt x="829133" y="1035636"/>
                    </a:cubicBezTo>
                    <a:cubicBezTo>
                      <a:pt x="831709" y="1038212"/>
                      <a:pt x="834528" y="1040565"/>
                      <a:pt x="836860" y="1043363"/>
                    </a:cubicBezTo>
                    <a:cubicBezTo>
                      <a:pt x="838842" y="1045741"/>
                      <a:pt x="839823" y="1048902"/>
                      <a:pt x="842012" y="1051091"/>
                    </a:cubicBezTo>
                    <a:cubicBezTo>
                      <a:pt x="844201" y="1053280"/>
                      <a:pt x="847361" y="1054260"/>
                      <a:pt x="849739" y="1056242"/>
                    </a:cubicBezTo>
                    <a:cubicBezTo>
                      <a:pt x="862602" y="1066961"/>
                      <a:pt x="851613" y="1062018"/>
                      <a:pt x="865194" y="1066545"/>
                    </a:cubicBezTo>
                    <a:cubicBezTo>
                      <a:pt x="867770" y="1068262"/>
                      <a:pt x="870092" y="1070440"/>
                      <a:pt x="872921" y="1071697"/>
                    </a:cubicBezTo>
                    <a:cubicBezTo>
                      <a:pt x="877883" y="1073902"/>
                      <a:pt x="888376" y="1076848"/>
                      <a:pt x="888376" y="1076848"/>
                    </a:cubicBezTo>
                    <a:cubicBezTo>
                      <a:pt x="890952" y="1079424"/>
                      <a:pt x="893771" y="1081777"/>
                      <a:pt x="896103" y="1084576"/>
                    </a:cubicBezTo>
                    <a:cubicBezTo>
                      <a:pt x="898085" y="1086954"/>
                      <a:pt x="899065" y="1090114"/>
                      <a:pt x="901254" y="1092303"/>
                    </a:cubicBezTo>
                    <a:cubicBezTo>
                      <a:pt x="903443" y="1094492"/>
                      <a:pt x="906406" y="1095738"/>
                      <a:pt x="908982" y="1097455"/>
                    </a:cubicBezTo>
                    <a:cubicBezTo>
                      <a:pt x="910699" y="1100031"/>
                      <a:pt x="913695" y="1102118"/>
                      <a:pt x="914133" y="1105182"/>
                    </a:cubicBezTo>
                    <a:cubicBezTo>
                      <a:pt x="914457" y="1107449"/>
                      <a:pt x="909949" y="1120310"/>
                      <a:pt x="908982" y="1123212"/>
                    </a:cubicBezTo>
                    <a:cubicBezTo>
                      <a:pt x="908123" y="1129222"/>
                      <a:pt x="909121" y="1135813"/>
                      <a:pt x="906406" y="1141243"/>
                    </a:cubicBezTo>
                    <a:cubicBezTo>
                      <a:pt x="903533" y="1146990"/>
                      <a:pt x="890605" y="1141800"/>
                      <a:pt x="888376" y="1141243"/>
                    </a:cubicBezTo>
                    <a:cubicBezTo>
                      <a:pt x="881197" y="1136457"/>
                      <a:pt x="877757" y="1131533"/>
                      <a:pt x="867769" y="1138667"/>
                    </a:cubicBezTo>
                    <a:cubicBezTo>
                      <a:pt x="864645" y="1140899"/>
                      <a:pt x="864335" y="1145536"/>
                      <a:pt x="862618" y="1148970"/>
                    </a:cubicBezTo>
                    <a:cubicBezTo>
                      <a:pt x="863477" y="1151546"/>
                      <a:pt x="865194" y="1153982"/>
                      <a:pt x="865194" y="1156697"/>
                    </a:cubicBezTo>
                    <a:cubicBezTo>
                      <a:pt x="865194" y="1164069"/>
                      <a:pt x="862795" y="1171975"/>
                      <a:pt x="857466" y="1177304"/>
                    </a:cubicBezTo>
                    <a:cubicBezTo>
                      <a:pt x="855277" y="1179493"/>
                      <a:pt x="852508" y="1181071"/>
                      <a:pt x="849739" y="1182455"/>
                    </a:cubicBezTo>
                    <a:cubicBezTo>
                      <a:pt x="847311" y="1183669"/>
                      <a:pt x="844440" y="1183817"/>
                      <a:pt x="842012" y="1185031"/>
                    </a:cubicBezTo>
                    <a:cubicBezTo>
                      <a:pt x="839243" y="1186415"/>
                      <a:pt x="837113" y="1188925"/>
                      <a:pt x="834284" y="1190182"/>
                    </a:cubicBezTo>
                    <a:cubicBezTo>
                      <a:pt x="829322" y="1192387"/>
                      <a:pt x="823981" y="1193617"/>
                      <a:pt x="818830" y="1195334"/>
                    </a:cubicBezTo>
                    <a:cubicBezTo>
                      <a:pt x="816254" y="1196193"/>
                      <a:pt x="813361" y="1196404"/>
                      <a:pt x="811102" y="1197910"/>
                    </a:cubicBezTo>
                    <a:lnTo>
                      <a:pt x="803375" y="1203061"/>
                    </a:lnTo>
                    <a:cubicBezTo>
                      <a:pt x="801012" y="1206606"/>
                      <a:pt x="793508" y="1217169"/>
                      <a:pt x="793072" y="1221092"/>
                    </a:cubicBezTo>
                    <a:cubicBezTo>
                      <a:pt x="792589" y="1225443"/>
                      <a:pt x="794111" y="1229872"/>
                      <a:pt x="795648" y="1233971"/>
                    </a:cubicBezTo>
                    <a:cubicBezTo>
                      <a:pt x="796735" y="1236869"/>
                      <a:pt x="799542" y="1238869"/>
                      <a:pt x="800799" y="1241698"/>
                    </a:cubicBezTo>
                    <a:cubicBezTo>
                      <a:pt x="803004" y="1246660"/>
                      <a:pt x="802939" y="1252635"/>
                      <a:pt x="805951" y="1257153"/>
                    </a:cubicBezTo>
                    <a:lnTo>
                      <a:pt x="816254" y="1272607"/>
                    </a:lnTo>
                    <a:cubicBezTo>
                      <a:pt x="815395" y="1276900"/>
                      <a:pt x="814740" y="1281239"/>
                      <a:pt x="813678" y="1285486"/>
                    </a:cubicBezTo>
                    <a:cubicBezTo>
                      <a:pt x="813019" y="1288120"/>
                      <a:pt x="810094" y="1290692"/>
                      <a:pt x="811102" y="1293213"/>
                    </a:cubicBezTo>
                    <a:cubicBezTo>
                      <a:pt x="812252" y="1296088"/>
                      <a:pt x="816061" y="1296980"/>
                      <a:pt x="818830" y="1298365"/>
                    </a:cubicBezTo>
                    <a:cubicBezTo>
                      <a:pt x="822526" y="1300213"/>
                      <a:pt x="833558" y="1302691"/>
                      <a:pt x="836860" y="1303517"/>
                    </a:cubicBezTo>
                    <a:lnTo>
                      <a:pt x="829133" y="1326698"/>
                    </a:lnTo>
                    <a:cubicBezTo>
                      <a:pt x="828274" y="1329274"/>
                      <a:pt x="829133" y="1333567"/>
                      <a:pt x="826557" y="1334426"/>
                    </a:cubicBezTo>
                    <a:lnTo>
                      <a:pt x="818830" y="1337002"/>
                    </a:lnTo>
                    <a:cubicBezTo>
                      <a:pt x="812544" y="1334907"/>
                      <a:pt x="808369" y="1334268"/>
                      <a:pt x="803375" y="1329274"/>
                    </a:cubicBezTo>
                    <a:cubicBezTo>
                      <a:pt x="801186" y="1327085"/>
                      <a:pt x="799940" y="1324123"/>
                      <a:pt x="798223" y="1321547"/>
                    </a:cubicBezTo>
                    <a:cubicBezTo>
                      <a:pt x="796526" y="1316456"/>
                      <a:pt x="795036" y="1309724"/>
                      <a:pt x="790496" y="1306092"/>
                    </a:cubicBezTo>
                    <a:cubicBezTo>
                      <a:pt x="788376" y="1304396"/>
                      <a:pt x="785345" y="1304375"/>
                      <a:pt x="782769" y="1303517"/>
                    </a:cubicBezTo>
                    <a:cubicBezTo>
                      <a:pt x="778862" y="1306122"/>
                      <a:pt x="772646" y="1311244"/>
                      <a:pt x="767314" y="1311244"/>
                    </a:cubicBezTo>
                    <a:cubicBezTo>
                      <a:pt x="763774" y="1311244"/>
                      <a:pt x="760445" y="1309527"/>
                      <a:pt x="757011" y="1308668"/>
                    </a:cubicBezTo>
                    <a:cubicBezTo>
                      <a:pt x="754435" y="1306951"/>
                      <a:pt x="752348" y="1303955"/>
                      <a:pt x="749284" y="1303517"/>
                    </a:cubicBezTo>
                    <a:cubicBezTo>
                      <a:pt x="747018" y="1303193"/>
                      <a:pt x="734154" y="1307701"/>
                      <a:pt x="731253" y="1308668"/>
                    </a:cubicBezTo>
                    <a:cubicBezTo>
                      <a:pt x="728677" y="1310385"/>
                      <a:pt x="726562" y="1314427"/>
                      <a:pt x="723526" y="1313820"/>
                    </a:cubicBezTo>
                    <a:cubicBezTo>
                      <a:pt x="720490" y="1313213"/>
                      <a:pt x="720563" y="1308281"/>
                      <a:pt x="718374" y="1306092"/>
                    </a:cubicBezTo>
                    <a:cubicBezTo>
                      <a:pt x="716185" y="1303903"/>
                      <a:pt x="713223" y="1302658"/>
                      <a:pt x="710647" y="1300941"/>
                    </a:cubicBezTo>
                    <a:cubicBezTo>
                      <a:pt x="703737" y="1302323"/>
                      <a:pt x="687915" y="1304934"/>
                      <a:pt x="682314" y="1308668"/>
                    </a:cubicBezTo>
                    <a:cubicBezTo>
                      <a:pt x="676125" y="1312794"/>
                      <a:pt x="674192" y="1315062"/>
                      <a:pt x="666859" y="1316395"/>
                    </a:cubicBezTo>
                    <a:cubicBezTo>
                      <a:pt x="660049" y="1317633"/>
                      <a:pt x="653122" y="1318112"/>
                      <a:pt x="646253" y="1318971"/>
                    </a:cubicBezTo>
                    <a:cubicBezTo>
                      <a:pt x="641101" y="1322405"/>
                      <a:pt x="636672" y="1327316"/>
                      <a:pt x="630798" y="1329274"/>
                    </a:cubicBezTo>
                    <a:cubicBezTo>
                      <a:pt x="617198" y="1333808"/>
                      <a:pt x="625328" y="1330345"/>
                      <a:pt x="607616" y="1342153"/>
                    </a:cubicBezTo>
                    <a:cubicBezTo>
                      <a:pt x="605040" y="1343870"/>
                      <a:pt x="602826" y="1346326"/>
                      <a:pt x="599889" y="1347305"/>
                    </a:cubicBezTo>
                    <a:lnTo>
                      <a:pt x="584434" y="1352456"/>
                    </a:lnTo>
                    <a:cubicBezTo>
                      <a:pt x="581000" y="1351597"/>
                      <a:pt x="577076" y="1351844"/>
                      <a:pt x="574131" y="1349880"/>
                    </a:cubicBezTo>
                    <a:cubicBezTo>
                      <a:pt x="569852" y="1347027"/>
                      <a:pt x="567873" y="1338833"/>
                      <a:pt x="566404" y="1334426"/>
                    </a:cubicBezTo>
                    <a:cubicBezTo>
                      <a:pt x="563828" y="1335285"/>
                      <a:pt x="561375" y="1337302"/>
                      <a:pt x="558676" y="1337002"/>
                    </a:cubicBezTo>
                    <a:cubicBezTo>
                      <a:pt x="553279" y="1336402"/>
                      <a:pt x="543222" y="1331850"/>
                      <a:pt x="543222" y="1331850"/>
                    </a:cubicBezTo>
                    <a:cubicBezTo>
                      <a:pt x="534636" y="1332709"/>
                      <a:pt x="524644" y="1329640"/>
                      <a:pt x="517464" y="1334426"/>
                    </a:cubicBezTo>
                    <a:cubicBezTo>
                      <a:pt x="513821" y="1336855"/>
                      <a:pt x="520040" y="1342927"/>
                      <a:pt x="520040" y="1347305"/>
                    </a:cubicBezTo>
                    <a:cubicBezTo>
                      <a:pt x="520040" y="1350845"/>
                      <a:pt x="519675" y="1354844"/>
                      <a:pt x="517464" y="1357608"/>
                    </a:cubicBezTo>
                    <a:cubicBezTo>
                      <a:pt x="515768" y="1359728"/>
                      <a:pt x="512165" y="1358970"/>
                      <a:pt x="509737" y="1360184"/>
                    </a:cubicBezTo>
                    <a:cubicBezTo>
                      <a:pt x="506968" y="1361568"/>
                      <a:pt x="504585" y="1363618"/>
                      <a:pt x="502009" y="1365335"/>
                    </a:cubicBezTo>
                    <a:cubicBezTo>
                      <a:pt x="495739" y="1384148"/>
                      <a:pt x="502126" y="1382107"/>
                      <a:pt x="486555" y="1378214"/>
                    </a:cubicBezTo>
                    <a:cubicBezTo>
                      <a:pt x="477158" y="1350026"/>
                      <a:pt x="492147" y="1392729"/>
                      <a:pt x="478827" y="1362759"/>
                    </a:cubicBezTo>
                    <a:cubicBezTo>
                      <a:pt x="476622" y="1357797"/>
                      <a:pt x="478533" y="1349734"/>
                      <a:pt x="473676" y="1347305"/>
                    </a:cubicBezTo>
                    <a:cubicBezTo>
                      <a:pt x="470242" y="1345588"/>
                      <a:pt x="466666" y="1344129"/>
                      <a:pt x="463373" y="1342153"/>
                    </a:cubicBezTo>
                    <a:cubicBezTo>
                      <a:pt x="441232" y="1328868"/>
                      <a:pt x="455733" y="1334455"/>
                      <a:pt x="440191" y="1329274"/>
                    </a:cubicBezTo>
                    <a:cubicBezTo>
                      <a:pt x="432464" y="1330133"/>
                      <a:pt x="424385" y="1329391"/>
                      <a:pt x="417009" y="1331850"/>
                    </a:cubicBezTo>
                    <a:cubicBezTo>
                      <a:pt x="395085" y="1339158"/>
                      <a:pt x="424181" y="1343300"/>
                      <a:pt x="398978" y="1337002"/>
                    </a:cubicBezTo>
                    <a:cubicBezTo>
                      <a:pt x="398120" y="1332709"/>
                      <a:pt x="398575" y="1327924"/>
                      <a:pt x="396403" y="1324123"/>
                    </a:cubicBezTo>
                    <a:cubicBezTo>
                      <a:pt x="394867" y="1321435"/>
                      <a:pt x="391444" y="1320356"/>
                      <a:pt x="388675" y="1318971"/>
                    </a:cubicBezTo>
                    <a:cubicBezTo>
                      <a:pt x="380732" y="1314999"/>
                      <a:pt x="367449" y="1314708"/>
                      <a:pt x="360342" y="1313820"/>
                    </a:cubicBezTo>
                    <a:lnTo>
                      <a:pt x="344887" y="1308668"/>
                    </a:lnTo>
                    <a:cubicBezTo>
                      <a:pt x="342311" y="1307809"/>
                      <a:pt x="339854" y="1306429"/>
                      <a:pt x="337160" y="1306092"/>
                    </a:cubicBezTo>
                    <a:lnTo>
                      <a:pt x="316554" y="1303517"/>
                    </a:lnTo>
                    <a:cubicBezTo>
                      <a:pt x="313978" y="1302658"/>
                      <a:pt x="310946" y="1302637"/>
                      <a:pt x="308826" y="1300941"/>
                    </a:cubicBezTo>
                    <a:cubicBezTo>
                      <a:pt x="306409" y="1299007"/>
                      <a:pt x="305864" y="1295402"/>
                      <a:pt x="303675" y="1293213"/>
                    </a:cubicBezTo>
                    <a:cubicBezTo>
                      <a:pt x="301486" y="1291024"/>
                      <a:pt x="298523" y="1289779"/>
                      <a:pt x="295947" y="1288062"/>
                    </a:cubicBezTo>
                    <a:cubicBezTo>
                      <a:pt x="291654" y="1288921"/>
                      <a:pt x="287316" y="1289576"/>
                      <a:pt x="283069" y="1290638"/>
                    </a:cubicBezTo>
                    <a:cubicBezTo>
                      <a:pt x="280435" y="1291296"/>
                      <a:pt x="276000" y="1290579"/>
                      <a:pt x="275341" y="1293213"/>
                    </a:cubicBezTo>
                    <a:cubicBezTo>
                      <a:pt x="274590" y="1296217"/>
                      <a:pt x="278076" y="1299007"/>
                      <a:pt x="280493" y="1300941"/>
                    </a:cubicBezTo>
                    <a:cubicBezTo>
                      <a:pt x="282613" y="1302637"/>
                      <a:pt x="285792" y="1302303"/>
                      <a:pt x="288220" y="1303517"/>
                    </a:cubicBezTo>
                    <a:cubicBezTo>
                      <a:pt x="290989" y="1304901"/>
                      <a:pt x="293371" y="1306951"/>
                      <a:pt x="295947" y="1308668"/>
                    </a:cubicBezTo>
                    <a:cubicBezTo>
                      <a:pt x="279896" y="1324719"/>
                      <a:pt x="294727" y="1313820"/>
                      <a:pt x="257311" y="1313820"/>
                    </a:cubicBezTo>
                    <a:cubicBezTo>
                      <a:pt x="249536" y="1313820"/>
                      <a:pt x="241856" y="1315537"/>
                      <a:pt x="234129" y="1316395"/>
                    </a:cubicBezTo>
                    <a:cubicBezTo>
                      <a:pt x="231553" y="1317254"/>
                      <a:pt x="232841" y="1318971"/>
                      <a:pt x="226402" y="1318971"/>
                    </a:cubicBezTo>
                    <a:cubicBezTo>
                      <a:pt x="219963" y="1318971"/>
                      <a:pt x="204936" y="1315536"/>
                      <a:pt x="195492" y="1316395"/>
                    </a:cubicBezTo>
                    <a:cubicBezTo>
                      <a:pt x="186048" y="1317254"/>
                      <a:pt x="174886" y="1325840"/>
                      <a:pt x="169735" y="1324123"/>
                    </a:cubicBezTo>
                    <a:cubicBezTo>
                      <a:pt x="164584" y="1322406"/>
                      <a:pt x="162007" y="1307809"/>
                      <a:pt x="164583" y="1306092"/>
                    </a:cubicBezTo>
                    <a:cubicBezTo>
                      <a:pt x="163724" y="1303516"/>
                      <a:pt x="162666" y="1300999"/>
                      <a:pt x="162007" y="1298365"/>
                    </a:cubicBezTo>
                    <a:cubicBezTo>
                      <a:pt x="155786" y="1273485"/>
                      <a:pt x="162745" y="1295431"/>
                      <a:pt x="156856" y="1277759"/>
                    </a:cubicBezTo>
                    <a:cubicBezTo>
                      <a:pt x="157714" y="1271749"/>
                      <a:pt x="157176" y="1265365"/>
                      <a:pt x="159431" y="1259728"/>
                    </a:cubicBezTo>
                    <a:cubicBezTo>
                      <a:pt x="160784" y="1256346"/>
                      <a:pt x="165138" y="1255032"/>
                      <a:pt x="167159" y="1252001"/>
                    </a:cubicBezTo>
                    <a:cubicBezTo>
                      <a:pt x="168665" y="1249742"/>
                      <a:pt x="168876" y="1246850"/>
                      <a:pt x="169734" y="1244274"/>
                    </a:cubicBezTo>
                    <a:cubicBezTo>
                      <a:pt x="170593" y="1232254"/>
                      <a:pt x="170902" y="1220181"/>
                      <a:pt x="172310" y="1208213"/>
                    </a:cubicBezTo>
                    <a:cubicBezTo>
                      <a:pt x="172627" y="1205517"/>
                      <a:pt x="173190" y="1202606"/>
                      <a:pt x="174886" y="1200486"/>
                    </a:cubicBezTo>
                    <a:cubicBezTo>
                      <a:pt x="176820" y="1198069"/>
                      <a:pt x="180037" y="1197051"/>
                      <a:pt x="182613" y="1195334"/>
                    </a:cubicBezTo>
                    <a:cubicBezTo>
                      <a:pt x="183472" y="1191900"/>
                      <a:pt x="184775" y="1188547"/>
                      <a:pt x="185189" y="1185031"/>
                    </a:cubicBezTo>
                    <a:cubicBezTo>
                      <a:pt x="188080" y="1160462"/>
                      <a:pt x="181644" y="1152515"/>
                      <a:pt x="198068" y="1136091"/>
                    </a:cubicBezTo>
                    <a:cubicBezTo>
                      <a:pt x="200644" y="1133515"/>
                      <a:pt x="202920" y="1130600"/>
                      <a:pt x="205795" y="1128364"/>
                    </a:cubicBezTo>
                    <a:cubicBezTo>
                      <a:pt x="210682" y="1124563"/>
                      <a:pt x="221250" y="1118061"/>
                      <a:pt x="221250" y="1118061"/>
                    </a:cubicBezTo>
                    <a:lnTo>
                      <a:pt x="231553" y="1102606"/>
                    </a:lnTo>
                    <a:lnTo>
                      <a:pt x="236705" y="1094879"/>
                    </a:lnTo>
                    <a:cubicBezTo>
                      <a:pt x="242594" y="1077205"/>
                      <a:pt x="235635" y="1099154"/>
                      <a:pt x="241856" y="1074273"/>
                    </a:cubicBezTo>
                    <a:cubicBezTo>
                      <a:pt x="242515" y="1071639"/>
                      <a:pt x="243573" y="1069121"/>
                      <a:pt x="244432" y="1066545"/>
                    </a:cubicBezTo>
                    <a:cubicBezTo>
                      <a:pt x="241856" y="1065686"/>
                      <a:pt x="239383" y="1063523"/>
                      <a:pt x="236705" y="1063969"/>
                    </a:cubicBezTo>
                    <a:cubicBezTo>
                      <a:pt x="233651" y="1064478"/>
                      <a:pt x="231746" y="1067736"/>
                      <a:pt x="228977" y="1069121"/>
                    </a:cubicBezTo>
                    <a:cubicBezTo>
                      <a:pt x="226549" y="1070335"/>
                      <a:pt x="223826" y="1070838"/>
                      <a:pt x="221250" y="1071697"/>
                    </a:cubicBezTo>
                    <a:cubicBezTo>
                      <a:pt x="205674" y="1067802"/>
                      <a:pt x="214313" y="1070243"/>
                      <a:pt x="195492" y="1063969"/>
                    </a:cubicBezTo>
                    <a:cubicBezTo>
                      <a:pt x="192916" y="1063110"/>
                      <a:pt x="190193" y="1062608"/>
                      <a:pt x="187765" y="1061394"/>
                    </a:cubicBezTo>
                    <a:lnTo>
                      <a:pt x="177462" y="1056242"/>
                    </a:lnTo>
                    <a:cubicBezTo>
                      <a:pt x="175745" y="1053666"/>
                      <a:pt x="174367" y="1050829"/>
                      <a:pt x="172310" y="1048515"/>
                    </a:cubicBezTo>
                    <a:cubicBezTo>
                      <a:pt x="167470" y="1043070"/>
                      <a:pt x="156856" y="1033060"/>
                      <a:pt x="156856" y="1033060"/>
                    </a:cubicBezTo>
                    <a:cubicBezTo>
                      <a:pt x="152214" y="1037702"/>
                      <a:pt x="147677" y="1043249"/>
                      <a:pt x="141401" y="1045939"/>
                    </a:cubicBezTo>
                    <a:cubicBezTo>
                      <a:pt x="138147" y="1047333"/>
                      <a:pt x="134532" y="1047656"/>
                      <a:pt x="131098" y="1048515"/>
                    </a:cubicBezTo>
                    <a:cubicBezTo>
                      <a:pt x="122186" y="1045544"/>
                      <a:pt x="122879" y="1047532"/>
                      <a:pt x="118219" y="1038212"/>
                    </a:cubicBezTo>
                    <a:cubicBezTo>
                      <a:pt x="117005" y="1035783"/>
                      <a:pt x="117563" y="1032404"/>
                      <a:pt x="115643" y="1030484"/>
                    </a:cubicBezTo>
                    <a:cubicBezTo>
                      <a:pt x="113723" y="1028564"/>
                      <a:pt x="110492" y="1028767"/>
                      <a:pt x="107916" y="1027909"/>
                    </a:cubicBezTo>
                    <a:cubicBezTo>
                      <a:pt x="103623" y="1028767"/>
                      <a:pt x="99397" y="1030880"/>
                      <a:pt x="95037" y="1030484"/>
                    </a:cubicBezTo>
                    <a:cubicBezTo>
                      <a:pt x="89629" y="1029992"/>
                      <a:pt x="79582" y="1025333"/>
                      <a:pt x="79582" y="1025333"/>
                    </a:cubicBezTo>
                    <a:cubicBezTo>
                      <a:pt x="77006" y="1026192"/>
                      <a:pt x="73361" y="1030168"/>
                      <a:pt x="71855" y="1027909"/>
                    </a:cubicBezTo>
                    <a:cubicBezTo>
                      <a:pt x="68487" y="1022857"/>
                      <a:pt x="71534" y="1015515"/>
                      <a:pt x="69279" y="1009878"/>
                    </a:cubicBezTo>
                    <a:cubicBezTo>
                      <a:pt x="67926" y="1006496"/>
                      <a:pt x="63884" y="1004949"/>
                      <a:pt x="61552" y="1002151"/>
                    </a:cubicBezTo>
                    <a:cubicBezTo>
                      <a:pt x="59570" y="999773"/>
                      <a:pt x="58382" y="996802"/>
                      <a:pt x="56400" y="994424"/>
                    </a:cubicBezTo>
                    <a:cubicBezTo>
                      <a:pt x="51555" y="988609"/>
                      <a:pt x="47395" y="985230"/>
                      <a:pt x="40946" y="981545"/>
                    </a:cubicBezTo>
                    <a:cubicBezTo>
                      <a:pt x="37612" y="979640"/>
                      <a:pt x="34077" y="978110"/>
                      <a:pt x="30643" y="976393"/>
                    </a:cubicBezTo>
                    <a:cubicBezTo>
                      <a:pt x="26620" y="964326"/>
                      <a:pt x="25837" y="965682"/>
                      <a:pt x="30643" y="948060"/>
                    </a:cubicBezTo>
                    <a:cubicBezTo>
                      <a:pt x="31458" y="945073"/>
                      <a:pt x="34077" y="942908"/>
                      <a:pt x="35794" y="940332"/>
                    </a:cubicBezTo>
                    <a:cubicBezTo>
                      <a:pt x="29906" y="922669"/>
                      <a:pt x="36859" y="944592"/>
                      <a:pt x="30643" y="919726"/>
                    </a:cubicBezTo>
                    <a:cubicBezTo>
                      <a:pt x="29985" y="917092"/>
                      <a:pt x="29987" y="913919"/>
                      <a:pt x="28067" y="911999"/>
                    </a:cubicBezTo>
                    <a:cubicBezTo>
                      <a:pt x="25352" y="909284"/>
                      <a:pt x="21198" y="908564"/>
                      <a:pt x="17764" y="906847"/>
                    </a:cubicBezTo>
                    <a:cubicBezTo>
                      <a:pt x="10669" y="885564"/>
                      <a:pt x="21148" y="918889"/>
                      <a:pt x="12612" y="873362"/>
                    </a:cubicBezTo>
                    <a:cubicBezTo>
                      <a:pt x="11611" y="868025"/>
                      <a:pt x="7461" y="857908"/>
                      <a:pt x="7461" y="857908"/>
                    </a:cubicBezTo>
                    <a:cubicBezTo>
                      <a:pt x="13143" y="829491"/>
                      <a:pt x="4626" y="856299"/>
                      <a:pt x="17764" y="839877"/>
                    </a:cubicBezTo>
                    <a:cubicBezTo>
                      <a:pt x="19460" y="837757"/>
                      <a:pt x="18644" y="834270"/>
                      <a:pt x="20340" y="832150"/>
                    </a:cubicBezTo>
                    <a:cubicBezTo>
                      <a:pt x="25261" y="825999"/>
                      <a:pt x="29572" y="827533"/>
                      <a:pt x="35794" y="824422"/>
                    </a:cubicBezTo>
                    <a:cubicBezTo>
                      <a:pt x="38563" y="823038"/>
                      <a:pt x="40946" y="820988"/>
                      <a:pt x="43522" y="819271"/>
                    </a:cubicBezTo>
                    <a:cubicBezTo>
                      <a:pt x="42082" y="813511"/>
                      <a:pt x="38303" y="797276"/>
                      <a:pt x="35794" y="793513"/>
                    </a:cubicBezTo>
                    <a:cubicBezTo>
                      <a:pt x="34077" y="790937"/>
                      <a:pt x="31900" y="788615"/>
                      <a:pt x="30643" y="785786"/>
                    </a:cubicBezTo>
                    <a:cubicBezTo>
                      <a:pt x="28438" y="780824"/>
                      <a:pt x="27208" y="775483"/>
                      <a:pt x="25491" y="770331"/>
                    </a:cubicBezTo>
                    <a:lnTo>
                      <a:pt x="22915" y="762604"/>
                    </a:lnTo>
                    <a:cubicBezTo>
                      <a:pt x="22057" y="760028"/>
                      <a:pt x="21846" y="757136"/>
                      <a:pt x="20340" y="754877"/>
                    </a:cubicBezTo>
                    <a:lnTo>
                      <a:pt x="15188" y="747149"/>
                    </a:lnTo>
                    <a:cubicBezTo>
                      <a:pt x="14329" y="743715"/>
                      <a:pt x="13629" y="740237"/>
                      <a:pt x="12612" y="736846"/>
                    </a:cubicBezTo>
                    <a:cubicBezTo>
                      <a:pt x="11052" y="731645"/>
                      <a:pt x="9445" y="729183"/>
                      <a:pt x="7461" y="721391"/>
                    </a:cubicBezTo>
                    <a:cubicBezTo>
                      <a:pt x="5477" y="713599"/>
                      <a:pt x="-2371" y="701373"/>
                      <a:pt x="706" y="690093"/>
                    </a:cubicBezTo>
                    <a:cubicBezTo>
                      <a:pt x="2135" y="684854"/>
                      <a:pt x="14062" y="677539"/>
                      <a:pt x="17764" y="669876"/>
                    </a:cubicBezTo>
                    <a:cubicBezTo>
                      <a:pt x="21466" y="662213"/>
                      <a:pt x="19841" y="652317"/>
                      <a:pt x="22915" y="644118"/>
                    </a:cubicBezTo>
                    <a:cubicBezTo>
                      <a:pt x="25089" y="638321"/>
                      <a:pt x="33218" y="628664"/>
                      <a:pt x="33218" y="628664"/>
                    </a:cubicBezTo>
                    <a:cubicBezTo>
                      <a:pt x="32360" y="621795"/>
                      <a:pt x="32464" y="614736"/>
                      <a:pt x="30643" y="608057"/>
                    </a:cubicBezTo>
                    <a:cubicBezTo>
                      <a:pt x="29829" y="605070"/>
                      <a:pt x="26876" y="603099"/>
                      <a:pt x="25491" y="600330"/>
                    </a:cubicBezTo>
                    <a:cubicBezTo>
                      <a:pt x="24277" y="597902"/>
                      <a:pt x="24129" y="595031"/>
                      <a:pt x="22915" y="592603"/>
                    </a:cubicBezTo>
                    <a:cubicBezTo>
                      <a:pt x="21531" y="589834"/>
                      <a:pt x="19021" y="587704"/>
                      <a:pt x="17764" y="584875"/>
                    </a:cubicBezTo>
                    <a:cubicBezTo>
                      <a:pt x="15559" y="579913"/>
                      <a:pt x="14329" y="574572"/>
                      <a:pt x="12612" y="569421"/>
                    </a:cubicBezTo>
                    <a:cubicBezTo>
                      <a:pt x="11753" y="566845"/>
                      <a:pt x="11542" y="563952"/>
                      <a:pt x="10036" y="561693"/>
                    </a:cubicBezTo>
                    <a:lnTo>
                      <a:pt x="4885" y="553966"/>
                    </a:lnTo>
                    <a:cubicBezTo>
                      <a:pt x="5744" y="551390"/>
                      <a:pt x="5765" y="548359"/>
                      <a:pt x="7461" y="546239"/>
                    </a:cubicBezTo>
                    <a:cubicBezTo>
                      <a:pt x="9395" y="543822"/>
                      <a:pt x="12419" y="542472"/>
                      <a:pt x="15188" y="541087"/>
                    </a:cubicBezTo>
                    <a:cubicBezTo>
                      <a:pt x="20470" y="538446"/>
                      <a:pt x="30892" y="536916"/>
                      <a:pt x="35794" y="535936"/>
                    </a:cubicBezTo>
                    <a:cubicBezTo>
                      <a:pt x="43521" y="536794"/>
                      <a:pt x="51201" y="538511"/>
                      <a:pt x="58976" y="538511"/>
                    </a:cubicBezTo>
                    <a:cubicBezTo>
                      <a:pt x="65047" y="538511"/>
                      <a:pt x="70973" y="536606"/>
                      <a:pt x="77007" y="535936"/>
                    </a:cubicBezTo>
                    <a:cubicBezTo>
                      <a:pt x="86432" y="534889"/>
                      <a:pt x="95896" y="534219"/>
                      <a:pt x="105340" y="533360"/>
                    </a:cubicBezTo>
                    <a:cubicBezTo>
                      <a:pt x="109634" y="520481"/>
                      <a:pt x="108774" y="528210"/>
                      <a:pt x="102764" y="510178"/>
                    </a:cubicBezTo>
                    <a:lnTo>
                      <a:pt x="100189" y="502451"/>
                    </a:lnTo>
                    <a:cubicBezTo>
                      <a:pt x="109575" y="474281"/>
                      <a:pt x="94608" y="516940"/>
                      <a:pt x="107916" y="486996"/>
                    </a:cubicBezTo>
                    <a:cubicBezTo>
                      <a:pt x="110121" y="482034"/>
                      <a:pt x="110055" y="476059"/>
                      <a:pt x="113067" y="471541"/>
                    </a:cubicBezTo>
                    <a:cubicBezTo>
                      <a:pt x="119725" y="461555"/>
                      <a:pt x="117240" y="466751"/>
                      <a:pt x="120795" y="456087"/>
                    </a:cubicBezTo>
                    <a:cubicBezTo>
                      <a:pt x="119936" y="451794"/>
                      <a:pt x="120647" y="446851"/>
                      <a:pt x="118219" y="443208"/>
                    </a:cubicBezTo>
                    <a:cubicBezTo>
                      <a:pt x="116713" y="440949"/>
                      <a:pt x="113103" y="441378"/>
                      <a:pt x="110492" y="440632"/>
                    </a:cubicBezTo>
                    <a:cubicBezTo>
                      <a:pt x="107088" y="439659"/>
                      <a:pt x="103623" y="438915"/>
                      <a:pt x="100189" y="438056"/>
                    </a:cubicBezTo>
                    <a:cubicBezTo>
                      <a:pt x="99330" y="435480"/>
                      <a:pt x="97613" y="433044"/>
                      <a:pt x="97613" y="430329"/>
                    </a:cubicBezTo>
                    <a:cubicBezTo>
                      <a:pt x="97613" y="419952"/>
                      <a:pt x="101246" y="418969"/>
                      <a:pt x="107916" y="412298"/>
                    </a:cubicBezTo>
                    <a:cubicBezTo>
                      <a:pt x="108775" y="409722"/>
                      <a:pt x="108283" y="406149"/>
                      <a:pt x="110492" y="404571"/>
                    </a:cubicBezTo>
                    <a:cubicBezTo>
                      <a:pt x="114911" y="401415"/>
                      <a:pt x="125946" y="399420"/>
                      <a:pt x="125946" y="399420"/>
                    </a:cubicBezTo>
                    <a:cubicBezTo>
                      <a:pt x="128522" y="397703"/>
                      <a:pt x="130905" y="395653"/>
                      <a:pt x="133674" y="394268"/>
                    </a:cubicBezTo>
                    <a:cubicBezTo>
                      <a:pt x="136102" y="393054"/>
                      <a:pt x="139823" y="393901"/>
                      <a:pt x="141401" y="391692"/>
                    </a:cubicBezTo>
                    <a:cubicBezTo>
                      <a:pt x="144557" y="387273"/>
                      <a:pt x="146553" y="376238"/>
                      <a:pt x="146553" y="376238"/>
                    </a:cubicBezTo>
                    <a:cubicBezTo>
                      <a:pt x="140422" y="357846"/>
                      <a:pt x="138389" y="365301"/>
                      <a:pt x="146553" y="353056"/>
                    </a:cubicBezTo>
                    <a:cubicBezTo>
                      <a:pt x="147411" y="350480"/>
                      <a:pt x="147914" y="347757"/>
                      <a:pt x="149128" y="345328"/>
                    </a:cubicBezTo>
                    <a:cubicBezTo>
                      <a:pt x="159119" y="325344"/>
                      <a:pt x="150378" y="349306"/>
                      <a:pt x="156856" y="329874"/>
                    </a:cubicBezTo>
                    <a:cubicBezTo>
                      <a:pt x="155997" y="323864"/>
                      <a:pt x="156025" y="317658"/>
                      <a:pt x="154280" y="311843"/>
                    </a:cubicBezTo>
                    <a:cubicBezTo>
                      <a:pt x="152309" y="305275"/>
                      <a:pt x="144038" y="304055"/>
                      <a:pt x="151704" y="296389"/>
                    </a:cubicBezTo>
                    <a:cubicBezTo>
                      <a:pt x="153624" y="294469"/>
                      <a:pt x="157003" y="295027"/>
                      <a:pt x="159431" y="293813"/>
                    </a:cubicBezTo>
                    <a:cubicBezTo>
                      <a:pt x="162200" y="292428"/>
                      <a:pt x="164583" y="290378"/>
                      <a:pt x="167159" y="288661"/>
                    </a:cubicBezTo>
                    <a:cubicBezTo>
                      <a:pt x="168017" y="286085"/>
                      <a:pt x="170948" y="283362"/>
                      <a:pt x="169734" y="280934"/>
                    </a:cubicBezTo>
                    <a:cubicBezTo>
                      <a:pt x="168520" y="278506"/>
                      <a:pt x="164435" y="279572"/>
                      <a:pt x="162007" y="278358"/>
                    </a:cubicBezTo>
                    <a:cubicBezTo>
                      <a:pt x="144322" y="269515"/>
                      <a:pt x="166247" y="275601"/>
                      <a:pt x="141401" y="270631"/>
                    </a:cubicBezTo>
                    <a:cubicBezTo>
                      <a:pt x="142260" y="267197"/>
                      <a:pt x="143004" y="263732"/>
                      <a:pt x="143977" y="260328"/>
                    </a:cubicBezTo>
                    <a:cubicBezTo>
                      <a:pt x="144723" y="257717"/>
                      <a:pt x="145839" y="255220"/>
                      <a:pt x="146553" y="252600"/>
                    </a:cubicBezTo>
                    <a:cubicBezTo>
                      <a:pt x="148416" y="245769"/>
                      <a:pt x="149465" y="238711"/>
                      <a:pt x="151704" y="231994"/>
                    </a:cubicBezTo>
                    <a:cubicBezTo>
                      <a:pt x="152563" y="229418"/>
                      <a:pt x="152071" y="225845"/>
                      <a:pt x="154280" y="224267"/>
                    </a:cubicBezTo>
                    <a:cubicBezTo>
                      <a:pt x="158699" y="221111"/>
                      <a:pt x="169734" y="219115"/>
                      <a:pt x="169734" y="219115"/>
                    </a:cubicBezTo>
                    <a:cubicBezTo>
                      <a:pt x="177461" y="219974"/>
                      <a:pt x="185373" y="219805"/>
                      <a:pt x="192916" y="221691"/>
                    </a:cubicBezTo>
                    <a:cubicBezTo>
                      <a:pt x="195920" y="222442"/>
                      <a:pt x="197561" y="226563"/>
                      <a:pt x="200644" y="226843"/>
                    </a:cubicBezTo>
                    <a:cubicBezTo>
                      <a:pt x="207538" y="227470"/>
                      <a:pt x="214381" y="225126"/>
                      <a:pt x="221250" y="224267"/>
                    </a:cubicBezTo>
                    <a:cubicBezTo>
                      <a:pt x="229174" y="221625"/>
                      <a:pt x="232694" y="219032"/>
                      <a:pt x="241856" y="224267"/>
                    </a:cubicBezTo>
                    <a:cubicBezTo>
                      <a:pt x="244544" y="225803"/>
                      <a:pt x="245291" y="229418"/>
                      <a:pt x="247008" y="231994"/>
                    </a:cubicBezTo>
                    <a:cubicBezTo>
                      <a:pt x="251684" y="246025"/>
                      <a:pt x="254723" y="246621"/>
                      <a:pt x="249583" y="260328"/>
                    </a:cubicBezTo>
                    <a:cubicBezTo>
                      <a:pt x="248496" y="263226"/>
                      <a:pt x="246149" y="265479"/>
                      <a:pt x="244432" y="268055"/>
                    </a:cubicBezTo>
                    <a:cubicBezTo>
                      <a:pt x="247437" y="272563"/>
                      <a:pt x="250871" y="279861"/>
                      <a:pt x="257311" y="280934"/>
                    </a:cubicBezTo>
                    <a:cubicBezTo>
                      <a:pt x="259989" y="281380"/>
                      <a:pt x="262462" y="279217"/>
                      <a:pt x="265038" y="278358"/>
                    </a:cubicBezTo>
                    <a:cubicBezTo>
                      <a:pt x="264179" y="275782"/>
                      <a:pt x="263676" y="273059"/>
                      <a:pt x="262462" y="270631"/>
                    </a:cubicBezTo>
                    <a:cubicBezTo>
                      <a:pt x="261078" y="267862"/>
                      <a:pt x="256704" y="265939"/>
                      <a:pt x="257311" y="262904"/>
                    </a:cubicBezTo>
                    <a:cubicBezTo>
                      <a:pt x="257918" y="259868"/>
                      <a:pt x="262462" y="259469"/>
                      <a:pt x="265038" y="257752"/>
                    </a:cubicBezTo>
                    <a:cubicBezTo>
                      <a:pt x="274483" y="258611"/>
                      <a:pt x="284618" y="256680"/>
                      <a:pt x="293372" y="260328"/>
                    </a:cubicBezTo>
                    <a:cubicBezTo>
                      <a:pt x="296640" y="261690"/>
                      <a:pt x="293917" y="267731"/>
                      <a:pt x="295947" y="270631"/>
                    </a:cubicBezTo>
                    <a:cubicBezTo>
                      <a:pt x="300125" y="276600"/>
                      <a:pt x="311402" y="286086"/>
                      <a:pt x="311402" y="286086"/>
                    </a:cubicBezTo>
                    <a:cubicBezTo>
                      <a:pt x="307762" y="267886"/>
                      <a:pt x="310209" y="277356"/>
                      <a:pt x="303675" y="257752"/>
                    </a:cubicBezTo>
                    <a:lnTo>
                      <a:pt x="301099" y="250025"/>
                    </a:lnTo>
                    <a:cubicBezTo>
                      <a:pt x="301958" y="244015"/>
                      <a:pt x="303004" y="238028"/>
                      <a:pt x="303675" y="231994"/>
                    </a:cubicBezTo>
                    <a:cubicBezTo>
                      <a:pt x="304722" y="222569"/>
                      <a:pt x="303252" y="212658"/>
                      <a:pt x="306251" y="203661"/>
                    </a:cubicBezTo>
                    <a:cubicBezTo>
                      <a:pt x="307110" y="201085"/>
                      <a:pt x="311402" y="201944"/>
                      <a:pt x="313978" y="201085"/>
                    </a:cubicBezTo>
                    <a:cubicBezTo>
                      <a:pt x="333400" y="207560"/>
                      <a:pt x="310213" y="198073"/>
                      <a:pt x="326857" y="211388"/>
                    </a:cubicBezTo>
                    <a:cubicBezTo>
                      <a:pt x="328977" y="213084"/>
                      <a:pt x="332008" y="213105"/>
                      <a:pt x="334584" y="213964"/>
                    </a:cubicBezTo>
                    <a:cubicBezTo>
                      <a:pt x="340866" y="211870"/>
                      <a:pt x="345048" y="211228"/>
                      <a:pt x="350039" y="206237"/>
                    </a:cubicBezTo>
                    <a:cubicBezTo>
                      <a:pt x="352228" y="204048"/>
                      <a:pt x="353473" y="201085"/>
                      <a:pt x="355190" y="198509"/>
                    </a:cubicBezTo>
                    <a:cubicBezTo>
                      <a:pt x="362917" y="199368"/>
                      <a:pt x="370829" y="199199"/>
                      <a:pt x="378372" y="201085"/>
                    </a:cubicBezTo>
                    <a:cubicBezTo>
                      <a:pt x="388103" y="203518"/>
                      <a:pt x="390678" y="215966"/>
                      <a:pt x="396403" y="221691"/>
                    </a:cubicBezTo>
                    <a:cubicBezTo>
                      <a:pt x="398979" y="224267"/>
                      <a:pt x="401894" y="226543"/>
                      <a:pt x="404130" y="229418"/>
                    </a:cubicBezTo>
                    <a:cubicBezTo>
                      <a:pt x="407931" y="234305"/>
                      <a:pt x="408559" y="242915"/>
                      <a:pt x="414433" y="244873"/>
                    </a:cubicBezTo>
                    <a:lnTo>
                      <a:pt x="429888" y="250025"/>
                    </a:lnTo>
                    <a:cubicBezTo>
                      <a:pt x="424087" y="232621"/>
                      <a:pt x="432132" y="251486"/>
                      <a:pt x="419585" y="237146"/>
                    </a:cubicBezTo>
                    <a:cubicBezTo>
                      <a:pt x="415508" y="232486"/>
                      <a:pt x="413660" y="226069"/>
                      <a:pt x="409282" y="221691"/>
                    </a:cubicBezTo>
                    <a:cubicBezTo>
                      <a:pt x="406706" y="219115"/>
                      <a:pt x="403790" y="216839"/>
                      <a:pt x="401554" y="213964"/>
                    </a:cubicBezTo>
                    <a:cubicBezTo>
                      <a:pt x="397753" y="209077"/>
                      <a:pt x="397125" y="200467"/>
                      <a:pt x="391251" y="198509"/>
                    </a:cubicBezTo>
                    <a:lnTo>
                      <a:pt x="375796" y="193358"/>
                    </a:lnTo>
                    <a:lnTo>
                      <a:pt x="368069" y="190782"/>
                    </a:lnTo>
                    <a:cubicBezTo>
                      <a:pt x="361200" y="191641"/>
                      <a:pt x="354273" y="194596"/>
                      <a:pt x="347463" y="193358"/>
                    </a:cubicBezTo>
                    <a:cubicBezTo>
                      <a:pt x="333166" y="190758"/>
                      <a:pt x="341624" y="166571"/>
                      <a:pt x="342311" y="162448"/>
                    </a:cubicBezTo>
                    <a:cubicBezTo>
                      <a:pt x="342757" y="159770"/>
                      <a:pt x="343191" y="156841"/>
                      <a:pt x="344887" y="154721"/>
                    </a:cubicBezTo>
                    <a:cubicBezTo>
                      <a:pt x="346821" y="152304"/>
                      <a:pt x="350038" y="151286"/>
                      <a:pt x="352614" y="149569"/>
                    </a:cubicBezTo>
                    <a:cubicBezTo>
                      <a:pt x="350038" y="147852"/>
                      <a:pt x="347656" y="145802"/>
                      <a:pt x="344887" y="144418"/>
                    </a:cubicBezTo>
                    <a:cubicBezTo>
                      <a:pt x="342459" y="143204"/>
                      <a:pt x="338666" y="144101"/>
                      <a:pt x="337160" y="141842"/>
                    </a:cubicBezTo>
                    <a:cubicBezTo>
                      <a:pt x="334732" y="138199"/>
                      <a:pt x="336121" y="133062"/>
                      <a:pt x="334584" y="128963"/>
                    </a:cubicBezTo>
                    <a:cubicBezTo>
                      <a:pt x="331722" y="121331"/>
                      <a:pt x="328002" y="120282"/>
                      <a:pt x="321705" y="116084"/>
                    </a:cubicBezTo>
                    <a:cubicBezTo>
                      <a:pt x="318271" y="110933"/>
                      <a:pt x="305529" y="102588"/>
                      <a:pt x="311402" y="100630"/>
                    </a:cubicBezTo>
                    <a:cubicBezTo>
                      <a:pt x="329928" y="94454"/>
                      <a:pt x="306793" y="101947"/>
                      <a:pt x="329433" y="95478"/>
                    </a:cubicBezTo>
                    <a:cubicBezTo>
                      <a:pt x="332044" y="94732"/>
                      <a:pt x="334549" y="93648"/>
                      <a:pt x="337160" y="92902"/>
                    </a:cubicBezTo>
                    <a:cubicBezTo>
                      <a:pt x="345637" y="90480"/>
                      <a:pt x="351503" y="89519"/>
                      <a:pt x="360342" y="87751"/>
                    </a:cubicBezTo>
                    <a:cubicBezTo>
                      <a:pt x="359483" y="84317"/>
                      <a:pt x="359730" y="80394"/>
                      <a:pt x="357766" y="77448"/>
                    </a:cubicBezTo>
                    <a:cubicBezTo>
                      <a:pt x="356049" y="74872"/>
                      <a:pt x="352417" y="74278"/>
                      <a:pt x="350039" y="72296"/>
                    </a:cubicBezTo>
                    <a:cubicBezTo>
                      <a:pt x="347241" y="69964"/>
                      <a:pt x="344887" y="67145"/>
                      <a:pt x="342311" y="64569"/>
                    </a:cubicBezTo>
                    <a:cubicBezTo>
                      <a:pt x="341294" y="61518"/>
                      <a:pt x="337258" y="44887"/>
                      <a:pt x="332008" y="41387"/>
                    </a:cubicBezTo>
                    <a:cubicBezTo>
                      <a:pt x="329062" y="39423"/>
                      <a:pt x="325139" y="39670"/>
                      <a:pt x="321705" y="38811"/>
                    </a:cubicBezTo>
                    <a:cubicBezTo>
                      <a:pt x="300491" y="45883"/>
                      <a:pt x="311626" y="44731"/>
                      <a:pt x="288220" y="41387"/>
                    </a:cubicBezTo>
                    <a:cubicBezTo>
                      <a:pt x="287361" y="38811"/>
                      <a:pt x="285198" y="36338"/>
                      <a:pt x="285644" y="33660"/>
                    </a:cubicBezTo>
                    <a:cubicBezTo>
                      <a:pt x="287600" y="21928"/>
                      <a:pt x="293693" y="26392"/>
                      <a:pt x="301099" y="28508"/>
                    </a:cubicBezTo>
                    <a:cubicBezTo>
                      <a:pt x="303710" y="29254"/>
                      <a:pt x="306250" y="30225"/>
                      <a:pt x="308826" y="31084"/>
                    </a:cubicBezTo>
                    <a:cubicBezTo>
                      <a:pt x="309685" y="28508"/>
                      <a:pt x="311848" y="26035"/>
                      <a:pt x="311402" y="23357"/>
                    </a:cubicBezTo>
                    <a:cubicBezTo>
                      <a:pt x="310032" y="15132"/>
                      <a:pt x="304551" y="15062"/>
                      <a:pt x="298523" y="13053"/>
                    </a:cubicBezTo>
                    <a:cubicBezTo>
                      <a:pt x="297664" y="10477"/>
                      <a:pt x="294939" y="7847"/>
                      <a:pt x="295947" y="5326"/>
                    </a:cubicBezTo>
                    <a:cubicBezTo>
                      <a:pt x="300289" y="-5527"/>
                      <a:pt x="309068" y="3222"/>
                      <a:pt x="313978" y="5326"/>
                    </a:cubicBezTo>
                    <a:cubicBezTo>
                      <a:pt x="316474" y="6395"/>
                      <a:pt x="319129" y="7043"/>
                      <a:pt x="321705" y="7902"/>
                    </a:cubicBezTo>
                    <a:cubicBezTo>
                      <a:pt x="341113" y="5129"/>
                      <a:pt x="337010" y="3862"/>
                      <a:pt x="355190" y="7902"/>
                    </a:cubicBezTo>
                    <a:cubicBezTo>
                      <a:pt x="357841" y="8491"/>
                      <a:pt x="360544" y="9159"/>
                      <a:pt x="362918" y="10478"/>
                    </a:cubicBezTo>
                    <a:cubicBezTo>
                      <a:pt x="371087" y="15016"/>
                      <a:pt x="376685" y="22012"/>
                      <a:pt x="386100" y="23357"/>
                    </a:cubicBezTo>
                    <a:cubicBezTo>
                      <a:pt x="395488" y="24698"/>
                      <a:pt x="405002" y="24939"/>
                      <a:pt x="414433" y="25932"/>
                    </a:cubicBezTo>
                    <a:cubicBezTo>
                      <a:pt x="421317" y="26657"/>
                      <a:pt x="428170" y="27649"/>
                      <a:pt x="435039" y="28508"/>
                    </a:cubicBezTo>
                    <a:cubicBezTo>
                      <a:pt x="437615" y="29367"/>
                      <a:pt x="440847" y="29164"/>
                      <a:pt x="442767" y="31084"/>
                    </a:cubicBezTo>
                    <a:cubicBezTo>
                      <a:pt x="455650" y="43967"/>
                      <a:pt x="439606" y="39409"/>
                      <a:pt x="455645" y="46538"/>
                    </a:cubicBezTo>
                    <a:cubicBezTo>
                      <a:pt x="460607" y="48743"/>
                      <a:pt x="471100" y="51690"/>
                      <a:pt x="471100" y="51690"/>
                    </a:cubicBezTo>
                    <a:cubicBezTo>
                      <a:pt x="468524" y="52549"/>
                      <a:pt x="465801" y="53052"/>
                      <a:pt x="463373" y="54266"/>
                    </a:cubicBezTo>
                    <a:cubicBezTo>
                      <a:pt x="456992" y="57456"/>
                      <a:pt x="453439" y="60519"/>
                      <a:pt x="450494" y="67145"/>
                    </a:cubicBezTo>
                    <a:cubicBezTo>
                      <a:pt x="448289" y="72107"/>
                      <a:pt x="447059" y="77448"/>
                      <a:pt x="445342" y="82599"/>
                    </a:cubicBezTo>
                    <a:lnTo>
                      <a:pt x="442767" y="90327"/>
                    </a:lnTo>
                    <a:cubicBezTo>
                      <a:pt x="457810" y="95340"/>
                      <a:pt x="443242" y="92744"/>
                      <a:pt x="458221" y="87751"/>
                    </a:cubicBezTo>
                    <a:cubicBezTo>
                      <a:pt x="463176" y="86099"/>
                      <a:pt x="468524" y="86034"/>
                      <a:pt x="473676" y="85175"/>
                    </a:cubicBezTo>
                    <a:cubicBezTo>
                      <a:pt x="481403" y="86034"/>
                      <a:pt x="489315" y="85865"/>
                      <a:pt x="496858" y="87751"/>
                    </a:cubicBezTo>
                    <a:cubicBezTo>
                      <a:pt x="502672" y="89204"/>
                      <a:pt x="508215" y="97443"/>
                      <a:pt x="512313" y="100630"/>
                    </a:cubicBezTo>
                    <a:cubicBezTo>
                      <a:pt x="525597" y="110963"/>
                      <a:pt x="523836" y="109622"/>
                      <a:pt x="535494" y="113509"/>
                    </a:cubicBezTo>
                    <a:cubicBezTo>
                      <a:pt x="541504" y="112650"/>
                      <a:pt x="548095" y="113648"/>
                      <a:pt x="553525" y="110933"/>
                    </a:cubicBezTo>
                    <a:cubicBezTo>
                      <a:pt x="555953" y="109719"/>
                      <a:pt x="555512" y="105856"/>
                      <a:pt x="556101" y="103206"/>
                    </a:cubicBezTo>
                    <a:cubicBezTo>
                      <a:pt x="557234" y="98108"/>
                      <a:pt x="556085" y="92286"/>
                      <a:pt x="558676" y="87751"/>
                    </a:cubicBezTo>
                    <a:cubicBezTo>
                      <a:pt x="560023" y="85393"/>
                      <a:pt x="564030" y="86494"/>
                      <a:pt x="566404" y="85175"/>
                    </a:cubicBezTo>
                    <a:cubicBezTo>
                      <a:pt x="571816" y="82168"/>
                      <a:pt x="581858" y="74872"/>
                      <a:pt x="581858" y="74872"/>
                    </a:cubicBezTo>
                    <a:cubicBezTo>
                      <a:pt x="585293" y="75731"/>
                      <a:pt x="590038" y="74616"/>
                      <a:pt x="592162" y="77448"/>
                    </a:cubicBezTo>
                    <a:cubicBezTo>
                      <a:pt x="593791" y="79620"/>
                      <a:pt x="591943" y="83828"/>
                      <a:pt x="589586" y="85175"/>
                    </a:cubicBezTo>
                    <a:cubicBezTo>
                      <a:pt x="585051" y="87766"/>
                      <a:pt x="579283" y="86892"/>
                      <a:pt x="574131" y="87751"/>
                    </a:cubicBezTo>
                    <a:cubicBezTo>
                      <a:pt x="573204" y="88369"/>
                      <a:pt x="557023" y="98426"/>
                      <a:pt x="558676" y="100630"/>
                    </a:cubicBezTo>
                    <a:cubicBezTo>
                      <a:pt x="561809" y="104808"/>
                      <a:pt x="568979" y="102347"/>
                      <a:pt x="574131" y="103206"/>
                    </a:cubicBezTo>
                    <a:cubicBezTo>
                      <a:pt x="568488" y="111672"/>
                      <a:pt x="569070" y="109330"/>
                      <a:pt x="566404" y="118660"/>
                    </a:cubicBezTo>
                    <a:cubicBezTo>
                      <a:pt x="566198" y="119380"/>
                      <a:pt x="562624" y="134976"/>
                      <a:pt x="561252" y="136691"/>
                    </a:cubicBezTo>
                    <a:cubicBezTo>
                      <a:pt x="557622" y="141229"/>
                      <a:pt x="550887" y="142721"/>
                      <a:pt x="545798" y="144418"/>
                    </a:cubicBezTo>
                    <a:cubicBezTo>
                      <a:pt x="543222" y="146994"/>
                      <a:pt x="540306" y="149270"/>
                      <a:pt x="538070" y="152145"/>
                    </a:cubicBezTo>
                    <a:cubicBezTo>
                      <a:pt x="534269" y="157032"/>
                      <a:pt x="527767" y="167600"/>
                      <a:pt x="527767" y="167600"/>
                    </a:cubicBezTo>
                    <a:cubicBezTo>
                      <a:pt x="531195" y="168743"/>
                      <a:pt x="541486" y="171421"/>
                      <a:pt x="543222" y="175327"/>
                    </a:cubicBezTo>
                    <a:cubicBezTo>
                      <a:pt x="545688" y="180875"/>
                      <a:pt x="544939" y="187348"/>
                      <a:pt x="545798" y="193358"/>
                    </a:cubicBezTo>
                    <a:cubicBezTo>
                      <a:pt x="567929" y="178602"/>
                      <a:pt x="539937" y="196287"/>
                      <a:pt x="561252" y="185630"/>
                    </a:cubicBezTo>
                    <a:cubicBezTo>
                      <a:pt x="581225" y="175644"/>
                      <a:pt x="557285" y="184378"/>
                      <a:pt x="576707" y="177903"/>
                    </a:cubicBezTo>
                    <a:cubicBezTo>
                      <a:pt x="582255" y="161260"/>
                      <a:pt x="576311" y="173941"/>
                      <a:pt x="581858" y="177903"/>
                    </a:cubicBezTo>
                    <a:cubicBezTo>
                      <a:pt x="586277" y="181059"/>
                      <a:pt x="597313" y="183055"/>
                      <a:pt x="597313" y="183055"/>
                    </a:cubicBezTo>
                    <a:cubicBezTo>
                      <a:pt x="605414" y="180354"/>
                      <a:pt x="607255" y="181020"/>
                      <a:pt x="612768" y="172751"/>
                    </a:cubicBezTo>
                    <a:cubicBezTo>
                      <a:pt x="614274" y="170492"/>
                      <a:pt x="613837" y="167283"/>
                      <a:pt x="615343" y="165024"/>
                    </a:cubicBezTo>
                    <a:cubicBezTo>
                      <a:pt x="618190" y="160754"/>
                      <a:pt x="626049" y="154520"/>
                      <a:pt x="630798" y="152145"/>
                    </a:cubicBezTo>
                    <a:cubicBezTo>
                      <a:pt x="633226" y="150931"/>
                      <a:pt x="635949" y="150428"/>
                      <a:pt x="638525" y="149569"/>
                    </a:cubicBezTo>
                    <a:cubicBezTo>
                      <a:pt x="641101" y="146993"/>
                      <a:pt x="643454" y="144174"/>
                      <a:pt x="646253" y="141842"/>
                    </a:cubicBezTo>
                    <a:cubicBezTo>
                      <a:pt x="657772" y="132244"/>
                      <a:pt x="660343" y="136055"/>
                      <a:pt x="679738" y="134115"/>
                    </a:cubicBezTo>
                    <a:cubicBezTo>
                      <a:pt x="682314" y="132398"/>
                      <a:pt x="684528" y="129942"/>
                      <a:pt x="687465" y="128963"/>
                    </a:cubicBezTo>
                    <a:cubicBezTo>
                      <a:pt x="692420" y="127312"/>
                      <a:pt x="698249" y="128724"/>
                      <a:pt x="702920" y="126388"/>
                    </a:cubicBezTo>
                    <a:cubicBezTo>
                      <a:pt x="705689" y="125004"/>
                      <a:pt x="706687" y="121429"/>
                      <a:pt x="708071" y="118660"/>
                    </a:cubicBezTo>
                    <a:cubicBezTo>
                      <a:pt x="712276" y="110249"/>
                      <a:pt x="705066" y="99342"/>
                      <a:pt x="715799" y="95478"/>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24" name="Freeform: Shape 823">
                <a:extLst>
                  <a:ext uri="{FF2B5EF4-FFF2-40B4-BE49-F238E27FC236}">
                    <a16:creationId xmlns:a16="http://schemas.microsoft.com/office/drawing/2014/main" id="{9E573C69-9874-45CD-A05E-1A281922BEAB}"/>
                  </a:ext>
                </a:extLst>
              </p:cNvPr>
              <p:cNvSpPr/>
              <p:nvPr/>
            </p:nvSpPr>
            <p:spPr>
              <a:xfrm>
                <a:off x="4110812" y="3722002"/>
                <a:ext cx="14400" cy="7200"/>
              </a:xfrm>
              <a:custGeom>
                <a:avLst/>
                <a:gdLst>
                  <a:gd name="connsiteX0" fmla="*/ 3988 w 19836"/>
                  <a:gd name="connsiteY0" fmla="*/ 555 h 14577"/>
                  <a:gd name="connsiteX1" fmla="*/ 1490 w 19836"/>
                  <a:gd name="connsiteY1" fmla="*/ 13047 h 14577"/>
                  <a:gd name="connsiteX2" fmla="*/ 18978 w 19836"/>
                  <a:gd name="connsiteY2" fmla="*/ 10549 h 14577"/>
                  <a:gd name="connsiteX3" fmla="*/ 16480 w 19836"/>
                  <a:gd name="connsiteY3" fmla="*/ 3054 h 14577"/>
                  <a:gd name="connsiteX4" fmla="*/ 3988 w 19836"/>
                  <a:gd name="connsiteY4" fmla="*/ 555 h 14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36" h="14577">
                    <a:moveTo>
                      <a:pt x="3988" y="555"/>
                    </a:moveTo>
                    <a:cubicBezTo>
                      <a:pt x="1490" y="2220"/>
                      <a:pt x="-2043" y="10691"/>
                      <a:pt x="1490" y="13047"/>
                    </a:cubicBezTo>
                    <a:cubicBezTo>
                      <a:pt x="6389" y="16314"/>
                      <a:pt x="14078" y="13815"/>
                      <a:pt x="18978" y="10549"/>
                    </a:cubicBezTo>
                    <a:cubicBezTo>
                      <a:pt x="21169" y="9088"/>
                      <a:pt x="18738" y="4409"/>
                      <a:pt x="16480" y="3054"/>
                    </a:cubicBezTo>
                    <a:cubicBezTo>
                      <a:pt x="13623" y="1340"/>
                      <a:pt x="6486" y="-1110"/>
                      <a:pt x="3988" y="555"/>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25" name="Freeform: Shape 824">
                <a:extLst>
                  <a:ext uri="{FF2B5EF4-FFF2-40B4-BE49-F238E27FC236}">
                    <a16:creationId xmlns:a16="http://schemas.microsoft.com/office/drawing/2014/main" id="{4EDF4F03-ABE2-4112-AD21-9CE5B3B52FE9}"/>
                  </a:ext>
                </a:extLst>
              </p:cNvPr>
              <p:cNvSpPr/>
              <p:nvPr/>
            </p:nvSpPr>
            <p:spPr>
              <a:xfrm rot="3596922">
                <a:off x="4120469" y="3742234"/>
                <a:ext cx="10800" cy="3600"/>
              </a:xfrm>
              <a:custGeom>
                <a:avLst/>
                <a:gdLst>
                  <a:gd name="connsiteX0" fmla="*/ 3988 w 19836"/>
                  <a:gd name="connsiteY0" fmla="*/ 555 h 14577"/>
                  <a:gd name="connsiteX1" fmla="*/ 1490 w 19836"/>
                  <a:gd name="connsiteY1" fmla="*/ 13047 h 14577"/>
                  <a:gd name="connsiteX2" fmla="*/ 18978 w 19836"/>
                  <a:gd name="connsiteY2" fmla="*/ 10549 h 14577"/>
                  <a:gd name="connsiteX3" fmla="*/ 16480 w 19836"/>
                  <a:gd name="connsiteY3" fmla="*/ 3054 h 14577"/>
                  <a:gd name="connsiteX4" fmla="*/ 3988 w 19836"/>
                  <a:gd name="connsiteY4" fmla="*/ 555 h 14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836" h="14577">
                    <a:moveTo>
                      <a:pt x="3988" y="555"/>
                    </a:moveTo>
                    <a:cubicBezTo>
                      <a:pt x="1490" y="2220"/>
                      <a:pt x="-2043" y="10691"/>
                      <a:pt x="1490" y="13047"/>
                    </a:cubicBezTo>
                    <a:cubicBezTo>
                      <a:pt x="6389" y="16314"/>
                      <a:pt x="14078" y="13815"/>
                      <a:pt x="18978" y="10549"/>
                    </a:cubicBezTo>
                    <a:cubicBezTo>
                      <a:pt x="21169" y="9088"/>
                      <a:pt x="18738" y="4409"/>
                      <a:pt x="16480" y="3054"/>
                    </a:cubicBezTo>
                    <a:cubicBezTo>
                      <a:pt x="13623" y="1340"/>
                      <a:pt x="6486" y="-1110"/>
                      <a:pt x="3988" y="555"/>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sp>
          <p:nvSpPr>
            <p:cNvPr id="328" name="Rectangle 327">
              <a:extLst>
                <a:ext uri="{FF2B5EF4-FFF2-40B4-BE49-F238E27FC236}">
                  <a16:creationId xmlns:a16="http://schemas.microsoft.com/office/drawing/2014/main" id="{CA627B25-4A3B-4915-BF4A-599B61E5599F}"/>
                </a:ext>
              </a:extLst>
            </p:cNvPr>
            <p:cNvSpPr/>
            <p:nvPr/>
          </p:nvSpPr>
          <p:spPr>
            <a:xfrm>
              <a:off x="5859269" y="5389296"/>
              <a:ext cx="72000" cy="72000"/>
            </a:xfrm>
            <a:prstGeom prst="rect">
              <a:avLst/>
            </a:prstGeom>
            <a:solidFill>
              <a:schemeClr val="bg2">
                <a:lumMod val="90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29" name="Rectangle 328">
              <a:extLst>
                <a:ext uri="{FF2B5EF4-FFF2-40B4-BE49-F238E27FC236}">
                  <a16:creationId xmlns:a16="http://schemas.microsoft.com/office/drawing/2014/main" id="{E74D2E80-B4E3-4742-931A-5BEA4FDB1D52}"/>
                </a:ext>
              </a:extLst>
            </p:cNvPr>
            <p:cNvSpPr/>
            <p:nvPr/>
          </p:nvSpPr>
          <p:spPr>
            <a:xfrm>
              <a:off x="6934859" y="4619538"/>
              <a:ext cx="72000" cy="72000"/>
            </a:xfrm>
            <a:prstGeom prst="rect">
              <a:avLst/>
            </a:prstGeom>
            <a:solidFill>
              <a:srgbClr val="D0CECE"/>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30" name="Freeform: Shape 329">
              <a:extLst>
                <a:ext uri="{FF2B5EF4-FFF2-40B4-BE49-F238E27FC236}">
                  <a16:creationId xmlns:a16="http://schemas.microsoft.com/office/drawing/2014/main" id="{80306EC3-FE8C-4D7D-8BCC-76C687AEAEC4}"/>
                </a:ext>
              </a:extLst>
            </p:cNvPr>
            <p:cNvSpPr/>
            <p:nvPr/>
          </p:nvSpPr>
          <p:spPr>
            <a:xfrm>
              <a:off x="7734894" y="4960277"/>
              <a:ext cx="514605" cy="467983"/>
            </a:xfrm>
            <a:custGeom>
              <a:avLst/>
              <a:gdLst>
                <a:gd name="connsiteX0" fmla="*/ 147638 w 514605"/>
                <a:gd name="connsiteY0" fmla="*/ 6020 h 470364"/>
                <a:gd name="connsiteX1" fmla="*/ 161925 w 514605"/>
                <a:gd name="connsiteY1" fmla="*/ 3639 h 470364"/>
                <a:gd name="connsiteX2" fmla="*/ 169069 w 514605"/>
                <a:gd name="connsiteY2" fmla="*/ 8401 h 470364"/>
                <a:gd name="connsiteX3" fmla="*/ 204788 w 514605"/>
                <a:gd name="connsiteY3" fmla="*/ 6020 h 470364"/>
                <a:gd name="connsiteX4" fmla="*/ 219075 w 514605"/>
                <a:gd name="connsiteY4" fmla="*/ 6020 h 470364"/>
                <a:gd name="connsiteX5" fmla="*/ 223838 w 514605"/>
                <a:gd name="connsiteY5" fmla="*/ 13164 h 470364"/>
                <a:gd name="connsiteX6" fmla="*/ 230981 w 514605"/>
                <a:gd name="connsiteY6" fmla="*/ 15545 h 470364"/>
                <a:gd name="connsiteX7" fmla="*/ 250031 w 514605"/>
                <a:gd name="connsiteY7" fmla="*/ 10782 h 470364"/>
                <a:gd name="connsiteX8" fmla="*/ 280988 w 514605"/>
                <a:gd name="connsiteY8" fmla="*/ 10782 h 470364"/>
                <a:gd name="connsiteX9" fmla="*/ 288131 w 514605"/>
                <a:gd name="connsiteY9" fmla="*/ 6020 h 470364"/>
                <a:gd name="connsiteX10" fmla="*/ 292894 w 514605"/>
                <a:gd name="connsiteY10" fmla="*/ 13164 h 470364"/>
                <a:gd name="connsiteX11" fmla="*/ 300038 w 514605"/>
                <a:gd name="connsiteY11" fmla="*/ 10782 h 470364"/>
                <a:gd name="connsiteX12" fmla="*/ 316706 w 514605"/>
                <a:gd name="connsiteY12" fmla="*/ 6020 h 470364"/>
                <a:gd name="connsiteX13" fmla="*/ 321469 w 514605"/>
                <a:gd name="connsiteY13" fmla="*/ 13164 h 470364"/>
                <a:gd name="connsiteX14" fmla="*/ 328613 w 514605"/>
                <a:gd name="connsiteY14" fmla="*/ 8401 h 470364"/>
                <a:gd name="connsiteX15" fmla="*/ 335756 w 514605"/>
                <a:gd name="connsiteY15" fmla="*/ 13164 h 470364"/>
                <a:gd name="connsiteX16" fmla="*/ 354806 w 514605"/>
                <a:gd name="connsiteY16" fmla="*/ 17926 h 470364"/>
                <a:gd name="connsiteX17" fmla="*/ 357188 w 514605"/>
                <a:gd name="connsiteY17" fmla="*/ 25070 h 470364"/>
                <a:gd name="connsiteX18" fmla="*/ 364331 w 514605"/>
                <a:gd name="connsiteY18" fmla="*/ 20307 h 470364"/>
                <a:gd name="connsiteX19" fmla="*/ 376238 w 514605"/>
                <a:gd name="connsiteY19" fmla="*/ 8401 h 470364"/>
                <a:gd name="connsiteX20" fmla="*/ 385763 w 514605"/>
                <a:gd name="connsiteY20" fmla="*/ 22689 h 470364"/>
                <a:gd name="connsiteX21" fmla="*/ 397669 w 514605"/>
                <a:gd name="connsiteY21" fmla="*/ 41739 h 470364"/>
                <a:gd name="connsiteX22" fmla="*/ 404813 w 514605"/>
                <a:gd name="connsiteY22" fmla="*/ 39357 h 470364"/>
                <a:gd name="connsiteX23" fmla="*/ 411956 w 514605"/>
                <a:gd name="connsiteY23" fmla="*/ 34595 h 470364"/>
                <a:gd name="connsiteX24" fmla="*/ 419100 w 514605"/>
                <a:gd name="connsiteY24" fmla="*/ 36976 h 470364"/>
                <a:gd name="connsiteX25" fmla="*/ 428625 w 514605"/>
                <a:gd name="connsiteY25" fmla="*/ 34595 h 470364"/>
                <a:gd name="connsiteX26" fmla="*/ 435769 w 514605"/>
                <a:gd name="connsiteY26" fmla="*/ 29832 h 470364"/>
                <a:gd name="connsiteX27" fmla="*/ 454819 w 514605"/>
                <a:gd name="connsiteY27" fmla="*/ 32214 h 470364"/>
                <a:gd name="connsiteX28" fmla="*/ 469106 w 514605"/>
                <a:gd name="connsiteY28" fmla="*/ 41739 h 470364"/>
                <a:gd name="connsiteX29" fmla="*/ 461963 w 514605"/>
                <a:gd name="connsiteY29" fmla="*/ 60789 h 470364"/>
                <a:gd name="connsiteX30" fmla="*/ 457200 w 514605"/>
                <a:gd name="connsiteY30" fmla="*/ 75076 h 470364"/>
                <a:gd name="connsiteX31" fmla="*/ 454819 w 514605"/>
                <a:gd name="connsiteY31" fmla="*/ 82220 h 470364"/>
                <a:gd name="connsiteX32" fmla="*/ 452438 w 514605"/>
                <a:gd name="connsiteY32" fmla="*/ 113176 h 470364"/>
                <a:gd name="connsiteX33" fmla="*/ 452438 w 514605"/>
                <a:gd name="connsiteY33" fmla="*/ 141751 h 470364"/>
                <a:gd name="connsiteX34" fmla="*/ 459581 w 514605"/>
                <a:gd name="connsiteY34" fmla="*/ 146514 h 470364"/>
                <a:gd name="connsiteX35" fmla="*/ 476250 w 514605"/>
                <a:gd name="connsiteY35" fmla="*/ 146514 h 470364"/>
                <a:gd name="connsiteX36" fmla="*/ 485775 w 514605"/>
                <a:gd name="connsiteY36" fmla="*/ 158420 h 470364"/>
                <a:gd name="connsiteX37" fmla="*/ 500063 w 514605"/>
                <a:gd name="connsiteY37" fmla="*/ 160801 h 470364"/>
                <a:gd name="connsiteX38" fmla="*/ 507206 w 514605"/>
                <a:gd name="connsiteY38" fmla="*/ 170326 h 470364"/>
                <a:gd name="connsiteX39" fmla="*/ 514350 w 514605"/>
                <a:gd name="connsiteY39" fmla="*/ 177470 h 470364"/>
                <a:gd name="connsiteX40" fmla="*/ 511969 w 514605"/>
                <a:gd name="connsiteY40" fmla="*/ 184614 h 470364"/>
                <a:gd name="connsiteX41" fmla="*/ 497681 w 514605"/>
                <a:gd name="connsiteY41" fmla="*/ 189376 h 470364"/>
                <a:gd name="connsiteX42" fmla="*/ 481013 w 514605"/>
                <a:gd name="connsiteY42" fmla="*/ 194139 h 470364"/>
                <a:gd name="connsiteX43" fmla="*/ 490538 w 514605"/>
                <a:gd name="connsiteY43" fmla="*/ 206045 h 470364"/>
                <a:gd name="connsiteX44" fmla="*/ 497681 w 514605"/>
                <a:gd name="connsiteY44" fmla="*/ 232239 h 470364"/>
                <a:gd name="connsiteX45" fmla="*/ 504825 w 514605"/>
                <a:gd name="connsiteY45" fmla="*/ 239382 h 470364"/>
                <a:gd name="connsiteX46" fmla="*/ 504825 w 514605"/>
                <a:gd name="connsiteY46" fmla="*/ 258432 h 470364"/>
                <a:gd name="connsiteX47" fmla="*/ 497681 w 514605"/>
                <a:gd name="connsiteY47" fmla="*/ 260814 h 470364"/>
                <a:gd name="connsiteX48" fmla="*/ 490538 w 514605"/>
                <a:gd name="connsiteY48" fmla="*/ 267957 h 470364"/>
                <a:gd name="connsiteX49" fmla="*/ 459581 w 514605"/>
                <a:gd name="connsiteY49" fmla="*/ 272720 h 470364"/>
                <a:gd name="connsiteX50" fmla="*/ 445294 w 514605"/>
                <a:gd name="connsiteY50" fmla="*/ 277482 h 470364"/>
                <a:gd name="connsiteX51" fmla="*/ 457200 w 514605"/>
                <a:gd name="connsiteY51" fmla="*/ 291770 h 470364"/>
                <a:gd name="connsiteX52" fmla="*/ 459581 w 514605"/>
                <a:gd name="connsiteY52" fmla="*/ 298914 h 470364"/>
                <a:gd name="connsiteX53" fmla="*/ 471488 w 514605"/>
                <a:gd name="connsiteY53" fmla="*/ 320345 h 470364"/>
                <a:gd name="connsiteX54" fmla="*/ 469106 w 514605"/>
                <a:gd name="connsiteY54" fmla="*/ 327489 h 470364"/>
                <a:gd name="connsiteX55" fmla="*/ 454819 w 514605"/>
                <a:gd name="connsiteY55" fmla="*/ 317964 h 470364"/>
                <a:gd name="connsiteX56" fmla="*/ 445294 w 514605"/>
                <a:gd name="connsiteY56" fmla="*/ 320345 h 470364"/>
                <a:gd name="connsiteX57" fmla="*/ 421481 w 514605"/>
                <a:gd name="connsiteY57" fmla="*/ 327489 h 470364"/>
                <a:gd name="connsiteX58" fmla="*/ 421481 w 514605"/>
                <a:gd name="connsiteY58" fmla="*/ 344157 h 470364"/>
                <a:gd name="connsiteX59" fmla="*/ 419100 w 514605"/>
                <a:gd name="connsiteY59" fmla="*/ 363207 h 470364"/>
                <a:gd name="connsiteX60" fmla="*/ 416719 w 514605"/>
                <a:gd name="connsiteY60" fmla="*/ 375114 h 470364"/>
                <a:gd name="connsiteX61" fmla="*/ 407194 w 514605"/>
                <a:gd name="connsiteY61" fmla="*/ 377495 h 470364"/>
                <a:gd name="connsiteX62" fmla="*/ 402431 w 514605"/>
                <a:gd name="connsiteY62" fmla="*/ 384639 h 470364"/>
                <a:gd name="connsiteX63" fmla="*/ 395288 w 514605"/>
                <a:gd name="connsiteY63" fmla="*/ 391782 h 470364"/>
                <a:gd name="connsiteX64" fmla="*/ 392906 w 514605"/>
                <a:gd name="connsiteY64" fmla="*/ 398926 h 470364"/>
                <a:gd name="connsiteX65" fmla="*/ 397669 w 514605"/>
                <a:gd name="connsiteY65" fmla="*/ 413214 h 470364"/>
                <a:gd name="connsiteX66" fmla="*/ 400050 w 514605"/>
                <a:gd name="connsiteY66" fmla="*/ 420357 h 470364"/>
                <a:gd name="connsiteX67" fmla="*/ 407194 w 514605"/>
                <a:gd name="connsiteY67" fmla="*/ 427501 h 470364"/>
                <a:gd name="connsiteX68" fmla="*/ 402431 w 514605"/>
                <a:gd name="connsiteY68" fmla="*/ 444170 h 470364"/>
                <a:gd name="connsiteX69" fmla="*/ 397669 w 514605"/>
                <a:gd name="connsiteY69" fmla="*/ 451314 h 470364"/>
                <a:gd name="connsiteX70" fmla="*/ 376238 w 514605"/>
                <a:gd name="connsiteY70" fmla="*/ 470364 h 470364"/>
                <a:gd name="connsiteX71" fmla="*/ 366713 w 514605"/>
                <a:gd name="connsiteY71" fmla="*/ 458457 h 470364"/>
                <a:gd name="connsiteX72" fmla="*/ 361950 w 514605"/>
                <a:gd name="connsiteY72" fmla="*/ 451314 h 470364"/>
                <a:gd name="connsiteX73" fmla="*/ 354806 w 514605"/>
                <a:gd name="connsiteY73" fmla="*/ 448932 h 470364"/>
                <a:gd name="connsiteX74" fmla="*/ 340519 w 514605"/>
                <a:gd name="connsiteY74" fmla="*/ 439407 h 470364"/>
                <a:gd name="connsiteX75" fmla="*/ 328613 w 514605"/>
                <a:gd name="connsiteY75" fmla="*/ 425120 h 470364"/>
                <a:gd name="connsiteX76" fmla="*/ 321469 w 514605"/>
                <a:gd name="connsiteY76" fmla="*/ 422739 h 470364"/>
                <a:gd name="connsiteX77" fmla="*/ 314325 w 514605"/>
                <a:gd name="connsiteY77" fmla="*/ 415595 h 470364"/>
                <a:gd name="connsiteX78" fmla="*/ 300038 w 514605"/>
                <a:gd name="connsiteY78" fmla="*/ 420357 h 470364"/>
                <a:gd name="connsiteX79" fmla="*/ 290513 w 514605"/>
                <a:gd name="connsiteY79" fmla="*/ 417976 h 470364"/>
                <a:gd name="connsiteX80" fmla="*/ 304800 w 514605"/>
                <a:gd name="connsiteY80" fmla="*/ 413214 h 470364"/>
                <a:gd name="connsiteX81" fmla="*/ 295275 w 514605"/>
                <a:gd name="connsiteY81" fmla="*/ 401307 h 470364"/>
                <a:gd name="connsiteX82" fmla="*/ 283369 w 514605"/>
                <a:gd name="connsiteY82" fmla="*/ 389401 h 470364"/>
                <a:gd name="connsiteX83" fmla="*/ 273844 w 514605"/>
                <a:gd name="connsiteY83" fmla="*/ 377495 h 470364"/>
                <a:gd name="connsiteX84" fmla="*/ 266700 w 514605"/>
                <a:gd name="connsiteY84" fmla="*/ 370351 h 470364"/>
                <a:gd name="connsiteX85" fmla="*/ 250031 w 514605"/>
                <a:gd name="connsiteY85" fmla="*/ 358445 h 470364"/>
                <a:gd name="connsiteX86" fmla="*/ 233363 w 514605"/>
                <a:gd name="connsiteY86" fmla="*/ 346539 h 470364"/>
                <a:gd name="connsiteX87" fmla="*/ 226219 w 514605"/>
                <a:gd name="connsiteY87" fmla="*/ 322726 h 470364"/>
                <a:gd name="connsiteX88" fmla="*/ 221456 w 514605"/>
                <a:gd name="connsiteY88" fmla="*/ 308439 h 470364"/>
                <a:gd name="connsiteX89" fmla="*/ 204788 w 514605"/>
                <a:gd name="connsiteY89" fmla="*/ 306057 h 470364"/>
                <a:gd name="connsiteX90" fmla="*/ 183356 w 514605"/>
                <a:gd name="connsiteY90" fmla="*/ 294151 h 470364"/>
                <a:gd name="connsiteX91" fmla="*/ 169069 w 514605"/>
                <a:gd name="connsiteY91" fmla="*/ 279864 h 470364"/>
                <a:gd name="connsiteX92" fmla="*/ 161925 w 514605"/>
                <a:gd name="connsiteY92" fmla="*/ 272720 h 470364"/>
                <a:gd name="connsiteX93" fmla="*/ 154781 w 514605"/>
                <a:gd name="connsiteY93" fmla="*/ 267957 h 470364"/>
                <a:gd name="connsiteX94" fmla="*/ 145256 w 514605"/>
                <a:gd name="connsiteY94" fmla="*/ 253670 h 470364"/>
                <a:gd name="connsiteX95" fmla="*/ 135731 w 514605"/>
                <a:gd name="connsiteY95" fmla="*/ 239382 h 470364"/>
                <a:gd name="connsiteX96" fmla="*/ 130969 w 514605"/>
                <a:gd name="connsiteY96" fmla="*/ 232239 h 470364"/>
                <a:gd name="connsiteX97" fmla="*/ 128588 w 514605"/>
                <a:gd name="connsiteY97" fmla="*/ 225095 h 470364"/>
                <a:gd name="connsiteX98" fmla="*/ 119063 w 514605"/>
                <a:gd name="connsiteY98" fmla="*/ 210807 h 470364"/>
                <a:gd name="connsiteX99" fmla="*/ 88106 w 514605"/>
                <a:gd name="connsiteY99" fmla="*/ 213189 h 470364"/>
                <a:gd name="connsiteX100" fmla="*/ 80963 w 514605"/>
                <a:gd name="connsiteY100" fmla="*/ 179851 h 470364"/>
                <a:gd name="connsiteX101" fmla="*/ 76200 w 514605"/>
                <a:gd name="connsiteY101" fmla="*/ 172707 h 470364"/>
                <a:gd name="connsiteX102" fmla="*/ 71438 w 514605"/>
                <a:gd name="connsiteY102" fmla="*/ 158420 h 470364"/>
                <a:gd name="connsiteX103" fmla="*/ 69056 w 514605"/>
                <a:gd name="connsiteY103" fmla="*/ 151276 h 470364"/>
                <a:gd name="connsiteX104" fmla="*/ 54769 w 514605"/>
                <a:gd name="connsiteY104" fmla="*/ 136989 h 470364"/>
                <a:gd name="connsiteX105" fmla="*/ 52388 w 514605"/>
                <a:gd name="connsiteY105" fmla="*/ 129845 h 470364"/>
                <a:gd name="connsiteX106" fmla="*/ 26194 w 514605"/>
                <a:gd name="connsiteY106" fmla="*/ 113176 h 470364"/>
                <a:gd name="connsiteX107" fmla="*/ 2381 w 514605"/>
                <a:gd name="connsiteY107" fmla="*/ 101270 h 470364"/>
                <a:gd name="connsiteX108" fmla="*/ 4763 w 514605"/>
                <a:gd name="connsiteY108" fmla="*/ 72695 h 470364"/>
                <a:gd name="connsiteX109" fmla="*/ 0 w 514605"/>
                <a:gd name="connsiteY109" fmla="*/ 34595 h 470364"/>
                <a:gd name="connsiteX110" fmla="*/ 2381 w 514605"/>
                <a:gd name="connsiteY110" fmla="*/ 20307 h 470364"/>
                <a:gd name="connsiteX111" fmla="*/ 9525 w 514605"/>
                <a:gd name="connsiteY111" fmla="*/ 17926 h 470364"/>
                <a:gd name="connsiteX112" fmla="*/ 19050 w 514605"/>
                <a:gd name="connsiteY112" fmla="*/ 15545 h 470364"/>
                <a:gd name="connsiteX113" fmla="*/ 26194 w 514605"/>
                <a:gd name="connsiteY113" fmla="*/ 17926 h 470364"/>
                <a:gd name="connsiteX114" fmla="*/ 30956 w 514605"/>
                <a:gd name="connsiteY114" fmla="*/ 25070 h 470364"/>
                <a:gd name="connsiteX115" fmla="*/ 38100 w 514605"/>
                <a:gd name="connsiteY115" fmla="*/ 32214 h 470364"/>
                <a:gd name="connsiteX116" fmla="*/ 42863 w 514605"/>
                <a:gd name="connsiteY116" fmla="*/ 39357 h 470364"/>
                <a:gd name="connsiteX117" fmla="*/ 50006 w 514605"/>
                <a:gd name="connsiteY117" fmla="*/ 44120 h 470364"/>
                <a:gd name="connsiteX118" fmla="*/ 57150 w 514605"/>
                <a:gd name="connsiteY118" fmla="*/ 51264 h 470364"/>
                <a:gd name="connsiteX119" fmla="*/ 73819 w 514605"/>
                <a:gd name="connsiteY119" fmla="*/ 46501 h 470364"/>
                <a:gd name="connsiteX120" fmla="*/ 90488 w 514605"/>
                <a:gd name="connsiteY120" fmla="*/ 44120 h 470364"/>
                <a:gd name="connsiteX121" fmla="*/ 92869 w 514605"/>
                <a:gd name="connsiteY121" fmla="*/ 15545 h 470364"/>
                <a:gd name="connsiteX122" fmla="*/ 107156 w 514605"/>
                <a:gd name="connsiteY122" fmla="*/ 10782 h 470364"/>
                <a:gd name="connsiteX123" fmla="*/ 121444 w 514605"/>
                <a:gd name="connsiteY123" fmla="*/ 8401 h 470364"/>
                <a:gd name="connsiteX124" fmla="*/ 142875 w 514605"/>
                <a:gd name="connsiteY124" fmla="*/ 6020 h 470364"/>
                <a:gd name="connsiteX125" fmla="*/ 147638 w 514605"/>
                <a:gd name="connsiteY125" fmla="*/ 6020 h 470364"/>
                <a:gd name="connsiteX0" fmla="*/ 147638 w 514605"/>
                <a:gd name="connsiteY0" fmla="*/ 6020 h 470364"/>
                <a:gd name="connsiteX1" fmla="*/ 161925 w 514605"/>
                <a:gd name="connsiteY1" fmla="*/ 3639 h 470364"/>
                <a:gd name="connsiteX2" fmla="*/ 169069 w 514605"/>
                <a:gd name="connsiteY2" fmla="*/ 8401 h 470364"/>
                <a:gd name="connsiteX3" fmla="*/ 204788 w 514605"/>
                <a:gd name="connsiteY3" fmla="*/ 6020 h 470364"/>
                <a:gd name="connsiteX4" fmla="*/ 219075 w 514605"/>
                <a:gd name="connsiteY4" fmla="*/ 6020 h 470364"/>
                <a:gd name="connsiteX5" fmla="*/ 223838 w 514605"/>
                <a:gd name="connsiteY5" fmla="*/ 13164 h 470364"/>
                <a:gd name="connsiteX6" fmla="*/ 230981 w 514605"/>
                <a:gd name="connsiteY6" fmla="*/ 15545 h 470364"/>
                <a:gd name="connsiteX7" fmla="*/ 250031 w 514605"/>
                <a:gd name="connsiteY7" fmla="*/ 10782 h 470364"/>
                <a:gd name="connsiteX8" fmla="*/ 280988 w 514605"/>
                <a:gd name="connsiteY8" fmla="*/ 10782 h 470364"/>
                <a:gd name="connsiteX9" fmla="*/ 288131 w 514605"/>
                <a:gd name="connsiteY9" fmla="*/ 6020 h 470364"/>
                <a:gd name="connsiteX10" fmla="*/ 292894 w 514605"/>
                <a:gd name="connsiteY10" fmla="*/ 13164 h 470364"/>
                <a:gd name="connsiteX11" fmla="*/ 300038 w 514605"/>
                <a:gd name="connsiteY11" fmla="*/ 10782 h 470364"/>
                <a:gd name="connsiteX12" fmla="*/ 316706 w 514605"/>
                <a:gd name="connsiteY12" fmla="*/ 6020 h 470364"/>
                <a:gd name="connsiteX13" fmla="*/ 321469 w 514605"/>
                <a:gd name="connsiteY13" fmla="*/ 13164 h 470364"/>
                <a:gd name="connsiteX14" fmla="*/ 328613 w 514605"/>
                <a:gd name="connsiteY14" fmla="*/ 8401 h 470364"/>
                <a:gd name="connsiteX15" fmla="*/ 335756 w 514605"/>
                <a:gd name="connsiteY15" fmla="*/ 13164 h 470364"/>
                <a:gd name="connsiteX16" fmla="*/ 354806 w 514605"/>
                <a:gd name="connsiteY16" fmla="*/ 17926 h 470364"/>
                <a:gd name="connsiteX17" fmla="*/ 357188 w 514605"/>
                <a:gd name="connsiteY17" fmla="*/ 25070 h 470364"/>
                <a:gd name="connsiteX18" fmla="*/ 364331 w 514605"/>
                <a:gd name="connsiteY18" fmla="*/ 20307 h 470364"/>
                <a:gd name="connsiteX19" fmla="*/ 376238 w 514605"/>
                <a:gd name="connsiteY19" fmla="*/ 8401 h 470364"/>
                <a:gd name="connsiteX20" fmla="*/ 385763 w 514605"/>
                <a:gd name="connsiteY20" fmla="*/ 22689 h 470364"/>
                <a:gd name="connsiteX21" fmla="*/ 397669 w 514605"/>
                <a:gd name="connsiteY21" fmla="*/ 41739 h 470364"/>
                <a:gd name="connsiteX22" fmla="*/ 404813 w 514605"/>
                <a:gd name="connsiteY22" fmla="*/ 39357 h 470364"/>
                <a:gd name="connsiteX23" fmla="*/ 411956 w 514605"/>
                <a:gd name="connsiteY23" fmla="*/ 34595 h 470364"/>
                <a:gd name="connsiteX24" fmla="*/ 419100 w 514605"/>
                <a:gd name="connsiteY24" fmla="*/ 36976 h 470364"/>
                <a:gd name="connsiteX25" fmla="*/ 428625 w 514605"/>
                <a:gd name="connsiteY25" fmla="*/ 34595 h 470364"/>
                <a:gd name="connsiteX26" fmla="*/ 435769 w 514605"/>
                <a:gd name="connsiteY26" fmla="*/ 29832 h 470364"/>
                <a:gd name="connsiteX27" fmla="*/ 454819 w 514605"/>
                <a:gd name="connsiteY27" fmla="*/ 32214 h 470364"/>
                <a:gd name="connsiteX28" fmla="*/ 469106 w 514605"/>
                <a:gd name="connsiteY28" fmla="*/ 41739 h 470364"/>
                <a:gd name="connsiteX29" fmla="*/ 461963 w 514605"/>
                <a:gd name="connsiteY29" fmla="*/ 60789 h 470364"/>
                <a:gd name="connsiteX30" fmla="*/ 457200 w 514605"/>
                <a:gd name="connsiteY30" fmla="*/ 75076 h 470364"/>
                <a:gd name="connsiteX31" fmla="*/ 454819 w 514605"/>
                <a:gd name="connsiteY31" fmla="*/ 82220 h 470364"/>
                <a:gd name="connsiteX32" fmla="*/ 452438 w 514605"/>
                <a:gd name="connsiteY32" fmla="*/ 113176 h 470364"/>
                <a:gd name="connsiteX33" fmla="*/ 452438 w 514605"/>
                <a:gd name="connsiteY33" fmla="*/ 141751 h 470364"/>
                <a:gd name="connsiteX34" fmla="*/ 459581 w 514605"/>
                <a:gd name="connsiteY34" fmla="*/ 146514 h 470364"/>
                <a:gd name="connsiteX35" fmla="*/ 476250 w 514605"/>
                <a:gd name="connsiteY35" fmla="*/ 146514 h 470364"/>
                <a:gd name="connsiteX36" fmla="*/ 485775 w 514605"/>
                <a:gd name="connsiteY36" fmla="*/ 158420 h 470364"/>
                <a:gd name="connsiteX37" fmla="*/ 500063 w 514605"/>
                <a:gd name="connsiteY37" fmla="*/ 160801 h 470364"/>
                <a:gd name="connsiteX38" fmla="*/ 507206 w 514605"/>
                <a:gd name="connsiteY38" fmla="*/ 170326 h 470364"/>
                <a:gd name="connsiteX39" fmla="*/ 514350 w 514605"/>
                <a:gd name="connsiteY39" fmla="*/ 177470 h 470364"/>
                <a:gd name="connsiteX40" fmla="*/ 511969 w 514605"/>
                <a:gd name="connsiteY40" fmla="*/ 184614 h 470364"/>
                <a:gd name="connsiteX41" fmla="*/ 497681 w 514605"/>
                <a:gd name="connsiteY41" fmla="*/ 189376 h 470364"/>
                <a:gd name="connsiteX42" fmla="*/ 481013 w 514605"/>
                <a:gd name="connsiteY42" fmla="*/ 194139 h 470364"/>
                <a:gd name="connsiteX43" fmla="*/ 490538 w 514605"/>
                <a:gd name="connsiteY43" fmla="*/ 206045 h 470364"/>
                <a:gd name="connsiteX44" fmla="*/ 497681 w 514605"/>
                <a:gd name="connsiteY44" fmla="*/ 232239 h 470364"/>
                <a:gd name="connsiteX45" fmla="*/ 504825 w 514605"/>
                <a:gd name="connsiteY45" fmla="*/ 239382 h 470364"/>
                <a:gd name="connsiteX46" fmla="*/ 504825 w 514605"/>
                <a:gd name="connsiteY46" fmla="*/ 258432 h 470364"/>
                <a:gd name="connsiteX47" fmla="*/ 497681 w 514605"/>
                <a:gd name="connsiteY47" fmla="*/ 260814 h 470364"/>
                <a:gd name="connsiteX48" fmla="*/ 490538 w 514605"/>
                <a:gd name="connsiteY48" fmla="*/ 267957 h 470364"/>
                <a:gd name="connsiteX49" fmla="*/ 459581 w 514605"/>
                <a:gd name="connsiteY49" fmla="*/ 272720 h 470364"/>
                <a:gd name="connsiteX50" fmla="*/ 445294 w 514605"/>
                <a:gd name="connsiteY50" fmla="*/ 277482 h 470364"/>
                <a:gd name="connsiteX51" fmla="*/ 457200 w 514605"/>
                <a:gd name="connsiteY51" fmla="*/ 291770 h 470364"/>
                <a:gd name="connsiteX52" fmla="*/ 459581 w 514605"/>
                <a:gd name="connsiteY52" fmla="*/ 298914 h 470364"/>
                <a:gd name="connsiteX53" fmla="*/ 471488 w 514605"/>
                <a:gd name="connsiteY53" fmla="*/ 320345 h 470364"/>
                <a:gd name="connsiteX54" fmla="*/ 469106 w 514605"/>
                <a:gd name="connsiteY54" fmla="*/ 327489 h 470364"/>
                <a:gd name="connsiteX55" fmla="*/ 454819 w 514605"/>
                <a:gd name="connsiteY55" fmla="*/ 317964 h 470364"/>
                <a:gd name="connsiteX56" fmla="*/ 445294 w 514605"/>
                <a:gd name="connsiteY56" fmla="*/ 320345 h 470364"/>
                <a:gd name="connsiteX57" fmla="*/ 421481 w 514605"/>
                <a:gd name="connsiteY57" fmla="*/ 327489 h 470364"/>
                <a:gd name="connsiteX58" fmla="*/ 421481 w 514605"/>
                <a:gd name="connsiteY58" fmla="*/ 344157 h 470364"/>
                <a:gd name="connsiteX59" fmla="*/ 419100 w 514605"/>
                <a:gd name="connsiteY59" fmla="*/ 363207 h 470364"/>
                <a:gd name="connsiteX60" fmla="*/ 416719 w 514605"/>
                <a:gd name="connsiteY60" fmla="*/ 375114 h 470364"/>
                <a:gd name="connsiteX61" fmla="*/ 407194 w 514605"/>
                <a:gd name="connsiteY61" fmla="*/ 377495 h 470364"/>
                <a:gd name="connsiteX62" fmla="*/ 402431 w 514605"/>
                <a:gd name="connsiteY62" fmla="*/ 384639 h 470364"/>
                <a:gd name="connsiteX63" fmla="*/ 395288 w 514605"/>
                <a:gd name="connsiteY63" fmla="*/ 391782 h 470364"/>
                <a:gd name="connsiteX64" fmla="*/ 392906 w 514605"/>
                <a:gd name="connsiteY64" fmla="*/ 398926 h 470364"/>
                <a:gd name="connsiteX65" fmla="*/ 397669 w 514605"/>
                <a:gd name="connsiteY65" fmla="*/ 413214 h 470364"/>
                <a:gd name="connsiteX66" fmla="*/ 400050 w 514605"/>
                <a:gd name="connsiteY66" fmla="*/ 420357 h 470364"/>
                <a:gd name="connsiteX67" fmla="*/ 407194 w 514605"/>
                <a:gd name="connsiteY67" fmla="*/ 427501 h 470364"/>
                <a:gd name="connsiteX68" fmla="*/ 402431 w 514605"/>
                <a:gd name="connsiteY68" fmla="*/ 444170 h 470364"/>
                <a:gd name="connsiteX69" fmla="*/ 397669 w 514605"/>
                <a:gd name="connsiteY69" fmla="*/ 451314 h 470364"/>
                <a:gd name="connsiteX70" fmla="*/ 376238 w 514605"/>
                <a:gd name="connsiteY70" fmla="*/ 470364 h 470364"/>
                <a:gd name="connsiteX71" fmla="*/ 366713 w 514605"/>
                <a:gd name="connsiteY71" fmla="*/ 458457 h 470364"/>
                <a:gd name="connsiteX72" fmla="*/ 361950 w 514605"/>
                <a:gd name="connsiteY72" fmla="*/ 451314 h 470364"/>
                <a:gd name="connsiteX73" fmla="*/ 354806 w 514605"/>
                <a:gd name="connsiteY73" fmla="*/ 448932 h 470364"/>
                <a:gd name="connsiteX74" fmla="*/ 340519 w 514605"/>
                <a:gd name="connsiteY74" fmla="*/ 439407 h 470364"/>
                <a:gd name="connsiteX75" fmla="*/ 328613 w 514605"/>
                <a:gd name="connsiteY75" fmla="*/ 425120 h 470364"/>
                <a:gd name="connsiteX76" fmla="*/ 321469 w 514605"/>
                <a:gd name="connsiteY76" fmla="*/ 422739 h 470364"/>
                <a:gd name="connsiteX77" fmla="*/ 314325 w 514605"/>
                <a:gd name="connsiteY77" fmla="*/ 415595 h 470364"/>
                <a:gd name="connsiteX78" fmla="*/ 300038 w 514605"/>
                <a:gd name="connsiteY78" fmla="*/ 420357 h 470364"/>
                <a:gd name="connsiteX79" fmla="*/ 290513 w 514605"/>
                <a:gd name="connsiteY79" fmla="*/ 417976 h 470364"/>
                <a:gd name="connsiteX80" fmla="*/ 304800 w 514605"/>
                <a:gd name="connsiteY80" fmla="*/ 413214 h 470364"/>
                <a:gd name="connsiteX81" fmla="*/ 295275 w 514605"/>
                <a:gd name="connsiteY81" fmla="*/ 401307 h 470364"/>
                <a:gd name="connsiteX82" fmla="*/ 283369 w 514605"/>
                <a:gd name="connsiteY82" fmla="*/ 389401 h 470364"/>
                <a:gd name="connsiteX83" fmla="*/ 273844 w 514605"/>
                <a:gd name="connsiteY83" fmla="*/ 377495 h 470364"/>
                <a:gd name="connsiteX84" fmla="*/ 266700 w 514605"/>
                <a:gd name="connsiteY84" fmla="*/ 370351 h 470364"/>
                <a:gd name="connsiteX85" fmla="*/ 250031 w 514605"/>
                <a:gd name="connsiteY85" fmla="*/ 358445 h 470364"/>
                <a:gd name="connsiteX86" fmla="*/ 233363 w 514605"/>
                <a:gd name="connsiteY86" fmla="*/ 346539 h 470364"/>
                <a:gd name="connsiteX87" fmla="*/ 226219 w 514605"/>
                <a:gd name="connsiteY87" fmla="*/ 322726 h 470364"/>
                <a:gd name="connsiteX88" fmla="*/ 221456 w 514605"/>
                <a:gd name="connsiteY88" fmla="*/ 308439 h 470364"/>
                <a:gd name="connsiteX89" fmla="*/ 204788 w 514605"/>
                <a:gd name="connsiteY89" fmla="*/ 306057 h 470364"/>
                <a:gd name="connsiteX90" fmla="*/ 183356 w 514605"/>
                <a:gd name="connsiteY90" fmla="*/ 294151 h 470364"/>
                <a:gd name="connsiteX91" fmla="*/ 169069 w 514605"/>
                <a:gd name="connsiteY91" fmla="*/ 279864 h 470364"/>
                <a:gd name="connsiteX92" fmla="*/ 161925 w 514605"/>
                <a:gd name="connsiteY92" fmla="*/ 272720 h 470364"/>
                <a:gd name="connsiteX93" fmla="*/ 154781 w 514605"/>
                <a:gd name="connsiteY93" fmla="*/ 267957 h 470364"/>
                <a:gd name="connsiteX94" fmla="*/ 145256 w 514605"/>
                <a:gd name="connsiteY94" fmla="*/ 253670 h 470364"/>
                <a:gd name="connsiteX95" fmla="*/ 135731 w 514605"/>
                <a:gd name="connsiteY95" fmla="*/ 239382 h 470364"/>
                <a:gd name="connsiteX96" fmla="*/ 130969 w 514605"/>
                <a:gd name="connsiteY96" fmla="*/ 232239 h 470364"/>
                <a:gd name="connsiteX97" fmla="*/ 128588 w 514605"/>
                <a:gd name="connsiteY97" fmla="*/ 225095 h 470364"/>
                <a:gd name="connsiteX98" fmla="*/ 119063 w 514605"/>
                <a:gd name="connsiteY98" fmla="*/ 210807 h 470364"/>
                <a:gd name="connsiteX99" fmla="*/ 88106 w 514605"/>
                <a:gd name="connsiteY99" fmla="*/ 213189 h 470364"/>
                <a:gd name="connsiteX100" fmla="*/ 80963 w 514605"/>
                <a:gd name="connsiteY100" fmla="*/ 179851 h 470364"/>
                <a:gd name="connsiteX101" fmla="*/ 76200 w 514605"/>
                <a:gd name="connsiteY101" fmla="*/ 172707 h 470364"/>
                <a:gd name="connsiteX102" fmla="*/ 71438 w 514605"/>
                <a:gd name="connsiteY102" fmla="*/ 158420 h 470364"/>
                <a:gd name="connsiteX103" fmla="*/ 69056 w 514605"/>
                <a:gd name="connsiteY103" fmla="*/ 151276 h 470364"/>
                <a:gd name="connsiteX104" fmla="*/ 54769 w 514605"/>
                <a:gd name="connsiteY104" fmla="*/ 136989 h 470364"/>
                <a:gd name="connsiteX105" fmla="*/ 52388 w 514605"/>
                <a:gd name="connsiteY105" fmla="*/ 129845 h 470364"/>
                <a:gd name="connsiteX106" fmla="*/ 26194 w 514605"/>
                <a:gd name="connsiteY106" fmla="*/ 113176 h 470364"/>
                <a:gd name="connsiteX107" fmla="*/ 2381 w 514605"/>
                <a:gd name="connsiteY107" fmla="*/ 101270 h 470364"/>
                <a:gd name="connsiteX108" fmla="*/ 4763 w 514605"/>
                <a:gd name="connsiteY108" fmla="*/ 72695 h 470364"/>
                <a:gd name="connsiteX109" fmla="*/ 0 w 514605"/>
                <a:gd name="connsiteY109" fmla="*/ 34595 h 470364"/>
                <a:gd name="connsiteX110" fmla="*/ 2381 w 514605"/>
                <a:gd name="connsiteY110" fmla="*/ 20307 h 470364"/>
                <a:gd name="connsiteX111" fmla="*/ 9525 w 514605"/>
                <a:gd name="connsiteY111" fmla="*/ 17926 h 470364"/>
                <a:gd name="connsiteX112" fmla="*/ 19050 w 514605"/>
                <a:gd name="connsiteY112" fmla="*/ 15545 h 470364"/>
                <a:gd name="connsiteX113" fmla="*/ 26194 w 514605"/>
                <a:gd name="connsiteY113" fmla="*/ 17926 h 470364"/>
                <a:gd name="connsiteX114" fmla="*/ 30956 w 514605"/>
                <a:gd name="connsiteY114" fmla="*/ 25070 h 470364"/>
                <a:gd name="connsiteX115" fmla="*/ 38100 w 514605"/>
                <a:gd name="connsiteY115" fmla="*/ 32214 h 470364"/>
                <a:gd name="connsiteX116" fmla="*/ 42863 w 514605"/>
                <a:gd name="connsiteY116" fmla="*/ 25069 h 470364"/>
                <a:gd name="connsiteX117" fmla="*/ 50006 w 514605"/>
                <a:gd name="connsiteY117" fmla="*/ 44120 h 470364"/>
                <a:gd name="connsiteX118" fmla="*/ 57150 w 514605"/>
                <a:gd name="connsiteY118" fmla="*/ 51264 h 470364"/>
                <a:gd name="connsiteX119" fmla="*/ 73819 w 514605"/>
                <a:gd name="connsiteY119" fmla="*/ 46501 h 470364"/>
                <a:gd name="connsiteX120" fmla="*/ 90488 w 514605"/>
                <a:gd name="connsiteY120" fmla="*/ 44120 h 470364"/>
                <a:gd name="connsiteX121" fmla="*/ 92869 w 514605"/>
                <a:gd name="connsiteY121" fmla="*/ 15545 h 470364"/>
                <a:gd name="connsiteX122" fmla="*/ 107156 w 514605"/>
                <a:gd name="connsiteY122" fmla="*/ 10782 h 470364"/>
                <a:gd name="connsiteX123" fmla="*/ 121444 w 514605"/>
                <a:gd name="connsiteY123" fmla="*/ 8401 h 470364"/>
                <a:gd name="connsiteX124" fmla="*/ 142875 w 514605"/>
                <a:gd name="connsiteY124" fmla="*/ 6020 h 470364"/>
                <a:gd name="connsiteX125" fmla="*/ 147638 w 514605"/>
                <a:gd name="connsiteY125" fmla="*/ 6020 h 470364"/>
                <a:gd name="connsiteX0" fmla="*/ 147638 w 514605"/>
                <a:gd name="connsiteY0" fmla="*/ 6020 h 470364"/>
                <a:gd name="connsiteX1" fmla="*/ 161925 w 514605"/>
                <a:gd name="connsiteY1" fmla="*/ 3639 h 470364"/>
                <a:gd name="connsiteX2" fmla="*/ 169069 w 514605"/>
                <a:gd name="connsiteY2" fmla="*/ 8401 h 470364"/>
                <a:gd name="connsiteX3" fmla="*/ 204788 w 514605"/>
                <a:gd name="connsiteY3" fmla="*/ 6020 h 470364"/>
                <a:gd name="connsiteX4" fmla="*/ 219075 w 514605"/>
                <a:gd name="connsiteY4" fmla="*/ 6020 h 470364"/>
                <a:gd name="connsiteX5" fmla="*/ 223838 w 514605"/>
                <a:gd name="connsiteY5" fmla="*/ 13164 h 470364"/>
                <a:gd name="connsiteX6" fmla="*/ 230981 w 514605"/>
                <a:gd name="connsiteY6" fmla="*/ 15545 h 470364"/>
                <a:gd name="connsiteX7" fmla="*/ 250031 w 514605"/>
                <a:gd name="connsiteY7" fmla="*/ 10782 h 470364"/>
                <a:gd name="connsiteX8" fmla="*/ 280988 w 514605"/>
                <a:gd name="connsiteY8" fmla="*/ 10782 h 470364"/>
                <a:gd name="connsiteX9" fmla="*/ 288131 w 514605"/>
                <a:gd name="connsiteY9" fmla="*/ 6020 h 470364"/>
                <a:gd name="connsiteX10" fmla="*/ 292894 w 514605"/>
                <a:gd name="connsiteY10" fmla="*/ 13164 h 470364"/>
                <a:gd name="connsiteX11" fmla="*/ 300038 w 514605"/>
                <a:gd name="connsiteY11" fmla="*/ 10782 h 470364"/>
                <a:gd name="connsiteX12" fmla="*/ 316706 w 514605"/>
                <a:gd name="connsiteY12" fmla="*/ 6020 h 470364"/>
                <a:gd name="connsiteX13" fmla="*/ 321469 w 514605"/>
                <a:gd name="connsiteY13" fmla="*/ 13164 h 470364"/>
                <a:gd name="connsiteX14" fmla="*/ 328613 w 514605"/>
                <a:gd name="connsiteY14" fmla="*/ 8401 h 470364"/>
                <a:gd name="connsiteX15" fmla="*/ 335756 w 514605"/>
                <a:gd name="connsiteY15" fmla="*/ 13164 h 470364"/>
                <a:gd name="connsiteX16" fmla="*/ 354806 w 514605"/>
                <a:gd name="connsiteY16" fmla="*/ 17926 h 470364"/>
                <a:gd name="connsiteX17" fmla="*/ 357188 w 514605"/>
                <a:gd name="connsiteY17" fmla="*/ 25070 h 470364"/>
                <a:gd name="connsiteX18" fmla="*/ 364331 w 514605"/>
                <a:gd name="connsiteY18" fmla="*/ 20307 h 470364"/>
                <a:gd name="connsiteX19" fmla="*/ 376238 w 514605"/>
                <a:gd name="connsiteY19" fmla="*/ 8401 h 470364"/>
                <a:gd name="connsiteX20" fmla="*/ 385763 w 514605"/>
                <a:gd name="connsiteY20" fmla="*/ 22689 h 470364"/>
                <a:gd name="connsiteX21" fmla="*/ 397669 w 514605"/>
                <a:gd name="connsiteY21" fmla="*/ 41739 h 470364"/>
                <a:gd name="connsiteX22" fmla="*/ 404813 w 514605"/>
                <a:gd name="connsiteY22" fmla="*/ 39357 h 470364"/>
                <a:gd name="connsiteX23" fmla="*/ 411956 w 514605"/>
                <a:gd name="connsiteY23" fmla="*/ 34595 h 470364"/>
                <a:gd name="connsiteX24" fmla="*/ 419100 w 514605"/>
                <a:gd name="connsiteY24" fmla="*/ 36976 h 470364"/>
                <a:gd name="connsiteX25" fmla="*/ 428625 w 514605"/>
                <a:gd name="connsiteY25" fmla="*/ 34595 h 470364"/>
                <a:gd name="connsiteX26" fmla="*/ 435769 w 514605"/>
                <a:gd name="connsiteY26" fmla="*/ 29832 h 470364"/>
                <a:gd name="connsiteX27" fmla="*/ 454819 w 514605"/>
                <a:gd name="connsiteY27" fmla="*/ 32214 h 470364"/>
                <a:gd name="connsiteX28" fmla="*/ 469106 w 514605"/>
                <a:gd name="connsiteY28" fmla="*/ 41739 h 470364"/>
                <a:gd name="connsiteX29" fmla="*/ 461963 w 514605"/>
                <a:gd name="connsiteY29" fmla="*/ 60789 h 470364"/>
                <a:gd name="connsiteX30" fmla="*/ 457200 w 514605"/>
                <a:gd name="connsiteY30" fmla="*/ 75076 h 470364"/>
                <a:gd name="connsiteX31" fmla="*/ 454819 w 514605"/>
                <a:gd name="connsiteY31" fmla="*/ 82220 h 470364"/>
                <a:gd name="connsiteX32" fmla="*/ 452438 w 514605"/>
                <a:gd name="connsiteY32" fmla="*/ 113176 h 470364"/>
                <a:gd name="connsiteX33" fmla="*/ 452438 w 514605"/>
                <a:gd name="connsiteY33" fmla="*/ 141751 h 470364"/>
                <a:gd name="connsiteX34" fmla="*/ 459581 w 514605"/>
                <a:gd name="connsiteY34" fmla="*/ 146514 h 470364"/>
                <a:gd name="connsiteX35" fmla="*/ 476250 w 514605"/>
                <a:gd name="connsiteY35" fmla="*/ 146514 h 470364"/>
                <a:gd name="connsiteX36" fmla="*/ 485775 w 514605"/>
                <a:gd name="connsiteY36" fmla="*/ 158420 h 470364"/>
                <a:gd name="connsiteX37" fmla="*/ 500063 w 514605"/>
                <a:gd name="connsiteY37" fmla="*/ 160801 h 470364"/>
                <a:gd name="connsiteX38" fmla="*/ 507206 w 514605"/>
                <a:gd name="connsiteY38" fmla="*/ 170326 h 470364"/>
                <a:gd name="connsiteX39" fmla="*/ 514350 w 514605"/>
                <a:gd name="connsiteY39" fmla="*/ 177470 h 470364"/>
                <a:gd name="connsiteX40" fmla="*/ 511969 w 514605"/>
                <a:gd name="connsiteY40" fmla="*/ 184614 h 470364"/>
                <a:gd name="connsiteX41" fmla="*/ 497681 w 514605"/>
                <a:gd name="connsiteY41" fmla="*/ 189376 h 470364"/>
                <a:gd name="connsiteX42" fmla="*/ 481013 w 514605"/>
                <a:gd name="connsiteY42" fmla="*/ 194139 h 470364"/>
                <a:gd name="connsiteX43" fmla="*/ 490538 w 514605"/>
                <a:gd name="connsiteY43" fmla="*/ 206045 h 470364"/>
                <a:gd name="connsiteX44" fmla="*/ 497681 w 514605"/>
                <a:gd name="connsiteY44" fmla="*/ 232239 h 470364"/>
                <a:gd name="connsiteX45" fmla="*/ 504825 w 514605"/>
                <a:gd name="connsiteY45" fmla="*/ 239382 h 470364"/>
                <a:gd name="connsiteX46" fmla="*/ 504825 w 514605"/>
                <a:gd name="connsiteY46" fmla="*/ 258432 h 470364"/>
                <a:gd name="connsiteX47" fmla="*/ 497681 w 514605"/>
                <a:gd name="connsiteY47" fmla="*/ 260814 h 470364"/>
                <a:gd name="connsiteX48" fmla="*/ 490538 w 514605"/>
                <a:gd name="connsiteY48" fmla="*/ 267957 h 470364"/>
                <a:gd name="connsiteX49" fmla="*/ 459581 w 514605"/>
                <a:gd name="connsiteY49" fmla="*/ 272720 h 470364"/>
                <a:gd name="connsiteX50" fmla="*/ 445294 w 514605"/>
                <a:gd name="connsiteY50" fmla="*/ 277482 h 470364"/>
                <a:gd name="connsiteX51" fmla="*/ 457200 w 514605"/>
                <a:gd name="connsiteY51" fmla="*/ 291770 h 470364"/>
                <a:gd name="connsiteX52" fmla="*/ 459581 w 514605"/>
                <a:gd name="connsiteY52" fmla="*/ 298914 h 470364"/>
                <a:gd name="connsiteX53" fmla="*/ 471488 w 514605"/>
                <a:gd name="connsiteY53" fmla="*/ 320345 h 470364"/>
                <a:gd name="connsiteX54" fmla="*/ 469106 w 514605"/>
                <a:gd name="connsiteY54" fmla="*/ 327489 h 470364"/>
                <a:gd name="connsiteX55" fmla="*/ 454819 w 514605"/>
                <a:gd name="connsiteY55" fmla="*/ 317964 h 470364"/>
                <a:gd name="connsiteX56" fmla="*/ 445294 w 514605"/>
                <a:gd name="connsiteY56" fmla="*/ 320345 h 470364"/>
                <a:gd name="connsiteX57" fmla="*/ 421481 w 514605"/>
                <a:gd name="connsiteY57" fmla="*/ 327489 h 470364"/>
                <a:gd name="connsiteX58" fmla="*/ 421481 w 514605"/>
                <a:gd name="connsiteY58" fmla="*/ 344157 h 470364"/>
                <a:gd name="connsiteX59" fmla="*/ 419100 w 514605"/>
                <a:gd name="connsiteY59" fmla="*/ 363207 h 470364"/>
                <a:gd name="connsiteX60" fmla="*/ 416719 w 514605"/>
                <a:gd name="connsiteY60" fmla="*/ 375114 h 470364"/>
                <a:gd name="connsiteX61" fmla="*/ 407194 w 514605"/>
                <a:gd name="connsiteY61" fmla="*/ 377495 h 470364"/>
                <a:gd name="connsiteX62" fmla="*/ 402431 w 514605"/>
                <a:gd name="connsiteY62" fmla="*/ 384639 h 470364"/>
                <a:gd name="connsiteX63" fmla="*/ 395288 w 514605"/>
                <a:gd name="connsiteY63" fmla="*/ 391782 h 470364"/>
                <a:gd name="connsiteX64" fmla="*/ 392906 w 514605"/>
                <a:gd name="connsiteY64" fmla="*/ 398926 h 470364"/>
                <a:gd name="connsiteX65" fmla="*/ 397669 w 514605"/>
                <a:gd name="connsiteY65" fmla="*/ 413214 h 470364"/>
                <a:gd name="connsiteX66" fmla="*/ 400050 w 514605"/>
                <a:gd name="connsiteY66" fmla="*/ 420357 h 470364"/>
                <a:gd name="connsiteX67" fmla="*/ 407194 w 514605"/>
                <a:gd name="connsiteY67" fmla="*/ 427501 h 470364"/>
                <a:gd name="connsiteX68" fmla="*/ 402431 w 514605"/>
                <a:gd name="connsiteY68" fmla="*/ 444170 h 470364"/>
                <a:gd name="connsiteX69" fmla="*/ 397669 w 514605"/>
                <a:gd name="connsiteY69" fmla="*/ 451314 h 470364"/>
                <a:gd name="connsiteX70" fmla="*/ 376238 w 514605"/>
                <a:gd name="connsiteY70" fmla="*/ 470364 h 470364"/>
                <a:gd name="connsiteX71" fmla="*/ 366713 w 514605"/>
                <a:gd name="connsiteY71" fmla="*/ 458457 h 470364"/>
                <a:gd name="connsiteX72" fmla="*/ 361950 w 514605"/>
                <a:gd name="connsiteY72" fmla="*/ 451314 h 470364"/>
                <a:gd name="connsiteX73" fmla="*/ 354806 w 514605"/>
                <a:gd name="connsiteY73" fmla="*/ 448932 h 470364"/>
                <a:gd name="connsiteX74" fmla="*/ 340519 w 514605"/>
                <a:gd name="connsiteY74" fmla="*/ 439407 h 470364"/>
                <a:gd name="connsiteX75" fmla="*/ 328613 w 514605"/>
                <a:gd name="connsiteY75" fmla="*/ 425120 h 470364"/>
                <a:gd name="connsiteX76" fmla="*/ 321469 w 514605"/>
                <a:gd name="connsiteY76" fmla="*/ 422739 h 470364"/>
                <a:gd name="connsiteX77" fmla="*/ 314325 w 514605"/>
                <a:gd name="connsiteY77" fmla="*/ 415595 h 470364"/>
                <a:gd name="connsiteX78" fmla="*/ 300038 w 514605"/>
                <a:gd name="connsiteY78" fmla="*/ 420357 h 470364"/>
                <a:gd name="connsiteX79" fmla="*/ 290513 w 514605"/>
                <a:gd name="connsiteY79" fmla="*/ 417976 h 470364"/>
                <a:gd name="connsiteX80" fmla="*/ 304800 w 514605"/>
                <a:gd name="connsiteY80" fmla="*/ 413214 h 470364"/>
                <a:gd name="connsiteX81" fmla="*/ 295275 w 514605"/>
                <a:gd name="connsiteY81" fmla="*/ 401307 h 470364"/>
                <a:gd name="connsiteX82" fmla="*/ 283369 w 514605"/>
                <a:gd name="connsiteY82" fmla="*/ 389401 h 470364"/>
                <a:gd name="connsiteX83" fmla="*/ 273844 w 514605"/>
                <a:gd name="connsiteY83" fmla="*/ 377495 h 470364"/>
                <a:gd name="connsiteX84" fmla="*/ 266700 w 514605"/>
                <a:gd name="connsiteY84" fmla="*/ 370351 h 470364"/>
                <a:gd name="connsiteX85" fmla="*/ 250031 w 514605"/>
                <a:gd name="connsiteY85" fmla="*/ 358445 h 470364"/>
                <a:gd name="connsiteX86" fmla="*/ 233363 w 514605"/>
                <a:gd name="connsiteY86" fmla="*/ 346539 h 470364"/>
                <a:gd name="connsiteX87" fmla="*/ 226219 w 514605"/>
                <a:gd name="connsiteY87" fmla="*/ 322726 h 470364"/>
                <a:gd name="connsiteX88" fmla="*/ 221456 w 514605"/>
                <a:gd name="connsiteY88" fmla="*/ 308439 h 470364"/>
                <a:gd name="connsiteX89" fmla="*/ 204788 w 514605"/>
                <a:gd name="connsiteY89" fmla="*/ 306057 h 470364"/>
                <a:gd name="connsiteX90" fmla="*/ 183356 w 514605"/>
                <a:gd name="connsiteY90" fmla="*/ 294151 h 470364"/>
                <a:gd name="connsiteX91" fmla="*/ 169069 w 514605"/>
                <a:gd name="connsiteY91" fmla="*/ 279864 h 470364"/>
                <a:gd name="connsiteX92" fmla="*/ 161925 w 514605"/>
                <a:gd name="connsiteY92" fmla="*/ 272720 h 470364"/>
                <a:gd name="connsiteX93" fmla="*/ 154781 w 514605"/>
                <a:gd name="connsiteY93" fmla="*/ 267957 h 470364"/>
                <a:gd name="connsiteX94" fmla="*/ 145256 w 514605"/>
                <a:gd name="connsiteY94" fmla="*/ 253670 h 470364"/>
                <a:gd name="connsiteX95" fmla="*/ 135731 w 514605"/>
                <a:gd name="connsiteY95" fmla="*/ 239382 h 470364"/>
                <a:gd name="connsiteX96" fmla="*/ 130969 w 514605"/>
                <a:gd name="connsiteY96" fmla="*/ 232239 h 470364"/>
                <a:gd name="connsiteX97" fmla="*/ 128588 w 514605"/>
                <a:gd name="connsiteY97" fmla="*/ 225095 h 470364"/>
                <a:gd name="connsiteX98" fmla="*/ 119063 w 514605"/>
                <a:gd name="connsiteY98" fmla="*/ 210807 h 470364"/>
                <a:gd name="connsiteX99" fmla="*/ 88106 w 514605"/>
                <a:gd name="connsiteY99" fmla="*/ 213189 h 470364"/>
                <a:gd name="connsiteX100" fmla="*/ 80963 w 514605"/>
                <a:gd name="connsiteY100" fmla="*/ 179851 h 470364"/>
                <a:gd name="connsiteX101" fmla="*/ 76200 w 514605"/>
                <a:gd name="connsiteY101" fmla="*/ 172707 h 470364"/>
                <a:gd name="connsiteX102" fmla="*/ 71438 w 514605"/>
                <a:gd name="connsiteY102" fmla="*/ 158420 h 470364"/>
                <a:gd name="connsiteX103" fmla="*/ 69056 w 514605"/>
                <a:gd name="connsiteY103" fmla="*/ 151276 h 470364"/>
                <a:gd name="connsiteX104" fmla="*/ 54769 w 514605"/>
                <a:gd name="connsiteY104" fmla="*/ 136989 h 470364"/>
                <a:gd name="connsiteX105" fmla="*/ 52388 w 514605"/>
                <a:gd name="connsiteY105" fmla="*/ 129845 h 470364"/>
                <a:gd name="connsiteX106" fmla="*/ 26194 w 514605"/>
                <a:gd name="connsiteY106" fmla="*/ 113176 h 470364"/>
                <a:gd name="connsiteX107" fmla="*/ 2381 w 514605"/>
                <a:gd name="connsiteY107" fmla="*/ 101270 h 470364"/>
                <a:gd name="connsiteX108" fmla="*/ 4763 w 514605"/>
                <a:gd name="connsiteY108" fmla="*/ 72695 h 470364"/>
                <a:gd name="connsiteX109" fmla="*/ 0 w 514605"/>
                <a:gd name="connsiteY109" fmla="*/ 34595 h 470364"/>
                <a:gd name="connsiteX110" fmla="*/ 2381 w 514605"/>
                <a:gd name="connsiteY110" fmla="*/ 20307 h 470364"/>
                <a:gd name="connsiteX111" fmla="*/ 9525 w 514605"/>
                <a:gd name="connsiteY111" fmla="*/ 17926 h 470364"/>
                <a:gd name="connsiteX112" fmla="*/ 19050 w 514605"/>
                <a:gd name="connsiteY112" fmla="*/ 15545 h 470364"/>
                <a:gd name="connsiteX113" fmla="*/ 26194 w 514605"/>
                <a:gd name="connsiteY113" fmla="*/ 17926 h 470364"/>
                <a:gd name="connsiteX114" fmla="*/ 30956 w 514605"/>
                <a:gd name="connsiteY114" fmla="*/ 25070 h 470364"/>
                <a:gd name="connsiteX115" fmla="*/ 40482 w 514605"/>
                <a:gd name="connsiteY115" fmla="*/ 15545 h 470364"/>
                <a:gd name="connsiteX116" fmla="*/ 42863 w 514605"/>
                <a:gd name="connsiteY116" fmla="*/ 25069 h 470364"/>
                <a:gd name="connsiteX117" fmla="*/ 50006 w 514605"/>
                <a:gd name="connsiteY117" fmla="*/ 44120 h 470364"/>
                <a:gd name="connsiteX118" fmla="*/ 57150 w 514605"/>
                <a:gd name="connsiteY118" fmla="*/ 51264 h 470364"/>
                <a:gd name="connsiteX119" fmla="*/ 73819 w 514605"/>
                <a:gd name="connsiteY119" fmla="*/ 46501 h 470364"/>
                <a:gd name="connsiteX120" fmla="*/ 90488 w 514605"/>
                <a:gd name="connsiteY120" fmla="*/ 44120 h 470364"/>
                <a:gd name="connsiteX121" fmla="*/ 92869 w 514605"/>
                <a:gd name="connsiteY121" fmla="*/ 15545 h 470364"/>
                <a:gd name="connsiteX122" fmla="*/ 107156 w 514605"/>
                <a:gd name="connsiteY122" fmla="*/ 10782 h 470364"/>
                <a:gd name="connsiteX123" fmla="*/ 121444 w 514605"/>
                <a:gd name="connsiteY123" fmla="*/ 8401 h 470364"/>
                <a:gd name="connsiteX124" fmla="*/ 142875 w 514605"/>
                <a:gd name="connsiteY124" fmla="*/ 6020 h 470364"/>
                <a:gd name="connsiteX125" fmla="*/ 147638 w 514605"/>
                <a:gd name="connsiteY125" fmla="*/ 6020 h 470364"/>
                <a:gd name="connsiteX0" fmla="*/ 147638 w 514605"/>
                <a:gd name="connsiteY0" fmla="*/ 6020 h 470364"/>
                <a:gd name="connsiteX1" fmla="*/ 161925 w 514605"/>
                <a:gd name="connsiteY1" fmla="*/ 3639 h 470364"/>
                <a:gd name="connsiteX2" fmla="*/ 169069 w 514605"/>
                <a:gd name="connsiteY2" fmla="*/ 8401 h 470364"/>
                <a:gd name="connsiteX3" fmla="*/ 204788 w 514605"/>
                <a:gd name="connsiteY3" fmla="*/ 6020 h 470364"/>
                <a:gd name="connsiteX4" fmla="*/ 219075 w 514605"/>
                <a:gd name="connsiteY4" fmla="*/ 6020 h 470364"/>
                <a:gd name="connsiteX5" fmla="*/ 223838 w 514605"/>
                <a:gd name="connsiteY5" fmla="*/ 13164 h 470364"/>
                <a:gd name="connsiteX6" fmla="*/ 230981 w 514605"/>
                <a:gd name="connsiteY6" fmla="*/ 15545 h 470364"/>
                <a:gd name="connsiteX7" fmla="*/ 250031 w 514605"/>
                <a:gd name="connsiteY7" fmla="*/ 10782 h 470364"/>
                <a:gd name="connsiteX8" fmla="*/ 280988 w 514605"/>
                <a:gd name="connsiteY8" fmla="*/ 10782 h 470364"/>
                <a:gd name="connsiteX9" fmla="*/ 288131 w 514605"/>
                <a:gd name="connsiteY9" fmla="*/ 6020 h 470364"/>
                <a:gd name="connsiteX10" fmla="*/ 292894 w 514605"/>
                <a:gd name="connsiteY10" fmla="*/ 13164 h 470364"/>
                <a:gd name="connsiteX11" fmla="*/ 300038 w 514605"/>
                <a:gd name="connsiteY11" fmla="*/ 10782 h 470364"/>
                <a:gd name="connsiteX12" fmla="*/ 316706 w 514605"/>
                <a:gd name="connsiteY12" fmla="*/ 6020 h 470364"/>
                <a:gd name="connsiteX13" fmla="*/ 321469 w 514605"/>
                <a:gd name="connsiteY13" fmla="*/ 13164 h 470364"/>
                <a:gd name="connsiteX14" fmla="*/ 328613 w 514605"/>
                <a:gd name="connsiteY14" fmla="*/ 8401 h 470364"/>
                <a:gd name="connsiteX15" fmla="*/ 335756 w 514605"/>
                <a:gd name="connsiteY15" fmla="*/ 13164 h 470364"/>
                <a:gd name="connsiteX16" fmla="*/ 354806 w 514605"/>
                <a:gd name="connsiteY16" fmla="*/ 17926 h 470364"/>
                <a:gd name="connsiteX17" fmla="*/ 357188 w 514605"/>
                <a:gd name="connsiteY17" fmla="*/ 25070 h 470364"/>
                <a:gd name="connsiteX18" fmla="*/ 364331 w 514605"/>
                <a:gd name="connsiteY18" fmla="*/ 20307 h 470364"/>
                <a:gd name="connsiteX19" fmla="*/ 376238 w 514605"/>
                <a:gd name="connsiteY19" fmla="*/ 8401 h 470364"/>
                <a:gd name="connsiteX20" fmla="*/ 385763 w 514605"/>
                <a:gd name="connsiteY20" fmla="*/ 22689 h 470364"/>
                <a:gd name="connsiteX21" fmla="*/ 397669 w 514605"/>
                <a:gd name="connsiteY21" fmla="*/ 41739 h 470364"/>
                <a:gd name="connsiteX22" fmla="*/ 404813 w 514605"/>
                <a:gd name="connsiteY22" fmla="*/ 39357 h 470364"/>
                <a:gd name="connsiteX23" fmla="*/ 411956 w 514605"/>
                <a:gd name="connsiteY23" fmla="*/ 34595 h 470364"/>
                <a:gd name="connsiteX24" fmla="*/ 419100 w 514605"/>
                <a:gd name="connsiteY24" fmla="*/ 36976 h 470364"/>
                <a:gd name="connsiteX25" fmla="*/ 428625 w 514605"/>
                <a:gd name="connsiteY25" fmla="*/ 34595 h 470364"/>
                <a:gd name="connsiteX26" fmla="*/ 435769 w 514605"/>
                <a:gd name="connsiteY26" fmla="*/ 29832 h 470364"/>
                <a:gd name="connsiteX27" fmla="*/ 454819 w 514605"/>
                <a:gd name="connsiteY27" fmla="*/ 32214 h 470364"/>
                <a:gd name="connsiteX28" fmla="*/ 469106 w 514605"/>
                <a:gd name="connsiteY28" fmla="*/ 41739 h 470364"/>
                <a:gd name="connsiteX29" fmla="*/ 461963 w 514605"/>
                <a:gd name="connsiteY29" fmla="*/ 60789 h 470364"/>
                <a:gd name="connsiteX30" fmla="*/ 457200 w 514605"/>
                <a:gd name="connsiteY30" fmla="*/ 75076 h 470364"/>
                <a:gd name="connsiteX31" fmla="*/ 454819 w 514605"/>
                <a:gd name="connsiteY31" fmla="*/ 82220 h 470364"/>
                <a:gd name="connsiteX32" fmla="*/ 452438 w 514605"/>
                <a:gd name="connsiteY32" fmla="*/ 113176 h 470364"/>
                <a:gd name="connsiteX33" fmla="*/ 452438 w 514605"/>
                <a:gd name="connsiteY33" fmla="*/ 141751 h 470364"/>
                <a:gd name="connsiteX34" fmla="*/ 459581 w 514605"/>
                <a:gd name="connsiteY34" fmla="*/ 146514 h 470364"/>
                <a:gd name="connsiteX35" fmla="*/ 476250 w 514605"/>
                <a:gd name="connsiteY35" fmla="*/ 146514 h 470364"/>
                <a:gd name="connsiteX36" fmla="*/ 485775 w 514605"/>
                <a:gd name="connsiteY36" fmla="*/ 158420 h 470364"/>
                <a:gd name="connsiteX37" fmla="*/ 500063 w 514605"/>
                <a:gd name="connsiteY37" fmla="*/ 160801 h 470364"/>
                <a:gd name="connsiteX38" fmla="*/ 507206 w 514605"/>
                <a:gd name="connsiteY38" fmla="*/ 170326 h 470364"/>
                <a:gd name="connsiteX39" fmla="*/ 514350 w 514605"/>
                <a:gd name="connsiteY39" fmla="*/ 177470 h 470364"/>
                <a:gd name="connsiteX40" fmla="*/ 511969 w 514605"/>
                <a:gd name="connsiteY40" fmla="*/ 184614 h 470364"/>
                <a:gd name="connsiteX41" fmla="*/ 497681 w 514605"/>
                <a:gd name="connsiteY41" fmla="*/ 189376 h 470364"/>
                <a:gd name="connsiteX42" fmla="*/ 481013 w 514605"/>
                <a:gd name="connsiteY42" fmla="*/ 194139 h 470364"/>
                <a:gd name="connsiteX43" fmla="*/ 490538 w 514605"/>
                <a:gd name="connsiteY43" fmla="*/ 206045 h 470364"/>
                <a:gd name="connsiteX44" fmla="*/ 497681 w 514605"/>
                <a:gd name="connsiteY44" fmla="*/ 232239 h 470364"/>
                <a:gd name="connsiteX45" fmla="*/ 504825 w 514605"/>
                <a:gd name="connsiteY45" fmla="*/ 239382 h 470364"/>
                <a:gd name="connsiteX46" fmla="*/ 504825 w 514605"/>
                <a:gd name="connsiteY46" fmla="*/ 258432 h 470364"/>
                <a:gd name="connsiteX47" fmla="*/ 497681 w 514605"/>
                <a:gd name="connsiteY47" fmla="*/ 260814 h 470364"/>
                <a:gd name="connsiteX48" fmla="*/ 490538 w 514605"/>
                <a:gd name="connsiteY48" fmla="*/ 267957 h 470364"/>
                <a:gd name="connsiteX49" fmla="*/ 459581 w 514605"/>
                <a:gd name="connsiteY49" fmla="*/ 272720 h 470364"/>
                <a:gd name="connsiteX50" fmla="*/ 445294 w 514605"/>
                <a:gd name="connsiteY50" fmla="*/ 277482 h 470364"/>
                <a:gd name="connsiteX51" fmla="*/ 457200 w 514605"/>
                <a:gd name="connsiteY51" fmla="*/ 291770 h 470364"/>
                <a:gd name="connsiteX52" fmla="*/ 459581 w 514605"/>
                <a:gd name="connsiteY52" fmla="*/ 298914 h 470364"/>
                <a:gd name="connsiteX53" fmla="*/ 471488 w 514605"/>
                <a:gd name="connsiteY53" fmla="*/ 320345 h 470364"/>
                <a:gd name="connsiteX54" fmla="*/ 469106 w 514605"/>
                <a:gd name="connsiteY54" fmla="*/ 327489 h 470364"/>
                <a:gd name="connsiteX55" fmla="*/ 454819 w 514605"/>
                <a:gd name="connsiteY55" fmla="*/ 317964 h 470364"/>
                <a:gd name="connsiteX56" fmla="*/ 445294 w 514605"/>
                <a:gd name="connsiteY56" fmla="*/ 320345 h 470364"/>
                <a:gd name="connsiteX57" fmla="*/ 421481 w 514605"/>
                <a:gd name="connsiteY57" fmla="*/ 327489 h 470364"/>
                <a:gd name="connsiteX58" fmla="*/ 421481 w 514605"/>
                <a:gd name="connsiteY58" fmla="*/ 344157 h 470364"/>
                <a:gd name="connsiteX59" fmla="*/ 419100 w 514605"/>
                <a:gd name="connsiteY59" fmla="*/ 363207 h 470364"/>
                <a:gd name="connsiteX60" fmla="*/ 416719 w 514605"/>
                <a:gd name="connsiteY60" fmla="*/ 375114 h 470364"/>
                <a:gd name="connsiteX61" fmla="*/ 407194 w 514605"/>
                <a:gd name="connsiteY61" fmla="*/ 377495 h 470364"/>
                <a:gd name="connsiteX62" fmla="*/ 402431 w 514605"/>
                <a:gd name="connsiteY62" fmla="*/ 384639 h 470364"/>
                <a:gd name="connsiteX63" fmla="*/ 395288 w 514605"/>
                <a:gd name="connsiteY63" fmla="*/ 391782 h 470364"/>
                <a:gd name="connsiteX64" fmla="*/ 392906 w 514605"/>
                <a:gd name="connsiteY64" fmla="*/ 398926 h 470364"/>
                <a:gd name="connsiteX65" fmla="*/ 397669 w 514605"/>
                <a:gd name="connsiteY65" fmla="*/ 413214 h 470364"/>
                <a:gd name="connsiteX66" fmla="*/ 400050 w 514605"/>
                <a:gd name="connsiteY66" fmla="*/ 420357 h 470364"/>
                <a:gd name="connsiteX67" fmla="*/ 407194 w 514605"/>
                <a:gd name="connsiteY67" fmla="*/ 427501 h 470364"/>
                <a:gd name="connsiteX68" fmla="*/ 402431 w 514605"/>
                <a:gd name="connsiteY68" fmla="*/ 444170 h 470364"/>
                <a:gd name="connsiteX69" fmla="*/ 397669 w 514605"/>
                <a:gd name="connsiteY69" fmla="*/ 451314 h 470364"/>
                <a:gd name="connsiteX70" fmla="*/ 376238 w 514605"/>
                <a:gd name="connsiteY70" fmla="*/ 470364 h 470364"/>
                <a:gd name="connsiteX71" fmla="*/ 366713 w 514605"/>
                <a:gd name="connsiteY71" fmla="*/ 458457 h 470364"/>
                <a:gd name="connsiteX72" fmla="*/ 361950 w 514605"/>
                <a:gd name="connsiteY72" fmla="*/ 451314 h 470364"/>
                <a:gd name="connsiteX73" fmla="*/ 354806 w 514605"/>
                <a:gd name="connsiteY73" fmla="*/ 448932 h 470364"/>
                <a:gd name="connsiteX74" fmla="*/ 340519 w 514605"/>
                <a:gd name="connsiteY74" fmla="*/ 439407 h 470364"/>
                <a:gd name="connsiteX75" fmla="*/ 328613 w 514605"/>
                <a:gd name="connsiteY75" fmla="*/ 425120 h 470364"/>
                <a:gd name="connsiteX76" fmla="*/ 321469 w 514605"/>
                <a:gd name="connsiteY76" fmla="*/ 422739 h 470364"/>
                <a:gd name="connsiteX77" fmla="*/ 314325 w 514605"/>
                <a:gd name="connsiteY77" fmla="*/ 415595 h 470364"/>
                <a:gd name="connsiteX78" fmla="*/ 300038 w 514605"/>
                <a:gd name="connsiteY78" fmla="*/ 420357 h 470364"/>
                <a:gd name="connsiteX79" fmla="*/ 290513 w 514605"/>
                <a:gd name="connsiteY79" fmla="*/ 417976 h 470364"/>
                <a:gd name="connsiteX80" fmla="*/ 304800 w 514605"/>
                <a:gd name="connsiteY80" fmla="*/ 413214 h 470364"/>
                <a:gd name="connsiteX81" fmla="*/ 295275 w 514605"/>
                <a:gd name="connsiteY81" fmla="*/ 401307 h 470364"/>
                <a:gd name="connsiteX82" fmla="*/ 283369 w 514605"/>
                <a:gd name="connsiteY82" fmla="*/ 389401 h 470364"/>
                <a:gd name="connsiteX83" fmla="*/ 273844 w 514605"/>
                <a:gd name="connsiteY83" fmla="*/ 377495 h 470364"/>
                <a:gd name="connsiteX84" fmla="*/ 266700 w 514605"/>
                <a:gd name="connsiteY84" fmla="*/ 370351 h 470364"/>
                <a:gd name="connsiteX85" fmla="*/ 250031 w 514605"/>
                <a:gd name="connsiteY85" fmla="*/ 358445 h 470364"/>
                <a:gd name="connsiteX86" fmla="*/ 233363 w 514605"/>
                <a:gd name="connsiteY86" fmla="*/ 346539 h 470364"/>
                <a:gd name="connsiteX87" fmla="*/ 226219 w 514605"/>
                <a:gd name="connsiteY87" fmla="*/ 322726 h 470364"/>
                <a:gd name="connsiteX88" fmla="*/ 221456 w 514605"/>
                <a:gd name="connsiteY88" fmla="*/ 308439 h 470364"/>
                <a:gd name="connsiteX89" fmla="*/ 204788 w 514605"/>
                <a:gd name="connsiteY89" fmla="*/ 306057 h 470364"/>
                <a:gd name="connsiteX90" fmla="*/ 183356 w 514605"/>
                <a:gd name="connsiteY90" fmla="*/ 294151 h 470364"/>
                <a:gd name="connsiteX91" fmla="*/ 169069 w 514605"/>
                <a:gd name="connsiteY91" fmla="*/ 279864 h 470364"/>
                <a:gd name="connsiteX92" fmla="*/ 161925 w 514605"/>
                <a:gd name="connsiteY92" fmla="*/ 272720 h 470364"/>
                <a:gd name="connsiteX93" fmla="*/ 154781 w 514605"/>
                <a:gd name="connsiteY93" fmla="*/ 267957 h 470364"/>
                <a:gd name="connsiteX94" fmla="*/ 145256 w 514605"/>
                <a:gd name="connsiteY94" fmla="*/ 253670 h 470364"/>
                <a:gd name="connsiteX95" fmla="*/ 135731 w 514605"/>
                <a:gd name="connsiteY95" fmla="*/ 239382 h 470364"/>
                <a:gd name="connsiteX96" fmla="*/ 130969 w 514605"/>
                <a:gd name="connsiteY96" fmla="*/ 232239 h 470364"/>
                <a:gd name="connsiteX97" fmla="*/ 128588 w 514605"/>
                <a:gd name="connsiteY97" fmla="*/ 225095 h 470364"/>
                <a:gd name="connsiteX98" fmla="*/ 119063 w 514605"/>
                <a:gd name="connsiteY98" fmla="*/ 210807 h 470364"/>
                <a:gd name="connsiteX99" fmla="*/ 88106 w 514605"/>
                <a:gd name="connsiteY99" fmla="*/ 213189 h 470364"/>
                <a:gd name="connsiteX100" fmla="*/ 80963 w 514605"/>
                <a:gd name="connsiteY100" fmla="*/ 179851 h 470364"/>
                <a:gd name="connsiteX101" fmla="*/ 76200 w 514605"/>
                <a:gd name="connsiteY101" fmla="*/ 172707 h 470364"/>
                <a:gd name="connsiteX102" fmla="*/ 71438 w 514605"/>
                <a:gd name="connsiteY102" fmla="*/ 158420 h 470364"/>
                <a:gd name="connsiteX103" fmla="*/ 69056 w 514605"/>
                <a:gd name="connsiteY103" fmla="*/ 151276 h 470364"/>
                <a:gd name="connsiteX104" fmla="*/ 54769 w 514605"/>
                <a:gd name="connsiteY104" fmla="*/ 136989 h 470364"/>
                <a:gd name="connsiteX105" fmla="*/ 52388 w 514605"/>
                <a:gd name="connsiteY105" fmla="*/ 129845 h 470364"/>
                <a:gd name="connsiteX106" fmla="*/ 26194 w 514605"/>
                <a:gd name="connsiteY106" fmla="*/ 113176 h 470364"/>
                <a:gd name="connsiteX107" fmla="*/ 2381 w 514605"/>
                <a:gd name="connsiteY107" fmla="*/ 101270 h 470364"/>
                <a:gd name="connsiteX108" fmla="*/ 4763 w 514605"/>
                <a:gd name="connsiteY108" fmla="*/ 72695 h 470364"/>
                <a:gd name="connsiteX109" fmla="*/ 0 w 514605"/>
                <a:gd name="connsiteY109" fmla="*/ 34595 h 470364"/>
                <a:gd name="connsiteX110" fmla="*/ 2381 w 514605"/>
                <a:gd name="connsiteY110" fmla="*/ 20307 h 470364"/>
                <a:gd name="connsiteX111" fmla="*/ 9525 w 514605"/>
                <a:gd name="connsiteY111" fmla="*/ 17926 h 470364"/>
                <a:gd name="connsiteX112" fmla="*/ 19050 w 514605"/>
                <a:gd name="connsiteY112" fmla="*/ 15545 h 470364"/>
                <a:gd name="connsiteX113" fmla="*/ 26194 w 514605"/>
                <a:gd name="connsiteY113" fmla="*/ 17926 h 470364"/>
                <a:gd name="connsiteX114" fmla="*/ 33338 w 514605"/>
                <a:gd name="connsiteY114" fmla="*/ 8401 h 470364"/>
                <a:gd name="connsiteX115" fmla="*/ 40482 w 514605"/>
                <a:gd name="connsiteY115" fmla="*/ 15545 h 470364"/>
                <a:gd name="connsiteX116" fmla="*/ 42863 w 514605"/>
                <a:gd name="connsiteY116" fmla="*/ 25069 h 470364"/>
                <a:gd name="connsiteX117" fmla="*/ 50006 w 514605"/>
                <a:gd name="connsiteY117" fmla="*/ 44120 h 470364"/>
                <a:gd name="connsiteX118" fmla="*/ 57150 w 514605"/>
                <a:gd name="connsiteY118" fmla="*/ 51264 h 470364"/>
                <a:gd name="connsiteX119" fmla="*/ 73819 w 514605"/>
                <a:gd name="connsiteY119" fmla="*/ 46501 h 470364"/>
                <a:gd name="connsiteX120" fmla="*/ 90488 w 514605"/>
                <a:gd name="connsiteY120" fmla="*/ 44120 h 470364"/>
                <a:gd name="connsiteX121" fmla="*/ 92869 w 514605"/>
                <a:gd name="connsiteY121" fmla="*/ 15545 h 470364"/>
                <a:gd name="connsiteX122" fmla="*/ 107156 w 514605"/>
                <a:gd name="connsiteY122" fmla="*/ 10782 h 470364"/>
                <a:gd name="connsiteX123" fmla="*/ 121444 w 514605"/>
                <a:gd name="connsiteY123" fmla="*/ 8401 h 470364"/>
                <a:gd name="connsiteX124" fmla="*/ 142875 w 514605"/>
                <a:gd name="connsiteY124" fmla="*/ 6020 h 470364"/>
                <a:gd name="connsiteX125" fmla="*/ 147638 w 514605"/>
                <a:gd name="connsiteY125" fmla="*/ 6020 h 470364"/>
                <a:gd name="connsiteX0" fmla="*/ 147638 w 514605"/>
                <a:gd name="connsiteY0" fmla="*/ 6020 h 470364"/>
                <a:gd name="connsiteX1" fmla="*/ 161925 w 514605"/>
                <a:gd name="connsiteY1" fmla="*/ 3639 h 470364"/>
                <a:gd name="connsiteX2" fmla="*/ 169069 w 514605"/>
                <a:gd name="connsiteY2" fmla="*/ 8401 h 470364"/>
                <a:gd name="connsiteX3" fmla="*/ 204788 w 514605"/>
                <a:gd name="connsiteY3" fmla="*/ 6020 h 470364"/>
                <a:gd name="connsiteX4" fmla="*/ 219075 w 514605"/>
                <a:gd name="connsiteY4" fmla="*/ 6020 h 470364"/>
                <a:gd name="connsiteX5" fmla="*/ 223838 w 514605"/>
                <a:gd name="connsiteY5" fmla="*/ 13164 h 470364"/>
                <a:gd name="connsiteX6" fmla="*/ 230981 w 514605"/>
                <a:gd name="connsiteY6" fmla="*/ 15545 h 470364"/>
                <a:gd name="connsiteX7" fmla="*/ 250031 w 514605"/>
                <a:gd name="connsiteY7" fmla="*/ 10782 h 470364"/>
                <a:gd name="connsiteX8" fmla="*/ 280988 w 514605"/>
                <a:gd name="connsiteY8" fmla="*/ 10782 h 470364"/>
                <a:gd name="connsiteX9" fmla="*/ 288131 w 514605"/>
                <a:gd name="connsiteY9" fmla="*/ 6020 h 470364"/>
                <a:gd name="connsiteX10" fmla="*/ 292894 w 514605"/>
                <a:gd name="connsiteY10" fmla="*/ 13164 h 470364"/>
                <a:gd name="connsiteX11" fmla="*/ 300038 w 514605"/>
                <a:gd name="connsiteY11" fmla="*/ 10782 h 470364"/>
                <a:gd name="connsiteX12" fmla="*/ 316706 w 514605"/>
                <a:gd name="connsiteY12" fmla="*/ 6020 h 470364"/>
                <a:gd name="connsiteX13" fmla="*/ 321469 w 514605"/>
                <a:gd name="connsiteY13" fmla="*/ 13164 h 470364"/>
                <a:gd name="connsiteX14" fmla="*/ 328613 w 514605"/>
                <a:gd name="connsiteY14" fmla="*/ 8401 h 470364"/>
                <a:gd name="connsiteX15" fmla="*/ 335756 w 514605"/>
                <a:gd name="connsiteY15" fmla="*/ 13164 h 470364"/>
                <a:gd name="connsiteX16" fmla="*/ 354806 w 514605"/>
                <a:gd name="connsiteY16" fmla="*/ 17926 h 470364"/>
                <a:gd name="connsiteX17" fmla="*/ 357188 w 514605"/>
                <a:gd name="connsiteY17" fmla="*/ 25070 h 470364"/>
                <a:gd name="connsiteX18" fmla="*/ 364331 w 514605"/>
                <a:gd name="connsiteY18" fmla="*/ 20307 h 470364"/>
                <a:gd name="connsiteX19" fmla="*/ 376238 w 514605"/>
                <a:gd name="connsiteY19" fmla="*/ 8401 h 470364"/>
                <a:gd name="connsiteX20" fmla="*/ 385763 w 514605"/>
                <a:gd name="connsiteY20" fmla="*/ 22689 h 470364"/>
                <a:gd name="connsiteX21" fmla="*/ 397669 w 514605"/>
                <a:gd name="connsiteY21" fmla="*/ 41739 h 470364"/>
                <a:gd name="connsiteX22" fmla="*/ 404813 w 514605"/>
                <a:gd name="connsiteY22" fmla="*/ 39357 h 470364"/>
                <a:gd name="connsiteX23" fmla="*/ 411956 w 514605"/>
                <a:gd name="connsiteY23" fmla="*/ 34595 h 470364"/>
                <a:gd name="connsiteX24" fmla="*/ 419100 w 514605"/>
                <a:gd name="connsiteY24" fmla="*/ 36976 h 470364"/>
                <a:gd name="connsiteX25" fmla="*/ 428625 w 514605"/>
                <a:gd name="connsiteY25" fmla="*/ 34595 h 470364"/>
                <a:gd name="connsiteX26" fmla="*/ 435769 w 514605"/>
                <a:gd name="connsiteY26" fmla="*/ 29832 h 470364"/>
                <a:gd name="connsiteX27" fmla="*/ 454819 w 514605"/>
                <a:gd name="connsiteY27" fmla="*/ 32214 h 470364"/>
                <a:gd name="connsiteX28" fmla="*/ 469106 w 514605"/>
                <a:gd name="connsiteY28" fmla="*/ 41739 h 470364"/>
                <a:gd name="connsiteX29" fmla="*/ 461963 w 514605"/>
                <a:gd name="connsiteY29" fmla="*/ 60789 h 470364"/>
                <a:gd name="connsiteX30" fmla="*/ 457200 w 514605"/>
                <a:gd name="connsiteY30" fmla="*/ 75076 h 470364"/>
                <a:gd name="connsiteX31" fmla="*/ 454819 w 514605"/>
                <a:gd name="connsiteY31" fmla="*/ 82220 h 470364"/>
                <a:gd name="connsiteX32" fmla="*/ 452438 w 514605"/>
                <a:gd name="connsiteY32" fmla="*/ 113176 h 470364"/>
                <a:gd name="connsiteX33" fmla="*/ 452438 w 514605"/>
                <a:gd name="connsiteY33" fmla="*/ 141751 h 470364"/>
                <a:gd name="connsiteX34" fmla="*/ 459581 w 514605"/>
                <a:gd name="connsiteY34" fmla="*/ 146514 h 470364"/>
                <a:gd name="connsiteX35" fmla="*/ 476250 w 514605"/>
                <a:gd name="connsiteY35" fmla="*/ 146514 h 470364"/>
                <a:gd name="connsiteX36" fmla="*/ 485775 w 514605"/>
                <a:gd name="connsiteY36" fmla="*/ 158420 h 470364"/>
                <a:gd name="connsiteX37" fmla="*/ 500063 w 514605"/>
                <a:gd name="connsiteY37" fmla="*/ 160801 h 470364"/>
                <a:gd name="connsiteX38" fmla="*/ 507206 w 514605"/>
                <a:gd name="connsiteY38" fmla="*/ 170326 h 470364"/>
                <a:gd name="connsiteX39" fmla="*/ 514350 w 514605"/>
                <a:gd name="connsiteY39" fmla="*/ 177470 h 470364"/>
                <a:gd name="connsiteX40" fmla="*/ 511969 w 514605"/>
                <a:gd name="connsiteY40" fmla="*/ 184614 h 470364"/>
                <a:gd name="connsiteX41" fmla="*/ 497681 w 514605"/>
                <a:gd name="connsiteY41" fmla="*/ 189376 h 470364"/>
                <a:gd name="connsiteX42" fmla="*/ 481013 w 514605"/>
                <a:gd name="connsiteY42" fmla="*/ 194139 h 470364"/>
                <a:gd name="connsiteX43" fmla="*/ 490538 w 514605"/>
                <a:gd name="connsiteY43" fmla="*/ 206045 h 470364"/>
                <a:gd name="connsiteX44" fmla="*/ 497681 w 514605"/>
                <a:gd name="connsiteY44" fmla="*/ 232239 h 470364"/>
                <a:gd name="connsiteX45" fmla="*/ 504825 w 514605"/>
                <a:gd name="connsiteY45" fmla="*/ 239382 h 470364"/>
                <a:gd name="connsiteX46" fmla="*/ 504825 w 514605"/>
                <a:gd name="connsiteY46" fmla="*/ 258432 h 470364"/>
                <a:gd name="connsiteX47" fmla="*/ 497681 w 514605"/>
                <a:gd name="connsiteY47" fmla="*/ 260814 h 470364"/>
                <a:gd name="connsiteX48" fmla="*/ 490538 w 514605"/>
                <a:gd name="connsiteY48" fmla="*/ 267957 h 470364"/>
                <a:gd name="connsiteX49" fmla="*/ 459581 w 514605"/>
                <a:gd name="connsiteY49" fmla="*/ 272720 h 470364"/>
                <a:gd name="connsiteX50" fmla="*/ 445294 w 514605"/>
                <a:gd name="connsiteY50" fmla="*/ 277482 h 470364"/>
                <a:gd name="connsiteX51" fmla="*/ 457200 w 514605"/>
                <a:gd name="connsiteY51" fmla="*/ 291770 h 470364"/>
                <a:gd name="connsiteX52" fmla="*/ 459581 w 514605"/>
                <a:gd name="connsiteY52" fmla="*/ 298914 h 470364"/>
                <a:gd name="connsiteX53" fmla="*/ 471488 w 514605"/>
                <a:gd name="connsiteY53" fmla="*/ 320345 h 470364"/>
                <a:gd name="connsiteX54" fmla="*/ 469106 w 514605"/>
                <a:gd name="connsiteY54" fmla="*/ 327489 h 470364"/>
                <a:gd name="connsiteX55" fmla="*/ 454819 w 514605"/>
                <a:gd name="connsiteY55" fmla="*/ 317964 h 470364"/>
                <a:gd name="connsiteX56" fmla="*/ 445294 w 514605"/>
                <a:gd name="connsiteY56" fmla="*/ 320345 h 470364"/>
                <a:gd name="connsiteX57" fmla="*/ 421481 w 514605"/>
                <a:gd name="connsiteY57" fmla="*/ 327489 h 470364"/>
                <a:gd name="connsiteX58" fmla="*/ 421481 w 514605"/>
                <a:gd name="connsiteY58" fmla="*/ 344157 h 470364"/>
                <a:gd name="connsiteX59" fmla="*/ 419100 w 514605"/>
                <a:gd name="connsiteY59" fmla="*/ 363207 h 470364"/>
                <a:gd name="connsiteX60" fmla="*/ 416719 w 514605"/>
                <a:gd name="connsiteY60" fmla="*/ 375114 h 470364"/>
                <a:gd name="connsiteX61" fmla="*/ 407194 w 514605"/>
                <a:gd name="connsiteY61" fmla="*/ 377495 h 470364"/>
                <a:gd name="connsiteX62" fmla="*/ 402431 w 514605"/>
                <a:gd name="connsiteY62" fmla="*/ 384639 h 470364"/>
                <a:gd name="connsiteX63" fmla="*/ 395288 w 514605"/>
                <a:gd name="connsiteY63" fmla="*/ 391782 h 470364"/>
                <a:gd name="connsiteX64" fmla="*/ 392906 w 514605"/>
                <a:gd name="connsiteY64" fmla="*/ 398926 h 470364"/>
                <a:gd name="connsiteX65" fmla="*/ 397669 w 514605"/>
                <a:gd name="connsiteY65" fmla="*/ 413214 h 470364"/>
                <a:gd name="connsiteX66" fmla="*/ 400050 w 514605"/>
                <a:gd name="connsiteY66" fmla="*/ 420357 h 470364"/>
                <a:gd name="connsiteX67" fmla="*/ 407194 w 514605"/>
                <a:gd name="connsiteY67" fmla="*/ 427501 h 470364"/>
                <a:gd name="connsiteX68" fmla="*/ 402431 w 514605"/>
                <a:gd name="connsiteY68" fmla="*/ 444170 h 470364"/>
                <a:gd name="connsiteX69" fmla="*/ 397669 w 514605"/>
                <a:gd name="connsiteY69" fmla="*/ 451314 h 470364"/>
                <a:gd name="connsiteX70" fmla="*/ 376238 w 514605"/>
                <a:gd name="connsiteY70" fmla="*/ 470364 h 470364"/>
                <a:gd name="connsiteX71" fmla="*/ 366713 w 514605"/>
                <a:gd name="connsiteY71" fmla="*/ 458457 h 470364"/>
                <a:gd name="connsiteX72" fmla="*/ 361950 w 514605"/>
                <a:gd name="connsiteY72" fmla="*/ 451314 h 470364"/>
                <a:gd name="connsiteX73" fmla="*/ 354806 w 514605"/>
                <a:gd name="connsiteY73" fmla="*/ 448932 h 470364"/>
                <a:gd name="connsiteX74" fmla="*/ 340519 w 514605"/>
                <a:gd name="connsiteY74" fmla="*/ 439407 h 470364"/>
                <a:gd name="connsiteX75" fmla="*/ 328613 w 514605"/>
                <a:gd name="connsiteY75" fmla="*/ 425120 h 470364"/>
                <a:gd name="connsiteX76" fmla="*/ 321469 w 514605"/>
                <a:gd name="connsiteY76" fmla="*/ 422739 h 470364"/>
                <a:gd name="connsiteX77" fmla="*/ 314325 w 514605"/>
                <a:gd name="connsiteY77" fmla="*/ 415595 h 470364"/>
                <a:gd name="connsiteX78" fmla="*/ 300038 w 514605"/>
                <a:gd name="connsiteY78" fmla="*/ 420357 h 470364"/>
                <a:gd name="connsiteX79" fmla="*/ 290513 w 514605"/>
                <a:gd name="connsiteY79" fmla="*/ 417976 h 470364"/>
                <a:gd name="connsiteX80" fmla="*/ 304800 w 514605"/>
                <a:gd name="connsiteY80" fmla="*/ 413214 h 470364"/>
                <a:gd name="connsiteX81" fmla="*/ 295275 w 514605"/>
                <a:gd name="connsiteY81" fmla="*/ 401307 h 470364"/>
                <a:gd name="connsiteX82" fmla="*/ 283369 w 514605"/>
                <a:gd name="connsiteY82" fmla="*/ 389401 h 470364"/>
                <a:gd name="connsiteX83" fmla="*/ 273844 w 514605"/>
                <a:gd name="connsiteY83" fmla="*/ 377495 h 470364"/>
                <a:gd name="connsiteX84" fmla="*/ 266700 w 514605"/>
                <a:gd name="connsiteY84" fmla="*/ 370351 h 470364"/>
                <a:gd name="connsiteX85" fmla="*/ 250031 w 514605"/>
                <a:gd name="connsiteY85" fmla="*/ 358445 h 470364"/>
                <a:gd name="connsiteX86" fmla="*/ 233363 w 514605"/>
                <a:gd name="connsiteY86" fmla="*/ 346539 h 470364"/>
                <a:gd name="connsiteX87" fmla="*/ 226219 w 514605"/>
                <a:gd name="connsiteY87" fmla="*/ 322726 h 470364"/>
                <a:gd name="connsiteX88" fmla="*/ 221456 w 514605"/>
                <a:gd name="connsiteY88" fmla="*/ 308439 h 470364"/>
                <a:gd name="connsiteX89" fmla="*/ 204788 w 514605"/>
                <a:gd name="connsiteY89" fmla="*/ 306057 h 470364"/>
                <a:gd name="connsiteX90" fmla="*/ 183356 w 514605"/>
                <a:gd name="connsiteY90" fmla="*/ 294151 h 470364"/>
                <a:gd name="connsiteX91" fmla="*/ 169069 w 514605"/>
                <a:gd name="connsiteY91" fmla="*/ 279864 h 470364"/>
                <a:gd name="connsiteX92" fmla="*/ 161925 w 514605"/>
                <a:gd name="connsiteY92" fmla="*/ 272720 h 470364"/>
                <a:gd name="connsiteX93" fmla="*/ 154781 w 514605"/>
                <a:gd name="connsiteY93" fmla="*/ 267957 h 470364"/>
                <a:gd name="connsiteX94" fmla="*/ 145256 w 514605"/>
                <a:gd name="connsiteY94" fmla="*/ 253670 h 470364"/>
                <a:gd name="connsiteX95" fmla="*/ 135731 w 514605"/>
                <a:gd name="connsiteY95" fmla="*/ 239382 h 470364"/>
                <a:gd name="connsiteX96" fmla="*/ 130969 w 514605"/>
                <a:gd name="connsiteY96" fmla="*/ 232239 h 470364"/>
                <a:gd name="connsiteX97" fmla="*/ 128588 w 514605"/>
                <a:gd name="connsiteY97" fmla="*/ 225095 h 470364"/>
                <a:gd name="connsiteX98" fmla="*/ 119063 w 514605"/>
                <a:gd name="connsiteY98" fmla="*/ 210807 h 470364"/>
                <a:gd name="connsiteX99" fmla="*/ 88106 w 514605"/>
                <a:gd name="connsiteY99" fmla="*/ 213189 h 470364"/>
                <a:gd name="connsiteX100" fmla="*/ 80963 w 514605"/>
                <a:gd name="connsiteY100" fmla="*/ 179851 h 470364"/>
                <a:gd name="connsiteX101" fmla="*/ 76200 w 514605"/>
                <a:gd name="connsiteY101" fmla="*/ 172707 h 470364"/>
                <a:gd name="connsiteX102" fmla="*/ 71438 w 514605"/>
                <a:gd name="connsiteY102" fmla="*/ 158420 h 470364"/>
                <a:gd name="connsiteX103" fmla="*/ 69056 w 514605"/>
                <a:gd name="connsiteY103" fmla="*/ 151276 h 470364"/>
                <a:gd name="connsiteX104" fmla="*/ 54769 w 514605"/>
                <a:gd name="connsiteY104" fmla="*/ 136989 h 470364"/>
                <a:gd name="connsiteX105" fmla="*/ 52388 w 514605"/>
                <a:gd name="connsiteY105" fmla="*/ 129845 h 470364"/>
                <a:gd name="connsiteX106" fmla="*/ 26194 w 514605"/>
                <a:gd name="connsiteY106" fmla="*/ 113176 h 470364"/>
                <a:gd name="connsiteX107" fmla="*/ 2381 w 514605"/>
                <a:gd name="connsiteY107" fmla="*/ 101270 h 470364"/>
                <a:gd name="connsiteX108" fmla="*/ 4763 w 514605"/>
                <a:gd name="connsiteY108" fmla="*/ 72695 h 470364"/>
                <a:gd name="connsiteX109" fmla="*/ 0 w 514605"/>
                <a:gd name="connsiteY109" fmla="*/ 34595 h 470364"/>
                <a:gd name="connsiteX110" fmla="*/ 2381 w 514605"/>
                <a:gd name="connsiteY110" fmla="*/ 20307 h 470364"/>
                <a:gd name="connsiteX111" fmla="*/ 9525 w 514605"/>
                <a:gd name="connsiteY111" fmla="*/ 17926 h 470364"/>
                <a:gd name="connsiteX112" fmla="*/ 19050 w 514605"/>
                <a:gd name="connsiteY112" fmla="*/ 15545 h 470364"/>
                <a:gd name="connsiteX113" fmla="*/ 26194 w 514605"/>
                <a:gd name="connsiteY113" fmla="*/ 17926 h 470364"/>
                <a:gd name="connsiteX114" fmla="*/ 33338 w 514605"/>
                <a:gd name="connsiteY114" fmla="*/ 8401 h 470364"/>
                <a:gd name="connsiteX115" fmla="*/ 30957 w 514605"/>
                <a:gd name="connsiteY115" fmla="*/ 6020 h 470364"/>
                <a:gd name="connsiteX116" fmla="*/ 42863 w 514605"/>
                <a:gd name="connsiteY116" fmla="*/ 25069 h 470364"/>
                <a:gd name="connsiteX117" fmla="*/ 50006 w 514605"/>
                <a:gd name="connsiteY117" fmla="*/ 44120 h 470364"/>
                <a:gd name="connsiteX118" fmla="*/ 57150 w 514605"/>
                <a:gd name="connsiteY118" fmla="*/ 51264 h 470364"/>
                <a:gd name="connsiteX119" fmla="*/ 73819 w 514605"/>
                <a:gd name="connsiteY119" fmla="*/ 46501 h 470364"/>
                <a:gd name="connsiteX120" fmla="*/ 90488 w 514605"/>
                <a:gd name="connsiteY120" fmla="*/ 44120 h 470364"/>
                <a:gd name="connsiteX121" fmla="*/ 92869 w 514605"/>
                <a:gd name="connsiteY121" fmla="*/ 15545 h 470364"/>
                <a:gd name="connsiteX122" fmla="*/ 107156 w 514605"/>
                <a:gd name="connsiteY122" fmla="*/ 10782 h 470364"/>
                <a:gd name="connsiteX123" fmla="*/ 121444 w 514605"/>
                <a:gd name="connsiteY123" fmla="*/ 8401 h 470364"/>
                <a:gd name="connsiteX124" fmla="*/ 142875 w 514605"/>
                <a:gd name="connsiteY124" fmla="*/ 6020 h 470364"/>
                <a:gd name="connsiteX125" fmla="*/ 147638 w 514605"/>
                <a:gd name="connsiteY125" fmla="*/ 6020 h 470364"/>
                <a:gd name="connsiteX0" fmla="*/ 147638 w 514605"/>
                <a:gd name="connsiteY0" fmla="*/ 6020 h 470364"/>
                <a:gd name="connsiteX1" fmla="*/ 161925 w 514605"/>
                <a:gd name="connsiteY1" fmla="*/ 3639 h 470364"/>
                <a:gd name="connsiteX2" fmla="*/ 169069 w 514605"/>
                <a:gd name="connsiteY2" fmla="*/ 8401 h 470364"/>
                <a:gd name="connsiteX3" fmla="*/ 204788 w 514605"/>
                <a:gd name="connsiteY3" fmla="*/ 6020 h 470364"/>
                <a:gd name="connsiteX4" fmla="*/ 219075 w 514605"/>
                <a:gd name="connsiteY4" fmla="*/ 6020 h 470364"/>
                <a:gd name="connsiteX5" fmla="*/ 223838 w 514605"/>
                <a:gd name="connsiteY5" fmla="*/ 13164 h 470364"/>
                <a:gd name="connsiteX6" fmla="*/ 230981 w 514605"/>
                <a:gd name="connsiteY6" fmla="*/ 15545 h 470364"/>
                <a:gd name="connsiteX7" fmla="*/ 250031 w 514605"/>
                <a:gd name="connsiteY7" fmla="*/ 10782 h 470364"/>
                <a:gd name="connsiteX8" fmla="*/ 280988 w 514605"/>
                <a:gd name="connsiteY8" fmla="*/ 10782 h 470364"/>
                <a:gd name="connsiteX9" fmla="*/ 288131 w 514605"/>
                <a:gd name="connsiteY9" fmla="*/ 6020 h 470364"/>
                <a:gd name="connsiteX10" fmla="*/ 292894 w 514605"/>
                <a:gd name="connsiteY10" fmla="*/ 13164 h 470364"/>
                <a:gd name="connsiteX11" fmla="*/ 300038 w 514605"/>
                <a:gd name="connsiteY11" fmla="*/ 10782 h 470364"/>
                <a:gd name="connsiteX12" fmla="*/ 316706 w 514605"/>
                <a:gd name="connsiteY12" fmla="*/ 6020 h 470364"/>
                <a:gd name="connsiteX13" fmla="*/ 321469 w 514605"/>
                <a:gd name="connsiteY13" fmla="*/ 13164 h 470364"/>
                <a:gd name="connsiteX14" fmla="*/ 328613 w 514605"/>
                <a:gd name="connsiteY14" fmla="*/ 8401 h 470364"/>
                <a:gd name="connsiteX15" fmla="*/ 335756 w 514605"/>
                <a:gd name="connsiteY15" fmla="*/ 13164 h 470364"/>
                <a:gd name="connsiteX16" fmla="*/ 354806 w 514605"/>
                <a:gd name="connsiteY16" fmla="*/ 17926 h 470364"/>
                <a:gd name="connsiteX17" fmla="*/ 357188 w 514605"/>
                <a:gd name="connsiteY17" fmla="*/ 25070 h 470364"/>
                <a:gd name="connsiteX18" fmla="*/ 364331 w 514605"/>
                <a:gd name="connsiteY18" fmla="*/ 20307 h 470364"/>
                <a:gd name="connsiteX19" fmla="*/ 376238 w 514605"/>
                <a:gd name="connsiteY19" fmla="*/ 8401 h 470364"/>
                <a:gd name="connsiteX20" fmla="*/ 385763 w 514605"/>
                <a:gd name="connsiteY20" fmla="*/ 22689 h 470364"/>
                <a:gd name="connsiteX21" fmla="*/ 397669 w 514605"/>
                <a:gd name="connsiteY21" fmla="*/ 41739 h 470364"/>
                <a:gd name="connsiteX22" fmla="*/ 404813 w 514605"/>
                <a:gd name="connsiteY22" fmla="*/ 39357 h 470364"/>
                <a:gd name="connsiteX23" fmla="*/ 411956 w 514605"/>
                <a:gd name="connsiteY23" fmla="*/ 34595 h 470364"/>
                <a:gd name="connsiteX24" fmla="*/ 419100 w 514605"/>
                <a:gd name="connsiteY24" fmla="*/ 36976 h 470364"/>
                <a:gd name="connsiteX25" fmla="*/ 428625 w 514605"/>
                <a:gd name="connsiteY25" fmla="*/ 34595 h 470364"/>
                <a:gd name="connsiteX26" fmla="*/ 435769 w 514605"/>
                <a:gd name="connsiteY26" fmla="*/ 29832 h 470364"/>
                <a:gd name="connsiteX27" fmla="*/ 454819 w 514605"/>
                <a:gd name="connsiteY27" fmla="*/ 32214 h 470364"/>
                <a:gd name="connsiteX28" fmla="*/ 469106 w 514605"/>
                <a:gd name="connsiteY28" fmla="*/ 41739 h 470364"/>
                <a:gd name="connsiteX29" fmla="*/ 461963 w 514605"/>
                <a:gd name="connsiteY29" fmla="*/ 60789 h 470364"/>
                <a:gd name="connsiteX30" fmla="*/ 457200 w 514605"/>
                <a:gd name="connsiteY30" fmla="*/ 75076 h 470364"/>
                <a:gd name="connsiteX31" fmla="*/ 454819 w 514605"/>
                <a:gd name="connsiteY31" fmla="*/ 82220 h 470364"/>
                <a:gd name="connsiteX32" fmla="*/ 452438 w 514605"/>
                <a:gd name="connsiteY32" fmla="*/ 113176 h 470364"/>
                <a:gd name="connsiteX33" fmla="*/ 452438 w 514605"/>
                <a:gd name="connsiteY33" fmla="*/ 141751 h 470364"/>
                <a:gd name="connsiteX34" fmla="*/ 459581 w 514605"/>
                <a:gd name="connsiteY34" fmla="*/ 146514 h 470364"/>
                <a:gd name="connsiteX35" fmla="*/ 476250 w 514605"/>
                <a:gd name="connsiteY35" fmla="*/ 146514 h 470364"/>
                <a:gd name="connsiteX36" fmla="*/ 485775 w 514605"/>
                <a:gd name="connsiteY36" fmla="*/ 158420 h 470364"/>
                <a:gd name="connsiteX37" fmla="*/ 500063 w 514605"/>
                <a:gd name="connsiteY37" fmla="*/ 160801 h 470364"/>
                <a:gd name="connsiteX38" fmla="*/ 507206 w 514605"/>
                <a:gd name="connsiteY38" fmla="*/ 170326 h 470364"/>
                <a:gd name="connsiteX39" fmla="*/ 514350 w 514605"/>
                <a:gd name="connsiteY39" fmla="*/ 177470 h 470364"/>
                <a:gd name="connsiteX40" fmla="*/ 511969 w 514605"/>
                <a:gd name="connsiteY40" fmla="*/ 184614 h 470364"/>
                <a:gd name="connsiteX41" fmla="*/ 497681 w 514605"/>
                <a:gd name="connsiteY41" fmla="*/ 189376 h 470364"/>
                <a:gd name="connsiteX42" fmla="*/ 481013 w 514605"/>
                <a:gd name="connsiteY42" fmla="*/ 194139 h 470364"/>
                <a:gd name="connsiteX43" fmla="*/ 490538 w 514605"/>
                <a:gd name="connsiteY43" fmla="*/ 206045 h 470364"/>
                <a:gd name="connsiteX44" fmla="*/ 497681 w 514605"/>
                <a:gd name="connsiteY44" fmla="*/ 232239 h 470364"/>
                <a:gd name="connsiteX45" fmla="*/ 504825 w 514605"/>
                <a:gd name="connsiteY45" fmla="*/ 239382 h 470364"/>
                <a:gd name="connsiteX46" fmla="*/ 504825 w 514605"/>
                <a:gd name="connsiteY46" fmla="*/ 258432 h 470364"/>
                <a:gd name="connsiteX47" fmla="*/ 497681 w 514605"/>
                <a:gd name="connsiteY47" fmla="*/ 260814 h 470364"/>
                <a:gd name="connsiteX48" fmla="*/ 490538 w 514605"/>
                <a:gd name="connsiteY48" fmla="*/ 267957 h 470364"/>
                <a:gd name="connsiteX49" fmla="*/ 459581 w 514605"/>
                <a:gd name="connsiteY49" fmla="*/ 272720 h 470364"/>
                <a:gd name="connsiteX50" fmla="*/ 445294 w 514605"/>
                <a:gd name="connsiteY50" fmla="*/ 277482 h 470364"/>
                <a:gd name="connsiteX51" fmla="*/ 457200 w 514605"/>
                <a:gd name="connsiteY51" fmla="*/ 291770 h 470364"/>
                <a:gd name="connsiteX52" fmla="*/ 459581 w 514605"/>
                <a:gd name="connsiteY52" fmla="*/ 298914 h 470364"/>
                <a:gd name="connsiteX53" fmla="*/ 471488 w 514605"/>
                <a:gd name="connsiteY53" fmla="*/ 320345 h 470364"/>
                <a:gd name="connsiteX54" fmla="*/ 469106 w 514605"/>
                <a:gd name="connsiteY54" fmla="*/ 327489 h 470364"/>
                <a:gd name="connsiteX55" fmla="*/ 454819 w 514605"/>
                <a:gd name="connsiteY55" fmla="*/ 317964 h 470364"/>
                <a:gd name="connsiteX56" fmla="*/ 445294 w 514605"/>
                <a:gd name="connsiteY56" fmla="*/ 320345 h 470364"/>
                <a:gd name="connsiteX57" fmla="*/ 421481 w 514605"/>
                <a:gd name="connsiteY57" fmla="*/ 327489 h 470364"/>
                <a:gd name="connsiteX58" fmla="*/ 421481 w 514605"/>
                <a:gd name="connsiteY58" fmla="*/ 344157 h 470364"/>
                <a:gd name="connsiteX59" fmla="*/ 419100 w 514605"/>
                <a:gd name="connsiteY59" fmla="*/ 363207 h 470364"/>
                <a:gd name="connsiteX60" fmla="*/ 416719 w 514605"/>
                <a:gd name="connsiteY60" fmla="*/ 375114 h 470364"/>
                <a:gd name="connsiteX61" fmla="*/ 407194 w 514605"/>
                <a:gd name="connsiteY61" fmla="*/ 377495 h 470364"/>
                <a:gd name="connsiteX62" fmla="*/ 402431 w 514605"/>
                <a:gd name="connsiteY62" fmla="*/ 384639 h 470364"/>
                <a:gd name="connsiteX63" fmla="*/ 395288 w 514605"/>
                <a:gd name="connsiteY63" fmla="*/ 391782 h 470364"/>
                <a:gd name="connsiteX64" fmla="*/ 392906 w 514605"/>
                <a:gd name="connsiteY64" fmla="*/ 398926 h 470364"/>
                <a:gd name="connsiteX65" fmla="*/ 397669 w 514605"/>
                <a:gd name="connsiteY65" fmla="*/ 413214 h 470364"/>
                <a:gd name="connsiteX66" fmla="*/ 400050 w 514605"/>
                <a:gd name="connsiteY66" fmla="*/ 420357 h 470364"/>
                <a:gd name="connsiteX67" fmla="*/ 407194 w 514605"/>
                <a:gd name="connsiteY67" fmla="*/ 427501 h 470364"/>
                <a:gd name="connsiteX68" fmla="*/ 402431 w 514605"/>
                <a:gd name="connsiteY68" fmla="*/ 444170 h 470364"/>
                <a:gd name="connsiteX69" fmla="*/ 397669 w 514605"/>
                <a:gd name="connsiteY69" fmla="*/ 451314 h 470364"/>
                <a:gd name="connsiteX70" fmla="*/ 376238 w 514605"/>
                <a:gd name="connsiteY70" fmla="*/ 470364 h 470364"/>
                <a:gd name="connsiteX71" fmla="*/ 366713 w 514605"/>
                <a:gd name="connsiteY71" fmla="*/ 458457 h 470364"/>
                <a:gd name="connsiteX72" fmla="*/ 361950 w 514605"/>
                <a:gd name="connsiteY72" fmla="*/ 451314 h 470364"/>
                <a:gd name="connsiteX73" fmla="*/ 354806 w 514605"/>
                <a:gd name="connsiteY73" fmla="*/ 448932 h 470364"/>
                <a:gd name="connsiteX74" fmla="*/ 340519 w 514605"/>
                <a:gd name="connsiteY74" fmla="*/ 439407 h 470364"/>
                <a:gd name="connsiteX75" fmla="*/ 328613 w 514605"/>
                <a:gd name="connsiteY75" fmla="*/ 425120 h 470364"/>
                <a:gd name="connsiteX76" fmla="*/ 321469 w 514605"/>
                <a:gd name="connsiteY76" fmla="*/ 422739 h 470364"/>
                <a:gd name="connsiteX77" fmla="*/ 314325 w 514605"/>
                <a:gd name="connsiteY77" fmla="*/ 415595 h 470364"/>
                <a:gd name="connsiteX78" fmla="*/ 300038 w 514605"/>
                <a:gd name="connsiteY78" fmla="*/ 420357 h 470364"/>
                <a:gd name="connsiteX79" fmla="*/ 290513 w 514605"/>
                <a:gd name="connsiteY79" fmla="*/ 417976 h 470364"/>
                <a:gd name="connsiteX80" fmla="*/ 304800 w 514605"/>
                <a:gd name="connsiteY80" fmla="*/ 413214 h 470364"/>
                <a:gd name="connsiteX81" fmla="*/ 295275 w 514605"/>
                <a:gd name="connsiteY81" fmla="*/ 401307 h 470364"/>
                <a:gd name="connsiteX82" fmla="*/ 283369 w 514605"/>
                <a:gd name="connsiteY82" fmla="*/ 389401 h 470364"/>
                <a:gd name="connsiteX83" fmla="*/ 273844 w 514605"/>
                <a:gd name="connsiteY83" fmla="*/ 377495 h 470364"/>
                <a:gd name="connsiteX84" fmla="*/ 266700 w 514605"/>
                <a:gd name="connsiteY84" fmla="*/ 370351 h 470364"/>
                <a:gd name="connsiteX85" fmla="*/ 250031 w 514605"/>
                <a:gd name="connsiteY85" fmla="*/ 358445 h 470364"/>
                <a:gd name="connsiteX86" fmla="*/ 233363 w 514605"/>
                <a:gd name="connsiteY86" fmla="*/ 346539 h 470364"/>
                <a:gd name="connsiteX87" fmla="*/ 226219 w 514605"/>
                <a:gd name="connsiteY87" fmla="*/ 322726 h 470364"/>
                <a:gd name="connsiteX88" fmla="*/ 221456 w 514605"/>
                <a:gd name="connsiteY88" fmla="*/ 308439 h 470364"/>
                <a:gd name="connsiteX89" fmla="*/ 204788 w 514605"/>
                <a:gd name="connsiteY89" fmla="*/ 306057 h 470364"/>
                <a:gd name="connsiteX90" fmla="*/ 183356 w 514605"/>
                <a:gd name="connsiteY90" fmla="*/ 294151 h 470364"/>
                <a:gd name="connsiteX91" fmla="*/ 169069 w 514605"/>
                <a:gd name="connsiteY91" fmla="*/ 279864 h 470364"/>
                <a:gd name="connsiteX92" fmla="*/ 161925 w 514605"/>
                <a:gd name="connsiteY92" fmla="*/ 272720 h 470364"/>
                <a:gd name="connsiteX93" fmla="*/ 154781 w 514605"/>
                <a:gd name="connsiteY93" fmla="*/ 267957 h 470364"/>
                <a:gd name="connsiteX94" fmla="*/ 145256 w 514605"/>
                <a:gd name="connsiteY94" fmla="*/ 253670 h 470364"/>
                <a:gd name="connsiteX95" fmla="*/ 135731 w 514605"/>
                <a:gd name="connsiteY95" fmla="*/ 239382 h 470364"/>
                <a:gd name="connsiteX96" fmla="*/ 130969 w 514605"/>
                <a:gd name="connsiteY96" fmla="*/ 232239 h 470364"/>
                <a:gd name="connsiteX97" fmla="*/ 128588 w 514605"/>
                <a:gd name="connsiteY97" fmla="*/ 225095 h 470364"/>
                <a:gd name="connsiteX98" fmla="*/ 119063 w 514605"/>
                <a:gd name="connsiteY98" fmla="*/ 210807 h 470364"/>
                <a:gd name="connsiteX99" fmla="*/ 88106 w 514605"/>
                <a:gd name="connsiteY99" fmla="*/ 213189 h 470364"/>
                <a:gd name="connsiteX100" fmla="*/ 80963 w 514605"/>
                <a:gd name="connsiteY100" fmla="*/ 179851 h 470364"/>
                <a:gd name="connsiteX101" fmla="*/ 76200 w 514605"/>
                <a:gd name="connsiteY101" fmla="*/ 172707 h 470364"/>
                <a:gd name="connsiteX102" fmla="*/ 71438 w 514605"/>
                <a:gd name="connsiteY102" fmla="*/ 158420 h 470364"/>
                <a:gd name="connsiteX103" fmla="*/ 69056 w 514605"/>
                <a:gd name="connsiteY103" fmla="*/ 151276 h 470364"/>
                <a:gd name="connsiteX104" fmla="*/ 54769 w 514605"/>
                <a:gd name="connsiteY104" fmla="*/ 136989 h 470364"/>
                <a:gd name="connsiteX105" fmla="*/ 52388 w 514605"/>
                <a:gd name="connsiteY105" fmla="*/ 129845 h 470364"/>
                <a:gd name="connsiteX106" fmla="*/ 26194 w 514605"/>
                <a:gd name="connsiteY106" fmla="*/ 113176 h 470364"/>
                <a:gd name="connsiteX107" fmla="*/ 2381 w 514605"/>
                <a:gd name="connsiteY107" fmla="*/ 101270 h 470364"/>
                <a:gd name="connsiteX108" fmla="*/ 4763 w 514605"/>
                <a:gd name="connsiteY108" fmla="*/ 72695 h 470364"/>
                <a:gd name="connsiteX109" fmla="*/ 0 w 514605"/>
                <a:gd name="connsiteY109" fmla="*/ 34595 h 470364"/>
                <a:gd name="connsiteX110" fmla="*/ 2381 w 514605"/>
                <a:gd name="connsiteY110" fmla="*/ 20307 h 470364"/>
                <a:gd name="connsiteX111" fmla="*/ 9525 w 514605"/>
                <a:gd name="connsiteY111" fmla="*/ 17926 h 470364"/>
                <a:gd name="connsiteX112" fmla="*/ 19050 w 514605"/>
                <a:gd name="connsiteY112" fmla="*/ 15545 h 470364"/>
                <a:gd name="connsiteX113" fmla="*/ 26194 w 514605"/>
                <a:gd name="connsiteY113" fmla="*/ 17926 h 470364"/>
                <a:gd name="connsiteX114" fmla="*/ 33338 w 514605"/>
                <a:gd name="connsiteY114" fmla="*/ 8401 h 470364"/>
                <a:gd name="connsiteX115" fmla="*/ 30957 w 514605"/>
                <a:gd name="connsiteY115" fmla="*/ 6020 h 470364"/>
                <a:gd name="connsiteX116" fmla="*/ 42863 w 514605"/>
                <a:gd name="connsiteY116" fmla="*/ 25069 h 470364"/>
                <a:gd name="connsiteX117" fmla="*/ 50006 w 514605"/>
                <a:gd name="connsiteY117" fmla="*/ 44120 h 470364"/>
                <a:gd name="connsiteX118" fmla="*/ 59532 w 514605"/>
                <a:gd name="connsiteY118" fmla="*/ 46502 h 470364"/>
                <a:gd name="connsiteX119" fmla="*/ 73819 w 514605"/>
                <a:gd name="connsiteY119" fmla="*/ 46501 h 470364"/>
                <a:gd name="connsiteX120" fmla="*/ 90488 w 514605"/>
                <a:gd name="connsiteY120" fmla="*/ 44120 h 470364"/>
                <a:gd name="connsiteX121" fmla="*/ 92869 w 514605"/>
                <a:gd name="connsiteY121" fmla="*/ 15545 h 470364"/>
                <a:gd name="connsiteX122" fmla="*/ 107156 w 514605"/>
                <a:gd name="connsiteY122" fmla="*/ 10782 h 470364"/>
                <a:gd name="connsiteX123" fmla="*/ 121444 w 514605"/>
                <a:gd name="connsiteY123" fmla="*/ 8401 h 470364"/>
                <a:gd name="connsiteX124" fmla="*/ 142875 w 514605"/>
                <a:gd name="connsiteY124" fmla="*/ 6020 h 470364"/>
                <a:gd name="connsiteX125" fmla="*/ 147638 w 514605"/>
                <a:gd name="connsiteY125" fmla="*/ 6020 h 470364"/>
                <a:gd name="connsiteX0" fmla="*/ 147638 w 514605"/>
                <a:gd name="connsiteY0" fmla="*/ 6020 h 470364"/>
                <a:gd name="connsiteX1" fmla="*/ 161925 w 514605"/>
                <a:gd name="connsiteY1" fmla="*/ 3639 h 470364"/>
                <a:gd name="connsiteX2" fmla="*/ 169069 w 514605"/>
                <a:gd name="connsiteY2" fmla="*/ 8401 h 470364"/>
                <a:gd name="connsiteX3" fmla="*/ 204788 w 514605"/>
                <a:gd name="connsiteY3" fmla="*/ 6020 h 470364"/>
                <a:gd name="connsiteX4" fmla="*/ 219075 w 514605"/>
                <a:gd name="connsiteY4" fmla="*/ 6020 h 470364"/>
                <a:gd name="connsiteX5" fmla="*/ 223838 w 514605"/>
                <a:gd name="connsiteY5" fmla="*/ 13164 h 470364"/>
                <a:gd name="connsiteX6" fmla="*/ 230981 w 514605"/>
                <a:gd name="connsiteY6" fmla="*/ 15545 h 470364"/>
                <a:gd name="connsiteX7" fmla="*/ 250031 w 514605"/>
                <a:gd name="connsiteY7" fmla="*/ 10782 h 470364"/>
                <a:gd name="connsiteX8" fmla="*/ 280988 w 514605"/>
                <a:gd name="connsiteY8" fmla="*/ 10782 h 470364"/>
                <a:gd name="connsiteX9" fmla="*/ 288131 w 514605"/>
                <a:gd name="connsiteY9" fmla="*/ 6020 h 470364"/>
                <a:gd name="connsiteX10" fmla="*/ 292894 w 514605"/>
                <a:gd name="connsiteY10" fmla="*/ 13164 h 470364"/>
                <a:gd name="connsiteX11" fmla="*/ 300038 w 514605"/>
                <a:gd name="connsiteY11" fmla="*/ 10782 h 470364"/>
                <a:gd name="connsiteX12" fmla="*/ 316706 w 514605"/>
                <a:gd name="connsiteY12" fmla="*/ 6020 h 470364"/>
                <a:gd name="connsiteX13" fmla="*/ 321469 w 514605"/>
                <a:gd name="connsiteY13" fmla="*/ 13164 h 470364"/>
                <a:gd name="connsiteX14" fmla="*/ 328613 w 514605"/>
                <a:gd name="connsiteY14" fmla="*/ 8401 h 470364"/>
                <a:gd name="connsiteX15" fmla="*/ 335756 w 514605"/>
                <a:gd name="connsiteY15" fmla="*/ 13164 h 470364"/>
                <a:gd name="connsiteX16" fmla="*/ 354806 w 514605"/>
                <a:gd name="connsiteY16" fmla="*/ 17926 h 470364"/>
                <a:gd name="connsiteX17" fmla="*/ 357188 w 514605"/>
                <a:gd name="connsiteY17" fmla="*/ 25070 h 470364"/>
                <a:gd name="connsiteX18" fmla="*/ 364331 w 514605"/>
                <a:gd name="connsiteY18" fmla="*/ 20307 h 470364"/>
                <a:gd name="connsiteX19" fmla="*/ 376238 w 514605"/>
                <a:gd name="connsiteY19" fmla="*/ 8401 h 470364"/>
                <a:gd name="connsiteX20" fmla="*/ 385763 w 514605"/>
                <a:gd name="connsiteY20" fmla="*/ 22689 h 470364"/>
                <a:gd name="connsiteX21" fmla="*/ 397669 w 514605"/>
                <a:gd name="connsiteY21" fmla="*/ 41739 h 470364"/>
                <a:gd name="connsiteX22" fmla="*/ 404813 w 514605"/>
                <a:gd name="connsiteY22" fmla="*/ 39357 h 470364"/>
                <a:gd name="connsiteX23" fmla="*/ 411956 w 514605"/>
                <a:gd name="connsiteY23" fmla="*/ 34595 h 470364"/>
                <a:gd name="connsiteX24" fmla="*/ 419100 w 514605"/>
                <a:gd name="connsiteY24" fmla="*/ 36976 h 470364"/>
                <a:gd name="connsiteX25" fmla="*/ 428625 w 514605"/>
                <a:gd name="connsiteY25" fmla="*/ 34595 h 470364"/>
                <a:gd name="connsiteX26" fmla="*/ 435769 w 514605"/>
                <a:gd name="connsiteY26" fmla="*/ 29832 h 470364"/>
                <a:gd name="connsiteX27" fmla="*/ 454819 w 514605"/>
                <a:gd name="connsiteY27" fmla="*/ 32214 h 470364"/>
                <a:gd name="connsiteX28" fmla="*/ 469106 w 514605"/>
                <a:gd name="connsiteY28" fmla="*/ 41739 h 470364"/>
                <a:gd name="connsiteX29" fmla="*/ 461963 w 514605"/>
                <a:gd name="connsiteY29" fmla="*/ 60789 h 470364"/>
                <a:gd name="connsiteX30" fmla="*/ 457200 w 514605"/>
                <a:gd name="connsiteY30" fmla="*/ 75076 h 470364"/>
                <a:gd name="connsiteX31" fmla="*/ 454819 w 514605"/>
                <a:gd name="connsiteY31" fmla="*/ 82220 h 470364"/>
                <a:gd name="connsiteX32" fmla="*/ 452438 w 514605"/>
                <a:gd name="connsiteY32" fmla="*/ 113176 h 470364"/>
                <a:gd name="connsiteX33" fmla="*/ 452438 w 514605"/>
                <a:gd name="connsiteY33" fmla="*/ 141751 h 470364"/>
                <a:gd name="connsiteX34" fmla="*/ 459581 w 514605"/>
                <a:gd name="connsiteY34" fmla="*/ 146514 h 470364"/>
                <a:gd name="connsiteX35" fmla="*/ 476250 w 514605"/>
                <a:gd name="connsiteY35" fmla="*/ 146514 h 470364"/>
                <a:gd name="connsiteX36" fmla="*/ 485775 w 514605"/>
                <a:gd name="connsiteY36" fmla="*/ 158420 h 470364"/>
                <a:gd name="connsiteX37" fmla="*/ 500063 w 514605"/>
                <a:gd name="connsiteY37" fmla="*/ 160801 h 470364"/>
                <a:gd name="connsiteX38" fmla="*/ 507206 w 514605"/>
                <a:gd name="connsiteY38" fmla="*/ 170326 h 470364"/>
                <a:gd name="connsiteX39" fmla="*/ 514350 w 514605"/>
                <a:gd name="connsiteY39" fmla="*/ 177470 h 470364"/>
                <a:gd name="connsiteX40" fmla="*/ 511969 w 514605"/>
                <a:gd name="connsiteY40" fmla="*/ 184614 h 470364"/>
                <a:gd name="connsiteX41" fmla="*/ 497681 w 514605"/>
                <a:gd name="connsiteY41" fmla="*/ 189376 h 470364"/>
                <a:gd name="connsiteX42" fmla="*/ 481013 w 514605"/>
                <a:gd name="connsiteY42" fmla="*/ 194139 h 470364"/>
                <a:gd name="connsiteX43" fmla="*/ 490538 w 514605"/>
                <a:gd name="connsiteY43" fmla="*/ 206045 h 470364"/>
                <a:gd name="connsiteX44" fmla="*/ 497681 w 514605"/>
                <a:gd name="connsiteY44" fmla="*/ 232239 h 470364"/>
                <a:gd name="connsiteX45" fmla="*/ 504825 w 514605"/>
                <a:gd name="connsiteY45" fmla="*/ 239382 h 470364"/>
                <a:gd name="connsiteX46" fmla="*/ 504825 w 514605"/>
                <a:gd name="connsiteY46" fmla="*/ 258432 h 470364"/>
                <a:gd name="connsiteX47" fmla="*/ 497681 w 514605"/>
                <a:gd name="connsiteY47" fmla="*/ 260814 h 470364"/>
                <a:gd name="connsiteX48" fmla="*/ 490538 w 514605"/>
                <a:gd name="connsiteY48" fmla="*/ 267957 h 470364"/>
                <a:gd name="connsiteX49" fmla="*/ 459581 w 514605"/>
                <a:gd name="connsiteY49" fmla="*/ 272720 h 470364"/>
                <a:gd name="connsiteX50" fmla="*/ 445294 w 514605"/>
                <a:gd name="connsiteY50" fmla="*/ 277482 h 470364"/>
                <a:gd name="connsiteX51" fmla="*/ 457200 w 514605"/>
                <a:gd name="connsiteY51" fmla="*/ 291770 h 470364"/>
                <a:gd name="connsiteX52" fmla="*/ 459581 w 514605"/>
                <a:gd name="connsiteY52" fmla="*/ 298914 h 470364"/>
                <a:gd name="connsiteX53" fmla="*/ 471488 w 514605"/>
                <a:gd name="connsiteY53" fmla="*/ 320345 h 470364"/>
                <a:gd name="connsiteX54" fmla="*/ 469106 w 514605"/>
                <a:gd name="connsiteY54" fmla="*/ 327489 h 470364"/>
                <a:gd name="connsiteX55" fmla="*/ 454819 w 514605"/>
                <a:gd name="connsiteY55" fmla="*/ 317964 h 470364"/>
                <a:gd name="connsiteX56" fmla="*/ 445294 w 514605"/>
                <a:gd name="connsiteY56" fmla="*/ 320345 h 470364"/>
                <a:gd name="connsiteX57" fmla="*/ 421481 w 514605"/>
                <a:gd name="connsiteY57" fmla="*/ 327489 h 470364"/>
                <a:gd name="connsiteX58" fmla="*/ 421481 w 514605"/>
                <a:gd name="connsiteY58" fmla="*/ 344157 h 470364"/>
                <a:gd name="connsiteX59" fmla="*/ 419100 w 514605"/>
                <a:gd name="connsiteY59" fmla="*/ 363207 h 470364"/>
                <a:gd name="connsiteX60" fmla="*/ 416719 w 514605"/>
                <a:gd name="connsiteY60" fmla="*/ 375114 h 470364"/>
                <a:gd name="connsiteX61" fmla="*/ 407194 w 514605"/>
                <a:gd name="connsiteY61" fmla="*/ 377495 h 470364"/>
                <a:gd name="connsiteX62" fmla="*/ 402431 w 514605"/>
                <a:gd name="connsiteY62" fmla="*/ 384639 h 470364"/>
                <a:gd name="connsiteX63" fmla="*/ 395288 w 514605"/>
                <a:gd name="connsiteY63" fmla="*/ 391782 h 470364"/>
                <a:gd name="connsiteX64" fmla="*/ 392906 w 514605"/>
                <a:gd name="connsiteY64" fmla="*/ 398926 h 470364"/>
                <a:gd name="connsiteX65" fmla="*/ 397669 w 514605"/>
                <a:gd name="connsiteY65" fmla="*/ 413214 h 470364"/>
                <a:gd name="connsiteX66" fmla="*/ 400050 w 514605"/>
                <a:gd name="connsiteY66" fmla="*/ 420357 h 470364"/>
                <a:gd name="connsiteX67" fmla="*/ 407194 w 514605"/>
                <a:gd name="connsiteY67" fmla="*/ 427501 h 470364"/>
                <a:gd name="connsiteX68" fmla="*/ 402431 w 514605"/>
                <a:gd name="connsiteY68" fmla="*/ 444170 h 470364"/>
                <a:gd name="connsiteX69" fmla="*/ 397669 w 514605"/>
                <a:gd name="connsiteY69" fmla="*/ 451314 h 470364"/>
                <a:gd name="connsiteX70" fmla="*/ 376238 w 514605"/>
                <a:gd name="connsiteY70" fmla="*/ 470364 h 470364"/>
                <a:gd name="connsiteX71" fmla="*/ 366713 w 514605"/>
                <a:gd name="connsiteY71" fmla="*/ 458457 h 470364"/>
                <a:gd name="connsiteX72" fmla="*/ 361950 w 514605"/>
                <a:gd name="connsiteY72" fmla="*/ 451314 h 470364"/>
                <a:gd name="connsiteX73" fmla="*/ 354806 w 514605"/>
                <a:gd name="connsiteY73" fmla="*/ 448932 h 470364"/>
                <a:gd name="connsiteX74" fmla="*/ 340519 w 514605"/>
                <a:gd name="connsiteY74" fmla="*/ 439407 h 470364"/>
                <a:gd name="connsiteX75" fmla="*/ 328613 w 514605"/>
                <a:gd name="connsiteY75" fmla="*/ 425120 h 470364"/>
                <a:gd name="connsiteX76" fmla="*/ 321469 w 514605"/>
                <a:gd name="connsiteY76" fmla="*/ 422739 h 470364"/>
                <a:gd name="connsiteX77" fmla="*/ 314325 w 514605"/>
                <a:gd name="connsiteY77" fmla="*/ 415595 h 470364"/>
                <a:gd name="connsiteX78" fmla="*/ 300038 w 514605"/>
                <a:gd name="connsiteY78" fmla="*/ 420357 h 470364"/>
                <a:gd name="connsiteX79" fmla="*/ 290513 w 514605"/>
                <a:gd name="connsiteY79" fmla="*/ 417976 h 470364"/>
                <a:gd name="connsiteX80" fmla="*/ 292893 w 514605"/>
                <a:gd name="connsiteY80" fmla="*/ 408452 h 470364"/>
                <a:gd name="connsiteX81" fmla="*/ 295275 w 514605"/>
                <a:gd name="connsiteY81" fmla="*/ 401307 h 470364"/>
                <a:gd name="connsiteX82" fmla="*/ 283369 w 514605"/>
                <a:gd name="connsiteY82" fmla="*/ 389401 h 470364"/>
                <a:gd name="connsiteX83" fmla="*/ 273844 w 514605"/>
                <a:gd name="connsiteY83" fmla="*/ 377495 h 470364"/>
                <a:gd name="connsiteX84" fmla="*/ 266700 w 514605"/>
                <a:gd name="connsiteY84" fmla="*/ 370351 h 470364"/>
                <a:gd name="connsiteX85" fmla="*/ 250031 w 514605"/>
                <a:gd name="connsiteY85" fmla="*/ 358445 h 470364"/>
                <a:gd name="connsiteX86" fmla="*/ 233363 w 514605"/>
                <a:gd name="connsiteY86" fmla="*/ 346539 h 470364"/>
                <a:gd name="connsiteX87" fmla="*/ 226219 w 514605"/>
                <a:gd name="connsiteY87" fmla="*/ 322726 h 470364"/>
                <a:gd name="connsiteX88" fmla="*/ 221456 w 514605"/>
                <a:gd name="connsiteY88" fmla="*/ 308439 h 470364"/>
                <a:gd name="connsiteX89" fmla="*/ 204788 w 514605"/>
                <a:gd name="connsiteY89" fmla="*/ 306057 h 470364"/>
                <a:gd name="connsiteX90" fmla="*/ 183356 w 514605"/>
                <a:gd name="connsiteY90" fmla="*/ 294151 h 470364"/>
                <a:gd name="connsiteX91" fmla="*/ 169069 w 514605"/>
                <a:gd name="connsiteY91" fmla="*/ 279864 h 470364"/>
                <a:gd name="connsiteX92" fmla="*/ 161925 w 514605"/>
                <a:gd name="connsiteY92" fmla="*/ 272720 h 470364"/>
                <a:gd name="connsiteX93" fmla="*/ 154781 w 514605"/>
                <a:gd name="connsiteY93" fmla="*/ 267957 h 470364"/>
                <a:gd name="connsiteX94" fmla="*/ 145256 w 514605"/>
                <a:gd name="connsiteY94" fmla="*/ 253670 h 470364"/>
                <a:gd name="connsiteX95" fmla="*/ 135731 w 514605"/>
                <a:gd name="connsiteY95" fmla="*/ 239382 h 470364"/>
                <a:gd name="connsiteX96" fmla="*/ 130969 w 514605"/>
                <a:gd name="connsiteY96" fmla="*/ 232239 h 470364"/>
                <a:gd name="connsiteX97" fmla="*/ 128588 w 514605"/>
                <a:gd name="connsiteY97" fmla="*/ 225095 h 470364"/>
                <a:gd name="connsiteX98" fmla="*/ 119063 w 514605"/>
                <a:gd name="connsiteY98" fmla="*/ 210807 h 470364"/>
                <a:gd name="connsiteX99" fmla="*/ 88106 w 514605"/>
                <a:gd name="connsiteY99" fmla="*/ 213189 h 470364"/>
                <a:gd name="connsiteX100" fmla="*/ 80963 w 514605"/>
                <a:gd name="connsiteY100" fmla="*/ 179851 h 470364"/>
                <a:gd name="connsiteX101" fmla="*/ 76200 w 514605"/>
                <a:gd name="connsiteY101" fmla="*/ 172707 h 470364"/>
                <a:gd name="connsiteX102" fmla="*/ 71438 w 514605"/>
                <a:gd name="connsiteY102" fmla="*/ 158420 h 470364"/>
                <a:gd name="connsiteX103" fmla="*/ 69056 w 514605"/>
                <a:gd name="connsiteY103" fmla="*/ 151276 h 470364"/>
                <a:gd name="connsiteX104" fmla="*/ 54769 w 514605"/>
                <a:gd name="connsiteY104" fmla="*/ 136989 h 470364"/>
                <a:gd name="connsiteX105" fmla="*/ 52388 w 514605"/>
                <a:gd name="connsiteY105" fmla="*/ 129845 h 470364"/>
                <a:gd name="connsiteX106" fmla="*/ 26194 w 514605"/>
                <a:gd name="connsiteY106" fmla="*/ 113176 h 470364"/>
                <a:gd name="connsiteX107" fmla="*/ 2381 w 514605"/>
                <a:gd name="connsiteY107" fmla="*/ 101270 h 470364"/>
                <a:gd name="connsiteX108" fmla="*/ 4763 w 514605"/>
                <a:gd name="connsiteY108" fmla="*/ 72695 h 470364"/>
                <a:gd name="connsiteX109" fmla="*/ 0 w 514605"/>
                <a:gd name="connsiteY109" fmla="*/ 34595 h 470364"/>
                <a:gd name="connsiteX110" fmla="*/ 2381 w 514605"/>
                <a:gd name="connsiteY110" fmla="*/ 20307 h 470364"/>
                <a:gd name="connsiteX111" fmla="*/ 9525 w 514605"/>
                <a:gd name="connsiteY111" fmla="*/ 17926 h 470364"/>
                <a:gd name="connsiteX112" fmla="*/ 19050 w 514605"/>
                <a:gd name="connsiteY112" fmla="*/ 15545 h 470364"/>
                <a:gd name="connsiteX113" fmla="*/ 26194 w 514605"/>
                <a:gd name="connsiteY113" fmla="*/ 17926 h 470364"/>
                <a:gd name="connsiteX114" fmla="*/ 33338 w 514605"/>
                <a:gd name="connsiteY114" fmla="*/ 8401 h 470364"/>
                <a:gd name="connsiteX115" fmla="*/ 30957 w 514605"/>
                <a:gd name="connsiteY115" fmla="*/ 6020 h 470364"/>
                <a:gd name="connsiteX116" fmla="*/ 42863 w 514605"/>
                <a:gd name="connsiteY116" fmla="*/ 25069 h 470364"/>
                <a:gd name="connsiteX117" fmla="*/ 50006 w 514605"/>
                <a:gd name="connsiteY117" fmla="*/ 44120 h 470364"/>
                <a:gd name="connsiteX118" fmla="*/ 59532 w 514605"/>
                <a:gd name="connsiteY118" fmla="*/ 46502 h 470364"/>
                <a:gd name="connsiteX119" fmla="*/ 73819 w 514605"/>
                <a:gd name="connsiteY119" fmla="*/ 46501 h 470364"/>
                <a:gd name="connsiteX120" fmla="*/ 90488 w 514605"/>
                <a:gd name="connsiteY120" fmla="*/ 44120 h 470364"/>
                <a:gd name="connsiteX121" fmla="*/ 92869 w 514605"/>
                <a:gd name="connsiteY121" fmla="*/ 15545 h 470364"/>
                <a:gd name="connsiteX122" fmla="*/ 107156 w 514605"/>
                <a:gd name="connsiteY122" fmla="*/ 10782 h 470364"/>
                <a:gd name="connsiteX123" fmla="*/ 121444 w 514605"/>
                <a:gd name="connsiteY123" fmla="*/ 8401 h 470364"/>
                <a:gd name="connsiteX124" fmla="*/ 142875 w 514605"/>
                <a:gd name="connsiteY124" fmla="*/ 6020 h 470364"/>
                <a:gd name="connsiteX125" fmla="*/ 147638 w 514605"/>
                <a:gd name="connsiteY125" fmla="*/ 6020 h 470364"/>
                <a:gd name="connsiteX0" fmla="*/ 147638 w 514605"/>
                <a:gd name="connsiteY0" fmla="*/ 6020 h 470364"/>
                <a:gd name="connsiteX1" fmla="*/ 161925 w 514605"/>
                <a:gd name="connsiteY1" fmla="*/ 3639 h 470364"/>
                <a:gd name="connsiteX2" fmla="*/ 169069 w 514605"/>
                <a:gd name="connsiteY2" fmla="*/ 8401 h 470364"/>
                <a:gd name="connsiteX3" fmla="*/ 204788 w 514605"/>
                <a:gd name="connsiteY3" fmla="*/ 6020 h 470364"/>
                <a:gd name="connsiteX4" fmla="*/ 219075 w 514605"/>
                <a:gd name="connsiteY4" fmla="*/ 6020 h 470364"/>
                <a:gd name="connsiteX5" fmla="*/ 223838 w 514605"/>
                <a:gd name="connsiteY5" fmla="*/ 13164 h 470364"/>
                <a:gd name="connsiteX6" fmla="*/ 230981 w 514605"/>
                <a:gd name="connsiteY6" fmla="*/ 15545 h 470364"/>
                <a:gd name="connsiteX7" fmla="*/ 250031 w 514605"/>
                <a:gd name="connsiteY7" fmla="*/ 10782 h 470364"/>
                <a:gd name="connsiteX8" fmla="*/ 280988 w 514605"/>
                <a:gd name="connsiteY8" fmla="*/ 10782 h 470364"/>
                <a:gd name="connsiteX9" fmla="*/ 288131 w 514605"/>
                <a:gd name="connsiteY9" fmla="*/ 6020 h 470364"/>
                <a:gd name="connsiteX10" fmla="*/ 292894 w 514605"/>
                <a:gd name="connsiteY10" fmla="*/ 13164 h 470364"/>
                <a:gd name="connsiteX11" fmla="*/ 300038 w 514605"/>
                <a:gd name="connsiteY11" fmla="*/ 10782 h 470364"/>
                <a:gd name="connsiteX12" fmla="*/ 316706 w 514605"/>
                <a:gd name="connsiteY12" fmla="*/ 6020 h 470364"/>
                <a:gd name="connsiteX13" fmla="*/ 321469 w 514605"/>
                <a:gd name="connsiteY13" fmla="*/ 13164 h 470364"/>
                <a:gd name="connsiteX14" fmla="*/ 328613 w 514605"/>
                <a:gd name="connsiteY14" fmla="*/ 8401 h 470364"/>
                <a:gd name="connsiteX15" fmla="*/ 335756 w 514605"/>
                <a:gd name="connsiteY15" fmla="*/ 13164 h 470364"/>
                <a:gd name="connsiteX16" fmla="*/ 354806 w 514605"/>
                <a:gd name="connsiteY16" fmla="*/ 17926 h 470364"/>
                <a:gd name="connsiteX17" fmla="*/ 357188 w 514605"/>
                <a:gd name="connsiteY17" fmla="*/ 25070 h 470364"/>
                <a:gd name="connsiteX18" fmla="*/ 364331 w 514605"/>
                <a:gd name="connsiteY18" fmla="*/ 20307 h 470364"/>
                <a:gd name="connsiteX19" fmla="*/ 376238 w 514605"/>
                <a:gd name="connsiteY19" fmla="*/ 8401 h 470364"/>
                <a:gd name="connsiteX20" fmla="*/ 385763 w 514605"/>
                <a:gd name="connsiteY20" fmla="*/ 22689 h 470364"/>
                <a:gd name="connsiteX21" fmla="*/ 397669 w 514605"/>
                <a:gd name="connsiteY21" fmla="*/ 41739 h 470364"/>
                <a:gd name="connsiteX22" fmla="*/ 404813 w 514605"/>
                <a:gd name="connsiteY22" fmla="*/ 39357 h 470364"/>
                <a:gd name="connsiteX23" fmla="*/ 411956 w 514605"/>
                <a:gd name="connsiteY23" fmla="*/ 34595 h 470364"/>
                <a:gd name="connsiteX24" fmla="*/ 419100 w 514605"/>
                <a:gd name="connsiteY24" fmla="*/ 36976 h 470364"/>
                <a:gd name="connsiteX25" fmla="*/ 428625 w 514605"/>
                <a:gd name="connsiteY25" fmla="*/ 34595 h 470364"/>
                <a:gd name="connsiteX26" fmla="*/ 435769 w 514605"/>
                <a:gd name="connsiteY26" fmla="*/ 29832 h 470364"/>
                <a:gd name="connsiteX27" fmla="*/ 454819 w 514605"/>
                <a:gd name="connsiteY27" fmla="*/ 32214 h 470364"/>
                <a:gd name="connsiteX28" fmla="*/ 469106 w 514605"/>
                <a:gd name="connsiteY28" fmla="*/ 41739 h 470364"/>
                <a:gd name="connsiteX29" fmla="*/ 461963 w 514605"/>
                <a:gd name="connsiteY29" fmla="*/ 60789 h 470364"/>
                <a:gd name="connsiteX30" fmla="*/ 457200 w 514605"/>
                <a:gd name="connsiteY30" fmla="*/ 75076 h 470364"/>
                <a:gd name="connsiteX31" fmla="*/ 454819 w 514605"/>
                <a:gd name="connsiteY31" fmla="*/ 82220 h 470364"/>
                <a:gd name="connsiteX32" fmla="*/ 452438 w 514605"/>
                <a:gd name="connsiteY32" fmla="*/ 113176 h 470364"/>
                <a:gd name="connsiteX33" fmla="*/ 452438 w 514605"/>
                <a:gd name="connsiteY33" fmla="*/ 141751 h 470364"/>
                <a:gd name="connsiteX34" fmla="*/ 459581 w 514605"/>
                <a:gd name="connsiteY34" fmla="*/ 146514 h 470364"/>
                <a:gd name="connsiteX35" fmla="*/ 476250 w 514605"/>
                <a:gd name="connsiteY35" fmla="*/ 146514 h 470364"/>
                <a:gd name="connsiteX36" fmla="*/ 485775 w 514605"/>
                <a:gd name="connsiteY36" fmla="*/ 158420 h 470364"/>
                <a:gd name="connsiteX37" fmla="*/ 500063 w 514605"/>
                <a:gd name="connsiteY37" fmla="*/ 160801 h 470364"/>
                <a:gd name="connsiteX38" fmla="*/ 507206 w 514605"/>
                <a:gd name="connsiteY38" fmla="*/ 170326 h 470364"/>
                <a:gd name="connsiteX39" fmla="*/ 514350 w 514605"/>
                <a:gd name="connsiteY39" fmla="*/ 177470 h 470364"/>
                <a:gd name="connsiteX40" fmla="*/ 511969 w 514605"/>
                <a:gd name="connsiteY40" fmla="*/ 184614 h 470364"/>
                <a:gd name="connsiteX41" fmla="*/ 497681 w 514605"/>
                <a:gd name="connsiteY41" fmla="*/ 189376 h 470364"/>
                <a:gd name="connsiteX42" fmla="*/ 481013 w 514605"/>
                <a:gd name="connsiteY42" fmla="*/ 194139 h 470364"/>
                <a:gd name="connsiteX43" fmla="*/ 490538 w 514605"/>
                <a:gd name="connsiteY43" fmla="*/ 206045 h 470364"/>
                <a:gd name="connsiteX44" fmla="*/ 497681 w 514605"/>
                <a:gd name="connsiteY44" fmla="*/ 232239 h 470364"/>
                <a:gd name="connsiteX45" fmla="*/ 504825 w 514605"/>
                <a:gd name="connsiteY45" fmla="*/ 239382 h 470364"/>
                <a:gd name="connsiteX46" fmla="*/ 504825 w 514605"/>
                <a:gd name="connsiteY46" fmla="*/ 258432 h 470364"/>
                <a:gd name="connsiteX47" fmla="*/ 497681 w 514605"/>
                <a:gd name="connsiteY47" fmla="*/ 260814 h 470364"/>
                <a:gd name="connsiteX48" fmla="*/ 490538 w 514605"/>
                <a:gd name="connsiteY48" fmla="*/ 267957 h 470364"/>
                <a:gd name="connsiteX49" fmla="*/ 459581 w 514605"/>
                <a:gd name="connsiteY49" fmla="*/ 272720 h 470364"/>
                <a:gd name="connsiteX50" fmla="*/ 445294 w 514605"/>
                <a:gd name="connsiteY50" fmla="*/ 277482 h 470364"/>
                <a:gd name="connsiteX51" fmla="*/ 457200 w 514605"/>
                <a:gd name="connsiteY51" fmla="*/ 291770 h 470364"/>
                <a:gd name="connsiteX52" fmla="*/ 459581 w 514605"/>
                <a:gd name="connsiteY52" fmla="*/ 298914 h 470364"/>
                <a:gd name="connsiteX53" fmla="*/ 471488 w 514605"/>
                <a:gd name="connsiteY53" fmla="*/ 320345 h 470364"/>
                <a:gd name="connsiteX54" fmla="*/ 469106 w 514605"/>
                <a:gd name="connsiteY54" fmla="*/ 327489 h 470364"/>
                <a:gd name="connsiteX55" fmla="*/ 454819 w 514605"/>
                <a:gd name="connsiteY55" fmla="*/ 317964 h 470364"/>
                <a:gd name="connsiteX56" fmla="*/ 445294 w 514605"/>
                <a:gd name="connsiteY56" fmla="*/ 320345 h 470364"/>
                <a:gd name="connsiteX57" fmla="*/ 421481 w 514605"/>
                <a:gd name="connsiteY57" fmla="*/ 327489 h 470364"/>
                <a:gd name="connsiteX58" fmla="*/ 421481 w 514605"/>
                <a:gd name="connsiteY58" fmla="*/ 344157 h 470364"/>
                <a:gd name="connsiteX59" fmla="*/ 419100 w 514605"/>
                <a:gd name="connsiteY59" fmla="*/ 363207 h 470364"/>
                <a:gd name="connsiteX60" fmla="*/ 416719 w 514605"/>
                <a:gd name="connsiteY60" fmla="*/ 375114 h 470364"/>
                <a:gd name="connsiteX61" fmla="*/ 407194 w 514605"/>
                <a:gd name="connsiteY61" fmla="*/ 377495 h 470364"/>
                <a:gd name="connsiteX62" fmla="*/ 402431 w 514605"/>
                <a:gd name="connsiteY62" fmla="*/ 384639 h 470364"/>
                <a:gd name="connsiteX63" fmla="*/ 395288 w 514605"/>
                <a:gd name="connsiteY63" fmla="*/ 391782 h 470364"/>
                <a:gd name="connsiteX64" fmla="*/ 392906 w 514605"/>
                <a:gd name="connsiteY64" fmla="*/ 398926 h 470364"/>
                <a:gd name="connsiteX65" fmla="*/ 397669 w 514605"/>
                <a:gd name="connsiteY65" fmla="*/ 413214 h 470364"/>
                <a:gd name="connsiteX66" fmla="*/ 400050 w 514605"/>
                <a:gd name="connsiteY66" fmla="*/ 420357 h 470364"/>
                <a:gd name="connsiteX67" fmla="*/ 407194 w 514605"/>
                <a:gd name="connsiteY67" fmla="*/ 427501 h 470364"/>
                <a:gd name="connsiteX68" fmla="*/ 402431 w 514605"/>
                <a:gd name="connsiteY68" fmla="*/ 444170 h 470364"/>
                <a:gd name="connsiteX69" fmla="*/ 397669 w 514605"/>
                <a:gd name="connsiteY69" fmla="*/ 451314 h 470364"/>
                <a:gd name="connsiteX70" fmla="*/ 376238 w 514605"/>
                <a:gd name="connsiteY70" fmla="*/ 470364 h 470364"/>
                <a:gd name="connsiteX71" fmla="*/ 366713 w 514605"/>
                <a:gd name="connsiteY71" fmla="*/ 458457 h 470364"/>
                <a:gd name="connsiteX72" fmla="*/ 361950 w 514605"/>
                <a:gd name="connsiteY72" fmla="*/ 451314 h 470364"/>
                <a:gd name="connsiteX73" fmla="*/ 354806 w 514605"/>
                <a:gd name="connsiteY73" fmla="*/ 448932 h 470364"/>
                <a:gd name="connsiteX74" fmla="*/ 340519 w 514605"/>
                <a:gd name="connsiteY74" fmla="*/ 439407 h 470364"/>
                <a:gd name="connsiteX75" fmla="*/ 328613 w 514605"/>
                <a:gd name="connsiteY75" fmla="*/ 425120 h 470364"/>
                <a:gd name="connsiteX76" fmla="*/ 321469 w 514605"/>
                <a:gd name="connsiteY76" fmla="*/ 422739 h 470364"/>
                <a:gd name="connsiteX77" fmla="*/ 314325 w 514605"/>
                <a:gd name="connsiteY77" fmla="*/ 415595 h 470364"/>
                <a:gd name="connsiteX78" fmla="*/ 283370 w 514605"/>
                <a:gd name="connsiteY78" fmla="*/ 406070 h 470364"/>
                <a:gd name="connsiteX79" fmla="*/ 290513 w 514605"/>
                <a:gd name="connsiteY79" fmla="*/ 417976 h 470364"/>
                <a:gd name="connsiteX80" fmla="*/ 292893 w 514605"/>
                <a:gd name="connsiteY80" fmla="*/ 408452 h 470364"/>
                <a:gd name="connsiteX81" fmla="*/ 295275 w 514605"/>
                <a:gd name="connsiteY81" fmla="*/ 401307 h 470364"/>
                <a:gd name="connsiteX82" fmla="*/ 283369 w 514605"/>
                <a:gd name="connsiteY82" fmla="*/ 389401 h 470364"/>
                <a:gd name="connsiteX83" fmla="*/ 273844 w 514605"/>
                <a:gd name="connsiteY83" fmla="*/ 377495 h 470364"/>
                <a:gd name="connsiteX84" fmla="*/ 266700 w 514605"/>
                <a:gd name="connsiteY84" fmla="*/ 370351 h 470364"/>
                <a:gd name="connsiteX85" fmla="*/ 250031 w 514605"/>
                <a:gd name="connsiteY85" fmla="*/ 358445 h 470364"/>
                <a:gd name="connsiteX86" fmla="*/ 233363 w 514605"/>
                <a:gd name="connsiteY86" fmla="*/ 346539 h 470364"/>
                <a:gd name="connsiteX87" fmla="*/ 226219 w 514605"/>
                <a:gd name="connsiteY87" fmla="*/ 322726 h 470364"/>
                <a:gd name="connsiteX88" fmla="*/ 221456 w 514605"/>
                <a:gd name="connsiteY88" fmla="*/ 308439 h 470364"/>
                <a:gd name="connsiteX89" fmla="*/ 204788 w 514605"/>
                <a:gd name="connsiteY89" fmla="*/ 306057 h 470364"/>
                <a:gd name="connsiteX90" fmla="*/ 183356 w 514605"/>
                <a:gd name="connsiteY90" fmla="*/ 294151 h 470364"/>
                <a:gd name="connsiteX91" fmla="*/ 169069 w 514605"/>
                <a:gd name="connsiteY91" fmla="*/ 279864 h 470364"/>
                <a:gd name="connsiteX92" fmla="*/ 161925 w 514605"/>
                <a:gd name="connsiteY92" fmla="*/ 272720 h 470364"/>
                <a:gd name="connsiteX93" fmla="*/ 154781 w 514605"/>
                <a:gd name="connsiteY93" fmla="*/ 267957 h 470364"/>
                <a:gd name="connsiteX94" fmla="*/ 145256 w 514605"/>
                <a:gd name="connsiteY94" fmla="*/ 253670 h 470364"/>
                <a:gd name="connsiteX95" fmla="*/ 135731 w 514605"/>
                <a:gd name="connsiteY95" fmla="*/ 239382 h 470364"/>
                <a:gd name="connsiteX96" fmla="*/ 130969 w 514605"/>
                <a:gd name="connsiteY96" fmla="*/ 232239 h 470364"/>
                <a:gd name="connsiteX97" fmla="*/ 128588 w 514605"/>
                <a:gd name="connsiteY97" fmla="*/ 225095 h 470364"/>
                <a:gd name="connsiteX98" fmla="*/ 119063 w 514605"/>
                <a:gd name="connsiteY98" fmla="*/ 210807 h 470364"/>
                <a:gd name="connsiteX99" fmla="*/ 88106 w 514605"/>
                <a:gd name="connsiteY99" fmla="*/ 213189 h 470364"/>
                <a:gd name="connsiteX100" fmla="*/ 80963 w 514605"/>
                <a:gd name="connsiteY100" fmla="*/ 179851 h 470364"/>
                <a:gd name="connsiteX101" fmla="*/ 76200 w 514605"/>
                <a:gd name="connsiteY101" fmla="*/ 172707 h 470364"/>
                <a:gd name="connsiteX102" fmla="*/ 71438 w 514605"/>
                <a:gd name="connsiteY102" fmla="*/ 158420 h 470364"/>
                <a:gd name="connsiteX103" fmla="*/ 69056 w 514605"/>
                <a:gd name="connsiteY103" fmla="*/ 151276 h 470364"/>
                <a:gd name="connsiteX104" fmla="*/ 54769 w 514605"/>
                <a:gd name="connsiteY104" fmla="*/ 136989 h 470364"/>
                <a:gd name="connsiteX105" fmla="*/ 52388 w 514605"/>
                <a:gd name="connsiteY105" fmla="*/ 129845 h 470364"/>
                <a:gd name="connsiteX106" fmla="*/ 26194 w 514605"/>
                <a:gd name="connsiteY106" fmla="*/ 113176 h 470364"/>
                <a:gd name="connsiteX107" fmla="*/ 2381 w 514605"/>
                <a:gd name="connsiteY107" fmla="*/ 101270 h 470364"/>
                <a:gd name="connsiteX108" fmla="*/ 4763 w 514605"/>
                <a:gd name="connsiteY108" fmla="*/ 72695 h 470364"/>
                <a:gd name="connsiteX109" fmla="*/ 0 w 514605"/>
                <a:gd name="connsiteY109" fmla="*/ 34595 h 470364"/>
                <a:gd name="connsiteX110" fmla="*/ 2381 w 514605"/>
                <a:gd name="connsiteY110" fmla="*/ 20307 h 470364"/>
                <a:gd name="connsiteX111" fmla="*/ 9525 w 514605"/>
                <a:gd name="connsiteY111" fmla="*/ 17926 h 470364"/>
                <a:gd name="connsiteX112" fmla="*/ 19050 w 514605"/>
                <a:gd name="connsiteY112" fmla="*/ 15545 h 470364"/>
                <a:gd name="connsiteX113" fmla="*/ 26194 w 514605"/>
                <a:gd name="connsiteY113" fmla="*/ 17926 h 470364"/>
                <a:gd name="connsiteX114" fmla="*/ 33338 w 514605"/>
                <a:gd name="connsiteY114" fmla="*/ 8401 h 470364"/>
                <a:gd name="connsiteX115" fmla="*/ 30957 w 514605"/>
                <a:gd name="connsiteY115" fmla="*/ 6020 h 470364"/>
                <a:gd name="connsiteX116" fmla="*/ 42863 w 514605"/>
                <a:gd name="connsiteY116" fmla="*/ 25069 h 470364"/>
                <a:gd name="connsiteX117" fmla="*/ 50006 w 514605"/>
                <a:gd name="connsiteY117" fmla="*/ 44120 h 470364"/>
                <a:gd name="connsiteX118" fmla="*/ 59532 w 514605"/>
                <a:gd name="connsiteY118" fmla="*/ 46502 h 470364"/>
                <a:gd name="connsiteX119" fmla="*/ 73819 w 514605"/>
                <a:gd name="connsiteY119" fmla="*/ 46501 h 470364"/>
                <a:gd name="connsiteX120" fmla="*/ 90488 w 514605"/>
                <a:gd name="connsiteY120" fmla="*/ 44120 h 470364"/>
                <a:gd name="connsiteX121" fmla="*/ 92869 w 514605"/>
                <a:gd name="connsiteY121" fmla="*/ 15545 h 470364"/>
                <a:gd name="connsiteX122" fmla="*/ 107156 w 514605"/>
                <a:gd name="connsiteY122" fmla="*/ 10782 h 470364"/>
                <a:gd name="connsiteX123" fmla="*/ 121444 w 514605"/>
                <a:gd name="connsiteY123" fmla="*/ 8401 h 470364"/>
                <a:gd name="connsiteX124" fmla="*/ 142875 w 514605"/>
                <a:gd name="connsiteY124" fmla="*/ 6020 h 470364"/>
                <a:gd name="connsiteX125" fmla="*/ 147638 w 514605"/>
                <a:gd name="connsiteY125" fmla="*/ 6020 h 470364"/>
                <a:gd name="connsiteX0" fmla="*/ 147638 w 514605"/>
                <a:gd name="connsiteY0" fmla="*/ 6020 h 470364"/>
                <a:gd name="connsiteX1" fmla="*/ 161925 w 514605"/>
                <a:gd name="connsiteY1" fmla="*/ 3639 h 470364"/>
                <a:gd name="connsiteX2" fmla="*/ 169069 w 514605"/>
                <a:gd name="connsiteY2" fmla="*/ 8401 h 470364"/>
                <a:gd name="connsiteX3" fmla="*/ 204788 w 514605"/>
                <a:gd name="connsiteY3" fmla="*/ 6020 h 470364"/>
                <a:gd name="connsiteX4" fmla="*/ 219075 w 514605"/>
                <a:gd name="connsiteY4" fmla="*/ 6020 h 470364"/>
                <a:gd name="connsiteX5" fmla="*/ 223838 w 514605"/>
                <a:gd name="connsiteY5" fmla="*/ 13164 h 470364"/>
                <a:gd name="connsiteX6" fmla="*/ 230981 w 514605"/>
                <a:gd name="connsiteY6" fmla="*/ 15545 h 470364"/>
                <a:gd name="connsiteX7" fmla="*/ 250031 w 514605"/>
                <a:gd name="connsiteY7" fmla="*/ 10782 h 470364"/>
                <a:gd name="connsiteX8" fmla="*/ 280988 w 514605"/>
                <a:gd name="connsiteY8" fmla="*/ 10782 h 470364"/>
                <a:gd name="connsiteX9" fmla="*/ 288131 w 514605"/>
                <a:gd name="connsiteY9" fmla="*/ 6020 h 470364"/>
                <a:gd name="connsiteX10" fmla="*/ 292894 w 514605"/>
                <a:gd name="connsiteY10" fmla="*/ 13164 h 470364"/>
                <a:gd name="connsiteX11" fmla="*/ 300038 w 514605"/>
                <a:gd name="connsiteY11" fmla="*/ 10782 h 470364"/>
                <a:gd name="connsiteX12" fmla="*/ 316706 w 514605"/>
                <a:gd name="connsiteY12" fmla="*/ 6020 h 470364"/>
                <a:gd name="connsiteX13" fmla="*/ 321469 w 514605"/>
                <a:gd name="connsiteY13" fmla="*/ 13164 h 470364"/>
                <a:gd name="connsiteX14" fmla="*/ 328613 w 514605"/>
                <a:gd name="connsiteY14" fmla="*/ 8401 h 470364"/>
                <a:gd name="connsiteX15" fmla="*/ 335756 w 514605"/>
                <a:gd name="connsiteY15" fmla="*/ 13164 h 470364"/>
                <a:gd name="connsiteX16" fmla="*/ 354806 w 514605"/>
                <a:gd name="connsiteY16" fmla="*/ 17926 h 470364"/>
                <a:gd name="connsiteX17" fmla="*/ 357188 w 514605"/>
                <a:gd name="connsiteY17" fmla="*/ 25070 h 470364"/>
                <a:gd name="connsiteX18" fmla="*/ 364331 w 514605"/>
                <a:gd name="connsiteY18" fmla="*/ 20307 h 470364"/>
                <a:gd name="connsiteX19" fmla="*/ 376238 w 514605"/>
                <a:gd name="connsiteY19" fmla="*/ 8401 h 470364"/>
                <a:gd name="connsiteX20" fmla="*/ 385763 w 514605"/>
                <a:gd name="connsiteY20" fmla="*/ 22689 h 470364"/>
                <a:gd name="connsiteX21" fmla="*/ 397669 w 514605"/>
                <a:gd name="connsiteY21" fmla="*/ 41739 h 470364"/>
                <a:gd name="connsiteX22" fmla="*/ 404813 w 514605"/>
                <a:gd name="connsiteY22" fmla="*/ 39357 h 470364"/>
                <a:gd name="connsiteX23" fmla="*/ 411956 w 514605"/>
                <a:gd name="connsiteY23" fmla="*/ 34595 h 470364"/>
                <a:gd name="connsiteX24" fmla="*/ 419100 w 514605"/>
                <a:gd name="connsiteY24" fmla="*/ 36976 h 470364"/>
                <a:gd name="connsiteX25" fmla="*/ 428625 w 514605"/>
                <a:gd name="connsiteY25" fmla="*/ 34595 h 470364"/>
                <a:gd name="connsiteX26" fmla="*/ 435769 w 514605"/>
                <a:gd name="connsiteY26" fmla="*/ 29832 h 470364"/>
                <a:gd name="connsiteX27" fmla="*/ 454819 w 514605"/>
                <a:gd name="connsiteY27" fmla="*/ 32214 h 470364"/>
                <a:gd name="connsiteX28" fmla="*/ 469106 w 514605"/>
                <a:gd name="connsiteY28" fmla="*/ 41739 h 470364"/>
                <a:gd name="connsiteX29" fmla="*/ 461963 w 514605"/>
                <a:gd name="connsiteY29" fmla="*/ 60789 h 470364"/>
                <a:gd name="connsiteX30" fmla="*/ 457200 w 514605"/>
                <a:gd name="connsiteY30" fmla="*/ 75076 h 470364"/>
                <a:gd name="connsiteX31" fmla="*/ 454819 w 514605"/>
                <a:gd name="connsiteY31" fmla="*/ 82220 h 470364"/>
                <a:gd name="connsiteX32" fmla="*/ 452438 w 514605"/>
                <a:gd name="connsiteY32" fmla="*/ 113176 h 470364"/>
                <a:gd name="connsiteX33" fmla="*/ 452438 w 514605"/>
                <a:gd name="connsiteY33" fmla="*/ 141751 h 470364"/>
                <a:gd name="connsiteX34" fmla="*/ 459581 w 514605"/>
                <a:gd name="connsiteY34" fmla="*/ 146514 h 470364"/>
                <a:gd name="connsiteX35" fmla="*/ 476250 w 514605"/>
                <a:gd name="connsiteY35" fmla="*/ 146514 h 470364"/>
                <a:gd name="connsiteX36" fmla="*/ 485775 w 514605"/>
                <a:gd name="connsiteY36" fmla="*/ 158420 h 470364"/>
                <a:gd name="connsiteX37" fmla="*/ 500063 w 514605"/>
                <a:gd name="connsiteY37" fmla="*/ 160801 h 470364"/>
                <a:gd name="connsiteX38" fmla="*/ 507206 w 514605"/>
                <a:gd name="connsiteY38" fmla="*/ 170326 h 470364"/>
                <a:gd name="connsiteX39" fmla="*/ 514350 w 514605"/>
                <a:gd name="connsiteY39" fmla="*/ 177470 h 470364"/>
                <a:gd name="connsiteX40" fmla="*/ 511969 w 514605"/>
                <a:gd name="connsiteY40" fmla="*/ 184614 h 470364"/>
                <a:gd name="connsiteX41" fmla="*/ 497681 w 514605"/>
                <a:gd name="connsiteY41" fmla="*/ 189376 h 470364"/>
                <a:gd name="connsiteX42" fmla="*/ 481013 w 514605"/>
                <a:gd name="connsiteY42" fmla="*/ 194139 h 470364"/>
                <a:gd name="connsiteX43" fmla="*/ 490538 w 514605"/>
                <a:gd name="connsiteY43" fmla="*/ 206045 h 470364"/>
                <a:gd name="connsiteX44" fmla="*/ 497681 w 514605"/>
                <a:gd name="connsiteY44" fmla="*/ 232239 h 470364"/>
                <a:gd name="connsiteX45" fmla="*/ 504825 w 514605"/>
                <a:gd name="connsiteY45" fmla="*/ 239382 h 470364"/>
                <a:gd name="connsiteX46" fmla="*/ 504825 w 514605"/>
                <a:gd name="connsiteY46" fmla="*/ 258432 h 470364"/>
                <a:gd name="connsiteX47" fmla="*/ 497681 w 514605"/>
                <a:gd name="connsiteY47" fmla="*/ 260814 h 470364"/>
                <a:gd name="connsiteX48" fmla="*/ 490538 w 514605"/>
                <a:gd name="connsiteY48" fmla="*/ 267957 h 470364"/>
                <a:gd name="connsiteX49" fmla="*/ 459581 w 514605"/>
                <a:gd name="connsiteY49" fmla="*/ 272720 h 470364"/>
                <a:gd name="connsiteX50" fmla="*/ 445294 w 514605"/>
                <a:gd name="connsiteY50" fmla="*/ 277482 h 470364"/>
                <a:gd name="connsiteX51" fmla="*/ 457200 w 514605"/>
                <a:gd name="connsiteY51" fmla="*/ 291770 h 470364"/>
                <a:gd name="connsiteX52" fmla="*/ 459581 w 514605"/>
                <a:gd name="connsiteY52" fmla="*/ 298914 h 470364"/>
                <a:gd name="connsiteX53" fmla="*/ 471488 w 514605"/>
                <a:gd name="connsiteY53" fmla="*/ 320345 h 470364"/>
                <a:gd name="connsiteX54" fmla="*/ 469106 w 514605"/>
                <a:gd name="connsiteY54" fmla="*/ 327489 h 470364"/>
                <a:gd name="connsiteX55" fmla="*/ 454819 w 514605"/>
                <a:gd name="connsiteY55" fmla="*/ 317964 h 470364"/>
                <a:gd name="connsiteX56" fmla="*/ 445294 w 514605"/>
                <a:gd name="connsiteY56" fmla="*/ 320345 h 470364"/>
                <a:gd name="connsiteX57" fmla="*/ 421481 w 514605"/>
                <a:gd name="connsiteY57" fmla="*/ 327489 h 470364"/>
                <a:gd name="connsiteX58" fmla="*/ 421481 w 514605"/>
                <a:gd name="connsiteY58" fmla="*/ 344157 h 470364"/>
                <a:gd name="connsiteX59" fmla="*/ 419100 w 514605"/>
                <a:gd name="connsiteY59" fmla="*/ 363207 h 470364"/>
                <a:gd name="connsiteX60" fmla="*/ 416719 w 514605"/>
                <a:gd name="connsiteY60" fmla="*/ 375114 h 470364"/>
                <a:gd name="connsiteX61" fmla="*/ 407194 w 514605"/>
                <a:gd name="connsiteY61" fmla="*/ 377495 h 470364"/>
                <a:gd name="connsiteX62" fmla="*/ 402431 w 514605"/>
                <a:gd name="connsiteY62" fmla="*/ 384639 h 470364"/>
                <a:gd name="connsiteX63" fmla="*/ 395288 w 514605"/>
                <a:gd name="connsiteY63" fmla="*/ 391782 h 470364"/>
                <a:gd name="connsiteX64" fmla="*/ 392906 w 514605"/>
                <a:gd name="connsiteY64" fmla="*/ 398926 h 470364"/>
                <a:gd name="connsiteX65" fmla="*/ 397669 w 514605"/>
                <a:gd name="connsiteY65" fmla="*/ 413214 h 470364"/>
                <a:gd name="connsiteX66" fmla="*/ 400050 w 514605"/>
                <a:gd name="connsiteY66" fmla="*/ 420357 h 470364"/>
                <a:gd name="connsiteX67" fmla="*/ 407194 w 514605"/>
                <a:gd name="connsiteY67" fmla="*/ 427501 h 470364"/>
                <a:gd name="connsiteX68" fmla="*/ 402431 w 514605"/>
                <a:gd name="connsiteY68" fmla="*/ 444170 h 470364"/>
                <a:gd name="connsiteX69" fmla="*/ 397669 w 514605"/>
                <a:gd name="connsiteY69" fmla="*/ 451314 h 470364"/>
                <a:gd name="connsiteX70" fmla="*/ 376238 w 514605"/>
                <a:gd name="connsiteY70" fmla="*/ 470364 h 470364"/>
                <a:gd name="connsiteX71" fmla="*/ 366713 w 514605"/>
                <a:gd name="connsiteY71" fmla="*/ 458457 h 470364"/>
                <a:gd name="connsiteX72" fmla="*/ 361950 w 514605"/>
                <a:gd name="connsiteY72" fmla="*/ 451314 h 470364"/>
                <a:gd name="connsiteX73" fmla="*/ 354806 w 514605"/>
                <a:gd name="connsiteY73" fmla="*/ 448932 h 470364"/>
                <a:gd name="connsiteX74" fmla="*/ 342900 w 514605"/>
                <a:gd name="connsiteY74" fmla="*/ 432263 h 470364"/>
                <a:gd name="connsiteX75" fmla="*/ 328613 w 514605"/>
                <a:gd name="connsiteY75" fmla="*/ 425120 h 470364"/>
                <a:gd name="connsiteX76" fmla="*/ 321469 w 514605"/>
                <a:gd name="connsiteY76" fmla="*/ 422739 h 470364"/>
                <a:gd name="connsiteX77" fmla="*/ 314325 w 514605"/>
                <a:gd name="connsiteY77" fmla="*/ 415595 h 470364"/>
                <a:gd name="connsiteX78" fmla="*/ 283370 w 514605"/>
                <a:gd name="connsiteY78" fmla="*/ 406070 h 470364"/>
                <a:gd name="connsiteX79" fmla="*/ 290513 w 514605"/>
                <a:gd name="connsiteY79" fmla="*/ 417976 h 470364"/>
                <a:gd name="connsiteX80" fmla="*/ 292893 w 514605"/>
                <a:gd name="connsiteY80" fmla="*/ 408452 h 470364"/>
                <a:gd name="connsiteX81" fmla="*/ 295275 w 514605"/>
                <a:gd name="connsiteY81" fmla="*/ 401307 h 470364"/>
                <a:gd name="connsiteX82" fmla="*/ 283369 w 514605"/>
                <a:gd name="connsiteY82" fmla="*/ 389401 h 470364"/>
                <a:gd name="connsiteX83" fmla="*/ 273844 w 514605"/>
                <a:gd name="connsiteY83" fmla="*/ 377495 h 470364"/>
                <a:gd name="connsiteX84" fmla="*/ 266700 w 514605"/>
                <a:gd name="connsiteY84" fmla="*/ 370351 h 470364"/>
                <a:gd name="connsiteX85" fmla="*/ 250031 w 514605"/>
                <a:gd name="connsiteY85" fmla="*/ 358445 h 470364"/>
                <a:gd name="connsiteX86" fmla="*/ 233363 w 514605"/>
                <a:gd name="connsiteY86" fmla="*/ 346539 h 470364"/>
                <a:gd name="connsiteX87" fmla="*/ 226219 w 514605"/>
                <a:gd name="connsiteY87" fmla="*/ 322726 h 470364"/>
                <a:gd name="connsiteX88" fmla="*/ 221456 w 514605"/>
                <a:gd name="connsiteY88" fmla="*/ 308439 h 470364"/>
                <a:gd name="connsiteX89" fmla="*/ 204788 w 514605"/>
                <a:gd name="connsiteY89" fmla="*/ 306057 h 470364"/>
                <a:gd name="connsiteX90" fmla="*/ 183356 w 514605"/>
                <a:gd name="connsiteY90" fmla="*/ 294151 h 470364"/>
                <a:gd name="connsiteX91" fmla="*/ 169069 w 514605"/>
                <a:gd name="connsiteY91" fmla="*/ 279864 h 470364"/>
                <a:gd name="connsiteX92" fmla="*/ 161925 w 514605"/>
                <a:gd name="connsiteY92" fmla="*/ 272720 h 470364"/>
                <a:gd name="connsiteX93" fmla="*/ 154781 w 514605"/>
                <a:gd name="connsiteY93" fmla="*/ 267957 h 470364"/>
                <a:gd name="connsiteX94" fmla="*/ 145256 w 514605"/>
                <a:gd name="connsiteY94" fmla="*/ 253670 h 470364"/>
                <a:gd name="connsiteX95" fmla="*/ 135731 w 514605"/>
                <a:gd name="connsiteY95" fmla="*/ 239382 h 470364"/>
                <a:gd name="connsiteX96" fmla="*/ 130969 w 514605"/>
                <a:gd name="connsiteY96" fmla="*/ 232239 h 470364"/>
                <a:gd name="connsiteX97" fmla="*/ 128588 w 514605"/>
                <a:gd name="connsiteY97" fmla="*/ 225095 h 470364"/>
                <a:gd name="connsiteX98" fmla="*/ 119063 w 514605"/>
                <a:gd name="connsiteY98" fmla="*/ 210807 h 470364"/>
                <a:gd name="connsiteX99" fmla="*/ 88106 w 514605"/>
                <a:gd name="connsiteY99" fmla="*/ 213189 h 470364"/>
                <a:gd name="connsiteX100" fmla="*/ 80963 w 514605"/>
                <a:gd name="connsiteY100" fmla="*/ 179851 h 470364"/>
                <a:gd name="connsiteX101" fmla="*/ 76200 w 514605"/>
                <a:gd name="connsiteY101" fmla="*/ 172707 h 470364"/>
                <a:gd name="connsiteX102" fmla="*/ 71438 w 514605"/>
                <a:gd name="connsiteY102" fmla="*/ 158420 h 470364"/>
                <a:gd name="connsiteX103" fmla="*/ 69056 w 514605"/>
                <a:gd name="connsiteY103" fmla="*/ 151276 h 470364"/>
                <a:gd name="connsiteX104" fmla="*/ 54769 w 514605"/>
                <a:gd name="connsiteY104" fmla="*/ 136989 h 470364"/>
                <a:gd name="connsiteX105" fmla="*/ 52388 w 514605"/>
                <a:gd name="connsiteY105" fmla="*/ 129845 h 470364"/>
                <a:gd name="connsiteX106" fmla="*/ 26194 w 514605"/>
                <a:gd name="connsiteY106" fmla="*/ 113176 h 470364"/>
                <a:gd name="connsiteX107" fmla="*/ 2381 w 514605"/>
                <a:gd name="connsiteY107" fmla="*/ 101270 h 470364"/>
                <a:gd name="connsiteX108" fmla="*/ 4763 w 514605"/>
                <a:gd name="connsiteY108" fmla="*/ 72695 h 470364"/>
                <a:gd name="connsiteX109" fmla="*/ 0 w 514605"/>
                <a:gd name="connsiteY109" fmla="*/ 34595 h 470364"/>
                <a:gd name="connsiteX110" fmla="*/ 2381 w 514605"/>
                <a:gd name="connsiteY110" fmla="*/ 20307 h 470364"/>
                <a:gd name="connsiteX111" fmla="*/ 9525 w 514605"/>
                <a:gd name="connsiteY111" fmla="*/ 17926 h 470364"/>
                <a:gd name="connsiteX112" fmla="*/ 19050 w 514605"/>
                <a:gd name="connsiteY112" fmla="*/ 15545 h 470364"/>
                <a:gd name="connsiteX113" fmla="*/ 26194 w 514605"/>
                <a:gd name="connsiteY113" fmla="*/ 17926 h 470364"/>
                <a:gd name="connsiteX114" fmla="*/ 33338 w 514605"/>
                <a:gd name="connsiteY114" fmla="*/ 8401 h 470364"/>
                <a:gd name="connsiteX115" fmla="*/ 30957 w 514605"/>
                <a:gd name="connsiteY115" fmla="*/ 6020 h 470364"/>
                <a:gd name="connsiteX116" fmla="*/ 42863 w 514605"/>
                <a:gd name="connsiteY116" fmla="*/ 25069 h 470364"/>
                <a:gd name="connsiteX117" fmla="*/ 50006 w 514605"/>
                <a:gd name="connsiteY117" fmla="*/ 44120 h 470364"/>
                <a:gd name="connsiteX118" fmla="*/ 59532 w 514605"/>
                <a:gd name="connsiteY118" fmla="*/ 46502 h 470364"/>
                <a:gd name="connsiteX119" fmla="*/ 73819 w 514605"/>
                <a:gd name="connsiteY119" fmla="*/ 46501 h 470364"/>
                <a:gd name="connsiteX120" fmla="*/ 90488 w 514605"/>
                <a:gd name="connsiteY120" fmla="*/ 44120 h 470364"/>
                <a:gd name="connsiteX121" fmla="*/ 92869 w 514605"/>
                <a:gd name="connsiteY121" fmla="*/ 15545 h 470364"/>
                <a:gd name="connsiteX122" fmla="*/ 107156 w 514605"/>
                <a:gd name="connsiteY122" fmla="*/ 10782 h 470364"/>
                <a:gd name="connsiteX123" fmla="*/ 121444 w 514605"/>
                <a:gd name="connsiteY123" fmla="*/ 8401 h 470364"/>
                <a:gd name="connsiteX124" fmla="*/ 142875 w 514605"/>
                <a:gd name="connsiteY124" fmla="*/ 6020 h 470364"/>
                <a:gd name="connsiteX125" fmla="*/ 147638 w 514605"/>
                <a:gd name="connsiteY125" fmla="*/ 6020 h 470364"/>
                <a:gd name="connsiteX0" fmla="*/ 147638 w 514605"/>
                <a:gd name="connsiteY0" fmla="*/ 6020 h 470364"/>
                <a:gd name="connsiteX1" fmla="*/ 161925 w 514605"/>
                <a:gd name="connsiteY1" fmla="*/ 3639 h 470364"/>
                <a:gd name="connsiteX2" fmla="*/ 169069 w 514605"/>
                <a:gd name="connsiteY2" fmla="*/ 8401 h 470364"/>
                <a:gd name="connsiteX3" fmla="*/ 204788 w 514605"/>
                <a:gd name="connsiteY3" fmla="*/ 6020 h 470364"/>
                <a:gd name="connsiteX4" fmla="*/ 219075 w 514605"/>
                <a:gd name="connsiteY4" fmla="*/ 6020 h 470364"/>
                <a:gd name="connsiteX5" fmla="*/ 223838 w 514605"/>
                <a:gd name="connsiteY5" fmla="*/ 13164 h 470364"/>
                <a:gd name="connsiteX6" fmla="*/ 230981 w 514605"/>
                <a:gd name="connsiteY6" fmla="*/ 15545 h 470364"/>
                <a:gd name="connsiteX7" fmla="*/ 250031 w 514605"/>
                <a:gd name="connsiteY7" fmla="*/ 10782 h 470364"/>
                <a:gd name="connsiteX8" fmla="*/ 280988 w 514605"/>
                <a:gd name="connsiteY8" fmla="*/ 10782 h 470364"/>
                <a:gd name="connsiteX9" fmla="*/ 288131 w 514605"/>
                <a:gd name="connsiteY9" fmla="*/ 6020 h 470364"/>
                <a:gd name="connsiteX10" fmla="*/ 292894 w 514605"/>
                <a:gd name="connsiteY10" fmla="*/ 13164 h 470364"/>
                <a:gd name="connsiteX11" fmla="*/ 300038 w 514605"/>
                <a:gd name="connsiteY11" fmla="*/ 10782 h 470364"/>
                <a:gd name="connsiteX12" fmla="*/ 316706 w 514605"/>
                <a:gd name="connsiteY12" fmla="*/ 6020 h 470364"/>
                <a:gd name="connsiteX13" fmla="*/ 321469 w 514605"/>
                <a:gd name="connsiteY13" fmla="*/ 13164 h 470364"/>
                <a:gd name="connsiteX14" fmla="*/ 328613 w 514605"/>
                <a:gd name="connsiteY14" fmla="*/ 8401 h 470364"/>
                <a:gd name="connsiteX15" fmla="*/ 335756 w 514605"/>
                <a:gd name="connsiteY15" fmla="*/ 13164 h 470364"/>
                <a:gd name="connsiteX16" fmla="*/ 354806 w 514605"/>
                <a:gd name="connsiteY16" fmla="*/ 17926 h 470364"/>
                <a:gd name="connsiteX17" fmla="*/ 357188 w 514605"/>
                <a:gd name="connsiteY17" fmla="*/ 25070 h 470364"/>
                <a:gd name="connsiteX18" fmla="*/ 364331 w 514605"/>
                <a:gd name="connsiteY18" fmla="*/ 20307 h 470364"/>
                <a:gd name="connsiteX19" fmla="*/ 376238 w 514605"/>
                <a:gd name="connsiteY19" fmla="*/ 8401 h 470364"/>
                <a:gd name="connsiteX20" fmla="*/ 385763 w 514605"/>
                <a:gd name="connsiteY20" fmla="*/ 22689 h 470364"/>
                <a:gd name="connsiteX21" fmla="*/ 397669 w 514605"/>
                <a:gd name="connsiteY21" fmla="*/ 41739 h 470364"/>
                <a:gd name="connsiteX22" fmla="*/ 404813 w 514605"/>
                <a:gd name="connsiteY22" fmla="*/ 39357 h 470364"/>
                <a:gd name="connsiteX23" fmla="*/ 411956 w 514605"/>
                <a:gd name="connsiteY23" fmla="*/ 34595 h 470364"/>
                <a:gd name="connsiteX24" fmla="*/ 419100 w 514605"/>
                <a:gd name="connsiteY24" fmla="*/ 36976 h 470364"/>
                <a:gd name="connsiteX25" fmla="*/ 428625 w 514605"/>
                <a:gd name="connsiteY25" fmla="*/ 34595 h 470364"/>
                <a:gd name="connsiteX26" fmla="*/ 435769 w 514605"/>
                <a:gd name="connsiteY26" fmla="*/ 29832 h 470364"/>
                <a:gd name="connsiteX27" fmla="*/ 454819 w 514605"/>
                <a:gd name="connsiteY27" fmla="*/ 32214 h 470364"/>
                <a:gd name="connsiteX28" fmla="*/ 469106 w 514605"/>
                <a:gd name="connsiteY28" fmla="*/ 41739 h 470364"/>
                <a:gd name="connsiteX29" fmla="*/ 461963 w 514605"/>
                <a:gd name="connsiteY29" fmla="*/ 60789 h 470364"/>
                <a:gd name="connsiteX30" fmla="*/ 457200 w 514605"/>
                <a:gd name="connsiteY30" fmla="*/ 75076 h 470364"/>
                <a:gd name="connsiteX31" fmla="*/ 454819 w 514605"/>
                <a:gd name="connsiteY31" fmla="*/ 82220 h 470364"/>
                <a:gd name="connsiteX32" fmla="*/ 452438 w 514605"/>
                <a:gd name="connsiteY32" fmla="*/ 113176 h 470364"/>
                <a:gd name="connsiteX33" fmla="*/ 452438 w 514605"/>
                <a:gd name="connsiteY33" fmla="*/ 141751 h 470364"/>
                <a:gd name="connsiteX34" fmla="*/ 459581 w 514605"/>
                <a:gd name="connsiteY34" fmla="*/ 146514 h 470364"/>
                <a:gd name="connsiteX35" fmla="*/ 476250 w 514605"/>
                <a:gd name="connsiteY35" fmla="*/ 146514 h 470364"/>
                <a:gd name="connsiteX36" fmla="*/ 485775 w 514605"/>
                <a:gd name="connsiteY36" fmla="*/ 158420 h 470364"/>
                <a:gd name="connsiteX37" fmla="*/ 500063 w 514605"/>
                <a:gd name="connsiteY37" fmla="*/ 160801 h 470364"/>
                <a:gd name="connsiteX38" fmla="*/ 507206 w 514605"/>
                <a:gd name="connsiteY38" fmla="*/ 170326 h 470364"/>
                <a:gd name="connsiteX39" fmla="*/ 514350 w 514605"/>
                <a:gd name="connsiteY39" fmla="*/ 177470 h 470364"/>
                <a:gd name="connsiteX40" fmla="*/ 511969 w 514605"/>
                <a:gd name="connsiteY40" fmla="*/ 184614 h 470364"/>
                <a:gd name="connsiteX41" fmla="*/ 497681 w 514605"/>
                <a:gd name="connsiteY41" fmla="*/ 189376 h 470364"/>
                <a:gd name="connsiteX42" fmla="*/ 481013 w 514605"/>
                <a:gd name="connsiteY42" fmla="*/ 194139 h 470364"/>
                <a:gd name="connsiteX43" fmla="*/ 490538 w 514605"/>
                <a:gd name="connsiteY43" fmla="*/ 206045 h 470364"/>
                <a:gd name="connsiteX44" fmla="*/ 497681 w 514605"/>
                <a:gd name="connsiteY44" fmla="*/ 232239 h 470364"/>
                <a:gd name="connsiteX45" fmla="*/ 504825 w 514605"/>
                <a:gd name="connsiteY45" fmla="*/ 239382 h 470364"/>
                <a:gd name="connsiteX46" fmla="*/ 504825 w 514605"/>
                <a:gd name="connsiteY46" fmla="*/ 258432 h 470364"/>
                <a:gd name="connsiteX47" fmla="*/ 497681 w 514605"/>
                <a:gd name="connsiteY47" fmla="*/ 260814 h 470364"/>
                <a:gd name="connsiteX48" fmla="*/ 490538 w 514605"/>
                <a:gd name="connsiteY48" fmla="*/ 267957 h 470364"/>
                <a:gd name="connsiteX49" fmla="*/ 459581 w 514605"/>
                <a:gd name="connsiteY49" fmla="*/ 272720 h 470364"/>
                <a:gd name="connsiteX50" fmla="*/ 445294 w 514605"/>
                <a:gd name="connsiteY50" fmla="*/ 277482 h 470364"/>
                <a:gd name="connsiteX51" fmla="*/ 457200 w 514605"/>
                <a:gd name="connsiteY51" fmla="*/ 291770 h 470364"/>
                <a:gd name="connsiteX52" fmla="*/ 459581 w 514605"/>
                <a:gd name="connsiteY52" fmla="*/ 298914 h 470364"/>
                <a:gd name="connsiteX53" fmla="*/ 471488 w 514605"/>
                <a:gd name="connsiteY53" fmla="*/ 320345 h 470364"/>
                <a:gd name="connsiteX54" fmla="*/ 469106 w 514605"/>
                <a:gd name="connsiteY54" fmla="*/ 327489 h 470364"/>
                <a:gd name="connsiteX55" fmla="*/ 454819 w 514605"/>
                <a:gd name="connsiteY55" fmla="*/ 317964 h 470364"/>
                <a:gd name="connsiteX56" fmla="*/ 445294 w 514605"/>
                <a:gd name="connsiteY56" fmla="*/ 320345 h 470364"/>
                <a:gd name="connsiteX57" fmla="*/ 421481 w 514605"/>
                <a:gd name="connsiteY57" fmla="*/ 327489 h 470364"/>
                <a:gd name="connsiteX58" fmla="*/ 421481 w 514605"/>
                <a:gd name="connsiteY58" fmla="*/ 344157 h 470364"/>
                <a:gd name="connsiteX59" fmla="*/ 419100 w 514605"/>
                <a:gd name="connsiteY59" fmla="*/ 363207 h 470364"/>
                <a:gd name="connsiteX60" fmla="*/ 416719 w 514605"/>
                <a:gd name="connsiteY60" fmla="*/ 375114 h 470364"/>
                <a:gd name="connsiteX61" fmla="*/ 407194 w 514605"/>
                <a:gd name="connsiteY61" fmla="*/ 377495 h 470364"/>
                <a:gd name="connsiteX62" fmla="*/ 402431 w 514605"/>
                <a:gd name="connsiteY62" fmla="*/ 384639 h 470364"/>
                <a:gd name="connsiteX63" fmla="*/ 395288 w 514605"/>
                <a:gd name="connsiteY63" fmla="*/ 391782 h 470364"/>
                <a:gd name="connsiteX64" fmla="*/ 392906 w 514605"/>
                <a:gd name="connsiteY64" fmla="*/ 398926 h 470364"/>
                <a:gd name="connsiteX65" fmla="*/ 397669 w 514605"/>
                <a:gd name="connsiteY65" fmla="*/ 413214 h 470364"/>
                <a:gd name="connsiteX66" fmla="*/ 400050 w 514605"/>
                <a:gd name="connsiteY66" fmla="*/ 420357 h 470364"/>
                <a:gd name="connsiteX67" fmla="*/ 407194 w 514605"/>
                <a:gd name="connsiteY67" fmla="*/ 427501 h 470364"/>
                <a:gd name="connsiteX68" fmla="*/ 402431 w 514605"/>
                <a:gd name="connsiteY68" fmla="*/ 444170 h 470364"/>
                <a:gd name="connsiteX69" fmla="*/ 397669 w 514605"/>
                <a:gd name="connsiteY69" fmla="*/ 451314 h 470364"/>
                <a:gd name="connsiteX70" fmla="*/ 376238 w 514605"/>
                <a:gd name="connsiteY70" fmla="*/ 470364 h 470364"/>
                <a:gd name="connsiteX71" fmla="*/ 366713 w 514605"/>
                <a:gd name="connsiteY71" fmla="*/ 458457 h 470364"/>
                <a:gd name="connsiteX72" fmla="*/ 361950 w 514605"/>
                <a:gd name="connsiteY72" fmla="*/ 451314 h 470364"/>
                <a:gd name="connsiteX73" fmla="*/ 366712 w 514605"/>
                <a:gd name="connsiteY73" fmla="*/ 432263 h 470364"/>
                <a:gd name="connsiteX74" fmla="*/ 342900 w 514605"/>
                <a:gd name="connsiteY74" fmla="*/ 432263 h 470364"/>
                <a:gd name="connsiteX75" fmla="*/ 328613 w 514605"/>
                <a:gd name="connsiteY75" fmla="*/ 425120 h 470364"/>
                <a:gd name="connsiteX76" fmla="*/ 321469 w 514605"/>
                <a:gd name="connsiteY76" fmla="*/ 422739 h 470364"/>
                <a:gd name="connsiteX77" fmla="*/ 314325 w 514605"/>
                <a:gd name="connsiteY77" fmla="*/ 415595 h 470364"/>
                <a:gd name="connsiteX78" fmla="*/ 283370 w 514605"/>
                <a:gd name="connsiteY78" fmla="*/ 406070 h 470364"/>
                <a:gd name="connsiteX79" fmla="*/ 290513 w 514605"/>
                <a:gd name="connsiteY79" fmla="*/ 417976 h 470364"/>
                <a:gd name="connsiteX80" fmla="*/ 292893 w 514605"/>
                <a:gd name="connsiteY80" fmla="*/ 408452 h 470364"/>
                <a:gd name="connsiteX81" fmla="*/ 295275 w 514605"/>
                <a:gd name="connsiteY81" fmla="*/ 401307 h 470364"/>
                <a:gd name="connsiteX82" fmla="*/ 283369 w 514605"/>
                <a:gd name="connsiteY82" fmla="*/ 389401 h 470364"/>
                <a:gd name="connsiteX83" fmla="*/ 273844 w 514605"/>
                <a:gd name="connsiteY83" fmla="*/ 377495 h 470364"/>
                <a:gd name="connsiteX84" fmla="*/ 266700 w 514605"/>
                <a:gd name="connsiteY84" fmla="*/ 370351 h 470364"/>
                <a:gd name="connsiteX85" fmla="*/ 250031 w 514605"/>
                <a:gd name="connsiteY85" fmla="*/ 358445 h 470364"/>
                <a:gd name="connsiteX86" fmla="*/ 233363 w 514605"/>
                <a:gd name="connsiteY86" fmla="*/ 346539 h 470364"/>
                <a:gd name="connsiteX87" fmla="*/ 226219 w 514605"/>
                <a:gd name="connsiteY87" fmla="*/ 322726 h 470364"/>
                <a:gd name="connsiteX88" fmla="*/ 221456 w 514605"/>
                <a:gd name="connsiteY88" fmla="*/ 308439 h 470364"/>
                <a:gd name="connsiteX89" fmla="*/ 204788 w 514605"/>
                <a:gd name="connsiteY89" fmla="*/ 306057 h 470364"/>
                <a:gd name="connsiteX90" fmla="*/ 183356 w 514605"/>
                <a:gd name="connsiteY90" fmla="*/ 294151 h 470364"/>
                <a:gd name="connsiteX91" fmla="*/ 169069 w 514605"/>
                <a:gd name="connsiteY91" fmla="*/ 279864 h 470364"/>
                <a:gd name="connsiteX92" fmla="*/ 161925 w 514605"/>
                <a:gd name="connsiteY92" fmla="*/ 272720 h 470364"/>
                <a:gd name="connsiteX93" fmla="*/ 154781 w 514605"/>
                <a:gd name="connsiteY93" fmla="*/ 267957 h 470364"/>
                <a:gd name="connsiteX94" fmla="*/ 145256 w 514605"/>
                <a:gd name="connsiteY94" fmla="*/ 253670 h 470364"/>
                <a:gd name="connsiteX95" fmla="*/ 135731 w 514605"/>
                <a:gd name="connsiteY95" fmla="*/ 239382 h 470364"/>
                <a:gd name="connsiteX96" fmla="*/ 130969 w 514605"/>
                <a:gd name="connsiteY96" fmla="*/ 232239 h 470364"/>
                <a:gd name="connsiteX97" fmla="*/ 128588 w 514605"/>
                <a:gd name="connsiteY97" fmla="*/ 225095 h 470364"/>
                <a:gd name="connsiteX98" fmla="*/ 119063 w 514605"/>
                <a:gd name="connsiteY98" fmla="*/ 210807 h 470364"/>
                <a:gd name="connsiteX99" fmla="*/ 88106 w 514605"/>
                <a:gd name="connsiteY99" fmla="*/ 213189 h 470364"/>
                <a:gd name="connsiteX100" fmla="*/ 80963 w 514605"/>
                <a:gd name="connsiteY100" fmla="*/ 179851 h 470364"/>
                <a:gd name="connsiteX101" fmla="*/ 76200 w 514605"/>
                <a:gd name="connsiteY101" fmla="*/ 172707 h 470364"/>
                <a:gd name="connsiteX102" fmla="*/ 71438 w 514605"/>
                <a:gd name="connsiteY102" fmla="*/ 158420 h 470364"/>
                <a:gd name="connsiteX103" fmla="*/ 69056 w 514605"/>
                <a:gd name="connsiteY103" fmla="*/ 151276 h 470364"/>
                <a:gd name="connsiteX104" fmla="*/ 54769 w 514605"/>
                <a:gd name="connsiteY104" fmla="*/ 136989 h 470364"/>
                <a:gd name="connsiteX105" fmla="*/ 52388 w 514605"/>
                <a:gd name="connsiteY105" fmla="*/ 129845 h 470364"/>
                <a:gd name="connsiteX106" fmla="*/ 26194 w 514605"/>
                <a:gd name="connsiteY106" fmla="*/ 113176 h 470364"/>
                <a:gd name="connsiteX107" fmla="*/ 2381 w 514605"/>
                <a:gd name="connsiteY107" fmla="*/ 101270 h 470364"/>
                <a:gd name="connsiteX108" fmla="*/ 4763 w 514605"/>
                <a:gd name="connsiteY108" fmla="*/ 72695 h 470364"/>
                <a:gd name="connsiteX109" fmla="*/ 0 w 514605"/>
                <a:gd name="connsiteY109" fmla="*/ 34595 h 470364"/>
                <a:gd name="connsiteX110" fmla="*/ 2381 w 514605"/>
                <a:gd name="connsiteY110" fmla="*/ 20307 h 470364"/>
                <a:gd name="connsiteX111" fmla="*/ 9525 w 514605"/>
                <a:gd name="connsiteY111" fmla="*/ 17926 h 470364"/>
                <a:gd name="connsiteX112" fmla="*/ 19050 w 514605"/>
                <a:gd name="connsiteY112" fmla="*/ 15545 h 470364"/>
                <a:gd name="connsiteX113" fmla="*/ 26194 w 514605"/>
                <a:gd name="connsiteY113" fmla="*/ 17926 h 470364"/>
                <a:gd name="connsiteX114" fmla="*/ 33338 w 514605"/>
                <a:gd name="connsiteY114" fmla="*/ 8401 h 470364"/>
                <a:gd name="connsiteX115" fmla="*/ 30957 w 514605"/>
                <a:gd name="connsiteY115" fmla="*/ 6020 h 470364"/>
                <a:gd name="connsiteX116" fmla="*/ 42863 w 514605"/>
                <a:gd name="connsiteY116" fmla="*/ 25069 h 470364"/>
                <a:gd name="connsiteX117" fmla="*/ 50006 w 514605"/>
                <a:gd name="connsiteY117" fmla="*/ 44120 h 470364"/>
                <a:gd name="connsiteX118" fmla="*/ 59532 w 514605"/>
                <a:gd name="connsiteY118" fmla="*/ 46502 h 470364"/>
                <a:gd name="connsiteX119" fmla="*/ 73819 w 514605"/>
                <a:gd name="connsiteY119" fmla="*/ 46501 h 470364"/>
                <a:gd name="connsiteX120" fmla="*/ 90488 w 514605"/>
                <a:gd name="connsiteY120" fmla="*/ 44120 h 470364"/>
                <a:gd name="connsiteX121" fmla="*/ 92869 w 514605"/>
                <a:gd name="connsiteY121" fmla="*/ 15545 h 470364"/>
                <a:gd name="connsiteX122" fmla="*/ 107156 w 514605"/>
                <a:gd name="connsiteY122" fmla="*/ 10782 h 470364"/>
                <a:gd name="connsiteX123" fmla="*/ 121444 w 514605"/>
                <a:gd name="connsiteY123" fmla="*/ 8401 h 470364"/>
                <a:gd name="connsiteX124" fmla="*/ 142875 w 514605"/>
                <a:gd name="connsiteY124" fmla="*/ 6020 h 470364"/>
                <a:gd name="connsiteX125" fmla="*/ 147638 w 514605"/>
                <a:gd name="connsiteY125" fmla="*/ 6020 h 470364"/>
                <a:gd name="connsiteX0" fmla="*/ 147638 w 514605"/>
                <a:gd name="connsiteY0" fmla="*/ 6020 h 470364"/>
                <a:gd name="connsiteX1" fmla="*/ 161925 w 514605"/>
                <a:gd name="connsiteY1" fmla="*/ 3639 h 470364"/>
                <a:gd name="connsiteX2" fmla="*/ 169069 w 514605"/>
                <a:gd name="connsiteY2" fmla="*/ 8401 h 470364"/>
                <a:gd name="connsiteX3" fmla="*/ 204788 w 514605"/>
                <a:gd name="connsiteY3" fmla="*/ 6020 h 470364"/>
                <a:gd name="connsiteX4" fmla="*/ 219075 w 514605"/>
                <a:gd name="connsiteY4" fmla="*/ 6020 h 470364"/>
                <a:gd name="connsiteX5" fmla="*/ 223838 w 514605"/>
                <a:gd name="connsiteY5" fmla="*/ 13164 h 470364"/>
                <a:gd name="connsiteX6" fmla="*/ 230981 w 514605"/>
                <a:gd name="connsiteY6" fmla="*/ 15545 h 470364"/>
                <a:gd name="connsiteX7" fmla="*/ 250031 w 514605"/>
                <a:gd name="connsiteY7" fmla="*/ 10782 h 470364"/>
                <a:gd name="connsiteX8" fmla="*/ 280988 w 514605"/>
                <a:gd name="connsiteY8" fmla="*/ 10782 h 470364"/>
                <a:gd name="connsiteX9" fmla="*/ 288131 w 514605"/>
                <a:gd name="connsiteY9" fmla="*/ 6020 h 470364"/>
                <a:gd name="connsiteX10" fmla="*/ 292894 w 514605"/>
                <a:gd name="connsiteY10" fmla="*/ 13164 h 470364"/>
                <a:gd name="connsiteX11" fmla="*/ 300038 w 514605"/>
                <a:gd name="connsiteY11" fmla="*/ 10782 h 470364"/>
                <a:gd name="connsiteX12" fmla="*/ 316706 w 514605"/>
                <a:gd name="connsiteY12" fmla="*/ 6020 h 470364"/>
                <a:gd name="connsiteX13" fmla="*/ 321469 w 514605"/>
                <a:gd name="connsiteY13" fmla="*/ 13164 h 470364"/>
                <a:gd name="connsiteX14" fmla="*/ 328613 w 514605"/>
                <a:gd name="connsiteY14" fmla="*/ 8401 h 470364"/>
                <a:gd name="connsiteX15" fmla="*/ 335756 w 514605"/>
                <a:gd name="connsiteY15" fmla="*/ 13164 h 470364"/>
                <a:gd name="connsiteX16" fmla="*/ 354806 w 514605"/>
                <a:gd name="connsiteY16" fmla="*/ 17926 h 470364"/>
                <a:gd name="connsiteX17" fmla="*/ 357188 w 514605"/>
                <a:gd name="connsiteY17" fmla="*/ 25070 h 470364"/>
                <a:gd name="connsiteX18" fmla="*/ 364331 w 514605"/>
                <a:gd name="connsiteY18" fmla="*/ 20307 h 470364"/>
                <a:gd name="connsiteX19" fmla="*/ 376238 w 514605"/>
                <a:gd name="connsiteY19" fmla="*/ 8401 h 470364"/>
                <a:gd name="connsiteX20" fmla="*/ 385763 w 514605"/>
                <a:gd name="connsiteY20" fmla="*/ 22689 h 470364"/>
                <a:gd name="connsiteX21" fmla="*/ 397669 w 514605"/>
                <a:gd name="connsiteY21" fmla="*/ 41739 h 470364"/>
                <a:gd name="connsiteX22" fmla="*/ 404813 w 514605"/>
                <a:gd name="connsiteY22" fmla="*/ 39357 h 470364"/>
                <a:gd name="connsiteX23" fmla="*/ 411956 w 514605"/>
                <a:gd name="connsiteY23" fmla="*/ 34595 h 470364"/>
                <a:gd name="connsiteX24" fmla="*/ 419100 w 514605"/>
                <a:gd name="connsiteY24" fmla="*/ 36976 h 470364"/>
                <a:gd name="connsiteX25" fmla="*/ 428625 w 514605"/>
                <a:gd name="connsiteY25" fmla="*/ 34595 h 470364"/>
                <a:gd name="connsiteX26" fmla="*/ 435769 w 514605"/>
                <a:gd name="connsiteY26" fmla="*/ 29832 h 470364"/>
                <a:gd name="connsiteX27" fmla="*/ 454819 w 514605"/>
                <a:gd name="connsiteY27" fmla="*/ 32214 h 470364"/>
                <a:gd name="connsiteX28" fmla="*/ 469106 w 514605"/>
                <a:gd name="connsiteY28" fmla="*/ 41739 h 470364"/>
                <a:gd name="connsiteX29" fmla="*/ 461963 w 514605"/>
                <a:gd name="connsiteY29" fmla="*/ 60789 h 470364"/>
                <a:gd name="connsiteX30" fmla="*/ 457200 w 514605"/>
                <a:gd name="connsiteY30" fmla="*/ 75076 h 470364"/>
                <a:gd name="connsiteX31" fmla="*/ 454819 w 514605"/>
                <a:gd name="connsiteY31" fmla="*/ 82220 h 470364"/>
                <a:gd name="connsiteX32" fmla="*/ 452438 w 514605"/>
                <a:gd name="connsiteY32" fmla="*/ 113176 h 470364"/>
                <a:gd name="connsiteX33" fmla="*/ 452438 w 514605"/>
                <a:gd name="connsiteY33" fmla="*/ 141751 h 470364"/>
                <a:gd name="connsiteX34" fmla="*/ 459581 w 514605"/>
                <a:gd name="connsiteY34" fmla="*/ 146514 h 470364"/>
                <a:gd name="connsiteX35" fmla="*/ 476250 w 514605"/>
                <a:gd name="connsiteY35" fmla="*/ 146514 h 470364"/>
                <a:gd name="connsiteX36" fmla="*/ 485775 w 514605"/>
                <a:gd name="connsiteY36" fmla="*/ 158420 h 470364"/>
                <a:gd name="connsiteX37" fmla="*/ 500063 w 514605"/>
                <a:gd name="connsiteY37" fmla="*/ 160801 h 470364"/>
                <a:gd name="connsiteX38" fmla="*/ 507206 w 514605"/>
                <a:gd name="connsiteY38" fmla="*/ 170326 h 470364"/>
                <a:gd name="connsiteX39" fmla="*/ 514350 w 514605"/>
                <a:gd name="connsiteY39" fmla="*/ 177470 h 470364"/>
                <a:gd name="connsiteX40" fmla="*/ 511969 w 514605"/>
                <a:gd name="connsiteY40" fmla="*/ 184614 h 470364"/>
                <a:gd name="connsiteX41" fmla="*/ 497681 w 514605"/>
                <a:gd name="connsiteY41" fmla="*/ 189376 h 470364"/>
                <a:gd name="connsiteX42" fmla="*/ 481013 w 514605"/>
                <a:gd name="connsiteY42" fmla="*/ 194139 h 470364"/>
                <a:gd name="connsiteX43" fmla="*/ 490538 w 514605"/>
                <a:gd name="connsiteY43" fmla="*/ 206045 h 470364"/>
                <a:gd name="connsiteX44" fmla="*/ 497681 w 514605"/>
                <a:gd name="connsiteY44" fmla="*/ 232239 h 470364"/>
                <a:gd name="connsiteX45" fmla="*/ 504825 w 514605"/>
                <a:gd name="connsiteY45" fmla="*/ 239382 h 470364"/>
                <a:gd name="connsiteX46" fmla="*/ 504825 w 514605"/>
                <a:gd name="connsiteY46" fmla="*/ 258432 h 470364"/>
                <a:gd name="connsiteX47" fmla="*/ 497681 w 514605"/>
                <a:gd name="connsiteY47" fmla="*/ 260814 h 470364"/>
                <a:gd name="connsiteX48" fmla="*/ 490538 w 514605"/>
                <a:gd name="connsiteY48" fmla="*/ 267957 h 470364"/>
                <a:gd name="connsiteX49" fmla="*/ 459581 w 514605"/>
                <a:gd name="connsiteY49" fmla="*/ 272720 h 470364"/>
                <a:gd name="connsiteX50" fmla="*/ 445294 w 514605"/>
                <a:gd name="connsiteY50" fmla="*/ 277482 h 470364"/>
                <a:gd name="connsiteX51" fmla="*/ 457200 w 514605"/>
                <a:gd name="connsiteY51" fmla="*/ 291770 h 470364"/>
                <a:gd name="connsiteX52" fmla="*/ 459581 w 514605"/>
                <a:gd name="connsiteY52" fmla="*/ 298914 h 470364"/>
                <a:gd name="connsiteX53" fmla="*/ 471488 w 514605"/>
                <a:gd name="connsiteY53" fmla="*/ 320345 h 470364"/>
                <a:gd name="connsiteX54" fmla="*/ 469106 w 514605"/>
                <a:gd name="connsiteY54" fmla="*/ 327489 h 470364"/>
                <a:gd name="connsiteX55" fmla="*/ 454819 w 514605"/>
                <a:gd name="connsiteY55" fmla="*/ 317964 h 470364"/>
                <a:gd name="connsiteX56" fmla="*/ 445294 w 514605"/>
                <a:gd name="connsiteY56" fmla="*/ 320345 h 470364"/>
                <a:gd name="connsiteX57" fmla="*/ 421481 w 514605"/>
                <a:gd name="connsiteY57" fmla="*/ 327489 h 470364"/>
                <a:gd name="connsiteX58" fmla="*/ 421481 w 514605"/>
                <a:gd name="connsiteY58" fmla="*/ 344157 h 470364"/>
                <a:gd name="connsiteX59" fmla="*/ 419100 w 514605"/>
                <a:gd name="connsiteY59" fmla="*/ 363207 h 470364"/>
                <a:gd name="connsiteX60" fmla="*/ 416719 w 514605"/>
                <a:gd name="connsiteY60" fmla="*/ 375114 h 470364"/>
                <a:gd name="connsiteX61" fmla="*/ 407194 w 514605"/>
                <a:gd name="connsiteY61" fmla="*/ 377495 h 470364"/>
                <a:gd name="connsiteX62" fmla="*/ 402431 w 514605"/>
                <a:gd name="connsiteY62" fmla="*/ 384639 h 470364"/>
                <a:gd name="connsiteX63" fmla="*/ 395288 w 514605"/>
                <a:gd name="connsiteY63" fmla="*/ 391782 h 470364"/>
                <a:gd name="connsiteX64" fmla="*/ 392906 w 514605"/>
                <a:gd name="connsiteY64" fmla="*/ 398926 h 470364"/>
                <a:gd name="connsiteX65" fmla="*/ 397669 w 514605"/>
                <a:gd name="connsiteY65" fmla="*/ 413214 h 470364"/>
                <a:gd name="connsiteX66" fmla="*/ 400050 w 514605"/>
                <a:gd name="connsiteY66" fmla="*/ 420357 h 470364"/>
                <a:gd name="connsiteX67" fmla="*/ 407194 w 514605"/>
                <a:gd name="connsiteY67" fmla="*/ 427501 h 470364"/>
                <a:gd name="connsiteX68" fmla="*/ 402431 w 514605"/>
                <a:gd name="connsiteY68" fmla="*/ 444170 h 470364"/>
                <a:gd name="connsiteX69" fmla="*/ 397669 w 514605"/>
                <a:gd name="connsiteY69" fmla="*/ 451314 h 470364"/>
                <a:gd name="connsiteX70" fmla="*/ 376238 w 514605"/>
                <a:gd name="connsiteY70" fmla="*/ 470364 h 470364"/>
                <a:gd name="connsiteX71" fmla="*/ 366713 w 514605"/>
                <a:gd name="connsiteY71" fmla="*/ 458457 h 470364"/>
                <a:gd name="connsiteX72" fmla="*/ 361950 w 514605"/>
                <a:gd name="connsiteY72" fmla="*/ 451314 h 470364"/>
                <a:gd name="connsiteX73" fmla="*/ 361950 w 514605"/>
                <a:gd name="connsiteY73" fmla="*/ 439407 h 470364"/>
                <a:gd name="connsiteX74" fmla="*/ 342900 w 514605"/>
                <a:gd name="connsiteY74" fmla="*/ 432263 h 470364"/>
                <a:gd name="connsiteX75" fmla="*/ 328613 w 514605"/>
                <a:gd name="connsiteY75" fmla="*/ 425120 h 470364"/>
                <a:gd name="connsiteX76" fmla="*/ 321469 w 514605"/>
                <a:gd name="connsiteY76" fmla="*/ 422739 h 470364"/>
                <a:gd name="connsiteX77" fmla="*/ 314325 w 514605"/>
                <a:gd name="connsiteY77" fmla="*/ 415595 h 470364"/>
                <a:gd name="connsiteX78" fmla="*/ 283370 w 514605"/>
                <a:gd name="connsiteY78" fmla="*/ 406070 h 470364"/>
                <a:gd name="connsiteX79" fmla="*/ 290513 w 514605"/>
                <a:gd name="connsiteY79" fmla="*/ 417976 h 470364"/>
                <a:gd name="connsiteX80" fmla="*/ 292893 w 514605"/>
                <a:gd name="connsiteY80" fmla="*/ 408452 h 470364"/>
                <a:gd name="connsiteX81" fmla="*/ 295275 w 514605"/>
                <a:gd name="connsiteY81" fmla="*/ 401307 h 470364"/>
                <a:gd name="connsiteX82" fmla="*/ 283369 w 514605"/>
                <a:gd name="connsiteY82" fmla="*/ 389401 h 470364"/>
                <a:gd name="connsiteX83" fmla="*/ 273844 w 514605"/>
                <a:gd name="connsiteY83" fmla="*/ 377495 h 470364"/>
                <a:gd name="connsiteX84" fmla="*/ 266700 w 514605"/>
                <a:gd name="connsiteY84" fmla="*/ 370351 h 470364"/>
                <a:gd name="connsiteX85" fmla="*/ 250031 w 514605"/>
                <a:gd name="connsiteY85" fmla="*/ 358445 h 470364"/>
                <a:gd name="connsiteX86" fmla="*/ 233363 w 514605"/>
                <a:gd name="connsiteY86" fmla="*/ 346539 h 470364"/>
                <a:gd name="connsiteX87" fmla="*/ 226219 w 514605"/>
                <a:gd name="connsiteY87" fmla="*/ 322726 h 470364"/>
                <a:gd name="connsiteX88" fmla="*/ 221456 w 514605"/>
                <a:gd name="connsiteY88" fmla="*/ 308439 h 470364"/>
                <a:gd name="connsiteX89" fmla="*/ 204788 w 514605"/>
                <a:gd name="connsiteY89" fmla="*/ 306057 h 470364"/>
                <a:gd name="connsiteX90" fmla="*/ 183356 w 514605"/>
                <a:gd name="connsiteY90" fmla="*/ 294151 h 470364"/>
                <a:gd name="connsiteX91" fmla="*/ 169069 w 514605"/>
                <a:gd name="connsiteY91" fmla="*/ 279864 h 470364"/>
                <a:gd name="connsiteX92" fmla="*/ 161925 w 514605"/>
                <a:gd name="connsiteY92" fmla="*/ 272720 h 470364"/>
                <a:gd name="connsiteX93" fmla="*/ 154781 w 514605"/>
                <a:gd name="connsiteY93" fmla="*/ 267957 h 470364"/>
                <a:gd name="connsiteX94" fmla="*/ 145256 w 514605"/>
                <a:gd name="connsiteY94" fmla="*/ 253670 h 470364"/>
                <a:gd name="connsiteX95" fmla="*/ 135731 w 514605"/>
                <a:gd name="connsiteY95" fmla="*/ 239382 h 470364"/>
                <a:gd name="connsiteX96" fmla="*/ 130969 w 514605"/>
                <a:gd name="connsiteY96" fmla="*/ 232239 h 470364"/>
                <a:gd name="connsiteX97" fmla="*/ 128588 w 514605"/>
                <a:gd name="connsiteY97" fmla="*/ 225095 h 470364"/>
                <a:gd name="connsiteX98" fmla="*/ 119063 w 514605"/>
                <a:gd name="connsiteY98" fmla="*/ 210807 h 470364"/>
                <a:gd name="connsiteX99" fmla="*/ 88106 w 514605"/>
                <a:gd name="connsiteY99" fmla="*/ 213189 h 470364"/>
                <a:gd name="connsiteX100" fmla="*/ 80963 w 514605"/>
                <a:gd name="connsiteY100" fmla="*/ 179851 h 470364"/>
                <a:gd name="connsiteX101" fmla="*/ 76200 w 514605"/>
                <a:gd name="connsiteY101" fmla="*/ 172707 h 470364"/>
                <a:gd name="connsiteX102" fmla="*/ 71438 w 514605"/>
                <a:gd name="connsiteY102" fmla="*/ 158420 h 470364"/>
                <a:gd name="connsiteX103" fmla="*/ 69056 w 514605"/>
                <a:gd name="connsiteY103" fmla="*/ 151276 h 470364"/>
                <a:gd name="connsiteX104" fmla="*/ 54769 w 514605"/>
                <a:gd name="connsiteY104" fmla="*/ 136989 h 470364"/>
                <a:gd name="connsiteX105" fmla="*/ 52388 w 514605"/>
                <a:gd name="connsiteY105" fmla="*/ 129845 h 470364"/>
                <a:gd name="connsiteX106" fmla="*/ 26194 w 514605"/>
                <a:gd name="connsiteY106" fmla="*/ 113176 h 470364"/>
                <a:gd name="connsiteX107" fmla="*/ 2381 w 514605"/>
                <a:gd name="connsiteY107" fmla="*/ 101270 h 470364"/>
                <a:gd name="connsiteX108" fmla="*/ 4763 w 514605"/>
                <a:gd name="connsiteY108" fmla="*/ 72695 h 470364"/>
                <a:gd name="connsiteX109" fmla="*/ 0 w 514605"/>
                <a:gd name="connsiteY109" fmla="*/ 34595 h 470364"/>
                <a:gd name="connsiteX110" fmla="*/ 2381 w 514605"/>
                <a:gd name="connsiteY110" fmla="*/ 20307 h 470364"/>
                <a:gd name="connsiteX111" fmla="*/ 9525 w 514605"/>
                <a:gd name="connsiteY111" fmla="*/ 17926 h 470364"/>
                <a:gd name="connsiteX112" fmla="*/ 19050 w 514605"/>
                <a:gd name="connsiteY112" fmla="*/ 15545 h 470364"/>
                <a:gd name="connsiteX113" fmla="*/ 26194 w 514605"/>
                <a:gd name="connsiteY113" fmla="*/ 17926 h 470364"/>
                <a:gd name="connsiteX114" fmla="*/ 33338 w 514605"/>
                <a:gd name="connsiteY114" fmla="*/ 8401 h 470364"/>
                <a:gd name="connsiteX115" fmla="*/ 30957 w 514605"/>
                <a:gd name="connsiteY115" fmla="*/ 6020 h 470364"/>
                <a:gd name="connsiteX116" fmla="*/ 42863 w 514605"/>
                <a:gd name="connsiteY116" fmla="*/ 25069 h 470364"/>
                <a:gd name="connsiteX117" fmla="*/ 50006 w 514605"/>
                <a:gd name="connsiteY117" fmla="*/ 44120 h 470364"/>
                <a:gd name="connsiteX118" fmla="*/ 59532 w 514605"/>
                <a:gd name="connsiteY118" fmla="*/ 46502 h 470364"/>
                <a:gd name="connsiteX119" fmla="*/ 73819 w 514605"/>
                <a:gd name="connsiteY119" fmla="*/ 46501 h 470364"/>
                <a:gd name="connsiteX120" fmla="*/ 90488 w 514605"/>
                <a:gd name="connsiteY120" fmla="*/ 44120 h 470364"/>
                <a:gd name="connsiteX121" fmla="*/ 92869 w 514605"/>
                <a:gd name="connsiteY121" fmla="*/ 15545 h 470364"/>
                <a:gd name="connsiteX122" fmla="*/ 107156 w 514605"/>
                <a:gd name="connsiteY122" fmla="*/ 10782 h 470364"/>
                <a:gd name="connsiteX123" fmla="*/ 121444 w 514605"/>
                <a:gd name="connsiteY123" fmla="*/ 8401 h 470364"/>
                <a:gd name="connsiteX124" fmla="*/ 142875 w 514605"/>
                <a:gd name="connsiteY124" fmla="*/ 6020 h 470364"/>
                <a:gd name="connsiteX125" fmla="*/ 147638 w 514605"/>
                <a:gd name="connsiteY125" fmla="*/ 6020 h 470364"/>
                <a:gd name="connsiteX0" fmla="*/ 147638 w 514605"/>
                <a:gd name="connsiteY0" fmla="*/ 6020 h 470364"/>
                <a:gd name="connsiteX1" fmla="*/ 161925 w 514605"/>
                <a:gd name="connsiteY1" fmla="*/ 3639 h 470364"/>
                <a:gd name="connsiteX2" fmla="*/ 169069 w 514605"/>
                <a:gd name="connsiteY2" fmla="*/ 8401 h 470364"/>
                <a:gd name="connsiteX3" fmla="*/ 204788 w 514605"/>
                <a:gd name="connsiteY3" fmla="*/ 6020 h 470364"/>
                <a:gd name="connsiteX4" fmla="*/ 219075 w 514605"/>
                <a:gd name="connsiteY4" fmla="*/ 6020 h 470364"/>
                <a:gd name="connsiteX5" fmla="*/ 223838 w 514605"/>
                <a:gd name="connsiteY5" fmla="*/ 13164 h 470364"/>
                <a:gd name="connsiteX6" fmla="*/ 230981 w 514605"/>
                <a:gd name="connsiteY6" fmla="*/ 15545 h 470364"/>
                <a:gd name="connsiteX7" fmla="*/ 250031 w 514605"/>
                <a:gd name="connsiteY7" fmla="*/ 10782 h 470364"/>
                <a:gd name="connsiteX8" fmla="*/ 280988 w 514605"/>
                <a:gd name="connsiteY8" fmla="*/ 10782 h 470364"/>
                <a:gd name="connsiteX9" fmla="*/ 288131 w 514605"/>
                <a:gd name="connsiteY9" fmla="*/ 6020 h 470364"/>
                <a:gd name="connsiteX10" fmla="*/ 292894 w 514605"/>
                <a:gd name="connsiteY10" fmla="*/ 13164 h 470364"/>
                <a:gd name="connsiteX11" fmla="*/ 300038 w 514605"/>
                <a:gd name="connsiteY11" fmla="*/ 10782 h 470364"/>
                <a:gd name="connsiteX12" fmla="*/ 316706 w 514605"/>
                <a:gd name="connsiteY12" fmla="*/ 6020 h 470364"/>
                <a:gd name="connsiteX13" fmla="*/ 321469 w 514605"/>
                <a:gd name="connsiteY13" fmla="*/ 13164 h 470364"/>
                <a:gd name="connsiteX14" fmla="*/ 328613 w 514605"/>
                <a:gd name="connsiteY14" fmla="*/ 8401 h 470364"/>
                <a:gd name="connsiteX15" fmla="*/ 335756 w 514605"/>
                <a:gd name="connsiteY15" fmla="*/ 13164 h 470364"/>
                <a:gd name="connsiteX16" fmla="*/ 354806 w 514605"/>
                <a:gd name="connsiteY16" fmla="*/ 17926 h 470364"/>
                <a:gd name="connsiteX17" fmla="*/ 357188 w 514605"/>
                <a:gd name="connsiteY17" fmla="*/ 25070 h 470364"/>
                <a:gd name="connsiteX18" fmla="*/ 364331 w 514605"/>
                <a:gd name="connsiteY18" fmla="*/ 20307 h 470364"/>
                <a:gd name="connsiteX19" fmla="*/ 376238 w 514605"/>
                <a:gd name="connsiteY19" fmla="*/ 8401 h 470364"/>
                <a:gd name="connsiteX20" fmla="*/ 385763 w 514605"/>
                <a:gd name="connsiteY20" fmla="*/ 22689 h 470364"/>
                <a:gd name="connsiteX21" fmla="*/ 397669 w 514605"/>
                <a:gd name="connsiteY21" fmla="*/ 41739 h 470364"/>
                <a:gd name="connsiteX22" fmla="*/ 404813 w 514605"/>
                <a:gd name="connsiteY22" fmla="*/ 39357 h 470364"/>
                <a:gd name="connsiteX23" fmla="*/ 411956 w 514605"/>
                <a:gd name="connsiteY23" fmla="*/ 34595 h 470364"/>
                <a:gd name="connsiteX24" fmla="*/ 419100 w 514605"/>
                <a:gd name="connsiteY24" fmla="*/ 36976 h 470364"/>
                <a:gd name="connsiteX25" fmla="*/ 428625 w 514605"/>
                <a:gd name="connsiteY25" fmla="*/ 34595 h 470364"/>
                <a:gd name="connsiteX26" fmla="*/ 435769 w 514605"/>
                <a:gd name="connsiteY26" fmla="*/ 29832 h 470364"/>
                <a:gd name="connsiteX27" fmla="*/ 454819 w 514605"/>
                <a:gd name="connsiteY27" fmla="*/ 32214 h 470364"/>
                <a:gd name="connsiteX28" fmla="*/ 469106 w 514605"/>
                <a:gd name="connsiteY28" fmla="*/ 41739 h 470364"/>
                <a:gd name="connsiteX29" fmla="*/ 461963 w 514605"/>
                <a:gd name="connsiteY29" fmla="*/ 60789 h 470364"/>
                <a:gd name="connsiteX30" fmla="*/ 457200 w 514605"/>
                <a:gd name="connsiteY30" fmla="*/ 75076 h 470364"/>
                <a:gd name="connsiteX31" fmla="*/ 454819 w 514605"/>
                <a:gd name="connsiteY31" fmla="*/ 82220 h 470364"/>
                <a:gd name="connsiteX32" fmla="*/ 452438 w 514605"/>
                <a:gd name="connsiteY32" fmla="*/ 113176 h 470364"/>
                <a:gd name="connsiteX33" fmla="*/ 452438 w 514605"/>
                <a:gd name="connsiteY33" fmla="*/ 141751 h 470364"/>
                <a:gd name="connsiteX34" fmla="*/ 459581 w 514605"/>
                <a:gd name="connsiteY34" fmla="*/ 146514 h 470364"/>
                <a:gd name="connsiteX35" fmla="*/ 476250 w 514605"/>
                <a:gd name="connsiteY35" fmla="*/ 146514 h 470364"/>
                <a:gd name="connsiteX36" fmla="*/ 485775 w 514605"/>
                <a:gd name="connsiteY36" fmla="*/ 158420 h 470364"/>
                <a:gd name="connsiteX37" fmla="*/ 500063 w 514605"/>
                <a:gd name="connsiteY37" fmla="*/ 160801 h 470364"/>
                <a:gd name="connsiteX38" fmla="*/ 507206 w 514605"/>
                <a:gd name="connsiteY38" fmla="*/ 170326 h 470364"/>
                <a:gd name="connsiteX39" fmla="*/ 514350 w 514605"/>
                <a:gd name="connsiteY39" fmla="*/ 177470 h 470364"/>
                <a:gd name="connsiteX40" fmla="*/ 511969 w 514605"/>
                <a:gd name="connsiteY40" fmla="*/ 184614 h 470364"/>
                <a:gd name="connsiteX41" fmla="*/ 497681 w 514605"/>
                <a:gd name="connsiteY41" fmla="*/ 189376 h 470364"/>
                <a:gd name="connsiteX42" fmla="*/ 481013 w 514605"/>
                <a:gd name="connsiteY42" fmla="*/ 194139 h 470364"/>
                <a:gd name="connsiteX43" fmla="*/ 490538 w 514605"/>
                <a:gd name="connsiteY43" fmla="*/ 206045 h 470364"/>
                <a:gd name="connsiteX44" fmla="*/ 497681 w 514605"/>
                <a:gd name="connsiteY44" fmla="*/ 232239 h 470364"/>
                <a:gd name="connsiteX45" fmla="*/ 504825 w 514605"/>
                <a:gd name="connsiteY45" fmla="*/ 239382 h 470364"/>
                <a:gd name="connsiteX46" fmla="*/ 504825 w 514605"/>
                <a:gd name="connsiteY46" fmla="*/ 258432 h 470364"/>
                <a:gd name="connsiteX47" fmla="*/ 497681 w 514605"/>
                <a:gd name="connsiteY47" fmla="*/ 260814 h 470364"/>
                <a:gd name="connsiteX48" fmla="*/ 490538 w 514605"/>
                <a:gd name="connsiteY48" fmla="*/ 267957 h 470364"/>
                <a:gd name="connsiteX49" fmla="*/ 459581 w 514605"/>
                <a:gd name="connsiteY49" fmla="*/ 272720 h 470364"/>
                <a:gd name="connsiteX50" fmla="*/ 445294 w 514605"/>
                <a:gd name="connsiteY50" fmla="*/ 277482 h 470364"/>
                <a:gd name="connsiteX51" fmla="*/ 457200 w 514605"/>
                <a:gd name="connsiteY51" fmla="*/ 291770 h 470364"/>
                <a:gd name="connsiteX52" fmla="*/ 459581 w 514605"/>
                <a:gd name="connsiteY52" fmla="*/ 298914 h 470364"/>
                <a:gd name="connsiteX53" fmla="*/ 471488 w 514605"/>
                <a:gd name="connsiteY53" fmla="*/ 320345 h 470364"/>
                <a:gd name="connsiteX54" fmla="*/ 469106 w 514605"/>
                <a:gd name="connsiteY54" fmla="*/ 327489 h 470364"/>
                <a:gd name="connsiteX55" fmla="*/ 454819 w 514605"/>
                <a:gd name="connsiteY55" fmla="*/ 317964 h 470364"/>
                <a:gd name="connsiteX56" fmla="*/ 445294 w 514605"/>
                <a:gd name="connsiteY56" fmla="*/ 320345 h 470364"/>
                <a:gd name="connsiteX57" fmla="*/ 421481 w 514605"/>
                <a:gd name="connsiteY57" fmla="*/ 327489 h 470364"/>
                <a:gd name="connsiteX58" fmla="*/ 421481 w 514605"/>
                <a:gd name="connsiteY58" fmla="*/ 344157 h 470364"/>
                <a:gd name="connsiteX59" fmla="*/ 419100 w 514605"/>
                <a:gd name="connsiteY59" fmla="*/ 363207 h 470364"/>
                <a:gd name="connsiteX60" fmla="*/ 416719 w 514605"/>
                <a:gd name="connsiteY60" fmla="*/ 375114 h 470364"/>
                <a:gd name="connsiteX61" fmla="*/ 407194 w 514605"/>
                <a:gd name="connsiteY61" fmla="*/ 377495 h 470364"/>
                <a:gd name="connsiteX62" fmla="*/ 402431 w 514605"/>
                <a:gd name="connsiteY62" fmla="*/ 384639 h 470364"/>
                <a:gd name="connsiteX63" fmla="*/ 395288 w 514605"/>
                <a:gd name="connsiteY63" fmla="*/ 391782 h 470364"/>
                <a:gd name="connsiteX64" fmla="*/ 392906 w 514605"/>
                <a:gd name="connsiteY64" fmla="*/ 398926 h 470364"/>
                <a:gd name="connsiteX65" fmla="*/ 397669 w 514605"/>
                <a:gd name="connsiteY65" fmla="*/ 413214 h 470364"/>
                <a:gd name="connsiteX66" fmla="*/ 400050 w 514605"/>
                <a:gd name="connsiteY66" fmla="*/ 420357 h 470364"/>
                <a:gd name="connsiteX67" fmla="*/ 407194 w 514605"/>
                <a:gd name="connsiteY67" fmla="*/ 427501 h 470364"/>
                <a:gd name="connsiteX68" fmla="*/ 402431 w 514605"/>
                <a:gd name="connsiteY68" fmla="*/ 444170 h 470364"/>
                <a:gd name="connsiteX69" fmla="*/ 397669 w 514605"/>
                <a:gd name="connsiteY69" fmla="*/ 451314 h 470364"/>
                <a:gd name="connsiteX70" fmla="*/ 376238 w 514605"/>
                <a:gd name="connsiteY70" fmla="*/ 470364 h 470364"/>
                <a:gd name="connsiteX71" fmla="*/ 366713 w 514605"/>
                <a:gd name="connsiteY71" fmla="*/ 458457 h 470364"/>
                <a:gd name="connsiteX72" fmla="*/ 369094 w 514605"/>
                <a:gd name="connsiteY72" fmla="*/ 437026 h 470364"/>
                <a:gd name="connsiteX73" fmla="*/ 361950 w 514605"/>
                <a:gd name="connsiteY73" fmla="*/ 439407 h 470364"/>
                <a:gd name="connsiteX74" fmla="*/ 342900 w 514605"/>
                <a:gd name="connsiteY74" fmla="*/ 432263 h 470364"/>
                <a:gd name="connsiteX75" fmla="*/ 328613 w 514605"/>
                <a:gd name="connsiteY75" fmla="*/ 425120 h 470364"/>
                <a:gd name="connsiteX76" fmla="*/ 321469 w 514605"/>
                <a:gd name="connsiteY76" fmla="*/ 422739 h 470364"/>
                <a:gd name="connsiteX77" fmla="*/ 314325 w 514605"/>
                <a:gd name="connsiteY77" fmla="*/ 415595 h 470364"/>
                <a:gd name="connsiteX78" fmla="*/ 283370 w 514605"/>
                <a:gd name="connsiteY78" fmla="*/ 406070 h 470364"/>
                <a:gd name="connsiteX79" fmla="*/ 290513 w 514605"/>
                <a:gd name="connsiteY79" fmla="*/ 417976 h 470364"/>
                <a:gd name="connsiteX80" fmla="*/ 292893 w 514605"/>
                <a:gd name="connsiteY80" fmla="*/ 408452 h 470364"/>
                <a:gd name="connsiteX81" fmla="*/ 295275 w 514605"/>
                <a:gd name="connsiteY81" fmla="*/ 401307 h 470364"/>
                <a:gd name="connsiteX82" fmla="*/ 283369 w 514605"/>
                <a:gd name="connsiteY82" fmla="*/ 389401 h 470364"/>
                <a:gd name="connsiteX83" fmla="*/ 273844 w 514605"/>
                <a:gd name="connsiteY83" fmla="*/ 377495 h 470364"/>
                <a:gd name="connsiteX84" fmla="*/ 266700 w 514605"/>
                <a:gd name="connsiteY84" fmla="*/ 370351 h 470364"/>
                <a:gd name="connsiteX85" fmla="*/ 250031 w 514605"/>
                <a:gd name="connsiteY85" fmla="*/ 358445 h 470364"/>
                <a:gd name="connsiteX86" fmla="*/ 233363 w 514605"/>
                <a:gd name="connsiteY86" fmla="*/ 346539 h 470364"/>
                <a:gd name="connsiteX87" fmla="*/ 226219 w 514605"/>
                <a:gd name="connsiteY87" fmla="*/ 322726 h 470364"/>
                <a:gd name="connsiteX88" fmla="*/ 221456 w 514605"/>
                <a:gd name="connsiteY88" fmla="*/ 308439 h 470364"/>
                <a:gd name="connsiteX89" fmla="*/ 204788 w 514605"/>
                <a:gd name="connsiteY89" fmla="*/ 306057 h 470364"/>
                <a:gd name="connsiteX90" fmla="*/ 183356 w 514605"/>
                <a:gd name="connsiteY90" fmla="*/ 294151 h 470364"/>
                <a:gd name="connsiteX91" fmla="*/ 169069 w 514605"/>
                <a:gd name="connsiteY91" fmla="*/ 279864 h 470364"/>
                <a:gd name="connsiteX92" fmla="*/ 161925 w 514605"/>
                <a:gd name="connsiteY92" fmla="*/ 272720 h 470364"/>
                <a:gd name="connsiteX93" fmla="*/ 154781 w 514605"/>
                <a:gd name="connsiteY93" fmla="*/ 267957 h 470364"/>
                <a:gd name="connsiteX94" fmla="*/ 145256 w 514605"/>
                <a:gd name="connsiteY94" fmla="*/ 253670 h 470364"/>
                <a:gd name="connsiteX95" fmla="*/ 135731 w 514605"/>
                <a:gd name="connsiteY95" fmla="*/ 239382 h 470364"/>
                <a:gd name="connsiteX96" fmla="*/ 130969 w 514605"/>
                <a:gd name="connsiteY96" fmla="*/ 232239 h 470364"/>
                <a:gd name="connsiteX97" fmla="*/ 128588 w 514605"/>
                <a:gd name="connsiteY97" fmla="*/ 225095 h 470364"/>
                <a:gd name="connsiteX98" fmla="*/ 119063 w 514605"/>
                <a:gd name="connsiteY98" fmla="*/ 210807 h 470364"/>
                <a:gd name="connsiteX99" fmla="*/ 88106 w 514605"/>
                <a:gd name="connsiteY99" fmla="*/ 213189 h 470364"/>
                <a:gd name="connsiteX100" fmla="*/ 80963 w 514605"/>
                <a:gd name="connsiteY100" fmla="*/ 179851 h 470364"/>
                <a:gd name="connsiteX101" fmla="*/ 76200 w 514605"/>
                <a:gd name="connsiteY101" fmla="*/ 172707 h 470364"/>
                <a:gd name="connsiteX102" fmla="*/ 71438 w 514605"/>
                <a:gd name="connsiteY102" fmla="*/ 158420 h 470364"/>
                <a:gd name="connsiteX103" fmla="*/ 69056 w 514605"/>
                <a:gd name="connsiteY103" fmla="*/ 151276 h 470364"/>
                <a:gd name="connsiteX104" fmla="*/ 54769 w 514605"/>
                <a:gd name="connsiteY104" fmla="*/ 136989 h 470364"/>
                <a:gd name="connsiteX105" fmla="*/ 52388 w 514605"/>
                <a:gd name="connsiteY105" fmla="*/ 129845 h 470364"/>
                <a:gd name="connsiteX106" fmla="*/ 26194 w 514605"/>
                <a:gd name="connsiteY106" fmla="*/ 113176 h 470364"/>
                <a:gd name="connsiteX107" fmla="*/ 2381 w 514605"/>
                <a:gd name="connsiteY107" fmla="*/ 101270 h 470364"/>
                <a:gd name="connsiteX108" fmla="*/ 4763 w 514605"/>
                <a:gd name="connsiteY108" fmla="*/ 72695 h 470364"/>
                <a:gd name="connsiteX109" fmla="*/ 0 w 514605"/>
                <a:gd name="connsiteY109" fmla="*/ 34595 h 470364"/>
                <a:gd name="connsiteX110" fmla="*/ 2381 w 514605"/>
                <a:gd name="connsiteY110" fmla="*/ 20307 h 470364"/>
                <a:gd name="connsiteX111" fmla="*/ 9525 w 514605"/>
                <a:gd name="connsiteY111" fmla="*/ 17926 h 470364"/>
                <a:gd name="connsiteX112" fmla="*/ 19050 w 514605"/>
                <a:gd name="connsiteY112" fmla="*/ 15545 h 470364"/>
                <a:gd name="connsiteX113" fmla="*/ 26194 w 514605"/>
                <a:gd name="connsiteY113" fmla="*/ 17926 h 470364"/>
                <a:gd name="connsiteX114" fmla="*/ 33338 w 514605"/>
                <a:gd name="connsiteY114" fmla="*/ 8401 h 470364"/>
                <a:gd name="connsiteX115" fmla="*/ 30957 w 514605"/>
                <a:gd name="connsiteY115" fmla="*/ 6020 h 470364"/>
                <a:gd name="connsiteX116" fmla="*/ 42863 w 514605"/>
                <a:gd name="connsiteY116" fmla="*/ 25069 h 470364"/>
                <a:gd name="connsiteX117" fmla="*/ 50006 w 514605"/>
                <a:gd name="connsiteY117" fmla="*/ 44120 h 470364"/>
                <a:gd name="connsiteX118" fmla="*/ 59532 w 514605"/>
                <a:gd name="connsiteY118" fmla="*/ 46502 h 470364"/>
                <a:gd name="connsiteX119" fmla="*/ 73819 w 514605"/>
                <a:gd name="connsiteY119" fmla="*/ 46501 h 470364"/>
                <a:gd name="connsiteX120" fmla="*/ 90488 w 514605"/>
                <a:gd name="connsiteY120" fmla="*/ 44120 h 470364"/>
                <a:gd name="connsiteX121" fmla="*/ 92869 w 514605"/>
                <a:gd name="connsiteY121" fmla="*/ 15545 h 470364"/>
                <a:gd name="connsiteX122" fmla="*/ 107156 w 514605"/>
                <a:gd name="connsiteY122" fmla="*/ 10782 h 470364"/>
                <a:gd name="connsiteX123" fmla="*/ 121444 w 514605"/>
                <a:gd name="connsiteY123" fmla="*/ 8401 h 470364"/>
                <a:gd name="connsiteX124" fmla="*/ 142875 w 514605"/>
                <a:gd name="connsiteY124" fmla="*/ 6020 h 470364"/>
                <a:gd name="connsiteX125" fmla="*/ 147638 w 514605"/>
                <a:gd name="connsiteY125" fmla="*/ 6020 h 470364"/>
                <a:gd name="connsiteX0" fmla="*/ 147638 w 514605"/>
                <a:gd name="connsiteY0" fmla="*/ 6020 h 470364"/>
                <a:gd name="connsiteX1" fmla="*/ 161925 w 514605"/>
                <a:gd name="connsiteY1" fmla="*/ 3639 h 470364"/>
                <a:gd name="connsiteX2" fmla="*/ 169069 w 514605"/>
                <a:gd name="connsiteY2" fmla="*/ 8401 h 470364"/>
                <a:gd name="connsiteX3" fmla="*/ 204788 w 514605"/>
                <a:gd name="connsiteY3" fmla="*/ 6020 h 470364"/>
                <a:gd name="connsiteX4" fmla="*/ 219075 w 514605"/>
                <a:gd name="connsiteY4" fmla="*/ 6020 h 470364"/>
                <a:gd name="connsiteX5" fmla="*/ 223838 w 514605"/>
                <a:gd name="connsiteY5" fmla="*/ 13164 h 470364"/>
                <a:gd name="connsiteX6" fmla="*/ 230981 w 514605"/>
                <a:gd name="connsiteY6" fmla="*/ 15545 h 470364"/>
                <a:gd name="connsiteX7" fmla="*/ 250031 w 514605"/>
                <a:gd name="connsiteY7" fmla="*/ 10782 h 470364"/>
                <a:gd name="connsiteX8" fmla="*/ 280988 w 514605"/>
                <a:gd name="connsiteY8" fmla="*/ 10782 h 470364"/>
                <a:gd name="connsiteX9" fmla="*/ 288131 w 514605"/>
                <a:gd name="connsiteY9" fmla="*/ 6020 h 470364"/>
                <a:gd name="connsiteX10" fmla="*/ 292894 w 514605"/>
                <a:gd name="connsiteY10" fmla="*/ 13164 h 470364"/>
                <a:gd name="connsiteX11" fmla="*/ 300038 w 514605"/>
                <a:gd name="connsiteY11" fmla="*/ 10782 h 470364"/>
                <a:gd name="connsiteX12" fmla="*/ 316706 w 514605"/>
                <a:gd name="connsiteY12" fmla="*/ 6020 h 470364"/>
                <a:gd name="connsiteX13" fmla="*/ 321469 w 514605"/>
                <a:gd name="connsiteY13" fmla="*/ 13164 h 470364"/>
                <a:gd name="connsiteX14" fmla="*/ 328613 w 514605"/>
                <a:gd name="connsiteY14" fmla="*/ 8401 h 470364"/>
                <a:gd name="connsiteX15" fmla="*/ 335756 w 514605"/>
                <a:gd name="connsiteY15" fmla="*/ 13164 h 470364"/>
                <a:gd name="connsiteX16" fmla="*/ 354806 w 514605"/>
                <a:gd name="connsiteY16" fmla="*/ 17926 h 470364"/>
                <a:gd name="connsiteX17" fmla="*/ 357188 w 514605"/>
                <a:gd name="connsiteY17" fmla="*/ 25070 h 470364"/>
                <a:gd name="connsiteX18" fmla="*/ 364331 w 514605"/>
                <a:gd name="connsiteY18" fmla="*/ 20307 h 470364"/>
                <a:gd name="connsiteX19" fmla="*/ 376238 w 514605"/>
                <a:gd name="connsiteY19" fmla="*/ 8401 h 470364"/>
                <a:gd name="connsiteX20" fmla="*/ 385763 w 514605"/>
                <a:gd name="connsiteY20" fmla="*/ 22689 h 470364"/>
                <a:gd name="connsiteX21" fmla="*/ 397669 w 514605"/>
                <a:gd name="connsiteY21" fmla="*/ 41739 h 470364"/>
                <a:gd name="connsiteX22" fmla="*/ 404813 w 514605"/>
                <a:gd name="connsiteY22" fmla="*/ 39357 h 470364"/>
                <a:gd name="connsiteX23" fmla="*/ 411956 w 514605"/>
                <a:gd name="connsiteY23" fmla="*/ 34595 h 470364"/>
                <a:gd name="connsiteX24" fmla="*/ 419100 w 514605"/>
                <a:gd name="connsiteY24" fmla="*/ 36976 h 470364"/>
                <a:gd name="connsiteX25" fmla="*/ 428625 w 514605"/>
                <a:gd name="connsiteY25" fmla="*/ 34595 h 470364"/>
                <a:gd name="connsiteX26" fmla="*/ 435769 w 514605"/>
                <a:gd name="connsiteY26" fmla="*/ 29832 h 470364"/>
                <a:gd name="connsiteX27" fmla="*/ 454819 w 514605"/>
                <a:gd name="connsiteY27" fmla="*/ 32214 h 470364"/>
                <a:gd name="connsiteX28" fmla="*/ 469106 w 514605"/>
                <a:gd name="connsiteY28" fmla="*/ 41739 h 470364"/>
                <a:gd name="connsiteX29" fmla="*/ 461963 w 514605"/>
                <a:gd name="connsiteY29" fmla="*/ 60789 h 470364"/>
                <a:gd name="connsiteX30" fmla="*/ 457200 w 514605"/>
                <a:gd name="connsiteY30" fmla="*/ 75076 h 470364"/>
                <a:gd name="connsiteX31" fmla="*/ 454819 w 514605"/>
                <a:gd name="connsiteY31" fmla="*/ 82220 h 470364"/>
                <a:gd name="connsiteX32" fmla="*/ 452438 w 514605"/>
                <a:gd name="connsiteY32" fmla="*/ 113176 h 470364"/>
                <a:gd name="connsiteX33" fmla="*/ 452438 w 514605"/>
                <a:gd name="connsiteY33" fmla="*/ 141751 h 470364"/>
                <a:gd name="connsiteX34" fmla="*/ 459581 w 514605"/>
                <a:gd name="connsiteY34" fmla="*/ 146514 h 470364"/>
                <a:gd name="connsiteX35" fmla="*/ 476250 w 514605"/>
                <a:gd name="connsiteY35" fmla="*/ 146514 h 470364"/>
                <a:gd name="connsiteX36" fmla="*/ 485775 w 514605"/>
                <a:gd name="connsiteY36" fmla="*/ 158420 h 470364"/>
                <a:gd name="connsiteX37" fmla="*/ 500063 w 514605"/>
                <a:gd name="connsiteY37" fmla="*/ 160801 h 470364"/>
                <a:gd name="connsiteX38" fmla="*/ 507206 w 514605"/>
                <a:gd name="connsiteY38" fmla="*/ 170326 h 470364"/>
                <a:gd name="connsiteX39" fmla="*/ 514350 w 514605"/>
                <a:gd name="connsiteY39" fmla="*/ 177470 h 470364"/>
                <a:gd name="connsiteX40" fmla="*/ 511969 w 514605"/>
                <a:gd name="connsiteY40" fmla="*/ 184614 h 470364"/>
                <a:gd name="connsiteX41" fmla="*/ 497681 w 514605"/>
                <a:gd name="connsiteY41" fmla="*/ 189376 h 470364"/>
                <a:gd name="connsiteX42" fmla="*/ 481013 w 514605"/>
                <a:gd name="connsiteY42" fmla="*/ 194139 h 470364"/>
                <a:gd name="connsiteX43" fmla="*/ 490538 w 514605"/>
                <a:gd name="connsiteY43" fmla="*/ 206045 h 470364"/>
                <a:gd name="connsiteX44" fmla="*/ 497681 w 514605"/>
                <a:gd name="connsiteY44" fmla="*/ 232239 h 470364"/>
                <a:gd name="connsiteX45" fmla="*/ 504825 w 514605"/>
                <a:gd name="connsiteY45" fmla="*/ 239382 h 470364"/>
                <a:gd name="connsiteX46" fmla="*/ 504825 w 514605"/>
                <a:gd name="connsiteY46" fmla="*/ 258432 h 470364"/>
                <a:gd name="connsiteX47" fmla="*/ 497681 w 514605"/>
                <a:gd name="connsiteY47" fmla="*/ 260814 h 470364"/>
                <a:gd name="connsiteX48" fmla="*/ 490538 w 514605"/>
                <a:gd name="connsiteY48" fmla="*/ 267957 h 470364"/>
                <a:gd name="connsiteX49" fmla="*/ 459581 w 514605"/>
                <a:gd name="connsiteY49" fmla="*/ 272720 h 470364"/>
                <a:gd name="connsiteX50" fmla="*/ 445294 w 514605"/>
                <a:gd name="connsiteY50" fmla="*/ 277482 h 470364"/>
                <a:gd name="connsiteX51" fmla="*/ 457200 w 514605"/>
                <a:gd name="connsiteY51" fmla="*/ 291770 h 470364"/>
                <a:gd name="connsiteX52" fmla="*/ 459581 w 514605"/>
                <a:gd name="connsiteY52" fmla="*/ 298914 h 470364"/>
                <a:gd name="connsiteX53" fmla="*/ 471488 w 514605"/>
                <a:gd name="connsiteY53" fmla="*/ 320345 h 470364"/>
                <a:gd name="connsiteX54" fmla="*/ 469106 w 514605"/>
                <a:gd name="connsiteY54" fmla="*/ 327489 h 470364"/>
                <a:gd name="connsiteX55" fmla="*/ 454819 w 514605"/>
                <a:gd name="connsiteY55" fmla="*/ 317964 h 470364"/>
                <a:gd name="connsiteX56" fmla="*/ 445294 w 514605"/>
                <a:gd name="connsiteY56" fmla="*/ 320345 h 470364"/>
                <a:gd name="connsiteX57" fmla="*/ 421481 w 514605"/>
                <a:gd name="connsiteY57" fmla="*/ 327489 h 470364"/>
                <a:gd name="connsiteX58" fmla="*/ 421481 w 514605"/>
                <a:gd name="connsiteY58" fmla="*/ 344157 h 470364"/>
                <a:gd name="connsiteX59" fmla="*/ 419100 w 514605"/>
                <a:gd name="connsiteY59" fmla="*/ 363207 h 470364"/>
                <a:gd name="connsiteX60" fmla="*/ 416719 w 514605"/>
                <a:gd name="connsiteY60" fmla="*/ 375114 h 470364"/>
                <a:gd name="connsiteX61" fmla="*/ 407194 w 514605"/>
                <a:gd name="connsiteY61" fmla="*/ 377495 h 470364"/>
                <a:gd name="connsiteX62" fmla="*/ 402431 w 514605"/>
                <a:gd name="connsiteY62" fmla="*/ 384639 h 470364"/>
                <a:gd name="connsiteX63" fmla="*/ 395288 w 514605"/>
                <a:gd name="connsiteY63" fmla="*/ 391782 h 470364"/>
                <a:gd name="connsiteX64" fmla="*/ 392906 w 514605"/>
                <a:gd name="connsiteY64" fmla="*/ 398926 h 470364"/>
                <a:gd name="connsiteX65" fmla="*/ 397669 w 514605"/>
                <a:gd name="connsiteY65" fmla="*/ 413214 h 470364"/>
                <a:gd name="connsiteX66" fmla="*/ 400050 w 514605"/>
                <a:gd name="connsiteY66" fmla="*/ 420357 h 470364"/>
                <a:gd name="connsiteX67" fmla="*/ 407194 w 514605"/>
                <a:gd name="connsiteY67" fmla="*/ 427501 h 470364"/>
                <a:gd name="connsiteX68" fmla="*/ 402431 w 514605"/>
                <a:gd name="connsiteY68" fmla="*/ 444170 h 470364"/>
                <a:gd name="connsiteX69" fmla="*/ 397669 w 514605"/>
                <a:gd name="connsiteY69" fmla="*/ 451314 h 470364"/>
                <a:gd name="connsiteX70" fmla="*/ 376238 w 514605"/>
                <a:gd name="connsiteY70" fmla="*/ 470364 h 470364"/>
                <a:gd name="connsiteX71" fmla="*/ 385763 w 514605"/>
                <a:gd name="connsiteY71" fmla="*/ 446551 h 470364"/>
                <a:gd name="connsiteX72" fmla="*/ 369094 w 514605"/>
                <a:gd name="connsiteY72" fmla="*/ 437026 h 470364"/>
                <a:gd name="connsiteX73" fmla="*/ 361950 w 514605"/>
                <a:gd name="connsiteY73" fmla="*/ 439407 h 470364"/>
                <a:gd name="connsiteX74" fmla="*/ 342900 w 514605"/>
                <a:gd name="connsiteY74" fmla="*/ 432263 h 470364"/>
                <a:gd name="connsiteX75" fmla="*/ 328613 w 514605"/>
                <a:gd name="connsiteY75" fmla="*/ 425120 h 470364"/>
                <a:gd name="connsiteX76" fmla="*/ 321469 w 514605"/>
                <a:gd name="connsiteY76" fmla="*/ 422739 h 470364"/>
                <a:gd name="connsiteX77" fmla="*/ 314325 w 514605"/>
                <a:gd name="connsiteY77" fmla="*/ 415595 h 470364"/>
                <a:gd name="connsiteX78" fmla="*/ 283370 w 514605"/>
                <a:gd name="connsiteY78" fmla="*/ 406070 h 470364"/>
                <a:gd name="connsiteX79" fmla="*/ 290513 w 514605"/>
                <a:gd name="connsiteY79" fmla="*/ 417976 h 470364"/>
                <a:gd name="connsiteX80" fmla="*/ 292893 w 514605"/>
                <a:gd name="connsiteY80" fmla="*/ 408452 h 470364"/>
                <a:gd name="connsiteX81" fmla="*/ 295275 w 514605"/>
                <a:gd name="connsiteY81" fmla="*/ 401307 h 470364"/>
                <a:gd name="connsiteX82" fmla="*/ 283369 w 514605"/>
                <a:gd name="connsiteY82" fmla="*/ 389401 h 470364"/>
                <a:gd name="connsiteX83" fmla="*/ 273844 w 514605"/>
                <a:gd name="connsiteY83" fmla="*/ 377495 h 470364"/>
                <a:gd name="connsiteX84" fmla="*/ 266700 w 514605"/>
                <a:gd name="connsiteY84" fmla="*/ 370351 h 470364"/>
                <a:gd name="connsiteX85" fmla="*/ 250031 w 514605"/>
                <a:gd name="connsiteY85" fmla="*/ 358445 h 470364"/>
                <a:gd name="connsiteX86" fmla="*/ 233363 w 514605"/>
                <a:gd name="connsiteY86" fmla="*/ 346539 h 470364"/>
                <a:gd name="connsiteX87" fmla="*/ 226219 w 514605"/>
                <a:gd name="connsiteY87" fmla="*/ 322726 h 470364"/>
                <a:gd name="connsiteX88" fmla="*/ 221456 w 514605"/>
                <a:gd name="connsiteY88" fmla="*/ 308439 h 470364"/>
                <a:gd name="connsiteX89" fmla="*/ 204788 w 514605"/>
                <a:gd name="connsiteY89" fmla="*/ 306057 h 470364"/>
                <a:gd name="connsiteX90" fmla="*/ 183356 w 514605"/>
                <a:gd name="connsiteY90" fmla="*/ 294151 h 470364"/>
                <a:gd name="connsiteX91" fmla="*/ 169069 w 514605"/>
                <a:gd name="connsiteY91" fmla="*/ 279864 h 470364"/>
                <a:gd name="connsiteX92" fmla="*/ 161925 w 514605"/>
                <a:gd name="connsiteY92" fmla="*/ 272720 h 470364"/>
                <a:gd name="connsiteX93" fmla="*/ 154781 w 514605"/>
                <a:gd name="connsiteY93" fmla="*/ 267957 h 470364"/>
                <a:gd name="connsiteX94" fmla="*/ 145256 w 514605"/>
                <a:gd name="connsiteY94" fmla="*/ 253670 h 470364"/>
                <a:gd name="connsiteX95" fmla="*/ 135731 w 514605"/>
                <a:gd name="connsiteY95" fmla="*/ 239382 h 470364"/>
                <a:gd name="connsiteX96" fmla="*/ 130969 w 514605"/>
                <a:gd name="connsiteY96" fmla="*/ 232239 h 470364"/>
                <a:gd name="connsiteX97" fmla="*/ 128588 w 514605"/>
                <a:gd name="connsiteY97" fmla="*/ 225095 h 470364"/>
                <a:gd name="connsiteX98" fmla="*/ 119063 w 514605"/>
                <a:gd name="connsiteY98" fmla="*/ 210807 h 470364"/>
                <a:gd name="connsiteX99" fmla="*/ 88106 w 514605"/>
                <a:gd name="connsiteY99" fmla="*/ 213189 h 470364"/>
                <a:gd name="connsiteX100" fmla="*/ 80963 w 514605"/>
                <a:gd name="connsiteY100" fmla="*/ 179851 h 470364"/>
                <a:gd name="connsiteX101" fmla="*/ 76200 w 514605"/>
                <a:gd name="connsiteY101" fmla="*/ 172707 h 470364"/>
                <a:gd name="connsiteX102" fmla="*/ 71438 w 514605"/>
                <a:gd name="connsiteY102" fmla="*/ 158420 h 470364"/>
                <a:gd name="connsiteX103" fmla="*/ 69056 w 514605"/>
                <a:gd name="connsiteY103" fmla="*/ 151276 h 470364"/>
                <a:gd name="connsiteX104" fmla="*/ 54769 w 514605"/>
                <a:gd name="connsiteY104" fmla="*/ 136989 h 470364"/>
                <a:gd name="connsiteX105" fmla="*/ 52388 w 514605"/>
                <a:gd name="connsiteY105" fmla="*/ 129845 h 470364"/>
                <a:gd name="connsiteX106" fmla="*/ 26194 w 514605"/>
                <a:gd name="connsiteY106" fmla="*/ 113176 h 470364"/>
                <a:gd name="connsiteX107" fmla="*/ 2381 w 514605"/>
                <a:gd name="connsiteY107" fmla="*/ 101270 h 470364"/>
                <a:gd name="connsiteX108" fmla="*/ 4763 w 514605"/>
                <a:gd name="connsiteY108" fmla="*/ 72695 h 470364"/>
                <a:gd name="connsiteX109" fmla="*/ 0 w 514605"/>
                <a:gd name="connsiteY109" fmla="*/ 34595 h 470364"/>
                <a:gd name="connsiteX110" fmla="*/ 2381 w 514605"/>
                <a:gd name="connsiteY110" fmla="*/ 20307 h 470364"/>
                <a:gd name="connsiteX111" fmla="*/ 9525 w 514605"/>
                <a:gd name="connsiteY111" fmla="*/ 17926 h 470364"/>
                <a:gd name="connsiteX112" fmla="*/ 19050 w 514605"/>
                <a:gd name="connsiteY112" fmla="*/ 15545 h 470364"/>
                <a:gd name="connsiteX113" fmla="*/ 26194 w 514605"/>
                <a:gd name="connsiteY113" fmla="*/ 17926 h 470364"/>
                <a:gd name="connsiteX114" fmla="*/ 33338 w 514605"/>
                <a:gd name="connsiteY114" fmla="*/ 8401 h 470364"/>
                <a:gd name="connsiteX115" fmla="*/ 30957 w 514605"/>
                <a:gd name="connsiteY115" fmla="*/ 6020 h 470364"/>
                <a:gd name="connsiteX116" fmla="*/ 42863 w 514605"/>
                <a:gd name="connsiteY116" fmla="*/ 25069 h 470364"/>
                <a:gd name="connsiteX117" fmla="*/ 50006 w 514605"/>
                <a:gd name="connsiteY117" fmla="*/ 44120 h 470364"/>
                <a:gd name="connsiteX118" fmla="*/ 59532 w 514605"/>
                <a:gd name="connsiteY118" fmla="*/ 46502 h 470364"/>
                <a:gd name="connsiteX119" fmla="*/ 73819 w 514605"/>
                <a:gd name="connsiteY119" fmla="*/ 46501 h 470364"/>
                <a:gd name="connsiteX120" fmla="*/ 90488 w 514605"/>
                <a:gd name="connsiteY120" fmla="*/ 44120 h 470364"/>
                <a:gd name="connsiteX121" fmla="*/ 92869 w 514605"/>
                <a:gd name="connsiteY121" fmla="*/ 15545 h 470364"/>
                <a:gd name="connsiteX122" fmla="*/ 107156 w 514605"/>
                <a:gd name="connsiteY122" fmla="*/ 10782 h 470364"/>
                <a:gd name="connsiteX123" fmla="*/ 121444 w 514605"/>
                <a:gd name="connsiteY123" fmla="*/ 8401 h 470364"/>
                <a:gd name="connsiteX124" fmla="*/ 142875 w 514605"/>
                <a:gd name="connsiteY124" fmla="*/ 6020 h 470364"/>
                <a:gd name="connsiteX125" fmla="*/ 147638 w 514605"/>
                <a:gd name="connsiteY125" fmla="*/ 6020 h 470364"/>
                <a:gd name="connsiteX0" fmla="*/ 147638 w 514605"/>
                <a:gd name="connsiteY0" fmla="*/ 6020 h 465602"/>
                <a:gd name="connsiteX1" fmla="*/ 161925 w 514605"/>
                <a:gd name="connsiteY1" fmla="*/ 3639 h 465602"/>
                <a:gd name="connsiteX2" fmla="*/ 169069 w 514605"/>
                <a:gd name="connsiteY2" fmla="*/ 8401 h 465602"/>
                <a:gd name="connsiteX3" fmla="*/ 204788 w 514605"/>
                <a:gd name="connsiteY3" fmla="*/ 6020 h 465602"/>
                <a:gd name="connsiteX4" fmla="*/ 219075 w 514605"/>
                <a:gd name="connsiteY4" fmla="*/ 6020 h 465602"/>
                <a:gd name="connsiteX5" fmla="*/ 223838 w 514605"/>
                <a:gd name="connsiteY5" fmla="*/ 13164 h 465602"/>
                <a:gd name="connsiteX6" fmla="*/ 230981 w 514605"/>
                <a:gd name="connsiteY6" fmla="*/ 15545 h 465602"/>
                <a:gd name="connsiteX7" fmla="*/ 250031 w 514605"/>
                <a:gd name="connsiteY7" fmla="*/ 10782 h 465602"/>
                <a:gd name="connsiteX8" fmla="*/ 280988 w 514605"/>
                <a:gd name="connsiteY8" fmla="*/ 10782 h 465602"/>
                <a:gd name="connsiteX9" fmla="*/ 288131 w 514605"/>
                <a:gd name="connsiteY9" fmla="*/ 6020 h 465602"/>
                <a:gd name="connsiteX10" fmla="*/ 292894 w 514605"/>
                <a:gd name="connsiteY10" fmla="*/ 13164 h 465602"/>
                <a:gd name="connsiteX11" fmla="*/ 300038 w 514605"/>
                <a:gd name="connsiteY11" fmla="*/ 10782 h 465602"/>
                <a:gd name="connsiteX12" fmla="*/ 316706 w 514605"/>
                <a:gd name="connsiteY12" fmla="*/ 6020 h 465602"/>
                <a:gd name="connsiteX13" fmla="*/ 321469 w 514605"/>
                <a:gd name="connsiteY13" fmla="*/ 13164 h 465602"/>
                <a:gd name="connsiteX14" fmla="*/ 328613 w 514605"/>
                <a:gd name="connsiteY14" fmla="*/ 8401 h 465602"/>
                <a:gd name="connsiteX15" fmla="*/ 335756 w 514605"/>
                <a:gd name="connsiteY15" fmla="*/ 13164 h 465602"/>
                <a:gd name="connsiteX16" fmla="*/ 354806 w 514605"/>
                <a:gd name="connsiteY16" fmla="*/ 17926 h 465602"/>
                <a:gd name="connsiteX17" fmla="*/ 357188 w 514605"/>
                <a:gd name="connsiteY17" fmla="*/ 25070 h 465602"/>
                <a:gd name="connsiteX18" fmla="*/ 364331 w 514605"/>
                <a:gd name="connsiteY18" fmla="*/ 20307 h 465602"/>
                <a:gd name="connsiteX19" fmla="*/ 376238 w 514605"/>
                <a:gd name="connsiteY19" fmla="*/ 8401 h 465602"/>
                <a:gd name="connsiteX20" fmla="*/ 385763 w 514605"/>
                <a:gd name="connsiteY20" fmla="*/ 22689 h 465602"/>
                <a:gd name="connsiteX21" fmla="*/ 397669 w 514605"/>
                <a:gd name="connsiteY21" fmla="*/ 41739 h 465602"/>
                <a:gd name="connsiteX22" fmla="*/ 404813 w 514605"/>
                <a:gd name="connsiteY22" fmla="*/ 39357 h 465602"/>
                <a:gd name="connsiteX23" fmla="*/ 411956 w 514605"/>
                <a:gd name="connsiteY23" fmla="*/ 34595 h 465602"/>
                <a:gd name="connsiteX24" fmla="*/ 419100 w 514605"/>
                <a:gd name="connsiteY24" fmla="*/ 36976 h 465602"/>
                <a:gd name="connsiteX25" fmla="*/ 428625 w 514605"/>
                <a:gd name="connsiteY25" fmla="*/ 34595 h 465602"/>
                <a:gd name="connsiteX26" fmla="*/ 435769 w 514605"/>
                <a:gd name="connsiteY26" fmla="*/ 29832 h 465602"/>
                <a:gd name="connsiteX27" fmla="*/ 454819 w 514605"/>
                <a:gd name="connsiteY27" fmla="*/ 32214 h 465602"/>
                <a:gd name="connsiteX28" fmla="*/ 469106 w 514605"/>
                <a:gd name="connsiteY28" fmla="*/ 41739 h 465602"/>
                <a:gd name="connsiteX29" fmla="*/ 461963 w 514605"/>
                <a:gd name="connsiteY29" fmla="*/ 60789 h 465602"/>
                <a:gd name="connsiteX30" fmla="*/ 457200 w 514605"/>
                <a:gd name="connsiteY30" fmla="*/ 75076 h 465602"/>
                <a:gd name="connsiteX31" fmla="*/ 454819 w 514605"/>
                <a:gd name="connsiteY31" fmla="*/ 82220 h 465602"/>
                <a:gd name="connsiteX32" fmla="*/ 452438 w 514605"/>
                <a:gd name="connsiteY32" fmla="*/ 113176 h 465602"/>
                <a:gd name="connsiteX33" fmla="*/ 452438 w 514605"/>
                <a:gd name="connsiteY33" fmla="*/ 141751 h 465602"/>
                <a:gd name="connsiteX34" fmla="*/ 459581 w 514605"/>
                <a:gd name="connsiteY34" fmla="*/ 146514 h 465602"/>
                <a:gd name="connsiteX35" fmla="*/ 476250 w 514605"/>
                <a:gd name="connsiteY35" fmla="*/ 146514 h 465602"/>
                <a:gd name="connsiteX36" fmla="*/ 485775 w 514605"/>
                <a:gd name="connsiteY36" fmla="*/ 158420 h 465602"/>
                <a:gd name="connsiteX37" fmla="*/ 500063 w 514605"/>
                <a:gd name="connsiteY37" fmla="*/ 160801 h 465602"/>
                <a:gd name="connsiteX38" fmla="*/ 507206 w 514605"/>
                <a:gd name="connsiteY38" fmla="*/ 170326 h 465602"/>
                <a:gd name="connsiteX39" fmla="*/ 514350 w 514605"/>
                <a:gd name="connsiteY39" fmla="*/ 177470 h 465602"/>
                <a:gd name="connsiteX40" fmla="*/ 511969 w 514605"/>
                <a:gd name="connsiteY40" fmla="*/ 184614 h 465602"/>
                <a:gd name="connsiteX41" fmla="*/ 497681 w 514605"/>
                <a:gd name="connsiteY41" fmla="*/ 189376 h 465602"/>
                <a:gd name="connsiteX42" fmla="*/ 481013 w 514605"/>
                <a:gd name="connsiteY42" fmla="*/ 194139 h 465602"/>
                <a:gd name="connsiteX43" fmla="*/ 490538 w 514605"/>
                <a:gd name="connsiteY43" fmla="*/ 206045 h 465602"/>
                <a:gd name="connsiteX44" fmla="*/ 497681 w 514605"/>
                <a:gd name="connsiteY44" fmla="*/ 232239 h 465602"/>
                <a:gd name="connsiteX45" fmla="*/ 504825 w 514605"/>
                <a:gd name="connsiteY45" fmla="*/ 239382 h 465602"/>
                <a:gd name="connsiteX46" fmla="*/ 504825 w 514605"/>
                <a:gd name="connsiteY46" fmla="*/ 258432 h 465602"/>
                <a:gd name="connsiteX47" fmla="*/ 497681 w 514605"/>
                <a:gd name="connsiteY47" fmla="*/ 260814 h 465602"/>
                <a:gd name="connsiteX48" fmla="*/ 490538 w 514605"/>
                <a:gd name="connsiteY48" fmla="*/ 267957 h 465602"/>
                <a:gd name="connsiteX49" fmla="*/ 459581 w 514605"/>
                <a:gd name="connsiteY49" fmla="*/ 272720 h 465602"/>
                <a:gd name="connsiteX50" fmla="*/ 445294 w 514605"/>
                <a:gd name="connsiteY50" fmla="*/ 277482 h 465602"/>
                <a:gd name="connsiteX51" fmla="*/ 457200 w 514605"/>
                <a:gd name="connsiteY51" fmla="*/ 291770 h 465602"/>
                <a:gd name="connsiteX52" fmla="*/ 459581 w 514605"/>
                <a:gd name="connsiteY52" fmla="*/ 298914 h 465602"/>
                <a:gd name="connsiteX53" fmla="*/ 471488 w 514605"/>
                <a:gd name="connsiteY53" fmla="*/ 320345 h 465602"/>
                <a:gd name="connsiteX54" fmla="*/ 469106 w 514605"/>
                <a:gd name="connsiteY54" fmla="*/ 327489 h 465602"/>
                <a:gd name="connsiteX55" fmla="*/ 454819 w 514605"/>
                <a:gd name="connsiteY55" fmla="*/ 317964 h 465602"/>
                <a:gd name="connsiteX56" fmla="*/ 445294 w 514605"/>
                <a:gd name="connsiteY56" fmla="*/ 320345 h 465602"/>
                <a:gd name="connsiteX57" fmla="*/ 421481 w 514605"/>
                <a:gd name="connsiteY57" fmla="*/ 327489 h 465602"/>
                <a:gd name="connsiteX58" fmla="*/ 421481 w 514605"/>
                <a:gd name="connsiteY58" fmla="*/ 344157 h 465602"/>
                <a:gd name="connsiteX59" fmla="*/ 419100 w 514605"/>
                <a:gd name="connsiteY59" fmla="*/ 363207 h 465602"/>
                <a:gd name="connsiteX60" fmla="*/ 416719 w 514605"/>
                <a:gd name="connsiteY60" fmla="*/ 375114 h 465602"/>
                <a:gd name="connsiteX61" fmla="*/ 407194 w 514605"/>
                <a:gd name="connsiteY61" fmla="*/ 377495 h 465602"/>
                <a:gd name="connsiteX62" fmla="*/ 402431 w 514605"/>
                <a:gd name="connsiteY62" fmla="*/ 384639 h 465602"/>
                <a:gd name="connsiteX63" fmla="*/ 395288 w 514605"/>
                <a:gd name="connsiteY63" fmla="*/ 391782 h 465602"/>
                <a:gd name="connsiteX64" fmla="*/ 392906 w 514605"/>
                <a:gd name="connsiteY64" fmla="*/ 398926 h 465602"/>
                <a:gd name="connsiteX65" fmla="*/ 397669 w 514605"/>
                <a:gd name="connsiteY65" fmla="*/ 413214 h 465602"/>
                <a:gd name="connsiteX66" fmla="*/ 400050 w 514605"/>
                <a:gd name="connsiteY66" fmla="*/ 420357 h 465602"/>
                <a:gd name="connsiteX67" fmla="*/ 407194 w 514605"/>
                <a:gd name="connsiteY67" fmla="*/ 427501 h 465602"/>
                <a:gd name="connsiteX68" fmla="*/ 402431 w 514605"/>
                <a:gd name="connsiteY68" fmla="*/ 444170 h 465602"/>
                <a:gd name="connsiteX69" fmla="*/ 397669 w 514605"/>
                <a:gd name="connsiteY69" fmla="*/ 451314 h 465602"/>
                <a:gd name="connsiteX70" fmla="*/ 390526 w 514605"/>
                <a:gd name="connsiteY70" fmla="*/ 465602 h 465602"/>
                <a:gd name="connsiteX71" fmla="*/ 385763 w 514605"/>
                <a:gd name="connsiteY71" fmla="*/ 446551 h 465602"/>
                <a:gd name="connsiteX72" fmla="*/ 369094 w 514605"/>
                <a:gd name="connsiteY72" fmla="*/ 437026 h 465602"/>
                <a:gd name="connsiteX73" fmla="*/ 361950 w 514605"/>
                <a:gd name="connsiteY73" fmla="*/ 439407 h 465602"/>
                <a:gd name="connsiteX74" fmla="*/ 342900 w 514605"/>
                <a:gd name="connsiteY74" fmla="*/ 432263 h 465602"/>
                <a:gd name="connsiteX75" fmla="*/ 328613 w 514605"/>
                <a:gd name="connsiteY75" fmla="*/ 425120 h 465602"/>
                <a:gd name="connsiteX76" fmla="*/ 321469 w 514605"/>
                <a:gd name="connsiteY76" fmla="*/ 422739 h 465602"/>
                <a:gd name="connsiteX77" fmla="*/ 314325 w 514605"/>
                <a:gd name="connsiteY77" fmla="*/ 415595 h 465602"/>
                <a:gd name="connsiteX78" fmla="*/ 283370 w 514605"/>
                <a:gd name="connsiteY78" fmla="*/ 406070 h 465602"/>
                <a:gd name="connsiteX79" fmla="*/ 290513 w 514605"/>
                <a:gd name="connsiteY79" fmla="*/ 417976 h 465602"/>
                <a:gd name="connsiteX80" fmla="*/ 292893 w 514605"/>
                <a:gd name="connsiteY80" fmla="*/ 408452 h 465602"/>
                <a:gd name="connsiteX81" fmla="*/ 295275 w 514605"/>
                <a:gd name="connsiteY81" fmla="*/ 401307 h 465602"/>
                <a:gd name="connsiteX82" fmla="*/ 283369 w 514605"/>
                <a:gd name="connsiteY82" fmla="*/ 389401 h 465602"/>
                <a:gd name="connsiteX83" fmla="*/ 273844 w 514605"/>
                <a:gd name="connsiteY83" fmla="*/ 377495 h 465602"/>
                <a:gd name="connsiteX84" fmla="*/ 266700 w 514605"/>
                <a:gd name="connsiteY84" fmla="*/ 370351 h 465602"/>
                <a:gd name="connsiteX85" fmla="*/ 250031 w 514605"/>
                <a:gd name="connsiteY85" fmla="*/ 358445 h 465602"/>
                <a:gd name="connsiteX86" fmla="*/ 233363 w 514605"/>
                <a:gd name="connsiteY86" fmla="*/ 346539 h 465602"/>
                <a:gd name="connsiteX87" fmla="*/ 226219 w 514605"/>
                <a:gd name="connsiteY87" fmla="*/ 322726 h 465602"/>
                <a:gd name="connsiteX88" fmla="*/ 221456 w 514605"/>
                <a:gd name="connsiteY88" fmla="*/ 308439 h 465602"/>
                <a:gd name="connsiteX89" fmla="*/ 204788 w 514605"/>
                <a:gd name="connsiteY89" fmla="*/ 306057 h 465602"/>
                <a:gd name="connsiteX90" fmla="*/ 183356 w 514605"/>
                <a:gd name="connsiteY90" fmla="*/ 294151 h 465602"/>
                <a:gd name="connsiteX91" fmla="*/ 169069 w 514605"/>
                <a:gd name="connsiteY91" fmla="*/ 279864 h 465602"/>
                <a:gd name="connsiteX92" fmla="*/ 161925 w 514605"/>
                <a:gd name="connsiteY92" fmla="*/ 272720 h 465602"/>
                <a:gd name="connsiteX93" fmla="*/ 154781 w 514605"/>
                <a:gd name="connsiteY93" fmla="*/ 267957 h 465602"/>
                <a:gd name="connsiteX94" fmla="*/ 145256 w 514605"/>
                <a:gd name="connsiteY94" fmla="*/ 253670 h 465602"/>
                <a:gd name="connsiteX95" fmla="*/ 135731 w 514605"/>
                <a:gd name="connsiteY95" fmla="*/ 239382 h 465602"/>
                <a:gd name="connsiteX96" fmla="*/ 130969 w 514605"/>
                <a:gd name="connsiteY96" fmla="*/ 232239 h 465602"/>
                <a:gd name="connsiteX97" fmla="*/ 128588 w 514605"/>
                <a:gd name="connsiteY97" fmla="*/ 225095 h 465602"/>
                <a:gd name="connsiteX98" fmla="*/ 119063 w 514605"/>
                <a:gd name="connsiteY98" fmla="*/ 210807 h 465602"/>
                <a:gd name="connsiteX99" fmla="*/ 88106 w 514605"/>
                <a:gd name="connsiteY99" fmla="*/ 213189 h 465602"/>
                <a:gd name="connsiteX100" fmla="*/ 80963 w 514605"/>
                <a:gd name="connsiteY100" fmla="*/ 179851 h 465602"/>
                <a:gd name="connsiteX101" fmla="*/ 76200 w 514605"/>
                <a:gd name="connsiteY101" fmla="*/ 172707 h 465602"/>
                <a:gd name="connsiteX102" fmla="*/ 71438 w 514605"/>
                <a:gd name="connsiteY102" fmla="*/ 158420 h 465602"/>
                <a:gd name="connsiteX103" fmla="*/ 69056 w 514605"/>
                <a:gd name="connsiteY103" fmla="*/ 151276 h 465602"/>
                <a:gd name="connsiteX104" fmla="*/ 54769 w 514605"/>
                <a:gd name="connsiteY104" fmla="*/ 136989 h 465602"/>
                <a:gd name="connsiteX105" fmla="*/ 52388 w 514605"/>
                <a:gd name="connsiteY105" fmla="*/ 129845 h 465602"/>
                <a:gd name="connsiteX106" fmla="*/ 26194 w 514605"/>
                <a:gd name="connsiteY106" fmla="*/ 113176 h 465602"/>
                <a:gd name="connsiteX107" fmla="*/ 2381 w 514605"/>
                <a:gd name="connsiteY107" fmla="*/ 101270 h 465602"/>
                <a:gd name="connsiteX108" fmla="*/ 4763 w 514605"/>
                <a:gd name="connsiteY108" fmla="*/ 72695 h 465602"/>
                <a:gd name="connsiteX109" fmla="*/ 0 w 514605"/>
                <a:gd name="connsiteY109" fmla="*/ 34595 h 465602"/>
                <a:gd name="connsiteX110" fmla="*/ 2381 w 514605"/>
                <a:gd name="connsiteY110" fmla="*/ 20307 h 465602"/>
                <a:gd name="connsiteX111" fmla="*/ 9525 w 514605"/>
                <a:gd name="connsiteY111" fmla="*/ 17926 h 465602"/>
                <a:gd name="connsiteX112" fmla="*/ 19050 w 514605"/>
                <a:gd name="connsiteY112" fmla="*/ 15545 h 465602"/>
                <a:gd name="connsiteX113" fmla="*/ 26194 w 514605"/>
                <a:gd name="connsiteY113" fmla="*/ 17926 h 465602"/>
                <a:gd name="connsiteX114" fmla="*/ 33338 w 514605"/>
                <a:gd name="connsiteY114" fmla="*/ 8401 h 465602"/>
                <a:gd name="connsiteX115" fmla="*/ 30957 w 514605"/>
                <a:gd name="connsiteY115" fmla="*/ 6020 h 465602"/>
                <a:gd name="connsiteX116" fmla="*/ 42863 w 514605"/>
                <a:gd name="connsiteY116" fmla="*/ 25069 h 465602"/>
                <a:gd name="connsiteX117" fmla="*/ 50006 w 514605"/>
                <a:gd name="connsiteY117" fmla="*/ 44120 h 465602"/>
                <a:gd name="connsiteX118" fmla="*/ 59532 w 514605"/>
                <a:gd name="connsiteY118" fmla="*/ 46502 h 465602"/>
                <a:gd name="connsiteX119" fmla="*/ 73819 w 514605"/>
                <a:gd name="connsiteY119" fmla="*/ 46501 h 465602"/>
                <a:gd name="connsiteX120" fmla="*/ 90488 w 514605"/>
                <a:gd name="connsiteY120" fmla="*/ 44120 h 465602"/>
                <a:gd name="connsiteX121" fmla="*/ 92869 w 514605"/>
                <a:gd name="connsiteY121" fmla="*/ 15545 h 465602"/>
                <a:gd name="connsiteX122" fmla="*/ 107156 w 514605"/>
                <a:gd name="connsiteY122" fmla="*/ 10782 h 465602"/>
                <a:gd name="connsiteX123" fmla="*/ 121444 w 514605"/>
                <a:gd name="connsiteY123" fmla="*/ 8401 h 465602"/>
                <a:gd name="connsiteX124" fmla="*/ 142875 w 514605"/>
                <a:gd name="connsiteY124" fmla="*/ 6020 h 465602"/>
                <a:gd name="connsiteX125" fmla="*/ 147638 w 514605"/>
                <a:gd name="connsiteY125" fmla="*/ 6020 h 465602"/>
                <a:gd name="connsiteX0" fmla="*/ 147638 w 514605"/>
                <a:gd name="connsiteY0" fmla="*/ 6020 h 465602"/>
                <a:gd name="connsiteX1" fmla="*/ 161925 w 514605"/>
                <a:gd name="connsiteY1" fmla="*/ 3639 h 465602"/>
                <a:gd name="connsiteX2" fmla="*/ 169069 w 514605"/>
                <a:gd name="connsiteY2" fmla="*/ 8401 h 465602"/>
                <a:gd name="connsiteX3" fmla="*/ 204788 w 514605"/>
                <a:gd name="connsiteY3" fmla="*/ 6020 h 465602"/>
                <a:gd name="connsiteX4" fmla="*/ 219075 w 514605"/>
                <a:gd name="connsiteY4" fmla="*/ 6020 h 465602"/>
                <a:gd name="connsiteX5" fmla="*/ 223838 w 514605"/>
                <a:gd name="connsiteY5" fmla="*/ 13164 h 465602"/>
                <a:gd name="connsiteX6" fmla="*/ 230981 w 514605"/>
                <a:gd name="connsiteY6" fmla="*/ 15545 h 465602"/>
                <a:gd name="connsiteX7" fmla="*/ 250031 w 514605"/>
                <a:gd name="connsiteY7" fmla="*/ 10782 h 465602"/>
                <a:gd name="connsiteX8" fmla="*/ 280988 w 514605"/>
                <a:gd name="connsiteY8" fmla="*/ 10782 h 465602"/>
                <a:gd name="connsiteX9" fmla="*/ 288131 w 514605"/>
                <a:gd name="connsiteY9" fmla="*/ 6020 h 465602"/>
                <a:gd name="connsiteX10" fmla="*/ 292894 w 514605"/>
                <a:gd name="connsiteY10" fmla="*/ 13164 h 465602"/>
                <a:gd name="connsiteX11" fmla="*/ 300038 w 514605"/>
                <a:gd name="connsiteY11" fmla="*/ 10782 h 465602"/>
                <a:gd name="connsiteX12" fmla="*/ 316706 w 514605"/>
                <a:gd name="connsiteY12" fmla="*/ 6020 h 465602"/>
                <a:gd name="connsiteX13" fmla="*/ 321469 w 514605"/>
                <a:gd name="connsiteY13" fmla="*/ 13164 h 465602"/>
                <a:gd name="connsiteX14" fmla="*/ 328613 w 514605"/>
                <a:gd name="connsiteY14" fmla="*/ 8401 h 465602"/>
                <a:gd name="connsiteX15" fmla="*/ 335756 w 514605"/>
                <a:gd name="connsiteY15" fmla="*/ 13164 h 465602"/>
                <a:gd name="connsiteX16" fmla="*/ 354806 w 514605"/>
                <a:gd name="connsiteY16" fmla="*/ 17926 h 465602"/>
                <a:gd name="connsiteX17" fmla="*/ 357188 w 514605"/>
                <a:gd name="connsiteY17" fmla="*/ 25070 h 465602"/>
                <a:gd name="connsiteX18" fmla="*/ 364331 w 514605"/>
                <a:gd name="connsiteY18" fmla="*/ 20307 h 465602"/>
                <a:gd name="connsiteX19" fmla="*/ 376238 w 514605"/>
                <a:gd name="connsiteY19" fmla="*/ 8401 h 465602"/>
                <a:gd name="connsiteX20" fmla="*/ 385763 w 514605"/>
                <a:gd name="connsiteY20" fmla="*/ 22689 h 465602"/>
                <a:gd name="connsiteX21" fmla="*/ 397669 w 514605"/>
                <a:gd name="connsiteY21" fmla="*/ 41739 h 465602"/>
                <a:gd name="connsiteX22" fmla="*/ 404813 w 514605"/>
                <a:gd name="connsiteY22" fmla="*/ 39357 h 465602"/>
                <a:gd name="connsiteX23" fmla="*/ 411956 w 514605"/>
                <a:gd name="connsiteY23" fmla="*/ 34595 h 465602"/>
                <a:gd name="connsiteX24" fmla="*/ 419100 w 514605"/>
                <a:gd name="connsiteY24" fmla="*/ 36976 h 465602"/>
                <a:gd name="connsiteX25" fmla="*/ 428625 w 514605"/>
                <a:gd name="connsiteY25" fmla="*/ 34595 h 465602"/>
                <a:gd name="connsiteX26" fmla="*/ 435769 w 514605"/>
                <a:gd name="connsiteY26" fmla="*/ 29832 h 465602"/>
                <a:gd name="connsiteX27" fmla="*/ 454819 w 514605"/>
                <a:gd name="connsiteY27" fmla="*/ 32214 h 465602"/>
                <a:gd name="connsiteX28" fmla="*/ 469106 w 514605"/>
                <a:gd name="connsiteY28" fmla="*/ 41739 h 465602"/>
                <a:gd name="connsiteX29" fmla="*/ 461963 w 514605"/>
                <a:gd name="connsiteY29" fmla="*/ 60789 h 465602"/>
                <a:gd name="connsiteX30" fmla="*/ 457200 w 514605"/>
                <a:gd name="connsiteY30" fmla="*/ 75076 h 465602"/>
                <a:gd name="connsiteX31" fmla="*/ 454819 w 514605"/>
                <a:gd name="connsiteY31" fmla="*/ 82220 h 465602"/>
                <a:gd name="connsiteX32" fmla="*/ 452438 w 514605"/>
                <a:gd name="connsiteY32" fmla="*/ 113176 h 465602"/>
                <a:gd name="connsiteX33" fmla="*/ 452438 w 514605"/>
                <a:gd name="connsiteY33" fmla="*/ 141751 h 465602"/>
                <a:gd name="connsiteX34" fmla="*/ 459581 w 514605"/>
                <a:gd name="connsiteY34" fmla="*/ 146514 h 465602"/>
                <a:gd name="connsiteX35" fmla="*/ 476250 w 514605"/>
                <a:gd name="connsiteY35" fmla="*/ 146514 h 465602"/>
                <a:gd name="connsiteX36" fmla="*/ 485775 w 514605"/>
                <a:gd name="connsiteY36" fmla="*/ 158420 h 465602"/>
                <a:gd name="connsiteX37" fmla="*/ 500063 w 514605"/>
                <a:gd name="connsiteY37" fmla="*/ 160801 h 465602"/>
                <a:gd name="connsiteX38" fmla="*/ 507206 w 514605"/>
                <a:gd name="connsiteY38" fmla="*/ 170326 h 465602"/>
                <a:gd name="connsiteX39" fmla="*/ 514350 w 514605"/>
                <a:gd name="connsiteY39" fmla="*/ 177470 h 465602"/>
                <a:gd name="connsiteX40" fmla="*/ 511969 w 514605"/>
                <a:gd name="connsiteY40" fmla="*/ 184614 h 465602"/>
                <a:gd name="connsiteX41" fmla="*/ 497681 w 514605"/>
                <a:gd name="connsiteY41" fmla="*/ 189376 h 465602"/>
                <a:gd name="connsiteX42" fmla="*/ 481013 w 514605"/>
                <a:gd name="connsiteY42" fmla="*/ 194139 h 465602"/>
                <a:gd name="connsiteX43" fmla="*/ 490538 w 514605"/>
                <a:gd name="connsiteY43" fmla="*/ 206045 h 465602"/>
                <a:gd name="connsiteX44" fmla="*/ 497681 w 514605"/>
                <a:gd name="connsiteY44" fmla="*/ 232239 h 465602"/>
                <a:gd name="connsiteX45" fmla="*/ 504825 w 514605"/>
                <a:gd name="connsiteY45" fmla="*/ 239382 h 465602"/>
                <a:gd name="connsiteX46" fmla="*/ 504825 w 514605"/>
                <a:gd name="connsiteY46" fmla="*/ 258432 h 465602"/>
                <a:gd name="connsiteX47" fmla="*/ 497681 w 514605"/>
                <a:gd name="connsiteY47" fmla="*/ 260814 h 465602"/>
                <a:gd name="connsiteX48" fmla="*/ 490538 w 514605"/>
                <a:gd name="connsiteY48" fmla="*/ 267957 h 465602"/>
                <a:gd name="connsiteX49" fmla="*/ 459581 w 514605"/>
                <a:gd name="connsiteY49" fmla="*/ 272720 h 465602"/>
                <a:gd name="connsiteX50" fmla="*/ 445294 w 514605"/>
                <a:gd name="connsiteY50" fmla="*/ 277482 h 465602"/>
                <a:gd name="connsiteX51" fmla="*/ 457200 w 514605"/>
                <a:gd name="connsiteY51" fmla="*/ 291770 h 465602"/>
                <a:gd name="connsiteX52" fmla="*/ 459581 w 514605"/>
                <a:gd name="connsiteY52" fmla="*/ 298914 h 465602"/>
                <a:gd name="connsiteX53" fmla="*/ 471488 w 514605"/>
                <a:gd name="connsiteY53" fmla="*/ 320345 h 465602"/>
                <a:gd name="connsiteX54" fmla="*/ 469106 w 514605"/>
                <a:gd name="connsiteY54" fmla="*/ 327489 h 465602"/>
                <a:gd name="connsiteX55" fmla="*/ 454819 w 514605"/>
                <a:gd name="connsiteY55" fmla="*/ 317964 h 465602"/>
                <a:gd name="connsiteX56" fmla="*/ 445294 w 514605"/>
                <a:gd name="connsiteY56" fmla="*/ 320345 h 465602"/>
                <a:gd name="connsiteX57" fmla="*/ 421481 w 514605"/>
                <a:gd name="connsiteY57" fmla="*/ 327489 h 465602"/>
                <a:gd name="connsiteX58" fmla="*/ 421481 w 514605"/>
                <a:gd name="connsiteY58" fmla="*/ 344157 h 465602"/>
                <a:gd name="connsiteX59" fmla="*/ 419100 w 514605"/>
                <a:gd name="connsiteY59" fmla="*/ 363207 h 465602"/>
                <a:gd name="connsiteX60" fmla="*/ 416719 w 514605"/>
                <a:gd name="connsiteY60" fmla="*/ 375114 h 465602"/>
                <a:gd name="connsiteX61" fmla="*/ 407194 w 514605"/>
                <a:gd name="connsiteY61" fmla="*/ 377495 h 465602"/>
                <a:gd name="connsiteX62" fmla="*/ 402431 w 514605"/>
                <a:gd name="connsiteY62" fmla="*/ 384639 h 465602"/>
                <a:gd name="connsiteX63" fmla="*/ 395288 w 514605"/>
                <a:gd name="connsiteY63" fmla="*/ 391782 h 465602"/>
                <a:gd name="connsiteX64" fmla="*/ 392906 w 514605"/>
                <a:gd name="connsiteY64" fmla="*/ 398926 h 465602"/>
                <a:gd name="connsiteX65" fmla="*/ 397669 w 514605"/>
                <a:gd name="connsiteY65" fmla="*/ 413214 h 465602"/>
                <a:gd name="connsiteX66" fmla="*/ 400050 w 514605"/>
                <a:gd name="connsiteY66" fmla="*/ 420357 h 465602"/>
                <a:gd name="connsiteX67" fmla="*/ 407194 w 514605"/>
                <a:gd name="connsiteY67" fmla="*/ 427501 h 465602"/>
                <a:gd name="connsiteX68" fmla="*/ 402431 w 514605"/>
                <a:gd name="connsiteY68" fmla="*/ 444170 h 465602"/>
                <a:gd name="connsiteX69" fmla="*/ 397669 w 514605"/>
                <a:gd name="connsiteY69" fmla="*/ 451314 h 465602"/>
                <a:gd name="connsiteX70" fmla="*/ 392908 w 514605"/>
                <a:gd name="connsiteY70" fmla="*/ 465602 h 465602"/>
                <a:gd name="connsiteX71" fmla="*/ 385763 w 514605"/>
                <a:gd name="connsiteY71" fmla="*/ 446551 h 465602"/>
                <a:gd name="connsiteX72" fmla="*/ 369094 w 514605"/>
                <a:gd name="connsiteY72" fmla="*/ 437026 h 465602"/>
                <a:gd name="connsiteX73" fmla="*/ 361950 w 514605"/>
                <a:gd name="connsiteY73" fmla="*/ 439407 h 465602"/>
                <a:gd name="connsiteX74" fmla="*/ 342900 w 514605"/>
                <a:gd name="connsiteY74" fmla="*/ 432263 h 465602"/>
                <a:gd name="connsiteX75" fmla="*/ 328613 w 514605"/>
                <a:gd name="connsiteY75" fmla="*/ 425120 h 465602"/>
                <a:gd name="connsiteX76" fmla="*/ 321469 w 514605"/>
                <a:gd name="connsiteY76" fmla="*/ 422739 h 465602"/>
                <a:gd name="connsiteX77" fmla="*/ 314325 w 514605"/>
                <a:gd name="connsiteY77" fmla="*/ 415595 h 465602"/>
                <a:gd name="connsiteX78" fmla="*/ 283370 w 514605"/>
                <a:gd name="connsiteY78" fmla="*/ 406070 h 465602"/>
                <a:gd name="connsiteX79" fmla="*/ 290513 w 514605"/>
                <a:gd name="connsiteY79" fmla="*/ 417976 h 465602"/>
                <a:gd name="connsiteX80" fmla="*/ 292893 w 514605"/>
                <a:gd name="connsiteY80" fmla="*/ 408452 h 465602"/>
                <a:gd name="connsiteX81" fmla="*/ 295275 w 514605"/>
                <a:gd name="connsiteY81" fmla="*/ 401307 h 465602"/>
                <a:gd name="connsiteX82" fmla="*/ 283369 w 514605"/>
                <a:gd name="connsiteY82" fmla="*/ 389401 h 465602"/>
                <a:gd name="connsiteX83" fmla="*/ 273844 w 514605"/>
                <a:gd name="connsiteY83" fmla="*/ 377495 h 465602"/>
                <a:gd name="connsiteX84" fmla="*/ 266700 w 514605"/>
                <a:gd name="connsiteY84" fmla="*/ 370351 h 465602"/>
                <a:gd name="connsiteX85" fmla="*/ 250031 w 514605"/>
                <a:gd name="connsiteY85" fmla="*/ 358445 h 465602"/>
                <a:gd name="connsiteX86" fmla="*/ 233363 w 514605"/>
                <a:gd name="connsiteY86" fmla="*/ 346539 h 465602"/>
                <a:gd name="connsiteX87" fmla="*/ 226219 w 514605"/>
                <a:gd name="connsiteY87" fmla="*/ 322726 h 465602"/>
                <a:gd name="connsiteX88" fmla="*/ 221456 w 514605"/>
                <a:gd name="connsiteY88" fmla="*/ 308439 h 465602"/>
                <a:gd name="connsiteX89" fmla="*/ 204788 w 514605"/>
                <a:gd name="connsiteY89" fmla="*/ 306057 h 465602"/>
                <a:gd name="connsiteX90" fmla="*/ 183356 w 514605"/>
                <a:gd name="connsiteY90" fmla="*/ 294151 h 465602"/>
                <a:gd name="connsiteX91" fmla="*/ 169069 w 514605"/>
                <a:gd name="connsiteY91" fmla="*/ 279864 h 465602"/>
                <a:gd name="connsiteX92" fmla="*/ 161925 w 514605"/>
                <a:gd name="connsiteY92" fmla="*/ 272720 h 465602"/>
                <a:gd name="connsiteX93" fmla="*/ 154781 w 514605"/>
                <a:gd name="connsiteY93" fmla="*/ 267957 h 465602"/>
                <a:gd name="connsiteX94" fmla="*/ 145256 w 514605"/>
                <a:gd name="connsiteY94" fmla="*/ 253670 h 465602"/>
                <a:gd name="connsiteX95" fmla="*/ 135731 w 514605"/>
                <a:gd name="connsiteY95" fmla="*/ 239382 h 465602"/>
                <a:gd name="connsiteX96" fmla="*/ 130969 w 514605"/>
                <a:gd name="connsiteY96" fmla="*/ 232239 h 465602"/>
                <a:gd name="connsiteX97" fmla="*/ 128588 w 514605"/>
                <a:gd name="connsiteY97" fmla="*/ 225095 h 465602"/>
                <a:gd name="connsiteX98" fmla="*/ 119063 w 514605"/>
                <a:gd name="connsiteY98" fmla="*/ 210807 h 465602"/>
                <a:gd name="connsiteX99" fmla="*/ 88106 w 514605"/>
                <a:gd name="connsiteY99" fmla="*/ 213189 h 465602"/>
                <a:gd name="connsiteX100" fmla="*/ 80963 w 514605"/>
                <a:gd name="connsiteY100" fmla="*/ 179851 h 465602"/>
                <a:gd name="connsiteX101" fmla="*/ 76200 w 514605"/>
                <a:gd name="connsiteY101" fmla="*/ 172707 h 465602"/>
                <a:gd name="connsiteX102" fmla="*/ 71438 w 514605"/>
                <a:gd name="connsiteY102" fmla="*/ 158420 h 465602"/>
                <a:gd name="connsiteX103" fmla="*/ 69056 w 514605"/>
                <a:gd name="connsiteY103" fmla="*/ 151276 h 465602"/>
                <a:gd name="connsiteX104" fmla="*/ 54769 w 514605"/>
                <a:gd name="connsiteY104" fmla="*/ 136989 h 465602"/>
                <a:gd name="connsiteX105" fmla="*/ 52388 w 514605"/>
                <a:gd name="connsiteY105" fmla="*/ 129845 h 465602"/>
                <a:gd name="connsiteX106" fmla="*/ 26194 w 514605"/>
                <a:gd name="connsiteY106" fmla="*/ 113176 h 465602"/>
                <a:gd name="connsiteX107" fmla="*/ 2381 w 514605"/>
                <a:gd name="connsiteY107" fmla="*/ 101270 h 465602"/>
                <a:gd name="connsiteX108" fmla="*/ 4763 w 514605"/>
                <a:gd name="connsiteY108" fmla="*/ 72695 h 465602"/>
                <a:gd name="connsiteX109" fmla="*/ 0 w 514605"/>
                <a:gd name="connsiteY109" fmla="*/ 34595 h 465602"/>
                <a:gd name="connsiteX110" fmla="*/ 2381 w 514605"/>
                <a:gd name="connsiteY110" fmla="*/ 20307 h 465602"/>
                <a:gd name="connsiteX111" fmla="*/ 9525 w 514605"/>
                <a:gd name="connsiteY111" fmla="*/ 17926 h 465602"/>
                <a:gd name="connsiteX112" fmla="*/ 19050 w 514605"/>
                <a:gd name="connsiteY112" fmla="*/ 15545 h 465602"/>
                <a:gd name="connsiteX113" fmla="*/ 26194 w 514605"/>
                <a:gd name="connsiteY113" fmla="*/ 17926 h 465602"/>
                <a:gd name="connsiteX114" fmla="*/ 33338 w 514605"/>
                <a:gd name="connsiteY114" fmla="*/ 8401 h 465602"/>
                <a:gd name="connsiteX115" fmla="*/ 30957 w 514605"/>
                <a:gd name="connsiteY115" fmla="*/ 6020 h 465602"/>
                <a:gd name="connsiteX116" fmla="*/ 42863 w 514605"/>
                <a:gd name="connsiteY116" fmla="*/ 25069 h 465602"/>
                <a:gd name="connsiteX117" fmla="*/ 50006 w 514605"/>
                <a:gd name="connsiteY117" fmla="*/ 44120 h 465602"/>
                <a:gd name="connsiteX118" fmla="*/ 59532 w 514605"/>
                <a:gd name="connsiteY118" fmla="*/ 46502 h 465602"/>
                <a:gd name="connsiteX119" fmla="*/ 73819 w 514605"/>
                <a:gd name="connsiteY119" fmla="*/ 46501 h 465602"/>
                <a:gd name="connsiteX120" fmla="*/ 90488 w 514605"/>
                <a:gd name="connsiteY120" fmla="*/ 44120 h 465602"/>
                <a:gd name="connsiteX121" fmla="*/ 92869 w 514605"/>
                <a:gd name="connsiteY121" fmla="*/ 15545 h 465602"/>
                <a:gd name="connsiteX122" fmla="*/ 107156 w 514605"/>
                <a:gd name="connsiteY122" fmla="*/ 10782 h 465602"/>
                <a:gd name="connsiteX123" fmla="*/ 121444 w 514605"/>
                <a:gd name="connsiteY123" fmla="*/ 8401 h 465602"/>
                <a:gd name="connsiteX124" fmla="*/ 142875 w 514605"/>
                <a:gd name="connsiteY124" fmla="*/ 6020 h 465602"/>
                <a:gd name="connsiteX125" fmla="*/ 147638 w 514605"/>
                <a:gd name="connsiteY125" fmla="*/ 6020 h 465602"/>
                <a:gd name="connsiteX0" fmla="*/ 147638 w 514605"/>
                <a:gd name="connsiteY0" fmla="*/ 6020 h 465602"/>
                <a:gd name="connsiteX1" fmla="*/ 161925 w 514605"/>
                <a:gd name="connsiteY1" fmla="*/ 3639 h 465602"/>
                <a:gd name="connsiteX2" fmla="*/ 169069 w 514605"/>
                <a:gd name="connsiteY2" fmla="*/ 8401 h 465602"/>
                <a:gd name="connsiteX3" fmla="*/ 204788 w 514605"/>
                <a:gd name="connsiteY3" fmla="*/ 6020 h 465602"/>
                <a:gd name="connsiteX4" fmla="*/ 219075 w 514605"/>
                <a:gd name="connsiteY4" fmla="*/ 6020 h 465602"/>
                <a:gd name="connsiteX5" fmla="*/ 223838 w 514605"/>
                <a:gd name="connsiteY5" fmla="*/ 13164 h 465602"/>
                <a:gd name="connsiteX6" fmla="*/ 230981 w 514605"/>
                <a:gd name="connsiteY6" fmla="*/ 15545 h 465602"/>
                <a:gd name="connsiteX7" fmla="*/ 250031 w 514605"/>
                <a:gd name="connsiteY7" fmla="*/ 10782 h 465602"/>
                <a:gd name="connsiteX8" fmla="*/ 280988 w 514605"/>
                <a:gd name="connsiteY8" fmla="*/ 10782 h 465602"/>
                <a:gd name="connsiteX9" fmla="*/ 288131 w 514605"/>
                <a:gd name="connsiteY9" fmla="*/ 6020 h 465602"/>
                <a:gd name="connsiteX10" fmla="*/ 292894 w 514605"/>
                <a:gd name="connsiteY10" fmla="*/ 13164 h 465602"/>
                <a:gd name="connsiteX11" fmla="*/ 300038 w 514605"/>
                <a:gd name="connsiteY11" fmla="*/ 10782 h 465602"/>
                <a:gd name="connsiteX12" fmla="*/ 316706 w 514605"/>
                <a:gd name="connsiteY12" fmla="*/ 6020 h 465602"/>
                <a:gd name="connsiteX13" fmla="*/ 321469 w 514605"/>
                <a:gd name="connsiteY13" fmla="*/ 13164 h 465602"/>
                <a:gd name="connsiteX14" fmla="*/ 328613 w 514605"/>
                <a:gd name="connsiteY14" fmla="*/ 8401 h 465602"/>
                <a:gd name="connsiteX15" fmla="*/ 335756 w 514605"/>
                <a:gd name="connsiteY15" fmla="*/ 13164 h 465602"/>
                <a:gd name="connsiteX16" fmla="*/ 354806 w 514605"/>
                <a:gd name="connsiteY16" fmla="*/ 17926 h 465602"/>
                <a:gd name="connsiteX17" fmla="*/ 357188 w 514605"/>
                <a:gd name="connsiteY17" fmla="*/ 25070 h 465602"/>
                <a:gd name="connsiteX18" fmla="*/ 364331 w 514605"/>
                <a:gd name="connsiteY18" fmla="*/ 20307 h 465602"/>
                <a:gd name="connsiteX19" fmla="*/ 376238 w 514605"/>
                <a:gd name="connsiteY19" fmla="*/ 8401 h 465602"/>
                <a:gd name="connsiteX20" fmla="*/ 385763 w 514605"/>
                <a:gd name="connsiteY20" fmla="*/ 22689 h 465602"/>
                <a:gd name="connsiteX21" fmla="*/ 397669 w 514605"/>
                <a:gd name="connsiteY21" fmla="*/ 41739 h 465602"/>
                <a:gd name="connsiteX22" fmla="*/ 404813 w 514605"/>
                <a:gd name="connsiteY22" fmla="*/ 39357 h 465602"/>
                <a:gd name="connsiteX23" fmla="*/ 411956 w 514605"/>
                <a:gd name="connsiteY23" fmla="*/ 34595 h 465602"/>
                <a:gd name="connsiteX24" fmla="*/ 419100 w 514605"/>
                <a:gd name="connsiteY24" fmla="*/ 36976 h 465602"/>
                <a:gd name="connsiteX25" fmla="*/ 428625 w 514605"/>
                <a:gd name="connsiteY25" fmla="*/ 34595 h 465602"/>
                <a:gd name="connsiteX26" fmla="*/ 435769 w 514605"/>
                <a:gd name="connsiteY26" fmla="*/ 29832 h 465602"/>
                <a:gd name="connsiteX27" fmla="*/ 454819 w 514605"/>
                <a:gd name="connsiteY27" fmla="*/ 32214 h 465602"/>
                <a:gd name="connsiteX28" fmla="*/ 469106 w 514605"/>
                <a:gd name="connsiteY28" fmla="*/ 41739 h 465602"/>
                <a:gd name="connsiteX29" fmla="*/ 461963 w 514605"/>
                <a:gd name="connsiteY29" fmla="*/ 60789 h 465602"/>
                <a:gd name="connsiteX30" fmla="*/ 457200 w 514605"/>
                <a:gd name="connsiteY30" fmla="*/ 75076 h 465602"/>
                <a:gd name="connsiteX31" fmla="*/ 454819 w 514605"/>
                <a:gd name="connsiteY31" fmla="*/ 82220 h 465602"/>
                <a:gd name="connsiteX32" fmla="*/ 452438 w 514605"/>
                <a:gd name="connsiteY32" fmla="*/ 113176 h 465602"/>
                <a:gd name="connsiteX33" fmla="*/ 452438 w 514605"/>
                <a:gd name="connsiteY33" fmla="*/ 141751 h 465602"/>
                <a:gd name="connsiteX34" fmla="*/ 459581 w 514605"/>
                <a:gd name="connsiteY34" fmla="*/ 146514 h 465602"/>
                <a:gd name="connsiteX35" fmla="*/ 476250 w 514605"/>
                <a:gd name="connsiteY35" fmla="*/ 146514 h 465602"/>
                <a:gd name="connsiteX36" fmla="*/ 485775 w 514605"/>
                <a:gd name="connsiteY36" fmla="*/ 158420 h 465602"/>
                <a:gd name="connsiteX37" fmla="*/ 500063 w 514605"/>
                <a:gd name="connsiteY37" fmla="*/ 160801 h 465602"/>
                <a:gd name="connsiteX38" fmla="*/ 507206 w 514605"/>
                <a:gd name="connsiteY38" fmla="*/ 170326 h 465602"/>
                <a:gd name="connsiteX39" fmla="*/ 514350 w 514605"/>
                <a:gd name="connsiteY39" fmla="*/ 177470 h 465602"/>
                <a:gd name="connsiteX40" fmla="*/ 511969 w 514605"/>
                <a:gd name="connsiteY40" fmla="*/ 184614 h 465602"/>
                <a:gd name="connsiteX41" fmla="*/ 497681 w 514605"/>
                <a:gd name="connsiteY41" fmla="*/ 189376 h 465602"/>
                <a:gd name="connsiteX42" fmla="*/ 481013 w 514605"/>
                <a:gd name="connsiteY42" fmla="*/ 194139 h 465602"/>
                <a:gd name="connsiteX43" fmla="*/ 490538 w 514605"/>
                <a:gd name="connsiteY43" fmla="*/ 206045 h 465602"/>
                <a:gd name="connsiteX44" fmla="*/ 497681 w 514605"/>
                <a:gd name="connsiteY44" fmla="*/ 232239 h 465602"/>
                <a:gd name="connsiteX45" fmla="*/ 504825 w 514605"/>
                <a:gd name="connsiteY45" fmla="*/ 239382 h 465602"/>
                <a:gd name="connsiteX46" fmla="*/ 504825 w 514605"/>
                <a:gd name="connsiteY46" fmla="*/ 258432 h 465602"/>
                <a:gd name="connsiteX47" fmla="*/ 497681 w 514605"/>
                <a:gd name="connsiteY47" fmla="*/ 260814 h 465602"/>
                <a:gd name="connsiteX48" fmla="*/ 490538 w 514605"/>
                <a:gd name="connsiteY48" fmla="*/ 267957 h 465602"/>
                <a:gd name="connsiteX49" fmla="*/ 459581 w 514605"/>
                <a:gd name="connsiteY49" fmla="*/ 272720 h 465602"/>
                <a:gd name="connsiteX50" fmla="*/ 445294 w 514605"/>
                <a:gd name="connsiteY50" fmla="*/ 277482 h 465602"/>
                <a:gd name="connsiteX51" fmla="*/ 457200 w 514605"/>
                <a:gd name="connsiteY51" fmla="*/ 291770 h 465602"/>
                <a:gd name="connsiteX52" fmla="*/ 459581 w 514605"/>
                <a:gd name="connsiteY52" fmla="*/ 298914 h 465602"/>
                <a:gd name="connsiteX53" fmla="*/ 471488 w 514605"/>
                <a:gd name="connsiteY53" fmla="*/ 320345 h 465602"/>
                <a:gd name="connsiteX54" fmla="*/ 469106 w 514605"/>
                <a:gd name="connsiteY54" fmla="*/ 327489 h 465602"/>
                <a:gd name="connsiteX55" fmla="*/ 454819 w 514605"/>
                <a:gd name="connsiteY55" fmla="*/ 317964 h 465602"/>
                <a:gd name="connsiteX56" fmla="*/ 445294 w 514605"/>
                <a:gd name="connsiteY56" fmla="*/ 320345 h 465602"/>
                <a:gd name="connsiteX57" fmla="*/ 421481 w 514605"/>
                <a:gd name="connsiteY57" fmla="*/ 327489 h 465602"/>
                <a:gd name="connsiteX58" fmla="*/ 421481 w 514605"/>
                <a:gd name="connsiteY58" fmla="*/ 344157 h 465602"/>
                <a:gd name="connsiteX59" fmla="*/ 419100 w 514605"/>
                <a:gd name="connsiteY59" fmla="*/ 363207 h 465602"/>
                <a:gd name="connsiteX60" fmla="*/ 416719 w 514605"/>
                <a:gd name="connsiteY60" fmla="*/ 375114 h 465602"/>
                <a:gd name="connsiteX61" fmla="*/ 407194 w 514605"/>
                <a:gd name="connsiteY61" fmla="*/ 377495 h 465602"/>
                <a:gd name="connsiteX62" fmla="*/ 402431 w 514605"/>
                <a:gd name="connsiteY62" fmla="*/ 384639 h 465602"/>
                <a:gd name="connsiteX63" fmla="*/ 395288 w 514605"/>
                <a:gd name="connsiteY63" fmla="*/ 391782 h 465602"/>
                <a:gd name="connsiteX64" fmla="*/ 392906 w 514605"/>
                <a:gd name="connsiteY64" fmla="*/ 398926 h 465602"/>
                <a:gd name="connsiteX65" fmla="*/ 397669 w 514605"/>
                <a:gd name="connsiteY65" fmla="*/ 413214 h 465602"/>
                <a:gd name="connsiteX66" fmla="*/ 400050 w 514605"/>
                <a:gd name="connsiteY66" fmla="*/ 420357 h 465602"/>
                <a:gd name="connsiteX67" fmla="*/ 407194 w 514605"/>
                <a:gd name="connsiteY67" fmla="*/ 427501 h 465602"/>
                <a:gd name="connsiteX68" fmla="*/ 402431 w 514605"/>
                <a:gd name="connsiteY68" fmla="*/ 444170 h 465602"/>
                <a:gd name="connsiteX69" fmla="*/ 397669 w 514605"/>
                <a:gd name="connsiteY69" fmla="*/ 451314 h 465602"/>
                <a:gd name="connsiteX70" fmla="*/ 392908 w 514605"/>
                <a:gd name="connsiteY70" fmla="*/ 465602 h 465602"/>
                <a:gd name="connsiteX71" fmla="*/ 385763 w 514605"/>
                <a:gd name="connsiteY71" fmla="*/ 446551 h 465602"/>
                <a:gd name="connsiteX72" fmla="*/ 369094 w 514605"/>
                <a:gd name="connsiteY72" fmla="*/ 437026 h 465602"/>
                <a:gd name="connsiteX73" fmla="*/ 361950 w 514605"/>
                <a:gd name="connsiteY73" fmla="*/ 439407 h 465602"/>
                <a:gd name="connsiteX74" fmla="*/ 342900 w 514605"/>
                <a:gd name="connsiteY74" fmla="*/ 432263 h 465602"/>
                <a:gd name="connsiteX75" fmla="*/ 328613 w 514605"/>
                <a:gd name="connsiteY75" fmla="*/ 425120 h 465602"/>
                <a:gd name="connsiteX76" fmla="*/ 321469 w 514605"/>
                <a:gd name="connsiteY76" fmla="*/ 422739 h 465602"/>
                <a:gd name="connsiteX77" fmla="*/ 314325 w 514605"/>
                <a:gd name="connsiteY77" fmla="*/ 415595 h 465602"/>
                <a:gd name="connsiteX78" fmla="*/ 283370 w 514605"/>
                <a:gd name="connsiteY78" fmla="*/ 406070 h 465602"/>
                <a:gd name="connsiteX79" fmla="*/ 290513 w 514605"/>
                <a:gd name="connsiteY79" fmla="*/ 417976 h 465602"/>
                <a:gd name="connsiteX80" fmla="*/ 292893 w 514605"/>
                <a:gd name="connsiteY80" fmla="*/ 408452 h 465602"/>
                <a:gd name="connsiteX81" fmla="*/ 295275 w 514605"/>
                <a:gd name="connsiteY81" fmla="*/ 401307 h 465602"/>
                <a:gd name="connsiteX82" fmla="*/ 283369 w 514605"/>
                <a:gd name="connsiteY82" fmla="*/ 389401 h 465602"/>
                <a:gd name="connsiteX83" fmla="*/ 273844 w 514605"/>
                <a:gd name="connsiteY83" fmla="*/ 377495 h 465602"/>
                <a:gd name="connsiteX84" fmla="*/ 266700 w 514605"/>
                <a:gd name="connsiteY84" fmla="*/ 370351 h 465602"/>
                <a:gd name="connsiteX85" fmla="*/ 250031 w 514605"/>
                <a:gd name="connsiteY85" fmla="*/ 358445 h 465602"/>
                <a:gd name="connsiteX86" fmla="*/ 233363 w 514605"/>
                <a:gd name="connsiteY86" fmla="*/ 346539 h 465602"/>
                <a:gd name="connsiteX87" fmla="*/ 226219 w 514605"/>
                <a:gd name="connsiteY87" fmla="*/ 322726 h 465602"/>
                <a:gd name="connsiteX88" fmla="*/ 221456 w 514605"/>
                <a:gd name="connsiteY88" fmla="*/ 308439 h 465602"/>
                <a:gd name="connsiteX89" fmla="*/ 204788 w 514605"/>
                <a:gd name="connsiteY89" fmla="*/ 306057 h 465602"/>
                <a:gd name="connsiteX90" fmla="*/ 183356 w 514605"/>
                <a:gd name="connsiteY90" fmla="*/ 294151 h 465602"/>
                <a:gd name="connsiteX91" fmla="*/ 169069 w 514605"/>
                <a:gd name="connsiteY91" fmla="*/ 279864 h 465602"/>
                <a:gd name="connsiteX92" fmla="*/ 161925 w 514605"/>
                <a:gd name="connsiteY92" fmla="*/ 272720 h 465602"/>
                <a:gd name="connsiteX93" fmla="*/ 154781 w 514605"/>
                <a:gd name="connsiteY93" fmla="*/ 267957 h 465602"/>
                <a:gd name="connsiteX94" fmla="*/ 145256 w 514605"/>
                <a:gd name="connsiteY94" fmla="*/ 253670 h 465602"/>
                <a:gd name="connsiteX95" fmla="*/ 135731 w 514605"/>
                <a:gd name="connsiteY95" fmla="*/ 239382 h 465602"/>
                <a:gd name="connsiteX96" fmla="*/ 130969 w 514605"/>
                <a:gd name="connsiteY96" fmla="*/ 232239 h 465602"/>
                <a:gd name="connsiteX97" fmla="*/ 128588 w 514605"/>
                <a:gd name="connsiteY97" fmla="*/ 225095 h 465602"/>
                <a:gd name="connsiteX98" fmla="*/ 119063 w 514605"/>
                <a:gd name="connsiteY98" fmla="*/ 210807 h 465602"/>
                <a:gd name="connsiteX99" fmla="*/ 88106 w 514605"/>
                <a:gd name="connsiteY99" fmla="*/ 213189 h 465602"/>
                <a:gd name="connsiteX100" fmla="*/ 80963 w 514605"/>
                <a:gd name="connsiteY100" fmla="*/ 179851 h 465602"/>
                <a:gd name="connsiteX101" fmla="*/ 76200 w 514605"/>
                <a:gd name="connsiteY101" fmla="*/ 172707 h 465602"/>
                <a:gd name="connsiteX102" fmla="*/ 71438 w 514605"/>
                <a:gd name="connsiteY102" fmla="*/ 158420 h 465602"/>
                <a:gd name="connsiteX103" fmla="*/ 69056 w 514605"/>
                <a:gd name="connsiteY103" fmla="*/ 151276 h 465602"/>
                <a:gd name="connsiteX104" fmla="*/ 54769 w 514605"/>
                <a:gd name="connsiteY104" fmla="*/ 136989 h 465602"/>
                <a:gd name="connsiteX105" fmla="*/ 52388 w 514605"/>
                <a:gd name="connsiteY105" fmla="*/ 129845 h 465602"/>
                <a:gd name="connsiteX106" fmla="*/ 26194 w 514605"/>
                <a:gd name="connsiteY106" fmla="*/ 113176 h 465602"/>
                <a:gd name="connsiteX107" fmla="*/ 2381 w 514605"/>
                <a:gd name="connsiteY107" fmla="*/ 101270 h 465602"/>
                <a:gd name="connsiteX108" fmla="*/ 4763 w 514605"/>
                <a:gd name="connsiteY108" fmla="*/ 72695 h 465602"/>
                <a:gd name="connsiteX109" fmla="*/ 0 w 514605"/>
                <a:gd name="connsiteY109" fmla="*/ 34595 h 465602"/>
                <a:gd name="connsiteX110" fmla="*/ 2381 w 514605"/>
                <a:gd name="connsiteY110" fmla="*/ 20307 h 465602"/>
                <a:gd name="connsiteX111" fmla="*/ 9525 w 514605"/>
                <a:gd name="connsiteY111" fmla="*/ 17926 h 465602"/>
                <a:gd name="connsiteX112" fmla="*/ 19050 w 514605"/>
                <a:gd name="connsiteY112" fmla="*/ 15545 h 465602"/>
                <a:gd name="connsiteX113" fmla="*/ 26194 w 514605"/>
                <a:gd name="connsiteY113" fmla="*/ 17926 h 465602"/>
                <a:gd name="connsiteX114" fmla="*/ 33338 w 514605"/>
                <a:gd name="connsiteY114" fmla="*/ 8401 h 465602"/>
                <a:gd name="connsiteX115" fmla="*/ 30957 w 514605"/>
                <a:gd name="connsiteY115" fmla="*/ 6020 h 465602"/>
                <a:gd name="connsiteX116" fmla="*/ 42863 w 514605"/>
                <a:gd name="connsiteY116" fmla="*/ 25069 h 465602"/>
                <a:gd name="connsiteX117" fmla="*/ 50006 w 514605"/>
                <a:gd name="connsiteY117" fmla="*/ 44120 h 465602"/>
                <a:gd name="connsiteX118" fmla="*/ 61913 w 514605"/>
                <a:gd name="connsiteY118" fmla="*/ 39358 h 465602"/>
                <a:gd name="connsiteX119" fmla="*/ 73819 w 514605"/>
                <a:gd name="connsiteY119" fmla="*/ 46501 h 465602"/>
                <a:gd name="connsiteX120" fmla="*/ 90488 w 514605"/>
                <a:gd name="connsiteY120" fmla="*/ 44120 h 465602"/>
                <a:gd name="connsiteX121" fmla="*/ 92869 w 514605"/>
                <a:gd name="connsiteY121" fmla="*/ 15545 h 465602"/>
                <a:gd name="connsiteX122" fmla="*/ 107156 w 514605"/>
                <a:gd name="connsiteY122" fmla="*/ 10782 h 465602"/>
                <a:gd name="connsiteX123" fmla="*/ 121444 w 514605"/>
                <a:gd name="connsiteY123" fmla="*/ 8401 h 465602"/>
                <a:gd name="connsiteX124" fmla="*/ 142875 w 514605"/>
                <a:gd name="connsiteY124" fmla="*/ 6020 h 465602"/>
                <a:gd name="connsiteX125" fmla="*/ 147638 w 514605"/>
                <a:gd name="connsiteY125" fmla="*/ 6020 h 465602"/>
                <a:gd name="connsiteX0" fmla="*/ 147638 w 514605"/>
                <a:gd name="connsiteY0" fmla="*/ 6020 h 465602"/>
                <a:gd name="connsiteX1" fmla="*/ 161925 w 514605"/>
                <a:gd name="connsiteY1" fmla="*/ 3639 h 465602"/>
                <a:gd name="connsiteX2" fmla="*/ 169069 w 514605"/>
                <a:gd name="connsiteY2" fmla="*/ 8401 h 465602"/>
                <a:gd name="connsiteX3" fmla="*/ 204788 w 514605"/>
                <a:gd name="connsiteY3" fmla="*/ 6020 h 465602"/>
                <a:gd name="connsiteX4" fmla="*/ 219075 w 514605"/>
                <a:gd name="connsiteY4" fmla="*/ 6020 h 465602"/>
                <a:gd name="connsiteX5" fmla="*/ 223838 w 514605"/>
                <a:gd name="connsiteY5" fmla="*/ 13164 h 465602"/>
                <a:gd name="connsiteX6" fmla="*/ 230981 w 514605"/>
                <a:gd name="connsiteY6" fmla="*/ 15545 h 465602"/>
                <a:gd name="connsiteX7" fmla="*/ 250031 w 514605"/>
                <a:gd name="connsiteY7" fmla="*/ 10782 h 465602"/>
                <a:gd name="connsiteX8" fmla="*/ 280988 w 514605"/>
                <a:gd name="connsiteY8" fmla="*/ 10782 h 465602"/>
                <a:gd name="connsiteX9" fmla="*/ 288131 w 514605"/>
                <a:gd name="connsiteY9" fmla="*/ 6020 h 465602"/>
                <a:gd name="connsiteX10" fmla="*/ 292894 w 514605"/>
                <a:gd name="connsiteY10" fmla="*/ 13164 h 465602"/>
                <a:gd name="connsiteX11" fmla="*/ 300038 w 514605"/>
                <a:gd name="connsiteY11" fmla="*/ 10782 h 465602"/>
                <a:gd name="connsiteX12" fmla="*/ 316706 w 514605"/>
                <a:gd name="connsiteY12" fmla="*/ 6020 h 465602"/>
                <a:gd name="connsiteX13" fmla="*/ 321469 w 514605"/>
                <a:gd name="connsiteY13" fmla="*/ 13164 h 465602"/>
                <a:gd name="connsiteX14" fmla="*/ 328613 w 514605"/>
                <a:gd name="connsiteY14" fmla="*/ 8401 h 465602"/>
                <a:gd name="connsiteX15" fmla="*/ 335756 w 514605"/>
                <a:gd name="connsiteY15" fmla="*/ 13164 h 465602"/>
                <a:gd name="connsiteX16" fmla="*/ 354806 w 514605"/>
                <a:gd name="connsiteY16" fmla="*/ 17926 h 465602"/>
                <a:gd name="connsiteX17" fmla="*/ 357188 w 514605"/>
                <a:gd name="connsiteY17" fmla="*/ 25070 h 465602"/>
                <a:gd name="connsiteX18" fmla="*/ 364331 w 514605"/>
                <a:gd name="connsiteY18" fmla="*/ 20307 h 465602"/>
                <a:gd name="connsiteX19" fmla="*/ 376238 w 514605"/>
                <a:gd name="connsiteY19" fmla="*/ 8401 h 465602"/>
                <a:gd name="connsiteX20" fmla="*/ 385763 w 514605"/>
                <a:gd name="connsiteY20" fmla="*/ 22689 h 465602"/>
                <a:gd name="connsiteX21" fmla="*/ 397669 w 514605"/>
                <a:gd name="connsiteY21" fmla="*/ 41739 h 465602"/>
                <a:gd name="connsiteX22" fmla="*/ 404813 w 514605"/>
                <a:gd name="connsiteY22" fmla="*/ 39357 h 465602"/>
                <a:gd name="connsiteX23" fmla="*/ 411956 w 514605"/>
                <a:gd name="connsiteY23" fmla="*/ 34595 h 465602"/>
                <a:gd name="connsiteX24" fmla="*/ 419100 w 514605"/>
                <a:gd name="connsiteY24" fmla="*/ 36976 h 465602"/>
                <a:gd name="connsiteX25" fmla="*/ 428625 w 514605"/>
                <a:gd name="connsiteY25" fmla="*/ 34595 h 465602"/>
                <a:gd name="connsiteX26" fmla="*/ 435769 w 514605"/>
                <a:gd name="connsiteY26" fmla="*/ 29832 h 465602"/>
                <a:gd name="connsiteX27" fmla="*/ 454819 w 514605"/>
                <a:gd name="connsiteY27" fmla="*/ 32214 h 465602"/>
                <a:gd name="connsiteX28" fmla="*/ 469106 w 514605"/>
                <a:gd name="connsiteY28" fmla="*/ 41739 h 465602"/>
                <a:gd name="connsiteX29" fmla="*/ 461963 w 514605"/>
                <a:gd name="connsiteY29" fmla="*/ 60789 h 465602"/>
                <a:gd name="connsiteX30" fmla="*/ 457200 w 514605"/>
                <a:gd name="connsiteY30" fmla="*/ 75076 h 465602"/>
                <a:gd name="connsiteX31" fmla="*/ 454819 w 514605"/>
                <a:gd name="connsiteY31" fmla="*/ 82220 h 465602"/>
                <a:gd name="connsiteX32" fmla="*/ 452438 w 514605"/>
                <a:gd name="connsiteY32" fmla="*/ 113176 h 465602"/>
                <a:gd name="connsiteX33" fmla="*/ 452438 w 514605"/>
                <a:gd name="connsiteY33" fmla="*/ 141751 h 465602"/>
                <a:gd name="connsiteX34" fmla="*/ 459581 w 514605"/>
                <a:gd name="connsiteY34" fmla="*/ 146514 h 465602"/>
                <a:gd name="connsiteX35" fmla="*/ 476250 w 514605"/>
                <a:gd name="connsiteY35" fmla="*/ 146514 h 465602"/>
                <a:gd name="connsiteX36" fmla="*/ 485775 w 514605"/>
                <a:gd name="connsiteY36" fmla="*/ 158420 h 465602"/>
                <a:gd name="connsiteX37" fmla="*/ 500063 w 514605"/>
                <a:gd name="connsiteY37" fmla="*/ 160801 h 465602"/>
                <a:gd name="connsiteX38" fmla="*/ 507206 w 514605"/>
                <a:gd name="connsiteY38" fmla="*/ 170326 h 465602"/>
                <a:gd name="connsiteX39" fmla="*/ 514350 w 514605"/>
                <a:gd name="connsiteY39" fmla="*/ 177470 h 465602"/>
                <a:gd name="connsiteX40" fmla="*/ 511969 w 514605"/>
                <a:gd name="connsiteY40" fmla="*/ 184614 h 465602"/>
                <a:gd name="connsiteX41" fmla="*/ 497681 w 514605"/>
                <a:gd name="connsiteY41" fmla="*/ 189376 h 465602"/>
                <a:gd name="connsiteX42" fmla="*/ 481013 w 514605"/>
                <a:gd name="connsiteY42" fmla="*/ 194139 h 465602"/>
                <a:gd name="connsiteX43" fmla="*/ 490538 w 514605"/>
                <a:gd name="connsiteY43" fmla="*/ 206045 h 465602"/>
                <a:gd name="connsiteX44" fmla="*/ 497681 w 514605"/>
                <a:gd name="connsiteY44" fmla="*/ 232239 h 465602"/>
                <a:gd name="connsiteX45" fmla="*/ 504825 w 514605"/>
                <a:gd name="connsiteY45" fmla="*/ 239382 h 465602"/>
                <a:gd name="connsiteX46" fmla="*/ 504825 w 514605"/>
                <a:gd name="connsiteY46" fmla="*/ 258432 h 465602"/>
                <a:gd name="connsiteX47" fmla="*/ 497681 w 514605"/>
                <a:gd name="connsiteY47" fmla="*/ 260814 h 465602"/>
                <a:gd name="connsiteX48" fmla="*/ 490538 w 514605"/>
                <a:gd name="connsiteY48" fmla="*/ 267957 h 465602"/>
                <a:gd name="connsiteX49" fmla="*/ 459581 w 514605"/>
                <a:gd name="connsiteY49" fmla="*/ 272720 h 465602"/>
                <a:gd name="connsiteX50" fmla="*/ 445294 w 514605"/>
                <a:gd name="connsiteY50" fmla="*/ 277482 h 465602"/>
                <a:gd name="connsiteX51" fmla="*/ 457200 w 514605"/>
                <a:gd name="connsiteY51" fmla="*/ 291770 h 465602"/>
                <a:gd name="connsiteX52" fmla="*/ 459581 w 514605"/>
                <a:gd name="connsiteY52" fmla="*/ 298914 h 465602"/>
                <a:gd name="connsiteX53" fmla="*/ 471488 w 514605"/>
                <a:gd name="connsiteY53" fmla="*/ 320345 h 465602"/>
                <a:gd name="connsiteX54" fmla="*/ 469106 w 514605"/>
                <a:gd name="connsiteY54" fmla="*/ 327489 h 465602"/>
                <a:gd name="connsiteX55" fmla="*/ 454819 w 514605"/>
                <a:gd name="connsiteY55" fmla="*/ 317964 h 465602"/>
                <a:gd name="connsiteX56" fmla="*/ 445294 w 514605"/>
                <a:gd name="connsiteY56" fmla="*/ 320345 h 465602"/>
                <a:gd name="connsiteX57" fmla="*/ 421481 w 514605"/>
                <a:gd name="connsiteY57" fmla="*/ 327489 h 465602"/>
                <a:gd name="connsiteX58" fmla="*/ 421481 w 514605"/>
                <a:gd name="connsiteY58" fmla="*/ 344157 h 465602"/>
                <a:gd name="connsiteX59" fmla="*/ 419100 w 514605"/>
                <a:gd name="connsiteY59" fmla="*/ 363207 h 465602"/>
                <a:gd name="connsiteX60" fmla="*/ 416719 w 514605"/>
                <a:gd name="connsiteY60" fmla="*/ 375114 h 465602"/>
                <a:gd name="connsiteX61" fmla="*/ 407194 w 514605"/>
                <a:gd name="connsiteY61" fmla="*/ 377495 h 465602"/>
                <a:gd name="connsiteX62" fmla="*/ 402431 w 514605"/>
                <a:gd name="connsiteY62" fmla="*/ 384639 h 465602"/>
                <a:gd name="connsiteX63" fmla="*/ 395288 w 514605"/>
                <a:gd name="connsiteY63" fmla="*/ 391782 h 465602"/>
                <a:gd name="connsiteX64" fmla="*/ 392906 w 514605"/>
                <a:gd name="connsiteY64" fmla="*/ 398926 h 465602"/>
                <a:gd name="connsiteX65" fmla="*/ 397669 w 514605"/>
                <a:gd name="connsiteY65" fmla="*/ 413214 h 465602"/>
                <a:gd name="connsiteX66" fmla="*/ 400050 w 514605"/>
                <a:gd name="connsiteY66" fmla="*/ 420357 h 465602"/>
                <a:gd name="connsiteX67" fmla="*/ 407194 w 514605"/>
                <a:gd name="connsiteY67" fmla="*/ 427501 h 465602"/>
                <a:gd name="connsiteX68" fmla="*/ 402431 w 514605"/>
                <a:gd name="connsiteY68" fmla="*/ 444170 h 465602"/>
                <a:gd name="connsiteX69" fmla="*/ 397669 w 514605"/>
                <a:gd name="connsiteY69" fmla="*/ 451314 h 465602"/>
                <a:gd name="connsiteX70" fmla="*/ 392908 w 514605"/>
                <a:gd name="connsiteY70" fmla="*/ 465602 h 465602"/>
                <a:gd name="connsiteX71" fmla="*/ 385763 w 514605"/>
                <a:gd name="connsiteY71" fmla="*/ 446551 h 465602"/>
                <a:gd name="connsiteX72" fmla="*/ 369094 w 514605"/>
                <a:gd name="connsiteY72" fmla="*/ 437026 h 465602"/>
                <a:gd name="connsiteX73" fmla="*/ 361950 w 514605"/>
                <a:gd name="connsiteY73" fmla="*/ 439407 h 465602"/>
                <a:gd name="connsiteX74" fmla="*/ 342900 w 514605"/>
                <a:gd name="connsiteY74" fmla="*/ 432263 h 465602"/>
                <a:gd name="connsiteX75" fmla="*/ 328613 w 514605"/>
                <a:gd name="connsiteY75" fmla="*/ 425120 h 465602"/>
                <a:gd name="connsiteX76" fmla="*/ 321469 w 514605"/>
                <a:gd name="connsiteY76" fmla="*/ 422739 h 465602"/>
                <a:gd name="connsiteX77" fmla="*/ 314325 w 514605"/>
                <a:gd name="connsiteY77" fmla="*/ 415595 h 465602"/>
                <a:gd name="connsiteX78" fmla="*/ 283370 w 514605"/>
                <a:gd name="connsiteY78" fmla="*/ 406070 h 465602"/>
                <a:gd name="connsiteX79" fmla="*/ 290513 w 514605"/>
                <a:gd name="connsiteY79" fmla="*/ 417976 h 465602"/>
                <a:gd name="connsiteX80" fmla="*/ 292893 w 514605"/>
                <a:gd name="connsiteY80" fmla="*/ 408452 h 465602"/>
                <a:gd name="connsiteX81" fmla="*/ 295275 w 514605"/>
                <a:gd name="connsiteY81" fmla="*/ 401307 h 465602"/>
                <a:gd name="connsiteX82" fmla="*/ 283369 w 514605"/>
                <a:gd name="connsiteY82" fmla="*/ 389401 h 465602"/>
                <a:gd name="connsiteX83" fmla="*/ 273844 w 514605"/>
                <a:gd name="connsiteY83" fmla="*/ 377495 h 465602"/>
                <a:gd name="connsiteX84" fmla="*/ 266700 w 514605"/>
                <a:gd name="connsiteY84" fmla="*/ 370351 h 465602"/>
                <a:gd name="connsiteX85" fmla="*/ 250031 w 514605"/>
                <a:gd name="connsiteY85" fmla="*/ 358445 h 465602"/>
                <a:gd name="connsiteX86" fmla="*/ 233363 w 514605"/>
                <a:gd name="connsiteY86" fmla="*/ 346539 h 465602"/>
                <a:gd name="connsiteX87" fmla="*/ 226219 w 514605"/>
                <a:gd name="connsiteY87" fmla="*/ 322726 h 465602"/>
                <a:gd name="connsiteX88" fmla="*/ 221456 w 514605"/>
                <a:gd name="connsiteY88" fmla="*/ 308439 h 465602"/>
                <a:gd name="connsiteX89" fmla="*/ 204788 w 514605"/>
                <a:gd name="connsiteY89" fmla="*/ 306057 h 465602"/>
                <a:gd name="connsiteX90" fmla="*/ 183356 w 514605"/>
                <a:gd name="connsiteY90" fmla="*/ 294151 h 465602"/>
                <a:gd name="connsiteX91" fmla="*/ 169069 w 514605"/>
                <a:gd name="connsiteY91" fmla="*/ 279864 h 465602"/>
                <a:gd name="connsiteX92" fmla="*/ 161925 w 514605"/>
                <a:gd name="connsiteY92" fmla="*/ 272720 h 465602"/>
                <a:gd name="connsiteX93" fmla="*/ 154781 w 514605"/>
                <a:gd name="connsiteY93" fmla="*/ 267957 h 465602"/>
                <a:gd name="connsiteX94" fmla="*/ 145256 w 514605"/>
                <a:gd name="connsiteY94" fmla="*/ 253670 h 465602"/>
                <a:gd name="connsiteX95" fmla="*/ 135731 w 514605"/>
                <a:gd name="connsiteY95" fmla="*/ 239382 h 465602"/>
                <a:gd name="connsiteX96" fmla="*/ 130969 w 514605"/>
                <a:gd name="connsiteY96" fmla="*/ 232239 h 465602"/>
                <a:gd name="connsiteX97" fmla="*/ 128588 w 514605"/>
                <a:gd name="connsiteY97" fmla="*/ 225095 h 465602"/>
                <a:gd name="connsiteX98" fmla="*/ 119063 w 514605"/>
                <a:gd name="connsiteY98" fmla="*/ 210807 h 465602"/>
                <a:gd name="connsiteX99" fmla="*/ 88106 w 514605"/>
                <a:gd name="connsiteY99" fmla="*/ 213189 h 465602"/>
                <a:gd name="connsiteX100" fmla="*/ 80963 w 514605"/>
                <a:gd name="connsiteY100" fmla="*/ 179851 h 465602"/>
                <a:gd name="connsiteX101" fmla="*/ 76200 w 514605"/>
                <a:gd name="connsiteY101" fmla="*/ 172707 h 465602"/>
                <a:gd name="connsiteX102" fmla="*/ 71438 w 514605"/>
                <a:gd name="connsiteY102" fmla="*/ 158420 h 465602"/>
                <a:gd name="connsiteX103" fmla="*/ 69056 w 514605"/>
                <a:gd name="connsiteY103" fmla="*/ 151276 h 465602"/>
                <a:gd name="connsiteX104" fmla="*/ 54769 w 514605"/>
                <a:gd name="connsiteY104" fmla="*/ 136989 h 465602"/>
                <a:gd name="connsiteX105" fmla="*/ 52388 w 514605"/>
                <a:gd name="connsiteY105" fmla="*/ 129845 h 465602"/>
                <a:gd name="connsiteX106" fmla="*/ 26194 w 514605"/>
                <a:gd name="connsiteY106" fmla="*/ 113176 h 465602"/>
                <a:gd name="connsiteX107" fmla="*/ 2381 w 514605"/>
                <a:gd name="connsiteY107" fmla="*/ 101270 h 465602"/>
                <a:gd name="connsiteX108" fmla="*/ 4763 w 514605"/>
                <a:gd name="connsiteY108" fmla="*/ 72695 h 465602"/>
                <a:gd name="connsiteX109" fmla="*/ 0 w 514605"/>
                <a:gd name="connsiteY109" fmla="*/ 34595 h 465602"/>
                <a:gd name="connsiteX110" fmla="*/ 2381 w 514605"/>
                <a:gd name="connsiteY110" fmla="*/ 20307 h 465602"/>
                <a:gd name="connsiteX111" fmla="*/ 9525 w 514605"/>
                <a:gd name="connsiteY111" fmla="*/ 17926 h 465602"/>
                <a:gd name="connsiteX112" fmla="*/ 19050 w 514605"/>
                <a:gd name="connsiteY112" fmla="*/ 15545 h 465602"/>
                <a:gd name="connsiteX113" fmla="*/ 26194 w 514605"/>
                <a:gd name="connsiteY113" fmla="*/ 17926 h 465602"/>
                <a:gd name="connsiteX114" fmla="*/ 33338 w 514605"/>
                <a:gd name="connsiteY114" fmla="*/ 8401 h 465602"/>
                <a:gd name="connsiteX115" fmla="*/ 30957 w 514605"/>
                <a:gd name="connsiteY115" fmla="*/ 6020 h 465602"/>
                <a:gd name="connsiteX116" fmla="*/ 42863 w 514605"/>
                <a:gd name="connsiteY116" fmla="*/ 25069 h 465602"/>
                <a:gd name="connsiteX117" fmla="*/ 54769 w 514605"/>
                <a:gd name="connsiteY117" fmla="*/ 27451 h 465602"/>
                <a:gd name="connsiteX118" fmla="*/ 61913 w 514605"/>
                <a:gd name="connsiteY118" fmla="*/ 39358 h 465602"/>
                <a:gd name="connsiteX119" fmla="*/ 73819 w 514605"/>
                <a:gd name="connsiteY119" fmla="*/ 46501 h 465602"/>
                <a:gd name="connsiteX120" fmla="*/ 90488 w 514605"/>
                <a:gd name="connsiteY120" fmla="*/ 44120 h 465602"/>
                <a:gd name="connsiteX121" fmla="*/ 92869 w 514605"/>
                <a:gd name="connsiteY121" fmla="*/ 15545 h 465602"/>
                <a:gd name="connsiteX122" fmla="*/ 107156 w 514605"/>
                <a:gd name="connsiteY122" fmla="*/ 10782 h 465602"/>
                <a:gd name="connsiteX123" fmla="*/ 121444 w 514605"/>
                <a:gd name="connsiteY123" fmla="*/ 8401 h 465602"/>
                <a:gd name="connsiteX124" fmla="*/ 142875 w 514605"/>
                <a:gd name="connsiteY124" fmla="*/ 6020 h 465602"/>
                <a:gd name="connsiteX125" fmla="*/ 147638 w 514605"/>
                <a:gd name="connsiteY125" fmla="*/ 6020 h 465602"/>
                <a:gd name="connsiteX0" fmla="*/ 147638 w 514605"/>
                <a:gd name="connsiteY0" fmla="*/ 6020 h 465602"/>
                <a:gd name="connsiteX1" fmla="*/ 161925 w 514605"/>
                <a:gd name="connsiteY1" fmla="*/ 3639 h 465602"/>
                <a:gd name="connsiteX2" fmla="*/ 169069 w 514605"/>
                <a:gd name="connsiteY2" fmla="*/ 8401 h 465602"/>
                <a:gd name="connsiteX3" fmla="*/ 204788 w 514605"/>
                <a:gd name="connsiteY3" fmla="*/ 6020 h 465602"/>
                <a:gd name="connsiteX4" fmla="*/ 219075 w 514605"/>
                <a:gd name="connsiteY4" fmla="*/ 6020 h 465602"/>
                <a:gd name="connsiteX5" fmla="*/ 223838 w 514605"/>
                <a:gd name="connsiteY5" fmla="*/ 13164 h 465602"/>
                <a:gd name="connsiteX6" fmla="*/ 230981 w 514605"/>
                <a:gd name="connsiteY6" fmla="*/ 15545 h 465602"/>
                <a:gd name="connsiteX7" fmla="*/ 250031 w 514605"/>
                <a:gd name="connsiteY7" fmla="*/ 10782 h 465602"/>
                <a:gd name="connsiteX8" fmla="*/ 280988 w 514605"/>
                <a:gd name="connsiteY8" fmla="*/ 10782 h 465602"/>
                <a:gd name="connsiteX9" fmla="*/ 288131 w 514605"/>
                <a:gd name="connsiteY9" fmla="*/ 6020 h 465602"/>
                <a:gd name="connsiteX10" fmla="*/ 292894 w 514605"/>
                <a:gd name="connsiteY10" fmla="*/ 13164 h 465602"/>
                <a:gd name="connsiteX11" fmla="*/ 300038 w 514605"/>
                <a:gd name="connsiteY11" fmla="*/ 10782 h 465602"/>
                <a:gd name="connsiteX12" fmla="*/ 316706 w 514605"/>
                <a:gd name="connsiteY12" fmla="*/ 6020 h 465602"/>
                <a:gd name="connsiteX13" fmla="*/ 321469 w 514605"/>
                <a:gd name="connsiteY13" fmla="*/ 13164 h 465602"/>
                <a:gd name="connsiteX14" fmla="*/ 328613 w 514605"/>
                <a:gd name="connsiteY14" fmla="*/ 8401 h 465602"/>
                <a:gd name="connsiteX15" fmla="*/ 335756 w 514605"/>
                <a:gd name="connsiteY15" fmla="*/ 13164 h 465602"/>
                <a:gd name="connsiteX16" fmla="*/ 354806 w 514605"/>
                <a:gd name="connsiteY16" fmla="*/ 17926 h 465602"/>
                <a:gd name="connsiteX17" fmla="*/ 357188 w 514605"/>
                <a:gd name="connsiteY17" fmla="*/ 25070 h 465602"/>
                <a:gd name="connsiteX18" fmla="*/ 364331 w 514605"/>
                <a:gd name="connsiteY18" fmla="*/ 20307 h 465602"/>
                <a:gd name="connsiteX19" fmla="*/ 376238 w 514605"/>
                <a:gd name="connsiteY19" fmla="*/ 8401 h 465602"/>
                <a:gd name="connsiteX20" fmla="*/ 385763 w 514605"/>
                <a:gd name="connsiteY20" fmla="*/ 22689 h 465602"/>
                <a:gd name="connsiteX21" fmla="*/ 397669 w 514605"/>
                <a:gd name="connsiteY21" fmla="*/ 41739 h 465602"/>
                <a:gd name="connsiteX22" fmla="*/ 404813 w 514605"/>
                <a:gd name="connsiteY22" fmla="*/ 39357 h 465602"/>
                <a:gd name="connsiteX23" fmla="*/ 411956 w 514605"/>
                <a:gd name="connsiteY23" fmla="*/ 34595 h 465602"/>
                <a:gd name="connsiteX24" fmla="*/ 419100 w 514605"/>
                <a:gd name="connsiteY24" fmla="*/ 36976 h 465602"/>
                <a:gd name="connsiteX25" fmla="*/ 428625 w 514605"/>
                <a:gd name="connsiteY25" fmla="*/ 34595 h 465602"/>
                <a:gd name="connsiteX26" fmla="*/ 435769 w 514605"/>
                <a:gd name="connsiteY26" fmla="*/ 29832 h 465602"/>
                <a:gd name="connsiteX27" fmla="*/ 454819 w 514605"/>
                <a:gd name="connsiteY27" fmla="*/ 32214 h 465602"/>
                <a:gd name="connsiteX28" fmla="*/ 469106 w 514605"/>
                <a:gd name="connsiteY28" fmla="*/ 41739 h 465602"/>
                <a:gd name="connsiteX29" fmla="*/ 461963 w 514605"/>
                <a:gd name="connsiteY29" fmla="*/ 60789 h 465602"/>
                <a:gd name="connsiteX30" fmla="*/ 457200 w 514605"/>
                <a:gd name="connsiteY30" fmla="*/ 75076 h 465602"/>
                <a:gd name="connsiteX31" fmla="*/ 454819 w 514605"/>
                <a:gd name="connsiteY31" fmla="*/ 82220 h 465602"/>
                <a:gd name="connsiteX32" fmla="*/ 452438 w 514605"/>
                <a:gd name="connsiteY32" fmla="*/ 113176 h 465602"/>
                <a:gd name="connsiteX33" fmla="*/ 452438 w 514605"/>
                <a:gd name="connsiteY33" fmla="*/ 141751 h 465602"/>
                <a:gd name="connsiteX34" fmla="*/ 459581 w 514605"/>
                <a:gd name="connsiteY34" fmla="*/ 146514 h 465602"/>
                <a:gd name="connsiteX35" fmla="*/ 476250 w 514605"/>
                <a:gd name="connsiteY35" fmla="*/ 146514 h 465602"/>
                <a:gd name="connsiteX36" fmla="*/ 485775 w 514605"/>
                <a:gd name="connsiteY36" fmla="*/ 158420 h 465602"/>
                <a:gd name="connsiteX37" fmla="*/ 500063 w 514605"/>
                <a:gd name="connsiteY37" fmla="*/ 160801 h 465602"/>
                <a:gd name="connsiteX38" fmla="*/ 507206 w 514605"/>
                <a:gd name="connsiteY38" fmla="*/ 170326 h 465602"/>
                <a:gd name="connsiteX39" fmla="*/ 514350 w 514605"/>
                <a:gd name="connsiteY39" fmla="*/ 177470 h 465602"/>
                <a:gd name="connsiteX40" fmla="*/ 511969 w 514605"/>
                <a:gd name="connsiteY40" fmla="*/ 184614 h 465602"/>
                <a:gd name="connsiteX41" fmla="*/ 497681 w 514605"/>
                <a:gd name="connsiteY41" fmla="*/ 189376 h 465602"/>
                <a:gd name="connsiteX42" fmla="*/ 481013 w 514605"/>
                <a:gd name="connsiteY42" fmla="*/ 194139 h 465602"/>
                <a:gd name="connsiteX43" fmla="*/ 490538 w 514605"/>
                <a:gd name="connsiteY43" fmla="*/ 206045 h 465602"/>
                <a:gd name="connsiteX44" fmla="*/ 497681 w 514605"/>
                <a:gd name="connsiteY44" fmla="*/ 232239 h 465602"/>
                <a:gd name="connsiteX45" fmla="*/ 504825 w 514605"/>
                <a:gd name="connsiteY45" fmla="*/ 239382 h 465602"/>
                <a:gd name="connsiteX46" fmla="*/ 504825 w 514605"/>
                <a:gd name="connsiteY46" fmla="*/ 258432 h 465602"/>
                <a:gd name="connsiteX47" fmla="*/ 497681 w 514605"/>
                <a:gd name="connsiteY47" fmla="*/ 260814 h 465602"/>
                <a:gd name="connsiteX48" fmla="*/ 490538 w 514605"/>
                <a:gd name="connsiteY48" fmla="*/ 267957 h 465602"/>
                <a:gd name="connsiteX49" fmla="*/ 459581 w 514605"/>
                <a:gd name="connsiteY49" fmla="*/ 272720 h 465602"/>
                <a:gd name="connsiteX50" fmla="*/ 445294 w 514605"/>
                <a:gd name="connsiteY50" fmla="*/ 277482 h 465602"/>
                <a:gd name="connsiteX51" fmla="*/ 457200 w 514605"/>
                <a:gd name="connsiteY51" fmla="*/ 291770 h 465602"/>
                <a:gd name="connsiteX52" fmla="*/ 459581 w 514605"/>
                <a:gd name="connsiteY52" fmla="*/ 298914 h 465602"/>
                <a:gd name="connsiteX53" fmla="*/ 471488 w 514605"/>
                <a:gd name="connsiteY53" fmla="*/ 320345 h 465602"/>
                <a:gd name="connsiteX54" fmla="*/ 469106 w 514605"/>
                <a:gd name="connsiteY54" fmla="*/ 327489 h 465602"/>
                <a:gd name="connsiteX55" fmla="*/ 454819 w 514605"/>
                <a:gd name="connsiteY55" fmla="*/ 317964 h 465602"/>
                <a:gd name="connsiteX56" fmla="*/ 445294 w 514605"/>
                <a:gd name="connsiteY56" fmla="*/ 320345 h 465602"/>
                <a:gd name="connsiteX57" fmla="*/ 421481 w 514605"/>
                <a:gd name="connsiteY57" fmla="*/ 327489 h 465602"/>
                <a:gd name="connsiteX58" fmla="*/ 421481 w 514605"/>
                <a:gd name="connsiteY58" fmla="*/ 344157 h 465602"/>
                <a:gd name="connsiteX59" fmla="*/ 419100 w 514605"/>
                <a:gd name="connsiteY59" fmla="*/ 363207 h 465602"/>
                <a:gd name="connsiteX60" fmla="*/ 416719 w 514605"/>
                <a:gd name="connsiteY60" fmla="*/ 375114 h 465602"/>
                <a:gd name="connsiteX61" fmla="*/ 407194 w 514605"/>
                <a:gd name="connsiteY61" fmla="*/ 377495 h 465602"/>
                <a:gd name="connsiteX62" fmla="*/ 402431 w 514605"/>
                <a:gd name="connsiteY62" fmla="*/ 384639 h 465602"/>
                <a:gd name="connsiteX63" fmla="*/ 395288 w 514605"/>
                <a:gd name="connsiteY63" fmla="*/ 391782 h 465602"/>
                <a:gd name="connsiteX64" fmla="*/ 392906 w 514605"/>
                <a:gd name="connsiteY64" fmla="*/ 398926 h 465602"/>
                <a:gd name="connsiteX65" fmla="*/ 397669 w 514605"/>
                <a:gd name="connsiteY65" fmla="*/ 413214 h 465602"/>
                <a:gd name="connsiteX66" fmla="*/ 400050 w 514605"/>
                <a:gd name="connsiteY66" fmla="*/ 420357 h 465602"/>
                <a:gd name="connsiteX67" fmla="*/ 407194 w 514605"/>
                <a:gd name="connsiteY67" fmla="*/ 427501 h 465602"/>
                <a:gd name="connsiteX68" fmla="*/ 402431 w 514605"/>
                <a:gd name="connsiteY68" fmla="*/ 444170 h 465602"/>
                <a:gd name="connsiteX69" fmla="*/ 397669 w 514605"/>
                <a:gd name="connsiteY69" fmla="*/ 451314 h 465602"/>
                <a:gd name="connsiteX70" fmla="*/ 392908 w 514605"/>
                <a:gd name="connsiteY70" fmla="*/ 465602 h 465602"/>
                <a:gd name="connsiteX71" fmla="*/ 385763 w 514605"/>
                <a:gd name="connsiteY71" fmla="*/ 446551 h 465602"/>
                <a:gd name="connsiteX72" fmla="*/ 369094 w 514605"/>
                <a:gd name="connsiteY72" fmla="*/ 437026 h 465602"/>
                <a:gd name="connsiteX73" fmla="*/ 361950 w 514605"/>
                <a:gd name="connsiteY73" fmla="*/ 439407 h 465602"/>
                <a:gd name="connsiteX74" fmla="*/ 342900 w 514605"/>
                <a:gd name="connsiteY74" fmla="*/ 432263 h 465602"/>
                <a:gd name="connsiteX75" fmla="*/ 328613 w 514605"/>
                <a:gd name="connsiteY75" fmla="*/ 425120 h 465602"/>
                <a:gd name="connsiteX76" fmla="*/ 321469 w 514605"/>
                <a:gd name="connsiteY76" fmla="*/ 422739 h 465602"/>
                <a:gd name="connsiteX77" fmla="*/ 314325 w 514605"/>
                <a:gd name="connsiteY77" fmla="*/ 415595 h 465602"/>
                <a:gd name="connsiteX78" fmla="*/ 283370 w 514605"/>
                <a:gd name="connsiteY78" fmla="*/ 406070 h 465602"/>
                <a:gd name="connsiteX79" fmla="*/ 290513 w 514605"/>
                <a:gd name="connsiteY79" fmla="*/ 417976 h 465602"/>
                <a:gd name="connsiteX80" fmla="*/ 292893 w 514605"/>
                <a:gd name="connsiteY80" fmla="*/ 408452 h 465602"/>
                <a:gd name="connsiteX81" fmla="*/ 295275 w 514605"/>
                <a:gd name="connsiteY81" fmla="*/ 401307 h 465602"/>
                <a:gd name="connsiteX82" fmla="*/ 283369 w 514605"/>
                <a:gd name="connsiteY82" fmla="*/ 389401 h 465602"/>
                <a:gd name="connsiteX83" fmla="*/ 273844 w 514605"/>
                <a:gd name="connsiteY83" fmla="*/ 377495 h 465602"/>
                <a:gd name="connsiteX84" fmla="*/ 266700 w 514605"/>
                <a:gd name="connsiteY84" fmla="*/ 370351 h 465602"/>
                <a:gd name="connsiteX85" fmla="*/ 250031 w 514605"/>
                <a:gd name="connsiteY85" fmla="*/ 358445 h 465602"/>
                <a:gd name="connsiteX86" fmla="*/ 233363 w 514605"/>
                <a:gd name="connsiteY86" fmla="*/ 346539 h 465602"/>
                <a:gd name="connsiteX87" fmla="*/ 226219 w 514605"/>
                <a:gd name="connsiteY87" fmla="*/ 322726 h 465602"/>
                <a:gd name="connsiteX88" fmla="*/ 221456 w 514605"/>
                <a:gd name="connsiteY88" fmla="*/ 308439 h 465602"/>
                <a:gd name="connsiteX89" fmla="*/ 204788 w 514605"/>
                <a:gd name="connsiteY89" fmla="*/ 306057 h 465602"/>
                <a:gd name="connsiteX90" fmla="*/ 183356 w 514605"/>
                <a:gd name="connsiteY90" fmla="*/ 294151 h 465602"/>
                <a:gd name="connsiteX91" fmla="*/ 169069 w 514605"/>
                <a:gd name="connsiteY91" fmla="*/ 279864 h 465602"/>
                <a:gd name="connsiteX92" fmla="*/ 161925 w 514605"/>
                <a:gd name="connsiteY92" fmla="*/ 272720 h 465602"/>
                <a:gd name="connsiteX93" fmla="*/ 154781 w 514605"/>
                <a:gd name="connsiteY93" fmla="*/ 267957 h 465602"/>
                <a:gd name="connsiteX94" fmla="*/ 145256 w 514605"/>
                <a:gd name="connsiteY94" fmla="*/ 253670 h 465602"/>
                <a:gd name="connsiteX95" fmla="*/ 135731 w 514605"/>
                <a:gd name="connsiteY95" fmla="*/ 239382 h 465602"/>
                <a:gd name="connsiteX96" fmla="*/ 130969 w 514605"/>
                <a:gd name="connsiteY96" fmla="*/ 232239 h 465602"/>
                <a:gd name="connsiteX97" fmla="*/ 128588 w 514605"/>
                <a:gd name="connsiteY97" fmla="*/ 225095 h 465602"/>
                <a:gd name="connsiteX98" fmla="*/ 119063 w 514605"/>
                <a:gd name="connsiteY98" fmla="*/ 210807 h 465602"/>
                <a:gd name="connsiteX99" fmla="*/ 88106 w 514605"/>
                <a:gd name="connsiteY99" fmla="*/ 213189 h 465602"/>
                <a:gd name="connsiteX100" fmla="*/ 80963 w 514605"/>
                <a:gd name="connsiteY100" fmla="*/ 179851 h 465602"/>
                <a:gd name="connsiteX101" fmla="*/ 76200 w 514605"/>
                <a:gd name="connsiteY101" fmla="*/ 172707 h 465602"/>
                <a:gd name="connsiteX102" fmla="*/ 71438 w 514605"/>
                <a:gd name="connsiteY102" fmla="*/ 158420 h 465602"/>
                <a:gd name="connsiteX103" fmla="*/ 69056 w 514605"/>
                <a:gd name="connsiteY103" fmla="*/ 151276 h 465602"/>
                <a:gd name="connsiteX104" fmla="*/ 54769 w 514605"/>
                <a:gd name="connsiteY104" fmla="*/ 136989 h 465602"/>
                <a:gd name="connsiteX105" fmla="*/ 52388 w 514605"/>
                <a:gd name="connsiteY105" fmla="*/ 129845 h 465602"/>
                <a:gd name="connsiteX106" fmla="*/ 26194 w 514605"/>
                <a:gd name="connsiteY106" fmla="*/ 113176 h 465602"/>
                <a:gd name="connsiteX107" fmla="*/ 2381 w 514605"/>
                <a:gd name="connsiteY107" fmla="*/ 101270 h 465602"/>
                <a:gd name="connsiteX108" fmla="*/ 4763 w 514605"/>
                <a:gd name="connsiteY108" fmla="*/ 72695 h 465602"/>
                <a:gd name="connsiteX109" fmla="*/ 0 w 514605"/>
                <a:gd name="connsiteY109" fmla="*/ 34595 h 465602"/>
                <a:gd name="connsiteX110" fmla="*/ 2381 w 514605"/>
                <a:gd name="connsiteY110" fmla="*/ 20307 h 465602"/>
                <a:gd name="connsiteX111" fmla="*/ 9525 w 514605"/>
                <a:gd name="connsiteY111" fmla="*/ 17926 h 465602"/>
                <a:gd name="connsiteX112" fmla="*/ 19050 w 514605"/>
                <a:gd name="connsiteY112" fmla="*/ 15545 h 465602"/>
                <a:gd name="connsiteX113" fmla="*/ 26194 w 514605"/>
                <a:gd name="connsiteY113" fmla="*/ 17926 h 465602"/>
                <a:gd name="connsiteX114" fmla="*/ 33338 w 514605"/>
                <a:gd name="connsiteY114" fmla="*/ 8401 h 465602"/>
                <a:gd name="connsiteX115" fmla="*/ 30957 w 514605"/>
                <a:gd name="connsiteY115" fmla="*/ 6020 h 465602"/>
                <a:gd name="connsiteX116" fmla="*/ 42863 w 514605"/>
                <a:gd name="connsiteY116" fmla="*/ 25069 h 465602"/>
                <a:gd name="connsiteX117" fmla="*/ 52388 w 514605"/>
                <a:gd name="connsiteY117" fmla="*/ 32213 h 465602"/>
                <a:gd name="connsiteX118" fmla="*/ 61913 w 514605"/>
                <a:gd name="connsiteY118" fmla="*/ 39358 h 465602"/>
                <a:gd name="connsiteX119" fmla="*/ 73819 w 514605"/>
                <a:gd name="connsiteY119" fmla="*/ 46501 h 465602"/>
                <a:gd name="connsiteX120" fmla="*/ 90488 w 514605"/>
                <a:gd name="connsiteY120" fmla="*/ 44120 h 465602"/>
                <a:gd name="connsiteX121" fmla="*/ 92869 w 514605"/>
                <a:gd name="connsiteY121" fmla="*/ 15545 h 465602"/>
                <a:gd name="connsiteX122" fmla="*/ 107156 w 514605"/>
                <a:gd name="connsiteY122" fmla="*/ 10782 h 465602"/>
                <a:gd name="connsiteX123" fmla="*/ 121444 w 514605"/>
                <a:gd name="connsiteY123" fmla="*/ 8401 h 465602"/>
                <a:gd name="connsiteX124" fmla="*/ 142875 w 514605"/>
                <a:gd name="connsiteY124" fmla="*/ 6020 h 465602"/>
                <a:gd name="connsiteX125" fmla="*/ 147638 w 514605"/>
                <a:gd name="connsiteY125" fmla="*/ 6020 h 465602"/>
                <a:gd name="connsiteX0" fmla="*/ 147638 w 514605"/>
                <a:gd name="connsiteY0" fmla="*/ 6020 h 465602"/>
                <a:gd name="connsiteX1" fmla="*/ 161925 w 514605"/>
                <a:gd name="connsiteY1" fmla="*/ 3639 h 465602"/>
                <a:gd name="connsiteX2" fmla="*/ 169069 w 514605"/>
                <a:gd name="connsiteY2" fmla="*/ 8401 h 465602"/>
                <a:gd name="connsiteX3" fmla="*/ 204788 w 514605"/>
                <a:gd name="connsiteY3" fmla="*/ 6020 h 465602"/>
                <a:gd name="connsiteX4" fmla="*/ 219075 w 514605"/>
                <a:gd name="connsiteY4" fmla="*/ 6020 h 465602"/>
                <a:gd name="connsiteX5" fmla="*/ 223838 w 514605"/>
                <a:gd name="connsiteY5" fmla="*/ 13164 h 465602"/>
                <a:gd name="connsiteX6" fmla="*/ 230981 w 514605"/>
                <a:gd name="connsiteY6" fmla="*/ 15545 h 465602"/>
                <a:gd name="connsiteX7" fmla="*/ 250031 w 514605"/>
                <a:gd name="connsiteY7" fmla="*/ 10782 h 465602"/>
                <a:gd name="connsiteX8" fmla="*/ 280988 w 514605"/>
                <a:gd name="connsiteY8" fmla="*/ 10782 h 465602"/>
                <a:gd name="connsiteX9" fmla="*/ 288131 w 514605"/>
                <a:gd name="connsiteY9" fmla="*/ 6020 h 465602"/>
                <a:gd name="connsiteX10" fmla="*/ 292894 w 514605"/>
                <a:gd name="connsiteY10" fmla="*/ 13164 h 465602"/>
                <a:gd name="connsiteX11" fmla="*/ 300038 w 514605"/>
                <a:gd name="connsiteY11" fmla="*/ 10782 h 465602"/>
                <a:gd name="connsiteX12" fmla="*/ 316706 w 514605"/>
                <a:gd name="connsiteY12" fmla="*/ 6020 h 465602"/>
                <a:gd name="connsiteX13" fmla="*/ 321469 w 514605"/>
                <a:gd name="connsiteY13" fmla="*/ 13164 h 465602"/>
                <a:gd name="connsiteX14" fmla="*/ 328613 w 514605"/>
                <a:gd name="connsiteY14" fmla="*/ 8401 h 465602"/>
                <a:gd name="connsiteX15" fmla="*/ 335756 w 514605"/>
                <a:gd name="connsiteY15" fmla="*/ 13164 h 465602"/>
                <a:gd name="connsiteX16" fmla="*/ 354806 w 514605"/>
                <a:gd name="connsiteY16" fmla="*/ 17926 h 465602"/>
                <a:gd name="connsiteX17" fmla="*/ 357188 w 514605"/>
                <a:gd name="connsiteY17" fmla="*/ 25070 h 465602"/>
                <a:gd name="connsiteX18" fmla="*/ 364331 w 514605"/>
                <a:gd name="connsiteY18" fmla="*/ 20307 h 465602"/>
                <a:gd name="connsiteX19" fmla="*/ 376238 w 514605"/>
                <a:gd name="connsiteY19" fmla="*/ 8401 h 465602"/>
                <a:gd name="connsiteX20" fmla="*/ 385763 w 514605"/>
                <a:gd name="connsiteY20" fmla="*/ 22689 h 465602"/>
                <a:gd name="connsiteX21" fmla="*/ 397669 w 514605"/>
                <a:gd name="connsiteY21" fmla="*/ 41739 h 465602"/>
                <a:gd name="connsiteX22" fmla="*/ 404813 w 514605"/>
                <a:gd name="connsiteY22" fmla="*/ 39357 h 465602"/>
                <a:gd name="connsiteX23" fmla="*/ 411956 w 514605"/>
                <a:gd name="connsiteY23" fmla="*/ 34595 h 465602"/>
                <a:gd name="connsiteX24" fmla="*/ 419100 w 514605"/>
                <a:gd name="connsiteY24" fmla="*/ 36976 h 465602"/>
                <a:gd name="connsiteX25" fmla="*/ 428625 w 514605"/>
                <a:gd name="connsiteY25" fmla="*/ 34595 h 465602"/>
                <a:gd name="connsiteX26" fmla="*/ 435769 w 514605"/>
                <a:gd name="connsiteY26" fmla="*/ 29832 h 465602"/>
                <a:gd name="connsiteX27" fmla="*/ 454819 w 514605"/>
                <a:gd name="connsiteY27" fmla="*/ 32214 h 465602"/>
                <a:gd name="connsiteX28" fmla="*/ 469106 w 514605"/>
                <a:gd name="connsiteY28" fmla="*/ 41739 h 465602"/>
                <a:gd name="connsiteX29" fmla="*/ 461963 w 514605"/>
                <a:gd name="connsiteY29" fmla="*/ 60789 h 465602"/>
                <a:gd name="connsiteX30" fmla="*/ 457200 w 514605"/>
                <a:gd name="connsiteY30" fmla="*/ 75076 h 465602"/>
                <a:gd name="connsiteX31" fmla="*/ 454819 w 514605"/>
                <a:gd name="connsiteY31" fmla="*/ 82220 h 465602"/>
                <a:gd name="connsiteX32" fmla="*/ 452438 w 514605"/>
                <a:gd name="connsiteY32" fmla="*/ 113176 h 465602"/>
                <a:gd name="connsiteX33" fmla="*/ 452438 w 514605"/>
                <a:gd name="connsiteY33" fmla="*/ 141751 h 465602"/>
                <a:gd name="connsiteX34" fmla="*/ 459581 w 514605"/>
                <a:gd name="connsiteY34" fmla="*/ 146514 h 465602"/>
                <a:gd name="connsiteX35" fmla="*/ 476250 w 514605"/>
                <a:gd name="connsiteY35" fmla="*/ 146514 h 465602"/>
                <a:gd name="connsiteX36" fmla="*/ 485775 w 514605"/>
                <a:gd name="connsiteY36" fmla="*/ 158420 h 465602"/>
                <a:gd name="connsiteX37" fmla="*/ 500063 w 514605"/>
                <a:gd name="connsiteY37" fmla="*/ 160801 h 465602"/>
                <a:gd name="connsiteX38" fmla="*/ 507206 w 514605"/>
                <a:gd name="connsiteY38" fmla="*/ 170326 h 465602"/>
                <a:gd name="connsiteX39" fmla="*/ 514350 w 514605"/>
                <a:gd name="connsiteY39" fmla="*/ 177470 h 465602"/>
                <a:gd name="connsiteX40" fmla="*/ 511969 w 514605"/>
                <a:gd name="connsiteY40" fmla="*/ 184614 h 465602"/>
                <a:gd name="connsiteX41" fmla="*/ 497681 w 514605"/>
                <a:gd name="connsiteY41" fmla="*/ 189376 h 465602"/>
                <a:gd name="connsiteX42" fmla="*/ 481013 w 514605"/>
                <a:gd name="connsiteY42" fmla="*/ 194139 h 465602"/>
                <a:gd name="connsiteX43" fmla="*/ 490538 w 514605"/>
                <a:gd name="connsiteY43" fmla="*/ 206045 h 465602"/>
                <a:gd name="connsiteX44" fmla="*/ 497681 w 514605"/>
                <a:gd name="connsiteY44" fmla="*/ 232239 h 465602"/>
                <a:gd name="connsiteX45" fmla="*/ 504825 w 514605"/>
                <a:gd name="connsiteY45" fmla="*/ 239382 h 465602"/>
                <a:gd name="connsiteX46" fmla="*/ 504825 w 514605"/>
                <a:gd name="connsiteY46" fmla="*/ 258432 h 465602"/>
                <a:gd name="connsiteX47" fmla="*/ 497681 w 514605"/>
                <a:gd name="connsiteY47" fmla="*/ 260814 h 465602"/>
                <a:gd name="connsiteX48" fmla="*/ 490538 w 514605"/>
                <a:gd name="connsiteY48" fmla="*/ 267957 h 465602"/>
                <a:gd name="connsiteX49" fmla="*/ 459581 w 514605"/>
                <a:gd name="connsiteY49" fmla="*/ 272720 h 465602"/>
                <a:gd name="connsiteX50" fmla="*/ 445294 w 514605"/>
                <a:gd name="connsiteY50" fmla="*/ 277482 h 465602"/>
                <a:gd name="connsiteX51" fmla="*/ 457200 w 514605"/>
                <a:gd name="connsiteY51" fmla="*/ 291770 h 465602"/>
                <a:gd name="connsiteX52" fmla="*/ 459581 w 514605"/>
                <a:gd name="connsiteY52" fmla="*/ 298914 h 465602"/>
                <a:gd name="connsiteX53" fmla="*/ 471488 w 514605"/>
                <a:gd name="connsiteY53" fmla="*/ 320345 h 465602"/>
                <a:gd name="connsiteX54" fmla="*/ 469106 w 514605"/>
                <a:gd name="connsiteY54" fmla="*/ 327489 h 465602"/>
                <a:gd name="connsiteX55" fmla="*/ 454819 w 514605"/>
                <a:gd name="connsiteY55" fmla="*/ 317964 h 465602"/>
                <a:gd name="connsiteX56" fmla="*/ 445294 w 514605"/>
                <a:gd name="connsiteY56" fmla="*/ 320345 h 465602"/>
                <a:gd name="connsiteX57" fmla="*/ 421481 w 514605"/>
                <a:gd name="connsiteY57" fmla="*/ 327489 h 465602"/>
                <a:gd name="connsiteX58" fmla="*/ 421481 w 514605"/>
                <a:gd name="connsiteY58" fmla="*/ 344157 h 465602"/>
                <a:gd name="connsiteX59" fmla="*/ 419100 w 514605"/>
                <a:gd name="connsiteY59" fmla="*/ 363207 h 465602"/>
                <a:gd name="connsiteX60" fmla="*/ 416719 w 514605"/>
                <a:gd name="connsiteY60" fmla="*/ 375114 h 465602"/>
                <a:gd name="connsiteX61" fmla="*/ 407194 w 514605"/>
                <a:gd name="connsiteY61" fmla="*/ 377495 h 465602"/>
                <a:gd name="connsiteX62" fmla="*/ 402431 w 514605"/>
                <a:gd name="connsiteY62" fmla="*/ 384639 h 465602"/>
                <a:gd name="connsiteX63" fmla="*/ 395288 w 514605"/>
                <a:gd name="connsiteY63" fmla="*/ 391782 h 465602"/>
                <a:gd name="connsiteX64" fmla="*/ 392906 w 514605"/>
                <a:gd name="connsiteY64" fmla="*/ 398926 h 465602"/>
                <a:gd name="connsiteX65" fmla="*/ 397669 w 514605"/>
                <a:gd name="connsiteY65" fmla="*/ 413214 h 465602"/>
                <a:gd name="connsiteX66" fmla="*/ 400050 w 514605"/>
                <a:gd name="connsiteY66" fmla="*/ 420357 h 465602"/>
                <a:gd name="connsiteX67" fmla="*/ 407194 w 514605"/>
                <a:gd name="connsiteY67" fmla="*/ 427501 h 465602"/>
                <a:gd name="connsiteX68" fmla="*/ 402431 w 514605"/>
                <a:gd name="connsiteY68" fmla="*/ 444170 h 465602"/>
                <a:gd name="connsiteX69" fmla="*/ 397669 w 514605"/>
                <a:gd name="connsiteY69" fmla="*/ 451314 h 465602"/>
                <a:gd name="connsiteX70" fmla="*/ 392908 w 514605"/>
                <a:gd name="connsiteY70" fmla="*/ 465602 h 465602"/>
                <a:gd name="connsiteX71" fmla="*/ 385763 w 514605"/>
                <a:gd name="connsiteY71" fmla="*/ 446551 h 465602"/>
                <a:gd name="connsiteX72" fmla="*/ 369094 w 514605"/>
                <a:gd name="connsiteY72" fmla="*/ 437026 h 465602"/>
                <a:gd name="connsiteX73" fmla="*/ 361950 w 514605"/>
                <a:gd name="connsiteY73" fmla="*/ 439407 h 465602"/>
                <a:gd name="connsiteX74" fmla="*/ 342900 w 514605"/>
                <a:gd name="connsiteY74" fmla="*/ 432263 h 465602"/>
                <a:gd name="connsiteX75" fmla="*/ 328613 w 514605"/>
                <a:gd name="connsiteY75" fmla="*/ 425120 h 465602"/>
                <a:gd name="connsiteX76" fmla="*/ 321469 w 514605"/>
                <a:gd name="connsiteY76" fmla="*/ 422739 h 465602"/>
                <a:gd name="connsiteX77" fmla="*/ 314325 w 514605"/>
                <a:gd name="connsiteY77" fmla="*/ 415595 h 465602"/>
                <a:gd name="connsiteX78" fmla="*/ 283370 w 514605"/>
                <a:gd name="connsiteY78" fmla="*/ 406070 h 465602"/>
                <a:gd name="connsiteX79" fmla="*/ 290513 w 514605"/>
                <a:gd name="connsiteY79" fmla="*/ 417976 h 465602"/>
                <a:gd name="connsiteX80" fmla="*/ 292893 w 514605"/>
                <a:gd name="connsiteY80" fmla="*/ 408452 h 465602"/>
                <a:gd name="connsiteX81" fmla="*/ 295275 w 514605"/>
                <a:gd name="connsiteY81" fmla="*/ 401307 h 465602"/>
                <a:gd name="connsiteX82" fmla="*/ 283369 w 514605"/>
                <a:gd name="connsiteY82" fmla="*/ 389401 h 465602"/>
                <a:gd name="connsiteX83" fmla="*/ 273844 w 514605"/>
                <a:gd name="connsiteY83" fmla="*/ 377495 h 465602"/>
                <a:gd name="connsiteX84" fmla="*/ 266700 w 514605"/>
                <a:gd name="connsiteY84" fmla="*/ 370351 h 465602"/>
                <a:gd name="connsiteX85" fmla="*/ 250031 w 514605"/>
                <a:gd name="connsiteY85" fmla="*/ 358445 h 465602"/>
                <a:gd name="connsiteX86" fmla="*/ 233363 w 514605"/>
                <a:gd name="connsiteY86" fmla="*/ 346539 h 465602"/>
                <a:gd name="connsiteX87" fmla="*/ 226219 w 514605"/>
                <a:gd name="connsiteY87" fmla="*/ 322726 h 465602"/>
                <a:gd name="connsiteX88" fmla="*/ 221456 w 514605"/>
                <a:gd name="connsiteY88" fmla="*/ 308439 h 465602"/>
                <a:gd name="connsiteX89" fmla="*/ 204788 w 514605"/>
                <a:gd name="connsiteY89" fmla="*/ 306057 h 465602"/>
                <a:gd name="connsiteX90" fmla="*/ 183356 w 514605"/>
                <a:gd name="connsiteY90" fmla="*/ 294151 h 465602"/>
                <a:gd name="connsiteX91" fmla="*/ 169069 w 514605"/>
                <a:gd name="connsiteY91" fmla="*/ 279864 h 465602"/>
                <a:gd name="connsiteX92" fmla="*/ 161925 w 514605"/>
                <a:gd name="connsiteY92" fmla="*/ 272720 h 465602"/>
                <a:gd name="connsiteX93" fmla="*/ 154781 w 514605"/>
                <a:gd name="connsiteY93" fmla="*/ 267957 h 465602"/>
                <a:gd name="connsiteX94" fmla="*/ 145256 w 514605"/>
                <a:gd name="connsiteY94" fmla="*/ 253670 h 465602"/>
                <a:gd name="connsiteX95" fmla="*/ 135731 w 514605"/>
                <a:gd name="connsiteY95" fmla="*/ 239382 h 465602"/>
                <a:gd name="connsiteX96" fmla="*/ 130969 w 514605"/>
                <a:gd name="connsiteY96" fmla="*/ 232239 h 465602"/>
                <a:gd name="connsiteX97" fmla="*/ 128588 w 514605"/>
                <a:gd name="connsiteY97" fmla="*/ 225095 h 465602"/>
                <a:gd name="connsiteX98" fmla="*/ 119063 w 514605"/>
                <a:gd name="connsiteY98" fmla="*/ 210807 h 465602"/>
                <a:gd name="connsiteX99" fmla="*/ 88106 w 514605"/>
                <a:gd name="connsiteY99" fmla="*/ 213189 h 465602"/>
                <a:gd name="connsiteX100" fmla="*/ 80963 w 514605"/>
                <a:gd name="connsiteY100" fmla="*/ 179851 h 465602"/>
                <a:gd name="connsiteX101" fmla="*/ 76200 w 514605"/>
                <a:gd name="connsiteY101" fmla="*/ 172707 h 465602"/>
                <a:gd name="connsiteX102" fmla="*/ 71438 w 514605"/>
                <a:gd name="connsiteY102" fmla="*/ 158420 h 465602"/>
                <a:gd name="connsiteX103" fmla="*/ 69056 w 514605"/>
                <a:gd name="connsiteY103" fmla="*/ 151276 h 465602"/>
                <a:gd name="connsiteX104" fmla="*/ 54769 w 514605"/>
                <a:gd name="connsiteY104" fmla="*/ 136989 h 465602"/>
                <a:gd name="connsiteX105" fmla="*/ 52388 w 514605"/>
                <a:gd name="connsiteY105" fmla="*/ 129845 h 465602"/>
                <a:gd name="connsiteX106" fmla="*/ 26194 w 514605"/>
                <a:gd name="connsiteY106" fmla="*/ 113176 h 465602"/>
                <a:gd name="connsiteX107" fmla="*/ 2381 w 514605"/>
                <a:gd name="connsiteY107" fmla="*/ 101270 h 465602"/>
                <a:gd name="connsiteX108" fmla="*/ 4763 w 514605"/>
                <a:gd name="connsiteY108" fmla="*/ 72695 h 465602"/>
                <a:gd name="connsiteX109" fmla="*/ 0 w 514605"/>
                <a:gd name="connsiteY109" fmla="*/ 34595 h 465602"/>
                <a:gd name="connsiteX110" fmla="*/ 2381 w 514605"/>
                <a:gd name="connsiteY110" fmla="*/ 20307 h 465602"/>
                <a:gd name="connsiteX111" fmla="*/ 9525 w 514605"/>
                <a:gd name="connsiteY111" fmla="*/ 17926 h 465602"/>
                <a:gd name="connsiteX112" fmla="*/ 19050 w 514605"/>
                <a:gd name="connsiteY112" fmla="*/ 15545 h 465602"/>
                <a:gd name="connsiteX113" fmla="*/ 26194 w 514605"/>
                <a:gd name="connsiteY113" fmla="*/ 17926 h 465602"/>
                <a:gd name="connsiteX114" fmla="*/ 33338 w 514605"/>
                <a:gd name="connsiteY114" fmla="*/ 8401 h 465602"/>
                <a:gd name="connsiteX115" fmla="*/ 30957 w 514605"/>
                <a:gd name="connsiteY115" fmla="*/ 6020 h 465602"/>
                <a:gd name="connsiteX116" fmla="*/ 47626 w 514605"/>
                <a:gd name="connsiteY116" fmla="*/ 20307 h 465602"/>
                <a:gd name="connsiteX117" fmla="*/ 52388 w 514605"/>
                <a:gd name="connsiteY117" fmla="*/ 32213 h 465602"/>
                <a:gd name="connsiteX118" fmla="*/ 61913 w 514605"/>
                <a:gd name="connsiteY118" fmla="*/ 39358 h 465602"/>
                <a:gd name="connsiteX119" fmla="*/ 73819 w 514605"/>
                <a:gd name="connsiteY119" fmla="*/ 46501 h 465602"/>
                <a:gd name="connsiteX120" fmla="*/ 90488 w 514605"/>
                <a:gd name="connsiteY120" fmla="*/ 44120 h 465602"/>
                <a:gd name="connsiteX121" fmla="*/ 92869 w 514605"/>
                <a:gd name="connsiteY121" fmla="*/ 15545 h 465602"/>
                <a:gd name="connsiteX122" fmla="*/ 107156 w 514605"/>
                <a:gd name="connsiteY122" fmla="*/ 10782 h 465602"/>
                <a:gd name="connsiteX123" fmla="*/ 121444 w 514605"/>
                <a:gd name="connsiteY123" fmla="*/ 8401 h 465602"/>
                <a:gd name="connsiteX124" fmla="*/ 142875 w 514605"/>
                <a:gd name="connsiteY124" fmla="*/ 6020 h 465602"/>
                <a:gd name="connsiteX125" fmla="*/ 147638 w 514605"/>
                <a:gd name="connsiteY125" fmla="*/ 6020 h 465602"/>
                <a:gd name="connsiteX0" fmla="*/ 147638 w 514605"/>
                <a:gd name="connsiteY0" fmla="*/ 6020 h 465602"/>
                <a:gd name="connsiteX1" fmla="*/ 161925 w 514605"/>
                <a:gd name="connsiteY1" fmla="*/ 3639 h 465602"/>
                <a:gd name="connsiteX2" fmla="*/ 169069 w 514605"/>
                <a:gd name="connsiteY2" fmla="*/ 8401 h 465602"/>
                <a:gd name="connsiteX3" fmla="*/ 204788 w 514605"/>
                <a:gd name="connsiteY3" fmla="*/ 6020 h 465602"/>
                <a:gd name="connsiteX4" fmla="*/ 219075 w 514605"/>
                <a:gd name="connsiteY4" fmla="*/ 6020 h 465602"/>
                <a:gd name="connsiteX5" fmla="*/ 223838 w 514605"/>
                <a:gd name="connsiteY5" fmla="*/ 13164 h 465602"/>
                <a:gd name="connsiteX6" fmla="*/ 230981 w 514605"/>
                <a:gd name="connsiteY6" fmla="*/ 15545 h 465602"/>
                <a:gd name="connsiteX7" fmla="*/ 250031 w 514605"/>
                <a:gd name="connsiteY7" fmla="*/ 10782 h 465602"/>
                <a:gd name="connsiteX8" fmla="*/ 280988 w 514605"/>
                <a:gd name="connsiteY8" fmla="*/ 10782 h 465602"/>
                <a:gd name="connsiteX9" fmla="*/ 288131 w 514605"/>
                <a:gd name="connsiteY9" fmla="*/ 6020 h 465602"/>
                <a:gd name="connsiteX10" fmla="*/ 292894 w 514605"/>
                <a:gd name="connsiteY10" fmla="*/ 13164 h 465602"/>
                <a:gd name="connsiteX11" fmla="*/ 300038 w 514605"/>
                <a:gd name="connsiteY11" fmla="*/ 10782 h 465602"/>
                <a:gd name="connsiteX12" fmla="*/ 316706 w 514605"/>
                <a:gd name="connsiteY12" fmla="*/ 6020 h 465602"/>
                <a:gd name="connsiteX13" fmla="*/ 321469 w 514605"/>
                <a:gd name="connsiteY13" fmla="*/ 13164 h 465602"/>
                <a:gd name="connsiteX14" fmla="*/ 328613 w 514605"/>
                <a:gd name="connsiteY14" fmla="*/ 8401 h 465602"/>
                <a:gd name="connsiteX15" fmla="*/ 335756 w 514605"/>
                <a:gd name="connsiteY15" fmla="*/ 13164 h 465602"/>
                <a:gd name="connsiteX16" fmla="*/ 354806 w 514605"/>
                <a:gd name="connsiteY16" fmla="*/ 17926 h 465602"/>
                <a:gd name="connsiteX17" fmla="*/ 357188 w 514605"/>
                <a:gd name="connsiteY17" fmla="*/ 25070 h 465602"/>
                <a:gd name="connsiteX18" fmla="*/ 364331 w 514605"/>
                <a:gd name="connsiteY18" fmla="*/ 20307 h 465602"/>
                <a:gd name="connsiteX19" fmla="*/ 376238 w 514605"/>
                <a:gd name="connsiteY19" fmla="*/ 8401 h 465602"/>
                <a:gd name="connsiteX20" fmla="*/ 385763 w 514605"/>
                <a:gd name="connsiteY20" fmla="*/ 22689 h 465602"/>
                <a:gd name="connsiteX21" fmla="*/ 397669 w 514605"/>
                <a:gd name="connsiteY21" fmla="*/ 41739 h 465602"/>
                <a:gd name="connsiteX22" fmla="*/ 404813 w 514605"/>
                <a:gd name="connsiteY22" fmla="*/ 39357 h 465602"/>
                <a:gd name="connsiteX23" fmla="*/ 411956 w 514605"/>
                <a:gd name="connsiteY23" fmla="*/ 34595 h 465602"/>
                <a:gd name="connsiteX24" fmla="*/ 419100 w 514605"/>
                <a:gd name="connsiteY24" fmla="*/ 36976 h 465602"/>
                <a:gd name="connsiteX25" fmla="*/ 428625 w 514605"/>
                <a:gd name="connsiteY25" fmla="*/ 34595 h 465602"/>
                <a:gd name="connsiteX26" fmla="*/ 435769 w 514605"/>
                <a:gd name="connsiteY26" fmla="*/ 29832 h 465602"/>
                <a:gd name="connsiteX27" fmla="*/ 454819 w 514605"/>
                <a:gd name="connsiteY27" fmla="*/ 32214 h 465602"/>
                <a:gd name="connsiteX28" fmla="*/ 469106 w 514605"/>
                <a:gd name="connsiteY28" fmla="*/ 41739 h 465602"/>
                <a:gd name="connsiteX29" fmla="*/ 461963 w 514605"/>
                <a:gd name="connsiteY29" fmla="*/ 60789 h 465602"/>
                <a:gd name="connsiteX30" fmla="*/ 457200 w 514605"/>
                <a:gd name="connsiteY30" fmla="*/ 75076 h 465602"/>
                <a:gd name="connsiteX31" fmla="*/ 454819 w 514605"/>
                <a:gd name="connsiteY31" fmla="*/ 82220 h 465602"/>
                <a:gd name="connsiteX32" fmla="*/ 452438 w 514605"/>
                <a:gd name="connsiteY32" fmla="*/ 113176 h 465602"/>
                <a:gd name="connsiteX33" fmla="*/ 452438 w 514605"/>
                <a:gd name="connsiteY33" fmla="*/ 141751 h 465602"/>
                <a:gd name="connsiteX34" fmla="*/ 459581 w 514605"/>
                <a:gd name="connsiteY34" fmla="*/ 146514 h 465602"/>
                <a:gd name="connsiteX35" fmla="*/ 476250 w 514605"/>
                <a:gd name="connsiteY35" fmla="*/ 146514 h 465602"/>
                <a:gd name="connsiteX36" fmla="*/ 485775 w 514605"/>
                <a:gd name="connsiteY36" fmla="*/ 158420 h 465602"/>
                <a:gd name="connsiteX37" fmla="*/ 500063 w 514605"/>
                <a:gd name="connsiteY37" fmla="*/ 160801 h 465602"/>
                <a:gd name="connsiteX38" fmla="*/ 507206 w 514605"/>
                <a:gd name="connsiteY38" fmla="*/ 170326 h 465602"/>
                <a:gd name="connsiteX39" fmla="*/ 514350 w 514605"/>
                <a:gd name="connsiteY39" fmla="*/ 177470 h 465602"/>
                <a:gd name="connsiteX40" fmla="*/ 511969 w 514605"/>
                <a:gd name="connsiteY40" fmla="*/ 184614 h 465602"/>
                <a:gd name="connsiteX41" fmla="*/ 497681 w 514605"/>
                <a:gd name="connsiteY41" fmla="*/ 189376 h 465602"/>
                <a:gd name="connsiteX42" fmla="*/ 481013 w 514605"/>
                <a:gd name="connsiteY42" fmla="*/ 194139 h 465602"/>
                <a:gd name="connsiteX43" fmla="*/ 490538 w 514605"/>
                <a:gd name="connsiteY43" fmla="*/ 206045 h 465602"/>
                <a:gd name="connsiteX44" fmla="*/ 497681 w 514605"/>
                <a:gd name="connsiteY44" fmla="*/ 232239 h 465602"/>
                <a:gd name="connsiteX45" fmla="*/ 504825 w 514605"/>
                <a:gd name="connsiteY45" fmla="*/ 239382 h 465602"/>
                <a:gd name="connsiteX46" fmla="*/ 504825 w 514605"/>
                <a:gd name="connsiteY46" fmla="*/ 258432 h 465602"/>
                <a:gd name="connsiteX47" fmla="*/ 497681 w 514605"/>
                <a:gd name="connsiteY47" fmla="*/ 260814 h 465602"/>
                <a:gd name="connsiteX48" fmla="*/ 490538 w 514605"/>
                <a:gd name="connsiteY48" fmla="*/ 267957 h 465602"/>
                <a:gd name="connsiteX49" fmla="*/ 459581 w 514605"/>
                <a:gd name="connsiteY49" fmla="*/ 272720 h 465602"/>
                <a:gd name="connsiteX50" fmla="*/ 445294 w 514605"/>
                <a:gd name="connsiteY50" fmla="*/ 277482 h 465602"/>
                <a:gd name="connsiteX51" fmla="*/ 457200 w 514605"/>
                <a:gd name="connsiteY51" fmla="*/ 291770 h 465602"/>
                <a:gd name="connsiteX52" fmla="*/ 459581 w 514605"/>
                <a:gd name="connsiteY52" fmla="*/ 298914 h 465602"/>
                <a:gd name="connsiteX53" fmla="*/ 471488 w 514605"/>
                <a:gd name="connsiteY53" fmla="*/ 320345 h 465602"/>
                <a:gd name="connsiteX54" fmla="*/ 469106 w 514605"/>
                <a:gd name="connsiteY54" fmla="*/ 327489 h 465602"/>
                <a:gd name="connsiteX55" fmla="*/ 454819 w 514605"/>
                <a:gd name="connsiteY55" fmla="*/ 317964 h 465602"/>
                <a:gd name="connsiteX56" fmla="*/ 445294 w 514605"/>
                <a:gd name="connsiteY56" fmla="*/ 320345 h 465602"/>
                <a:gd name="connsiteX57" fmla="*/ 421481 w 514605"/>
                <a:gd name="connsiteY57" fmla="*/ 327489 h 465602"/>
                <a:gd name="connsiteX58" fmla="*/ 421481 w 514605"/>
                <a:gd name="connsiteY58" fmla="*/ 344157 h 465602"/>
                <a:gd name="connsiteX59" fmla="*/ 419100 w 514605"/>
                <a:gd name="connsiteY59" fmla="*/ 363207 h 465602"/>
                <a:gd name="connsiteX60" fmla="*/ 416719 w 514605"/>
                <a:gd name="connsiteY60" fmla="*/ 375114 h 465602"/>
                <a:gd name="connsiteX61" fmla="*/ 407194 w 514605"/>
                <a:gd name="connsiteY61" fmla="*/ 377495 h 465602"/>
                <a:gd name="connsiteX62" fmla="*/ 402431 w 514605"/>
                <a:gd name="connsiteY62" fmla="*/ 384639 h 465602"/>
                <a:gd name="connsiteX63" fmla="*/ 395288 w 514605"/>
                <a:gd name="connsiteY63" fmla="*/ 391782 h 465602"/>
                <a:gd name="connsiteX64" fmla="*/ 392906 w 514605"/>
                <a:gd name="connsiteY64" fmla="*/ 398926 h 465602"/>
                <a:gd name="connsiteX65" fmla="*/ 397669 w 514605"/>
                <a:gd name="connsiteY65" fmla="*/ 413214 h 465602"/>
                <a:gd name="connsiteX66" fmla="*/ 400050 w 514605"/>
                <a:gd name="connsiteY66" fmla="*/ 420357 h 465602"/>
                <a:gd name="connsiteX67" fmla="*/ 407194 w 514605"/>
                <a:gd name="connsiteY67" fmla="*/ 427501 h 465602"/>
                <a:gd name="connsiteX68" fmla="*/ 426243 w 514605"/>
                <a:gd name="connsiteY68" fmla="*/ 451314 h 465602"/>
                <a:gd name="connsiteX69" fmla="*/ 397669 w 514605"/>
                <a:gd name="connsiteY69" fmla="*/ 451314 h 465602"/>
                <a:gd name="connsiteX70" fmla="*/ 392908 w 514605"/>
                <a:gd name="connsiteY70" fmla="*/ 465602 h 465602"/>
                <a:gd name="connsiteX71" fmla="*/ 385763 w 514605"/>
                <a:gd name="connsiteY71" fmla="*/ 446551 h 465602"/>
                <a:gd name="connsiteX72" fmla="*/ 369094 w 514605"/>
                <a:gd name="connsiteY72" fmla="*/ 437026 h 465602"/>
                <a:gd name="connsiteX73" fmla="*/ 361950 w 514605"/>
                <a:gd name="connsiteY73" fmla="*/ 439407 h 465602"/>
                <a:gd name="connsiteX74" fmla="*/ 342900 w 514605"/>
                <a:gd name="connsiteY74" fmla="*/ 432263 h 465602"/>
                <a:gd name="connsiteX75" fmla="*/ 328613 w 514605"/>
                <a:gd name="connsiteY75" fmla="*/ 425120 h 465602"/>
                <a:gd name="connsiteX76" fmla="*/ 321469 w 514605"/>
                <a:gd name="connsiteY76" fmla="*/ 422739 h 465602"/>
                <a:gd name="connsiteX77" fmla="*/ 314325 w 514605"/>
                <a:gd name="connsiteY77" fmla="*/ 415595 h 465602"/>
                <a:gd name="connsiteX78" fmla="*/ 283370 w 514605"/>
                <a:gd name="connsiteY78" fmla="*/ 406070 h 465602"/>
                <a:gd name="connsiteX79" fmla="*/ 290513 w 514605"/>
                <a:gd name="connsiteY79" fmla="*/ 417976 h 465602"/>
                <a:gd name="connsiteX80" fmla="*/ 292893 w 514605"/>
                <a:gd name="connsiteY80" fmla="*/ 408452 h 465602"/>
                <a:gd name="connsiteX81" fmla="*/ 295275 w 514605"/>
                <a:gd name="connsiteY81" fmla="*/ 401307 h 465602"/>
                <a:gd name="connsiteX82" fmla="*/ 283369 w 514605"/>
                <a:gd name="connsiteY82" fmla="*/ 389401 h 465602"/>
                <a:gd name="connsiteX83" fmla="*/ 273844 w 514605"/>
                <a:gd name="connsiteY83" fmla="*/ 377495 h 465602"/>
                <a:gd name="connsiteX84" fmla="*/ 266700 w 514605"/>
                <a:gd name="connsiteY84" fmla="*/ 370351 h 465602"/>
                <a:gd name="connsiteX85" fmla="*/ 250031 w 514605"/>
                <a:gd name="connsiteY85" fmla="*/ 358445 h 465602"/>
                <a:gd name="connsiteX86" fmla="*/ 233363 w 514605"/>
                <a:gd name="connsiteY86" fmla="*/ 346539 h 465602"/>
                <a:gd name="connsiteX87" fmla="*/ 226219 w 514605"/>
                <a:gd name="connsiteY87" fmla="*/ 322726 h 465602"/>
                <a:gd name="connsiteX88" fmla="*/ 221456 w 514605"/>
                <a:gd name="connsiteY88" fmla="*/ 308439 h 465602"/>
                <a:gd name="connsiteX89" fmla="*/ 204788 w 514605"/>
                <a:gd name="connsiteY89" fmla="*/ 306057 h 465602"/>
                <a:gd name="connsiteX90" fmla="*/ 183356 w 514605"/>
                <a:gd name="connsiteY90" fmla="*/ 294151 h 465602"/>
                <a:gd name="connsiteX91" fmla="*/ 169069 w 514605"/>
                <a:gd name="connsiteY91" fmla="*/ 279864 h 465602"/>
                <a:gd name="connsiteX92" fmla="*/ 161925 w 514605"/>
                <a:gd name="connsiteY92" fmla="*/ 272720 h 465602"/>
                <a:gd name="connsiteX93" fmla="*/ 154781 w 514605"/>
                <a:gd name="connsiteY93" fmla="*/ 267957 h 465602"/>
                <a:gd name="connsiteX94" fmla="*/ 145256 w 514605"/>
                <a:gd name="connsiteY94" fmla="*/ 253670 h 465602"/>
                <a:gd name="connsiteX95" fmla="*/ 135731 w 514605"/>
                <a:gd name="connsiteY95" fmla="*/ 239382 h 465602"/>
                <a:gd name="connsiteX96" fmla="*/ 130969 w 514605"/>
                <a:gd name="connsiteY96" fmla="*/ 232239 h 465602"/>
                <a:gd name="connsiteX97" fmla="*/ 128588 w 514605"/>
                <a:gd name="connsiteY97" fmla="*/ 225095 h 465602"/>
                <a:gd name="connsiteX98" fmla="*/ 119063 w 514605"/>
                <a:gd name="connsiteY98" fmla="*/ 210807 h 465602"/>
                <a:gd name="connsiteX99" fmla="*/ 88106 w 514605"/>
                <a:gd name="connsiteY99" fmla="*/ 213189 h 465602"/>
                <a:gd name="connsiteX100" fmla="*/ 80963 w 514605"/>
                <a:gd name="connsiteY100" fmla="*/ 179851 h 465602"/>
                <a:gd name="connsiteX101" fmla="*/ 76200 w 514605"/>
                <a:gd name="connsiteY101" fmla="*/ 172707 h 465602"/>
                <a:gd name="connsiteX102" fmla="*/ 71438 w 514605"/>
                <a:gd name="connsiteY102" fmla="*/ 158420 h 465602"/>
                <a:gd name="connsiteX103" fmla="*/ 69056 w 514605"/>
                <a:gd name="connsiteY103" fmla="*/ 151276 h 465602"/>
                <a:gd name="connsiteX104" fmla="*/ 54769 w 514605"/>
                <a:gd name="connsiteY104" fmla="*/ 136989 h 465602"/>
                <a:gd name="connsiteX105" fmla="*/ 52388 w 514605"/>
                <a:gd name="connsiteY105" fmla="*/ 129845 h 465602"/>
                <a:gd name="connsiteX106" fmla="*/ 26194 w 514605"/>
                <a:gd name="connsiteY106" fmla="*/ 113176 h 465602"/>
                <a:gd name="connsiteX107" fmla="*/ 2381 w 514605"/>
                <a:gd name="connsiteY107" fmla="*/ 101270 h 465602"/>
                <a:gd name="connsiteX108" fmla="*/ 4763 w 514605"/>
                <a:gd name="connsiteY108" fmla="*/ 72695 h 465602"/>
                <a:gd name="connsiteX109" fmla="*/ 0 w 514605"/>
                <a:gd name="connsiteY109" fmla="*/ 34595 h 465602"/>
                <a:gd name="connsiteX110" fmla="*/ 2381 w 514605"/>
                <a:gd name="connsiteY110" fmla="*/ 20307 h 465602"/>
                <a:gd name="connsiteX111" fmla="*/ 9525 w 514605"/>
                <a:gd name="connsiteY111" fmla="*/ 17926 h 465602"/>
                <a:gd name="connsiteX112" fmla="*/ 19050 w 514605"/>
                <a:gd name="connsiteY112" fmla="*/ 15545 h 465602"/>
                <a:gd name="connsiteX113" fmla="*/ 26194 w 514605"/>
                <a:gd name="connsiteY113" fmla="*/ 17926 h 465602"/>
                <a:gd name="connsiteX114" fmla="*/ 33338 w 514605"/>
                <a:gd name="connsiteY114" fmla="*/ 8401 h 465602"/>
                <a:gd name="connsiteX115" fmla="*/ 30957 w 514605"/>
                <a:gd name="connsiteY115" fmla="*/ 6020 h 465602"/>
                <a:gd name="connsiteX116" fmla="*/ 47626 w 514605"/>
                <a:gd name="connsiteY116" fmla="*/ 20307 h 465602"/>
                <a:gd name="connsiteX117" fmla="*/ 52388 w 514605"/>
                <a:gd name="connsiteY117" fmla="*/ 32213 h 465602"/>
                <a:gd name="connsiteX118" fmla="*/ 61913 w 514605"/>
                <a:gd name="connsiteY118" fmla="*/ 39358 h 465602"/>
                <a:gd name="connsiteX119" fmla="*/ 73819 w 514605"/>
                <a:gd name="connsiteY119" fmla="*/ 46501 h 465602"/>
                <a:gd name="connsiteX120" fmla="*/ 90488 w 514605"/>
                <a:gd name="connsiteY120" fmla="*/ 44120 h 465602"/>
                <a:gd name="connsiteX121" fmla="*/ 92869 w 514605"/>
                <a:gd name="connsiteY121" fmla="*/ 15545 h 465602"/>
                <a:gd name="connsiteX122" fmla="*/ 107156 w 514605"/>
                <a:gd name="connsiteY122" fmla="*/ 10782 h 465602"/>
                <a:gd name="connsiteX123" fmla="*/ 121444 w 514605"/>
                <a:gd name="connsiteY123" fmla="*/ 8401 h 465602"/>
                <a:gd name="connsiteX124" fmla="*/ 142875 w 514605"/>
                <a:gd name="connsiteY124" fmla="*/ 6020 h 465602"/>
                <a:gd name="connsiteX125" fmla="*/ 147638 w 514605"/>
                <a:gd name="connsiteY125" fmla="*/ 6020 h 465602"/>
                <a:gd name="connsiteX0" fmla="*/ 147638 w 514605"/>
                <a:gd name="connsiteY0" fmla="*/ 6020 h 467983"/>
                <a:gd name="connsiteX1" fmla="*/ 161925 w 514605"/>
                <a:gd name="connsiteY1" fmla="*/ 3639 h 467983"/>
                <a:gd name="connsiteX2" fmla="*/ 169069 w 514605"/>
                <a:gd name="connsiteY2" fmla="*/ 8401 h 467983"/>
                <a:gd name="connsiteX3" fmla="*/ 204788 w 514605"/>
                <a:gd name="connsiteY3" fmla="*/ 6020 h 467983"/>
                <a:gd name="connsiteX4" fmla="*/ 219075 w 514605"/>
                <a:gd name="connsiteY4" fmla="*/ 6020 h 467983"/>
                <a:gd name="connsiteX5" fmla="*/ 223838 w 514605"/>
                <a:gd name="connsiteY5" fmla="*/ 13164 h 467983"/>
                <a:gd name="connsiteX6" fmla="*/ 230981 w 514605"/>
                <a:gd name="connsiteY6" fmla="*/ 15545 h 467983"/>
                <a:gd name="connsiteX7" fmla="*/ 250031 w 514605"/>
                <a:gd name="connsiteY7" fmla="*/ 10782 h 467983"/>
                <a:gd name="connsiteX8" fmla="*/ 280988 w 514605"/>
                <a:gd name="connsiteY8" fmla="*/ 10782 h 467983"/>
                <a:gd name="connsiteX9" fmla="*/ 288131 w 514605"/>
                <a:gd name="connsiteY9" fmla="*/ 6020 h 467983"/>
                <a:gd name="connsiteX10" fmla="*/ 292894 w 514605"/>
                <a:gd name="connsiteY10" fmla="*/ 13164 h 467983"/>
                <a:gd name="connsiteX11" fmla="*/ 300038 w 514605"/>
                <a:gd name="connsiteY11" fmla="*/ 10782 h 467983"/>
                <a:gd name="connsiteX12" fmla="*/ 316706 w 514605"/>
                <a:gd name="connsiteY12" fmla="*/ 6020 h 467983"/>
                <a:gd name="connsiteX13" fmla="*/ 321469 w 514605"/>
                <a:gd name="connsiteY13" fmla="*/ 13164 h 467983"/>
                <a:gd name="connsiteX14" fmla="*/ 328613 w 514605"/>
                <a:gd name="connsiteY14" fmla="*/ 8401 h 467983"/>
                <a:gd name="connsiteX15" fmla="*/ 335756 w 514605"/>
                <a:gd name="connsiteY15" fmla="*/ 13164 h 467983"/>
                <a:gd name="connsiteX16" fmla="*/ 354806 w 514605"/>
                <a:gd name="connsiteY16" fmla="*/ 17926 h 467983"/>
                <a:gd name="connsiteX17" fmla="*/ 357188 w 514605"/>
                <a:gd name="connsiteY17" fmla="*/ 25070 h 467983"/>
                <a:gd name="connsiteX18" fmla="*/ 364331 w 514605"/>
                <a:gd name="connsiteY18" fmla="*/ 20307 h 467983"/>
                <a:gd name="connsiteX19" fmla="*/ 376238 w 514605"/>
                <a:gd name="connsiteY19" fmla="*/ 8401 h 467983"/>
                <a:gd name="connsiteX20" fmla="*/ 385763 w 514605"/>
                <a:gd name="connsiteY20" fmla="*/ 22689 h 467983"/>
                <a:gd name="connsiteX21" fmla="*/ 397669 w 514605"/>
                <a:gd name="connsiteY21" fmla="*/ 41739 h 467983"/>
                <a:gd name="connsiteX22" fmla="*/ 404813 w 514605"/>
                <a:gd name="connsiteY22" fmla="*/ 39357 h 467983"/>
                <a:gd name="connsiteX23" fmla="*/ 411956 w 514605"/>
                <a:gd name="connsiteY23" fmla="*/ 34595 h 467983"/>
                <a:gd name="connsiteX24" fmla="*/ 419100 w 514605"/>
                <a:gd name="connsiteY24" fmla="*/ 36976 h 467983"/>
                <a:gd name="connsiteX25" fmla="*/ 428625 w 514605"/>
                <a:gd name="connsiteY25" fmla="*/ 34595 h 467983"/>
                <a:gd name="connsiteX26" fmla="*/ 435769 w 514605"/>
                <a:gd name="connsiteY26" fmla="*/ 29832 h 467983"/>
                <a:gd name="connsiteX27" fmla="*/ 454819 w 514605"/>
                <a:gd name="connsiteY27" fmla="*/ 32214 h 467983"/>
                <a:gd name="connsiteX28" fmla="*/ 469106 w 514605"/>
                <a:gd name="connsiteY28" fmla="*/ 41739 h 467983"/>
                <a:gd name="connsiteX29" fmla="*/ 461963 w 514605"/>
                <a:gd name="connsiteY29" fmla="*/ 60789 h 467983"/>
                <a:gd name="connsiteX30" fmla="*/ 457200 w 514605"/>
                <a:gd name="connsiteY30" fmla="*/ 75076 h 467983"/>
                <a:gd name="connsiteX31" fmla="*/ 454819 w 514605"/>
                <a:gd name="connsiteY31" fmla="*/ 82220 h 467983"/>
                <a:gd name="connsiteX32" fmla="*/ 452438 w 514605"/>
                <a:gd name="connsiteY32" fmla="*/ 113176 h 467983"/>
                <a:gd name="connsiteX33" fmla="*/ 452438 w 514605"/>
                <a:gd name="connsiteY33" fmla="*/ 141751 h 467983"/>
                <a:gd name="connsiteX34" fmla="*/ 459581 w 514605"/>
                <a:gd name="connsiteY34" fmla="*/ 146514 h 467983"/>
                <a:gd name="connsiteX35" fmla="*/ 476250 w 514605"/>
                <a:gd name="connsiteY35" fmla="*/ 146514 h 467983"/>
                <a:gd name="connsiteX36" fmla="*/ 485775 w 514605"/>
                <a:gd name="connsiteY36" fmla="*/ 158420 h 467983"/>
                <a:gd name="connsiteX37" fmla="*/ 500063 w 514605"/>
                <a:gd name="connsiteY37" fmla="*/ 160801 h 467983"/>
                <a:gd name="connsiteX38" fmla="*/ 507206 w 514605"/>
                <a:gd name="connsiteY38" fmla="*/ 170326 h 467983"/>
                <a:gd name="connsiteX39" fmla="*/ 514350 w 514605"/>
                <a:gd name="connsiteY39" fmla="*/ 177470 h 467983"/>
                <a:gd name="connsiteX40" fmla="*/ 511969 w 514605"/>
                <a:gd name="connsiteY40" fmla="*/ 184614 h 467983"/>
                <a:gd name="connsiteX41" fmla="*/ 497681 w 514605"/>
                <a:gd name="connsiteY41" fmla="*/ 189376 h 467983"/>
                <a:gd name="connsiteX42" fmla="*/ 481013 w 514605"/>
                <a:gd name="connsiteY42" fmla="*/ 194139 h 467983"/>
                <a:gd name="connsiteX43" fmla="*/ 490538 w 514605"/>
                <a:gd name="connsiteY43" fmla="*/ 206045 h 467983"/>
                <a:gd name="connsiteX44" fmla="*/ 497681 w 514605"/>
                <a:gd name="connsiteY44" fmla="*/ 232239 h 467983"/>
                <a:gd name="connsiteX45" fmla="*/ 504825 w 514605"/>
                <a:gd name="connsiteY45" fmla="*/ 239382 h 467983"/>
                <a:gd name="connsiteX46" fmla="*/ 504825 w 514605"/>
                <a:gd name="connsiteY46" fmla="*/ 258432 h 467983"/>
                <a:gd name="connsiteX47" fmla="*/ 497681 w 514605"/>
                <a:gd name="connsiteY47" fmla="*/ 260814 h 467983"/>
                <a:gd name="connsiteX48" fmla="*/ 490538 w 514605"/>
                <a:gd name="connsiteY48" fmla="*/ 267957 h 467983"/>
                <a:gd name="connsiteX49" fmla="*/ 459581 w 514605"/>
                <a:gd name="connsiteY49" fmla="*/ 272720 h 467983"/>
                <a:gd name="connsiteX50" fmla="*/ 445294 w 514605"/>
                <a:gd name="connsiteY50" fmla="*/ 277482 h 467983"/>
                <a:gd name="connsiteX51" fmla="*/ 457200 w 514605"/>
                <a:gd name="connsiteY51" fmla="*/ 291770 h 467983"/>
                <a:gd name="connsiteX52" fmla="*/ 459581 w 514605"/>
                <a:gd name="connsiteY52" fmla="*/ 298914 h 467983"/>
                <a:gd name="connsiteX53" fmla="*/ 471488 w 514605"/>
                <a:gd name="connsiteY53" fmla="*/ 320345 h 467983"/>
                <a:gd name="connsiteX54" fmla="*/ 469106 w 514605"/>
                <a:gd name="connsiteY54" fmla="*/ 327489 h 467983"/>
                <a:gd name="connsiteX55" fmla="*/ 454819 w 514605"/>
                <a:gd name="connsiteY55" fmla="*/ 317964 h 467983"/>
                <a:gd name="connsiteX56" fmla="*/ 445294 w 514605"/>
                <a:gd name="connsiteY56" fmla="*/ 320345 h 467983"/>
                <a:gd name="connsiteX57" fmla="*/ 421481 w 514605"/>
                <a:gd name="connsiteY57" fmla="*/ 327489 h 467983"/>
                <a:gd name="connsiteX58" fmla="*/ 421481 w 514605"/>
                <a:gd name="connsiteY58" fmla="*/ 344157 h 467983"/>
                <a:gd name="connsiteX59" fmla="*/ 419100 w 514605"/>
                <a:gd name="connsiteY59" fmla="*/ 363207 h 467983"/>
                <a:gd name="connsiteX60" fmla="*/ 416719 w 514605"/>
                <a:gd name="connsiteY60" fmla="*/ 375114 h 467983"/>
                <a:gd name="connsiteX61" fmla="*/ 407194 w 514605"/>
                <a:gd name="connsiteY61" fmla="*/ 377495 h 467983"/>
                <a:gd name="connsiteX62" fmla="*/ 402431 w 514605"/>
                <a:gd name="connsiteY62" fmla="*/ 384639 h 467983"/>
                <a:gd name="connsiteX63" fmla="*/ 395288 w 514605"/>
                <a:gd name="connsiteY63" fmla="*/ 391782 h 467983"/>
                <a:gd name="connsiteX64" fmla="*/ 392906 w 514605"/>
                <a:gd name="connsiteY64" fmla="*/ 398926 h 467983"/>
                <a:gd name="connsiteX65" fmla="*/ 397669 w 514605"/>
                <a:gd name="connsiteY65" fmla="*/ 413214 h 467983"/>
                <a:gd name="connsiteX66" fmla="*/ 400050 w 514605"/>
                <a:gd name="connsiteY66" fmla="*/ 420357 h 467983"/>
                <a:gd name="connsiteX67" fmla="*/ 407194 w 514605"/>
                <a:gd name="connsiteY67" fmla="*/ 427501 h 467983"/>
                <a:gd name="connsiteX68" fmla="*/ 426243 w 514605"/>
                <a:gd name="connsiteY68" fmla="*/ 451314 h 467983"/>
                <a:gd name="connsiteX69" fmla="*/ 397669 w 514605"/>
                <a:gd name="connsiteY69" fmla="*/ 451314 h 467983"/>
                <a:gd name="connsiteX70" fmla="*/ 404815 w 514605"/>
                <a:gd name="connsiteY70" fmla="*/ 467983 h 467983"/>
                <a:gd name="connsiteX71" fmla="*/ 385763 w 514605"/>
                <a:gd name="connsiteY71" fmla="*/ 446551 h 467983"/>
                <a:gd name="connsiteX72" fmla="*/ 369094 w 514605"/>
                <a:gd name="connsiteY72" fmla="*/ 437026 h 467983"/>
                <a:gd name="connsiteX73" fmla="*/ 361950 w 514605"/>
                <a:gd name="connsiteY73" fmla="*/ 439407 h 467983"/>
                <a:gd name="connsiteX74" fmla="*/ 342900 w 514605"/>
                <a:gd name="connsiteY74" fmla="*/ 432263 h 467983"/>
                <a:gd name="connsiteX75" fmla="*/ 328613 w 514605"/>
                <a:gd name="connsiteY75" fmla="*/ 425120 h 467983"/>
                <a:gd name="connsiteX76" fmla="*/ 321469 w 514605"/>
                <a:gd name="connsiteY76" fmla="*/ 422739 h 467983"/>
                <a:gd name="connsiteX77" fmla="*/ 314325 w 514605"/>
                <a:gd name="connsiteY77" fmla="*/ 415595 h 467983"/>
                <a:gd name="connsiteX78" fmla="*/ 283370 w 514605"/>
                <a:gd name="connsiteY78" fmla="*/ 406070 h 467983"/>
                <a:gd name="connsiteX79" fmla="*/ 290513 w 514605"/>
                <a:gd name="connsiteY79" fmla="*/ 417976 h 467983"/>
                <a:gd name="connsiteX80" fmla="*/ 292893 w 514605"/>
                <a:gd name="connsiteY80" fmla="*/ 408452 h 467983"/>
                <a:gd name="connsiteX81" fmla="*/ 295275 w 514605"/>
                <a:gd name="connsiteY81" fmla="*/ 401307 h 467983"/>
                <a:gd name="connsiteX82" fmla="*/ 283369 w 514605"/>
                <a:gd name="connsiteY82" fmla="*/ 389401 h 467983"/>
                <a:gd name="connsiteX83" fmla="*/ 273844 w 514605"/>
                <a:gd name="connsiteY83" fmla="*/ 377495 h 467983"/>
                <a:gd name="connsiteX84" fmla="*/ 266700 w 514605"/>
                <a:gd name="connsiteY84" fmla="*/ 370351 h 467983"/>
                <a:gd name="connsiteX85" fmla="*/ 250031 w 514605"/>
                <a:gd name="connsiteY85" fmla="*/ 358445 h 467983"/>
                <a:gd name="connsiteX86" fmla="*/ 233363 w 514605"/>
                <a:gd name="connsiteY86" fmla="*/ 346539 h 467983"/>
                <a:gd name="connsiteX87" fmla="*/ 226219 w 514605"/>
                <a:gd name="connsiteY87" fmla="*/ 322726 h 467983"/>
                <a:gd name="connsiteX88" fmla="*/ 221456 w 514605"/>
                <a:gd name="connsiteY88" fmla="*/ 308439 h 467983"/>
                <a:gd name="connsiteX89" fmla="*/ 204788 w 514605"/>
                <a:gd name="connsiteY89" fmla="*/ 306057 h 467983"/>
                <a:gd name="connsiteX90" fmla="*/ 183356 w 514605"/>
                <a:gd name="connsiteY90" fmla="*/ 294151 h 467983"/>
                <a:gd name="connsiteX91" fmla="*/ 169069 w 514605"/>
                <a:gd name="connsiteY91" fmla="*/ 279864 h 467983"/>
                <a:gd name="connsiteX92" fmla="*/ 161925 w 514605"/>
                <a:gd name="connsiteY92" fmla="*/ 272720 h 467983"/>
                <a:gd name="connsiteX93" fmla="*/ 154781 w 514605"/>
                <a:gd name="connsiteY93" fmla="*/ 267957 h 467983"/>
                <a:gd name="connsiteX94" fmla="*/ 145256 w 514605"/>
                <a:gd name="connsiteY94" fmla="*/ 253670 h 467983"/>
                <a:gd name="connsiteX95" fmla="*/ 135731 w 514605"/>
                <a:gd name="connsiteY95" fmla="*/ 239382 h 467983"/>
                <a:gd name="connsiteX96" fmla="*/ 130969 w 514605"/>
                <a:gd name="connsiteY96" fmla="*/ 232239 h 467983"/>
                <a:gd name="connsiteX97" fmla="*/ 128588 w 514605"/>
                <a:gd name="connsiteY97" fmla="*/ 225095 h 467983"/>
                <a:gd name="connsiteX98" fmla="*/ 119063 w 514605"/>
                <a:gd name="connsiteY98" fmla="*/ 210807 h 467983"/>
                <a:gd name="connsiteX99" fmla="*/ 88106 w 514605"/>
                <a:gd name="connsiteY99" fmla="*/ 213189 h 467983"/>
                <a:gd name="connsiteX100" fmla="*/ 80963 w 514605"/>
                <a:gd name="connsiteY100" fmla="*/ 179851 h 467983"/>
                <a:gd name="connsiteX101" fmla="*/ 76200 w 514605"/>
                <a:gd name="connsiteY101" fmla="*/ 172707 h 467983"/>
                <a:gd name="connsiteX102" fmla="*/ 71438 w 514605"/>
                <a:gd name="connsiteY102" fmla="*/ 158420 h 467983"/>
                <a:gd name="connsiteX103" fmla="*/ 69056 w 514605"/>
                <a:gd name="connsiteY103" fmla="*/ 151276 h 467983"/>
                <a:gd name="connsiteX104" fmla="*/ 54769 w 514605"/>
                <a:gd name="connsiteY104" fmla="*/ 136989 h 467983"/>
                <a:gd name="connsiteX105" fmla="*/ 52388 w 514605"/>
                <a:gd name="connsiteY105" fmla="*/ 129845 h 467983"/>
                <a:gd name="connsiteX106" fmla="*/ 26194 w 514605"/>
                <a:gd name="connsiteY106" fmla="*/ 113176 h 467983"/>
                <a:gd name="connsiteX107" fmla="*/ 2381 w 514605"/>
                <a:gd name="connsiteY107" fmla="*/ 101270 h 467983"/>
                <a:gd name="connsiteX108" fmla="*/ 4763 w 514605"/>
                <a:gd name="connsiteY108" fmla="*/ 72695 h 467983"/>
                <a:gd name="connsiteX109" fmla="*/ 0 w 514605"/>
                <a:gd name="connsiteY109" fmla="*/ 34595 h 467983"/>
                <a:gd name="connsiteX110" fmla="*/ 2381 w 514605"/>
                <a:gd name="connsiteY110" fmla="*/ 20307 h 467983"/>
                <a:gd name="connsiteX111" fmla="*/ 9525 w 514605"/>
                <a:gd name="connsiteY111" fmla="*/ 17926 h 467983"/>
                <a:gd name="connsiteX112" fmla="*/ 19050 w 514605"/>
                <a:gd name="connsiteY112" fmla="*/ 15545 h 467983"/>
                <a:gd name="connsiteX113" fmla="*/ 26194 w 514605"/>
                <a:gd name="connsiteY113" fmla="*/ 17926 h 467983"/>
                <a:gd name="connsiteX114" fmla="*/ 33338 w 514605"/>
                <a:gd name="connsiteY114" fmla="*/ 8401 h 467983"/>
                <a:gd name="connsiteX115" fmla="*/ 30957 w 514605"/>
                <a:gd name="connsiteY115" fmla="*/ 6020 h 467983"/>
                <a:gd name="connsiteX116" fmla="*/ 47626 w 514605"/>
                <a:gd name="connsiteY116" fmla="*/ 20307 h 467983"/>
                <a:gd name="connsiteX117" fmla="*/ 52388 w 514605"/>
                <a:gd name="connsiteY117" fmla="*/ 32213 h 467983"/>
                <a:gd name="connsiteX118" fmla="*/ 61913 w 514605"/>
                <a:gd name="connsiteY118" fmla="*/ 39358 h 467983"/>
                <a:gd name="connsiteX119" fmla="*/ 73819 w 514605"/>
                <a:gd name="connsiteY119" fmla="*/ 46501 h 467983"/>
                <a:gd name="connsiteX120" fmla="*/ 90488 w 514605"/>
                <a:gd name="connsiteY120" fmla="*/ 44120 h 467983"/>
                <a:gd name="connsiteX121" fmla="*/ 92869 w 514605"/>
                <a:gd name="connsiteY121" fmla="*/ 15545 h 467983"/>
                <a:gd name="connsiteX122" fmla="*/ 107156 w 514605"/>
                <a:gd name="connsiteY122" fmla="*/ 10782 h 467983"/>
                <a:gd name="connsiteX123" fmla="*/ 121444 w 514605"/>
                <a:gd name="connsiteY123" fmla="*/ 8401 h 467983"/>
                <a:gd name="connsiteX124" fmla="*/ 142875 w 514605"/>
                <a:gd name="connsiteY124" fmla="*/ 6020 h 467983"/>
                <a:gd name="connsiteX125" fmla="*/ 147638 w 514605"/>
                <a:gd name="connsiteY125" fmla="*/ 6020 h 467983"/>
                <a:gd name="connsiteX0" fmla="*/ 147638 w 514605"/>
                <a:gd name="connsiteY0" fmla="*/ 6020 h 467983"/>
                <a:gd name="connsiteX1" fmla="*/ 161925 w 514605"/>
                <a:gd name="connsiteY1" fmla="*/ 3639 h 467983"/>
                <a:gd name="connsiteX2" fmla="*/ 169069 w 514605"/>
                <a:gd name="connsiteY2" fmla="*/ 8401 h 467983"/>
                <a:gd name="connsiteX3" fmla="*/ 204788 w 514605"/>
                <a:gd name="connsiteY3" fmla="*/ 6020 h 467983"/>
                <a:gd name="connsiteX4" fmla="*/ 219075 w 514605"/>
                <a:gd name="connsiteY4" fmla="*/ 6020 h 467983"/>
                <a:gd name="connsiteX5" fmla="*/ 223838 w 514605"/>
                <a:gd name="connsiteY5" fmla="*/ 13164 h 467983"/>
                <a:gd name="connsiteX6" fmla="*/ 230981 w 514605"/>
                <a:gd name="connsiteY6" fmla="*/ 15545 h 467983"/>
                <a:gd name="connsiteX7" fmla="*/ 250031 w 514605"/>
                <a:gd name="connsiteY7" fmla="*/ 10782 h 467983"/>
                <a:gd name="connsiteX8" fmla="*/ 280988 w 514605"/>
                <a:gd name="connsiteY8" fmla="*/ 10782 h 467983"/>
                <a:gd name="connsiteX9" fmla="*/ 288131 w 514605"/>
                <a:gd name="connsiteY9" fmla="*/ 6020 h 467983"/>
                <a:gd name="connsiteX10" fmla="*/ 292894 w 514605"/>
                <a:gd name="connsiteY10" fmla="*/ 13164 h 467983"/>
                <a:gd name="connsiteX11" fmla="*/ 300038 w 514605"/>
                <a:gd name="connsiteY11" fmla="*/ 10782 h 467983"/>
                <a:gd name="connsiteX12" fmla="*/ 316706 w 514605"/>
                <a:gd name="connsiteY12" fmla="*/ 6020 h 467983"/>
                <a:gd name="connsiteX13" fmla="*/ 321469 w 514605"/>
                <a:gd name="connsiteY13" fmla="*/ 13164 h 467983"/>
                <a:gd name="connsiteX14" fmla="*/ 328613 w 514605"/>
                <a:gd name="connsiteY14" fmla="*/ 8401 h 467983"/>
                <a:gd name="connsiteX15" fmla="*/ 335756 w 514605"/>
                <a:gd name="connsiteY15" fmla="*/ 13164 h 467983"/>
                <a:gd name="connsiteX16" fmla="*/ 354806 w 514605"/>
                <a:gd name="connsiteY16" fmla="*/ 17926 h 467983"/>
                <a:gd name="connsiteX17" fmla="*/ 357188 w 514605"/>
                <a:gd name="connsiteY17" fmla="*/ 25070 h 467983"/>
                <a:gd name="connsiteX18" fmla="*/ 364331 w 514605"/>
                <a:gd name="connsiteY18" fmla="*/ 20307 h 467983"/>
                <a:gd name="connsiteX19" fmla="*/ 376238 w 514605"/>
                <a:gd name="connsiteY19" fmla="*/ 8401 h 467983"/>
                <a:gd name="connsiteX20" fmla="*/ 385763 w 514605"/>
                <a:gd name="connsiteY20" fmla="*/ 22689 h 467983"/>
                <a:gd name="connsiteX21" fmla="*/ 397669 w 514605"/>
                <a:gd name="connsiteY21" fmla="*/ 41739 h 467983"/>
                <a:gd name="connsiteX22" fmla="*/ 404813 w 514605"/>
                <a:gd name="connsiteY22" fmla="*/ 39357 h 467983"/>
                <a:gd name="connsiteX23" fmla="*/ 411956 w 514605"/>
                <a:gd name="connsiteY23" fmla="*/ 34595 h 467983"/>
                <a:gd name="connsiteX24" fmla="*/ 419100 w 514605"/>
                <a:gd name="connsiteY24" fmla="*/ 36976 h 467983"/>
                <a:gd name="connsiteX25" fmla="*/ 428625 w 514605"/>
                <a:gd name="connsiteY25" fmla="*/ 34595 h 467983"/>
                <a:gd name="connsiteX26" fmla="*/ 435769 w 514605"/>
                <a:gd name="connsiteY26" fmla="*/ 29832 h 467983"/>
                <a:gd name="connsiteX27" fmla="*/ 454819 w 514605"/>
                <a:gd name="connsiteY27" fmla="*/ 32214 h 467983"/>
                <a:gd name="connsiteX28" fmla="*/ 469106 w 514605"/>
                <a:gd name="connsiteY28" fmla="*/ 41739 h 467983"/>
                <a:gd name="connsiteX29" fmla="*/ 461963 w 514605"/>
                <a:gd name="connsiteY29" fmla="*/ 60789 h 467983"/>
                <a:gd name="connsiteX30" fmla="*/ 457200 w 514605"/>
                <a:gd name="connsiteY30" fmla="*/ 75076 h 467983"/>
                <a:gd name="connsiteX31" fmla="*/ 454819 w 514605"/>
                <a:gd name="connsiteY31" fmla="*/ 82220 h 467983"/>
                <a:gd name="connsiteX32" fmla="*/ 452438 w 514605"/>
                <a:gd name="connsiteY32" fmla="*/ 113176 h 467983"/>
                <a:gd name="connsiteX33" fmla="*/ 452438 w 514605"/>
                <a:gd name="connsiteY33" fmla="*/ 141751 h 467983"/>
                <a:gd name="connsiteX34" fmla="*/ 459581 w 514605"/>
                <a:gd name="connsiteY34" fmla="*/ 146514 h 467983"/>
                <a:gd name="connsiteX35" fmla="*/ 476250 w 514605"/>
                <a:gd name="connsiteY35" fmla="*/ 146514 h 467983"/>
                <a:gd name="connsiteX36" fmla="*/ 485775 w 514605"/>
                <a:gd name="connsiteY36" fmla="*/ 158420 h 467983"/>
                <a:gd name="connsiteX37" fmla="*/ 500063 w 514605"/>
                <a:gd name="connsiteY37" fmla="*/ 160801 h 467983"/>
                <a:gd name="connsiteX38" fmla="*/ 507206 w 514605"/>
                <a:gd name="connsiteY38" fmla="*/ 170326 h 467983"/>
                <a:gd name="connsiteX39" fmla="*/ 514350 w 514605"/>
                <a:gd name="connsiteY39" fmla="*/ 177470 h 467983"/>
                <a:gd name="connsiteX40" fmla="*/ 511969 w 514605"/>
                <a:gd name="connsiteY40" fmla="*/ 184614 h 467983"/>
                <a:gd name="connsiteX41" fmla="*/ 497681 w 514605"/>
                <a:gd name="connsiteY41" fmla="*/ 189376 h 467983"/>
                <a:gd name="connsiteX42" fmla="*/ 481013 w 514605"/>
                <a:gd name="connsiteY42" fmla="*/ 194139 h 467983"/>
                <a:gd name="connsiteX43" fmla="*/ 490538 w 514605"/>
                <a:gd name="connsiteY43" fmla="*/ 206045 h 467983"/>
                <a:gd name="connsiteX44" fmla="*/ 497681 w 514605"/>
                <a:gd name="connsiteY44" fmla="*/ 232239 h 467983"/>
                <a:gd name="connsiteX45" fmla="*/ 504825 w 514605"/>
                <a:gd name="connsiteY45" fmla="*/ 239382 h 467983"/>
                <a:gd name="connsiteX46" fmla="*/ 504825 w 514605"/>
                <a:gd name="connsiteY46" fmla="*/ 258432 h 467983"/>
                <a:gd name="connsiteX47" fmla="*/ 497681 w 514605"/>
                <a:gd name="connsiteY47" fmla="*/ 260814 h 467983"/>
                <a:gd name="connsiteX48" fmla="*/ 490538 w 514605"/>
                <a:gd name="connsiteY48" fmla="*/ 267957 h 467983"/>
                <a:gd name="connsiteX49" fmla="*/ 459581 w 514605"/>
                <a:gd name="connsiteY49" fmla="*/ 272720 h 467983"/>
                <a:gd name="connsiteX50" fmla="*/ 445294 w 514605"/>
                <a:gd name="connsiteY50" fmla="*/ 277482 h 467983"/>
                <a:gd name="connsiteX51" fmla="*/ 457200 w 514605"/>
                <a:gd name="connsiteY51" fmla="*/ 291770 h 467983"/>
                <a:gd name="connsiteX52" fmla="*/ 459581 w 514605"/>
                <a:gd name="connsiteY52" fmla="*/ 298914 h 467983"/>
                <a:gd name="connsiteX53" fmla="*/ 471488 w 514605"/>
                <a:gd name="connsiteY53" fmla="*/ 320345 h 467983"/>
                <a:gd name="connsiteX54" fmla="*/ 469106 w 514605"/>
                <a:gd name="connsiteY54" fmla="*/ 327489 h 467983"/>
                <a:gd name="connsiteX55" fmla="*/ 454819 w 514605"/>
                <a:gd name="connsiteY55" fmla="*/ 317964 h 467983"/>
                <a:gd name="connsiteX56" fmla="*/ 445294 w 514605"/>
                <a:gd name="connsiteY56" fmla="*/ 320345 h 467983"/>
                <a:gd name="connsiteX57" fmla="*/ 421481 w 514605"/>
                <a:gd name="connsiteY57" fmla="*/ 327489 h 467983"/>
                <a:gd name="connsiteX58" fmla="*/ 421481 w 514605"/>
                <a:gd name="connsiteY58" fmla="*/ 344157 h 467983"/>
                <a:gd name="connsiteX59" fmla="*/ 419100 w 514605"/>
                <a:gd name="connsiteY59" fmla="*/ 363207 h 467983"/>
                <a:gd name="connsiteX60" fmla="*/ 416719 w 514605"/>
                <a:gd name="connsiteY60" fmla="*/ 375114 h 467983"/>
                <a:gd name="connsiteX61" fmla="*/ 407194 w 514605"/>
                <a:gd name="connsiteY61" fmla="*/ 377495 h 467983"/>
                <a:gd name="connsiteX62" fmla="*/ 402431 w 514605"/>
                <a:gd name="connsiteY62" fmla="*/ 384639 h 467983"/>
                <a:gd name="connsiteX63" fmla="*/ 395288 w 514605"/>
                <a:gd name="connsiteY63" fmla="*/ 391782 h 467983"/>
                <a:gd name="connsiteX64" fmla="*/ 392906 w 514605"/>
                <a:gd name="connsiteY64" fmla="*/ 398926 h 467983"/>
                <a:gd name="connsiteX65" fmla="*/ 397669 w 514605"/>
                <a:gd name="connsiteY65" fmla="*/ 413214 h 467983"/>
                <a:gd name="connsiteX66" fmla="*/ 400050 w 514605"/>
                <a:gd name="connsiteY66" fmla="*/ 420357 h 467983"/>
                <a:gd name="connsiteX67" fmla="*/ 407194 w 514605"/>
                <a:gd name="connsiteY67" fmla="*/ 427501 h 467983"/>
                <a:gd name="connsiteX68" fmla="*/ 423862 w 514605"/>
                <a:gd name="connsiteY68" fmla="*/ 439408 h 467983"/>
                <a:gd name="connsiteX69" fmla="*/ 397669 w 514605"/>
                <a:gd name="connsiteY69" fmla="*/ 451314 h 467983"/>
                <a:gd name="connsiteX70" fmla="*/ 404815 w 514605"/>
                <a:gd name="connsiteY70" fmla="*/ 467983 h 467983"/>
                <a:gd name="connsiteX71" fmla="*/ 385763 w 514605"/>
                <a:gd name="connsiteY71" fmla="*/ 446551 h 467983"/>
                <a:gd name="connsiteX72" fmla="*/ 369094 w 514605"/>
                <a:gd name="connsiteY72" fmla="*/ 437026 h 467983"/>
                <a:gd name="connsiteX73" fmla="*/ 361950 w 514605"/>
                <a:gd name="connsiteY73" fmla="*/ 439407 h 467983"/>
                <a:gd name="connsiteX74" fmla="*/ 342900 w 514605"/>
                <a:gd name="connsiteY74" fmla="*/ 432263 h 467983"/>
                <a:gd name="connsiteX75" fmla="*/ 328613 w 514605"/>
                <a:gd name="connsiteY75" fmla="*/ 425120 h 467983"/>
                <a:gd name="connsiteX76" fmla="*/ 321469 w 514605"/>
                <a:gd name="connsiteY76" fmla="*/ 422739 h 467983"/>
                <a:gd name="connsiteX77" fmla="*/ 314325 w 514605"/>
                <a:gd name="connsiteY77" fmla="*/ 415595 h 467983"/>
                <a:gd name="connsiteX78" fmla="*/ 283370 w 514605"/>
                <a:gd name="connsiteY78" fmla="*/ 406070 h 467983"/>
                <a:gd name="connsiteX79" fmla="*/ 290513 w 514605"/>
                <a:gd name="connsiteY79" fmla="*/ 417976 h 467983"/>
                <a:gd name="connsiteX80" fmla="*/ 292893 w 514605"/>
                <a:gd name="connsiteY80" fmla="*/ 408452 h 467983"/>
                <a:gd name="connsiteX81" fmla="*/ 295275 w 514605"/>
                <a:gd name="connsiteY81" fmla="*/ 401307 h 467983"/>
                <a:gd name="connsiteX82" fmla="*/ 283369 w 514605"/>
                <a:gd name="connsiteY82" fmla="*/ 389401 h 467983"/>
                <a:gd name="connsiteX83" fmla="*/ 273844 w 514605"/>
                <a:gd name="connsiteY83" fmla="*/ 377495 h 467983"/>
                <a:gd name="connsiteX84" fmla="*/ 266700 w 514605"/>
                <a:gd name="connsiteY84" fmla="*/ 370351 h 467983"/>
                <a:gd name="connsiteX85" fmla="*/ 250031 w 514605"/>
                <a:gd name="connsiteY85" fmla="*/ 358445 h 467983"/>
                <a:gd name="connsiteX86" fmla="*/ 233363 w 514605"/>
                <a:gd name="connsiteY86" fmla="*/ 346539 h 467983"/>
                <a:gd name="connsiteX87" fmla="*/ 226219 w 514605"/>
                <a:gd name="connsiteY87" fmla="*/ 322726 h 467983"/>
                <a:gd name="connsiteX88" fmla="*/ 221456 w 514605"/>
                <a:gd name="connsiteY88" fmla="*/ 308439 h 467983"/>
                <a:gd name="connsiteX89" fmla="*/ 204788 w 514605"/>
                <a:gd name="connsiteY89" fmla="*/ 306057 h 467983"/>
                <a:gd name="connsiteX90" fmla="*/ 183356 w 514605"/>
                <a:gd name="connsiteY90" fmla="*/ 294151 h 467983"/>
                <a:gd name="connsiteX91" fmla="*/ 169069 w 514605"/>
                <a:gd name="connsiteY91" fmla="*/ 279864 h 467983"/>
                <a:gd name="connsiteX92" fmla="*/ 161925 w 514605"/>
                <a:gd name="connsiteY92" fmla="*/ 272720 h 467983"/>
                <a:gd name="connsiteX93" fmla="*/ 154781 w 514605"/>
                <a:gd name="connsiteY93" fmla="*/ 267957 h 467983"/>
                <a:gd name="connsiteX94" fmla="*/ 145256 w 514605"/>
                <a:gd name="connsiteY94" fmla="*/ 253670 h 467983"/>
                <a:gd name="connsiteX95" fmla="*/ 135731 w 514605"/>
                <a:gd name="connsiteY95" fmla="*/ 239382 h 467983"/>
                <a:gd name="connsiteX96" fmla="*/ 130969 w 514605"/>
                <a:gd name="connsiteY96" fmla="*/ 232239 h 467983"/>
                <a:gd name="connsiteX97" fmla="*/ 128588 w 514605"/>
                <a:gd name="connsiteY97" fmla="*/ 225095 h 467983"/>
                <a:gd name="connsiteX98" fmla="*/ 119063 w 514605"/>
                <a:gd name="connsiteY98" fmla="*/ 210807 h 467983"/>
                <a:gd name="connsiteX99" fmla="*/ 88106 w 514605"/>
                <a:gd name="connsiteY99" fmla="*/ 213189 h 467983"/>
                <a:gd name="connsiteX100" fmla="*/ 80963 w 514605"/>
                <a:gd name="connsiteY100" fmla="*/ 179851 h 467983"/>
                <a:gd name="connsiteX101" fmla="*/ 76200 w 514605"/>
                <a:gd name="connsiteY101" fmla="*/ 172707 h 467983"/>
                <a:gd name="connsiteX102" fmla="*/ 71438 w 514605"/>
                <a:gd name="connsiteY102" fmla="*/ 158420 h 467983"/>
                <a:gd name="connsiteX103" fmla="*/ 69056 w 514605"/>
                <a:gd name="connsiteY103" fmla="*/ 151276 h 467983"/>
                <a:gd name="connsiteX104" fmla="*/ 54769 w 514605"/>
                <a:gd name="connsiteY104" fmla="*/ 136989 h 467983"/>
                <a:gd name="connsiteX105" fmla="*/ 52388 w 514605"/>
                <a:gd name="connsiteY105" fmla="*/ 129845 h 467983"/>
                <a:gd name="connsiteX106" fmla="*/ 26194 w 514605"/>
                <a:gd name="connsiteY106" fmla="*/ 113176 h 467983"/>
                <a:gd name="connsiteX107" fmla="*/ 2381 w 514605"/>
                <a:gd name="connsiteY107" fmla="*/ 101270 h 467983"/>
                <a:gd name="connsiteX108" fmla="*/ 4763 w 514605"/>
                <a:gd name="connsiteY108" fmla="*/ 72695 h 467983"/>
                <a:gd name="connsiteX109" fmla="*/ 0 w 514605"/>
                <a:gd name="connsiteY109" fmla="*/ 34595 h 467983"/>
                <a:gd name="connsiteX110" fmla="*/ 2381 w 514605"/>
                <a:gd name="connsiteY110" fmla="*/ 20307 h 467983"/>
                <a:gd name="connsiteX111" fmla="*/ 9525 w 514605"/>
                <a:gd name="connsiteY111" fmla="*/ 17926 h 467983"/>
                <a:gd name="connsiteX112" fmla="*/ 19050 w 514605"/>
                <a:gd name="connsiteY112" fmla="*/ 15545 h 467983"/>
                <a:gd name="connsiteX113" fmla="*/ 26194 w 514605"/>
                <a:gd name="connsiteY113" fmla="*/ 17926 h 467983"/>
                <a:gd name="connsiteX114" fmla="*/ 33338 w 514605"/>
                <a:gd name="connsiteY114" fmla="*/ 8401 h 467983"/>
                <a:gd name="connsiteX115" fmla="*/ 30957 w 514605"/>
                <a:gd name="connsiteY115" fmla="*/ 6020 h 467983"/>
                <a:gd name="connsiteX116" fmla="*/ 47626 w 514605"/>
                <a:gd name="connsiteY116" fmla="*/ 20307 h 467983"/>
                <a:gd name="connsiteX117" fmla="*/ 52388 w 514605"/>
                <a:gd name="connsiteY117" fmla="*/ 32213 h 467983"/>
                <a:gd name="connsiteX118" fmla="*/ 61913 w 514605"/>
                <a:gd name="connsiteY118" fmla="*/ 39358 h 467983"/>
                <a:gd name="connsiteX119" fmla="*/ 73819 w 514605"/>
                <a:gd name="connsiteY119" fmla="*/ 46501 h 467983"/>
                <a:gd name="connsiteX120" fmla="*/ 90488 w 514605"/>
                <a:gd name="connsiteY120" fmla="*/ 44120 h 467983"/>
                <a:gd name="connsiteX121" fmla="*/ 92869 w 514605"/>
                <a:gd name="connsiteY121" fmla="*/ 15545 h 467983"/>
                <a:gd name="connsiteX122" fmla="*/ 107156 w 514605"/>
                <a:gd name="connsiteY122" fmla="*/ 10782 h 467983"/>
                <a:gd name="connsiteX123" fmla="*/ 121444 w 514605"/>
                <a:gd name="connsiteY123" fmla="*/ 8401 h 467983"/>
                <a:gd name="connsiteX124" fmla="*/ 142875 w 514605"/>
                <a:gd name="connsiteY124" fmla="*/ 6020 h 467983"/>
                <a:gd name="connsiteX125" fmla="*/ 147638 w 514605"/>
                <a:gd name="connsiteY125" fmla="*/ 6020 h 4679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Lst>
              <a:rect l="l" t="t" r="r" b="b"/>
              <a:pathLst>
                <a:path w="514605" h="467983">
                  <a:moveTo>
                    <a:pt x="147638" y="6020"/>
                  </a:moveTo>
                  <a:cubicBezTo>
                    <a:pt x="150813" y="5623"/>
                    <a:pt x="154532" y="-5602"/>
                    <a:pt x="161925" y="3639"/>
                  </a:cubicBezTo>
                  <a:cubicBezTo>
                    <a:pt x="163713" y="5874"/>
                    <a:pt x="166688" y="6814"/>
                    <a:pt x="169069" y="8401"/>
                  </a:cubicBezTo>
                  <a:cubicBezTo>
                    <a:pt x="180975" y="7607"/>
                    <a:pt x="192928" y="7338"/>
                    <a:pt x="204788" y="6020"/>
                  </a:cubicBezTo>
                  <a:cubicBezTo>
                    <a:pt x="219075" y="4433"/>
                    <a:pt x="204786" y="1258"/>
                    <a:pt x="219075" y="6020"/>
                  </a:cubicBezTo>
                  <a:cubicBezTo>
                    <a:pt x="220663" y="8401"/>
                    <a:pt x="221603" y="11376"/>
                    <a:pt x="223838" y="13164"/>
                  </a:cubicBezTo>
                  <a:cubicBezTo>
                    <a:pt x="225798" y="14732"/>
                    <a:pt x="228471" y="15545"/>
                    <a:pt x="230981" y="15545"/>
                  </a:cubicBezTo>
                  <a:cubicBezTo>
                    <a:pt x="236733" y="15545"/>
                    <a:pt x="244391" y="12663"/>
                    <a:pt x="250031" y="10782"/>
                  </a:cubicBezTo>
                  <a:cubicBezTo>
                    <a:pt x="262824" y="15048"/>
                    <a:pt x="260775" y="15447"/>
                    <a:pt x="280988" y="10782"/>
                  </a:cubicBezTo>
                  <a:cubicBezTo>
                    <a:pt x="283776" y="10139"/>
                    <a:pt x="285750" y="7607"/>
                    <a:pt x="288131" y="6020"/>
                  </a:cubicBezTo>
                  <a:cubicBezTo>
                    <a:pt x="289719" y="8401"/>
                    <a:pt x="290237" y="12101"/>
                    <a:pt x="292894" y="13164"/>
                  </a:cubicBezTo>
                  <a:cubicBezTo>
                    <a:pt x="295225" y="14096"/>
                    <a:pt x="297634" y="11503"/>
                    <a:pt x="300038" y="10782"/>
                  </a:cubicBezTo>
                  <a:cubicBezTo>
                    <a:pt x="305573" y="9122"/>
                    <a:pt x="311150" y="7607"/>
                    <a:pt x="316706" y="6020"/>
                  </a:cubicBezTo>
                  <a:cubicBezTo>
                    <a:pt x="318294" y="8401"/>
                    <a:pt x="318662" y="12603"/>
                    <a:pt x="321469" y="13164"/>
                  </a:cubicBezTo>
                  <a:cubicBezTo>
                    <a:pt x="324276" y="13725"/>
                    <a:pt x="325751" y="8401"/>
                    <a:pt x="328613" y="8401"/>
                  </a:cubicBezTo>
                  <a:cubicBezTo>
                    <a:pt x="331475" y="8401"/>
                    <a:pt x="333196" y="11884"/>
                    <a:pt x="335756" y="13164"/>
                  </a:cubicBezTo>
                  <a:cubicBezTo>
                    <a:pt x="340636" y="15604"/>
                    <a:pt x="350280" y="17021"/>
                    <a:pt x="354806" y="17926"/>
                  </a:cubicBezTo>
                  <a:cubicBezTo>
                    <a:pt x="355600" y="20307"/>
                    <a:pt x="354753" y="24461"/>
                    <a:pt x="357188" y="25070"/>
                  </a:cubicBezTo>
                  <a:cubicBezTo>
                    <a:pt x="359964" y="25764"/>
                    <a:pt x="362307" y="22331"/>
                    <a:pt x="364331" y="20307"/>
                  </a:cubicBezTo>
                  <a:cubicBezTo>
                    <a:pt x="380203" y="4435"/>
                    <a:pt x="357190" y="21100"/>
                    <a:pt x="376238" y="8401"/>
                  </a:cubicBezTo>
                  <a:cubicBezTo>
                    <a:pt x="384114" y="32033"/>
                    <a:pt x="370900" y="-4065"/>
                    <a:pt x="385763" y="22689"/>
                  </a:cubicBezTo>
                  <a:cubicBezTo>
                    <a:pt x="397431" y="43692"/>
                    <a:pt x="382927" y="31910"/>
                    <a:pt x="397669" y="41739"/>
                  </a:cubicBezTo>
                  <a:cubicBezTo>
                    <a:pt x="400050" y="40945"/>
                    <a:pt x="402568" y="40480"/>
                    <a:pt x="404813" y="39357"/>
                  </a:cubicBezTo>
                  <a:cubicBezTo>
                    <a:pt x="407372" y="38077"/>
                    <a:pt x="409133" y="35065"/>
                    <a:pt x="411956" y="34595"/>
                  </a:cubicBezTo>
                  <a:cubicBezTo>
                    <a:pt x="414432" y="34182"/>
                    <a:pt x="416719" y="36182"/>
                    <a:pt x="419100" y="36976"/>
                  </a:cubicBezTo>
                  <a:cubicBezTo>
                    <a:pt x="422275" y="36182"/>
                    <a:pt x="425617" y="35884"/>
                    <a:pt x="428625" y="34595"/>
                  </a:cubicBezTo>
                  <a:cubicBezTo>
                    <a:pt x="431256" y="33468"/>
                    <a:pt x="432919" y="30091"/>
                    <a:pt x="435769" y="29832"/>
                  </a:cubicBezTo>
                  <a:cubicBezTo>
                    <a:pt x="442142" y="29253"/>
                    <a:pt x="448469" y="31420"/>
                    <a:pt x="454819" y="32214"/>
                  </a:cubicBezTo>
                  <a:cubicBezTo>
                    <a:pt x="459581" y="35389"/>
                    <a:pt x="470228" y="36126"/>
                    <a:pt x="469106" y="41739"/>
                  </a:cubicBezTo>
                  <a:cubicBezTo>
                    <a:pt x="463463" y="69958"/>
                    <a:pt x="470880" y="40726"/>
                    <a:pt x="461963" y="60789"/>
                  </a:cubicBezTo>
                  <a:cubicBezTo>
                    <a:pt x="459924" y="65376"/>
                    <a:pt x="458788" y="70314"/>
                    <a:pt x="457200" y="75076"/>
                  </a:cubicBezTo>
                  <a:lnTo>
                    <a:pt x="454819" y="82220"/>
                  </a:lnTo>
                  <a:cubicBezTo>
                    <a:pt x="454025" y="92539"/>
                    <a:pt x="453581" y="102890"/>
                    <a:pt x="452438" y="113176"/>
                  </a:cubicBezTo>
                  <a:cubicBezTo>
                    <a:pt x="451093" y="125281"/>
                    <a:pt x="446519" y="128432"/>
                    <a:pt x="452438" y="141751"/>
                  </a:cubicBezTo>
                  <a:cubicBezTo>
                    <a:pt x="453600" y="144366"/>
                    <a:pt x="457200" y="144926"/>
                    <a:pt x="459581" y="146514"/>
                  </a:cubicBezTo>
                  <a:cubicBezTo>
                    <a:pt x="465379" y="144581"/>
                    <a:pt x="470093" y="141588"/>
                    <a:pt x="476250" y="146514"/>
                  </a:cubicBezTo>
                  <a:cubicBezTo>
                    <a:pt x="489243" y="156909"/>
                    <a:pt x="465473" y="151653"/>
                    <a:pt x="485775" y="158420"/>
                  </a:cubicBezTo>
                  <a:cubicBezTo>
                    <a:pt x="490356" y="159947"/>
                    <a:pt x="495300" y="160007"/>
                    <a:pt x="500063" y="160801"/>
                  </a:cubicBezTo>
                  <a:cubicBezTo>
                    <a:pt x="502444" y="163976"/>
                    <a:pt x="504623" y="167313"/>
                    <a:pt x="507206" y="170326"/>
                  </a:cubicBezTo>
                  <a:cubicBezTo>
                    <a:pt x="509398" y="172883"/>
                    <a:pt x="513285" y="174275"/>
                    <a:pt x="514350" y="177470"/>
                  </a:cubicBezTo>
                  <a:cubicBezTo>
                    <a:pt x="515144" y="179851"/>
                    <a:pt x="514012" y="183155"/>
                    <a:pt x="511969" y="184614"/>
                  </a:cubicBezTo>
                  <a:cubicBezTo>
                    <a:pt x="507884" y="187532"/>
                    <a:pt x="502444" y="187789"/>
                    <a:pt x="497681" y="189376"/>
                  </a:cubicBezTo>
                  <a:cubicBezTo>
                    <a:pt x="487429" y="192793"/>
                    <a:pt x="492978" y="191147"/>
                    <a:pt x="481013" y="194139"/>
                  </a:cubicBezTo>
                  <a:cubicBezTo>
                    <a:pt x="489696" y="220189"/>
                    <a:pt x="475151" y="181425"/>
                    <a:pt x="490538" y="206045"/>
                  </a:cubicBezTo>
                  <a:cubicBezTo>
                    <a:pt x="506743" y="231974"/>
                    <a:pt x="486121" y="209118"/>
                    <a:pt x="497681" y="232239"/>
                  </a:cubicBezTo>
                  <a:cubicBezTo>
                    <a:pt x="499187" y="235251"/>
                    <a:pt x="502444" y="237001"/>
                    <a:pt x="504825" y="239382"/>
                  </a:cubicBezTo>
                  <a:cubicBezTo>
                    <a:pt x="507100" y="246207"/>
                    <a:pt x="509933" y="250770"/>
                    <a:pt x="504825" y="258432"/>
                  </a:cubicBezTo>
                  <a:cubicBezTo>
                    <a:pt x="503433" y="260521"/>
                    <a:pt x="500062" y="260020"/>
                    <a:pt x="497681" y="260814"/>
                  </a:cubicBezTo>
                  <a:cubicBezTo>
                    <a:pt x="495300" y="263195"/>
                    <a:pt x="492406" y="265155"/>
                    <a:pt x="490538" y="267957"/>
                  </a:cubicBezTo>
                  <a:cubicBezTo>
                    <a:pt x="480014" y="283742"/>
                    <a:pt x="510146" y="276933"/>
                    <a:pt x="459581" y="272720"/>
                  </a:cubicBezTo>
                  <a:cubicBezTo>
                    <a:pt x="454819" y="274307"/>
                    <a:pt x="441744" y="273932"/>
                    <a:pt x="445294" y="277482"/>
                  </a:cubicBezTo>
                  <a:cubicBezTo>
                    <a:pt x="450561" y="282749"/>
                    <a:pt x="453885" y="285138"/>
                    <a:pt x="457200" y="291770"/>
                  </a:cubicBezTo>
                  <a:cubicBezTo>
                    <a:pt x="458322" y="294015"/>
                    <a:pt x="458362" y="296720"/>
                    <a:pt x="459581" y="298914"/>
                  </a:cubicBezTo>
                  <a:cubicBezTo>
                    <a:pt x="473230" y="323483"/>
                    <a:pt x="466097" y="304178"/>
                    <a:pt x="471488" y="320345"/>
                  </a:cubicBezTo>
                  <a:cubicBezTo>
                    <a:pt x="470694" y="322726"/>
                    <a:pt x="471487" y="326695"/>
                    <a:pt x="469106" y="327489"/>
                  </a:cubicBezTo>
                  <a:cubicBezTo>
                    <a:pt x="457038" y="331511"/>
                    <a:pt x="457054" y="324670"/>
                    <a:pt x="454819" y="317964"/>
                  </a:cubicBezTo>
                  <a:cubicBezTo>
                    <a:pt x="451644" y="318758"/>
                    <a:pt x="448429" y="319405"/>
                    <a:pt x="445294" y="320345"/>
                  </a:cubicBezTo>
                  <a:cubicBezTo>
                    <a:pt x="416282" y="329048"/>
                    <a:pt x="443451" y="321995"/>
                    <a:pt x="421481" y="327489"/>
                  </a:cubicBezTo>
                  <a:cubicBezTo>
                    <a:pt x="415772" y="344615"/>
                    <a:pt x="421481" y="323228"/>
                    <a:pt x="421481" y="344157"/>
                  </a:cubicBezTo>
                  <a:cubicBezTo>
                    <a:pt x="421481" y="350556"/>
                    <a:pt x="420073" y="356882"/>
                    <a:pt x="419100" y="363207"/>
                  </a:cubicBezTo>
                  <a:cubicBezTo>
                    <a:pt x="418485" y="367208"/>
                    <a:pt x="419310" y="372004"/>
                    <a:pt x="416719" y="375114"/>
                  </a:cubicBezTo>
                  <a:cubicBezTo>
                    <a:pt x="414624" y="377628"/>
                    <a:pt x="410369" y="376701"/>
                    <a:pt x="407194" y="377495"/>
                  </a:cubicBezTo>
                  <a:cubicBezTo>
                    <a:pt x="405606" y="379876"/>
                    <a:pt x="404263" y="382440"/>
                    <a:pt x="402431" y="384639"/>
                  </a:cubicBezTo>
                  <a:cubicBezTo>
                    <a:pt x="400275" y="387226"/>
                    <a:pt x="397156" y="388980"/>
                    <a:pt x="395288" y="391782"/>
                  </a:cubicBezTo>
                  <a:cubicBezTo>
                    <a:pt x="393896" y="393871"/>
                    <a:pt x="393700" y="396545"/>
                    <a:pt x="392906" y="398926"/>
                  </a:cubicBezTo>
                  <a:lnTo>
                    <a:pt x="397669" y="413214"/>
                  </a:lnTo>
                  <a:cubicBezTo>
                    <a:pt x="398463" y="415595"/>
                    <a:pt x="398275" y="418582"/>
                    <a:pt x="400050" y="420357"/>
                  </a:cubicBezTo>
                  <a:lnTo>
                    <a:pt x="407194" y="427501"/>
                  </a:lnTo>
                  <a:cubicBezTo>
                    <a:pt x="406429" y="430559"/>
                    <a:pt x="425572" y="435987"/>
                    <a:pt x="423862" y="439408"/>
                  </a:cubicBezTo>
                  <a:cubicBezTo>
                    <a:pt x="422582" y="441968"/>
                    <a:pt x="400844" y="446552"/>
                    <a:pt x="397669" y="451314"/>
                  </a:cubicBezTo>
                  <a:cubicBezTo>
                    <a:pt x="394495" y="456077"/>
                    <a:pt x="415670" y="460745"/>
                    <a:pt x="404815" y="467983"/>
                  </a:cubicBezTo>
                  <a:cubicBezTo>
                    <a:pt x="400178" y="454077"/>
                    <a:pt x="391717" y="451711"/>
                    <a:pt x="385763" y="446551"/>
                  </a:cubicBezTo>
                  <a:cubicBezTo>
                    <a:pt x="379810" y="441392"/>
                    <a:pt x="373063" y="438217"/>
                    <a:pt x="369094" y="437026"/>
                  </a:cubicBezTo>
                  <a:cubicBezTo>
                    <a:pt x="365125" y="435835"/>
                    <a:pt x="366316" y="440201"/>
                    <a:pt x="361950" y="439407"/>
                  </a:cubicBezTo>
                  <a:cubicBezTo>
                    <a:pt x="357584" y="438613"/>
                    <a:pt x="348456" y="434644"/>
                    <a:pt x="342900" y="432263"/>
                  </a:cubicBezTo>
                  <a:cubicBezTo>
                    <a:pt x="337344" y="429882"/>
                    <a:pt x="332185" y="426707"/>
                    <a:pt x="328613" y="425120"/>
                  </a:cubicBezTo>
                  <a:cubicBezTo>
                    <a:pt x="325041" y="423533"/>
                    <a:pt x="323850" y="423533"/>
                    <a:pt x="321469" y="422739"/>
                  </a:cubicBezTo>
                  <a:cubicBezTo>
                    <a:pt x="319088" y="420358"/>
                    <a:pt x="320675" y="418373"/>
                    <a:pt x="314325" y="415595"/>
                  </a:cubicBezTo>
                  <a:cubicBezTo>
                    <a:pt x="307975" y="412817"/>
                    <a:pt x="283370" y="406070"/>
                    <a:pt x="283370" y="406070"/>
                  </a:cubicBezTo>
                  <a:cubicBezTo>
                    <a:pt x="280195" y="405276"/>
                    <a:pt x="288926" y="417579"/>
                    <a:pt x="290513" y="417976"/>
                  </a:cubicBezTo>
                  <a:cubicBezTo>
                    <a:pt x="292100" y="418373"/>
                    <a:pt x="292893" y="408452"/>
                    <a:pt x="292893" y="408452"/>
                  </a:cubicBezTo>
                  <a:cubicBezTo>
                    <a:pt x="288258" y="394545"/>
                    <a:pt x="296862" y="404482"/>
                    <a:pt x="295275" y="401307"/>
                  </a:cubicBezTo>
                  <a:cubicBezTo>
                    <a:pt x="293688" y="398132"/>
                    <a:pt x="302421" y="402103"/>
                    <a:pt x="283369" y="389401"/>
                  </a:cubicBezTo>
                  <a:cubicBezTo>
                    <a:pt x="279460" y="377673"/>
                    <a:pt x="283787" y="385780"/>
                    <a:pt x="273844" y="377495"/>
                  </a:cubicBezTo>
                  <a:cubicBezTo>
                    <a:pt x="271257" y="375339"/>
                    <a:pt x="269257" y="372543"/>
                    <a:pt x="266700" y="370351"/>
                  </a:cubicBezTo>
                  <a:cubicBezTo>
                    <a:pt x="258909" y="363673"/>
                    <a:pt x="257576" y="363834"/>
                    <a:pt x="250031" y="358445"/>
                  </a:cubicBezTo>
                  <a:cubicBezTo>
                    <a:pt x="229338" y="343665"/>
                    <a:pt x="250210" y="357770"/>
                    <a:pt x="233363" y="346539"/>
                  </a:cubicBezTo>
                  <a:cubicBezTo>
                    <a:pt x="224149" y="332719"/>
                    <a:pt x="231628" y="346162"/>
                    <a:pt x="226219" y="322726"/>
                  </a:cubicBezTo>
                  <a:cubicBezTo>
                    <a:pt x="225090" y="317835"/>
                    <a:pt x="226426" y="309149"/>
                    <a:pt x="221456" y="308439"/>
                  </a:cubicBezTo>
                  <a:lnTo>
                    <a:pt x="204788" y="306057"/>
                  </a:lnTo>
                  <a:cubicBezTo>
                    <a:pt x="195804" y="303063"/>
                    <a:pt x="191544" y="302339"/>
                    <a:pt x="183356" y="294151"/>
                  </a:cubicBezTo>
                  <a:lnTo>
                    <a:pt x="169069" y="279864"/>
                  </a:lnTo>
                  <a:cubicBezTo>
                    <a:pt x="166688" y="277483"/>
                    <a:pt x="164727" y="274588"/>
                    <a:pt x="161925" y="272720"/>
                  </a:cubicBezTo>
                  <a:lnTo>
                    <a:pt x="154781" y="267957"/>
                  </a:lnTo>
                  <a:cubicBezTo>
                    <a:pt x="150227" y="254295"/>
                    <a:pt x="155661" y="267049"/>
                    <a:pt x="145256" y="253670"/>
                  </a:cubicBezTo>
                  <a:cubicBezTo>
                    <a:pt x="141742" y="249152"/>
                    <a:pt x="138906" y="244145"/>
                    <a:pt x="135731" y="239382"/>
                  </a:cubicBezTo>
                  <a:lnTo>
                    <a:pt x="130969" y="232239"/>
                  </a:lnTo>
                  <a:cubicBezTo>
                    <a:pt x="130175" y="229858"/>
                    <a:pt x="129807" y="227289"/>
                    <a:pt x="128588" y="225095"/>
                  </a:cubicBezTo>
                  <a:cubicBezTo>
                    <a:pt x="125808" y="220091"/>
                    <a:pt x="119063" y="210807"/>
                    <a:pt x="119063" y="210807"/>
                  </a:cubicBezTo>
                  <a:cubicBezTo>
                    <a:pt x="99450" y="217345"/>
                    <a:pt x="109745" y="216280"/>
                    <a:pt x="88106" y="213189"/>
                  </a:cubicBezTo>
                  <a:cubicBezTo>
                    <a:pt x="87099" y="205131"/>
                    <a:pt x="86182" y="187679"/>
                    <a:pt x="80963" y="179851"/>
                  </a:cubicBezTo>
                  <a:lnTo>
                    <a:pt x="76200" y="172707"/>
                  </a:lnTo>
                  <a:lnTo>
                    <a:pt x="71438" y="158420"/>
                  </a:lnTo>
                  <a:cubicBezTo>
                    <a:pt x="70644" y="156039"/>
                    <a:pt x="70831" y="153051"/>
                    <a:pt x="69056" y="151276"/>
                  </a:cubicBezTo>
                  <a:lnTo>
                    <a:pt x="54769" y="136989"/>
                  </a:lnTo>
                  <a:cubicBezTo>
                    <a:pt x="53975" y="134608"/>
                    <a:pt x="53929" y="131826"/>
                    <a:pt x="52388" y="129845"/>
                  </a:cubicBezTo>
                  <a:cubicBezTo>
                    <a:pt x="39752" y="113598"/>
                    <a:pt x="41993" y="116335"/>
                    <a:pt x="26194" y="113176"/>
                  </a:cubicBezTo>
                  <a:cubicBezTo>
                    <a:pt x="9183" y="101836"/>
                    <a:pt x="17459" y="105039"/>
                    <a:pt x="2381" y="101270"/>
                  </a:cubicBezTo>
                  <a:cubicBezTo>
                    <a:pt x="3175" y="91745"/>
                    <a:pt x="4763" y="82253"/>
                    <a:pt x="4763" y="72695"/>
                  </a:cubicBezTo>
                  <a:cubicBezTo>
                    <a:pt x="4763" y="56214"/>
                    <a:pt x="2831" y="48754"/>
                    <a:pt x="0" y="34595"/>
                  </a:cubicBezTo>
                  <a:cubicBezTo>
                    <a:pt x="794" y="29832"/>
                    <a:pt x="-15" y="24499"/>
                    <a:pt x="2381" y="20307"/>
                  </a:cubicBezTo>
                  <a:cubicBezTo>
                    <a:pt x="3626" y="18128"/>
                    <a:pt x="7111" y="18616"/>
                    <a:pt x="9525" y="17926"/>
                  </a:cubicBezTo>
                  <a:cubicBezTo>
                    <a:pt x="12672" y="17027"/>
                    <a:pt x="15875" y="16339"/>
                    <a:pt x="19050" y="15545"/>
                  </a:cubicBezTo>
                  <a:cubicBezTo>
                    <a:pt x="21431" y="16339"/>
                    <a:pt x="23813" y="19117"/>
                    <a:pt x="26194" y="17926"/>
                  </a:cubicBezTo>
                  <a:cubicBezTo>
                    <a:pt x="28575" y="16735"/>
                    <a:pt x="32544" y="10385"/>
                    <a:pt x="33338" y="8401"/>
                  </a:cubicBezTo>
                  <a:cubicBezTo>
                    <a:pt x="34132" y="6417"/>
                    <a:pt x="28576" y="4036"/>
                    <a:pt x="30957" y="6020"/>
                  </a:cubicBezTo>
                  <a:cubicBezTo>
                    <a:pt x="33338" y="8004"/>
                    <a:pt x="44054" y="15942"/>
                    <a:pt x="47626" y="20307"/>
                  </a:cubicBezTo>
                  <a:cubicBezTo>
                    <a:pt x="51198" y="24672"/>
                    <a:pt x="50007" y="29038"/>
                    <a:pt x="52388" y="32213"/>
                  </a:cubicBezTo>
                  <a:cubicBezTo>
                    <a:pt x="54769" y="35388"/>
                    <a:pt x="59532" y="36977"/>
                    <a:pt x="61913" y="39358"/>
                  </a:cubicBezTo>
                  <a:cubicBezTo>
                    <a:pt x="68037" y="37316"/>
                    <a:pt x="69057" y="45707"/>
                    <a:pt x="73819" y="46501"/>
                  </a:cubicBezTo>
                  <a:cubicBezTo>
                    <a:pt x="78581" y="47295"/>
                    <a:pt x="84932" y="44914"/>
                    <a:pt x="90488" y="44120"/>
                  </a:cubicBezTo>
                  <a:cubicBezTo>
                    <a:pt x="91282" y="34595"/>
                    <a:pt x="88595" y="24094"/>
                    <a:pt x="92869" y="15545"/>
                  </a:cubicBezTo>
                  <a:cubicBezTo>
                    <a:pt x="95114" y="11055"/>
                    <a:pt x="102204" y="11607"/>
                    <a:pt x="107156" y="10782"/>
                  </a:cubicBezTo>
                  <a:cubicBezTo>
                    <a:pt x="111919" y="9988"/>
                    <a:pt x="116658" y="9039"/>
                    <a:pt x="121444" y="8401"/>
                  </a:cubicBezTo>
                  <a:cubicBezTo>
                    <a:pt x="128569" y="7451"/>
                    <a:pt x="136056" y="8293"/>
                    <a:pt x="142875" y="6020"/>
                  </a:cubicBezTo>
                  <a:cubicBezTo>
                    <a:pt x="144381" y="5518"/>
                    <a:pt x="144463" y="6417"/>
                    <a:pt x="147638" y="6020"/>
                  </a:cubicBezTo>
                  <a:close/>
                </a:path>
              </a:pathLst>
            </a:custGeom>
            <a:solidFill>
              <a:schemeClr val="bg1">
                <a:lumMod val="85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nvGrpSpPr>
            <p:cNvPr id="331" name="Group 330">
              <a:extLst>
                <a:ext uri="{FF2B5EF4-FFF2-40B4-BE49-F238E27FC236}">
                  <a16:creationId xmlns:a16="http://schemas.microsoft.com/office/drawing/2014/main" id="{45B29E03-6E88-47F7-8E35-8467FAE8853F}"/>
                </a:ext>
              </a:extLst>
            </p:cNvPr>
            <p:cNvGrpSpPr/>
            <p:nvPr/>
          </p:nvGrpSpPr>
          <p:grpSpPr>
            <a:xfrm>
              <a:off x="7456832" y="4738382"/>
              <a:ext cx="746172" cy="702665"/>
              <a:chOff x="4732088" y="5141804"/>
              <a:chExt cx="746172" cy="702665"/>
            </a:xfrm>
            <a:solidFill>
              <a:srgbClr val="003399"/>
            </a:solidFill>
          </p:grpSpPr>
          <p:sp>
            <p:nvSpPr>
              <p:cNvPr id="807" name="Freeform: Shape 806">
                <a:extLst>
                  <a:ext uri="{FF2B5EF4-FFF2-40B4-BE49-F238E27FC236}">
                    <a16:creationId xmlns:a16="http://schemas.microsoft.com/office/drawing/2014/main" id="{D68DF8F3-4784-4EA5-87B0-17BE281C7BE4}"/>
                  </a:ext>
                </a:extLst>
              </p:cNvPr>
              <p:cNvSpPr/>
              <p:nvPr/>
            </p:nvSpPr>
            <p:spPr>
              <a:xfrm>
                <a:off x="4732088" y="5141804"/>
                <a:ext cx="746172" cy="626785"/>
              </a:xfrm>
              <a:custGeom>
                <a:avLst/>
                <a:gdLst>
                  <a:gd name="connsiteX0" fmla="*/ 227921 w 746172"/>
                  <a:gd name="connsiteY0" fmla="*/ 195362 h 626785"/>
                  <a:gd name="connsiteX1" fmla="*/ 214355 w 746172"/>
                  <a:gd name="connsiteY1" fmla="*/ 206215 h 626785"/>
                  <a:gd name="connsiteX2" fmla="*/ 206215 w 746172"/>
                  <a:gd name="connsiteY2" fmla="*/ 211642 h 626785"/>
                  <a:gd name="connsiteX3" fmla="*/ 203501 w 746172"/>
                  <a:gd name="connsiteY3" fmla="*/ 219782 h 626785"/>
                  <a:gd name="connsiteX4" fmla="*/ 184508 w 746172"/>
                  <a:gd name="connsiteY4" fmla="*/ 200788 h 626785"/>
                  <a:gd name="connsiteX5" fmla="*/ 165514 w 746172"/>
                  <a:gd name="connsiteY5" fmla="*/ 203502 h 626785"/>
                  <a:gd name="connsiteX6" fmla="*/ 157374 w 746172"/>
                  <a:gd name="connsiteY6" fmla="*/ 208928 h 626785"/>
                  <a:gd name="connsiteX7" fmla="*/ 151948 w 746172"/>
                  <a:gd name="connsiteY7" fmla="*/ 200788 h 626785"/>
                  <a:gd name="connsiteX8" fmla="*/ 143808 w 746172"/>
                  <a:gd name="connsiteY8" fmla="*/ 195362 h 626785"/>
                  <a:gd name="connsiteX9" fmla="*/ 130241 w 746172"/>
                  <a:gd name="connsiteY9" fmla="*/ 179081 h 626785"/>
                  <a:gd name="connsiteX10" fmla="*/ 122101 w 746172"/>
                  <a:gd name="connsiteY10" fmla="*/ 184508 h 626785"/>
                  <a:gd name="connsiteX11" fmla="*/ 113961 w 746172"/>
                  <a:gd name="connsiteY11" fmla="*/ 192648 h 626785"/>
                  <a:gd name="connsiteX12" fmla="*/ 97681 w 746172"/>
                  <a:gd name="connsiteY12" fmla="*/ 200788 h 626785"/>
                  <a:gd name="connsiteX13" fmla="*/ 65120 w 746172"/>
                  <a:gd name="connsiteY13" fmla="*/ 200788 h 626785"/>
                  <a:gd name="connsiteX14" fmla="*/ 54267 w 746172"/>
                  <a:gd name="connsiteY14" fmla="*/ 217068 h 626785"/>
                  <a:gd name="connsiteX15" fmla="*/ 37987 w 746172"/>
                  <a:gd name="connsiteY15" fmla="*/ 214355 h 626785"/>
                  <a:gd name="connsiteX16" fmla="*/ 27133 w 746172"/>
                  <a:gd name="connsiteY16" fmla="*/ 211642 h 626785"/>
                  <a:gd name="connsiteX17" fmla="*/ 0 w 746172"/>
                  <a:gd name="connsiteY17" fmla="*/ 214355 h 626785"/>
                  <a:gd name="connsiteX18" fmla="*/ 8140 w 746172"/>
                  <a:gd name="connsiteY18" fmla="*/ 233349 h 626785"/>
                  <a:gd name="connsiteX19" fmla="*/ 10853 w 746172"/>
                  <a:gd name="connsiteY19" fmla="*/ 244202 h 626785"/>
                  <a:gd name="connsiteX20" fmla="*/ 16280 w 746172"/>
                  <a:gd name="connsiteY20" fmla="*/ 263195 h 626785"/>
                  <a:gd name="connsiteX21" fmla="*/ 27133 w 746172"/>
                  <a:gd name="connsiteY21" fmla="*/ 265909 h 626785"/>
                  <a:gd name="connsiteX22" fmla="*/ 13567 w 746172"/>
                  <a:gd name="connsiteY22" fmla="*/ 276762 h 626785"/>
                  <a:gd name="connsiteX23" fmla="*/ 18993 w 746172"/>
                  <a:gd name="connsiteY23" fmla="*/ 284902 h 626785"/>
                  <a:gd name="connsiteX24" fmla="*/ 21707 w 746172"/>
                  <a:gd name="connsiteY24" fmla="*/ 293042 h 626785"/>
                  <a:gd name="connsiteX25" fmla="*/ 35273 w 746172"/>
                  <a:gd name="connsiteY25" fmla="*/ 322889 h 626785"/>
                  <a:gd name="connsiteX26" fmla="*/ 43413 w 746172"/>
                  <a:gd name="connsiteY26" fmla="*/ 339169 h 626785"/>
                  <a:gd name="connsiteX27" fmla="*/ 54267 w 746172"/>
                  <a:gd name="connsiteY27" fmla="*/ 341883 h 626785"/>
                  <a:gd name="connsiteX28" fmla="*/ 70547 w 746172"/>
                  <a:gd name="connsiteY28" fmla="*/ 347309 h 626785"/>
                  <a:gd name="connsiteX29" fmla="*/ 62407 w 746172"/>
                  <a:gd name="connsiteY29" fmla="*/ 328316 h 626785"/>
                  <a:gd name="connsiteX30" fmla="*/ 65120 w 746172"/>
                  <a:gd name="connsiteY30" fmla="*/ 320176 h 626785"/>
                  <a:gd name="connsiteX31" fmla="*/ 70547 w 746172"/>
                  <a:gd name="connsiteY31" fmla="*/ 312036 h 626785"/>
                  <a:gd name="connsiteX32" fmla="*/ 86827 w 746172"/>
                  <a:gd name="connsiteY32" fmla="*/ 303896 h 626785"/>
                  <a:gd name="connsiteX33" fmla="*/ 84114 w 746172"/>
                  <a:gd name="connsiteY33" fmla="*/ 295756 h 626785"/>
                  <a:gd name="connsiteX34" fmla="*/ 89540 w 746172"/>
                  <a:gd name="connsiteY34" fmla="*/ 274049 h 626785"/>
                  <a:gd name="connsiteX35" fmla="*/ 92254 w 746172"/>
                  <a:gd name="connsiteY35" fmla="*/ 260482 h 626785"/>
                  <a:gd name="connsiteX36" fmla="*/ 97681 w 746172"/>
                  <a:gd name="connsiteY36" fmla="*/ 244202 h 626785"/>
                  <a:gd name="connsiteX37" fmla="*/ 105821 w 746172"/>
                  <a:gd name="connsiteY37" fmla="*/ 241489 h 626785"/>
                  <a:gd name="connsiteX38" fmla="*/ 127527 w 746172"/>
                  <a:gd name="connsiteY38" fmla="*/ 244202 h 626785"/>
                  <a:gd name="connsiteX39" fmla="*/ 135667 w 746172"/>
                  <a:gd name="connsiteY39" fmla="*/ 246915 h 626785"/>
                  <a:gd name="connsiteX40" fmla="*/ 141094 w 746172"/>
                  <a:gd name="connsiteY40" fmla="*/ 255055 h 626785"/>
                  <a:gd name="connsiteX41" fmla="*/ 149234 w 746172"/>
                  <a:gd name="connsiteY41" fmla="*/ 263195 h 626785"/>
                  <a:gd name="connsiteX42" fmla="*/ 157374 w 746172"/>
                  <a:gd name="connsiteY42" fmla="*/ 279476 h 626785"/>
                  <a:gd name="connsiteX43" fmla="*/ 165514 w 746172"/>
                  <a:gd name="connsiteY43" fmla="*/ 284902 h 626785"/>
                  <a:gd name="connsiteX44" fmla="*/ 168228 w 746172"/>
                  <a:gd name="connsiteY44" fmla="*/ 320176 h 626785"/>
                  <a:gd name="connsiteX45" fmla="*/ 170941 w 746172"/>
                  <a:gd name="connsiteY45" fmla="*/ 328316 h 626785"/>
                  <a:gd name="connsiteX46" fmla="*/ 173654 w 746172"/>
                  <a:gd name="connsiteY46" fmla="*/ 341883 h 626785"/>
                  <a:gd name="connsiteX47" fmla="*/ 184508 w 746172"/>
                  <a:gd name="connsiteY47" fmla="*/ 358163 h 626785"/>
                  <a:gd name="connsiteX48" fmla="*/ 192648 w 746172"/>
                  <a:gd name="connsiteY48" fmla="*/ 374443 h 626785"/>
                  <a:gd name="connsiteX49" fmla="*/ 217068 w 746172"/>
                  <a:gd name="connsiteY49" fmla="*/ 388010 h 626785"/>
                  <a:gd name="connsiteX50" fmla="*/ 225208 w 746172"/>
                  <a:gd name="connsiteY50" fmla="*/ 393436 h 626785"/>
                  <a:gd name="connsiteX51" fmla="*/ 236062 w 746172"/>
                  <a:gd name="connsiteY51" fmla="*/ 407003 h 626785"/>
                  <a:gd name="connsiteX52" fmla="*/ 241488 w 746172"/>
                  <a:gd name="connsiteY52" fmla="*/ 415143 h 626785"/>
                  <a:gd name="connsiteX53" fmla="*/ 257768 w 746172"/>
                  <a:gd name="connsiteY53" fmla="*/ 423283 h 626785"/>
                  <a:gd name="connsiteX54" fmla="*/ 222495 w 746172"/>
                  <a:gd name="connsiteY54" fmla="*/ 428710 h 626785"/>
                  <a:gd name="connsiteX55" fmla="*/ 214355 w 746172"/>
                  <a:gd name="connsiteY55" fmla="*/ 431423 h 626785"/>
                  <a:gd name="connsiteX56" fmla="*/ 219781 w 746172"/>
                  <a:gd name="connsiteY56" fmla="*/ 442277 h 626785"/>
                  <a:gd name="connsiteX57" fmla="*/ 230635 w 746172"/>
                  <a:gd name="connsiteY57" fmla="*/ 453130 h 626785"/>
                  <a:gd name="connsiteX58" fmla="*/ 241488 w 746172"/>
                  <a:gd name="connsiteY58" fmla="*/ 469410 h 626785"/>
                  <a:gd name="connsiteX59" fmla="*/ 249628 w 746172"/>
                  <a:gd name="connsiteY59" fmla="*/ 474837 h 626785"/>
                  <a:gd name="connsiteX60" fmla="*/ 257768 w 746172"/>
                  <a:gd name="connsiteY60" fmla="*/ 482977 h 626785"/>
                  <a:gd name="connsiteX61" fmla="*/ 268622 w 746172"/>
                  <a:gd name="connsiteY61" fmla="*/ 488404 h 626785"/>
                  <a:gd name="connsiteX62" fmla="*/ 276762 w 746172"/>
                  <a:gd name="connsiteY62" fmla="*/ 496544 h 626785"/>
                  <a:gd name="connsiteX63" fmla="*/ 293042 w 746172"/>
                  <a:gd name="connsiteY63" fmla="*/ 504684 h 626785"/>
                  <a:gd name="connsiteX64" fmla="*/ 309322 w 746172"/>
                  <a:gd name="connsiteY64" fmla="*/ 515537 h 626785"/>
                  <a:gd name="connsiteX65" fmla="*/ 317462 w 746172"/>
                  <a:gd name="connsiteY65" fmla="*/ 531817 h 626785"/>
                  <a:gd name="connsiteX66" fmla="*/ 320176 w 746172"/>
                  <a:gd name="connsiteY66" fmla="*/ 539957 h 626785"/>
                  <a:gd name="connsiteX67" fmla="*/ 328316 w 746172"/>
                  <a:gd name="connsiteY67" fmla="*/ 542671 h 626785"/>
                  <a:gd name="connsiteX68" fmla="*/ 347309 w 746172"/>
                  <a:gd name="connsiteY68" fmla="*/ 539957 h 626785"/>
                  <a:gd name="connsiteX69" fmla="*/ 366303 w 746172"/>
                  <a:gd name="connsiteY69" fmla="*/ 542671 h 626785"/>
                  <a:gd name="connsiteX70" fmla="*/ 382583 w 746172"/>
                  <a:gd name="connsiteY70" fmla="*/ 537244 h 626785"/>
                  <a:gd name="connsiteX71" fmla="*/ 415143 w 746172"/>
                  <a:gd name="connsiteY71" fmla="*/ 550811 h 626785"/>
                  <a:gd name="connsiteX72" fmla="*/ 415143 w 746172"/>
                  <a:gd name="connsiteY72" fmla="*/ 550811 h 626785"/>
                  <a:gd name="connsiteX73" fmla="*/ 439563 w 746172"/>
                  <a:gd name="connsiteY73" fmla="*/ 558951 h 626785"/>
                  <a:gd name="connsiteX74" fmla="*/ 447703 w 746172"/>
                  <a:gd name="connsiteY74" fmla="*/ 561664 h 626785"/>
                  <a:gd name="connsiteX75" fmla="*/ 463983 w 746172"/>
                  <a:gd name="connsiteY75" fmla="*/ 564378 h 626785"/>
                  <a:gd name="connsiteX76" fmla="*/ 472123 w 746172"/>
                  <a:gd name="connsiteY76" fmla="*/ 569804 h 626785"/>
                  <a:gd name="connsiteX77" fmla="*/ 477550 w 746172"/>
                  <a:gd name="connsiteY77" fmla="*/ 577944 h 626785"/>
                  <a:gd name="connsiteX78" fmla="*/ 493830 w 746172"/>
                  <a:gd name="connsiteY78" fmla="*/ 588798 h 626785"/>
                  <a:gd name="connsiteX79" fmla="*/ 501970 w 746172"/>
                  <a:gd name="connsiteY79" fmla="*/ 594224 h 626785"/>
                  <a:gd name="connsiteX80" fmla="*/ 518250 w 746172"/>
                  <a:gd name="connsiteY80" fmla="*/ 602365 h 626785"/>
                  <a:gd name="connsiteX81" fmla="*/ 534530 w 746172"/>
                  <a:gd name="connsiteY81" fmla="*/ 607791 h 626785"/>
                  <a:gd name="connsiteX82" fmla="*/ 558951 w 746172"/>
                  <a:gd name="connsiteY82" fmla="*/ 626785 h 626785"/>
                  <a:gd name="connsiteX83" fmla="*/ 564377 w 746172"/>
                  <a:gd name="connsiteY83" fmla="*/ 610505 h 626785"/>
                  <a:gd name="connsiteX84" fmla="*/ 545384 w 746172"/>
                  <a:gd name="connsiteY84" fmla="*/ 586084 h 626785"/>
                  <a:gd name="connsiteX85" fmla="*/ 526390 w 746172"/>
                  <a:gd name="connsiteY85" fmla="*/ 561664 h 626785"/>
                  <a:gd name="connsiteX86" fmla="*/ 518250 w 746172"/>
                  <a:gd name="connsiteY86" fmla="*/ 556238 h 626785"/>
                  <a:gd name="connsiteX87" fmla="*/ 512824 w 746172"/>
                  <a:gd name="connsiteY87" fmla="*/ 539957 h 626785"/>
                  <a:gd name="connsiteX88" fmla="*/ 504684 w 746172"/>
                  <a:gd name="connsiteY88" fmla="*/ 523677 h 626785"/>
                  <a:gd name="connsiteX89" fmla="*/ 496543 w 746172"/>
                  <a:gd name="connsiteY89" fmla="*/ 520964 h 626785"/>
                  <a:gd name="connsiteX90" fmla="*/ 477550 w 746172"/>
                  <a:gd name="connsiteY90" fmla="*/ 518251 h 626785"/>
                  <a:gd name="connsiteX91" fmla="*/ 461270 w 746172"/>
                  <a:gd name="connsiteY91" fmla="*/ 507397 h 626785"/>
                  <a:gd name="connsiteX92" fmla="*/ 453130 w 746172"/>
                  <a:gd name="connsiteY92" fmla="*/ 501970 h 626785"/>
                  <a:gd name="connsiteX93" fmla="*/ 434136 w 746172"/>
                  <a:gd name="connsiteY93" fmla="*/ 488404 h 626785"/>
                  <a:gd name="connsiteX94" fmla="*/ 425996 w 746172"/>
                  <a:gd name="connsiteY94" fmla="*/ 480264 h 626785"/>
                  <a:gd name="connsiteX95" fmla="*/ 417856 w 746172"/>
                  <a:gd name="connsiteY95" fmla="*/ 474837 h 626785"/>
                  <a:gd name="connsiteX96" fmla="*/ 415143 w 746172"/>
                  <a:gd name="connsiteY96" fmla="*/ 466697 h 626785"/>
                  <a:gd name="connsiteX97" fmla="*/ 407003 w 746172"/>
                  <a:gd name="connsiteY97" fmla="*/ 458557 h 626785"/>
                  <a:gd name="connsiteX98" fmla="*/ 404289 w 746172"/>
                  <a:gd name="connsiteY98" fmla="*/ 450417 h 626785"/>
                  <a:gd name="connsiteX99" fmla="*/ 379869 w 746172"/>
                  <a:gd name="connsiteY99" fmla="*/ 439563 h 626785"/>
                  <a:gd name="connsiteX100" fmla="*/ 371729 w 746172"/>
                  <a:gd name="connsiteY100" fmla="*/ 436850 h 626785"/>
                  <a:gd name="connsiteX101" fmla="*/ 363589 w 746172"/>
                  <a:gd name="connsiteY101" fmla="*/ 434137 h 626785"/>
                  <a:gd name="connsiteX102" fmla="*/ 355449 w 746172"/>
                  <a:gd name="connsiteY102" fmla="*/ 390723 h 626785"/>
                  <a:gd name="connsiteX103" fmla="*/ 347309 w 746172"/>
                  <a:gd name="connsiteY103" fmla="*/ 382583 h 626785"/>
                  <a:gd name="connsiteX104" fmla="*/ 341882 w 746172"/>
                  <a:gd name="connsiteY104" fmla="*/ 371730 h 626785"/>
                  <a:gd name="connsiteX105" fmla="*/ 333742 w 746172"/>
                  <a:gd name="connsiteY105" fmla="*/ 363589 h 626785"/>
                  <a:gd name="connsiteX106" fmla="*/ 317462 w 746172"/>
                  <a:gd name="connsiteY106" fmla="*/ 352736 h 626785"/>
                  <a:gd name="connsiteX107" fmla="*/ 309322 w 746172"/>
                  <a:gd name="connsiteY107" fmla="*/ 333743 h 626785"/>
                  <a:gd name="connsiteX108" fmla="*/ 301182 w 746172"/>
                  <a:gd name="connsiteY108" fmla="*/ 331029 h 626785"/>
                  <a:gd name="connsiteX109" fmla="*/ 293042 w 746172"/>
                  <a:gd name="connsiteY109" fmla="*/ 322889 h 626785"/>
                  <a:gd name="connsiteX110" fmla="*/ 284902 w 746172"/>
                  <a:gd name="connsiteY110" fmla="*/ 320176 h 626785"/>
                  <a:gd name="connsiteX111" fmla="*/ 279475 w 746172"/>
                  <a:gd name="connsiteY111" fmla="*/ 312036 h 626785"/>
                  <a:gd name="connsiteX112" fmla="*/ 279475 w 746172"/>
                  <a:gd name="connsiteY112" fmla="*/ 279476 h 626785"/>
                  <a:gd name="connsiteX113" fmla="*/ 274048 w 746172"/>
                  <a:gd name="connsiteY113" fmla="*/ 263195 h 626785"/>
                  <a:gd name="connsiteX114" fmla="*/ 279475 w 746172"/>
                  <a:gd name="connsiteY114" fmla="*/ 246915 h 626785"/>
                  <a:gd name="connsiteX115" fmla="*/ 282189 w 746172"/>
                  <a:gd name="connsiteY115" fmla="*/ 238775 h 626785"/>
                  <a:gd name="connsiteX116" fmla="*/ 298469 w 746172"/>
                  <a:gd name="connsiteY116" fmla="*/ 225208 h 626785"/>
                  <a:gd name="connsiteX117" fmla="*/ 317462 w 746172"/>
                  <a:gd name="connsiteY117" fmla="*/ 227922 h 626785"/>
                  <a:gd name="connsiteX118" fmla="*/ 320176 w 746172"/>
                  <a:gd name="connsiteY118" fmla="*/ 244202 h 626785"/>
                  <a:gd name="connsiteX119" fmla="*/ 328316 w 746172"/>
                  <a:gd name="connsiteY119" fmla="*/ 246915 h 626785"/>
                  <a:gd name="connsiteX120" fmla="*/ 341882 w 746172"/>
                  <a:gd name="connsiteY120" fmla="*/ 260482 h 626785"/>
                  <a:gd name="connsiteX121" fmla="*/ 358162 w 746172"/>
                  <a:gd name="connsiteY121" fmla="*/ 268622 h 626785"/>
                  <a:gd name="connsiteX122" fmla="*/ 369016 w 746172"/>
                  <a:gd name="connsiteY122" fmla="*/ 244202 h 626785"/>
                  <a:gd name="connsiteX123" fmla="*/ 377156 w 746172"/>
                  <a:gd name="connsiteY123" fmla="*/ 238775 h 626785"/>
                  <a:gd name="connsiteX124" fmla="*/ 423283 w 746172"/>
                  <a:gd name="connsiteY124" fmla="*/ 233349 h 626785"/>
                  <a:gd name="connsiteX125" fmla="*/ 431423 w 746172"/>
                  <a:gd name="connsiteY125" fmla="*/ 227922 h 626785"/>
                  <a:gd name="connsiteX126" fmla="*/ 447703 w 746172"/>
                  <a:gd name="connsiteY126" fmla="*/ 238775 h 626785"/>
                  <a:gd name="connsiteX127" fmla="*/ 469410 w 746172"/>
                  <a:gd name="connsiteY127" fmla="*/ 236062 h 626785"/>
                  <a:gd name="connsiteX128" fmla="*/ 477550 w 746172"/>
                  <a:gd name="connsiteY128" fmla="*/ 233349 h 626785"/>
                  <a:gd name="connsiteX129" fmla="*/ 480263 w 746172"/>
                  <a:gd name="connsiteY129" fmla="*/ 241489 h 626785"/>
                  <a:gd name="connsiteX130" fmla="*/ 488403 w 746172"/>
                  <a:gd name="connsiteY130" fmla="*/ 236062 h 626785"/>
                  <a:gd name="connsiteX131" fmla="*/ 496543 w 746172"/>
                  <a:gd name="connsiteY131" fmla="*/ 241489 h 626785"/>
                  <a:gd name="connsiteX132" fmla="*/ 504684 w 746172"/>
                  <a:gd name="connsiteY132" fmla="*/ 238775 h 626785"/>
                  <a:gd name="connsiteX133" fmla="*/ 523677 w 746172"/>
                  <a:gd name="connsiteY133" fmla="*/ 241489 h 626785"/>
                  <a:gd name="connsiteX134" fmla="*/ 545384 w 746172"/>
                  <a:gd name="connsiteY134" fmla="*/ 241489 h 626785"/>
                  <a:gd name="connsiteX135" fmla="*/ 561664 w 746172"/>
                  <a:gd name="connsiteY135" fmla="*/ 246915 h 626785"/>
                  <a:gd name="connsiteX136" fmla="*/ 572517 w 746172"/>
                  <a:gd name="connsiteY136" fmla="*/ 230635 h 626785"/>
                  <a:gd name="connsiteX137" fmla="*/ 586084 w 746172"/>
                  <a:gd name="connsiteY137" fmla="*/ 233349 h 626785"/>
                  <a:gd name="connsiteX138" fmla="*/ 591511 w 746172"/>
                  <a:gd name="connsiteY138" fmla="*/ 241489 h 626785"/>
                  <a:gd name="connsiteX139" fmla="*/ 599651 w 746172"/>
                  <a:gd name="connsiteY139" fmla="*/ 241489 h 626785"/>
                  <a:gd name="connsiteX140" fmla="*/ 610504 w 746172"/>
                  <a:gd name="connsiteY140" fmla="*/ 238775 h 626785"/>
                  <a:gd name="connsiteX141" fmla="*/ 629498 w 746172"/>
                  <a:gd name="connsiteY141" fmla="*/ 246915 h 626785"/>
                  <a:gd name="connsiteX142" fmla="*/ 637638 w 746172"/>
                  <a:gd name="connsiteY142" fmla="*/ 244202 h 626785"/>
                  <a:gd name="connsiteX143" fmla="*/ 640351 w 746172"/>
                  <a:gd name="connsiteY143" fmla="*/ 233349 h 626785"/>
                  <a:gd name="connsiteX144" fmla="*/ 643065 w 746172"/>
                  <a:gd name="connsiteY144" fmla="*/ 241489 h 626785"/>
                  <a:gd name="connsiteX145" fmla="*/ 651205 w 746172"/>
                  <a:gd name="connsiteY145" fmla="*/ 244202 h 626785"/>
                  <a:gd name="connsiteX146" fmla="*/ 656631 w 746172"/>
                  <a:gd name="connsiteY146" fmla="*/ 252342 h 626785"/>
                  <a:gd name="connsiteX147" fmla="*/ 664771 w 746172"/>
                  <a:gd name="connsiteY147" fmla="*/ 257769 h 626785"/>
                  <a:gd name="connsiteX148" fmla="*/ 675625 w 746172"/>
                  <a:gd name="connsiteY148" fmla="*/ 271335 h 626785"/>
                  <a:gd name="connsiteX149" fmla="*/ 691905 w 746172"/>
                  <a:gd name="connsiteY149" fmla="*/ 268622 h 626785"/>
                  <a:gd name="connsiteX150" fmla="*/ 708185 w 746172"/>
                  <a:gd name="connsiteY150" fmla="*/ 263195 h 626785"/>
                  <a:gd name="connsiteX151" fmla="*/ 705472 w 746172"/>
                  <a:gd name="connsiteY151" fmla="*/ 241489 h 626785"/>
                  <a:gd name="connsiteX152" fmla="*/ 710898 w 746172"/>
                  <a:gd name="connsiteY152" fmla="*/ 233349 h 626785"/>
                  <a:gd name="connsiteX153" fmla="*/ 702758 w 746172"/>
                  <a:gd name="connsiteY153" fmla="*/ 217068 h 626785"/>
                  <a:gd name="connsiteX154" fmla="*/ 719038 w 746172"/>
                  <a:gd name="connsiteY154" fmla="*/ 208928 h 626785"/>
                  <a:gd name="connsiteX155" fmla="*/ 727178 w 746172"/>
                  <a:gd name="connsiteY155" fmla="*/ 211642 h 626785"/>
                  <a:gd name="connsiteX156" fmla="*/ 743459 w 746172"/>
                  <a:gd name="connsiteY156" fmla="*/ 203502 h 626785"/>
                  <a:gd name="connsiteX157" fmla="*/ 746172 w 746172"/>
                  <a:gd name="connsiteY157" fmla="*/ 195362 h 626785"/>
                  <a:gd name="connsiteX158" fmla="*/ 738032 w 746172"/>
                  <a:gd name="connsiteY158" fmla="*/ 192648 h 626785"/>
                  <a:gd name="connsiteX159" fmla="*/ 724465 w 746172"/>
                  <a:gd name="connsiteY159" fmla="*/ 189935 h 626785"/>
                  <a:gd name="connsiteX160" fmla="*/ 716325 w 746172"/>
                  <a:gd name="connsiteY160" fmla="*/ 184508 h 626785"/>
                  <a:gd name="connsiteX161" fmla="*/ 697332 w 746172"/>
                  <a:gd name="connsiteY161" fmla="*/ 181795 h 626785"/>
                  <a:gd name="connsiteX162" fmla="*/ 686478 w 746172"/>
                  <a:gd name="connsiteY162" fmla="*/ 179081 h 626785"/>
                  <a:gd name="connsiteX163" fmla="*/ 691905 w 746172"/>
                  <a:gd name="connsiteY163" fmla="*/ 170941 h 626785"/>
                  <a:gd name="connsiteX164" fmla="*/ 705472 w 746172"/>
                  <a:gd name="connsiteY164" fmla="*/ 160088 h 626785"/>
                  <a:gd name="connsiteX165" fmla="*/ 702758 w 746172"/>
                  <a:gd name="connsiteY165" fmla="*/ 151948 h 626785"/>
                  <a:gd name="connsiteX166" fmla="*/ 702758 w 746172"/>
                  <a:gd name="connsiteY166" fmla="*/ 141095 h 626785"/>
                  <a:gd name="connsiteX167" fmla="*/ 678338 w 746172"/>
                  <a:gd name="connsiteY167" fmla="*/ 149235 h 626785"/>
                  <a:gd name="connsiteX168" fmla="*/ 686478 w 746172"/>
                  <a:gd name="connsiteY168" fmla="*/ 143808 h 626785"/>
                  <a:gd name="connsiteX169" fmla="*/ 678338 w 746172"/>
                  <a:gd name="connsiteY169" fmla="*/ 141095 h 626785"/>
                  <a:gd name="connsiteX170" fmla="*/ 686478 w 746172"/>
                  <a:gd name="connsiteY170" fmla="*/ 138381 h 626785"/>
                  <a:gd name="connsiteX171" fmla="*/ 689192 w 746172"/>
                  <a:gd name="connsiteY171" fmla="*/ 130241 h 626785"/>
                  <a:gd name="connsiteX172" fmla="*/ 681051 w 746172"/>
                  <a:gd name="connsiteY172" fmla="*/ 119388 h 626785"/>
                  <a:gd name="connsiteX173" fmla="*/ 667485 w 746172"/>
                  <a:gd name="connsiteY173" fmla="*/ 116674 h 626785"/>
                  <a:gd name="connsiteX174" fmla="*/ 683765 w 746172"/>
                  <a:gd name="connsiteY174" fmla="*/ 111248 h 626785"/>
                  <a:gd name="connsiteX175" fmla="*/ 689192 w 746172"/>
                  <a:gd name="connsiteY175" fmla="*/ 103108 h 626785"/>
                  <a:gd name="connsiteX176" fmla="*/ 678338 w 746172"/>
                  <a:gd name="connsiteY176" fmla="*/ 100394 h 626785"/>
                  <a:gd name="connsiteX177" fmla="*/ 670198 w 746172"/>
                  <a:gd name="connsiteY177" fmla="*/ 97681 h 626785"/>
                  <a:gd name="connsiteX178" fmla="*/ 662058 w 746172"/>
                  <a:gd name="connsiteY178" fmla="*/ 92254 h 626785"/>
                  <a:gd name="connsiteX179" fmla="*/ 664771 w 746172"/>
                  <a:gd name="connsiteY179" fmla="*/ 84114 h 626785"/>
                  <a:gd name="connsiteX180" fmla="*/ 656631 w 746172"/>
                  <a:gd name="connsiteY180" fmla="*/ 78687 h 626785"/>
                  <a:gd name="connsiteX181" fmla="*/ 624071 w 746172"/>
                  <a:gd name="connsiteY181" fmla="*/ 94968 h 626785"/>
                  <a:gd name="connsiteX182" fmla="*/ 607791 w 746172"/>
                  <a:gd name="connsiteY182" fmla="*/ 105821 h 626785"/>
                  <a:gd name="connsiteX183" fmla="*/ 591511 w 746172"/>
                  <a:gd name="connsiteY183" fmla="*/ 111248 h 626785"/>
                  <a:gd name="connsiteX184" fmla="*/ 583371 w 746172"/>
                  <a:gd name="connsiteY184" fmla="*/ 113961 h 626785"/>
                  <a:gd name="connsiteX185" fmla="*/ 515537 w 746172"/>
                  <a:gd name="connsiteY185" fmla="*/ 111248 h 626785"/>
                  <a:gd name="connsiteX186" fmla="*/ 504684 w 746172"/>
                  <a:gd name="connsiteY186" fmla="*/ 97681 h 626785"/>
                  <a:gd name="connsiteX187" fmla="*/ 499257 w 746172"/>
                  <a:gd name="connsiteY187" fmla="*/ 89541 h 626785"/>
                  <a:gd name="connsiteX188" fmla="*/ 480263 w 746172"/>
                  <a:gd name="connsiteY188" fmla="*/ 86827 h 626785"/>
                  <a:gd name="connsiteX189" fmla="*/ 472123 w 746172"/>
                  <a:gd name="connsiteY189" fmla="*/ 84114 h 626785"/>
                  <a:gd name="connsiteX190" fmla="*/ 453130 w 746172"/>
                  <a:gd name="connsiteY190" fmla="*/ 81401 h 626785"/>
                  <a:gd name="connsiteX191" fmla="*/ 450416 w 746172"/>
                  <a:gd name="connsiteY191" fmla="*/ 73261 h 626785"/>
                  <a:gd name="connsiteX192" fmla="*/ 436850 w 746172"/>
                  <a:gd name="connsiteY192" fmla="*/ 59694 h 626785"/>
                  <a:gd name="connsiteX193" fmla="*/ 439563 w 746172"/>
                  <a:gd name="connsiteY193" fmla="*/ 51554 h 626785"/>
                  <a:gd name="connsiteX194" fmla="*/ 423283 w 746172"/>
                  <a:gd name="connsiteY194" fmla="*/ 46127 h 626785"/>
                  <a:gd name="connsiteX195" fmla="*/ 415143 w 746172"/>
                  <a:gd name="connsiteY195" fmla="*/ 43414 h 626785"/>
                  <a:gd name="connsiteX196" fmla="*/ 407003 w 746172"/>
                  <a:gd name="connsiteY196" fmla="*/ 37987 h 626785"/>
                  <a:gd name="connsiteX197" fmla="*/ 398863 w 746172"/>
                  <a:gd name="connsiteY197" fmla="*/ 35274 h 626785"/>
                  <a:gd name="connsiteX198" fmla="*/ 393436 w 746172"/>
                  <a:gd name="connsiteY198" fmla="*/ 27134 h 626785"/>
                  <a:gd name="connsiteX199" fmla="*/ 382583 w 746172"/>
                  <a:gd name="connsiteY199" fmla="*/ 21707 h 626785"/>
                  <a:gd name="connsiteX200" fmla="*/ 374443 w 746172"/>
                  <a:gd name="connsiteY200" fmla="*/ 13567 h 626785"/>
                  <a:gd name="connsiteX201" fmla="*/ 350022 w 746172"/>
                  <a:gd name="connsiteY201" fmla="*/ 0 h 626785"/>
                  <a:gd name="connsiteX202" fmla="*/ 333742 w 746172"/>
                  <a:gd name="connsiteY202" fmla="*/ 2714 h 626785"/>
                  <a:gd name="connsiteX203" fmla="*/ 333742 w 746172"/>
                  <a:gd name="connsiteY203" fmla="*/ 24420 h 626785"/>
                  <a:gd name="connsiteX204" fmla="*/ 314749 w 746172"/>
                  <a:gd name="connsiteY204" fmla="*/ 35274 h 626785"/>
                  <a:gd name="connsiteX205" fmla="*/ 303895 w 746172"/>
                  <a:gd name="connsiteY205" fmla="*/ 32560 h 626785"/>
                  <a:gd name="connsiteX206" fmla="*/ 293042 w 746172"/>
                  <a:gd name="connsiteY206" fmla="*/ 46127 h 626785"/>
                  <a:gd name="connsiteX207" fmla="*/ 284902 w 746172"/>
                  <a:gd name="connsiteY207" fmla="*/ 48841 h 626785"/>
                  <a:gd name="connsiteX208" fmla="*/ 260482 w 746172"/>
                  <a:gd name="connsiteY208" fmla="*/ 62407 h 626785"/>
                  <a:gd name="connsiteX209" fmla="*/ 252342 w 746172"/>
                  <a:gd name="connsiteY209" fmla="*/ 70547 h 626785"/>
                  <a:gd name="connsiteX210" fmla="*/ 249628 w 746172"/>
                  <a:gd name="connsiteY210" fmla="*/ 78687 h 626785"/>
                  <a:gd name="connsiteX211" fmla="*/ 252342 w 746172"/>
                  <a:gd name="connsiteY211" fmla="*/ 86827 h 626785"/>
                  <a:gd name="connsiteX212" fmla="*/ 260482 w 746172"/>
                  <a:gd name="connsiteY212" fmla="*/ 89541 h 626785"/>
                  <a:gd name="connsiteX213" fmla="*/ 274048 w 746172"/>
                  <a:gd name="connsiteY213" fmla="*/ 92254 h 626785"/>
                  <a:gd name="connsiteX214" fmla="*/ 271335 w 746172"/>
                  <a:gd name="connsiteY214" fmla="*/ 122101 h 626785"/>
                  <a:gd name="connsiteX215" fmla="*/ 268622 w 746172"/>
                  <a:gd name="connsiteY215" fmla="*/ 143808 h 626785"/>
                  <a:gd name="connsiteX216" fmla="*/ 260482 w 746172"/>
                  <a:gd name="connsiteY216" fmla="*/ 149235 h 626785"/>
                  <a:gd name="connsiteX217" fmla="*/ 249628 w 746172"/>
                  <a:gd name="connsiteY217" fmla="*/ 151948 h 626785"/>
                  <a:gd name="connsiteX218" fmla="*/ 241488 w 746172"/>
                  <a:gd name="connsiteY218" fmla="*/ 149235 h 626785"/>
                  <a:gd name="connsiteX219" fmla="*/ 233348 w 746172"/>
                  <a:gd name="connsiteY219" fmla="*/ 151948 h 626785"/>
                  <a:gd name="connsiteX220" fmla="*/ 211641 w 746172"/>
                  <a:gd name="connsiteY220" fmla="*/ 157375 h 626785"/>
                  <a:gd name="connsiteX221" fmla="*/ 214355 w 746172"/>
                  <a:gd name="connsiteY221" fmla="*/ 165515 h 626785"/>
                  <a:gd name="connsiteX222" fmla="*/ 222495 w 746172"/>
                  <a:gd name="connsiteY222" fmla="*/ 173655 h 626785"/>
                  <a:gd name="connsiteX223" fmla="*/ 227921 w 746172"/>
                  <a:gd name="connsiteY223" fmla="*/ 181795 h 626785"/>
                  <a:gd name="connsiteX224" fmla="*/ 230635 w 746172"/>
                  <a:gd name="connsiteY224" fmla="*/ 198075 h 626785"/>
                  <a:gd name="connsiteX225" fmla="*/ 222495 w 746172"/>
                  <a:gd name="connsiteY225" fmla="*/ 203502 h 626785"/>
                  <a:gd name="connsiteX226" fmla="*/ 208928 w 746172"/>
                  <a:gd name="connsiteY226" fmla="*/ 214355 h 626785"/>
                  <a:gd name="connsiteX227" fmla="*/ 200788 w 746172"/>
                  <a:gd name="connsiteY227" fmla="*/ 211642 h 626785"/>
                  <a:gd name="connsiteX228" fmla="*/ 184508 w 746172"/>
                  <a:gd name="connsiteY228" fmla="*/ 203502 h 626785"/>
                  <a:gd name="connsiteX229" fmla="*/ 227921 w 746172"/>
                  <a:gd name="connsiteY229" fmla="*/ 195362 h 626785"/>
                  <a:gd name="connsiteX0" fmla="*/ 227921 w 746172"/>
                  <a:gd name="connsiteY0" fmla="*/ 195362 h 626785"/>
                  <a:gd name="connsiteX1" fmla="*/ 214355 w 746172"/>
                  <a:gd name="connsiteY1" fmla="*/ 206215 h 626785"/>
                  <a:gd name="connsiteX2" fmla="*/ 206215 w 746172"/>
                  <a:gd name="connsiteY2" fmla="*/ 211642 h 626785"/>
                  <a:gd name="connsiteX3" fmla="*/ 203501 w 746172"/>
                  <a:gd name="connsiteY3" fmla="*/ 219782 h 626785"/>
                  <a:gd name="connsiteX4" fmla="*/ 184508 w 746172"/>
                  <a:gd name="connsiteY4" fmla="*/ 200788 h 626785"/>
                  <a:gd name="connsiteX5" fmla="*/ 165514 w 746172"/>
                  <a:gd name="connsiteY5" fmla="*/ 203502 h 626785"/>
                  <a:gd name="connsiteX6" fmla="*/ 157374 w 746172"/>
                  <a:gd name="connsiteY6" fmla="*/ 208928 h 626785"/>
                  <a:gd name="connsiteX7" fmla="*/ 151948 w 746172"/>
                  <a:gd name="connsiteY7" fmla="*/ 200788 h 626785"/>
                  <a:gd name="connsiteX8" fmla="*/ 143808 w 746172"/>
                  <a:gd name="connsiteY8" fmla="*/ 195362 h 626785"/>
                  <a:gd name="connsiteX9" fmla="*/ 130241 w 746172"/>
                  <a:gd name="connsiteY9" fmla="*/ 179081 h 626785"/>
                  <a:gd name="connsiteX10" fmla="*/ 122101 w 746172"/>
                  <a:gd name="connsiteY10" fmla="*/ 184508 h 626785"/>
                  <a:gd name="connsiteX11" fmla="*/ 113961 w 746172"/>
                  <a:gd name="connsiteY11" fmla="*/ 192648 h 626785"/>
                  <a:gd name="connsiteX12" fmla="*/ 97681 w 746172"/>
                  <a:gd name="connsiteY12" fmla="*/ 200788 h 626785"/>
                  <a:gd name="connsiteX13" fmla="*/ 65120 w 746172"/>
                  <a:gd name="connsiteY13" fmla="*/ 200788 h 626785"/>
                  <a:gd name="connsiteX14" fmla="*/ 54267 w 746172"/>
                  <a:gd name="connsiteY14" fmla="*/ 217068 h 626785"/>
                  <a:gd name="connsiteX15" fmla="*/ 37987 w 746172"/>
                  <a:gd name="connsiteY15" fmla="*/ 214355 h 626785"/>
                  <a:gd name="connsiteX16" fmla="*/ 27133 w 746172"/>
                  <a:gd name="connsiteY16" fmla="*/ 211642 h 626785"/>
                  <a:gd name="connsiteX17" fmla="*/ 0 w 746172"/>
                  <a:gd name="connsiteY17" fmla="*/ 214355 h 626785"/>
                  <a:gd name="connsiteX18" fmla="*/ 8140 w 746172"/>
                  <a:gd name="connsiteY18" fmla="*/ 233349 h 626785"/>
                  <a:gd name="connsiteX19" fmla="*/ 10853 w 746172"/>
                  <a:gd name="connsiteY19" fmla="*/ 244202 h 626785"/>
                  <a:gd name="connsiteX20" fmla="*/ 16280 w 746172"/>
                  <a:gd name="connsiteY20" fmla="*/ 263195 h 626785"/>
                  <a:gd name="connsiteX21" fmla="*/ 27133 w 746172"/>
                  <a:gd name="connsiteY21" fmla="*/ 265909 h 626785"/>
                  <a:gd name="connsiteX22" fmla="*/ 13567 w 746172"/>
                  <a:gd name="connsiteY22" fmla="*/ 276762 h 626785"/>
                  <a:gd name="connsiteX23" fmla="*/ 18993 w 746172"/>
                  <a:gd name="connsiteY23" fmla="*/ 284902 h 626785"/>
                  <a:gd name="connsiteX24" fmla="*/ 21707 w 746172"/>
                  <a:gd name="connsiteY24" fmla="*/ 293042 h 626785"/>
                  <a:gd name="connsiteX25" fmla="*/ 35273 w 746172"/>
                  <a:gd name="connsiteY25" fmla="*/ 322889 h 626785"/>
                  <a:gd name="connsiteX26" fmla="*/ 43413 w 746172"/>
                  <a:gd name="connsiteY26" fmla="*/ 339169 h 626785"/>
                  <a:gd name="connsiteX27" fmla="*/ 54267 w 746172"/>
                  <a:gd name="connsiteY27" fmla="*/ 341883 h 626785"/>
                  <a:gd name="connsiteX28" fmla="*/ 62407 w 746172"/>
                  <a:gd name="connsiteY28" fmla="*/ 328316 h 626785"/>
                  <a:gd name="connsiteX29" fmla="*/ 65120 w 746172"/>
                  <a:gd name="connsiteY29" fmla="*/ 320176 h 626785"/>
                  <a:gd name="connsiteX30" fmla="*/ 70547 w 746172"/>
                  <a:gd name="connsiteY30" fmla="*/ 312036 h 626785"/>
                  <a:gd name="connsiteX31" fmla="*/ 86827 w 746172"/>
                  <a:gd name="connsiteY31" fmla="*/ 303896 h 626785"/>
                  <a:gd name="connsiteX32" fmla="*/ 84114 w 746172"/>
                  <a:gd name="connsiteY32" fmla="*/ 295756 h 626785"/>
                  <a:gd name="connsiteX33" fmla="*/ 89540 w 746172"/>
                  <a:gd name="connsiteY33" fmla="*/ 274049 h 626785"/>
                  <a:gd name="connsiteX34" fmla="*/ 92254 w 746172"/>
                  <a:gd name="connsiteY34" fmla="*/ 260482 h 626785"/>
                  <a:gd name="connsiteX35" fmla="*/ 97681 w 746172"/>
                  <a:gd name="connsiteY35" fmla="*/ 244202 h 626785"/>
                  <a:gd name="connsiteX36" fmla="*/ 105821 w 746172"/>
                  <a:gd name="connsiteY36" fmla="*/ 241489 h 626785"/>
                  <a:gd name="connsiteX37" fmla="*/ 127527 w 746172"/>
                  <a:gd name="connsiteY37" fmla="*/ 244202 h 626785"/>
                  <a:gd name="connsiteX38" fmla="*/ 135667 w 746172"/>
                  <a:gd name="connsiteY38" fmla="*/ 246915 h 626785"/>
                  <a:gd name="connsiteX39" fmla="*/ 141094 w 746172"/>
                  <a:gd name="connsiteY39" fmla="*/ 255055 h 626785"/>
                  <a:gd name="connsiteX40" fmla="*/ 149234 w 746172"/>
                  <a:gd name="connsiteY40" fmla="*/ 263195 h 626785"/>
                  <a:gd name="connsiteX41" fmla="*/ 157374 w 746172"/>
                  <a:gd name="connsiteY41" fmla="*/ 279476 h 626785"/>
                  <a:gd name="connsiteX42" fmla="*/ 165514 w 746172"/>
                  <a:gd name="connsiteY42" fmla="*/ 284902 h 626785"/>
                  <a:gd name="connsiteX43" fmla="*/ 168228 w 746172"/>
                  <a:gd name="connsiteY43" fmla="*/ 320176 h 626785"/>
                  <a:gd name="connsiteX44" fmla="*/ 170941 w 746172"/>
                  <a:gd name="connsiteY44" fmla="*/ 328316 h 626785"/>
                  <a:gd name="connsiteX45" fmla="*/ 173654 w 746172"/>
                  <a:gd name="connsiteY45" fmla="*/ 341883 h 626785"/>
                  <a:gd name="connsiteX46" fmla="*/ 184508 w 746172"/>
                  <a:gd name="connsiteY46" fmla="*/ 358163 h 626785"/>
                  <a:gd name="connsiteX47" fmla="*/ 192648 w 746172"/>
                  <a:gd name="connsiteY47" fmla="*/ 374443 h 626785"/>
                  <a:gd name="connsiteX48" fmla="*/ 217068 w 746172"/>
                  <a:gd name="connsiteY48" fmla="*/ 388010 h 626785"/>
                  <a:gd name="connsiteX49" fmla="*/ 225208 w 746172"/>
                  <a:gd name="connsiteY49" fmla="*/ 393436 h 626785"/>
                  <a:gd name="connsiteX50" fmla="*/ 236062 w 746172"/>
                  <a:gd name="connsiteY50" fmla="*/ 407003 h 626785"/>
                  <a:gd name="connsiteX51" fmla="*/ 241488 w 746172"/>
                  <a:gd name="connsiteY51" fmla="*/ 415143 h 626785"/>
                  <a:gd name="connsiteX52" fmla="*/ 257768 w 746172"/>
                  <a:gd name="connsiteY52" fmla="*/ 423283 h 626785"/>
                  <a:gd name="connsiteX53" fmla="*/ 222495 w 746172"/>
                  <a:gd name="connsiteY53" fmla="*/ 428710 h 626785"/>
                  <a:gd name="connsiteX54" fmla="*/ 214355 w 746172"/>
                  <a:gd name="connsiteY54" fmla="*/ 431423 h 626785"/>
                  <a:gd name="connsiteX55" fmla="*/ 219781 w 746172"/>
                  <a:gd name="connsiteY55" fmla="*/ 442277 h 626785"/>
                  <a:gd name="connsiteX56" fmla="*/ 230635 w 746172"/>
                  <a:gd name="connsiteY56" fmla="*/ 453130 h 626785"/>
                  <a:gd name="connsiteX57" fmla="*/ 241488 w 746172"/>
                  <a:gd name="connsiteY57" fmla="*/ 469410 h 626785"/>
                  <a:gd name="connsiteX58" fmla="*/ 249628 w 746172"/>
                  <a:gd name="connsiteY58" fmla="*/ 474837 h 626785"/>
                  <a:gd name="connsiteX59" fmla="*/ 257768 w 746172"/>
                  <a:gd name="connsiteY59" fmla="*/ 482977 h 626785"/>
                  <a:gd name="connsiteX60" fmla="*/ 268622 w 746172"/>
                  <a:gd name="connsiteY60" fmla="*/ 488404 h 626785"/>
                  <a:gd name="connsiteX61" fmla="*/ 276762 w 746172"/>
                  <a:gd name="connsiteY61" fmla="*/ 496544 h 626785"/>
                  <a:gd name="connsiteX62" fmla="*/ 293042 w 746172"/>
                  <a:gd name="connsiteY62" fmla="*/ 504684 h 626785"/>
                  <a:gd name="connsiteX63" fmla="*/ 309322 w 746172"/>
                  <a:gd name="connsiteY63" fmla="*/ 515537 h 626785"/>
                  <a:gd name="connsiteX64" fmla="*/ 317462 w 746172"/>
                  <a:gd name="connsiteY64" fmla="*/ 531817 h 626785"/>
                  <a:gd name="connsiteX65" fmla="*/ 320176 w 746172"/>
                  <a:gd name="connsiteY65" fmla="*/ 539957 h 626785"/>
                  <a:gd name="connsiteX66" fmla="*/ 328316 w 746172"/>
                  <a:gd name="connsiteY66" fmla="*/ 542671 h 626785"/>
                  <a:gd name="connsiteX67" fmla="*/ 347309 w 746172"/>
                  <a:gd name="connsiteY67" fmla="*/ 539957 h 626785"/>
                  <a:gd name="connsiteX68" fmla="*/ 366303 w 746172"/>
                  <a:gd name="connsiteY68" fmla="*/ 542671 h 626785"/>
                  <a:gd name="connsiteX69" fmla="*/ 382583 w 746172"/>
                  <a:gd name="connsiteY69" fmla="*/ 537244 h 626785"/>
                  <a:gd name="connsiteX70" fmla="*/ 415143 w 746172"/>
                  <a:gd name="connsiteY70" fmla="*/ 550811 h 626785"/>
                  <a:gd name="connsiteX71" fmla="*/ 415143 w 746172"/>
                  <a:gd name="connsiteY71" fmla="*/ 550811 h 626785"/>
                  <a:gd name="connsiteX72" fmla="*/ 439563 w 746172"/>
                  <a:gd name="connsiteY72" fmla="*/ 558951 h 626785"/>
                  <a:gd name="connsiteX73" fmla="*/ 447703 w 746172"/>
                  <a:gd name="connsiteY73" fmla="*/ 561664 h 626785"/>
                  <a:gd name="connsiteX74" fmla="*/ 463983 w 746172"/>
                  <a:gd name="connsiteY74" fmla="*/ 564378 h 626785"/>
                  <a:gd name="connsiteX75" fmla="*/ 472123 w 746172"/>
                  <a:gd name="connsiteY75" fmla="*/ 569804 h 626785"/>
                  <a:gd name="connsiteX76" fmla="*/ 477550 w 746172"/>
                  <a:gd name="connsiteY76" fmla="*/ 577944 h 626785"/>
                  <a:gd name="connsiteX77" fmla="*/ 493830 w 746172"/>
                  <a:gd name="connsiteY77" fmla="*/ 588798 h 626785"/>
                  <a:gd name="connsiteX78" fmla="*/ 501970 w 746172"/>
                  <a:gd name="connsiteY78" fmla="*/ 594224 h 626785"/>
                  <a:gd name="connsiteX79" fmla="*/ 518250 w 746172"/>
                  <a:gd name="connsiteY79" fmla="*/ 602365 h 626785"/>
                  <a:gd name="connsiteX80" fmla="*/ 534530 w 746172"/>
                  <a:gd name="connsiteY80" fmla="*/ 607791 h 626785"/>
                  <a:gd name="connsiteX81" fmla="*/ 558951 w 746172"/>
                  <a:gd name="connsiteY81" fmla="*/ 626785 h 626785"/>
                  <a:gd name="connsiteX82" fmla="*/ 564377 w 746172"/>
                  <a:gd name="connsiteY82" fmla="*/ 610505 h 626785"/>
                  <a:gd name="connsiteX83" fmla="*/ 545384 w 746172"/>
                  <a:gd name="connsiteY83" fmla="*/ 586084 h 626785"/>
                  <a:gd name="connsiteX84" fmla="*/ 526390 w 746172"/>
                  <a:gd name="connsiteY84" fmla="*/ 561664 h 626785"/>
                  <a:gd name="connsiteX85" fmla="*/ 518250 w 746172"/>
                  <a:gd name="connsiteY85" fmla="*/ 556238 h 626785"/>
                  <a:gd name="connsiteX86" fmla="*/ 512824 w 746172"/>
                  <a:gd name="connsiteY86" fmla="*/ 539957 h 626785"/>
                  <a:gd name="connsiteX87" fmla="*/ 504684 w 746172"/>
                  <a:gd name="connsiteY87" fmla="*/ 523677 h 626785"/>
                  <a:gd name="connsiteX88" fmla="*/ 496543 w 746172"/>
                  <a:gd name="connsiteY88" fmla="*/ 520964 h 626785"/>
                  <a:gd name="connsiteX89" fmla="*/ 477550 w 746172"/>
                  <a:gd name="connsiteY89" fmla="*/ 518251 h 626785"/>
                  <a:gd name="connsiteX90" fmla="*/ 461270 w 746172"/>
                  <a:gd name="connsiteY90" fmla="*/ 507397 h 626785"/>
                  <a:gd name="connsiteX91" fmla="*/ 453130 w 746172"/>
                  <a:gd name="connsiteY91" fmla="*/ 501970 h 626785"/>
                  <a:gd name="connsiteX92" fmla="*/ 434136 w 746172"/>
                  <a:gd name="connsiteY92" fmla="*/ 488404 h 626785"/>
                  <a:gd name="connsiteX93" fmla="*/ 425996 w 746172"/>
                  <a:gd name="connsiteY93" fmla="*/ 480264 h 626785"/>
                  <a:gd name="connsiteX94" fmla="*/ 417856 w 746172"/>
                  <a:gd name="connsiteY94" fmla="*/ 474837 h 626785"/>
                  <a:gd name="connsiteX95" fmla="*/ 415143 w 746172"/>
                  <a:gd name="connsiteY95" fmla="*/ 466697 h 626785"/>
                  <a:gd name="connsiteX96" fmla="*/ 407003 w 746172"/>
                  <a:gd name="connsiteY96" fmla="*/ 458557 h 626785"/>
                  <a:gd name="connsiteX97" fmla="*/ 404289 w 746172"/>
                  <a:gd name="connsiteY97" fmla="*/ 450417 h 626785"/>
                  <a:gd name="connsiteX98" fmla="*/ 379869 w 746172"/>
                  <a:gd name="connsiteY98" fmla="*/ 439563 h 626785"/>
                  <a:gd name="connsiteX99" fmla="*/ 371729 w 746172"/>
                  <a:gd name="connsiteY99" fmla="*/ 436850 h 626785"/>
                  <a:gd name="connsiteX100" fmla="*/ 363589 w 746172"/>
                  <a:gd name="connsiteY100" fmla="*/ 434137 h 626785"/>
                  <a:gd name="connsiteX101" fmla="*/ 355449 w 746172"/>
                  <a:gd name="connsiteY101" fmla="*/ 390723 h 626785"/>
                  <a:gd name="connsiteX102" fmla="*/ 347309 w 746172"/>
                  <a:gd name="connsiteY102" fmla="*/ 382583 h 626785"/>
                  <a:gd name="connsiteX103" fmla="*/ 341882 w 746172"/>
                  <a:gd name="connsiteY103" fmla="*/ 371730 h 626785"/>
                  <a:gd name="connsiteX104" fmla="*/ 333742 w 746172"/>
                  <a:gd name="connsiteY104" fmla="*/ 363589 h 626785"/>
                  <a:gd name="connsiteX105" fmla="*/ 317462 w 746172"/>
                  <a:gd name="connsiteY105" fmla="*/ 352736 h 626785"/>
                  <a:gd name="connsiteX106" fmla="*/ 309322 w 746172"/>
                  <a:gd name="connsiteY106" fmla="*/ 333743 h 626785"/>
                  <a:gd name="connsiteX107" fmla="*/ 301182 w 746172"/>
                  <a:gd name="connsiteY107" fmla="*/ 331029 h 626785"/>
                  <a:gd name="connsiteX108" fmla="*/ 293042 w 746172"/>
                  <a:gd name="connsiteY108" fmla="*/ 322889 h 626785"/>
                  <a:gd name="connsiteX109" fmla="*/ 284902 w 746172"/>
                  <a:gd name="connsiteY109" fmla="*/ 320176 h 626785"/>
                  <a:gd name="connsiteX110" fmla="*/ 279475 w 746172"/>
                  <a:gd name="connsiteY110" fmla="*/ 312036 h 626785"/>
                  <a:gd name="connsiteX111" fmla="*/ 279475 w 746172"/>
                  <a:gd name="connsiteY111" fmla="*/ 279476 h 626785"/>
                  <a:gd name="connsiteX112" fmla="*/ 274048 w 746172"/>
                  <a:gd name="connsiteY112" fmla="*/ 263195 h 626785"/>
                  <a:gd name="connsiteX113" fmla="*/ 279475 w 746172"/>
                  <a:gd name="connsiteY113" fmla="*/ 246915 h 626785"/>
                  <a:gd name="connsiteX114" fmla="*/ 282189 w 746172"/>
                  <a:gd name="connsiteY114" fmla="*/ 238775 h 626785"/>
                  <a:gd name="connsiteX115" fmla="*/ 298469 w 746172"/>
                  <a:gd name="connsiteY115" fmla="*/ 225208 h 626785"/>
                  <a:gd name="connsiteX116" fmla="*/ 317462 w 746172"/>
                  <a:gd name="connsiteY116" fmla="*/ 227922 h 626785"/>
                  <a:gd name="connsiteX117" fmla="*/ 320176 w 746172"/>
                  <a:gd name="connsiteY117" fmla="*/ 244202 h 626785"/>
                  <a:gd name="connsiteX118" fmla="*/ 328316 w 746172"/>
                  <a:gd name="connsiteY118" fmla="*/ 246915 h 626785"/>
                  <a:gd name="connsiteX119" fmla="*/ 341882 w 746172"/>
                  <a:gd name="connsiteY119" fmla="*/ 260482 h 626785"/>
                  <a:gd name="connsiteX120" fmla="*/ 358162 w 746172"/>
                  <a:gd name="connsiteY120" fmla="*/ 268622 h 626785"/>
                  <a:gd name="connsiteX121" fmla="*/ 369016 w 746172"/>
                  <a:gd name="connsiteY121" fmla="*/ 244202 h 626785"/>
                  <a:gd name="connsiteX122" fmla="*/ 377156 w 746172"/>
                  <a:gd name="connsiteY122" fmla="*/ 238775 h 626785"/>
                  <a:gd name="connsiteX123" fmla="*/ 423283 w 746172"/>
                  <a:gd name="connsiteY123" fmla="*/ 233349 h 626785"/>
                  <a:gd name="connsiteX124" fmla="*/ 431423 w 746172"/>
                  <a:gd name="connsiteY124" fmla="*/ 227922 h 626785"/>
                  <a:gd name="connsiteX125" fmla="*/ 447703 w 746172"/>
                  <a:gd name="connsiteY125" fmla="*/ 238775 h 626785"/>
                  <a:gd name="connsiteX126" fmla="*/ 469410 w 746172"/>
                  <a:gd name="connsiteY126" fmla="*/ 236062 h 626785"/>
                  <a:gd name="connsiteX127" fmla="*/ 477550 w 746172"/>
                  <a:gd name="connsiteY127" fmla="*/ 233349 h 626785"/>
                  <a:gd name="connsiteX128" fmla="*/ 480263 w 746172"/>
                  <a:gd name="connsiteY128" fmla="*/ 241489 h 626785"/>
                  <a:gd name="connsiteX129" fmla="*/ 488403 w 746172"/>
                  <a:gd name="connsiteY129" fmla="*/ 236062 h 626785"/>
                  <a:gd name="connsiteX130" fmla="*/ 496543 w 746172"/>
                  <a:gd name="connsiteY130" fmla="*/ 241489 h 626785"/>
                  <a:gd name="connsiteX131" fmla="*/ 504684 w 746172"/>
                  <a:gd name="connsiteY131" fmla="*/ 238775 h 626785"/>
                  <a:gd name="connsiteX132" fmla="*/ 523677 w 746172"/>
                  <a:gd name="connsiteY132" fmla="*/ 241489 h 626785"/>
                  <a:gd name="connsiteX133" fmla="*/ 545384 w 746172"/>
                  <a:gd name="connsiteY133" fmla="*/ 241489 h 626785"/>
                  <a:gd name="connsiteX134" fmla="*/ 561664 w 746172"/>
                  <a:gd name="connsiteY134" fmla="*/ 246915 h 626785"/>
                  <a:gd name="connsiteX135" fmla="*/ 572517 w 746172"/>
                  <a:gd name="connsiteY135" fmla="*/ 230635 h 626785"/>
                  <a:gd name="connsiteX136" fmla="*/ 586084 w 746172"/>
                  <a:gd name="connsiteY136" fmla="*/ 233349 h 626785"/>
                  <a:gd name="connsiteX137" fmla="*/ 591511 w 746172"/>
                  <a:gd name="connsiteY137" fmla="*/ 241489 h 626785"/>
                  <a:gd name="connsiteX138" fmla="*/ 599651 w 746172"/>
                  <a:gd name="connsiteY138" fmla="*/ 241489 h 626785"/>
                  <a:gd name="connsiteX139" fmla="*/ 610504 w 746172"/>
                  <a:gd name="connsiteY139" fmla="*/ 238775 h 626785"/>
                  <a:gd name="connsiteX140" fmla="*/ 629498 w 746172"/>
                  <a:gd name="connsiteY140" fmla="*/ 246915 h 626785"/>
                  <a:gd name="connsiteX141" fmla="*/ 637638 w 746172"/>
                  <a:gd name="connsiteY141" fmla="*/ 244202 h 626785"/>
                  <a:gd name="connsiteX142" fmla="*/ 640351 w 746172"/>
                  <a:gd name="connsiteY142" fmla="*/ 233349 h 626785"/>
                  <a:gd name="connsiteX143" fmla="*/ 643065 w 746172"/>
                  <a:gd name="connsiteY143" fmla="*/ 241489 h 626785"/>
                  <a:gd name="connsiteX144" fmla="*/ 651205 w 746172"/>
                  <a:gd name="connsiteY144" fmla="*/ 244202 h 626785"/>
                  <a:gd name="connsiteX145" fmla="*/ 656631 w 746172"/>
                  <a:gd name="connsiteY145" fmla="*/ 252342 h 626785"/>
                  <a:gd name="connsiteX146" fmla="*/ 664771 w 746172"/>
                  <a:gd name="connsiteY146" fmla="*/ 257769 h 626785"/>
                  <a:gd name="connsiteX147" fmla="*/ 675625 w 746172"/>
                  <a:gd name="connsiteY147" fmla="*/ 271335 h 626785"/>
                  <a:gd name="connsiteX148" fmla="*/ 691905 w 746172"/>
                  <a:gd name="connsiteY148" fmla="*/ 268622 h 626785"/>
                  <a:gd name="connsiteX149" fmla="*/ 708185 w 746172"/>
                  <a:gd name="connsiteY149" fmla="*/ 263195 h 626785"/>
                  <a:gd name="connsiteX150" fmla="*/ 705472 w 746172"/>
                  <a:gd name="connsiteY150" fmla="*/ 241489 h 626785"/>
                  <a:gd name="connsiteX151" fmla="*/ 710898 w 746172"/>
                  <a:gd name="connsiteY151" fmla="*/ 233349 h 626785"/>
                  <a:gd name="connsiteX152" fmla="*/ 702758 w 746172"/>
                  <a:gd name="connsiteY152" fmla="*/ 217068 h 626785"/>
                  <a:gd name="connsiteX153" fmla="*/ 719038 w 746172"/>
                  <a:gd name="connsiteY153" fmla="*/ 208928 h 626785"/>
                  <a:gd name="connsiteX154" fmla="*/ 727178 w 746172"/>
                  <a:gd name="connsiteY154" fmla="*/ 211642 h 626785"/>
                  <a:gd name="connsiteX155" fmla="*/ 743459 w 746172"/>
                  <a:gd name="connsiteY155" fmla="*/ 203502 h 626785"/>
                  <a:gd name="connsiteX156" fmla="*/ 746172 w 746172"/>
                  <a:gd name="connsiteY156" fmla="*/ 195362 h 626785"/>
                  <a:gd name="connsiteX157" fmla="*/ 738032 w 746172"/>
                  <a:gd name="connsiteY157" fmla="*/ 192648 h 626785"/>
                  <a:gd name="connsiteX158" fmla="*/ 724465 w 746172"/>
                  <a:gd name="connsiteY158" fmla="*/ 189935 h 626785"/>
                  <a:gd name="connsiteX159" fmla="*/ 716325 w 746172"/>
                  <a:gd name="connsiteY159" fmla="*/ 184508 h 626785"/>
                  <a:gd name="connsiteX160" fmla="*/ 697332 w 746172"/>
                  <a:gd name="connsiteY160" fmla="*/ 181795 h 626785"/>
                  <a:gd name="connsiteX161" fmla="*/ 686478 w 746172"/>
                  <a:gd name="connsiteY161" fmla="*/ 179081 h 626785"/>
                  <a:gd name="connsiteX162" fmla="*/ 691905 w 746172"/>
                  <a:gd name="connsiteY162" fmla="*/ 170941 h 626785"/>
                  <a:gd name="connsiteX163" fmla="*/ 705472 w 746172"/>
                  <a:gd name="connsiteY163" fmla="*/ 160088 h 626785"/>
                  <a:gd name="connsiteX164" fmla="*/ 702758 w 746172"/>
                  <a:gd name="connsiteY164" fmla="*/ 151948 h 626785"/>
                  <a:gd name="connsiteX165" fmla="*/ 702758 w 746172"/>
                  <a:gd name="connsiteY165" fmla="*/ 141095 h 626785"/>
                  <a:gd name="connsiteX166" fmla="*/ 678338 w 746172"/>
                  <a:gd name="connsiteY166" fmla="*/ 149235 h 626785"/>
                  <a:gd name="connsiteX167" fmla="*/ 686478 w 746172"/>
                  <a:gd name="connsiteY167" fmla="*/ 143808 h 626785"/>
                  <a:gd name="connsiteX168" fmla="*/ 678338 w 746172"/>
                  <a:gd name="connsiteY168" fmla="*/ 141095 h 626785"/>
                  <a:gd name="connsiteX169" fmla="*/ 686478 w 746172"/>
                  <a:gd name="connsiteY169" fmla="*/ 138381 h 626785"/>
                  <a:gd name="connsiteX170" fmla="*/ 689192 w 746172"/>
                  <a:gd name="connsiteY170" fmla="*/ 130241 h 626785"/>
                  <a:gd name="connsiteX171" fmla="*/ 681051 w 746172"/>
                  <a:gd name="connsiteY171" fmla="*/ 119388 h 626785"/>
                  <a:gd name="connsiteX172" fmla="*/ 667485 w 746172"/>
                  <a:gd name="connsiteY172" fmla="*/ 116674 h 626785"/>
                  <a:gd name="connsiteX173" fmla="*/ 683765 w 746172"/>
                  <a:gd name="connsiteY173" fmla="*/ 111248 h 626785"/>
                  <a:gd name="connsiteX174" fmla="*/ 689192 w 746172"/>
                  <a:gd name="connsiteY174" fmla="*/ 103108 h 626785"/>
                  <a:gd name="connsiteX175" fmla="*/ 678338 w 746172"/>
                  <a:gd name="connsiteY175" fmla="*/ 100394 h 626785"/>
                  <a:gd name="connsiteX176" fmla="*/ 670198 w 746172"/>
                  <a:gd name="connsiteY176" fmla="*/ 97681 h 626785"/>
                  <a:gd name="connsiteX177" fmla="*/ 662058 w 746172"/>
                  <a:gd name="connsiteY177" fmla="*/ 92254 h 626785"/>
                  <a:gd name="connsiteX178" fmla="*/ 664771 w 746172"/>
                  <a:gd name="connsiteY178" fmla="*/ 84114 h 626785"/>
                  <a:gd name="connsiteX179" fmla="*/ 656631 w 746172"/>
                  <a:gd name="connsiteY179" fmla="*/ 78687 h 626785"/>
                  <a:gd name="connsiteX180" fmla="*/ 624071 w 746172"/>
                  <a:gd name="connsiteY180" fmla="*/ 94968 h 626785"/>
                  <a:gd name="connsiteX181" fmla="*/ 607791 w 746172"/>
                  <a:gd name="connsiteY181" fmla="*/ 105821 h 626785"/>
                  <a:gd name="connsiteX182" fmla="*/ 591511 w 746172"/>
                  <a:gd name="connsiteY182" fmla="*/ 111248 h 626785"/>
                  <a:gd name="connsiteX183" fmla="*/ 583371 w 746172"/>
                  <a:gd name="connsiteY183" fmla="*/ 113961 h 626785"/>
                  <a:gd name="connsiteX184" fmla="*/ 515537 w 746172"/>
                  <a:gd name="connsiteY184" fmla="*/ 111248 h 626785"/>
                  <a:gd name="connsiteX185" fmla="*/ 504684 w 746172"/>
                  <a:gd name="connsiteY185" fmla="*/ 97681 h 626785"/>
                  <a:gd name="connsiteX186" fmla="*/ 499257 w 746172"/>
                  <a:gd name="connsiteY186" fmla="*/ 89541 h 626785"/>
                  <a:gd name="connsiteX187" fmla="*/ 480263 w 746172"/>
                  <a:gd name="connsiteY187" fmla="*/ 86827 h 626785"/>
                  <a:gd name="connsiteX188" fmla="*/ 472123 w 746172"/>
                  <a:gd name="connsiteY188" fmla="*/ 84114 h 626785"/>
                  <a:gd name="connsiteX189" fmla="*/ 453130 w 746172"/>
                  <a:gd name="connsiteY189" fmla="*/ 81401 h 626785"/>
                  <a:gd name="connsiteX190" fmla="*/ 450416 w 746172"/>
                  <a:gd name="connsiteY190" fmla="*/ 73261 h 626785"/>
                  <a:gd name="connsiteX191" fmla="*/ 436850 w 746172"/>
                  <a:gd name="connsiteY191" fmla="*/ 59694 h 626785"/>
                  <a:gd name="connsiteX192" fmla="*/ 439563 w 746172"/>
                  <a:gd name="connsiteY192" fmla="*/ 51554 h 626785"/>
                  <a:gd name="connsiteX193" fmla="*/ 423283 w 746172"/>
                  <a:gd name="connsiteY193" fmla="*/ 46127 h 626785"/>
                  <a:gd name="connsiteX194" fmla="*/ 415143 w 746172"/>
                  <a:gd name="connsiteY194" fmla="*/ 43414 h 626785"/>
                  <a:gd name="connsiteX195" fmla="*/ 407003 w 746172"/>
                  <a:gd name="connsiteY195" fmla="*/ 37987 h 626785"/>
                  <a:gd name="connsiteX196" fmla="*/ 398863 w 746172"/>
                  <a:gd name="connsiteY196" fmla="*/ 35274 h 626785"/>
                  <a:gd name="connsiteX197" fmla="*/ 393436 w 746172"/>
                  <a:gd name="connsiteY197" fmla="*/ 27134 h 626785"/>
                  <a:gd name="connsiteX198" fmla="*/ 382583 w 746172"/>
                  <a:gd name="connsiteY198" fmla="*/ 21707 h 626785"/>
                  <a:gd name="connsiteX199" fmla="*/ 374443 w 746172"/>
                  <a:gd name="connsiteY199" fmla="*/ 13567 h 626785"/>
                  <a:gd name="connsiteX200" fmla="*/ 350022 w 746172"/>
                  <a:gd name="connsiteY200" fmla="*/ 0 h 626785"/>
                  <a:gd name="connsiteX201" fmla="*/ 333742 w 746172"/>
                  <a:gd name="connsiteY201" fmla="*/ 2714 h 626785"/>
                  <a:gd name="connsiteX202" fmla="*/ 333742 w 746172"/>
                  <a:gd name="connsiteY202" fmla="*/ 24420 h 626785"/>
                  <a:gd name="connsiteX203" fmla="*/ 314749 w 746172"/>
                  <a:gd name="connsiteY203" fmla="*/ 35274 h 626785"/>
                  <a:gd name="connsiteX204" fmla="*/ 303895 w 746172"/>
                  <a:gd name="connsiteY204" fmla="*/ 32560 h 626785"/>
                  <a:gd name="connsiteX205" fmla="*/ 293042 w 746172"/>
                  <a:gd name="connsiteY205" fmla="*/ 46127 h 626785"/>
                  <a:gd name="connsiteX206" fmla="*/ 284902 w 746172"/>
                  <a:gd name="connsiteY206" fmla="*/ 48841 h 626785"/>
                  <a:gd name="connsiteX207" fmla="*/ 260482 w 746172"/>
                  <a:gd name="connsiteY207" fmla="*/ 62407 h 626785"/>
                  <a:gd name="connsiteX208" fmla="*/ 252342 w 746172"/>
                  <a:gd name="connsiteY208" fmla="*/ 70547 h 626785"/>
                  <a:gd name="connsiteX209" fmla="*/ 249628 w 746172"/>
                  <a:gd name="connsiteY209" fmla="*/ 78687 h 626785"/>
                  <a:gd name="connsiteX210" fmla="*/ 252342 w 746172"/>
                  <a:gd name="connsiteY210" fmla="*/ 86827 h 626785"/>
                  <a:gd name="connsiteX211" fmla="*/ 260482 w 746172"/>
                  <a:gd name="connsiteY211" fmla="*/ 89541 h 626785"/>
                  <a:gd name="connsiteX212" fmla="*/ 274048 w 746172"/>
                  <a:gd name="connsiteY212" fmla="*/ 92254 h 626785"/>
                  <a:gd name="connsiteX213" fmla="*/ 271335 w 746172"/>
                  <a:gd name="connsiteY213" fmla="*/ 122101 h 626785"/>
                  <a:gd name="connsiteX214" fmla="*/ 268622 w 746172"/>
                  <a:gd name="connsiteY214" fmla="*/ 143808 h 626785"/>
                  <a:gd name="connsiteX215" fmla="*/ 260482 w 746172"/>
                  <a:gd name="connsiteY215" fmla="*/ 149235 h 626785"/>
                  <a:gd name="connsiteX216" fmla="*/ 249628 w 746172"/>
                  <a:gd name="connsiteY216" fmla="*/ 151948 h 626785"/>
                  <a:gd name="connsiteX217" fmla="*/ 241488 w 746172"/>
                  <a:gd name="connsiteY217" fmla="*/ 149235 h 626785"/>
                  <a:gd name="connsiteX218" fmla="*/ 233348 w 746172"/>
                  <a:gd name="connsiteY218" fmla="*/ 151948 h 626785"/>
                  <a:gd name="connsiteX219" fmla="*/ 211641 w 746172"/>
                  <a:gd name="connsiteY219" fmla="*/ 157375 h 626785"/>
                  <a:gd name="connsiteX220" fmla="*/ 214355 w 746172"/>
                  <a:gd name="connsiteY220" fmla="*/ 165515 h 626785"/>
                  <a:gd name="connsiteX221" fmla="*/ 222495 w 746172"/>
                  <a:gd name="connsiteY221" fmla="*/ 173655 h 626785"/>
                  <a:gd name="connsiteX222" fmla="*/ 227921 w 746172"/>
                  <a:gd name="connsiteY222" fmla="*/ 181795 h 626785"/>
                  <a:gd name="connsiteX223" fmla="*/ 230635 w 746172"/>
                  <a:gd name="connsiteY223" fmla="*/ 198075 h 626785"/>
                  <a:gd name="connsiteX224" fmla="*/ 222495 w 746172"/>
                  <a:gd name="connsiteY224" fmla="*/ 203502 h 626785"/>
                  <a:gd name="connsiteX225" fmla="*/ 208928 w 746172"/>
                  <a:gd name="connsiteY225" fmla="*/ 214355 h 626785"/>
                  <a:gd name="connsiteX226" fmla="*/ 200788 w 746172"/>
                  <a:gd name="connsiteY226" fmla="*/ 211642 h 626785"/>
                  <a:gd name="connsiteX227" fmla="*/ 184508 w 746172"/>
                  <a:gd name="connsiteY227" fmla="*/ 203502 h 626785"/>
                  <a:gd name="connsiteX228" fmla="*/ 227921 w 746172"/>
                  <a:gd name="connsiteY228" fmla="*/ 195362 h 626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Lst>
                <a:rect l="l" t="t" r="r" b="b"/>
                <a:pathLst>
                  <a:path w="746172" h="626785">
                    <a:moveTo>
                      <a:pt x="227921" y="195362"/>
                    </a:moveTo>
                    <a:cubicBezTo>
                      <a:pt x="232895" y="195814"/>
                      <a:pt x="218988" y="202740"/>
                      <a:pt x="214355" y="206215"/>
                    </a:cubicBezTo>
                    <a:cubicBezTo>
                      <a:pt x="211746" y="208172"/>
                      <a:pt x="208252" y="209096"/>
                      <a:pt x="206215" y="211642"/>
                    </a:cubicBezTo>
                    <a:cubicBezTo>
                      <a:pt x="204428" y="213875"/>
                      <a:pt x="204406" y="217069"/>
                      <a:pt x="203501" y="219782"/>
                    </a:cubicBezTo>
                    <a:cubicBezTo>
                      <a:pt x="191061" y="201122"/>
                      <a:pt x="198835" y="205565"/>
                      <a:pt x="184508" y="200788"/>
                    </a:cubicBezTo>
                    <a:cubicBezTo>
                      <a:pt x="178177" y="201693"/>
                      <a:pt x="171640" y="201664"/>
                      <a:pt x="165514" y="203502"/>
                    </a:cubicBezTo>
                    <a:cubicBezTo>
                      <a:pt x="162391" y="204439"/>
                      <a:pt x="160572" y="209568"/>
                      <a:pt x="157374" y="208928"/>
                    </a:cubicBezTo>
                    <a:cubicBezTo>
                      <a:pt x="154176" y="208288"/>
                      <a:pt x="154254" y="203094"/>
                      <a:pt x="151948" y="200788"/>
                    </a:cubicBezTo>
                    <a:cubicBezTo>
                      <a:pt x="149642" y="198482"/>
                      <a:pt x="146521" y="197171"/>
                      <a:pt x="143808" y="195362"/>
                    </a:cubicBezTo>
                    <a:cubicBezTo>
                      <a:pt x="141801" y="192352"/>
                      <a:pt x="134157" y="179734"/>
                      <a:pt x="130241" y="179081"/>
                    </a:cubicBezTo>
                    <a:cubicBezTo>
                      <a:pt x="127024" y="178545"/>
                      <a:pt x="124606" y="182420"/>
                      <a:pt x="122101" y="184508"/>
                    </a:cubicBezTo>
                    <a:cubicBezTo>
                      <a:pt x="119153" y="186965"/>
                      <a:pt x="116909" y="190191"/>
                      <a:pt x="113961" y="192648"/>
                    </a:cubicBezTo>
                    <a:cubicBezTo>
                      <a:pt x="106947" y="198493"/>
                      <a:pt x="105840" y="198069"/>
                      <a:pt x="97681" y="200788"/>
                    </a:cubicBezTo>
                    <a:cubicBezTo>
                      <a:pt x="94185" y="200351"/>
                      <a:pt x="71842" y="194906"/>
                      <a:pt x="65120" y="200788"/>
                    </a:cubicBezTo>
                    <a:cubicBezTo>
                      <a:pt x="60212" y="205083"/>
                      <a:pt x="54267" y="217068"/>
                      <a:pt x="54267" y="217068"/>
                    </a:cubicBezTo>
                    <a:cubicBezTo>
                      <a:pt x="48840" y="216164"/>
                      <a:pt x="43382" y="215434"/>
                      <a:pt x="37987" y="214355"/>
                    </a:cubicBezTo>
                    <a:cubicBezTo>
                      <a:pt x="34330" y="213624"/>
                      <a:pt x="30862" y="211642"/>
                      <a:pt x="27133" y="211642"/>
                    </a:cubicBezTo>
                    <a:cubicBezTo>
                      <a:pt x="18044" y="211642"/>
                      <a:pt x="9044" y="213451"/>
                      <a:pt x="0" y="214355"/>
                    </a:cubicBezTo>
                    <a:cubicBezTo>
                      <a:pt x="7788" y="245511"/>
                      <a:pt x="-3102" y="207116"/>
                      <a:pt x="8140" y="233349"/>
                    </a:cubicBezTo>
                    <a:cubicBezTo>
                      <a:pt x="9609" y="236776"/>
                      <a:pt x="9872" y="240604"/>
                      <a:pt x="10853" y="244202"/>
                    </a:cubicBezTo>
                    <a:cubicBezTo>
                      <a:pt x="12586" y="250554"/>
                      <a:pt x="12329" y="257927"/>
                      <a:pt x="16280" y="263195"/>
                    </a:cubicBezTo>
                    <a:cubicBezTo>
                      <a:pt x="18517" y="266178"/>
                      <a:pt x="23515" y="265004"/>
                      <a:pt x="27133" y="265909"/>
                    </a:cubicBezTo>
                    <a:cubicBezTo>
                      <a:pt x="22050" y="267603"/>
                      <a:pt x="13567" y="268579"/>
                      <a:pt x="13567" y="276762"/>
                    </a:cubicBezTo>
                    <a:cubicBezTo>
                      <a:pt x="13567" y="280023"/>
                      <a:pt x="17535" y="281985"/>
                      <a:pt x="18993" y="284902"/>
                    </a:cubicBezTo>
                    <a:cubicBezTo>
                      <a:pt x="20272" y="287460"/>
                      <a:pt x="20954" y="290283"/>
                      <a:pt x="21707" y="293042"/>
                    </a:cubicBezTo>
                    <a:cubicBezTo>
                      <a:pt x="28859" y="319267"/>
                      <a:pt x="21450" y="309066"/>
                      <a:pt x="35273" y="322889"/>
                    </a:cubicBezTo>
                    <a:cubicBezTo>
                      <a:pt x="36821" y="327531"/>
                      <a:pt x="38906" y="336164"/>
                      <a:pt x="43413" y="339169"/>
                    </a:cubicBezTo>
                    <a:cubicBezTo>
                      <a:pt x="46516" y="341238"/>
                      <a:pt x="51101" y="343692"/>
                      <a:pt x="54267" y="341883"/>
                    </a:cubicBezTo>
                    <a:cubicBezTo>
                      <a:pt x="57433" y="340074"/>
                      <a:pt x="60598" y="331934"/>
                      <a:pt x="62407" y="328316"/>
                    </a:cubicBezTo>
                    <a:cubicBezTo>
                      <a:pt x="64216" y="324698"/>
                      <a:pt x="63841" y="322734"/>
                      <a:pt x="65120" y="320176"/>
                    </a:cubicBezTo>
                    <a:cubicBezTo>
                      <a:pt x="66578" y="317259"/>
                      <a:pt x="68241" y="314342"/>
                      <a:pt x="70547" y="312036"/>
                    </a:cubicBezTo>
                    <a:cubicBezTo>
                      <a:pt x="75808" y="306775"/>
                      <a:pt x="80205" y="306103"/>
                      <a:pt x="86827" y="303896"/>
                    </a:cubicBezTo>
                    <a:cubicBezTo>
                      <a:pt x="85923" y="301183"/>
                      <a:pt x="84114" y="298616"/>
                      <a:pt x="84114" y="295756"/>
                    </a:cubicBezTo>
                    <a:cubicBezTo>
                      <a:pt x="84114" y="285757"/>
                      <a:pt x="87399" y="282612"/>
                      <a:pt x="89540" y="274049"/>
                    </a:cubicBezTo>
                    <a:cubicBezTo>
                      <a:pt x="90659" y="269575"/>
                      <a:pt x="91040" y="264931"/>
                      <a:pt x="92254" y="260482"/>
                    </a:cubicBezTo>
                    <a:cubicBezTo>
                      <a:pt x="93759" y="254963"/>
                      <a:pt x="92254" y="246011"/>
                      <a:pt x="97681" y="244202"/>
                    </a:cubicBezTo>
                    <a:lnTo>
                      <a:pt x="105821" y="241489"/>
                    </a:lnTo>
                    <a:cubicBezTo>
                      <a:pt x="113056" y="242393"/>
                      <a:pt x="120353" y="242898"/>
                      <a:pt x="127527" y="244202"/>
                    </a:cubicBezTo>
                    <a:cubicBezTo>
                      <a:pt x="130341" y="244714"/>
                      <a:pt x="133434" y="245128"/>
                      <a:pt x="135667" y="246915"/>
                    </a:cubicBezTo>
                    <a:cubicBezTo>
                      <a:pt x="138214" y="248952"/>
                      <a:pt x="139006" y="252550"/>
                      <a:pt x="141094" y="255055"/>
                    </a:cubicBezTo>
                    <a:cubicBezTo>
                      <a:pt x="143551" y="258003"/>
                      <a:pt x="146521" y="260482"/>
                      <a:pt x="149234" y="263195"/>
                    </a:cubicBezTo>
                    <a:cubicBezTo>
                      <a:pt x="151440" y="269813"/>
                      <a:pt x="152117" y="274218"/>
                      <a:pt x="157374" y="279476"/>
                    </a:cubicBezTo>
                    <a:cubicBezTo>
                      <a:pt x="159680" y="281782"/>
                      <a:pt x="162801" y="283093"/>
                      <a:pt x="165514" y="284902"/>
                    </a:cubicBezTo>
                    <a:cubicBezTo>
                      <a:pt x="166419" y="296660"/>
                      <a:pt x="166765" y="308474"/>
                      <a:pt x="168228" y="320176"/>
                    </a:cubicBezTo>
                    <a:cubicBezTo>
                      <a:pt x="168583" y="323014"/>
                      <a:pt x="170247" y="325541"/>
                      <a:pt x="170941" y="328316"/>
                    </a:cubicBezTo>
                    <a:cubicBezTo>
                      <a:pt x="172059" y="332790"/>
                      <a:pt x="171746" y="337685"/>
                      <a:pt x="173654" y="341883"/>
                    </a:cubicBezTo>
                    <a:cubicBezTo>
                      <a:pt x="176353" y="347821"/>
                      <a:pt x="184508" y="358163"/>
                      <a:pt x="184508" y="358163"/>
                    </a:cubicBezTo>
                    <a:cubicBezTo>
                      <a:pt x="186444" y="363970"/>
                      <a:pt x="187697" y="370111"/>
                      <a:pt x="192648" y="374443"/>
                    </a:cubicBezTo>
                    <a:cubicBezTo>
                      <a:pt x="215455" y="394398"/>
                      <a:pt x="200922" y="379937"/>
                      <a:pt x="217068" y="388010"/>
                    </a:cubicBezTo>
                    <a:cubicBezTo>
                      <a:pt x="219985" y="389468"/>
                      <a:pt x="222495" y="391627"/>
                      <a:pt x="225208" y="393436"/>
                    </a:cubicBezTo>
                    <a:cubicBezTo>
                      <a:pt x="230490" y="409283"/>
                      <a:pt x="223788" y="394729"/>
                      <a:pt x="236062" y="407003"/>
                    </a:cubicBezTo>
                    <a:cubicBezTo>
                      <a:pt x="238368" y="409309"/>
                      <a:pt x="239182" y="412837"/>
                      <a:pt x="241488" y="415143"/>
                    </a:cubicBezTo>
                    <a:cubicBezTo>
                      <a:pt x="246748" y="420404"/>
                      <a:pt x="251147" y="421076"/>
                      <a:pt x="257768" y="423283"/>
                    </a:cubicBezTo>
                    <a:cubicBezTo>
                      <a:pt x="244594" y="424930"/>
                      <a:pt x="234922" y="425604"/>
                      <a:pt x="222495" y="428710"/>
                    </a:cubicBezTo>
                    <a:cubicBezTo>
                      <a:pt x="219720" y="429404"/>
                      <a:pt x="217068" y="430519"/>
                      <a:pt x="214355" y="431423"/>
                    </a:cubicBezTo>
                    <a:cubicBezTo>
                      <a:pt x="208927" y="447702"/>
                      <a:pt x="210737" y="433233"/>
                      <a:pt x="219781" y="442277"/>
                    </a:cubicBezTo>
                    <a:cubicBezTo>
                      <a:pt x="234251" y="456747"/>
                      <a:pt x="208931" y="445896"/>
                      <a:pt x="230635" y="453130"/>
                    </a:cubicBezTo>
                    <a:cubicBezTo>
                      <a:pt x="234253" y="458557"/>
                      <a:pt x="236061" y="465792"/>
                      <a:pt x="241488" y="469410"/>
                    </a:cubicBezTo>
                    <a:cubicBezTo>
                      <a:pt x="244201" y="471219"/>
                      <a:pt x="247123" y="472749"/>
                      <a:pt x="249628" y="474837"/>
                    </a:cubicBezTo>
                    <a:cubicBezTo>
                      <a:pt x="252576" y="477294"/>
                      <a:pt x="254646" y="480747"/>
                      <a:pt x="257768" y="482977"/>
                    </a:cubicBezTo>
                    <a:cubicBezTo>
                      <a:pt x="261060" y="485328"/>
                      <a:pt x="265330" y="486053"/>
                      <a:pt x="268622" y="488404"/>
                    </a:cubicBezTo>
                    <a:cubicBezTo>
                      <a:pt x="271744" y="490634"/>
                      <a:pt x="273814" y="494088"/>
                      <a:pt x="276762" y="496544"/>
                    </a:cubicBezTo>
                    <a:cubicBezTo>
                      <a:pt x="291212" y="508585"/>
                      <a:pt x="278361" y="496528"/>
                      <a:pt x="293042" y="504684"/>
                    </a:cubicBezTo>
                    <a:cubicBezTo>
                      <a:pt x="298743" y="507851"/>
                      <a:pt x="309322" y="515537"/>
                      <a:pt x="309322" y="515537"/>
                    </a:cubicBezTo>
                    <a:cubicBezTo>
                      <a:pt x="316139" y="535990"/>
                      <a:pt x="306945" y="510785"/>
                      <a:pt x="317462" y="531817"/>
                    </a:cubicBezTo>
                    <a:cubicBezTo>
                      <a:pt x="318741" y="534375"/>
                      <a:pt x="318154" y="537935"/>
                      <a:pt x="320176" y="539957"/>
                    </a:cubicBezTo>
                    <a:cubicBezTo>
                      <a:pt x="322198" y="541979"/>
                      <a:pt x="325603" y="541766"/>
                      <a:pt x="328316" y="542671"/>
                    </a:cubicBezTo>
                    <a:cubicBezTo>
                      <a:pt x="334647" y="541766"/>
                      <a:pt x="340914" y="539957"/>
                      <a:pt x="347309" y="539957"/>
                    </a:cubicBezTo>
                    <a:cubicBezTo>
                      <a:pt x="353705" y="539957"/>
                      <a:pt x="359926" y="543161"/>
                      <a:pt x="366303" y="542671"/>
                    </a:cubicBezTo>
                    <a:cubicBezTo>
                      <a:pt x="372006" y="542232"/>
                      <a:pt x="382583" y="537244"/>
                      <a:pt x="382583" y="537244"/>
                    </a:cubicBezTo>
                    <a:cubicBezTo>
                      <a:pt x="405296" y="541029"/>
                      <a:pt x="394286" y="536905"/>
                      <a:pt x="415143" y="550811"/>
                    </a:cubicBezTo>
                    <a:lnTo>
                      <a:pt x="415143" y="550811"/>
                    </a:lnTo>
                    <a:lnTo>
                      <a:pt x="439563" y="558951"/>
                    </a:lnTo>
                    <a:cubicBezTo>
                      <a:pt x="442276" y="559855"/>
                      <a:pt x="444882" y="561194"/>
                      <a:pt x="447703" y="561664"/>
                    </a:cubicBezTo>
                    <a:lnTo>
                      <a:pt x="463983" y="564378"/>
                    </a:lnTo>
                    <a:cubicBezTo>
                      <a:pt x="466696" y="566187"/>
                      <a:pt x="469817" y="567498"/>
                      <a:pt x="472123" y="569804"/>
                    </a:cubicBezTo>
                    <a:cubicBezTo>
                      <a:pt x="474429" y="572110"/>
                      <a:pt x="475096" y="575797"/>
                      <a:pt x="477550" y="577944"/>
                    </a:cubicBezTo>
                    <a:cubicBezTo>
                      <a:pt x="482458" y="582239"/>
                      <a:pt x="488403" y="585180"/>
                      <a:pt x="493830" y="588798"/>
                    </a:cubicBezTo>
                    <a:cubicBezTo>
                      <a:pt x="496543" y="590607"/>
                      <a:pt x="498877" y="593193"/>
                      <a:pt x="501970" y="594224"/>
                    </a:cubicBezTo>
                    <a:cubicBezTo>
                      <a:pt x="531677" y="604129"/>
                      <a:pt x="486667" y="588329"/>
                      <a:pt x="518250" y="602365"/>
                    </a:cubicBezTo>
                    <a:cubicBezTo>
                      <a:pt x="523477" y="604688"/>
                      <a:pt x="534530" y="607791"/>
                      <a:pt x="534530" y="607791"/>
                    </a:cubicBezTo>
                    <a:cubicBezTo>
                      <a:pt x="554004" y="620774"/>
                      <a:pt x="546199" y="614033"/>
                      <a:pt x="558951" y="626785"/>
                    </a:cubicBezTo>
                    <a:cubicBezTo>
                      <a:pt x="560760" y="621358"/>
                      <a:pt x="566186" y="615932"/>
                      <a:pt x="564377" y="610505"/>
                    </a:cubicBezTo>
                    <a:cubicBezTo>
                      <a:pt x="556965" y="588267"/>
                      <a:pt x="569783" y="622681"/>
                      <a:pt x="545384" y="586084"/>
                    </a:cubicBezTo>
                    <a:cubicBezTo>
                      <a:pt x="537822" y="574741"/>
                      <a:pt x="535953" y="569633"/>
                      <a:pt x="526390" y="561664"/>
                    </a:cubicBezTo>
                    <a:cubicBezTo>
                      <a:pt x="523885" y="559576"/>
                      <a:pt x="520963" y="558047"/>
                      <a:pt x="518250" y="556238"/>
                    </a:cubicBezTo>
                    <a:lnTo>
                      <a:pt x="512824" y="539957"/>
                    </a:lnTo>
                    <a:cubicBezTo>
                      <a:pt x="511038" y="534597"/>
                      <a:pt x="509463" y="527500"/>
                      <a:pt x="504684" y="523677"/>
                    </a:cubicBezTo>
                    <a:cubicBezTo>
                      <a:pt x="502450" y="521890"/>
                      <a:pt x="499348" y="521525"/>
                      <a:pt x="496543" y="520964"/>
                    </a:cubicBezTo>
                    <a:cubicBezTo>
                      <a:pt x="490272" y="519710"/>
                      <a:pt x="483881" y="519155"/>
                      <a:pt x="477550" y="518251"/>
                    </a:cubicBezTo>
                    <a:lnTo>
                      <a:pt x="461270" y="507397"/>
                    </a:lnTo>
                    <a:cubicBezTo>
                      <a:pt x="458557" y="505588"/>
                      <a:pt x="455436" y="504276"/>
                      <a:pt x="453130" y="501970"/>
                    </a:cubicBezTo>
                    <a:cubicBezTo>
                      <a:pt x="442130" y="490970"/>
                      <a:pt x="448422" y="495546"/>
                      <a:pt x="434136" y="488404"/>
                    </a:cubicBezTo>
                    <a:cubicBezTo>
                      <a:pt x="431423" y="485691"/>
                      <a:pt x="428944" y="482721"/>
                      <a:pt x="425996" y="480264"/>
                    </a:cubicBezTo>
                    <a:cubicBezTo>
                      <a:pt x="423491" y="478176"/>
                      <a:pt x="419893" y="477384"/>
                      <a:pt x="417856" y="474837"/>
                    </a:cubicBezTo>
                    <a:cubicBezTo>
                      <a:pt x="416069" y="472604"/>
                      <a:pt x="416729" y="469077"/>
                      <a:pt x="415143" y="466697"/>
                    </a:cubicBezTo>
                    <a:cubicBezTo>
                      <a:pt x="413015" y="463504"/>
                      <a:pt x="409716" y="461270"/>
                      <a:pt x="407003" y="458557"/>
                    </a:cubicBezTo>
                    <a:cubicBezTo>
                      <a:pt x="406098" y="455844"/>
                      <a:pt x="406076" y="452650"/>
                      <a:pt x="404289" y="450417"/>
                    </a:cubicBezTo>
                    <a:cubicBezTo>
                      <a:pt x="399598" y="444553"/>
                      <a:pt x="384845" y="441222"/>
                      <a:pt x="379869" y="439563"/>
                    </a:cubicBezTo>
                    <a:lnTo>
                      <a:pt x="371729" y="436850"/>
                    </a:lnTo>
                    <a:lnTo>
                      <a:pt x="363589" y="434137"/>
                    </a:lnTo>
                    <a:cubicBezTo>
                      <a:pt x="348670" y="411760"/>
                      <a:pt x="369080" y="445249"/>
                      <a:pt x="355449" y="390723"/>
                    </a:cubicBezTo>
                    <a:cubicBezTo>
                      <a:pt x="354518" y="387000"/>
                      <a:pt x="350022" y="385296"/>
                      <a:pt x="347309" y="382583"/>
                    </a:cubicBezTo>
                    <a:cubicBezTo>
                      <a:pt x="351913" y="368769"/>
                      <a:pt x="351749" y="378308"/>
                      <a:pt x="341882" y="371730"/>
                    </a:cubicBezTo>
                    <a:cubicBezTo>
                      <a:pt x="338689" y="369601"/>
                      <a:pt x="336771" y="365945"/>
                      <a:pt x="333742" y="363589"/>
                    </a:cubicBezTo>
                    <a:cubicBezTo>
                      <a:pt x="328594" y="359585"/>
                      <a:pt x="317462" y="352736"/>
                      <a:pt x="317462" y="352736"/>
                    </a:cubicBezTo>
                    <a:cubicBezTo>
                      <a:pt x="315840" y="347870"/>
                      <a:pt x="312676" y="337097"/>
                      <a:pt x="309322" y="333743"/>
                    </a:cubicBezTo>
                    <a:cubicBezTo>
                      <a:pt x="307300" y="331721"/>
                      <a:pt x="303895" y="331934"/>
                      <a:pt x="301182" y="331029"/>
                    </a:cubicBezTo>
                    <a:cubicBezTo>
                      <a:pt x="298469" y="328316"/>
                      <a:pt x="296235" y="325017"/>
                      <a:pt x="293042" y="322889"/>
                    </a:cubicBezTo>
                    <a:cubicBezTo>
                      <a:pt x="290662" y="321303"/>
                      <a:pt x="287135" y="321963"/>
                      <a:pt x="284902" y="320176"/>
                    </a:cubicBezTo>
                    <a:cubicBezTo>
                      <a:pt x="282355" y="318139"/>
                      <a:pt x="281284" y="314749"/>
                      <a:pt x="279475" y="312036"/>
                    </a:cubicBezTo>
                    <a:cubicBezTo>
                      <a:pt x="282136" y="290749"/>
                      <a:pt x="284221" y="295296"/>
                      <a:pt x="279475" y="279476"/>
                    </a:cubicBezTo>
                    <a:cubicBezTo>
                      <a:pt x="277831" y="273997"/>
                      <a:pt x="274048" y="263195"/>
                      <a:pt x="274048" y="263195"/>
                    </a:cubicBezTo>
                    <a:lnTo>
                      <a:pt x="279475" y="246915"/>
                    </a:lnTo>
                    <a:cubicBezTo>
                      <a:pt x="280380" y="244202"/>
                      <a:pt x="279809" y="240361"/>
                      <a:pt x="282189" y="238775"/>
                    </a:cubicBezTo>
                    <a:cubicBezTo>
                      <a:pt x="293522" y="231221"/>
                      <a:pt x="288023" y="235655"/>
                      <a:pt x="298469" y="225208"/>
                    </a:cubicBezTo>
                    <a:cubicBezTo>
                      <a:pt x="304800" y="226113"/>
                      <a:pt x="312649" y="223711"/>
                      <a:pt x="317462" y="227922"/>
                    </a:cubicBezTo>
                    <a:cubicBezTo>
                      <a:pt x="321602" y="231545"/>
                      <a:pt x="317446" y="239425"/>
                      <a:pt x="320176" y="244202"/>
                    </a:cubicBezTo>
                    <a:cubicBezTo>
                      <a:pt x="321595" y="246685"/>
                      <a:pt x="325603" y="246011"/>
                      <a:pt x="328316" y="246915"/>
                    </a:cubicBezTo>
                    <a:cubicBezTo>
                      <a:pt x="350023" y="261387"/>
                      <a:pt x="323794" y="242392"/>
                      <a:pt x="341882" y="260482"/>
                    </a:cubicBezTo>
                    <a:cubicBezTo>
                      <a:pt x="347142" y="265743"/>
                      <a:pt x="351541" y="266415"/>
                      <a:pt x="358162" y="268622"/>
                    </a:cubicBezTo>
                    <a:cubicBezTo>
                      <a:pt x="376276" y="262586"/>
                      <a:pt x="358160" y="271343"/>
                      <a:pt x="369016" y="244202"/>
                    </a:cubicBezTo>
                    <a:cubicBezTo>
                      <a:pt x="370227" y="241174"/>
                      <a:pt x="374010" y="239633"/>
                      <a:pt x="377156" y="238775"/>
                    </a:cubicBezTo>
                    <a:cubicBezTo>
                      <a:pt x="379719" y="238076"/>
                      <a:pt x="422245" y="233464"/>
                      <a:pt x="423283" y="233349"/>
                    </a:cubicBezTo>
                    <a:cubicBezTo>
                      <a:pt x="425996" y="231540"/>
                      <a:pt x="428240" y="227215"/>
                      <a:pt x="431423" y="227922"/>
                    </a:cubicBezTo>
                    <a:cubicBezTo>
                      <a:pt x="437790" y="229337"/>
                      <a:pt x="447703" y="238775"/>
                      <a:pt x="447703" y="238775"/>
                    </a:cubicBezTo>
                    <a:cubicBezTo>
                      <a:pt x="454939" y="237871"/>
                      <a:pt x="462236" y="237366"/>
                      <a:pt x="469410" y="236062"/>
                    </a:cubicBezTo>
                    <a:cubicBezTo>
                      <a:pt x="472224" y="235550"/>
                      <a:pt x="474992" y="232070"/>
                      <a:pt x="477550" y="233349"/>
                    </a:cubicBezTo>
                    <a:cubicBezTo>
                      <a:pt x="480108" y="234628"/>
                      <a:pt x="479359" y="238776"/>
                      <a:pt x="480263" y="241489"/>
                    </a:cubicBezTo>
                    <a:cubicBezTo>
                      <a:pt x="482976" y="239680"/>
                      <a:pt x="485142" y="236062"/>
                      <a:pt x="488403" y="236062"/>
                    </a:cubicBezTo>
                    <a:cubicBezTo>
                      <a:pt x="491664" y="236062"/>
                      <a:pt x="493326" y="240953"/>
                      <a:pt x="496543" y="241489"/>
                    </a:cubicBezTo>
                    <a:cubicBezTo>
                      <a:pt x="499365" y="241959"/>
                      <a:pt x="501970" y="239680"/>
                      <a:pt x="504684" y="238775"/>
                    </a:cubicBezTo>
                    <a:cubicBezTo>
                      <a:pt x="511015" y="239680"/>
                      <a:pt x="517282" y="241489"/>
                      <a:pt x="523677" y="241489"/>
                    </a:cubicBezTo>
                    <a:cubicBezTo>
                      <a:pt x="548787" y="241489"/>
                      <a:pt x="508704" y="231486"/>
                      <a:pt x="545384" y="241489"/>
                    </a:cubicBezTo>
                    <a:cubicBezTo>
                      <a:pt x="550903" y="242994"/>
                      <a:pt x="561664" y="246915"/>
                      <a:pt x="561664" y="246915"/>
                    </a:cubicBezTo>
                    <a:cubicBezTo>
                      <a:pt x="563525" y="241332"/>
                      <a:pt x="565126" y="232483"/>
                      <a:pt x="572517" y="230635"/>
                    </a:cubicBezTo>
                    <a:cubicBezTo>
                      <a:pt x="576991" y="229517"/>
                      <a:pt x="581562" y="232444"/>
                      <a:pt x="586084" y="233349"/>
                    </a:cubicBezTo>
                    <a:cubicBezTo>
                      <a:pt x="587893" y="236062"/>
                      <a:pt x="588250" y="241489"/>
                      <a:pt x="591511" y="241489"/>
                    </a:cubicBezTo>
                    <a:cubicBezTo>
                      <a:pt x="602031" y="241489"/>
                      <a:pt x="592832" y="221029"/>
                      <a:pt x="599651" y="241489"/>
                    </a:cubicBezTo>
                    <a:cubicBezTo>
                      <a:pt x="603269" y="240584"/>
                      <a:pt x="606775" y="238775"/>
                      <a:pt x="610504" y="238775"/>
                    </a:cubicBezTo>
                    <a:cubicBezTo>
                      <a:pt x="619263" y="238775"/>
                      <a:pt x="622852" y="242485"/>
                      <a:pt x="629498" y="246915"/>
                    </a:cubicBezTo>
                    <a:cubicBezTo>
                      <a:pt x="632211" y="246011"/>
                      <a:pt x="635851" y="246435"/>
                      <a:pt x="637638" y="244202"/>
                    </a:cubicBezTo>
                    <a:cubicBezTo>
                      <a:pt x="639968" y="241290"/>
                      <a:pt x="637016" y="235016"/>
                      <a:pt x="640351" y="233349"/>
                    </a:cubicBezTo>
                    <a:cubicBezTo>
                      <a:pt x="642909" y="232070"/>
                      <a:pt x="641042" y="239467"/>
                      <a:pt x="643065" y="241489"/>
                    </a:cubicBezTo>
                    <a:cubicBezTo>
                      <a:pt x="645087" y="243511"/>
                      <a:pt x="648492" y="243298"/>
                      <a:pt x="651205" y="244202"/>
                    </a:cubicBezTo>
                    <a:cubicBezTo>
                      <a:pt x="653014" y="246915"/>
                      <a:pt x="654325" y="250036"/>
                      <a:pt x="656631" y="252342"/>
                    </a:cubicBezTo>
                    <a:cubicBezTo>
                      <a:pt x="658937" y="254648"/>
                      <a:pt x="662734" y="255223"/>
                      <a:pt x="664771" y="257769"/>
                    </a:cubicBezTo>
                    <a:cubicBezTo>
                      <a:pt x="679748" y="276489"/>
                      <a:pt x="652300" y="255787"/>
                      <a:pt x="675625" y="271335"/>
                    </a:cubicBezTo>
                    <a:cubicBezTo>
                      <a:pt x="681052" y="270431"/>
                      <a:pt x="686568" y="269956"/>
                      <a:pt x="691905" y="268622"/>
                    </a:cubicBezTo>
                    <a:cubicBezTo>
                      <a:pt x="697454" y="267235"/>
                      <a:pt x="708185" y="263195"/>
                      <a:pt x="708185" y="263195"/>
                    </a:cubicBezTo>
                    <a:cubicBezTo>
                      <a:pt x="714643" y="243821"/>
                      <a:pt x="718372" y="250088"/>
                      <a:pt x="705472" y="241489"/>
                    </a:cubicBezTo>
                    <a:cubicBezTo>
                      <a:pt x="707281" y="238776"/>
                      <a:pt x="710362" y="236566"/>
                      <a:pt x="710898" y="233349"/>
                    </a:cubicBezTo>
                    <a:cubicBezTo>
                      <a:pt x="711647" y="228853"/>
                      <a:pt x="704649" y="219905"/>
                      <a:pt x="702758" y="217068"/>
                    </a:cubicBezTo>
                    <a:cubicBezTo>
                      <a:pt x="706872" y="214326"/>
                      <a:pt x="713423" y="208928"/>
                      <a:pt x="719038" y="208928"/>
                    </a:cubicBezTo>
                    <a:cubicBezTo>
                      <a:pt x="721898" y="208928"/>
                      <a:pt x="724465" y="210737"/>
                      <a:pt x="727178" y="211642"/>
                    </a:cubicBezTo>
                    <a:cubicBezTo>
                      <a:pt x="732539" y="209855"/>
                      <a:pt x="739635" y="208282"/>
                      <a:pt x="743459" y="203502"/>
                    </a:cubicBezTo>
                    <a:cubicBezTo>
                      <a:pt x="745246" y="201269"/>
                      <a:pt x="745268" y="198075"/>
                      <a:pt x="746172" y="195362"/>
                    </a:cubicBezTo>
                    <a:cubicBezTo>
                      <a:pt x="743459" y="194457"/>
                      <a:pt x="740807" y="193342"/>
                      <a:pt x="738032" y="192648"/>
                    </a:cubicBezTo>
                    <a:cubicBezTo>
                      <a:pt x="733558" y="191529"/>
                      <a:pt x="728783" y="191554"/>
                      <a:pt x="724465" y="189935"/>
                    </a:cubicBezTo>
                    <a:cubicBezTo>
                      <a:pt x="721412" y="188790"/>
                      <a:pt x="719449" y="185445"/>
                      <a:pt x="716325" y="184508"/>
                    </a:cubicBezTo>
                    <a:cubicBezTo>
                      <a:pt x="710199" y="182670"/>
                      <a:pt x="703624" y="182939"/>
                      <a:pt x="697332" y="181795"/>
                    </a:cubicBezTo>
                    <a:cubicBezTo>
                      <a:pt x="693663" y="181128"/>
                      <a:pt x="690096" y="179986"/>
                      <a:pt x="686478" y="179081"/>
                    </a:cubicBezTo>
                    <a:cubicBezTo>
                      <a:pt x="688287" y="176368"/>
                      <a:pt x="689358" y="172978"/>
                      <a:pt x="691905" y="170941"/>
                    </a:cubicBezTo>
                    <a:cubicBezTo>
                      <a:pt x="710628" y="155963"/>
                      <a:pt x="689919" y="183417"/>
                      <a:pt x="705472" y="160088"/>
                    </a:cubicBezTo>
                    <a:cubicBezTo>
                      <a:pt x="704567" y="157375"/>
                      <a:pt x="701696" y="154604"/>
                      <a:pt x="702758" y="151948"/>
                    </a:cubicBezTo>
                    <a:cubicBezTo>
                      <a:pt x="707327" y="140523"/>
                      <a:pt x="719895" y="152518"/>
                      <a:pt x="702758" y="141095"/>
                    </a:cubicBezTo>
                    <a:cubicBezTo>
                      <a:pt x="684098" y="153534"/>
                      <a:pt x="692665" y="154010"/>
                      <a:pt x="678338" y="149235"/>
                    </a:cubicBezTo>
                    <a:cubicBezTo>
                      <a:pt x="681051" y="147426"/>
                      <a:pt x="686478" y="147069"/>
                      <a:pt x="686478" y="143808"/>
                    </a:cubicBezTo>
                    <a:cubicBezTo>
                      <a:pt x="686478" y="140948"/>
                      <a:pt x="678338" y="143955"/>
                      <a:pt x="678338" y="141095"/>
                    </a:cubicBezTo>
                    <a:cubicBezTo>
                      <a:pt x="678338" y="138235"/>
                      <a:pt x="683765" y="139286"/>
                      <a:pt x="686478" y="138381"/>
                    </a:cubicBezTo>
                    <a:cubicBezTo>
                      <a:pt x="687383" y="135668"/>
                      <a:pt x="691214" y="132263"/>
                      <a:pt x="689192" y="130241"/>
                    </a:cubicBezTo>
                    <a:cubicBezTo>
                      <a:pt x="677792" y="118841"/>
                      <a:pt x="669274" y="137056"/>
                      <a:pt x="681051" y="119388"/>
                    </a:cubicBezTo>
                    <a:cubicBezTo>
                      <a:pt x="676529" y="118483"/>
                      <a:pt x="666026" y="121049"/>
                      <a:pt x="667485" y="116674"/>
                    </a:cubicBezTo>
                    <a:cubicBezTo>
                      <a:pt x="669294" y="111248"/>
                      <a:pt x="683765" y="111248"/>
                      <a:pt x="683765" y="111248"/>
                    </a:cubicBezTo>
                    <a:cubicBezTo>
                      <a:pt x="685574" y="108535"/>
                      <a:pt x="690650" y="106025"/>
                      <a:pt x="689192" y="103108"/>
                    </a:cubicBezTo>
                    <a:cubicBezTo>
                      <a:pt x="687524" y="99772"/>
                      <a:pt x="681924" y="101419"/>
                      <a:pt x="678338" y="100394"/>
                    </a:cubicBezTo>
                    <a:cubicBezTo>
                      <a:pt x="675588" y="99608"/>
                      <a:pt x="672911" y="98585"/>
                      <a:pt x="670198" y="97681"/>
                    </a:cubicBezTo>
                    <a:cubicBezTo>
                      <a:pt x="667485" y="95872"/>
                      <a:pt x="663269" y="95282"/>
                      <a:pt x="662058" y="92254"/>
                    </a:cubicBezTo>
                    <a:cubicBezTo>
                      <a:pt x="660996" y="89599"/>
                      <a:pt x="665833" y="86769"/>
                      <a:pt x="664771" y="84114"/>
                    </a:cubicBezTo>
                    <a:cubicBezTo>
                      <a:pt x="663560" y="81086"/>
                      <a:pt x="659344" y="80496"/>
                      <a:pt x="656631" y="78687"/>
                    </a:cubicBezTo>
                    <a:cubicBezTo>
                      <a:pt x="645778" y="84114"/>
                      <a:pt x="634278" y="88406"/>
                      <a:pt x="624071" y="94968"/>
                    </a:cubicBezTo>
                    <a:cubicBezTo>
                      <a:pt x="596051" y="112981"/>
                      <a:pt x="645277" y="94575"/>
                      <a:pt x="607791" y="105821"/>
                    </a:cubicBezTo>
                    <a:cubicBezTo>
                      <a:pt x="602312" y="107465"/>
                      <a:pt x="596938" y="109439"/>
                      <a:pt x="591511" y="111248"/>
                    </a:cubicBezTo>
                    <a:lnTo>
                      <a:pt x="583371" y="113961"/>
                    </a:lnTo>
                    <a:cubicBezTo>
                      <a:pt x="560760" y="113057"/>
                      <a:pt x="538038" y="113659"/>
                      <a:pt x="515537" y="111248"/>
                    </a:cubicBezTo>
                    <a:cubicBezTo>
                      <a:pt x="505871" y="110212"/>
                      <a:pt x="507679" y="103672"/>
                      <a:pt x="504684" y="97681"/>
                    </a:cubicBezTo>
                    <a:cubicBezTo>
                      <a:pt x="503226" y="94764"/>
                      <a:pt x="502237" y="90865"/>
                      <a:pt x="499257" y="89541"/>
                    </a:cubicBezTo>
                    <a:cubicBezTo>
                      <a:pt x="493413" y="86943"/>
                      <a:pt x="486594" y="87732"/>
                      <a:pt x="480263" y="86827"/>
                    </a:cubicBezTo>
                    <a:cubicBezTo>
                      <a:pt x="477550" y="85923"/>
                      <a:pt x="474928" y="84675"/>
                      <a:pt x="472123" y="84114"/>
                    </a:cubicBezTo>
                    <a:cubicBezTo>
                      <a:pt x="465852" y="82860"/>
                      <a:pt x="458850" y="84261"/>
                      <a:pt x="453130" y="81401"/>
                    </a:cubicBezTo>
                    <a:cubicBezTo>
                      <a:pt x="450572" y="80122"/>
                      <a:pt x="451695" y="75819"/>
                      <a:pt x="450416" y="73261"/>
                    </a:cubicBezTo>
                    <a:cubicBezTo>
                      <a:pt x="445893" y="64216"/>
                      <a:pt x="444991" y="65122"/>
                      <a:pt x="436850" y="59694"/>
                    </a:cubicBezTo>
                    <a:cubicBezTo>
                      <a:pt x="437754" y="56981"/>
                      <a:pt x="441585" y="53576"/>
                      <a:pt x="439563" y="51554"/>
                    </a:cubicBezTo>
                    <a:cubicBezTo>
                      <a:pt x="435518" y="47509"/>
                      <a:pt x="428710" y="47936"/>
                      <a:pt x="423283" y="46127"/>
                    </a:cubicBezTo>
                    <a:lnTo>
                      <a:pt x="415143" y="43414"/>
                    </a:lnTo>
                    <a:cubicBezTo>
                      <a:pt x="412430" y="41605"/>
                      <a:pt x="409920" y="39445"/>
                      <a:pt x="407003" y="37987"/>
                    </a:cubicBezTo>
                    <a:cubicBezTo>
                      <a:pt x="404445" y="36708"/>
                      <a:pt x="401096" y="37061"/>
                      <a:pt x="398863" y="35274"/>
                    </a:cubicBezTo>
                    <a:cubicBezTo>
                      <a:pt x="396316" y="33237"/>
                      <a:pt x="395941" y="29222"/>
                      <a:pt x="393436" y="27134"/>
                    </a:cubicBezTo>
                    <a:cubicBezTo>
                      <a:pt x="390329" y="24545"/>
                      <a:pt x="385874" y="24058"/>
                      <a:pt x="382583" y="21707"/>
                    </a:cubicBezTo>
                    <a:cubicBezTo>
                      <a:pt x="379461" y="19477"/>
                      <a:pt x="377472" y="15923"/>
                      <a:pt x="374443" y="13567"/>
                    </a:cubicBezTo>
                    <a:cubicBezTo>
                      <a:pt x="360449" y="2684"/>
                      <a:pt x="362303" y="4095"/>
                      <a:pt x="350022" y="0"/>
                    </a:cubicBezTo>
                    <a:cubicBezTo>
                      <a:pt x="344595" y="905"/>
                      <a:pt x="337919" y="-866"/>
                      <a:pt x="333742" y="2714"/>
                    </a:cubicBezTo>
                    <a:cubicBezTo>
                      <a:pt x="326952" y="8534"/>
                      <a:pt x="331752" y="18448"/>
                      <a:pt x="333742" y="24420"/>
                    </a:cubicBezTo>
                    <a:cubicBezTo>
                      <a:pt x="329337" y="27724"/>
                      <a:pt x="321653" y="35274"/>
                      <a:pt x="314749" y="35274"/>
                    </a:cubicBezTo>
                    <a:cubicBezTo>
                      <a:pt x="311020" y="35274"/>
                      <a:pt x="307513" y="33465"/>
                      <a:pt x="303895" y="32560"/>
                    </a:cubicBezTo>
                    <a:cubicBezTo>
                      <a:pt x="284378" y="39067"/>
                      <a:pt x="306670" y="29091"/>
                      <a:pt x="293042" y="46127"/>
                    </a:cubicBezTo>
                    <a:cubicBezTo>
                      <a:pt x="291255" y="48360"/>
                      <a:pt x="287402" y="47452"/>
                      <a:pt x="284902" y="48841"/>
                    </a:cubicBezTo>
                    <a:cubicBezTo>
                      <a:pt x="256918" y="64388"/>
                      <a:pt x="278899" y="56269"/>
                      <a:pt x="260482" y="62407"/>
                    </a:cubicBezTo>
                    <a:cubicBezTo>
                      <a:pt x="257769" y="65120"/>
                      <a:pt x="254471" y="67354"/>
                      <a:pt x="252342" y="70547"/>
                    </a:cubicBezTo>
                    <a:cubicBezTo>
                      <a:pt x="250755" y="72927"/>
                      <a:pt x="249628" y="75827"/>
                      <a:pt x="249628" y="78687"/>
                    </a:cubicBezTo>
                    <a:cubicBezTo>
                      <a:pt x="249628" y="81547"/>
                      <a:pt x="250320" y="84805"/>
                      <a:pt x="252342" y="86827"/>
                    </a:cubicBezTo>
                    <a:cubicBezTo>
                      <a:pt x="254364" y="88849"/>
                      <a:pt x="257707" y="88847"/>
                      <a:pt x="260482" y="89541"/>
                    </a:cubicBezTo>
                    <a:cubicBezTo>
                      <a:pt x="264956" y="90660"/>
                      <a:pt x="269526" y="91350"/>
                      <a:pt x="274048" y="92254"/>
                    </a:cubicBezTo>
                    <a:cubicBezTo>
                      <a:pt x="273144" y="102203"/>
                      <a:pt x="272381" y="112166"/>
                      <a:pt x="271335" y="122101"/>
                    </a:cubicBezTo>
                    <a:cubicBezTo>
                      <a:pt x="270572" y="129353"/>
                      <a:pt x="271330" y="137038"/>
                      <a:pt x="268622" y="143808"/>
                    </a:cubicBezTo>
                    <a:cubicBezTo>
                      <a:pt x="267411" y="146836"/>
                      <a:pt x="263195" y="147426"/>
                      <a:pt x="260482" y="149235"/>
                    </a:cubicBezTo>
                    <a:cubicBezTo>
                      <a:pt x="240814" y="136122"/>
                      <a:pt x="261397" y="146064"/>
                      <a:pt x="249628" y="151948"/>
                    </a:cubicBezTo>
                    <a:cubicBezTo>
                      <a:pt x="247070" y="153227"/>
                      <a:pt x="244201" y="150139"/>
                      <a:pt x="241488" y="149235"/>
                    </a:cubicBezTo>
                    <a:cubicBezTo>
                      <a:pt x="238775" y="150139"/>
                      <a:pt x="236107" y="151195"/>
                      <a:pt x="233348" y="151948"/>
                    </a:cubicBezTo>
                    <a:cubicBezTo>
                      <a:pt x="226152" y="153910"/>
                      <a:pt x="211641" y="157375"/>
                      <a:pt x="211641" y="157375"/>
                    </a:cubicBezTo>
                    <a:cubicBezTo>
                      <a:pt x="212546" y="160088"/>
                      <a:pt x="212768" y="163135"/>
                      <a:pt x="214355" y="165515"/>
                    </a:cubicBezTo>
                    <a:cubicBezTo>
                      <a:pt x="216484" y="168708"/>
                      <a:pt x="220039" y="170707"/>
                      <a:pt x="222495" y="173655"/>
                    </a:cubicBezTo>
                    <a:cubicBezTo>
                      <a:pt x="224583" y="176160"/>
                      <a:pt x="226112" y="179082"/>
                      <a:pt x="227921" y="181795"/>
                    </a:cubicBezTo>
                    <a:cubicBezTo>
                      <a:pt x="228826" y="187222"/>
                      <a:pt x="231969" y="192738"/>
                      <a:pt x="230635" y="198075"/>
                    </a:cubicBezTo>
                    <a:cubicBezTo>
                      <a:pt x="229844" y="201239"/>
                      <a:pt x="224532" y="200956"/>
                      <a:pt x="222495" y="203502"/>
                    </a:cubicBezTo>
                    <a:cubicBezTo>
                      <a:pt x="211790" y="216882"/>
                      <a:pt x="231436" y="208729"/>
                      <a:pt x="208928" y="214355"/>
                    </a:cubicBezTo>
                    <a:cubicBezTo>
                      <a:pt x="206215" y="213451"/>
                      <a:pt x="203346" y="212921"/>
                      <a:pt x="200788" y="211642"/>
                    </a:cubicBezTo>
                    <a:cubicBezTo>
                      <a:pt x="179749" y="201122"/>
                      <a:pt x="204968" y="210321"/>
                      <a:pt x="184508" y="203502"/>
                    </a:cubicBezTo>
                    <a:cubicBezTo>
                      <a:pt x="174240" y="196656"/>
                      <a:pt x="222947" y="194910"/>
                      <a:pt x="227921" y="195362"/>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08" name="Freeform: Shape 807">
                <a:extLst>
                  <a:ext uri="{FF2B5EF4-FFF2-40B4-BE49-F238E27FC236}">
                    <a16:creationId xmlns:a16="http://schemas.microsoft.com/office/drawing/2014/main" id="{A4032307-070E-46BB-86C3-FC6CDF1C0CE1}"/>
                  </a:ext>
                </a:extLst>
              </p:cNvPr>
              <p:cNvSpPr/>
              <p:nvPr/>
            </p:nvSpPr>
            <p:spPr>
              <a:xfrm>
                <a:off x="4823806" y="5429700"/>
                <a:ext cx="45719" cy="117347"/>
              </a:xfrm>
              <a:custGeom>
                <a:avLst/>
                <a:gdLst>
                  <a:gd name="connsiteX0" fmla="*/ 77 w 47840"/>
                  <a:gd name="connsiteY0" fmla="*/ 26660 h 138579"/>
                  <a:gd name="connsiteX1" fmla="*/ 4840 w 47840"/>
                  <a:gd name="connsiteY1" fmla="*/ 74285 h 138579"/>
                  <a:gd name="connsiteX2" fmla="*/ 2459 w 47840"/>
                  <a:gd name="connsiteY2" fmla="*/ 83810 h 138579"/>
                  <a:gd name="connsiteX3" fmla="*/ 4840 w 47840"/>
                  <a:gd name="connsiteY3" fmla="*/ 90954 h 138579"/>
                  <a:gd name="connsiteX4" fmla="*/ 11984 w 47840"/>
                  <a:gd name="connsiteY4" fmla="*/ 95717 h 138579"/>
                  <a:gd name="connsiteX5" fmla="*/ 23890 w 47840"/>
                  <a:gd name="connsiteY5" fmla="*/ 112385 h 138579"/>
                  <a:gd name="connsiteX6" fmla="*/ 26271 w 47840"/>
                  <a:gd name="connsiteY6" fmla="*/ 119529 h 138579"/>
                  <a:gd name="connsiteX7" fmla="*/ 40559 w 47840"/>
                  <a:gd name="connsiteY7" fmla="*/ 131435 h 138579"/>
                  <a:gd name="connsiteX8" fmla="*/ 42940 w 47840"/>
                  <a:gd name="connsiteY8" fmla="*/ 138579 h 138579"/>
                  <a:gd name="connsiteX9" fmla="*/ 47702 w 47840"/>
                  <a:gd name="connsiteY9" fmla="*/ 131435 h 138579"/>
                  <a:gd name="connsiteX10" fmla="*/ 45321 w 47840"/>
                  <a:gd name="connsiteY10" fmla="*/ 119529 h 138579"/>
                  <a:gd name="connsiteX11" fmla="*/ 38177 w 47840"/>
                  <a:gd name="connsiteY11" fmla="*/ 114767 h 138579"/>
                  <a:gd name="connsiteX12" fmla="*/ 26271 w 47840"/>
                  <a:gd name="connsiteY12" fmla="*/ 93335 h 138579"/>
                  <a:gd name="connsiteX13" fmla="*/ 19127 w 47840"/>
                  <a:gd name="connsiteY13" fmla="*/ 90954 h 138579"/>
                  <a:gd name="connsiteX14" fmla="*/ 23890 w 47840"/>
                  <a:gd name="connsiteY14" fmla="*/ 79048 h 138579"/>
                  <a:gd name="connsiteX15" fmla="*/ 31034 w 47840"/>
                  <a:gd name="connsiteY15" fmla="*/ 76667 h 138579"/>
                  <a:gd name="connsiteX16" fmla="*/ 21509 w 47840"/>
                  <a:gd name="connsiteY16" fmla="*/ 64760 h 138579"/>
                  <a:gd name="connsiteX17" fmla="*/ 14365 w 47840"/>
                  <a:gd name="connsiteY17" fmla="*/ 36185 h 138579"/>
                  <a:gd name="connsiteX18" fmla="*/ 19127 w 47840"/>
                  <a:gd name="connsiteY18" fmla="*/ 29042 h 138579"/>
                  <a:gd name="connsiteX19" fmla="*/ 16746 w 47840"/>
                  <a:gd name="connsiteY19" fmla="*/ 21898 h 138579"/>
                  <a:gd name="connsiteX20" fmla="*/ 14365 w 47840"/>
                  <a:gd name="connsiteY20" fmla="*/ 467 h 138579"/>
                  <a:gd name="connsiteX21" fmla="*/ 9602 w 47840"/>
                  <a:gd name="connsiteY21" fmla="*/ 14754 h 138579"/>
                  <a:gd name="connsiteX22" fmla="*/ 77 w 47840"/>
                  <a:gd name="connsiteY22" fmla="*/ 26660 h 138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47840" h="138579">
                    <a:moveTo>
                      <a:pt x="77" y="26660"/>
                    </a:moveTo>
                    <a:cubicBezTo>
                      <a:pt x="-717" y="36582"/>
                      <a:pt x="4840" y="52477"/>
                      <a:pt x="4840" y="74285"/>
                    </a:cubicBezTo>
                    <a:cubicBezTo>
                      <a:pt x="4840" y="77558"/>
                      <a:pt x="3253" y="80635"/>
                      <a:pt x="2459" y="83810"/>
                    </a:cubicBezTo>
                    <a:cubicBezTo>
                      <a:pt x="3253" y="86191"/>
                      <a:pt x="3272" y="88994"/>
                      <a:pt x="4840" y="90954"/>
                    </a:cubicBezTo>
                    <a:cubicBezTo>
                      <a:pt x="6628" y="93189"/>
                      <a:pt x="10467" y="93290"/>
                      <a:pt x="11984" y="95717"/>
                    </a:cubicBezTo>
                    <a:cubicBezTo>
                      <a:pt x="23681" y="114432"/>
                      <a:pt x="8913" y="107393"/>
                      <a:pt x="23890" y="112385"/>
                    </a:cubicBezTo>
                    <a:cubicBezTo>
                      <a:pt x="24684" y="114766"/>
                      <a:pt x="24879" y="117440"/>
                      <a:pt x="26271" y="119529"/>
                    </a:cubicBezTo>
                    <a:cubicBezTo>
                      <a:pt x="29938" y="125030"/>
                      <a:pt x="35287" y="127921"/>
                      <a:pt x="40559" y="131435"/>
                    </a:cubicBezTo>
                    <a:cubicBezTo>
                      <a:pt x="41353" y="133816"/>
                      <a:pt x="40430" y="138579"/>
                      <a:pt x="42940" y="138579"/>
                    </a:cubicBezTo>
                    <a:cubicBezTo>
                      <a:pt x="45802" y="138579"/>
                      <a:pt x="47347" y="134275"/>
                      <a:pt x="47702" y="131435"/>
                    </a:cubicBezTo>
                    <a:cubicBezTo>
                      <a:pt x="48204" y="127419"/>
                      <a:pt x="47329" y="123043"/>
                      <a:pt x="45321" y="119529"/>
                    </a:cubicBezTo>
                    <a:cubicBezTo>
                      <a:pt x="43901" y="117044"/>
                      <a:pt x="40558" y="116354"/>
                      <a:pt x="38177" y="114767"/>
                    </a:cubicBezTo>
                    <a:cubicBezTo>
                      <a:pt x="34627" y="104116"/>
                      <a:pt x="35437" y="99446"/>
                      <a:pt x="26271" y="93335"/>
                    </a:cubicBezTo>
                    <a:cubicBezTo>
                      <a:pt x="24182" y="91943"/>
                      <a:pt x="21508" y="91748"/>
                      <a:pt x="19127" y="90954"/>
                    </a:cubicBezTo>
                    <a:cubicBezTo>
                      <a:pt x="6924" y="72650"/>
                      <a:pt x="3956" y="75726"/>
                      <a:pt x="23890" y="79048"/>
                    </a:cubicBezTo>
                    <a:cubicBezTo>
                      <a:pt x="26271" y="78254"/>
                      <a:pt x="29912" y="78912"/>
                      <a:pt x="31034" y="76667"/>
                    </a:cubicBezTo>
                    <a:cubicBezTo>
                      <a:pt x="33909" y="70917"/>
                      <a:pt x="23716" y="66231"/>
                      <a:pt x="21509" y="64760"/>
                    </a:cubicBezTo>
                    <a:cubicBezTo>
                      <a:pt x="11931" y="50394"/>
                      <a:pt x="8828" y="52797"/>
                      <a:pt x="14365" y="36185"/>
                    </a:cubicBezTo>
                    <a:cubicBezTo>
                      <a:pt x="15270" y="33470"/>
                      <a:pt x="17540" y="31423"/>
                      <a:pt x="19127" y="29042"/>
                    </a:cubicBezTo>
                    <a:cubicBezTo>
                      <a:pt x="18333" y="26661"/>
                      <a:pt x="17159" y="24374"/>
                      <a:pt x="16746" y="21898"/>
                    </a:cubicBezTo>
                    <a:cubicBezTo>
                      <a:pt x="15564" y="14808"/>
                      <a:pt x="19447" y="5549"/>
                      <a:pt x="14365" y="467"/>
                    </a:cubicBezTo>
                    <a:cubicBezTo>
                      <a:pt x="10815" y="-3083"/>
                      <a:pt x="9602" y="14754"/>
                      <a:pt x="9602" y="14754"/>
                    </a:cubicBezTo>
                    <a:cubicBezTo>
                      <a:pt x="12737" y="24157"/>
                      <a:pt x="871" y="16738"/>
                      <a:pt x="77" y="2666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09" name="Freeform: Shape 808">
                <a:extLst>
                  <a:ext uri="{FF2B5EF4-FFF2-40B4-BE49-F238E27FC236}">
                    <a16:creationId xmlns:a16="http://schemas.microsoft.com/office/drawing/2014/main" id="{EA90A624-D77E-4069-BBBA-251FDE34E4F4}"/>
                  </a:ext>
                </a:extLst>
              </p:cNvPr>
              <p:cNvSpPr/>
              <p:nvPr/>
            </p:nvSpPr>
            <p:spPr>
              <a:xfrm>
                <a:off x="4897771" y="5522119"/>
                <a:ext cx="48097" cy="42938"/>
              </a:xfrm>
              <a:custGeom>
                <a:avLst/>
                <a:gdLst>
                  <a:gd name="connsiteX0" fmla="*/ 48085 w 48097"/>
                  <a:gd name="connsiteY0" fmla="*/ 42862 h 42938"/>
                  <a:gd name="connsiteX1" fmla="*/ 36179 w 48097"/>
                  <a:gd name="connsiteY1" fmla="*/ 35719 h 42938"/>
                  <a:gd name="connsiteX2" fmla="*/ 33798 w 48097"/>
                  <a:gd name="connsiteY2" fmla="*/ 28575 h 42938"/>
                  <a:gd name="connsiteX3" fmla="*/ 19510 w 48097"/>
                  <a:gd name="connsiteY3" fmla="*/ 14287 h 42938"/>
                  <a:gd name="connsiteX4" fmla="*/ 12367 w 48097"/>
                  <a:gd name="connsiteY4" fmla="*/ 7144 h 42938"/>
                  <a:gd name="connsiteX5" fmla="*/ 7604 w 48097"/>
                  <a:gd name="connsiteY5" fmla="*/ 0 h 42938"/>
                  <a:gd name="connsiteX6" fmla="*/ 460 w 48097"/>
                  <a:gd name="connsiteY6" fmla="*/ 2381 h 42938"/>
                  <a:gd name="connsiteX7" fmla="*/ 9985 w 48097"/>
                  <a:gd name="connsiteY7" fmla="*/ 19050 h 42938"/>
                  <a:gd name="connsiteX8" fmla="*/ 24273 w 48097"/>
                  <a:gd name="connsiteY8" fmla="*/ 28575 h 42938"/>
                  <a:gd name="connsiteX9" fmla="*/ 26654 w 48097"/>
                  <a:gd name="connsiteY9" fmla="*/ 35719 h 42938"/>
                  <a:gd name="connsiteX10" fmla="*/ 33798 w 48097"/>
                  <a:gd name="connsiteY10" fmla="*/ 38100 h 42938"/>
                  <a:gd name="connsiteX11" fmla="*/ 48085 w 48097"/>
                  <a:gd name="connsiteY11" fmla="*/ 42862 h 42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8097" h="42938">
                    <a:moveTo>
                      <a:pt x="48085" y="42862"/>
                    </a:moveTo>
                    <a:cubicBezTo>
                      <a:pt x="48482" y="42465"/>
                      <a:pt x="39452" y="38992"/>
                      <a:pt x="36179" y="35719"/>
                    </a:cubicBezTo>
                    <a:cubicBezTo>
                      <a:pt x="34404" y="33944"/>
                      <a:pt x="35339" y="30556"/>
                      <a:pt x="33798" y="28575"/>
                    </a:cubicBezTo>
                    <a:cubicBezTo>
                      <a:pt x="29663" y="23258"/>
                      <a:pt x="24273" y="19050"/>
                      <a:pt x="19510" y="14287"/>
                    </a:cubicBezTo>
                    <a:cubicBezTo>
                      <a:pt x="17129" y="11906"/>
                      <a:pt x="14235" y="9946"/>
                      <a:pt x="12367" y="7144"/>
                    </a:cubicBezTo>
                    <a:lnTo>
                      <a:pt x="7604" y="0"/>
                    </a:lnTo>
                    <a:cubicBezTo>
                      <a:pt x="5223" y="794"/>
                      <a:pt x="1392" y="50"/>
                      <a:pt x="460" y="2381"/>
                    </a:cubicBezTo>
                    <a:cubicBezTo>
                      <a:pt x="-2060" y="8681"/>
                      <a:pt x="6412" y="16271"/>
                      <a:pt x="9985" y="19050"/>
                    </a:cubicBezTo>
                    <a:cubicBezTo>
                      <a:pt x="14503" y="22564"/>
                      <a:pt x="24273" y="28575"/>
                      <a:pt x="24273" y="28575"/>
                    </a:cubicBezTo>
                    <a:cubicBezTo>
                      <a:pt x="25067" y="30956"/>
                      <a:pt x="24879" y="33944"/>
                      <a:pt x="26654" y="35719"/>
                    </a:cubicBezTo>
                    <a:cubicBezTo>
                      <a:pt x="28429" y="37494"/>
                      <a:pt x="31448" y="37219"/>
                      <a:pt x="33798" y="38100"/>
                    </a:cubicBezTo>
                    <a:cubicBezTo>
                      <a:pt x="44644" y="42167"/>
                      <a:pt x="47688" y="43259"/>
                      <a:pt x="48085" y="42862"/>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10" name="Freeform: Shape 809">
                <a:extLst>
                  <a:ext uri="{FF2B5EF4-FFF2-40B4-BE49-F238E27FC236}">
                    <a16:creationId xmlns:a16="http://schemas.microsoft.com/office/drawing/2014/main" id="{2A819317-0270-4859-AAA5-4B856FAA8BDF}"/>
                  </a:ext>
                </a:extLst>
              </p:cNvPr>
              <p:cNvSpPr/>
              <p:nvPr/>
            </p:nvSpPr>
            <p:spPr>
              <a:xfrm>
                <a:off x="5309811" y="5764285"/>
                <a:ext cx="95627" cy="80184"/>
              </a:xfrm>
              <a:custGeom>
                <a:avLst/>
                <a:gdLst>
                  <a:gd name="connsiteX0" fmla="*/ 377 w 95627"/>
                  <a:gd name="connsiteY0" fmla="*/ 15009 h 80184"/>
                  <a:gd name="connsiteX1" fmla="*/ 9902 w 95627"/>
                  <a:gd name="connsiteY1" fmla="*/ 721 h 80184"/>
                  <a:gd name="connsiteX2" fmla="*/ 14664 w 95627"/>
                  <a:gd name="connsiteY2" fmla="*/ 7865 h 80184"/>
                  <a:gd name="connsiteX3" fmla="*/ 28952 w 95627"/>
                  <a:gd name="connsiteY3" fmla="*/ 17390 h 80184"/>
                  <a:gd name="connsiteX4" fmla="*/ 36095 w 95627"/>
                  <a:gd name="connsiteY4" fmla="*/ 22153 h 80184"/>
                  <a:gd name="connsiteX5" fmla="*/ 50383 w 95627"/>
                  <a:gd name="connsiteY5" fmla="*/ 34059 h 80184"/>
                  <a:gd name="connsiteX6" fmla="*/ 57527 w 95627"/>
                  <a:gd name="connsiteY6" fmla="*/ 36440 h 80184"/>
                  <a:gd name="connsiteX7" fmla="*/ 62289 w 95627"/>
                  <a:gd name="connsiteY7" fmla="*/ 43584 h 80184"/>
                  <a:gd name="connsiteX8" fmla="*/ 71814 w 95627"/>
                  <a:gd name="connsiteY8" fmla="*/ 41203 h 80184"/>
                  <a:gd name="connsiteX9" fmla="*/ 81339 w 95627"/>
                  <a:gd name="connsiteY9" fmla="*/ 43584 h 80184"/>
                  <a:gd name="connsiteX10" fmla="*/ 83720 w 95627"/>
                  <a:gd name="connsiteY10" fmla="*/ 57871 h 80184"/>
                  <a:gd name="connsiteX11" fmla="*/ 86102 w 95627"/>
                  <a:gd name="connsiteY11" fmla="*/ 65015 h 80184"/>
                  <a:gd name="connsiteX12" fmla="*/ 88483 w 95627"/>
                  <a:gd name="connsiteY12" fmla="*/ 76921 h 80184"/>
                  <a:gd name="connsiteX13" fmla="*/ 95627 w 95627"/>
                  <a:gd name="connsiteY13" fmla="*/ 74540 h 80184"/>
                  <a:gd name="connsiteX14" fmla="*/ 81339 w 95627"/>
                  <a:gd name="connsiteY14" fmla="*/ 74540 h 80184"/>
                  <a:gd name="connsiteX15" fmla="*/ 74195 w 95627"/>
                  <a:gd name="connsiteY15" fmla="*/ 67396 h 80184"/>
                  <a:gd name="connsiteX16" fmla="*/ 57527 w 95627"/>
                  <a:gd name="connsiteY16" fmla="*/ 57871 h 80184"/>
                  <a:gd name="connsiteX17" fmla="*/ 43239 w 95627"/>
                  <a:gd name="connsiteY17" fmla="*/ 50728 h 80184"/>
                  <a:gd name="connsiteX18" fmla="*/ 24189 w 95627"/>
                  <a:gd name="connsiteY18" fmla="*/ 38821 h 80184"/>
                  <a:gd name="connsiteX19" fmla="*/ 17045 w 95627"/>
                  <a:gd name="connsiteY19" fmla="*/ 36440 h 80184"/>
                  <a:gd name="connsiteX20" fmla="*/ 377 w 95627"/>
                  <a:gd name="connsiteY20" fmla="*/ 15009 h 80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95627" h="80184">
                    <a:moveTo>
                      <a:pt x="377" y="15009"/>
                    </a:moveTo>
                    <a:cubicBezTo>
                      <a:pt x="-814" y="9056"/>
                      <a:pt x="410" y="-3075"/>
                      <a:pt x="9902" y="721"/>
                    </a:cubicBezTo>
                    <a:cubicBezTo>
                      <a:pt x="12559" y="1784"/>
                      <a:pt x="12510" y="5980"/>
                      <a:pt x="14664" y="7865"/>
                    </a:cubicBezTo>
                    <a:cubicBezTo>
                      <a:pt x="18972" y="11634"/>
                      <a:pt x="24189" y="14215"/>
                      <a:pt x="28952" y="17390"/>
                    </a:cubicBezTo>
                    <a:cubicBezTo>
                      <a:pt x="31333" y="18977"/>
                      <a:pt x="34071" y="20130"/>
                      <a:pt x="36095" y="22153"/>
                    </a:cubicBezTo>
                    <a:cubicBezTo>
                      <a:pt x="41360" y="27417"/>
                      <a:pt x="43754" y="30745"/>
                      <a:pt x="50383" y="34059"/>
                    </a:cubicBezTo>
                    <a:cubicBezTo>
                      <a:pt x="52628" y="35182"/>
                      <a:pt x="55146" y="35646"/>
                      <a:pt x="57527" y="36440"/>
                    </a:cubicBezTo>
                    <a:cubicBezTo>
                      <a:pt x="59114" y="38821"/>
                      <a:pt x="59574" y="42679"/>
                      <a:pt x="62289" y="43584"/>
                    </a:cubicBezTo>
                    <a:cubicBezTo>
                      <a:pt x="65394" y="44619"/>
                      <a:pt x="68541" y="41203"/>
                      <a:pt x="71814" y="41203"/>
                    </a:cubicBezTo>
                    <a:cubicBezTo>
                      <a:pt x="75087" y="41203"/>
                      <a:pt x="78164" y="42790"/>
                      <a:pt x="81339" y="43584"/>
                    </a:cubicBezTo>
                    <a:cubicBezTo>
                      <a:pt x="82133" y="48346"/>
                      <a:pt x="82673" y="53158"/>
                      <a:pt x="83720" y="57871"/>
                    </a:cubicBezTo>
                    <a:cubicBezTo>
                      <a:pt x="84265" y="60321"/>
                      <a:pt x="85493" y="62580"/>
                      <a:pt x="86102" y="65015"/>
                    </a:cubicBezTo>
                    <a:cubicBezTo>
                      <a:pt x="87084" y="68941"/>
                      <a:pt x="87689" y="72952"/>
                      <a:pt x="88483" y="76921"/>
                    </a:cubicBezTo>
                    <a:cubicBezTo>
                      <a:pt x="90864" y="76127"/>
                      <a:pt x="95627" y="72030"/>
                      <a:pt x="95627" y="74540"/>
                    </a:cubicBezTo>
                    <a:cubicBezTo>
                      <a:pt x="95627" y="87241"/>
                      <a:pt x="81339" y="74540"/>
                      <a:pt x="81339" y="74540"/>
                    </a:cubicBezTo>
                    <a:cubicBezTo>
                      <a:pt x="78752" y="72384"/>
                      <a:pt x="76782" y="69552"/>
                      <a:pt x="74195" y="67396"/>
                    </a:cubicBezTo>
                    <a:cubicBezTo>
                      <a:pt x="67869" y="62124"/>
                      <a:pt x="64934" y="62103"/>
                      <a:pt x="57527" y="57871"/>
                    </a:cubicBezTo>
                    <a:cubicBezTo>
                      <a:pt x="44605" y="50487"/>
                      <a:pt x="56334" y="55092"/>
                      <a:pt x="43239" y="50728"/>
                    </a:cubicBezTo>
                    <a:cubicBezTo>
                      <a:pt x="35693" y="39407"/>
                      <a:pt x="41192" y="44489"/>
                      <a:pt x="24189" y="38821"/>
                    </a:cubicBezTo>
                    <a:lnTo>
                      <a:pt x="17045" y="36440"/>
                    </a:lnTo>
                    <a:cubicBezTo>
                      <a:pt x="1824" y="26292"/>
                      <a:pt x="1568" y="20962"/>
                      <a:pt x="377" y="15009"/>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11" name="Freeform: Shape 810">
                <a:extLst>
                  <a:ext uri="{FF2B5EF4-FFF2-40B4-BE49-F238E27FC236}">
                    <a16:creationId xmlns:a16="http://schemas.microsoft.com/office/drawing/2014/main" id="{A2EDFFC3-048E-46E4-966E-F8018F07FE4C}"/>
                  </a:ext>
                </a:extLst>
              </p:cNvPr>
              <p:cNvSpPr/>
              <p:nvPr/>
            </p:nvSpPr>
            <p:spPr>
              <a:xfrm>
                <a:off x="5134340" y="5712474"/>
                <a:ext cx="48405" cy="18000"/>
              </a:xfrm>
              <a:custGeom>
                <a:avLst/>
                <a:gdLst>
                  <a:gd name="connsiteX0" fmla="*/ 780 w 48405"/>
                  <a:gd name="connsiteY0" fmla="*/ 2381 h 12252"/>
                  <a:gd name="connsiteX1" fmla="*/ 15067 w 48405"/>
                  <a:gd name="connsiteY1" fmla="*/ 0 h 12252"/>
                  <a:gd name="connsiteX2" fmla="*/ 48405 w 48405"/>
                  <a:gd name="connsiteY2" fmla="*/ 4763 h 12252"/>
                  <a:gd name="connsiteX3" fmla="*/ 41261 w 48405"/>
                  <a:gd name="connsiteY3" fmla="*/ 9525 h 12252"/>
                  <a:gd name="connsiteX4" fmla="*/ 3161 w 48405"/>
                  <a:gd name="connsiteY4" fmla="*/ 9525 h 12252"/>
                  <a:gd name="connsiteX5" fmla="*/ 780 w 48405"/>
                  <a:gd name="connsiteY5" fmla="*/ 2381 h 12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8405" h="12252">
                    <a:moveTo>
                      <a:pt x="780" y="2381"/>
                    </a:moveTo>
                    <a:cubicBezTo>
                      <a:pt x="2764" y="793"/>
                      <a:pt x="10239" y="0"/>
                      <a:pt x="15067" y="0"/>
                    </a:cubicBezTo>
                    <a:cubicBezTo>
                      <a:pt x="35938" y="0"/>
                      <a:pt x="35184" y="355"/>
                      <a:pt x="48405" y="4763"/>
                    </a:cubicBezTo>
                    <a:cubicBezTo>
                      <a:pt x="46024" y="6350"/>
                      <a:pt x="43892" y="8398"/>
                      <a:pt x="41261" y="9525"/>
                    </a:cubicBezTo>
                    <a:cubicBezTo>
                      <a:pt x="29905" y="14391"/>
                      <a:pt x="13263" y="11689"/>
                      <a:pt x="3161" y="9525"/>
                    </a:cubicBezTo>
                    <a:cubicBezTo>
                      <a:pt x="966" y="9055"/>
                      <a:pt x="-1204" y="3969"/>
                      <a:pt x="780" y="2381"/>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12" name="Freeform: Shape 811">
                <a:extLst>
                  <a:ext uri="{FF2B5EF4-FFF2-40B4-BE49-F238E27FC236}">
                    <a16:creationId xmlns:a16="http://schemas.microsoft.com/office/drawing/2014/main" id="{11806B88-C644-4902-84E5-0F77E6306229}"/>
                  </a:ext>
                </a:extLst>
              </p:cNvPr>
              <p:cNvSpPr/>
              <p:nvPr/>
            </p:nvSpPr>
            <p:spPr>
              <a:xfrm>
                <a:off x="5091113" y="5715000"/>
                <a:ext cx="14400" cy="7200"/>
              </a:xfrm>
              <a:custGeom>
                <a:avLst/>
                <a:gdLst>
                  <a:gd name="connsiteX0" fmla="*/ 0 w 19050"/>
                  <a:gd name="connsiteY0" fmla="*/ 0 h 12208"/>
                  <a:gd name="connsiteX1" fmla="*/ 4762 w 19050"/>
                  <a:gd name="connsiteY1" fmla="*/ 11906 h 12208"/>
                  <a:gd name="connsiteX2" fmla="*/ 19050 w 19050"/>
                  <a:gd name="connsiteY2" fmla="*/ 7144 h 12208"/>
                  <a:gd name="connsiteX3" fmla="*/ 4762 w 19050"/>
                  <a:gd name="connsiteY3" fmla="*/ 2381 h 12208"/>
                  <a:gd name="connsiteX4" fmla="*/ 0 w 19050"/>
                  <a:gd name="connsiteY4" fmla="*/ 0 h 122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12208">
                    <a:moveTo>
                      <a:pt x="0" y="0"/>
                    </a:moveTo>
                    <a:cubicBezTo>
                      <a:pt x="1587" y="3969"/>
                      <a:pt x="760" y="10405"/>
                      <a:pt x="4762" y="11906"/>
                    </a:cubicBezTo>
                    <a:cubicBezTo>
                      <a:pt x="9463" y="13669"/>
                      <a:pt x="19050" y="7144"/>
                      <a:pt x="19050" y="7144"/>
                    </a:cubicBezTo>
                    <a:cubicBezTo>
                      <a:pt x="14287" y="5556"/>
                      <a:pt x="8939" y="5166"/>
                      <a:pt x="4762" y="2381"/>
                    </a:cubicBezTo>
                    <a:lnTo>
                      <a:pt x="0" y="0"/>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13" name="Freeform: Shape 812">
                <a:extLst>
                  <a:ext uri="{FF2B5EF4-FFF2-40B4-BE49-F238E27FC236}">
                    <a16:creationId xmlns:a16="http://schemas.microsoft.com/office/drawing/2014/main" id="{D82A08A3-88CE-4A05-83F5-C65F58543383}"/>
                  </a:ext>
                </a:extLst>
              </p:cNvPr>
              <p:cNvSpPr/>
              <p:nvPr/>
            </p:nvSpPr>
            <p:spPr>
              <a:xfrm>
                <a:off x="5079207" y="5758706"/>
                <a:ext cx="23812" cy="9841"/>
              </a:xfrm>
              <a:custGeom>
                <a:avLst/>
                <a:gdLst>
                  <a:gd name="connsiteX0" fmla="*/ 0 w 23812"/>
                  <a:gd name="connsiteY0" fmla="*/ 9525 h 9841"/>
                  <a:gd name="connsiteX1" fmla="*/ 16669 w 23812"/>
                  <a:gd name="connsiteY1" fmla="*/ 7144 h 9841"/>
                  <a:gd name="connsiteX2" fmla="*/ 23812 w 23812"/>
                  <a:gd name="connsiteY2" fmla="*/ 4763 h 9841"/>
                  <a:gd name="connsiteX3" fmla="*/ 16669 w 23812"/>
                  <a:gd name="connsiteY3" fmla="*/ 0 h 9841"/>
                  <a:gd name="connsiteX4" fmla="*/ 0 w 23812"/>
                  <a:gd name="connsiteY4" fmla="*/ 9525 h 9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812" h="9841">
                    <a:moveTo>
                      <a:pt x="0" y="9525"/>
                    </a:moveTo>
                    <a:cubicBezTo>
                      <a:pt x="0" y="10716"/>
                      <a:pt x="11165" y="8245"/>
                      <a:pt x="16669" y="7144"/>
                    </a:cubicBezTo>
                    <a:cubicBezTo>
                      <a:pt x="19130" y="6652"/>
                      <a:pt x="23812" y="7273"/>
                      <a:pt x="23812" y="4763"/>
                    </a:cubicBezTo>
                    <a:cubicBezTo>
                      <a:pt x="23812" y="1901"/>
                      <a:pt x="19050" y="1588"/>
                      <a:pt x="16669" y="0"/>
                    </a:cubicBezTo>
                    <a:cubicBezTo>
                      <a:pt x="904" y="10509"/>
                      <a:pt x="0" y="8334"/>
                      <a:pt x="0" y="9525"/>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14" name="Freeform: Shape 813">
                <a:extLst>
                  <a:ext uri="{FF2B5EF4-FFF2-40B4-BE49-F238E27FC236}">
                    <a16:creationId xmlns:a16="http://schemas.microsoft.com/office/drawing/2014/main" id="{CC4E3460-92A4-408C-B9EC-98DC4801AD67}"/>
                  </a:ext>
                </a:extLst>
              </p:cNvPr>
              <p:cNvSpPr/>
              <p:nvPr/>
            </p:nvSpPr>
            <p:spPr>
              <a:xfrm rot="21354559">
                <a:off x="5128692" y="5741468"/>
                <a:ext cx="97200" cy="14398"/>
              </a:xfrm>
              <a:custGeom>
                <a:avLst/>
                <a:gdLst>
                  <a:gd name="connsiteX0" fmla="*/ 535 w 72466"/>
                  <a:gd name="connsiteY0" fmla="*/ 111 h 14398"/>
                  <a:gd name="connsiteX1" fmla="*/ 12441 w 72466"/>
                  <a:gd name="connsiteY1" fmla="*/ 7255 h 14398"/>
                  <a:gd name="connsiteX2" fmla="*/ 24347 w 72466"/>
                  <a:gd name="connsiteY2" fmla="*/ 9636 h 14398"/>
                  <a:gd name="connsiteX3" fmla="*/ 31491 w 72466"/>
                  <a:gd name="connsiteY3" fmla="*/ 12017 h 14398"/>
                  <a:gd name="connsiteX4" fmla="*/ 43397 w 72466"/>
                  <a:gd name="connsiteY4" fmla="*/ 14398 h 14398"/>
                  <a:gd name="connsiteX5" fmla="*/ 64828 w 72466"/>
                  <a:gd name="connsiteY5" fmla="*/ 12017 h 14398"/>
                  <a:gd name="connsiteX6" fmla="*/ 71972 w 72466"/>
                  <a:gd name="connsiteY6" fmla="*/ 9636 h 14398"/>
                  <a:gd name="connsiteX7" fmla="*/ 48160 w 72466"/>
                  <a:gd name="connsiteY7" fmla="*/ 7255 h 14398"/>
                  <a:gd name="connsiteX8" fmla="*/ 26728 w 72466"/>
                  <a:gd name="connsiteY8" fmla="*/ 4873 h 14398"/>
                  <a:gd name="connsiteX9" fmla="*/ 2916 w 72466"/>
                  <a:gd name="connsiteY9" fmla="*/ 2492 h 14398"/>
                  <a:gd name="connsiteX10" fmla="*/ 535 w 72466"/>
                  <a:gd name="connsiteY10" fmla="*/ 111 h 143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2466" h="14398">
                    <a:moveTo>
                      <a:pt x="535" y="111"/>
                    </a:moveTo>
                    <a:cubicBezTo>
                      <a:pt x="2122" y="905"/>
                      <a:pt x="8144" y="5536"/>
                      <a:pt x="12441" y="7255"/>
                    </a:cubicBezTo>
                    <a:cubicBezTo>
                      <a:pt x="16199" y="8758"/>
                      <a:pt x="20421" y="8654"/>
                      <a:pt x="24347" y="9636"/>
                    </a:cubicBezTo>
                    <a:cubicBezTo>
                      <a:pt x="26782" y="10245"/>
                      <a:pt x="29056" y="11408"/>
                      <a:pt x="31491" y="12017"/>
                    </a:cubicBezTo>
                    <a:cubicBezTo>
                      <a:pt x="35417" y="12999"/>
                      <a:pt x="39428" y="13604"/>
                      <a:pt x="43397" y="14398"/>
                    </a:cubicBezTo>
                    <a:cubicBezTo>
                      <a:pt x="50541" y="13604"/>
                      <a:pt x="57738" y="13199"/>
                      <a:pt x="64828" y="12017"/>
                    </a:cubicBezTo>
                    <a:cubicBezTo>
                      <a:pt x="67304" y="11604"/>
                      <a:pt x="74386" y="10326"/>
                      <a:pt x="71972" y="9636"/>
                    </a:cubicBezTo>
                    <a:cubicBezTo>
                      <a:pt x="64302" y="7445"/>
                      <a:pt x="56093" y="8090"/>
                      <a:pt x="48160" y="7255"/>
                    </a:cubicBezTo>
                    <a:lnTo>
                      <a:pt x="26728" y="4873"/>
                    </a:lnTo>
                    <a:cubicBezTo>
                      <a:pt x="12096" y="-4"/>
                      <a:pt x="15512" y="-1706"/>
                      <a:pt x="2916" y="2492"/>
                    </a:cubicBezTo>
                    <a:cubicBezTo>
                      <a:pt x="1232" y="3053"/>
                      <a:pt x="-1052" y="-683"/>
                      <a:pt x="535" y="111"/>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15" name="Freeform: Shape 814">
                <a:extLst>
                  <a:ext uri="{FF2B5EF4-FFF2-40B4-BE49-F238E27FC236}">
                    <a16:creationId xmlns:a16="http://schemas.microsoft.com/office/drawing/2014/main" id="{4037360F-635B-4D32-8D27-88A1CC402ECB}"/>
                  </a:ext>
                </a:extLst>
              </p:cNvPr>
              <p:cNvSpPr/>
              <p:nvPr/>
            </p:nvSpPr>
            <p:spPr>
              <a:xfrm>
                <a:off x="5153679" y="5778137"/>
                <a:ext cx="62609" cy="14581"/>
              </a:xfrm>
              <a:custGeom>
                <a:avLst/>
                <a:gdLst>
                  <a:gd name="connsiteX0" fmla="*/ 12603 w 62609"/>
                  <a:gd name="connsiteY0" fmla="*/ 14556 h 14581"/>
                  <a:gd name="connsiteX1" fmla="*/ 24509 w 62609"/>
                  <a:gd name="connsiteY1" fmla="*/ 9793 h 14581"/>
                  <a:gd name="connsiteX2" fmla="*/ 62609 w 62609"/>
                  <a:gd name="connsiteY2" fmla="*/ 5031 h 14581"/>
                  <a:gd name="connsiteX3" fmla="*/ 43559 w 62609"/>
                  <a:gd name="connsiteY3" fmla="*/ 5031 h 14581"/>
                  <a:gd name="connsiteX4" fmla="*/ 10222 w 62609"/>
                  <a:gd name="connsiteY4" fmla="*/ 2650 h 14581"/>
                  <a:gd name="connsiteX5" fmla="*/ 3078 w 62609"/>
                  <a:gd name="connsiteY5" fmla="*/ 268 h 14581"/>
                  <a:gd name="connsiteX6" fmla="*/ 697 w 62609"/>
                  <a:gd name="connsiteY6" fmla="*/ 7412 h 14581"/>
                  <a:gd name="connsiteX7" fmla="*/ 12603 w 62609"/>
                  <a:gd name="connsiteY7" fmla="*/ 14556 h 14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609" h="14581">
                    <a:moveTo>
                      <a:pt x="12603" y="14556"/>
                    </a:moveTo>
                    <a:cubicBezTo>
                      <a:pt x="16572" y="14953"/>
                      <a:pt x="20310" y="10593"/>
                      <a:pt x="24509" y="9793"/>
                    </a:cubicBezTo>
                    <a:cubicBezTo>
                      <a:pt x="37082" y="7398"/>
                      <a:pt x="62609" y="5031"/>
                      <a:pt x="62609" y="5031"/>
                    </a:cubicBezTo>
                    <a:cubicBezTo>
                      <a:pt x="46279" y="-412"/>
                      <a:pt x="66547" y="5031"/>
                      <a:pt x="43559" y="5031"/>
                    </a:cubicBezTo>
                    <a:cubicBezTo>
                      <a:pt x="32418" y="5031"/>
                      <a:pt x="21334" y="3444"/>
                      <a:pt x="10222" y="2650"/>
                    </a:cubicBezTo>
                    <a:cubicBezTo>
                      <a:pt x="7841" y="1856"/>
                      <a:pt x="5323" y="-855"/>
                      <a:pt x="3078" y="268"/>
                    </a:cubicBezTo>
                    <a:cubicBezTo>
                      <a:pt x="833" y="1390"/>
                      <a:pt x="-1078" y="5637"/>
                      <a:pt x="697" y="7412"/>
                    </a:cubicBezTo>
                    <a:cubicBezTo>
                      <a:pt x="6213" y="12928"/>
                      <a:pt x="8634" y="14159"/>
                      <a:pt x="12603" y="14556"/>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16" name="Freeform: Shape 815">
                <a:extLst>
                  <a:ext uri="{FF2B5EF4-FFF2-40B4-BE49-F238E27FC236}">
                    <a16:creationId xmlns:a16="http://schemas.microsoft.com/office/drawing/2014/main" id="{D528B7CF-5057-4B74-9C0E-615BF4DCAD13}"/>
                  </a:ext>
                </a:extLst>
              </p:cNvPr>
              <p:cNvSpPr/>
              <p:nvPr/>
            </p:nvSpPr>
            <p:spPr>
              <a:xfrm>
                <a:off x="5184984" y="5804731"/>
                <a:ext cx="19050" cy="8159"/>
              </a:xfrm>
              <a:custGeom>
                <a:avLst/>
                <a:gdLst>
                  <a:gd name="connsiteX0" fmla="*/ 19050 w 19050"/>
                  <a:gd name="connsiteY0" fmla="*/ 7381 h 8159"/>
                  <a:gd name="connsiteX1" fmla="*/ 7143 w 19050"/>
                  <a:gd name="connsiteY1" fmla="*/ 237 h 8159"/>
                  <a:gd name="connsiteX2" fmla="*/ 0 w 19050"/>
                  <a:gd name="connsiteY2" fmla="*/ 2618 h 8159"/>
                  <a:gd name="connsiteX3" fmla="*/ 7143 w 19050"/>
                  <a:gd name="connsiteY3" fmla="*/ 7381 h 8159"/>
                  <a:gd name="connsiteX4" fmla="*/ 19050 w 19050"/>
                  <a:gd name="connsiteY4" fmla="*/ 7381 h 81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50" h="8159">
                    <a:moveTo>
                      <a:pt x="19050" y="7381"/>
                    </a:moveTo>
                    <a:cubicBezTo>
                      <a:pt x="19050" y="6190"/>
                      <a:pt x="11633" y="1360"/>
                      <a:pt x="7143" y="237"/>
                    </a:cubicBezTo>
                    <a:cubicBezTo>
                      <a:pt x="4708" y="-372"/>
                      <a:pt x="0" y="108"/>
                      <a:pt x="0" y="2618"/>
                    </a:cubicBezTo>
                    <a:cubicBezTo>
                      <a:pt x="0" y="5480"/>
                      <a:pt x="4391" y="6595"/>
                      <a:pt x="7143" y="7381"/>
                    </a:cubicBezTo>
                    <a:cubicBezTo>
                      <a:pt x="10196" y="8253"/>
                      <a:pt x="19050" y="8572"/>
                      <a:pt x="19050" y="7381"/>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17" name="Freeform: Shape 816">
                <a:extLst>
                  <a:ext uri="{FF2B5EF4-FFF2-40B4-BE49-F238E27FC236}">
                    <a16:creationId xmlns:a16="http://schemas.microsoft.com/office/drawing/2014/main" id="{CB1509CC-E921-4205-929E-596E0DA000D6}"/>
                  </a:ext>
                </a:extLst>
              </p:cNvPr>
              <p:cNvSpPr/>
              <p:nvPr/>
            </p:nvSpPr>
            <p:spPr>
              <a:xfrm rot="691329">
                <a:off x="5206650" y="5772219"/>
                <a:ext cx="70110" cy="7176"/>
              </a:xfrm>
              <a:custGeom>
                <a:avLst/>
                <a:gdLst>
                  <a:gd name="connsiteX0" fmla="*/ 24078 w 70110"/>
                  <a:gd name="connsiteY0" fmla="*/ 4762 h 7176"/>
                  <a:gd name="connsiteX1" fmla="*/ 69322 w 70110"/>
                  <a:gd name="connsiteY1" fmla="*/ 4762 h 7176"/>
                  <a:gd name="connsiteX2" fmla="*/ 57416 w 70110"/>
                  <a:gd name="connsiteY2" fmla="*/ 2381 h 7176"/>
                  <a:gd name="connsiteX3" fmla="*/ 26459 w 70110"/>
                  <a:gd name="connsiteY3" fmla="*/ 0 h 7176"/>
                  <a:gd name="connsiteX4" fmla="*/ 266 w 70110"/>
                  <a:gd name="connsiteY4" fmla="*/ 2381 h 7176"/>
                  <a:gd name="connsiteX5" fmla="*/ 24078 w 70110"/>
                  <a:gd name="connsiteY5" fmla="*/ 4762 h 71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0110" h="7176">
                    <a:moveTo>
                      <a:pt x="24078" y="4762"/>
                    </a:moveTo>
                    <a:cubicBezTo>
                      <a:pt x="35587" y="5159"/>
                      <a:pt x="48408" y="9991"/>
                      <a:pt x="69322" y="4762"/>
                    </a:cubicBezTo>
                    <a:cubicBezTo>
                      <a:pt x="73248" y="3780"/>
                      <a:pt x="61439" y="2828"/>
                      <a:pt x="57416" y="2381"/>
                    </a:cubicBezTo>
                    <a:cubicBezTo>
                      <a:pt x="47130" y="1238"/>
                      <a:pt x="36778" y="794"/>
                      <a:pt x="26459" y="0"/>
                    </a:cubicBezTo>
                    <a:cubicBezTo>
                      <a:pt x="17728" y="794"/>
                      <a:pt x="8771" y="255"/>
                      <a:pt x="266" y="2381"/>
                    </a:cubicBezTo>
                    <a:cubicBezTo>
                      <a:pt x="-2169" y="2990"/>
                      <a:pt x="12569" y="4365"/>
                      <a:pt x="24078" y="4762"/>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18" name="Freeform: Shape 817">
                <a:extLst>
                  <a:ext uri="{FF2B5EF4-FFF2-40B4-BE49-F238E27FC236}">
                    <a16:creationId xmlns:a16="http://schemas.microsoft.com/office/drawing/2014/main" id="{0F65D193-205E-4D79-A376-7983724AC110}"/>
                  </a:ext>
                </a:extLst>
              </p:cNvPr>
              <p:cNvSpPr/>
              <p:nvPr/>
            </p:nvSpPr>
            <p:spPr>
              <a:xfrm>
                <a:off x="5250477" y="5797584"/>
                <a:ext cx="52567" cy="12666"/>
              </a:xfrm>
              <a:custGeom>
                <a:avLst/>
                <a:gdLst>
                  <a:gd name="connsiteX0" fmla="*/ 9704 w 52567"/>
                  <a:gd name="connsiteY0" fmla="*/ 7904 h 12666"/>
                  <a:gd name="connsiteX1" fmla="*/ 21611 w 52567"/>
                  <a:gd name="connsiteY1" fmla="*/ 10285 h 12666"/>
                  <a:gd name="connsiteX2" fmla="*/ 28754 w 52567"/>
                  <a:gd name="connsiteY2" fmla="*/ 12666 h 12666"/>
                  <a:gd name="connsiteX3" fmla="*/ 52567 w 52567"/>
                  <a:gd name="connsiteY3" fmla="*/ 10285 h 12666"/>
                  <a:gd name="connsiteX4" fmla="*/ 50186 w 52567"/>
                  <a:gd name="connsiteY4" fmla="*/ 760 h 12666"/>
                  <a:gd name="connsiteX5" fmla="*/ 7323 w 52567"/>
                  <a:gd name="connsiteY5" fmla="*/ 3141 h 12666"/>
                  <a:gd name="connsiteX6" fmla="*/ 179 w 52567"/>
                  <a:gd name="connsiteY6" fmla="*/ 5522 h 12666"/>
                  <a:gd name="connsiteX7" fmla="*/ 9704 w 52567"/>
                  <a:gd name="connsiteY7" fmla="*/ 7904 h 126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567" h="12666">
                    <a:moveTo>
                      <a:pt x="9704" y="7904"/>
                    </a:moveTo>
                    <a:cubicBezTo>
                      <a:pt x="13276" y="8698"/>
                      <a:pt x="17684" y="9303"/>
                      <a:pt x="21611" y="10285"/>
                    </a:cubicBezTo>
                    <a:cubicBezTo>
                      <a:pt x="24046" y="10894"/>
                      <a:pt x="26244" y="12666"/>
                      <a:pt x="28754" y="12666"/>
                    </a:cubicBezTo>
                    <a:cubicBezTo>
                      <a:pt x="36731" y="12666"/>
                      <a:pt x="44629" y="11079"/>
                      <a:pt x="52567" y="10285"/>
                    </a:cubicBezTo>
                    <a:cubicBezTo>
                      <a:pt x="51773" y="7110"/>
                      <a:pt x="53419" y="1270"/>
                      <a:pt x="50186" y="760"/>
                    </a:cubicBezTo>
                    <a:cubicBezTo>
                      <a:pt x="36051" y="-1472"/>
                      <a:pt x="21568" y="1784"/>
                      <a:pt x="7323" y="3141"/>
                    </a:cubicBezTo>
                    <a:cubicBezTo>
                      <a:pt x="4824" y="3379"/>
                      <a:pt x="2187" y="4016"/>
                      <a:pt x="179" y="5522"/>
                    </a:cubicBezTo>
                    <a:cubicBezTo>
                      <a:pt x="-1241" y="6587"/>
                      <a:pt x="6132" y="7110"/>
                      <a:pt x="9704" y="790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19" name="Freeform: Shape 818">
                <a:extLst>
                  <a:ext uri="{FF2B5EF4-FFF2-40B4-BE49-F238E27FC236}">
                    <a16:creationId xmlns:a16="http://schemas.microsoft.com/office/drawing/2014/main" id="{E1659FF9-00D9-4202-9B40-BD5BE00F6515}"/>
                  </a:ext>
                </a:extLst>
              </p:cNvPr>
              <p:cNvSpPr/>
              <p:nvPr/>
            </p:nvSpPr>
            <p:spPr>
              <a:xfrm>
                <a:off x="4857750" y="5424428"/>
                <a:ext cx="31043" cy="45303"/>
              </a:xfrm>
              <a:custGeom>
                <a:avLst/>
                <a:gdLst>
                  <a:gd name="connsiteX0" fmla="*/ 4763 w 31043"/>
                  <a:gd name="connsiteY0" fmla="*/ 4822 h 45303"/>
                  <a:gd name="connsiteX1" fmla="*/ 2381 w 31043"/>
                  <a:gd name="connsiteY1" fmla="*/ 23872 h 45303"/>
                  <a:gd name="connsiteX2" fmla="*/ 0 w 31043"/>
                  <a:gd name="connsiteY2" fmla="*/ 31016 h 45303"/>
                  <a:gd name="connsiteX3" fmla="*/ 9525 w 31043"/>
                  <a:gd name="connsiteY3" fmla="*/ 42922 h 45303"/>
                  <a:gd name="connsiteX4" fmla="*/ 19050 w 31043"/>
                  <a:gd name="connsiteY4" fmla="*/ 45303 h 45303"/>
                  <a:gd name="connsiteX5" fmla="*/ 26194 w 31043"/>
                  <a:gd name="connsiteY5" fmla="*/ 42922 h 45303"/>
                  <a:gd name="connsiteX6" fmla="*/ 28575 w 31043"/>
                  <a:gd name="connsiteY6" fmla="*/ 23872 h 45303"/>
                  <a:gd name="connsiteX7" fmla="*/ 21431 w 31043"/>
                  <a:gd name="connsiteY7" fmla="*/ 19110 h 45303"/>
                  <a:gd name="connsiteX8" fmla="*/ 4763 w 31043"/>
                  <a:gd name="connsiteY8" fmla="*/ 60 h 45303"/>
                  <a:gd name="connsiteX9" fmla="*/ 4763 w 31043"/>
                  <a:gd name="connsiteY9" fmla="*/ 4822 h 45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1043" h="45303">
                    <a:moveTo>
                      <a:pt x="4763" y="4822"/>
                    </a:moveTo>
                    <a:cubicBezTo>
                      <a:pt x="4366" y="8791"/>
                      <a:pt x="3526" y="17576"/>
                      <a:pt x="2381" y="23872"/>
                    </a:cubicBezTo>
                    <a:cubicBezTo>
                      <a:pt x="1932" y="26342"/>
                      <a:pt x="0" y="28506"/>
                      <a:pt x="0" y="31016"/>
                    </a:cubicBezTo>
                    <a:cubicBezTo>
                      <a:pt x="0" y="37539"/>
                      <a:pt x="4039" y="40571"/>
                      <a:pt x="9525" y="42922"/>
                    </a:cubicBezTo>
                    <a:cubicBezTo>
                      <a:pt x="12533" y="44211"/>
                      <a:pt x="15875" y="44509"/>
                      <a:pt x="19050" y="45303"/>
                    </a:cubicBezTo>
                    <a:cubicBezTo>
                      <a:pt x="21431" y="44509"/>
                      <a:pt x="24419" y="44697"/>
                      <a:pt x="26194" y="42922"/>
                    </a:cubicBezTo>
                    <a:cubicBezTo>
                      <a:pt x="31393" y="37723"/>
                      <a:pt x="32763" y="30154"/>
                      <a:pt x="28575" y="23872"/>
                    </a:cubicBezTo>
                    <a:cubicBezTo>
                      <a:pt x="26987" y="21491"/>
                      <a:pt x="23812" y="20697"/>
                      <a:pt x="21431" y="19110"/>
                    </a:cubicBezTo>
                    <a:cubicBezTo>
                      <a:pt x="14289" y="8396"/>
                      <a:pt x="14684" y="5020"/>
                      <a:pt x="4763" y="60"/>
                    </a:cubicBezTo>
                    <a:cubicBezTo>
                      <a:pt x="4053" y="-295"/>
                      <a:pt x="5160" y="853"/>
                      <a:pt x="4763" y="4822"/>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20" name="Freeform: Shape 819">
                <a:extLst>
                  <a:ext uri="{FF2B5EF4-FFF2-40B4-BE49-F238E27FC236}">
                    <a16:creationId xmlns:a16="http://schemas.microsoft.com/office/drawing/2014/main" id="{37195C57-48A6-4576-A1E1-67730F5B519C}"/>
                  </a:ext>
                </a:extLst>
              </p:cNvPr>
              <p:cNvSpPr/>
              <p:nvPr/>
            </p:nvSpPr>
            <p:spPr>
              <a:xfrm>
                <a:off x="4873906" y="5502068"/>
                <a:ext cx="13092" cy="17249"/>
              </a:xfrm>
              <a:custGeom>
                <a:avLst/>
                <a:gdLst>
                  <a:gd name="connsiteX0" fmla="*/ 12419 w 13092"/>
                  <a:gd name="connsiteY0" fmla="*/ 15288 h 17249"/>
                  <a:gd name="connsiteX1" fmla="*/ 10038 w 13092"/>
                  <a:gd name="connsiteY1" fmla="*/ 1001 h 17249"/>
                  <a:gd name="connsiteX2" fmla="*/ 513 w 13092"/>
                  <a:gd name="connsiteY2" fmla="*/ 3382 h 17249"/>
                  <a:gd name="connsiteX3" fmla="*/ 2894 w 13092"/>
                  <a:gd name="connsiteY3" fmla="*/ 10526 h 17249"/>
                  <a:gd name="connsiteX4" fmla="*/ 12419 w 13092"/>
                  <a:gd name="connsiteY4" fmla="*/ 15288 h 172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092" h="17249">
                    <a:moveTo>
                      <a:pt x="12419" y="15288"/>
                    </a:moveTo>
                    <a:cubicBezTo>
                      <a:pt x="13610" y="13701"/>
                      <a:pt x="13452" y="4415"/>
                      <a:pt x="10038" y="1001"/>
                    </a:cubicBezTo>
                    <a:cubicBezTo>
                      <a:pt x="7724" y="-1313"/>
                      <a:pt x="2477" y="764"/>
                      <a:pt x="513" y="3382"/>
                    </a:cubicBezTo>
                    <a:cubicBezTo>
                      <a:pt x="-993" y="5390"/>
                      <a:pt x="1119" y="8751"/>
                      <a:pt x="2894" y="10526"/>
                    </a:cubicBezTo>
                    <a:cubicBezTo>
                      <a:pt x="12859" y="20491"/>
                      <a:pt x="11228" y="16875"/>
                      <a:pt x="12419" y="15288"/>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21" name="Freeform: Shape 820">
                <a:extLst>
                  <a:ext uri="{FF2B5EF4-FFF2-40B4-BE49-F238E27FC236}">
                    <a16:creationId xmlns:a16="http://schemas.microsoft.com/office/drawing/2014/main" id="{A6C02487-8E50-4361-AD93-8B6B012D3BEA}"/>
                  </a:ext>
                </a:extLst>
              </p:cNvPr>
              <p:cNvSpPr/>
              <p:nvPr/>
            </p:nvSpPr>
            <p:spPr>
              <a:xfrm>
                <a:off x="4924199" y="5590997"/>
                <a:ext cx="36000" cy="36000"/>
              </a:xfrm>
              <a:custGeom>
                <a:avLst/>
                <a:gdLst>
                  <a:gd name="connsiteX0" fmla="*/ 9751 w 40707"/>
                  <a:gd name="connsiteY0" fmla="*/ 178 h 40659"/>
                  <a:gd name="connsiteX1" fmla="*/ 21657 w 40707"/>
                  <a:gd name="connsiteY1" fmla="*/ 7322 h 40659"/>
                  <a:gd name="connsiteX2" fmla="*/ 24039 w 40707"/>
                  <a:gd name="connsiteY2" fmla="*/ 14466 h 40659"/>
                  <a:gd name="connsiteX3" fmla="*/ 35945 w 40707"/>
                  <a:gd name="connsiteY3" fmla="*/ 28753 h 40659"/>
                  <a:gd name="connsiteX4" fmla="*/ 40707 w 40707"/>
                  <a:gd name="connsiteY4" fmla="*/ 35897 h 40659"/>
                  <a:gd name="connsiteX5" fmla="*/ 33564 w 40707"/>
                  <a:gd name="connsiteY5" fmla="*/ 40659 h 40659"/>
                  <a:gd name="connsiteX6" fmla="*/ 21657 w 40707"/>
                  <a:gd name="connsiteY6" fmla="*/ 26372 h 40659"/>
                  <a:gd name="connsiteX7" fmla="*/ 14514 w 40707"/>
                  <a:gd name="connsiteY7" fmla="*/ 23991 h 40659"/>
                  <a:gd name="connsiteX8" fmla="*/ 2607 w 40707"/>
                  <a:gd name="connsiteY8" fmla="*/ 2559 h 40659"/>
                  <a:gd name="connsiteX9" fmla="*/ 9751 w 40707"/>
                  <a:gd name="connsiteY9" fmla="*/ 178 h 4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707" h="40659">
                    <a:moveTo>
                      <a:pt x="9751" y="178"/>
                    </a:moveTo>
                    <a:cubicBezTo>
                      <a:pt x="12926" y="972"/>
                      <a:pt x="18384" y="4049"/>
                      <a:pt x="21657" y="7322"/>
                    </a:cubicBezTo>
                    <a:cubicBezTo>
                      <a:pt x="23432" y="9097"/>
                      <a:pt x="22916" y="12221"/>
                      <a:pt x="24039" y="14466"/>
                    </a:cubicBezTo>
                    <a:cubicBezTo>
                      <a:pt x="28474" y="23335"/>
                      <a:pt x="29361" y="20852"/>
                      <a:pt x="35945" y="28753"/>
                    </a:cubicBezTo>
                    <a:cubicBezTo>
                      <a:pt x="37777" y="30952"/>
                      <a:pt x="39120" y="33516"/>
                      <a:pt x="40707" y="35897"/>
                    </a:cubicBezTo>
                    <a:cubicBezTo>
                      <a:pt x="38326" y="37484"/>
                      <a:pt x="36426" y="40659"/>
                      <a:pt x="33564" y="40659"/>
                    </a:cubicBezTo>
                    <a:cubicBezTo>
                      <a:pt x="25326" y="40659"/>
                      <a:pt x="25393" y="30108"/>
                      <a:pt x="21657" y="26372"/>
                    </a:cubicBezTo>
                    <a:cubicBezTo>
                      <a:pt x="19882" y="24597"/>
                      <a:pt x="16895" y="24785"/>
                      <a:pt x="14514" y="23991"/>
                    </a:cubicBezTo>
                    <a:cubicBezTo>
                      <a:pt x="10557" y="20034"/>
                      <a:pt x="-6415" y="11581"/>
                      <a:pt x="2607" y="2559"/>
                    </a:cubicBezTo>
                    <a:cubicBezTo>
                      <a:pt x="3730" y="1436"/>
                      <a:pt x="6576" y="-616"/>
                      <a:pt x="9751" y="178"/>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22" name="Freeform: Shape 821">
                <a:extLst>
                  <a:ext uri="{FF2B5EF4-FFF2-40B4-BE49-F238E27FC236}">
                    <a16:creationId xmlns:a16="http://schemas.microsoft.com/office/drawing/2014/main" id="{CA8F89B4-FFFC-4E80-88DC-FEEFF5AFA0F3}"/>
                  </a:ext>
                </a:extLst>
              </p:cNvPr>
              <p:cNvSpPr/>
              <p:nvPr/>
            </p:nvSpPr>
            <p:spPr>
              <a:xfrm>
                <a:off x="4896188" y="5584719"/>
                <a:ext cx="47777" cy="57186"/>
              </a:xfrm>
              <a:custGeom>
                <a:avLst/>
                <a:gdLst>
                  <a:gd name="connsiteX0" fmla="*/ 4425 w 47777"/>
                  <a:gd name="connsiteY0" fmla="*/ 4075 h 57186"/>
                  <a:gd name="connsiteX1" fmla="*/ 11568 w 47777"/>
                  <a:gd name="connsiteY1" fmla="*/ 15981 h 57186"/>
                  <a:gd name="connsiteX2" fmla="*/ 28237 w 47777"/>
                  <a:gd name="connsiteY2" fmla="*/ 37412 h 57186"/>
                  <a:gd name="connsiteX3" fmla="*/ 35381 w 47777"/>
                  <a:gd name="connsiteY3" fmla="*/ 44556 h 57186"/>
                  <a:gd name="connsiteX4" fmla="*/ 42525 w 47777"/>
                  <a:gd name="connsiteY4" fmla="*/ 49319 h 57186"/>
                  <a:gd name="connsiteX5" fmla="*/ 47287 w 47777"/>
                  <a:gd name="connsiteY5" fmla="*/ 56462 h 57186"/>
                  <a:gd name="connsiteX6" fmla="*/ 37762 w 47777"/>
                  <a:gd name="connsiteY6" fmla="*/ 54081 h 57186"/>
                  <a:gd name="connsiteX7" fmla="*/ 30618 w 47777"/>
                  <a:gd name="connsiteY7" fmla="*/ 49319 h 57186"/>
                  <a:gd name="connsiteX8" fmla="*/ 28237 w 47777"/>
                  <a:gd name="connsiteY8" fmla="*/ 42175 h 57186"/>
                  <a:gd name="connsiteX9" fmla="*/ 23475 w 47777"/>
                  <a:gd name="connsiteY9" fmla="*/ 35031 h 57186"/>
                  <a:gd name="connsiteX10" fmla="*/ 4425 w 47777"/>
                  <a:gd name="connsiteY10" fmla="*/ 13600 h 57186"/>
                  <a:gd name="connsiteX11" fmla="*/ 2043 w 47777"/>
                  <a:gd name="connsiteY11" fmla="*/ 6456 h 57186"/>
                  <a:gd name="connsiteX12" fmla="*/ 4425 w 47777"/>
                  <a:gd name="connsiteY12" fmla="*/ 4075 h 571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777" h="57186">
                    <a:moveTo>
                      <a:pt x="4425" y="4075"/>
                    </a:moveTo>
                    <a:cubicBezTo>
                      <a:pt x="6012" y="5662"/>
                      <a:pt x="9374" y="11906"/>
                      <a:pt x="11568" y="15981"/>
                    </a:cubicBezTo>
                    <a:cubicBezTo>
                      <a:pt x="23213" y="37609"/>
                      <a:pt x="14005" y="32669"/>
                      <a:pt x="28237" y="37412"/>
                    </a:cubicBezTo>
                    <a:cubicBezTo>
                      <a:pt x="30618" y="39793"/>
                      <a:pt x="32794" y="42400"/>
                      <a:pt x="35381" y="44556"/>
                    </a:cubicBezTo>
                    <a:cubicBezTo>
                      <a:pt x="37580" y="46388"/>
                      <a:pt x="40501" y="47295"/>
                      <a:pt x="42525" y="49319"/>
                    </a:cubicBezTo>
                    <a:cubicBezTo>
                      <a:pt x="44548" y="51342"/>
                      <a:pt x="49311" y="54439"/>
                      <a:pt x="47287" y="56462"/>
                    </a:cubicBezTo>
                    <a:cubicBezTo>
                      <a:pt x="44973" y="58776"/>
                      <a:pt x="40937" y="54875"/>
                      <a:pt x="37762" y="54081"/>
                    </a:cubicBezTo>
                    <a:cubicBezTo>
                      <a:pt x="35381" y="52494"/>
                      <a:pt x="32406" y="51554"/>
                      <a:pt x="30618" y="49319"/>
                    </a:cubicBezTo>
                    <a:cubicBezTo>
                      <a:pt x="29050" y="47359"/>
                      <a:pt x="29359" y="44420"/>
                      <a:pt x="28237" y="42175"/>
                    </a:cubicBezTo>
                    <a:cubicBezTo>
                      <a:pt x="26957" y="39615"/>
                      <a:pt x="25376" y="37170"/>
                      <a:pt x="23475" y="35031"/>
                    </a:cubicBezTo>
                    <a:cubicBezTo>
                      <a:pt x="16255" y="26908"/>
                      <a:pt x="9060" y="22869"/>
                      <a:pt x="4425" y="13600"/>
                    </a:cubicBezTo>
                    <a:cubicBezTo>
                      <a:pt x="3302" y="11355"/>
                      <a:pt x="3032" y="8763"/>
                      <a:pt x="2043" y="6456"/>
                    </a:cubicBezTo>
                    <a:cubicBezTo>
                      <a:pt x="-3074" y="-5483"/>
                      <a:pt x="2838" y="2488"/>
                      <a:pt x="4425" y="4075"/>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sp>
          <p:nvSpPr>
            <p:cNvPr id="332" name="Freeform: Shape 331">
              <a:extLst>
                <a:ext uri="{FF2B5EF4-FFF2-40B4-BE49-F238E27FC236}">
                  <a16:creationId xmlns:a16="http://schemas.microsoft.com/office/drawing/2014/main" id="{F1DAAF88-E850-4DDC-9402-7169B0DF3A8C}"/>
                </a:ext>
              </a:extLst>
            </p:cNvPr>
            <p:cNvSpPr/>
            <p:nvPr/>
          </p:nvSpPr>
          <p:spPr>
            <a:xfrm>
              <a:off x="8124299" y="5218363"/>
              <a:ext cx="250031" cy="303460"/>
            </a:xfrm>
            <a:custGeom>
              <a:avLst/>
              <a:gdLst>
                <a:gd name="connsiteX0" fmla="*/ 26194 w 250031"/>
                <a:gd name="connsiteY0" fmla="*/ 230982 h 303460"/>
                <a:gd name="connsiteX1" fmla="*/ 14287 w 250031"/>
                <a:gd name="connsiteY1" fmla="*/ 221457 h 303460"/>
                <a:gd name="connsiteX2" fmla="*/ 7144 w 250031"/>
                <a:gd name="connsiteY2" fmla="*/ 216694 h 303460"/>
                <a:gd name="connsiteX3" fmla="*/ 4762 w 250031"/>
                <a:gd name="connsiteY3" fmla="*/ 209550 h 303460"/>
                <a:gd name="connsiteX4" fmla="*/ 11906 w 250031"/>
                <a:gd name="connsiteY4" fmla="*/ 195263 h 303460"/>
                <a:gd name="connsiteX5" fmla="*/ 26194 w 250031"/>
                <a:gd name="connsiteY5" fmla="*/ 190500 h 303460"/>
                <a:gd name="connsiteX6" fmla="*/ 33337 w 250031"/>
                <a:gd name="connsiteY6" fmla="*/ 183357 h 303460"/>
                <a:gd name="connsiteX7" fmla="*/ 38100 w 250031"/>
                <a:gd name="connsiteY7" fmla="*/ 173832 h 303460"/>
                <a:gd name="connsiteX8" fmla="*/ 30956 w 250031"/>
                <a:gd name="connsiteY8" fmla="*/ 171450 h 303460"/>
                <a:gd name="connsiteX9" fmla="*/ 14287 w 250031"/>
                <a:gd name="connsiteY9" fmla="*/ 166688 h 303460"/>
                <a:gd name="connsiteX10" fmla="*/ 7144 w 250031"/>
                <a:gd name="connsiteY10" fmla="*/ 161925 h 303460"/>
                <a:gd name="connsiteX11" fmla="*/ 0 w 250031"/>
                <a:gd name="connsiteY11" fmla="*/ 147638 h 303460"/>
                <a:gd name="connsiteX12" fmla="*/ 0 w 250031"/>
                <a:gd name="connsiteY12" fmla="*/ 140494 h 303460"/>
                <a:gd name="connsiteX13" fmla="*/ 7144 w 250031"/>
                <a:gd name="connsiteY13" fmla="*/ 135732 h 303460"/>
                <a:gd name="connsiteX14" fmla="*/ 9525 w 250031"/>
                <a:gd name="connsiteY14" fmla="*/ 128588 h 303460"/>
                <a:gd name="connsiteX15" fmla="*/ 9525 w 250031"/>
                <a:gd name="connsiteY15" fmla="*/ 119063 h 303460"/>
                <a:gd name="connsiteX16" fmla="*/ 14287 w 250031"/>
                <a:gd name="connsiteY16" fmla="*/ 111919 h 303460"/>
                <a:gd name="connsiteX17" fmla="*/ 28575 w 250031"/>
                <a:gd name="connsiteY17" fmla="*/ 107157 h 303460"/>
                <a:gd name="connsiteX18" fmla="*/ 30956 w 250031"/>
                <a:gd name="connsiteY18" fmla="*/ 100013 h 303460"/>
                <a:gd name="connsiteX19" fmla="*/ 26194 w 250031"/>
                <a:gd name="connsiteY19" fmla="*/ 85725 h 303460"/>
                <a:gd name="connsiteX20" fmla="*/ 35719 w 250031"/>
                <a:gd name="connsiteY20" fmla="*/ 69057 h 303460"/>
                <a:gd name="connsiteX21" fmla="*/ 47625 w 250031"/>
                <a:gd name="connsiteY21" fmla="*/ 57150 h 303460"/>
                <a:gd name="connsiteX22" fmla="*/ 57150 w 250031"/>
                <a:gd name="connsiteY22" fmla="*/ 66675 h 303460"/>
                <a:gd name="connsiteX23" fmla="*/ 71437 w 250031"/>
                <a:gd name="connsiteY23" fmla="*/ 73819 h 303460"/>
                <a:gd name="connsiteX24" fmla="*/ 76200 w 250031"/>
                <a:gd name="connsiteY24" fmla="*/ 45244 h 303460"/>
                <a:gd name="connsiteX25" fmla="*/ 73819 w 250031"/>
                <a:gd name="connsiteY25" fmla="*/ 38100 h 303460"/>
                <a:gd name="connsiteX26" fmla="*/ 59531 w 250031"/>
                <a:gd name="connsiteY26" fmla="*/ 30957 h 303460"/>
                <a:gd name="connsiteX27" fmla="*/ 52387 w 250031"/>
                <a:gd name="connsiteY27" fmla="*/ 26194 h 303460"/>
                <a:gd name="connsiteX28" fmla="*/ 54769 w 250031"/>
                <a:gd name="connsiteY28" fmla="*/ 19050 h 303460"/>
                <a:gd name="connsiteX29" fmla="*/ 57150 w 250031"/>
                <a:gd name="connsiteY29" fmla="*/ 7144 h 303460"/>
                <a:gd name="connsiteX30" fmla="*/ 78581 w 250031"/>
                <a:gd name="connsiteY30" fmla="*/ 14288 h 303460"/>
                <a:gd name="connsiteX31" fmla="*/ 85725 w 250031"/>
                <a:gd name="connsiteY31" fmla="*/ 7144 h 303460"/>
                <a:gd name="connsiteX32" fmla="*/ 102394 w 250031"/>
                <a:gd name="connsiteY32" fmla="*/ 0 h 303460"/>
                <a:gd name="connsiteX33" fmla="*/ 109537 w 250031"/>
                <a:gd name="connsiteY33" fmla="*/ 2382 h 303460"/>
                <a:gd name="connsiteX34" fmla="*/ 114300 w 250031"/>
                <a:gd name="connsiteY34" fmla="*/ 16669 h 303460"/>
                <a:gd name="connsiteX35" fmla="*/ 116681 w 250031"/>
                <a:gd name="connsiteY35" fmla="*/ 23813 h 303460"/>
                <a:gd name="connsiteX36" fmla="*/ 121444 w 250031"/>
                <a:gd name="connsiteY36" fmla="*/ 30957 h 303460"/>
                <a:gd name="connsiteX37" fmla="*/ 130969 w 250031"/>
                <a:gd name="connsiteY37" fmla="*/ 33338 h 303460"/>
                <a:gd name="connsiteX38" fmla="*/ 147637 w 250031"/>
                <a:gd name="connsiteY38" fmla="*/ 35719 h 303460"/>
                <a:gd name="connsiteX39" fmla="*/ 154781 w 250031"/>
                <a:gd name="connsiteY39" fmla="*/ 50007 h 303460"/>
                <a:gd name="connsiteX40" fmla="*/ 161925 w 250031"/>
                <a:gd name="connsiteY40" fmla="*/ 52388 h 303460"/>
                <a:gd name="connsiteX41" fmla="*/ 169069 w 250031"/>
                <a:gd name="connsiteY41" fmla="*/ 50007 h 303460"/>
                <a:gd name="connsiteX42" fmla="*/ 176212 w 250031"/>
                <a:gd name="connsiteY42" fmla="*/ 54769 h 303460"/>
                <a:gd name="connsiteX43" fmla="*/ 183356 w 250031"/>
                <a:gd name="connsiteY43" fmla="*/ 57150 h 303460"/>
                <a:gd name="connsiteX44" fmla="*/ 190500 w 250031"/>
                <a:gd name="connsiteY44" fmla="*/ 61913 h 303460"/>
                <a:gd name="connsiteX45" fmla="*/ 197644 w 250031"/>
                <a:gd name="connsiteY45" fmla="*/ 64294 h 303460"/>
                <a:gd name="connsiteX46" fmla="*/ 204787 w 250031"/>
                <a:gd name="connsiteY46" fmla="*/ 71438 h 303460"/>
                <a:gd name="connsiteX47" fmla="*/ 207169 w 250031"/>
                <a:gd name="connsiteY47" fmla="*/ 97632 h 303460"/>
                <a:gd name="connsiteX48" fmla="*/ 221456 w 250031"/>
                <a:gd name="connsiteY48" fmla="*/ 102394 h 303460"/>
                <a:gd name="connsiteX49" fmla="*/ 240506 w 250031"/>
                <a:gd name="connsiteY49" fmla="*/ 107157 h 303460"/>
                <a:gd name="connsiteX50" fmla="*/ 245269 w 250031"/>
                <a:gd name="connsiteY50" fmla="*/ 114300 h 303460"/>
                <a:gd name="connsiteX51" fmla="*/ 250031 w 250031"/>
                <a:gd name="connsiteY51" fmla="*/ 130969 h 303460"/>
                <a:gd name="connsiteX52" fmla="*/ 240506 w 250031"/>
                <a:gd name="connsiteY52" fmla="*/ 133350 h 303460"/>
                <a:gd name="connsiteX53" fmla="*/ 238125 w 250031"/>
                <a:gd name="connsiteY53" fmla="*/ 140494 h 303460"/>
                <a:gd name="connsiteX54" fmla="*/ 230981 w 250031"/>
                <a:gd name="connsiteY54" fmla="*/ 142875 h 303460"/>
                <a:gd name="connsiteX55" fmla="*/ 211931 w 250031"/>
                <a:gd name="connsiteY55" fmla="*/ 142875 h 303460"/>
                <a:gd name="connsiteX56" fmla="*/ 214312 w 250031"/>
                <a:gd name="connsiteY56" fmla="*/ 154782 h 303460"/>
                <a:gd name="connsiteX57" fmla="*/ 223837 w 250031"/>
                <a:gd name="connsiteY57" fmla="*/ 169069 h 303460"/>
                <a:gd name="connsiteX58" fmla="*/ 219075 w 250031"/>
                <a:gd name="connsiteY58" fmla="*/ 176213 h 303460"/>
                <a:gd name="connsiteX59" fmla="*/ 211931 w 250031"/>
                <a:gd name="connsiteY59" fmla="*/ 190500 h 303460"/>
                <a:gd name="connsiteX60" fmla="*/ 200025 w 250031"/>
                <a:gd name="connsiteY60" fmla="*/ 192882 h 303460"/>
                <a:gd name="connsiteX61" fmla="*/ 183356 w 250031"/>
                <a:gd name="connsiteY61" fmla="*/ 197644 h 303460"/>
                <a:gd name="connsiteX62" fmla="*/ 176212 w 250031"/>
                <a:gd name="connsiteY62" fmla="*/ 195263 h 303460"/>
                <a:gd name="connsiteX63" fmla="*/ 178594 w 250031"/>
                <a:gd name="connsiteY63" fmla="*/ 188119 h 303460"/>
                <a:gd name="connsiteX64" fmla="*/ 173831 w 250031"/>
                <a:gd name="connsiteY64" fmla="*/ 169069 h 303460"/>
                <a:gd name="connsiteX65" fmla="*/ 166687 w 250031"/>
                <a:gd name="connsiteY65" fmla="*/ 161925 h 303460"/>
                <a:gd name="connsiteX66" fmla="*/ 159544 w 250031"/>
                <a:gd name="connsiteY66" fmla="*/ 178594 h 303460"/>
                <a:gd name="connsiteX67" fmla="*/ 157162 w 250031"/>
                <a:gd name="connsiteY67" fmla="*/ 185738 h 303460"/>
                <a:gd name="connsiteX68" fmla="*/ 152400 w 250031"/>
                <a:gd name="connsiteY68" fmla="*/ 192882 h 303460"/>
                <a:gd name="connsiteX69" fmla="*/ 142875 w 250031"/>
                <a:gd name="connsiteY69" fmla="*/ 214313 h 303460"/>
                <a:gd name="connsiteX70" fmla="*/ 145256 w 250031"/>
                <a:gd name="connsiteY70" fmla="*/ 221457 h 303460"/>
                <a:gd name="connsiteX71" fmla="*/ 138112 w 250031"/>
                <a:gd name="connsiteY71" fmla="*/ 245269 h 303460"/>
                <a:gd name="connsiteX72" fmla="*/ 130969 w 250031"/>
                <a:gd name="connsiteY72" fmla="*/ 250032 h 303460"/>
                <a:gd name="connsiteX73" fmla="*/ 121444 w 250031"/>
                <a:gd name="connsiteY73" fmla="*/ 247650 h 303460"/>
                <a:gd name="connsiteX74" fmla="*/ 114300 w 250031"/>
                <a:gd name="connsiteY74" fmla="*/ 242888 h 303460"/>
                <a:gd name="connsiteX75" fmla="*/ 107156 w 250031"/>
                <a:gd name="connsiteY75" fmla="*/ 240507 h 303460"/>
                <a:gd name="connsiteX76" fmla="*/ 114300 w 250031"/>
                <a:gd name="connsiteY76" fmla="*/ 257175 h 303460"/>
                <a:gd name="connsiteX77" fmla="*/ 121444 w 250031"/>
                <a:gd name="connsiteY77" fmla="*/ 271463 h 303460"/>
                <a:gd name="connsiteX78" fmla="*/ 123825 w 250031"/>
                <a:gd name="connsiteY78" fmla="*/ 280988 h 303460"/>
                <a:gd name="connsiteX79" fmla="*/ 130969 w 250031"/>
                <a:gd name="connsiteY79" fmla="*/ 283369 h 303460"/>
                <a:gd name="connsiteX80" fmla="*/ 145256 w 250031"/>
                <a:gd name="connsiteY80" fmla="*/ 290513 h 303460"/>
                <a:gd name="connsiteX81" fmla="*/ 142875 w 250031"/>
                <a:gd name="connsiteY81" fmla="*/ 302419 h 303460"/>
                <a:gd name="connsiteX82" fmla="*/ 123825 w 250031"/>
                <a:gd name="connsiteY82" fmla="*/ 300038 h 303460"/>
                <a:gd name="connsiteX83" fmla="*/ 109537 w 250031"/>
                <a:gd name="connsiteY83" fmla="*/ 290513 h 303460"/>
                <a:gd name="connsiteX84" fmla="*/ 100012 w 250031"/>
                <a:gd name="connsiteY84" fmla="*/ 276225 h 303460"/>
                <a:gd name="connsiteX85" fmla="*/ 85725 w 250031"/>
                <a:gd name="connsiteY85" fmla="*/ 266700 h 303460"/>
                <a:gd name="connsiteX86" fmla="*/ 71437 w 250031"/>
                <a:gd name="connsiteY86" fmla="*/ 261938 h 303460"/>
                <a:gd name="connsiteX87" fmla="*/ 64294 w 250031"/>
                <a:gd name="connsiteY87" fmla="*/ 259557 h 303460"/>
                <a:gd name="connsiteX88" fmla="*/ 54769 w 250031"/>
                <a:gd name="connsiteY88" fmla="*/ 257175 h 303460"/>
                <a:gd name="connsiteX89" fmla="*/ 59531 w 250031"/>
                <a:gd name="connsiteY89" fmla="*/ 250032 h 303460"/>
                <a:gd name="connsiteX90" fmla="*/ 71437 w 250031"/>
                <a:gd name="connsiteY90" fmla="*/ 252413 h 303460"/>
                <a:gd name="connsiteX91" fmla="*/ 83344 w 250031"/>
                <a:gd name="connsiteY91" fmla="*/ 250032 h 303460"/>
                <a:gd name="connsiteX92" fmla="*/ 76200 w 250031"/>
                <a:gd name="connsiteY92" fmla="*/ 247650 h 303460"/>
                <a:gd name="connsiteX93" fmla="*/ 59531 w 250031"/>
                <a:gd name="connsiteY93" fmla="*/ 230982 h 303460"/>
                <a:gd name="connsiteX94" fmla="*/ 26194 w 250031"/>
                <a:gd name="connsiteY94" fmla="*/ 230982 h 303460"/>
                <a:gd name="connsiteX0" fmla="*/ 26194 w 250031"/>
                <a:gd name="connsiteY0" fmla="*/ 230982 h 303460"/>
                <a:gd name="connsiteX1" fmla="*/ 14287 w 250031"/>
                <a:gd name="connsiteY1" fmla="*/ 221457 h 303460"/>
                <a:gd name="connsiteX2" fmla="*/ 7144 w 250031"/>
                <a:gd name="connsiteY2" fmla="*/ 216694 h 303460"/>
                <a:gd name="connsiteX3" fmla="*/ 4762 w 250031"/>
                <a:gd name="connsiteY3" fmla="*/ 209550 h 303460"/>
                <a:gd name="connsiteX4" fmla="*/ 11906 w 250031"/>
                <a:gd name="connsiteY4" fmla="*/ 195263 h 303460"/>
                <a:gd name="connsiteX5" fmla="*/ 26194 w 250031"/>
                <a:gd name="connsiteY5" fmla="*/ 190500 h 303460"/>
                <a:gd name="connsiteX6" fmla="*/ 33337 w 250031"/>
                <a:gd name="connsiteY6" fmla="*/ 183357 h 303460"/>
                <a:gd name="connsiteX7" fmla="*/ 38100 w 250031"/>
                <a:gd name="connsiteY7" fmla="*/ 173832 h 303460"/>
                <a:gd name="connsiteX8" fmla="*/ 30956 w 250031"/>
                <a:gd name="connsiteY8" fmla="*/ 171450 h 303460"/>
                <a:gd name="connsiteX9" fmla="*/ 14287 w 250031"/>
                <a:gd name="connsiteY9" fmla="*/ 166688 h 303460"/>
                <a:gd name="connsiteX10" fmla="*/ 7144 w 250031"/>
                <a:gd name="connsiteY10" fmla="*/ 161925 h 303460"/>
                <a:gd name="connsiteX11" fmla="*/ 0 w 250031"/>
                <a:gd name="connsiteY11" fmla="*/ 147638 h 303460"/>
                <a:gd name="connsiteX12" fmla="*/ 0 w 250031"/>
                <a:gd name="connsiteY12" fmla="*/ 140494 h 303460"/>
                <a:gd name="connsiteX13" fmla="*/ 7144 w 250031"/>
                <a:gd name="connsiteY13" fmla="*/ 135732 h 303460"/>
                <a:gd name="connsiteX14" fmla="*/ 9525 w 250031"/>
                <a:gd name="connsiteY14" fmla="*/ 128588 h 303460"/>
                <a:gd name="connsiteX15" fmla="*/ 9525 w 250031"/>
                <a:gd name="connsiteY15" fmla="*/ 119063 h 303460"/>
                <a:gd name="connsiteX16" fmla="*/ 14287 w 250031"/>
                <a:gd name="connsiteY16" fmla="*/ 111919 h 303460"/>
                <a:gd name="connsiteX17" fmla="*/ 28575 w 250031"/>
                <a:gd name="connsiteY17" fmla="*/ 107157 h 303460"/>
                <a:gd name="connsiteX18" fmla="*/ 30956 w 250031"/>
                <a:gd name="connsiteY18" fmla="*/ 100013 h 303460"/>
                <a:gd name="connsiteX19" fmla="*/ 26194 w 250031"/>
                <a:gd name="connsiteY19" fmla="*/ 85725 h 303460"/>
                <a:gd name="connsiteX20" fmla="*/ 35719 w 250031"/>
                <a:gd name="connsiteY20" fmla="*/ 69057 h 303460"/>
                <a:gd name="connsiteX21" fmla="*/ 47625 w 250031"/>
                <a:gd name="connsiteY21" fmla="*/ 57150 h 303460"/>
                <a:gd name="connsiteX22" fmla="*/ 57150 w 250031"/>
                <a:gd name="connsiteY22" fmla="*/ 66675 h 303460"/>
                <a:gd name="connsiteX23" fmla="*/ 71437 w 250031"/>
                <a:gd name="connsiteY23" fmla="*/ 73819 h 303460"/>
                <a:gd name="connsiteX24" fmla="*/ 76200 w 250031"/>
                <a:gd name="connsiteY24" fmla="*/ 45244 h 303460"/>
                <a:gd name="connsiteX25" fmla="*/ 73819 w 250031"/>
                <a:gd name="connsiteY25" fmla="*/ 38100 h 303460"/>
                <a:gd name="connsiteX26" fmla="*/ 59531 w 250031"/>
                <a:gd name="connsiteY26" fmla="*/ 30957 h 303460"/>
                <a:gd name="connsiteX27" fmla="*/ 52387 w 250031"/>
                <a:gd name="connsiteY27" fmla="*/ 26194 h 303460"/>
                <a:gd name="connsiteX28" fmla="*/ 54769 w 250031"/>
                <a:gd name="connsiteY28" fmla="*/ 19050 h 303460"/>
                <a:gd name="connsiteX29" fmla="*/ 57150 w 250031"/>
                <a:gd name="connsiteY29" fmla="*/ 7144 h 303460"/>
                <a:gd name="connsiteX30" fmla="*/ 78581 w 250031"/>
                <a:gd name="connsiteY30" fmla="*/ 14288 h 303460"/>
                <a:gd name="connsiteX31" fmla="*/ 85725 w 250031"/>
                <a:gd name="connsiteY31" fmla="*/ 7144 h 303460"/>
                <a:gd name="connsiteX32" fmla="*/ 102394 w 250031"/>
                <a:gd name="connsiteY32" fmla="*/ 0 h 303460"/>
                <a:gd name="connsiteX33" fmla="*/ 109537 w 250031"/>
                <a:gd name="connsiteY33" fmla="*/ 2382 h 303460"/>
                <a:gd name="connsiteX34" fmla="*/ 114300 w 250031"/>
                <a:gd name="connsiteY34" fmla="*/ 16669 h 303460"/>
                <a:gd name="connsiteX35" fmla="*/ 116681 w 250031"/>
                <a:gd name="connsiteY35" fmla="*/ 23813 h 303460"/>
                <a:gd name="connsiteX36" fmla="*/ 121444 w 250031"/>
                <a:gd name="connsiteY36" fmla="*/ 30957 h 303460"/>
                <a:gd name="connsiteX37" fmla="*/ 130969 w 250031"/>
                <a:gd name="connsiteY37" fmla="*/ 33338 h 303460"/>
                <a:gd name="connsiteX38" fmla="*/ 147637 w 250031"/>
                <a:gd name="connsiteY38" fmla="*/ 35719 h 303460"/>
                <a:gd name="connsiteX39" fmla="*/ 154781 w 250031"/>
                <a:gd name="connsiteY39" fmla="*/ 50007 h 303460"/>
                <a:gd name="connsiteX40" fmla="*/ 161925 w 250031"/>
                <a:gd name="connsiteY40" fmla="*/ 52388 h 303460"/>
                <a:gd name="connsiteX41" fmla="*/ 169069 w 250031"/>
                <a:gd name="connsiteY41" fmla="*/ 50007 h 303460"/>
                <a:gd name="connsiteX42" fmla="*/ 176212 w 250031"/>
                <a:gd name="connsiteY42" fmla="*/ 54769 h 303460"/>
                <a:gd name="connsiteX43" fmla="*/ 183356 w 250031"/>
                <a:gd name="connsiteY43" fmla="*/ 57150 h 303460"/>
                <a:gd name="connsiteX44" fmla="*/ 190500 w 250031"/>
                <a:gd name="connsiteY44" fmla="*/ 61913 h 303460"/>
                <a:gd name="connsiteX45" fmla="*/ 197644 w 250031"/>
                <a:gd name="connsiteY45" fmla="*/ 64294 h 303460"/>
                <a:gd name="connsiteX46" fmla="*/ 204787 w 250031"/>
                <a:gd name="connsiteY46" fmla="*/ 71438 h 303460"/>
                <a:gd name="connsiteX47" fmla="*/ 207169 w 250031"/>
                <a:gd name="connsiteY47" fmla="*/ 97632 h 303460"/>
                <a:gd name="connsiteX48" fmla="*/ 221456 w 250031"/>
                <a:gd name="connsiteY48" fmla="*/ 102394 h 303460"/>
                <a:gd name="connsiteX49" fmla="*/ 240506 w 250031"/>
                <a:gd name="connsiteY49" fmla="*/ 107157 h 303460"/>
                <a:gd name="connsiteX50" fmla="*/ 245269 w 250031"/>
                <a:gd name="connsiteY50" fmla="*/ 114300 h 303460"/>
                <a:gd name="connsiteX51" fmla="*/ 250031 w 250031"/>
                <a:gd name="connsiteY51" fmla="*/ 130969 h 303460"/>
                <a:gd name="connsiteX52" fmla="*/ 240506 w 250031"/>
                <a:gd name="connsiteY52" fmla="*/ 133350 h 303460"/>
                <a:gd name="connsiteX53" fmla="*/ 238125 w 250031"/>
                <a:gd name="connsiteY53" fmla="*/ 140494 h 303460"/>
                <a:gd name="connsiteX54" fmla="*/ 230981 w 250031"/>
                <a:gd name="connsiteY54" fmla="*/ 142875 h 303460"/>
                <a:gd name="connsiteX55" fmla="*/ 211931 w 250031"/>
                <a:gd name="connsiteY55" fmla="*/ 142875 h 303460"/>
                <a:gd name="connsiteX56" fmla="*/ 214312 w 250031"/>
                <a:gd name="connsiteY56" fmla="*/ 154782 h 303460"/>
                <a:gd name="connsiteX57" fmla="*/ 223837 w 250031"/>
                <a:gd name="connsiteY57" fmla="*/ 169069 h 303460"/>
                <a:gd name="connsiteX58" fmla="*/ 219075 w 250031"/>
                <a:gd name="connsiteY58" fmla="*/ 176213 h 303460"/>
                <a:gd name="connsiteX59" fmla="*/ 211931 w 250031"/>
                <a:gd name="connsiteY59" fmla="*/ 190500 h 303460"/>
                <a:gd name="connsiteX60" fmla="*/ 200025 w 250031"/>
                <a:gd name="connsiteY60" fmla="*/ 192882 h 303460"/>
                <a:gd name="connsiteX61" fmla="*/ 183356 w 250031"/>
                <a:gd name="connsiteY61" fmla="*/ 197644 h 303460"/>
                <a:gd name="connsiteX62" fmla="*/ 176212 w 250031"/>
                <a:gd name="connsiteY62" fmla="*/ 195263 h 303460"/>
                <a:gd name="connsiteX63" fmla="*/ 178594 w 250031"/>
                <a:gd name="connsiteY63" fmla="*/ 188119 h 303460"/>
                <a:gd name="connsiteX64" fmla="*/ 173831 w 250031"/>
                <a:gd name="connsiteY64" fmla="*/ 169069 h 303460"/>
                <a:gd name="connsiteX65" fmla="*/ 159544 w 250031"/>
                <a:gd name="connsiteY65" fmla="*/ 178594 h 303460"/>
                <a:gd name="connsiteX66" fmla="*/ 157162 w 250031"/>
                <a:gd name="connsiteY66" fmla="*/ 185738 h 303460"/>
                <a:gd name="connsiteX67" fmla="*/ 152400 w 250031"/>
                <a:gd name="connsiteY67" fmla="*/ 192882 h 303460"/>
                <a:gd name="connsiteX68" fmla="*/ 142875 w 250031"/>
                <a:gd name="connsiteY68" fmla="*/ 214313 h 303460"/>
                <a:gd name="connsiteX69" fmla="*/ 145256 w 250031"/>
                <a:gd name="connsiteY69" fmla="*/ 221457 h 303460"/>
                <a:gd name="connsiteX70" fmla="*/ 138112 w 250031"/>
                <a:gd name="connsiteY70" fmla="*/ 245269 h 303460"/>
                <a:gd name="connsiteX71" fmla="*/ 130969 w 250031"/>
                <a:gd name="connsiteY71" fmla="*/ 250032 h 303460"/>
                <a:gd name="connsiteX72" fmla="*/ 121444 w 250031"/>
                <a:gd name="connsiteY72" fmla="*/ 247650 h 303460"/>
                <a:gd name="connsiteX73" fmla="*/ 114300 w 250031"/>
                <a:gd name="connsiteY73" fmla="*/ 242888 h 303460"/>
                <a:gd name="connsiteX74" fmla="*/ 107156 w 250031"/>
                <a:gd name="connsiteY74" fmla="*/ 240507 h 303460"/>
                <a:gd name="connsiteX75" fmla="*/ 114300 w 250031"/>
                <a:gd name="connsiteY75" fmla="*/ 257175 h 303460"/>
                <a:gd name="connsiteX76" fmla="*/ 121444 w 250031"/>
                <a:gd name="connsiteY76" fmla="*/ 271463 h 303460"/>
                <a:gd name="connsiteX77" fmla="*/ 123825 w 250031"/>
                <a:gd name="connsiteY77" fmla="*/ 280988 h 303460"/>
                <a:gd name="connsiteX78" fmla="*/ 130969 w 250031"/>
                <a:gd name="connsiteY78" fmla="*/ 283369 h 303460"/>
                <a:gd name="connsiteX79" fmla="*/ 145256 w 250031"/>
                <a:gd name="connsiteY79" fmla="*/ 290513 h 303460"/>
                <a:gd name="connsiteX80" fmla="*/ 142875 w 250031"/>
                <a:gd name="connsiteY80" fmla="*/ 302419 h 303460"/>
                <a:gd name="connsiteX81" fmla="*/ 123825 w 250031"/>
                <a:gd name="connsiteY81" fmla="*/ 300038 h 303460"/>
                <a:gd name="connsiteX82" fmla="*/ 109537 w 250031"/>
                <a:gd name="connsiteY82" fmla="*/ 290513 h 303460"/>
                <a:gd name="connsiteX83" fmla="*/ 100012 w 250031"/>
                <a:gd name="connsiteY83" fmla="*/ 276225 h 303460"/>
                <a:gd name="connsiteX84" fmla="*/ 85725 w 250031"/>
                <a:gd name="connsiteY84" fmla="*/ 266700 h 303460"/>
                <a:gd name="connsiteX85" fmla="*/ 71437 w 250031"/>
                <a:gd name="connsiteY85" fmla="*/ 261938 h 303460"/>
                <a:gd name="connsiteX86" fmla="*/ 64294 w 250031"/>
                <a:gd name="connsiteY86" fmla="*/ 259557 h 303460"/>
                <a:gd name="connsiteX87" fmla="*/ 54769 w 250031"/>
                <a:gd name="connsiteY87" fmla="*/ 257175 h 303460"/>
                <a:gd name="connsiteX88" fmla="*/ 59531 w 250031"/>
                <a:gd name="connsiteY88" fmla="*/ 250032 h 303460"/>
                <a:gd name="connsiteX89" fmla="*/ 71437 w 250031"/>
                <a:gd name="connsiteY89" fmla="*/ 252413 h 303460"/>
                <a:gd name="connsiteX90" fmla="*/ 83344 w 250031"/>
                <a:gd name="connsiteY90" fmla="*/ 250032 h 303460"/>
                <a:gd name="connsiteX91" fmla="*/ 76200 w 250031"/>
                <a:gd name="connsiteY91" fmla="*/ 247650 h 303460"/>
                <a:gd name="connsiteX92" fmla="*/ 59531 w 250031"/>
                <a:gd name="connsiteY92" fmla="*/ 230982 h 303460"/>
                <a:gd name="connsiteX93" fmla="*/ 26194 w 250031"/>
                <a:gd name="connsiteY93" fmla="*/ 230982 h 303460"/>
                <a:gd name="connsiteX0" fmla="*/ 26194 w 250031"/>
                <a:gd name="connsiteY0" fmla="*/ 230982 h 303460"/>
                <a:gd name="connsiteX1" fmla="*/ 14287 w 250031"/>
                <a:gd name="connsiteY1" fmla="*/ 221457 h 303460"/>
                <a:gd name="connsiteX2" fmla="*/ 7144 w 250031"/>
                <a:gd name="connsiteY2" fmla="*/ 216694 h 303460"/>
                <a:gd name="connsiteX3" fmla="*/ 4762 w 250031"/>
                <a:gd name="connsiteY3" fmla="*/ 209550 h 303460"/>
                <a:gd name="connsiteX4" fmla="*/ 11906 w 250031"/>
                <a:gd name="connsiteY4" fmla="*/ 195263 h 303460"/>
                <a:gd name="connsiteX5" fmla="*/ 26194 w 250031"/>
                <a:gd name="connsiteY5" fmla="*/ 190500 h 303460"/>
                <a:gd name="connsiteX6" fmla="*/ 33337 w 250031"/>
                <a:gd name="connsiteY6" fmla="*/ 183357 h 303460"/>
                <a:gd name="connsiteX7" fmla="*/ 38100 w 250031"/>
                <a:gd name="connsiteY7" fmla="*/ 173832 h 303460"/>
                <a:gd name="connsiteX8" fmla="*/ 30956 w 250031"/>
                <a:gd name="connsiteY8" fmla="*/ 171450 h 303460"/>
                <a:gd name="connsiteX9" fmla="*/ 14287 w 250031"/>
                <a:gd name="connsiteY9" fmla="*/ 166688 h 303460"/>
                <a:gd name="connsiteX10" fmla="*/ 7144 w 250031"/>
                <a:gd name="connsiteY10" fmla="*/ 161925 h 303460"/>
                <a:gd name="connsiteX11" fmla="*/ 0 w 250031"/>
                <a:gd name="connsiteY11" fmla="*/ 147638 h 303460"/>
                <a:gd name="connsiteX12" fmla="*/ 0 w 250031"/>
                <a:gd name="connsiteY12" fmla="*/ 140494 h 303460"/>
                <a:gd name="connsiteX13" fmla="*/ 7144 w 250031"/>
                <a:gd name="connsiteY13" fmla="*/ 135732 h 303460"/>
                <a:gd name="connsiteX14" fmla="*/ 9525 w 250031"/>
                <a:gd name="connsiteY14" fmla="*/ 128588 h 303460"/>
                <a:gd name="connsiteX15" fmla="*/ 9525 w 250031"/>
                <a:gd name="connsiteY15" fmla="*/ 119063 h 303460"/>
                <a:gd name="connsiteX16" fmla="*/ 14287 w 250031"/>
                <a:gd name="connsiteY16" fmla="*/ 111919 h 303460"/>
                <a:gd name="connsiteX17" fmla="*/ 28575 w 250031"/>
                <a:gd name="connsiteY17" fmla="*/ 107157 h 303460"/>
                <a:gd name="connsiteX18" fmla="*/ 30956 w 250031"/>
                <a:gd name="connsiteY18" fmla="*/ 100013 h 303460"/>
                <a:gd name="connsiteX19" fmla="*/ 26194 w 250031"/>
                <a:gd name="connsiteY19" fmla="*/ 85725 h 303460"/>
                <a:gd name="connsiteX20" fmla="*/ 35719 w 250031"/>
                <a:gd name="connsiteY20" fmla="*/ 69057 h 303460"/>
                <a:gd name="connsiteX21" fmla="*/ 47625 w 250031"/>
                <a:gd name="connsiteY21" fmla="*/ 57150 h 303460"/>
                <a:gd name="connsiteX22" fmla="*/ 57150 w 250031"/>
                <a:gd name="connsiteY22" fmla="*/ 66675 h 303460"/>
                <a:gd name="connsiteX23" fmla="*/ 71437 w 250031"/>
                <a:gd name="connsiteY23" fmla="*/ 73819 h 303460"/>
                <a:gd name="connsiteX24" fmla="*/ 76200 w 250031"/>
                <a:gd name="connsiteY24" fmla="*/ 45244 h 303460"/>
                <a:gd name="connsiteX25" fmla="*/ 73819 w 250031"/>
                <a:gd name="connsiteY25" fmla="*/ 38100 h 303460"/>
                <a:gd name="connsiteX26" fmla="*/ 59531 w 250031"/>
                <a:gd name="connsiteY26" fmla="*/ 30957 h 303460"/>
                <a:gd name="connsiteX27" fmla="*/ 52387 w 250031"/>
                <a:gd name="connsiteY27" fmla="*/ 26194 h 303460"/>
                <a:gd name="connsiteX28" fmla="*/ 54769 w 250031"/>
                <a:gd name="connsiteY28" fmla="*/ 19050 h 303460"/>
                <a:gd name="connsiteX29" fmla="*/ 57150 w 250031"/>
                <a:gd name="connsiteY29" fmla="*/ 7144 h 303460"/>
                <a:gd name="connsiteX30" fmla="*/ 78581 w 250031"/>
                <a:gd name="connsiteY30" fmla="*/ 14288 h 303460"/>
                <a:gd name="connsiteX31" fmla="*/ 85725 w 250031"/>
                <a:gd name="connsiteY31" fmla="*/ 7144 h 303460"/>
                <a:gd name="connsiteX32" fmla="*/ 102394 w 250031"/>
                <a:gd name="connsiteY32" fmla="*/ 0 h 303460"/>
                <a:gd name="connsiteX33" fmla="*/ 109537 w 250031"/>
                <a:gd name="connsiteY33" fmla="*/ 2382 h 303460"/>
                <a:gd name="connsiteX34" fmla="*/ 114300 w 250031"/>
                <a:gd name="connsiteY34" fmla="*/ 16669 h 303460"/>
                <a:gd name="connsiteX35" fmla="*/ 116681 w 250031"/>
                <a:gd name="connsiteY35" fmla="*/ 23813 h 303460"/>
                <a:gd name="connsiteX36" fmla="*/ 121444 w 250031"/>
                <a:gd name="connsiteY36" fmla="*/ 30957 h 303460"/>
                <a:gd name="connsiteX37" fmla="*/ 130969 w 250031"/>
                <a:gd name="connsiteY37" fmla="*/ 33338 h 303460"/>
                <a:gd name="connsiteX38" fmla="*/ 147637 w 250031"/>
                <a:gd name="connsiteY38" fmla="*/ 35719 h 303460"/>
                <a:gd name="connsiteX39" fmla="*/ 154781 w 250031"/>
                <a:gd name="connsiteY39" fmla="*/ 50007 h 303460"/>
                <a:gd name="connsiteX40" fmla="*/ 161925 w 250031"/>
                <a:gd name="connsiteY40" fmla="*/ 52388 h 303460"/>
                <a:gd name="connsiteX41" fmla="*/ 169069 w 250031"/>
                <a:gd name="connsiteY41" fmla="*/ 50007 h 303460"/>
                <a:gd name="connsiteX42" fmla="*/ 176212 w 250031"/>
                <a:gd name="connsiteY42" fmla="*/ 54769 h 303460"/>
                <a:gd name="connsiteX43" fmla="*/ 183356 w 250031"/>
                <a:gd name="connsiteY43" fmla="*/ 57150 h 303460"/>
                <a:gd name="connsiteX44" fmla="*/ 190500 w 250031"/>
                <a:gd name="connsiteY44" fmla="*/ 61913 h 303460"/>
                <a:gd name="connsiteX45" fmla="*/ 197644 w 250031"/>
                <a:gd name="connsiteY45" fmla="*/ 64294 h 303460"/>
                <a:gd name="connsiteX46" fmla="*/ 204787 w 250031"/>
                <a:gd name="connsiteY46" fmla="*/ 71438 h 303460"/>
                <a:gd name="connsiteX47" fmla="*/ 207169 w 250031"/>
                <a:gd name="connsiteY47" fmla="*/ 97632 h 303460"/>
                <a:gd name="connsiteX48" fmla="*/ 221456 w 250031"/>
                <a:gd name="connsiteY48" fmla="*/ 102394 h 303460"/>
                <a:gd name="connsiteX49" fmla="*/ 240506 w 250031"/>
                <a:gd name="connsiteY49" fmla="*/ 107157 h 303460"/>
                <a:gd name="connsiteX50" fmla="*/ 245269 w 250031"/>
                <a:gd name="connsiteY50" fmla="*/ 114300 h 303460"/>
                <a:gd name="connsiteX51" fmla="*/ 250031 w 250031"/>
                <a:gd name="connsiteY51" fmla="*/ 130969 h 303460"/>
                <a:gd name="connsiteX52" fmla="*/ 240506 w 250031"/>
                <a:gd name="connsiteY52" fmla="*/ 133350 h 303460"/>
                <a:gd name="connsiteX53" fmla="*/ 238125 w 250031"/>
                <a:gd name="connsiteY53" fmla="*/ 140494 h 303460"/>
                <a:gd name="connsiteX54" fmla="*/ 230981 w 250031"/>
                <a:gd name="connsiteY54" fmla="*/ 142875 h 303460"/>
                <a:gd name="connsiteX55" fmla="*/ 211931 w 250031"/>
                <a:gd name="connsiteY55" fmla="*/ 142875 h 303460"/>
                <a:gd name="connsiteX56" fmla="*/ 214312 w 250031"/>
                <a:gd name="connsiteY56" fmla="*/ 154782 h 303460"/>
                <a:gd name="connsiteX57" fmla="*/ 223837 w 250031"/>
                <a:gd name="connsiteY57" fmla="*/ 169069 h 303460"/>
                <a:gd name="connsiteX58" fmla="*/ 219075 w 250031"/>
                <a:gd name="connsiteY58" fmla="*/ 176213 h 303460"/>
                <a:gd name="connsiteX59" fmla="*/ 211931 w 250031"/>
                <a:gd name="connsiteY59" fmla="*/ 190500 h 303460"/>
                <a:gd name="connsiteX60" fmla="*/ 200025 w 250031"/>
                <a:gd name="connsiteY60" fmla="*/ 192882 h 303460"/>
                <a:gd name="connsiteX61" fmla="*/ 183356 w 250031"/>
                <a:gd name="connsiteY61" fmla="*/ 197644 h 303460"/>
                <a:gd name="connsiteX62" fmla="*/ 176212 w 250031"/>
                <a:gd name="connsiteY62" fmla="*/ 195263 h 303460"/>
                <a:gd name="connsiteX63" fmla="*/ 178594 w 250031"/>
                <a:gd name="connsiteY63" fmla="*/ 188119 h 303460"/>
                <a:gd name="connsiteX64" fmla="*/ 173831 w 250031"/>
                <a:gd name="connsiteY64" fmla="*/ 169069 h 303460"/>
                <a:gd name="connsiteX65" fmla="*/ 159544 w 250031"/>
                <a:gd name="connsiteY65" fmla="*/ 178594 h 303460"/>
                <a:gd name="connsiteX66" fmla="*/ 157162 w 250031"/>
                <a:gd name="connsiteY66" fmla="*/ 185738 h 303460"/>
                <a:gd name="connsiteX67" fmla="*/ 152400 w 250031"/>
                <a:gd name="connsiteY67" fmla="*/ 192882 h 303460"/>
                <a:gd name="connsiteX68" fmla="*/ 142875 w 250031"/>
                <a:gd name="connsiteY68" fmla="*/ 214313 h 303460"/>
                <a:gd name="connsiteX69" fmla="*/ 145256 w 250031"/>
                <a:gd name="connsiteY69" fmla="*/ 221457 h 303460"/>
                <a:gd name="connsiteX70" fmla="*/ 138112 w 250031"/>
                <a:gd name="connsiteY70" fmla="*/ 245269 h 303460"/>
                <a:gd name="connsiteX71" fmla="*/ 130969 w 250031"/>
                <a:gd name="connsiteY71" fmla="*/ 250032 h 303460"/>
                <a:gd name="connsiteX72" fmla="*/ 121444 w 250031"/>
                <a:gd name="connsiteY72" fmla="*/ 247650 h 303460"/>
                <a:gd name="connsiteX73" fmla="*/ 114300 w 250031"/>
                <a:gd name="connsiteY73" fmla="*/ 242888 h 303460"/>
                <a:gd name="connsiteX74" fmla="*/ 107156 w 250031"/>
                <a:gd name="connsiteY74" fmla="*/ 240507 h 303460"/>
                <a:gd name="connsiteX75" fmla="*/ 114300 w 250031"/>
                <a:gd name="connsiteY75" fmla="*/ 257175 h 303460"/>
                <a:gd name="connsiteX76" fmla="*/ 121444 w 250031"/>
                <a:gd name="connsiteY76" fmla="*/ 271463 h 303460"/>
                <a:gd name="connsiteX77" fmla="*/ 123825 w 250031"/>
                <a:gd name="connsiteY77" fmla="*/ 280988 h 303460"/>
                <a:gd name="connsiteX78" fmla="*/ 130969 w 250031"/>
                <a:gd name="connsiteY78" fmla="*/ 283369 h 303460"/>
                <a:gd name="connsiteX79" fmla="*/ 145256 w 250031"/>
                <a:gd name="connsiteY79" fmla="*/ 290513 h 303460"/>
                <a:gd name="connsiteX80" fmla="*/ 142875 w 250031"/>
                <a:gd name="connsiteY80" fmla="*/ 302419 h 303460"/>
                <a:gd name="connsiteX81" fmla="*/ 123825 w 250031"/>
                <a:gd name="connsiteY81" fmla="*/ 300038 h 303460"/>
                <a:gd name="connsiteX82" fmla="*/ 109537 w 250031"/>
                <a:gd name="connsiteY82" fmla="*/ 290513 h 303460"/>
                <a:gd name="connsiteX83" fmla="*/ 100012 w 250031"/>
                <a:gd name="connsiteY83" fmla="*/ 276225 h 303460"/>
                <a:gd name="connsiteX84" fmla="*/ 85725 w 250031"/>
                <a:gd name="connsiteY84" fmla="*/ 266700 h 303460"/>
                <a:gd name="connsiteX85" fmla="*/ 71437 w 250031"/>
                <a:gd name="connsiteY85" fmla="*/ 261938 h 303460"/>
                <a:gd name="connsiteX86" fmla="*/ 64294 w 250031"/>
                <a:gd name="connsiteY86" fmla="*/ 259557 h 303460"/>
                <a:gd name="connsiteX87" fmla="*/ 54769 w 250031"/>
                <a:gd name="connsiteY87" fmla="*/ 257175 h 303460"/>
                <a:gd name="connsiteX88" fmla="*/ 47625 w 250031"/>
                <a:gd name="connsiteY88" fmla="*/ 242889 h 303460"/>
                <a:gd name="connsiteX89" fmla="*/ 71437 w 250031"/>
                <a:gd name="connsiteY89" fmla="*/ 252413 h 303460"/>
                <a:gd name="connsiteX90" fmla="*/ 83344 w 250031"/>
                <a:gd name="connsiteY90" fmla="*/ 250032 h 303460"/>
                <a:gd name="connsiteX91" fmla="*/ 76200 w 250031"/>
                <a:gd name="connsiteY91" fmla="*/ 247650 h 303460"/>
                <a:gd name="connsiteX92" fmla="*/ 59531 w 250031"/>
                <a:gd name="connsiteY92" fmla="*/ 230982 h 303460"/>
                <a:gd name="connsiteX93" fmla="*/ 26194 w 250031"/>
                <a:gd name="connsiteY93" fmla="*/ 230982 h 303460"/>
                <a:gd name="connsiteX0" fmla="*/ 26194 w 250031"/>
                <a:gd name="connsiteY0" fmla="*/ 230982 h 303460"/>
                <a:gd name="connsiteX1" fmla="*/ 14287 w 250031"/>
                <a:gd name="connsiteY1" fmla="*/ 221457 h 303460"/>
                <a:gd name="connsiteX2" fmla="*/ 7144 w 250031"/>
                <a:gd name="connsiteY2" fmla="*/ 216694 h 303460"/>
                <a:gd name="connsiteX3" fmla="*/ 4762 w 250031"/>
                <a:gd name="connsiteY3" fmla="*/ 209550 h 303460"/>
                <a:gd name="connsiteX4" fmla="*/ 11906 w 250031"/>
                <a:gd name="connsiteY4" fmla="*/ 195263 h 303460"/>
                <a:gd name="connsiteX5" fmla="*/ 26194 w 250031"/>
                <a:gd name="connsiteY5" fmla="*/ 190500 h 303460"/>
                <a:gd name="connsiteX6" fmla="*/ 33337 w 250031"/>
                <a:gd name="connsiteY6" fmla="*/ 183357 h 303460"/>
                <a:gd name="connsiteX7" fmla="*/ 38100 w 250031"/>
                <a:gd name="connsiteY7" fmla="*/ 173832 h 303460"/>
                <a:gd name="connsiteX8" fmla="*/ 30956 w 250031"/>
                <a:gd name="connsiteY8" fmla="*/ 171450 h 303460"/>
                <a:gd name="connsiteX9" fmla="*/ 14287 w 250031"/>
                <a:gd name="connsiteY9" fmla="*/ 166688 h 303460"/>
                <a:gd name="connsiteX10" fmla="*/ 7144 w 250031"/>
                <a:gd name="connsiteY10" fmla="*/ 161925 h 303460"/>
                <a:gd name="connsiteX11" fmla="*/ 0 w 250031"/>
                <a:gd name="connsiteY11" fmla="*/ 147638 h 303460"/>
                <a:gd name="connsiteX12" fmla="*/ 0 w 250031"/>
                <a:gd name="connsiteY12" fmla="*/ 140494 h 303460"/>
                <a:gd name="connsiteX13" fmla="*/ 7144 w 250031"/>
                <a:gd name="connsiteY13" fmla="*/ 135732 h 303460"/>
                <a:gd name="connsiteX14" fmla="*/ 9525 w 250031"/>
                <a:gd name="connsiteY14" fmla="*/ 128588 h 303460"/>
                <a:gd name="connsiteX15" fmla="*/ 9525 w 250031"/>
                <a:gd name="connsiteY15" fmla="*/ 119063 h 303460"/>
                <a:gd name="connsiteX16" fmla="*/ 14287 w 250031"/>
                <a:gd name="connsiteY16" fmla="*/ 111919 h 303460"/>
                <a:gd name="connsiteX17" fmla="*/ 28575 w 250031"/>
                <a:gd name="connsiteY17" fmla="*/ 107157 h 303460"/>
                <a:gd name="connsiteX18" fmla="*/ 30956 w 250031"/>
                <a:gd name="connsiteY18" fmla="*/ 100013 h 303460"/>
                <a:gd name="connsiteX19" fmla="*/ 26194 w 250031"/>
                <a:gd name="connsiteY19" fmla="*/ 85725 h 303460"/>
                <a:gd name="connsiteX20" fmla="*/ 35719 w 250031"/>
                <a:gd name="connsiteY20" fmla="*/ 69057 h 303460"/>
                <a:gd name="connsiteX21" fmla="*/ 47625 w 250031"/>
                <a:gd name="connsiteY21" fmla="*/ 57150 h 303460"/>
                <a:gd name="connsiteX22" fmla="*/ 57150 w 250031"/>
                <a:gd name="connsiteY22" fmla="*/ 66675 h 303460"/>
                <a:gd name="connsiteX23" fmla="*/ 71437 w 250031"/>
                <a:gd name="connsiteY23" fmla="*/ 73819 h 303460"/>
                <a:gd name="connsiteX24" fmla="*/ 76200 w 250031"/>
                <a:gd name="connsiteY24" fmla="*/ 45244 h 303460"/>
                <a:gd name="connsiteX25" fmla="*/ 73819 w 250031"/>
                <a:gd name="connsiteY25" fmla="*/ 38100 h 303460"/>
                <a:gd name="connsiteX26" fmla="*/ 59531 w 250031"/>
                <a:gd name="connsiteY26" fmla="*/ 30957 h 303460"/>
                <a:gd name="connsiteX27" fmla="*/ 52387 w 250031"/>
                <a:gd name="connsiteY27" fmla="*/ 26194 h 303460"/>
                <a:gd name="connsiteX28" fmla="*/ 54769 w 250031"/>
                <a:gd name="connsiteY28" fmla="*/ 19050 h 303460"/>
                <a:gd name="connsiteX29" fmla="*/ 57150 w 250031"/>
                <a:gd name="connsiteY29" fmla="*/ 7144 h 303460"/>
                <a:gd name="connsiteX30" fmla="*/ 78581 w 250031"/>
                <a:gd name="connsiteY30" fmla="*/ 14288 h 303460"/>
                <a:gd name="connsiteX31" fmla="*/ 85725 w 250031"/>
                <a:gd name="connsiteY31" fmla="*/ 7144 h 303460"/>
                <a:gd name="connsiteX32" fmla="*/ 102394 w 250031"/>
                <a:gd name="connsiteY32" fmla="*/ 0 h 303460"/>
                <a:gd name="connsiteX33" fmla="*/ 109537 w 250031"/>
                <a:gd name="connsiteY33" fmla="*/ 2382 h 303460"/>
                <a:gd name="connsiteX34" fmla="*/ 114300 w 250031"/>
                <a:gd name="connsiteY34" fmla="*/ 16669 h 303460"/>
                <a:gd name="connsiteX35" fmla="*/ 116681 w 250031"/>
                <a:gd name="connsiteY35" fmla="*/ 23813 h 303460"/>
                <a:gd name="connsiteX36" fmla="*/ 121444 w 250031"/>
                <a:gd name="connsiteY36" fmla="*/ 30957 h 303460"/>
                <a:gd name="connsiteX37" fmla="*/ 130969 w 250031"/>
                <a:gd name="connsiteY37" fmla="*/ 33338 h 303460"/>
                <a:gd name="connsiteX38" fmla="*/ 147637 w 250031"/>
                <a:gd name="connsiteY38" fmla="*/ 35719 h 303460"/>
                <a:gd name="connsiteX39" fmla="*/ 154781 w 250031"/>
                <a:gd name="connsiteY39" fmla="*/ 50007 h 303460"/>
                <a:gd name="connsiteX40" fmla="*/ 161925 w 250031"/>
                <a:gd name="connsiteY40" fmla="*/ 52388 h 303460"/>
                <a:gd name="connsiteX41" fmla="*/ 169069 w 250031"/>
                <a:gd name="connsiteY41" fmla="*/ 50007 h 303460"/>
                <a:gd name="connsiteX42" fmla="*/ 176212 w 250031"/>
                <a:gd name="connsiteY42" fmla="*/ 54769 h 303460"/>
                <a:gd name="connsiteX43" fmla="*/ 183356 w 250031"/>
                <a:gd name="connsiteY43" fmla="*/ 57150 h 303460"/>
                <a:gd name="connsiteX44" fmla="*/ 190500 w 250031"/>
                <a:gd name="connsiteY44" fmla="*/ 61913 h 303460"/>
                <a:gd name="connsiteX45" fmla="*/ 197644 w 250031"/>
                <a:gd name="connsiteY45" fmla="*/ 64294 h 303460"/>
                <a:gd name="connsiteX46" fmla="*/ 204787 w 250031"/>
                <a:gd name="connsiteY46" fmla="*/ 71438 h 303460"/>
                <a:gd name="connsiteX47" fmla="*/ 207169 w 250031"/>
                <a:gd name="connsiteY47" fmla="*/ 97632 h 303460"/>
                <a:gd name="connsiteX48" fmla="*/ 221456 w 250031"/>
                <a:gd name="connsiteY48" fmla="*/ 102394 h 303460"/>
                <a:gd name="connsiteX49" fmla="*/ 240506 w 250031"/>
                <a:gd name="connsiteY49" fmla="*/ 107157 h 303460"/>
                <a:gd name="connsiteX50" fmla="*/ 245269 w 250031"/>
                <a:gd name="connsiteY50" fmla="*/ 114300 h 303460"/>
                <a:gd name="connsiteX51" fmla="*/ 250031 w 250031"/>
                <a:gd name="connsiteY51" fmla="*/ 130969 h 303460"/>
                <a:gd name="connsiteX52" fmla="*/ 240506 w 250031"/>
                <a:gd name="connsiteY52" fmla="*/ 133350 h 303460"/>
                <a:gd name="connsiteX53" fmla="*/ 238125 w 250031"/>
                <a:gd name="connsiteY53" fmla="*/ 140494 h 303460"/>
                <a:gd name="connsiteX54" fmla="*/ 230981 w 250031"/>
                <a:gd name="connsiteY54" fmla="*/ 142875 h 303460"/>
                <a:gd name="connsiteX55" fmla="*/ 211931 w 250031"/>
                <a:gd name="connsiteY55" fmla="*/ 142875 h 303460"/>
                <a:gd name="connsiteX56" fmla="*/ 214312 w 250031"/>
                <a:gd name="connsiteY56" fmla="*/ 154782 h 303460"/>
                <a:gd name="connsiteX57" fmla="*/ 223837 w 250031"/>
                <a:gd name="connsiteY57" fmla="*/ 169069 h 303460"/>
                <a:gd name="connsiteX58" fmla="*/ 219075 w 250031"/>
                <a:gd name="connsiteY58" fmla="*/ 176213 h 303460"/>
                <a:gd name="connsiteX59" fmla="*/ 211931 w 250031"/>
                <a:gd name="connsiteY59" fmla="*/ 190500 h 303460"/>
                <a:gd name="connsiteX60" fmla="*/ 200025 w 250031"/>
                <a:gd name="connsiteY60" fmla="*/ 192882 h 303460"/>
                <a:gd name="connsiteX61" fmla="*/ 183356 w 250031"/>
                <a:gd name="connsiteY61" fmla="*/ 197644 h 303460"/>
                <a:gd name="connsiteX62" fmla="*/ 176212 w 250031"/>
                <a:gd name="connsiteY62" fmla="*/ 195263 h 303460"/>
                <a:gd name="connsiteX63" fmla="*/ 178594 w 250031"/>
                <a:gd name="connsiteY63" fmla="*/ 188119 h 303460"/>
                <a:gd name="connsiteX64" fmla="*/ 173831 w 250031"/>
                <a:gd name="connsiteY64" fmla="*/ 169069 h 303460"/>
                <a:gd name="connsiteX65" fmla="*/ 159544 w 250031"/>
                <a:gd name="connsiteY65" fmla="*/ 178594 h 303460"/>
                <a:gd name="connsiteX66" fmla="*/ 157162 w 250031"/>
                <a:gd name="connsiteY66" fmla="*/ 185738 h 303460"/>
                <a:gd name="connsiteX67" fmla="*/ 152400 w 250031"/>
                <a:gd name="connsiteY67" fmla="*/ 192882 h 303460"/>
                <a:gd name="connsiteX68" fmla="*/ 142875 w 250031"/>
                <a:gd name="connsiteY68" fmla="*/ 214313 h 303460"/>
                <a:gd name="connsiteX69" fmla="*/ 145256 w 250031"/>
                <a:gd name="connsiteY69" fmla="*/ 221457 h 303460"/>
                <a:gd name="connsiteX70" fmla="*/ 138112 w 250031"/>
                <a:gd name="connsiteY70" fmla="*/ 245269 h 303460"/>
                <a:gd name="connsiteX71" fmla="*/ 130969 w 250031"/>
                <a:gd name="connsiteY71" fmla="*/ 250032 h 303460"/>
                <a:gd name="connsiteX72" fmla="*/ 121444 w 250031"/>
                <a:gd name="connsiteY72" fmla="*/ 247650 h 303460"/>
                <a:gd name="connsiteX73" fmla="*/ 114300 w 250031"/>
                <a:gd name="connsiteY73" fmla="*/ 242888 h 303460"/>
                <a:gd name="connsiteX74" fmla="*/ 107156 w 250031"/>
                <a:gd name="connsiteY74" fmla="*/ 240507 h 303460"/>
                <a:gd name="connsiteX75" fmla="*/ 114300 w 250031"/>
                <a:gd name="connsiteY75" fmla="*/ 257175 h 303460"/>
                <a:gd name="connsiteX76" fmla="*/ 121444 w 250031"/>
                <a:gd name="connsiteY76" fmla="*/ 271463 h 303460"/>
                <a:gd name="connsiteX77" fmla="*/ 123825 w 250031"/>
                <a:gd name="connsiteY77" fmla="*/ 280988 h 303460"/>
                <a:gd name="connsiteX78" fmla="*/ 130969 w 250031"/>
                <a:gd name="connsiteY78" fmla="*/ 283369 h 303460"/>
                <a:gd name="connsiteX79" fmla="*/ 145256 w 250031"/>
                <a:gd name="connsiteY79" fmla="*/ 290513 h 303460"/>
                <a:gd name="connsiteX80" fmla="*/ 142875 w 250031"/>
                <a:gd name="connsiteY80" fmla="*/ 302419 h 303460"/>
                <a:gd name="connsiteX81" fmla="*/ 123825 w 250031"/>
                <a:gd name="connsiteY81" fmla="*/ 300038 h 303460"/>
                <a:gd name="connsiteX82" fmla="*/ 109537 w 250031"/>
                <a:gd name="connsiteY82" fmla="*/ 290513 h 303460"/>
                <a:gd name="connsiteX83" fmla="*/ 100012 w 250031"/>
                <a:gd name="connsiteY83" fmla="*/ 276225 h 303460"/>
                <a:gd name="connsiteX84" fmla="*/ 85725 w 250031"/>
                <a:gd name="connsiteY84" fmla="*/ 266700 h 303460"/>
                <a:gd name="connsiteX85" fmla="*/ 71437 w 250031"/>
                <a:gd name="connsiteY85" fmla="*/ 261938 h 303460"/>
                <a:gd name="connsiteX86" fmla="*/ 64294 w 250031"/>
                <a:gd name="connsiteY86" fmla="*/ 259557 h 303460"/>
                <a:gd name="connsiteX87" fmla="*/ 54769 w 250031"/>
                <a:gd name="connsiteY87" fmla="*/ 257175 h 303460"/>
                <a:gd name="connsiteX88" fmla="*/ 47625 w 250031"/>
                <a:gd name="connsiteY88" fmla="*/ 242889 h 303460"/>
                <a:gd name="connsiteX89" fmla="*/ 71437 w 250031"/>
                <a:gd name="connsiteY89" fmla="*/ 252413 h 303460"/>
                <a:gd name="connsiteX90" fmla="*/ 83344 w 250031"/>
                <a:gd name="connsiteY90" fmla="*/ 250032 h 303460"/>
                <a:gd name="connsiteX91" fmla="*/ 59531 w 250031"/>
                <a:gd name="connsiteY91" fmla="*/ 230982 h 303460"/>
                <a:gd name="connsiteX92" fmla="*/ 26194 w 250031"/>
                <a:gd name="connsiteY92" fmla="*/ 230982 h 303460"/>
                <a:gd name="connsiteX0" fmla="*/ 26194 w 250031"/>
                <a:gd name="connsiteY0" fmla="*/ 230982 h 303460"/>
                <a:gd name="connsiteX1" fmla="*/ 14287 w 250031"/>
                <a:gd name="connsiteY1" fmla="*/ 221457 h 303460"/>
                <a:gd name="connsiteX2" fmla="*/ 7144 w 250031"/>
                <a:gd name="connsiteY2" fmla="*/ 216694 h 303460"/>
                <a:gd name="connsiteX3" fmla="*/ 4762 w 250031"/>
                <a:gd name="connsiteY3" fmla="*/ 209550 h 303460"/>
                <a:gd name="connsiteX4" fmla="*/ 11906 w 250031"/>
                <a:gd name="connsiteY4" fmla="*/ 195263 h 303460"/>
                <a:gd name="connsiteX5" fmla="*/ 26194 w 250031"/>
                <a:gd name="connsiteY5" fmla="*/ 190500 h 303460"/>
                <a:gd name="connsiteX6" fmla="*/ 33337 w 250031"/>
                <a:gd name="connsiteY6" fmla="*/ 183357 h 303460"/>
                <a:gd name="connsiteX7" fmla="*/ 38100 w 250031"/>
                <a:gd name="connsiteY7" fmla="*/ 173832 h 303460"/>
                <a:gd name="connsiteX8" fmla="*/ 30956 w 250031"/>
                <a:gd name="connsiteY8" fmla="*/ 171450 h 303460"/>
                <a:gd name="connsiteX9" fmla="*/ 14287 w 250031"/>
                <a:gd name="connsiteY9" fmla="*/ 166688 h 303460"/>
                <a:gd name="connsiteX10" fmla="*/ 7144 w 250031"/>
                <a:gd name="connsiteY10" fmla="*/ 161925 h 303460"/>
                <a:gd name="connsiteX11" fmla="*/ 0 w 250031"/>
                <a:gd name="connsiteY11" fmla="*/ 147638 h 303460"/>
                <a:gd name="connsiteX12" fmla="*/ 0 w 250031"/>
                <a:gd name="connsiteY12" fmla="*/ 140494 h 303460"/>
                <a:gd name="connsiteX13" fmla="*/ 7144 w 250031"/>
                <a:gd name="connsiteY13" fmla="*/ 135732 h 303460"/>
                <a:gd name="connsiteX14" fmla="*/ 9525 w 250031"/>
                <a:gd name="connsiteY14" fmla="*/ 128588 h 303460"/>
                <a:gd name="connsiteX15" fmla="*/ 9525 w 250031"/>
                <a:gd name="connsiteY15" fmla="*/ 119063 h 303460"/>
                <a:gd name="connsiteX16" fmla="*/ 14287 w 250031"/>
                <a:gd name="connsiteY16" fmla="*/ 111919 h 303460"/>
                <a:gd name="connsiteX17" fmla="*/ 28575 w 250031"/>
                <a:gd name="connsiteY17" fmla="*/ 107157 h 303460"/>
                <a:gd name="connsiteX18" fmla="*/ 30956 w 250031"/>
                <a:gd name="connsiteY18" fmla="*/ 100013 h 303460"/>
                <a:gd name="connsiteX19" fmla="*/ 26194 w 250031"/>
                <a:gd name="connsiteY19" fmla="*/ 85725 h 303460"/>
                <a:gd name="connsiteX20" fmla="*/ 35719 w 250031"/>
                <a:gd name="connsiteY20" fmla="*/ 69057 h 303460"/>
                <a:gd name="connsiteX21" fmla="*/ 47625 w 250031"/>
                <a:gd name="connsiteY21" fmla="*/ 57150 h 303460"/>
                <a:gd name="connsiteX22" fmla="*/ 57150 w 250031"/>
                <a:gd name="connsiteY22" fmla="*/ 66675 h 303460"/>
                <a:gd name="connsiteX23" fmla="*/ 71437 w 250031"/>
                <a:gd name="connsiteY23" fmla="*/ 73819 h 303460"/>
                <a:gd name="connsiteX24" fmla="*/ 76200 w 250031"/>
                <a:gd name="connsiteY24" fmla="*/ 45244 h 303460"/>
                <a:gd name="connsiteX25" fmla="*/ 73819 w 250031"/>
                <a:gd name="connsiteY25" fmla="*/ 38100 h 303460"/>
                <a:gd name="connsiteX26" fmla="*/ 59531 w 250031"/>
                <a:gd name="connsiteY26" fmla="*/ 30957 h 303460"/>
                <a:gd name="connsiteX27" fmla="*/ 52387 w 250031"/>
                <a:gd name="connsiteY27" fmla="*/ 26194 h 303460"/>
                <a:gd name="connsiteX28" fmla="*/ 54769 w 250031"/>
                <a:gd name="connsiteY28" fmla="*/ 19050 h 303460"/>
                <a:gd name="connsiteX29" fmla="*/ 57150 w 250031"/>
                <a:gd name="connsiteY29" fmla="*/ 7144 h 303460"/>
                <a:gd name="connsiteX30" fmla="*/ 78581 w 250031"/>
                <a:gd name="connsiteY30" fmla="*/ 14288 h 303460"/>
                <a:gd name="connsiteX31" fmla="*/ 85725 w 250031"/>
                <a:gd name="connsiteY31" fmla="*/ 7144 h 303460"/>
                <a:gd name="connsiteX32" fmla="*/ 102394 w 250031"/>
                <a:gd name="connsiteY32" fmla="*/ 0 h 303460"/>
                <a:gd name="connsiteX33" fmla="*/ 109537 w 250031"/>
                <a:gd name="connsiteY33" fmla="*/ 2382 h 303460"/>
                <a:gd name="connsiteX34" fmla="*/ 114300 w 250031"/>
                <a:gd name="connsiteY34" fmla="*/ 16669 h 303460"/>
                <a:gd name="connsiteX35" fmla="*/ 116681 w 250031"/>
                <a:gd name="connsiteY35" fmla="*/ 23813 h 303460"/>
                <a:gd name="connsiteX36" fmla="*/ 121444 w 250031"/>
                <a:gd name="connsiteY36" fmla="*/ 30957 h 303460"/>
                <a:gd name="connsiteX37" fmla="*/ 130969 w 250031"/>
                <a:gd name="connsiteY37" fmla="*/ 33338 h 303460"/>
                <a:gd name="connsiteX38" fmla="*/ 147637 w 250031"/>
                <a:gd name="connsiteY38" fmla="*/ 35719 h 303460"/>
                <a:gd name="connsiteX39" fmla="*/ 154781 w 250031"/>
                <a:gd name="connsiteY39" fmla="*/ 50007 h 303460"/>
                <a:gd name="connsiteX40" fmla="*/ 161925 w 250031"/>
                <a:gd name="connsiteY40" fmla="*/ 52388 h 303460"/>
                <a:gd name="connsiteX41" fmla="*/ 169069 w 250031"/>
                <a:gd name="connsiteY41" fmla="*/ 50007 h 303460"/>
                <a:gd name="connsiteX42" fmla="*/ 176212 w 250031"/>
                <a:gd name="connsiteY42" fmla="*/ 54769 h 303460"/>
                <a:gd name="connsiteX43" fmla="*/ 183356 w 250031"/>
                <a:gd name="connsiteY43" fmla="*/ 57150 h 303460"/>
                <a:gd name="connsiteX44" fmla="*/ 190500 w 250031"/>
                <a:gd name="connsiteY44" fmla="*/ 61913 h 303460"/>
                <a:gd name="connsiteX45" fmla="*/ 197644 w 250031"/>
                <a:gd name="connsiteY45" fmla="*/ 64294 h 303460"/>
                <a:gd name="connsiteX46" fmla="*/ 204787 w 250031"/>
                <a:gd name="connsiteY46" fmla="*/ 71438 h 303460"/>
                <a:gd name="connsiteX47" fmla="*/ 207169 w 250031"/>
                <a:gd name="connsiteY47" fmla="*/ 97632 h 303460"/>
                <a:gd name="connsiteX48" fmla="*/ 221456 w 250031"/>
                <a:gd name="connsiteY48" fmla="*/ 102394 h 303460"/>
                <a:gd name="connsiteX49" fmla="*/ 240506 w 250031"/>
                <a:gd name="connsiteY49" fmla="*/ 107157 h 303460"/>
                <a:gd name="connsiteX50" fmla="*/ 245269 w 250031"/>
                <a:gd name="connsiteY50" fmla="*/ 114300 h 303460"/>
                <a:gd name="connsiteX51" fmla="*/ 250031 w 250031"/>
                <a:gd name="connsiteY51" fmla="*/ 130969 h 303460"/>
                <a:gd name="connsiteX52" fmla="*/ 240506 w 250031"/>
                <a:gd name="connsiteY52" fmla="*/ 133350 h 303460"/>
                <a:gd name="connsiteX53" fmla="*/ 238125 w 250031"/>
                <a:gd name="connsiteY53" fmla="*/ 140494 h 303460"/>
                <a:gd name="connsiteX54" fmla="*/ 230981 w 250031"/>
                <a:gd name="connsiteY54" fmla="*/ 142875 h 303460"/>
                <a:gd name="connsiteX55" fmla="*/ 211931 w 250031"/>
                <a:gd name="connsiteY55" fmla="*/ 142875 h 303460"/>
                <a:gd name="connsiteX56" fmla="*/ 214312 w 250031"/>
                <a:gd name="connsiteY56" fmla="*/ 154782 h 303460"/>
                <a:gd name="connsiteX57" fmla="*/ 223837 w 250031"/>
                <a:gd name="connsiteY57" fmla="*/ 169069 h 303460"/>
                <a:gd name="connsiteX58" fmla="*/ 219075 w 250031"/>
                <a:gd name="connsiteY58" fmla="*/ 176213 h 303460"/>
                <a:gd name="connsiteX59" fmla="*/ 211931 w 250031"/>
                <a:gd name="connsiteY59" fmla="*/ 190500 h 303460"/>
                <a:gd name="connsiteX60" fmla="*/ 200025 w 250031"/>
                <a:gd name="connsiteY60" fmla="*/ 192882 h 303460"/>
                <a:gd name="connsiteX61" fmla="*/ 183356 w 250031"/>
                <a:gd name="connsiteY61" fmla="*/ 197644 h 303460"/>
                <a:gd name="connsiteX62" fmla="*/ 176212 w 250031"/>
                <a:gd name="connsiteY62" fmla="*/ 195263 h 303460"/>
                <a:gd name="connsiteX63" fmla="*/ 178594 w 250031"/>
                <a:gd name="connsiteY63" fmla="*/ 188119 h 303460"/>
                <a:gd name="connsiteX64" fmla="*/ 173831 w 250031"/>
                <a:gd name="connsiteY64" fmla="*/ 169069 h 303460"/>
                <a:gd name="connsiteX65" fmla="*/ 159544 w 250031"/>
                <a:gd name="connsiteY65" fmla="*/ 178594 h 303460"/>
                <a:gd name="connsiteX66" fmla="*/ 157162 w 250031"/>
                <a:gd name="connsiteY66" fmla="*/ 185738 h 303460"/>
                <a:gd name="connsiteX67" fmla="*/ 152400 w 250031"/>
                <a:gd name="connsiteY67" fmla="*/ 192882 h 303460"/>
                <a:gd name="connsiteX68" fmla="*/ 142875 w 250031"/>
                <a:gd name="connsiteY68" fmla="*/ 214313 h 303460"/>
                <a:gd name="connsiteX69" fmla="*/ 145256 w 250031"/>
                <a:gd name="connsiteY69" fmla="*/ 221457 h 303460"/>
                <a:gd name="connsiteX70" fmla="*/ 138112 w 250031"/>
                <a:gd name="connsiteY70" fmla="*/ 245269 h 303460"/>
                <a:gd name="connsiteX71" fmla="*/ 130969 w 250031"/>
                <a:gd name="connsiteY71" fmla="*/ 250032 h 303460"/>
                <a:gd name="connsiteX72" fmla="*/ 121444 w 250031"/>
                <a:gd name="connsiteY72" fmla="*/ 247650 h 303460"/>
                <a:gd name="connsiteX73" fmla="*/ 114300 w 250031"/>
                <a:gd name="connsiteY73" fmla="*/ 242888 h 303460"/>
                <a:gd name="connsiteX74" fmla="*/ 107156 w 250031"/>
                <a:gd name="connsiteY74" fmla="*/ 240507 h 303460"/>
                <a:gd name="connsiteX75" fmla="*/ 114300 w 250031"/>
                <a:gd name="connsiteY75" fmla="*/ 257175 h 303460"/>
                <a:gd name="connsiteX76" fmla="*/ 121444 w 250031"/>
                <a:gd name="connsiteY76" fmla="*/ 271463 h 303460"/>
                <a:gd name="connsiteX77" fmla="*/ 123825 w 250031"/>
                <a:gd name="connsiteY77" fmla="*/ 280988 h 303460"/>
                <a:gd name="connsiteX78" fmla="*/ 130969 w 250031"/>
                <a:gd name="connsiteY78" fmla="*/ 283369 h 303460"/>
                <a:gd name="connsiteX79" fmla="*/ 145256 w 250031"/>
                <a:gd name="connsiteY79" fmla="*/ 290513 h 303460"/>
                <a:gd name="connsiteX80" fmla="*/ 142875 w 250031"/>
                <a:gd name="connsiteY80" fmla="*/ 302419 h 303460"/>
                <a:gd name="connsiteX81" fmla="*/ 123825 w 250031"/>
                <a:gd name="connsiteY81" fmla="*/ 300038 h 303460"/>
                <a:gd name="connsiteX82" fmla="*/ 109537 w 250031"/>
                <a:gd name="connsiteY82" fmla="*/ 290513 h 303460"/>
                <a:gd name="connsiteX83" fmla="*/ 100012 w 250031"/>
                <a:gd name="connsiteY83" fmla="*/ 276225 h 303460"/>
                <a:gd name="connsiteX84" fmla="*/ 85725 w 250031"/>
                <a:gd name="connsiteY84" fmla="*/ 266700 h 303460"/>
                <a:gd name="connsiteX85" fmla="*/ 71437 w 250031"/>
                <a:gd name="connsiteY85" fmla="*/ 261938 h 303460"/>
                <a:gd name="connsiteX86" fmla="*/ 64294 w 250031"/>
                <a:gd name="connsiteY86" fmla="*/ 259557 h 303460"/>
                <a:gd name="connsiteX87" fmla="*/ 54769 w 250031"/>
                <a:gd name="connsiteY87" fmla="*/ 257175 h 303460"/>
                <a:gd name="connsiteX88" fmla="*/ 47625 w 250031"/>
                <a:gd name="connsiteY88" fmla="*/ 242889 h 303460"/>
                <a:gd name="connsiteX89" fmla="*/ 71437 w 250031"/>
                <a:gd name="connsiteY89" fmla="*/ 252413 h 303460"/>
                <a:gd name="connsiteX90" fmla="*/ 83344 w 250031"/>
                <a:gd name="connsiteY90" fmla="*/ 250032 h 303460"/>
                <a:gd name="connsiteX91" fmla="*/ 30956 w 250031"/>
                <a:gd name="connsiteY91" fmla="*/ 235744 h 303460"/>
                <a:gd name="connsiteX92" fmla="*/ 26194 w 250031"/>
                <a:gd name="connsiteY92" fmla="*/ 230982 h 303460"/>
                <a:gd name="connsiteX0" fmla="*/ 26194 w 250031"/>
                <a:gd name="connsiteY0" fmla="*/ 230982 h 303460"/>
                <a:gd name="connsiteX1" fmla="*/ 14287 w 250031"/>
                <a:gd name="connsiteY1" fmla="*/ 221457 h 303460"/>
                <a:gd name="connsiteX2" fmla="*/ 7144 w 250031"/>
                <a:gd name="connsiteY2" fmla="*/ 216694 h 303460"/>
                <a:gd name="connsiteX3" fmla="*/ 4762 w 250031"/>
                <a:gd name="connsiteY3" fmla="*/ 209550 h 303460"/>
                <a:gd name="connsiteX4" fmla="*/ 11906 w 250031"/>
                <a:gd name="connsiteY4" fmla="*/ 195263 h 303460"/>
                <a:gd name="connsiteX5" fmla="*/ 26194 w 250031"/>
                <a:gd name="connsiteY5" fmla="*/ 190500 h 303460"/>
                <a:gd name="connsiteX6" fmla="*/ 33337 w 250031"/>
                <a:gd name="connsiteY6" fmla="*/ 183357 h 303460"/>
                <a:gd name="connsiteX7" fmla="*/ 38100 w 250031"/>
                <a:gd name="connsiteY7" fmla="*/ 173832 h 303460"/>
                <a:gd name="connsiteX8" fmla="*/ 30956 w 250031"/>
                <a:gd name="connsiteY8" fmla="*/ 171450 h 303460"/>
                <a:gd name="connsiteX9" fmla="*/ 14287 w 250031"/>
                <a:gd name="connsiteY9" fmla="*/ 166688 h 303460"/>
                <a:gd name="connsiteX10" fmla="*/ 7144 w 250031"/>
                <a:gd name="connsiteY10" fmla="*/ 161925 h 303460"/>
                <a:gd name="connsiteX11" fmla="*/ 0 w 250031"/>
                <a:gd name="connsiteY11" fmla="*/ 147638 h 303460"/>
                <a:gd name="connsiteX12" fmla="*/ 0 w 250031"/>
                <a:gd name="connsiteY12" fmla="*/ 140494 h 303460"/>
                <a:gd name="connsiteX13" fmla="*/ 7144 w 250031"/>
                <a:gd name="connsiteY13" fmla="*/ 135732 h 303460"/>
                <a:gd name="connsiteX14" fmla="*/ 9525 w 250031"/>
                <a:gd name="connsiteY14" fmla="*/ 128588 h 303460"/>
                <a:gd name="connsiteX15" fmla="*/ 9525 w 250031"/>
                <a:gd name="connsiteY15" fmla="*/ 119063 h 303460"/>
                <a:gd name="connsiteX16" fmla="*/ 14287 w 250031"/>
                <a:gd name="connsiteY16" fmla="*/ 111919 h 303460"/>
                <a:gd name="connsiteX17" fmla="*/ 28575 w 250031"/>
                <a:gd name="connsiteY17" fmla="*/ 107157 h 303460"/>
                <a:gd name="connsiteX18" fmla="*/ 30956 w 250031"/>
                <a:gd name="connsiteY18" fmla="*/ 100013 h 303460"/>
                <a:gd name="connsiteX19" fmla="*/ 26194 w 250031"/>
                <a:gd name="connsiteY19" fmla="*/ 85725 h 303460"/>
                <a:gd name="connsiteX20" fmla="*/ 35719 w 250031"/>
                <a:gd name="connsiteY20" fmla="*/ 69057 h 303460"/>
                <a:gd name="connsiteX21" fmla="*/ 47625 w 250031"/>
                <a:gd name="connsiteY21" fmla="*/ 57150 h 303460"/>
                <a:gd name="connsiteX22" fmla="*/ 57150 w 250031"/>
                <a:gd name="connsiteY22" fmla="*/ 66675 h 303460"/>
                <a:gd name="connsiteX23" fmla="*/ 71437 w 250031"/>
                <a:gd name="connsiteY23" fmla="*/ 73819 h 303460"/>
                <a:gd name="connsiteX24" fmla="*/ 76200 w 250031"/>
                <a:gd name="connsiteY24" fmla="*/ 45244 h 303460"/>
                <a:gd name="connsiteX25" fmla="*/ 73819 w 250031"/>
                <a:gd name="connsiteY25" fmla="*/ 38100 h 303460"/>
                <a:gd name="connsiteX26" fmla="*/ 59531 w 250031"/>
                <a:gd name="connsiteY26" fmla="*/ 30957 h 303460"/>
                <a:gd name="connsiteX27" fmla="*/ 52387 w 250031"/>
                <a:gd name="connsiteY27" fmla="*/ 26194 h 303460"/>
                <a:gd name="connsiteX28" fmla="*/ 54769 w 250031"/>
                <a:gd name="connsiteY28" fmla="*/ 19050 h 303460"/>
                <a:gd name="connsiteX29" fmla="*/ 57150 w 250031"/>
                <a:gd name="connsiteY29" fmla="*/ 7144 h 303460"/>
                <a:gd name="connsiteX30" fmla="*/ 78581 w 250031"/>
                <a:gd name="connsiteY30" fmla="*/ 14288 h 303460"/>
                <a:gd name="connsiteX31" fmla="*/ 85725 w 250031"/>
                <a:gd name="connsiteY31" fmla="*/ 7144 h 303460"/>
                <a:gd name="connsiteX32" fmla="*/ 102394 w 250031"/>
                <a:gd name="connsiteY32" fmla="*/ 0 h 303460"/>
                <a:gd name="connsiteX33" fmla="*/ 109537 w 250031"/>
                <a:gd name="connsiteY33" fmla="*/ 2382 h 303460"/>
                <a:gd name="connsiteX34" fmla="*/ 114300 w 250031"/>
                <a:gd name="connsiteY34" fmla="*/ 16669 h 303460"/>
                <a:gd name="connsiteX35" fmla="*/ 116681 w 250031"/>
                <a:gd name="connsiteY35" fmla="*/ 23813 h 303460"/>
                <a:gd name="connsiteX36" fmla="*/ 121444 w 250031"/>
                <a:gd name="connsiteY36" fmla="*/ 30957 h 303460"/>
                <a:gd name="connsiteX37" fmla="*/ 130969 w 250031"/>
                <a:gd name="connsiteY37" fmla="*/ 33338 h 303460"/>
                <a:gd name="connsiteX38" fmla="*/ 147637 w 250031"/>
                <a:gd name="connsiteY38" fmla="*/ 35719 h 303460"/>
                <a:gd name="connsiteX39" fmla="*/ 154781 w 250031"/>
                <a:gd name="connsiteY39" fmla="*/ 50007 h 303460"/>
                <a:gd name="connsiteX40" fmla="*/ 161925 w 250031"/>
                <a:gd name="connsiteY40" fmla="*/ 52388 h 303460"/>
                <a:gd name="connsiteX41" fmla="*/ 169069 w 250031"/>
                <a:gd name="connsiteY41" fmla="*/ 50007 h 303460"/>
                <a:gd name="connsiteX42" fmla="*/ 176212 w 250031"/>
                <a:gd name="connsiteY42" fmla="*/ 54769 h 303460"/>
                <a:gd name="connsiteX43" fmla="*/ 183356 w 250031"/>
                <a:gd name="connsiteY43" fmla="*/ 57150 h 303460"/>
                <a:gd name="connsiteX44" fmla="*/ 190500 w 250031"/>
                <a:gd name="connsiteY44" fmla="*/ 61913 h 303460"/>
                <a:gd name="connsiteX45" fmla="*/ 197644 w 250031"/>
                <a:gd name="connsiteY45" fmla="*/ 64294 h 303460"/>
                <a:gd name="connsiteX46" fmla="*/ 204787 w 250031"/>
                <a:gd name="connsiteY46" fmla="*/ 71438 h 303460"/>
                <a:gd name="connsiteX47" fmla="*/ 207169 w 250031"/>
                <a:gd name="connsiteY47" fmla="*/ 97632 h 303460"/>
                <a:gd name="connsiteX48" fmla="*/ 221456 w 250031"/>
                <a:gd name="connsiteY48" fmla="*/ 102394 h 303460"/>
                <a:gd name="connsiteX49" fmla="*/ 240506 w 250031"/>
                <a:gd name="connsiteY49" fmla="*/ 107157 h 303460"/>
                <a:gd name="connsiteX50" fmla="*/ 245269 w 250031"/>
                <a:gd name="connsiteY50" fmla="*/ 114300 h 303460"/>
                <a:gd name="connsiteX51" fmla="*/ 250031 w 250031"/>
                <a:gd name="connsiteY51" fmla="*/ 130969 h 303460"/>
                <a:gd name="connsiteX52" fmla="*/ 240506 w 250031"/>
                <a:gd name="connsiteY52" fmla="*/ 133350 h 303460"/>
                <a:gd name="connsiteX53" fmla="*/ 238125 w 250031"/>
                <a:gd name="connsiteY53" fmla="*/ 140494 h 303460"/>
                <a:gd name="connsiteX54" fmla="*/ 230981 w 250031"/>
                <a:gd name="connsiteY54" fmla="*/ 142875 h 303460"/>
                <a:gd name="connsiteX55" fmla="*/ 211931 w 250031"/>
                <a:gd name="connsiteY55" fmla="*/ 142875 h 303460"/>
                <a:gd name="connsiteX56" fmla="*/ 214312 w 250031"/>
                <a:gd name="connsiteY56" fmla="*/ 154782 h 303460"/>
                <a:gd name="connsiteX57" fmla="*/ 223837 w 250031"/>
                <a:gd name="connsiteY57" fmla="*/ 169069 h 303460"/>
                <a:gd name="connsiteX58" fmla="*/ 219075 w 250031"/>
                <a:gd name="connsiteY58" fmla="*/ 176213 h 303460"/>
                <a:gd name="connsiteX59" fmla="*/ 211931 w 250031"/>
                <a:gd name="connsiteY59" fmla="*/ 190500 h 303460"/>
                <a:gd name="connsiteX60" fmla="*/ 200025 w 250031"/>
                <a:gd name="connsiteY60" fmla="*/ 192882 h 303460"/>
                <a:gd name="connsiteX61" fmla="*/ 183356 w 250031"/>
                <a:gd name="connsiteY61" fmla="*/ 197644 h 303460"/>
                <a:gd name="connsiteX62" fmla="*/ 176212 w 250031"/>
                <a:gd name="connsiteY62" fmla="*/ 195263 h 303460"/>
                <a:gd name="connsiteX63" fmla="*/ 178594 w 250031"/>
                <a:gd name="connsiteY63" fmla="*/ 188119 h 303460"/>
                <a:gd name="connsiteX64" fmla="*/ 173831 w 250031"/>
                <a:gd name="connsiteY64" fmla="*/ 169069 h 303460"/>
                <a:gd name="connsiteX65" fmla="*/ 159544 w 250031"/>
                <a:gd name="connsiteY65" fmla="*/ 178594 h 303460"/>
                <a:gd name="connsiteX66" fmla="*/ 157162 w 250031"/>
                <a:gd name="connsiteY66" fmla="*/ 185738 h 303460"/>
                <a:gd name="connsiteX67" fmla="*/ 152400 w 250031"/>
                <a:gd name="connsiteY67" fmla="*/ 192882 h 303460"/>
                <a:gd name="connsiteX68" fmla="*/ 142875 w 250031"/>
                <a:gd name="connsiteY68" fmla="*/ 214313 h 303460"/>
                <a:gd name="connsiteX69" fmla="*/ 145256 w 250031"/>
                <a:gd name="connsiteY69" fmla="*/ 221457 h 303460"/>
                <a:gd name="connsiteX70" fmla="*/ 138112 w 250031"/>
                <a:gd name="connsiteY70" fmla="*/ 245269 h 303460"/>
                <a:gd name="connsiteX71" fmla="*/ 130969 w 250031"/>
                <a:gd name="connsiteY71" fmla="*/ 250032 h 303460"/>
                <a:gd name="connsiteX72" fmla="*/ 121444 w 250031"/>
                <a:gd name="connsiteY72" fmla="*/ 247650 h 303460"/>
                <a:gd name="connsiteX73" fmla="*/ 114300 w 250031"/>
                <a:gd name="connsiteY73" fmla="*/ 242888 h 303460"/>
                <a:gd name="connsiteX74" fmla="*/ 107156 w 250031"/>
                <a:gd name="connsiteY74" fmla="*/ 240507 h 303460"/>
                <a:gd name="connsiteX75" fmla="*/ 114300 w 250031"/>
                <a:gd name="connsiteY75" fmla="*/ 257175 h 303460"/>
                <a:gd name="connsiteX76" fmla="*/ 121444 w 250031"/>
                <a:gd name="connsiteY76" fmla="*/ 271463 h 303460"/>
                <a:gd name="connsiteX77" fmla="*/ 123825 w 250031"/>
                <a:gd name="connsiteY77" fmla="*/ 280988 h 303460"/>
                <a:gd name="connsiteX78" fmla="*/ 130969 w 250031"/>
                <a:gd name="connsiteY78" fmla="*/ 283369 h 303460"/>
                <a:gd name="connsiteX79" fmla="*/ 145256 w 250031"/>
                <a:gd name="connsiteY79" fmla="*/ 290513 h 303460"/>
                <a:gd name="connsiteX80" fmla="*/ 142875 w 250031"/>
                <a:gd name="connsiteY80" fmla="*/ 302419 h 303460"/>
                <a:gd name="connsiteX81" fmla="*/ 123825 w 250031"/>
                <a:gd name="connsiteY81" fmla="*/ 300038 h 303460"/>
                <a:gd name="connsiteX82" fmla="*/ 109537 w 250031"/>
                <a:gd name="connsiteY82" fmla="*/ 290513 h 303460"/>
                <a:gd name="connsiteX83" fmla="*/ 100012 w 250031"/>
                <a:gd name="connsiteY83" fmla="*/ 276225 h 303460"/>
                <a:gd name="connsiteX84" fmla="*/ 85725 w 250031"/>
                <a:gd name="connsiteY84" fmla="*/ 266700 h 303460"/>
                <a:gd name="connsiteX85" fmla="*/ 71437 w 250031"/>
                <a:gd name="connsiteY85" fmla="*/ 261938 h 303460"/>
                <a:gd name="connsiteX86" fmla="*/ 64294 w 250031"/>
                <a:gd name="connsiteY86" fmla="*/ 259557 h 303460"/>
                <a:gd name="connsiteX87" fmla="*/ 28576 w 250031"/>
                <a:gd name="connsiteY87" fmla="*/ 247650 h 303460"/>
                <a:gd name="connsiteX88" fmla="*/ 47625 w 250031"/>
                <a:gd name="connsiteY88" fmla="*/ 242889 h 303460"/>
                <a:gd name="connsiteX89" fmla="*/ 71437 w 250031"/>
                <a:gd name="connsiteY89" fmla="*/ 252413 h 303460"/>
                <a:gd name="connsiteX90" fmla="*/ 83344 w 250031"/>
                <a:gd name="connsiteY90" fmla="*/ 250032 h 303460"/>
                <a:gd name="connsiteX91" fmla="*/ 30956 w 250031"/>
                <a:gd name="connsiteY91" fmla="*/ 235744 h 303460"/>
                <a:gd name="connsiteX92" fmla="*/ 26194 w 250031"/>
                <a:gd name="connsiteY92" fmla="*/ 230982 h 303460"/>
                <a:gd name="connsiteX0" fmla="*/ 26194 w 250031"/>
                <a:gd name="connsiteY0" fmla="*/ 230982 h 303460"/>
                <a:gd name="connsiteX1" fmla="*/ 14287 w 250031"/>
                <a:gd name="connsiteY1" fmla="*/ 221457 h 303460"/>
                <a:gd name="connsiteX2" fmla="*/ 7144 w 250031"/>
                <a:gd name="connsiteY2" fmla="*/ 216694 h 303460"/>
                <a:gd name="connsiteX3" fmla="*/ 4762 w 250031"/>
                <a:gd name="connsiteY3" fmla="*/ 209550 h 303460"/>
                <a:gd name="connsiteX4" fmla="*/ 11906 w 250031"/>
                <a:gd name="connsiteY4" fmla="*/ 195263 h 303460"/>
                <a:gd name="connsiteX5" fmla="*/ 26194 w 250031"/>
                <a:gd name="connsiteY5" fmla="*/ 190500 h 303460"/>
                <a:gd name="connsiteX6" fmla="*/ 33337 w 250031"/>
                <a:gd name="connsiteY6" fmla="*/ 183357 h 303460"/>
                <a:gd name="connsiteX7" fmla="*/ 38100 w 250031"/>
                <a:gd name="connsiteY7" fmla="*/ 173832 h 303460"/>
                <a:gd name="connsiteX8" fmla="*/ 30956 w 250031"/>
                <a:gd name="connsiteY8" fmla="*/ 171450 h 303460"/>
                <a:gd name="connsiteX9" fmla="*/ 14287 w 250031"/>
                <a:gd name="connsiteY9" fmla="*/ 166688 h 303460"/>
                <a:gd name="connsiteX10" fmla="*/ 7144 w 250031"/>
                <a:gd name="connsiteY10" fmla="*/ 161925 h 303460"/>
                <a:gd name="connsiteX11" fmla="*/ 0 w 250031"/>
                <a:gd name="connsiteY11" fmla="*/ 147638 h 303460"/>
                <a:gd name="connsiteX12" fmla="*/ 0 w 250031"/>
                <a:gd name="connsiteY12" fmla="*/ 140494 h 303460"/>
                <a:gd name="connsiteX13" fmla="*/ 7144 w 250031"/>
                <a:gd name="connsiteY13" fmla="*/ 135732 h 303460"/>
                <a:gd name="connsiteX14" fmla="*/ 9525 w 250031"/>
                <a:gd name="connsiteY14" fmla="*/ 128588 h 303460"/>
                <a:gd name="connsiteX15" fmla="*/ 9525 w 250031"/>
                <a:gd name="connsiteY15" fmla="*/ 119063 h 303460"/>
                <a:gd name="connsiteX16" fmla="*/ 14287 w 250031"/>
                <a:gd name="connsiteY16" fmla="*/ 111919 h 303460"/>
                <a:gd name="connsiteX17" fmla="*/ 28575 w 250031"/>
                <a:gd name="connsiteY17" fmla="*/ 107157 h 303460"/>
                <a:gd name="connsiteX18" fmla="*/ 30956 w 250031"/>
                <a:gd name="connsiteY18" fmla="*/ 100013 h 303460"/>
                <a:gd name="connsiteX19" fmla="*/ 26194 w 250031"/>
                <a:gd name="connsiteY19" fmla="*/ 85725 h 303460"/>
                <a:gd name="connsiteX20" fmla="*/ 35719 w 250031"/>
                <a:gd name="connsiteY20" fmla="*/ 69057 h 303460"/>
                <a:gd name="connsiteX21" fmla="*/ 47625 w 250031"/>
                <a:gd name="connsiteY21" fmla="*/ 57150 h 303460"/>
                <a:gd name="connsiteX22" fmla="*/ 57150 w 250031"/>
                <a:gd name="connsiteY22" fmla="*/ 66675 h 303460"/>
                <a:gd name="connsiteX23" fmla="*/ 71437 w 250031"/>
                <a:gd name="connsiteY23" fmla="*/ 73819 h 303460"/>
                <a:gd name="connsiteX24" fmla="*/ 76200 w 250031"/>
                <a:gd name="connsiteY24" fmla="*/ 45244 h 303460"/>
                <a:gd name="connsiteX25" fmla="*/ 73819 w 250031"/>
                <a:gd name="connsiteY25" fmla="*/ 38100 h 303460"/>
                <a:gd name="connsiteX26" fmla="*/ 59531 w 250031"/>
                <a:gd name="connsiteY26" fmla="*/ 30957 h 303460"/>
                <a:gd name="connsiteX27" fmla="*/ 52387 w 250031"/>
                <a:gd name="connsiteY27" fmla="*/ 26194 h 303460"/>
                <a:gd name="connsiteX28" fmla="*/ 54769 w 250031"/>
                <a:gd name="connsiteY28" fmla="*/ 19050 h 303460"/>
                <a:gd name="connsiteX29" fmla="*/ 57150 w 250031"/>
                <a:gd name="connsiteY29" fmla="*/ 7144 h 303460"/>
                <a:gd name="connsiteX30" fmla="*/ 78581 w 250031"/>
                <a:gd name="connsiteY30" fmla="*/ 14288 h 303460"/>
                <a:gd name="connsiteX31" fmla="*/ 85725 w 250031"/>
                <a:gd name="connsiteY31" fmla="*/ 7144 h 303460"/>
                <a:gd name="connsiteX32" fmla="*/ 102394 w 250031"/>
                <a:gd name="connsiteY32" fmla="*/ 0 h 303460"/>
                <a:gd name="connsiteX33" fmla="*/ 109537 w 250031"/>
                <a:gd name="connsiteY33" fmla="*/ 2382 h 303460"/>
                <a:gd name="connsiteX34" fmla="*/ 114300 w 250031"/>
                <a:gd name="connsiteY34" fmla="*/ 16669 h 303460"/>
                <a:gd name="connsiteX35" fmla="*/ 116681 w 250031"/>
                <a:gd name="connsiteY35" fmla="*/ 23813 h 303460"/>
                <a:gd name="connsiteX36" fmla="*/ 121444 w 250031"/>
                <a:gd name="connsiteY36" fmla="*/ 30957 h 303460"/>
                <a:gd name="connsiteX37" fmla="*/ 130969 w 250031"/>
                <a:gd name="connsiteY37" fmla="*/ 33338 h 303460"/>
                <a:gd name="connsiteX38" fmla="*/ 147637 w 250031"/>
                <a:gd name="connsiteY38" fmla="*/ 35719 h 303460"/>
                <a:gd name="connsiteX39" fmla="*/ 154781 w 250031"/>
                <a:gd name="connsiteY39" fmla="*/ 50007 h 303460"/>
                <a:gd name="connsiteX40" fmla="*/ 161925 w 250031"/>
                <a:gd name="connsiteY40" fmla="*/ 52388 h 303460"/>
                <a:gd name="connsiteX41" fmla="*/ 169069 w 250031"/>
                <a:gd name="connsiteY41" fmla="*/ 50007 h 303460"/>
                <a:gd name="connsiteX42" fmla="*/ 176212 w 250031"/>
                <a:gd name="connsiteY42" fmla="*/ 54769 h 303460"/>
                <a:gd name="connsiteX43" fmla="*/ 183356 w 250031"/>
                <a:gd name="connsiteY43" fmla="*/ 57150 h 303460"/>
                <a:gd name="connsiteX44" fmla="*/ 190500 w 250031"/>
                <a:gd name="connsiteY44" fmla="*/ 61913 h 303460"/>
                <a:gd name="connsiteX45" fmla="*/ 197644 w 250031"/>
                <a:gd name="connsiteY45" fmla="*/ 64294 h 303460"/>
                <a:gd name="connsiteX46" fmla="*/ 204787 w 250031"/>
                <a:gd name="connsiteY46" fmla="*/ 71438 h 303460"/>
                <a:gd name="connsiteX47" fmla="*/ 207169 w 250031"/>
                <a:gd name="connsiteY47" fmla="*/ 97632 h 303460"/>
                <a:gd name="connsiteX48" fmla="*/ 221456 w 250031"/>
                <a:gd name="connsiteY48" fmla="*/ 102394 h 303460"/>
                <a:gd name="connsiteX49" fmla="*/ 240506 w 250031"/>
                <a:gd name="connsiteY49" fmla="*/ 107157 h 303460"/>
                <a:gd name="connsiteX50" fmla="*/ 245269 w 250031"/>
                <a:gd name="connsiteY50" fmla="*/ 114300 h 303460"/>
                <a:gd name="connsiteX51" fmla="*/ 250031 w 250031"/>
                <a:gd name="connsiteY51" fmla="*/ 130969 h 303460"/>
                <a:gd name="connsiteX52" fmla="*/ 240506 w 250031"/>
                <a:gd name="connsiteY52" fmla="*/ 133350 h 303460"/>
                <a:gd name="connsiteX53" fmla="*/ 238125 w 250031"/>
                <a:gd name="connsiteY53" fmla="*/ 140494 h 303460"/>
                <a:gd name="connsiteX54" fmla="*/ 230981 w 250031"/>
                <a:gd name="connsiteY54" fmla="*/ 142875 h 303460"/>
                <a:gd name="connsiteX55" fmla="*/ 211931 w 250031"/>
                <a:gd name="connsiteY55" fmla="*/ 142875 h 303460"/>
                <a:gd name="connsiteX56" fmla="*/ 214312 w 250031"/>
                <a:gd name="connsiteY56" fmla="*/ 154782 h 303460"/>
                <a:gd name="connsiteX57" fmla="*/ 223837 w 250031"/>
                <a:gd name="connsiteY57" fmla="*/ 169069 h 303460"/>
                <a:gd name="connsiteX58" fmla="*/ 219075 w 250031"/>
                <a:gd name="connsiteY58" fmla="*/ 176213 h 303460"/>
                <a:gd name="connsiteX59" fmla="*/ 211931 w 250031"/>
                <a:gd name="connsiteY59" fmla="*/ 190500 h 303460"/>
                <a:gd name="connsiteX60" fmla="*/ 200025 w 250031"/>
                <a:gd name="connsiteY60" fmla="*/ 192882 h 303460"/>
                <a:gd name="connsiteX61" fmla="*/ 183356 w 250031"/>
                <a:gd name="connsiteY61" fmla="*/ 197644 h 303460"/>
                <a:gd name="connsiteX62" fmla="*/ 176212 w 250031"/>
                <a:gd name="connsiteY62" fmla="*/ 195263 h 303460"/>
                <a:gd name="connsiteX63" fmla="*/ 178594 w 250031"/>
                <a:gd name="connsiteY63" fmla="*/ 188119 h 303460"/>
                <a:gd name="connsiteX64" fmla="*/ 173831 w 250031"/>
                <a:gd name="connsiteY64" fmla="*/ 169069 h 303460"/>
                <a:gd name="connsiteX65" fmla="*/ 159544 w 250031"/>
                <a:gd name="connsiteY65" fmla="*/ 178594 h 303460"/>
                <a:gd name="connsiteX66" fmla="*/ 157162 w 250031"/>
                <a:gd name="connsiteY66" fmla="*/ 185738 h 303460"/>
                <a:gd name="connsiteX67" fmla="*/ 152400 w 250031"/>
                <a:gd name="connsiteY67" fmla="*/ 192882 h 303460"/>
                <a:gd name="connsiteX68" fmla="*/ 142875 w 250031"/>
                <a:gd name="connsiteY68" fmla="*/ 214313 h 303460"/>
                <a:gd name="connsiteX69" fmla="*/ 145256 w 250031"/>
                <a:gd name="connsiteY69" fmla="*/ 221457 h 303460"/>
                <a:gd name="connsiteX70" fmla="*/ 138112 w 250031"/>
                <a:gd name="connsiteY70" fmla="*/ 245269 h 303460"/>
                <a:gd name="connsiteX71" fmla="*/ 130969 w 250031"/>
                <a:gd name="connsiteY71" fmla="*/ 250032 h 303460"/>
                <a:gd name="connsiteX72" fmla="*/ 121444 w 250031"/>
                <a:gd name="connsiteY72" fmla="*/ 247650 h 303460"/>
                <a:gd name="connsiteX73" fmla="*/ 114300 w 250031"/>
                <a:gd name="connsiteY73" fmla="*/ 242888 h 303460"/>
                <a:gd name="connsiteX74" fmla="*/ 107156 w 250031"/>
                <a:gd name="connsiteY74" fmla="*/ 240507 h 303460"/>
                <a:gd name="connsiteX75" fmla="*/ 114300 w 250031"/>
                <a:gd name="connsiteY75" fmla="*/ 257175 h 303460"/>
                <a:gd name="connsiteX76" fmla="*/ 121444 w 250031"/>
                <a:gd name="connsiteY76" fmla="*/ 271463 h 303460"/>
                <a:gd name="connsiteX77" fmla="*/ 123825 w 250031"/>
                <a:gd name="connsiteY77" fmla="*/ 280988 h 303460"/>
                <a:gd name="connsiteX78" fmla="*/ 130969 w 250031"/>
                <a:gd name="connsiteY78" fmla="*/ 283369 h 303460"/>
                <a:gd name="connsiteX79" fmla="*/ 145256 w 250031"/>
                <a:gd name="connsiteY79" fmla="*/ 290513 h 303460"/>
                <a:gd name="connsiteX80" fmla="*/ 142875 w 250031"/>
                <a:gd name="connsiteY80" fmla="*/ 302419 h 303460"/>
                <a:gd name="connsiteX81" fmla="*/ 123825 w 250031"/>
                <a:gd name="connsiteY81" fmla="*/ 300038 h 303460"/>
                <a:gd name="connsiteX82" fmla="*/ 109537 w 250031"/>
                <a:gd name="connsiteY82" fmla="*/ 290513 h 303460"/>
                <a:gd name="connsiteX83" fmla="*/ 100012 w 250031"/>
                <a:gd name="connsiteY83" fmla="*/ 276225 h 303460"/>
                <a:gd name="connsiteX84" fmla="*/ 85725 w 250031"/>
                <a:gd name="connsiteY84" fmla="*/ 266700 h 303460"/>
                <a:gd name="connsiteX85" fmla="*/ 71437 w 250031"/>
                <a:gd name="connsiteY85" fmla="*/ 261938 h 303460"/>
                <a:gd name="connsiteX86" fmla="*/ 64294 w 250031"/>
                <a:gd name="connsiteY86" fmla="*/ 259557 h 303460"/>
                <a:gd name="connsiteX87" fmla="*/ 28576 w 250031"/>
                <a:gd name="connsiteY87" fmla="*/ 247650 h 303460"/>
                <a:gd name="connsiteX88" fmla="*/ 47625 w 250031"/>
                <a:gd name="connsiteY88" fmla="*/ 242889 h 303460"/>
                <a:gd name="connsiteX89" fmla="*/ 71437 w 250031"/>
                <a:gd name="connsiteY89" fmla="*/ 252413 h 303460"/>
                <a:gd name="connsiteX90" fmla="*/ 76200 w 250031"/>
                <a:gd name="connsiteY90" fmla="*/ 250032 h 303460"/>
                <a:gd name="connsiteX91" fmla="*/ 30956 w 250031"/>
                <a:gd name="connsiteY91" fmla="*/ 235744 h 303460"/>
                <a:gd name="connsiteX92" fmla="*/ 26194 w 250031"/>
                <a:gd name="connsiteY92" fmla="*/ 230982 h 303460"/>
                <a:gd name="connsiteX0" fmla="*/ 26194 w 250031"/>
                <a:gd name="connsiteY0" fmla="*/ 230982 h 303460"/>
                <a:gd name="connsiteX1" fmla="*/ 14287 w 250031"/>
                <a:gd name="connsiteY1" fmla="*/ 221457 h 303460"/>
                <a:gd name="connsiteX2" fmla="*/ 7144 w 250031"/>
                <a:gd name="connsiteY2" fmla="*/ 216694 h 303460"/>
                <a:gd name="connsiteX3" fmla="*/ 4762 w 250031"/>
                <a:gd name="connsiteY3" fmla="*/ 209550 h 303460"/>
                <a:gd name="connsiteX4" fmla="*/ 11906 w 250031"/>
                <a:gd name="connsiteY4" fmla="*/ 195263 h 303460"/>
                <a:gd name="connsiteX5" fmla="*/ 26194 w 250031"/>
                <a:gd name="connsiteY5" fmla="*/ 190500 h 303460"/>
                <a:gd name="connsiteX6" fmla="*/ 33337 w 250031"/>
                <a:gd name="connsiteY6" fmla="*/ 183357 h 303460"/>
                <a:gd name="connsiteX7" fmla="*/ 38100 w 250031"/>
                <a:gd name="connsiteY7" fmla="*/ 173832 h 303460"/>
                <a:gd name="connsiteX8" fmla="*/ 30956 w 250031"/>
                <a:gd name="connsiteY8" fmla="*/ 171450 h 303460"/>
                <a:gd name="connsiteX9" fmla="*/ 14287 w 250031"/>
                <a:gd name="connsiteY9" fmla="*/ 166688 h 303460"/>
                <a:gd name="connsiteX10" fmla="*/ 7144 w 250031"/>
                <a:gd name="connsiteY10" fmla="*/ 161925 h 303460"/>
                <a:gd name="connsiteX11" fmla="*/ 0 w 250031"/>
                <a:gd name="connsiteY11" fmla="*/ 147638 h 303460"/>
                <a:gd name="connsiteX12" fmla="*/ 0 w 250031"/>
                <a:gd name="connsiteY12" fmla="*/ 140494 h 303460"/>
                <a:gd name="connsiteX13" fmla="*/ 7144 w 250031"/>
                <a:gd name="connsiteY13" fmla="*/ 135732 h 303460"/>
                <a:gd name="connsiteX14" fmla="*/ 9525 w 250031"/>
                <a:gd name="connsiteY14" fmla="*/ 128588 h 303460"/>
                <a:gd name="connsiteX15" fmla="*/ 9525 w 250031"/>
                <a:gd name="connsiteY15" fmla="*/ 119063 h 303460"/>
                <a:gd name="connsiteX16" fmla="*/ 14287 w 250031"/>
                <a:gd name="connsiteY16" fmla="*/ 111919 h 303460"/>
                <a:gd name="connsiteX17" fmla="*/ 28575 w 250031"/>
                <a:gd name="connsiteY17" fmla="*/ 107157 h 303460"/>
                <a:gd name="connsiteX18" fmla="*/ 30956 w 250031"/>
                <a:gd name="connsiteY18" fmla="*/ 100013 h 303460"/>
                <a:gd name="connsiteX19" fmla="*/ 26194 w 250031"/>
                <a:gd name="connsiteY19" fmla="*/ 85725 h 303460"/>
                <a:gd name="connsiteX20" fmla="*/ 35719 w 250031"/>
                <a:gd name="connsiteY20" fmla="*/ 69057 h 303460"/>
                <a:gd name="connsiteX21" fmla="*/ 47625 w 250031"/>
                <a:gd name="connsiteY21" fmla="*/ 57150 h 303460"/>
                <a:gd name="connsiteX22" fmla="*/ 57150 w 250031"/>
                <a:gd name="connsiteY22" fmla="*/ 66675 h 303460"/>
                <a:gd name="connsiteX23" fmla="*/ 71437 w 250031"/>
                <a:gd name="connsiteY23" fmla="*/ 73819 h 303460"/>
                <a:gd name="connsiteX24" fmla="*/ 76200 w 250031"/>
                <a:gd name="connsiteY24" fmla="*/ 45244 h 303460"/>
                <a:gd name="connsiteX25" fmla="*/ 73819 w 250031"/>
                <a:gd name="connsiteY25" fmla="*/ 38100 h 303460"/>
                <a:gd name="connsiteX26" fmla="*/ 59531 w 250031"/>
                <a:gd name="connsiteY26" fmla="*/ 30957 h 303460"/>
                <a:gd name="connsiteX27" fmla="*/ 52387 w 250031"/>
                <a:gd name="connsiteY27" fmla="*/ 26194 h 303460"/>
                <a:gd name="connsiteX28" fmla="*/ 54769 w 250031"/>
                <a:gd name="connsiteY28" fmla="*/ 19050 h 303460"/>
                <a:gd name="connsiteX29" fmla="*/ 57150 w 250031"/>
                <a:gd name="connsiteY29" fmla="*/ 7144 h 303460"/>
                <a:gd name="connsiteX30" fmla="*/ 78581 w 250031"/>
                <a:gd name="connsiteY30" fmla="*/ 14288 h 303460"/>
                <a:gd name="connsiteX31" fmla="*/ 85725 w 250031"/>
                <a:gd name="connsiteY31" fmla="*/ 7144 h 303460"/>
                <a:gd name="connsiteX32" fmla="*/ 102394 w 250031"/>
                <a:gd name="connsiteY32" fmla="*/ 0 h 303460"/>
                <a:gd name="connsiteX33" fmla="*/ 109537 w 250031"/>
                <a:gd name="connsiteY33" fmla="*/ 2382 h 303460"/>
                <a:gd name="connsiteX34" fmla="*/ 114300 w 250031"/>
                <a:gd name="connsiteY34" fmla="*/ 16669 h 303460"/>
                <a:gd name="connsiteX35" fmla="*/ 116681 w 250031"/>
                <a:gd name="connsiteY35" fmla="*/ 23813 h 303460"/>
                <a:gd name="connsiteX36" fmla="*/ 121444 w 250031"/>
                <a:gd name="connsiteY36" fmla="*/ 30957 h 303460"/>
                <a:gd name="connsiteX37" fmla="*/ 130969 w 250031"/>
                <a:gd name="connsiteY37" fmla="*/ 33338 h 303460"/>
                <a:gd name="connsiteX38" fmla="*/ 147637 w 250031"/>
                <a:gd name="connsiteY38" fmla="*/ 35719 h 303460"/>
                <a:gd name="connsiteX39" fmla="*/ 154781 w 250031"/>
                <a:gd name="connsiteY39" fmla="*/ 50007 h 303460"/>
                <a:gd name="connsiteX40" fmla="*/ 161925 w 250031"/>
                <a:gd name="connsiteY40" fmla="*/ 52388 h 303460"/>
                <a:gd name="connsiteX41" fmla="*/ 169069 w 250031"/>
                <a:gd name="connsiteY41" fmla="*/ 50007 h 303460"/>
                <a:gd name="connsiteX42" fmla="*/ 176212 w 250031"/>
                <a:gd name="connsiteY42" fmla="*/ 54769 h 303460"/>
                <a:gd name="connsiteX43" fmla="*/ 183356 w 250031"/>
                <a:gd name="connsiteY43" fmla="*/ 57150 h 303460"/>
                <a:gd name="connsiteX44" fmla="*/ 190500 w 250031"/>
                <a:gd name="connsiteY44" fmla="*/ 61913 h 303460"/>
                <a:gd name="connsiteX45" fmla="*/ 197644 w 250031"/>
                <a:gd name="connsiteY45" fmla="*/ 64294 h 303460"/>
                <a:gd name="connsiteX46" fmla="*/ 204787 w 250031"/>
                <a:gd name="connsiteY46" fmla="*/ 71438 h 303460"/>
                <a:gd name="connsiteX47" fmla="*/ 207169 w 250031"/>
                <a:gd name="connsiteY47" fmla="*/ 97632 h 303460"/>
                <a:gd name="connsiteX48" fmla="*/ 221456 w 250031"/>
                <a:gd name="connsiteY48" fmla="*/ 102394 h 303460"/>
                <a:gd name="connsiteX49" fmla="*/ 240506 w 250031"/>
                <a:gd name="connsiteY49" fmla="*/ 107157 h 303460"/>
                <a:gd name="connsiteX50" fmla="*/ 245269 w 250031"/>
                <a:gd name="connsiteY50" fmla="*/ 114300 h 303460"/>
                <a:gd name="connsiteX51" fmla="*/ 250031 w 250031"/>
                <a:gd name="connsiteY51" fmla="*/ 130969 h 303460"/>
                <a:gd name="connsiteX52" fmla="*/ 240506 w 250031"/>
                <a:gd name="connsiteY52" fmla="*/ 133350 h 303460"/>
                <a:gd name="connsiteX53" fmla="*/ 238125 w 250031"/>
                <a:gd name="connsiteY53" fmla="*/ 140494 h 303460"/>
                <a:gd name="connsiteX54" fmla="*/ 230981 w 250031"/>
                <a:gd name="connsiteY54" fmla="*/ 142875 h 303460"/>
                <a:gd name="connsiteX55" fmla="*/ 211931 w 250031"/>
                <a:gd name="connsiteY55" fmla="*/ 142875 h 303460"/>
                <a:gd name="connsiteX56" fmla="*/ 214312 w 250031"/>
                <a:gd name="connsiteY56" fmla="*/ 154782 h 303460"/>
                <a:gd name="connsiteX57" fmla="*/ 223837 w 250031"/>
                <a:gd name="connsiteY57" fmla="*/ 169069 h 303460"/>
                <a:gd name="connsiteX58" fmla="*/ 219075 w 250031"/>
                <a:gd name="connsiteY58" fmla="*/ 176213 h 303460"/>
                <a:gd name="connsiteX59" fmla="*/ 211931 w 250031"/>
                <a:gd name="connsiteY59" fmla="*/ 190500 h 303460"/>
                <a:gd name="connsiteX60" fmla="*/ 200025 w 250031"/>
                <a:gd name="connsiteY60" fmla="*/ 192882 h 303460"/>
                <a:gd name="connsiteX61" fmla="*/ 183356 w 250031"/>
                <a:gd name="connsiteY61" fmla="*/ 197644 h 303460"/>
                <a:gd name="connsiteX62" fmla="*/ 176212 w 250031"/>
                <a:gd name="connsiteY62" fmla="*/ 195263 h 303460"/>
                <a:gd name="connsiteX63" fmla="*/ 178594 w 250031"/>
                <a:gd name="connsiteY63" fmla="*/ 188119 h 303460"/>
                <a:gd name="connsiteX64" fmla="*/ 173831 w 250031"/>
                <a:gd name="connsiteY64" fmla="*/ 169069 h 303460"/>
                <a:gd name="connsiteX65" fmla="*/ 159544 w 250031"/>
                <a:gd name="connsiteY65" fmla="*/ 178594 h 303460"/>
                <a:gd name="connsiteX66" fmla="*/ 157162 w 250031"/>
                <a:gd name="connsiteY66" fmla="*/ 185738 h 303460"/>
                <a:gd name="connsiteX67" fmla="*/ 152400 w 250031"/>
                <a:gd name="connsiteY67" fmla="*/ 192882 h 303460"/>
                <a:gd name="connsiteX68" fmla="*/ 142875 w 250031"/>
                <a:gd name="connsiteY68" fmla="*/ 214313 h 303460"/>
                <a:gd name="connsiteX69" fmla="*/ 145256 w 250031"/>
                <a:gd name="connsiteY69" fmla="*/ 221457 h 303460"/>
                <a:gd name="connsiteX70" fmla="*/ 138112 w 250031"/>
                <a:gd name="connsiteY70" fmla="*/ 245269 h 303460"/>
                <a:gd name="connsiteX71" fmla="*/ 130969 w 250031"/>
                <a:gd name="connsiteY71" fmla="*/ 250032 h 303460"/>
                <a:gd name="connsiteX72" fmla="*/ 121444 w 250031"/>
                <a:gd name="connsiteY72" fmla="*/ 247650 h 303460"/>
                <a:gd name="connsiteX73" fmla="*/ 114300 w 250031"/>
                <a:gd name="connsiteY73" fmla="*/ 242888 h 303460"/>
                <a:gd name="connsiteX74" fmla="*/ 107156 w 250031"/>
                <a:gd name="connsiteY74" fmla="*/ 240507 h 303460"/>
                <a:gd name="connsiteX75" fmla="*/ 114300 w 250031"/>
                <a:gd name="connsiteY75" fmla="*/ 257175 h 303460"/>
                <a:gd name="connsiteX76" fmla="*/ 121444 w 250031"/>
                <a:gd name="connsiteY76" fmla="*/ 271463 h 303460"/>
                <a:gd name="connsiteX77" fmla="*/ 123825 w 250031"/>
                <a:gd name="connsiteY77" fmla="*/ 280988 h 303460"/>
                <a:gd name="connsiteX78" fmla="*/ 130969 w 250031"/>
                <a:gd name="connsiteY78" fmla="*/ 283369 h 303460"/>
                <a:gd name="connsiteX79" fmla="*/ 145256 w 250031"/>
                <a:gd name="connsiteY79" fmla="*/ 290513 h 303460"/>
                <a:gd name="connsiteX80" fmla="*/ 142875 w 250031"/>
                <a:gd name="connsiteY80" fmla="*/ 302419 h 303460"/>
                <a:gd name="connsiteX81" fmla="*/ 123825 w 250031"/>
                <a:gd name="connsiteY81" fmla="*/ 300038 h 303460"/>
                <a:gd name="connsiteX82" fmla="*/ 109537 w 250031"/>
                <a:gd name="connsiteY82" fmla="*/ 290513 h 303460"/>
                <a:gd name="connsiteX83" fmla="*/ 100012 w 250031"/>
                <a:gd name="connsiteY83" fmla="*/ 276225 h 303460"/>
                <a:gd name="connsiteX84" fmla="*/ 85725 w 250031"/>
                <a:gd name="connsiteY84" fmla="*/ 266700 h 303460"/>
                <a:gd name="connsiteX85" fmla="*/ 71437 w 250031"/>
                <a:gd name="connsiteY85" fmla="*/ 261938 h 303460"/>
                <a:gd name="connsiteX86" fmla="*/ 64294 w 250031"/>
                <a:gd name="connsiteY86" fmla="*/ 259557 h 303460"/>
                <a:gd name="connsiteX87" fmla="*/ 28576 w 250031"/>
                <a:gd name="connsiteY87" fmla="*/ 247650 h 303460"/>
                <a:gd name="connsiteX88" fmla="*/ 47625 w 250031"/>
                <a:gd name="connsiteY88" fmla="*/ 242889 h 303460"/>
                <a:gd name="connsiteX89" fmla="*/ 71437 w 250031"/>
                <a:gd name="connsiteY89" fmla="*/ 252413 h 303460"/>
                <a:gd name="connsiteX90" fmla="*/ 30956 w 250031"/>
                <a:gd name="connsiteY90" fmla="*/ 235744 h 303460"/>
                <a:gd name="connsiteX91" fmla="*/ 26194 w 250031"/>
                <a:gd name="connsiteY91" fmla="*/ 230982 h 303460"/>
                <a:gd name="connsiteX0" fmla="*/ 26194 w 250031"/>
                <a:gd name="connsiteY0" fmla="*/ 230982 h 303460"/>
                <a:gd name="connsiteX1" fmla="*/ 14287 w 250031"/>
                <a:gd name="connsiteY1" fmla="*/ 221457 h 303460"/>
                <a:gd name="connsiteX2" fmla="*/ 7144 w 250031"/>
                <a:gd name="connsiteY2" fmla="*/ 216694 h 303460"/>
                <a:gd name="connsiteX3" fmla="*/ 4762 w 250031"/>
                <a:gd name="connsiteY3" fmla="*/ 209550 h 303460"/>
                <a:gd name="connsiteX4" fmla="*/ 11906 w 250031"/>
                <a:gd name="connsiteY4" fmla="*/ 195263 h 303460"/>
                <a:gd name="connsiteX5" fmla="*/ 26194 w 250031"/>
                <a:gd name="connsiteY5" fmla="*/ 190500 h 303460"/>
                <a:gd name="connsiteX6" fmla="*/ 33337 w 250031"/>
                <a:gd name="connsiteY6" fmla="*/ 183357 h 303460"/>
                <a:gd name="connsiteX7" fmla="*/ 38100 w 250031"/>
                <a:gd name="connsiteY7" fmla="*/ 173832 h 303460"/>
                <a:gd name="connsiteX8" fmla="*/ 30956 w 250031"/>
                <a:gd name="connsiteY8" fmla="*/ 171450 h 303460"/>
                <a:gd name="connsiteX9" fmla="*/ 14287 w 250031"/>
                <a:gd name="connsiteY9" fmla="*/ 166688 h 303460"/>
                <a:gd name="connsiteX10" fmla="*/ 7144 w 250031"/>
                <a:gd name="connsiteY10" fmla="*/ 161925 h 303460"/>
                <a:gd name="connsiteX11" fmla="*/ 0 w 250031"/>
                <a:gd name="connsiteY11" fmla="*/ 147638 h 303460"/>
                <a:gd name="connsiteX12" fmla="*/ 0 w 250031"/>
                <a:gd name="connsiteY12" fmla="*/ 140494 h 303460"/>
                <a:gd name="connsiteX13" fmla="*/ 7144 w 250031"/>
                <a:gd name="connsiteY13" fmla="*/ 135732 h 303460"/>
                <a:gd name="connsiteX14" fmla="*/ 9525 w 250031"/>
                <a:gd name="connsiteY14" fmla="*/ 128588 h 303460"/>
                <a:gd name="connsiteX15" fmla="*/ 9525 w 250031"/>
                <a:gd name="connsiteY15" fmla="*/ 119063 h 303460"/>
                <a:gd name="connsiteX16" fmla="*/ 14287 w 250031"/>
                <a:gd name="connsiteY16" fmla="*/ 111919 h 303460"/>
                <a:gd name="connsiteX17" fmla="*/ 28575 w 250031"/>
                <a:gd name="connsiteY17" fmla="*/ 107157 h 303460"/>
                <a:gd name="connsiteX18" fmla="*/ 30956 w 250031"/>
                <a:gd name="connsiteY18" fmla="*/ 100013 h 303460"/>
                <a:gd name="connsiteX19" fmla="*/ 26194 w 250031"/>
                <a:gd name="connsiteY19" fmla="*/ 85725 h 303460"/>
                <a:gd name="connsiteX20" fmla="*/ 35719 w 250031"/>
                <a:gd name="connsiteY20" fmla="*/ 69057 h 303460"/>
                <a:gd name="connsiteX21" fmla="*/ 47625 w 250031"/>
                <a:gd name="connsiteY21" fmla="*/ 57150 h 303460"/>
                <a:gd name="connsiteX22" fmla="*/ 57150 w 250031"/>
                <a:gd name="connsiteY22" fmla="*/ 66675 h 303460"/>
                <a:gd name="connsiteX23" fmla="*/ 71437 w 250031"/>
                <a:gd name="connsiteY23" fmla="*/ 73819 h 303460"/>
                <a:gd name="connsiteX24" fmla="*/ 76200 w 250031"/>
                <a:gd name="connsiteY24" fmla="*/ 45244 h 303460"/>
                <a:gd name="connsiteX25" fmla="*/ 73819 w 250031"/>
                <a:gd name="connsiteY25" fmla="*/ 38100 h 303460"/>
                <a:gd name="connsiteX26" fmla="*/ 59531 w 250031"/>
                <a:gd name="connsiteY26" fmla="*/ 30957 h 303460"/>
                <a:gd name="connsiteX27" fmla="*/ 52387 w 250031"/>
                <a:gd name="connsiteY27" fmla="*/ 26194 h 303460"/>
                <a:gd name="connsiteX28" fmla="*/ 54769 w 250031"/>
                <a:gd name="connsiteY28" fmla="*/ 19050 h 303460"/>
                <a:gd name="connsiteX29" fmla="*/ 57150 w 250031"/>
                <a:gd name="connsiteY29" fmla="*/ 7144 h 303460"/>
                <a:gd name="connsiteX30" fmla="*/ 78581 w 250031"/>
                <a:gd name="connsiteY30" fmla="*/ 14288 h 303460"/>
                <a:gd name="connsiteX31" fmla="*/ 85725 w 250031"/>
                <a:gd name="connsiteY31" fmla="*/ 7144 h 303460"/>
                <a:gd name="connsiteX32" fmla="*/ 102394 w 250031"/>
                <a:gd name="connsiteY32" fmla="*/ 0 h 303460"/>
                <a:gd name="connsiteX33" fmla="*/ 109537 w 250031"/>
                <a:gd name="connsiteY33" fmla="*/ 2382 h 303460"/>
                <a:gd name="connsiteX34" fmla="*/ 114300 w 250031"/>
                <a:gd name="connsiteY34" fmla="*/ 16669 h 303460"/>
                <a:gd name="connsiteX35" fmla="*/ 116681 w 250031"/>
                <a:gd name="connsiteY35" fmla="*/ 23813 h 303460"/>
                <a:gd name="connsiteX36" fmla="*/ 121444 w 250031"/>
                <a:gd name="connsiteY36" fmla="*/ 30957 h 303460"/>
                <a:gd name="connsiteX37" fmla="*/ 130969 w 250031"/>
                <a:gd name="connsiteY37" fmla="*/ 33338 h 303460"/>
                <a:gd name="connsiteX38" fmla="*/ 147637 w 250031"/>
                <a:gd name="connsiteY38" fmla="*/ 35719 h 303460"/>
                <a:gd name="connsiteX39" fmla="*/ 154781 w 250031"/>
                <a:gd name="connsiteY39" fmla="*/ 50007 h 303460"/>
                <a:gd name="connsiteX40" fmla="*/ 161925 w 250031"/>
                <a:gd name="connsiteY40" fmla="*/ 52388 h 303460"/>
                <a:gd name="connsiteX41" fmla="*/ 169069 w 250031"/>
                <a:gd name="connsiteY41" fmla="*/ 50007 h 303460"/>
                <a:gd name="connsiteX42" fmla="*/ 176212 w 250031"/>
                <a:gd name="connsiteY42" fmla="*/ 54769 h 303460"/>
                <a:gd name="connsiteX43" fmla="*/ 183356 w 250031"/>
                <a:gd name="connsiteY43" fmla="*/ 57150 h 303460"/>
                <a:gd name="connsiteX44" fmla="*/ 190500 w 250031"/>
                <a:gd name="connsiteY44" fmla="*/ 61913 h 303460"/>
                <a:gd name="connsiteX45" fmla="*/ 197644 w 250031"/>
                <a:gd name="connsiteY45" fmla="*/ 64294 h 303460"/>
                <a:gd name="connsiteX46" fmla="*/ 204787 w 250031"/>
                <a:gd name="connsiteY46" fmla="*/ 71438 h 303460"/>
                <a:gd name="connsiteX47" fmla="*/ 207169 w 250031"/>
                <a:gd name="connsiteY47" fmla="*/ 97632 h 303460"/>
                <a:gd name="connsiteX48" fmla="*/ 221456 w 250031"/>
                <a:gd name="connsiteY48" fmla="*/ 102394 h 303460"/>
                <a:gd name="connsiteX49" fmla="*/ 240506 w 250031"/>
                <a:gd name="connsiteY49" fmla="*/ 107157 h 303460"/>
                <a:gd name="connsiteX50" fmla="*/ 245269 w 250031"/>
                <a:gd name="connsiteY50" fmla="*/ 114300 h 303460"/>
                <a:gd name="connsiteX51" fmla="*/ 250031 w 250031"/>
                <a:gd name="connsiteY51" fmla="*/ 130969 h 303460"/>
                <a:gd name="connsiteX52" fmla="*/ 240506 w 250031"/>
                <a:gd name="connsiteY52" fmla="*/ 133350 h 303460"/>
                <a:gd name="connsiteX53" fmla="*/ 238125 w 250031"/>
                <a:gd name="connsiteY53" fmla="*/ 140494 h 303460"/>
                <a:gd name="connsiteX54" fmla="*/ 230981 w 250031"/>
                <a:gd name="connsiteY54" fmla="*/ 142875 h 303460"/>
                <a:gd name="connsiteX55" fmla="*/ 211931 w 250031"/>
                <a:gd name="connsiteY55" fmla="*/ 142875 h 303460"/>
                <a:gd name="connsiteX56" fmla="*/ 214312 w 250031"/>
                <a:gd name="connsiteY56" fmla="*/ 154782 h 303460"/>
                <a:gd name="connsiteX57" fmla="*/ 223837 w 250031"/>
                <a:gd name="connsiteY57" fmla="*/ 169069 h 303460"/>
                <a:gd name="connsiteX58" fmla="*/ 219075 w 250031"/>
                <a:gd name="connsiteY58" fmla="*/ 176213 h 303460"/>
                <a:gd name="connsiteX59" fmla="*/ 211931 w 250031"/>
                <a:gd name="connsiteY59" fmla="*/ 190500 h 303460"/>
                <a:gd name="connsiteX60" fmla="*/ 200025 w 250031"/>
                <a:gd name="connsiteY60" fmla="*/ 192882 h 303460"/>
                <a:gd name="connsiteX61" fmla="*/ 183356 w 250031"/>
                <a:gd name="connsiteY61" fmla="*/ 197644 h 303460"/>
                <a:gd name="connsiteX62" fmla="*/ 176212 w 250031"/>
                <a:gd name="connsiteY62" fmla="*/ 195263 h 303460"/>
                <a:gd name="connsiteX63" fmla="*/ 178594 w 250031"/>
                <a:gd name="connsiteY63" fmla="*/ 188119 h 303460"/>
                <a:gd name="connsiteX64" fmla="*/ 173831 w 250031"/>
                <a:gd name="connsiteY64" fmla="*/ 169069 h 303460"/>
                <a:gd name="connsiteX65" fmla="*/ 159544 w 250031"/>
                <a:gd name="connsiteY65" fmla="*/ 178594 h 303460"/>
                <a:gd name="connsiteX66" fmla="*/ 157162 w 250031"/>
                <a:gd name="connsiteY66" fmla="*/ 185738 h 303460"/>
                <a:gd name="connsiteX67" fmla="*/ 152400 w 250031"/>
                <a:gd name="connsiteY67" fmla="*/ 192882 h 303460"/>
                <a:gd name="connsiteX68" fmla="*/ 142875 w 250031"/>
                <a:gd name="connsiteY68" fmla="*/ 214313 h 303460"/>
                <a:gd name="connsiteX69" fmla="*/ 145256 w 250031"/>
                <a:gd name="connsiteY69" fmla="*/ 221457 h 303460"/>
                <a:gd name="connsiteX70" fmla="*/ 138112 w 250031"/>
                <a:gd name="connsiteY70" fmla="*/ 245269 h 303460"/>
                <a:gd name="connsiteX71" fmla="*/ 130969 w 250031"/>
                <a:gd name="connsiteY71" fmla="*/ 250032 h 303460"/>
                <a:gd name="connsiteX72" fmla="*/ 121444 w 250031"/>
                <a:gd name="connsiteY72" fmla="*/ 247650 h 303460"/>
                <a:gd name="connsiteX73" fmla="*/ 114300 w 250031"/>
                <a:gd name="connsiteY73" fmla="*/ 242888 h 303460"/>
                <a:gd name="connsiteX74" fmla="*/ 107156 w 250031"/>
                <a:gd name="connsiteY74" fmla="*/ 240507 h 303460"/>
                <a:gd name="connsiteX75" fmla="*/ 114300 w 250031"/>
                <a:gd name="connsiteY75" fmla="*/ 257175 h 303460"/>
                <a:gd name="connsiteX76" fmla="*/ 121444 w 250031"/>
                <a:gd name="connsiteY76" fmla="*/ 271463 h 303460"/>
                <a:gd name="connsiteX77" fmla="*/ 123825 w 250031"/>
                <a:gd name="connsiteY77" fmla="*/ 280988 h 303460"/>
                <a:gd name="connsiteX78" fmla="*/ 130969 w 250031"/>
                <a:gd name="connsiteY78" fmla="*/ 283369 h 303460"/>
                <a:gd name="connsiteX79" fmla="*/ 145256 w 250031"/>
                <a:gd name="connsiteY79" fmla="*/ 290513 h 303460"/>
                <a:gd name="connsiteX80" fmla="*/ 142875 w 250031"/>
                <a:gd name="connsiteY80" fmla="*/ 302419 h 303460"/>
                <a:gd name="connsiteX81" fmla="*/ 123825 w 250031"/>
                <a:gd name="connsiteY81" fmla="*/ 300038 h 303460"/>
                <a:gd name="connsiteX82" fmla="*/ 109537 w 250031"/>
                <a:gd name="connsiteY82" fmla="*/ 290513 h 303460"/>
                <a:gd name="connsiteX83" fmla="*/ 100012 w 250031"/>
                <a:gd name="connsiteY83" fmla="*/ 276225 h 303460"/>
                <a:gd name="connsiteX84" fmla="*/ 85725 w 250031"/>
                <a:gd name="connsiteY84" fmla="*/ 266700 h 303460"/>
                <a:gd name="connsiteX85" fmla="*/ 71437 w 250031"/>
                <a:gd name="connsiteY85" fmla="*/ 261938 h 303460"/>
                <a:gd name="connsiteX86" fmla="*/ 64294 w 250031"/>
                <a:gd name="connsiteY86" fmla="*/ 259557 h 303460"/>
                <a:gd name="connsiteX87" fmla="*/ 28576 w 250031"/>
                <a:gd name="connsiteY87" fmla="*/ 247650 h 303460"/>
                <a:gd name="connsiteX88" fmla="*/ 47625 w 250031"/>
                <a:gd name="connsiteY88" fmla="*/ 242889 h 303460"/>
                <a:gd name="connsiteX89" fmla="*/ 30956 w 250031"/>
                <a:gd name="connsiteY89" fmla="*/ 235744 h 303460"/>
                <a:gd name="connsiteX90" fmla="*/ 26194 w 250031"/>
                <a:gd name="connsiteY90" fmla="*/ 230982 h 303460"/>
                <a:gd name="connsiteX0" fmla="*/ 26194 w 250031"/>
                <a:gd name="connsiteY0" fmla="*/ 230982 h 303460"/>
                <a:gd name="connsiteX1" fmla="*/ 14287 w 250031"/>
                <a:gd name="connsiteY1" fmla="*/ 221457 h 303460"/>
                <a:gd name="connsiteX2" fmla="*/ 7144 w 250031"/>
                <a:gd name="connsiteY2" fmla="*/ 216694 h 303460"/>
                <a:gd name="connsiteX3" fmla="*/ 4762 w 250031"/>
                <a:gd name="connsiteY3" fmla="*/ 209550 h 303460"/>
                <a:gd name="connsiteX4" fmla="*/ 11906 w 250031"/>
                <a:gd name="connsiteY4" fmla="*/ 195263 h 303460"/>
                <a:gd name="connsiteX5" fmla="*/ 26194 w 250031"/>
                <a:gd name="connsiteY5" fmla="*/ 190500 h 303460"/>
                <a:gd name="connsiteX6" fmla="*/ 33337 w 250031"/>
                <a:gd name="connsiteY6" fmla="*/ 183357 h 303460"/>
                <a:gd name="connsiteX7" fmla="*/ 38100 w 250031"/>
                <a:gd name="connsiteY7" fmla="*/ 173832 h 303460"/>
                <a:gd name="connsiteX8" fmla="*/ 30956 w 250031"/>
                <a:gd name="connsiteY8" fmla="*/ 171450 h 303460"/>
                <a:gd name="connsiteX9" fmla="*/ 14287 w 250031"/>
                <a:gd name="connsiteY9" fmla="*/ 166688 h 303460"/>
                <a:gd name="connsiteX10" fmla="*/ 7144 w 250031"/>
                <a:gd name="connsiteY10" fmla="*/ 161925 h 303460"/>
                <a:gd name="connsiteX11" fmla="*/ 0 w 250031"/>
                <a:gd name="connsiteY11" fmla="*/ 147638 h 303460"/>
                <a:gd name="connsiteX12" fmla="*/ 0 w 250031"/>
                <a:gd name="connsiteY12" fmla="*/ 140494 h 303460"/>
                <a:gd name="connsiteX13" fmla="*/ 7144 w 250031"/>
                <a:gd name="connsiteY13" fmla="*/ 135732 h 303460"/>
                <a:gd name="connsiteX14" fmla="*/ 9525 w 250031"/>
                <a:gd name="connsiteY14" fmla="*/ 128588 h 303460"/>
                <a:gd name="connsiteX15" fmla="*/ 9525 w 250031"/>
                <a:gd name="connsiteY15" fmla="*/ 119063 h 303460"/>
                <a:gd name="connsiteX16" fmla="*/ 14287 w 250031"/>
                <a:gd name="connsiteY16" fmla="*/ 111919 h 303460"/>
                <a:gd name="connsiteX17" fmla="*/ 28575 w 250031"/>
                <a:gd name="connsiteY17" fmla="*/ 107157 h 303460"/>
                <a:gd name="connsiteX18" fmla="*/ 30956 w 250031"/>
                <a:gd name="connsiteY18" fmla="*/ 100013 h 303460"/>
                <a:gd name="connsiteX19" fmla="*/ 26194 w 250031"/>
                <a:gd name="connsiteY19" fmla="*/ 85725 h 303460"/>
                <a:gd name="connsiteX20" fmla="*/ 35719 w 250031"/>
                <a:gd name="connsiteY20" fmla="*/ 69057 h 303460"/>
                <a:gd name="connsiteX21" fmla="*/ 47625 w 250031"/>
                <a:gd name="connsiteY21" fmla="*/ 57150 h 303460"/>
                <a:gd name="connsiteX22" fmla="*/ 57150 w 250031"/>
                <a:gd name="connsiteY22" fmla="*/ 66675 h 303460"/>
                <a:gd name="connsiteX23" fmla="*/ 71437 w 250031"/>
                <a:gd name="connsiteY23" fmla="*/ 73819 h 303460"/>
                <a:gd name="connsiteX24" fmla="*/ 76200 w 250031"/>
                <a:gd name="connsiteY24" fmla="*/ 45244 h 303460"/>
                <a:gd name="connsiteX25" fmla="*/ 73819 w 250031"/>
                <a:gd name="connsiteY25" fmla="*/ 38100 h 303460"/>
                <a:gd name="connsiteX26" fmla="*/ 59531 w 250031"/>
                <a:gd name="connsiteY26" fmla="*/ 30957 h 303460"/>
                <a:gd name="connsiteX27" fmla="*/ 52387 w 250031"/>
                <a:gd name="connsiteY27" fmla="*/ 26194 h 303460"/>
                <a:gd name="connsiteX28" fmla="*/ 54769 w 250031"/>
                <a:gd name="connsiteY28" fmla="*/ 19050 h 303460"/>
                <a:gd name="connsiteX29" fmla="*/ 57150 w 250031"/>
                <a:gd name="connsiteY29" fmla="*/ 7144 h 303460"/>
                <a:gd name="connsiteX30" fmla="*/ 78581 w 250031"/>
                <a:gd name="connsiteY30" fmla="*/ 14288 h 303460"/>
                <a:gd name="connsiteX31" fmla="*/ 85725 w 250031"/>
                <a:gd name="connsiteY31" fmla="*/ 7144 h 303460"/>
                <a:gd name="connsiteX32" fmla="*/ 102394 w 250031"/>
                <a:gd name="connsiteY32" fmla="*/ 0 h 303460"/>
                <a:gd name="connsiteX33" fmla="*/ 109537 w 250031"/>
                <a:gd name="connsiteY33" fmla="*/ 2382 h 303460"/>
                <a:gd name="connsiteX34" fmla="*/ 114300 w 250031"/>
                <a:gd name="connsiteY34" fmla="*/ 16669 h 303460"/>
                <a:gd name="connsiteX35" fmla="*/ 116681 w 250031"/>
                <a:gd name="connsiteY35" fmla="*/ 23813 h 303460"/>
                <a:gd name="connsiteX36" fmla="*/ 121444 w 250031"/>
                <a:gd name="connsiteY36" fmla="*/ 30957 h 303460"/>
                <a:gd name="connsiteX37" fmla="*/ 130969 w 250031"/>
                <a:gd name="connsiteY37" fmla="*/ 33338 h 303460"/>
                <a:gd name="connsiteX38" fmla="*/ 147637 w 250031"/>
                <a:gd name="connsiteY38" fmla="*/ 35719 h 303460"/>
                <a:gd name="connsiteX39" fmla="*/ 154781 w 250031"/>
                <a:gd name="connsiteY39" fmla="*/ 50007 h 303460"/>
                <a:gd name="connsiteX40" fmla="*/ 161925 w 250031"/>
                <a:gd name="connsiteY40" fmla="*/ 52388 h 303460"/>
                <a:gd name="connsiteX41" fmla="*/ 169069 w 250031"/>
                <a:gd name="connsiteY41" fmla="*/ 50007 h 303460"/>
                <a:gd name="connsiteX42" fmla="*/ 176212 w 250031"/>
                <a:gd name="connsiteY42" fmla="*/ 54769 h 303460"/>
                <a:gd name="connsiteX43" fmla="*/ 183356 w 250031"/>
                <a:gd name="connsiteY43" fmla="*/ 57150 h 303460"/>
                <a:gd name="connsiteX44" fmla="*/ 190500 w 250031"/>
                <a:gd name="connsiteY44" fmla="*/ 61913 h 303460"/>
                <a:gd name="connsiteX45" fmla="*/ 197644 w 250031"/>
                <a:gd name="connsiteY45" fmla="*/ 64294 h 303460"/>
                <a:gd name="connsiteX46" fmla="*/ 204787 w 250031"/>
                <a:gd name="connsiteY46" fmla="*/ 71438 h 303460"/>
                <a:gd name="connsiteX47" fmla="*/ 207169 w 250031"/>
                <a:gd name="connsiteY47" fmla="*/ 97632 h 303460"/>
                <a:gd name="connsiteX48" fmla="*/ 221456 w 250031"/>
                <a:gd name="connsiteY48" fmla="*/ 102394 h 303460"/>
                <a:gd name="connsiteX49" fmla="*/ 240506 w 250031"/>
                <a:gd name="connsiteY49" fmla="*/ 107157 h 303460"/>
                <a:gd name="connsiteX50" fmla="*/ 245269 w 250031"/>
                <a:gd name="connsiteY50" fmla="*/ 114300 h 303460"/>
                <a:gd name="connsiteX51" fmla="*/ 250031 w 250031"/>
                <a:gd name="connsiteY51" fmla="*/ 130969 h 303460"/>
                <a:gd name="connsiteX52" fmla="*/ 240506 w 250031"/>
                <a:gd name="connsiteY52" fmla="*/ 133350 h 303460"/>
                <a:gd name="connsiteX53" fmla="*/ 238125 w 250031"/>
                <a:gd name="connsiteY53" fmla="*/ 140494 h 303460"/>
                <a:gd name="connsiteX54" fmla="*/ 230981 w 250031"/>
                <a:gd name="connsiteY54" fmla="*/ 142875 h 303460"/>
                <a:gd name="connsiteX55" fmla="*/ 211931 w 250031"/>
                <a:gd name="connsiteY55" fmla="*/ 142875 h 303460"/>
                <a:gd name="connsiteX56" fmla="*/ 214312 w 250031"/>
                <a:gd name="connsiteY56" fmla="*/ 154782 h 303460"/>
                <a:gd name="connsiteX57" fmla="*/ 223837 w 250031"/>
                <a:gd name="connsiteY57" fmla="*/ 169069 h 303460"/>
                <a:gd name="connsiteX58" fmla="*/ 219075 w 250031"/>
                <a:gd name="connsiteY58" fmla="*/ 176213 h 303460"/>
                <a:gd name="connsiteX59" fmla="*/ 211931 w 250031"/>
                <a:gd name="connsiteY59" fmla="*/ 190500 h 303460"/>
                <a:gd name="connsiteX60" fmla="*/ 200025 w 250031"/>
                <a:gd name="connsiteY60" fmla="*/ 192882 h 303460"/>
                <a:gd name="connsiteX61" fmla="*/ 183356 w 250031"/>
                <a:gd name="connsiteY61" fmla="*/ 197644 h 303460"/>
                <a:gd name="connsiteX62" fmla="*/ 176212 w 250031"/>
                <a:gd name="connsiteY62" fmla="*/ 195263 h 303460"/>
                <a:gd name="connsiteX63" fmla="*/ 178594 w 250031"/>
                <a:gd name="connsiteY63" fmla="*/ 188119 h 303460"/>
                <a:gd name="connsiteX64" fmla="*/ 173831 w 250031"/>
                <a:gd name="connsiteY64" fmla="*/ 169069 h 303460"/>
                <a:gd name="connsiteX65" fmla="*/ 159544 w 250031"/>
                <a:gd name="connsiteY65" fmla="*/ 178594 h 303460"/>
                <a:gd name="connsiteX66" fmla="*/ 157162 w 250031"/>
                <a:gd name="connsiteY66" fmla="*/ 185738 h 303460"/>
                <a:gd name="connsiteX67" fmla="*/ 152400 w 250031"/>
                <a:gd name="connsiteY67" fmla="*/ 192882 h 303460"/>
                <a:gd name="connsiteX68" fmla="*/ 142875 w 250031"/>
                <a:gd name="connsiteY68" fmla="*/ 214313 h 303460"/>
                <a:gd name="connsiteX69" fmla="*/ 145256 w 250031"/>
                <a:gd name="connsiteY69" fmla="*/ 221457 h 303460"/>
                <a:gd name="connsiteX70" fmla="*/ 138112 w 250031"/>
                <a:gd name="connsiteY70" fmla="*/ 245269 h 303460"/>
                <a:gd name="connsiteX71" fmla="*/ 130969 w 250031"/>
                <a:gd name="connsiteY71" fmla="*/ 250032 h 303460"/>
                <a:gd name="connsiteX72" fmla="*/ 121444 w 250031"/>
                <a:gd name="connsiteY72" fmla="*/ 247650 h 303460"/>
                <a:gd name="connsiteX73" fmla="*/ 114300 w 250031"/>
                <a:gd name="connsiteY73" fmla="*/ 242888 h 303460"/>
                <a:gd name="connsiteX74" fmla="*/ 107156 w 250031"/>
                <a:gd name="connsiteY74" fmla="*/ 240507 h 303460"/>
                <a:gd name="connsiteX75" fmla="*/ 114300 w 250031"/>
                <a:gd name="connsiteY75" fmla="*/ 257175 h 303460"/>
                <a:gd name="connsiteX76" fmla="*/ 121444 w 250031"/>
                <a:gd name="connsiteY76" fmla="*/ 271463 h 303460"/>
                <a:gd name="connsiteX77" fmla="*/ 123825 w 250031"/>
                <a:gd name="connsiteY77" fmla="*/ 280988 h 303460"/>
                <a:gd name="connsiteX78" fmla="*/ 130969 w 250031"/>
                <a:gd name="connsiteY78" fmla="*/ 283369 h 303460"/>
                <a:gd name="connsiteX79" fmla="*/ 145256 w 250031"/>
                <a:gd name="connsiteY79" fmla="*/ 290513 h 303460"/>
                <a:gd name="connsiteX80" fmla="*/ 142875 w 250031"/>
                <a:gd name="connsiteY80" fmla="*/ 302419 h 303460"/>
                <a:gd name="connsiteX81" fmla="*/ 123825 w 250031"/>
                <a:gd name="connsiteY81" fmla="*/ 300038 h 303460"/>
                <a:gd name="connsiteX82" fmla="*/ 109537 w 250031"/>
                <a:gd name="connsiteY82" fmla="*/ 290513 h 303460"/>
                <a:gd name="connsiteX83" fmla="*/ 100012 w 250031"/>
                <a:gd name="connsiteY83" fmla="*/ 276225 h 303460"/>
                <a:gd name="connsiteX84" fmla="*/ 85725 w 250031"/>
                <a:gd name="connsiteY84" fmla="*/ 266700 h 303460"/>
                <a:gd name="connsiteX85" fmla="*/ 71437 w 250031"/>
                <a:gd name="connsiteY85" fmla="*/ 261938 h 303460"/>
                <a:gd name="connsiteX86" fmla="*/ 66675 w 250031"/>
                <a:gd name="connsiteY86" fmla="*/ 247651 h 303460"/>
                <a:gd name="connsiteX87" fmla="*/ 28576 w 250031"/>
                <a:gd name="connsiteY87" fmla="*/ 247650 h 303460"/>
                <a:gd name="connsiteX88" fmla="*/ 47625 w 250031"/>
                <a:gd name="connsiteY88" fmla="*/ 242889 h 303460"/>
                <a:gd name="connsiteX89" fmla="*/ 30956 w 250031"/>
                <a:gd name="connsiteY89" fmla="*/ 235744 h 303460"/>
                <a:gd name="connsiteX90" fmla="*/ 26194 w 250031"/>
                <a:gd name="connsiteY90" fmla="*/ 230982 h 303460"/>
                <a:gd name="connsiteX0" fmla="*/ 26194 w 250031"/>
                <a:gd name="connsiteY0" fmla="*/ 230982 h 303460"/>
                <a:gd name="connsiteX1" fmla="*/ 14287 w 250031"/>
                <a:gd name="connsiteY1" fmla="*/ 221457 h 303460"/>
                <a:gd name="connsiteX2" fmla="*/ 7144 w 250031"/>
                <a:gd name="connsiteY2" fmla="*/ 216694 h 303460"/>
                <a:gd name="connsiteX3" fmla="*/ 4762 w 250031"/>
                <a:gd name="connsiteY3" fmla="*/ 209550 h 303460"/>
                <a:gd name="connsiteX4" fmla="*/ 11906 w 250031"/>
                <a:gd name="connsiteY4" fmla="*/ 195263 h 303460"/>
                <a:gd name="connsiteX5" fmla="*/ 26194 w 250031"/>
                <a:gd name="connsiteY5" fmla="*/ 190500 h 303460"/>
                <a:gd name="connsiteX6" fmla="*/ 33337 w 250031"/>
                <a:gd name="connsiteY6" fmla="*/ 183357 h 303460"/>
                <a:gd name="connsiteX7" fmla="*/ 38100 w 250031"/>
                <a:gd name="connsiteY7" fmla="*/ 173832 h 303460"/>
                <a:gd name="connsiteX8" fmla="*/ 30956 w 250031"/>
                <a:gd name="connsiteY8" fmla="*/ 171450 h 303460"/>
                <a:gd name="connsiteX9" fmla="*/ 14287 w 250031"/>
                <a:gd name="connsiteY9" fmla="*/ 166688 h 303460"/>
                <a:gd name="connsiteX10" fmla="*/ 7144 w 250031"/>
                <a:gd name="connsiteY10" fmla="*/ 161925 h 303460"/>
                <a:gd name="connsiteX11" fmla="*/ 0 w 250031"/>
                <a:gd name="connsiteY11" fmla="*/ 147638 h 303460"/>
                <a:gd name="connsiteX12" fmla="*/ 0 w 250031"/>
                <a:gd name="connsiteY12" fmla="*/ 140494 h 303460"/>
                <a:gd name="connsiteX13" fmla="*/ 7144 w 250031"/>
                <a:gd name="connsiteY13" fmla="*/ 135732 h 303460"/>
                <a:gd name="connsiteX14" fmla="*/ 9525 w 250031"/>
                <a:gd name="connsiteY14" fmla="*/ 128588 h 303460"/>
                <a:gd name="connsiteX15" fmla="*/ 9525 w 250031"/>
                <a:gd name="connsiteY15" fmla="*/ 119063 h 303460"/>
                <a:gd name="connsiteX16" fmla="*/ 14287 w 250031"/>
                <a:gd name="connsiteY16" fmla="*/ 111919 h 303460"/>
                <a:gd name="connsiteX17" fmla="*/ 28575 w 250031"/>
                <a:gd name="connsiteY17" fmla="*/ 107157 h 303460"/>
                <a:gd name="connsiteX18" fmla="*/ 30956 w 250031"/>
                <a:gd name="connsiteY18" fmla="*/ 100013 h 303460"/>
                <a:gd name="connsiteX19" fmla="*/ 26194 w 250031"/>
                <a:gd name="connsiteY19" fmla="*/ 85725 h 303460"/>
                <a:gd name="connsiteX20" fmla="*/ 35719 w 250031"/>
                <a:gd name="connsiteY20" fmla="*/ 69057 h 303460"/>
                <a:gd name="connsiteX21" fmla="*/ 47625 w 250031"/>
                <a:gd name="connsiteY21" fmla="*/ 57150 h 303460"/>
                <a:gd name="connsiteX22" fmla="*/ 57150 w 250031"/>
                <a:gd name="connsiteY22" fmla="*/ 66675 h 303460"/>
                <a:gd name="connsiteX23" fmla="*/ 71437 w 250031"/>
                <a:gd name="connsiteY23" fmla="*/ 73819 h 303460"/>
                <a:gd name="connsiteX24" fmla="*/ 76200 w 250031"/>
                <a:gd name="connsiteY24" fmla="*/ 45244 h 303460"/>
                <a:gd name="connsiteX25" fmla="*/ 73819 w 250031"/>
                <a:gd name="connsiteY25" fmla="*/ 38100 h 303460"/>
                <a:gd name="connsiteX26" fmla="*/ 59531 w 250031"/>
                <a:gd name="connsiteY26" fmla="*/ 30957 h 303460"/>
                <a:gd name="connsiteX27" fmla="*/ 52387 w 250031"/>
                <a:gd name="connsiteY27" fmla="*/ 26194 h 303460"/>
                <a:gd name="connsiteX28" fmla="*/ 54769 w 250031"/>
                <a:gd name="connsiteY28" fmla="*/ 19050 h 303460"/>
                <a:gd name="connsiteX29" fmla="*/ 57150 w 250031"/>
                <a:gd name="connsiteY29" fmla="*/ 7144 h 303460"/>
                <a:gd name="connsiteX30" fmla="*/ 78581 w 250031"/>
                <a:gd name="connsiteY30" fmla="*/ 14288 h 303460"/>
                <a:gd name="connsiteX31" fmla="*/ 85725 w 250031"/>
                <a:gd name="connsiteY31" fmla="*/ 7144 h 303460"/>
                <a:gd name="connsiteX32" fmla="*/ 102394 w 250031"/>
                <a:gd name="connsiteY32" fmla="*/ 0 h 303460"/>
                <a:gd name="connsiteX33" fmla="*/ 109537 w 250031"/>
                <a:gd name="connsiteY33" fmla="*/ 2382 h 303460"/>
                <a:gd name="connsiteX34" fmla="*/ 114300 w 250031"/>
                <a:gd name="connsiteY34" fmla="*/ 16669 h 303460"/>
                <a:gd name="connsiteX35" fmla="*/ 116681 w 250031"/>
                <a:gd name="connsiteY35" fmla="*/ 23813 h 303460"/>
                <a:gd name="connsiteX36" fmla="*/ 121444 w 250031"/>
                <a:gd name="connsiteY36" fmla="*/ 30957 h 303460"/>
                <a:gd name="connsiteX37" fmla="*/ 130969 w 250031"/>
                <a:gd name="connsiteY37" fmla="*/ 33338 h 303460"/>
                <a:gd name="connsiteX38" fmla="*/ 147637 w 250031"/>
                <a:gd name="connsiteY38" fmla="*/ 35719 h 303460"/>
                <a:gd name="connsiteX39" fmla="*/ 154781 w 250031"/>
                <a:gd name="connsiteY39" fmla="*/ 50007 h 303460"/>
                <a:gd name="connsiteX40" fmla="*/ 161925 w 250031"/>
                <a:gd name="connsiteY40" fmla="*/ 52388 h 303460"/>
                <a:gd name="connsiteX41" fmla="*/ 169069 w 250031"/>
                <a:gd name="connsiteY41" fmla="*/ 50007 h 303460"/>
                <a:gd name="connsiteX42" fmla="*/ 176212 w 250031"/>
                <a:gd name="connsiteY42" fmla="*/ 54769 h 303460"/>
                <a:gd name="connsiteX43" fmla="*/ 183356 w 250031"/>
                <a:gd name="connsiteY43" fmla="*/ 57150 h 303460"/>
                <a:gd name="connsiteX44" fmla="*/ 190500 w 250031"/>
                <a:gd name="connsiteY44" fmla="*/ 61913 h 303460"/>
                <a:gd name="connsiteX45" fmla="*/ 197644 w 250031"/>
                <a:gd name="connsiteY45" fmla="*/ 64294 h 303460"/>
                <a:gd name="connsiteX46" fmla="*/ 204787 w 250031"/>
                <a:gd name="connsiteY46" fmla="*/ 71438 h 303460"/>
                <a:gd name="connsiteX47" fmla="*/ 207169 w 250031"/>
                <a:gd name="connsiteY47" fmla="*/ 97632 h 303460"/>
                <a:gd name="connsiteX48" fmla="*/ 221456 w 250031"/>
                <a:gd name="connsiteY48" fmla="*/ 102394 h 303460"/>
                <a:gd name="connsiteX49" fmla="*/ 240506 w 250031"/>
                <a:gd name="connsiteY49" fmla="*/ 107157 h 303460"/>
                <a:gd name="connsiteX50" fmla="*/ 245269 w 250031"/>
                <a:gd name="connsiteY50" fmla="*/ 114300 h 303460"/>
                <a:gd name="connsiteX51" fmla="*/ 250031 w 250031"/>
                <a:gd name="connsiteY51" fmla="*/ 130969 h 303460"/>
                <a:gd name="connsiteX52" fmla="*/ 240506 w 250031"/>
                <a:gd name="connsiteY52" fmla="*/ 133350 h 303460"/>
                <a:gd name="connsiteX53" fmla="*/ 238125 w 250031"/>
                <a:gd name="connsiteY53" fmla="*/ 140494 h 303460"/>
                <a:gd name="connsiteX54" fmla="*/ 230981 w 250031"/>
                <a:gd name="connsiteY54" fmla="*/ 142875 h 303460"/>
                <a:gd name="connsiteX55" fmla="*/ 211931 w 250031"/>
                <a:gd name="connsiteY55" fmla="*/ 142875 h 303460"/>
                <a:gd name="connsiteX56" fmla="*/ 214312 w 250031"/>
                <a:gd name="connsiteY56" fmla="*/ 154782 h 303460"/>
                <a:gd name="connsiteX57" fmla="*/ 223837 w 250031"/>
                <a:gd name="connsiteY57" fmla="*/ 169069 h 303460"/>
                <a:gd name="connsiteX58" fmla="*/ 219075 w 250031"/>
                <a:gd name="connsiteY58" fmla="*/ 176213 h 303460"/>
                <a:gd name="connsiteX59" fmla="*/ 211931 w 250031"/>
                <a:gd name="connsiteY59" fmla="*/ 190500 h 303460"/>
                <a:gd name="connsiteX60" fmla="*/ 200025 w 250031"/>
                <a:gd name="connsiteY60" fmla="*/ 192882 h 303460"/>
                <a:gd name="connsiteX61" fmla="*/ 183356 w 250031"/>
                <a:gd name="connsiteY61" fmla="*/ 197644 h 303460"/>
                <a:gd name="connsiteX62" fmla="*/ 176212 w 250031"/>
                <a:gd name="connsiteY62" fmla="*/ 195263 h 303460"/>
                <a:gd name="connsiteX63" fmla="*/ 178594 w 250031"/>
                <a:gd name="connsiteY63" fmla="*/ 188119 h 303460"/>
                <a:gd name="connsiteX64" fmla="*/ 173831 w 250031"/>
                <a:gd name="connsiteY64" fmla="*/ 169069 h 303460"/>
                <a:gd name="connsiteX65" fmla="*/ 159544 w 250031"/>
                <a:gd name="connsiteY65" fmla="*/ 178594 h 303460"/>
                <a:gd name="connsiteX66" fmla="*/ 157162 w 250031"/>
                <a:gd name="connsiteY66" fmla="*/ 185738 h 303460"/>
                <a:gd name="connsiteX67" fmla="*/ 152400 w 250031"/>
                <a:gd name="connsiteY67" fmla="*/ 192882 h 303460"/>
                <a:gd name="connsiteX68" fmla="*/ 142875 w 250031"/>
                <a:gd name="connsiteY68" fmla="*/ 214313 h 303460"/>
                <a:gd name="connsiteX69" fmla="*/ 145256 w 250031"/>
                <a:gd name="connsiteY69" fmla="*/ 221457 h 303460"/>
                <a:gd name="connsiteX70" fmla="*/ 138112 w 250031"/>
                <a:gd name="connsiteY70" fmla="*/ 245269 h 303460"/>
                <a:gd name="connsiteX71" fmla="*/ 130969 w 250031"/>
                <a:gd name="connsiteY71" fmla="*/ 250032 h 303460"/>
                <a:gd name="connsiteX72" fmla="*/ 121444 w 250031"/>
                <a:gd name="connsiteY72" fmla="*/ 247650 h 303460"/>
                <a:gd name="connsiteX73" fmla="*/ 114300 w 250031"/>
                <a:gd name="connsiteY73" fmla="*/ 242888 h 303460"/>
                <a:gd name="connsiteX74" fmla="*/ 107156 w 250031"/>
                <a:gd name="connsiteY74" fmla="*/ 240507 h 303460"/>
                <a:gd name="connsiteX75" fmla="*/ 114300 w 250031"/>
                <a:gd name="connsiteY75" fmla="*/ 257175 h 303460"/>
                <a:gd name="connsiteX76" fmla="*/ 121444 w 250031"/>
                <a:gd name="connsiteY76" fmla="*/ 271463 h 303460"/>
                <a:gd name="connsiteX77" fmla="*/ 123825 w 250031"/>
                <a:gd name="connsiteY77" fmla="*/ 280988 h 303460"/>
                <a:gd name="connsiteX78" fmla="*/ 130969 w 250031"/>
                <a:gd name="connsiteY78" fmla="*/ 283369 h 303460"/>
                <a:gd name="connsiteX79" fmla="*/ 145256 w 250031"/>
                <a:gd name="connsiteY79" fmla="*/ 290513 h 303460"/>
                <a:gd name="connsiteX80" fmla="*/ 142875 w 250031"/>
                <a:gd name="connsiteY80" fmla="*/ 302419 h 303460"/>
                <a:gd name="connsiteX81" fmla="*/ 123825 w 250031"/>
                <a:gd name="connsiteY81" fmla="*/ 300038 h 303460"/>
                <a:gd name="connsiteX82" fmla="*/ 109537 w 250031"/>
                <a:gd name="connsiteY82" fmla="*/ 290513 h 303460"/>
                <a:gd name="connsiteX83" fmla="*/ 100012 w 250031"/>
                <a:gd name="connsiteY83" fmla="*/ 276225 h 303460"/>
                <a:gd name="connsiteX84" fmla="*/ 85725 w 250031"/>
                <a:gd name="connsiteY84" fmla="*/ 266700 h 303460"/>
                <a:gd name="connsiteX85" fmla="*/ 59531 w 250031"/>
                <a:gd name="connsiteY85" fmla="*/ 266701 h 303460"/>
                <a:gd name="connsiteX86" fmla="*/ 66675 w 250031"/>
                <a:gd name="connsiteY86" fmla="*/ 247651 h 303460"/>
                <a:gd name="connsiteX87" fmla="*/ 28576 w 250031"/>
                <a:gd name="connsiteY87" fmla="*/ 247650 h 303460"/>
                <a:gd name="connsiteX88" fmla="*/ 47625 w 250031"/>
                <a:gd name="connsiteY88" fmla="*/ 242889 h 303460"/>
                <a:gd name="connsiteX89" fmla="*/ 30956 w 250031"/>
                <a:gd name="connsiteY89" fmla="*/ 235744 h 303460"/>
                <a:gd name="connsiteX90" fmla="*/ 26194 w 250031"/>
                <a:gd name="connsiteY90" fmla="*/ 230982 h 303460"/>
                <a:gd name="connsiteX0" fmla="*/ 26194 w 250031"/>
                <a:gd name="connsiteY0" fmla="*/ 230982 h 303460"/>
                <a:gd name="connsiteX1" fmla="*/ 14287 w 250031"/>
                <a:gd name="connsiteY1" fmla="*/ 221457 h 303460"/>
                <a:gd name="connsiteX2" fmla="*/ 7144 w 250031"/>
                <a:gd name="connsiteY2" fmla="*/ 216694 h 303460"/>
                <a:gd name="connsiteX3" fmla="*/ 4762 w 250031"/>
                <a:gd name="connsiteY3" fmla="*/ 209550 h 303460"/>
                <a:gd name="connsiteX4" fmla="*/ 11906 w 250031"/>
                <a:gd name="connsiteY4" fmla="*/ 195263 h 303460"/>
                <a:gd name="connsiteX5" fmla="*/ 26194 w 250031"/>
                <a:gd name="connsiteY5" fmla="*/ 190500 h 303460"/>
                <a:gd name="connsiteX6" fmla="*/ 33337 w 250031"/>
                <a:gd name="connsiteY6" fmla="*/ 183357 h 303460"/>
                <a:gd name="connsiteX7" fmla="*/ 38100 w 250031"/>
                <a:gd name="connsiteY7" fmla="*/ 173832 h 303460"/>
                <a:gd name="connsiteX8" fmla="*/ 30956 w 250031"/>
                <a:gd name="connsiteY8" fmla="*/ 171450 h 303460"/>
                <a:gd name="connsiteX9" fmla="*/ 14287 w 250031"/>
                <a:gd name="connsiteY9" fmla="*/ 166688 h 303460"/>
                <a:gd name="connsiteX10" fmla="*/ 7144 w 250031"/>
                <a:gd name="connsiteY10" fmla="*/ 161925 h 303460"/>
                <a:gd name="connsiteX11" fmla="*/ 0 w 250031"/>
                <a:gd name="connsiteY11" fmla="*/ 147638 h 303460"/>
                <a:gd name="connsiteX12" fmla="*/ 0 w 250031"/>
                <a:gd name="connsiteY12" fmla="*/ 140494 h 303460"/>
                <a:gd name="connsiteX13" fmla="*/ 7144 w 250031"/>
                <a:gd name="connsiteY13" fmla="*/ 135732 h 303460"/>
                <a:gd name="connsiteX14" fmla="*/ 9525 w 250031"/>
                <a:gd name="connsiteY14" fmla="*/ 128588 h 303460"/>
                <a:gd name="connsiteX15" fmla="*/ 9525 w 250031"/>
                <a:gd name="connsiteY15" fmla="*/ 119063 h 303460"/>
                <a:gd name="connsiteX16" fmla="*/ 14287 w 250031"/>
                <a:gd name="connsiteY16" fmla="*/ 111919 h 303460"/>
                <a:gd name="connsiteX17" fmla="*/ 28575 w 250031"/>
                <a:gd name="connsiteY17" fmla="*/ 107157 h 303460"/>
                <a:gd name="connsiteX18" fmla="*/ 30956 w 250031"/>
                <a:gd name="connsiteY18" fmla="*/ 100013 h 303460"/>
                <a:gd name="connsiteX19" fmla="*/ 26194 w 250031"/>
                <a:gd name="connsiteY19" fmla="*/ 85725 h 303460"/>
                <a:gd name="connsiteX20" fmla="*/ 35719 w 250031"/>
                <a:gd name="connsiteY20" fmla="*/ 69057 h 303460"/>
                <a:gd name="connsiteX21" fmla="*/ 47625 w 250031"/>
                <a:gd name="connsiteY21" fmla="*/ 57150 h 303460"/>
                <a:gd name="connsiteX22" fmla="*/ 57150 w 250031"/>
                <a:gd name="connsiteY22" fmla="*/ 66675 h 303460"/>
                <a:gd name="connsiteX23" fmla="*/ 71437 w 250031"/>
                <a:gd name="connsiteY23" fmla="*/ 73819 h 303460"/>
                <a:gd name="connsiteX24" fmla="*/ 76200 w 250031"/>
                <a:gd name="connsiteY24" fmla="*/ 45244 h 303460"/>
                <a:gd name="connsiteX25" fmla="*/ 73819 w 250031"/>
                <a:gd name="connsiteY25" fmla="*/ 38100 h 303460"/>
                <a:gd name="connsiteX26" fmla="*/ 59531 w 250031"/>
                <a:gd name="connsiteY26" fmla="*/ 30957 h 303460"/>
                <a:gd name="connsiteX27" fmla="*/ 52387 w 250031"/>
                <a:gd name="connsiteY27" fmla="*/ 26194 h 303460"/>
                <a:gd name="connsiteX28" fmla="*/ 54769 w 250031"/>
                <a:gd name="connsiteY28" fmla="*/ 19050 h 303460"/>
                <a:gd name="connsiteX29" fmla="*/ 57150 w 250031"/>
                <a:gd name="connsiteY29" fmla="*/ 7144 h 303460"/>
                <a:gd name="connsiteX30" fmla="*/ 78581 w 250031"/>
                <a:gd name="connsiteY30" fmla="*/ 14288 h 303460"/>
                <a:gd name="connsiteX31" fmla="*/ 85725 w 250031"/>
                <a:gd name="connsiteY31" fmla="*/ 7144 h 303460"/>
                <a:gd name="connsiteX32" fmla="*/ 102394 w 250031"/>
                <a:gd name="connsiteY32" fmla="*/ 0 h 303460"/>
                <a:gd name="connsiteX33" fmla="*/ 109537 w 250031"/>
                <a:gd name="connsiteY33" fmla="*/ 2382 h 303460"/>
                <a:gd name="connsiteX34" fmla="*/ 114300 w 250031"/>
                <a:gd name="connsiteY34" fmla="*/ 16669 h 303460"/>
                <a:gd name="connsiteX35" fmla="*/ 116681 w 250031"/>
                <a:gd name="connsiteY35" fmla="*/ 23813 h 303460"/>
                <a:gd name="connsiteX36" fmla="*/ 121444 w 250031"/>
                <a:gd name="connsiteY36" fmla="*/ 30957 h 303460"/>
                <a:gd name="connsiteX37" fmla="*/ 130969 w 250031"/>
                <a:gd name="connsiteY37" fmla="*/ 33338 h 303460"/>
                <a:gd name="connsiteX38" fmla="*/ 147637 w 250031"/>
                <a:gd name="connsiteY38" fmla="*/ 35719 h 303460"/>
                <a:gd name="connsiteX39" fmla="*/ 154781 w 250031"/>
                <a:gd name="connsiteY39" fmla="*/ 50007 h 303460"/>
                <a:gd name="connsiteX40" fmla="*/ 161925 w 250031"/>
                <a:gd name="connsiteY40" fmla="*/ 52388 h 303460"/>
                <a:gd name="connsiteX41" fmla="*/ 169069 w 250031"/>
                <a:gd name="connsiteY41" fmla="*/ 50007 h 303460"/>
                <a:gd name="connsiteX42" fmla="*/ 176212 w 250031"/>
                <a:gd name="connsiteY42" fmla="*/ 54769 h 303460"/>
                <a:gd name="connsiteX43" fmla="*/ 183356 w 250031"/>
                <a:gd name="connsiteY43" fmla="*/ 57150 h 303460"/>
                <a:gd name="connsiteX44" fmla="*/ 190500 w 250031"/>
                <a:gd name="connsiteY44" fmla="*/ 61913 h 303460"/>
                <a:gd name="connsiteX45" fmla="*/ 197644 w 250031"/>
                <a:gd name="connsiteY45" fmla="*/ 64294 h 303460"/>
                <a:gd name="connsiteX46" fmla="*/ 204787 w 250031"/>
                <a:gd name="connsiteY46" fmla="*/ 71438 h 303460"/>
                <a:gd name="connsiteX47" fmla="*/ 207169 w 250031"/>
                <a:gd name="connsiteY47" fmla="*/ 97632 h 303460"/>
                <a:gd name="connsiteX48" fmla="*/ 221456 w 250031"/>
                <a:gd name="connsiteY48" fmla="*/ 102394 h 303460"/>
                <a:gd name="connsiteX49" fmla="*/ 240506 w 250031"/>
                <a:gd name="connsiteY49" fmla="*/ 107157 h 303460"/>
                <a:gd name="connsiteX50" fmla="*/ 245269 w 250031"/>
                <a:gd name="connsiteY50" fmla="*/ 114300 h 303460"/>
                <a:gd name="connsiteX51" fmla="*/ 250031 w 250031"/>
                <a:gd name="connsiteY51" fmla="*/ 130969 h 303460"/>
                <a:gd name="connsiteX52" fmla="*/ 240506 w 250031"/>
                <a:gd name="connsiteY52" fmla="*/ 133350 h 303460"/>
                <a:gd name="connsiteX53" fmla="*/ 238125 w 250031"/>
                <a:gd name="connsiteY53" fmla="*/ 140494 h 303460"/>
                <a:gd name="connsiteX54" fmla="*/ 230981 w 250031"/>
                <a:gd name="connsiteY54" fmla="*/ 142875 h 303460"/>
                <a:gd name="connsiteX55" fmla="*/ 211931 w 250031"/>
                <a:gd name="connsiteY55" fmla="*/ 142875 h 303460"/>
                <a:gd name="connsiteX56" fmla="*/ 214312 w 250031"/>
                <a:gd name="connsiteY56" fmla="*/ 154782 h 303460"/>
                <a:gd name="connsiteX57" fmla="*/ 223837 w 250031"/>
                <a:gd name="connsiteY57" fmla="*/ 169069 h 303460"/>
                <a:gd name="connsiteX58" fmla="*/ 219075 w 250031"/>
                <a:gd name="connsiteY58" fmla="*/ 176213 h 303460"/>
                <a:gd name="connsiteX59" fmla="*/ 211931 w 250031"/>
                <a:gd name="connsiteY59" fmla="*/ 190500 h 303460"/>
                <a:gd name="connsiteX60" fmla="*/ 200025 w 250031"/>
                <a:gd name="connsiteY60" fmla="*/ 192882 h 303460"/>
                <a:gd name="connsiteX61" fmla="*/ 183356 w 250031"/>
                <a:gd name="connsiteY61" fmla="*/ 197644 h 303460"/>
                <a:gd name="connsiteX62" fmla="*/ 176212 w 250031"/>
                <a:gd name="connsiteY62" fmla="*/ 195263 h 303460"/>
                <a:gd name="connsiteX63" fmla="*/ 178594 w 250031"/>
                <a:gd name="connsiteY63" fmla="*/ 188119 h 303460"/>
                <a:gd name="connsiteX64" fmla="*/ 173831 w 250031"/>
                <a:gd name="connsiteY64" fmla="*/ 169069 h 303460"/>
                <a:gd name="connsiteX65" fmla="*/ 159544 w 250031"/>
                <a:gd name="connsiteY65" fmla="*/ 178594 h 303460"/>
                <a:gd name="connsiteX66" fmla="*/ 157162 w 250031"/>
                <a:gd name="connsiteY66" fmla="*/ 185738 h 303460"/>
                <a:gd name="connsiteX67" fmla="*/ 152400 w 250031"/>
                <a:gd name="connsiteY67" fmla="*/ 192882 h 303460"/>
                <a:gd name="connsiteX68" fmla="*/ 142875 w 250031"/>
                <a:gd name="connsiteY68" fmla="*/ 214313 h 303460"/>
                <a:gd name="connsiteX69" fmla="*/ 145256 w 250031"/>
                <a:gd name="connsiteY69" fmla="*/ 221457 h 303460"/>
                <a:gd name="connsiteX70" fmla="*/ 138112 w 250031"/>
                <a:gd name="connsiteY70" fmla="*/ 245269 h 303460"/>
                <a:gd name="connsiteX71" fmla="*/ 130969 w 250031"/>
                <a:gd name="connsiteY71" fmla="*/ 250032 h 303460"/>
                <a:gd name="connsiteX72" fmla="*/ 121444 w 250031"/>
                <a:gd name="connsiteY72" fmla="*/ 247650 h 303460"/>
                <a:gd name="connsiteX73" fmla="*/ 114300 w 250031"/>
                <a:gd name="connsiteY73" fmla="*/ 242888 h 303460"/>
                <a:gd name="connsiteX74" fmla="*/ 107156 w 250031"/>
                <a:gd name="connsiteY74" fmla="*/ 240507 h 303460"/>
                <a:gd name="connsiteX75" fmla="*/ 114300 w 250031"/>
                <a:gd name="connsiteY75" fmla="*/ 257175 h 303460"/>
                <a:gd name="connsiteX76" fmla="*/ 121444 w 250031"/>
                <a:gd name="connsiteY76" fmla="*/ 271463 h 303460"/>
                <a:gd name="connsiteX77" fmla="*/ 123825 w 250031"/>
                <a:gd name="connsiteY77" fmla="*/ 280988 h 303460"/>
                <a:gd name="connsiteX78" fmla="*/ 130969 w 250031"/>
                <a:gd name="connsiteY78" fmla="*/ 283369 h 303460"/>
                <a:gd name="connsiteX79" fmla="*/ 145256 w 250031"/>
                <a:gd name="connsiteY79" fmla="*/ 290513 h 303460"/>
                <a:gd name="connsiteX80" fmla="*/ 142875 w 250031"/>
                <a:gd name="connsiteY80" fmla="*/ 302419 h 303460"/>
                <a:gd name="connsiteX81" fmla="*/ 123825 w 250031"/>
                <a:gd name="connsiteY81" fmla="*/ 300038 h 303460"/>
                <a:gd name="connsiteX82" fmla="*/ 109537 w 250031"/>
                <a:gd name="connsiteY82" fmla="*/ 290513 h 303460"/>
                <a:gd name="connsiteX83" fmla="*/ 100012 w 250031"/>
                <a:gd name="connsiteY83" fmla="*/ 276225 h 303460"/>
                <a:gd name="connsiteX84" fmla="*/ 85725 w 250031"/>
                <a:gd name="connsiteY84" fmla="*/ 266700 h 303460"/>
                <a:gd name="connsiteX85" fmla="*/ 59531 w 250031"/>
                <a:gd name="connsiteY85" fmla="*/ 266701 h 303460"/>
                <a:gd name="connsiteX86" fmla="*/ 14288 w 250031"/>
                <a:gd name="connsiteY86" fmla="*/ 278608 h 303460"/>
                <a:gd name="connsiteX87" fmla="*/ 28576 w 250031"/>
                <a:gd name="connsiteY87" fmla="*/ 247650 h 303460"/>
                <a:gd name="connsiteX88" fmla="*/ 47625 w 250031"/>
                <a:gd name="connsiteY88" fmla="*/ 242889 h 303460"/>
                <a:gd name="connsiteX89" fmla="*/ 30956 w 250031"/>
                <a:gd name="connsiteY89" fmla="*/ 235744 h 303460"/>
                <a:gd name="connsiteX90" fmla="*/ 26194 w 250031"/>
                <a:gd name="connsiteY90" fmla="*/ 230982 h 303460"/>
                <a:gd name="connsiteX0" fmla="*/ 26194 w 250031"/>
                <a:gd name="connsiteY0" fmla="*/ 230982 h 303460"/>
                <a:gd name="connsiteX1" fmla="*/ 14287 w 250031"/>
                <a:gd name="connsiteY1" fmla="*/ 221457 h 303460"/>
                <a:gd name="connsiteX2" fmla="*/ 7144 w 250031"/>
                <a:gd name="connsiteY2" fmla="*/ 216694 h 303460"/>
                <a:gd name="connsiteX3" fmla="*/ 4762 w 250031"/>
                <a:gd name="connsiteY3" fmla="*/ 209550 h 303460"/>
                <a:gd name="connsiteX4" fmla="*/ 11906 w 250031"/>
                <a:gd name="connsiteY4" fmla="*/ 195263 h 303460"/>
                <a:gd name="connsiteX5" fmla="*/ 26194 w 250031"/>
                <a:gd name="connsiteY5" fmla="*/ 190500 h 303460"/>
                <a:gd name="connsiteX6" fmla="*/ 33337 w 250031"/>
                <a:gd name="connsiteY6" fmla="*/ 183357 h 303460"/>
                <a:gd name="connsiteX7" fmla="*/ 38100 w 250031"/>
                <a:gd name="connsiteY7" fmla="*/ 173832 h 303460"/>
                <a:gd name="connsiteX8" fmla="*/ 30956 w 250031"/>
                <a:gd name="connsiteY8" fmla="*/ 171450 h 303460"/>
                <a:gd name="connsiteX9" fmla="*/ 14287 w 250031"/>
                <a:gd name="connsiteY9" fmla="*/ 166688 h 303460"/>
                <a:gd name="connsiteX10" fmla="*/ 7144 w 250031"/>
                <a:gd name="connsiteY10" fmla="*/ 161925 h 303460"/>
                <a:gd name="connsiteX11" fmla="*/ 0 w 250031"/>
                <a:gd name="connsiteY11" fmla="*/ 147638 h 303460"/>
                <a:gd name="connsiteX12" fmla="*/ 0 w 250031"/>
                <a:gd name="connsiteY12" fmla="*/ 140494 h 303460"/>
                <a:gd name="connsiteX13" fmla="*/ 7144 w 250031"/>
                <a:gd name="connsiteY13" fmla="*/ 135732 h 303460"/>
                <a:gd name="connsiteX14" fmla="*/ 9525 w 250031"/>
                <a:gd name="connsiteY14" fmla="*/ 128588 h 303460"/>
                <a:gd name="connsiteX15" fmla="*/ 9525 w 250031"/>
                <a:gd name="connsiteY15" fmla="*/ 119063 h 303460"/>
                <a:gd name="connsiteX16" fmla="*/ 14287 w 250031"/>
                <a:gd name="connsiteY16" fmla="*/ 111919 h 303460"/>
                <a:gd name="connsiteX17" fmla="*/ 28575 w 250031"/>
                <a:gd name="connsiteY17" fmla="*/ 107157 h 303460"/>
                <a:gd name="connsiteX18" fmla="*/ 30956 w 250031"/>
                <a:gd name="connsiteY18" fmla="*/ 100013 h 303460"/>
                <a:gd name="connsiteX19" fmla="*/ 26194 w 250031"/>
                <a:gd name="connsiteY19" fmla="*/ 85725 h 303460"/>
                <a:gd name="connsiteX20" fmla="*/ 35719 w 250031"/>
                <a:gd name="connsiteY20" fmla="*/ 69057 h 303460"/>
                <a:gd name="connsiteX21" fmla="*/ 47625 w 250031"/>
                <a:gd name="connsiteY21" fmla="*/ 57150 h 303460"/>
                <a:gd name="connsiteX22" fmla="*/ 57150 w 250031"/>
                <a:gd name="connsiteY22" fmla="*/ 66675 h 303460"/>
                <a:gd name="connsiteX23" fmla="*/ 71437 w 250031"/>
                <a:gd name="connsiteY23" fmla="*/ 73819 h 303460"/>
                <a:gd name="connsiteX24" fmla="*/ 76200 w 250031"/>
                <a:gd name="connsiteY24" fmla="*/ 45244 h 303460"/>
                <a:gd name="connsiteX25" fmla="*/ 73819 w 250031"/>
                <a:gd name="connsiteY25" fmla="*/ 38100 h 303460"/>
                <a:gd name="connsiteX26" fmla="*/ 59531 w 250031"/>
                <a:gd name="connsiteY26" fmla="*/ 30957 h 303460"/>
                <a:gd name="connsiteX27" fmla="*/ 52387 w 250031"/>
                <a:gd name="connsiteY27" fmla="*/ 26194 h 303460"/>
                <a:gd name="connsiteX28" fmla="*/ 54769 w 250031"/>
                <a:gd name="connsiteY28" fmla="*/ 19050 h 303460"/>
                <a:gd name="connsiteX29" fmla="*/ 57150 w 250031"/>
                <a:gd name="connsiteY29" fmla="*/ 7144 h 303460"/>
                <a:gd name="connsiteX30" fmla="*/ 78581 w 250031"/>
                <a:gd name="connsiteY30" fmla="*/ 14288 h 303460"/>
                <a:gd name="connsiteX31" fmla="*/ 85725 w 250031"/>
                <a:gd name="connsiteY31" fmla="*/ 7144 h 303460"/>
                <a:gd name="connsiteX32" fmla="*/ 102394 w 250031"/>
                <a:gd name="connsiteY32" fmla="*/ 0 h 303460"/>
                <a:gd name="connsiteX33" fmla="*/ 109537 w 250031"/>
                <a:gd name="connsiteY33" fmla="*/ 2382 h 303460"/>
                <a:gd name="connsiteX34" fmla="*/ 114300 w 250031"/>
                <a:gd name="connsiteY34" fmla="*/ 16669 h 303460"/>
                <a:gd name="connsiteX35" fmla="*/ 116681 w 250031"/>
                <a:gd name="connsiteY35" fmla="*/ 23813 h 303460"/>
                <a:gd name="connsiteX36" fmla="*/ 121444 w 250031"/>
                <a:gd name="connsiteY36" fmla="*/ 30957 h 303460"/>
                <a:gd name="connsiteX37" fmla="*/ 130969 w 250031"/>
                <a:gd name="connsiteY37" fmla="*/ 33338 h 303460"/>
                <a:gd name="connsiteX38" fmla="*/ 147637 w 250031"/>
                <a:gd name="connsiteY38" fmla="*/ 35719 h 303460"/>
                <a:gd name="connsiteX39" fmla="*/ 154781 w 250031"/>
                <a:gd name="connsiteY39" fmla="*/ 50007 h 303460"/>
                <a:gd name="connsiteX40" fmla="*/ 161925 w 250031"/>
                <a:gd name="connsiteY40" fmla="*/ 52388 h 303460"/>
                <a:gd name="connsiteX41" fmla="*/ 169069 w 250031"/>
                <a:gd name="connsiteY41" fmla="*/ 50007 h 303460"/>
                <a:gd name="connsiteX42" fmla="*/ 176212 w 250031"/>
                <a:gd name="connsiteY42" fmla="*/ 54769 h 303460"/>
                <a:gd name="connsiteX43" fmla="*/ 183356 w 250031"/>
                <a:gd name="connsiteY43" fmla="*/ 57150 h 303460"/>
                <a:gd name="connsiteX44" fmla="*/ 190500 w 250031"/>
                <a:gd name="connsiteY44" fmla="*/ 61913 h 303460"/>
                <a:gd name="connsiteX45" fmla="*/ 197644 w 250031"/>
                <a:gd name="connsiteY45" fmla="*/ 64294 h 303460"/>
                <a:gd name="connsiteX46" fmla="*/ 204787 w 250031"/>
                <a:gd name="connsiteY46" fmla="*/ 71438 h 303460"/>
                <a:gd name="connsiteX47" fmla="*/ 207169 w 250031"/>
                <a:gd name="connsiteY47" fmla="*/ 97632 h 303460"/>
                <a:gd name="connsiteX48" fmla="*/ 221456 w 250031"/>
                <a:gd name="connsiteY48" fmla="*/ 102394 h 303460"/>
                <a:gd name="connsiteX49" fmla="*/ 240506 w 250031"/>
                <a:gd name="connsiteY49" fmla="*/ 107157 h 303460"/>
                <a:gd name="connsiteX50" fmla="*/ 245269 w 250031"/>
                <a:gd name="connsiteY50" fmla="*/ 114300 h 303460"/>
                <a:gd name="connsiteX51" fmla="*/ 250031 w 250031"/>
                <a:gd name="connsiteY51" fmla="*/ 130969 h 303460"/>
                <a:gd name="connsiteX52" fmla="*/ 240506 w 250031"/>
                <a:gd name="connsiteY52" fmla="*/ 133350 h 303460"/>
                <a:gd name="connsiteX53" fmla="*/ 238125 w 250031"/>
                <a:gd name="connsiteY53" fmla="*/ 140494 h 303460"/>
                <a:gd name="connsiteX54" fmla="*/ 230981 w 250031"/>
                <a:gd name="connsiteY54" fmla="*/ 142875 h 303460"/>
                <a:gd name="connsiteX55" fmla="*/ 211931 w 250031"/>
                <a:gd name="connsiteY55" fmla="*/ 142875 h 303460"/>
                <a:gd name="connsiteX56" fmla="*/ 214312 w 250031"/>
                <a:gd name="connsiteY56" fmla="*/ 154782 h 303460"/>
                <a:gd name="connsiteX57" fmla="*/ 223837 w 250031"/>
                <a:gd name="connsiteY57" fmla="*/ 169069 h 303460"/>
                <a:gd name="connsiteX58" fmla="*/ 219075 w 250031"/>
                <a:gd name="connsiteY58" fmla="*/ 176213 h 303460"/>
                <a:gd name="connsiteX59" fmla="*/ 211931 w 250031"/>
                <a:gd name="connsiteY59" fmla="*/ 190500 h 303460"/>
                <a:gd name="connsiteX60" fmla="*/ 200025 w 250031"/>
                <a:gd name="connsiteY60" fmla="*/ 192882 h 303460"/>
                <a:gd name="connsiteX61" fmla="*/ 183356 w 250031"/>
                <a:gd name="connsiteY61" fmla="*/ 197644 h 303460"/>
                <a:gd name="connsiteX62" fmla="*/ 176212 w 250031"/>
                <a:gd name="connsiteY62" fmla="*/ 195263 h 303460"/>
                <a:gd name="connsiteX63" fmla="*/ 178594 w 250031"/>
                <a:gd name="connsiteY63" fmla="*/ 188119 h 303460"/>
                <a:gd name="connsiteX64" fmla="*/ 173831 w 250031"/>
                <a:gd name="connsiteY64" fmla="*/ 169069 h 303460"/>
                <a:gd name="connsiteX65" fmla="*/ 159544 w 250031"/>
                <a:gd name="connsiteY65" fmla="*/ 178594 h 303460"/>
                <a:gd name="connsiteX66" fmla="*/ 157162 w 250031"/>
                <a:gd name="connsiteY66" fmla="*/ 185738 h 303460"/>
                <a:gd name="connsiteX67" fmla="*/ 152400 w 250031"/>
                <a:gd name="connsiteY67" fmla="*/ 192882 h 303460"/>
                <a:gd name="connsiteX68" fmla="*/ 142875 w 250031"/>
                <a:gd name="connsiteY68" fmla="*/ 214313 h 303460"/>
                <a:gd name="connsiteX69" fmla="*/ 145256 w 250031"/>
                <a:gd name="connsiteY69" fmla="*/ 221457 h 303460"/>
                <a:gd name="connsiteX70" fmla="*/ 138112 w 250031"/>
                <a:gd name="connsiteY70" fmla="*/ 245269 h 303460"/>
                <a:gd name="connsiteX71" fmla="*/ 130969 w 250031"/>
                <a:gd name="connsiteY71" fmla="*/ 250032 h 303460"/>
                <a:gd name="connsiteX72" fmla="*/ 121444 w 250031"/>
                <a:gd name="connsiteY72" fmla="*/ 247650 h 303460"/>
                <a:gd name="connsiteX73" fmla="*/ 114300 w 250031"/>
                <a:gd name="connsiteY73" fmla="*/ 242888 h 303460"/>
                <a:gd name="connsiteX74" fmla="*/ 107156 w 250031"/>
                <a:gd name="connsiteY74" fmla="*/ 240507 h 303460"/>
                <a:gd name="connsiteX75" fmla="*/ 114300 w 250031"/>
                <a:gd name="connsiteY75" fmla="*/ 257175 h 303460"/>
                <a:gd name="connsiteX76" fmla="*/ 121444 w 250031"/>
                <a:gd name="connsiteY76" fmla="*/ 271463 h 303460"/>
                <a:gd name="connsiteX77" fmla="*/ 123825 w 250031"/>
                <a:gd name="connsiteY77" fmla="*/ 280988 h 303460"/>
                <a:gd name="connsiteX78" fmla="*/ 130969 w 250031"/>
                <a:gd name="connsiteY78" fmla="*/ 283369 h 303460"/>
                <a:gd name="connsiteX79" fmla="*/ 145256 w 250031"/>
                <a:gd name="connsiteY79" fmla="*/ 290513 h 303460"/>
                <a:gd name="connsiteX80" fmla="*/ 142875 w 250031"/>
                <a:gd name="connsiteY80" fmla="*/ 302419 h 303460"/>
                <a:gd name="connsiteX81" fmla="*/ 123825 w 250031"/>
                <a:gd name="connsiteY81" fmla="*/ 300038 h 303460"/>
                <a:gd name="connsiteX82" fmla="*/ 109537 w 250031"/>
                <a:gd name="connsiteY82" fmla="*/ 290513 h 303460"/>
                <a:gd name="connsiteX83" fmla="*/ 100012 w 250031"/>
                <a:gd name="connsiteY83" fmla="*/ 276225 h 303460"/>
                <a:gd name="connsiteX84" fmla="*/ 85725 w 250031"/>
                <a:gd name="connsiteY84" fmla="*/ 266700 h 303460"/>
                <a:gd name="connsiteX85" fmla="*/ 59531 w 250031"/>
                <a:gd name="connsiteY85" fmla="*/ 266701 h 303460"/>
                <a:gd name="connsiteX86" fmla="*/ 14288 w 250031"/>
                <a:gd name="connsiteY86" fmla="*/ 278608 h 303460"/>
                <a:gd name="connsiteX87" fmla="*/ 28576 w 250031"/>
                <a:gd name="connsiteY87" fmla="*/ 247650 h 303460"/>
                <a:gd name="connsiteX88" fmla="*/ 64294 w 250031"/>
                <a:gd name="connsiteY88" fmla="*/ 242889 h 303460"/>
                <a:gd name="connsiteX89" fmla="*/ 30956 w 250031"/>
                <a:gd name="connsiteY89" fmla="*/ 235744 h 303460"/>
                <a:gd name="connsiteX90" fmla="*/ 26194 w 250031"/>
                <a:gd name="connsiteY90" fmla="*/ 230982 h 303460"/>
                <a:gd name="connsiteX0" fmla="*/ 26194 w 250031"/>
                <a:gd name="connsiteY0" fmla="*/ 230982 h 303460"/>
                <a:gd name="connsiteX1" fmla="*/ 14287 w 250031"/>
                <a:gd name="connsiteY1" fmla="*/ 221457 h 303460"/>
                <a:gd name="connsiteX2" fmla="*/ 7144 w 250031"/>
                <a:gd name="connsiteY2" fmla="*/ 216694 h 303460"/>
                <a:gd name="connsiteX3" fmla="*/ 4762 w 250031"/>
                <a:gd name="connsiteY3" fmla="*/ 209550 h 303460"/>
                <a:gd name="connsiteX4" fmla="*/ 11906 w 250031"/>
                <a:gd name="connsiteY4" fmla="*/ 195263 h 303460"/>
                <a:gd name="connsiteX5" fmla="*/ 26194 w 250031"/>
                <a:gd name="connsiteY5" fmla="*/ 190500 h 303460"/>
                <a:gd name="connsiteX6" fmla="*/ 33337 w 250031"/>
                <a:gd name="connsiteY6" fmla="*/ 183357 h 303460"/>
                <a:gd name="connsiteX7" fmla="*/ 38100 w 250031"/>
                <a:gd name="connsiteY7" fmla="*/ 173832 h 303460"/>
                <a:gd name="connsiteX8" fmla="*/ 30956 w 250031"/>
                <a:gd name="connsiteY8" fmla="*/ 171450 h 303460"/>
                <a:gd name="connsiteX9" fmla="*/ 14287 w 250031"/>
                <a:gd name="connsiteY9" fmla="*/ 166688 h 303460"/>
                <a:gd name="connsiteX10" fmla="*/ 7144 w 250031"/>
                <a:gd name="connsiteY10" fmla="*/ 161925 h 303460"/>
                <a:gd name="connsiteX11" fmla="*/ 0 w 250031"/>
                <a:gd name="connsiteY11" fmla="*/ 147638 h 303460"/>
                <a:gd name="connsiteX12" fmla="*/ 0 w 250031"/>
                <a:gd name="connsiteY12" fmla="*/ 140494 h 303460"/>
                <a:gd name="connsiteX13" fmla="*/ 7144 w 250031"/>
                <a:gd name="connsiteY13" fmla="*/ 135732 h 303460"/>
                <a:gd name="connsiteX14" fmla="*/ 9525 w 250031"/>
                <a:gd name="connsiteY14" fmla="*/ 128588 h 303460"/>
                <a:gd name="connsiteX15" fmla="*/ 9525 w 250031"/>
                <a:gd name="connsiteY15" fmla="*/ 119063 h 303460"/>
                <a:gd name="connsiteX16" fmla="*/ 14287 w 250031"/>
                <a:gd name="connsiteY16" fmla="*/ 111919 h 303460"/>
                <a:gd name="connsiteX17" fmla="*/ 28575 w 250031"/>
                <a:gd name="connsiteY17" fmla="*/ 107157 h 303460"/>
                <a:gd name="connsiteX18" fmla="*/ 30956 w 250031"/>
                <a:gd name="connsiteY18" fmla="*/ 100013 h 303460"/>
                <a:gd name="connsiteX19" fmla="*/ 26194 w 250031"/>
                <a:gd name="connsiteY19" fmla="*/ 85725 h 303460"/>
                <a:gd name="connsiteX20" fmla="*/ 35719 w 250031"/>
                <a:gd name="connsiteY20" fmla="*/ 69057 h 303460"/>
                <a:gd name="connsiteX21" fmla="*/ 47625 w 250031"/>
                <a:gd name="connsiteY21" fmla="*/ 57150 h 303460"/>
                <a:gd name="connsiteX22" fmla="*/ 57150 w 250031"/>
                <a:gd name="connsiteY22" fmla="*/ 66675 h 303460"/>
                <a:gd name="connsiteX23" fmla="*/ 71437 w 250031"/>
                <a:gd name="connsiteY23" fmla="*/ 73819 h 303460"/>
                <a:gd name="connsiteX24" fmla="*/ 76200 w 250031"/>
                <a:gd name="connsiteY24" fmla="*/ 45244 h 303460"/>
                <a:gd name="connsiteX25" fmla="*/ 73819 w 250031"/>
                <a:gd name="connsiteY25" fmla="*/ 38100 h 303460"/>
                <a:gd name="connsiteX26" fmla="*/ 59531 w 250031"/>
                <a:gd name="connsiteY26" fmla="*/ 30957 h 303460"/>
                <a:gd name="connsiteX27" fmla="*/ 52387 w 250031"/>
                <a:gd name="connsiteY27" fmla="*/ 26194 h 303460"/>
                <a:gd name="connsiteX28" fmla="*/ 54769 w 250031"/>
                <a:gd name="connsiteY28" fmla="*/ 19050 h 303460"/>
                <a:gd name="connsiteX29" fmla="*/ 57150 w 250031"/>
                <a:gd name="connsiteY29" fmla="*/ 7144 h 303460"/>
                <a:gd name="connsiteX30" fmla="*/ 78581 w 250031"/>
                <a:gd name="connsiteY30" fmla="*/ 14288 h 303460"/>
                <a:gd name="connsiteX31" fmla="*/ 85725 w 250031"/>
                <a:gd name="connsiteY31" fmla="*/ 7144 h 303460"/>
                <a:gd name="connsiteX32" fmla="*/ 102394 w 250031"/>
                <a:gd name="connsiteY32" fmla="*/ 0 h 303460"/>
                <a:gd name="connsiteX33" fmla="*/ 109537 w 250031"/>
                <a:gd name="connsiteY33" fmla="*/ 2382 h 303460"/>
                <a:gd name="connsiteX34" fmla="*/ 114300 w 250031"/>
                <a:gd name="connsiteY34" fmla="*/ 16669 h 303460"/>
                <a:gd name="connsiteX35" fmla="*/ 116681 w 250031"/>
                <a:gd name="connsiteY35" fmla="*/ 23813 h 303460"/>
                <a:gd name="connsiteX36" fmla="*/ 121444 w 250031"/>
                <a:gd name="connsiteY36" fmla="*/ 30957 h 303460"/>
                <a:gd name="connsiteX37" fmla="*/ 130969 w 250031"/>
                <a:gd name="connsiteY37" fmla="*/ 33338 h 303460"/>
                <a:gd name="connsiteX38" fmla="*/ 147637 w 250031"/>
                <a:gd name="connsiteY38" fmla="*/ 35719 h 303460"/>
                <a:gd name="connsiteX39" fmla="*/ 154781 w 250031"/>
                <a:gd name="connsiteY39" fmla="*/ 50007 h 303460"/>
                <a:gd name="connsiteX40" fmla="*/ 161925 w 250031"/>
                <a:gd name="connsiteY40" fmla="*/ 52388 h 303460"/>
                <a:gd name="connsiteX41" fmla="*/ 169069 w 250031"/>
                <a:gd name="connsiteY41" fmla="*/ 50007 h 303460"/>
                <a:gd name="connsiteX42" fmla="*/ 176212 w 250031"/>
                <a:gd name="connsiteY42" fmla="*/ 54769 h 303460"/>
                <a:gd name="connsiteX43" fmla="*/ 183356 w 250031"/>
                <a:gd name="connsiteY43" fmla="*/ 57150 h 303460"/>
                <a:gd name="connsiteX44" fmla="*/ 190500 w 250031"/>
                <a:gd name="connsiteY44" fmla="*/ 61913 h 303460"/>
                <a:gd name="connsiteX45" fmla="*/ 197644 w 250031"/>
                <a:gd name="connsiteY45" fmla="*/ 64294 h 303460"/>
                <a:gd name="connsiteX46" fmla="*/ 204787 w 250031"/>
                <a:gd name="connsiteY46" fmla="*/ 71438 h 303460"/>
                <a:gd name="connsiteX47" fmla="*/ 207169 w 250031"/>
                <a:gd name="connsiteY47" fmla="*/ 97632 h 303460"/>
                <a:gd name="connsiteX48" fmla="*/ 221456 w 250031"/>
                <a:gd name="connsiteY48" fmla="*/ 102394 h 303460"/>
                <a:gd name="connsiteX49" fmla="*/ 240506 w 250031"/>
                <a:gd name="connsiteY49" fmla="*/ 107157 h 303460"/>
                <a:gd name="connsiteX50" fmla="*/ 245269 w 250031"/>
                <a:gd name="connsiteY50" fmla="*/ 114300 h 303460"/>
                <a:gd name="connsiteX51" fmla="*/ 250031 w 250031"/>
                <a:gd name="connsiteY51" fmla="*/ 130969 h 303460"/>
                <a:gd name="connsiteX52" fmla="*/ 240506 w 250031"/>
                <a:gd name="connsiteY52" fmla="*/ 133350 h 303460"/>
                <a:gd name="connsiteX53" fmla="*/ 238125 w 250031"/>
                <a:gd name="connsiteY53" fmla="*/ 140494 h 303460"/>
                <a:gd name="connsiteX54" fmla="*/ 230981 w 250031"/>
                <a:gd name="connsiteY54" fmla="*/ 142875 h 303460"/>
                <a:gd name="connsiteX55" fmla="*/ 211931 w 250031"/>
                <a:gd name="connsiteY55" fmla="*/ 142875 h 303460"/>
                <a:gd name="connsiteX56" fmla="*/ 214312 w 250031"/>
                <a:gd name="connsiteY56" fmla="*/ 154782 h 303460"/>
                <a:gd name="connsiteX57" fmla="*/ 223837 w 250031"/>
                <a:gd name="connsiteY57" fmla="*/ 169069 h 303460"/>
                <a:gd name="connsiteX58" fmla="*/ 219075 w 250031"/>
                <a:gd name="connsiteY58" fmla="*/ 176213 h 303460"/>
                <a:gd name="connsiteX59" fmla="*/ 211931 w 250031"/>
                <a:gd name="connsiteY59" fmla="*/ 190500 h 303460"/>
                <a:gd name="connsiteX60" fmla="*/ 200025 w 250031"/>
                <a:gd name="connsiteY60" fmla="*/ 192882 h 303460"/>
                <a:gd name="connsiteX61" fmla="*/ 183356 w 250031"/>
                <a:gd name="connsiteY61" fmla="*/ 197644 h 303460"/>
                <a:gd name="connsiteX62" fmla="*/ 176212 w 250031"/>
                <a:gd name="connsiteY62" fmla="*/ 195263 h 303460"/>
                <a:gd name="connsiteX63" fmla="*/ 178594 w 250031"/>
                <a:gd name="connsiteY63" fmla="*/ 188119 h 303460"/>
                <a:gd name="connsiteX64" fmla="*/ 173831 w 250031"/>
                <a:gd name="connsiteY64" fmla="*/ 169069 h 303460"/>
                <a:gd name="connsiteX65" fmla="*/ 159544 w 250031"/>
                <a:gd name="connsiteY65" fmla="*/ 178594 h 303460"/>
                <a:gd name="connsiteX66" fmla="*/ 157162 w 250031"/>
                <a:gd name="connsiteY66" fmla="*/ 185738 h 303460"/>
                <a:gd name="connsiteX67" fmla="*/ 152400 w 250031"/>
                <a:gd name="connsiteY67" fmla="*/ 192882 h 303460"/>
                <a:gd name="connsiteX68" fmla="*/ 142875 w 250031"/>
                <a:gd name="connsiteY68" fmla="*/ 214313 h 303460"/>
                <a:gd name="connsiteX69" fmla="*/ 145256 w 250031"/>
                <a:gd name="connsiteY69" fmla="*/ 221457 h 303460"/>
                <a:gd name="connsiteX70" fmla="*/ 138112 w 250031"/>
                <a:gd name="connsiteY70" fmla="*/ 245269 h 303460"/>
                <a:gd name="connsiteX71" fmla="*/ 130969 w 250031"/>
                <a:gd name="connsiteY71" fmla="*/ 250032 h 303460"/>
                <a:gd name="connsiteX72" fmla="*/ 121444 w 250031"/>
                <a:gd name="connsiteY72" fmla="*/ 247650 h 303460"/>
                <a:gd name="connsiteX73" fmla="*/ 114300 w 250031"/>
                <a:gd name="connsiteY73" fmla="*/ 242888 h 303460"/>
                <a:gd name="connsiteX74" fmla="*/ 107156 w 250031"/>
                <a:gd name="connsiteY74" fmla="*/ 240507 h 303460"/>
                <a:gd name="connsiteX75" fmla="*/ 114300 w 250031"/>
                <a:gd name="connsiteY75" fmla="*/ 257175 h 303460"/>
                <a:gd name="connsiteX76" fmla="*/ 121444 w 250031"/>
                <a:gd name="connsiteY76" fmla="*/ 271463 h 303460"/>
                <a:gd name="connsiteX77" fmla="*/ 123825 w 250031"/>
                <a:gd name="connsiteY77" fmla="*/ 280988 h 303460"/>
                <a:gd name="connsiteX78" fmla="*/ 130969 w 250031"/>
                <a:gd name="connsiteY78" fmla="*/ 283369 h 303460"/>
                <a:gd name="connsiteX79" fmla="*/ 145256 w 250031"/>
                <a:gd name="connsiteY79" fmla="*/ 290513 h 303460"/>
                <a:gd name="connsiteX80" fmla="*/ 142875 w 250031"/>
                <a:gd name="connsiteY80" fmla="*/ 302419 h 303460"/>
                <a:gd name="connsiteX81" fmla="*/ 123825 w 250031"/>
                <a:gd name="connsiteY81" fmla="*/ 300038 h 303460"/>
                <a:gd name="connsiteX82" fmla="*/ 109537 w 250031"/>
                <a:gd name="connsiteY82" fmla="*/ 290513 h 303460"/>
                <a:gd name="connsiteX83" fmla="*/ 100012 w 250031"/>
                <a:gd name="connsiteY83" fmla="*/ 276225 h 303460"/>
                <a:gd name="connsiteX84" fmla="*/ 85725 w 250031"/>
                <a:gd name="connsiteY84" fmla="*/ 266700 h 303460"/>
                <a:gd name="connsiteX85" fmla="*/ 59531 w 250031"/>
                <a:gd name="connsiteY85" fmla="*/ 266701 h 303460"/>
                <a:gd name="connsiteX86" fmla="*/ 45244 w 250031"/>
                <a:gd name="connsiteY86" fmla="*/ 259558 h 303460"/>
                <a:gd name="connsiteX87" fmla="*/ 28576 w 250031"/>
                <a:gd name="connsiteY87" fmla="*/ 247650 h 303460"/>
                <a:gd name="connsiteX88" fmla="*/ 64294 w 250031"/>
                <a:gd name="connsiteY88" fmla="*/ 242889 h 303460"/>
                <a:gd name="connsiteX89" fmla="*/ 30956 w 250031"/>
                <a:gd name="connsiteY89" fmla="*/ 235744 h 303460"/>
                <a:gd name="connsiteX90" fmla="*/ 26194 w 250031"/>
                <a:gd name="connsiteY90" fmla="*/ 230982 h 303460"/>
                <a:gd name="connsiteX0" fmla="*/ 26194 w 250031"/>
                <a:gd name="connsiteY0" fmla="*/ 230982 h 303460"/>
                <a:gd name="connsiteX1" fmla="*/ 14287 w 250031"/>
                <a:gd name="connsiteY1" fmla="*/ 221457 h 303460"/>
                <a:gd name="connsiteX2" fmla="*/ 7144 w 250031"/>
                <a:gd name="connsiteY2" fmla="*/ 216694 h 303460"/>
                <a:gd name="connsiteX3" fmla="*/ 4762 w 250031"/>
                <a:gd name="connsiteY3" fmla="*/ 209550 h 303460"/>
                <a:gd name="connsiteX4" fmla="*/ 11906 w 250031"/>
                <a:gd name="connsiteY4" fmla="*/ 195263 h 303460"/>
                <a:gd name="connsiteX5" fmla="*/ 26194 w 250031"/>
                <a:gd name="connsiteY5" fmla="*/ 190500 h 303460"/>
                <a:gd name="connsiteX6" fmla="*/ 33337 w 250031"/>
                <a:gd name="connsiteY6" fmla="*/ 183357 h 303460"/>
                <a:gd name="connsiteX7" fmla="*/ 38100 w 250031"/>
                <a:gd name="connsiteY7" fmla="*/ 173832 h 303460"/>
                <a:gd name="connsiteX8" fmla="*/ 30956 w 250031"/>
                <a:gd name="connsiteY8" fmla="*/ 171450 h 303460"/>
                <a:gd name="connsiteX9" fmla="*/ 14287 w 250031"/>
                <a:gd name="connsiteY9" fmla="*/ 166688 h 303460"/>
                <a:gd name="connsiteX10" fmla="*/ 7144 w 250031"/>
                <a:gd name="connsiteY10" fmla="*/ 161925 h 303460"/>
                <a:gd name="connsiteX11" fmla="*/ 0 w 250031"/>
                <a:gd name="connsiteY11" fmla="*/ 147638 h 303460"/>
                <a:gd name="connsiteX12" fmla="*/ 0 w 250031"/>
                <a:gd name="connsiteY12" fmla="*/ 140494 h 303460"/>
                <a:gd name="connsiteX13" fmla="*/ 7144 w 250031"/>
                <a:gd name="connsiteY13" fmla="*/ 135732 h 303460"/>
                <a:gd name="connsiteX14" fmla="*/ 9525 w 250031"/>
                <a:gd name="connsiteY14" fmla="*/ 128588 h 303460"/>
                <a:gd name="connsiteX15" fmla="*/ 9525 w 250031"/>
                <a:gd name="connsiteY15" fmla="*/ 119063 h 303460"/>
                <a:gd name="connsiteX16" fmla="*/ 14287 w 250031"/>
                <a:gd name="connsiteY16" fmla="*/ 111919 h 303460"/>
                <a:gd name="connsiteX17" fmla="*/ 28575 w 250031"/>
                <a:gd name="connsiteY17" fmla="*/ 107157 h 303460"/>
                <a:gd name="connsiteX18" fmla="*/ 30956 w 250031"/>
                <a:gd name="connsiteY18" fmla="*/ 100013 h 303460"/>
                <a:gd name="connsiteX19" fmla="*/ 26194 w 250031"/>
                <a:gd name="connsiteY19" fmla="*/ 85725 h 303460"/>
                <a:gd name="connsiteX20" fmla="*/ 35719 w 250031"/>
                <a:gd name="connsiteY20" fmla="*/ 69057 h 303460"/>
                <a:gd name="connsiteX21" fmla="*/ 47625 w 250031"/>
                <a:gd name="connsiteY21" fmla="*/ 57150 h 303460"/>
                <a:gd name="connsiteX22" fmla="*/ 57150 w 250031"/>
                <a:gd name="connsiteY22" fmla="*/ 66675 h 303460"/>
                <a:gd name="connsiteX23" fmla="*/ 71437 w 250031"/>
                <a:gd name="connsiteY23" fmla="*/ 73819 h 303460"/>
                <a:gd name="connsiteX24" fmla="*/ 76200 w 250031"/>
                <a:gd name="connsiteY24" fmla="*/ 45244 h 303460"/>
                <a:gd name="connsiteX25" fmla="*/ 73819 w 250031"/>
                <a:gd name="connsiteY25" fmla="*/ 38100 h 303460"/>
                <a:gd name="connsiteX26" fmla="*/ 59531 w 250031"/>
                <a:gd name="connsiteY26" fmla="*/ 30957 h 303460"/>
                <a:gd name="connsiteX27" fmla="*/ 52387 w 250031"/>
                <a:gd name="connsiteY27" fmla="*/ 26194 h 303460"/>
                <a:gd name="connsiteX28" fmla="*/ 54769 w 250031"/>
                <a:gd name="connsiteY28" fmla="*/ 19050 h 303460"/>
                <a:gd name="connsiteX29" fmla="*/ 57150 w 250031"/>
                <a:gd name="connsiteY29" fmla="*/ 7144 h 303460"/>
                <a:gd name="connsiteX30" fmla="*/ 78581 w 250031"/>
                <a:gd name="connsiteY30" fmla="*/ 14288 h 303460"/>
                <a:gd name="connsiteX31" fmla="*/ 85725 w 250031"/>
                <a:gd name="connsiteY31" fmla="*/ 7144 h 303460"/>
                <a:gd name="connsiteX32" fmla="*/ 102394 w 250031"/>
                <a:gd name="connsiteY32" fmla="*/ 0 h 303460"/>
                <a:gd name="connsiteX33" fmla="*/ 109537 w 250031"/>
                <a:gd name="connsiteY33" fmla="*/ 2382 h 303460"/>
                <a:gd name="connsiteX34" fmla="*/ 114300 w 250031"/>
                <a:gd name="connsiteY34" fmla="*/ 16669 h 303460"/>
                <a:gd name="connsiteX35" fmla="*/ 116681 w 250031"/>
                <a:gd name="connsiteY35" fmla="*/ 23813 h 303460"/>
                <a:gd name="connsiteX36" fmla="*/ 121444 w 250031"/>
                <a:gd name="connsiteY36" fmla="*/ 30957 h 303460"/>
                <a:gd name="connsiteX37" fmla="*/ 130969 w 250031"/>
                <a:gd name="connsiteY37" fmla="*/ 33338 h 303460"/>
                <a:gd name="connsiteX38" fmla="*/ 147637 w 250031"/>
                <a:gd name="connsiteY38" fmla="*/ 35719 h 303460"/>
                <a:gd name="connsiteX39" fmla="*/ 154781 w 250031"/>
                <a:gd name="connsiteY39" fmla="*/ 50007 h 303460"/>
                <a:gd name="connsiteX40" fmla="*/ 161925 w 250031"/>
                <a:gd name="connsiteY40" fmla="*/ 52388 h 303460"/>
                <a:gd name="connsiteX41" fmla="*/ 169069 w 250031"/>
                <a:gd name="connsiteY41" fmla="*/ 50007 h 303460"/>
                <a:gd name="connsiteX42" fmla="*/ 176212 w 250031"/>
                <a:gd name="connsiteY42" fmla="*/ 54769 h 303460"/>
                <a:gd name="connsiteX43" fmla="*/ 183356 w 250031"/>
                <a:gd name="connsiteY43" fmla="*/ 57150 h 303460"/>
                <a:gd name="connsiteX44" fmla="*/ 190500 w 250031"/>
                <a:gd name="connsiteY44" fmla="*/ 61913 h 303460"/>
                <a:gd name="connsiteX45" fmla="*/ 197644 w 250031"/>
                <a:gd name="connsiteY45" fmla="*/ 64294 h 303460"/>
                <a:gd name="connsiteX46" fmla="*/ 204787 w 250031"/>
                <a:gd name="connsiteY46" fmla="*/ 71438 h 303460"/>
                <a:gd name="connsiteX47" fmla="*/ 207169 w 250031"/>
                <a:gd name="connsiteY47" fmla="*/ 97632 h 303460"/>
                <a:gd name="connsiteX48" fmla="*/ 221456 w 250031"/>
                <a:gd name="connsiteY48" fmla="*/ 102394 h 303460"/>
                <a:gd name="connsiteX49" fmla="*/ 240506 w 250031"/>
                <a:gd name="connsiteY49" fmla="*/ 107157 h 303460"/>
                <a:gd name="connsiteX50" fmla="*/ 245269 w 250031"/>
                <a:gd name="connsiteY50" fmla="*/ 114300 h 303460"/>
                <a:gd name="connsiteX51" fmla="*/ 250031 w 250031"/>
                <a:gd name="connsiteY51" fmla="*/ 130969 h 303460"/>
                <a:gd name="connsiteX52" fmla="*/ 240506 w 250031"/>
                <a:gd name="connsiteY52" fmla="*/ 133350 h 303460"/>
                <a:gd name="connsiteX53" fmla="*/ 238125 w 250031"/>
                <a:gd name="connsiteY53" fmla="*/ 140494 h 303460"/>
                <a:gd name="connsiteX54" fmla="*/ 230981 w 250031"/>
                <a:gd name="connsiteY54" fmla="*/ 142875 h 303460"/>
                <a:gd name="connsiteX55" fmla="*/ 211931 w 250031"/>
                <a:gd name="connsiteY55" fmla="*/ 142875 h 303460"/>
                <a:gd name="connsiteX56" fmla="*/ 214312 w 250031"/>
                <a:gd name="connsiteY56" fmla="*/ 154782 h 303460"/>
                <a:gd name="connsiteX57" fmla="*/ 223837 w 250031"/>
                <a:gd name="connsiteY57" fmla="*/ 169069 h 303460"/>
                <a:gd name="connsiteX58" fmla="*/ 219075 w 250031"/>
                <a:gd name="connsiteY58" fmla="*/ 176213 h 303460"/>
                <a:gd name="connsiteX59" fmla="*/ 211931 w 250031"/>
                <a:gd name="connsiteY59" fmla="*/ 190500 h 303460"/>
                <a:gd name="connsiteX60" fmla="*/ 200025 w 250031"/>
                <a:gd name="connsiteY60" fmla="*/ 192882 h 303460"/>
                <a:gd name="connsiteX61" fmla="*/ 183356 w 250031"/>
                <a:gd name="connsiteY61" fmla="*/ 197644 h 303460"/>
                <a:gd name="connsiteX62" fmla="*/ 176212 w 250031"/>
                <a:gd name="connsiteY62" fmla="*/ 195263 h 303460"/>
                <a:gd name="connsiteX63" fmla="*/ 178594 w 250031"/>
                <a:gd name="connsiteY63" fmla="*/ 188119 h 303460"/>
                <a:gd name="connsiteX64" fmla="*/ 173831 w 250031"/>
                <a:gd name="connsiteY64" fmla="*/ 169069 h 303460"/>
                <a:gd name="connsiteX65" fmla="*/ 159544 w 250031"/>
                <a:gd name="connsiteY65" fmla="*/ 178594 h 303460"/>
                <a:gd name="connsiteX66" fmla="*/ 157162 w 250031"/>
                <a:gd name="connsiteY66" fmla="*/ 185738 h 303460"/>
                <a:gd name="connsiteX67" fmla="*/ 152400 w 250031"/>
                <a:gd name="connsiteY67" fmla="*/ 192882 h 303460"/>
                <a:gd name="connsiteX68" fmla="*/ 142875 w 250031"/>
                <a:gd name="connsiteY68" fmla="*/ 214313 h 303460"/>
                <a:gd name="connsiteX69" fmla="*/ 145256 w 250031"/>
                <a:gd name="connsiteY69" fmla="*/ 221457 h 303460"/>
                <a:gd name="connsiteX70" fmla="*/ 138112 w 250031"/>
                <a:gd name="connsiteY70" fmla="*/ 245269 h 303460"/>
                <a:gd name="connsiteX71" fmla="*/ 130969 w 250031"/>
                <a:gd name="connsiteY71" fmla="*/ 250032 h 303460"/>
                <a:gd name="connsiteX72" fmla="*/ 121444 w 250031"/>
                <a:gd name="connsiteY72" fmla="*/ 247650 h 303460"/>
                <a:gd name="connsiteX73" fmla="*/ 114300 w 250031"/>
                <a:gd name="connsiteY73" fmla="*/ 242888 h 303460"/>
                <a:gd name="connsiteX74" fmla="*/ 107156 w 250031"/>
                <a:gd name="connsiteY74" fmla="*/ 240507 h 303460"/>
                <a:gd name="connsiteX75" fmla="*/ 114300 w 250031"/>
                <a:gd name="connsiteY75" fmla="*/ 257175 h 303460"/>
                <a:gd name="connsiteX76" fmla="*/ 121444 w 250031"/>
                <a:gd name="connsiteY76" fmla="*/ 271463 h 303460"/>
                <a:gd name="connsiteX77" fmla="*/ 123825 w 250031"/>
                <a:gd name="connsiteY77" fmla="*/ 280988 h 303460"/>
                <a:gd name="connsiteX78" fmla="*/ 130969 w 250031"/>
                <a:gd name="connsiteY78" fmla="*/ 283369 h 303460"/>
                <a:gd name="connsiteX79" fmla="*/ 145256 w 250031"/>
                <a:gd name="connsiteY79" fmla="*/ 290513 h 303460"/>
                <a:gd name="connsiteX80" fmla="*/ 142875 w 250031"/>
                <a:gd name="connsiteY80" fmla="*/ 302419 h 303460"/>
                <a:gd name="connsiteX81" fmla="*/ 123825 w 250031"/>
                <a:gd name="connsiteY81" fmla="*/ 300038 h 303460"/>
                <a:gd name="connsiteX82" fmla="*/ 109537 w 250031"/>
                <a:gd name="connsiteY82" fmla="*/ 290513 h 303460"/>
                <a:gd name="connsiteX83" fmla="*/ 100012 w 250031"/>
                <a:gd name="connsiteY83" fmla="*/ 276225 h 303460"/>
                <a:gd name="connsiteX84" fmla="*/ 85725 w 250031"/>
                <a:gd name="connsiteY84" fmla="*/ 266700 h 303460"/>
                <a:gd name="connsiteX85" fmla="*/ 59531 w 250031"/>
                <a:gd name="connsiteY85" fmla="*/ 266701 h 303460"/>
                <a:gd name="connsiteX86" fmla="*/ 45244 w 250031"/>
                <a:gd name="connsiteY86" fmla="*/ 259558 h 303460"/>
                <a:gd name="connsiteX87" fmla="*/ 28576 w 250031"/>
                <a:gd name="connsiteY87" fmla="*/ 247650 h 303460"/>
                <a:gd name="connsiteX88" fmla="*/ 57150 w 250031"/>
                <a:gd name="connsiteY88" fmla="*/ 242889 h 303460"/>
                <a:gd name="connsiteX89" fmla="*/ 30956 w 250031"/>
                <a:gd name="connsiteY89" fmla="*/ 235744 h 303460"/>
                <a:gd name="connsiteX90" fmla="*/ 26194 w 250031"/>
                <a:gd name="connsiteY90" fmla="*/ 230982 h 303460"/>
                <a:gd name="connsiteX0" fmla="*/ 26194 w 250031"/>
                <a:gd name="connsiteY0" fmla="*/ 230982 h 303460"/>
                <a:gd name="connsiteX1" fmla="*/ 14287 w 250031"/>
                <a:gd name="connsiteY1" fmla="*/ 221457 h 303460"/>
                <a:gd name="connsiteX2" fmla="*/ 7144 w 250031"/>
                <a:gd name="connsiteY2" fmla="*/ 216694 h 303460"/>
                <a:gd name="connsiteX3" fmla="*/ 4762 w 250031"/>
                <a:gd name="connsiteY3" fmla="*/ 209550 h 303460"/>
                <a:gd name="connsiteX4" fmla="*/ 11906 w 250031"/>
                <a:gd name="connsiteY4" fmla="*/ 195263 h 303460"/>
                <a:gd name="connsiteX5" fmla="*/ 26194 w 250031"/>
                <a:gd name="connsiteY5" fmla="*/ 190500 h 303460"/>
                <a:gd name="connsiteX6" fmla="*/ 33337 w 250031"/>
                <a:gd name="connsiteY6" fmla="*/ 183357 h 303460"/>
                <a:gd name="connsiteX7" fmla="*/ 38100 w 250031"/>
                <a:gd name="connsiteY7" fmla="*/ 173832 h 303460"/>
                <a:gd name="connsiteX8" fmla="*/ 30956 w 250031"/>
                <a:gd name="connsiteY8" fmla="*/ 171450 h 303460"/>
                <a:gd name="connsiteX9" fmla="*/ 14287 w 250031"/>
                <a:gd name="connsiteY9" fmla="*/ 166688 h 303460"/>
                <a:gd name="connsiteX10" fmla="*/ 7144 w 250031"/>
                <a:gd name="connsiteY10" fmla="*/ 161925 h 303460"/>
                <a:gd name="connsiteX11" fmla="*/ 0 w 250031"/>
                <a:gd name="connsiteY11" fmla="*/ 147638 h 303460"/>
                <a:gd name="connsiteX12" fmla="*/ 0 w 250031"/>
                <a:gd name="connsiteY12" fmla="*/ 140494 h 303460"/>
                <a:gd name="connsiteX13" fmla="*/ 7144 w 250031"/>
                <a:gd name="connsiteY13" fmla="*/ 135732 h 303460"/>
                <a:gd name="connsiteX14" fmla="*/ 9525 w 250031"/>
                <a:gd name="connsiteY14" fmla="*/ 128588 h 303460"/>
                <a:gd name="connsiteX15" fmla="*/ 9525 w 250031"/>
                <a:gd name="connsiteY15" fmla="*/ 119063 h 303460"/>
                <a:gd name="connsiteX16" fmla="*/ 14287 w 250031"/>
                <a:gd name="connsiteY16" fmla="*/ 111919 h 303460"/>
                <a:gd name="connsiteX17" fmla="*/ 28575 w 250031"/>
                <a:gd name="connsiteY17" fmla="*/ 107157 h 303460"/>
                <a:gd name="connsiteX18" fmla="*/ 30956 w 250031"/>
                <a:gd name="connsiteY18" fmla="*/ 100013 h 303460"/>
                <a:gd name="connsiteX19" fmla="*/ 26194 w 250031"/>
                <a:gd name="connsiteY19" fmla="*/ 85725 h 303460"/>
                <a:gd name="connsiteX20" fmla="*/ 35719 w 250031"/>
                <a:gd name="connsiteY20" fmla="*/ 69057 h 303460"/>
                <a:gd name="connsiteX21" fmla="*/ 47625 w 250031"/>
                <a:gd name="connsiteY21" fmla="*/ 57150 h 303460"/>
                <a:gd name="connsiteX22" fmla="*/ 57150 w 250031"/>
                <a:gd name="connsiteY22" fmla="*/ 66675 h 303460"/>
                <a:gd name="connsiteX23" fmla="*/ 71437 w 250031"/>
                <a:gd name="connsiteY23" fmla="*/ 73819 h 303460"/>
                <a:gd name="connsiteX24" fmla="*/ 76200 w 250031"/>
                <a:gd name="connsiteY24" fmla="*/ 45244 h 303460"/>
                <a:gd name="connsiteX25" fmla="*/ 73819 w 250031"/>
                <a:gd name="connsiteY25" fmla="*/ 38100 h 303460"/>
                <a:gd name="connsiteX26" fmla="*/ 59531 w 250031"/>
                <a:gd name="connsiteY26" fmla="*/ 30957 h 303460"/>
                <a:gd name="connsiteX27" fmla="*/ 52387 w 250031"/>
                <a:gd name="connsiteY27" fmla="*/ 26194 h 303460"/>
                <a:gd name="connsiteX28" fmla="*/ 54769 w 250031"/>
                <a:gd name="connsiteY28" fmla="*/ 19050 h 303460"/>
                <a:gd name="connsiteX29" fmla="*/ 57150 w 250031"/>
                <a:gd name="connsiteY29" fmla="*/ 7144 h 303460"/>
                <a:gd name="connsiteX30" fmla="*/ 78581 w 250031"/>
                <a:gd name="connsiteY30" fmla="*/ 14288 h 303460"/>
                <a:gd name="connsiteX31" fmla="*/ 85725 w 250031"/>
                <a:gd name="connsiteY31" fmla="*/ 7144 h 303460"/>
                <a:gd name="connsiteX32" fmla="*/ 102394 w 250031"/>
                <a:gd name="connsiteY32" fmla="*/ 0 h 303460"/>
                <a:gd name="connsiteX33" fmla="*/ 109537 w 250031"/>
                <a:gd name="connsiteY33" fmla="*/ 2382 h 303460"/>
                <a:gd name="connsiteX34" fmla="*/ 114300 w 250031"/>
                <a:gd name="connsiteY34" fmla="*/ 16669 h 303460"/>
                <a:gd name="connsiteX35" fmla="*/ 116681 w 250031"/>
                <a:gd name="connsiteY35" fmla="*/ 23813 h 303460"/>
                <a:gd name="connsiteX36" fmla="*/ 121444 w 250031"/>
                <a:gd name="connsiteY36" fmla="*/ 30957 h 303460"/>
                <a:gd name="connsiteX37" fmla="*/ 130969 w 250031"/>
                <a:gd name="connsiteY37" fmla="*/ 33338 h 303460"/>
                <a:gd name="connsiteX38" fmla="*/ 147637 w 250031"/>
                <a:gd name="connsiteY38" fmla="*/ 35719 h 303460"/>
                <a:gd name="connsiteX39" fmla="*/ 154781 w 250031"/>
                <a:gd name="connsiteY39" fmla="*/ 50007 h 303460"/>
                <a:gd name="connsiteX40" fmla="*/ 161925 w 250031"/>
                <a:gd name="connsiteY40" fmla="*/ 52388 h 303460"/>
                <a:gd name="connsiteX41" fmla="*/ 169069 w 250031"/>
                <a:gd name="connsiteY41" fmla="*/ 50007 h 303460"/>
                <a:gd name="connsiteX42" fmla="*/ 176212 w 250031"/>
                <a:gd name="connsiteY42" fmla="*/ 54769 h 303460"/>
                <a:gd name="connsiteX43" fmla="*/ 183356 w 250031"/>
                <a:gd name="connsiteY43" fmla="*/ 57150 h 303460"/>
                <a:gd name="connsiteX44" fmla="*/ 190500 w 250031"/>
                <a:gd name="connsiteY44" fmla="*/ 61913 h 303460"/>
                <a:gd name="connsiteX45" fmla="*/ 197644 w 250031"/>
                <a:gd name="connsiteY45" fmla="*/ 64294 h 303460"/>
                <a:gd name="connsiteX46" fmla="*/ 204787 w 250031"/>
                <a:gd name="connsiteY46" fmla="*/ 71438 h 303460"/>
                <a:gd name="connsiteX47" fmla="*/ 207169 w 250031"/>
                <a:gd name="connsiteY47" fmla="*/ 97632 h 303460"/>
                <a:gd name="connsiteX48" fmla="*/ 221456 w 250031"/>
                <a:gd name="connsiteY48" fmla="*/ 102394 h 303460"/>
                <a:gd name="connsiteX49" fmla="*/ 240506 w 250031"/>
                <a:gd name="connsiteY49" fmla="*/ 107157 h 303460"/>
                <a:gd name="connsiteX50" fmla="*/ 245269 w 250031"/>
                <a:gd name="connsiteY50" fmla="*/ 114300 h 303460"/>
                <a:gd name="connsiteX51" fmla="*/ 250031 w 250031"/>
                <a:gd name="connsiteY51" fmla="*/ 130969 h 303460"/>
                <a:gd name="connsiteX52" fmla="*/ 240506 w 250031"/>
                <a:gd name="connsiteY52" fmla="*/ 133350 h 303460"/>
                <a:gd name="connsiteX53" fmla="*/ 238125 w 250031"/>
                <a:gd name="connsiteY53" fmla="*/ 140494 h 303460"/>
                <a:gd name="connsiteX54" fmla="*/ 230981 w 250031"/>
                <a:gd name="connsiteY54" fmla="*/ 142875 h 303460"/>
                <a:gd name="connsiteX55" fmla="*/ 211931 w 250031"/>
                <a:gd name="connsiteY55" fmla="*/ 142875 h 303460"/>
                <a:gd name="connsiteX56" fmla="*/ 214312 w 250031"/>
                <a:gd name="connsiteY56" fmla="*/ 154782 h 303460"/>
                <a:gd name="connsiteX57" fmla="*/ 223837 w 250031"/>
                <a:gd name="connsiteY57" fmla="*/ 169069 h 303460"/>
                <a:gd name="connsiteX58" fmla="*/ 219075 w 250031"/>
                <a:gd name="connsiteY58" fmla="*/ 176213 h 303460"/>
                <a:gd name="connsiteX59" fmla="*/ 211931 w 250031"/>
                <a:gd name="connsiteY59" fmla="*/ 190500 h 303460"/>
                <a:gd name="connsiteX60" fmla="*/ 200025 w 250031"/>
                <a:gd name="connsiteY60" fmla="*/ 192882 h 303460"/>
                <a:gd name="connsiteX61" fmla="*/ 183356 w 250031"/>
                <a:gd name="connsiteY61" fmla="*/ 197644 h 303460"/>
                <a:gd name="connsiteX62" fmla="*/ 176212 w 250031"/>
                <a:gd name="connsiteY62" fmla="*/ 195263 h 303460"/>
                <a:gd name="connsiteX63" fmla="*/ 178594 w 250031"/>
                <a:gd name="connsiteY63" fmla="*/ 188119 h 303460"/>
                <a:gd name="connsiteX64" fmla="*/ 173831 w 250031"/>
                <a:gd name="connsiteY64" fmla="*/ 169069 h 303460"/>
                <a:gd name="connsiteX65" fmla="*/ 159544 w 250031"/>
                <a:gd name="connsiteY65" fmla="*/ 178594 h 303460"/>
                <a:gd name="connsiteX66" fmla="*/ 157162 w 250031"/>
                <a:gd name="connsiteY66" fmla="*/ 185738 h 303460"/>
                <a:gd name="connsiteX67" fmla="*/ 152400 w 250031"/>
                <a:gd name="connsiteY67" fmla="*/ 192882 h 303460"/>
                <a:gd name="connsiteX68" fmla="*/ 142875 w 250031"/>
                <a:gd name="connsiteY68" fmla="*/ 214313 h 303460"/>
                <a:gd name="connsiteX69" fmla="*/ 145256 w 250031"/>
                <a:gd name="connsiteY69" fmla="*/ 221457 h 303460"/>
                <a:gd name="connsiteX70" fmla="*/ 138112 w 250031"/>
                <a:gd name="connsiteY70" fmla="*/ 245269 h 303460"/>
                <a:gd name="connsiteX71" fmla="*/ 130969 w 250031"/>
                <a:gd name="connsiteY71" fmla="*/ 250032 h 303460"/>
                <a:gd name="connsiteX72" fmla="*/ 121444 w 250031"/>
                <a:gd name="connsiteY72" fmla="*/ 247650 h 303460"/>
                <a:gd name="connsiteX73" fmla="*/ 114300 w 250031"/>
                <a:gd name="connsiteY73" fmla="*/ 242888 h 303460"/>
                <a:gd name="connsiteX74" fmla="*/ 107156 w 250031"/>
                <a:gd name="connsiteY74" fmla="*/ 240507 h 303460"/>
                <a:gd name="connsiteX75" fmla="*/ 121444 w 250031"/>
                <a:gd name="connsiteY75" fmla="*/ 271463 h 303460"/>
                <a:gd name="connsiteX76" fmla="*/ 123825 w 250031"/>
                <a:gd name="connsiteY76" fmla="*/ 280988 h 303460"/>
                <a:gd name="connsiteX77" fmla="*/ 130969 w 250031"/>
                <a:gd name="connsiteY77" fmla="*/ 283369 h 303460"/>
                <a:gd name="connsiteX78" fmla="*/ 145256 w 250031"/>
                <a:gd name="connsiteY78" fmla="*/ 290513 h 303460"/>
                <a:gd name="connsiteX79" fmla="*/ 142875 w 250031"/>
                <a:gd name="connsiteY79" fmla="*/ 302419 h 303460"/>
                <a:gd name="connsiteX80" fmla="*/ 123825 w 250031"/>
                <a:gd name="connsiteY80" fmla="*/ 300038 h 303460"/>
                <a:gd name="connsiteX81" fmla="*/ 109537 w 250031"/>
                <a:gd name="connsiteY81" fmla="*/ 290513 h 303460"/>
                <a:gd name="connsiteX82" fmla="*/ 100012 w 250031"/>
                <a:gd name="connsiteY82" fmla="*/ 276225 h 303460"/>
                <a:gd name="connsiteX83" fmla="*/ 85725 w 250031"/>
                <a:gd name="connsiteY83" fmla="*/ 266700 h 303460"/>
                <a:gd name="connsiteX84" fmla="*/ 59531 w 250031"/>
                <a:gd name="connsiteY84" fmla="*/ 266701 h 303460"/>
                <a:gd name="connsiteX85" fmla="*/ 45244 w 250031"/>
                <a:gd name="connsiteY85" fmla="*/ 259558 h 303460"/>
                <a:gd name="connsiteX86" fmla="*/ 28576 w 250031"/>
                <a:gd name="connsiteY86" fmla="*/ 247650 h 303460"/>
                <a:gd name="connsiteX87" fmla="*/ 57150 w 250031"/>
                <a:gd name="connsiteY87" fmla="*/ 242889 h 303460"/>
                <a:gd name="connsiteX88" fmla="*/ 30956 w 250031"/>
                <a:gd name="connsiteY88" fmla="*/ 235744 h 303460"/>
                <a:gd name="connsiteX89" fmla="*/ 26194 w 250031"/>
                <a:gd name="connsiteY89" fmla="*/ 230982 h 303460"/>
                <a:gd name="connsiteX0" fmla="*/ 26194 w 250031"/>
                <a:gd name="connsiteY0" fmla="*/ 230982 h 303460"/>
                <a:gd name="connsiteX1" fmla="*/ 14287 w 250031"/>
                <a:gd name="connsiteY1" fmla="*/ 221457 h 303460"/>
                <a:gd name="connsiteX2" fmla="*/ 7144 w 250031"/>
                <a:gd name="connsiteY2" fmla="*/ 216694 h 303460"/>
                <a:gd name="connsiteX3" fmla="*/ 4762 w 250031"/>
                <a:gd name="connsiteY3" fmla="*/ 209550 h 303460"/>
                <a:gd name="connsiteX4" fmla="*/ 11906 w 250031"/>
                <a:gd name="connsiteY4" fmla="*/ 195263 h 303460"/>
                <a:gd name="connsiteX5" fmla="*/ 26194 w 250031"/>
                <a:gd name="connsiteY5" fmla="*/ 190500 h 303460"/>
                <a:gd name="connsiteX6" fmla="*/ 33337 w 250031"/>
                <a:gd name="connsiteY6" fmla="*/ 183357 h 303460"/>
                <a:gd name="connsiteX7" fmla="*/ 38100 w 250031"/>
                <a:gd name="connsiteY7" fmla="*/ 173832 h 303460"/>
                <a:gd name="connsiteX8" fmla="*/ 30956 w 250031"/>
                <a:gd name="connsiteY8" fmla="*/ 171450 h 303460"/>
                <a:gd name="connsiteX9" fmla="*/ 14287 w 250031"/>
                <a:gd name="connsiteY9" fmla="*/ 166688 h 303460"/>
                <a:gd name="connsiteX10" fmla="*/ 7144 w 250031"/>
                <a:gd name="connsiteY10" fmla="*/ 161925 h 303460"/>
                <a:gd name="connsiteX11" fmla="*/ 0 w 250031"/>
                <a:gd name="connsiteY11" fmla="*/ 147638 h 303460"/>
                <a:gd name="connsiteX12" fmla="*/ 0 w 250031"/>
                <a:gd name="connsiteY12" fmla="*/ 140494 h 303460"/>
                <a:gd name="connsiteX13" fmla="*/ 7144 w 250031"/>
                <a:gd name="connsiteY13" fmla="*/ 135732 h 303460"/>
                <a:gd name="connsiteX14" fmla="*/ 9525 w 250031"/>
                <a:gd name="connsiteY14" fmla="*/ 128588 h 303460"/>
                <a:gd name="connsiteX15" fmla="*/ 9525 w 250031"/>
                <a:gd name="connsiteY15" fmla="*/ 119063 h 303460"/>
                <a:gd name="connsiteX16" fmla="*/ 14287 w 250031"/>
                <a:gd name="connsiteY16" fmla="*/ 111919 h 303460"/>
                <a:gd name="connsiteX17" fmla="*/ 28575 w 250031"/>
                <a:gd name="connsiteY17" fmla="*/ 107157 h 303460"/>
                <a:gd name="connsiteX18" fmla="*/ 30956 w 250031"/>
                <a:gd name="connsiteY18" fmla="*/ 100013 h 303460"/>
                <a:gd name="connsiteX19" fmla="*/ 26194 w 250031"/>
                <a:gd name="connsiteY19" fmla="*/ 85725 h 303460"/>
                <a:gd name="connsiteX20" fmla="*/ 35719 w 250031"/>
                <a:gd name="connsiteY20" fmla="*/ 69057 h 303460"/>
                <a:gd name="connsiteX21" fmla="*/ 47625 w 250031"/>
                <a:gd name="connsiteY21" fmla="*/ 57150 h 303460"/>
                <a:gd name="connsiteX22" fmla="*/ 57150 w 250031"/>
                <a:gd name="connsiteY22" fmla="*/ 66675 h 303460"/>
                <a:gd name="connsiteX23" fmla="*/ 71437 w 250031"/>
                <a:gd name="connsiteY23" fmla="*/ 73819 h 303460"/>
                <a:gd name="connsiteX24" fmla="*/ 76200 w 250031"/>
                <a:gd name="connsiteY24" fmla="*/ 45244 h 303460"/>
                <a:gd name="connsiteX25" fmla="*/ 73819 w 250031"/>
                <a:gd name="connsiteY25" fmla="*/ 38100 h 303460"/>
                <a:gd name="connsiteX26" fmla="*/ 59531 w 250031"/>
                <a:gd name="connsiteY26" fmla="*/ 30957 h 303460"/>
                <a:gd name="connsiteX27" fmla="*/ 52387 w 250031"/>
                <a:gd name="connsiteY27" fmla="*/ 26194 h 303460"/>
                <a:gd name="connsiteX28" fmla="*/ 54769 w 250031"/>
                <a:gd name="connsiteY28" fmla="*/ 19050 h 303460"/>
                <a:gd name="connsiteX29" fmla="*/ 57150 w 250031"/>
                <a:gd name="connsiteY29" fmla="*/ 7144 h 303460"/>
                <a:gd name="connsiteX30" fmla="*/ 78581 w 250031"/>
                <a:gd name="connsiteY30" fmla="*/ 14288 h 303460"/>
                <a:gd name="connsiteX31" fmla="*/ 85725 w 250031"/>
                <a:gd name="connsiteY31" fmla="*/ 7144 h 303460"/>
                <a:gd name="connsiteX32" fmla="*/ 102394 w 250031"/>
                <a:gd name="connsiteY32" fmla="*/ 0 h 303460"/>
                <a:gd name="connsiteX33" fmla="*/ 109537 w 250031"/>
                <a:gd name="connsiteY33" fmla="*/ 2382 h 303460"/>
                <a:gd name="connsiteX34" fmla="*/ 114300 w 250031"/>
                <a:gd name="connsiteY34" fmla="*/ 16669 h 303460"/>
                <a:gd name="connsiteX35" fmla="*/ 116681 w 250031"/>
                <a:gd name="connsiteY35" fmla="*/ 23813 h 303460"/>
                <a:gd name="connsiteX36" fmla="*/ 121444 w 250031"/>
                <a:gd name="connsiteY36" fmla="*/ 30957 h 303460"/>
                <a:gd name="connsiteX37" fmla="*/ 130969 w 250031"/>
                <a:gd name="connsiteY37" fmla="*/ 33338 h 303460"/>
                <a:gd name="connsiteX38" fmla="*/ 147637 w 250031"/>
                <a:gd name="connsiteY38" fmla="*/ 35719 h 303460"/>
                <a:gd name="connsiteX39" fmla="*/ 154781 w 250031"/>
                <a:gd name="connsiteY39" fmla="*/ 50007 h 303460"/>
                <a:gd name="connsiteX40" fmla="*/ 161925 w 250031"/>
                <a:gd name="connsiteY40" fmla="*/ 52388 h 303460"/>
                <a:gd name="connsiteX41" fmla="*/ 169069 w 250031"/>
                <a:gd name="connsiteY41" fmla="*/ 50007 h 303460"/>
                <a:gd name="connsiteX42" fmla="*/ 176212 w 250031"/>
                <a:gd name="connsiteY42" fmla="*/ 54769 h 303460"/>
                <a:gd name="connsiteX43" fmla="*/ 183356 w 250031"/>
                <a:gd name="connsiteY43" fmla="*/ 57150 h 303460"/>
                <a:gd name="connsiteX44" fmla="*/ 190500 w 250031"/>
                <a:gd name="connsiteY44" fmla="*/ 61913 h 303460"/>
                <a:gd name="connsiteX45" fmla="*/ 197644 w 250031"/>
                <a:gd name="connsiteY45" fmla="*/ 64294 h 303460"/>
                <a:gd name="connsiteX46" fmla="*/ 204787 w 250031"/>
                <a:gd name="connsiteY46" fmla="*/ 71438 h 303460"/>
                <a:gd name="connsiteX47" fmla="*/ 207169 w 250031"/>
                <a:gd name="connsiteY47" fmla="*/ 97632 h 303460"/>
                <a:gd name="connsiteX48" fmla="*/ 221456 w 250031"/>
                <a:gd name="connsiteY48" fmla="*/ 102394 h 303460"/>
                <a:gd name="connsiteX49" fmla="*/ 240506 w 250031"/>
                <a:gd name="connsiteY49" fmla="*/ 107157 h 303460"/>
                <a:gd name="connsiteX50" fmla="*/ 245269 w 250031"/>
                <a:gd name="connsiteY50" fmla="*/ 114300 h 303460"/>
                <a:gd name="connsiteX51" fmla="*/ 250031 w 250031"/>
                <a:gd name="connsiteY51" fmla="*/ 130969 h 303460"/>
                <a:gd name="connsiteX52" fmla="*/ 240506 w 250031"/>
                <a:gd name="connsiteY52" fmla="*/ 133350 h 303460"/>
                <a:gd name="connsiteX53" fmla="*/ 238125 w 250031"/>
                <a:gd name="connsiteY53" fmla="*/ 140494 h 303460"/>
                <a:gd name="connsiteX54" fmla="*/ 230981 w 250031"/>
                <a:gd name="connsiteY54" fmla="*/ 142875 h 303460"/>
                <a:gd name="connsiteX55" fmla="*/ 211931 w 250031"/>
                <a:gd name="connsiteY55" fmla="*/ 142875 h 303460"/>
                <a:gd name="connsiteX56" fmla="*/ 214312 w 250031"/>
                <a:gd name="connsiteY56" fmla="*/ 154782 h 303460"/>
                <a:gd name="connsiteX57" fmla="*/ 223837 w 250031"/>
                <a:gd name="connsiteY57" fmla="*/ 169069 h 303460"/>
                <a:gd name="connsiteX58" fmla="*/ 219075 w 250031"/>
                <a:gd name="connsiteY58" fmla="*/ 176213 h 303460"/>
                <a:gd name="connsiteX59" fmla="*/ 211931 w 250031"/>
                <a:gd name="connsiteY59" fmla="*/ 190500 h 303460"/>
                <a:gd name="connsiteX60" fmla="*/ 200025 w 250031"/>
                <a:gd name="connsiteY60" fmla="*/ 192882 h 303460"/>
                <a:gd name="connsiteX61" fmla="*/ 183356 w 250031"/>
                <a:gd name="connsiteY61" fmla="*/ 197644 h 303460"/>
                <a:gd name="connsiteX62" fmla="*/ 176212 w 250031"/>
                <a:gd name="connsiteY62" fmla="*/ 195263 h 303460"/>
                <a:gd name="connsiteX63" fmla="*/ 178594 w 250031"/>
                <a:gd name="connsiteY63" fmla="*/ 188119 h 303460"/>
                <a:gd name="connsiteX64" fmla="*/ 173831 w 250031"/>
                <a:gd name="connsiteY64" fmla="*/ 169069 h 303460"/>
                <a:gd name="connsiteX65" fmla="*/ 159544 w 250031"/>
                <a:gd name="connsiteY65" fmla="*/ 178594 h 303460"/>
                <a:gd name="connsiteX66" fmla="*/ 157162 w 250031"/>
                <a:gd name="connsiteY66" fmla="*/ 185738 h 303460"/>
                <a:gd name="connsiteX67" fmla="*/ 152400 w 250031"/>
                <a:gd name="connsiteY67" fmla="*/ 192882 h 303460"/>
                <a:gd name="connsiteX68" fmla="*/ 142875 w 250031"/>
                <a:gd name="connsiteY68" fmla="*/ 214313 h 303460"/>
                <a:gd name="connsiteX69" fmla="*/ 145256 w 250031"/>
                <a:gd name="connsiteY69" fmla="*/ 221457 h 303460"/>
                <a:gd name="connsiteX70" fmla="*/ 138112 w 250031"/>
                <a:gd name="connsiteY70" fmla="*/ 245269 h 303460"/>
                <a:gd name="connsiteX71" fmla="*/ 130969 w 250031"/>
                <a:gd name="connsiteY71" fmla="*/ 250032 h 303460"/>
                <a:gd name="connsiteX72" fmla="*/ 121444 w 250031"/>
                <a:gd name="connsiteY72" fmla="*/ 247650 h 303460"/>
                <a:gd name="connsiteX73" fmla="*/ 114300 w 250031"/>
                <a:gd name="connsiteY73" fmla="*/ 242888 h 303460"/>
                <a:gd name="connsiteX74" fmla="*/ 121444 w 250031"/>
                <a:gd name="connsiteY74" fmla="*/ 271463 h 303460"/>
                <a:gd name="connsiteX75" fmla="*/ 123825 w 250031"/>
                <a:gd name="connsiteY75" fmla="*/ 280988 h 303460"/>
                <a:gd name="connsiteX76" fmla="*/ 130969 w 250031"/>
                <a:gd name="connsiteY76" fmla="*/ 283369 h 303460"/>
                <a:gd name="connsiteX77" fmla="*/ 145256 w 250031"/>
                <a:gd name="connsiteY77" fmla="*/ 290513 h 303460"/>
                <a:gd name="connsiteX78" fmla="*/ 142875 w 250031"/>
                <a:gd name="connsiteY78" fmla="*/ 302419 h 303460"/>
                <a:gd name="connsiteX79" fmla="*/ 123825 w 250031"/>
                <a:gd name="connsiteY79" fmla="*/ 300038 h 303460"/>
                <a:gd name="connsiteX80" fmla="*/ 109537 w 250031"/>
                <a:gd name="connsiteY80" fmla="*/ 290513 h 303460"/>
                <a:gd name="connsiteX81" fmla="*/ 100012 w 250031"/>
                <a:gd name="connsiteY81" fmla="*/ 276225 h 303460"/>
                <a:gd name="connsiteX82" fmla="*/ 85725 w 250031"/>
                <a:gd name="connsiteY82" fmla="*/ 266700 h 303460"/>
                <a:gd name="connsiteX83" fmla="*/ 59531 w 250031"/>
                <a:gd name="connsiteY83" fmla="*/ 266701 h 303460"/>
                <a:gd name="connsiteX84" fmla="*/ 45244 w 250031"/>
                <a:gd name="connsiteY84" fmla="*/ 259558 h 303460"/>
                <a:gd name="connsiteX85" fmla="*/ 28576 w 250031"/>
                <a:gd name="connsiteY85" fmla="*/ 247650 h 303460"/>
                <a:gd name="connsiteX86" fmla="*/ 57150 w 250031"/>
                <a:gd name="connsiteY86" fmla="*/ 242889 h 303460"/>
                <a:gd name="connsiteX87" fmla="*/ 30956 w 250031"/>
                <a:gd name="connsiteY87" fmla="*/ 235744 h 303460"/>
                <a:gd name="connsiteX88" fmla="*/ 26194 w 250031"/>
                <a:gd name="connsiteY88" fmla="*/ 230982 h 303460"/>
                <a:gd name="connsiteX0" fmla="*/ 26194 w 250031"/>
                <a:gd name="connsiteY0" fmla="*/ 230982 h 303460"/>
                <a:gd name="connsiteX1" fmla="*/ 14287 w 250031"/>
                <a:gd name="connsiteY1" fmla="*/ 221457 h 303460"/>
                <a:gd name="connsiteX2" fmla="*/ 7144 w 250031"/>
                <a:gd name="connsiteY2" fmla="*/ 216694 h 303460"/>
                <a:gd name="connsiteX3" fmla="*/ 4762 w 250031"/>
                <a:gd name="connsiteY3" fmla="*/ 209550 h 303460"/>
                <a:gd name="connsiteX4" fmla="*/ 11906 w 250031"/>
                <a:gd name="connsiteY4" fmla="*/ 195263 h 303460"/>
                <a:gd name="connsiteX5" fmla="*/ 26194 w 250031"/>
                <a:gd name="connsiteY5" fmla="*/ 190500 h 303460"/>
                <a:gd name="connsiteX6" fmla="*/ 33337 w 250031"/>
                <a:gd name="connsiteY6" fmla="*/ 183357 h 303460"/>
                <a:gd name="connsiteX7" fmla="*/ 38100 w 250031"/>
                <a:gd name="connsiteY7" fmla="*/ 173832 h 303460"/>
                <a:gd name="connsiteX8" fmla="*/ 30956 w 250031"/>
                <a:gd name="connsiteY8" fmla="*/ 171450 h 303460"/>
                <a:gd name="connsiteX9" fmla="*/ 14287 w 250031"/>
                <a:gd name="connsiteY9" fmla="*/ 166688 h 303460"/>
                <a:gd name="connsiteX10" fmla="*/ 7144 w 250031"/>
                <a:gd name="connsiteY10" fmla="*/ 161925 h 303460"/>
                <a:gd name="connsiteX11" fmla="*/ 0 w 250031"/>
                <a:gd name="connsiteY11" fmla="*/ 147638 h 303460"/>
                <a:gd name="connsiteX12" fmla="*/ 0 w 250031"/>
                <a:gd name="connsiteY12" fmla="*/ 140494 h 303460"/>
                <a:gd name="connsiteX13" fmla="*/ 7144 w 250031"/>
                <a:gd name="connsiteY13" fmla="*/ 135732 h 303460"/>
                <a:gd name="connsiteX14" fmla="*/ 9525 w 250031"/>
                <a:gd name="connsiteY14" fmla="*/ 128588 h 303460"/>
                <a:gd name="connsiteX15" fmla="*/ 9525 w 250031"/>
                <a:gd name="connsiteY15" fmla="*/ 119063 h 303460"/>
                <a:gd name="connsiteX16" fmla="*/ 14287 w 250031"/>
                <a:gd name="connsiteY16" fmla="*/ 111919 h 303460"/>
                <a:gd name="connsiteX17" fmla="*/ 28575 w 250031"/>
                <a:gd name="connsiteY17" fmla="*/ 107157 h 303460"/>
                <a:gd name="connsiteX18" fmla="*/ 30956 w 250031"/>
                <a:gd name="connsiteY18" fmla="*/ 100013 h 303460"/>
                <a:gd name="connsiteX19" fmla="*/ 26194 w 250031"/>
                <a:gd name="connsiteY19" fmla="*/ 85725 h 303460"/>
                <a:gd name="connsiteX20" fmla="*/ 35719 w 250031"/>
                <a:gd name="connsiteY20" fmla="*/ 69057 h 303460"/>
                <a:gd name="connsiteX21" fmla="*/ 47625 w 250031"/>
                <a:gd name="connsiteY21" fmla="*/ 57150 h 303460"/>
                <a:gd name="connsiteX22" fmla="*/ 57150 w 250031"/>
                <a:gd name="connsiteY22" fmla="*/ 66675 h 303460"/>
                <a:gd name="connsiteX23" fmla="*/ 71437 w 250031"/>
                <a:gd name="connsiteY23" fmla="*/ 73819 h 303460"/>
                <a:gd name="connsiteX24" fmla="*/ 76200 w 250031"/>
                <a:gd name="connsiteY24" fmla="*/ 45244 h 303460"/>
                <a:gd name="connsiteX25" fmla="*/ 73819 w 250031"/>
                <a:gd name="connsiteY25" fmla="*/ 38100 h 303460"/>
                <a:gd name="connsiteX26" fmla="*/ 59531 w 250031"/>
                <a:gd name="connsiteY26" fmla="*/ 30957 h 303460"/>
                <a:gd name="connsiteX27" fmla="*/ 52387 w 250031"/>
                <a:gd name="connsiteY27" fmla="*/ 26194 h 303460"/>
                <a:gd name="connsiteX28" fmla="*/ 54769 w 250031"/>
                <a:gd name="connsiteY28" fmla="*/ 19050 h 303460"/>
                <a:gd name="connsiteX29" fmla="*/ 57150 w 250031"/>
                <a:gd name="connsiteY29" fmla="*/ 7144 h 303460"/>
                <a:gd name="connsiteX30" fmla="*/ 78581 w 250031"/>
                <a:gd name="connsiteY30" fmla="*/ 14288 h 303460"/>
                <a:gd name="connsiteX31" fmla="*/ 85725 w 250031"/>
                <a:gd name="connsiteY31" fmla="*/ 7144 h 303460"/>
                <a:gd name="connsiteX32" fmla="*/ 102394 w 250031"/>
                <a:gd name="connsiteY32" fmla="*/ 0 h 303460"/>
                <a:gd name="connsiteX33" fmla="*/ 109537 w 250031"/>
                <a:gd name="connsiteY33" fmla="*/ 2382 h 303460"/>
                <a:gd name="connsiteX34" fmla="*/ 114300 w 250031"/>
                <a:gd name="connsiteY34" fmla="*/ 16669 h 303460"/>
                <a:gd name="connsiteX35" fmla="*/ 116681 w 250031"/>
                <a:gd name="connsiteY35" fmla="*/ 23813 h 303460"/>
                <a:gd name="connsiteX36" fmla="*/ 121444 w 250031"/>
                <a:gd name="connsiteY36" fmla="*/ 30957 h 303460"/>
                <a:gd name="connsiteX37" fmla="*/ 130969 w 250031"/>
                <a:gd name="connsiteY37" fmla="*/ 33338 h 303460"/>
                <a:gd name="connsiteX38" fmla="*/ 147637 w 250031"/>
                <a:gd name="connsiteY38" fmla="*/ 35719 h 303460"/>
                <a:gd name="connsiteX39" fmla="*/ 154781 w 250031"/>
                <a:gd name="connsiteY39" fmla="*/ 50007 h 303460"/>
                <a:gd name="connsiteX40" fmla="*/ 161925 w 250031"/>
                <a:gd name="connsiteY40" fmla="*/ 52388 h 303460"/>
                <a:gd name="connsiteX41" fmla="*/ 169069 w 250031"/>
                <a:gd name="connsiteY41" fmla="*/ 50007 h 303460"/>
                <a:gd name="connsiteX42" fmla="*/ 176212 w 250031"/>
                <a:gd name="connsiteY42" fmla="*/ 54769 h 303460"/>
                <a:gd name="connsiteX43" fmla="*/ 183356 w 250031"/>
                <a:gd name="connsiteY43" fmla="*/ 57150 h 303460"/>
                <a:gd name="connsiteX44" fmla="*/ 190500 w 250031"/>
                <a:gd name="connsiteY44" fmla="*/ 61913 h 303460"/>
                <a:gd name="connsiteX45" fmla="*/ 197644 w 250031"/>
                <a:gd name="connsiteY45" fmla="*/ 64294 h 303460"/>
                <a:gd name="connsiteX46" fmla="*/ 204787 w 250031"/>
                <a:gd name="connsiteY46" fmla="*/ 71438 h 303460"/>
                <a:gd name="connsiteX47" fmla="*/ 207169 w 250031"/>
                <a:gd name="connsiteY47" fmla="*/ 97632 h 303460"/>
                <a:gd name="connsiteX48" fmla="*/ 221456 w 250031"/>
                <a:gd name="connsiteY48" fmla="*/ 102394 h 303460"/>
                <a:gd name="connsiteX49" fmla="*/ 240506 w 250031"/>
                <a:gd name="connsiteY49" fmla="*/ 107157 h 303460"/>
                <a:gd name="connsiteX50" fmla="*/ 245269 w 250031"/>
                <a:gd name="connsiteY50" fmla="*/ 114300 h 303460"/>
                <a:gd name="connsiteX51" fmla="*/ 250031 w 250031"/>
                <a:gd name="connsiteY51" fmla="*/ 130969 h 303460"/>
                <a:gd name="connsiteX52" fmla="*/ 240506 w 250031"/>
                <a:gd name="connsiteY52" fmla="*/ 133350 h 303460"/>
                <a:gd name="connsiteX53" fmla="*/ 238125 w 250031"/>
                <a:gd name="connsiteY53" fmla="*/ 140494 h 303460"/>
                <a:gd name="connsiteX54" fmla="*/ 230981 w 250031"/>
                <a:gd name="connsiteY54" fmla="*/ 142875 h 303460"/>
                <a:gd name="connsiteX55" fmla="*/ 211931 w 250031"/>
                <a:gd name="connsiteY55" fmla="*/ 142875 h 303460"/>
                <a:gd name="connsiteX56" fmla="*/ 214312 w 250031"/>
                <a:gd name="connsiteY56" fmla="*/ 154782 h 303460"/>
                <a:gd name="connsiteX57" fmla="*/ 223837 w 250031"/>
                <a:gd name="connsiteY57" fmla="*/ 169069 h 303460"/>
                <a:gd name="connsiteX58" fmla="*/ 219075 w 250031"/>
                <a:gd name="connsiteY58" fmla="*/ 176213 h 303460"/>
                <a:gd name="connsiteX59" fmla="*/ 211931 w 250031"/>
                <a:gd name="connsiteY59" fmla="*/ 190500 h 303460"/>
                <a:gd name="connsiteX60" fmla="*/ 200025 w 250031"/>
                <a:gd name="connsiteY60" fmla="*/ 192882 h 303460"/>
                <a:gd name="connsiteX61" fmla="*/ 183356 w 250031"/>
                <a:gd name="connsiteY61" fmla="*/ 197644 h 303460"/>
                <a:gd name="connsiteX62" fmla="*/ 176212 w 250031"/>
                <a:gd name="connsiteY62" fmla="*/ 195263 h 303460"/>
                <a:gd name="connsiteX63" fmla="*/ 178594 w 250031"/>
                <a:gd name="connsiteY63" fmla="*/ 188119 h 303460"/>
                <a:gd name="connsiteX64" fmla="*/ 173831 w 250031"/>
                <a:gd name="connsiteY64" fmla="*/ 169069 h 303460"/>
                <a:gd name="connsiteX65" fmla="*/ 159544 w 250031"/>
                <a:gd name="connsiteY65" fmla="*/ 178594 h 303460"/>
                <a:gd name="connsiteX66" fmla="*/ 157162 w 250031"/>
                <a:gd name="connsiteY66" fmla="*/ 185738 h 303460"/>
                <a:gd name="connsiteX67" fmla="*/ 152400 w 250031"/>
                <a:gd name="connsiteY67" fmla="*/ 192882 h 303460"/>
                <a:gd name="connsiteX68" fmla="*/ 142875 w 250031"/>
                <a:gd name="connsiteY68" fmla="*/ 214313 h 303460"/>
                <a:gd name="connsiteX69" fmla="*/ 145256 w 250031"/>
                <a:gd name="connsiteY69" fmla="*/ 221457 h 303460"/>
                <a:gd name="connsiteX70" fmla="*/ 138112 w 250031"/>
                <a:gd name="connsiteY70" fmla="*/ 245269 h 303460"/>
                <a:gd name="connsiteX71" fmla="*/ 130969 w 250031"/>
                <a:gd name="connsiteY71" fmla="*/ 250032 h 303460"/>
                <a:gd name="connsiteX72" fmla="*/ 121444 w 250031"/>
                <a:gd name="connsiteY72" fmla="*/ 247650 h 303460"/>
                <a:gd name="connsiteX73" fmla="*/ 121444 w 250031"/>
                <a:gd name="connsiteY73" fmla="*/ 271463 h 303460"/>
                <a:gd name="connsiteX74" fmla="*/ 123825 w 250031"/>
                <a:gd name="connsiteY74" fmla="*/ 280988 h 303460"/>
                <a:gd name="connsiteX75" fmla="*/ 130969 w 250031"/>
                <a:gd name="connsiteY75" fmla="*/ 283369 h 303460"/>
                <a:gd name="connsiteX76" fmla="*/ 145256 w 250031"/>
                <a:gd name="connsiteY76" fmla="*/ 290513 h 303460"/>
                <a:gd name="connsiteX77" fmla="*/ 142875 w 250031"/>
                <a:gd name="connsiteY77" fmla="*/ 302419 h 303460"/>
                <a:gd name="connsiteX78" fmla="*/ 123825 w 250031"/>
                <a:gd name="connsiteY78" fmla="*/ 300038 h 303460"/>
                <a:gd name="connsiteX79" fmla="*/ 109537 w 250031"/>
                <a:gd name="connsiteY79" fmla="*/ 290513 h 303460"/>
                <a:gd name="connsiteX80" fmla="*/ 100012 w 250031"/>
                <a:gd name="connsiteY80" fmla="*/ 276225 h 303460"/>
                <a:gd name="connsiteX81" fmla="*/ 85725 w 250031"/>
                <a:gd name="connsiteY81" fmla="*/ 266700 h 303460"/>
                <a:gd name="connsiteX82" fmla="*/ 59531 w 250031"/>
                <a:gd name="connsiteY82" fmla="*/ 266701 h 303460"/>
                <a:gd name="connsiteX83" fmla="*/ 45244 w 250031"/>
                <a:gd name="connsiteY83" fmla="*/ 259558 h 303460"/>
                <a:gd name="connsiteX84" fmla="*/ 28576 w 250031"/>
                <a:gd name="connsiteY84" fmla="*/ 247650 h 303460"/>
                <a:gd name="connsiteX85" fmla="*/ 57150 w 250031"/>
                <a:gd name="connsiteY85" fmla="*/ 242889 h 303460"/>
                <a:gd name="connsiteX86" fmla="*/ 30956 w 250031"/>
                <a:gd name="connsiteY86" fmla="*/ 235744 h 303460"/>
                <a:gd name="connsiteX87" fmla="*/ 26194 w 250031"/>
                <a:gd name="connsiteY87" fmla="*/ 230982 h 303460"/>
                <a:gd name="connsiteX0" fmla="*/ 26194 w 250031"/>
                <a:gd name="connsiteY0" fmla="*/ 230982 h 303460"/>
                <a:gd name="connsiteX1" fmla="*/ 14287 w 250031"/>
                <a:gd name="connsiteY1" fmla="*/ 221457 h 303460"/>
                <a:gd name="connsiteX2" fmla="*/ 7144 w 250031"/>
                <a:gd name="connsiteY2" fmla="*/ 216694 h 303460"/>
                <a:gd name="connsiteX3" fmla="*/ 4762 w 250031"/>
                <a:gd name="connsiteY3" fmla="*/ 209550 h 303460"/>
                <a:gd name="connsiteX4" fmla="*/ 11906 w 250031"/>
                <a:gd name="connsiteY4" fmla="*/ 195263 h 303460"/>
                <a:gd name="connsiteX5" fmla="*/ 26194 w 250031"/>
                <a:gd name="connsiteY5" fmla="*/ 190500 h 303460"/>
                <a:gd name="connsiteX6" fmla="*/ 33337 w 250031"/>
                <a:gd name="connsiteY6" fmla="*/ 183357 h 303460"/>
                <a:gd name="connsiteX7" fmla="*/ 38100 w 250031"/>
                <a:gd name="connsiteY7" fmla="*/ 173832 h 303460"/>
                <a:gd name="connsiteX8" fmla="*/ 30956 w 250031"/>
                <a:gd name="connsiteY8" fmla="*/ 171450 h 303460"/>
                <a:gd name="connsiteX9" fmla="*/ 14287 w 250031"/>
                <a:gd name="connsiteY9" fmla="*/ 166688 h 303460"/>
                <a:gd name="connsiteX10" fmla="*/ 7144 w 250031"/>
                <a:gd name="connsiteY10" fmla="*/ 161925 h 303460"/>
                <a:gd name="connsiteX11" fmla="*/ 0 w 250031"/>
                <a:gd name="connsiteY11" fmla="*/ 147638 h 303460"/>
                <a:gd name="connsiteX12" fmla="*/ 0 w 250031"/>
                <a:gd name="connsiteY12" fmla="*/ 140494 h 303460"/>
                <a:gd name="connsiteX13" fmla="*/ 7144 w 250031"/>
                <a:gd name="connsiteY13" fmla="*/ 135732 h 303460"/>
                <a:gd name="connsiteX14" fmla="*/ 9525 w 250031"/>
                <a:gd name="connsiteY14" fmla="*/ 128588 h 303460"/>
                <a:gd name="connsiteX15" fmla="*/ 9525 w 250031"/>
                <a:gd name="connsiteY15" fmla="*/ 119063 h 303460"/>
                <a:gd name="connsiteX16" fmla="*/ 14287 w 250031"/>
                <a:gd name="connsiteY16" fmla="*/ 111919 h 303460"/>
                <a:gd name="connsiteX17" fmla="*/ 28575 w 250031"/>
                <a:gd name="connsiteY17" fmla="*/ 107157 h 303460"/>
                <a:gd name="connsiteX18" fmla="*/ 30956 w 250031"/>
                <a:gd name="connsiteY18" fmla="*/ 100013 h 303460"/>
                <a:gd name="connsiteX19" fmla="*/ 26194 w 250031"/>
                <a:gd name="connsiteY19" fmla="*/ 85725 h 303460"/>
                <a:gd name="connsiteX20" fmla="*/ 35719 w 250031"/>
                <a:gd name="connsiteY20" fmla="*/ 69057 h 303460"/>
                <a:gd name="connsiteX21" fmla="*/ 47625 w 250031"/>
                <a:gd name="connsiteY21" fmla="*/ 57150 h 303460"/>
                <a:gd name="connsiteX22" fmla="*/ 57150 w 250031"/>
                <a:gd name="connsiteY22" fmla="*/ 66675 h 303460"/>
                <a:gd name="connsiteX23" fmla="*/ 71437 w 250031"/>
                <a:gd name="connsiteY23" fmla="*/ 73819 h 303460"/>
                <a:gd name="connsiteX24" fmla="*/ 76200 w 250031"/>
                <a:gd name="connsiteY24" fmla="*/ 45244 h 303460"/>
                <a:gd name="connsiteX25" fmla="*/ 73819 w 250031"/>
                <a:gd name="connsiteY25" fmla="*/ 38100 h 303460"/>
                <a:gd name="connsiteX26" fmla="*/ 59531 w 250031"/>
                <a:gd name="connsiteY26" fmla="*/ 30957 h 303460"/>
                <a:gd name="connsiteX27" fmla="*/ 52387 w 250031"/>
                <a:gd name="connsiteY27" fmla="*/ 26194 h 303460"/>
                <a:gd name="connsiteX28" fmla="*/ 54769 w 250031"/>
                <a:gd name="connsiteY28" fmla="*/ 19050 h 303460"/>
                <a:gd name="connsiteX29" fmla="*/ 57150 w 250031"/>
                <a:gd name="connsiteY29" fmla="*/ 7144 h 303460"/>
                <a:gd name="connsiteX30" fmla="*/ 78581 w 250031"/>
                <a:gd name="connsiteY30" fmla="*/ 14288 h 303460"/>
                <a:gd name="connsiteX31" fmla="*/ 85725 w 250031"/>
                <a:gd name="connsiteY31" fmla="*/ 7144 h 303460"/>
                <a:gd name="connsiteX32" fmla="*/ 102394 w 250031"/>
                <a:gd name="connsiteY32" fmla="*/ 0 h 303460"/>
                <a:gd name="connsiteX33" fmla="*/ 109537 w 250031"/>
                <a:gd name="connsiteY33" fmla="*/ 2382 h 303460"/>
                <a:gd name="connsiteX34" fmla="*/ 114300 w 250031"/>
                <a:gd name="connsiteY34" fmla="*/ 16669 h 303460"/>
                <a:gd name="connsiteX35" fmla="*/ 116681 w 250031"/>
                <a:gd name="connsiteY35" fmla="*/ 23813 h 303460"/>
                <a:gd name="connsiteX36" fmla="*/ 121444 w 250031"/>
                <a:gd name="connsiteY36" fmla="*/ 30957 h 303460"/>
                <a:gd name="connsiteX37" fmla="*/ 130969 w 250031"/>
                <a:gd name="connsiteY37" fmla="*/ 33338 h 303460"/>
                <a:gd name="connsiteX38" fmla="*/ 147637 w 250031"/>
                <a:gd name="connsiteY38" fmla="*/ 35719 h 303460"/>
                <a:gd name="connsiteX39" fmla="*/ 154781 w 250031"/>
                <a:gd name="connsiteY39" fmla="*/ 50007 h 303460"/>
                <a:gd name="connsiteX40" fmla="*/ 161925 w 250031"/>
                <a:gd name="connsiteY40" fmla="*/ 52388 h 303460"/>
                <a:gd name="connsiteX41" fmla="*/ 169069 w 250031"/>
                <a:gd name="connsiteY41" fmla="*/ 50007 h 303460"/>
                <a:gd name="connsiteX42" fmla="*/ 176212 w 250031"/>
                <a:gd name="connsiteY42" fmla="*/ 54769 h 303460"/>
                <a:gd name="connsiteX43" fmla="*/ 183356 w 250031"/>
                <a:gd name="connsiteY43" fmla="*/ 57150 h 303460"/>
                <a:gd name="connsiteX44" fmla="*/ 190500 w 250031"/>
                <a:gd name="connsiteY44" fmla="*/ 61913 h 303460"/>
                <a:gd name="connsiteX45" fmla="*/ 197644 w 250031"/>
                <a:gd name="connsiteY45" fmla="*/ 64294 h 303460"/>
                <a:gd name="connsiteX46" fmla="*/ 204787 w 250031"/>
                <a:gd name="connsiteY46" fmla="*/ 71438 h 303460"/>
                <a:gd name="connsiteX47" fmla="*/ 207169 w 250031"/>
                <a:gd name="connsiteY47" fmla="*/ 97632 h 303460"/>
                <a:gd name="connsiteX48" fmla="*/ 221456 w 250031"/>
                <a:gd name="connsiteY48" fmla="*/ 102394 h 303460"/>
                <a:gd name="connsiteX49" fmla="*/ 240506 w 250031"/>
                <a:gd name="connsiteY49" fmla="*/ 107157 h 303460"/>
                <a:gd name="connsiteX50" fmla="*/ 245269 w 250031"/>
                <a:gd name="connsiteY50" fmla="*/ 114300 h 303460"/>
                <a:gd name="connsiteX51" fmla="*/ 250031 w 250031"/>
                <a:gd name="connsiteY51" fmla="*/ 130969 h 303460"/>
                <a:gd name="connsiteX52" fmla="*/ 240506 w 250031"/>
                <a:gd name="connsiteY52" fmla="*/ 133350 h 303460"/>
                <a:gd name="connsiteX53" fmla="*/ 238125 w 250031"/>
                <a:gd name="connsiteY53" fmla="*/ 140494 h 303460"/>
                <a:gd name="connsiteX54" fmla="*/ 230981 w 250031"/>
                <a:gd name="connsiteY54" fmla="*/ 142875 h 303460"/>
                <a:gd name="connsiteX55" fmla="*/ 211931 w 250031"/>
                <a:gd name="connsiteY55" fmla="*/ 142875 h 303460"/>
                <a:gd name="connsiteX56" fmla="*/ 214312 w 250031"/>
                <a:gd name="connsiteY56" fmla="*/ 154782 h 303460"/>
                <a:gd name="connsiteX57" fmla="*/ 223837 w 250031"/>
                <a:gd name="connsiteY57" fmla="*/ 169069 h 303460"/>
                <a:gd name="connsiteX58" fmla="*/ 219075 w 250031"/>
                <a:gd name="connsiteY58" fmla="*/ 176213 h 303460"/>
                <a:gd name="connsiteX59" fmla="*/ 211931 w 250031"/>
                <a:gd name="connsiteY59" fmla="*/ 190500 h 303460"/>
                <a:gd name="connsiteX60" fmla="*/ 200025 w 250031"/>
                <a:gd name="connsiteY60" fmla="*/ 192882 h 303460"/>
                <a:gd name="connsiteX61" fmla="*/ 183356 w 250031"/>
                <a:gd name="connsiteY61" fmla="*/ 197644 h 303460"/>
                <a:gd name="connsiteX62" fmla="*/ 176212 w 250031"/>
                <a:gd name="connsiteY62" fmla="*/ 195263 h 303460"/>
                <a:gd name="connsiteX63" fmla="*/ 178594 w 250031"/>
                <a:gd name="connsiteY63" fmla="*/ 188119 h 303460"/>
                <a:gd name="connsiteX64" fmla="*/ 173831 w 250031"/>
                <a:gd name="connsiteY64" fmla="*/ 169069 h 303460"/>
                <a:gd name="connsiteX65" fmla="*/ 159544 w 250031"/>
                <a:gd name="connsiteY65" fmla="*/ 178594 h 303460"/>
                <a:gd name="connsiteX66" fmla="*/ 157162 w 250031"/>
                <a:gd name="connsiteY66" fmla="*/ 185738 h 303460"/>
                <a:gd name="connsiteX67" fmla="*/ 152400 w 250031"/>
                <a:gd name="connsiteY67" fmla="*/ 192882 h 303460"/>
                <a:gd name="connsiteX68" fmla="*/ 142875 w 250031"/>
                <a:gd name="connsiteY68" fmla="*/ 214313 h 303460"/>
                <a:gd name="connsiteX69" fmla="*/ 145256 w 250031"/>
                <a:gd name="connsiteY69" fmla="*/ 221457 h 303460"/>
                <a:gd name="connsiteX70" fmla="*/ 138112 w 250031"/>
                <a:gd name="connsiteY70" fmla="*/ 245269 h 303460"/>
                <a:gd name="connsiteX71" fmla="*/ 130969 w 250031"/>
                <a:gd name="connsiteY71" fmla="*/ 250032 h 303460"/>
                <a:gd name="connsiteX72" fmla="*/ 121444 w 250031"/>
                <a:gd name="connsiteY72" fmla="*/ 271463 h 303460"/>
                <a:gd name="connsiteX73" fmla="*/ 123825 w 250031"/>
                <a:gd name="connsiteY73" fmla="*/ 280988 h 303460"/>
                <a:gd name="connsiteX74" fmla="*/ 130969 w 250031"/>
                <a:gd name="connsiteY74" fmla="*/ 283369 h 303460"/>
                <a:gd name="connsiteX75" fmla="*/ 145256 w 250031"/>
                <a:gd name="connsiteY75" fmla="*/ 290513 h 303460"/>
                <a:gd name="connsiteX76" fmla="*/ 142875 w 250031"/>
                <a:gd name="connsiteY76" fmla="*/ 302419 h 303460"/>
                <a:gd name="connsiteX77" fmla="*/ 123825 w 250031"/>
                <a:gd name="connsiteY77" fmla="*/ 300038 h 303460"/>
                <a:gd name="connsiteX78" fmla="*/ 109537 w 250031"/>
                <a:gd name="connsiteY78" fmla="*/ 290513 h 303460"/>
                <a:gd name="connsiteX79" fmla="*/ 100012 w 250031"/>
                <a:gd name="connsiteY79" fmla="*/ 276225 h 303460"/>
                <a:gd name="connsiteX80" fmla="*/ 85725 w 250031"/>
                <a:gd name="connsiteY80" fmla="*/ 266700 h 303460"/>
                <a:gd name="connsiteX81" fmla="*/ 59531 w 250031"/>
                <a:gd name="connsiteY81" fmla="*/ 266701 h 303460"/>
                <a:gd name="connsiteX82" fmla="*/ 45244 w 250031"/>
                <a:gd name="connsiteY82" fmla="*/ 259558 h 303460"/>
                <a:gd name="connsiteX83" fmla="*/ 28576 w 250031"/>
                <a:gd name="connsiteY83" fmla="*/ 247650 h 303460"/>
                <a:gd name="connsiteX84" fmla="*/ 57150 w 250031"/>
                <a:gd name="connsiteY84" fmla="*/ 242889 h 303460"/>
                <a:gd name="connsiteX85" fmla="*/ 30956 w 250031"/>
                <a:gd name="connsiteY85" fmla="*/ 235744 h 303460"/>
                <a:gd name="connsiteX86" fmla="*/ 26194 w 250031"/>
                <a:gd name="connsiteY86" fmla="*/ 230982 h 3034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Lst>
              <a:rect l="l" t="t" r="r" b="b"/>
              <a:pathLst>
                <a:path w="250031" h="303460">
                  <a:moveTo>
                    <a:pt x="26194" y="230982"/>
                  </a:moveTo>
                  <a:cubicBezTo>
                    <a:pt x="22225" y="227807"/>
                    <a:pt x="18353" y="224507"/>
                    <a:pt x="14287" y="221457"/>
                  </a:cubicBezTo>
                  <a:cubicBezTo>
                    <a:pt x="11998" y="219740"/>
                    <a:pt x="8932" y="218929"/>
                    <a:pt x="7144" y="216694"/>
                  </a:cubicBezTo>
                  <a:cubicBezTo>
                    <a:pt x="5576" y="214734"/>
                    <a:pt x="5556" y="211931"/>
                    <a:pt x="4762" y="209550"/>
                  </a:cubicBezTo>
                  <a:cubicBezTo>
                    <a:pt x="6059" y="205659"/>
                    <a:pt x="8021" y="197691"/>
                    <a:pt x="11906" y="195263"/>
                  </a:cubicBezTo>
                  <a:cubicBezTo>
                    <a:pt x="16163" y="192602"/>
                    <a:pt x="26194" y="190500"/>
                    <a:pt x="26194" y="190500"/>
                  </a:cubicBezTo>
                  <a:cubicBezTo>
                    <a:pt x="28575" y="188119"/>
                    <a:pt x="32272" y="186551"/>
                    <a:pt x="33337" y="183357"/>
                  </a:cubicBezTo>
                  <a:cubicBezTo>
                    <a:pt x="37305" y="171451"/>
                    <a:pt x="21432" y="179387"/>
                    <a:pt x="38100" y="173832"/>
                  </a:cubicBezTo>
                  <a:cubicBezTo>
                    <a:pt x="35719" y="173038"/>
                    <a:pt x="33370" y="172140"/>
                    <a:pt x="30956" y="171450"/>
                  </a:cubicBezTo>
                  <a:cubicBezTo>
                    <a:pt x="9999" y="165462"/>
                    <a:pt x="31436" y="172404"/>
                    <a:pt x="14287" y="166688"/>
                  </a:cubicBezTo>
                  <a:cubicBezTo>
                    <a:pt x="11906" y="165100"/>
                    <a:pt x="9168" y="163949"/>
                    <a:pt x="7144" y="161925"/>
                  </a:cubicBezTo>
                  <a:cubicBezTo>
                    <a:pt x="2526" y="157307"/>
                    <a:pt x="1937" y="153450"/>
                    <a:pt x="0" y="147638"/>
                  </a:cubicBezTo>
                  <a:cubicBezTo>
                    <a:pt x="17956" y="141653"/>
                    <a:pt x="0" y="149726"/>
                    <a:pt x="0" y="140494"/>
                  </a:cubicBezTo>
                  <a:cubicBezTo>
                    <a:pt x="0" y="137632"/>
                    <a:pt x="4763" y="137319"/>
                    <a:pt x="7144" y="135732"/>
                  </a:cubicBezTo>
                  <a:cubicBezTo>
                    <a:pt x="7938" y="133351"/>
                    <a:pt x="7750" y="130363"/>
                    <a:pt x="9525" y="128588"/>
                  </a:cubicBezTo>
                  <a:cubicBezTo>
                    <a:pt x="16417" y="121696"/>
                    <a:pt x="23068" y="132606"/>
                    <a:pt x="9525" y="119063"/>
                  </a:cubicBezTo>
                  <a:cubicBezTo>
                    <a:pt x="11112" y="116682"/>
                    <a:pt x="11860" y="113436"/>
                    <a:pt x="14287" y="111919"/>
                  </a:cubicBezTo>
                  <a:cubicBezTo>
                    <a:pt x="18544" y="109258"/>
                    <a:pt x="28575" y="107157"/>
                    <a:pt x="28575" y="107157"/>
                  </a:cubicBezTo>
                  <a:cubicBezTo>
                    <a:pt x="29369" y="104776"/>
                    <a:pt x="31233" y="102508"/>
                    <a:pt x="30956" y="100013"/>
                  </a:cubicBezTo>
                  <a:cubicBezTo>
                    <a:pt x="30402" y="95023"/>
                    <a:pt x="26194" y="85725"/>
                    <a:pt x="26194" y="85725"/>
                  </a:cubicBezTo>
                  <a:cubicBezTo>
                    <a:pt x="39551" y="81273"/>
                    <a:pt x="29782" y="86867"/>
                    <a:pt x="35719" y="69057"/>
                  </a:cubicBezTo>
                  <a:cubicBezTo>
                    <a:pt x="37987" y="62252"/>
                    <a:pt x="42181" y="60779"/>
                    <a:pt x="47625" y="57150"/>
                  </a:cubicBezTo>
                  <a:cubicBezTo>
                    <a:pt x="63213" y="62347"/>
                    <a:pt x="47913" y="55129"/>
                    <a:pt x="57150" y="66675"/>
                  </a:cubicBezTo>
                  <a:cubicBezTo>
                    <a:pt x="60508" y="70872"/>
                    <a:pt x="66730" y="72250"/>
                    <a:pt x="71437" y="73819"/>
                  </a:cubicBezTo>
                  <a:cubicBezTo>
                    <a:pt x="87384" y="84451"/>
                    <a:pt x="80600" y="82647"/>
                    <a:pt x="76200" y="45244"/>
                  </a:cubicBezTo>
                  <a:cubicBezTo>
                    <a:pt x="75907" y="42751"/>
                    <a:pt x="75387" y="40060"/>
                    <a:pt x="73819" y="38100"/>
                  </a:cubicBezTo>
                  <a:cubicBezTo>
                    <a:pt x="70462" y="33904"/>
                    <a:pt x="64236" y="32525"/>
                    <a:pt x="59531" y="30957"/>
                  </a:cubicBezTo>
                  <a:cubicBezTo>
                    <a:pt x="57150" y="29369"/>
                    <a:pt x="53450" y="28851"/>
                    <a:pt x="52387" y="26194"/>
                  </a:cubicBezTo>
                  <a:cubicBezTo>
                    <a:pt x="51455" y="23863"/>
                    <a:pt x="54160" y="21485"/>
                    <a:pt x="54769" y="19050"/>
                  </a:cubicBezTo>
                  <a:cubicBezTo>
                    <a:pt x="55751" y="15124"/>
                    <a:pt x="56356" y="11113"/>
                    <a:pt x="57150" y="7144"/>
                  </a:cubicBezTo>
                  <a:cubicBezTo>
                    <a:pt x="73526" y="18061"/>
                    <a:pt x="66007" y="18479"/>
                    <a:pt x="78581" y="14288"/>
                  </a:cubicBezTo>
                  <a:cubicBezTo>
                    <a:pt x="80962" y="11907"/>
                    <a:pt x="82985" y="9101"/>
                    <a:pt x="85725" y="7144"/>
                  </a:cubicBezTo>
                  <a:cubicBezTo>
                    <a:pt x="90872" y="3468"/>
                    <a:pt x="96567" y="1943"/>
                    <a:pt x="102394" y="0"/>
                  </a:cubicBezTo>
                  <a:cubicBezTo>
                    <a:pt x="104775" y="794"/>
                    <a:pt x="108078" y="340"/>
                    <a:pt x="109537" y="2382"/>
                  </a:cubicBezTo>
                  <a:cubicBezTo>
                    <a:pt x="112455" y="6467"/>
                    <a:pt x="112712" y="11907"/>
                    <a:pt x="114300" y="16669"/>
                  </a:cubicBezTo>
                  <a:cubicBezTo>
                    <a:pt x="115094" y="19050"/>
                    <a:pt x="115289" y="21725"/>
                    <a:pt x="116681" y="23813"/>
                  </a:cubicBezTo>
                  <a:cubicBezTo>
                    <a:pt x="118269" y="26194"/>
                    <a:pt x="119063" y="29369"/>
                    <a:pt x="121444" y="30957"/>
                  </a:cubicBezTo>
                  <a:cubicBezTo>
                    <a:pt x="124167" y="32772"/>
                    <a:pt x="127749" y="32753"/>
                    <a:pt x="130969" y="33338"/>
                  </a:cubicBezTo>
                  <a:cubicBezTo>
                    <a:pt x="136491" y="34342"/>
                    <a:pt x="142081" y="34925"/>
                    <a:pt x="147637" y="35719"/>
                  </a:cubicBezTo>
                  <a:cubicBezTo>
                    <a:pt x="149206" y="40423"/>
                    <a:pt x="150586" y="46651"/>
                    <a:pt x="154781" y="50007"/>
                  </a:cubicBezTo>
                  <a:cubicBezTo>
                    <a:pt x="156741" y="51575"/>
                    <a:pt x="159544" y="51594"/>
                    <a:pt x="161925" y="52388"/>
                  </a:cubicBezTo>
                  <a:cubicBezTo>
                    <a:pt x="164306" y="51594"/>
                    <a:pt x="166593" y="49594"/>
                    <a:pt x="169069" y="50007"/>
                  </a:cubicBezTo>
                  <a:cubicBezTo>
                    <a:pt x="171892" y="50477"/>
                    <a:pt x="173652" y="53489"/>
                    <a:pt x="176212" y="54769"/>
                  </a:cubicBezTo>
                  <a:cubicBezTo>
                    <a:pt x="178457" y="55891"/>
                    <a:pt x="180975" y="56356"/>
                    <a:pt x="183356" y="57150"/>
                  </a:cubicBezTo>
                  <a:cubicBezTo>
                    <a:pt x="185737" y="58738"/>
                    <a:pt x="187940" y="60633"/>
                    <a:pt x="190500" y="61913"/>
                  </a:cubicBezTo>
                  <a:cubicBezTo>
                    <a:pt x="192745" y="63036"/>
                    <a:pt x="195555" y="62902"/>
                    <a:pt x="197644" y="64294"/>
                  </a:cubicBezTo>
                  <a:cubicBezTo>
                    <a:pt x="200446" y="66162"/>
                    <a:pt x="202406" y="69057"/>
                    <a:pt x="204787" y="71438"/>
                  </a:cubicBezTo>
                  <a:cubicBezTo>
                    <a:pt x="205581" y="80169"/>
                    <a:pt x="203012" y="89913"/>
                    <a:pt x="207169" y="97632"/>
                  </a:cubicBezTo>
                  <a:cubicBezTo>
                    <a:pt x="209549" y="102052"/>
                    <a:pt x="216586" y="101176"/>
                    <a:pt x="221456" y="102394"/>
                  </a:cubicBezTo>
                  <a:lnTo>
                    <a:pt x="240506" y="107157"/>
                  </a:lnTo>
                  <a:cubicBezTo>
                    <a:pt x="242094" y="109538"/>
                    <a:pt x="243989" y="111740"/>
                    <a:pt x="245269" y="114300"/>
                  </a:cubicBezTo>
                  <a:cubicBezTo>
                    <a:pt x="246976" y="117715"/>
                    <a:pt x="249269" y="127919"/>
                    <a:pt x="250031" y="130969"/>
                  </a:cubicBezTo>
                  <a:cubicBezTo>
                    <a:pt x="246856" y="131763"/>
                    <a:pt x="243062" y="131306"/>
                    <a:pt x="240506" y="133350"/>
                  </a:cubicBezTo>
                  <a:cubicBezTo>
                    <a:pt x="238546" y="134918"/>
                    <a:pt x="239900" y="138719"/>
                    <a:pt x="238125" y="140494"/>
                  </a:cubicBezTo>
                  <a:cubicBezTo>
                    <a:pt x="236350" y="142269"/>
                    <a:pt x="233362" y="142081"/>
                    <a:pt x="230981" y="142875"/>
                  </a:cubicBezTo>
                  <a:cubicBezTo>
                    <a:pt x="226316" y="141320"/>
                    <a:pt x="216110" y="136606"/>
                    <a:pt x="211931" y="142875"/>
                  </a:cubicBezTo>
                  <a:cubicBezTo>
                    <a:pt x="209686" y="146243"/>
                    <a:pt x="212637" y="151097"/>
                    <a:pt x="214312" y="154782"/>
                  </a:cubicBezTo>
                  <a:cubicBezTo>
                    <a:pt x="216680" y="159993"/>
                    <a:pt x="223837" y="169069"/>
                    <a:pt x="223837" y="169069"/>
                  </a:cubicBezTo>
                  <a:cubicBezTo>
                    <a:pt x="222250" y="171450"/>
                    <a:pt x="220355" y="173653"/>
                    <a:pt x="219075" y="176213"/>
                  </a:cubicBezTo>
                  <a:cubicBezTo>
                    <a:pt x="216997" y="180370"/>
                    <a:pt x="216710" y="187769"/>
                    <a:pt x="211931" y="190500"/>
                  </a:cubicBezTo>
                  <a:cubicBezTo>
                    <a:pt x="208417" y="192508"/>
                    <a:pt x="203976" y="192004"/>
                    <a:pt x="200025" y="192882"/>
                  </a:cubicBezTo>
                  <a:cubicBezTo>
                    <a:pt x="191051" y="194876"/>
                    <a:pt x="191314" y="194992"/>
                    <a:pt x="183356" y="197644"/>
                  </a:cubicBezTo>
                  <a:cubicBezTo>
                    <a:pt x="180975" y="196850"/>
                    <a:pt x="177334" y="197508"/>
                    <a:pt x="176212" y="195263"/>
                  </a:cubicBezTo>
                  <a:cubicBezTo>
                    <a:pt x="175089" y="193018"/>
                    <a:pt x="178594" y="190629"/>
                    <a:pt x="178594" y="188119"/>
                  </a:cubicBezTo>
                  <a:cubicBezTo>
                    <a:pt x="178594" y="186919"/>
                    <a:pt x="177006" y="170656"/>
                    <a:pt x="173831" y="169069"/>
                  </a:cubicBezTo>
                  <a:cubicBezTo>
                    <a:pt x="170656" y="167482"/>
                    <a:pt x="162322" y="175816"/>
                    <a:pt x="159544" y="178594"/>
                  </a:cubicBezTo>
                  <a:cubicBezTo>
                    <a:pt x="156766" y="181372"/>
                    <a:pt x="158285" y="183493"/>
                    <a:pt x="157162" y="185738"/>
                  </a:cubicBezTo>
                  <a:cubicBezTo>
                    <a:pt x="155882" y="188298"/>
                    <a:pt x="153562" y="190267"/>
                    <a:pt x="152400" y="192882"/>
                  </a:cubicBezTo>
                  <a:cubicBezTo>
                    <a:pt x="141065" y="218386"/>
                    <a:pt x="153652" y="198145"/>
                    <a:pt x="142875" y="214313"/>
                  </a:cubicBezTo>
                  <a:cubicBezTo>
                    <a:pt x="143669" y="216694"/>
                    <a:pt x="145256" y="218947"/>
                    <a:pt x="145256" y="221457"/>
                  </a:cubicBezTo>
                  <a:cubicBezTo>
                    <a:pt x="145256" y="224635"/>
                    <a:pt x="138390" y="245083"/>
                    <a:pt x="138112" y="245269"/>
                  </a:cubicBezTo>
                  <a:lnTo>
                    <a:pt x="130969" y="250032"/>
                  </a:lnTo>
                  <a:cubicBezTo>
                    <a:pt x="128191" y="254398"/>
                    <a:pt x="122635" y="266304"/>
                    <a:pt x="121444" y="271463"/>
                  </a:cubicBezTo>
                  <a:cubicBezTo>
                    <a:pt x="122238" y="274638"/>
                    <a:pt x="121781" y="278432"/>
                    <a:pt x="123825" y="280988"/>
                  </a:cubicBezTo>
                  <a:cubicBezTo>
                    <a:pt x="125393" y="282948"/>
                    <a:pt x="128724" y="282246"/>
                    <a:pt x="130969" y="283369"/>
                  </a:cubicBezTo>
                  <a:cubicBezTo>
                    <a:pt x="149433" y="292602"/>
                    <a:pt x="127299" y="284528"/>
                    <a:pt x="145256" y="290513"/>
                  </a:cubicBezTo>
                  <a:cubicBezTo>
                    <a:pt x="144462" y="294482"/>
                    <a:pt x="146573" y="300775"/>
                    <a:pt x="142875" y="302419"/>
                  </a:cubicBezTo>
                  <a:cubicBezTo>
                    <a:pt x="137027" y="305018"/>
                    <a:pt x="129852" y="302190"/>
                    <a:pt x="123825" y="300038"/>
                  </a:cubicBezTo>
                  <a:cubicBezTo>
                    <a:pt x="118434" y="298113"/>
                    <a:pt x="109537" y="290513"/>
                    <a:pt x="109537" y="290513"/>
                  </a:cubicBezTo>
                  <a:cubicBezTo>
                    <a:pt x="106362" y="285750"/>
                    <a:pt x="104775" y="279400"/>
                    <a:pt x="100012" y="276225"/>
                  </a:cubicBezTo>
                  <a:cubicBezTo>
                    <a:pt x="95250" y="273050"/>
                    <a:pt x="92472" y="268287"/>
                    <a:pt x="85725" y="266700"/>
                  </a:cubicBezTo>
                  <a:cubicBezTo>
                    <a:pt x="78978" y="265113"/>
                    <a:pt x="66278" y="267891"/>
                    <a:pt x="59531" y="266701"/>
                  </a:cubicBezTo>
                  <a:cubicBezTo>
                    <a:pt x="52784" y="265511"/>
                    <a:pt x="50403" y="262733"/>
                    <a:pt x="45244" y="259558"/>
                  </a:cubicBezTo>
                  <a:cubicBezTo>
                    <a:pt x="40085" y="256383"/>
                    <a:pt x="41276" y="247650"/>
                    <a:pt x="28576" y="247650"/>
                  </a:cubicBezTo>
                  <a:cubicBezTo>
                    <a:pt x="30163" y="245269"/>
                    <a:pt x="56753" y="244873"/>
                    <a:pt x="57150" y="242889"/>
                  </a:cubicBezTo>
                  <a:cubicBezTo>
                    <a:pt x="57547" y="240905"/>
                    <a:pt x="34528" y="237728"/>
                    <a:pt x="30956" y="235744"/>
                  </a:cubicBezTo>
                  <a:lnTo>
                    <a:pt x="26194" y="230982"/>
                  </a:lnTo>
                  <a:close/>
                </a:path>
              </a:pathLst>
            </a:custGeom>
            <a:solidFill>
              <a:schemeClr val="bg1">
                <a:lumMod val="85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33" name="Freeform: Shape 332">
              <a:extLst>
                <a:ext uri="{FF2B5EF4-FFF2-40B4-BE49-F238E27FC236}">
                  <a16:creationId xmlns:a16="http://schemas.microsoft.com/office/drawing/2014/main" id="{1BE9977D-B0A0-4DD9-88A1-104C578E4443}"/>
                </a:ext>
              </a:extLst>
            </p:cNvPr>
            <p:cNvSpPr/>
            <p:nvPr/>
          </p:nvSpPr>
          <p:spPr>
            <a:xfrm>
              <a:off x="8340170" y="5279280"/>
              <a:ext cx="213173" cy="232849"/>
            </a:xfrm>
            <a:custGeom>
              <a:avLst/>
              <a:gdLst>
                <a:gd name="connsiteX0" fmla="*/ 28049 w 213173"/>
                <a:gd name="connsiteY0" fmla="*/ 89799 h 232849"/>
                <a:gd name="connsiteX1" fmla="*/ 14024 w 213173"/>
                <a:gd name="connsiteY1" fmla="*/ 84189 h 232849"/>
                <a:gd name="connsiteX2" fmla="*/ 5610 w 213173"/>
                <a:gd name="connsiteY2" fmla="*/ 81384 h 232849"/>
                <a:gd name="connsiteX3" fmla="*/ 0 w 213173"/>
                <a:gd name="connsiteY3" fmla="*/ 89799 h 232849"/>
                <a:gd name="connsiteX4" fmla="*/ 11219 w 213173"/>
                <a:gd name="connsiteY4" fmla="*/ 115043 h 232849"/>
                <a:gd name="connsiteX5" fmla="*/ 8414 w 213173"/>
                <a:gd name="connsiteY5" fmla="*/ 129067 h 232849"/>
                <a:gd name="connsiteX6" fmla="*/ 16829 w 213173"/>
                <a:gd name="connsiteY6" fmla="*/ 134677 h 232849"/>
                <a:gd name="connsiteX7" fmla="*/ 33659 w 213173"/>
                <a:gd name="connsiteY7" fmla="*/ 143092 h 232849"/>
                <a:gd name="connsiteX8" fmla="*/ 36464 w 213173"/>
                <a:gd name="connsiteY8" fmla="*/ 165531 h 232849"/>
                <a:gd name="connsiteX9" fmla="*/ 64513 w 213173"/>
                <a:gd name="connsiteY9" fmla="*/ 173946 h 232849"/>
                <a:gd name="connsiteX10" fmla="*/ 67318 w 213173"/>
                <a:gd name="connsiteY10" fmla="*/ 182361 h 232849"/>
                <a:gd name="connsiteX11" fmla="*/ 75732 w 213173"/>
                <a:gd name="connsiteY11" fmla="*/ 187970 h 232849"/>
                <a:gd name="connsiteX12" fmla="*/ 81342 w 213173"/>
                <a:gd name="connsiteY12" fmla="*/ 196385 h 232849"/>
                <a:gd name="connsiteX13" fmla="*/ 84147 w 213173"/>
                <a:gd name="connsiteY13" fmla="*/ 213215 h 232849"/>
                <a:gd name="connsiteX14" fmla="*/ 81342 w 213173"/>
                <a:gd name="connsiteY14" fmla="*/ 232849 h 232849"/>
                <a:gd name="connsiteX15" fmla="*/ 92562 w 213173"/>
                <a:gd name="connsiteY15" fmla="*/ 230044 h 232849"/>
                <a:gd name="connsiteX16" fmla="*/ 106586 w 213173"/>
                <a:gd name="connsiteY16" fmla="*/ 218824 h 232849"/>
                <a:gd name="connsiteX17" fmla="*/ 106586 w 213173"/>
                <a:gd name="connsiteY17" fmla="*/ 187970 h 232849"/>
                <a:gd name="connsiteX18" fmla="*/ 115001 w 213173"/>
                <a:gd name="connsiteY18" fmla="*/ 182361 h 232849"/>
                <a:gd name="connsiteX19" fmla="*/ 123416 w 213173"/>
                <a:gd name="connsiteY19" fmla="*/ 179556 h 232849"/>
                <a:gd name="connsiteX20" fmla="*/ 140245 w 213173"/>
                <a:gd name="connsiteY20" fmla="*/ 168336 h 232849"/>
                <a:gd name="connsiteX21" fmla="*/ 148660 w 213173"/>
                <a:gd name="connsiteY21" fmla="*/ 171141 h 232849"/>
                <a:gd name="connsiteX22" fmla="*/ 165489 w 213173"/>
                <a:gd name="connsiteY22" fmla="*/ 182361 h 232849"/>
                <a:gd name="connsiteX23" fmla="*/ 173904 w 213173"/>
                <a:gd name="connsiteY23" fmla="*/ 185165 h 232849"/>
                <a:gd name="connsiteX24" fmla="*/ 185124 w 213173"/>
                <a:gd name="connsiteY24" fmla="*/ 159921 h 232849"/>
                <a:gd name="connsiteX25" fmla="*/ 199148 w 213173"/>
                <a:gd name="connsiteY25" fmla="*/ 145897 h 232849"/>
                <a:gd name="connsiteX26" fmla="*/ 199148 w 213173"/>
                <a:gd name="connsiteY26" fmla="*/ 129067 h 232849"/>
                <a:gd name="connsiteX27" fmla="*/ 201953 w 213173"/>
                <a:gd name="connsiteY27" fmla="*/ 112238 h 232849"/>
                <a:gd name="connsiteX28" fmla="*/ 213173 w 213173"/>
                <a:gd name="connsiteY28" fmla="*/ 86994 h 232849"/>
                <a:gd name="connsiteX29" fmla="*/ 190734 w 213173"/>
                <a:gd name="connsiteY29" fmla="*/ 72969 h 232849"/>
                <a:gd name="connsiteX30" fmla="*/ 182319 w 213173"/>
                <a:gd name="connsiteY30" fmla="*/ 70164 h 232849"/>
                <a:gd name="connsiteX31" fmla="*/ 173904 w 213173"/>
                <a:gd name="connsiteY31" fmla="*/ 67359 h 232849"/>
                <a:gd name="connsiteX32" fmla="*/ 165489 w 213173"/>
                <a:gd name="connsiteY32" fmla="*/ 58945 h 232849"/>
                <a:gd name="connsiteX33" fmla="*/ 157075 w 213173"/>
                <a:gd name="connsiteY33" fmla="*/ 61750 h 232849"/>
                <a:gd name="connsiteX34" fmla="*/ 137440 w 213173"/>
                <a:gd name="connsiteY34" fmla="*/ 42115 h 232849"/>
                <a:gd name="connsiteX35" fmla="*/ 131830 w 213173"/>
                <a:gd name="connsiteY35" fmla="*/ 25286 h 232849"/>
                <a:gd name="connsiteX36" fmla="*/ 98172 w 213173"/>
                <a:gd name="connsiteY36" fmla="*/ 14066 h 232849"/>
                <a:gd name="connsiteX37" fmla="*/ 100976 w 213173"/>
                <a:gd name="connsiteY37" fmla="*/ 2846 h 232849"/>
                <a:gd name="connsiteX38" fmla="*/ 78537 w 213173"/>
                <a:gd name="connsiteY38" fmla="*/ 2846 h 232849"/>
                <a:gd name="connsiteX39" fmla="*/ 75732 w 213173"/>
                <a:gd name="connsiteY39" fmla="*/ 22481 h 232849"/>
                <a:gd name="connsiteX40" fmla="*/ 78537 w 213173"/>
                <a:gd name="connsiteY40" fmla="*/ 30896 h 232849"/>
                <a:gd name="connsiteX41" fmla="*/ 64513 w 213173"/>
                <a:gd name="connsiteY41" fmla="*/ 50530 h 232849"/>
                <a:gd name="connsiteX42" fmla="*/ 47683 w 213173"/>
                <a:gd name="connsiteY42" fmla="*/ 53335 h 232849"/>
                <a:gd name="connsiteX43" fmla="*/ 50488 w 213173"/>
                <a:gd name="connsiteY43" fmla="*/ 61750 h 232849"/>
                <a:gd name="connsiteX44" fmla="*/ 30854 w 213173"/>
                <a:gd name="connsiteY44" fmla="*/ 70164 h 232849"/>
                <a:gd name="connsiteX45" fmla="*/ 28049 w 213173"/>
                <a:gd name="connsiteY45" fmla="*/ 89799 h 232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13173" h="232849">
                  <a:moveTo>
                    <a:pt x="28049" y="89799"/>
                  </a:moveTo>
                  <a:cubicBezTo>
                    <a:pt x="25244" y="92137"/>
                    <a:pt x="18739" y="85957"/>
                    <a:pt x="14024" y="84189"/>
                  </a:cubicBezTo>
                  <a:cubicBezTo>
                    <a:pt x="11256" y="83151"/>
                    <a:pt x="8355" y="80286"/>
                    <a:pt x="5610" y="81384"/>
                  </a:cubicBezTo>
                  <a:cubicBezTo>
                    <a:pt x="2480" y="82636"/>
                    <a:pt x="1870" y="86994"/>
                    <a:pt x="0" y="89799"/>
                  </a:cubicBezTo>
                  <a:cubicBezTo>
                    <a:pt x="6676" y="109826"/>
                    <a:pt x="2330" y="101708"/>
                    <a:pt x="11219" y="115043"/>
                  </a:cubicBezTo>
                  <a:cubicBezTo>
                    <a:pt x="10284" y="119718"/>
                    <a:pt x="7104" y="124483"/>
                    <a:pt x="8414" y="129067"/>
                  </a:cubicBezTo>
                  <a:cubicBezTo>
                    <a:pt x="9340" y="132308"/>
                    <a:pt x="13814" y="133169"/>
                    <a:pt x="16829" y="134677"/>
                  </a:cubicBezTo>
                  <a:cubicBezTo>
                    <a:pt x="40055" y="146290"/>
                    <a:pt x="9543" y="127015"/>
                    <a:pt x="33659" y="143092"/>
                  </a:cubicBezTo>
                  <a:cubicBezTo>
                    <a:pt x="34594" y="150572"/>
                    <a:pt x="33665" y="158532"/>
                    <a:pt x="36464" y="165531"/>
                  </a:cubicBezTo>
                  <a:cubicBezTo>
                    <a:pt x="39556" y="173263"/>
                    <a:pt x="62767" y="173697"/>
                    <a:pt x="64513" y="173946"/>
                  </a:cubicBezTo>
                  <a:cubicBezTo>
                    <a:pt x="65448" y="176751"/>
                    <a:pt x="65471" y="180052"/>
                    <a:pt x="67318" y="182361"/>
                  </a:cubicBezTo>
                  <a:cubicBezTo>
                    <a:pt x="69424" y="184993"/>
                    <a:pt x="73349" y="185587"/>
                    <a:pt x="75732" y="187970"/>
                  </a:cubicBezTo>
                  <a:cubicBezTo>
                    <a:pt x="78116" y="190354"/>
                    <a:pt x="79472" y="193580"/>
                    <a:pt x="81342" y="196385"/>
                  </a:cubicBezTo>
                  <a:cubicBezTo>
                    <a:pt x="82277" y="201995"/>
                    <a:pt x="84775" y="207562"/>
                    <a:pt x="84147" y="213215"/>
                  </a:cubicBezTo>
                  <a:cubicBezTo>
                    <a:pt x="80869" y="242718"/>
                    <a:pt x="72607" y="197909"/>
                    <a:pt x="81342" y="232849"/>
                  </a:cubicBezTo>
                  <a:cubicBezTo>
                    <a:pt x="85082" y="231914"/>
                    <a:pt x="89354" y="232182"/>
                    <a:pt x="92562" y="230044"/>
                  </a:cubicBezTo>
                  <a:cubicBezTo>
                    <a:pt x="117939" y="213126"/>
                    <a:pt x="79077" y="227995"/>
                    <a:pt x="106586" y="218824"/>
                  </a:cubicBezTo>
                  <a:cubicBezTo>
                    <a:pt x="105917" y="213473"/>
                    <a:pt x="100416" y="195682"/>
                    <a:pt x="106586" y="187970"/>
                  </a:cubicBezTo>
                  <a:cubicBezTo>
                    <a:pt x="108692" y="185338"/>
                    <a:pt x="111986" y="183868"/>
                    <a:pt x="115001" y="182361"/>
                  </a:cubicBezTo>
                  <a:cubicBezTo>
                    <a:pt x="117646" y="181039"/>
                    <a:pt x="120611" y="180491"/>
                    <a:pt x="123416" y="179556"/>
                  </a:cubicBezTo>
                  <a:cubicBezTo>
                    <a:pt x="129026" y="175816"/>
                    <a:pt x="133849" y="166204"/>
                    <a:pt x="140245" y="168336"/>
                  </a:cubicBezTo>
                  <a:cubicBezTo>
                    <a:pt x="143050" y="169271"/>
                    <a:pt x="146075" y="169705"/>
                    <a:pt x="148660" y="171141"/>
                  </a:cubicBezTo>
                  <a:cubicBezTo>
                    <a:pt x="154554" y="174415"/>
                    <a:pt x="159093" y="180230"/>
                    <a:pt x="165489" y="182361"/>
                  </a:cubicBezTo>
                  <a:lnTo>
                    <a:pt x="173904" y="185165"/>
                  </a:lnTo>
                  <a:cubicBezTo>
                    <a:pt x="191088" y="179439"/>
                    <a:pt x="177829" y="186669"/>
                    <a:pt x="185124" y="159921"/>
                  </a:cubicBezTo>
                  <a:cubicBezTo>
                    <a:pt x="187201" y="152305"/>
                    <a:pt x="193332" y="149775"/>
                    <a:pt x="199148" y="145897"/>
                  </a:cubicBezTo>
                  <a:cubicBezTo>
                    <a:pt x="211971" y="126663"/>
                    <a:pt x="201285" y="148301"/>
                    <a:pt x="199148" y="129067"/>
                  </a:cubicBezTo>
                  <a:cubicBezTo>
                    <a:pt x="198520" y="123415"/>
                    <a:pt x="200574" y="117755"/>
                    <a:pt x="201953" y="112238"/>
                  </a:cubicBezTo>
                  <a:cubicBezTo>
                    <a:pt x="205959" y="96215"/>
                    <a:pt x="205805" y="98045"/>
                    <a:pt x="213173" y="86994"/>
                  </a:cubicBezTo>
                  <a:cubicBezTo>
                    <a:pt x="204283" y="73659"/>
                    <a:pt x="210761" y="79645"/>
                    <a:pt x="190734" y="72969"/>
                  </a:cubicBezTo>
                  <a:lnTo>
                    <a:pt x="182319" y="70164"/>
                  </a:lnTo>
                  <a:lnTo>
                    <a:pt x="173904" y="67359"/>
                  </a:lnTo>
                  <a:cubicBezTo>
                    <a:pt x="171099" y="64554"/>
                    <a:pt x="169252" y="60199"/>
                    <a:pt x="165489" y="58945"/>
                  </a:cubicBezTo>
                  <a:cubicBezTo>
                    <a:pt x="162684" y="58010"/>
                    <a:pt x="158922" y="64059"/>
                    <a:pt x="157075" y="61750"/>
                  </a:cubicBezTo>
                  <a:cubicBezTo>
                    <a:pt x="136939" y="36577"/>
                    <a:pt x="176276" y="48588"/>
                    <a:pt x="137440" y="42115"/>
                  </a:cubicBezTo>
                  <a:lnTo>
                    <a:pt x="131830" y="25286"/>
                  </a:lnTo>
                  <a:cubicBezTo>
                    <a:pt x="125760" y="7073"/>
                    <a:pt x="131977" y="17139"/>
                    <a:pt x="98172" y="14066"/>
                  </a:cubicBezTo>
                  <a:cubicBezTo>
                    <a:pt x="99107" y="10326"/>
                    <a:pt x="102408" y="6425"/>
                    <a:pt x="100976" y="2846"/>
                  </a:cubicBezTo>
                  <a:cubicBezTo>
                    <a:pt x="98421" y="-3541"/>
                    <a:pt x="78718" y="2810"/>
                    <a:pt x="78537" y="2846"/>
                  </a:cubicBezTo>
                  <a:cubicBezTo>
                    <a:pt x="65678" y="22136"/>
                    <a:pt x="60922" y="17544"/>
                    <a:pt x="75732" y="22481"/>
                  </a:cubicBezTo>
                  <a:cubicBezTo>
                    <a:pt x="76667" y="25286"/>
                    <a:pt x="78864" y="27957"/>
                    <a:pt x="78537" y="30896"/>
                  </a:cubicBezTo>
                  <a:cubicBezTo>
                    <a:pt x="76821" y="46339"/>
                    <a:pt x="76122" y="47950"/>
                    <a:pt x="64513" y="50530"/>
                  </a:cubicBezTo>
                  <a:cubicBezTo>
                    <a:pt x="58961" y="51764"/>
                    <a:pt x="53293" y="52400"/>
                    <a:pt x="47683" y="53335"/>
                  </a:cubicBezTo>
                  <a:cubicBezTo>
                    <a:pt x="48618" y="56140"/>
                    <a:pt x="51586" y="59005"/>
                    <a:pt x="50488" y="61750"/>
                  </a:cubicBezTo>
                  <a:cubicBezTo>
                    <a:pt x="48336" y="67129"/>
                    <a:pt x="34513" y="69249"/>
                    <a:pt x="30854" y="70164"/>
                  </a:cubicBezTo>
                  <a:cubicBezTo>
                    <a:pt x="27542" y="83412"/>
                    <a:pt x="30854" y="87461"/>
                    <a:pt x="28049" y="89799"/>
                  </a:cubicBezTo>
                  <a:close/>
                </a:path>
              </a:pathLst>
            </a:custGeom>
            <a:solidFill>
              <a:schemeClr val="bg1">
                <a:lumMod val="85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34" name="Freeform: Shape 333">
              <a:extLst>
                <a:ext uri="{FF2B5EF4-FFF2-40B4-BE49-F238E27FC236}">
                  <a16:creationId xmlns:a16="http://schemas.microsoft.com/office/drawing/2014/main" id="{9801F1BB-5D3C-4932-A3C0-D47ED0FA07CF}"/>
                </a:ext>
              </a:extLst>
            </p:cNvPr>
            <p:cNvSpPr/>
            <p:nvPr/>
          </p:nvSpPr>
          <p:spPr>
            <a:xfrm>
              <a:off x="8108049" y="4751999"/>
              <a:ext cx="605174" cy="664763"/>
            </a:xfrm>
            <a:custGeom>
              <a:avLst/>
              <a:gdLst>
                <a:gd name="connsiteX0" fmla="*/ 14025 w 603056"/>
                <a:gd name="connsiteY0" fmla="*/ 58903 h 664763"/>
                <a:gd name="connsiteX1" fmla="*/ 36464 w 603056"/>
                <a:gd name="connsiteY1" fmla="*/ 44878 h 664763"/>
                <a:gd name="connsiteX2" fmla="*/ 50489 w 603056"/>
                <a:gd name="connsiteY2" fmla="*/ 47683 h 664763"/>
                <a:gd name="connsiteX3" fmla="*/ 67318 w 603056"/>
                <a:gd name="connsiteY3" fmla="*/ 44878 h 664763"/>
                <a:gd name="connsiteX4" fmla="*/ 70123 w 603056"/>
                <a:gd name="connsiteY4" fmla="*/ 36464 h 664763"/>
                <a:gd name="connsiteX5" fmla="*/ 86952 w 603056"/>
                <a:gd name="connsiteY5" fmla="*/ 30854 h 664763"/>
                <a:gd name="connsiteX6" fmla="*/ 86952 w 603056"/>
                <a:gd name="connsiteY6" fmla="*/ 14024 h 664763"/>
                <a:gd name="connsiteX7" fmla="*/ 89757 w 603056"/>
                <a:gd name="connsiteY7" fmla="*/ 2805 h 664763"/>
                <a:gd name="connsiteX8" fmla="*/ 123416 w 603056"/>
                <a:gd name="connsiteY8" fmla="*/ 8415 h 664763"/>
                <a:gd name="connsiteX9" fmla="*/ 134636 w 603056"/>
                <a:gd name="connsiteY9" fmla="*/ 11219 h 664763"/>
                <a:gd name="connsiteX10" fmla="*/ 143051 w 603056"/>
                <a:gd name="connsiteY10" fmla="*/ 5610 h 664763"/>
                <a:gd name="connsiteX11" fmla="*/ 159880 w 603056"/>
                <a:gd name="connsiteY11" fmla="*/ 0 h 664763"/>
                <a:gd name="connsiteX12" fmla="*/ 176710 w 603056"/>
                <a:gd name="connsiteY12" fmla="*/ 11219 h 664763"/>
                <a:gd name="connsiteX13" fmla="*/ 182319 w 603056"/>
                <a:gd name="connsiteY13" fmla="*/ 19634 h 664763"/>
                <a:gd name="connsiteX14" fmla="*/ 185124 w 603056"/>
                <a:gd name="connsiteY14" fmla="*/ 28049 h 664763"/>
                <a:gd name="connsiteX15" fmla="*/ 204759 w 603056"/>
                <a:gd name="connsiteY15" fmla="*/ 36464 h 664763"/>
                <a:gd name="connsiteX16" fmla="*/ 213173 w 603056"/>
                <a:gd name="connsiteY16" fmla="*/ 42073 h 664763"/>
                <a:gd name="connsiteX17" fmla="*/ 221588 w 603056"/>
                <a:gd name="connsiteY17" fmla="*/ 33659 h 664763"/>
                <a:gd name="connsiteX18" fmla="*/ 224393 w 603056"/>
                <a:gd name="connsiteY18" fmla="*/ 44878 h 664763"/>
                <a:gd name="connsiteX19" fmla="*/ 232808 w 603056"/>
                <a:gd name="connsiteY19" fmla="*/ 53293 h 664763"/>
                <a:gd name="connsiteX20" fmla="*/ 238417 w 603056"/>
                <a:gd name="connsiteY20" fmla="*/ 61708 h 664763"/>
                <a:gd name="connsiteX21" fmla="*/ 255247 w 603056"/>
                <a:gd name="connsiteY21" fmla="*/ 70123 h 664763"/>
                <a:gd name="connsiteX22" fmla="*/ 258052 w 603056"/>
                <a:gd name="connsiteY22" fmla="*/ 61708 h 664763"/>
                <a:gd name="connsiteX23" fmla="*/ 260857 w 603056"/>
                <a:gd name="connsiteY23" fmla="*/ 70123 h 664763"/>
                <a:gd name="connsiteX24" fmla="*/ 258052 w 603056"/>
                <a:gd name="connsiteY24" fmla="*/ 106586 h 664763"/>
                <a:gd name="connsiteX25" fmla="*/ 255247 w 603056"/>
                <a:gd name="connsiteY25" fmla="*/ 115001 h 664763"/>
                <a:gd name="connsiteX26" fmla="*/ 246832 w 603056"/>
                <a:gd name="connsiteY26" fmla="*/ 120611 h 664763"/>
                <a:gd name="connsiteX27" fmla="*/ 258052 w 603056"/>
                <a:gd name="connsiteY27" fmla="*/ 129026 h 664763"/>
                <a:gd name="connsiteX28" fmla="*/ 277686 w 603056"/>
                <a:gd name="connsiteY28" fmla="*/ 131831 h 664763"/>
                <a:gd name="connsiteX29" fmla="*/ 291711 w 603056"/>
                <a:gd name="connsiteY29" fmla="*/ 137440 h 664763"/>
                <a:gd name="connsiteX30" fmla="*/ 294516 w 603056"/>
                <a:gd name="connsiteY30" fmla="*/ 145855 h 664763"/>
                <a:gd name="connsiteX31" fmla="*/ 311345 w 603056"/>
                <a:gd name="connsiteY31" fmla="*/ 151465 h 664763"/>
                <a:gd name="connsiteX32" fmla="*/ 322565 w 603056"/>
                <a:gd name="connsiteY32" fmla="*/ 137440 h 664763"/>
                <a:gd name="connsiteX33" fmla="*/ 325370 w 603056"/>
                <a:gd name="connsiteY33" fmla="*/ 145855 h 664763"/>
                <a:gd name="connsiteX34" fmla="*/ 342199 w 603056"/>
                <a:gd name="connsiteY34" fmla="*/ 148660 h 664763"/>
                <a:gd name="connsiteX35" fmla="*/ 367443 w 603056"/>
                <a:gd name="connsiteY35" fmla="*/ 151465 h 664763"/>
                <a:gd name="connsiteX36" fmla="*/ 370248 w 603056"/>
                <a:gd name="connsiteY36" fmla="*/ 159880 h 664763"/>
                <a:gd name="connsiteX37" fmla="*/ 350614 w 603056"/>
                <a:gd name="connsiteY37" fmla="*/ 171099 h 664763"/>
                <a:gd name="connsiteX38" fmla="*/ 353419 w 603056"/>
                <a:gd name="connsiteY38" fmla="*/ 179514 h 664763"/>
                <a:gd name="connsiteX39" fmla="*/ 361833 w 603056"/>
                <a:gd name="connsiteY39" fmla="*/ 185124 h 664763"/>
                <a:gd name="connsiteX40" fmla="*/ 347809 w 603056"/>
                <a:gd name="connsiteY40" fmla="*/ 201953 h 664763"/>
                <a:gd name="connsiteX41" fmla="*/ 345004 w 603056"/>
                <a:gd name="connsiteY41" fmla="*/ 210368 h 664763"/>
                <a:gd name="connsiteX42" fmla="*/ 373053 w 603056"/>
                <a:gd name="connsiteY42" fmla="*/ 221588 h 664763"/>
                <a:gd name="connsiteX43" fmla="*/ 375858 w 603056"/>
                <a:gd name="connsiteY43" fmla="*/ 230002 h 664763"/>
                <a:gd name="connsiteX44" fmla="*/ 378663 w 603056"/>
                <a:gd name="connsiteY44" fmla="*/ 244027 h 664763"/>
                <a:gd name="connsiteX45" fmla="*/ 395492 w 603056"/>
                <a:gd name="connsiteY45" fmla="*/ 238417 h 664763"/>
                <a:gd name="connsiteX46" fmla="*/ 417932 w 603056"/>
                <a:gd name="connsiteY46" fmla="*/ 235612 h 664763"/>
                <a:gd name="connsiteX47" fmla="*/ 434761 w 603056"/>
                <a:gd name="connsiteY47" fmla="*/ 246832 h 664763"/>
                <a:gd name="connsiteX48" fmla="*/ 451590 w 603056"/>
                <a:gd name="connsiteY48" fmla="*/ 255246 h 664763"/>
                <a:gd name="connsiteX49" fmla="*/ 465615 w 603056"/>
                <a:gd name="connsiteY49" fmla="*/ 232807 h 664763"/>
                <a:gd name="connsiteX50" fmla="*/ 482444 w 603056"/>
                <a:gd name="connsiteY50" fmla="*/ 221588 h 664763"/>
                <a:gd name="connsiteX51" fmla="*/ 485249 w 603056"/>
                <a:gd name="connsiteY51" fmla="*/ 213173 h 664763"/>
                <a:gd name="connsiteX52" fmla="*/ 502079 w 603056"/>
                <a:gd name="connsiteY52" fmla="*/ 221588 h 664763"/>
                <a:gd name="connsiteX53" fmla="*/ 504884 w 603056"/>
                <a:gd name="connsiteY53" fmla="*/ 230002 h 664763"/>
                <a:gd name="connsiteX54" fmla="*/ 521713 w 603056"/>
                <a:gd name="connsiteY54" fmla="*/ 232807 h 664763"/>
                <a:gd name="connsiteX55" fmla="*/ 530128 w 603056"/>
                <a:gd name="connsiteY55" fmla="*/ 238417 h 664763"/>
                <a:gd name="connsiteX56" fmla="*/ 527323 w 603056"/>
                <a:gd name="connsiteY56" fmla="*/ 246832 h 664763"/>
                <a:gd name="connsiteX57" fmla="*/ 518908 w 603056"/>
                <a:gd name="connsiteY57" fmla="*/ 249637 h 664763"/>
                <a:gd name="connsiteX58" fmla="*/ 507689 w 603056"/>
                <a:gd name="connsiteY58" fmla="*/ 255246 h 664763"/>
                <a:gd name="connsiteX59" fmla="*/ 488054 w 603056"/>
                <a:gd name="connsiteY59" fmla="*/ 269271 h 664763"/>
                <a:gd name="connsiteX60" fmla="*/ 504884 w 603056"/>
                <a:gd name="connsiteY60" fmla="*/ 274881 h 664763"/>
                <a:gd name="connsiteX61" fmla="*/ 521713 w 603056"/>
                <a:gd name="connsiteY61" fmla="*/ 283296 h 664763"/>
                <a:gd name="connsiteX62" fmla="*/ 518908 w 603056"/>
                <a:gd name="connsiteY62" fmla="*/ 291710 h 664763"/>
                <a:gd name="connsiteX63" fmla="*/ 510494 w 603056"/>
                <a:gd name="connsiteY63" fmla="*/ 297320 h 664763"/>
                <a:gd name="connsiteX64" fmla="*/ 518908 w 603056"/>
                <a:gd name="connsiteY64" fmla="*/ 314150 h 664763"/>
                <a:gd name="connsiteX65" fmla="*/ 516103 w 603056"/>
                <a:gd name="connsiteY65" fmla="*/ 322564 h 664763"/>
                <a:gd name="connsiteX66" fmla="*/ 507689 w 603056"/>
                <a:gd name="connsiteY66" fmla="*/ 325369 h 664763"/>
                <a:gd name="connsiteX67" fmla="*/ 504884 w 603056"/>
                <a:gd name="connsiteY67" fmla="*/ 336589 h 664763"/>
                <a:gd name="connsiteX68" fmla="*/ 499274 w 603056"/>
                <a:gd name="connsiteY68" fmla="*/ 347808 h 664763"/>
                <a:gd name="connsiteX69" fmla="*/ 496469 w 603056"/>
                <a:gd name="connsiteY69" fmla="*/ 356223 h 664763"/>
                <a:gd name="connsiteX70" fmla="*/ 496469 w 603056"/>
                <a:gd name="connsiteY70" fmla="*/ 398297 h 664763"/>
                <a:gd name="connsiteX71" fmla="*/ 499274 w 603056"/>
                <a:gd name="connsiteY71" fmla="*/ 415126 h 664763"/>
                <a:gd name="connsiteX72" fmla="*/ 510494 w 603056"/>
                <a:gd name="connsiteY72" fmla="*/ 417931 h 664763"/>
                <a:gd name="connsiteX73" fmla="*/ 527323 w 603056"/>
                <a:gd name="connsiteY73" fmla="*/ 423541 h 664763"/>
                <a:gd name="connsiteX74" fmla="*/ 532933 w 603056"/>
                <a:gd name="connsiteY74" fmla="*/ 431956 h 664763"/>
                <a:gd name="connsiteX75" fmla="*/ 549762 w 603056"/>
                <a:gd name="connsiteY75" fmla="*/ 451590 h 664763"/>
                <a:gd name="connsiteX76" fmla="*/ 566592 w 603056"/>
                <a:gd name="connsiteY76" fmla="*/ 454395 h 664763"/>
                <a:gd name="connsiteX77" fmla="*/ 577811 w 603056"/>
                <a:gd name="connsiteY77" fmla="*/ 457200 h 664763"/>
                <a:gd name="connsiteX78" fmla="*/ 594641 w 603056"/>
                <a:gd name="connsiteY78" fmla="*/ 465615 h 664763"/>
                <a:gd name="connsiteX79" fmla="*/ 603056 w 603056"/>
                <a:gd name="connsiteY79" fmla="*/ 468419 h 664763"/>
                <a:gd name="connsiteX80" fmla="*/ 594641 w 603056"/>
                <a:gd name="connsiteY80" fmla="*/ 485249 h 664763"/>
                <a:gd name="connsiteX81" fmla="*/ 591836 w 603056"/>
                <a:gd name="connsiteY81" fmla="*/ 493664 h 664763"/>
                <a:gd name="connsiteX82" fmla="*/ 589031 w 603056"/>
                <a:gd name="connsiteY82" fmla="*/ 504883 h 664763"/>
                <a:gd name="connsiteX83" fmla="*/ 577811 w 603056"/>
                <a:gd name="connsiteY83" fmla="*/ 521713 h 664763"/>
                <a:gd name="connsiteX84" fmla="*/ 575006 w 603056"/>
                <a:gd name="connsiteY84" fmla="*/ 541347 h 664763"/>
                <a:gd name="connsiteX85" fmla="*/ 555372 w 603056"/>
                <a:gd name="connsiteY85" fmla="*/ 535737 h 664763"/>
                <a:gd name="connsiteX86" fmla="*/ 538543 w 603056"/>
                <a:gd name="connsiteY86" fmla="*/ 530127 h 664763"/>
                <a:gd name="connsiteX87" fmla="*/ 544152 w 603056"/>
                <a:gd name="connsiteY87" fmla="*/ 558177 h 664763"/>
                <a:gd name="connsiteX88" fmla="*/ 549762 w 603056"/>
                <a:gd name="connsiteY88" fmla="*/ 575006 h 664763"/>
                <a:gd name="connsiteX89" fmla="*/ 544152 w 603056"/>
                <a:gd name="connsiteY89" fmla="*/ 583421 h 664763"/>
                <a:gd name="connsiteX90" fmla="*/ 552567 w 603056"/>
                <a:gd name="connsiteY90" fmla="*/ 589031 h 664763"/>
                <a:gd name="connsiteX91" fmla="*/ 569397 w 603056"/>
                <a:gd name="connsiteY91" fmla="*/ 594640 h 664763"/>
                <a:gd name="connsiteX92" fmla="*/ 566592 w 603056"/>
                <a:gd name="connsiteY92" fmla="*/ 605860 h 664763"/>
                <a:gd name="connsiteX93" fmla="*/ 555372 w 603056"/>
                <a:gd name="connsiteY93" fmla="*/ 639519 h 664763"/>
                <a:gd name="connsiteX94" fmla="*/ 546957 w 603056"/>
                <a:gd name="connsiteY94" fmla="*/ 645129 h 664763"/>
                <a:gd name="connsiteX95" fmla="*/ 530128 w 603056"/>
                <a:gd name="connsiteY95" fmla="*/ 642324 h 664763"/>
                <a:gd name="connsiteX96" fmla="*/ 521713 w 603056"/>
                <a:gd name="connsiteY96" fmla="*/ 639519 h 664763"/>
                <a:gd name="connsiteX97" fmla="*/ 513298 w 603056"/>
                <a:gd name="connsiteY97" fmla="*/ 642324 h 664763"/>
                <a:gd name="connsiteX98" fmla="*/ 496469 w 603056"/>
                <a:gd name="connsiteY98" fmla="*/ 650739 h 664763"/>
                <a:gd name="connsiteX99" fmla="*/ 479640 w 603056"/>
                <a:gd name="connsiteY99" fmla="*/ 647934 h 664763"/>
                <a:gd name="connsiteX100" fmla="*/ 476835 w 603056"/>
                <a:gd name="connsiteY100" fmla="*/ 659153 h 664763"/>
                <a:gd name="connsiteX101" fmla="*/ 468420 w 603056"/>
                <a:gd name="connsiteY101" fmla="*/ 656348 h 664763"/>
                <a:gd name="connsiteX102" fmla="*/ 460005 w 603056"/>
                <a:gd name="connsiteY102" fmla="*/ 661958 h 664763"/>
                <a:gd name="connsiteX103" fmla="*/ 448786 w 603056"/>
                <a:gd name="connsiteY103" fmla="*/ 664763 h 664763"/>
                <a:gd name="connsiteX104" fmla="*/ 426346 w 603056"/>
                <a:gd name="connsiteY104" fmla="*/ 661958 h 664763"/>
                <a:gd name="connsiteX105" fmla="*/ 429151 w 603056"/>
                <a:gd name="connsiteY105" fmla="*/ 647934 h 664763"/>
                <a:gd name="connsiteX106" fmla="*/ 434761 w 603056"/>
                <a:gd name="connsiteY106" fmla="*/ 628299 h 664763"/>
                <a:gd name="connsiteX107" fmla="*/ 440371 w 603056"/>
                <a:gd name="connsiteY107" fmla="*/ 619885 h 664763"/>
                <a:gd name="connsiteX108" fmla="*/ 443176 w 603056"/>
                <a:gd name="connsiteY108" fmla="*/ 608665 h 664763"/>
                <a:gd name="connsiteX109" fmla="*/ 426346 w 603056"/>
                <a:gd name="connsiteY109" fmla="*/ 608665 h 664763"/>
                <a:gd name="connsiteX110" fmla="*/ 406712 w 603056"/>
                <a:gd name="connsiteY110" fmla="*/ 603055 h 664763"/>
                <a:gd name="connsiteX111" fmla="*/ 387078 w 603056"/>
                <a:gd name="connsiteY111" fmla="*/ 594640 h 664763"/>
                <a:gd name="connsiteX112" fmla="*/ 384273 w 603056"/>
                <a:gd name="connsiteY112" fmla="*/ 572201 h 664763"/>
                <a:gd name="connsiteX113" fmla="*/ 373053 w 603056"/>
                <a:gd name="connsiteY113" fmla="*/ 566591 h 664763"/>
                <a:gd name="connsiteX114" fmla="*/ 364638 w 603056"/>
                <a:gd name="connsiteY114" fmla="*/ 560981 h 664763"/>
                <a:gd name="connsiteX115" fmla="*/ 353419 w 603056"/>
                <a:gd name="connsiteY115" fmla="*/ 549762 h 664763"/>
                <a:gd name="connsiteX116" fmla="*/ 342199 w 603056"/>
                <a:gd name="connsiteY116" fmla="*/ 546957 h 664763"/>
                <a:gd name="connsiteX117" fmla="*/ 325370 w 603056"/>
                <a:gd name="connsiteY117" fmla="*/ 541347 h 664763"/>
                <a:gd name="connsiteX118" fmla="*/ 328175 w 603056"/>
                <a:gd name="connsiteY118" fmla="*/ 532932 h 664763"/>
                <a:gd name="connsiteX119" fmla="*/ 316955 w 603056"/>
                <a:gd name="connsiteY119" fmla="*/ 535737 h 664763"/>
                <a:gd name="connsiteX120" fmla="*/ 300125 w 603056"/>
                <a:gd name="connsiteY120" fmla="*/ 546957 h 664763"/>
                <a:gd name="connsiteX121" fmla="*/ 308540 w 603056"/>
                <a:gd name="connsiteY121" fmla="*/ 549762 h 664763"/>
                <a:gd name="connsiteX122" fmla="*/ 311345 w 603056"/>
                <a:gd name="connsiteY122" fmla="*/ 558177 h 664763"/>
                <a:gd name="connsiteX123" fmla="*/ 297321 w 603056"/>
                <a:gd name="connsiteY123" fmla="*/ 577811 h 664763"/>
                <a:gd name="connsiteX124" fmla="*/ 277686 w 603056"/>
                <a:gd name="connsiteY124" fmla="*/ 580616 h 664763"/>
                <a:gd name="connsiteX125" fmla="*/ 274881 w 603056"/>
                <a:gd name="connsiteY125" fmla="*/ 600250 h 664763"/>
                <a:gd name="connsiteX126" fmla="*/ 260857 w 603056"/>
                <a:gd name="connsiteY126" fmla="*/ 597445 h 664763"/>
                <a:gd name="connsiteX127" fmla="*/ 255247 w 603056"/>
                <a:gd name="connsiteY127" fmla="*/ 580616 h 664763"/>
                <a:gd name="connsiteX128" fmla="*/ 246832 w 603056"/>
                <a:gd name="connsiteY128" fmla="*/ 577811 h 664763"/>
                <a:gd name="connsiteX129" fmla="*/ 230003 w 603056"/>
                <a:gd name="connsiteY129" fmla="*/ 569396 h 664763"/>
                <a:gd name="connsiteX130" fmla="*/ 224393 w 603056"/>
                <a:gd name="connsiteY130" fmla="*/ 560981 h 664763"/>
                <a:gd name="connsiteX131" fmla="*/ 215978 w 603056"/>
                <a:gd name="connsiteY131" fmla="*/ 558177 h 664763"/>
                <a:gd name="connsiteX132" fmla="*/ 213173 w 603056"/>
                <a:gd name="connsiteY132" fmla="*/ 546957 h 664763"/>
                <a:gd name="connsiteX133" fmla="*/ 218783 w 603056"/>
                <a:gd name="connsiteY133" fmla="*/ 538542 h 664763"/>
                <a:gd name="connsiteX134" fmla="*/ 204759 w 603056"/>
                <a:gd name="connsiteY134" fmla="*/ 541347 h 664763"/>
                <a:gd name="connsiteX135" fmla="*/ 185124 w 603056"/>
                <a:gd name="connsiteY135" fmla="*/ 532932 h 664763"/>
                <a:gd name="connsiteX136" fmla="*/ 168295 w 603056"/>
                <a:gd name="connsiteY136" fmla="*/ 518908 h 664763"/>
                <a:gd name="connsiteX137" fmla="*/ 159880 w 603056"/>
                <a:gd name="connsiteY137" fmla="*/ 516103 h 664763"/>
                <a:gd name="connsiteX138" fmla="*/ 134636 w 603056"/>
                <a:gd name="connsiteY138" fmla="*/ 502078 h 664763"/>
                <a:gd name="connsiteX139" fmla="*/ 129026 w 603056"/>
                <a:gd name="connsiteY139" fmla="*/ 493664 h 664763"/>
                <a:gd name="connsiteX140" fmla="*/ 112197 w 603056"/>
                <a:gd name="connsiteY140" fmla="*/ 482444 h 664763"/>
                <a:gd name="connsiteX141" fmla="*/ 109392 w 603056"/>
                <a:gd name="connsiteY141" fmla="*/ 474029 h 664763"/>
                <a:gd name="connsiteX142" fmla="*/ 129026 w 603056"/>
                <a:gd name="connsiteY142" fmla="*/ 460005 h 664763"/>
                <a:gd name="connsiteX143" fmla="*/ 137441 w 603056"/>
                <a:gd name="connsiteY143" fmla="*/ 454395 h 664763"/>
                <a:gd name="connsiteX144" fmla="*/ 112197 w 603056"/>
                <a:gd name="connsiteY144" fmla="*/ 431956 h 664763"/>
                <a:gd name="connsiteX145" fmla="*/ 106587 w 603056"/>
                <a:gd name="connsiteY145" fmla="*/ 423541 h 664763"/>
                <a:gd name="connsiteX146" fmla="*/ 100977 w 603056"/>
                <a:gd name="connsiteY146" fmla="*/ 403907 h 664763"/>
                <a:gd name="connsiteX147" fmla="*/ 95367 w 603056"/>
                <a:gd name="connsiteY147" fmla="*/ 395492 h 664763"/>
                <a:gd name="connsiteX148" fmla="*/ 112197 w 603056"/>
                <a:gd name="connsiteY148" fmla="*/ 395492 h 664763"/>
                <a:gd name="connsiteX149" fmla="*/ 129026 w 603056"/>
                <a:gd name="connsiteY149" fmla="*/ 392687 h 664763"/>
                <a:gd name="connsiteX150" fmla="*/ 143051 w 603056"/>
                <a:gd name="connsiteY150" fmla="*/ 378662 h 664763"/>
                <a:gd name="connsiteX151" fmla="*/ 140246 w 603056"/>
                <a:gd name="connsiteY151" fmla="*/ 370248 h 664763"/>
                <a:gd name="connsiteX152" fmla="*/ 131831 w 603056"/>
                <a:gd name="connsiteY152" fmla="*/ 375858 h 664763"/>
                <a:gd name="connsiteX153" fmla="*/ 115002 w 603056"/>
                <a:gd name="connsiteY153" fmla="*/ 367443 h 664763"/>
                <a:gd name="connsiteX154" fmla="*/ 95367 w 603056"/>
                <a:gd name="connsiteY154" fmla="*/ 356223 h 664763"/>
                <a:gd name="connsiteX155" fmla="*/ 89757 w 603056"/>
                <a:gd name="connsiteY155" fmla="*/ 347808 h 664763"/>
                <a:gd name="connsiteX156" fmla="*/ 81343 w 603056"/>
                <a:gd name="connsiteY156" fmla="*/ 342199 h 664763"/>
                <a:gd name="connsiteX157" fmla="*/ 72928 w 603056"/>
                <a:gd name="connsiteY157" fmla="*/ 345004 h 664763"/>
                <a:gd name="connsiteX158" fmla="*/ 67318 w 603056"/>
                <a:gd name="connsiteY158" fmla="*/ 328174 h 664763"/>
                <a:gd name="connsiteX159" fmla="*/ 64513 w 603056"/>
                <a:gd name="connsiteY159" fmla="*/ 319759 h 664763"/>
                <a:gd name="connsiteX160" fmla="*/ 72928 w 603056"/>
                <a:gd name="connsiteY160" fmla="*/ 291710 h 664763"/>
                <a:gd name="connsiteX161" fmla="*/ 81343 w 603056"/>
                <a:gd name="connsiteY161" fmla="*/ 283296 h 664763"/>
                <a:gd name="connsiteX162" fmla="*/ 81343 w 603056"/>
                <a:gd name="connsiteY162" fmla="*/ 241222 h 664763"/>
                <a:gd name="connsiteX163" fmla="*/ 64513 w 603056"/>
                <a:gd name="connsiteY163" fmla="*/ 235612 h 664763"/>
                <a:gd name="connsiteX164" fmla="*/ 56098 w 603056"/>
                <a:gd name="connsiteY164" fmla="*/ 238417 h 664763"/>
                <a:gd name="connsiteX165" fmla="*/ 47684 w 603056"/>
                <a:gd name="connsiteY165" fmla="*/ 244027 h 664763"/>
                <a:gd name="connsiteX166" fmla="*/ 39269 w 603056"/>
                <a:gd name="connsiteY166" fmla="*/ 241222 h 664763"/>
                <a:gd name="connsiteX167" fmla="*/ 56098 w 603056"/>
                <a:gd name="connsiteY167" fmla="*/ 227197 h 664763"/>
                <a:gd name="connsiteX168" fmla="*/ 53294 w 603056"/>
                <a:gd name="connsiteY168" fmla="*/ 210368 h 664763"/>
                <a:gd name="connsiteX169" fmla="*/ 72928 w 603056"/>
                <a:gd name="connsiteY169" fmla="*/ 193539 h 664763"/>
                <a:gd name="connsiteX170" fmla="*/ 81343 w 603056"/>
                <a:gd name="connsiteY170" fmla="*/ 190734 h 664763"/>
                <a:gd name="connsiteX171" fmla="*/ 89757 w 603056"/>
                <a:gd name="connsiteY171" fmla="*/ 196343 h 664763"/>
                <a:gd name="connsiteX172" fmla="*/ 95367 w 603056"/>
                <a:gd name="connsiteY172" fmla="*/ 182319 h 664763"/>
                <a:gd name="connsiteX173" fmla="*/ 86952 w 603056"/>
                <a:gd name="connsiteY173" fmla="*/ 179514 h 664763"/>
                <a:gd name="connsiteX174" fmla="*/ 67318 w 603056"/>
                <a:gd name="connsiteY174" fmla="*/ 176709 h 664763"/>
                <a:gd name="connsiteX175" fmla="*/ 58903 w 603056"/>
                <a:gd name="connsiteY175" fmla="*/ 171099 h 664763"/>
                <a:gd name="connsiteX176" fmla="*/ 42074 w 603056"/>
                <a:gd name="connsiteY176" fmla="*/ 165489 h 664763"/>
                <a:gd name="connsiteX177" fmla="*/ 50489 w 603056"/>
                <a:gd name="connsiteY177" fmla="*/ 162685 h 664763"/>
                <a:gd name="connsiteX178" fmla="*/ 42074 w 603056"/>
                <a:gd name="connsiteY178" fmla="*/ 145855 h 664763"/>
                <a:gd name="connsiteX179" fmla="*/ 47684 w 603056"/>
                <a:gd name="connsiteY179" fmla="*/ 137440 h 664763"/>
                <a:gd name="connsiteX180" fmla="*/ 47684 w 603056"/>
                <a:gd name="connsiteY180" fmla="*/ 131831 h 664763"/>
                <a:gd name="connsiteX181" fmla="*/ 39269 w 603056"/>
                <a:gd name="connsiteY181" fmla="*/ 126221 h 664763"/>
                <a:gd name="connsiteX182" fmla="*/ 33659 w 603056"/>
                <a:gd name="connsiteY182" fmla="*/ 120611 h 664763"/>
                <a:gd name="connsiteX183" fmla="*/ 16830 w 603056"/>
                <a:gd name="connsiteY183" fmla="*/ 117806 h 664763"/>
                <a:gd name="connsiteX184" fmla="*/ 19635 w 603056"/>
                <a:gd name="connsiteY184" fmla="*/ 109391 h 664763"/>
                <a:gd name="connsiteX185" fmla="*/ 30854 w 603056"/>
                <a:gd name="connsiteY185" fmla="*/ 106586 h 664763"/>
                <a:gd name="connsiteX186" fmla="*/ 22440 w 603056"/>
                <a:gd name="connsiteY186" fmla="*/ 95367 h 664763"/>
                <a:gd name="connsiteX187" fmla="*/ 14025 w 603056"/>
                <a:gd name="connsiteY187" fmla="*/ 92562 h 664763"/>
                <a:gd name="connsiteX188" fmla="*/ 19635 w 603056"/>
                <a:gd name="connsiteY188" fmla="*/ 84147 h 664763"/>
                <a:gd name="connsiteX189" fmla="*/ 0 w 603056"/>
                <a:gd name="connsiteY189" fmla="*/ 81342 h 664763"/>
                <a:gd name="connsiteX190" fmla="*/ 2805 w 603056"/>
                <a:gd name="connsiteY190" fmla="*/ 72927 h 664763"/>
                <a:gd name="connsiteX191" fmla="*/ 0 w 603056"/>
                <a:gd name="connsiteY191" fmla="*/ 64513 h 664763"/>
                <a:gd name="connsiteX192" fmla="*/ 14025 w 603056"/>
                <a:gd name="connsiteY192" fmla="*/ 58903 h 664763"/>
                <a:gd name="connsiteX0" fmla="*/ 14025 w 603056"/>
                <a:gd name="connsiteY0" fmla="*/ 58903 h 664763"/>
                <a:gd name="connsiteX1" fmla="*/ 36464 w 603056"/>
                <a:gd name="connsiteY1" fmla="*/ 44878 h 664763"/>
                <a:gd name="connsiteX2" fmla="*/ 50489 w 603056"/>
                <a:gd name="connsiteY2" fmla="*/ 47683 h 664763"/>
                <a:gd name="connsiteX3" fmla="*/ 67318 w 603056"/>
                <a:gd name="connsiteY3" fmla="*/ 44878 h 664763"/>
                <a:gd name="connsiteX4" fmla="*/ 70123 w 603056"/>
                <a:gd name="connsiteY4" fmla="*/ 36464 h 664763"/>
                <a:gd name="connsiteX5" fmla="*/ 86952 w 603056"/>
                <a:gd name="connsiteY5" fmla="*/ 30854 h 664763"/>
                <a:gd name="connsiteX6" fmla="*/ 86952 w 603056"/>
                <a:gd name="connsiteY6" fmla="*/ 14024 h 664763"/>
                <a:gd name="connsiteX7" fmla="*/ 89757 w 603056"/>
                <a:gd name="connsiteY7" fmla="*/ 2805 h 664763"/>
                <a:gd name="connsiteX8" fmla="*/ 123416 w 603056"/>
                <a:gd name="connsiteY8" fmla="*/ 8415 h 664763"/>
                <a:gd name="connsiteX9" fmla="*/ 134636 w 603056"/>
                <a:gd name="connsiteY9" fmla="*/ 11219 h 664763"/>
                <a:gd name="connsiteX10" fmla="*/ 143051 w 603056"/>
                <a:gd name="connsiteY10" fmla="*/ 5610 h 664763"/>
                <a:gd name="connsiteX11" fmla="*/ 159880 w 603056"/>
                <a:gd name="connsiteY11" fmla="*/ 0 h 664763"/>
                <a:gd name="connsiteX12" fmla="*/ 176710 w 603056"/>
                <a:gd name="connsiteY12" fmla="*/ 11219 h 664763"/>
                <a:gd name="connsiteX13" fmla="*/ 182319 w 603056"/>
                <a:gd name="connsiteY13" fmla="*/ 19634 h 664763"/>
                <a:gd name="connsiteX14" fmla="*/ 185124 w 603056"/>
                <a:gd name="connsiteY14" fmla="*/ 28049 h 664763"/>
                <a:gd name="connsiteX15" fmla="*/ 204759 w 603056"/>
                <a:gd name="connsiteY15" fmla="*/ 36464 h 664763"/>
                <a:gd name="connsiteX16" fmla="*/ 213173 w 603056"/>
                <a:gd name="connsiteY16" fmla="*/ 42073 h 664763"/>
                <a:gd name="connsiteX17" fmla="*/ 221588 w 603056"/>
                <a:gd name="connsiteY17" fmla="*/ 33659 h 664763"/>
                <a:gd name="connsiteX18" fmla="*/ 224393 w 603056"/>
                <a:gd name="connsiteY18" fmla="*/ 44878 h 664763"/>
                <a:gd name="connsiteX19" fmla="*/ 232808 w 603056"/>
                <a:gd name="connsiteY19" fmla="*/ 53293 h 664763"/>
                <a:gd name="connsiteX20" fmla="*/ 238417 w 603056"/>
                <a:gd name="connsiteY20" fmla="*/ 61708 h 664763"/>
                <a:gd name="connsiteX21" fmla="*/ 255247 w 603056"/>
                <a:gd name="connsiteY21" fmla="*/ 70123 h 664763"/>
                <a:gd name="connsiteX22" fmla="*/ 258052 w 603056"/>
                <a:gd name="connsiteY22" fmla="*/ 61708 h 664763"/>
                <a:gd name="connsiteX23" fmla="*/ 260857 w 603056"/>
                <a:gd name="connsiteY23" fmla="*/ 70123 h 664763"/>
                <a:gd name="connsiteX24" fmla="*/ 258052 w 603056"/>
                <a:gd name="connsiteY24" fmla="*/ 106586 h 664763"/>
                <a:gd name="connsiteX25" fmla="*/ 255247 w 603056"/>
                <a:gd name="connsiteY25" fmla="*/ 115001 h 664763"/>
                <a:gd name="connsiteX26" fmla="*/ 246832 w 603056"/>
                <a:gd name="connsiteY26" fmla="*/ 120611 h 664763"/>
                <a:gd name="connsiteX27" fmla="*/ 258052 w 603056"/>
                <a:gd name="connsiteY27" fmla="*/ 129026 h 664763"/>
                <a:gd name="connsiteX28" fmla="*/ 277686 w 603056"/>
                <a:gd name="connsiteY28" fmla="*/ 131831 h 664763"/>
                <a:gd name="connsiteX29" fmla="*/ 291711 w 603056"/>
                <a:gd name="connsiteY29" fmla="*/ 137440 h 664763"/>
                <a:gd name="connsiteX30" fmla="*/ 294516 w 603056"/>
                <a:gd name="connsiteY30" fmla="*/ 145855 h 664763"/>
                <a:gd name="connsiteX31" fmla="*/ 311345 w 603056"/>
                <a:gd name="connsiteY31" fmla="*/ 151465 h 664763"/>
                <a:gd name="connsiteX32" fmla="*/ 322565 w 603056"/>
                <a:gd name="connsiteY32" fmla="*/ 137440 h 664763"/>
                <a:gd name="connsiteX33" fmla="*/ 325370 w 603056"/>
                <a:gd name="connsiteY33" fmla="*/ 145855 h 664763"/>
                <a:gd name="connsiteX34" fmla="*/ 342199 w 603056"/>
                <a:gd name="connsiteY34" fmla="*/ 148660 h 664763"/>
                <a:gd name="connsiteX35" fmla="*/ 367443 w 603056"/>
                <a:gd name="connsiteY35" fmla="*/ 151465 h 664763"/>
                <a:gd name="connsiteX36" fmla="*/ 370248 w 603056"/>
                <a:gd name="connsiteY36" fmla="*/ 159880 h 664763"/>
                <a:gd name="connsiteX37" fmla="*/ 350614 w 603056"/>
                <a:gd name="connsiteY37" fmla="*/ 171099 h 664763"/>
                <a:gd name="connsiteX38" fmla="*/ 353419 w 603056"/>
                <a:gd name="connsiteY38" fmla="*/ 179514 h 664763"/>
                <a:gd name="connsiteX39" fmla="*/ 361833 w 603056"/>
                <a:gd name="connsiteY39" fmla="*/ 185124 h 664763"/>
                <a:gd name="connsiteX40" fmla="*/ 347809 w 603056"/>
                <a:gd name="connsiteY40" fmla="*/ 201953 h 664763"/>
                <a:gd name="connsiteX41" fmla="*/ 345004 w 603056"/>
                <a:gd name="connsiteY41" fmla="*/ 210368 h 664763"/>
                <a:gd name="connsiteX42" fmla="*/ 373053 w 603056"/>
                <a:gd name="connsiteY42" fmla="*/ 221588 h 664763"/>
                <a:gd name="connsiteX43" fmla="*/ 375858 w 603056"/>
                <a:gd name="connsiteY43" fmla="*/ 230002 h 664763"/>
                <a:gd name="connsiteX44" fmla="*/ 378663 w 603056"/>
                <a:gd name="connsiteY44" fmla="*/ 244027 h 664763"/>
                <a:gd name="connsiteX45" fmla="*/ 395492 w 603056"/>
                <a:gd name="connsiteY45" fmla="*/ 238417 h 664763"/>
                <a:gd name="connsiteX46" fmla="*/ 417932 w 603056"/>
                <a:gd name="connsiteY46" fmla="*/ 235612 h 664763"/>
                <a:gd name="connsiteX47" fmla="*/ 434761 w 603056"/>
                <a:gd name="connsiteY47" fmla="*/ 246832 h 664763"/>
                <a:gd name="connsiteX48" fmla="*/ 451590 w 603056"/>
                <a:gd name="connsiteY48" fmla="*/ 255246 h 664763"/>
                <a:gd name="connsiteX49" fmla="*/ 465615 w 603056"/>
                <a:gd name="connsiteY49" fmla="*/ 232807 h 664763"/>
                <a:gd name="connsiteX50" fmla="*/ 482444 w 603056"/>
                <a:gd name="connsiteY50" fmla="*/ 221588 h 664763"/>
                <a:gd name="connsiteX51" fmla="*/ 485249 w 603056"/>
                <a:gd name="connsiteY51" fmla="*/ 213173 h 664763"/>
                <a:gd name="connsiteX52" fmla="*/ 502079 w 603056"/>
                <a:gd name="connsiteY52" fmla="*/ 221588 h 664763"/>
                <a:gd name="connsiteX53" fmla="*/ 504884 w 603056"/>
                <a:gd name="connsiteY53" fmla="*/ 230002 h 664763"/>
                <a:gd name="connsiteX54" fmla="*/ 521713 w 603056"/>
                <a:gd name="connsiteY54" fmla="*/ 232807 h 664763"/>
                <a:gd name="connsiteX55" fmla="*/ 530128 w 603056"/>
                <a:gd name="connsiteY55" fmla="*/ 238417 h 664763"/>
                <a:gd name="connsiteX56" fmla="*/ 527323 w 603056"/>
                <a:gd name="connsiteY56" fmla="*/ 246832 h 664763"/>
                <a:gd name="connsiteX57" fmla="*/ 518908 w 603056"/>
                <a:gd name="connsiteY57" fmla="*/ 249637 h 664763"/>
                <a:gd name="connsiteX58" fmla="*/ 507689 w 603056"/>
                <a:gd name="connsiteY58" fmla="*/ 255246 h 664763"/>
                <a:gd name="connsiteX59" fmla="*/ 504884 w 603056"/>
                <a:gd name="connsiteY59" fmla="*/ 274881 h 664763"/>
                <a:gd name="connsiteX60" fmla="*/ 521713 w 603056"/>
                <a:gd name="connsiteY60" fmla="*/ 283296 h 664763"/>
                <a:gd name="connsiteX61" fmla="*/ 518908 w 603056"/>
                <a:gd name="connsiteY61" fmla="*/ 291710 h 664763"/>
                <a:gd name="connsiteX62" fmla="*/ 510494 w 603056"/>
                <a:gd name="connsiteY62" fmla="*/ 297320 h 664763"/>
                <a:gd name="connsiteX63" fmla="*/ 518908 w 603056"/>
                <a:gd name="connsiteY63" fmla="*/ 314150 h 664763"/>
                <a:gd name="connsiteX64" fmla="*/ 516103 w 603056"/>
                <a:gd name="connsiteY64" fmla="*/ 322564 h 664763"/>
                <a:gd name="connsiteX65" fmla="*/ 507689 w 603056"/>
                <a:gd name="connsiteY65" fmla="*/ 325369 h 664763"/>
                <a:gd name="connsiteX66" fmla="*/ 504884 w 603056"/>
                <a:gd name="connsiteY66" fmla="*/ 336589 h 664763"/>
                <a:gd name="connsiteX67" fmla="*/ 499274 w 603056"/>
                <a:gd name="connsiteY67" fmla="*/ 347808 h 664763"/>
                <a:gd name="connsiteX68" fmla="*/ 496469 w 603056"/>
                <a:gd name="connsiteY68" fmla="*/ 356223 h 664763"/>
                <a:gd name="connsiteX69" fmla="*/ 496469 w 603056"/>
                <a:gd name="connsiteY69" fmla="*/ 398297 h 664763"/>
                <a:gd name="connsiteX70" fmla="*/ 499274 w 603056"/>
                <a:gd name="connsiteY70" fmla="*/ 415126 h 664763"/>
                <a:gd name="connsiteX71" fmla="*/ 510494 w 603056"/>
                <a:gd name="connsiteY71" fmla="*/ 417931 h 664763"/>
                <a:gd name="connsiteX72" fmla="*/ 527323 w 603056"/>
                <a:gd name="connsiteY72" fmla="*/ 423541 h 664763"/>
                <a:gd name="connsiteX73" fmla="*/ 532933 w 603056"/>
                <a:gd name="connsiteY73" fmla="*/ 431956 h 664763"/>
                <a:gd name="connsiteX74" fmla="*/ 549762 w 603056"/>
                <a:gd name="connsiteY74" fmla="*/ 451590 h 664763"/>
                <a:gd name="connsiteX75" fmla="*/ 566592 w 603056"/>
                <a:gd name="connsiteY75" fmla="*/ 454395 h 664763"/>
                <a:gd name="connsiteX76" fmla="*/ 577811 w 603056"/>
                <a:gd name="connsiteY76" fmla="*/ 457200 h 664763"/>
                <a:gd name="connsiteX77" fmla="*/ 594641 w 603056"/>
                <a:gd name="connsiteY77" fmla="*/ 465615 h 664763"/>
                <a:gd name="connsiteX78" fmla="*/ 603056 w 603056"/>
                <a:gd name="connsiteY78" fmla="*/ 468419 h 664763"/>
                <a:gd name="connsiteX79" fmla="*/ 594641 w 603056"/>
                <a:gd name="connsiteY79" fmla="*/ 485249 h 664763"/>
                <a:gd name="connsiteX80" fmla="*/ 591836 w 603056"/>
                <a:gd name="connsiteY80" fmla="*/ 493664 h 664763"/>
                <a:gd name="connsiteX81" fmla="*/ 589031 w 603056"/>
                <a:gd name="connsiteY81" fmla="*/ 504883 h 664763"/>
                <a:gd name="connsiteX82" fmla="*/ 577811 w 603056"/>
                <a:gd name="connsiteY82" fmla="*/ 521713 h 664763"/>
                <a:gd name="connsiteX83" fmla="*/ 575006 w 603056"/>
                <a:gd name="connsiteY83" fmla="*/ 541347 h 664763"/>
                <a:gd name="connsiteX84" fmla="*/ 555372 w 603056"/>
                <a:gd name="connsiteY84" fmla="*/ 535737 h 664763"/>
                <a:gd name="connsiteX85" fmla="*/ 538543 w 603056"/>
                <a:gd name="connsiteY85" fmla="*/ 530127 h 664763"/>
                <a:gd name="connsiteX86" fmla="*/ 544152 w 603056"/>
                <a:gd name="connsiteY86" fmla="*/ 558177 h 664763"/>
                <a:gd name="connsiteX87" fmla="*/ 549762 w 603056"/>
                <a:gd name="connsiteY87" fmla="*/ 575006 h 664763"/>
                <a:gd name="connsiteX88" fmla="*/ 544152 w 603056"/>
                <a:gd name="connsiteY88" fmla="*/ 583421 h 664763"/>
                <a:gd name="connsiteX89" fmla="*/ 552567 w 603056"/>
                <a:gd name="connsiteY89" fmla="*/ 589031 h 664763"/>
                <a:gd name="connsiteX90" fmla="*/ 569397 w 603056"/>
                <a:gd name="connsiteY90" fmla="*/ 594640 h 664763"/>
                <a:gd name="connsiteX91" fmla="*/ 566592 w 603056"/>
                <a:gd name="connsiteY91" fmla="*/ 605860 h 664763"/>
                <a:gd name="connsiteX92" fmla="*/ 555372 w 603056"/>
                <a:gd name="connsiteY92" fmla="*/ 639519 h 664763"/>
                <a:gd name="connsiteX93" fmla="*/ 546957 w 603056"/>
                <a:gd name="connsiteY93" fmla="*/ 645129 h 664763"/>
                <a:gd name="connsiteX94" fmla="*/ 530128 w 603056"/>
                <a:gd name="connsiteY94" fmla="*/ 642324 h 664763"/>
                <a:gd name="connsiteX95" fmla="*/ 521713 w 603056"/>
                <a:gd name="connsiteY95" fmla="*/ 639519 h 664763"/>
                <a:gd name="connsiteX96" fmla="*/ 513298 w 603056"/>
                <a:gd name="connsiteY96" fmla="*/ 642324 h 664763"/>
                <a:gd name="connsiteX97" fmla="*/ 496469 w 603056"/>
                <a:gd name="connsiteY97" fmla="*/ 650739 h 664763"/>
                <a:gd name="connsiteX98" fmla="*/ 479640 w 603056"/>
                <a:gd name="connsiteY98" fmla="*/ 647934 h 664763"/>
                <a:gd name="connsiteX99" fmla="*/ 476835 w 603056"/>
                <a:gd name="connsiteY99" fmla="*/ 659153 h 664763"/>
                <a:gd name="connsiteX100" fmla="*/ 468420 w 603056"/>
                <a:gd name="connsiteY100" fmla="*/ 656348 h 664763"/>
                <a:gd name="connsiteX101" fmla="*/ 460005 w 603056"/>
                <a:gd name="connsiteY101" fmla="*/ 661958 h 664763"/>
                <a:gd name="connsiteX102" fmla="*/ 448786 w 603056"/>
                <a:gd name="connsiteY102" fmla="*/ 664763 h 664763"/>
                <a:gd name="connsiteX103" fmla="*/ 426346 w 603056"/>
                <a:gd name="connsiteY103" fmla="*/ 661958 h 664763"/>
                <a:gd name="connsiteX104" fmla="*/ 429151 w 603056"/>
                <a:gd name="connsiteY104" fmla="*/ 647934 h 664763"/>
                <a:gd name="connsiteX105" fmla="*/ 434761 w 603056"/>
                <a:gd name="connsiteY105" fmla="*/ 628299 h 664763"/>
                <a:gd name="connsiteX106" fmla="*/ 440371 w 603056"/>
                <a:gd name="connsiteY106" fmla="*/ 619885 h 664763"/>
                <a:gd name="connsiteX107" fmla="*/ 443176 w 603056"/>
                <a:gd name="connsiteY107" fmla="*/ 608665 h 664763"/>
                <a:gd name="connsiteX108" fmla="*/ 426346 w 603056"/>
                <a:gd name="connsiteY108" fmla="*/ 608665 h 664763"/>
                <a:gd name="connsiteX109" fmla="*/ 406712 w 603056"/>
                <a:gd name="connsiteY109" fmla="*/ 603055 h 664763"/>
                <a:gd name="connsiteX110" fmla="*/ 387078 w 603056"/>
                <a:gd name="connsiteY110" fmla="*/ 594640 h 664763"/>
                <a:gd name="connsiteX111" fmla="*/ 384273 w 603056"/>
                <a:gd name="connsiteY111" fmla="*/ 572201 h 664763"/>
                <a:gd name="connsiteX112" fmla="*/ 373053 w 603056"/>
                <a:gd name="connsiteY112" fmla="*/ 566591 h 664763"/>
                <a:gd name="connsiteX113" fmla="*/ 364638 w 603056"/>
                <a:gd name="connsiteY113" fmla="*/ 560981 h 664763"/>
                <a:gd name="connsiteX114" fmla="*/ 353419 w 603056"/>
                <a:gd name="connsiteY114" fmla="*/ 549762 h 664763"/>
                <a:gd name="connsiteX115" fmla="*/ 342199 w 603056"/>
                <a:gd name="connsiteY115" fmla="*/ 546957 h 664763"/>
                <a:gd name="connsiteX116" fmla="*/ 325370 w 603056"/>
                <a:gd name="connsiteY116" fmla="*/ 541347 h 664763"/>
                <a:gd name="connsiteX117" fmla="*/ 328175 w 603056"/>
                <a:gd name="connsiteY117" fmla="*/ 532932 h 664763"/>
                <a:gd name="connsiteX118" fmla="*/ 316955 w 603056"/>
                <a:gd name="connsiteY118" fmla="*/ 535737 h 664763"/>
                <a:gd name="connsiteX119" fmla="*/ 300125 w 603056"/>
                <a:gd name="connsiteY119" fmla="*/ 546957 h 664763"/>
                <a:gd name="connsiteX120" fmla="*/ 308540 w 603056"/>
                <a:gd name="connsiteY120" fmla="*/ 549762 h 664763"/>
                <a:gd name="connsiteX121" fmla="*/ 311345 w 603056"/>
                <a:gd name="connsiteY121" fmla="*/ 558177 h 664763"/>
                <a:gd name="connsiteX122" fmla="*/ 297321 w 603056"/>
                <a:gd name="connsiteY122" fmla="*/ 577811 h 664763"/>
                <a:gd name="connsiteX123" fmla="*/ 277686 w 603056"/>
                <a:gd name="connsiteY123" fmla="*/ 580616 h 664763"/>
                <a:gd name="connsiteX124" fmla="*/ 274881 w 603056"/>
                <a:gd name="connsiteY124" fmla="*/ 600250 h 664763"/>
                <a:gd name="connsiteX125" fmla="*/ 260857 w 603056"/>
                <a:gd name="connsiteY125" fmla="*/ 597445 h 664763"/>
                <a:gd name="connsiteX126" fmla="*/ 255247 w 603056"/>
                <a:gd name="connsiteY126" fmla="*/ 580616 h 664763"/>
                <a:gd name="connsiteX127" fmla="*/ 246832 w 603056"/>
                <a:gd name="connsiteY127" fmla="*/ 577811 h 664763"/>
                <a:gd name="connsiteX128" fmla="*/ 230003 w 603056"/>
                <a:gd name="connsiteY128" fmla="*/ 569396 h 664763"/>
                <a:gd name="connsiteX129" fmla="*/ 224393 w 603056"/>
                <a:gd name="connsiteY129" fmla="*/ 560981 h 664763"/>
                <a:gd name="connsiteX130" fmla="*/ 215978 w 603056"/>
                <a:gd name="connsiteY130" fmla="*/ 558177 h 664763"/>
                <a:gd name="connsiteX131" fmla="*/ 213173 w 603056"/>
                <a:gd name="connsiteY131" fmla="*/ 546957 h 664763"/>
                <a:gd name="connsiteX132" fmla="*/ 218783 w 603056"/>
                <a:gd name="connsiteY132" fmla="*/ 538542 h 664763"/>
                <a:gd name="connsiteX133" fmla="*/ 204759 w 603056"/>
                <a:gd name="connsiteY133" fmla="*/ 541347 h 664763"/>
                <a:gd name="connsiteX134" fmla="*/ 185124 w 603056"/>
                <a:gd name="connsiteY134" fmla="*/ 532932 h 664763"/>
                <a:gd name="connsiteX135" fmla="*/ 168295 w 603056"/>
                <a:gd name="connsiteY135" fmla="*/ 518908 h 664763"/>
                <a:gd name="connsiteX136" fmla="*/ 159880 w 603056"/>
                <a:gd name="connsiteY136" fmla="*/ 516103 h 664763"/>
                <a:gd name="connsiteX137" fmla="*/ 134636 w 603056"/>
                <a:gd name="connsiteY137" fmla="*/ 502078 h 664763"/>
                <a:gd name="connsiteX138" fmla="*/ 129026 w 603056"/>
                <a:gd name="connsiteY138" fmla="*/ 493664 h 664763"/>
                <a:gd name="connsiteX139" fmla="*/ 112197 w 603056"/>
                <a:gd name="connsiteY139" fmla="*/ 482444 h 664763"/>
                <a:gd name="connsiteX140" fmla="*/ 109392 w 603056"/>
                <a:gd name="connsiteY140" fmla="*/ 474029 h 664763"/>
                <a:gd name="connsiteX141" fmla="*/ 129026 w 603056"/>
                <a:gd name="connsiteY141" fmla="*/ 460005 h 664763"/>
                <a:gd name="connsiteX142" fmla="*/ 137441 w 603056"/>
                <a:gd name="connsiteY142" fmla="*/ 454395 h 664763"/>
                <a:gd name="connsiteX143" fmla="*/ 112197 w 603056"/>
                <a:gd name="connsiteY143" fmla="*/ 431956 h 664763"/>
                <a:gd name="connsiteX144" fmla="*/ 106587 w 603056"/>
                <a:gd name="connsiteY144" fmla="*/ 423541 h 664763"/>
                <a:gd name="connsiteX145" fmla="*/ 100977 w 603056"/>
                <a:gd name="connsiteY145" fmla="*/ 403907 h 664763"/>
                <a:gd name="connsiteX146" fmla="*/ 95367 w 603056"/>
                <a:gd name="connsiteY146" fmla="*/ 395492 h 664763"/>
                <a:gd name="connsiteX147" fmla="*/ 112197 w 603056"/>
                <a:gd name="connsiteY147" fmla="*/ 395492 h 664763"/>
                <a:gd name="connsiteX148" fmla="*/ 129026 w 603056"/>
                <a:gd name="connsiteY148" fmla="*/ 392687 h 664763"/>
                <a:gd name="connsiteX149" fmla="*/ 143051 w 603056"/>
                <a:gd name="connsiteY149" fmla="*/ 378662 h 664763"/>
                <a:gd name="connsiteX150" fmla="*/ 140246 w 603056"/>
                <a:gd name="connsiteY150" fmla="*/ 370248 h 664763"/>
                <a:gd name="connsiteX151" fmla="*/ 131831 w 603056"/>
                <a:gd name="connsiteY151" fmla="*/ 375858 h 664763"/>
                <a:gd name="connsiteX152" fmla="*/ 115002 w 603056"/>
                <a:gd name="connsiteY152" fmla="*/ 367443 h 664763"/>
                <a:gd name="connsiteX153" fmla="*/ 95367 w 603056"/>
                <a:gd name="connsiteY153" fmla="*/ 356223 h 664763"/>
                <a:gd name="connsiteX154" fmla="*/ 89757 w 603056"/>
                <a:gd name="connsiteY154" fmla="*/ 347808 h 664763"/>
                <a:gd name="connsiteX155" fmla="*/ 81343 w 603056"/>
                <a:gd name="connsiteY155" fmla="*/ 342199 h 664763"/>
                <a:gd name="connsiteX156" fmla="*/ 72928 w 603056"/>
                <a:gd name="connsiteY156" fmla="*/ 345004 h 664763"/>
                <a:gd name="connsiteX157" fmla="*/ 67318 w 603056"/>
                <a:gd name="connsiteY157" fmla="*/ 328174 h 664763"/>
                <a:gd name="connsiteX158" fmla="*/ 64513 w 603056"/>
                <a:gd name="connsiteY158" fmla="*/ 319759 h 664763"/>
                <a:gd name="connsiteX159" fmla="*/ 72928 w 603056"/>
                <a:gd name="connsiteY159" fmla="*/ 291710 h 664763"/>
                <a:gd name="connsiteX160" fmla="*/ 81343 w 603056"/>
                <a:gd name="connsiteY160" fmla="*/ 283296 h 664763"/>
                <a:gd name="connsiteX161" fmla="*/ 81343 w 603056"/>
                <a:gd name="connsiteY161" fmla="*/ 241222 h 664763"/>
                <a:gd name="connsiteX162" fmla="*/ 64513 w 603056"/>
                <a:gd name="connsiteY162" fmla="*/ 235612 h 664763"/>
                <a:gd name="connsiteX163" fmla="*/ 56098 w 603056"/>
                <a:gd name="connsiteY163" fmla="*/ 238417 h 664763"/>
                <a:gd name="connsiteX164" fmla="*/ 47684 w 603056"/>
                <a:gd name="connsiteY164" fmla="*/ 244027 h 664763"/>
                <a:gd name="connsiteX165" fmla="*/ 39269 w 603056"/>
                <a:gd name="connsiteY165" fmla="*/ 241222 h 664763"/>
                <a:gd name="connsiteX166" fmla="*/ 56098 w 603056"/>
                <a:gd name="connsiteY166" fmla="*/ 227197 h 664763"/>
                <a:gd name="connsiteX167" fmla="*/ 53294 w 603056"/>
                <a:gd name="connsiteY167" fmla="*/ 210368 h 664763"/>
                <a:gd name="connsiteX168" fmla="*/ 72928 w 603056"/>
                <a:gd name="connsiteY168" fmla="*/ 193539 h 664763"/>
                <a:gd name="connsiteX169" fmla="*/ 81343 w 603056"/>
                <a:gd name="connsiteY169" fmla="*/ 190734 h 664763"/>
                <a:gd name="connsiteX170" fmla="*/ 89757 w 603056"/>
                <a:gd name="connsiteY170" fmla="*/ 196343 h 664763"/>
                <a:gd name="connsiteX171" fmla="*/ 95367 w 603056"/>
                <a:gd name="connsiteY171" fmla="*/ 182319 h 664763"/>
                <a:gd name="connsiteX172" fmla="*/ 86952 w 603056"/>
                <a:gd name="connsiteY172" fmla="*/ 179514 h 664763"/>
                <a:gd name="connsiteX173" fmla="*/ 67318 w 603056"/>
                <a:gd name="connsiteY173" fmla="*/ 176709 h 664763"/>
                <a:gd name="connsiteX174" fmla="*/ 58903 w 603056"/>
                <a:gd name="connsiteY174" fmla="*/ 171099 h 664763"/>
                <a:gd name="connsiteX175" fmla="*/ 42074 w 603056"/>
                <a:gd name="connsiteY175" fmla="*/ 165489 h 664763"/>
                <a:gd name="connsiteX176" fmla="*/ 50489 w 603056"/>
                <a:gd name="connsiteY176" fmla="*/ 162685 h 664763"/>
                <a:gd name="connsiteX177" fmla="*/ 42074 w 603056"/>
                <a:gd name="connsiteY177" fmla="*/ 145855 h 664763"/>
                <a:gd name="connsiteX178" fmla="*/ 47684 w 603056"/>
                <a:gd name="connsiteY178" fmla="*/ 137440 h 664763"/>
                <a:gd name="connsiteX179" fmla="*/ 47684 w 603056"/>
                <a:gd name="connsiteY179" fmla="*/ 131831 h 664763"/>
                <a:gd name="connsiteX180" fmla="*/ 39269 w 603056"/>
                <a:gd name="connsiteY180" fmla="*/ 126221 h 664763"/>
                <a:gd name="connsiteX181" fmla="*/ 33659 w 603056"/>
                <a:gd name="connsiteY181" fmla="*/ 120611 h 664763"/>
                <a:gd name="connsiteX182" fmla="*/ 16830 w 603056"/>
                <a:gd name="connsiteY182" fmla="*/ 117806 h 664763"/>
                <a:gd name="connsiteX183" fmla="*/ 19635 w 603056"/>
                <a:gd name="connsiteY183" fmla="*/ 109391 h 664763"/>
                <a:gd name="connsiteX184" fmla="*/ 30854 w 603056"/>
                <a:gd name="connsiteY184" fmla="*/ 106586 h 664763"/>
                <a:gd name="connsiteX185" fmla="*/ 22440 w 603056"/>
                <a:gd name="connsiteY185" fmla="*/ 95367 h 664763"/>
                <a:gd name="connsiteX186" fmla="*/ 14025 w 603056"/>
                <a:gd name="connsiteY186" fmla="*/ 92562 h 664763"/>
                <a:gd name="connsiteX187" fmla="*/ 19635 w 603056"/>
                <a:gd name="connsiteY187" fmla="*/ 84147 h 664763"/>
                <a:gd name="connsiteX188" fmla="*/ 0 w 603056"/>
                <a:gd name="connsiteY188" fmla="*/ 81342 h 664763"/>
                <a:gd name="connsiteX189" fmla="*/ 2805 w 603056"/>
                <a:gd name="connsiteY189" fmla="*/ 72927 h 664763"/>
                <a:gd name="connsiteX190" fmla="*/ 0 w 603056"/>
                <a:gd name="connsiteY190" fmla="*/ 64513 h 664763"/>
                <a:gd name="connsiteX191" fmla="*/ 14025 w 603056"/>
                <a:gd name="connsiteY191" fmla="*/ 58903 h 664763"/>
                <a:gd name="connsiteX0" fmla="*/ 14025 w 603056"/>
                <a:gd name="connsiteY0" fmla="*/ 58903 h 664763"/>
                <a:gd name="connsiteX1" fmla="*/ 36464 w 603056"/>
                <a:gd name="connsiteY1" fmla="*/ 44878 h 664763"/>
                <a:gd name="connsiteX2" fmla="*/ 50489 w 603056"/>
                <a:gd name="connsiteY2" fmla="*/ 47683 h 664763"/>
                <a:gd name="connsiteX3" fmla="*/ 67318 w 603056"/>
                <a:gd name="connsiteY3" fmla="*/ 44878 h 664763"/>
                <a:gd name="connsiteX4" fmla="*/ 70123 w 603056"/>
                <a:gd name="connsiteY4" fmla="*/ 36464 h 664763"/>
                <a:gd name="connsiteX5" fmla="*/ 86952 w 603056"/>
                <a:gd name="connsiteY5" fmla="*/ 30854 h 664763"/>
                <a:gd name="connsiteX6" fmla="*/ 86952 w 603056"/>
                <a:gd name="connsiteY6" fmla="*/ 14024 h 664763"/>
                <a:gd name="connsiteX7" fmla="*/ 89757 w 603056"/>
                <a:gd name="connsiteY7" fmla="*/ 2805 h 664763"/>
                <a:gd name="connsiteX8" fmla="*/ 123416 w 603056"/>
                <a:gd name="connsiteY8" fmla="*/ 8415 h 664763"/>
                <a:gd name="connsiteX9" fmla="*/ 134636 w 603056"/>
                <a:gd name="connsiteY9" fmla="*/ 11219 h 664763"/>
                <a:gd name="connsiteX10" fmla="*/ 143051 w 603056"/>
                <a:gd name="connsiteY10" fmla="*/ 5610 h 664763"/>
                <a:gd name="connsiteX11" fmla="*/ 159880 w 603056"/>
                <a:gd name="connsiteY11" fmla="*/ 0 h 664763"/>
                <a:gd name="connsiteX12" fmla="*/ 176710 w 603056"/>
                <a:gd name="connsiteY12" fmla="*/ 11219 h 664763"/>
                <a:gd name="connsiteX13" fmla="*/ 182319 w 603056"/>
                <a:gd name="connsiteY13" fmla="*/ 19634 h 664763"/>
                <a:gd name="connsiteX14" fmla="*/ 185124 w 603056"/>
                <a:gd name="connsiteY14" fmla="*/ 28049 h 664763"/>
                <a:gd name="connsiteX15" fmla="*/ 204759 w 603056"/>
                <a:gd name="connsiteY15" fmla="*/ 36464 h 664763"/>
                <a:gd name="connsiteX16" fmla="*/ 213173 w 603056"/>
                <a:gd name="connsiteY16" fmla="*/ 42073 h 664763"/>
                <a:gd name="connsiteX17" fmla="*/ 221588 w 603056"/>
                <a:gd name="connsiteY17" fmla="*/ 33659 h 664763"/>
                <a:gd name="connsiteX18" fmla="*/ 224393 w 603056"/>
                <a:gd name="connsiteY18" fmla="*/ 44878 h 664763"/>
                <a:gd name="connsiteX19" fmla="*/ 232808 w 603056"/>
                <a:gd name="connsiteY19" fmla="*/ 53293 h 664763"/>
                <a:gd name="connsiteX20" fmla="*/ 238417 w 603056"/>
                <a:gd name="connsiteY20" fmla="*/ 61708 h 664763"/>
                <a:gd name="connsiteX21" fmla="*/ 255247 w 603056"/>
                <a:gd name="connsiteY21" fmla="*/ 70123 h 664763"/>
                <a:gd name="connsiteX22" fmla="*/ 258052 w 603056"/>
                <a:gd name="connsiteY22" fmla="*/ 61708 h 664763"/>
                <a:gd name="connsiteX23" fmla="*/ 260857 w 603056"/>
                <a:gd name="connsiteY23" fmla="*/ 70123 h 664763"/>
                <a:gd name="connsiteX24" fmla="*/ 258052 w 603056"/>
                <a:gd name="connsiteY24" fmla="*/ 106586 h 664763"/>
                <a:gd name="connsiteX25" fmla="*/ 255247 w 603056"/>
                <a:gd name="connsiteY25" fmla="*/ 115001 h 664763"/>
                <a:gd name="connsiteX26" fmla="*/ 246832 w 603056"/>
                <a:gd name="connsiteY26" fmla="*/ 120611 h 664763"/>
                <a:gd name="connsiteX27" fmla="*/ 277686 w 603056"/>
                <a:gd name="connsiteY27" fmla="*/ 131831 h 664763"/>
                <a:gd name="connsiteX28" fmla="*/ 291711 w 603056"/>
                <a:gd name="connsiteY28" fmla="*/ 137440 h 664763"/>
                <a:gd name="connsiteX29" fmla="*/ 294516 w 603056"/>
                <a:gd name="connsiteY29" fmla="*/ 145855 h 664763"/>
                <a:gd name="connsiteX30" fmla="*/ 311345 w 603056"/>
                <a:gd name="connsiteY30" fmla="*/ 151465 h 664763"/>
                <a:gd name="connsiteX31" fmla="*/ 322565 w 603056"/>
                <a:gd name="connsiteY31" fmla="*/ 137440 h 664763"/>
                <a:gd name="connsiteX32" fmla="*/ 325370 w 603056"/>
                <a:gd name="connsiteY32" fmla="*/ 145855 h 664763"/>
                <a:gd name="connsiteX33" fmla="*/ 342199 w 603056"/>
                <a:gd name="connsiteY33" fmla="*/ 148660 h 664763"/>
                <a:gd name="connsiteX34" fmla="*/ 367443 w 603056"/>
                <a:gd name="connsiteY34" fmla="*/ 151465 h 664763"/>
                <a:gd name="connsiteX35" fmla="*/ 370248 w 603056"/>
                <a:gd name="connsiteY35" fmla="*/ 159880 h 664763"/>
                <a:gd name="connsiteX36" fmla="*/ 350614 w 603056"/>
                <a:gd name="connsiteY36" fmla="*/ 171099 h 664763"/>
                <a:gd name="connsiteX37" fmla="*/ 353419 w 603056"/>
                <a:gd name="connsiteY37" fmla="*/ 179514 h 664763"/>
                <a:gd name="connsiteX38" fmla="*/ 361833 w 603056"/>
                <a:gd name="connsiteY38" fmla="*/ 185124 h 664763"/>
                <a:gd name="connsiteX39" fmla="*/ 347809 w 603056"/>
                <a:gd name="connsiteY39" fmla="*/ 201953 h 664763"/>
                <a:gd name="connsiteX40" fmla="*/ 345004 w 603056"/>
                <a:gd name="connsiteY40" fmla="*/ 210368 h 664763"/>
                <a:gd name="connsiteX41" fmla="*/ 373053 w 603056"/>
                <a:gd name="connsiteY41" fmla="*/ 221588 h 664763"/>
                <a:gd name="connsiteX42" fmla="*/ 375858 w 603056"/>
                <a:gd name="connsiteY42" fmla="*/ 230002 h 664763"/>
                <a:gd name="connsiteX43" fmla="*/ 378663 w 603056"/>
                <a:gd name="connsiteY43" fmla="*/ 244027 h 664763"/>
                <a:gd name="connsiteX44" fmla="*/ 395492 w 603056"/>
                <a:gd name="connsiteY44" fmla="*/ 238417 h 664763"/>
                <a:gd name="connsiteX45" fmla="*/ 417932 w 603056"/>
                <a:gd name="connsiteY45" fmla="*/ 235612 h 664763"/>
                <a:gd name="connsiteX46" fmla="*/ 434761 w 603056"/>
                <a:gd name="connsiteY46" fmla="*/ 246832 h 664763"/>
                <a:gd name="connsiteX47" fmla="*/ 451590 w 603056"/>
                <a:gd name="connsiteY47" fmla="*/ 255246 h 664763"/>
                <a:gd name="connsiteX48" fmla="*/ 465615 w 603056"/>
                <a:gd name="connsiteY48" fmla="*/ 232807 h 664763"/>
                <a:gd name="connsiteX49" fmla="*/ 482444 w 603056"/>
                <a:gd name="connsiteY49" fmla="*/ 221588 h 664763"/>
                <a:gd name="connsiteX50" fmla="*/ 485249 w 603056"/>
                <a:gd name="connsiteY50" fmla="*/ 213173 h 664763"/>
                <a:gd name="connsiteX51" fmla="*/ 502079 w 603056"/>
                <a:gd name="connsiteY51" fmla="*/ 221588 h 664763"/>
                <a:gd name="connsiteX52" fmla="*/ 504884 w 603056"/>
                <a:gd name="connsiteY52" fmla="*/ 230002 h 664763"/>
                <a:gd name="connsiteX53" fmla="*/ 521713 w 603056"/>
                <a:gd name="connsiteY53" fmla="*/ 232807 h 664763"/>
                <a:gd name="connsiteX54" fmla="*/ 530128 w 603056"/>
                <a:gd name="connsiteY54" fmla="*/ 238417 h 664763"/>
                <a:gd name="connsiteX55" fmla="*/ 527323 w 603056"/>
                <a:gd name="connsiteY55" fmla="*/ 246832 h 664763"/>
                <a:gd name="connsiteX56" fmla="*/ 518908 w 603056"/>
                <a:gd name="connsiteY56" fmla="*/ 249637 h 664763"/>
                <a:gd name="connsiteX57" fmla="*/ 507689 w 603056"/>
                <a:gd name="connsiteY57" fmla="*/ 255246 h 664763"/>
                <a:gd name="connsiteX58" fmla="*/ 504884 w 603056"/>
                <a:gd name="connsiteY58" fmla="*/ 274881 h 664763"/>
                <a:gd name="connsiteX59" fmla="*/ 521713 w 603056"/>
                <a:gd name="connsiteY59" fmla="*/ 283296 h 664763"/>
                <a:gd name="connsiteX60" fmla="*/ 518908 w 603056"/>
                <a:gd name="connsiteY60" fmla="*/ 291710 h 664763"/>
                <a:gd name="connsiteX61" fmla="*/ 510494 w 603056"/>
                <a:gd name="connsiteY61" fmla="*/ 297320 h 664763"/>
                <a:gd name="connsiteX62" fmla="*/ 518908 w 603056"/>
                <a:gd name="connsiteY62" fmla="*/ 314150 h 664763"/>
                <a:gd name="connsiteX63" fmla="*/ 516103 w 603056"/>
                <a:gd name="connsiteY63" fmla="*/ 322564 h 664763"/>
                <a:gd name="connsiteX64" fmla="*/ 507689 w 603056"/>
                <a:gd name="connsiteY64" fmla="*/ 325369 h 664763"/>
                <a:gd name="connsiteX65" fmla="*/ 504884 w 603056"/>
                <a:gd name="connsiteY65" fmla="*/ 336589 h 664763"/>
                <a:gd name="connsiteX66" fmla="*/ 499274 w 603056"/>
                <a:gd name="connsiteY66" fmla="*/ 347808 h 664763"/>
                <a:gd name="connsiteX67" fmla="*/ 496469 w 603056"/>
                <a:gd name="connsiteY67" fmla="*/ 356223 h 664763"/>
                <a:gd name="connsiteX68" fmla="*/ 496469 w 603056"/>
                <a:gd name="connsiteY68" fmla="*/ 398297 h 664763"/>
                <a:gd name="connsiteX69" fmla="*/ 499274 w 603056"/>
                <a:gd name="connsiteY69" fmla="*/ 415126 h 664763"/>
                <a:gd name="connsiteX70" fmla="*/ 510494 w 603056"/>
                <a:gd name="connsiteY70" fmla="*/ 417931 h 664763"/>
                <a:gd name="connsiteX71" fmla="*/ 527323 w 603056"/>
                <a:gd name="connsiteY71" fmla="*/ 423541 h 664763"/>
                <a:gd name="connsiteX72" fmla="*/ 532933 w 603056"/>
                <a:gd name="connsiteY72" fmla="*/ 431956 h 664763"/>
                <a:gd name="connsiteX73" fmla="*/ 549762 w 603056"/>
                <a:gd name="connsiteY73" fmla="*/ 451590 h 664763"/>
                <a:gd name="connsiteX74" fmla="*/ 566592 w 603056"/>
                <a:gd name="connsiteY74" fmla="*/ 454395 h 664763"/>
                <a:gd name="connsiteX75" fmla="*/ 577811 w 603056"/>
                <a:gd name="connsiteY75" fmla="*/ 457200 h 664763"/>
                <a:gd name="connsiteX76" fmla="*/ 594641 w 603056"/>
                <a:gd name="connsiteY76" fmla="*/ 465615 h 664763"/>
                <a:gd name="connsiteX77" fmla="*/ 603056 w 603056"/>
                <a:gd name="connsiteY77" fmla="*/ 468419 h 664763"/>
                <a:gd name="connsiteX78" fmla="*/ 594641 w 603056"/>
                <a:gd name="connsiteY78" fmla="*/ 485249 h 664763"/>
                <a:gd name="connsiteX79" fmla="*/ 591836 w 603056"/>
                <a:gd name="connsiteY79" fmla="*/ 493664 h 664763"/>
                <a:gd name="connsiteX80" fmla="*/ 589031 w 603056"/>
                <a:gd name="connsiteY80" fmla="*/ 504883 h 664763"/>
                <a:gd name="connsiteX81" fmla="*/ 577811 w 603056"/>
                <a:gd name="connsiteY81" fmla="*/ 521713 h 664763"/>
                <a:gd name="connsiteX82" fmla="*/ 575006 w 603056"/>
                <a:gd name="connsiteY82" fmla="*/ 541347 h 664763"/>
                <a:gd name="connsiteX83" fmla="*/ 555372 w 603056"/>
                <a:gd name="connsiteY83" fmla="*/ 535737 h 664763"/>
                <a:gd name="connsiteX84" fmla="*/ 538543 w 603056"/>
                <a:gd name="connsiteY84" fmla="*/ 530127 h 664763"/>
                <a:gd name="connsiteX85" fmla="*/ 544152 w 603056"/>
                <a:gd name="connsiteY85" fmla="*/ 558177 h 664763"/>
                <a:gd name="connsiteX86" fmla="*/ 549762 w 603056"/>
                <a:gd name="connsiteY86" fmla="*/ 575006 h 664763"/>
                <a:gd name="connsiteX87" fmla="*/ 544152 w 603056"/>
                <a:gd name="connsiteY87" fmla="*/ 583421 h 664763"/>
                <a:gd name="connsiteX88" fmla="*/ 552567 w 603056"/>
                <a:gd name="connsiteY88" fmla="*/ 589031 h 664763"/>
                <a:gd name="connsiteX89" fmla="*/ 569397 w 603056"/>
                <a:gd name="connsiteY89" fmla="*/ 594640 h 664763"/>
                <a:gd name="connsiteX90" fmla="*/ 566592 w 603056"/>
                <a:gd name="connsiteY90" fmla="*/ 605860 h 664763"/>
                <a:gd name="connsiteX91" fmla="*/ 555372 w 603056"/>
                <a:gd name="connsiteY91" fmla="*/ 639519 h 664763"/>
                <a:gd name="connsiteX92" fmla="*/ 546957 w 603056"/>
                <a:gd name="connsiteY92" fmla="*/ 645129 h 664763"/>
                <a:gd name="connsiteX93" fmla="*/ 530128 w 603056"/>
                <a:gd name="connsiteY93" fmla="*/ 642324 h 664763"/>
                <a:gd name="connsiteX94" fmla="*/ 521713 w 603056"/>
                <a:gd name="connsiteY94" fmla="*/ 639519 h 664763"/>
                <a:gd name="connsiteX95" fmla="*/ 513298 w 603056"/>
                <a:gd name="connsiteY95" fmla="*/ 642324 h 664763"/>
                <a:gd name="connsiteX96" fmla="*/ 496469 w 603056"/>
                <a:gd name="connsiteY96" fmla="*/ 650739 h 664763"/>
                <a:gd name="connsiteX97" fmla="*/ 479640 w 603056"/>
                <a:gd name="connsiteY97" fmla="*/ 647934 h 664763"/>
                <a:gd name="connsiteX98" fmla="*/ 476835 w 603056"/>
                <a:gd name="connsiteY98" fmla="*/ 659153 h 664763"/>
                <a:gd name="connsiteX99" fmla="*/ 468420 w 603056"/>
                <a:gd name="connsiteY99" fmla="*/ 656348 h 664763"/>
                <a:gd name="connsiteX100" fmla="*/ 460005 w 603056"/>
                <a:gd name="connsiteY100" fmla="*/ 661958 h 664763"/>
                <a:gd name="connsiteX101" fmla="*/ 448786 w 603056"/>
                <a:gd name="connsiteY101" fmla="*/ 664763 h 664763"/>
                <a:gd name="connsiteX102" fmla="*/ 426346 w 603056"/>
                <a:gd name="connsiteY102" fmla="*/ 661958 h 664763"/>
                <a:gd name="connsiteX103" fmla="*/ 429151 w 603056"/>
                <a:gd name="connsiteY103" fmla="*/ 647934 h 664763"/>
                <a:gd name="connsiteX104" fmla="*/ 434761 w 603056"/>
                <a:gd name="connsiteY104" fmla="*/ 628299 h 664763"/>
                <a:gd name="connsiteX105" fmla="*/ 440371 w 603056"/>
                <a:gd name="connsiteY105" fmla="*/ 619885 h 664763"/>
                <a:gd name="connsiteX106" fmla="*/ 443176 w 603056"/>
                <a:gd name="connsiteY106" fmla="*/ 608665 h 664763"/>
                <a:gd name="connsiteX107" fmla="*/ 426346 w 603056"/>
                <a:gd name="connsiteY107" fmla="*/ 608665 h 664763"/>
                <a:gd name="connsiteX108" fmla="*/ 406712 w 603056"/>
                <a:gd name="connsiteY108" fmla="*/ 603055 h 664763"/>
                <a:gd name="connsiteX109" fmla="*/ 387078 w 603056"/>
                <a:gd name="connsiteY109" fmla="*/ 594640 h 664763"/>
                <a:gd name="connsiteX110" fmla="*/ 384273 w 603056"/>
                <a:gd name="connsiteY110" fmla="*/ 572201 h 664763"/>
                <a:gd name="connsiteX111" fmla="*/ 373053 w 603056"/>
                <a:gd name="connsiteY111" fmla="*/ 566591 h 664763"/>
                <a:gd name="connsiteX112" fmla="*/ 364638 w 603056"/>
                <a:gd name="connsiteY112" fmla="*/ 560981 h 664763"/>
                <a:gd name="connsiteX113" fmla="*/ 353419 w 603056"/>
                <a:gd name="connsiteY113" fmla="*/ 549762 h 664763"/>
                <a:gd name="connsiteX114" fmla="*/ 342199 w 603056"/>
                <a:gd name="connsiteY114" fmla="*/ 546957 h 664763"/>
                <a:gd name="connsiteX115" fmla="*/ 325370 w 603056"/>
                <a:gd name="connsiteY115" fmla="*/ 541347 h 664763"/>
                <a:gd name="connsiteX116" fmla="*/ 328175 w 603056"/>
                <a:gd name="connsiteY116" fmla="*/ 532932 h 664763"/>
                <a:gd name="connsiteX117" fmla="*/ 316955 w 603056"/>
                <a:gd name="connsiteY117" fmla="*/ 535737 h 664763"/>
                <a:gd name="connsiteX118" fmla="*/ 300125 w 603056"/>
                <a:gd name="connsiteY118" fmla="*/ 546957 h 664763"/>
                <a:gd name="connsiteX119" fmla="*/ 308540 w 603056"/>
                <a:gd name="connsiteY119" fmla="*/ 549762 h 664763"/>
                <a:gd name="connsiteX120" fmla="*/ 311345 w 603056"/>
                <a:gd name="connsiteY120" fmla="*/ 558177 h 664763"/>
                <a:gd name="connsiteX121" fmla="*/ 297321 w 603056"/>
                <a:gd name="connsiteY121" fmla="*/ 577811 h 664763"/>
                <a:gd name="connsiteX122" fmla="*/ 277686 w 603056"/>
                <a:gd name="connsiteY122" fmla="*/ 580616 h 664763"/>
                <a:gd name="connsiteX123" fmla="*/ 274881 w 603056"/>
                <a:gd name="connsiteY123" fmla="*/ 600250 h 664763"/>
                <a:gd name="connsiteX124" fmla="*/ 260857 w 603056"/>
                <a:gd name="connsiteY124" fmla="*/ 597445 h 664763"/>
                <a:gd name="connsiteX125" fmla="*/ 255247 w 603056"/>
                <a:gd name="connsiteY125" fmla="*/ 580616 h 664763"/>
                <a:gd name="connsiteX126" fmla="*/ 246832 w 603056"/>
                <a:gd name="connsiteY126" fmla="*/ 577811 h 664763"/>
                <a:gd name="connsiteX127" fmla="*/ 230003 w 603056"/>
                <a:gd name="connsiteY127" fmla="*/ 569396 h 664763"/>
                <a:gd name="connsiteX128" fmla="*/ 224393 w 603056"/>
                <a:gd name="connsiteY128" fmla="*/ 560981 h 664763"/>
                <a:gd name="connsiteX129" fmla="*/ 215978 w 603056"/>
                <a:gd name="connsiteY129" fmla="*/ 558177 h 664763"/>
                <a:gd name="connsiteX130" fmla="*/ 213173 w 603056"/>
                <a:gd name="connsiteY130" fmla="*/ 546957 h 664763"/>
                <a:gd name="connsiteX131" fmla="*/ 218783 w 603056"/>
                <a:gd name="connsiteY131" fmla="*/ 538542 h 664763"/>
                <a:gd name="connsiteX132" fmla="*/ 204759 w 603056"/>
                <a:gd name="connsiteY132" fmla="*/ 541347 h 664763"/>
                <a:gd name="connsiteX133" fmla="*/ 185124 w 603056"/>
                <a:gd name="connsiteY133" fmla="*/ 532932 h 664763"/>
                <a:gd name="connsiteX134" fmla="*/ 168295 w 603056"/>
                <a:gd name="connsiteY134" fmla="*/ 518908 h 664763"/>
                <a:gd name="connsiteX135" fmla="*/ 159880 w 603056"/>
                <a:gd name="connsiteY135" fmla="*/ 516103 h 664763"/>
                <a:gd name="connsiteX136" fmla="*/ 134636 w 603056"/>
                <a:gd name="connsiteY136" fmla="*/ 502078 h 664763"/>
                <a:gd name="connsiteX137" fmla="*/ 129026 w 603056"/>
                <a:gd name="connsiteY137" fmla="*/ 493664 h 664763"/>
                <a:gd name="connsiteX138" fmla="*/ 112197 w 603056"/>
                <a:gd name="connsiteY138" fmla="*/ 482444 h 664763"/>
                <a:gd name="connsiteX139" fmla="*/ 109392 w 603056"/>
                <a:gd name="connsiteY139" fmla="*/ 474029 h 664763"/>
                <a:gd name="connsiteX140" fmla="*/ 129026 w 603056"/>
                <a:gd name="connsiteY140" fmla="*/ 460005 h 664763"/>
                <a:gd name="connsiteX141" fmla="*/ 137441 w 603056"/>
                <a:gd name="connsiteY141" fmla="*/ 454395 h 664763"/>
                <a:gd name="connsiteX142" fmla="*/ 112197 w 603056"/>
                <a:gd name="connsiteY142" fmla="*/ 431956 h 664763"/>
                <a:gd name="connsiteX143" fmla="*/ 106587 w 603056"/>
                <a:gd name="connsiteY143" fmla="*/ 423541 h 664763"/>
                <a:gd name="connsiteX144" fmla="*/ 100977 w 603056"/>
                <a:gd name="connsiteY144" fmla="*/ 403907 h 664763"/>
                <a:gd name="connsiteX145" fmla="*/ 95367 w 603056"/>
                <a:gd name="connsiteY145" fmla="*/ 395492 h 664763"/>
                <a:gd name="connsiteX146" fmla="*/ 112197 w 603056"/>
                <a:gd name="connsiteY146" fmla="*/ 395492 h 664763"/>
                <a:gd name="connsiteX147" fmla="*/ 129026 w 603056"/>
                <a:gd name="connsiteY147" fmla="*/ 392687 h 664763"/>
                <a:gd name="connsiteX148" fmla="*/ 143051 w 603056"/>
                <a:gd name="connsiteY148" fmla="*/ 378662 h 664763"/>
                <a:gd name="connsiteX149" fmla="*/ 140246 w 603056"/>
                <a:gd name="connsiteY149" fmla="*/ 370248 h 664763"/>
                <a:gd name="connsiteX150" fmla="*/ 131831 w 603056"/>
                <a:gd name="connsiteY150" fmla="*/ 375858 h 664763"/>
                <a:gd name="connsiteX151" fmla="*/ 115002 w 603056"/>
                <a:gd name="connsiteY151" fmla="*/ 367443 h 664763"/>
                <a:gd name="connsiteX152" fmla="*/ 95367 w 603056"/>
                <a:gd name="connsiteY152" fmla="*/ 356223 h 664763"/>
                <a:gd name="connsiteX153" fmla="*/ 89757 w 603056"/>
                <a:gd name="connsiteY153" fmla="*/ 347808 h 664763"/>
                <a:gd name="connsiteX154" fmla="*/ 81343 w 603056"/>
                <a:gd name="connsiteY154" fmla="*/ 342199 h 664763"/>
                <a:gd name="connsiteX155" fmla="*/ 72928 w 603056"/>
                <a:gd name="connsiteY155" fmla="*/ 345004 h 664763"/>
                <a:gd name="connsiteX156" fmla="*/ 67318 w 603056"/>
                <a:gd name="connsiteY156" fmla="*/ 328174 h 664763"/>
                <a:gd name="connsiteX157" fmla="*/ 64513 w 603056"/>
                <a:gd name="connsiteY157" fmla="*/ 319759 h 664763"/>
                <a:gd name="connsiteX158" fmla="*/ 72928 w 603056"/>
                <a:gd name="connsiteY158" fmla="*/ 291710 h 664763"/>
                <a:gd name="connsiteX159" fmla="*/ 81343 w 603056"/>
                <a:gd name="connsiteY159" fmla="*/ 283296 h 664763"/>
                <a:gd name="connsiteX160" fmla="*/ 81343 w 603056"/>
                <a:gd name="connsiteY160" fmla="*/ 241222 h 664763"/>
                <a:gd name="connsiteX161" fmla="*/ 64513 w 603056"/>
                <a:gd name="connsiteY161" fmla="*/ 235612 h 664763"/>
                <a:gd name="connsiteX162" fmla="*/ 56098 w 603056"/>
                <a:gd name="connsiteY162" fmla="*/ 238417 h 664763"/>
                <a:gd name="connsiteX163" fmla="*/ 47684 w 603056"/>
                <a:gd name="connsiteY163" fmla="*/ 244027 h 664763"/>
                <a:gd name="connsiteX164" fmla="*/ 39269 w 603056"/>
                <a:gd name="connsiteY164" fmla="*/ 241222 h 664763"/>
                <a:gd name="connsiteX165" fmla="*/ 56098 w 603056"/>
                <a:gd name="connsiteY165" fmla="*/ 227197 h 664763"/>
                <a:gd name="connsiteX166" fmla="*/ 53294 w 603056"/>
                <a:gd name="connsiteY166" fmla="*/ 210368 h 664763"/>
                <a:gd name="connsiteX167" fmla="*/ 72928 w 603056"/>
                <a:gd name="connsiteY167" fmla="*/ 193539 h 664763"/>
                <a:gd name="connsiteX168" fmla="*/ 81343 w 603056"/>
                <a:gd name="connsiteY168" fmla="*/ 190734 h 664763"/>
                <a:gd name="connsiteX169" fmla="*/ 89757 w 603056"/>
                <a:gd name="connsiteY169" fmla="*/ 196343 h 664763"/>
                <a:gd name="connsiteX170" fmla="*/ 95367 w 603056"/>
                <a:gd name="connsiteY170" fmla="*/ 182319 h 664763"/>
                <a:gd name="connsiteX171" fmla="*/ 86952 w 603056"/>
                <a:gd name="connsiteY171" fmla="*/ 179514 h 664763"/>
                <a:gd name="connsiteX172" fmla="*/ 67318 w 603056"/>
                <a:gd name="connsiteY172" fmla="*/ 176709 h 664763"/>
                <a:gd name="connsiteX173" fmla="*/ 58903 w 603056"/>
                <a:gd name="connsiteY173" fmla="*/ 171099 h 664763"/>
                <a:gd name="connsiteX174" fmla="*/ 42074 w 603056"/>
                <a:gd name="connsiteY174" fmla="*/ 165489 h 664763"/>
                <a:gd name="connsiteX175" fmla="*/ 50489 w 603056"/>
                <a:gd name="connsiteY175" fmla="*/ 162685 h 664763"/>
                <a:gd name="connsiteX176" fmla="*/ 42074 w 603056"/>
                <a:gd name="connsiteY176" fmla="*/ 145855 h 664763"/>
                <a:gd name="connsiteX177" fmla="*/ 47684 w 603056"/>
                <a:gd name="connsiteY177" fmla="*/ 137440 h 664763"/>
                <a:gd name="connsiteX178" fmla="*/ 47684 w 603056"/>
                <a:gd name="connsiteY178" fmla="*/ 131831 h 664763"/>
                <a:gd name="connsiteX179" fmla="*/ 39269 w 603056"/>
                <a:gd name="connsiteY179" fmla="*/ 126221 h 664763"/>
                <a:gd name="connsiteX180" fmla="*/ 33659 w 603056"/>
                <a:gd name="connsiteY180" fmla="*/ 120611 h 664763"/>
                <a:gd name="connsiteX181" fmla="*/ 16830 w 603056"/>
                <a:gd name="connsiteY181" fmla="*/ 117806 h 664763"/>
                <a:gd name="connsiteX182" fmla="*/ 19635 w 603056"/>
                <a:gd name="connsiteY182" fmla="*/ 109391 h 664763"/>
                <a:gd name="connsiteX183" fmla="*/ 30854 w 603056"/>
                <a:gd name="connsiteY183" fmla="*/ 106586 h 664763"/>
                <a:gd name="connsiteX184" fmla="*/ 22440 w 603056"/>
                <a:gd name="connsiteY184" fmla="*/ 95367 h 664763"/>
                <a:gd name="connsiteX185" fmla="*/ 14025 w 603056"/>
                <a:gd name="connsiteY185" fmla="*/ 92562 h 664763"/>
                <a:gd name="connsiteX186" fmla="*/ 19635 w 603056"/>
                <a:gd name="connsiteY186" fmla="*/ 84147 h 664763"/>
                <a:gd name="connsiteX187" fmla="*/ 0 w 603056"/>
                <a:gd name="connsiteY187" fmla="*/ 81342 h 664763"/>
                <a:gd name="connsiteX188" fmla="*/ 2805 w 603056"/>
                <a:gd name="connsiteY188" fmla="*/ 72927 h 664763"/>
                <a:gd name="connsiteX189" fmla="*/ 0 w 603056"/>
                <a:gd name="connsiteY189" fmla="*/ 64513 h 664763"/>
                <a:gd name="connsiteX190" fmla="*/ 14025 w 603056"/>
                <a:gd name="connsiteY190" fmla="*/ 58903 h 664763"/>
                <a:gd name="connsiteX0" fmla="*/ 14025 w 603056"/>
                <a:gd name="connsiteY0" fmla="*/ 58903 h 664763"/>
                <a:gd name="connsiteX1" fmla="*/ 36464 w 603056"/>
                <a:gd name="connsiteY1" fmla="*/ 44878 h 664763"/>
                <a:gd name="connsiteX2" fmla="*/ 50489 w 603056"/>
                <a:gd name="connsiteY2" fmla="*/ 47683 h 664763"/>
                <a:gd name="connsiteX3" fmla="*/ 67318 w 603056"/>
                <a:gd name="connsiteY3" fmla="*/ 44878 h 664763"/>
                <a:gd name="connsiteX4" fmla="*/ 70123 w 603056"/>
                <a:gd name="connsiteY4" fmla="*/ 36464 h 664763"/>
                <a:gd name="connsiteX5" fmla="*/ 86952 w 603056"/>
                <a:gd name="connsiteY5" fmla="*/ 30854 h 664763"/>
                <a:gd name="connsiteX6" fmla="*/ 86952 w 603056"/>
                <a:gd name="connsiteY6" fmla="*/ 14024 h 664763"/>
                <a:gd name="connsiteX7" fmla="*/ 89757 w 603056"/>
                <a:gd name="connsiteY7" fmla="*/ 2805 h 664763"/>
                <a:gd name="connsiteX8" fmla="*/ 123416 w 603056"/>
                <a:gd name="connsiteY8" fmla="*/ 8415 h 664763"/>
                <a:gd name="connsiteX9" fmla="*/ 134636 w 603056"/>
                <a:gd name="connsiteY9" fmla="*/ 11219 h 664763"/>
                <a:gd name="connsiteX10" fmla="*/ 143051 w 603056"/>
                <a:gd name="connsiteY10" fmla="*/ 5610 h 664763"/>
                <a:gd name="connsiteX11" fmla="*/ 159880 w 603056"/>
                <a:gd name="connsiteY11" fmla="*/ 0 h 664763"/>
                <a:gd name="connsiteX12" fmla="*/ 176710 w 603056"/>
                <a:gd name="connsiteY12" fmla="*/ 11219 h 664763"/>
                <a:gd name="connsiteX13" fmla="*/ 182319 w 603056"/>
                <a:gd name="connsiteY13" fmla="*/ 19634 h 664763"/>
                <a:gd name="connsiteX14" fmla="*/ 185124 w 603056"/>
                <a:gd name="connsiteY14" fmla="*/ 28049 h 664763"/>
                <a:gd name="connsiteX15" fmla="*/ 204759 w 603056"/>
                <a:gd name="connsiteY15" fmla="*/ 36464 h 664763"/>
                <a:gd name="connsiteX16" fmla="*/ 213173 w 603056"/>
                <a:gd name="connsiteY16" fmla="*/ 42073 h 664763"/>
                <a:gd name="connsiteX17" fmla="*/ 221588 w 603056"/>
                <a:gd name="connsiteY17" fmla="*/ 33659 h 664763"/>
                <a:gd name="connsiteX18" fmla="*/ 224393 w 603056"/>
                <a:gd name="connsiteY18" fmla="*/ 44878 h 664763"/>
                <a:gd name="connsiteX19" fmla="*/ 232808 w 603056"/>
                <a:gd name="connsiteY19" fmla="*/ 53293 h 664763"/>
                <a:gd name="connsiteX20" fmla="*/ 238417 w 603056"/>
                <a:gd name="connsiteY20" fmla="*/ 61708 h 664763"/>
                <a:gd name="connsiteX21" fmla="*/ 255247 w 603056"/>
                <a:gd name="connsiteY21" fmla="*/ 70123 h 664763"/>
                <a:gd name="connsiteX22" fmla="*/ 258052 w 603056"/>
                <a:gd name="connsiteY22" fmla="*/ 61708 h 664763"/>
                <a:gd name="connsiteX23" fmla="*/ 260857 w 603056"/>
                <a:gd name="connsiteY23" fmla="*/ 70123 h 664763"/>
                <a:gd name="connsiteX24" fmla="*/ 258052 w 603056"/>
                <a:gd name="connsiteY24" fmla="*/ 106586 h 664763"/>
                <a:gd name="connsiteX25" fmla="*/ 255247 w 603056"/>
                <a:gd name="connsiteY25" fmla="*/ 115001 h 664763"/>
                <a:gd name="connsiteX26" fmla="*/ 277686 w 603056"/>
                <a:gd name="connsiteY26" fmla="*/ 131831 h 664763"/>
                <a:gd name="connsiteX27" fmla="*/ 291711 w 603056"/>
                <a:gd name="connsiteY27" fmla="*/ 137440 h 664763"/>
                <a:gd name="connsiteX28" fmla="*/ 294516 w 603056"/>
                <a:gd name="connsiteY28" fmla="*/ 145855 h 664763"/>
                <a:gd name="connsiteX29" fmla="*/ 311345 w 603056"/>
                <a:gd name="connsiteY29" fmla="*/ 151465 h 664763"/>
                <a:gd name="connsiteX30" fmla="*/ 322565 w 603056"/>
                <a:gd name="connsiteY30" fmla="*/ 137440 h 664763"/>
                <a:gd name="connsiteX31" fmla="*/ 325370 w 603056"/>
                <a:gd name="connsiteY31" fmla="*/ 145855 h 664763"/>
                <a:gd name="connsiteX32" fmla="*/ 342199 w 603056"/>
                <a:gd name="connsiteY32" fmla="*/ 148660 h 664763"/>
                <a:gd name="connsiteX33" fmla="*/ 367443 w 603056"/>
                <a:gd name="connsiteY33" fmla="*/ 151465 h 664763"/>
                <a:gd name="connsiteX34" fmla="*/ 370248 w 603056"/>
                <a:gd name="connsiteY34" fmla="*/ 159880 h 664763"/>
                <a:gd name="connsiteX35" fmla="*/ 350614 w 603056"/>
                <a:gd name="connsiteY35" fmla="*/ 171099 h 664763"/>
                <a:gd name="connsiteX36" fmla="*/ 353419 w 603056"/>
                <a:gd name="connsiteY36" fmla="*/ 179514 h 664763"/>
                <a:gd name="connsiteX37" fmla="*/ 361833 w 603056"/>
                <a:gd name="connsiteY37" fmla="*/ 185124 h 664763"/>
                <a:gd name="connsiteX38" fmla="*/ 347809 w 603056"/>
                <a:gd name="connsiteY38" fmla="*/ 201953 h 664763"/>
                <a:gd name="connsiteX39" fmla="*/ 345004 w 603056"/>
                <a:gd name="connsiteY39" fmla="*/ 210368 h 664763"/>
                <a:gd name="connsiteX40" fmla="*/ 373053 w 603056"/>
                <a:gd name="connsiteY40" fmla="*/ 221588 h 664763"/>
                <a:gd name="connsiteX41" fmla="*/ 375858 w 603056"/>
                <a:gd name="connsiteY41" fmla="*/ 230002 h 664763"/>
                <a:gd name="connsiteX42" fmla="*/ 378663 w 603056"/>
                <a:gd name="connsiteY42" fmla="*/ 244027 h 664763"/>
                <a:gd name="connsiteX43" fmla="*/ 395492 w 603056"/>
                <a:gd name="connsiteY43" fmla="*/ 238417 h 664763"/>
                <a:gd name="connsiteX44" fmla="*/ 417932 w 603056"/>
                <a:gd name="connsiteY44" fmla="*/ 235612 h 664763"/>
                <a:gd name="connsiteX45" fmla="*/ 434761 w 603056"/>
                <a:gd name="connsiteY45" fmla="*/ 246832 h 664763"/>
                <a:gd name="connsiteX46" fmla="*/ 451590 w 603056"/>
                <a:gd name="connsiteY46" fmla="*/ 255246 h 664763"/>
                <a:gd name="connsiteX47" fmla="*/ 465615 w 603056"/>
                <a:gd name="connsiteY47" fmla="*/ 232807 h 664763"/>
                <a:gd name="connsiteX48" fmla="*/ 482444 w 603056"/>
                <a:gd name="connsiteY48" fmla="*/ 221588 h 664763"/>
                <a:gd name="connsiteX49" fmla="*/ 485249 w 603056"/>
                <a:gd name="connsiteY49" fmla="*/ 213173 h 664763"/>
                <a:gd name="connsiteX50" fmla="*/ 502079 w 603056"/>
                <a:gd name="connsiteY50" fmla="*/ 221588 h 664763"/>
                <a:gd name="connsiteX51" fmla="*/ 504884 w 603056"/>
                <a:gd name="connsiteY51" fmla="*/ 230002 h 664763"/>
                <a:gd name="connsiteX52" fmla="*/ 521713 w 603056"/>
                <a:gd name="connsiteY52" fmla="*/ 232807 h 664763"/>
                <a:gd name="connsiteX53" fmla="*/ 530128 w 603056"/>
                <a:gd name="connsiteY53" fmla="*/ 238417 h 664763"/>
                <a:gd name="connsiteX54" fmla="*/ 527323 w 603056"/>
                <a:gd name="connsiteY54" fmla="*/ 246832 h 664763"/>
                <a:gd name="connsiteX55" fmla="*/ 518908 w 603056"/>
                <a:gd name="connsiteY55" fmla="*/ 249637 h 664763"/>
                <a:gd name="connsiteX56" fmla="*/ 507689 w 603056"/>
                <a:gd name="connsiteY56" fmla="*/ 255246 h 664763"/>
                <a:gd name="connsiteX57" fmla="*/ 504884 w 603056"/>
                <a:gd name="connsiteY57" fmla="*/ 274881 h 664763"/>
                <a:gd name="connsiteX58" fmla="*/ 521713 w 603056"/>
                <a:gd name="connsiteY58" fmla="*/ 283296 h 664763"/>
                <a:gd name="connsiteX59" fmla="*/ 518908 w 603056"/>
                <a:gd name="connsiteY59" fmla="*/ 291710 h 664763"/>
                <a:gd name="connsiteX60" fmla="*/ 510494 w 603056"/>
                <a:gd name="connsiteY60" fmla="*/ 297320 h 664763"/>
                <a:gd name="connsiteX61" fmla="*/ 518908 w 603056"/>
                <a:gd name="connsiteY61" fmla="*/ 314150 h 664763"/>
                <a:gd name="connsiteX62" fmla="*/ 516103 w 603056"/>
                <a:gd name="connsiteY62" fmla="*/ 322564 h 664763"/>
                <a:gd name="connsiteX63" fmla="*/ 507689 w 603056"/>
                <a:gd name="connsiteY63" fmla="*/ 325369 h 664763"/>
                <a:gd name="connsiteX64" fmla="*/ 504884 w 603056"/>
                <a:gd name="connsiteY64" fmla="*/ 336589 h 664763"/>
                <a:gd name="connsiteX65" fmla="*/ 499274 w 603056"/>
                <a:gd name="connsiteY65" fmla="*/ 347808 h 664763"/>
                <a:gd name="connsiteX66" fmla="*/ 496469 w 603056"/>
                <a:gd name="connsiteY66" fmla="*/ 356223 h 664763"/>
                <a:gd name="connsiteX67" fmla="*/ 496469 w 603056"/>
                <a:gd name="connsiteY67" fmla="*/ 398297 h 664763"/>
                <a:gd name="connsiteX68" fmla="*/ 499274 w 603056"/>
                <a:gd name="connsiteY68" fmla="*/ 415126 h 664763"/>
                <a:gd name="connsiteX69" fmla="*/ 510494 w 603056"/>
                <a:gd name="connsiteY69" fmla="*/ 417931 h 664763"/>
                <a:gd name="connsiteX70" fmla="*/ 527323 w 603056"/>
                <a:gd name="connsiteY70" fmla="*/ 423541 h 664763"/>
                <a:gd name="connsiteX71" fmla="*/ 532933 w 603056"/>
                <a:gd name="connsiteY71" fmla="*/ 431956 h 664763"/>
                <a:gd name="connsiteX72" fmla="*/ 549762 w 603056"/>
                <a:gd name="connsiteY72" fmla="*/ 451590 h 664763"/>
                <a:gd name="connsiteX73" fmla="*/ 566592 w 603056"/>
                <a:gd name="connsiteY73" fmla="*/ 454395 h 664763"/>
                <a:gd name="connsiteX74" fmla="*/ 577811 w 603056"/>
                <a:gd name="connsiteY74" fmla="*/ 457200 h 664763"/>
                <a:gd name="connsiteX75" fmla="*/ 594641 w 603056"/>
                <a:gd name="connsiteY75" fmla="*/ 465615 h 664763"/>
                <a:gd name="connsiteX76" fmla="*/ 603056 w 603056"/>
                <a:gd name="connsiteY76" fmla="*/ 468419 h 664763"/>
                <a:gd name="connsiteX77" fmla="*/ 594641 w 603056"/>
                <a:gd name="connsiteY77" fmla="*/ 485249 h 664763"/>
                <a:gd name="connsiteX78" fmla="*/ 591836 w 603056"/>
                <a:gd name="connsiteY78" fmla="*/ 493664 h 664763"/>
                <a:gd name="connsiteX79" fmla="*/ 589031 w 603056"/>
                <a:gd name="connsiteY79" fmla="*/ 504883 h 664763"/>
                <a:gd name="connsiteX80" fmla="*/ 577811 w 603056"/>
                <a:gd name="connsiteY80" fmla="*/ 521713 h 664763"/>
                <a:gd name="connsiteX81" fmla="*/ 575006 w 603056"/>
                <a:gd name="connsiteY81" fmla="*/ 541347 h 664763"/>
                <a:gd name="connsiteX82" fmla="*/ 555372 w 603056"/>
                <a:gd name="connsiteY82" fmla="*/ 535737 h 664763"/>
                <a:gd name="connsiteX83" fmla="*/ 538543 w 603056"/>
                <a:gd name="connsiteY83" fmla="*/ 530127 h 664763"/>
                <a:gd name="connsiteX84" fmla="*/ 544152 w 603056"/>
                <a:gd name="connsiteY84" fmla="*/ 558177 h 664763"/>
                <a:gd name="connsiteX85" fmla="*/ 549762 w 603056"/>
                <a:gd name="connsiteY85" fmla="*/ 575006 h 664763"/>
                <a:gd name="connsiteX86" fmla="*/ 544152 w 603056"/>
                <a:gd name="connsiteY86" fmla="*/ 583421 h 664763"/>
                <a:gd name="connsiteX87" fmla="*/ 552567 w 603056"/>
                <a:gd name="connsiteY87" fmla="*/ 589031 h 664763"/>
                <a:gd name="connsiteX88" fmla="*/ 569397 w 603056"/>
                <a:gd name="connsiteY88" fmla="*/ 594640 h 664763"/>
                <a:gd name="connsiteX89" fmla="*/ 566592 w 603056"/>
                <a:gd name="connsiteY89" fmla="*/ 605860 h 664763"/>
                <a:gd name="connsiteX90" fmla="*/ 555372 w 603056"/>
                <a:gd name="connsiteY90" fmla="*/ 639519 h 664763"/>
                <a:gd name="connsiteX91" fmla="*/ 546957 w 603056"/>
                <a:gd name="connsiteY91" fmla="*/ 645129 h 664763"/>
                <a:gd name="connsiteX92" fmla="*/ 530128 w 603056"/>
                <a:gd name="connsiteY92" fmla="*/ 642324 h 664763"/>
                <a:gd name="connsiteX93" fmla="*/ 521713 w 603056"/>
                <a:gd name="connsiteY93" fmla="*/ 639519 h 664763"/>
                <a:gd name="connsiteX94" fmla="*/ 513298 w 603056"/>
                <a:gd name="connsiteY94" fmla="*/ 642324 h 664763"/>
                <a:gd name="connsiteX95" fmla="*/ 496469 w 603056"/>
                <a:gd name="connsiteY95" fmla="*/ 650739 h 664763"/>
                <a:gd name="connsiteX96" fmla="*/ 479640 w 603056"/>
                <a:gd name="connsiteY96" fmla="*/ 647934 h 664763"/>
                <a:gd name="connsiteX97" fmla="*/ 476835 w 603056"/>
                <a:gd name="connsiteY97" fmla="*/ 659153 h 664763"/>
                <a:gd name="connsiteX98" fmla="*/ 468420 w 603056"/>
                <a:gd name="connsiteY98" fmla="*/ 656348 h 664763"/>
                <a:gd name="connsiteX99" fmla="*/ 460005 w 603056"/>
                <a:gd name="connsiteY99" fmla="*/ 661958 h 664763"/>
                <a:gd name="connsiteX100" fmla="*/ 448786 w 603056"/>
                <a:gd name="connsiteY100" fmla="*/ 664763 h 664763"/>
                <a:gd name="connsiteX101" fmla="*/ 426346 w 603056"/>
                <a:gd name="connsiteY101" fmla="*/ 661958 h 664763"/>
                <a:gd name="connsiteX102" fmla="*/ 429151 w 603056"/>
                <a:gd name="connsiteY102" fmla="*/ 647934 h 664763"/>
                <a:gd name="connsiteX103" fmla="*/ 434761 w 603056"/>
                <a:gd name="connsiteY103" fmla="*/ 628299 h 664763"/>
                <a:gd name="connsiteX104" fmla="*/ 440371 w 603056"/>
                <a:gd name="connsiteY104" fmla="*/ 619885 h 664763"/>
                <a:gd name="connsiteX105" fmla="*/ 443176 w 603056"/>
                <a:gd name="connsiteY105" fmla="*/ 608665 h 664763"/>
                <a:gd name="connsiteX106" fmla="*/ 426346 w 603056"/>
                <a:gd name="connsiteY106" fmla="*/ 608665 h 664763"/>
                <a:gd name="connsiteX107" fmla="*/ 406712 w 603056"/>
                <a:gd name="connsiteY107" fmla="*/ 603055 h 664763"/>
                <a:gd name="connsiteX108" fmla="*/ 387078 w 603056"/>
                <a:gd name="connsiteY108" fmla="*/ 594640 h 664763"/>
                <a:gd name="connsiteX109" fmla="*/ 384273 w 603056"/>
                <a:gd name="connsiteY109" fmla="*/ 572201 h 664763"/>
                <a:gd name="connsiteX110" fmla="*/ 373053 w 603056"/>
                <a:gd name="connsiteY110" fmla="*/ 566591 h 664763"/>
                <a:gd name="connsiteX111" fmla="*/ 364638 w 603056"/>
                <a:gd name="connsiteY111" fmla="*/ 560981 h 664763"/>
                <a:gd name="connsiteX112" fmla="*/ 353419 w 603056"/>
                <a:gd name="connsiteY112" fmla="*/ 549762 h 664763"/>
                <a:gd name="connsiteX113" fmla="*/ 342199 w 603056"/>
                <a:gd name="connsiteY113" fmla="*/ 546957 h 664763"/>
                <a:gd name="connsiteX114" fmla="*/ 325370 w 603056"/>
                <a:gd name="connsiteY114" fmla="*/ 541347 h 664763"/>
                <a:gd name="connsiteX115" fmla="*/ 328175 w 603056"/>
                <a:gd name="connsiteY115" fmla="*/ 532932 h 664763"/>
                <a:gd name="connsiteX116" fmla="*/ 316955 w 603056"/>
                <a:gd name="connsiteY116" fmla="*/ 535737 h 664763"/>
                <a:gd name="connsiteX117" fmla="*/ 300125 w 603056"/>
                <a:gd name="connsiteY117" fmla="*/ 546957 h 664763"/>
                <a:gd name="connsiteX118" fmla="*/ 308540 w 603056"/>
                <a:gd name="connsiteY118" fmla="*/ 549762 h 664763"/>
                <a:gd name="connsiteX119" fmla="*/ 311345 w 603056"/>
                <a:gd name="connsiteY119" fmla="*/ 558177 h 664763"/>
                <a:gd name="connsiteX120" fmla="*/ 297321 w 603056"/>
                <a:gd name="connsiteY120" fmla="*/ 577811 h 664763"/>
                <a:gd name="connsiteX121" fmla="*/ 277686 w 603056"/>
                <a:gd name="connsiteY121" fmla="*/ 580616 h 664763"/>
                <a:gd name="connsiteX122" fmla="*/ 274881 w 603056"/>
                <a:gd name="connsiteY122" fmla="*/ 600250 h 664763"/>
                <a:gd name="connsiteX123" fmla="*/ 260857 w 603056"/>
                <a:gd name="connsiteY123" fmla="*/ 597445 h 664763"/>
                <a:gd name="connsiteX124" fmla="*/ 255247 w 603056"/>
                <a:gd name="connsiteY124" fmla="*/ 580616 h 664763"/>
                <a:gd name="connsiteX125" fmla="*/ 246832 w 603056"/>
                <a:gd name="connsiteY125" fmla="*/ 577811 h 664763"/>
                <a:gd name="connsiteX126" fmla="*/ 230003 w 603056"/>
                <a:gd name="connsiteY126" fmla="*/ 569396 h 664763"/>
                <a:gd name="connsiteX127" fmla="*/ 224393 w 603056"/>
                <a:gd name="connsiteY127" fmla="*/ 560981 h 664763"/>
                <a:gd name="connsiteX128" fmla="*/ 215978 w 603056"/>
                <a:gd name="connsiteY128" fmla="*/ 558177 h 664763"/>
                <a:gd name="connsiteX129" fmla="*/ 213173 w 603056"/>
                <a:gd name="connsiteY129" fmla="*/ 546957 h 664763"/>
                <a:gd name="connsiteX130" fmla="*/ 218783 w 603056"/>
                <a:gd name="connsiteY130" fmla="*/ 538542 h 664763"/>
                <a:gd name="connsiteX131" fmla="*/ 204759 w 603056"/>
                <a:gd name="connsiteY131" fmla="*/ 541347 h 664763"/>
                <a:gd name="connsiteX132" fmla="*/ 185124 w 603056"/>
                <a:gd name="connsiteY132" fmla="*/ 532932 h 664763"/>
                <a:gd name="connsiteX133" fmla="*/ 168295 w 603056"/>
                <a:gd name="connsiteY133" fmla="*/ 518908 h 664763"/>
                <a:gd name="connsiteX134" fmla="*/ 159880 w 603056"/>
                <a:gd name="connsiteY134" fmla="*/ 516103 h 664763"/>
                <a:gd name="connsiteX135" fmla="*/ 134636 w 603056"/>
                <a:gd name="connsiteY135" fmla="*/ 502078 h 664763"/>
                <a:gd name="connsiteX136" fmla="*/ 129026 w 603056"/>
                <a:gd name="connsiteY136" fmla="*/ 493664 h 664763"/>
                <a:gd name="connsiteX137" fmla="*/ 112197 w 603056"/>
                <a:gd name="connsiteY137" fmla="*/ 482444 h 664763"/>
                <a:gd name="connsiteX138" fmla="*/ 109392 w 603056"/>
                <a:gd name="connsiteY138" fmla="*/ 474029 h 664763"/>
                <a:gd name="connsiteX139" fmla="*/ 129026 w 603056"/>
                <a:gd name="connsiteY139" fmla="*/ 460005 h 664763"/>
                <a:gd name="connsiteX140" fmla="*/ 137441 w 603056"/>
                <a:gd name="connsiteY140" fmla="*/ 454395 h 664763"/>
                <a:gd name="connsiteX141" fmla="*/ 112197 w 603056"/>
                <a:gd name="connsiteY141" fmla="*/ 431956 h 664763"/>
                <a:gd name="connsiteX142" fmla="*/ 106587 w 603056"/>
                <a:gd name="connsiteY142" fmla="*/ 423541 h 664763"/>
                <a:gd name="connsiteX143" fmla="*/ 100977 w 603056"/>
                <a:gd name="connsiteY143" fmla="*/ 403907 h 664763"/>
                <a:gd name="connsiteX144" fmla="*/ 95367 w 603056"/>
                <a:gd name="connsiteY144" fmla="*/ 395492 h 664763"/>
                <a:gd name="connsiteX145" fmla="*/ 112197 w 603056"/>
                <a:gd name="connsiteY145" fmla="*/ 395492 h 664763"/>
                <a:gd name="connsiteX146" fmla="*/ 129026 w 603056"/>
                <a:gd name="connsiteY146" fmla="*/ 392687 h 664763"/>
                <a:gd name="connsiteX147" fmla="*/ 143051 w 603056"/>
                <a:gd name="connsiteY147" fmla="*/ 378662 h 664763"/>
                <a:gd name="connsiteX148" fmla="*/ 140246 w 603056"/>
                <a:gd name="connsiteY148" fmla="*/ 370248 h 664763"/>
                <a:gd name="connsiteX149" fmla="*/ 131831 w 603056"/>
                <a:gd name="connsiteY149" fmla="*/ 375858 h 664763"/>
                <a:gd name="connsiteX150" fmla="*/ 115002 w 603056"/>
                <a:gd name="connsiteY150" fmla="*/ 367443 h 664763"/>
                <a:gd name="connsiteX151" fmla="*/ 95367 w 603056"/>
                <a:gd name="connsiteY151" fmla="*/ 356223 h 664763"/>
                <a:gd name="connsiteX152" fmla="*/ 89757 w 603056"/>
                <a:gd name="connsiteY152" fmla="*/ 347808 h 664763"/>
                <a:gd name="connsiteX153" fmla="*/ 81343 w 603056"/>
                <a:gd name="connsiteY153" fmla="*/ 342199 h 664763"/>
                <a:gd name="connsiteX154" fmla="*/ 72928 w 603056"/>
                <a:gd name="connsiteY154" fmla="*/ 345004 h 664763"/>
                <a:gd name="connsiteX155" fmla="*/ 67318 w 603056"/>
                <a:gd name="connsiteY155" fmla="*/ 328174 h 664763"/>
                <a:gd name="connsiteX156" fmla="*/ 64513 w 603056"/>
                <a:gd name="connsiteY156" fmla="*/ 319759 h 664763"/>
                <a:gd name="connsiteX157" fmla="*/ 72928 w 603056"/>
                <a:gd name="connsiteY157" fmla="*/ 291710 h 664763"/>
                <a:gd name="connsiteX158" fmla="*/ 81343 w 603056"/>
                <a:gd name="connsiteY158" fmla="*/ 283296 h 664763"/>
                <a:gd name="connsiteX159" fmla="*/ 81343 w 603056"/>
                <a:gd name="connsiteY159" fmla="*/ 241222 h 664763"/>
                <a:gd name="connsiteX160" fmla="*/ 64513 w 603056"/>
                <a:gd name="connsiteY160" fmla="*/ 235612 h 664763"/>
                <a:gd name="connsiteX161" fmla="*/ 56098 w 603056"/>
                <a:gd name="connsiteY161" fmla="*/ 238417 h 664763"/>
                <a:gd name="connsiteX162" fmla="*/ 47684 w 603056"/>
                <a:gd name="connsiteY162" fmla="*/ 244027 h 664763"/>
                <a:gd name="connsiteX163" fmla="*/ 39269 w 603056"/>
                <a:gd name="connsiteY163" fmla="*/ 241222 h 664763"/>
                <a:gd name="connsiteX164" fmla="*/ 56098 w 603056"/>
                <a:gd name="connsiteY164" fmla="*/ 227197 h 664763"/>
                <a:gd name="connsiteX165" fmla="*/ 53294 w 603056"/>
                <a:gd name="connsiteY165" fmla="*/ 210368 h 664763"/>
                <a:gd name="connsiteX166" fmla="*/ 72928 w 603056"/>
                <a:gd name="connsiteY166" fmla="*/ 193539 h 664763"/>
                <a:gd name="connsiteX167" fmla="*/ 81343 w 603056"/>
                <a:gd name="connsiteY167" fmla="*/ 190734 h 664763"/>
                <a:gd name="connsiteX168" fmla="*/ 89757 w 603056"/>
                <a:gd name="connsiteY168" fmla="*/ 196343 h 664763"/>
                <a:gd name="connsiteX169" fmla="*/ 95367 w 603056"/>
                <a:gd name="connsiteY169" fmla="*/ 182319 h 664763"/>
                <a:gd name="connsiteX170" fmla="*/ 86952 w 603056"/>
                <a:gd name="connsiteY170" fmla="*/ 179514 h 664763"/>
                <a:gd name="connsiteX171" fmla="*/ 67318 w 603056"/>
                <a:gd name="connsiteY171" fmla="*/ 176709 h 664763"/>
                <a:gd name="connsiteX172" fmla="*/ 58903 w 603056"/>
                <a:gd name="connsiteY172" fmla="*/ 171099 h 664763"/>
                <a:gd name="connsiteX173" fmla="*/ 42074 w 603056"/>
                <a:gd name="connsiteY173" fmla="*/ 165489 h 664763"/>
                <a:gd name="connsiteX174" fmla="*/ 50489 w 603056"/>
                <a:gd name="connsiteY174" fmla="*/ 162685 h 664763"/>
                <a:gd name="connsiteX175" fmla="*/ 42074 w 603056"/>
                <a:gd name="connsiteY175" fmla="*/ 145855 h 664763"/>
                <a:gd name="connsiteX176" fmla="*/ 47684 w 603056"/>
                <a:gd name="connsiteY176" fmla="*/ 137440 h 664763"/>
                <a:gd name="connsiteX177" fmla="*/ 47684 w 603056"/>
                <a:gd name="connsiteY177" fmla="*/ 131831 h 664763"/>
                <a:gd name="connsiteX178" fmla="*/ 39269 w 603056"/>
                <a:gd name="connsiteY178" fmla="*/ 126221 h 664763"/>
                <a:gd name="connsiteX179" fmla="*/ 33659 w 603056"/>
                <a:gd name="connsiteY179" fmla="*/ 120611 h 664763"/>
                <a:gd name="connsiteX180" fmla="*/ 16830 w 603056"/>
                <a:gd name="connsiteY180" fmla="*/ 117806 h 664763"/>
                <a:gd name="connsiteX181" fmla="*/ 19635 w 603056"/>
                <a:gd name="connsiteY181" fmla="*/ 109391 h 664763"/>
                <a:gd name="connsiteX182" fmla="*/ 30854 w 603056"/>
                <a:gd name="connsiteY182" fmla="*/ 106586 h 664763"/>
                <a:gd name="connsiteX183" fmla="*/ 22440 w 603056"/>
                <a:gd name="connsiteY183" fmla="*/ 95367 h 664763"/>
                <a:gd name="connsiteX184" fmla="*/ 14025 w 603056"/>
                <a:gd name="connsiteY184" fmla="*/ 92562 h 664763"/>
                <a:gd name="connsiteX185" fmla="*/ 19635 w 603056"/>
                <a:gd name="connsiteY185" fmla="*/ 84147 h 664763"/>
                <a:gd name="connsiteX186" fmla="*/ 0 w 603056"/>
                <a:gd name="connsiteY186" fmla="*/ 81342 h 664763"/>
                <a:gd name="connsiteX187" fmla="*/ 2805 w 603056"/>
                <a:gd name="connsiteY187" fmla="*/ 72927 h 664763"/>
                <a:gd name="connsiteX188" fmla="*/ 0 w 603056"/>
                <a:gd name="connsiteY188" fmla="*/ 64513 h 664763"/>
                <a:gd name="connsiteX189" fmla="*/ 14025 w 603056"/>
                <a:gd name="connsiteY189" fmla="*/ 58903 h 664763"/>
                <a:gd name="connsiteX0" fmla="*/ 14025 w 603056"/>
                <a:gd name="connsiteY0" fmla="*/ 58903 h 664763"/>
                <a:gd name="connsiteX1" fmla="*/ 36464 w 603056"/>
                <a:gd name="connsiteY1" fmla="*/ 44878 h 664763"/>
                <a:gd name="connsiteX2" fmla="*/ 50489 w 603056"/>
                <a:gd name="connsiteY2" fmla="*/ 47683 h 664763"/>
                <a:gd name="connsiteX3" fmla="*/ 67318 w 603056"/>
                <a:gd name="connsiteY3" fmla="*/ 44878 h 664763"/>
                <a:gd name="connsiteX4" fmla="*/ 70123 w 603056"/>
                <a:gd name="connsiteY4" fmla="*/ 36464 h 664763"/>
                <a:gd name="connsiteX5" fmla="*/ 86952 w 603056"/>
                <a:gd name="connsiteY5" fmla="*/ 30854 h 664763"/>
                <a:gd name="connsiteX6" fmla="*/ 86952 w 603056"/>
                <a:gd name="connsiteY6" fmla="*/ 14024 h 664763"/>
                <a:gd name="connsiteX7" fmla="*/ 89757 w 603056"/>
                <a:gd name="connsiteY7" fmla="*/ 2805 h 664763"/>
                <a:gd name="connsiteX8" fmla="*/ 123416 w 603056"/>
                <a:gd name="connsiteY8" fmla="*/ 8415 h 664763"/>
                <a:gd name="connsiteX9" fmla="*/ 134636 w 603056"/>
                <a:gd name="connsiteY9" fmla="*/ 11219 h 664763"/>
                <a:gd name="connsiteX10" fmla="*/ 143051 w 603056"/>
                <a:gd name="connsiteY10" fmla="*/ 5610 h 664763"/>
                <a:gd name="connsiteX11" fmla="*/ 159880 w 603056"/>
                <a:gd name="connsiteY11" fmla="*/ 0 h 664763"/>
                <a:gd name="connsiteX12" fmla="*/ 176710 w 603056"/>
                <a:gd name="connsiteY12" fmla="*/ 11219 h 664763"/>
                <a:gd name="connsiteX13" fmla="*/ 182319 w 603056"/>
                <a:gd name="connsiteY13" fmla="*/ 19634 h 664763"/>
                <a:gd name="connsiteX14" fmla="*/ 185124 w 603056"/>
                <a:gd name="connsiteY14" fmla="*/ 28049 h 664763"/>
                <a:gd name="connsiteX15" fmla="*/ 204759 w 603056"/>
                <a:gd name="connsiteY15" fmla="*/ 36464 h 664763"/>
                <a:gd name="connsiteX16" fmla="*/ 213173 w 603056"/>
                <a:gd name="connsiteY16" fmla="*/ 42073 h 664763"/>
                <a:gd name="connsiteX17" fmla="*/ 221588 w 603056"/>
                <a:gd name="connsiteY17" fmla="*/ 33659 h 664763"/>
                <a:gd name="connsiteX18" fmla="*/ 224393 w 603056"/>
                <a:gd name="connsiteY18" fmla="*/ 44878 h 664763"/>
                <a:gd name="connsiteX19" fmla="*/ 232808 w 603056"/>
                <a:gd name="connsiteY19" fmla="*/ 53293 h 664763"/>
                <a:gd name="connsiteX20" fmla="*/ 238417 w 603056"/>
                <a:gd name="connsiteY20" fmla="*/ 61708 h 664763"/>
                <a:gd name="connsiteX21" fmla="*/ 255247 w 603056"/>
                <a:gd name="connsiteY21" fmla="*/ 70123 h 664763"/>
                <a:gd name="connsiteX22" fmla="*/ 258052 w 603056"/>
                <a:gd name="connsiteY22" fmla="*/ 61708 h 664763"/>
                <a:gd name="connsiteX23" fmla="*/ 260857 w 603056"/>
                <a:gd name="connsiteY23" fmla="*/ 70123 h 664763"/>
                <a:gd name="connsiteX24" fmla="*/ 258052 w 603056"/>
                <a:gd name="connsiteY24" fmla="*/ 106586 h 664763"/>
                <a:gd name="connsiteX25" fmla="*/ 255247 w 603056"/>
                <a:gd name="connsiteY25" fmla="*/ 115001 h 664763"/>
                <a:gd name="connsiteX26" fmla="*/ 283296 w 603056"/>
                <a:gd name="connsiteY26" fmla="*/ 129026 h 664763"/>
                <a:gd name="connsiteX27" fmla="*/ 291711 w 603056"/>
                <a:gd name="connsiteY27" fmla="*/ 137440 h 664763"/>
                <a:gd name="connsiteX28" fmla="*/ 294516 w 603056"/>
                <a:gd name="connsiteY28" fmla="*/ 145855 h 664763"/>
                <a:gd name="connsiteX29" fmla="*/ 311345 w 603056"/>
                <a:gd name="connsiteY29" fmla="*/ 151465 h 664763"/>
                <a:gd name="connsiteX30" fmla="*/ 322565 w 603056"/>
                <a:gd name="connsiteY30" fmla="*/ 137440 h 664763"/>
                <a:gd name="connsiteX31" fmla="*/ 325370 w 603056"/>
                <a:gd name="connsiteY31" fmla="*/ 145855 h 664763"/>
                <a:gd name="connsiteX32" fmla="*/ 342199 w 603056"/>
                <a:gd name="connsiteY32" fmla="*/ 148660 h 664763"/>
                <a:gd name="connsiteX33" fmla="*/ 367443 w 603056"/>
                <a:gd name="connsiteY33" fmla="*/ 151465 h 664763"/>
                <a:gd name="connsiteX34" fmla="*/ 370248 w 603056"/>
                <a:gd name="connsiteY34" fmla="*/ 159880 h 664763"/>
                <a:gd name="connsiteX35" fmla="*/ 350614 w 603056"/>
                <a:gd name="connsiteY35" fmla="*/ 171099 h 664763"/>
                <a:gd name="connsiteX36" fmla="*/ 353419 w 603056"/>
                <a:gd name="connsiteY36" fmla="*/ 179514 h 664763"/>
                <a:gd name="connsiteX37" fmla="*/ 361833 w 603056"/>
                <a:gd name="connsiteY37" fmla="*/ 185124 h 664763"/>
                <a:gd name="connsiteX38" fmla="*/ 347809 w 603056"/>
                <a:gd name="connsiteY38" fmla="*/ 201953 h 664763"/>
                <a:gd name="connsiteX39" fmla="*/ 345004 w 603056"/>
                <a:gd name="connsiteY39" fmla="*/ 210368 h 664763"/>
                <a:gd name="connsiteX40" fmla="*/ 373053 w 603056"/>
                <a:gd name="connsiteY40" fmla="*/ 221588 h 664763"/>
                <a:gd name="connsiteX41" fmla="*/ 375858 w 603056"/>
                <a:gd name="connsiteY41" fmla="*/ 230002 h 664763"/>
                <a:gd name="connsiteX42" fmla="*/ 378663 w 603056"/>
                <a:gd name="connsiteY42" fmla="*/ 244027 h 664763"/>
                <a:gd name="connsiteX43" fmla="*/ 395492 w 603056"/>
                <a:gd name="connsiteY43" fmla="*/ 238417 h 664763"/>
                <a:gd name="connsiteX44" fmla="*/ 417932 w 603056"/>
                <a:gd name="connsiteY44" fmla="*/ 235612 h 664763"/>
                <a:gd name="connsiteX45" fmla="*/ 434761 w 603056"/>
                <a:gd name="connsiteY45" fmla="*/ 246832 h 664763"/>
                <a:gd name="connsiteX46" fmla="*/ 451590 w 603056"/>
                <a:gd name="connsiteY46" fmla="*/ 255246 h 664763"/>
                <a:gd name="connsiteX47" fmla="*/ 465615 w 603056"/>
                <a:gd name="connsiteY47" fmla="*/ 232807 h 664763"/>
                <a:gd name="connsiteX48" fmla="*/ 482444 w 603056"/>
                <a:gd name="connsiteY48" fmla="*/ 221588 h 664763"/>
                <a:gd name="connsiteX49" fmla="*/ 485249 w 603056"/>
                <a:gd name="connsiteY49" fmla="*/ 213173 h 664763"/>
                <a:gd name="connsiteX50" fmla="*/ 502079 w 603056"/>
                <a:gd name="connsiteY50" fmla="*/ 221588 h 664763"/>
                <a:gd name="connsiteX51" fmla="*/ 504884 w 603056"/>
                <a:gd name="connsiteY51" fmla="*/ 230002 h 664763"/>
                <a:gd name="connsiteX52" fmla="*/ 521713 w 603056"/>
                <a:gd name="connsiteY52" fmla="*/ 232807 h 664763"/>
                <a:gd name="connsiteX53" fmla="*/ 530128 w 603056"/>
                <a:gd name="connsiteY53" fmla="*/ 238417 h 664763"/>
                <a:gd name="connsiteX54" fmla="*/ 527323 w 603056"/>
                <a:gd name="connsiteY54" fmla="*/ 246832 h 664763"/>
                <a:gd name="connsiteX55" fmla="*/ 518908 w 603056"/>
                <a:gd name="connsiteY55" fmla="*/ 249637 h 664763"/>
                <a:gd name="connsiteX56" fmla="*/ 507689 w 603056"/>
                <a:gd name="connsiteY56" fmla="*/ 255246 h 664763"/>
                <a:gd name="connsiteX57" fmla="*/ 504884 w 603056"/>
                <a:gd name="connsiteY57" fmla="*/ 274881 h 664763"/>
                <a:gd name="connsiteX58" fmla="*/ 521713 w 603056"/>
                <a:gd name="connsiteY58" fmla="*/ 283296 h 664763"/>
                <a:gd name="connsiteX59" fmla="*/ 518908 w 603056"/>
                <a:gd name="connsiteY59" fmla="*/ 291710 h 664763"/>
                <a:gd name="connsiteX60" fmla="*/ 510494 w 603056"/>
                <a:gd name="connsiteY60" fmla="*/ 297320 h 664763"/>
                <a:gd name="connsiteX61" fmla="*/ 518908 w 603056"/>
                <a:gd name="connsiteY61" fmla="*/ 314150 h 664763"/>
                <a:gd name="connsiteX62" fmla="*/ 516103 w 603056"/>
                <a:gd name="connsiteY62" fmla="*/ 322564 h 664763"/>
                <a:gd name="connsiteX63" fmla="*/ 507689 w 603056"/>
                <a:gd name="connsiteY63" fmla="*/ 325369 h 664763"/>
                <a:gd name="connsiteX64" fmla="*/ 504884 w 603056"/>
                <a:gd name="connsiteY64" fmla="*/ 336589 h 664763"/>
                <a:gd name="connsiteX65" fmla="*/ 499274 w 603056"/>
                <a:gd name="connsiteY65" fmla="*/ 347808 h 664763"/>
                <a:gd name="connsiteX66" fmla="*/ 496469 w 603056"/>
                <a:gd name="connsiteY66" fmla="*/ 356223 h 664763"/>
                <a:gd name="connsiteX67" fmla="*/ 496469 w 603056"/>
                <a:gd name="connsiteY67" fmla="*/ 398297 h 664763"/>
                <a:gd name="connsiteX68" fmla="*/ 499274 w 603056"/>
                <a:gd name="connsiteY68" fmla="*/ 415126 h 664763"/>
                <a:gd name="connsiteX69" fmla="*/ 510494 w 603056"/>
                <a:gd name="connsiteY69" fmla="*/ 417931 h 664763"/>
                <a:gd name="connsiteX70" fmla="*/ 527323 w 603056"/>
                <a:gd name="connsiteY70" fmla="*/ 423541 h 664763"/>
                <a:gd name="connsiteX71" fmla="*/ 532933 w 603056"/>
                <a:gd name="connsiteY71" fmla="*/ 431956 h 664763"/>
                <a:gd name="connsiteX72" fmla="*/ 549762 w 603056"/>
                <a:gd name="connsiteY72" fmla="*/ 451590 h 664763"/>
                <a:gd name="connsiteX73" fmla="*/ 566592 w 603056"/>
                <a:gd name="connsiteY73" fmla="*/ 454395 h 664763"/>
                <a:gd name="connsiteX74" fmla="*/ 577811 w 603056"/>
                <a:gd name="connsiteY74" fmla="*/ 457200 h 664763"/>
                <a:gd name="connsiteX75" fmla="*/ 594641 w 603056"/>
                <a:gd name="connsiteY75" fmla="*/ 465615 h 664763"/>
                <a:gd name="connsiteX76" fmla="*/ 603056 w 603056"/>
                <a:gd name="connsiteY76" fmla="*/ 468419 h 664763"/>
                <a:gd name="connsiteX77" fmla="*/ 594641 w 603056"/>
                <a:gd name="connsiteY77" fmla="*/ 485249 h 664763"/>
                <a:gd name="connsiteX78" fmla="*/ 591836 w 603056"/>
                <a:gd name="connsiteY78" fmla="*/ 493664 h 664763"/>
                <a:gd name="connsiteX79" fmla="*/ 589031 w 603056"/>
                <a:gd name="connsiteY79" fmla="*/ 504883 h 664763"/>
                <a:gd name="connsiteX80" fmla="*/ 577811 w 603056"/>
                <a:gd name="connsiteY80" fmla="*/ 521713 h 664763"/>
                <a:gd name="connsiteX81" fmla="*/ 575006 w 603056"/>
                <a:gd name="connsiteY81" fmla="*/ 541347 h 664763"/>
                <a:gd name="connsiteX82" fmla="*/ 555372 w 603056"/>
                <a:gd name="connsiteY82" fmla="*/ 535737 h 664763"/>
                <a:gd name="connsiteX83" fmla="*/ 538543 w 603056"/>
                <a:gd name="connsiteY83" fmla="*/ 530127 h 664763"/>
                <a:gd name="connsiteX84" fmla="*/ 544152 w 603056"/>
                <a:gd name="connsiteY84" fmla="*/ 558177 h 664763"/>
                <a:gd name="connsiteX85" fmla="*/ 549762 w 603056"/>
                <a:gd name="connsiteY85" fmla="*/ 575006 h 664763"/>
                <a:gd name="connsiteX86" fmla="*/ 544152 w 603056"/>
                <a:gd name="connsiteY86" fmla="*/ 583421 h 664763"/>
                <a:gd name="connsiteX87" fmla="*/ 552567 w 603056"/>
                <a:gd name="connsiteY87" fmla="*/ 589031 h 664763"/>
                <a:gd name="connsiteX88" fmla="*/ 569397 w 603056"/>
                <a:gd name="connsiteY88" fmla="*/ 594640 h 664763"/>
                <a:gd name="connsiteX89" fmla="*/ 566592 w 603056"/>
                <a:gd name="connsiteY89" fmla="*/ 605860 h 664763"/>
                <a:gd name="connsiteX90" fmla="*/ 555372 w 603056"/>
                <a:gd name="connsiteY90" fmla="*/ 639519 h 664763"/>
                <a:gd name="connsiteX91" fmla="*/ 546957 w 603056"/>
                <a:gd name="connsiteY91" fmla="*/ 645129 h 664763"/>
                <a:gd name="connsiteX92" fmla="*/ 530128 w 603056"/>
                <a:gd name="connsiteY92" fmla="*/ 642324 h 664763"/>
                <a:gd name="connsiteX93" fmla="*/ 521713 w 603056"/>
                <a:gd name="connsiteY93" fmla="*/ 639519 h 664763"/>
                <a:gd name="connsiteX94" fmla="*/ 513298 w 603056"/>
                <a:gd name="connsiteY94" fmla="*/ 642324 h 664763"/>
                <a:gd name="connsiteX95" fmla="*/ 496469 w 603056"/>
                <a:gd name="connsiteY95" fmla="*/ 650739 h 664763"/>
                <a:gd name="connsiteX96" fmla="*/ 479640 w 603056"/>
                <a:gd name="connsiteY96" fmla="*/ 647934 h 664763"/>
                <a:gd name="connsiteX97" fmla="*/ 476835 w 603056"/>
                <a:gd name="connsiteY97" fmla="*/ 659153 h 664763"/>
                <a:gd name="connsiteX98" fmla="*/ 468420 w 603056"/>
                <a:gd name="connsiteY98" fmla="*/ 656348 h 664763"/>
                <a:gd name="connsiteX99" fmla="*/ 460005 w 603056"/>
                <a:gd name="connsiteY99" fmla="*/ 661958 h 664763"/>
                <a:gd name="connsiteX100" fmla="*/ 448786 w 603056"/>
                <a:gd name="connsiteY100" fmla="*/ 664763 h 664763"/>
                <a:gd name="connsiteX101" fmla="*/ 426346 w 603056"/>
                <a:gd name="connsiteY101" fmla="*/ 661958 h 664763"/>
                <a:gd name="connsiteX102" fmla="*/ 429151 w 603056"/>
                <a:gd name="connsiteY102" fmla="*/ 647934 h 664763"/>
                <a:gd name="connsiteX103" fmla="*/ 434761 w 603056"/>
                <a:gd name="connsiteY103" fmla="*/ 628299 h 664763"/>
                <a:gd name="connsiteX104" fmla="*/ 440371 w 603056"/>
                <a:gd name="connsiteY104" fmla="*/ 619885 h 664763"/>
                <a:gd name="connsiteX105" fmla="*/ 443176 w 603056"/>
                <a:gd name="connsiteY105" fmla="*/ 608665 h 664763"/>
                <a:gd name="connsiteX106" fmla="*/ 426346 w 603056"/>
                <a:gd name="connsiteY106" fmla="*/ 608665 h 664763"/>
                <a:gd name="connsiteX107" fmla="*/ 406712 w 603056"/>
                <a:gd name="connsiteY107" fmla="*/ 603055 h 664763"/>
                <a:gd name="connsiteX108" fmla="*/ 387078 w 603056"/>
                <a:gd name="connsiteY108" fmla="*/ 594640 h 664763"/>
                <a:gd name="connsiteX109" fmla="*/ 384273 w 603056"/>
                <a:gd name="connsiteY109" fmla="*/ 572201 h 664763"/>
                <a:gd name="connsiteX110" fmla="*/ 373053 w 603056"/>
                <a:gd name="connsiteY110" fmla="*/ 566591 h 664763"/>
                <a:gd name="connsiteX111" fmla="*/ 364638 w 603056"/>
                <a:gd name="connsiteY111" fmla="*/ 560981 h 664763"/>
                <a:gd name="connsiteX112" fmla="*/ 353419 w 603056"/>
                <a:gd name="connsiteY112" fmla="*/ 549762 h 664763"/>
                <a:gd name="connsiteX113" fmla="*/ 342199 w 603056"/>
                <a:gd name="connsiteY113" fmla="*/ 546957 h 664763"/>
                <a:gd name="connsiteX114" fmla="*/ 325370 w 603056"/>
                <a:gd name="connsiteY114" fmla="*/ 541347 h 664763"/>
                <a:gd name="connsiteX115" fmla="*/ 328175 w 603056"/>
                <a:gd name="connsiteY115" fmla="*/ 532932 h 664763"/>
                <a:gd name="connsiteX116" fmla="*/ 316955 w 603056"/>
                <a:gd name="connsiteY116" fmla="*/ 535737 h 664763"/>
                <a:gd name="connsiteX117" fmla="*/ 300125 w 603056"/>
                <a:gd name="connsiteY117" fmla="*/ 546957 h 664763"/>
                <a:gd name="connsiteX118" fmla="*/ 308540 w 603056"/>
                <a:gd name="connsiteY118" fmla="*/ 549762 h 664763"/>
                <a:gd name="connsiteX119" fmla="*/ 311345 w 603056"/>
                <a:gd name="connsiteY119" fmla="*/ 558177 h 664763"/>
                <a:gd name="connsiteX120" fmla="*/ 297321 w 603056"/>
                <a:gd name="connsiteY120" fmla="*/ 577811 h 664763"/>
                <a:gd name="connsiteX121" fmla="*/ 277686 w 603056"/>
                <a:gd name="connsiteY121" fmla="*/ 580616 h 664763"/>
                <a:gd name="connsiteX122" fmla="*/ 274881 w 603056"/>
                <a:gd name="connsiteY122" fmla="*/ 600250 h 664763"/>
                <a:gd name="connsiteX123" fmla="*/ 260857 w 603056"/>
                <a:gd name="connsiteY123" fmla="*/ 597445 h 664763"/>
                <a:gd name="connsiteX124" fmla="*/ 255247 w 603056"/>
                <a:gd name="connsiteY124" fmla="*/ 580616 h 664763"/>
                <a:gd name="connsiteX125" fmla="*/ 246832 w 603056"/>
                <a:gd name="connsiteY125" fmla="*/ 577811 h 664763"/>
                <a:gd name="connsiteX126" fmla="*/ 230003 w 603056"/>
                <a:gd name="connsiteY126" fmla="*/ 569396 h 664763"/>
                <a:gd name="connsiteX127" fmla="*/ 224393 w 603056"/>
                <a:gd name="connsiteY127" fmla="*/ 560981 h 664763"/>
                <a:gd name="connsiteX128" fmla="*/ 215978 w 603056"/>
                <a:gd name="connsiteY128" fmla="*/ 558177 h 664763"/>
                <a:gd name="connsiteX129" fmla="*/ 213173 w 603056"/>
                <a:gd name="connsiteY129" fmla="*/ 546957 h 664763"/>
                <a:gd name="connsiteX130" fmla="*/ 218783 w 603056"/>
                <a:gd name="connsiteY130" fmla="*/ 538542 h 664763"/>
                <a:gd name="connsiteX131" fmla="*/ 204759 w 603056"/>
                <a:gd name="connsiteY131" fmla="*/ 541347 h 664763"/>
                <a:gd name="connsiteX132" fmla="*/ 185124 w 603056"/>
                <a:gd name="connsiteY132" fmla="*/ 532932 h 664763"/>
                <a:gd name="connsiteX133" fmla="*/ 168295 w 603056"/>
                <a:gd name="connsiteY133" fmla="*/ 518908 h 664763"/>
                <a:gd name="connsiteX134" fmla="*/ 159880 w 603056"/>
                <a:gd name="connsiteY134" fmla="*/ 516103 h 664763"/>
                <a:gd name="connsiteX135" fmla="*/ 134636 w 603056"/>
                <a:gd name="connsiteY135" fmla="*/ 502078 h 664763"/>
                <a:gd name="connsiteX136" fmla="*/ 129026 w 603056"/>
                <a:gd name="connsiteY136" fmla="*/ 493664 h 664763"/>
                <a:gd name="connsiteX137" fmla="*/ 112197 w 603056"/>
                <a:gd name="connsiteY137" fmla="*/ 482444 h 664763"/>
                <a:gd name="connsiteX138" fmla="*/ 109392 w 603056"/>
                <a:gd name="connsiteY138" fmla="*/ 474029 h 664763"/>
                <a:gd name="connsiteX139" fmla="*/ 129026 w 603056"/>
                <a:gd name="connsiteY139" fmla="*/ 460005 h 664763"/>
                <a:gd name="connsiteX140" fmla="*/ 137441 w 603056"/>
                <a:gd name="connsiteY140" fmla="*/ 454395 h 664763"/>
                <a:gd name="connsiteX141" fmla="*/ 112197 w 603056"/>
                <a:gd name="connsiteY141" fmla="*/ 431956 h 664763"/>
                <a:gd name="connsiteX142" fmla="*/ 106587 w 603056"/>
                <a:gd name="connsiteY142" fmla="*/ 423541 h 664763"/>
                <a:gd name="connsiteX143" fmla="*/ 100977 w 603056"/>
                <a:gd name="connsiteY143" fmla="*/ 403907 h 664763"/>
                <a:gd name="connsiteX144" fmla="*/ 95367 w 603056"/>
                <a:gd name="connsiteY144" fmla="*/ 395492 h 664763"/>
                <a:gd name="connsiteX145" fmla="*/ 112197 w 603056"/>
                <a:gd name="connsiteY145" fmla="*/ 395492 h 664763"/>
                <a:gd name="connsiteX146" fmla="*/ 129026 w 603056"/>
                <a:gd name="connsiteY146" fmla="*/ 392687 h 664763"/>
                <a:gd name="connsiteX147" fmla="*/ 143051 w 603056"/>
                <a:gd name="connsiteY147" fmla="*/ 378662 h 664763"/>
                <a:gd name="connsiteX148" fmla="*/ 140246 w 603056"/>
                <a:gd name="connsiteY148" fmla="*/ 370248 h 664763"/>
                <a:gd name="connsiteX149" fmla="*/ 131831 w 603056"/>
                <a:gd name="connsiteY149" fmla="*/ 375858 h 664763"/>
                <a:gd name="connsiteX150" fmla="*/ 115002 w 603056"/>
                <a:gd name="connsiteY150" fmla="*/ 367443 h 664763"/>
                <a:gd name="connsiteX151" fmla="*/ 95367 w 603056"/>
                <a:gd name="connsiteY151" fmla="*/ 356223 h 664763"/>
                <a:gd name="connsiteX152" fmla="*/ 89757 w 603056"/>
                <a:gd name="connsiteY152" fmla="*/ 347808 h 664763"/>
                <a:gd name="connsiteX153" fmla="*/ 81343 w 603056"/>
                <a:gd name="connsiteY153" fmla="*/ 342199 h 664763"/>
                <a:gd name="connsiteX154" fmla="*/ 72928 w 603056"/>
                <a:gd name="connsiteY154" fmla="*/ 345004 h 664763"/>
                <a:gd name="connsiteX155" fmla="*/ 67318 w 603056"/>
                <a:gd name="connsiteY155" fmla="*/ 328174 h 664763"/>
                <a:gd name="connsiteX156" fmla="*/ 64513 w 603056"/>
                <a:gd name="connsiteY156" fmla="*/ 319759 h 664763"/>
                <a:gd name="connsiteX157" fmla="*/ 72928 w 603056"/>
                <a:gd name="connsiteY157" fmla="*/ 291710 h 664763"/>
                <a:gd name="connsiteX158" fmla="*/ 81343 w 603056"/>
                <a:gd name="connsiteY158" fmla="*/ 283296 h 664763"/>
                <a:gd name="connsiteX159" fmla="*/ 81343 w 603056"/>
                <a:gd name="connsiteY159" fmla="*/ 241222 h 664763"/>
                <a:gd name="connsiteX160" fmla="*/ 64513 w 603056"/>
                <a:gd name="connsiteY160" fmla="*/ 235612 h 664763"/>
                <a:gd name="connsiteX161" fmla="*/ 56098 w 603056"/>
                <a:gd name="connsiteY161" fmla="*/ 238417 h 664763"/>
                <a:gd name="connsiteX162" fmla="*/ 47684 w 603056"/>
                <a:gd name="connsiteY162" fmla="*/ 244027 h 664763"/>
                <a:gd name="connsiteX163" fmla="*/ 39269 w 603056"/>
                <a:gd name="connsiteY163" fmla="*/ 241222 h 664763"/>
                <a:gd name="connsiteX164" fmla="*/ 56098 w 603056"/>
                <a:gd name="connsiteY164" fmla="*/ 227197 h 664763"/>
                <a:gd name="connsiteX165" fmla="*/ 53294 w 603056"/>
                <a:gd name="connsiteY165" fmla="*/ 210368 h 664763"/>
                <a:gd name="connsiteX166" fmla="*/ 72928 w 603056"/>
                <a:gd name="connsiteY166" fmla="*/ 193539 h 664763"/>
                <a:gd name="connsiteX167" fmla="*/ 81343 w 603056"/>
                <a:gd name="connsiteY167" fmla="*/ 190734 h 664763"/>
                <a:gd name="connsiteX168" fmla="*/ 89757 w 603056"/>
                <a:gd name="connsiteY168" fmla="*/ 196343 h 664763"/>
                <a:gd name="connsiteX169" fmla="*/ 95367 w 603056"/>
                <a:gd name="connsiteY169" fmla="*/ 182319 h 664763"/>
                <a:gd name="connsiteX170" fmla="*/ 86952 w 603056"/>
                <a:gd name="connsiteY170" fmla="*/ 179514 h 664763"/>
                <a:gd name="connsiteX171" fmla="*/ 67318 w 603056"/>
                <a:gd name="connsiteY171" fmla="*/ 176709 h 664763"/>
                <a:gd name="connsiteX172" fmla="*/ 58903 w 603056"/>
                <a:gd name="connsiteY172" fmla="*/ 171099 h 664763"/>
                <a:gd name="connsiteX173" fmla="*/ 42074 w 603056"/>
                <a:gd name="connsiteY173" fmla="*/ 165489 h 664763"/>
                <a:gd name="connsiteX174" fmla="*/ 50489 w 603056"/>
                <a:gd name="connsiteY174" fmla="*/ 162685 h 664763"/>
                <a:gd name="connsiteX175" fmla="*/ 42074 w 603056"/>
                <a:gd name="connsiteY175" fmla="*/ 145855 h 664763"/>
                <a:gd name="connsiteX176" fmla="*/ 47684 w 603056"/>
                <a:gd name="connsiteY176" fmla="*/ 137440 h 664763"/>
                <a:gd name="connsiteX177" fmla="*/ 47684 w 603056"/>
                <a:gd name="connsiteY177" fmla="*/ 131831 h 664763"/>
                <a:gd name="connsiteX178" fmla="*/ 39269 w 603056"/>
                <a:gd name="connsiteY178" fmla="*/ 126221 h 664763"/>
                <a:gd name="connsiteX179" fmla="*/ 33659 w 603056"/>
                <a:gd name="connsiteY179" fmla="*/ 120611 h 664763"/>
                <a:gd name="connsiteX180" fmla="*/ 16830 w 603056"/>
                <a:gd name="connsiteY180" fmla="*/ 117806 h 664763"/>
                <a:gd name="connsiteX181" fmla="*/ 19635 w 603056"/>
                <a:gd name="connsiteY181" fmla="*/ 109391 h 664763"/>
                <a:gd name="connsiteX182" fmla="*/ 30854 w 603056"/>
                <a:gd name="connsiteY182" fmla="*/ 106586 h 664763"/>
                <a:gd name="connsiteX183" fmla="*/ 22440 w 603056"/>
                <a:gd name="connsiteY183" fmla="*/ 95367 h 664763"/>
                <a:gd name="connsiteX184" fmla="*/ 14025 w 603056"/>
                <a:gd name="connsiteY184" fmla="*/ 92562 h 664763"/>
                <a:gd name="connsiteX185" fmla="*/ 19635 w 603056"/>
                <a:gd name="connsiteY185" fmla="*/ 84147 h 664763"/>
                <a:gd name="connsiteX186" fmla="*/ 0 w 603056"/>
                <a:gd name="connsiteY186" fmla="*/ 81342 h 664763"/>
                <a:gd name="connsiteX187" fmla="*/ 2805 w 603056"/>
                <a:gd name="connsiteY187" fmla="*/ 72927 h 664763"/>
                <a:gd name="connsiteX188" fmla="*/ 0 w 603056"/>
                <a:gd name="connsiteY188" fmla="*/ 64513 h 664763"/>
                <a:gd name="connsiteX189" fmla="*/ 14025 w 603056"/>
                <a:gd name="connsiteY189" fmla="*/ 58903 h 664763"/>
                <a:gd name="connsiteX0" fmla="*/ 14025 w 603056"/>
                <a:gd name="connsiteY0" fmla="*/ 58903 h 664763"/>
                <a:gd name="connsiteX1" fmla="*/ 36464 w 603056"/>
                <a:gd name="connsiteY1" fmla="*/ 44878 h 664763"/>
                <a:gd name="connsiteX2" fmla="*/ 50489 w 603056"/>
                <a:gd name="connsiteY2" fmla="*/ 47683 h 664763"/>
                <a:gd name="connsiteX3" fmla="*/ 67318 w 603056"/>
                <a:gd name="connsiteY3" fmla="*/ 44878 h 664763"/>
                <a:gd name="connsiteX4" fmla="*/ 70123 w 603056"/>
                <a:gd name="connsiteY4" fmla="*/ 36464 h 664763"/>
                <a:gd name="connsiteX5" fmla="*/ 86952 w 603056"/>
                <a:gd name="connsiteY5" fmla="*/ 30854 h 664763"/>
                <a:gd name="connsiteX6" fmla="*/ 86952 w 603056"/>
                <a:gd name="connsiteY6" fmla="*/ 14024 h 664763"/>
                <a:gd name="connsiteX7" fmla="*/ 89757 w 603056"/>
                <a:gd name="connsiteY7" fmla="*/ 2805 h 664763"/>
                <a:gd name="connsiteX8" fmla="*/ 123416 w 603056"/>
                <a:gd name="connsiteY8" fmla="*/ 8415 h 664763"/>
                <a:gd name="connsiteX9" fmla="*/ 134636 w 603056"/>
                <a:gd name="connsiteY9" fmla="*/ 11219 h 664763"/>
                <a:gd name="connsiteX10" fmla="*/ 143051 w 603056"/>
                <a:gd name="connsiteY10" fmla="*/ 5610 h 664763"/>
                <a:gd name="connsiteX11" fmla="*/ 159880 w 603056"/>
                <a:gd name="connsiteY11" fmla="*/ 0 h 664763"/>
                <a:gd name="connsiteX12" fmla="*/ 176710 w 603056"/>
                <a:gd name="connsiteY12" fmla="*/ 11219 h 664763"/>
                <a:gd name="connsiteX13" fmla="*/ 182319 w 603056"/>
                <a:gd name="connsiteY13" fmla="*/ 19634 h 664763"/>
                <a:gd name="connsiteX14" fmla="*/ 185124 w 603056"/>
                <a:gd name="connsiteY14" fmla="*/ 28049 h 664763"/>
                <a:gd name="connsiteX15" fmla="*/ 204759 w 603056"/>
                <a:gd name="connsiteY15" fmla="*/ 36464 h 664763"/>
                <a:gd name="connsiteX16" fmla="*/ 213173 w 603056"/>
                <a:gd name="connsiteY16" fmla="*/ 42073 h 664763"/>
                <a:gd name="connsiteX17" fmla="*/ 221588 w 603056"/>
                <a:gd name="connsiteY17" fmla="*/ 33659 h 664763"/>
                <a:gd name="connsiteX18" fmla="*/ 224393 w 603056"/>
                <a:gd name="connsiteY18" fmla="*/ 44878 h 664763"/>
                <a:gd name="connsiteX19" fmla="*/ 232808 w 603056"/>
                <a:gd name="connsiteY19" fmla="*/ 53293 h 664763"/>
                <a:gd name="connsiteX20" fmla="*/ 238417 w 603056"/>
                <a:gd name="connsiteY20" fmla="*/ 61708 h 664763"/>
                <a:gd name="connsiteX21" fmla="*/ 255247 w 603056"/>
                <a:gd name="connsiteY21" fmla="*/ 70123 h 664763"/>
                <a:gd name="connsiteX22" fmla="*/ 258052 w 603056"/>
                <a:gd name="connsiteY22" fmla="*/ 61708 h 664763"/>
                <a:gd name="connsiteX23" fmla="*/ 260857 w 603056"/>
                <a:gd name="connsiteY23" fmla="*/ 70123 h 664763"/>
                <a:gd name="connsiteX24" fmla="*/ 258052 w 603056"/>
                <a:gd name="connsiteY24" fmla="*/ 106586 h 664763"/>
                <a:gd name="connsiteX25" fmla="*/ 266467 w 603056"/>
                <a:gd name="connsiteY25" fmla="*/ 112196 h 664763"/>
                <a:gd name="connsiteX26" fmla="*/ 283296 w 603056"/>
                <a:gd name="connsiteY26" fmla="*/ 129026 h 664763"/>
                <a:gd name="connsiteX27" fmla="*/ 291711 w 603056"/>
                <a:gd name="connsiteY27" fmla="*/ 137440 h 664763"/>
                <a:gd name="connsiteX28" fmla="*/ 294516 w 603056"/>
                <a:gd name="connsiteY28" fmla="*/ 145855 h 664763"/>
                <a:gd name="connsiteX29" fmla="*/ 311345 w 603056"/>
                <a:gd name="connsiteY29" fmla="*/ 151465 h 664763"/>
                <a:gd name="connsiteX30" fmla="*/ 322565 w 603056"/>
                <a:gd name="connsiteY30" fmla="*/ 137440 h 664763"/>
                <a:gd name="connsiteX31" fmla="*/ 325370 w 603056"/>
                <a:gd name="connsiteY31" fmla="*/ 145855 h 664763"/>
                <a:gd name="connsiteX32" fmla="*/ 342199 w 603056"/>
                <a:gd name="connsiteY32" fmla="*/ 148660 h 664763"/>
                <a:gd name="connsiteX33" fmla="*/ 367443 w 603056"/>
                <a:gd name="connsiteY33" fmla="*/ 151465 h 664763"/>
                <a:gd name="connsiteX34" fmla="*/ 370248 w 603056"/>
                <a:gd name="connsiteY34" fmla="*/ 159880 h 664763"/>
                <a:gd name="connsiteX35" fmla="*/ 350614 w 603056"/>
                <a:gd name="connsiteY35" fmla="*/ 171099 h 664763"/>
                <a:gd name="connsiteX36" fmla="*/ 353419 w 603056"/>
                <a:gd name="connsiteY36" fmla="*/ 179514 h 664763"/>
                <a:gd name="connsiteX37" fmla="*/ 361833 w 603056"/>
                <a:gd name="connsiteY37" fmla="*/ 185124 h 664763"/>
                <a:gd name="connsiteX38" fmla="*/ 347809 w 603056"/>
                <a:gd name="connsiteY38" fmla="*/ 201953 h 664763"/>
                <a:gd name="connsiteX39" fmla="*/ 345004 w 603056"/>
                <a:gd name="connsiteY39" fmla="*/ 210368 h 664763"/>
                <a:gd name="connsiteX40" fmla="*/ 373053 w 603056"/>
                <a:gd name="connsiteY40" fmla="*/ 221588 h 664763"/>
                <a:gd name="connsiteX41" fmla="*/ 375858 w 603056"/>
                <a:gd name="connsiteY41" fmla="*/ 230002 h 664763"/>
                <a:gd name="connsiteX42" fmla="*/ 378663 w 603056"/>
                <a:gd name="connsiteY42" fmla="*/ 244027 h 664763"/>
                <a:gd name="connsiteX43" fmla="*/ 395492 w 603056"/>
                <a:gd name="connsiteY43" fmla="*/ 238417 h 664763"/>
                <a:gd name="connsiteX44" fmla="*/ 417932 w 603056"/>
                <a:gd name="connsiteY44" fmla="*/ 235612 h 664763"/>
                <a:gd name="connsiteX45" fmla="*/ 434761 w 603056"/>
                <a:gd name="connsiteY45" fmla="*/ 246832 h 664763"/>
                <a:gd name="connsiteX46" fmla="*/ 451590 w 603056"/>
                <a:gd name="connsiteY46" fmla="*/ 255246 h 664763"/>
                <a:gd name="connsiteX47" fmla="*/ 465615 w 603056"/>
                <a:gd name="connsiteY47" fmla="*/ 232807 h 664763"/>
                <a:gd name="connsiteX48" fmla="*/ 482444 w 603056"/>
                <a:gd name="connsiteY48" fmla="*/ 221588 h 664763"/>
                <a:gd name="connsiteX49" fmla="*/ 485249 w 603056"/>
                <a:gd name="connsiteY49" fmla="*/ 213173 h 664763"/>
                <a:gd name="connsiteX50" fmla="*/ 502079 w 603056"/>
                <a:gd name="connsiteY50" fmla="*/ 221588 h 664763"/>
                <a:gd name="connsiteX51" fmla="*/ 504884 w 603056"/>
                <a:gd name="connsiteY51" fmla="*/ 230002 h 664763"/>
                <a:gd name="connsiteX52" fmla="*/ 521713 w 603056"/>
                <a:gd name="connsiteY52" fmla="*/ 232807 h 664763"/>
                <a:gd name="connsiteX53" fmla="*/ 530128 w 603056"/>
                <a:gd name="connsiteY53" fmla="*/ 238417 h 664763"/>
                <a:gd name="connsiteX54" fmla="*/ 527323 w 603056"/>
                <a:gd name="connsiteY54" fmla="*/ 246832 h 664763"/>
                <a:gd name="connsiteX55" fmla="*/ 518908 w 603056"/>
                <a:gd name="connsiteY55" fmla="*/ 249637 h 664763"/>
                <a:gd name="connsiteX56" fmla="*/ 507689 w 603056"/>
                <a:gd name="connsiteY56" fmla="*/ 255246 h 664763"/>
                <a:gd name="connsiteX57" fmla="*/ 504884 w 603056"/>
                <a:gd name="connsiteY57" fmla="*/ 274881 h 664763"/>
                <a:gd name="connsiteX58" fmla="*/ 521713 w 603056"/>
                <a:gd name="connsiteY58" fmla="*/ 283296 h 664763"/>
                <a:gd name="connsiteX59" fmla="*/ 518908 w 603056"/>
                <a:gd name="connsiteY59" fmla="*/ 291710 h 664763"/>
                <a:gd name="connsiteX60" fmla="*/ 510494 w 603056"/>
                <a:gd name="connsiteY60" fmla="*/ 297320 h 664763"/>
                <a:gd name="connsiteX61" fmla="*/ 518908 w 603056"/>
                <a:gd name="connsiteY61" fmla="*/ 314150 h 664763"/>
                <a:gd name="connsiteX62" fmla="*/ 516103 w 603056"/>
                <a:gd name="connsiteY62" fmla="*/ 322564 h 664763"/>
                <a:gd name="connsiteX63" fmla="*/ 507689 w 603056"/>
                <a:gd name="connsiteY63" fmla="*/ 325369 h 664763"/>
                <a:gd name="connsiteX64" fmla="*/ 504884 w 603056"/>
                <a:gd name="connsiteY64" fmla="*/ 336589 h 664763"/>
                <a:gd name="connsiteX65" fmla="*/ 499274 w 603056"/>
                <a:gd name="connsiteY65" fmla="*/ 347808 h 664763"/>
                <a:gd name="connsiteX66" fmla="*/ 496469 w 603056"/>
                <a:gd name="connsiteY66" fmla="*/ 356223 h 664763"/>
                <a:gd name="connsiteX67" fmla="*/ 496469 w 603056"/>
                <a:gd name="connsiteY67" fmla="*/ 398297 h 664763"/>
                <a:gd name="connsiteX68" fmla="*/ 499274 w 603056"/>
                <a:gd name="connsiteY68" fmla="*/ 415126 h 664763"/>
                <a:gd name="connsiteX69" fmla="*/ 510494 w 603056"/>
                <a:gd name="connsiteY69" fmla="*/ 417931 h 664763"/>
                <a:gd name="connsiteX70" fmla="*/ 527323 w 603056"/>
                <a:gd name="connsiteY70" fmla="*/ 423541 h 664763"/>
                <a:gd name="connsiteX71" fmla="*/ 532933 w 603056"/>
                <a:gd name="connsiteY71" fmla="*/ 431956 h 664763"/>
                <a:gd name="connsiteX72" fmla="*/ 549762 w 603056"/>
                <a:gd name="connsiteY72" fmla="*/ 451590 h 664763"/>
                <a:gd name="connsiteX73" fmla="*/ 566592 w 603056"/>
                <a:gd name="connsiteY73" fmla="*/ 454395 h 664763"/>
                <a:gd name="connsiteX74" fmla="*/ 577811 w 603056"/>
                <a:gd name="connsiteY74" fmla="*/ 457200 h 664763"/>
                <a:gd name="connsiteX75" fmla="*/ 594641 w 603056"/>
                <a:gd name="connsiteY75" fmla="*/ 465615 h 664763"/>
                <a:gd name="connsiteX76" fmla="*/ 603056 w 603056"/>
                <a:gd name="connsiteY76" fmla="*/ 468419 h 664763"/>
                <a:gd name="connsiteX77" fmla="*/ 594641 w 603056"/>
                <a:gd name="connsiteY77" fmla="*/ 485249 h 664763"/>
                <a:gd name="connsiteX78" fmla="*/ 591836 w 603056"/>
                <a:gd name="connsiteY78" fmla="*/ 493664 h 664763"/>
                <a:gd name="connsiteX79" fmla="*/ 589031 w 603056"/>
                <a:gd name="connsiteY79" fmla="*/ 504883 h 664763"/>
                <a:gd name="connsiteX80" fmla="*/ 577811 w 603056"/>
                <a:gd name="connsiteY80" fmla="*/ 521713 h 664763"/>
                <a:gd name="connsiteX81" fmla="*/ 575006 w 603056"/>
                <a:gd name="connsiteY81" fmla="*/ 541347 h 664763"/>
                <a:gd name="connsiteX82" fmla="*/ 555372 w 603056"/>
                <a:gd name="connsiteY82" fmla="*/ 535737 h 664763"/>
                <a:gd name="connsiteX83" fmla="*/ 538543 w 603056"/>
                <a:gd name="connsiteY83" fmla="*/ 530127 h 664763"/>
                <a:gd name="connsiteX84" fmla="*/ 544152 w 603056"/>
                <a:gd name="connsiteY84" fmla="*/ 558177 h 664763"/>
                <a:gd name="connsiteX85" fmla="*/ 549762 w 603056"/>
                <a:gd name="connsiteY85" fmla="*/ 575006 h 664763"/>
                <a:gd name="connsiteX86" fmla="*/ 544152 w 603056"/>
                <a:gd name="connsiteY86" fmla="*/ 583421 h 664763"/>
                <a:gd name="connsiteX87" fmla="*/ 552567 w 603056"/>
                <a:gd name="connsiteY87" fmla="*/ 589031 h 664763"/>
                <a:gd name="connsiteX88" fmla="*/ 569397 w 603056"/>
                <a:gd name="connsiteY88" fmla="*/ 594640 h 664763"/>
                <a:gd name="connsiteX89" fmla="*/ 566592 w 603056"/>
                <a:gd name="connsiteY89" fmla="*/ 605860 h 664763"/>
                <a:gd name="connsiteX90" fmla="*/ 555372 w 603056"/>
                <a:gd name="connsiteY90" fmla="*/ 639519 h 664763"/>
                <a:gd name="connsiteX91" fmla="*/ 546957 w 603056"/>
                <a:gd name="connsiteY91" fmla="*/ 645129 h 664763"/>
                <a:gd name="connsiteX92" fmla="*/ 530128 w 603056"/>
                <a:gd name="connsiteY92" fmla="*/ 642324 h 664763"/>
                <a:gd name="connsiteX93" fmla="*/ 521713 w 603056"/>
                <a:gd name="connsiteY93" fmla="*/ 639519 h 664763"/>
                <a:gd name="connsiteX94" fmla="*/ 513298 w 603056"/>
                <a:gd name="connsiteY94" fmla="*/ 642324 h 664763"/>
                <a:gd name="connsiteX95" fmla="*/ 496469 w 603056"/>
                <a:gd name="connsiteY95" fmla="*/ 650739 h 664763"/>
                <a:gd name="connsiteX96" fmla="*/ 479640 w 603056"/>
                <a:gd name="connsiteY96" fmla="*/ 647934 h 664763"/>
                <a:gd name="connsiteX97" fmla="*/ 476835 w 603056"/>
                <a:gd name="connsiteY97" fmla="*/ 659153 h 664763"/>
                <a:gd name="connsiteX98" fmla="*/ 468420 w 603056"/>
                <a:gd name="connsiteY98" fmla="*/ 656348 h 664763"/>
                <a:gd name="connsiteX99" fmla="*/ 460005 w 603056"/>
                <a:gd name="connsiteY99" fmla="*/ 661958 h 664763"/>
                <a:gd name="connsiteX100" fmla="*/ 448786 w 603056"/>
                <a:gd name="connsiteY100" fmla="*/ 664763 h 664763"/>
                <a:gd name="connsiteX101" fmla="*/ 426346 w 603056"/>
                <a:gd name="connsiteY101" fmla="*/ 661958 h 664763"/>
                <a:gd name="connsiteX102" fmla="*/ 429151 w 603056"/>
                <a:gd name="connsiteY102" fmla="*/ 647934 h 664763"/>
                <a:gd name="connsiteX103" fmla="*/ 434761 w 603056"/>
                <a:gd name="connsiteY103" fmla="*/ 628299 h 664763"/>
                <a:gd name="connsiteX104" fmla="*/ 440371 w 603056"/>
                <a:gd name="connsiteY104" fmla="*/ 619885 h 664763"/>
                <a:gd name="connsiteX105" fmla="*/ 443176 w 603056"/>
                <a:gd name="connsiteY105" fmla="*/ 608665 h 664763"/>
                <a:gd name="connsiteX106" fmla="*/ 426346 w 603056"/>
                <a:gd name="connsiteY106" fmla="*/ 608665 h 664763"/>
                <a:gd name="connsiteX107" fmla="*/ 406712 w 603056"/>
                <a:gd name="connsiteY107" fmla="*/ 603055 h 664763"/>
                <a:gd name="connsiteX108" fmla="*/ 387078 w 603056"/>
                <a:gd name="connsiteY108" fmla="*/ 594640 h 664763"/>
                <a:gd name="connsiteX109" fmla="*/ 384273 w 603056"/>
                <a:gd name="connsiteY109" fmla="*/ 572201 h 664763"/>
                <a:gd name="connsiteX110" fmla="*/ 373053 w 603056"/>
                <a:gd name="connsiteY110" fmla="*/ 566591 h 664763"/>
                <a:gd name="connsiteX111" fmla="*/ 364638 w 603056"/>
                <a:gd name="connsiteY111" fmla="*/ 560981 h 664763"/>
                <a:gd name="connsiteX112" fmla="*/ 353419 w 603056"/>
                <a:gd name="connsiteY112" fmla="*/ 549762 h 664763"/>
                <a:gd name="connsiteX113" fmla="*/ 342199 w 603056"/>
                <a:gd name="connsiteY113" fmla="*/ 546957 h 664763"/>
                <a:gd name="connsiteX114" fmla="*/ 325370 w 603056"/>
                <a:gd name="connsiteY114" fmla="*/ 541347 h 664763"/>
                <a:gd name="connsiteX115" fmla="*/ 328175 w 603056"/>
                <a:gd name="connsiteY115" fmla="*/ 532932 h 664763"/>
                <a:gd name="connsiteX116" fmla="*/ 316955 w 603056"/>
                <a:gd name="connsiteY116" fmla="*/ 535737 h 664763"/>
                <a:gd name="connsiteX117" fmla="*/ 300125 w 603056"/>
                <a:gd name="connsiteY117" fmla="*/ 546957 h 664763"/>
                <a:gd name="connsiteX118" fmla="*/ 308540 w 603056"/>
                <a:gd name="connsiteY118" fmla="*/ 549762 h 664763"/>
                <a:gd name="connsiteX119" fmla="*/ 311345 w 603056"/>
                <a:gd name="connsiteY119" fmla="*/ 558177 h 664763"/>
                <a:gd name="connsiteX120" fmla="*/ 297321 w 603056"/>
                <a:gd name="connsiteY120" fmla="*/ 577811 h 664763"/>
                <a:gd name="connsiteX121" fmla="*/ 277686 w 603056"/>
                <a:gd name="connsiteY121" fmla="*/ 580616 h 664763"/>
                <a:gd name="connsiteX122" fmla="*/ 274881 w 603056"/>
                <a:gd name="connsiteY122" fmla="*/ 600250 h 664763"/>
                <a:gd name="connsiteX123" fmla="*/ 260857 w 603056"/>
                <a:gd name="connsiteY123" fmla="*/ 597445 h 664763"/>
                <a:gd name="connsiteX124" fmla="*/ 255247 w 603056"/>
                <a:gd name="connsiteY124" fmla="*/ 580616 h 664763"/>
                <a:gd name="connsiteX125" fmla="*/ 246832 w 603056"/>
                <a:gd name="connsiteY125" fmla="*/ 577811 h 664763"/>
                <a:gd name="connsiteX126" fmla="*/ 230003 w 603056"/>
                <a:gd name="connsiteY126" fmla="*/ 569396 h 664763"/>
                <a:gd name="connsiteX127" fmla="*/ 224393 w 603056"/>
                <a:gd name="connsiteY127" fmla="*/ 560981 h 664763"/>
                <a:gd name="connsiteX128" fmla="*/ 215978 w 603056"/>
                <a:gd name="connsiteY128" fmla="*/ 558177 h 664763"/>
                <a:gd name="connsiteX129" fmla="*/ 213173 w 603056"/>
                <a:gd name="connsiteY129" fmla="*/ 546957 h 664763"/>
                <a:gd name="connsiteX130" fmla="*/ 218783 w 603056"/>
                <a:gd name="connsiteY130" fmla="*/ 538542 h 664763"/>
                <a:gd name="connsiteX131" fmla="*/ 204759 w 603056"/>
                <a:gd name="connsiteY131" fmla="*/ 541347 h 664763"/>
                <a:gd name="connsiteX132" fmla="*/ 185124 w 603056"/>
                <a:gd name="connsiteY132" fmla="*/ 532932 h 664763"/>
                <a:gd name="connsiteX133" fmla="*/ 168295 w 603056"/>
                <a:gd name="connsiteY133" fmla="*/ 518908 h 664763"/>
                <a:gd name="connsiteX134" fmla="*/ 159880 w 603056"/>
                <a:gd name="connsiteY134" fmla="*/ 516103 h 664763"/>
                <a:gd name="connsiteX135" fmla="*/ 134636 w 603056"/>
                <a:gd name="connsiteY135" fmla="*/ 502078 h 664763"/>
                <a:gd name="connsiteX136" fmla="*/ 129026 w 603056"/>
                <a:gd name="connsiteY136" fmla="*/ 493664 h 664763"/>
                <a:gd name="connsiteX137" fmla="*/ 112197 w 603056"/>
                <a:gd name="connsiteY137" fmla="*/ 482444 h 664763"/>
                <a:gd name="connsiteX138" fmla="*/ 109392 w 603056"/>
                <a:gd name="connsiteY138" fmla="*/ 474029 h 664763"/>
                <a:gd name="connsiteX139" fmla="*/ 129026 w 603056"/>
                <a:gd name="connsiteY139" fmla="*/ 460005 h 664763"/>
                <a:gd name="connsiteX140" fmla="*/ 137441 w 603056"/>
                <a:gd name="connsiteY140" fmla="*/ 454395 h 664763"/>
                <a:gd name="connsiteX141" fmla="*/ 112197 w 603056"/>
                <a:gd name="connsiteY141" fmla="*/ 431956 h 664763"/>
                <a:gd name="connsiteX142" fmla="*/ 106587 w 603056"/>
                <a:gd name="connsiteY142" fmla="*/ 423541 h 664763"/>
                <a:gd name="connsiteX143" fmla="*/ 100977 w 603056"/>
                <a:gd name="connsiteY143" fmla="*/ 403907 h 664763"/>
                <a:gd name="connsiteX144" fmla="*/ 95367 w 603056"/>
                <a:gd name="connsiteY144" fmla="*/ 395492 h 664763"/>
                <a:gd name="connsiteX145" fmla="*/ 112197 w 603056"/>
                <a:gd name="connsiteY145" fmla="*/ 395492 h 664763"/>
                <a:gd name="connsiteX146" fmla="*/ 129026 w 603056"/>
                <a:gd name="connsiteY146" fmla="*/ 392687 h 664763"/>
                <a:gd name="connsiteX147" fmla="*/ 143051 w 603056"/>
                <a:gd name="connsiteY147" fmla="*/ 378662 h 664763"/>
                <a:gd name="connsiteX148" fmla="*/ 140246 w 603056"/>
                <a:gd name="connsiteY148" fmla="*/ 370248 h 664763"/>
                <a:gd name="connsiteX149" fmla="*/ 131831 w 603056"/>
                <a:gd name="connsiteY149" fmla="*/ 375858 h 664763"/>
                <a:gd name="connsiteX150" fmla="*/ 115002 w 603056"/>
                <a:gd name="connsiteY150" fmla="*/ 367443 h 664763"/>
                <a:gd name="connsiteX151" fmla="*/ 95367 w 603056"/>
                <a:gd name="connsiteY151" fmla="*/ 356223 h 664763"/>
                <a:gd name="connsiteX152" fmla="*/ 89757 w 603056"/>
                <a:gd name="connsiteY152" fmla="*/ 347808 h 664763"/>
                <a:gd name="connsiteX153" fmla="*/ 81343 w 603056"/>
                <a:gd name="connsiteY153" fmla="*/ 342199 h 664763"/>
                <a:gd name="connsiteX154" fmla="*/ 72928 w 603056"/>
                <a:gd name="connsiteY154" fmla="*/ 345004 h 664763"/>
                <a:gd name="connsiteX155" fmla="*/ 67318 w 603056"/>
                <a:gd name="connsiteY155" fmla="*/ 328174 h 664763"/>
                <a:gd name="connsiteX156" fmla="*/ 64513 w 603056"/>
                <a:gd name="connsiteY156" fmla="*/ 319759 h 664763"/>
                <a:gd name="connsiteX157" fmla="*/ 72928 w 603056"/>
                <a:gd name="connsiteY157" fmla="*/ 291710 h 664763"/>
                <a:gd name="connsiteX158" fmla="*/ 81343 w 603056"/>
                <a:gd name="connsiteY158" fmla="*/ 283296 h 664763"/>
                <a:gd name="connsiteX159" fmla="*/ 81343 w 603056"/>
                <a:gd name="connsiteY159" fmla="*/ 241222 h 664763"/>
                <a:gd name="connsiteX160" fmla="*/ 64513 w 603056"/>
                <a:gd name="connsiteY160" fmla="*/ 235612 h 664763"/>
                <a:gd name="connsiteX161" fmla="*/ 56098 w 603056"/>
                <a:gd name="connsiteY161" fmla="*/ 238417 h 664763"/>
                <a:gd name="connsiteX162" fmla="*/ 47684 w 603056"/>
                <a:gd name="connsiteY162" fmla="*/ 244027 h 664763"/>
                <a:gd name="connsiteX163" fmla="*/ 39269 w 603056"/>
                <a:gd name="connsiteY163" fmla="*/ 241222 h 664763"/>
                <a:gd name="connsiteX164" fmla="*/ 56098 w 603056"/>
                <a:gd name="connsiteY164" fmla="*/ 227197 h 664763"/>
                <a:gd name="connsiteX165" fmla="*/ 53294 w 603056"/>
                <a:gd name="connsiteY165" fmla="*/ 210368 h 664763"/>
                <a:gd name="connsiteX166" fmla="*/ 72928 w 603056"/>
                <a:gd name="connsiteY166" fmla="*/ 193539 h 664763"/>
                <a:gd name="connsiteX167" fmla="*/ 81343 w 603056"/>
                <a:gd name="connsiteY167" fmla="*/ 190734 h 664763"/>
                <a:gd name="connsiteX168" fmla="*/ 89757 w 603056"/>
                <a:gd name="connsiteY168" fmla="*/ 196343 h 664763"/>
                <a:gd name="connsiteX169" fmla="*/ 95367 w 603056"/>
                <a:gd name="connsiteY169" fmla="*/ 182319 h 664763"/>
                <a:gd name="connsiteX170" fmla="*/ 86952 w 603056"/>
                <a:gd name="connsiteY170" fmla="*/ 179514 h 664763"/>
                <a:gd name="connsiteX171" fmla="*/ 67318 w 603056"/>
                <a:gd name="connsiteY171" fmla="*/ 176709 h 664763"/>
                <a:gd name="connsiteX172" fmla="*/ 58903 w 603056"/>
                <a:gd name="connsiteY172" fmla="*/ 171099 h 664763"/>
                <a:gd name="connsiteX173" fmla="*/ 42074 w 603056"/>
                <a:gd name="connsiteY173" fmla="*/ 165489 h 664763"/>
                <a:gd name="connsiteX174" fmla="*/ 50489 w 603056"/>
                <a:gd name="connsiteY174" fmla="*/ 162685 h 664763"/>
                <a:gd name="connsiteX175" fmla="*/ 42074 w 603056"/>
                <a:gd name="connsiteY175" fmla="*/ 145855 h 664763"/>
                <a:gd name="connsiteX176" fmla="*/ 47684 w 603056"/>
                <a:gd name="connsiteY176" fmla="*/ 137440 h 664763"/>
                <a:gd name="connsiteX177" fmla="*/ 47684 w 603056"/>
                <a:gd name="connsiteY177" fmla="*/ 131831 h 664763"/>
                <a:gd name="connsiteX178" fmla="*/ 39269 w 603056"/>
                <a:gd name="connsiteY178" fmla="*/ 126221 h 664763"/>
                <a:gd name="connsiteX179" fmla="*/ 33659 w 603056"/>
                <a:gd name="connsiteY179" fmla="*/ 120611 h 664763"/>
                <a:gd name="connsiteX180" fmla="*/ 16830 w 603056"/>
                <a:gd name="connsiteY180" fmla="*/ 117806 h 664763"/>
                <a:gd name="connsiteX181" fmla="*/ 19635 w 603056"/>
                <a:gd name="connsiteY181" fmla="*/ 109391 h 664763"/>
                <a:gd name="connsiteX182" fmla="*/ 30854 w 603056"/>
                <a:gd name="connsiteY182" fmla="*/ 106586 h 664763"/>
                <a:gd name="connsiteX183" fmla="*/ 22440 w 603056"/>
                <a:gd name="connsiteY183" fmla="*/ 95367 h 664763"/>
                <a:gd name="connsiteX184" fmla="*/ 14025 w 603056"/>
                <a:gd name="connsiteY184" fmla="*/ 92562 h 664763"/>
                <a:gd name="connsiteX185" fmla="*/ 19635 w 603056"/>
                <a:gd name="connsiteY185" fmla="*/ 84147 h 664763"/>
                <a:gd name="connsiteX186" fmla="*/ 0 w 603056"/>
                <a:gd name="connsiteY186" fmla="*/ 81342 h 664763"/>
                <a:gd name="connsiteX187" fmla="*/ 2805 w 603056"/>
                <a:gd name="connsiteY187" fmla="*/ 72927 h 664763"/>
                <a:gd name="connsiteX188" fmla="*/ 0 w 603056"/>
                <a:gd name="connsiteY188" fmla="*/ 64513 h 664763"/>
                <a:gd name="connsiteX189" fmla="*/ 14025 w 603056"/>
                <a:gd name="connsiteY189" fmla="*/ 58903 h 664763"/>
                <a:gd name="connsiteX0" fmla="*/ 14025 w 603056"/>
                <a:gd name="connsiteY0" fmla="*/ 58903 h 664763"/>
                <a:gd name="connsiteX1" fmla="*/ 36464 w 603056"/>
                <a:gd name="connsiteY1" fmla="*/ 44878 h 664763"/>
                <a:gd name="connsiteX2" fmla="*/ 50489 w 603056"/>
                <a:gd name="connsiteY2" fmla="*/ 47683 h 664763"/>
                <a:gd name="connsiteX3" fmla="*/ 67318 w 603056"/>
                <a:gd name="connsiteY3" fmla="*/ 44878 h 664763"/>
                <a:gd name="connsiteX4" fmla="*/ 70123 w 603056"/>
                <a:gd name="connsiteY4" fmla="*/ 36464 h 664763"/>
                <a:gd name="connsiteX5" fmla="*/ 86952 w 603056"/>
                <a:gd name="connsiteY5" fmla="*/ 30854 h 664763"/>
                <a:gd name="connsiteX6" fmla="*/ 86952 w 603056"/>
                <a:gd name="connsiteY6" fmla="*/ 14024 h 664763"/>
                <a:gd name="connsiteX7" fmla="*/ 89757 w 603056"/>
                <a:gd name="connsiteY7" fmla="*/ 2805 h 664763"/>
                <a:gd name="connsiteX8" fmla="*/ 123416 w 603056"/>
                <a:gd name="connsiteY8" fmla="*/ 8415 h 664763"/>
                <a:gd name="connsiteX9" fmla="*/ 134636 w 603056"/>
                <a:gd name="connsiteY9" fmla="*/ 11219 h 664763"/>
                <a:gd name="connsiteX10" fmla="*/ 143051 w 603056"/>
                <a:gd name="connsiteY10" fmla="*/ 5610 h 664763"/>
                <a:gd name="connsiteX11" fmla="*/ 159880 w 603056"/>
                <a:gd name="connsiteY11" fmla="*/ 0 h 664763"/>
                <a:gd name="connsiteX12" fmla="*/ 176710 w 603056"/>
                <a:gd name="connsiteY12" fmla="*/ 11219 h 664763"/>
                <a:gd name="connsiteX13" fmla="*/ 182319 w 603056"/>
                <a:gd name="connsiteY13" fmla="*/ 19634 h 664763"/>
                <a:gd name="connsiteX14" fmla="*/ 185124 w 603056"/>
                <a:gd name="connsiteY14" fmla="*/ 28049 h 664763"/>
                <a:gd name="connsiteX15" fmla="*/ 204759 w 603056"/>
                <a:gd name="connsiteY15" fmla="*/ 36464 h 664763"/>
                <a:gd name="connsiteX16" fmla="*/ 213173 w 603056"/>
                <a:gd name="connsiteY16" fmla="*/ 42073 h 664763"/>
                <a:gd name="connsiteX17" fmla="*/ 221588 w 603056"/>
                <a:gd name="connsiteY17" fmla="*/ 33659 h 664763"/>
                <a:gd name="connsiteX18" fmla="*/ 224393 w 603056"/>
                <a:gd name="connsiteY18" fmla="*/ 44878 h 664763"/>
                <a:gd name="connsiteX19" fmla="*/ 232808 w 603056"/>
                <a:gd name="connsiteY19" fmla="*/ 53293 h 664763"/>
                <a:gd name="connsiteX20" fmla="*/ 238417 w 603056"/>
                <a:gd name="connsiteY20" fmla="*/ 61708 h 664763"/>
                <a:gd name="connsiteX21" fmla="*/ 255247 w 603056"/>
                <a:gd name="connsiteY21" fmla="*/ 70123 h 664763"/>
                <a:gd name="connsiteX22" fmla="*/ 258052 w 603056"/>
                <a:gd name="connsiteY22" fmla="*/ 61708 h 664763"/>
                <a:gd name="connsiteX23" fmla="*/ 260857 w 603056"/>
                <a:gd name="connsiteY23" fmla="*/ 70123 h 664763"/>
                <a:gd name="connsiteX24" fmla="*/ 258052 w 603056"/>
                <a:gd name="connsiteY24" fmla="*/ 106586 h 664763"/>
                <a:gd name="connsiteX25" fmla="*/ 266467 w 603056"/>
                <a:gd name="connsiteY25" fmla="*/ 112196 h 664763"/>
                <a:gd name="connsiteX26" fmla="*/ 283296 w 603056"/>
                <a:gd name="connsiteY26" fmla="*/ 129026 h 664763"/>
                <a:gd name="connsiteX27" fmla="*/ 291711 w 603056"/>
                <a:gd name="connsiteY27" fmla="*/ 137440 h 664763"/>
                <a:gd name="connsiteX28" fmla="*/ 300126 w 603056"/>
                <a:gd name="connsiteY28" fmla="*/ 140245 h 664763"/>
                <a:gd name="connsiteX29" fmla="*/ 311345 w 603056"/>
                <a:gd name="connsiteY29" fmla="*/ 151465 h 664763"/>
                <a:gd name="connsiteX30" fmla="*/ 322565 w 603056"/>
                <a:gd name="connsiteY30" fmla="*/ 137440 h 664763"/>
                <a:gd name="connsiteX31" fmla="*/ 325370 w 603056"/>
                <a:gd name="connsiteY31" fmla="*/ 145855 h 664763"/>
                <a:gd name="connsiteX32" fmla="*/ 342199 w 603056"/>
                <a:gd name="connsiteY32" fmla="*/ 148660 h 664763"/>
                <a:gd name="connsiteX33" fmla="*/ 367443 w 603056"/>
                <a:gd name="connsiteY33" fmla="*/ 151465 h 664763"/>
                <a:gd name="connsiteX34" fmla="*/ 370248 w 603056"/>
                <a:gd name="connsiteY34" fmla="*/ 159880 h 664763"/>
                <a:gd name="connsiteX35" fmla="*/ 350614 w 603056"/>
                <a:gd name="connsiteY35" fmla="*/ 171099 h 664763"/>
                <a:gd name="connsiteX36" fmla="*/ 353419 w 603056"/>
                <a:gd name="connsiteY36" fmla="*/ 179514 h 664763"/>
                <a:gd name="connsiteX37" fmla="*/ 361833 w 603056"/>
                <a:gd name="connsiteY37" fmla="*/ 185124 h 664763"/>
                <a:gd name="connsiteX38" fmla="*/ 347809 w 603056"/>
                <a:gd name="connsiteY38" fmla="*/ 201953 h 664763"/>
                <a:gd name="connsiteX39" fmla="*/ 345004 w 603056"/>
                <a:gd name="connsiteY39" fmla="*/ 210368 h 664763"/>
                <a:gd name="connsiteX40" fmla="*/ 373053 w 603056"/>
                <a:gd name="connsiteY40" fmla="*/ 221588 h 664763"/>
                <a:gd name="connsiteX41" fmla="*/ 375858 w 603056"/>
                <a:gd name="connsiteY41" fmla="*/ 230002 h 664763"/>
                <a:gd name="connsiteX42" fmla="*/ 378663 w 603056"/>
                <a:gd name="connsiteY42" fmla="*/ 244027 h 664763"/>
                <a:gd name="connsiteX43" fmla="*/ 395492 w 603056"/>
                <a:gd name="connsiteY43" fmla="*/ 238417 h 664763"/>
                <a:gd name="connsiteX44" fmla="*/ 417932 w 603056"/>
                <a:gd name="connsiteY44" fmla="*/ 235612 h 664763"/>
                <a:gd name="connsiteX45" fmla="*/ 434761 w 603056"/>
                <a:gd name="connsiteY45" fmla="*/ 246832 h 664763"/>
                <a:gd name="connsiteX46" fmla="*/ 451590 w 603056"/>
                <a:gd name="connsiteY46" fmla="*/ 255246 h 664763"/>
                <a:gd name="connsiteX47" fmla="*/ 465615 w 603056"/>
                <a:gd name="connsiteY47" fmla="*/ 232807 h 664763"/>
                <a:gd name="connsiteX48" fmla="*/ 482444 w 603056"/>
                <a:gd name="connsiteY48" fmla="*/ 221588 h 664763"/>
                <a:gd name="connsiteX49" fmla="*/ 485249 w 603056"/>
                <a:gd name="connsiteY49" fmla="*/ 213173 h 664763"/>
                <a:gd name="connsiteX50" fmla="*/ 502079 w 603056"/>
                <a:gd name="connsiteY50" fmla="*/ 221588 h 664763"/>
                <a:gd name="connsiteX51" fmla="*/ 504884 w 603056"/>
                <a:gd name="connsiteY51" fmla="*/ 230002 h 664763"/>
                <a:gd name="connsiteX52" fmla="*/ 521713 w 603056"/>
                <a:gd name="connsiteY52" fmla="*/ 232807 h 664763"/>
                <a:gd name="connsiteX53" fmla="*/ 530128 w 603056"/>
                <a:gd name="connsiteY53" fmla="*/ 238417 h 664763"/>
                <a:gd name="connsiteX54" fmla="*/ 527323 w 603056"/>
                <a:gd name="connsiteY54" fmla="*/ 246832 h 664763"/>
                <a:gd name="connsiteX55" fmla="*/ 518908 w 603056"/>
                <a:gd name="connsiteY55" fmla="*/ 249637 h 664763"/>
                <a:gd name="connsiteX56" fmla="*/ 507689 w 603056"/>
                <a:gd name="connsiteY56" fmla="*/ 255246 h 664763"/>
                <a:gd name="connsiteX57" fmla="*/ 504884 w 603056"/>
                <a:gd name="connsiteY57" fmla="*/ 274881 h 664763"/>
                <a:gd name="connsiteX58" fmla="*/ 521713 w 603056"/>
                <a:gd name="connsiteY58" fmla="*/ 283296 h 664763"/>
                <a:gd name="connsiteX59" fmla="*/ 518908 w 603056"/>
                <a:gd name="connsiteY59" fmla="*/ 291710 h 664763"/>
                <a:gd name="connsiteX60" fmla="*/ 510494 w 603056"/>
                <a:gd name="connsiteY60" fmla="*/ 297320 h 664763"/>
                <a:gd name="connsiteX61" fmla="*/ 518908 w 603056"/>
                <a:gd name="connsiteY61" fmla="*/ 314150 h 664763"/>
                <a:gd name="connsiteX62" fmla="*/ 516103 w 603056"/>
                <a:gd name="connsiteY62" fmla="*/ 322564 h 664763"/>
                <a:gd name="connsiteX63" fmla="*/ 507689 w 603056"/>
                <a:gd name="connsiteY63" fmla="*/ 325369 h 664763"/>
                <a:gd name="connsiteX64" fmla="*/ 504884 w 603056"/>
                <a:gd name="connsiteY64" fmla="*/ 336589 h 664763"/>
                <a:gd name="connsiteX65" fmla="*/ 499274 w 603056"/>
                <a:gd name="connsiteY65" fmla="*/ 347808 h 664763"/>
                <a:gd name="connsiteX66" fmla="*/ 496469 w 603056"/>
                <a:gd name="connsiteY66" fmla="*/ 356223 h 664763"/>
                <a:gd name="connsiteX67" fmla="*/ 496469 w 603056"/>
                <a:gd name="connsiteY67" fmla="*/ 398297 h 664763"/>
                <a:gd name="connsiteX68" fmla="*/ 499274 w 603056"/>
                <a:gd name="connsiteY68" fmla="*/ 415126 h 664763"/>
                <a:gd name="connsiteX69" fmla="*/ 510494 w 603056"/>
                <a:gd name="connsiteY69" fmla="*/ 417931 h 664763"/>
                <a:gd name="connsiteX70" fmla="*/ 527323 w 603056"/>
                <a:gd name="connsiteY70" fmla="*/ 423541 h 664763"/>
                <a:gd name="connsiteX71" fmla="*/ 532933 w 603056"/>
                <a:gd name="connsiteY71" fmla="*/ 431956 h 664763"/>
                <a:gd name="connsiteX72" fmla="*/ 549762 w 603056"/>
                <a:gd name="connsiteY72" fmla="*/ 451590 h 664763"/>
                <a:gd name="connsiteX73" fmla="*/ 566592 w 603056"/>
                <a:gd name="connsiteY73" fmla="*/ 454395 h 664763"/>
                <a:gd name="connsiteX74" fmla="*/ 577811 w 603056"/>
                <a:gd name="connsiteY74" fmla="*/ 457200 h 664763"/>
                <a:gd name="connsiteX75" fmla="*/ 594641 w 603056"/>
                <a:gd name="connsiteY75" fmla="*/ 465615 h 664763"/>
                <a:gd name="connsiteX76" fmla="*/ 603056 w 603056"/>
                <a:gd name="connsiteY76" fmla="*/ 468419 h 664763"/>
                <a:gd name="connsiteX77" fmla="*/ 594641 w 603056"/>
                <a:gd name="connsiteY77" fmla="*/ 485249 h 664763"/>
                <a:gd name="connsiteX78" fmla="*/ 591836 w 603056"/>
                <a:gd name="connsiteY78" fmla="*/ 493664 h 664763"/>
                <a:gd name="connsiteX79" fmla="*/ 589031 w 603056"/>
                <a:gd name="connsiteY79" fmla="*/ 504883 h 664763"/>
                <a:gd name="connsiteX80" fmla="*/ 577811 w 603056"/>
                <a:gd name="connsiteY80" fmla="*/ 521713 h 664763"/>
                <a:gd name="connsiteX81" fmla="*/ 575006 w 603056"/>
                <a:gd name="connsiteY81" fmla="*/ 541347 h 664763"/>
                <a:gd name="connsiteX82" fmla="*/ 555372 w 603056"/>
                <a:gd name="connsiteY82" fmla="*/ 535737 h 664763"/>
                <a:gd name="connsiteX83" fmla="*/ 538543 w 603056"/>
                <a:gd name="connsiteY83" fmla="*/ 530127 h 664763"/>
                <a:gd name="connsiteX84" fmla="*/ 544152 w 603056"/>
                <a:gd name="connsiteY84" fmla="*/ 558177 h 664763"/>
                <a:gd name="connsiteX85" fmla="*/ 549762 w 603056"/>
                <a:gd name="connsiteY85" fmla="*/ 575006 h 664763"/>
                <a:gd name="connsiteX86" fmla="*/ 544152 w 603056"/>
                <a:gd name="connsiteY86" fmla="*/ 583421 h 664763"/>
                <a:gd name="connsiteX87" fmla="*/ 552567 w 603056"/>
                <a:gd name="connsiteY87" fmla="*/ 589031 h 664763"/>
                <a:gd name="connsiteX88" fmla="*/ 569397 w 603056"/>
                <a:gd name="connsiteY88" fmla="*/ 594640 h 664763"/>
                <a:gd name="connsiteX89" fmla="*/ 566592 w 603056"/>
                <a:gd name="connsiteY89" fmla="*/ 605860 h 664763"/>
                <a:gd name="connsiteX90" fmla="*/ 555372 w 603056"/>
                <a:gd name="connsiteY90" fmla="*/ 639519 h 664763"/>
                <a:gd name="connsiteX91" fmla="*/ 546957 w 603056"/>
                <a:gd name="connsiteY91" fmla="*/ 645129 h 664763"/>
                <a:gd name="connsiteX92" fmla="*/ 530128 w 603056"/>
                <a:gd name="connsiteY92" fmla="*/ 642324 h 664763"/>
                <a:gd name="connsiteX93" fmla="*/ 521713 w 603056"/>
                <a:gd name="connsiteY93" fmla="*/ 639519 h 664763"/>
                <a:gd name="connsiteX94" fmla="*/ 513298 w 603056"/>
                <a:gd name="connsiteY94" fmla="*/ 642324 h 664763"/>
                <a:gd name="connsiteX95" fmla="*/ 496469 w 603056"/>
                <a:gd name="connsiteY95" fmla="*/ 650739 h 664763"/>
                <a:gd name="connsiteX96" fmla="*/ 479640 w 603056"/>
                <a:gd name="connsiteY96" fmla="*/ 647934 h 664763"/>
                <a:gd name="connsiteX97" fmla="*/ 476835 w 603056"/>
                <a:gd name="connsiteY97" fmla="*/ 659153 h 664763"/>
                <a:gd name="connsiteX98" fmla="*/ 468420 w 603056"/>
                <a:gd name="connsiteY98" fmla="*/ 656348 h 664763"/>
                <a:gd name="connsiteX99" fmla="*/ 460005 w 603056"/>
                <a:gd name="connsiteY99" fmla="*/ 661958 h 664763"/>
                <a:gd name="connsiteX100" fmla="*/ 448786 w 603056"/>
                <a:gd name="connsiteY100" fmla="*/ 664763 h 664763"/>
                <a:gd name="connsiteX101" fmla="*/ 426346 w 603056"/>
                <a:gd name="connsiteY101" fmla="*/ 661958 h 664763"/>
                <a:gd name="connsiteX102" fmla="*/ 429151 w 603056"/>
                <a:gd name="connsiteY102" fmla="*/ 647934 h 664763"/>
                <a:gd name="connsiteX103" fmla="*/ 434761 w 603056"/>
                <a:gd name="connsiteY103" fmla="*/ 628299 h 664763"/>
                <a:gd name="connsiteX104" fmla="*/ 440371 w 603056"/>
                <a:gd name="connsiteY104" fmla="*/ 619885 h 664763"/>
                <a:gd name="connsiteX105" fmla="*/ 443176 w 603056"/>
                <a:gd name="connsiteY105" fmla="*/ 608665 h 664763"/>
                <a:gd name="connsiteX106" fmla="*/ 426346 w 603056"/>
                <a:gd name="connsiteY106" fmla="*/ 608665 h 664763"/>
                <a:gd name="connsiteX107" fmla="*/ 406712 w 603056"/>
                <a:gd name="connsiteY107" fmla="*/ 603055 h 664763"/>
                <a:gd name="connsiteX108" fmla="*/ 387078 w 603056"/>
                <a:gd name="connsiteY108" fmla="*/ 594640 h 664763"/>
                <a:gd name="connsiteX109" fmla="*/ 384273 w 603056"/>
                <a:gd name="connsiteY109" fmla="*/ 572201 h 664763"/>
                <a:gd name="connsiteX110" fmla="*/ 373053 w 603056"/>
                <a:gd name="connsiteY110" fmla="*/ 566591 h 664763"/>
                <a:gd name="connsiteX111" fmla="*/ 364638 w 603056"/>
                <a:gd name="connsiteY111" fmla="*/ 560981 h 664763"/>
                <a:gd name="connsiteX112" fmla="*/ 353419 w 603056"/>
                <a:gd name="connsiteY112" fmla="*/ 549762 h 664763"/>
                <a:gd name="connsiteX113" fmla="*/ 342199 w 603056"/>
                <a:gd name="connsiteY113" fmla="*/ 546957 h 664763"/>
                <a:gd name="connsiteX114" fmla="*/ 325370 w 603056"/>
                <a:gd name="connsiteY114" fmla="*/ 541347 h 664763"/>
                <a:gd name="connsiteX115" fmla="*/ 328175 w 603056"/>
                <a:gd name="connsiteY115" fmla="*/ 532932 h 664763"/>
                <a:gd name="connsiteX116" fmla="*/ 316955 w 603056"/>
                <a:gd name="connsiteY116" fmla="*/ 535737 h 664763"/>
                <a:gd name="connsiteX117" fmla="*/ 300125 w 603056"/>
                <a:gd name="connsiteY117" fmla="*/ 546957 h 664763"/>
                <a:gd name="connsiteX118" fmla="*/ 308540 w 603056"/>
                <a:gd name="connsiteY118" fmla="*/ 549762 h 664763"/>
                <a:gd name="connsiteX119" fmla="*/ 311345 w 603056"/>
                <a:gd name="connsiteY119" fmla="*/ 558177 h 664763"/>
                <a:gd name="connsiteX120" fmla="*/ 297321 w 603056"/>
                <a:gd name="connsiteY120" fmla="*/ 577811 h 664763"/>
                <a:gd name="connsiteX121" fmla="*/ 277686 w 603056"/>
                <a:gd name="connsiteY121" fmla="*/ 580616 h 664763"/>
                <a:gd name="connsiteX122" fmla="*/ 274881 w 603056"/>
                <a:gd name="connsiteY122" fmla="*/ 600250 h 664763"/>
                <a:gd name="connsiteX123" fmla="*/ 260857 w 603056"/>
                <a:gd name="connsiteY123" fmla="*/ 597445 h 664763"/>
                <a:gd name="connsiteX124" fmla="*/ 255247 w 603056"/>
                <a:gd name="connsiteY124" fmla="*/ 580616 h 664763"/>
                <a:gd name="connsiteX125" fmla="*/ 246832 w 603056"/>
                <a:gd name="connsiteY125" fmla="*/ 577811 h 664763"/>
                <a:gd name="connsiteX126" fmla="*/ 230003 w 603056"/>
                <a:gd name="connsiteY126" fmla="*/ 569396 h 664763"/>
                <a:gd name="connsiteX127" fmla="*/ 224393 w 603056"/>
                <a:gd name="connsiteY127" fmla="*/ 560981 h 664763"/>
                <a:gd name="connsiteX128" fmla="*/ 215978 w 603056"/>
                <a:gd name="connsiteY128" fmla="*/ 558177 h 664763"/>
                <a:gd name="connsiteX129" fmla="*/ 213173 w 603056"/>
                <a:gd name="connsiteY129" fmla="*/ 546957 h 664763"/>
                <a:gd name="connsiteX130" fmla="*/ 218783 w 603056"/>
                <a:gd name="connsiteY130" fmla="*/ 538542 h 664763"/>
                <a:gd name="connsiteX131" fmla="*/ 204759 w 603056"/>
                <a:gd name="connsiteY131" fmla="*/ 541347 h 664763"/>
                <a:gd name="connsiteX132" fmla="*/ 185124 w 603056"/>
                <a:gd name="connsiteY132" fmla="*/ 532932 h 664763"/>
                <a:gd name="connsiteX133" fmla="*/ 168295 w 603056"/>
                <a:gd name="connsiteY133" fmla="*/ 518908 h 664763"/>
                <a:gd name="connsiteX134" fmla="*/ 159880 w 603056"/>
                <a:gd name="connsiteY134" fmla="*/ 516103 h 664763"/>
                <a:gd name="connsiteX135" fmla="*/ 134636 w 603056"/>
                <a:gd name="connsiteY135" fmla="*/ 502078 h 664763"/>
                <a:gd name="connsiteX136" fmla="*/ 129026 w 603056"/>
                <a:gd name="connsiteY136" fmla="*/ 493664 h 664763"/>
                <a:gd name="connsiteX137" fmla="*/ 112197 w 603056"/>
                <a:gd name="connsiteY137" fmla="*/ 482444 h 664763"/>
                <a:gd name="connsiteX138" fmla="*/ 109392 w 603056"/>
                <a:gd name="connsiteY138" fmla="*/ 474029 h 664763"/>
                <a:gd name="connsiteX139" fmla="*/ 129026 w 603056"/>
                <a:gd name="connsiteY139" fmla="*/ 460005 h 664763"/>
                <a:gd name="connsiteX140" fmla="*/ 137441 w 603056"/>
                <a:gd name="connsiteY140" fmla="*/ 454395 h 664763"/>
                <a:gd name="connsiteX141" fmla="*/ 112197 w 603056"/>
                <a:gd name="connsiteY141" fmla="*/ 431956 h 664763"/>
                <a:gd name="connsiteX142" fmla="*/ 106587 w 603056"/>
                <a:gd name="connsiteY142" fmla="*/ 423541 h 664763"/>
                <a:gd name="connsiteX143" fmla="*/ 100977 w 603056"/>
                <a:gd name="connsiteY143" fmla="*/ 403907 h 664763"/>
                <a:gd name="connsiteX144" fmla="*/ 95367 w 603056"/>
                <a:gd name="connsiteY144" fmla="*/ 395492 h 664763"/>
                <a:gd name="connsiteX145" fmla="*/ 112197 w 603056"/>
                <a:gd name="connsiteY145" fmla="*/ 395492 h 664763"/>
                <a:gd name="connsiteX146" fmla="*/ 129026 w 603056"/>
                <a:gd name="connsiteY146" fmla="*/ 392687 h 664763"/>
                <a:gd name="connsiteX147" fmla="*/ 143051 w 603056"/>
                <a:gd name="connsiteY147" fmla="*/ 378662 h 664763"/>
                <a:gd name="connsiteX148" fmla="*/ 140246 w 603056"/>
                <a:gd name="connsiteY148" fmla="*/ 370248 h 664763"/>
                <a:gd name="connsiteX149" fmla="*/ 131831 w 603056"/>
                <a:gd name="connsiteY149" fmla="*/ 375858 h 664763"/>
                <a:gd name="connsiteX150" fmla="*/ 115002 w 603056"/>
                <a:gd name="connsiteY150" fmla="*/ 367443 h 664763"/>
                <a:gd name="connsiteX151" fmla="*/ 95367 w 603056"/>
                <a:gd name="connsiteY151" fmla="*/ 356223 h 664763"/>
                <a:gd name="connsiteX152" fmla="*/ 89757 w 603056"/>
                <a:gd name="connsiteY152" fmla="*/ 347808 h 664763"/>
                <a:gd name="connsiteX153" fmla="*/ 81343 w 603056"/>
                <a:gd name="connsiteY153" fmla="*/ 342199 h 664763"/>
                <a:gd name="connsiteX154" fmla="*/ 72928 w 603056"/>
                <a:gd name="connsiteY154" fmla="*/ 345004 h 664763"/>
                <a:gd name="connsiteX155" fmla="*/ 67318 w 603056"/>
                <a:gd name="connsiteY155" fmla="*/ 328174 h 664763"/>
                <a:gd name="connsiteX156" fmla="*/ 64513 w 603056"/>
                <a:gd name="connsiteY156" fmla="*/ 319759 h 664763"/>
                <a:gd name="connsiteX157" fmla="*/ 72928 w 603056"/>
                <a:gd name="connsiteY157" fmla="*/ 291710 h 664763"/>
                <a:gd name="connsiteX158" fmla="*/ 81343 w 603056"/>
                <a:gd name="connsiteY158" fmla="*/ 283296 h 664763"/>
                <a:gd name="connsiteX159" fmla="*/ 81343 w 603056"/>
                <a:gd name="connsiteY159" fmla="*/ 241222 h 664763"/>
                <a:gd name="connsiteX160" fmla="*/ 64513 w 603056"/>
                <a:gd name="connsiteY160" fmla="*/ 235612 h 664763"/>
                <a:gd name="connsiteX161" fmla="*/ 56098 w 603056"/>
                <a:gd name="connsiteY161" fmla="*/ 238417 h 664763"/>
                <a:gd name="connsiteX162" fmla="*/ 47684 w 603056"/>
                <a:gd name="connsiteY162" fmla="*/ 244027 h 664763"/>
                <a:gd name="connsiteX163" fmla="*/ 39269 w 603056"/>
                <a:gd name="connsiteY163" fmla="*/ 241222 h 664763"/>
                <a:gd name="connsiteX164" fmla="*/ 56098 w 603056"/>
                <a:gd name="connsiteY164" fmla="*/ 227197 h 664763"/>
                <a:gd name="connsiteX165" fmla="*/ 53294 w 603056"/>
                <a:gd name="connsiteY165" fmla="*/ 210368 h 664763"/>
                <a:gd name="connsiteX166" fmla="*/ 72928 w 603056"/>
                <a:gd name="connsiteY166" fmla="*/ 193539 h 664763"/>
                <a:gd name="connsiteX167" fmla="*/ 81343 w 603056"/>
                <a:gd name="connsiteY167" fmla="*/ 190734 h 664763"/>
                <a:gd name="connsiteX168" fmla="*/ 89757 w 603056"/>
                <a:gd name="connsiteY168" fmla="*/ 196343 h 664763"/>
                <a:gd name="connsiteX169" fmla="*/ 95367 w 603056"/>
                <a:gd name="connsiteY169" fmla="*/ 182319 h 664763"/>
                <a:gd name="connsiteX170" fmla="*/ 86952 w 603056"/>
                <a:gd name="connsiteY170" fmla="*/ 179514 h 664763"/>
                <a:gd name="connsiteX171" fmla="*/ 67318 w 603056"/>
                <a:gd name="connsiteY171" fmla="*/ 176709 h 664763"/>
                <a:gd name="connsiteX172" fmla="*/ 58903 w 603056"/>
                <a:gd name="connsiteY172" fmla="*/ 171099 h 664763"/>
                <a:gd name="connsiteX173" fmla="*/ 42074 w 603056"/>
                <a:gd name="connsiteY173" fmla="*/ 165489 h 664763"/>
                <a:gd name="connsiteX174" fmla="*/ 50489 w 603056"/>
                <a:gd name="connsiteY174" fmla="*/ 162685 h 664763"/>
                <a:gd name="connsiteX175" fmla="*/ 42074 w 603056"/>
                <a:gd name="connsiteY175" fmla="*/ 145855 h 664763"/>
                <a:gd name="connsiteX176" fmla="*/ 47684 w 603056"/>
                <a:gd name="connsiteY176" fmla="*/ 137440 h 664763"/>
                <a:gd name="connsiteX177" fmla="*/ 47684 w 603056"/>
                <a:gd name="connsiteY177" fmla="*/ 131831 h 664763"/>
                <a:gd name="connsiteX178" fmla="*/ 39269 w 603056"/>
                <a:gd name="connsiteY178" fmla="*/ 126221 h 664763"/>
                <a:gd name="connsiteX179" fmla="*/ 33659 w 603056"/>
                <a:gd name="connsiteY179" fmla="*/ 120611 h 664763"/>
                <a:gd name="connsiteX180" fmla="*/ 16830 w 603056"/>
                <a:gd name="connsiteY180" fmla="*/ 117806 h 664763"/>
                <a:gd name="connsiteX181" fmla="*/ 19635 w 603056"/>
                <a:gd name="connsiteY181" fmla="*/ 109391 h 664763"/>
                <a:gd name="connsiteX182" fmla="*/ 30854 w 603056"/>
                <a:gd name="connsiteY182" fmla="*/ 106586 h 664763"/>
                <a:gd name="connsiteX183" fmla="*/ 22440 w 603056"/>
                <a:gd name="connsiteY183" fmla="*/ 95367 h 664763"/>
                <a:gd name="connsiteX184" fmla="*/ 14025 w 603056"/>
                <a:gd name="connsiteY184" fmla="*/ 92562 h 664763"/>
                <a:gd name="connsiteX185" fmla="*/ 19635 w 603056"/>
                <a:gd name="connsiteY185" fmla="*/ 84147 h 664763"/>
                <a:gd name="connsiteX186" fmla="*/ 0 w 603056"/>
                <a:gd name="connsiteY186" fmla="*/ 81342 h 664763"/>
                <a:gd name="connsiteX187" fmla="*/ 2805 w 603056"/>
                <a:gd name="connsiteY187" fmla="*/ 72927 h 664763"/>
                <a:gd name="connsiteX188" fmla="*/ 0 w 603056"/>
                <a:gd name="connsiteY188" fmla="*/ 64513 h 664763"/>
                <a:gd name="connsiteX189" fmla="*/ 14025 w 603056"/>
                <a:gd name="connsiteY189" fmla="*/ 58903 h 664763"/>
                <a:gd name="connsiteX0" fmla="*/ 16143 w 605174"/>
                <a:gd name="connsiteY0" fmla="*/ 58903 h 664763"/>
                <a:gd name="connsiteX1" fmla="*/ 38582 w 605174"/>
                <a:gd name="connsiteY1" fmla="*/ 44878 h 664763"/>
                <a:gd name="connsiteX2" fmla="*/ 52607 w 605174"/>
                <a:gd name="connsiteY2" fmla="*/ 47683 h 664763"/>
                <a:gd name="connsiteX3" fmla="*/ 69436 w 605174"/>
                <a:gd name="connsiteY3" fmla="*/ 44878 h 664763"/>
                <a:gd name="connsiteX4" fmla="*/ 72241 w 605174"/>
                <a:gd name="connsiteY4" fmla="*/ 36464 h 664763"/>
                <a:gd name="connsiteX5" fmla="*/ 89070 w 605174"/>
                <a:gd name="connsiteY5" fmla="*/ 30854 h 664763"/>
                <a:gd name="connsiteX6" fmla="*/ 89070 w 605174"/>
                <a:gd name="connsiteY6" fmla="*/ 14024 h 664763"/>
                <a:gd name="connsiteX7" fmla="*/ 91875 w 605174"/>
                <a:gd name="connsiteY7" fmla="*/ 2805 h 664763"/>
                <a:gd name="connsiteX8" fmla="*/ 125534 w 605174"/>
                <a:gd name="connsiteY8" fmla="*/ 8415 h 664763"/>
                <a:gd name="connsiteX9" fmla="*/ 136754 w 605174"/>
                <a:gd name="connsiteY9" fmla="*/ 11219 h 664763"/>
                <a:gd name="connsiteX10" fmla="*/ 145169 w 605174"/>
                <a:gd name="connsiteY10" fmla="*/ 5610 h 664763"/>
                <a:gd name="connsiteX11" fmla="*/ 161998 w 605174"/>
                <a:gd name="connsiteY11" fmla="*/ 0 h 664763"/>
                <a:gd name="connsiteX12" fmla="*/ 178828 w 605174"/>
                <a:gd name="connsiteY12" fmla="*/ 11219 h 664763"/>
                <a:gd name="connsiteX13" fmla="*/ 184437 w 605174"/>
                <a:gd name="connsiteY13" fmla="*/ 19634 h 664763"/>
                <a:gd name="connsiteX14" fmla="*/ 187242 w 605174"/>
                <a:gd name="connsiteY14" fmla="*/ 28049 h 664763"/>
                <a:gd name="connsiteX15" fmla="*/ 206877 w 605174"/>
                <a:gd name="connsiteY15" fmla="*/ 36464 h 664763"/>
                <a:gd name="connsiteX16" fmla="*/ 215291 w 605174"/>
                <a:gd name="connsiteY16" fmla="*/ 42073 h 664763"/>
                <a:gd name="connsiteX17" fmla="*/ 223706 w 605174"/>
                <a:gd name="connsiteY17" fmla="*/ 33659 h 664763"/>
                <a:gd name="connsiteX18" fmla="*/ 226511 w 605174"/>
                <a:gd name="connsiteY18" fmla="*/ 44878 h 664763"/>
                <a:gd name="connsiteX19" fmla="*/ 234926 w 605174"/>
                <a:gd name="connsiteY19" fmla="*/ 53293 h 664763"/>
                <a:gd name="connsiteX20" fmla="*/ 240535 w 605174"/>
                <a:gd name="connsiteY20" fmla="*/ 61708 h 664763"/>
                <a:gd name="connsiteX21" fmla="*/ 257365 w 605174"/>
                <a:gd name="connsiteY21" fmla="*/ 70123 h 664763"/>
                <a:gd name="connsiteX22" fmla="*/ 260170 w 605174"/>
                <a:gd name="connsiteY22" fmla="*/ 61708 h 664763"/>
                <a:gd name="connsiteX23" fmla="*/ 262975 w 605174"/>
                <a:gd name="connsiteY23" fmla="*/ 70123 h 664763"/>
                <a:gd name="connsiteX24" fmla="*/ 260170 w 605174"/>
                <a:gd name="connsiteY24" fmla="*/ 106586 h 664763"/>
                <a:gd name="connsiteX25" fmla="*/ 268585 w 605174"/>
                <a:gd name="connsiteY25" fmla="*/ 112196 h 664763"/>
                <a:gd name="connsiteX26" fmla="*/ 285414 w 605174"/>
                <a:gd name="connsiteY26" fmla="*/ 129026 h 664763"/>
                <a:gd name="connsiteX27" fmla="*/ 293829 w 605174"/>
                <a:gd name="connsiteY27" fmla="*/ 137440 h 664763"/>
                <a:gd name="connsiteX28" fmla="*/ 302244 w 605174"/>
                <a:gd name="connsiteY28" fmla="*/ 140245 h 664763"/>
                <a:gd name="connsiteX29" fmla="*/ 313463 w 605174"/>
                <a:gd name="connsiteY29" fmla="*/ 151465 h 664763"/>
                <a:gd name="connsiteX30" fmla="*/ 324683 w 605174"/>
                <a:gd name="connsiteY30" fmla="*/ 137440 h 664763"/>
                <a:gd name="connsiteX31" fmla="*/ 327488 w 605174"/>
                <a:gd name="connsiteY31" fmla="*/ 145855 h 664763"/>
                <a:gd name="connsiteX32" fmla="*/ 344317 w 605174"/>
                <a:gd name="connsiteY32" fmla="*/ 148660 h 664763"/>
                <a:gd name="connsiteX33" fmla="*/ 369561 w 605174"/>
                <a:gd name="connsiteY33" fmla="*/ 151465 h 664763"/>
                <a:gd name="connsiteX34" fmla="*/ 372366 w 605174"/>
                <a:gd name="connsiteY34" fmla="*/ 159880 h 664763"/>
                <a:gd name="connsiteX35" fmla="*/ 352732 w 605174"/>
                <a:gd name="connsiteY35" fmla="*/ 171099 h 664763"/>
                <a:gd name="connsiteX36" fmla="*/ 355537 w 605174"/>
                <a:gd name="connsiteY36" fmla="*/ 179514 h 664763"/>
                <a:gd name="connsiteX37" fmla="*/ 363951 w 605174"/>
                <a:gd name="connsiteY37" fmla="*/ 185124 h 664763"/>
                <a:gd name="connsiteX38" fmla="*/ 349927 w 605174"/>
                <a:gd name="connsiteY38" fmla="*/ 201953 h 664763"/>
                <a:gd name="connsiteX39" fmla="*/ 347122 w 605174"/>
                <a:gd name="connsiteY39" fmla="*/ 210368 h 664763"/>
                <a:gd name="connsiteX40" fmla="*/ 375171 w 605174"/>
                <a:gd name="connsiteY40" fmla="*/ 221588 h 664763"/>
                <a:gd name="connsiteX41" fmla="*/ 377976 w 605174"/>
                <a:gd name="connsiteY41" fmla="*/ 230002 h 664763"/>
                <a:gd name="connsiteX42" fmla="*/ 380781 w 605174"/>
                <a:gd name="connsiteY42" fmla="*/ 244027 h 664763"/>
                <a:gd name="connsiteX43" fmla="*/ 397610 w 605174"/>
                <a:gd name="connsiteY43" fmla="*/ 238417 h 664763"/>
                <a:gd name="connsiteX44" fmla="*/ 420050 w 605174"/>
                <a:gd name="connsiteY44" fmla="*/ 235612 h 664763"/>
                <a:gd name="connsiteX45" fmla="*/ 436879 w 605174"/>
                <a:gd name="connsiteY45" fmla="*/ 246832 h 664763"/>
                <a:gd name="connsiteX46" fmla="*/ 453708 w 605174"/>
                <a:gd name="connsiteY46" fmla="*/ 255246 h 664763"/>
                <a:gd name="connsiteX47" fmla="*/ 467733 w 605174"/>
                <a:gd name="connsiteY47" fmla="*/ 232807 h 664763"/>
                <a:gd name="connsiteX48" fmla="*/ 484562 w 605174"/>
                <a:gd name="connsiteY48" fmla="*/ 221588 h 664763"/>
                <a:gd name="connsiteX49" fmla="*/ 487367 w 605174"/>
                <a:gd name="connsiteY49" fmla="*/ 213173 h 664763"/>
                <a:gd name="connsiteX50" fmla="*/ 504197 w 605174"/>
                <a:gd name="connsiteY50" fmla="*/ 221588 h 664763"/>
                <a:gd name="connsiteX51" fmla="*/ 507002 w 605174"/>
                <a:gd name="connsiteY51" fmla="*/ 230002 h 664763"/>
                <a:gd name="connsiteX52" fmla="*/ 523831 w 605174"/>
                <a:gd name="connsiteY52" fmla="*/ 232807 h 664763"/>
                <a:gd name="connsiteX53" fmla="*/ 532246 w 605174"/>
                <a:gd name="connsiteY53" fmla="*/ 238417 h 664763"/>
                <a:gd name="connsiteX54" fmla="*/ 529441 w 605174"/>
                <a:gd name="connsiteY54" fmla="*/ 246832 h 664763"/>
                <a:gd name="connsiteX55" fmla="*/ 521026 w 605174"/>
                <a:gd name="connsiteY55" fmla="*/ 249637 h 664763"/>
                <a:gd name="connsiteX56" fmla="*/ 509807 w 605174"/>
                <a:gd name="connsiteY56" fmla="*/ 255246 h 664763"/>
                <a:gd name="connsiteX57" fmla="*/ 507002 w 605174"/>
                <a:gd name="connsiteY57" fmla="*/ 274881 h 664763"/>
                <a:gd name="connsiteX58" fmla="*/ 523831 w 605174"/>
                <a:gd name="connsiteY58" fmla="*/ 283296 h 664763"/>
                <a:gd name="connsiteX59" fmla="*/ 521026 w 605174"/>
                <a:gd name="connsiteY59" fmla="*/ 291710 h 664763"/>
                <a:gd name="connsiteX60" fmla="*/ 512612 w 605174"/>
                <a:gd name="connsiteY60" fmla="*/ 297320 h 664763"/>
                <a:gd name="connsiteX61" fmla="*/ 521026 w 605174"/>
                <a:gd name="connsiteY61" fmla="*/ 314150 h 664763"/>
                <a:gd name="connsiteX62" fmla="*/ 518221 w 605174"/>
                <a:gd name="connsiteY62" fmla="*/ 322564 h 664763"/>
                <a:gd name="connsiteX63" fmla="*/ 509807 w 605174"/>
                <a:gd name="connsiteY63" fmla="*/ 325369 h 664763"/>
                <a:gd name="connsiteX64" fmla="*/ 507002 w 605174"/>
                <a:gd name="connsiteY64" fmla="*/ 336589 h 664763"/>
                <a:gd name="connsiteX65" fmla="*/ 501392 w 605174"/>
                <a:gd name="connsiteY65" fmla="*/ 347808 h 664763"/>
                <a:gd name="connsiteX66" fmla="*/ 498587 w 605174"/>
                <a:gd name="connsiteY66" fmla="*/ 356223 h 664763"/>
                <a:gd name="connsiteX67" fmla="*/ 498587 w 605174"/>
                <a:gd name="connsiteY67" fmla="*/ 398297 h 664763"/>
                <a:gd name="connsiteX68" fmla="*/ 501392 w 605174"/>
                <a:gd name="connsiteY68" fmla="*/ 415126 h 664763"/>
                <a:gd name="connsiteX69" fmla="*/ 512612 w 605174"/>
                <a:gd name="connsiteY69" fmla="*/ 417931 h 664763"/>
                <a:gd name="connsiteX70" fmla="*/ 529441 w 605174"/>
                <a:gd name="connsiteY70" fmla="*/ 423541 h 664763"/>
                <a:gd name="connsiteX71" fmla="*/ 535051 w 605174"/>
                <a:gd name="connsiteY71" fmla="*/ 431956 h 664763"/>
                <a:gd name="connsiteX72" fmla="*/ 551880 w 605174"/>
                <a:gd name="connsiteY72" fmla="*/ 451590 h 664763"/>
                <a:gd name="connsiteX73" fmla="*/ 568710 w 605174"/>
                <a:gd name="connsiteY73" fmla="*/ 454395 h 664763"/>
                <a:gd name="connsiteX74" fmla="*/ 579929 w 605174"/>
                <a:gd name="connsiteY74" fmla="*/ 457200 h 664763"/>
                <a:gd name="connsiteX75" fmla="*/ 596759 w 605174"/>
                <a:gd name="connsiteY75" fmla="*/ 465615 h 664763"/>
                <a:gd name="connsiteX76" fmla="*/ 605174 w 605174"/>
                <a:gd name="connsiteY76" fmla="*/ 468419 h 664763"/>
                <a:gd name="connsiteX77" fmla="*/ 596759 w 605174"/>
                <a:gd name="connsiteY77" fmla="*/ 485249 h 664763"/>
                <a:gd name="connsiteX78" fmla="*/ 593954 w 605174"/>
                <a:gd name="connsiteY78" fmla="*/ 493664 h 664763"/>
                <a:gd name="connsiteX79" fmla="*/ 591149 w 605174"/>
                <a:gd name="connsiteY79" fmla="*/ 504883 h 664763"/>
                <a:gd name="connsiteX80" fmla="*/ 579929 w 605174"/>
                <a:gd name="connsiteY80" fmla="*/ 521713 h 664763"/>
                <a:gd name="connsiteX81" fmla="*/ 577124 w 605174"/>
                <a:gd name="connsiteY81" fmla="*/ 541347 h 664763"/>
                <a:gd name="connsiteX82" fmla="*/ 557490 w 605174"/>
                <a:gd name="connsiteY82" fmla="*/ 535737 h 664763"/>
                <a:gd name="connsiteX83" fmla="*/ 540661 w 605174"/>
                <a:gd name="connsiteY83" fmla="*/ 530127 h 664763"/>
                <a:gd name="connsiteX84" fmla="*/ 546270 w 605174"/>
                <a:gd name="connsiteY84" fmla="*/ 558177 h 664763"/>
                <a:gd name="connsiteX85" fmla="*/ 551880 w 605174"/>
                <a:gd name="connsiteY85" fmla="*/ 575006 h 664763"/>
                <a:gd name="connsiteX86" fmla="*/ 546270 w 605174"/>
                <a:gd name="connsiteY86" fmla="*/ 583421 h 664763"/>
                <a:gd name="connsiteX87" fmla="*/ 554685 w 605174"/>
                <a:gd name="connsiteY87" fmla="*/ 589031 h 664763"/>
                <a:gd name="connsiteX88" fmla="*/ 571515 w 605174"/>
                <a:gd name="connsiteY88" fmla="*/ 594640 h 664763"/>
                <a:gd name="connsiteX89" fmla="*/ 568710 w 605174"/>
                <a:gd name="connsiteY89" fmla="*/ 605860 h 664763"/>
                <a:gd name="connsiteX90" fmla="*/ 557490 w 605174"/>
                <a:gd name="connsiteY90" fmla="*/ 639519 h 664763"/>
                <a:gd name="connsiteX91" fmla="*/ 549075 w 605174"/>
                <a:gd name="connsiteY91" fmla="*/ 645129 h 664763"/>
                <a:gd name="connsiteX92" fmla="*/ 532246 w 605174"/>
                <a:gd name="connsiteY92" fmla="*/ 642324 h 664763"/>
                <a:gd name="connsiteX93" fmla="*/ 523831 w 605174"/>
                <a:gd name="connsiteY93" fmla="*/ 639519 h 664763"/>
                <a:gd name="connsiteX94" fmla="*/ 515416 w 605174"/>
                <a:gd name="connsiteY94" fmla="*/ 642324 h 664763"/>
                <a:gd name="connsiteX95" fmla="*/ 498587 w 605174"/>
                <a:gd name="connsiteY95" fmla="*/ 650739 h 664763"/>
                <a:gd name="connsiteX96" fmla="*/ 481758 w 605174"/>
                <a:gd name="connsiteY96" fmla="*/ 647934 h 664763"/>
                <a:gd name="connsiteX97" fmla="*/ 478953 w 605174"/>
                <a:gd name="connsiteY97" fmla="*/ 659153 h 664763"/>
                <a:gd name="connsiteX98" fmla="*/ 470538 w 605174"/>
                <a:gd name="connsiteY98" fmla="*/ 656348 h 664763"/>
                <a:gd name="connsiteX99" fmla="*/ 462123 w 605174"/>
                <a:gd name="connsiteY99" fmla="*/ 661958 h 664763"/>
                <a:gd name="connsiteX100" fmla="*/ 450904 w 605174"/>
                <a:gd name="connsiteY100" fmla="*/ 664763 h 664763"/>
                <a:gd name="connsiteX101" fmla="*/ 428464 w 605174"/>
                <a:gd name="connsiteY101" fmla="*/ 661958 h 664763"/>
                <a:gd name="connsiteX102" fmla="*/ 431269 w 605174"/>
                <a:gd name="connsiteY102" fmla="*/ 647934 h 664763"/>
                <a:gd name="connsiteX103" fmla="*/ 436879 w 605174"/>
                <a:gd name="connsiteY103" fmla="*/ 628299 h 664763"/>
                <a:gd name="connsiteX104" fmla="*/ 442489 w 605174"/>
                <a:gd name="connsiteY104" fmla="*/ 619885 h 664763"/>
                <a:gd name="connsiteX105" fmla="*/ 445294 w 605174"/>
                <a:gd name="connsiteY105" fmla="*/ 608665 h 664763"/>
                <a:gd name="connsiteX106" fmla="*/ 428464 w 605174"/>
                <a:gd name="connsiteY106" fmla="*/ 608665 h 664763"/>
                <a:gd name="connsiteX107" fmla="*/ 408830 w 605174"/>
                <a:gd name="connsiteY107" fmla="*/ 603055 h 664763"/>
                <a:gd name="connsiteX108" fmla="*/ 389196 w 605174"/>
                <a:gd name="connsiteY108" fmla="*/ 594640 h 664763"/>
                <a:gd name="connsiteX109" fmla="*/ 386391 w 605174"/>
                <a:gd name="connsiteY109" fmla="*/ 572201 h 664763"/>
                <a:gd name="connsiteX110" fmla="*/ 375171 w 605174"/>
                <a:gd name="connsiteY110" fmla="*/ 566591 h 664763"/>
                <a:gd name="connsiteX111" fmla="*/ 366756 w 605174"/>
                <a:gd name="connsiteY111" fmla="*/ 560981 h 664763"/>
                <a:gd name="connsiteX112" fmla="*/ 355537 w 605174"/>
                <a:gd name="connsiteY112" fmla="*/ 549762 h 664763"/>
                <a:gd name="connsiteX113" fmla="*/ 344317 w 605174"/>
                <a:gd name="connsiteY113" fmla="*/ 546957 h 664763"/>
                <a:gd name="connsiteX114" fmla="*/ 327488 w 605174"/>
                <a:gd name="connsiteY114" fmla="*/ 541347 h 664763"/>
                <a:gd name="connsiteX115" fmla="*/ 330293 w 605174"/>
                <a:gd name="connsiteY115" fmla="*/ 532932 h 664763"/>
                <a:gd name="connsiteX116" fmla="*/ 319073 w 605174"/>
                <a:gd name="connsiteY116" fmla="*/ 535737 h 664763"/>
                <a:gd name="connsiteX117" fmla="*/ 302243 w 605174"/>
                <a:gd name="connsiteY117" fmla="*/ 546957 h 664763"/>
                <a:gd name="connsiteX118" fmla="*/ 310658 w 605174"/>
                <a:gd name="connsiteY118" fmla="*/ 549762 h 664763"/>
                <a:gd name="connsiteX119" fmla="*/ 313463 w 605174"/>
                <a:gd name="connsiteY119" fmla="*/ 558177 h 664763"/>
                <a:gd name="connsiteX120" fmla="*/ 299439 w 605174"/>
                <a:gd name="connsiteY120" fmla="*/ 577811 h 664763"/>
                <a:gd name="connsiteX121" fmla="*/ 279804 w 605174"/>
                <a:gd name="connsiteY121" fmla="*/ 580616 h 664763"/>
                <a:gd name="connsiteX122" fmla="*/ 276999 w 605174"/>
                <a:gd name="connsiteY122" fmla="*/ 600250 h 664763"/>
                <a:gd name="connsiteX123" fmla="*/ 262975 w 605174"/>
                <a:gd name="connsiteY123" fmla="*/ 597445 h 664763"/>
                <a:gd name="connsiteX124" fmla="*/ 257365 w 605174"/>
                <a:gd name="connsiteY124" fmla="*/ 580616 h 664763"/>
                <a:gd name="connsiteX125" fmla="*/ 248950 w 605174"/>
                <a:gd name="connsiteY125" fmla="*/ 577811 h 664763"/>
                <a:gd name="connsiteX126" fmla="*/ 232121 w 605174"/>
                <a:gd name="connsiteY126" fmla="*/ 569396 h 664763"/>
                <a:gd name="connsiteX127" fmla="*/ 226511 w 605174"/>
                <a:gd name="connsiteY127" fmla="*/ 560981 h 664763"/>
                <a:gd name="connsiteX128" fmla="*/ 218096 w 605174"/>
                <a:gd name="connsiteY128" fmla="*/ 558177 h 664763"/>
                <a:gd name="connsiteX129" fmla="*/ 215291 w 605174"/>
                <a:gd name="connsiteY129" fmla="*/ 546957 h 664763"/>
                <a:gd name="connsiteX130" fmla="*/ 220901 w 605174"/>
                <a:gd name="connsiteY130" fmla="*/ 538542 h 664763"/>
                <a:gd name="connsiteX131" fmla="*/ 206877 w 605174"/>
                <a:gd name="connsiteY131" fmla="*/ 541347 h 664763"/>
                <a:gd name="connsiteX132" fmla="*/ 187242 w 605174"/>
                <a:gd name="connsiteY132" fmla="*/ 532932 h 664763"/>
                <a:gd name="connsiteX133" fmla="*/ 170413 w 605174"/>
                <a:gd name="connsiteY133" fmla="*/ 518908 h 664763"/>
                <a:gd name="connsiteX134" fmla="*/ 161998 w 605174"/>
                <a:gd name="connsiteY134" fmla="*/ 516103 h 664763"/>
                <a:gd name="connsiteX135" fmla="*/ 136754 w 605174"/>
                <a:gd name="connsiteY135" fmla="*/ 502078 h 664763"/>
                <a:gd name="connsiteX136" fmla="*/ 131144 w 605174"/>
                <a:gd name="connsiteY136" fmla="*/ 493664 h 664763"/>
                <a:gd name="connsiteX137" fmla="*/ 114315 w 605174"/>
                <a:gd name="connsiteY137" fmla="*/ 482444 h 664763"/>
                <a:gd name="connsiteX138" fmla="*/ 111510 w 605174"/>
                <a:gd name="connsiteY138" fmla="*/ 474029 h 664763"/>
                <a:gd name="connsiteX139" fmla="*/ 131144 w 605174"/>
                <a:gd name="connsiteY139" fmla="*/ 460005 h 664763"/>
                <a:gd name="connsiteX140" fmla="*/ 139559 w 605174"/>
                <a:gd name="connsiteY140" fmla="*/ 454395 h 664763"/>
                <a:gd name="connsiteX141" fmla="*/ 114315 w 605174"/>
                <a:gd name="connsiteY141" fmla="*/ 431956 h 664763"/>
                <a:gd name="connsiteX142" fmla="*/ 108705 w 605174"/>
                <a:gd name="connsiteY142" fmla="*/ 423541 h 664763"/>
                <a:gd name="connsiteX143" fmla="*/ 103095 w 605174"/>
                <a:gd name="connsiteY143" fmla="*/ 403907 h 664763"/>
                <a:gd name="connsiteX144" fmla="*/ 97485 w 605174"/>
                <a:gd name="connsiteY144" fmla="*/ 395492 h 664763"/>
                <a:gd name="connsiteX145" fmla="*/ 114315 w 605174"/>
                <a:gd name="connsiteY145" fmla="*/ 395492 h 664763"/>
                <a:gd name="connsiteX146" fmla="*/ 131144 w 605174"/>
                <a:gd name="connsiteY146" fmla="*/ 392687 h 664763"/>
                <a:gd name="connsiteX147" fmla="*/ 145169 w 605174"/>
                <a:gd name="connsiteY147" fmla="*/ 378662 h 664763"/>
                <a:gd name="connsiteX148" fmla="*/ 142364 w 605174"/>
                <a:gd name="connsiteY148" fmla="*/ 370248 h 664763"/>
                <a:gd name="connsiteX149" fmla="*/ 133949 w 605174"/>
                <a:gd name="connsiteY149" fmla="*/ 375858 h 664763"/>
                <a:gd name="connsiteX150" fmla="*/ 117120 w 605174"/>
                <a:gd name="connsiteY150" fmla="*/ 367443 h 664763"/>
                <a:gd name="connsiteX151" fmla="*/ 97485 w 605174"/>
                <a:gd name="connsiteY151" fmla="*/ 356223 h 664763"/>
                <a:gd name="connsiteX152" fmla="*/ 91875 w 605174"/>
                <a:gd name="connsiteY152" fmla="*/ 347808 h 664763"/>
                <a:gd name="connsiteX153" fmla="*/ 83461 w 605174"/>
                <a:gd name="connsiteY153" fmla="*/ 342199 h 664763"/>
                <a:gd name="connsiteX154" fmla="*/ 75046 w 605174"/>
                <a:gd name="connsiteY154" fmla="*/ 345004 h 664763"/>
                <a:gd name="connsiteX155" fmla="*/ 69436 w 605174"/>
                <a:gd name="connsiteY155" fmla="*/ 328174 h 664763"/>
                <a:gd name="connsiteX156" fmla="*/ 66631 w 605174"/>
                <a:gd name="connsiteY156" fmla="*/ 319759 h 664763"/>
                <a:gd name="connsiteX157" fmla="*/ 75046 w 605174"/>
                <a:gd name="connsiteY157" fmla="*/ 291710 h 664763"/>
                <a:gd name="connsiteX158" fmla="*/ 83461 w 605174"/>
                <a:gd name="connsiteY158" fmla="*/ 283296 h 664763"/>
                <a:gd name="connsiteX159" fmla="*/ 83461 w 605174"/>
                <a:gd name="connsiteY159" fmla="*/ 241222 h 664763"/>
                <a:gd name="connsiteX160" fmla="*/ 66631 w 605174"/>
                <a:gd name="connsiteY160" fmla="*/ 235612 h 664763"/>
                <a:gd name="connsiteX161" fmla="*/ 58216 w 605174"/>
                <a:gd name="connsiteY161" fmla="*/ 238417 h 664763"/>
                <a:gd name="connsiteX162" fmla="*/ 49802 w 605174"/>
                <a:gd name="connsiteY162" fmla="*/ 244027 h 664763"/>
                <a:gd name="connsiteX163" fmla="*/ 41387 w 605174"/>
                <a:gd name="connsiteY163" fmla="*/ 241222 h 664763"/>
                <a:gd name="connsiteX164" fmla="*/ 58216 w 605174"/>
                <a:gd name="connsiteY164" fmla="*/ 227197 h 664763"/>
                <a:gd name="connsiteX165" fmla="*/ 55412 w 605174"/>
                <a:gd name="connsiteY165" fmla="*/ 210368 h 664763"/>
                <a:gd name="connsiteX166" fmla="*/ 75046 w 605174"/>
                <a:gd name="connsiteY166" fmla="*/ 193539 h 664763"/>
                <a:gd name="connsiteX167" fmla="*/ 83461 w 605174"/>
                <a:gd name="connsiteY167" fmla="*/ 190734 h 664763"/>
                <a:gd name="connsiteX168" fmla="*/ 91875 w 605174"/>
                <a:gd name="connsiteY168" fmla="*/ 196343 h 664763"/>
                <a:gd name="connsiteX169" fmla="*/ 97485 w 605174"/>
                <a:gd name="connsiteY169" fmla="*/ 182319 h 664763"/>
                <a:gd name="connsiteX170" fmla="*/ 89070 w 605174"/>
                <a:gd name="connsiteY170" fmla="*/ 179514 h 664763"/>
                <a:gd name="connsiteX171" fmla="*/ 69436 w 605174"/>
                <a:gd name="connsiteY171" fmla="*/ 176709 h 664763"/>
                <a:gd name="connsiteX172" fmla="*/ 61021 w 605174"/>
                <a:gd name="connsiteY172" fmla="*/ 171099 h 664763"/>
                <a:gd name="connsiteX173" fmla="*/ 44192 w 605174"/>
                <a:gd name="connsiteY173" fmla="*/ 165489 h 664763"/>
                <a:gd name="connsiteX174" fmla="*/ 52607 w 605174"/>
                <a:gd name="connsiteY174" fmla="*/ 162685 h 664763"/>
                <a:gd name="connsiteX175" fmla="*/ 44192 w 605174"/>
                <a:gd name="connsiteY175" fmla="*/ 145855 h 664763"/>
                <a:gd name="connsiteX176" fmla="*/ 49802 w 605174"/>
                <a:gd name="connsiteY176" fmla="*/ 137440 h 664763"/>
                <a:gd name="connsiteX177" fmla="*/ 49802 w 605174"/>
                <a:gd name="connsiteY177" fmla="*/ 131831 h 664763"/>
                <a:gd name="connsiteX178" fmla="*/ 41387 w 605174"/>
                <a:gd name="connsiteY178" fmla="*/ 126221 h 664763"/>
                <a:gd name="connsiteX179" fmla="*/ 35777 w 605174"/>
                <a:gd name="connsiteY179" fmla="*/ 120611 h 664763"/>
                <a:gd name="connsiteX180" fmla="*/ 18948 w 605174"/>
                <a:gd name="connsiteY180" fmla="*/ 117806 h 664763"/>
                <a:gd name="connsiteX181" fmla="*/ 21753 w 605174"/>
                <a:gd name="connsiteY181" fmla="*/ 109391 h 664763"/>
                <a:gd name="connsiteX182" fmla="*/ 32972 w 605174"/>
                <a:gd name="connsiteY182" fmla="*/ 106586 h 664763"/>
                <a:gd name="connsiteX183" fmla="*/ 24558 w 605174"/>
                <a:gd name="connsiteY183" fmla="*/ 95367 h 664763"/>
                <a:gd name="connsiteX184" fmla="*/ 16143 w 605174"/>
                <a:gd name="connsiteY184" fmla="*/ 92562 h 664763"/>
                <a:gd name="connsiteX185" fmla="*/ 21753 w 605174"/>
                <a:gd name="connsiteY185" fmla="*/ 84147 h 664763"/>
                <a:gd name="connsiteX186" fmla="*/ 2118 w 605174"/>
                <a:gd name="connsiteY186" fmla="*/ 81342 h 664763"/>
                <a:gd name="connsiteX187" fmla="*/ 2118 w 605174"/>
                <a:gd name="connsiteY187" fmla="*/ 64513 h 664763"/>
                <a:gd name="connsiteX188" fmla="*/ 16143 w 605174"/>
                <a:gd name="connsiteY188" fmla="*/ 58903 h 664763"/>
                <a:gd name="connsiteX0" fmla="*/ 16143 w 605174"/>
                <a:gd name="connsiteY0" fmla="*/ 58903 h 664763"/>
                <a:gd name="connsiteX1" fmla="*/ 38582 w 605174"/>
                <a:gd name="connsiteY1" fmla="*/ 44878 h 664763"/>
                <a:gd name="connsiteX2" fmla="*/ 52607 w 605174"/>
                <a:gd name="connsiteY2" fmla="*/ 47683 h 664763"/>
                <a:gd name="connsiteX3" fmla="*/ 69436 w 605174"/>
                <a:gd name="connsiteY3" fmla="*/ 44878 h 664763"/>
                <a:gd name="connsiteX4" fmla="*/ 72241 w 605174"/>
                <a:gd name="connsiteY4" fmla="*/ 36464 h 664763"/>
                <a:gd name="connsiteX5" fmla="*/ 89070 w 605174"/>
                <a:gd name="connsiteY5" fmla="*/ 30854 h 664763"/>
                <a:gd name="connsiteX6" fmla="*/ 89070 w 605174"/>
                <a:gd name="connsiteY6" fmla="*/ 14024 h 664763"/>
                <a:gd name="connsiteX7" fmla="*/ 91875 w 605174"/>
                <a:gd name="connsiteY7" fmla="*/ 2805 h 664763"/>
                <a:gd name="connsiteX8" fmla="*/ 125534 w 605174"/>
                <a:gd name="connsiteY8" fmla="*/ 8415 h 664763"/>
                <a:gd name="connsiteX9" fmla="*/ 136754 w 605174"/>
                <a:gd name="connsiteY9" fmla="*/ 11219 h 664763"/>
                <a:gd name="connsiteX10" fmla="*/ 145169 w 605174"/>
                <a:gd name="connsiteY10" fmla="*/ 5610 h 664763"/>
                <a:gd name="connsiteX11" fmla="*/ 161998 w 605174"/>
                <a:gd name="connsiteY11" fmla="*/ 0 h 664763"/>
                <a:gd name="connsiteX12" fmla="*/ 178828 w 605174"/>
                <a:gd name="connsiteY12" fmla="*/ 11219 h 664763"/>
                <a:gd name="connsiteX13" fmla="*/ 184437 w 605174"/>
                <a:gd name="connsiteY13" fmla="*/ 19634 h 664763"/>
                <a:gd name="connsiteX14" fmla="*/ 187242 w 605174"/>
                <a:gd name="connsiteY14" fmla="*/ 28049 h 664763"/>
                <a:gd name="connsiteX15" fmla="*/ 206877 w 605174"/>
                <a:gd name="connsiteY15" fmla="*/ 36464 h 664763"/>
                <a:gd name="connsiteX16" fmla="*/ 215291 w 605174"/>
                <a:gd name="connsiteY16" fmla="*/ 42073 h 664763"/>
                <a:gd name="connsiteX17" fmla="*/ 223706 w 605174"/>
                <a:gd name="connsiteY17" fmla="*/ 33659 h 664763"/>
                <a:gd name="connsiteX18" fmla="*/ 226511 w 605174"/>
                <a:gd name="connsiteY18" fmla="*/ 44878 h 664763"/>
                <a:gd name="connsiteX19" fmla="*/ 234926 w 605174"/>
                <a:gd name="connsiteY19" fmla="*/ 53293 h 664763"/>
                <a:gd name="connsiteX20" fmla="*/ 240535 w 605174"/>
                <a:gd name="connsiteY20" fmla="*/ 61708 h 664763"/>
                <a:gd name="connsiteX21" fmla="*/ 257365 w 605174"/>
                <a:gd name="connsiteY21" fmla="*/ 70123 h 664763"/>
                <a:gd name="connsiteX22" fmla="*/ 260170 w 605174"/>
                <a:gd name="connsiteY22" fmla="*/ 61708 h 664763"/>
                <a:gd name="connsiteX23" fmla="*/ 262975 w 605174"/>
                <a:gd name="connsiteY23" fmla="*/ 70123 h 664763"/>
                <a:gd name="connsiteX24" fmla="*/ 260170 w 605174"/>
                <a:gd name="connsiteY24" fmla="*/ 106586 h 664763"/>
                <a:gd name="connsiteX25" fmla="*/ 268585 w 605174"/>
                <a:gd name="connsiteY25" fmla="*/ 112196 h 664763"/>
                <a:gd name="connsiteX26" fmla="*/ 285414 w 605174"/>
                <a:gd name="connsiteY26" fmla="*/ 129026 h 664763"/>
                <a:gd name="connsiteX27" fmla="*/ 293829 w 605174"/>
                <a:gd name="connsiteY27" fmla="*/ 137440 h 664763"/>
                <a:gd name="connsiteX28" fmla="*/ 302244 w 605174"/>
                <a:gd name="connsiteY28" fmla="*/ 140245 h 664763"/>
                <a:gd name="connsiteX29" fmla="*/ 313463 w 605174"/>
                <a:gd name="connsiteY29" fmla="*/ 151465 h 664763"/>
                <a:gd name="connsiteX30" fmla="*/ 324683 w 605174"/>
                <a:gd name="connsiteY30" fmla="*/ 137440 h 664763"/>
                <a:gd name="connsiteX31" fmla="*/ 327488 w 605174"/>
                <a:gd name="connsiteY31" fmla="*/ 145855 h 664763"/>
                <a:gd name="connsiteX32" fmla="*/ 344317 w 605174"/>
                <a:gd name="connsiteY32" fmla="*/ 148660 h 664763"/>
                <a:gd name="connsiteX33" fmla="*/ 369561 w 605174"/>
                <a:gd name="connsiteY33" fmla="*/ 151465 h 664763"/>
                <a:gd name="connsiteX34" fmla="*/ 364746 w 605174"/>
                <a:gd name="connsiteY34" fmla="*/ 164960 h 664763"/>
                <a:gd name="connsiteX35" fmla="*/ 352732 w 605174"/>
                <a:gd name="connsiteY35" fmla="*/ 171099 h 664763"/>
                <a:gd name="connsiteX36" fmla="*/ 355537 w 605174"/>
                <a:gd name="connsiteY36" fmla="*/ 179514 h 664763"/>
                <a:gd name="connsiteX37" fmla="*/ 363951 w 605174"/>
                <a:gd name="connsiteY37" fmla="*/ 185124 h 664763"/>
                <a:gd name="connsiteX38" fmla="*/ 349927 w 605174"/>
                <a:gd name="connsiteY38" fmla="*/ 201953 h 664763"/>
                <a:gd name="connsiteX39" fmla="*/ 347122 w 605174"/>
                <a:gd name="connsiteY39" fmla="*/ 210368 h 664763"/>
                <a:gd name="connsiteX40" fmla="*/ 375171 w 605174"/>
                <a:gd name="connsiteY40" fmla="*/ 221588 h 664763"/>
                <a:gd name="connsiteX41" fmla="*/ 377976 w 605174"/>
                <a:gd name="connsiteY41" fmla="*/ 230002 h 664763"/>
                <a:gd name="connsiteX42" fmla="*/ 380781 w 605174"/>
                <a:gd name="connsiteY42" fmla="*/ 244027 h 664763"/>
                <a:gd name="connsiteX43" fmla="*/ 397610 w 605174"/>
                <a:gd name="connsiteY43" fmla="*/ 238417 h 664763"/>
                <a:gd name="connsiteX44" fmla="*/ 420050 w 605174"/>
                <a:gd name="connsiteY44" fmla="*/ 235612 h 664763"/>
                <a:gd name="connsiteX45" fmla="*/ 436879 w 605174"/>
                <a:gd name="connsiteY45" fmla="*/ 246832 h 664763"/>
                <a:gd name="connsiteX46" fmla="*/ 453708 w 605174"/>
                <a:gd name="connsiteY46" fmla="*/ 255246 h 664763"/>
                <a:gd name="connsiteX47" fmla="*/ 467733 w 605174"/>
                <a:gd name="connsiteY47" fmla="*/ 232807 h 664763"/>
                <a:gd name="connsiteX48" fmla="*/ 484562 w 605174"/>
                <a:gd name="connsiteY48" fmla="*/ 221588 h 664763"/>
                <a:gd name="connsiteX49" fmla="*/ 487367 w 605174"/>
                <a:gd name="connsiteY49" fmla="*/ 213173 h 664763"/>
                <a:gd name="connsiteX50" fmla="*/ 504197 w 605174"/>
                <a:gd name="connsiteY50" fmla="*/ 221588 h 664763"/>
                <a:gd name="connsiteX51" fmla="*/ 507002 w 605174"/>
                <a:gd name="connsiteY51" fmla="*/ 230002 h 664763"/>
                <a:gd name="connsiteX52" fmla="*/ 523831 w 605174"/>
                <a:gd name="connsiteY52" fmla="*/ 232807 h 664763"/>
                <a:gd name="connsiteX53" fmla="*/ 532246 w 605174"/>
                <a:gd name="connsiteY53" fmla="*/ 238417 h 664763"/>
                <a:gd name="connsiteX54" fmla="*/ 529441 w 605174"/>
                <a:gd name="connsiteY54" fmla="*/ 246832 h 664763"/>
                <a:gd name="connsiteX55" fmla="*/ 521026 w 605174"/>
                <a:gd name="connsiteY55" fmla="*/ 249637 h 664763"/>
                <a:gd name="connsiteX56" fmla="*/ 509807 w 605174"/>
                <a:gd name="connsiteY56" fmla="*/ 255246 h 664763"/>
                <a:gd name="connsiteX57" fmla="*/ 507002 w 605174"/>
                <a:gd name="connsiteY57" fmla="*/ 274881 h 664763"/>
                <a:gd name="connsiteX58" fmla="*/ 523831 w 605174"/>
                <a:gd name="connsiteY58" fmla="*/ 283296 h 664763"/>
                <a:gd name="connsiteX59" fmla="*/ 521026 w 605174"/>
                <a:gd name="connsiteY59" fmla="*/ 291710 h 664763"/>
                <a:gd name="connsiteX60" fmla="*/ 512612 w 605174"/>
                <a:gd name="connsiteY60" fmla="*/ 297320 h 664763"/>
                <a:gd name="connsiteX61" fmla="*/ 521026 w 605174"/>
                <a:gd name="connsiteY61" fmla="*/ 314150 h 664763"/>
                <a:gd name="connsiteX62" fmla="*/ 518221 w 605174"/>
                <a:gd name="connsiteY62" fmla="*/ 322564 h 664763"/>
                <a:gd name="connsiteX63" fmla="*/ 509807 w 605174"/>
                <a:gd name="connsiteY63" fmla="*/ 325369 h 664763"/>
                <a:gd name="connsiteX64" fmla="*/ 507002 w 605174"/>
                <a:gd name="connsiteY64" fmla="*/ 336589 h 664763"/>
                <a:gd name="connsiteX65" fmla="*/ 501392 w 605174"/>
                <a:gd name="connsiteY65" fmla="*/ 347808 h 664763"/>
                <a:gd name="connsiteX66" fmla="*/ 498587 w 605174"/>
                <a:gd name="connsiteY66" fmla="*/ 356223 h 664763"/>
                <a:gd name="connsiteX67" fmla="*/ 498587 w 605174"/>
                <a:gd name="connsiteY67" fmla="*/ 398297 h 664763"/>
                <a:gd name="connsiteX68" fmla="*/ 501392 w 605174"/>
                <a:gd name="connsiteY68" fmla="*/ 415126 h 664763"/>
                <a:gd name="connsiteX69" fmla="*/ 512612 w 605174"/>
                <a:gd name="connsiteY69" fmla="*/ 417931 h 664763"/>
                <a:gd name="connsiteX70" fmla="*/ 529441 w 605174"/>
                <a:gd name="connsiteY70" fmla="*/ 423541 h 664763"/>
                <a:gd name="connsiteX71" fmla="*/ 535051 w 605174"/>
                <a:gd name="connsiteY71" fmla="*/ 431956 h 664763"/>
                <a:gd name="connsiteX72" fmla="*/ 551880 w 605174"/>
                <a:gd name="connsiteY72" fmla="*/ 451590 h 664763"/>
                <a:gd name="connsiteX73" fmla="*/ 568710 w 605174"/>
                <a:gd name="connsiteY73" fmla="*/ 454395 h 664763"/>
                <a:gd name="connsiteX74" fmla="*/ 579929 w 605174"/>
                <a:gd name="connsiteY74" fmla="*/ 457200 h 664763"/>
                <a:gd name="connsiteX75" fmla="*/ 596759 w 605174"/>
                <a:gd name="connsiteY75" fmla="*/ 465615 h 664763"/>
                <a:gd name="connsiteX76" fmla="*/ 605174 w 605174"/>
                <a:gd name="connsiteY76" fmla="*/ 468419 h 664763"/>
                <a:gd name="connsiteX77" fmla="*/ 596759 w 605174"/>
                <a:gd name="connsiteY77" fmla="*/ 485249 h 664763"/>
                <a:gd name="connsiteX78" fmla="*/ 593954 w 605174"/>
                <a:gd name="connsiteY78" fmla="*/ 493664 h 664763"/>
                <a:gd name="connsiteX79" fmla="*/ 591149 w 605174"/>
                <a:gd name="connsiteY79" fmla="*/ 504883 h 664763"/>
                <a:gd name="connsiteX80" fmla="*/ 579929 w 605174"/>
                <a:gd name="connsiteY80" fmla="*/ 521713 h 664763"/>
                <a:gd name="connsiteX81" fmla="*/ 577124 w 605174"/>
                <a:gd name="connsiteY81" fmla="*/ 541347 h 664763"/>
                <a:gd name="connsiteX82" fmla="*/ 557490 w 605174"/>
                <a:gd name="connsiteY82" fmla="*/ 535737 h 664763"/>
                <a:gd name="connsiteX83" fmla="*/ 540661 w 605174"/>
                <a:gd name="connsiteY83" fmla="*/ 530127 h 664763"/>
                <a:gd name="connsiteX84" fmla="*/ 546270 w 605174"/>
                <a:gd name="connsiteY84" fmla="*/ 558177 h 664763"/>
                <a:gd name="connsiteX85" fmla="*/ 551880 w 605174"/>
                <a:gd name="connsiteY85" fmla="*/ 575006 h 664763"/>
                <a:gd name="connsiteX86" fmla="*/ 546270 w 605174"/>
                <a:gd name="connsiteY86" fmla="*/ 583421 h 664763"/>
                <a:gd name="connsiteX87" fmla="*/ 554685 w 605174"/>
                <a:gd name="connsiteY87" fmla="*/ 589031 h 664763"/>
                <a:gd name="connsiteX88" fmla="*/ 571515 w 605174"/>
                <a:gd name="connsiteY88" fmla="*/ 594640 h 664763"/>
                <a:gd name="connsiteX89" fmla="*/ 568710 w 605174"/>
                <a:gd name="connsiteY89" fmla="*/ 605860 h 664763"/>
                <a:gd name="connsiteX90" fmla="*/ 557490 w 605174"/>
                <a:gd name="connsiteY90" fmla="*/ 639519 h 664763"/>
                <a:gd name="connsiteX91" fmla="*/ 549075 w 605174"/>
                <a:gd name="connsiteY91" fmla="*/ 645129 h 664763"/>
                <a:gd name="connsiteX92" fmla="*/ 532246 w 605174"/>
                <a:gd name="connsiteY92" fmla="*/ 642324 h 664763"/>
                <a:gd name="connsiteX93" fmla="*/ 523831 w 605174"/>
                <a:gd name="connsiteY93" fmla="*/ 639519 h 664763"/>
                <a:gd name="connsiteX94" fmla="*/ 515416 w 605174"/>
                <a:gd name="connsiteY94" fmla="*/ 642324 h 664763"/>
                <a:gd name="connsiteX95" fmla="*/ 498587 w 605174"/>
                <a:gd name="connsiteY95" fmla="*/ 650739 h 664763"/>
                <a:gd name="connsiteX96" fmla="*/ 481758 w 605174"/>
                <a:gd name="connsiteY96" fmla="*/ 647934 h 664763"/>
                <a:gd name="connsiteX97" fmla="*/ 478953 w 605174"/>
                <a:gd name="connsiteY97" fmla="*/ 659153 h 664763"/>
                <a:gd name="connsiteX98" fmla="*/ 470538 w 605174"/>
                <a:gd name="connsiteY98" fmla="*/ 656348 h 664763"/>
                <a:gd name="connsiteX99" fmla="*/ 462123 w 605174"/>
                <a:gd name="connsiteY99" fmla="*/ 661958 h 664763"/>
                <a:gd name="connsiteX100" fmla="*/ 450904 w 605174"/>
                <a:gd name="connsiteY100" fmla="*/ 664763 h 664763"/>
                <a:gd name="connsiteX101" fmla="*/ 428464 w 605174"/>
                <a:gd name="connsiteY101" fmla="*/ 661958 h 664763"/>
                <a:gd name="connsiteX102" fmla="*/ 431269 w 605174"/>
                <a:gd name="connsiteY102" fmla="*/ 647934 h 664763"/>
                <a:gd name="connsiteX103" fmla="*/ 436879 w 605174"/>
                <a:gd name="connsiteY103" fmla="*/ 628299 h 664763"/>
                <a:gd name="connsiteX104" fmla="*/ 442489 w 605174"/>
                <a:gd name="connsiteY104" fmla="*/ 619885 h 664763"/>
                <a:gd name="connsiteX105" fmla="*/ 445294 w 605174"/>
                <a:gd name="connsiteY105" fmla="*/ 608665 h 664763"/>
                <a:gd name="connsiteX106" fmla="*/ 428464 w 605174"/>
                <a:gd name="connsiteY106" fmla="*/ 608665 h 664763"/>
                <a:gd name="connsiteX107" fmla="*/ 408830 w 605174"/>
                <a:gd name="connsiteY107" fmla="*/ 603055 h 664763"/>
                <a:gd name="connsiteX108" fmla="*/ 389196 w 605174"/>
                <a:gd name="connsiteY108" fmla="*/ 594640 h 664763"/>
                <a:gd name="connsiteX109" fmla="*/ 386391 w 605174"/>
                <a:gd name="connsiteY109" fmla="*/ 572201 h 664763"/>
                <a:gd name="connsiteX110" fmla="*/ 375171 w 605174"/>
                <a:gd name="connsiteY110" fmla="*/ 566591 h 664763"/>
                <a:gd name="connsiteX111" fmla="*/ 366756 w 605174"/>
                <a:gd name="connsiteY111" fmla="*/ 560981 h 664763"/>
                <a:gd name="connsiteX112" fmla="*/ 355537 w 605174"/>
                <a:gd name="connsiteY112" fmla="*/ 549762 h 664763"/>
                <a:gd name="connsiteX113" fmla="*/ 344317 w 605174"/>
                <a:gd name="connsiteY113" fmla="*/ 546957 h 664763"/>
                <a:gd name="connsiteX114" fmla="*/ 327488 w 605174"/>
                <a:gd name="connsiteY114" fmla="*/ 541347 h 664763"/>
                <a:gd name="connsiteX115" fmla="*/ 330293 w 605174"/>
                <a:gd name="connsiteY115" fmla="*/ 532932 h 664763"/>
                <a:gd name="connsiteX116" fmla="*/ 319073 w 605174"/>
                <a:gd name="connsiteY116" fmla="*/ 535737 h 664763"/>
                <a:gd name="connsiteX117" fmla="*/ 302243 w 605174"/>
                <a:gd name="connsiteY117" fmla="*/ 546957 h 664763"/>
                <a:gd name="connsiteX118" fmla="*/ 310658 w 605174"/>
                <a:gd name="connsiteY118" fmla="*/ 549762 h 664763"/>
                <a:gd name="connsiteX119" fmla="*/ 313463 w 605174"/>
                <a:gd name="connsiteY119" fmla="*/ 558177 h 664763"/>
                <a:gd name="connsiteX120" fmla="*/ 299439 w 605174"/>
                <a:gd name="connsiteY120" fmla="*/ 577811 h 664763"/>
                <a:gd name="connsiteX121" fmla="*/ 279804 w 605174"/>
                <a:gd name="connsiteY121" fmla="*/ 580616 h 664763"/>
                <a:gd name="connsiteX122" fmla="*/ 276999 w 605174"/>
                <a:gd name="connsiteY122" fmla="*/ 600250 h 664763"/>
                <a:gd name="connsiteX123" fmla="*/ 262975 w 605174"/>
                <a:gd name="connsiteY123" fmla="*/ 597445 h 664763"/>
                <a:gd name="connsiteX124" fmla="*/ 257365 w 605174"/>
                <a:gd name="connsiteY124" fmla="*/ 580616 h 664763"/>
                <a:gd name="connsiteX125" fmla="*/ 248950 w 605174"/>
                <a:gd name="connsiteY125" fmla="*/ 577811 h 664763"/>
                <a:gd name="connsiteX126" fmla="*/ 232121 w 605174"/>
                <a:gd name="connsiteY126" fmla="*/ 569396 h 664763"/>
                <a:gd name="connsiteX127" fmla="*/ 226511 w 605174"/>
                <a:gd name="connsiteY127" fmla="*/ 560981 h 664763"/>
                <a:gd name="connsiteX128" fmla="*/ 218096 w 605174"/>
                <a:gd name="connsiteY128" fmla="*/ 558177 h 664763"/>
                <a:gd name="connsiteX129" fmla="*/ 215291 w 605174"/>
                <a:gd name="connsiteY129" fmla="*/ 546957 h 664763"/>
                <a:gd name="connsiteX130" fmla="*/ 220901 w 605174"/>
                <a:gd name="connsiteY130" fmla="*/ 538542 h 664763"/>
                <a:gd name="connsiteX131" fmla="*/ 206877 w 605174"/>
                <a:gd name="connsiteY131" fmla="*/ 541347 h 664763"/>
                <a:gd name="connsiteX132" fmla="*/ 187242 w 605174"/>
                <a:gd name="connsiteY132" fmla="*/ 532932 h 664763"/>
                <a:gd name="connsiteX133" fmla="*/ 170413 w 605174"/>
                <a:gd name="connsiteY133" fmla="*/ 518908 h 664763"/>
                <a:gd name="connsiteX134" fmla="*/ 161998 w 605174"/>
                <a:gd name="connsiteY134" fmla="*/ 516103 h 664763"/>
                <a:gd name="connsiteX135" fmla="*/ 136754 w 605174"/>
                <a:gd name="connsiteY135" fmla="*/ 502078 h 664763"/>
                <a:gd name="connsiteX136" fmla="*/ 131144 w 605174"/>
                <a:gd name="connsiteY136" fmla="*/ 493664 h 664763"/>
                <a:gd name="connsiteX137" fmla="*/ 114315 w 605174"/>
                <a:gd name="connsiteY137" fmla="*/ 482444 h 664763"/>
                <a:gd name="connsiteX138" fmla="*/ 111510 w 605174"/>
                <a:gd name="connsiteY138" fmla="*/ 474029 h 664763"/>
                <a:gd name="connsiteX139" fmla="*/ 131144 w 605174"/>
                <a:gd name="connsiteY139" fmla="*/ 460005 h 664763"/>
                <a:gd name="connsiteX140" fmla="*/ 139559 w 605174"/>
                <a:gd name="connsiteY140" fmla="*/ 454395 h 664763"/>
                <a:gd name="connsiteX141" fmla="*/ 114315 w 605174"/>
                <a:gd name="connsiteY141" fmla="*/ 431956 h 664763"/>
                <a:gd name="connsiteX142" fmla="*/ 108705 w 605174"/>
                <a:gd name="connsiteY142" fmla="*/ 423541 h 664763"/>
                <a:gd name="connsiteX143" fmla="*/ 103095 w 605174"/>
                <a:gd name="connsiteY143" fmla="*/ 403907 h 664763"/>
                <a:gd name="connsiteX144" fmla="*/ 97485 w 605174"/>
                <a:gd name="connsiteY144" fmla="*/ 395492 h 664763"/>
                <a:gd name="connsiteX145" fmla="*/ 114315 w 605174"/>
                <a:gd name="connsiteY145" fmla="*/ 395492 h 664763"/>
                <a:gd name="connsiteX146" fmla="*/ 131144 w 605174"/>
                <a:gd name="connsiteY146" fmla="*/ 392687 h 664763"/>
                <a:gd name="connsiteX147" fmla="*/ 145169 w 605174"/>
                <a:gd name="connsiteY147" fmla="*/ 378662 h 664763"/>
                <a:gd name="connsiteX148" fmla="*/ 142364 w 605174"/>
                <a:gd name="connsiteY148" fmla="*/ 370248 h 664763"/>
                <a:gd name="connsiteX149" fmla="*/ 133949 w 605174"/>
                <a:gd name="connsiteY149" fmla="*/ 375858 h 664763"/>
                <a:gd name="connsiteX150" fmla="*/ 117120 w 605174"/>
                <a:gd name="connsiteY150" fmla="*/ 367443 h 664763"/>
                <a:gd name="connsiteX151" fmla="*/ 97485 w 605174"/>
                <a:gd name="connsiteY151" fmla="*/ 356223 h 664763"/>
                <a:gd name="connsiteX152" fmla="*/ 91875 w 605174"/>
                <a:gd name="connsiteY152" fmla="*/ 347808 h 664763"/>
                <a:gd name="connsiteX153" fmla="*/ 83461 w 605174"/>
                <a:gd name="connsiteY153" fmla="*/ 342199 h 664763"/>
                <a:gd name="connsiteX154" fmla="*/ 75046 w 605174"/>
                <a:gd name="connsiteY154" fmla="*/ 345004 h 664763"/>
                <a:gd name="connsiteX155" fmla="*/ 69436 w 605174"/>
                <a:gd name="connsiteY155" fmla="*/ 328174 h 664763"/>
                <a:gd name="connsiteX156" fmla="*/ 66631 w 605174"/>
                <a:gd name="connsiteY156" fmla="*/ 319759 h 664763"/>
                <a:gd name="connsiteX157" fmla="*/ 75046 w 605174"/>
                <a:gd name="connsiteY157" fmla="*/ 291710 h 664763"/>
                <a:gd name="connsiteX158" fmla="*/ 83461 w 605174"/>
                <a:gd name="connsiteY158" fmla="*/ 283296 h 664763"/>
                <a:gd name="connsiteX159" fmla="*/ 83461 w 605174"/>
                <a:gd name="connsiteY159" fmla="*/ 241222 h 664763"/>
                <a:gd name="connsiteX160" fmla="*/ 66631 w 605174"/>
                <a:gd name="connsiteY160" fmla="*/ 235612 h 664763"/>
                <a:gd name="connsiteX161" fmla="*/ 58216 w 605174"/>
                <a:gd name="connsiteY161" fmla="*/ 238417 h 664763"/>
                <a:gd name="connsiteX162" fmla="*/ 49802 w 605174"/>
                <a:gd name="connsiteY162" fmla="*/ 244027 h 664763"/>
                <a:gd name="connsiteX163" fmla="*/ 41387 w 605174"/>
                <a:gd name="connsiteY163" fmla="*/ 241222 h 664763"/>
                <a:gd name="connsiteX164" fmla="*/ 58216 w 605174"/>
                <a:gd name="connsiteY164" fmla="*/ 227197 h 664763"/>
                <a:gd name="connsiteX165" fmla="*/ 55412 w 605174"/>
                <a:gd name="connsiteY165" fmla="*/ 210368 h 664763"/>
                <a:gd name="connsiteX166" fmla="*/ 75046 w 605174"/>
                <a:gd name="connsiteY166" fmla="*/ 193539 h 664763"/>
                <a:gd name="connsiteX167" fmla="*/ 83461 w 605174"/>
                <a:gd name="connsiteY167" fmla="*/ 190734 h 664763"/>
                <a:gd name="connsiteX168" fmla="*/ 91875 w 605174"/>
                <a:gd name="connsiteY168" fmla="*/ 196343 h 664763"/>
                <a:gd name="connsiteX169" fmla="*/ 97485 w 605174"/>
                <a:gd name="connsiteY169" fmla="*/ 182319 h 664763"/>
                <a:gd name="connsiteX170" fmla="*/ 89070 w 605174"/>
                <a:gd name="connsiteY170" fmla="*/ 179514 h 664763"/>
                <a:gd name="connsiteX171" fmla="*/ 69436 w 605174"/>
                <a:gd name="connsiteY171" fmla="*/ 176709 h 664763"/>
                <a:gd name="connsiteX172" fmla="*/ 61021 w 605174"/>
                <a:gd name="connsiteY172" fmla="*/ 171099 h 664763"/>
                <a:gd name="connsiteX173" fmla="*/ 44192 w 605174"/>
                <a:gd name="connsiteY173" fmla="*/ 165489 h 664763"/>
                <a:gd name="connsiteX174" fmla="*/ 52607 w 605174"/>
                <a:gd name="connsiteY174" fmla="*/ 162685 h 664763"/>
                <a:gd name="connsiteX175" fmla="*/ 44192 w 605174"/>
                <a:gd name="connsiteY175" fmla="*/ 145855 h 664763"/>
                <a:gd name="connsiteX176" fmla="*/ 49802 w 605174"/>
                <a:gd name="connsiteY176" fmla="*/ 137440 h 664763"/>
                <a:gd name="connsiteX177" fmla="*/ 49802 w 605174"/>
                <a:gd name="connsiteY177" fmla="*/ 131831 h 664763"/>
                <a:gd name="connsiteX178" fmla="*/ 41387 w 605174"/>
                <a:gd name="connsiteY178" fmla="*/ 126221 h 664763"/>
                <a:gd name="connsiteX179" fmla="*/ 35777 w 605174"/>
                <a:gd name="connsiteY179" fmla="*/ 120611 h 664763"/>
                <a:gd name="connsiteX180" fmla="*/ 18948 w 605174"/>
                <a:gd name="connsiteY180" fmla="*/ 117806 h 664763"/>
                <a:gd name="connsiteX181" fmla="*/ 21753 w 605174"/>
                <a:gd name="connsiteY181" fmla="*/ 109391 h 664763"/>
                <a:gd name="connsiteX182" fmla="*/ 32972 w 605174"/>
                <a:gd name="connsiteY182" fmla="*/ 106586 h 664763"/>
                <a:gd name="connsiteX183" fmla="*/ 24558 w 605174"/>
                <a:gd name="connsiteY183" fmla="*/ 95367 h 664763"/>
                <a:gd name="connsiteX184" fmla="*/ 16143 w 605174"/>
                <a:gd name="connsiteY184" fmla="*/ 92562 h 664763"/>
                <a:gd name="connsiteX185" fmla="*/ 21753 w 605174"/>
                <a:gd name="connsiteY185" fmla="*/ 84147 h 664763"/>
                <a:gd name="connsiteX186" fmla="*/ 2118 w 605174"/>
                <a:gd name="connsiteY186" fmla="*/ 81342 h 664763"/>
                <a:gd name="connsiteX187" fmla="*/ 2118 w 605174"/>
                <a:gd name="connsiteY187" fmla="*/ 64513 h 664763"/>
                <a:gd name="connsiteX188" fmla="*/ 16143 w 605174"/>
                <a:gd name="connsiteY188" fmla="*/ 58903 h 664763"/>
                <a:gd name="connsiteX0" fmla="*/ 16143 w 605174"/>
                <a:gd name="connsiteY0" fmla="*/ 58903 h 664763"/>
                <a:gd name="connsiteX1" fmla="*/ 38582 w 605174"/>
                <a:gd name="connsiteY1" fmla="*/ 44878 h 664763"/>
                <a:gd name="connsiteX2" fmla="*/ 52607 w 605174"/>
                <a:gd name="connsiteY2" fmla="*/ 47683 h 664763"/>
                <a:gd name="connsiteX3" fmla="*/ 69436 w 605174"/>
                <a:gd name="connsiteY3" fmla="*/ 44878 h 664763"/>
                <a:gd name="connsiteX4" fmla="*/ 72241 w 605174"/>
                <a:gd name="connsiteY4" fmla="*/ 36464 h 664763"/>
                <a:gd name="connsiteX5" fmla="*/ 89070 w 605174"/>
                <a:gd name="connsiteY5" fmla="*/ 30854 h 664763"/>
                <a:gd name="connsiteX6" fmla="*/ 89070 w 605174"/>
                <a:gd name="connsiteY6" fmla="*/ 14024 h 664763"/>
                <a:gd name="connsiteX7" fmla="*/ 91875 w 605174"/>
                <a:gd name="connsiteY7" fmla="*/ 2805 h 664763"/>
                <a:gd name="connsiteX8" fmla="*/ 125534 w 605174"/>
                <a:gd name="connsiteY8" fmla="*/ 8415 h 664763"/>
                <a:gd name="connsiteX9" fmla="*/ 136754 w 605174"/>
                <a:gd name="connsiteY9" fmla="*/ 11219 h 664763"/>
                <a:gd name="connsiteX10" fmla="*/ 145169 w 605174"/>
                <a:gd name="connsiteY10" fmla="*/ 5610 h 664763"/>
                <a:gd name="connsiteX11" fmla="*/ 161998 w 605174"/>
                <a:gd name="connsiteY11" fmla="*/ 0 h 664763"/>
                <a:gd name="connsiteX12" fmla="*/ 178828 w 605174"/>
                <a:gd name="connsiteY12" fmla="*/ 11219 h 664763"/>
                <a:gd name="connsiteX13" fmla="*/ 184437 w 605174"/>
                <a:gd name="connsiteY13" fmla="*/ 19634 h 664763"/>
                <a:gd name="connsiteX14" fmla="*/ 187242 w 605174"/>
                <a:gd name="connsiteY14" fmla="*/ 28049 h 664763"/>
                <a:gd name="connsiteX15" fmla="*/ 206877 w 605174"/>
                <a:gd name="connsiteY15" fmla="*/ 36464 h 664763"/>
                <a:gd name="connsiteX16" fmla="*/ 215291 w 605174"/>
                <a:gd name="connsiteY16" fmla="*/ 42073 h 664763"/>
                <a:gd name="connsiteX17" fmla="*/ 223706 w 605174"/>
                <a:gd name="connsiteY17" fmla="*/ 33659 h 664763"/>
                <a:gd name="connsiteX18" fmla="*/ 226511 w 605174"/>
                <a:gd name="connsiteY18" fmla="*/ 44878 h 664763"/>
                <a:gd name="connsiteX19" fmla="*/ 234926 w 605174"/>
                <a:gd name="connsiteY19" fmla="*/ 53293 h 664763"/>
                <a:gd name="connsiteX20" fmla="*/ 240535 w 605174"/>
                <a:gd name="connsiteY20" fmla="*/ 61708 h 664763"/>
                <a:gd name="connsiteX21" fmla="*/ 257365 w 605174"/>
                <a:gd name="connsiteY21" fmla="*/ 70123 h 664763"/>
                <a:gd name="connsiteX22" fmla="*/ 260170 w 605174"/>
                <a:gd name="connsiteY22" fmla="*/ 61708 h 664763"/>
                <a:gd name="connsiteX23" fmla="*/ 262975 w 605174"/>
                <a:gd name="connsiteY23" fmla="*/ 70123 h 664763"/>
                <a:gd name="connsiteX24" fmla="*/ 260170 w 605174"/>
                <a:gd name="connsiteY24" fmla="*/ 106586 h 664763"/>
                <a:gd name="connsiteX25" fmla="*/ 268585 w 605174"/>
                <a:gd name="connsiteY25" fmla="*/ 112196 h 664763"/>
                <a:gd name="connsiteX26" fmla="*/ 285414 w 605174"/>
                <a:gd name="connsiteY26" fmla="*/ 129026 h 664763"/>
                <a:gd name="connsiteX27" fmla="*/ 293829 w 605174"/>
                <a:gd name="connsiteY27" fmla="*/ 137440 h 664763"/>
                <a:gd name="connsiteX28" fmla="*/ 302244 w 605174"/>
                <a:gd name="connsiteY28" fmla="*/ 140245 h 664763"/>
                <a:gd name="connsiteX29" fmla="*/ 313463 w 605174"/>
                <a:gd name="connsiteY29" fmla="*/ 151465 h 664763"/>
                <a:gd name="connsiteX30" fmla="*/ 324683 w 605174"/>
                <a:gd name="connsiteY30" fmla="*/ 137440 h 664763"/>
                <a:gd name="connsiteX31" fmla="*/ 327488 w 605174"/>
                <a:gd name="connsiteY31" fmla="*/ 145855 h 664763"/>
                <a:gd name="connsiteX32" fmla="*/ 344317 w 605174"/>
                <a:gd name="connsiteY32" fmla="*/ 148660 h 664763"/>
                <a:gd name="connsiteX33" fmla="*/ 364746 w 605174"/>
                <a:gd name="connsiteY33" fmla="*/ 164960 h 664763"/>
                <a:gd name="connsiteX34" fmla="*/ 352732 w 605174"/>
                <a:gd name="connsiteY34" fmla="*/ 171099 h 664763"/>
                <a:gd name="connsiteX35" fmla="*/ 355537 w 605174"/>
                <a:gd name="connsiteY35" fmla="*/ 179514 h 664763"/>
                <a:gd name="connsiteX36" fmla="*/ 363951 w 605174"/>
                <a:gd name="connsiteY36" fmla="*/ 185124 h 664763"/>
                <a:gd name="connsiteX37" fmla="*/ 349927 w 605174"/>
                <a:gd name="connsiteY37" fmla="*/ 201953 h 664763"/>
                <a:gd name="connsiteX38" fmla="*/ 347122 w 605174"/>
                <a:gd name="connsiteY38" fmla="*/ 210368 h 664763"/>
                <a:gd name="connsiteX39" fmla="*/ 375171 w 605174"/>
                <a:gd name="connsiteY39" fmla="*/ 221588 h 664763"/>
                <a:gd name="connsiteX40" fmla="*/ 377976 w 605174"/>
                <a:gd name="connsiteY40" fmla="*/ 230002 h 664763"/>
                <a:gd name="connsiteX41" fmla="*/ 380781 w 605174"/>
                <a:gd name="connsiteY41" fmla="*/ 244027 h 664763"/>
                <a:gd name="connsiteX42" fmla="*/ 397610 w 605174"/>
                <a:gd name="connsiteY42" fmla="*/ 238417 h 664763"/>
                <a:gd name="connsiteX43" fmla="*/ 420050 w 605174"/>
                <a:gd name="connsiteY43" fmla="*/ 235612 h 664763"/>
                <a:gd name="connsiteX44" fmla="*/ 436879 w 605174"/>
                <a:gd name="connsiteY44" fmla="*/ 246832 h 664763"/>
                <a:gd name="connsiteX45" fmla="*/ 453708 w 605174"/>
                <a:gd name="connsiteY45" fmla="*/ 255246 h 664763"/>
                <a:gd name="connsiteX46" fmla="*/ 467733 w 605174"/>
                <a:gd name="connsiteY46" fmla="*/ 232807 h 664763"/>
                <a:gd name="connsiteX47" fmla="*/ 484562 w 605174"/>
                <a:gd name="connsiteY47" fmla="*/ 221588 h 664763"/>
                <a:gd name="connsiteX48" fmla="*/ 487367 w 605174"/>
                <a:gd name="connsiteY48" fmla="*/ 213173 h 664763"/>
                <a:gd name="connsiteX49" fmla="*/ 504197 w 605174"/>
                <a:gd name="connsiteY49" fmla="*/ 221588 h 664763"/>
                <a:gd name="connsiteX50" fmla="*/ 507002 w 605174"/>
                <a:gd name="connsiteY50" fmla="*/ 230002 h 664763"/>
                <a:gd name="connsiteX51" fmla="*/ 523831 w 605174"/>
                <a:gd name="connsiteY51" fmla="*/ 232807 h 664763"/>
                <a:gd name="connsiteX52" fmla="*/ 532246 w 605174"/>
                <a:gd name="connsiteY52" fmla="*/ 238417 h 664763"/>
                <a:gd name="connsiteX53" fmla="*/ 529441 w 605174"/>
                <a:gd name="connsiteY53" fmla="*/ 246832 h 664763"/>
                <a:gd name="connsiteX54" fmla="*/ 521026 w 605174"/>
                <a:gd name="connsiteY54" fmla="*/ 249637 h 664763"/>
                <a:gd name="connsiteX55" fmla="*/ 509807 w 605174"/>
                <a:gd name="connsiteY55" fmla="*/ 255246 h 664763"/>
                <a:gd name="connsiteX56" fmla="*/ 507002 w 605174"/>
                <a:gd name="connsiteY56" fmla="*/ 274881 h 664763"/>
                <a:gd name="connsiteX57" fmla="*/ 523831 w 605174"/>
                <a:gd name="connsiteY57" fmla="*/ 283296 h 664763"/>
                <a:gd name="connsiteX58" fmla="*/ 521026 w 605174"/>
                <a:gd name="connsiteY58" fmla="*/ 291710 h 664763"/>
                <a:gd name="connsiteX59" fmla="*/ 512612 w 605174"/>
                <a:gd name="connsiteY59" fmla="*/ 297320 h 664763"/>
                <a:gd name="connsiteX60" fmla="*/ 521026 w 605174"/>
                <a:gd name="connsiteY60" fmla="*/ 314150 h 664763"/>
                <a:gd name="connsiteX61" fmla="*/ 518221 w 605174"/>
                <a:gd name="connsiteY61" fmla="*/ 322564 h 664763"/>
                <a:gd name="connsiteX62" fmla="*/ 509807 w 605174"/>
                <a:gd name="connsiteY62" fmla="*/ 325369 h 664763"/>
                <a:gd name="connsiteX63" fmla="*/ 507002 w 605174"/>
                <a:gd name="connsiteY63" fmla="*/ 336589 h 664763"/>
                <a:gd name="connsiteX64" fmla="*/ 501392 w 605174"/>
                <a:gd name="connsiteY64" fmla="*/ 347808 h 664763"/>
                <a:gd name="connsiteX65" fmla="*/ 498587 w 605174"/>
                <a:gd name="connsiteY65" fmla="*/ 356223 h 664763"/>
                <a:gd name="connsiteX66" fmla="*/ 498587 w 605174"/>
                <a:gd name="connsiteY66" fmla="*/ 398297 h 664763"/>
                <a:gd name="connsiteX67" fmla="*/ 501392 w 605174"/>
                <a:gd name="connsiteY67" fmla="*/ 415126 h 664763"/>
                <a:gd name="connsiteX68" fmla="*/ 512612 w 605174"/>
                <a:gd name="connsiteY68" fmla="*/ 417931 h 664763"/>
                <a:gd name="connsiteX69" fmla="*/ 529441 w 605174"/>
                <a:gd name="connsiteY69" fmla="*/ 423541 h 664763"/>
                <a:gd name="connsiteX70" fmla="*/ 535051 w 605174"/>
                <a:gd name="connsiteY70" fmla="*/ 431956 h 664763"/>
                <a:gd name="connsiteX71" fmla="*/ 551880 w 605174"/>
                <a:gd name="connsiteY71" fmla="*/ 451590 h 664763"/>
                <a:gd name="connsiteX72" fmla="*/ 568710 w 605174"/>
                <a:gd name="connsiteY72" fmla="*/ 454395 h 664763"/>
                <a:gd name="connsiteX73" fmla="*/ 579929 w 605174"/>
                <a:gd name="connsiteY73" fmla="*/ 457200 h 664763"/>
                <a:gd name="connsiteX74" fmla="*/ 596759 w 605174"/>
                <a:gd name="connsiteY74" fmla="*/ 465615 h 664763"/>
                <a:gd name="connsiteX75" fmla="*/ 605174 w 605174"/>
                <a:gd name="connsiteY75" fmla="*/ 468419 h 664763"/>
                <a:gd name="connsiteX76" fmla="*/ 596759 w 605174"/>
                <a:gd name="connsiteY76" fmla="*/ 485249 h 664763"/>
                <a:gd name="connsiteX77" fmla="*/ 593954 w 605174"/>
                <a:gd name="connsiteY77" fmla="*/ 493664 h 664763"/>
                <a:gd name="connsiteX78" fmla="*/ 591149 w 605174"/>
                <a:gd name="connsiteY78" fmla="*/ 504883 h 664763"/>
                <a:gd name="connsiteX79" fmla="*/ 579929 w 605174"/>
                <a:gd name="connsiteY79" fmla="*/ 521713 h 664763"/>
                <a:gd name="connsiteX80" fmla="*/ 577124 w 605174"/>
                <a:gd name="connsiteY80" fmla="*/ 541347 h 664763"/>
                <a:gd name="connsiteX81" fmla="*/ 557490 w 605174"/>
                <a:gd name="connsiteY81" fmla="*/ 535737 h 664763"/>
                <a:gd name="connsiteX82" fmla="*/ 540661 w 605174"/>
                <a:gd name="connsiteY82" fmla="*/ 530127 h 664763"/>
                <a:gd name="connsiteX83" fmla="*/ 546270 w 605174"/>
                <a:gd name="connsiteY83" fmla="*/ 558177 h 664763"/>
                <a:gd name="connsiteX84" fmla="*/ 551880 w 605174"/>
                <a:gd name="connsiteY84" fmla="*/ 575006 h 664763"/>
                <a:gd name="connsiteX85" fmla="*/ 546270 w 605174"/>
                <a:gd name="connsiteY85" fmla="*/ 583421 h 664763"/>
                <a:gd name="connsiteX86" fmla="*/ 554685 w 605174"/>
                <a:gd name="connsiteY86" fmla="*/ 589031 h 664763"/>
                <a:gd name="connsiteX87" fmla="*/ 571515 w 605174"/>
                <a:gd name="connsiteY87" fmla="*/ 594640 h 664763"/>
                <a:gd name="connsiteX88" fmla="*/ 568710 w 605174"/>
                <a:gd name="connsiteY88" fmla="*/ 605860 h 664763"/>
                <a:gd name="connsiteX89" fmla="*/ 557490 w 605174"/>
                <a:gd name="connsiteY89" fmla="*/ 639519 h 664763"/>
                <a:gd name="connsiteX90" fmla="*/ 549075 w 605174"/>
                <a:gd name="connsiteY90" fmla="*/ 645129 h 664763"/>
                <a:gd name="connsiteX91" fmla="*/ 532246 w 605174"/>
                <a:gd name="connsiteY91" fmla="*/ 642324 h 664763"/>
                <a:gd name="connsiteX92" fmla="*/ 523831 w 605174"/>
                <a:gd name="connsiteY92" fmla="*/ 639519 h 664763"/>
                <a:gd name="connsiteX93" fmla="*/ 515416 w 605174"/>
                <a:gd name="connsiteY93" fmla="*/ 642324 h 664763"/>
                <a:gd name="connsiteX94" fmla="*/ 498587 w 605174"/>
                <a:gd name="connsiteY94" fmla="*/ 650739 h 664763"/>
                <a:gd name="connsiteX95" fmla="*/ 481758 w 605174"/>
                <a:gd name="connsiteY95" fmla="*/ 647934 h 664763"/>
                <a:gd name="connsiteX96" fmla="*/ 478953 w 605174"/>
                <a:gd name="connsiteY96" fmla="*/ 659153 h 664763"/>
                <a:gd name="connsiteX97" fmla="*/ 470538 w 605174"/>
                <a:gd name="connsiteY97" fmla="*/ 656348 h 664763"/>
                <a:gd name="connsiteX98" fmla="*/ 462123 w 605174"/>
                <a:gd name="connsiteY98" fmla="*/ 661958 h 664763"/>
                <a:gd name="connsiteX99" fmla="*/ 450904 w 605174"/>
                <a:gd name="connsiteY99" fmla="*/ 664763 h 664763"/>
                <a:gd name="connsiteX100" fmla="*/ 428464 w 605174"/>
                <a:gd name="connsiteY100" fmla="*/ 661958 h 664763"/>
                <a:gd name="connsiteX101" fmla="*/ 431269 w 605174"/>
                <a:gd name="connsiteY101" fmla="*/ 647934 h 664763"/>
                <a:gd name="connsiteX102" fmla="*/ 436879 w 605174"/>
                <a:gd name="connsiteY102" fmla="*/ 628299 h 664763"/>
                <a:gd name="connsiteX103" fmla="*/ 442489 w 605174"/>
                <a:gd name="connsiteY103" fmla="*/ 619885 h 664763"/>
                <a:gd name="connsiteX104" fmla="*/ 445294 w 605174"/>
                <a:gd name="connsiteY104" fmla="*/ 608665 h 664763"/>
                <a:gd name="connsiteX105" fmla="*/ 428464 w 605174"/>
                <a:gd name="connsiteY105" fmla="*/ 608665 h 664763"/>
                <a:gd name="connsiteX106" fmla="*/ 408830 w 605174"/>
                <a:gd name="connsiteY106" fmla="*/ 603055 h 664763"/>
                <a:gd name="connsiteX107" fmla="*/ 389196 w 605174"/>
                <a:gd name="connsiteY107" fmla="*/ 594640 h 664763"/>
                <a:gd name="connsiteX108" fmla="*/ 386391 w 605174"/>
                <a:gd name="connsiteY108" fmla="*/ 572201 h 664763"/>
                <a:gd name="connsiteX109" fmla="*/ 375171 w 605174"/>
                <a:gd name="connsiteY109" fmla="*/ 566591 h 664763"/>
                <a:gd name="connsiteX110" fmla="*/ 366756 w 605174"/>
                <a:gd name="connsiteY110" fmla="*/ 560981 h 664763"/>
                <a:gd name="connsiteX111" fmla="*/ 355537 w 605174"/>
                <a:gd name="connsiteY111" fmla="*/ 549762 h 664763"/>
                <a:gd name="connsiteX112" fmla="*/ 344317 w 605174"/>
                <a:gd name="connsiteY112" fmla="*/ 546957 h 664763"/>
                <a:gd name="connsiteX113" fmla="*/ 327488 w 605174"/>
                <a:gd name="connsiteY113" fmla="*/ 541347 h 664763"/>
                <a:gd name="connsiteX114" fmla="*/ 330293 w 605174"/>
                <a:gd name="connsiteY114" fmla="*/ 532932 h 664763"/>
                <a:gd name="connsiteX115" fmla="*/ 319073 w 605174"/>
                <a:gd name="connsiteY115" fmla="*/ 535737 h 664763"/>
                <a:gd name="connsiteX116" fmla="*/ 302243 w 605174"/>
                <a:gd name="connsiteY116" fmla="*/ 546957 h 664763"/>
                <a:gd name="connsiteX117" fmla="*/ 310658 w 605174"/>
                <a:gd name="connsiteY117" fmla="*/ 549762 h 664763"/>
                <a:gd name="connsiteX118" fmla="*/ 313463 w 605174"/>
                <a:gd name="connsiteY118" fmla="*/ 558177 h 664763"/>
                <a:gd name="connsiteX119" fmla="*/ 299439 w 605174"/>
                <a:gd name="connsiteY119" fmla="*/ 577811 h 664763"/>
                <a:gd name="connsiteX120" fmla="*/ 279804 w 605174"/>
                <a:gd name="connsiteY120" fmla="*/ 580616 h 664763"/>
                <a:gd name="connsiteX121" fmla="*/ 276999 w 605174"/>
                <a:gd name="connsiteY121" fmla="*/ 600250 h 664763"/>
                <a:gd name="connsiteX122" fmla="*/ 262975 w 605174"/>
                <a:gd name="connsiteY122" fmla="*/ 597445 h 664763"/>
                <a:gd name="connsiteX123" fmla="*/ 257365 w 605174"/>
                <a:gd name="connsiteY123" fmla="*/ 580616 h 664763"/>
                <a:gd name="connsiteX124" fmla="*/ 248950 w 605174"/>
                <a:gd name="connsiteY124" fmla="*/ 577811 h 664763"/>
                <a:gd name="connsiteX125" fmla="*/ 232121 w 605174"/>
                <a:gd name="connsiteY125" fmla="*/ 569396 h 664763"/>
                <a:gd name="connsiteX126" fmla="*/ 226511 w 605174"/>
                <a:gd name="connsiteY126" fmla="*/ 560981 h 664763"/>
                <a:gd name="connsiteX127" fmla="*/ 218096 w 605174"/>
                <a:gd name="connsiteY127" fmla="*/ 558177 h 664763"/>
                <a:gd name="connsiteX128" fmla="*/ 215291 w 605174"/>
                <a:gd name="connsiteY128" fmla="*/ 546957 h 664763"/>
                <a:gd name="connsiteX129" fmla="*/ 220901 w 605174"/>
                <a:gd name="connsiteY129" fmla="*/ 538542 h 664763"/>
                <a:gd name="connsiteX130" fmla="*/ 206877 w 605174"/>
                <a:gd name="connsiteY130" fmla="*/ 541347 h 664763"/>
                <a:gd name="connsiteX131" fmla="*/ 187242 w 605174"/>
                <a:gd name="connsiteY131" fmla="*/ 532932 h 664763"/>
                <a:gd name="connsiteX132" fmla="*/ 170413 w 605174"/>
                <a:gd name="connsiteY132" fmla="*/ 518908 h 664763"/>
                <a:gd name="connsiteX133" fmla="*/ 161998 w 605174"/>
                <a:gd name="connsiteY133" fmla="*/ 516103 h 664763"/>
                <a:gd name="connsiteX134" fmla="*/ 136754 w 605174"/>
                <a:gd name="connsiteY134" fmla="*/ 502078 h 664763"/>
                <a:gd name="connsiteX135" fmla="*/ 131144 w 605174"/>
                <a:gd name="connsiteY135" fmla="*/ 493664 h 664763"/>
                <a:gd name="connsiteX136" fmla="*/ 114315 w 605174"/>
                <a:gd name="connsiteY136" fmla="*/ 482444 h 664763"/>
                <a:gd name="connsiteX137" fmla="*/ 111510 w 605174"/>
                <a:gd name="connsiteY137" fmla="*/ 474029 h 664763"/>
                <a:gd name="connsiteX138" fmla="*/ 131144 w 605174"/>
                <a:gd name="connsiteY138" fmla="*/ 460005 h 664763"/>
                <a:gd name="connsiteX139" fmla="*/ 139559 w 605174"/>
                <a:gd name="connsiteY139" fmla="*/ 454395 h 664763"/>
                <a:gd name="connsiteX140" fmla="*/ 114315 w 605174"/>
                <a:gd name="connsiteY140" fmla="*/ 431956 h 664763"/>
                <a:gd name="connsiteX141" fmla="*/ 108705 w 605174"/>
                <a:gd name="connsiteY141" fmla="*/ 423541 h 664763"/>
                <a:gd name="connsiteX142" fmla="*/ 103095 w 605174"/>
                <a:gd name="connsiteY142" fmla="*/ 403907 h 664763"/>
                <a:gd name="connsiteX143" fmla="*/ 97485 w 605174"/>
                <a:gd name="connsiteY143" fmla="*/ 395492 h 664763"/>
                <a:gd name="connsiteX144" fmla="*/ 114315 w 605174"/>
                <a:gd name="connsiteY144" fmla="*/ 395492 h 664763"/>
                <a:gd name="connsiteX145" fmla="*/ 131144 w 605174"/>
                <a:gd name="connsiteY145" fmla="*/ 392687 h 664763"/>
                <a:gd name="connsiteX146" fmla="*/ 145169 w 605174"/>
                <a:gd name="connsiteY146" fmla="*/ 378662 h 664763"/>
                <a:gd name="connsiteX147" fmla="*/ 142364 w 605174"/>
                <a:gd name="connsiteY147" fmla="*/ 370248 h 664763"/>
                <a:gd name="connsiteX148" fmla="*/ 133949 w 605174"/>
                <a:gd name="connsiteY148" fmla="*/ 375858 h 664763"/>
                <a:gd name="connsiteX149" fmla="*/ 117120 w 605174"/>
                <a:gd name="connsiteY149" fmla="*/ 367443 h 664763"/>
                <a:gd name="connsiteX150" fmla="*/ 97485 w 605174"/>
                <a:gd name="connsiteY150" fmla="*/ 356223 h 664763"/>
                <a:gd name="connsiteX151" fmla="*/ 91875 w 605174"/>
                <a:gd name="connsiteY151" fmla="*/ 347808 h 664763"/>
                <a:gd name="connsiteX152" fmla="*/ 83461 w 605174"/>
                <a:gd name="connsiteY152" fmla="*/ 342199 h 664763"/>
                <a:gd name="connsiteX153" fmla="*/ 75046 w 605174"/>
                <a:gd name="connsiteY153" fmla="*/ 345004 h 664763"/>
                <a:gd name="connsiteX154" fmla="*/ 69436 w 605174"/>
                <a:gd name="connsiteY154" fmla="*/ 328174 h 664763"/>
                <a:gd name="connsiteX155" fmla="*/ 66631 w 605174"/>
                <a:gd name="connsiteY155" fmla="*/ 319759 h 664763"/>
                <a:gd name="connsiteX156" fmla="*/ 75046 w 605174"/>
                <a:gd name="connsiteY156" fmla="*/ 291710 h 664763"/>
                <a:gd name="connsiteX157" fmla="*/ 83461 w 605174"/>
                <a:gd name="connsiteY157" fmla="*/ 283296 h 664763"/>
                <a:gd name="connsiteX158" fmla="*/ 83461 w 605174"/>
                <a:gd name="connsiteY158" fmla="*/ 241222 h 664763"/>
                <a:gd name="connsiteX159" fmla="*/ 66631 w 605174"/>
                <a:gd name="connsiteY159" fmla="*/ 235612 h 664763"/>
                <a:gd name="connsiteX160" fmla="*/ 58216 w 605174"/>
                <a:gd name="connsiteY160" fmla="*/ 238417 h 664763"/>
                <a:gd name="connsiteX161" fmla="*/ 49802 w 605174"/>
                <a:gd name="connsiteY161" fmla="*/ 244027 h 664763"/>
                <a:gd name="connsiteX162" fmla="*/ 41387 w 605174"/>
                <a:gd name="connsiteY162" fmla="*/ 241222 h 664763"/>
                <a:gd name="connsiteX163" fmla="*/ 58216 w 605174"/>
                <a:gd name="connsiteY163" fmla="*/ 227197 h 664763"/>
                <a:gd name="connsiteX164" fmla="*/ 55412 w 605174"/>
                <a:gd name="connsiteY164" fmla="*/ 210368 h 664763"/>
                <a:gd name="connsiteX165" fmla="*/ 75046 w 605174"/>
                <a:gd name="connsiteY165" fmla="*/ 193539 h 664763"/>
                <a:gd name="connsiteX166" fmla="*/ 83461 w 605174"/>
                <a:gd name="connsiteY166" fmla="*/ 190734 h 664763"/>
                <a:gd name="connsiteX167" fmla="*/ 91875 w 605174"/>
                <a:gd name="connsiteY167" fmla="*/ 196343 h 664763"/>
                <a:gd name="connsiteX168" fmla="*/ 97485 w 605174"/>
                <a:gd name="connsiteY168" fmla="*/ 182319 h 664763"/>
                <a:gd name="connsiteX169" fmla="*/ 89070 w 605174"/>
                <a:gd name="connsiteY169" fmla="*/ 179514 h 664763"/>
                <a:gd name="connsiteX170" fmla="*/ 69436 w 605174"/>
                <a:gd name="connsiteY170" fmla="*/ 176709 h 664763"/>
                <a:gd name="connsiteX171" fmla="*/ 61021 w 605174"/>
                <a:gd name="connsiteY171" fmla="*/ 171099 h 664763"/>
                <a:gd name="connsiteX172" fmla="*/ 44192 w 605174"/>
                <a:gd name="connsiteY172" fmla="*/ 165489 h 664763"/>
                <a:gd name="connsiteX173" fmla="*/ 52607 w 605174"/>
                <a:gd name="connsiteY173" fmla="*/ 162685 h 664763"/>
                <a:gd name="connsiteX174" fmla="*/ 44192 w 605174"/>
                <a:gd name="connsiteY174" fmla="*/ 145855 h 664763"/>
                <a:gd name="connsiteX175" fmla="*/ 49802 w 605174"/>
                <a:gd name="connsiteY175" fmla="*/ 137440 h 664763"/>
                <a:gd name="connsiteX176" fmla="*/ 49802 w 605174"/>
                <a:gd name="connsiteY176" fmla="*/ 131831 h 664763"/>
                <a:gd name="connsiteX177" fmla="*/ 41387 w 605174"/>
                <a:gd name="connsiteY177" fmla="*/ 126221 h 664763"/>
                <a:gd name="connsiteX178" fmla="*/ 35777 w 605174"/>
                <a:gd name="connsiteY178" fmla="*/ 120611 h 664763"/>
                <a:gd name="connsiteX179" fmla="*/ 18948 w 605174"/>
                <a:gd name="connsiteY179" fmla="*/ 117806 h 664763"/>
                <a:gd name="connsiteX180" fmla="*/ 21753 w 605174"/>
                <a:gd name="connsiteY180" fmla="*/ 109391 h 664763"/>
                <a:gd name="connsiteX181" fmla="*/ 32972 w 605174"/>
                <a:gd name="connsiteY181" fmla="*/ 106586 h 664763"/>
                <a:gd name="connsiteX182" fmla="*/ 24558 w 605174"/>
                <a:gd name="connsiteY182" fmla="*/ 95367 h 664763"/>
                <a:gd name="connsiteX183" fmla="*/ 16143 w 605174"/>
                <a:gd name="connsiteY183" fmla="*/ 92562 h 664763"/>
                <a:gd name="connsiteX184" fmla="*/ 21753 w 605174"/>
                <a:gd name="connsiteY184" fmla="*/ 84147 h 664763"/>
                <a:gd name="connsiteX185" fmla="*/ 2118 w 605174"/>
                <a:gd name="connsiteY185" fmla="*/ 81342 h 664763"/>
                <a:gd name="connsiteX186" fmla="*/ 2118 w 605174"/>
                <a:gd name="connsiteY186" fmla="*/ 64513 h 664763"/>
                <a:gd name="connsiteX187" fmla="*/ 16143 w 605174"/>
                <a:gd name="connsiteY187" fmla="*/ 58903 h 6647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Lst>
              <a:rect l="l" t="t" r="r" b="b"/>
              <a:pathLst>
                <a:path w="605174" h="664763">
                  <a:moveTo>
                    <a:pt x="16143" y="58903"/>
                  </a:moveTo>
                  <a:cubicBezTo>
                    <a:pt x="20586" y="55348"/>
                    <a:pt x="30360" y="44878"/>
                    <a:pt x="38582" y="44878"/>
                  </a:cubicBezTo>
                  <a:cubicBezTo>
                    <a:pt x="43350" y="44878"/>
                    <a:pt x="47932" y="46748"/>
                    <a:pt x="52607" y="47683"/>
                  </a:cubicBezTo>
                  <a:cubicBezTo>
                    <a:pt x="58217" y="46748"/>
                    <a:pt x="64498" y="47699"/>
                    <a:pt x="69436" y="44878"/>
                  </a:cubicBezTo>
                  <a:cubicBezTo>
                    <a:pt x="72003" y="43411"/>
                    <a:pt x="69835" y="38182"/>
                    <a:pt x="72241" y="36464"/>
                  </a:cubicBezTo>
                  <a:cubicBezTo>
                    <a:pt x="77053" y="33027"/>
                    <a:pt x="89070" y="30854"/>
                    <a:pt x="89070" y="30854"/>
                  </a:cubicBezTo>
                  <a:cubicBezTo>
                    <a:pt x="96550" y="8414"/>
                    <a:pt x="89070" y="36464"/>
                    <a:pt x="89070" y="14024"/>
                  </a:cubicBezTo>
                  <a:cubicBezTo>
                    <a:pt x="89070" y="10169"/>
                    <a:pt x="90940" y="6545"/>
                    <a:pt x="91875" y="2805"/>
                  </a:cubicBezTo>
                  <a:cubicBezTo>
                    <a:pt x="110664" y="9068"/>
                    <a:pt x="90646" y="3048"/>
                    <a:pt x="125534" y="8415"/>
                  </a:cubicBezTo>
                  <a:cubicBezTo>
                    <a:pt x="129344" y="9001"/>
                    <a:pt x="133014" y="10284"/>
                    <a:pt x="136754" y="11219"/>
                  </a:cubicBezTo>
                  <a:cubicBezTo>
                    <a:pt x="139559" y="9349"/>
                    <a:pt x="141832" y="6087"/>
                    <a:pt x="145169" y="5610"/>
                  </a:cubicBezTo>
                  <a:cubicBezTo>
                    <a:pt x="163852" y="2942"/>
                    <a:pt x="150582" y="17124"/>
                    <a:pt x="161998" y="0"/>
                  </a:cubicBezTo>
                  <a:cubicBezTo>
                    <a:pt x="167608" y="3740"/>
                    <a:pt x="175089" y="5609"/>
                    <a:pt x="178828" y="11219"/>
                  </a:cubicBezTo>
                  <a:cubicBezTo>
                    <a:pt x="180698" y="14024"/>
                    <a:pt x="182930" y="16619"/>
                    <a:pt x="184437" y="19634"/>
                  </a:cubicBezTo>
                  <a:cubicBezTo>
                    <a:pt x="185759" y="22279"/>
                    <a:pt x="185395" y="25740"/>
                    <a:pt x="187242" y="28049"/>
                  </a:cubicBezTo>
                  <a:cubicBezTo>
                    <a:pt x="192085" y="34102"/>
                    <a:pt x="200140" y="34780"/>
                    <a:pt x="206877" y="36464"/>
                  </a:cubicBezTo>
                  <a:cubicBezTo>
                    <a:pt x="209682" y="38334"/>
                    <a:pt x="211966" y="42627"/>
                    <a:pt x="215291" y="42073"/>
                  </a:cubicBezTo>
                  <a:cubicBezTo>
                    <a:pt x="219204" y="41421"/>
                    <a:pt x="219858" y="32697"/>
                    <a:pt x="223706" y="33659"/>
                  </a:cubicBezTo>
                  <a:cubicBezTo>
                    <a:pt x="227446" y="34594"/>
                    <a:pt x="224598" y="41531"/>
                    <a:pt x="226511" y="44878"/>
                  </a:cubicBezTo>
                  <a:cubicBezTo>
                    <a:pt x="228479" y="48322"/>
                    <a:pt x="232387" y="50245"/>
                    <a:pt x="234926" y="53293"/>
                  </a:cubicBezTo>
                  <a:cubicBezTo>
                    <a:pt x="237084" y="55883"/>
                    <a:pt x="238151" y="59324"/>
                    <a:pt x="240535" y="61708"/>
                  </a:cubicBezTo>
                  <a:cubicBezTo>
                    <a:pt x="245972" y="67145"/>
                    <a:pt x="250521" y="67842"/>
                    <a:pt x="257365" y="70123"/>
                  </a:cubicBezTo>
                  <a:cubicBezTo>
                    <a:pt x="258300" y="67318"/>
                    <a:pt x="257213" y="61708"/>
                    <a:pt x="260170" y="61708"/>
                  </a:cubicBezTo>
                  <a:cubicBezTo>
                    <a:pt x="263127" y="61708"/>
                    <a:pt x="262975" y="67166"/>
                    <a:pt x="262975" y="70123"/>
                  </a:cubicBezTo>
                  <a:cubicBezTo>
                    <a:pt x="262975" y="82313"/>
                    <a:pt x="259235" y="99574"/>
                    <a:pt x="260170" y="106586"/>
                  </a:cubicBezTo>
                  <a:cubicBezTo>
                    <a:pt x="261105" y="113598"/>
                    <a:pt x="264378" y="108456"/>
                    <a:pt x="268585" y="112196"/>
                  </a:cubicBezTo>
                  <a:cubicBezTo>
                    <a:pt x="272792" y="115936"/>
                    <a:pt x="281207" y="124819"/>
                    <a:pt x="285414" y="129026"/>
                  </a:cubicBezTo>
                  <a:cubicBezTo>
                    <a:pt x="289621" y="133233"/>
                    <a:pt x="289154" y="135570"/>
                    <a:pt x="293829" y="137440"/>
                  </a:cubicBezTo>
                  <a:cubicBezTo>
                    <a:pt x="294764" y="140245"/>
                    <a:pt x="299838" y="138526"/>
                    <a:pt x="302244" y="140245"/>
                  </a:cubicBezTo>
                  <a:cubicBezTo>
                    <a:pt x="307056" y="143682"/>
                    <a:pt x="309723" y="151932"/>
                    <a:pt x="313463" y="151465"/>
                  </a:cubicBezTo>
                  <a:cubicBezTo>
                    <a:pt x="317203" y="150998"/>
                    <a:pt x="316875" y="135488"/>
                    <a:pt x="324683" y="137440"/>
                  </a:cubicBezTo>
                  <a:cubicBezTo>
                    <a:pt x="327551" y="138157"/>
                    <a:pt x="324921" y="144388"/>
                    <a:pt x="327488" y="145855"/>
                  </a:cubicBezTo>
                  <a:cubicBezTo>
                    <a:pt x="332426" y="148677"/>
                    <a:pt x="338107" y="145476"/>
                    <a:pt x="344317" y="148660"/>
                  </a:cubicBezTo>
                  <a:cubicBezTo>
                    <a:pt x="350527" y="151844"/>
                    <a:pt x="363343" y="161220"/>
                    <a:pt x="364746" y="164960"/>
                  </a:cubicBezTo>
                  <a:cubicBezTo>
                    <a:pt x="366149" y="168700"/>
                    <a:pt x="361004" y="169445"/>
                    <a:pt x="352732" y="171099"/>
                  </a:cubicBezTo>
                  <a:cubicBezTo>
                    <a:pt x="353667" y="173904"/>
                    <a:pt x="353690" y="177205"/>
                    <a:pt x="355537" y="179514"/>
                  </a:cubicBezTo>
                  <a:cubicBezTo>
                    <a:pt x="357643" y="182146"/>
                    <a:pt x="363290" y="181819"/>
                    <a:pt x="363951" y="185124"/>
                  </a:cubicBezTo>
                  <a:cubicBezTo>
                    <a:pt x="364602" y="188380"/>
                    <a:pt x="350771" y="201109"/>
                    <a:pt x="349927" y="201953"/>
                  </a:cubicBezTo>
                  <a:cubicBezTo>
                    <a:pt x="348992" y="204758"/>
                    <a:pt x="347122" y="207411"/>
                    <a:pt x="347122" y="210368"/>
                  </a:cubicBezTo>
                  <a:cubicBezTo>
                    <a:pt x="347122" y="226206"/>
                    <a:pt x="362687" y="220201"/>
                    <a:pt x="375171" y="221588"/>
                  </a:cubicBezTo>
                  <a:cubicBezTo>
                    <a:pt x="376106" y="224393"/>
                    <a:pt x="377259" y="227134"/>
                    <a:pt x="377976" y="230002"/>
                  </a:cubicBezTo>
                  <a:cubicBezTo>
                    <a:pt x="379132" y="234627"/>
                    <a:pt x="376399" y="242149"/>
                    <a:pt x="380781" y="244027"/>
                  </a:cubicBezTo>
                  <a:cubicBezTo>
                    <a:pt x="386216" y="246356"/>
                    <a:pt x="391743" y="239150"/>
                    <a:pt x="397610" y="238417"/>
                  </a:cubicBezTo>
                  <a:lnTo>
                    <a:pt x="420050" y="235612"/>
                  </a:lnTo>
                  <a:cubicBezTo>
                    <a:pt x="425660" y="239352"/>
                    <a:pt x="430483" y="244700"/>
                    <a:pt x="436879" y="246832"/>
                  </a:cubicBezTo>
                  <a:cubicBezTo>
                    <a:pt x="448492" y="250703"/>
                    <a:pt x="442834" y="247997"/>
                    <a:pt x="453708" y="255246"/>
                  </a:cubicBezTo>
                  <a:cubicBezTo>
                    <a:pt x="475249" y="249863"/>
                    <a:pt x="457683" y="257933"/>
                    <a:pt x="467733" y="232807"/>
                  </a:cubicBezTo>
                  <a:cubicBezTo>
                    <a:pt x="470966" y="224725"/>
                    <a:pt x="477805" y="223840"/>
                    <a:pt x="484562" y="221588"/>
                  </a:cubicBezTo>
                  <a:cubicBezTo>
                    <a:pt x="485497" y="218783"/>
                    <a:pt x="484722" y="214495"/>
                    <a:pt x="487367" y="213173"/>
                  </a:cubicBezTo>
                  <a:cubicBezTo>
                    <a:pt x="490685" y="211514"/>
                    <a:pt x="502780" y="220643"/>
                    <a:pt x="504197" y="221588"/>
                  </a:cubicBezTo>
                  <a:cubicBezTo>
                    <a:pt x="505132" y="224393"/>
                    <a:pt x="504435" y="228535"/>
                    <a:pt x="507002" y="230002"/>
                  </a:cubicBezTo>
                  <a:cubicBezTo>
                    <a:pt x="511940" y="232823"/>
                    <a:pt x="518436" y="231009"/>
                    <a:pt x="523831" y="232807"/>
                  </a:cubicBezTo>
                  <a:cubicBezTo>
                    <a:pt x="527029" y="233873"/>
                    <a:pt x="529441" y="236547"/>
                    <a:pt x="532246" y="238417"/>
                  </a:cubicBezTo>
                  <a:cubicBezTo>
                    <a:pt x="531311" y="241222"/>
                    <a:pt x="531532" y="244741"/>
                    <a:pt x="529441" y="246832"/>
                  </a:cubicBezTo>
                  <a:cubicBezTo>
                    <a:pt x="527350" y="248923"/>
                    <a:pt x="523744" y="248472"/>
                    <a:pt x="521026" y="249637"/>
                  </a:cubicBezTo>
                  <a:cubicBezTo>
                    <a:pt x="517183" y="251284"/>
                    <a:pt x="512144" y="251039"/>
                    <a:pt x="509807" y="255246"/>
                  </a:cubicBezTo>
                  <a:cubicBezTo>
                    <a:pt x="507470" y="259453"/>
                    <a:pt x="504665" y="270206"/>
                    <a:pt x="507002" y="274881"/>
                  </a:cubicBezTo>
                  <a:cubicBezTo>
                    <a:pt x="509339" y="279556"/>
                    <a:pt x="512218" y="279425"/>
                    <a:pt x="523831" y="283296"/>
                  </a:cubicBezTo>
                  <a:cubicBezTo>
                    <a:pt x="522896" y="286101"/>
                    <a:pt x="522873" y="289401"/>
                    <a:pt x="521026" y="291710"/>
                  </a:cubicBezTo>
                  <a:cubicBezTo>
                    <a:pt x="518920" y="294342"/>
                    <a:pt x="513864" y="294190"/>
                    <a:pt x="512612" y="297320"/>
                  </a:cubicBezTo>
                  <a:cubicBezTo>
                    <a:pt x="511160" y="300950"/>
                    <a:pt x="519844" y="312377"/>
                    <a:pt x="521026" y="314150"/>
                  </a:cubicBezTo>
                  <a:cubicBezTo>
                    <a:pt x="520091" y="316955"/>
                    <a:pt x="520311" y="320474"/>
                    <a:pt x="518221" y="322564"/>
                  </a:cubicBezTo>
                  <a:cubicBezTo>
                    <a:pt x="516131" y="324654"/>
                    <a:pt x="511654" y="323060"/>
                    <a:pt x="509807" y="325369"/>
                  </a:cubicBezTo>
                  <a:cubicBezTo>
                    <a:pt x="507399" y="328379"/>
                    <a:pt x="508356" y="332979"/>
                    <a:pt x="507002" y="336589"/>
                  </a:cubicBezTo>
                  <a:cubicBezTo>
                    <a:pt x="505534" y="340504"/>
                    <a:pt x="503039" y="343965"/>
                    <a:pt x="501392" y="347808"/>
                  </a:cubicBezTo>
                  <a:cubicBezTo>
                    <a:pt x="500227" y="350526"/>
                    <a:pt x="499522" y="353418"/>
                    <a:pt x="498587" y="356223"/>
                  </a:cubicBezTo>
                  <a:cubicBezTo>
                    <a:pt x="495114" y="384004"/>
                    <a:pt x="494582" y="372268"/>
                    <a:pt x="498587" y="398297"/>
                  </a:cubicBezTo>
                  <a:cubicBezTo>
                    <a:pt x="499452" y="403918"/>
                    <a:pt x="498086" y="410498"/>
                    <a:pt x="501392" y="415126"/>
                  </a:cubicBezTo>
                  <a:cubicBezTo>
                    <a:pt x="503633" y="418263"/>
                    <a:pt x="508919" y="416823"/>
                    <a:pt x="512612" y="417931"/>
                  </a:cubicBezTo>
                  <a:cubicBezTo>
                    <a:pt x="518276" y="419630"/>
                    <a:pt x="529441" y="423541"/>
                    <a:pt x="529441" y="423541"/>
                  </a:cubicBezTo>
                  <a:cubicBezTo>
                    <a:pt x="531311" y="426346"/>
                    <a:pt x="533543" y="428941"/>
                    <a:pt x="535051" y="431956"/>
                  </a:cubicBezTo>
                  <a:cubicBezTo>
                    <a:pt x="540986" y="443825"/>
                    <a:pt x="533044" y="443028"/>
                    <a:pt x="551880" y="451590"/>
                  </a:cubicBezTo>
                  <a:cubicBezTo>
                    <a:pt x="557058" y="453944"/>
                    <a:pt x="563133" y="453280"/>
                    <a:pt x="568710" y="454395"/>
                  </a:cubicBezTo>
                  <a:cubicBezTo>
                    <a:pt x="572490" y="455151"/>
                    <a:pt x="576223" y="456141"/>
                    <a:pt x="579929" y="457200"/>
                  </a:cubicBezTo>
                  <a:cubicBezTo>
                    <a:pt x="596385" y="461902"/>
                    <a:pt x="580362" y="457417"/>
                    <a:pt x="596759" y="465615"/>
                  </a:cubicBezTo>
                  <a:cubicBezTo>
                    <a:pt x="599404" y="466937"/>
                    <a:pt x="602369" y="467484"/>
                    <a:pt x="605174" y="468419"/>
                  </a:cubicBezTo>
                  <a:cubicBezTo>
                    <a:pt x="598124" y="489570"/>
                    <a:pt x="607634" y="463499"/>
                    <a:pt x="596759" y="485249"/>
                  </a:cubicBezTo>
                  <a:cubicBezTo>
                    <a:pt x="595437" y="487894"/>
                    <a:pt x="594766" y="490821"/>
                    <a:pt x="593954" y="493664"/>
                  </a:cubicBezTo>
                  <a:cubicBezTo>
                    <a:pt x="592895" y="497370"/>
                    <a:pt x="592873" y="501435"/>
                    <a:pt x="591149" y="504883"/>
                  </a:cubicBezTo>
                  <a:cubicBezTo>
                    <a:pt x="588134" y="510914"/>
                    <a:pt x="579929" y="521713"/>
                    <a:pt x="579929" y="521713"/>
                  </a:cubicBezTo>
                  <a:cubicBezTo>
                    <a:pt x="578994" y="528258"/>
                    <a:pt x="581356" y="536268"/>
                    <a:pt x="577124" y="541347"/>
                  </a:cubicBezTo>
                  <a:cubicBezTo>
                    <a:pt x="576359" y="542266"/>
                    <a:pt x="559344" y="536355"/>
                    <a:pt x="557490" y="535737"/>
                  </a:cubicBezTo>
                  <a:cubicBezTo>
                    <a:pt x="556602" y="533075"/>
                    <a:pt x="552061" y="510176"/>
                    <a:pt x="540661" y="530127"/>
                  </a:cubicBezTo>
                  <a:cubicBezTo>
                    <a:pt x="539668" y="531865"/>
                    <a:pt x="545091" y="554247"/>
                    <a:pt x="546270" y="558177"/>
                  </a:cubicBezTo>
                  <a:cubicBezTo>
                    <a:pt x="547969" y="563841"/>
                    <a:pt x="551880" y="575006"/>
                    <a:pt x="551880" y="575006"/>
                  </a:cubicBezTo>
                  <a:cubicBezTo>
                    <a:pt x="550010" y="577811"/>
                    <a:pt x="545609" y="580115"/>
                    <a:pt x="546270" y="583421"/>
                  </a:cubicBezTo>
                  <a:cubicBezTo>
                    <a:pt x="546931" y="586727"/>
                    <a:pt x="551604" y="587662"/>
                    <a:pt x="554685" y="589031"/>
                  </a:cubicBezTo>
                  <a:cubicBezTo>
                    <a:pt x="560089" y="591432"/>
                    <a:pt x="571515" y="594640"/>
                    <a:pt x="571515" y="594640"/>
                  </a:cubicBezTo>
                  <a:cubicBezTo>
                    <a:pt x="570580" y="598380"/>
                    <a:pt x="569466" y="602080"/>
                    <a:pt x="568710" y="605860"/>
                  </a:cubicBezTo>
                  <a:cubicBezTo>
                    <a:pt x="566423" y="617297"/>
                    <a:pt x="566445" y="630564"/>
                    <a:pt x="557490" y="639519"/>
                  </a:cubicBezTo>
                  <a:cubicBezTo>
                    <a:pt x="555106" y="641903"/>
                    <a:pt x="551880" y="643259"/>
                    <a:pt x="549075" y="645129"/>
                  </a:cubicBezTo>
                  <a:cubicBezTo>
                    <a:pt x="543465" y="644194"/>
                    <a:pt x="537798" y="643558"/>
                    <a:pt x="532246" y="642324"/>
                  </a:cubicBezTo>
                  <a:cubicBezTo>
                    <a:pt x="529360" y="641683"/>
                    <a:pt x="526788" y="639519"/>
                    <a:pt x="523831" y="639519"/>
                  </a:cubicBezTo>
                  <a:cubicBezTo>
                    <a:pt x="520874" y="639519"/>
                    <a:pt x="518221" y="641389"/>
                    <a:pt x="515416" y="642324"/>
                  </a:cubicBezTo>
                  <a:cubicBezTo>
                    <a:pt x="511161" y="645161"/>
                    <a:pt x="504394" y="650739"/>
                    <a:pt x="498587" y="650739"/>
                  </a:cubicBezTo>
                  <a:cubicBezTo>
                    <a:pt x="492900" y="650739"/>
                    <a:pt x="487368" y="648869"/>
                    <a:pt x="481758" y="647934"/>
                  </a:cubicBezTo>
                  <a:cubicBezTo>
                    <a:pt x="480823" y="651674"/>
                    <a:pt x="482037" y="656840"/>
                    <a:pt x="478953" y="659153"/>
                  </a:cubicBezTo>
                  <a:cubicBezTo>
                    <a:pt x="476588" y="660927"/>
                    <a:pt x="473455" y="655862"/>
                    <a:pt x="470538" y="656348"/>
                  </a:cubicBezTo>
                  <a:cubicBezTo>
                    <a:pt x="467213" y="656902"/>
                    <a:pt x="465222" y="660630"/>
                    <a:pt x="462123" y="661958"/>
                  </a:cubicBezTo>
                  <a:cubicBezTo>
                    <a:pt x="458580" y="663477"/>
                    <a:pt x="454644" y="663828"/>
                    <a:pt x="450904" y="664763"/>
                  </a:cubicBezTo>
                  <a:lnTo>
                    <a:pt x="428464" y="661958"/>
                  </a:lnTo>
                  <a:cubicBezTo>
                    <a:pt x="424844" y="658856"/>
                    <a:pt x="430235" y="652588"/>
                    <a:pt x="431269" y="647934"/>
                  </a:cubicBezTo>
                  <a:cubicBezTo>
                    <a:pt x="431988" y="644699"/>
                    <a:pt x="435005" y="632047"/>
                    <a:pt x="436879" y="628299"/>
                  </a:cubicBezTo>
                  <a:cubicBezTo>
                    <a:pt x="438387" y="625284"/>
                    <a:pt x="440619" y="622690"/>
                    <a:pt x="442489" y="619885"/>
                  </a:cubicBezTo>
                  <a:cubicBezTo>
                    <a:pt x="443424" y="616145"/>
                    <a:pt x="446726" y="612244"/>
                    <a:pt x="445294" y="608665"/>
                  </a:cubicBezTo>
                  <a:cubicBezTo>
                    <a:pt x="442654" y="602065"/>
                    <a:pt x="431104" y="607785"/>
                    <a:pt x="428464" y="608665"/>
                  </a:cubicBezTo>
                  <a:cubicBezTo>
                    <a:pt x="424870" y="607766"/>
                    <a:pt x="412853" y="605067"/>
                    <a:pt x="408830" y="603055"/>
                  </a:cubicBezTo>
                  <a:cubicBezTo>
                    <a:pt x="389459" y="593369"/>
                    <a:pt x="412546" y="600478"/>
                    <a:pt x="389196" y="594640"/>
                  </a:cubicBezTo>
                  <a:cubicBezTo>
                    <a:pt x="395871" y="574613"/>
                    <a:pt x="399725" y="581091"/>
                    <a:pt x="386391" y="572201"/>
                  </a:cubicBezTo>
                  <a:cubicBezTo>
                    <a:pt x="371037" y="577319"/>
                    <a:pt x="383045" y="576433"/>
                    <a:pt x="375171" y="566591"/>
                  </a:cubicBezTo>
                  <a:cubicBezTo>
                    <a:pt x="373065" y="563959"/>
                    <a:pt x="369561" y="562851"/>
                    <a:pt x="366756" y="560981"/>
                  </a:cubicBezTo>
                  <a:cubicBezTo>
                    <a:pt x="348618" y="567028"/>
                    <a:pt x="367310" y="563889"/>
                    <a:pt x="355537" y="549762"/>
                  </a:cubicBezTo>
                  <a:cubicBezTo>
                    <a:pt x="353069" y="546800"/>
                    <a:pt x="348010" y="548065"/>
                    <a:pt x="344317" y="546957"/>
                  </a:cubicBezTo>
                  <a:cubicBezTo>
                    <a:pt x="338653" y="545258"/>
                    <a:pt x="327488" y="541347"/>
                    <a:pt x="327488" y="541347"/>
                  </a:cubicBezTo>
                  <a:cubicBezTo>
                    <a:pt x="328423" y="538542"/>
                    <a:pt x="332753" y="534572"/>
                    <a:pt x="330293" y="532932"/>
                  </a:cubicBezTo>
                  <a:cubicBezTo>
                    <a:pt x="327085" y="530794"/>
                    <a:pt x="322521" y="534013"/>
                    <a:pt x="319073" y="535737"/>
                  </a:cubicBezTo>
                  <a:cubicBezTo>
                    <a:pt x="313042" y="538752"/>
                    <a:pt x="302243" y="546957"/>
                    <a:pt x="302243" y="546957"/>
                  </a:cubicBezTo>
                  <a:cubicBezTo>
                    <a:pt x="305048" y="547892"/>
                    <a:pt x="308567" y="547671"/>
                    <a:pt x="310658" y="549762"/>
                  </a:cubicBezTo>
                  <a:cubicBezTo>
                    <a:pt x="312749" y="551853"/>
                    <a:pt x="313463" y="555220"/>
                    <a:pt x="313463" y="558177"/>
                  </a:cubicBezTo>
                  <a:cubicBezTo>
                    <a:pt x="313463" y="567941"/>
                    <a:pt x="308965" y="574347"/>
                    <a:pt x="299439" y="577811"/>
                  </a:cubicBezTo>
                  <a:cubicBezTo>
                    <a:pt x="293226" y="580070"/>
                    <a:pt x="286349" y="579681"/>
                    <a:pt x="279804" y="580616"/>
                  </a:cubicBezTo>
                  <a:cubicBezTo>
                    <a:pt x="286349" y="600250"/>
                    <a:pt x="291024" y="595575"/>
                    <a:pt x="276999" y="600250"/>
                  </a:cubicBezTo>
                  <a:cubicBezTo>
                    <a:pt x="272324" y="599315"/>
                    <a:pt x="266346" y="600816"/>
                    <a:pt x="262975" y="597445"/>
                  </a:cubicBezTo>
                  <a:cubicBezTo>
                    <a:pt x="258794" y="593264"/>
                    <a:pt x="262975" y="582486"/>
                    <a:pt x="257365" y="580616"/>
                  </a:cubicBezTo>
                  <a:cubicBezTo>
                    <a:pt x="254560" y="579681"/>
                    <a:pt x="251595" y="579133"/>
                    <a:pt x="248950" y="577811"/>
                  </a:cubicBezTo>
                  <a:cubicBezTo>
                    <a:pt x="227198" y="566935"/>
                    <a:pt x="253272" y="576447"/>
                    <a:pt x="232121" y="569396"/>
                  </a:cubicBezTo>
                  <a:cubicBezTo>
                    <a:pt x="230251" y="566591"/>
                    <a:pt x="229144" y="563087"/>
                    <a:pt x="226511" y="560981"/>
                  </a:cubicBezTo>
                  <a:cubicBezTo>
                    <a:pt x="224202" y="559134"/>
                    <a:pt x="219943" y="560486"/>
                    <a:pt x="218096" y="558177"/>
                  </a:cubicBezTo>
                  <a:cubicBezTo>
                    <a:pt x="215688" y="555167"/>
                    <a:pt x="216226" y="550697"/>
                    <a:pt x="215291" y="546957"/>
                  </a:cubicBezTo>
                  <a:cubicBezTo>
                    <a:pt x="217161" y="544152"/>
                    <a:pt x="223706" y="540412"/>
                    <a:pt x="220901" y="538542"/>
                  </a:cubicBezTo>
                  <a:cubicBezTo>
                    <a:pt x="216935" y="535897"/>
                    <a:pt x="211644" y="541347"/>
                    <a:pt x="206877" y="541347"/>
                  </a:cubicBezTo>
                  <a:cubicBezTo>
                    <a:pt x="202943" y="541347"/>
                    <a:pt x="189159" y="534027"/>
                    <a:pt x="187242" y="532932"/>
                  </a:cubicBezTo>
                  <a:cubicBezTo>
                    <a:pt x="155130" y="514583"/>
                    <a:pt x="205217" y="542110"/>
                    <a:pt x="170413" y="518908"/>
                  </a:cubicBezTo>
                  <a:cubicBezTo>
                    <a:pt x="167953" y="517268"/>
                    <a:pt x="164583" y="517539"/>
                    <a:pt x="161998" y="516103"/>
                  </a:cubicBezTo>
                  <a:cubicBezTo>
                    <a:pt x="133064" y="500028"/>
                    <a:pt x="155795" y="508425"/>
                    <a:pt x="136754" y="502078"/>
                  </a:cubicBezTo>
                  <a:cubicBezTo>
                    <a:pt x="134884" y="499273"/>
                    <a:pt x="133681" y="495884"/>
                    <a:pt x="131144" y="493664"/>
                  </a:cubicBezTo>
                  <a:cubicBezTo>
                    <a:pt x="126070" y="489224"/>
                    <a:pt x="114315" y="482444"/>
                    <a:pt x="114315" y="482444"/>
                  </a:cubicBezTo>
                  <a:cubicBezTo>
                    <a:pt x="113380" y="479639"/>
                    <a:pt x="111510" y="476986"/>
                    <a:pt x="111510" y="474029"/>
                  </a:cubicBezTo>
                  <a:cubicBezTo>
                    <a:pt x="111510" y="459850"/>
                    <a:pt x="120861" y="466860"/>
                    <a:pt x="131144" y="460005"/>
                  </a:cubicBezTo>
                  <a:lnTo>
                    <a:pt x="139559" y="454395"/>
                  </a:lnTo>
                  <a:cubicBezTo>
                    <a:pt x="120345" y="435182"/>
                    <a:pt x="129330" y="441967"/>
                    <a:pt x="114315" y="431956"/>
                  </a:cubicBezTo>
                  <a:cubicBezTo>
                    <a:pt x="112445" y="429151"/>
                    <a:pt x="110213" y="426556"/>
                    <a:pt x="108705" y="423541"/>
                  </a:cubicBezTo>
                  <a:cubicBezTo>
                    <a:pt x="103246" y="412624"/>
                    <a:pt x="108488" y="416489"/>
                    <a:pt x="103095" y="403907"/>
                  </a:cubicBezTo>
                  <a:cubicBezTo>
                    <a:pt x="101767" y="400808"/>
                    <a:pt x="99355" y="398297"/>
                    <a:pt x="97485" y="395492"/>
                  </a:cubicBezTo>
                  <a:cubicBezTo>
                    <a:pt x="119925" y="388012"/>
                    <a:pt x="91875" y="395492"/>
                    <a:pt x="114315" y="395492"/>
                  </a:cubicBezTo>
                  <a:cubicBezTo>
                    <a:pt x="120002" y="395492"/>
                    <a:pt x="125534" y="393622"/>
                    <a:pt x="131144" y="392687"/>
                  </a:cubicBezTo>
                  <a:cubicBezTo>
                    <a:pt x="136053" y="389414"/>
                    <a:pt x="144000" y="385675"/>
                    <a:pt x="145169" y="378662"/>
                  </a:cubicBezTo>
                  <a:cubicBezTo>
                    <a:pt x="145655" y="375746"/>
                    <a:pt x="143299" y="373053"/>
                    <a:pt x="142364" y="370248"/>
                  </a:cubicBezTo>
                  <a:cubicBezTo>
                    <a:pt x="139559" y="372118"/>
                    <a:pt x="137274" y="375304"/>
                    <a:pt x="133949" y="375858"/>
                  </a:cubicBezTo>
                  <a:cubicBezTo>
                    <a:pt x="129303" y="376632"/>
                    <a:pt x="120051" y="369397"/>
                    <a:pt x="117120" y="367443"/>
                  </a:cubicBezTo>
                  <a:cubicBezTo>
                    <a:pt x="111148" y="349526"/>
                    <a:pt x="119864" y="367413"/>
                    <a:pt x="97485" y="356223"/>
                  </a:cubicBezTo>
                  <a:cubicBezTo>
                    <a:pt x="94470" y="354715"/>
                    <a:pt x="94259" y="350192"/>
                    <a:pt x="91875" y="347808"/>
                  </a:cubicBezTo>
                  <a:cubicBezTo>
                    <a:pt x="89492" y="345425"/>
                    <a:pt x="86266" y="344069"/>
                    <a:pt x="83461" y="342199"/>
                  </a:cubicBezTo>
                  <a:cubicBezTo>
                    <a:pt x="80656" y="343134"/>
                    <a:pt x="77137" y="347095"/>
                    <a:pt x="75046" y="345004"/>
                  </a:cubicBezTo>
                  <a:cubicBezTo>
                    <a:pt x="70865" y="340823"/>
                    <a:pt x="71306" y="333784"/>
                    <a:pt x="69436" y="328174"/>
                  </a:cubicBezTo>
                  <a:lnTo>
                    <a:pt x="66631" y="319759"/>
                  </a:lnTo>
                  <a:cubicBezTo>
                    <a:pt x="67902" y="314675"/>
                    <a:pt x="72770" y="293985"/>
                    <a:pt x="75046" y="291710"/>
                  </a:cubicBezTo>
                  <a:lnTo>
                    <a:pt x="83461" y="283296"/>
                  </a:lnTo>
                  <a:cubicBezTo>
                    <a:pt x="84853" y="273551"/>
                    <a:pt x="89912" y="250438"/>
                    <a:pt x="83461" y="241222"/>
                  </a:cubicBezTo>
                  <a:cubicBezTo>
                    <a:pt x="80070" y="236378"/>
                    <a:pt x="66631" y="235612"/>
                    <a:pt x="66631" y="235612"/>
                  </a:cubicBezTo>
                  <a:cubicBezTo>
                    <a:pt x="63826" y="236547"/>
                    <a:pt x="60861" y="237095"/>
                    <a:pt x="58216" y="238417"/>
                  </a:cubicBezTo>
                  <a:cubicBezTo>
                    <a:pt x="55201" y="239925"/>
                    <a:pt x="53127" y="243473"/>
                    <a:pt x="49802" y="244027"/>
                  </a:cubicBezTo>
                  <a:cubicBezTo>
                    <a:pt x="46886" y="244513"/>
                    <a:pt x="44192" y="242157"/>
                    <a:pt x="41387" y="241222"/>
                  </a:cubicBezTo>
                  <a:cubicBezTo>
                    <a:pt x="44724" y="238997"/>
                    <a:pt x="57277" y="231424"/>
                    <a:pt x="58216" y="227197"/>
                  </a:cubicBezTo>
                  <a:cubicBezTo>
                    <a:pt x="59450" y="221645"/>
                    <a:pt x="56347" y="215978"/>
                    <a:pt x="55412" y="210368"/>
                  </a:cubicBezTo>
                  <a:cubicBezTo>
                    <a:pt x="59650" y="193411"/>
                    <a:pt x="54559" y="200367"/>
                    <a:pt x="75046" y="193539"/>
                  </a:cubicBezTo>
                  <a:lnTo>
                    <a:pt x="83461" y="190734"/>
                  </a:lnTo>
                  <a:cubicBezTo>
                    <a:pt x="86266" y="192604"/>
                    <a:pt x="88550" y="195789"/>
                    <a:pt x="91875" y="196343"/>
                  </a:cubicBezTo>
                  <a:cubicBezTo>
                    <a:pt x="102661" y="198141"/>
                    <a:pt x="102684" y="188818"/>
                    <a:pt x="97485" y="182319"/>
                  </a:cubicBezTo>
                  <a:cubicBezTo>
                    <a:pt x="95638" y="180010"/>
                    <a:pt x="91969" y="180094"/>
                    <a:pt x="89070" y="179514"/>
                  </a:cubicBezTo>
                  <a:cubicBezTo>
                    <a:pt x="82587" y="178217"/>
                    <a:pt x="75981" y="177644"/>
                    <a:pt x="69436" y="176709"/>
                  </a:cubicBezTo>
                  <a:cubicBezTo>
                    <a:pt x="66631" y="174839"/>
                    <a:pt x="64102" y="172468"/>
                    <a:pt x="61021" y="171099"/>
                  </a:cubicBezTo>
                  <a:cubicBezTo>
                    <a:pt x="55618" y="168697"/>
                    <a:pt x="44192" y="165489"/>
                    <a:pt x="44192" y="165489"/>
                  </a:cubicBezTo>
                  <a:cubicBezTo>
                    <a:pt x="46997" y="164554"/>
                    <a:pt x="51285" y="165329"/>
                    <a:pt x="52607" y="162685"/>
                  </a:cubicBezTo>
                  <a:cubicBezTo>
                    <a:pt x="54266" y="159367"/>
                    <a:pt x="45137" y="147272"/>
                    <a:pt x="44192" y="145855"/>
                  </a:cubicBezTo>
                  <a:cubicBezTo>
                    <a:pt x="46062" y="143050"/>
                    <a:pt x="47170" y="139546"/>
                    <a:pt x="49802" y="137440"/>
                  </a:cubicBezTo>
                  <a:cubicBezTo>
                    <a:pt x="56401" y="132161"/>
                    <a:pt x="65640" y="137109"/>
                    <a:pt x="49802" y="131831"/>
                  </a:cubicBezTo>
                  <a:cubicBezTo>
                    <a:pt x="46997" y="129961"/>
                    <a:pt x="44544" y="127405"/>
                    <a:pt x="41387" y="126221"/>
                  </a:cubicBezTo>
                  <a:cubicBezTo>
                    <a:pt x="28644" y="121442"/>
                    <a:pt x="20246" y="125788"/>
                    <a:pt x="35777" y="120611"/>
                  </a:cubicBezTo>
                  <a:cubicBezTo>
                    <a:pt x="30167" y="119676"/>
                    <a:pt x="23389" y="121359"/>
                    <a:pt x="18948" y="117806"/>
                  </a:cubicBezTo>
                  <a:cubicBezTo>
                    <a:pt x="16639" y="115959"/>
                    <a:pt x="19444" y="111238"/>
                    <a:pt x="21753" y="109391"/>
                  </a:cubicBezTo>
                  <a:cubicBezTo>
                    <a:pt x="24763" y="106983"/>
                    <a:pt x="29232" y="107521"/>
                    <a:pt x="32972" y="106586"/>
                  </a:cubicBezTo>
                  <a:cubicBezTo>
                    <a:pt x="12945" y="99911"/>
                    <a:pt x="11223" y="104257"/>
                    <a:pt x="24558" y="95367"/>
                  </a:cubicBezTo>
                  <a:cubicBezTo>
                    <a:pt x="21753" y="94432"/>
                    <a:pt x="16860" y="95430"/>
                    <a:pt x="16143" y="92562"/>
                  </a:cubicBezTo>
                  <a:cubicBezTo>
                    <a:pt x="15325" y="89291"/>
                    <a:pt x="24385" y="86253"/>
                    <a:pt x="21753" y="84147"/>
                  </a:cubicBezTo>
                  <a:cubicBezTo>
                    <a:pt x="16590" y="80017"/>
                    <a:pt x="8663" y="82277"/>
                    <a:pt x="2118" y="81342"/>
                  </a:cubicBezTo>
                  <a:cubicBezTo>
                    <a:pt x="-1155" y="78070"/>
                    <a:pt x="-219" y="68253"/>
                    <a:pt x="2118" y="64513"/>
                  </a:cubicBezTo>
                  <a:lnTo>
                    <a:pt x="16143" y="58903"/>
                  </a:lnTo>
                  <a:close/>
                </a:path>
              </a:pathLst>
            </a:custGeom>
            <a:solidFill>
              <a:schemeClr val="bg1">
                <a:lumMod val="85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35" name="Freeform: Shape 334">
              <a:extLst>
                <a:ext uri="{FF2B5EF4-FFF2-40B4-BE49-F238E27FC236}">
                  <a16:creationId xmlns:a16="http://schemas.microsoft.com/office/drawing/2014/main" id="{783C86BF-E145-41B6-B123-13B19C4402A2}"/>
                </a:ext>
              </a:extLst>
            </p:cNvPr>
            <p:cNvSpPr/>
            <p:nvPr/>
          </p:nvSpPr>
          <p:spPr>
            <a:xfrm>
              <a:off x="8601421" y="4942484"/>
              <a:ext cx="817017" cy="604838"/>
            </a:xfrm>
            <a:custGeom>
              <a:avLst/>
              <a:gdLst>
                <a:gd name="connsiteX0" fmla="*/ 33586 w 817017"/>
                <a:gd name="connsiteY0" fmla="*/ 104775 h 604838"/>
                <a:gd name="connsiteX1" fmla="*/ 24061 w 817017"/>
                <a:gd name="connsiteY1" fmla="*/ 116682 h 604838"/>
                <a:gd name="connsiteX2" fmla="*/ 26442 w 817017"/>
                <a:gd name="connsiteY2" fmla="*/ 128588 h 604838"/>
                <a:gd name="connsiteX3" fmla="*/ 16917 w 817017"/>
                <a:gd name="connsiteY3" fmla="*/ 142875 h 604838"/>
                <a:gd name="connsiteX4" fmla="*/ 7392 w 817017"/>
                <a:gd name="connsiteY4" fmla="*/ 157163 h 604838"/>
                <a:gd name="connsiteX5" fmla="*/ 2629 w 817017"/>
                <a:gd name="connsiteY5" fmla="*/ 164307 h 604838"/>
                <a:gd name="connsiteX6" fmla="*/ 248 w 817017"/>
                <a:gd name="connsiteY6" fmla="*/ 176213 h 604838"/>
                <a:gd name="connsiteX7" fmla="*/ 9773 w 817017"/>
                <a:gd name="connsiteY7" fmla="*/ 190500 h 604838"/>
                <a:gd name="connsiteX8" fmla="*/ 7392 w 817017"/>
                <a:gd name="connsiteY8" fmla="*/ 197644 h 604838"/>
                <a:gd name="connsiteX9" fmla="*/ 248 w 817017"/>
                <a:gd name="connsiteY9" fmla="*/ 204788 h 604838"/>
                <a:gd name="connsiteX10" fmla="*/ 5011 w 817017"/>
                <a:gd name="connsiteY10" fmla="*/ 219075 h 604838"/>
                <a:gd name="connsiteX11" fmla="*/ 7392 w 817017"/>
                <a:gd name="connsiteY11" fmla="*/ 226219 h 604838"/>
                <a:gd name="connsiteX12" fmla="*/ 14536 w 817017"/>
                <a:gd name="connsiteY12" fmla="*/ 230982 h 604838"/>
                <a:gd name="connsiteX13" fmla="*/ 28823 w 817017"/>
                <a:gd name="connsiteY13" fmla="*/ 235744 h 604838"/>
                <a:gd name="connsiteX14" fmla="*/ 35967 w 817017"/>
                <a:gd name="connsiteY14" fmla="*/ 242888 h 604838"/>
                <a:gd name="connsiteX15" fmla="*/ 43111 w 817017"/>
                <a:gd name="connsiteY15" fmla="*/ 257175 h 604838"/>
                <a:gd name="connsiteX16" fmla="*/ 62161 w 817017"/>
                <a:gd name="connsiteY16" fmla="*/ 261938 h 604838"/>
                <a:gd name="connsiteX17" fmla="*/ 76448 w 817017"/>
                <a:gd name="connsiteY17" fmla="*/ 271463 h 604838"/>
                <a:gd name="connsiteX18" fmla="*/ 90736 w 817017"/>
                <a:gd name="connsiteY18" fmla="*/ 276225 h 604838"/>
                <a:gd name="connsiteX19" fmla="*/ 97879 w 817017"/>
                <a:gd name="connsiteY19" fmla="*/ 280988 h 604838"/>
                <a:gd name="connsiteX20" fmla="*/ 105023 w 817017"/>
                <a:gd name="connsiteY20" fmla="*/ 283369 h 604838"/>
                <a:gd name="connsiteX21" fmla="*/ 100261 w 817017"/>
                <a:gd name="connsiteY21" fmla="*/ 290513 h 604838"/>
                <a:gd name="connsiteX22" fmla="*/ 95498 w 817017"/>
                <a:gd name="connsiteY22" fmla="*/ 304800 h 604838"/>
                <a:gd name="connsiteX23" fmla="*/ 93117 w 817017"/>
                <a:gd name="connsiteY23" fmla="*/ 328613 h 604838"/>
                <a:gd name="connsiteX24" fmla="*/ 88354 w 817017"/>
                <a:gd name="connsiteY24" fmla="*/ 342900 h 604838"/>
                <a:gd name="connsiteX25" fmla="*/ 81211 w 817017"/>
                <a:gd name="connsiteY25" fmla="*/ 345282 h 604838"/>
                <a:gd name="connsiteX26" fmla="*/ 64542 w 817017"/>
                <a:gd name="connsiteY26" fmla="*/ 342900 h 604838"/>
                <a:gd name="connsiteX27" fmla="*/ 57398 w 817017"/>
                <a:gd name="connsiteY27" fmla="*/ 338138 h 604838"/>
                <a:gd name="connsiteX28" fmla="*/ 50254 w 817017"/>
                <a:gd name="connsiteY28" fmla="*/ 345282 h 604838"/>
                <a:gd name="connsiteX29" fmla="*/ 45492 w 817017"/>
                <a:gd name="connsiteY29" fmla="*/ 354807 h 604838"/>
                <a:gd name="connsiteX30" fmla="*/ 43111 w 817017"/>
                <a:gd name="connsiteY30" fmla="*/ 361950 h 604838"/>
                <a:gd name="connsiteX31" fmla="*/ 50254 w 817017"/>
                <a:gd name="connsiteY31" fmla="*/ 364332 h 604838"/>
                <a:gd name="connsiteX32" fmla="*/ 52636 w 817017"/>
                <a:gd name="connsiteY32" fmla="*/ 371475 h 604838"/>
                <a:gd name="connsiteX33" fmla="*/ 55017 w 817017"/>
                <a:gd name="connsiteY33" fmla="*/ 395288 h 604838"/>
                <a:gd name="connsiteX34" fmla="*/ 64542 w 817017"/>
                <a:gd name="connsiteY34" fmla="*/ 397669 h 604838"/>
                <a:gd name="connsiteX35" fmla="*/ 71686 w 817017"/>
                <a:gd name="connsiteY35" fmla="*/ 411957 h 604838"/>
                <a:gd name="connsiteX36" fmla="*/ 69304 w 817017"/>
                <a:gd name="connsiteY36" fmla="*/ 423863 h 604838"/>
                <a:gd name="connsiteX37" fmla="*/ 66923 w 817017"/>
                <a:gd name="connsiteY37" fmla="*/ 433388 h 604838"/>
                <a:gd name="connsiteX38" fmla="*/ 64542 w 817017"/>
                <a:gd name="connsiteY38" fmla="*/ 440532 h 604838"/>
                <a:gd name="connsiteX39" fmla="*/ 62161 w 817017"/>
                <a:gd name="connsiteY39" fmla="*/ 452438 h 604838"/>
                <a:gd name="connsiteX40" fmla="*/ 55017 w 817017"/>
                <a:gd name="connsiteY40" fmla="*/ 454819 h 604838"/>
                <a:gd name="connsiteX41" fmla="*/ 66923 w 817017"/>
                <a:gd name="connsiteY41" fmla="*/ 466725 h 604838"/>
                <a:gd name="connsiteX42" fmla="*/ 71686 w 817017"/>
                <a:gd name="connsiteY42" fmla="*/ 473869 h 604838"/>
                <a:gd name="connsiteX43" fmla="*/ 81211 w 817017"/>
                <a:gd name="connsiteY43" fmla="*/ 476250 h 604838"/>
                <a:gd name="connsiteX44" fmla="*/ 95498 w 817017"/>
                <a:gd name="connsiteY44" fmla="*/ 481013 h 604838"/>
                <a:gd name="connsiteX45" fmla="*/ 102642 w 817017"/>
                <a:gd name="connsiteY45" fmla="*/ 483394 h 604838"/>
                <a:gd name="connsiteX46" fmla="*/ 109786 w 817017"/>
                <a:gd name="connsiteY46" fmla="*/ 488157 h 604838"/>
                <a:gd name="connsiteX47" fmla="*/ 124073 w 817017"/>
                <a:gd name="connsiteY47" fmla="*/ 492919 h 604838"/>
                <a:gd name="connsiteX48" fmla="*/ 126454 w 817017"/>
                <a:gd name="connsiteY48" fmla="*/ 500063 h 604838"/>
                <a:gd name="connsiteX49" fmla="*/ 128836 w 817017"/>
                <a:gd name="connsiteY49" fmla="*/ 542925 h 604838"/>
                <a:gd name="connsiteX50" fmla="*/ 143123 w 817017"/>
                <a:gd name="connsiteY50" fmla="*/ 547688 h 604838"/>
                <a:gd name="connsiteX51" fmla="*/ 140742 w 817017"/>
                <a:gd name="connsiteY51" fmla="*/ 559594 h 604838"/>
                <a:gd name="connsiteX52" fmla="*/ 135979 w 817017"/>
                <a:gd name="connsiteY52" fmla="*/ 573882 h 604838"/>
                <a:gd name="connsiteX53" fmla="*/ 140742 w 817017"/>
                <a:gd name="connsiteY53" fmla="*/ 581025 h 604838"/>
                <a:gd name="connsiteX54" fmla="*/ 147886 w 817017"/>
                <a:gd name="connsiteY54" fmla="*/ 585788 h 604838"/>
                <a:gd name="connsiteX55" fmla="*/ 159792 w 817017"/>
                <a:gd name="connsiteY55" fmla="*/ 604838 h 604838"/>
                <a:gd name="connsiteX56" fmla="*/ 188367 w 817017"/>
                <a:gd name="connsiteY56" fmla="*/ 602457 h 604838"/>
                <a:gd name="connsiteX57" fmla="*/ 200273 w 817017"/>
                <a:gd name="connsiteY57" fmla="*/ 585788 h 604838"/>
                <a:gd name="connsiteX58" fmla="*/ 207417 w 817017"/>
                <a:gd name="connsiteY58" fmla="*/ 581025 h 604838"/>
                <a:gd name="connsiteX59" fmla="*/ 214561 w 817017"/>
                <a:gd name="connsiteY59" fmla="*/ 583407 h 604838"/>
                <a:gd name="connsiteX60" fmla="*/ 233611 w 817017"/>
                <a:gd name="connsiteY60" fmla="*/ 588169 h 604838"/>
                <a:gd name="connsiteX61" fmla="*/ 255042 w 817017"/>
                <a:gd name="connsiteY61" fmla="*/ 581025 h 604838"/>
                <a:gd name="connsiteX62" fmla="*/ 262186 w 817017"/>
                <a:gd name="connsiteY62" fmla="*/ 566738 h 604838"/>
                <a:gd name="connsiteX63" fmla="*/ 274092 w 817017"/>
                <a:gd name="connsiteY63" fmla="*/ 564357 h 604838"/>
                <a:gd name="connsiteX64" fmla="*/ 288379 w 817017"/>
                <a:gd name="connsiteY64" fmla="*/ 559594 h 604838"/>
                <a:gd name="connsiteX65" fmla="*/ 297904 w 817017"/>
                <a:gd name="connsiteY65" fmla="*/ 542925 h 604838"/>
                <a:gd name="connsiteX66" fmla="*/ 302667 w 817017"/>
                <a:gd name="connsiteY66" fmla="*/ 528638 h 604838"/>
                <a:gd name="connsiteX67" fmla="*/ 307429 w 817017"/>
                <a:gd name="connsiteY67" fmla="*/ 521494 h 604838"/>
                <a:gd name="connsiteX68" fmla="*/ 309811 w 817017"/>
                <a:gd name="connsiteY68" fmla="*/ 528638 h 604838"/>
                <a:gd name="connsiteX69" fmla="*/ 324098 w 817017"/>
                <a:gd name="connsiteY69" fmla="*/ 528638 h 604838"/>
                <a:gd name="connsiteX70" fmla="*/ 328861 w 817017"/>
                <a:gd name="connsiteY70" fmla="*/ 535782 h 604838"/>
                <a:gd name="connsiteX71" fmla="*/ 338386 w 817017"/>
                <a:gd name="connsiteY71" fmla="*/ 533400 h 604838"/>
                <a:gd name="connsiteX72" fmla="*/ 347911 w 817017"/>
                <a:gd name="connsiteY72" fmla="*/ 535782 h 604838"/>
                <a:gd name="connsiteX73" fmla="*/ 362198 w 817017"/>
                <a:gd name="connsiteY73" fmla="*/ 545307 h 604838"/>
                <a:gd name="connsiteX74" fmla="*/ 369342 w 817017"/>
                <a:gd name="connsiteY74" fmla="*/ 550069 h 604838"/>
                <a:gd name="connsiteX75" fmla="*/ 376486 w 817017"/>
                <a:gd name="connsiteY75" fmla="*/ 552450 h 604838"/>
                <a:gd name="connsiteX76" fmla="*/ 383629 w 817017"/>
                <a:gd name="connsiteY76" fmla="*/ 547688 h 604838"/>
                <a:gd name="connsiteX77" fmla="*/ 390773 w 817017"/>
                <a:gd name="connsiteY77" fmla="*/ 547688 h 604838"/>
                <a:gd name="connsiteX78" fmla="*/ 407442 w 817017"/>
                <a:gd name="connsiteY78" fmla="*/ 545307 h 604838"/>
                <a:gd name="connsiteX79" fmla="*/ 414586 w 817017"/>
                <a:gd name="connsiteY79" fmla="*/ 547688 h 604838"/>
                <a:gd name="connsiteX80" fmla="*/ 421729 w 817017"/>
                <a:gd name="connsiteY80" fmla="*/ 554832 h 604838"/>
                <a:gd name="connsiteX81" fmla="*/ 436017 w 817017"/>
                <a:gd name="connsiteY81" fmla="*/ 547688 h 604838"/>
                <a:gd name="connsiteX82" fmla="*/ 445542 w 817017"/>
                <a:gd name="connsiteY82" fmla="*/ 561975 h 604838"/>
                <a:gd name="connsiteX83" fmla="*/ 447923 w 817017"/>
                <a:gd name="connsiteY83" fmla="*/ 571500 h 604838"/>
                <a:gd name="connsiteX84" fmla="*/ 462211 w 817017"/>
                <a:gd name="connsiteY84" fmla="*/ 576263 h 604838"/>
                <a:gd name="connsiteX85" fmla="*/ 469354 w 817017"/>
                <a:gd name="connsiteY85" fmla="*/ 561975 h 604838"/>
                <a:gd name="connsiteX86" fmla="*/ 474117 w 817017"/>
                <a:gd name="connsiteY86" fmla="*/ 569119 h 604838"/>
                <a:gd name="connsiteX87" fmla="*/ 488404 w 817017"/>
                <a:gd name="connsiteY87" fmla="*/ 561975 h 604838"/>
                <a:gd name="connsiteX88" fmla="*/ 502692 w 817017"/>
                <a:gd name="connsiteY88" fmla="*/ 554832 h 604838"/>
                <a:gd name="connsiteX89" fmla="*/ 509836 w 817017"/>
                <a:gd name="connsiteY89" fmla="*/ 550069 h 604838"/>
                <a:gd name="connsiteX90" fmla="*/ 516979 w 817017"/>
                <a:gd name="connsiteY90" fmla="*/ 554832 h 604838"/>
                <a:gd name="connsiteX91" fmla="*/ 524123 w 817017"/>
                <a:gd name="connsiteY91" fmla="*/ 552450 h 604838"/>
                <a:gd name="connsiteX92" fmla="*/ 528886 w 817017"/>
                <a:gd name="connsiteY92" fmla="*/ 545307 h 604838"/>
                <a:gd name="connsiteX93" fmla="*/ 562223 w 817017"/>
                <a:gd name="connsiteY93" fmla="*/ 538163 h 604838"/>
                <a:gd name="connsiteX94" fmla="*/ 574129 w 817017"/>
                <a:gd name="connsiteY94" fmla="*/ 519113 h 604838"/>
                <a:gd name="connsiteX95" fmla="*/ 576511 w 817017"/>
                <a:gd name="connsiteY95" fmla="*/ 511969 h 604838"/>
                <a:gd name="connsiteX96" fmla="*/ 569367 w 817017"/>
                <a:gd name="connsiteY96" fmla="*/ 504825 h 604838"/>
                <a:gd name="connsiteX97" fmla="*/ 574129 w 817017"/>
                <a:gd name="connsiteY97" fmla="*/ 497682 h 604838"/>
                <a:gd name="connsiteX98" fmla="*/ 576511 w 817017"/>
                <a:gd name="connsiteY98" fmla="*/ 490538 h 604838"/>
                <a:gd name="connsiteX99" fmla="*/ 569367 w 817017"/>
                <a:gd name="connsiteY99" fmla="*/ 485775 h 604838"/>
                <a:gd name="connsiteX100" fmla="*/ 559842 w 817017"/>
                <a:gd name="connsiteY100" fmla="*/ 471488 h 604838"/>
                <a:gd name="connsiteX101" fmla="*/ 552698 w 817017"/>
                <a:gd name="connsiteY101" fmla="*/ 469107 h 604838"/>
                <a:gd name="connsiteX102" fmla="*/ 555079 w 817017"/>
                <a:gd name="connsiteY102" fmla="*/ 461963 h 604838"/>
                <a:gd name="connsiteX103" fmla="*/ 555079 w 817017"/>
                <a:gd name="connsiteY103" fmla="*/ 452438 h 604838"/>
                <a:gd name="connsiteX104" fmla="*/ 562223 w 817017"/>
                <a:gd name="connsiteY104" fmla="*/ 454819 h 604838"/>
                <a:gd name="connsiteX105" fmla="*/ 569367 w 817017"/>
                <a:gd name="connsiteY105" fmla="*/ 450057 h 604838"/>
                <a:gd name="connsiteX106" fmla="*/ 574129 w 817017"/>
                <a:gd name="connsiteY106" fmla="*/ 457200 h 604838"/>
                <a:gd name="connsiteX107" fmla="*/ 588417 w 817017"/>
                <a:gd name="connsiteY107" fmla="*/ 461963 h 604838"/>
                <a:gd name="connsiteX108" fmla="*/ 595561 w 817017"/>
                <a:gd name="connsiteY108" fmla="*/ 457200 h 604838"/>
                <a:gd name="connsiteX109" fmla="*/ 602704 w 817017"/>
                <a:gd name="connsiteY109" fmla="*/ 461963 h 604838"/>
                <a:gd name="connsiteX110" fmla="*/ 595561 w 817017"/>
                <a:gd name="connsiteY110" fmla="*/ 445294 h 604838"/>
                <a:gd name="connsiteX111" fmla="*/ 597942 w 817017"/>
                <a:gd name="connsiteY111" fmla="*/ 438150 h 604838"/>
                <a:gd name="connsiteX112" fmla="*/ 612229 w 817017"/>
                <a:gd name="connsiteY112" fmla="*/ 428625 h 604838"/>
                <a:gd name="connsiteX113" fmla="*/ 614611 w 817017"/>
                <a:gd name="connsiteY113" fmla="*/ 416719 h 604838"/>
                <a:gd name="connsiteX114" fmla="*/ 612229 w 817017"/>
                <a:gd name="connsiteY114" fmla="*/ 407194 h 604838"/>
                <a:gd name="connsiteX115" fmla="*/ 626517 w 817017"/>
                <a:gd name="connsiteY115" fmla="*/ 411957 h 604838"/>
                <a:gd name="connsiteX116" fmla="*/ 636042 w 817017"/>
                <a:gd name="connsiteY116" fmla="*/ 414338 h 604838"/>
                <a:gd name="connsiteX117" fmla="*/ 643186 w 817017"/>
                <a:gd name="connsiteY117" fmla="*/ 409575 h 604838"/>
                <a:gd name="connsiteX118" fmla="*/ 647948 w 817017"/>
                <a:gd name="connsiteY118" fmla="*/ 395288 h 604838"/>
                <a:gd name="connsiteX119" fmla="*/ 664617 w 817017"/>
                <a:gd name="connsiteY119" fmla="*/ 388144 h 604838"/>
                <a:gd name="connsiteX120" fmla="*/ 666998 w 817017"/>
                <a:gd name="connsiteY120" fmla="*/ 381000 h 604838"/>
                <a:gd name="connsiteX121" fmla="*/ 669379 w 817017"/>
                <a:gd name="connsiteY121" fmla="*/ 369094 h 604838"/>
                <a:gd name="connsiteX122" fmla="*/ 676523 w 817017"/>
                <a:gd name="connsiteY122" fmla="*/ 371475 h 604838"/>
                <a:gd name="connsiteX123" fmla="*/ 686048 w 817017"/>
                <a:gd name="connsiteY123" fmla="*/ 369094 h 604838"/>
                <a:gd name="connsiteX124" fmla="*/ 693192 w 817017"/>
                <a:gd name="connsiteY124" fmla="*/ 371475 h 604838"/>
                <a:gd name="connsiteX125" fmla="*/ 697954 w 817017"/>
                <a:gd name="connsiteY125" fmla="*/ 364332 h 604838"/>
                <a:gd name="connsiteX126" fmla="*/ 705098 w 817017"/>
                <a:gd name="connsiteY126" fmla="*/ 361950 h 604838"/>
                <a:gd name="connsiteX127" fmla="*/ 712242 w 817017"/>
                <a:gd name="connsiteY127" fmla="*/ 364332 h 604838"/>
                <a:gd name="connsiteX128" fmla="*/ 726529 w 817017"/>
                <a:gd name="connsiteY128" fmla="*/ 373857 h 604838"/>
                <a:gd name="connsiteX129" fmla="*/ 736054 w 817017"/>
                <a:gd name="connsiteY129" fmla="*/ 376238 h 604838"/>
                <a:gd name="connsiteX130" fmla="*/ 750342 w 817017"/>
                <a:gd name="connsiteY130" fmla="*/ 383382 h 604838"/>
                <a:gd name="connsiteX131" fmla="*/ 752723 w 817017"/>
                <a:gd name="connsiteY131" fmla="*/ 376238 h 604838"/>
                <a:gd name="connsiteX132" fmla="*/ 757486 w 817017"/>
                <a:gd name="connsiteY132" fmla="*/ 369094 h 604838"/>
                <a:gd name="connsiteX133" fmla="*/ 764629 w 817017"/>
                <a:gd name="connsiteY133" fmla="*/ 371475 h 604838"/>
                <a:gd name="connsiteX134" fmla="*/ 774154 w 817017"/>
                <a:gd name="connsiteY134" fmla="*/ 366713 h 604838"/>
                <a:gd name="connsiteX135" fmla="*/ 783679 w 817017"/>
                <a:gd name="connsiteY135" fmla="*/ 366713 h 604838"/>
                <a:gd name="connsiteX136" fmla="*/ 797967 w 817017"/>
                <a:gd name="connsiteY136" fmla="*/ 361950 h 604838"/>
                <a:gd name="connsiteX137" fmla="*/ 793204 w 817017"/>
                <a:gd name="connsiteY137" fmla="*/ 345282 h 604838"/>
                <a:gd name="connsiteX138" fmla="*/ 788442 w 817017"/>
                <a:gd name="connsiteY138" fmla="*/ 338138 h 604838"/>
                <a:gd name="connsiteX139" fmla="*/ 774154 w 817017"/>
                <a:gd name="connsiteY139" fmla="*/ 333375 h 604838"/>
                <a:gd name="connsiteX140" fmla="*/ 767011 w 817017"/>
                <a:gd name="connsiteY140" fmla="*/ 326232 h 604838"/>
                <a:gd name="connsiteX141" fmla="*/ 759867 w 817017"/>
                <a:gd name="connsiteY141" fmla="*/ 323850 h 604838"/>
                <a:gd name="connsiteX142" fmla="*/ 747961 w 817017"/>
                <a:gd name="connsiteY142" fmla="*/ 295275 h 604838"/>
                <a:gd name="connsiteX143" fmla="*/ 740817 w 817017"/>
                <a:gd name="connsiteY143" fmla="*/ 290513 h 604838"/>
                <a:gd name="connsiteX144" fmla="*/ 721767 w 817017"/>
                <a:gd name="connsiteY144" fmla="*/ 285750 h 604838"/>
                <a:gd name="connsiteX145" fmla="*/ 707479 w 817017"/>
                <a:gd name="connsiteY145" fmla="*/ 283369 h 604838"/>
                <a:gd name="connsiteX146" fmla="*/ 717004 w 817017"/>
                <a:gd name="connsiteY146" fmla="*/ 269082 h 604838"/>
                <a:gd name="connsiteX147" fmla="*/ 728911 w 817017"/>
                <a:gd name="connsiteY147" fmla="*/ 266700 h 604838"/>
                <a:gd name="connsiteX148" fmla="*/ 736054 w 817017"/>
                <a:gd name="connsiteY148" fmla="*/ 242888 h 604838"/>
                <a:gd name="connsiteX149" fmla="*/ 740817 w 817017"/>
                <a:gd name="connsiteY149" fmla="*/ 235744 h 604838"/>
                <a:gd name="connsiteX150" fmla="*/ 747961 w 817017"/>
                <a:gd name="connsiteY150" fmla="*/ 233363 h 604838"/>
                <a:gd name="connsiteX151" fmla="*/ 755104 w 817017"/>
                <a:gd name="connsiteY151" fmla="*/ 238125 h 604838"/>
                <a:gd name="connsiteX152" fmla="*/ 762248 w 817017"/>
                <a:gd name="connsiteY152" fmla="*/ 235744 h 604838"/>
                <a:gd name="connsiteX153" fmla="*/ 757486 w 817017"/>
                <a:gd name="connsiteY153" fmla="*/ 221457 h 604838"/>
                <a:gd name="connsiteX154" fmla="*/ 752723 w 817017"/>
                <a:gd name="connsiteY154" fmla="*/ 207169 h 604838"/>
                <a:gd name="connsiteX155" fmla="*/ 750342 w 817017"/>
                <a:gd name="connsiteY155" fmla="*/ 200025 h 604838"/>
                <a:gd name="connsiteX156" fmla="*/ 747961 w 817017"/>
                <a:gd name="connsiteY156" fmla="*/ 192882 h 604838"/>
                <a:gd name="connsiteX157" fmla="*/ 726529 w 817017"/>
                <a:gd name="connsiteY157" fmla="*/ 152400 h 604838"/>
                <a:gd name="connsiteX158" fmla="*/ 736054 w 817017"/>
                <a:gd name="connsiteY158" fmla="*/ 150019 h 604838"/>
                <a:gd name="connsiteX159" fmla="*/ 743198 w 817017"/>
                <a:gd name="connsiteY159" fmla="*/ 145257 h 604838"/>
                <a:gd name="connsiteX160" fmla="*/ 747961 w 817017"/>
                <a:gd name="connsiteY160" fmla="*/ 130969 h 604838"/>
                <a:gd name="connsiteX161" fmla="*/ 750342 w 817017"/>
                <a:gd name="connsiteY161" fmla="*/ 123825 h 604838"/>
                <a:gd name="connsiteX162" fmla="*/ 752723 w 817017"/>
                <a:gd name="connsiteY162" fmla="*/ 114300 h 604838"/>
                <a:gd name="connsiteX163" fmla="*/ 767011 w 817017"/>
                <a:gd name="connsiteY163" fmla="*/ 111919 h 604838"/>
                <a:gd name="connsiteX164" fmla="*/ 786061 w 817017"/>
                <a:gd name="connsiteY164" fmla="*/ 107157 h 604838"/>
                <a:gd name="connsiteX165" fmla="*/ 793204 w 817017"/>
                <a:gd name="connsiteY165" fmla="*/ 109538 h 604838"/>
                <a:gd name="connsiteX166" fmla="*/ 802729 w 817017"/>
                <a:gd name="connsiteY166" fmla="*/ 114300 h 604838"/>
                <a:gd name="connsiteX167" fmla="*/ 812254 w 817017"/>
                <a:gd name="connsiteY167" fmla="*/ 100013 h 604838"/>
                <a:gd name="connsiteX168" fmla="*/ 817017 w 817017"/>
                <a:gd name="connsiteY168" fmla="*/ 85725 h 604838"/>
                <a:gd name="connsiteX169" fmla="*/ 809873 w 817017"/>
                <a:gd name="connsiteY169" fmla="*/ 61913 h 604838"/>
                <a:gd name="connsiteX170" fmla="*/ 797967 w 817017"/>
                <a:gd name="connsiteY170" fmla="*/ 42863 h 604838"/>
                <a:gd name="connsiteX171" fmla="*/ 790823 w 817017"/>
                <a:gd name="connsiteY171" fmla="*/ 40482 h 604838"/>
                <a:gd name="connsiteX172" fmla="*/ 759867 w 817017"/>
                <a:gd name="connsiteY172" fmla="*/ 42863 h 604838"/>
                <a:gd name="connsiteX173" fmla="*/ 750342 w 817017"/>
                <a:gd name="connsiteY173" fmla="*/ 40482 h 604838"/>
                <a:gd name="connsiteX174" fmla="*/ 736054 w 817017"/>
                <a:gd name="connsiteY174" fmla="*/ 35719 h 604838"/>
                <a:gd name="connsiteX175" fmla="*/ 726529 w 817017"/>
                <a:gd name="connsiteY175" fmla="*/ 21432 h 604838"/>
                <a:gd name="connsiteX176" fmla="*/ 712242 w 817017"/>
                <a:gd name="connsiteY176" fmla="*/ 11907 h 604838"/>
                <a:gd name="connsiteX177" fmla="*/ 705098 w 817017"/>
                <a:gd name="connsiteY177" fmla="*/ 16669 h 604838"/>
                <a:gd name="connsiteX178" fmla="*/ 695573 w 817017"/>
                <a:gd name="connsiteY178" fmla="*/ 26194 h 604838"/>
                <a:gd name="connsiteX179" fmla="*/ 688429 w 817017"/>
                <a:gd name="connsiteY179" fmla="*/ 23813 h 604838"/>
                <a:gd name="connsiteX180" fmla="*/ 683667 w 817017"/>
                <a:gd name="connsiteY180" fmla="*/ 16669 h 604838"/>
                <a:gd name="connsiteX181" fmla="*/ 676523 w 817017"/>
                <a:gd name="connsiteY181" fmla="*/ 9525 h 604838"/>
                <a:gd name="connsiteX182" fmla="*/ 655092 w 817017"/>
                <a:gd name="connsiteY182" fmla="*/ 16669 h 604838"/>
                <a:gd name="connsiteX183" fmla="*/ 650329 w 817017"/>
                <a:gd name="connsiteY183" fmla="*/ 23813 h 604838"/>
                <a:gd name="connsiteX184" fmla="*/ 638423 w 817017"/>
                <a:gd name="connsiteY184" fmla="*/ 21432 h 604838"/>
                <a:gd name="connsiteX185" fmla="*/ 631279 w 817017"/>
                <a:gd name="connsiteY185" fmla="*/ 19050 h 604838"/>
                <a:gd name="connsiteX186" fmla="*/ 619373 w 817017"/>
                <a:gd name="connsiteY186" fmla="*/ 0 h 604838"/>
                <a:gd name="connsiteX187" fmla="*/ 571748 w 817017"/>
                <a:gd name="connsiteY187" fmla="*/ 7144 h 604838"/>
                <a:gd name="connsiteX188" fmla="*/ 557461 w 817017"/>
                <a:gd name="connsiteY188" fmla="*/ 11907 h 604838"/>
                <a:gd name="connsiteX189" fmla="*/ 550317 w 817017"/>
                <a:gd name="connsiteY189" fmla="*/ 16669 h 604838"/>
                <a:gd name="connsiteX190" fmla="*/ 540792 w 817017"/>
                <a:gd name="connsiteY190" fmla="*/ 21432 h 604838"/>
                <a:gd name="connsiteX191" fmla="*/ 526504 w 817017"/>
                <a:gd name="connsiteY191" fmla="*/ 33338 h 604838"/>
                <a:gd name="connsiteX192" fmla="*/ 502692 w 817017"/>
                <a:gd name="connsiteY192" fmla="*/ 38100 h 604838"/>
                <a:gd name="connsiteX193" fmla="*/ 497929 w 817017"/>
                <a:gd name="connsiteY193" fmla="*/ 45244 h 604838"/>
                <a:gd name="connsiteX194" fmla="*/ 486023 w 817017"/>
                <a:gd name="connsiteY194" fmla="*/ 66675 h 604838"/>
                <a:gd name="connsiteX195" fmla="*/ 471736 w 817017"/>
                <a:gd name="connsiteY195" fmla="*/ 76200 h 604838"/>
                <a:gd name="connsiteX196" fmla="*/ 469354 w 817017"/>
                <a:gd name="connsiteY196" fmla="*/ 90488 h 604838"/>
                <a:gd name="connsiteX197" fmla="*/ 457448 w 817017"/>
                <a:gd name="connsiteY197" fmla="*/ 104775 h 604838"/>
                <a:gd name="connsiteX198" fmla="*/ 455067 w 817017"/>
                <a:gd name="connsiteY198" fmla="*/ 114300 h 604838"/>
                <a:gd name="connsiteX199" fmla="*/ 447923 w 817017"/>
                <a:gd name="connsiteY199" fmla="*/ 121444 h 604838"/>
                <a:gd name="connsiteX200" fmla="*/ 431254 w 817017"/>
                <a:gd name="connsiteY200" fmla="*/ 130969 h 604838"/>
                <a:gd name="connsiteX201" fmla="*/ 416967 w 817017"/>
                <a:gd name="connsiteY201" fmla="*/ 135732 h 604838"/>
                <a:gd name="connsiteX202" fmla="*/ 409823 w 817017"/>
                <a:gd name="connsiteY202" fmla="*/ 138113 h 604838"/>
                <a:gd name="connsiteX203" fmla="*/ 405061 w 817017"/>
                <a:gd name="connsiteY203" fmla="*/ 145257 h 604838"/>
                <a:gd name="connsiteX204" fmla="*/ 381248 w 817017"/>
                <a:gd name="connsiteY204" fmla="*/ 140494 h 604838"/>
                <a:gd name="connsiteX205" fmla="*/ 331242 w 817017"/>
                <a:gd name="connsiteY205" fmla="*/ 138113 h 604838"/>
                <a:gd name="connsiteX206" fmla="*/ 312192 w 817017"/>
                <a:gd name="connsiteY206" fmla="*/ 140494 h 604838"/>
                <a:gd name="connsiteX207" fmla="*/ 305048 w 817017"/>
                <a:gd name="connsiteY207" fmla="*/ 145257 h 604838"/>
                <a:gd name="connsiteX208" fmla="*/ 297904 w 817017"/>
                <a:gd name="connsiteY208" fmla="*/ 147638 h 604838"/>
                <a:gd name="connsiteX209" fmla="*/ 295523 w 817017"/>
                <a:gd name="connsiteY209" fmla="*/ 140494 h 604838"/>
                <a:gd name="connsiteX210" fmla="*/ 290761 w 817017"/>
                <a:gd name="connsiteY210" fmla="*/ 147638 h 604838"/>
                <a:gd name="connsiteX211" fmla="*/ 281236 w 817017"/>
                <a:gd name="connsiteY211" fmla="*/ 150019 h 604838"/>
                <a:gd name="connsiteX212" fmla="*/ 274092 w 817017"/>
                <a:gd name="connsiteY212" fmla="*/ 152400 h 604838"/>
                <a:gd name="connsiteX213" fmla="*/ 266948 w 817017"/>
                <a:gd name="connsiteY213" fmla="*/ 157163 h 604838"/>
                <a:gd name="connsiteX214" fmla="*/ 247898 w 817017"/>
                <a:gd name="connsiteY214" fmla="*/ 161925 h 604838"/>
                <a:gd name="connsiteX215" fmla="*/ 240754 w 817017"/>
                <a:gd name="connsiteY215" fmla="*/ 164307 h 604838"/>
                <a:gd name="connsiteX216" fmla="*/ 231229 w 817017"/>
                <a:gd name="connsiteY216" fmla="*/ 166688 h 604838"/>
                <a:gd name="connsiteX217" fmla="*/ 216942 w 817017"/>
                <a:gd name="connsiteY217" fmla="*/ 159544 h 604838"/>
                <a:gd name="connsiteX218" fmla="*/ 209798 w 817017"/>
                <a:gd name="connsiteY218" fmla="*/ 157163 h 604838"/>
                <a:gd name="connsiteX219" fmla="*/ 195511 w 817017"/>
                <a:gd name="connsiteY219" fmla="*/ 159544 h 604838"/>
                <a:gd name="connsiteX220" fmla="*/ 188367 w 817017"/>
                <a:gd name="connsiteY220" fmla="*/ 164307 h 604838"/>
                <a:gd name="connsiteX221" fmla="*/ 166936 w 817017"/>
                <a:gd name="connsiteY221" fmla="*/ 161925 h 604838"/>
                <a:gd name="connsiteX222" fmla="*/ 152648 w 817017"/>
                <a:gd name="connsiteY222" fmla="*/ 150019 h 604838"/>
                <a:gd name="connsiteX223" fmla="*/ 143123 w 817017"/>
                <a:gd name="connsiteY223" fmla="*/ 152400 h 604838"/>
                <a:gd name="connsiteX224" fmla="*/ 128836 w 817017"/>
                <a:gd name="connsiteY224" fmla="*/ 157163 h 604838"/>
                <a:gd name="connsiteX225" fmla="*/ 114548 w 817017"/>
                <a:gd name="connsiteY225" fmla="*/ 164307 h 604838"/>
                <a:gd name="connsiteX226" fmla="*/ 81211 w 817017"/>
                <a:gd name="connsiteY226" fmla="*/ 154782 h 604838"/>
                <a:gd name="connsiteX227" fmla="*/ 78829 w 817017"/>
                <a:gd name="connsiteY227" fmla="*/ 147638 h 604838"/>
                <a:gd name="connsiteX228" fmla="*/ 81211 w 817017"/>
                <a:gd name="connsiteY228" fmla="*/ 138113 h 604838"/>
                <a:gd name="connsiteX229" fmla="*/ 88354 w 817017"/>
                <a:gd name="connsiteY229" fmla="*/ 133350 h 604838"/>
                <a:gd name="connsiteX230" fmla="*/ 93117 w 817017"/>
                <a:gd name="connsiteY230" fmla="*/ 119063 h 604838"/>
                <a:gd name="connsiteX231" fmla="*/ 76448 w 817017"/>
                <a:gd name="connsiteY231" fmla="*/ 111919 h 604838"/>
                <a:gd name="connsiteX232" fmla="*/ 45492 w 817017"/>
                <a:gd name="connsiteY232" fmla="*/ 104775 h 604838"/>
                <a:gd name="connsiteX233" fmla="*/ 33586 w 817017"/>
                <a:gd name="connsiteY233" fmla="*/ 104775 h 604838"/>
                <a:gd name="connsiteX0" fmla="*/ 33586 w 817017"/>
                <a:gd name="connsiteY0" fmla="*/ 104775 h 604838"/>
                <a:gd name="connsiteX1" fmla="*/ 24061 w 817017"/>
                <a:gd name="connsiteY1" fmla="*/ 116682 h 604838"/>
                <a:gd name="connsiteX2" fmla="*/ 26442 w 817017"/>
                <a:gd name="connsiteY2" fmla="*/ 128588 h 604838"/>
                <a:gd name="connsiteX3" fmla="*/ 16917 w 817017"/>
                <a:gd name="connsiteY3" fmla="*/ 142875 h 604838"/>
                <a:gd name="connsiteX4" fmla="*/ 7392 w 817017"/>
                <a:gd name="connsiteY4" fmla="*/ 157163 h 604838"/>
                <a:gd name="connsiteX5" fmla="*/ 2629 w 817017"/>
                <a:gd name="connsiteY5" fmla="*/ 164307 h 604838"/>
                <a:gd name="connsiteX6" fmla="*/ 248 w 817017"/>
                <a:gd name="connsiteY6" fmla="*/ 176213 h 604838"/>
                <a:gd name="connsiteX7" fmla="*/ 9773 w 817017"/>
                <a:gd name="connsiteY7" fmla="*/ 190500 h 604838"/>
                <a:gd name="connsiteX8" fmla="*/ 7392 w 817017"/>
                <a:gd name="connsiteY8" fmla="*/ 197644 h 604838"/>
                <a:gd name="connsiteX9" fmla="*/ 248 w 817017"/>
                <a:gd name="connsiteY9" fmla="*/ 204788 h 604838"/>
                <a:gd name="connsiteX10" fmla="*/ 5011 w 817017"/>
                <a:gd name="connsiteY10" fmla="*/ 219075 h 604838"/>
                <a:gd name="connsiteX11" fmla="*/ 7392 w 817017"/>
                <a:gd name="connsiteY11" fmla="*/ 226219 h 604838"/>
                <a:gd name="connsiteX12" fmla="*/ 14536 w 817017"/>
                <a:gd name="connsiteY12" fmla="*/ 230982 h 604838"/>
                <a:gd name="connsiteX13" fmla="*/ 28823 w 817017"/>
                <a:gd name="connsiteY13" fmla="*/ 235744 h 604838"/>
                <a:gd name="connsiteX14" fmla="*/ 35967 w 817017"/>
                <a:gd name="connsiteY14" fmla="*/ 242888 h 604838"/>
                <a:gd name="connsiteX15" fmla="*/ 43111 w 817017"/>
                <a:gd name="connsiteY15" fmla="*/ 257175 h 604838"/>
                <a:gd name="connsiteX16" fmla="*/ 62161 w 817017"/>
                <a:gd name="connsiteY16" fmla="*/ 261938 h 604838"/>
                <a:gd name="connsiteX17" fmla="*/ 76448 w 817017"/>
                <a:gd name="connsiteY17" fmla="*/ 271463 h 604838"/>
                <a:gd name="connsiteX18" fmla="*/ 90736 w 817017"/>
                <a:gd name="connsiteY18" fmla="*/ 276225 h 604838"/>
                <a:gd name="connsiteX19" fmla="*/ 97879 w 817017"/>
                <a:gd name="connsiteY19" fmla="*/ 280988 h 604838"/>
                <a:gd name="connsiteX20" fmla="*/ 105023 w 817017"/>
                <a:gd name="connsiteY20" fmla="*/ 283369 h 604838"/>
                <a:gd name="connsiteX21" fmla="*/ 100261 w 817017"/>
                <a:gd name="connsiteY21" fmla="*/ 290513 h 604838"/>
                <a:gd name="connsiteX22" fmla="*/ 95498 w 817017"/>
                <a:gd name="connsiteY22" fmla="*/ 304800 h 604838"/>
                <a:gd name="connsiteX23" fmla="*/ 93117 w 817017"/>
                <a:gd name="connsiteY23" fmla="*/ 328613 h 604838"/>
                <a:gd name="connsiteX24" fmla="*/ 88354 w 817017"/>
                <a:gd name="connsiteY24" fmla="*/ 342900 h 604838"/>
                <a:gd name="connsiteX25" fmla="*/ 81211 w 817017"/>
                <a:gd name="connsiteY25" fmla="*/ 345282 h 604838"/>
                <a:gd name="connsiteX26" fmla="*/ 64542 w 817017"/>
                <a:gd name="connsiteY26" fmla="*/ 342900 h 604838"/>
                <a:gd name="connsiteX27" fmla="*/ 57398 w 817017"/>
                <a:gd name="connsiteY27" fmla="*/ 338138 h 604838"/>
                <a:gd name="connsiteX28" fmla="*/ 50254 w 817017"/>
                <a:gd name="connsiteY28" fmla="*/ 345282 h 604838"/>
                <a:gd name="connsiteX29" fmla="*/ 45492 w 817017"/>
                <a:gd name="connsiteY29" fmla="*/ 354807 h 604838"/>
                <a:gd name="connsiteX30" fmla="*/ 43111 w 817017"/>
                <a:gd name="connsiteY30" fmla="*/ 361950 h 604838"/>
                <a:gd name="connsiteX31" fmla="*/ 50254 w 817017"/>
                <a:gd name="connsiteY31" fmla="*/ 364332 h 604838"/>
                <a:gd name="connsiteX32" fmla="*/ 52636 w 817017"/>
                <a:gd name="connsiteY32" fmla="*/ 371475 h 604838"/>
                <a:gd name="connsiteX33" fmla="*/ 55017 w 817017"/>
                <a:gd name="connsiteY33" fmla="*/ 395288 h 604838"/>
                <a:gd name="connsiteX34" fmla="*/ 64542 w 817017"/>
                <a:gd name="connsiteY34" fmla="*/ 397669 h 604838"/>
                <a:gd name="connsiteX35" fmla="*/ 71686 w 817017"/>
                <a:gd name="connsiteY35" fmla="*/ 411957 h 604838"/>
                <a:gd name="connsiteX36" fmla="*/ 69304 w 817017"/>
                <a:gd name="connsiteY36" fmla="*/ 423863 h 604838"/>
                <a:gd name="connsiteX37" fmla="*/ 66923 w 817017"/>
                <a:gd name="connsiteY37" fmla="*/ 433388 h 604838"/>
                <a:gd name="connsiteX38" fmla="*/ 64542 w 817017"/>
                <a:gd name="connsiteY38" fmla="*/ 440532 h 604838"/>
                <a:gd name="connsiteX39" fmla="*/ 62161 w 817017"/>
                <a:gd name="connsiteY39" fmla="*/ 452438 h 604838"/>
                <a:gd name="connsiteX40" fmla="*/ 55017 w 817017"/>
                <a:gd name="connsiteY40" fmla="*/ 454819 h 604838"/>
                <a:gd name="connsiteX41" fmla="*/ 66923 w 817017"/>
                <a:gd name="connsiteY41" fmla="*/ 466725 h 604838"/>
                <a:gd name="connsiteX42" fmla="*/ 71686 w 817017"/>
                <a:gd name="connsiteY42" fmla="*/ 473869 h 604838"/>
                <a:gd name="connsiteX43" fmla="*/ 81211 w 817017"/>
                <a:gd name="connsiteY43" fmla="*/ 476250 h 604838"/>
                <a:gd name="connsiteX44" fmla="*/ 95498 w 817017"/>
                <a:gd name="connsiteY44" fmla="*/ 481013 h 604838"/>
                <a:gd name="connsiteX45" fmla="*/ 102642 w 817017"/>
                <a:gd name="connsiteY45" fmla="*/ 483394 h 604838"/>
                <a:gd name="connsiteX46" fmla="*/ 109786 w 817017"/>
                <a:gd name="connsiteY46" fmla="*/ 488157 h 604838"/>
                <a:gd name="connsiteX47" fmla="*/ 124073 w 817017"/>
                <a:gd name="connsiteY47" fmla="*/ 492919 h 604838"/>
                <a:gd name="connsiteX48" fmla="*/ 126454 w 817017"/>
                <a:gd name="connsiteY48" fmla="*/ 500063 h 604838"/>
                <a:gd name="connsiteX49" fmla="*/ 128836 w 817017"/>
                <a:gd name="connsiteY49" fmla="*/ 542925 h 604838"/>
                <a:gd name="connsiteX50" fmla="*/ 143123 w 817017"/>
                <a:gd name="connsiteY50" fmla="*/ 547688 h 604838"/>
                <a:gd name="connsiteX51" fmla="*/ 140742 w 817017"/>
                <a:gd name="connsiteY51" fmla="*/ 559594 h 604838"/>
                <a:gd name="connsiteX52" fmla="*/ 135979 w 817017"/>
                <a:gd name="connsiteY52" fmla="*/ 573882 h 604838"/>
                <a:gd name="connsiteX53" fmla="*/ 140742 w 817017"/>
                <a:gd name="connsiteY53" fmla="*/ 581025 h 604838"/>
                <a:gd name="connsiteX54" fmla="*/ 147886 w 817017"/>
                <a:gd name="connsiteY54" fmla="*/ 585788 h 604838"/>
                <a:gd name="connsiteX55" fmla="*/ 159792 w 817017"/>
                <a:gd name="connsiteY55" fmla="*/ 604838 h 604838"/>
                <a:gd name="connsiteX56" fmla="*/ 188367 w 817017"/>
                <a:gd name="connsiteY56" fmla="*/ 602457 h 604838"/>
                <a:gd name="connsiteX57" fmla="*/ 200273 w 817017"/>
                <a:gd name="connsiteY57" fmla="*/ 585788 h 604838"/>
                <a:gd name="connsiteX58" fmla="*/ 207417 w 817017"/>
                <a:gd name="connsiteY58" fmla="*/ 581025 h 604838"/>
                <a:gd name="connsiteX59" fmla="*/ 214561 w 817017"/>
                <a:gd name="connsiteY59" fmla="*/ 583407 h 604838"/>
                <a:gd name="connsiteX60" fmla="*/ 233611 w 817017"/>
                <a:gd name="connsiteY60" fmla="*/ 588169 h 604838"/>
                <a:gd name="connsiteX61" fmla="*/ 255042 w 817017"/>
                <a:gd name="connsiteY61" fmla="*/ 581025 h 604838"/>
                <a:gd name="connsiteX62" fmla="*/ 262186 w 817017"/>
                <a:gd name="connsiteY62" fmla="*/ 566738 h 604838"/>
                <a:gd name="connsiteX63" fmla="*/ 274092 w 817017"/>
                <a:gd name="connsiteY63" fmla="*/ 564357 h 604838"/>
                <a:gd name="connsiteX64" fmla="*/ 288379 w 817017"/>
                <a:gd name="connsiteY64" fmla="*/ 559594 h 604838"/>
                <a:gd name="connsiteX65" fmla="*/ 297904 w 817017"/>
                <a:gd name="connsiteY65" fmla="*/ 542925 h 604838"/>
                <a:gd name="connsiteX66" fmla="*/ 302667 w 817017"/>
                <a:gd name="connsiteY66" fmla="*/ 528638 h 604838"/>
                <a:gd name="connsiteX67" fmla="*/ 307429 w 817017"/>
                <a:gd name="connsiteY67" fmla="*/ 521494 h 604838"/>
                <a:gd name="connsiteX68" fmla="*/ 309811 w 817017"/>
                <a:gd name="connsiteY68" fmla="*/ 528638 h 604838"/>
                <a:gd name="connsiteX69" fmla="*/ 324098 w 817017"/>
                <a:gd name="connsiteY69" fmla="*/ 528638 h 604838"/>
                <a:gd name="connsiteX70" fmla="*/ 328861 w 817017"/>
                <a:gd name="connsiteY70" fmla="*/ 535782 h 604838"/>
                <a:gd name="connsiteX71" fmla="*/ 338386 w 817017"/>
                <a:gd name="connsiteY71" fmla="*/ 533400 h 604838"/>
                <a:gd name="connsiteX72" fmla="*/ 347911 w 817017"/>
                <a:gd name="connsiteY72" fmla="*/ 535782 h 604838"/>
                <a:gd name="connsiteX73" fmla="*/ 362198 w 817017"/>
                <a:gd name="connsiteY73" fmla="*/ 545307 h 604838"/>
                <a:gd name="connsiteX74" fmla="*/ 369342 w 817017"/>
                <a:gd name="connsiteY74" fmla="*/ 550069 h 604838"/>
                <a:gd name="connsiteX75" fmla="*/ 376486 w 817017"/>
                <a:gd name="connsiteY75" fmla="*/ 552450 h 604838"/>
                <a:gd name="connsiteX76" fmla="*/ 383629 w 817017"/>
                <a:gd name="connsiteY76" fmla="*/ 547688 h 604838"/>
                <a:gd name="connsiteX77" fmla="*/ 390773 w 817017"/>
                <a:gd name="connsiteY77" fmla="*/ 547688 h 604838"/>
                <a:gd name="connsiteX78" fmla="*/ 407442 w 817017"/>
                <a:gd name="connsiteY78" fmla="*/ 545307 h 604838"/>
                <a:gd name="connsiteX79" fmla="*/ 414586 w 817017"/>
                <a:gd name="connsiteY79" fmla="*/ 547688 h 604838"/>
                <a:gd name="connsiteX80" fmla="*/ 421729 w 817017"/>
                <a:gd name="connsiteY80" fmla="*/ 554832 h 604838"/>
                <a:gd name="connsiteX81" fmla="*/ 436017 w 817017"/>
                <a:gd name="connsiteY81" fmla="*/ 547688 h 604838"/>
                <a:gd name="connsiteX82" fmla="*/ 445542 w 817017"/>
                <a:gd name="connsiteY82" fmla="*/ 561975 h 604838"/>
                <a:gd name="connsiteX83" fmla="*/ 447923 w 817017"/>
                <a:gd name="connsiteY83" fmla="*/ 571500 h 604838"/>
                <a:gd name="connsiteX84" fmla="*/ 462211 w 817017"/>
                <a:gd name="connsiteY84" fmla="*/ 576263 h 604838"/>
                <a:gd name="connsiteX85" fmla="*/ 469354 w 817017"/>
                <a:gd name="connsiteY85" fmla="*/ 561975 h 604838"/>
                <a:gd name="connsiteX86" fmla="*/ 474117 w 817017"/>
                <a:gd name="connsiteY86" fmla="*/ 569119 h 604838"/>
                <a:gd name="connsiteX87" fmla="*/ 488404 w 817017"/>
                <a:gd name="connsiteY87" fmla="*/ 561975 h 604838"/>
                <a:gd name="connsiteX88" fmla="*/ 502692 w 817017"/>
                <a:gd name="connsiteY88" fmla="*/ 554832 h 604838"/>
                <a:gd name="connsiteX89" fmla="*/ 509836 w 817017"/>
                <a:gd name="connsiteY89" fmla="*/ 550069 h 604838"/>
                <a:gd name="connsiteX90" fmla="*/ 516979 w 817017"/>
                <a:gd name="connsiteY90" fmla="*/ 554832 h 604838"/>
                <a:gd name="connsiteX91" fmla="*/ 524123 w 817017"/>
                <a:gd name="connsiteY91" fmla="*/ 552450 h 604838"/>
                <a:gd name="connsiteX92" fmla="*/ 528886 w 817017"/>
                <a:gd name="connsiteY92" fmla="*/ 545307 h 604838"/>
                <a:gd name="connsiteX93" fmla="*/ 562223 w 817017"/>
                <a:gd name="connsiteY93" fmla="*/ 538163 h 604838"/>
                <a:gd name="connsiteX94" fmla="*/ 574129 w 817017"/>
                <a:gd name="connsiteY94" fmla="*/ 519113 h 604838"/>
                <a:gd name="connsiteX95" fmla="*/ 576511 w 817017"/>
                <a:gd name="connsiteY95" fmla="*/ 511969 h 604838"/>
                <a:gd name="connsiteX96" fmla="*/ 569367 w 817017"/>
                <a:gd name="connsiteY96" fmla="*/ 504825 h 604838"/>
                <a:gd name="connsiteX97" fmla="*/ 574129 w 817017"/>
                <a:gd name="connsiteY97" fmla="*/ 497682 h 604838"/>
                <a:gd name="connsiteX98" fmla="*/ 576511 w 817017"/>
                <a:gd name="connsiteY98" fmla="*/ 490538 h 604838"/>
                <a:gd name="connsiteX99" fmla="*/ 569367 w 817017"/>
                <a:gd name="connsiteY99" fmla="*/ 485775 h 604838"/>
                <a:gd name="connsiteX100" fmla="*/ 559842 w 817017"/>
                <a:gd name="connsiteY100" fmla="*/ 471488 h 604838"/>
                <a:gd name="connsiteX101" fmla="*/ 552698 w 817017"/>
                <a:gd name="connsiteY101" fmla="*/ 469107 h 604838"/>
                <a:gd name="connsiteX102" fmla="*/ 555079 w 817017"/>
                <a:gd name="connsiteY102" fmla="*/ 461963 h 604838"/>
                <a:gd name="connsiteX103" fmla="*/ 555079 w 817017"/>
                <a:gd name="connsiteY103" fmla="*/ 452438 h 604838"/>
                <a:gd name="connsiteX104" fmla="*/ 562223 w 817017"/>
                <a:gd name="connsiteY104" fmla="*/ 454819 h 604838"/>
                <a:gd name="connsiteX105" fmla="*/ 569367 w 817017"/>
                <a:gd name="connsiteY105" fmla="*/ 450057 h 604838"/>
                <a:gd name="connsiteX106" fmla="*/ 574129 w 817017"/>
                <a:gd name="connsiteY106" fmla="*/ 457200 h 604838"/>
                <a:gd name="connsiteX107" fmla="*/ 588417 w 817017"/>
                <a:gd name="connsiteY107" fmla="*/ 461963 h 604838"/>
                <a:gd name="connsiteX108" fmla="*/ 595561 w 817017"/>
                <a:gd name="connsiteY108" fmla="*/ 457200 h 604838"/>
                <a:gd name="connsiteX109" fmla="*/ 602704 w 817017"/>
                <a:gd name="connsiteY109" fmla="*/ 461963 h 604838"/>
                <a:gd name="connsiteX110" fmla="*/ 595561 w 817017"/>
                <a:gd name="connsiteY110" fmla="*/ 445294 h 604838"/>
                <a:gd name="connsiteX111" fmla="*/ 597942 w 817017"/>
                <a:gd name="connsiteY111" fmla="*/ 438150 h 604838"/>
                <a:gd name="connsiteX112" fmla="*/ 612229 w 817017"/>
                <a:gd name="connsiteY112" fmla="*/ 428625 h 604838"/>
                <a:gd name="connsiteX113" fmla="*/ 614611 w 817017"/>
                <a:gd name="connsiteY113" fmla="*/ 416719 h 604838"/>
                <a:gd name="connsiteX114" fmla="*/ 612229 w 817017"/>
                <a:gd name="connsiteY114" fmla="*/ 407194 h 604838"/>
                <a:gd name="connsiteX115" fmla="*/ 626517 w 817017"/>
                <a:gd name="connsiteY115" fmla="*/ 411957 h 604838"/>
                <a:gd name="connsiteX116" fmla="*/ 636042 w 817017"/>
                <a:gd name="connsiteY116" fmla="*/ 414338 h 604838"/>
                <a:gd name="connsiteX117" fmla="*/ 643186 w 817017"/>
                <a:gd name="connsiteY117" fmla="*/ 409575 h 604838"/>
                <a:gd name="connsiteX118" fmla="*/ 647948 w 817017"/>
                <a:gd name="connsiteY118" fmla="*/ 395288 h 604838"/>
                <a:gd name="connsiteX119" fmla="*/ 664617 w 817017"/>
                <a:gd name="connsiteY119" fmla="*/ 388144 h 604838"/>
                <a:gd name="connsiteX120" fmla="*/ 666998 w 817017"/>
                <a:gd name="connsiteY120" fmla="*/ 381000 h 604838"/>
                <a:gd name="connsiteX121" fmla="*/ 669379 w 817017"/>
                <a:gd name="connsiteY121" fmla="*/ 369094 h 604838"/>
                <a:gd name="connsiteX122" fmla="*/ 676523 w 817017"/>
                <a:gd name="connsiteY122" fmla="*/ 371475 h 604838"/>
                <a:gd name="connsiteX123" fmla="*/ 686048 w 817017"/>
                <a:gd name="connsiteY123" fmla="*/ 369094 h 604838"/>
                <a:gd name="connsiteX124" fmla="*/ 693192 w 817017"/>
                <a:gd name="connsiteY124" fmla="*/ 371475 h 604838"/>
                <a:gd name="connsiteX125" fmla="*/ 697954 w 817017"/>
                <a:gd name="connsiteY125" fmla="*/ 364332 h 604838"/>
                <a:gd name="connsiteX126" fmla="*/ 705098 w 817017"/>
                <a:gd name="connsiteY126" fmla="*/ 361950 h 604838"/>
                <a:gd name="connsiteX127" fmla="*/ 712242 w 817017"/>
                <a:gd name="connsiteY127" fmla="*/ 364332 h 604838"/>
                <a:gd name="connsiteX128" fmla="*/ 726529 w 817017"/>
                <a:gd name="connsiteY128" fmla="*/ 373857 h 604838"/>
                <a:gd name="connsiteX129" fmla="*/ 736054 w 817017"/>
                <a:gd name="connsiteY129" fmla="*/ 376238 h 604838"/>
                <a:gd name="connsiteX130" fmla="*/ 750342 w 817017"/>
                <a:gd name="connsiteY130" fmla="*/ 383382 h 604838"/>
                <a:gd name="connsiteX131" fmla="*/ 752723 w 817017"/>
                <a:gd name="connsiteY131" fmla="*/ 376238 h 604838"/>
                <a:gd name="connsiteX132" fmla="*/ 757486 w 817017"/>
                <a:gd name="connsiteY132" fmla="*/ 369094 h 604838"/>
                <a:gd name="connsiteX133" fmla="*/ 764629 w 817017"/>
                <a:gd name="connsiteY133" fmla="*/ 371475 h 604838"/>
                <a:gd name="connsiteX134" fmla="*/ 774154 w 817017"/>
                <a:gd name="connsiteY134" fmla="*/ 366713 h 604838"/>
                <a:gd name="connsiteX135" fmla="*/ 783679 w 817017"/>
                <a:gd name="connsiteY135" fmla="*/ 366713 h 604838"/>
                <a:gd name="connsiteX136" fmla="*/ 797967 w 817017"/>
                <a:gd name="connsiteY136" fmla="*/ 361950 h 604838"/>
                <a:gd name="connsiteX137" fmla="*/ 793204 w 817017"/>
                <a:gd name="connsiteY137" fmla="*/ 345282 h 604838"/>
                <a:gd name="connsiteX138" fmla="*/ 788442 w 817017"/>
                <a:gd name="connsiteY138" fmla="*/ 338138 h 604838"/>
                <a:gd name="connsiteX139" fmla="*/ 774154 w 817017"/>
                <a:gd name="connsiteY139" fmla="*/ 333375 h 604838"/>
                <a:gd name="connsiteX140" fmla="*/ 767011 w 817017"/>
                <a:gd name="connsiteY140" fmla="*/ 326232 h 604838"/>
                <a:gd name="connsiteX141" fmla="*/ 759867 w 817017"/>
                <a:gd name="connsiteY141" fmla="*/ 323850 h 604838"/>
                <a:gd name="connsiteX142" fmla="*/ 747961 w 817017"/>
                <a:gd name="connsiteY142" fmla="*/ 295275 h 604838"/>
                <a:gd name="connsiteX143" fmla="*/ 740817 w 817017"/>
                <a:gd name="connsiteY143" fmla="*/ 290513 h 604838"/>
                <a:gd name="connsiteX144" fmla="*/ 721767 w 817017"/>
                <a:gd name="connsiteY144" fmla="*/ 285750 h 604838"/>
                <a:gd name="connsiteX145" fmla="*/ 707479 w 817017"/>
                <a:gd name="connsiteY145" fmla="*/ 283369 h 604838"/>
                <a:gd name="connsiteX146" fmla="*/ 717004 w 817017"/>
                <a:gd name="connsiteY146" fmla="*/ 269082 h 604838"/>
                <a:gd name="connsiteX147" fmla="*/ 728911 w 817017"/>
                <a:gd name="connsiteY147" fmla="*/ 266700 h 604838"/>
                <a:gd name="connsiteX148" fmla="*/ 736054 w 817017"/>
                <a:gd name="connsiteY148" fmla="*/ 242888 h 604838"/>
                <a:gd name="connsiteX149" fmla="*/ 740817 w 817017"/>
                <a:gd name="connsiteY149" fmla="*/ 235744 h 604838"/>
                <a:gd name="connsiteX150" fmla="*/ 747961 w 817017"/>
                <a:gd name="connsiteY150" fmla="*/ 233363 h 604838"/>
                <a:gd name="connsiteX151" fmla="*/ 755104 w 817017"/>
                <a:gd name="connsiteY151" fmla="*/ 238125 h 604838"/>
                <a:gd name="connsiteX152" fmla="*/ 762248 w 817017"/>
                <a:gd name="connsiteY152" fmla="*/ 235744 h 604838"/>
                <a:gd name="connsiteX153" fmla="*/ 757486 w 817017"/>
                <a:gd name="connsiteY153" fmla="*/ 221457 h 604838"/>
                <a:gd name="connsiteX154" fmla="*/ 752723 w 817017"/>
                <a:gd name="connsiteY154" fmla="*/ 207169 h 604838"/>
                <a:gd name="connsiteX155" fmla="*/ 750342 w 817017"/>
                <a:gd name="connsiteY155" fmla="*/ 200025 h 604838"/>
                <a:gd name="connsiteX156" fmla="*/ 747961 w 817017"/>
                <a:gd name="connsiteY156" fmla="*/ 192882 h 604838"/>
                <a:gd name="connsiteX157" fmla="*/ 726529 w 817017"/>
                <a:gd name="connsiteY157" fmla="*/ 152400 h 604838"/>
                <a:gd name="connsiteX158" fmla="*/ 736054 w 817017"/>
                <a:gd name="connsiteY158" fmla="*/ 150019 h 604838"/>
                <a:gd name="connsiteX159" fmla="*/ 743198 w 817017"/>
                <a:gd name="connsiteY159" fmla="*/ 145257 h 604838"/>
                <a:gd name="connsiteX160" fmla="*/ 747961 w 817017"/>
                <a:gd name="connsiteY160" fmla="*/ 130969 h 604838"/>
                <a:gd name="connsiteX161" fmla="*/ 750342 w 817017"/>
                <a:gd name="connsiteY161" fmla="*/ 123825 h 604838"/>
                <a:gd name="connsiteX162" fmla="*/ 752723 w 817017"/>
                <a:gd name="connsiteY162" fmla="*/ 114300 h 604838"/>
                <a:gd name="connsiteX163" fmla="*/ 767011 w 817017"/>
                <a:gd name="connsiteY163" fmla="*/ 111919 h 604838"/>
                <a:gd name="connsiteX164" fmla="*/ 786061 w 817017"/>
                <a:gd name="connsiteY164" fmla="*/ 107157 h 604838"/>
                <a:gd name="connsiteX165" fmla="*/ 793204 w 817017"/>
                <a:gd name="connsiteY165" fmla="*/ 109538 h 604838"/>
                <a:gd name="connsiteX166" fmla="*/ 802729 w 817017"/>
                <a:gd name="connsiteY166" fmla="*/ 114300 h 604838"/>
                <a:gd name="connsiteX167" fmla="*/ 812254 w 817017"/>
                <a:gd name="connsiteY167" fmla="*/ 100013 h 604838"/>
                <a:gd name="connsiteX168" fmla="*/ 817017 w 817017"/>
                <a:gd name="connsiteY168" fmla="*/ 85725 h 604838"/>
                <a:gd name="connsiteX169" fmla="*/ 809873 w 817017"/>
                <a:gd name="connsiteY169" fmla="*/ 61913 h 604838"/>
                <a:gd name="connsiteX170" fmla="*/ 797967 w 817017"/>
                <a:gd name="connsiteY170" fmla="*/ 42863 h 604838"/>
                <a:gd name="connsiteX171" fmla="*/ 790823 w 817017"/>
                <a:gd name="connsiteY171" fmla="*/ 40482 h 604838"/>
                <a:gd name="connsiteX172" fmla="*/ 759867 w 817017"/>
                <a:gd name="connsiteY172" fmla="*/ 42863 h 604838"/>
                <a:gd name="connsiteX173" fmla="*/ 750342 w 817017"/>
                <a:gd name="connsiteY173" fmla="*/ 40482 h 604838"/>
                <a:gd name="connsiteX174" fmla="*/ 736054 w 817017"/>
                <a:gd name="connsiteY174" fmla="*/ 35719 h 604838"/>
                <a:gd name="connsiteX175" fmla="*/ 726529 w 817017"/>
                <a:gd name="connsiteY175" fmla="*/ 21432 h 604838"/>
                <a:gd name="connsiteX176" fmla="*/ 712242 w 817017"/>
                <a:gd name="connsiteY176" fmla="*/ 11907 h 604838"/>
                <a:gd name="connsiteX177" fmla="*/ 705098 w 817017"/>
                <a:gd name="connsiteY177" fmla="*/ 16669 h 604838"/>
                <a:gd name="connsiteX178" fmla="*/ 695573 w 817017"/>
                <a:gd name="connsiteY178" fmla="*/ 26194 h 604838"/>
                <a:gd name="connsiteX179" fmla="*/ 688429 w 817017"/>
                <a:gd name="connsiteY179" fmla="*/ 23813 h 604838"/>
                <a:gd name="connsiteX180" fmla="*/ 683667 w 817017"/>
                <a:gd name="connsiteY180" fmla="*/ 16669 h 604838"/>
                <a:gd name="connsiteX181" fmla="*/ 676523 w 817017"/>
                <a:gd name="connsiteY181" fmla="*/ 9525 h 604838"/>
                <a:gd name="connsiteX182" fmla="*/ 655092 w 817017"/>
                <a:gd name="connsiteY182" fmla="*/ 16669 h 604838"/>
                <a:gd name="connsiteX183" fmla="*/ 650329 w 817017"/>
                <a:gd name="connsiteY183" fmla="*/ 23813 h 604838"/>
                <a:gd name="connsiteX184" fmla="*/ 638423 w 817017"/>
                <a:gd name="connsiteY184" fmla="*/ 21432 h 604838"/>
                <a:gd name="connsiteX185" fmla="*/ 631279 w 817017"/>
                <a:gd name="connsiteY185" fmla="*/ 19050 h 604838"/>
                <a:gd name="connsiteX186" fmla="*/ 619373 w 817017"/>
                <a:gd name="connsiteY186" fmla="*/ 0 h 604838"/>
                <a:gd name="connsiteX187" fmla="*/ 571748 w 817017"/>
                <a:gd name="connsiteY187" fmla="*/ 7144 h 604838"/>
                <a:gd name="connsiteX188" fmla="*/ 557461 w 817017"/>
                <a:gd name="connsiteY188" fmla="*/ 11907 h 604838"/>
                <a:gd name="connsiteX189" fmla="*/ 550317 w 817017"/>
                <a:gd name="connsiteY189" fmla="*/ 16669 h 604838"/>
                <a:gd name="connsiteX190" fmla="*/ 540792 w 817017"/>
                <a:gd name="connsiteY190" fmla="*/ 21432 h 604838"/>
                <a:gd name="connsiteX191" fmla="*/ 526504 w 817017"/>
                <a:gd name="connsiteY191" fmla="*/ 33338 h 604838"/>
                <a:gd name="connsiteX192" fmla="*/ 502692 w 817017"/>
                <a:gd name="connsiteY192" fmla="*/ 38100 h 604838"/>
                <a:gd name="connsiteX193" fmla="*/ 497929 w 817017"/>
                <a:gd name="connsiteY193" fmla="*/ 45244 h 604838"/>
                <a:gd name="connsiteX194" fmla="*/ 486023 w 817017"/>
                <a:gd name="connsiteY194" fmla="*/ 66675 h 604838"/>
                <a:gd name="connsiteX195" fmla="*/ 471736 w 817017"/>
                <a:gd name="connsiteY195" fmla="*/ 76200 h 604838"/>
                <a:gd name="connsiteX196" fmla="*/ 469354 w 817017"/>
                <a:gd name="connsiteY196" fmla="*/ 90488 h 604838"/>
                <a:gd name="connsiteX197" fmla="*/ 457448 w 817017"/>
                <a:gd name="connsiteY197" fmla="*/ 104775 h 604838"/>
                <a:gd name="connsiteX198" fmla="*/ 455067 w 817017"/>
                <a:gd name="connsiteY198" fmla="*/ 114300 h 604838"/>
                <a:gd name="connsiteX199" fmla="*/ 447923 w 817017"/>
                <a:gd name="connsiteY199" fmla="*/ 121444 h 604838"/>
                <a:gd name="connsiteX200" fmla="*/ 431254 w 817017"/>
                <a:gd name="connsiteY200" fmla="*/ 130969 h 604838"/>
                <a:gd name="connsiteX201" fmla="*/ 416967 w 817017"/>
                <a:gd name="connsiteY201" fmla="*/ 135732 h 604838"/>
                <a:gd name="connsiteX202" fmla="*/ 409823 w 817017"/>
                <a:gd name="connsiteY202" fmla="*/ 138113 h 604838"/>
                <a:gd name="connsiteX203" fmla="*/ 405061 w 817017"/>
                <a:gd name="connsiteY203" fmla="*/ 145257 h 604838"/>
                <a:gd name="connsiteX204" fmla="*/ 381248 w 817017"/>
                <a:gd name="connsiteY204" fmla="*/ 140494 h 604838"/>
                <a:gd name="connsiteX205" fmla="*/ 331242 w 817017"/>
                <a:gd name="connsiteY205" fmla="*/ 138113 h 604838"/>
                <a:gd name="connsiteX206" fmla="*/ 312192 w 817017"/>
                <a:gd name="connsiteY206" fmla="*/ 140494 h 604838"/>
                <a:gd name="connsiteX207" fmla="*/ 305048 w 817017"/>
                <a:gd name="connsiteY207" fmla="*/ 145257 h 604838"/>
                <a:gd name="connsiteX208" fmla="*/ 297904 w 817017"/>
                <a:gd name="connsiteY208" fmla="*/ 147638 h 604838"/>
                <a:gd name="connsiteX209" fmla="*/ 295523 w 817017"/>
                <a:gd name="connsiteY209" fmla="*/ 140494 h 604838"/>
                <a:gd name="connsiteX210" fmla="*/ 290761 w 817017"/>
                <a:gd name="connsiteY210" fmla="*/ 147638 h 604838"/>
                <a:gd name="connsiteX211" fmla="*/ 281236 w 817017"/>
                <a:gd name="connsiteY211" fmla="*/ 150019 h 604838"/>
                <a:gd name="connsiteX212" fmla="*/ 274092 w 817017"/>
                <a:gd name="connsiteY212" fmla="*/ 152400 h 604838"/>
                <a:gd name="connsiteX213" fmla="*/ 266948 w 817017"/>
                <a:gd name="connsiteY213" fmla="*/ 157163 h 604838"/>
                <a:gd name="connsiteX214" fmla="*/ 247898 w 817017"/>
                <a:gd name="connsiteY214" fmla="*/ 161925 h 604838"/>
                <a:gd name="connsiteX215" fmla="*/ 240754 w 817017"/>
                <a:gd name="connsiteY215" fmla="*/ 164307 h 604838"/>
                <a:gd name="connsiteX216" fmla="*/ 231229 w 817017"/>
                <a:gd name="connsiteY216" fmla="*/ 166688 h 604838"/>
                <a:gd name="connsiteX217" fmla="*/ 216942 w 817017"/>
                <a:gd name="connsiteY217" fmla="*/ 159544 h 604838"/>
                <a:gd name="connsiteX218" fmla="*/ 209798 w 817017"/>
                <a:gd name="connsiteY218" fmla="*/ 157163 h 604838"/>
                <a:gd name="connsiteX219" fmla="*/ 195511 w 817017"/>
                <a:gd name="connsiteY219" fmla="*/ 159544 h 604838"/>
                <a:gd name="connsiteX220" fmla="*/ 188367 w 817017"/>
                <a:gd name="connsiteY220" fmla="*/ 164307 h 604838"/>
                <a:gd name="connsiteX221" fmla="*/ 166936 w 817017"/>
                <a:gd name="connsiteY221" fmla="*/ 150019 h 604838"/>
                <a:gd name="connsiteX222" fmla="*/ 152648 w 817017"/>
                <a:gd name="connsiteY222" fmla="*/ 150019 h 604838"/>
                <a:gd name="connsiteX223" fmla="*/ 143123 w 817017"/>
                <a:gd name="connsiteY223" fmla="*/ 152400 h 604838"/>
                <a:gd name="connsiteX224" fmla="*/ 128836 w 817017"/>
                <a:gd name="connsiteY224" fmla="*/ 157163 h 604838"/>
                <a:gd name="connsiteX225" fmla="*/ 114548 w 817017"/>
                <a:gd name="connsiteY225" fmla="*/ 164307 h 604838"/>
                <a:gd name="connsiteX226" fmla="*/ 81211 w 817017"/>
                <a:gd name="connsiteY226" fmla="*/ 154782 h 604838"/>
                <a:gd name="connsiteX227" fmla="*/ 78829 w 817017"/>
                <a:gd name="connsiteY227" fmla="*/ 147638 h 604838"/>
                <a:gd name="connsiteX228" fmla="*/ 81211 w 817017"/>
                <a:gd name="connsiteY228" fmla="*/ 138113 h 604838"/>
                <a:gd name="connsiteX229" fmla="*/ 88354 w 817017"/>
                <a:gd name="connsiteY229" fmla="*/ 133350 h 604838"/>
                <a:gd name="connsiteX230" fmla="*/ 93117 w 817017"/>
                <a:gd name="connsiteY230" fmla="*/ 119063 h 604838"/>
                <a:gd name="connsiteX231" fmla="*/ 76448 w 817017"/>
                <a:gd name="connsiteY231" fmla="*/ 111919 h 604838"/>
                <a:gd name="connsiteX232" fmla="*/ 45492 w 817017"/>
                <a:gd name="connsiteY232" fmla="*/ 104775 h 604838"/>
                <a:gd name="connsiteX233" fmla="*/ 33586 w 817017"/>
                <a:gd name="connsiteY233" fmla="*/ 104775 h 604838"/>
                <a:gd name="connsiteX0" fmla="*/ 33586 w 817017"/>
                <a:gd name="connsiteY0" fmla="*/ 104775 h 604838"/>
                <a:gd name="connsiteX1" fmla="*/ 24061 w 817017"/>
                <a:gd name="connsiteY1" fmla="*/ 116682 h 604838"/>
                <a:gd name="connsiteX2" fmla="*/ 26442 w 817017"/>
                <a:gd name="connsiteY2" fmla="*/ 128588 h 604838"/>
                <a:gd name="connsiteX3" fmla="*/ 16917 w 817017"/>
                <a:gd name="connsiteY3" fmla="*/ 142875 h 604838"/>
                <a:gd name="connsiteX4" fmla="*/ 7392 w 817017"/>
                <a:gd name="connsiteY4" fmla="*/ 157163 h 604838"/>
                <a:gd name="connsiteX5" fmla="*/ 2629 w 817017"/>
                <a:gd name="connsiteY5" fmla="*/ 164307 h 604838"/>
                <a:gd name="connsiteX6" fmla="*/ 248 w 817017"/>
                <a:gd name="connsiteY6" fmla="*/ 176213 h 604838"/>
                <a:gd name="connsiteX7" fmla="*/ 9773 w 817017"/>
                <a:gd name="connsiteY7" fmla="*/ 190500 h 604838"/>
                <a:gd name="connsiteX8" fmla="*/ 7392 w 817017"/>
                <a:gd name="connsiteY8" fmla="*/ 197644 h 604838"/>
                <a:gd name="connsiteX9" fmla="*/ 248 w 817017"/>
                <a:gd name="connsiteY9" fmla="*/ 204788 h 604838"/>
                <a:gd name="connsiteX10" fmla="*/ 5011 w 817017"/>
                <a:gd name="connsiteY10" fmla="*/ 219075 h 604838"/>
                <a:gd name="connsiteX11" fmla="*/ 7392 w 817017"/>
                <a:gd name="connsiteY11" fmla="*/ 226219 h 604838"/>
                <a:gd name="connsiteX12" fmla="*/ 14536 w 817017"/>
                <a:gd name="connsiteY12" fmla="*/ 230982 h 604838"/>
                <a:gd name="connsiteX13" fmla="*/ 28823 w 817017"/>
                <a:gd name="connsiteY13" fmla="*/ 235744 h 604838"/>
                <a:gd name="connsiteX14" fmla="*/ 35967 w 817017"/>
                <a:gd name="connsiteY14" fmla="*/ 242888 h 604838"/>
                <a:gd name="connsiteX15" fmla="*/ 43111 w 817017"/>
                <a:gd name="connsiteY15" fmla="*/ 257175 h 604838"/>
                <a:gd name="connsiteX16" fmla="*/ 62161 w 817017"/>
                <a:gd name="connsiteY16" fmla="*/ 261938 h 604838"/>
                <a:gd name="connsiteX17" fmla="*/ 76448 w 817017"/>
                <a:gd name="connsiteY17" fmla="*/ 271463 h 604838"/>
                <a:gd name="connsiteX18" fmla="*/ 90736 w 817017"/>
                <a:gd name="connsiteY18" fmla="*/ 276225 h 604838"/>
                <a:gd name="connsiteX19" fmla="*/ 97879 w 817017"/>
                <a:gd name="connsiteY19" fmla="*/ 280988 h 604838"/>
                <a:gd name="connsiteX20" fmla="*/ 105023 w 817017"/>
                <a:gd name="connsiteY20" fmla="*/ 283369 h 604838"/>
                <a:gd name="connsiteX21" fmla="*/ 100261 w 817017"/>
                <a:gd name="connsiteY21" fmla="*/ 290513 h 604838"/>
                <a:gd name="connsiteX22" fmla="*/ 95498 w 817017"/>
                <a:gd name="connsiteY22" fmla="*/ 304800 h 604838"/>
                <a:gd name="connsiteX23" fmla="*/ 93117 w 817017"/>
                <a:gd name="connsiteY23" fmla="*/ 328613 h 604838"/>
                <a:gd name="connsiteX24" fmla="*/ 88354 w 817017"/>
                <a:gd name="connsiteY24" fmla="*/ 342900 h 604838"/>
                <a:gd name="connsiteX25" fmla="*/ 81211 w 817017"/>
                <a:gd name="connsiteY25" fmla="*/ 345282 h 604838"/>
                <a:gd name="connsiteX26" fmla="*/ 64542 w 817017"/>
                <a:gd name="connsiteY26" fmla="*/ 342900 h 604838"/>
                <a:gd name="connsiteX27" fmla="*/ 57398 w 817017"/>
                <a:gd name="connsiteY27" fmla="*/ 338138 h 604838"/>
                <a:gd name="connsiteX28" fmla="*/ 50254 w 817017"/>
                <a:gd name="connsiteY28" fmla="*/ 345282 h 604838"/>
                <a:gd name="connsiteX29" fmla="*/ 45492 w 817017"/>
                <a:gd name="connsiteY29" fmla="*/ 354807 h 604838"/>
                <a:gd name="connsiteX30" fmla="*/ 43111 w 817017"/>
                <a:gd name="connsiteY30" fmla="*/ 361950 h 604838"/>
                <a:gd name="connsiteX31" fmla="*/ 50254 w 817017"/>
                <a:gd name="connsiteY31" fmla="*/ 364332 h 604838"/>
                <a:gd name="connsiteX32" fmla="*/ 52636 w 817017"/>
                <a:gd name="connsiteY32" fmla="*/ 371475 h 604838"/>
                <a:gd name="connsiteX33" fmla="*/ 55017 w 817017"/>
                <a:gd name="connsiteY33" fmla="*/ 395288 h 604838"/>
                <a:gd name="connsiteX34" fmla="*/ 64542 w 817017"/>
                <a:gd name="connsiteY34" fmla="*/ 397669 h 604838"/>
                <a:gd name="connsiteX35" fmla="*/ 71686 w 817017"/>
                <a:gd name="connsiteY35" fmla="*/ 411957 h 604838"/>
                <a:gd name="connsiteX36" fmla="*/ 69304 w 817017"/>
                <a:gd name="connsiteY36" fmla="*/ 423863 h 604838"/>
                <a:gd name="connsiteX37" fmla="*/ 66923 w 817017"/>
                <a:gd name="connsiteY37" fmla="*/ 433388 h 604838"/>
                <a:gd name="connsiteX38" fmla="*/ 64542 w 817017"/>
                <a:gd name="connsiteY38" fmla="*/ 440532 h 604838"/>
                <a:gd name="connsiteX39" fmla="*/ 62161 w 817017"/>
                <a:gd name="connsiteY39" fmla="*/ 452438 h 604838"/>
                <a:gd name="connsiteX40" fmla="*/ 55017 w 817017"/>
                <a:gd name="connsiteY40" fmla="*/ 454819 h 604838"/>
                <a:gd name="connsiteX41" fmla="*/ 66923 w 817017"/>
                <a:gd name="connsiteY41" fmla="*/ 466725 h 604838"/>
                <a:gd name="connsiteX42" fmla="*/ 71686 w 817017"/>
                <a:gd name="connsiteY42" fmla="*/ 473869 h 604838"/>
                <a:gd name="connsiteX43" fmla="*/ 81211 w 817017"/>
                <a:gd name="connsiteY43" fmla="*/ 476250 h 604838"/>
                <a:gd name="connsiteX44" fmla="*/ 95498 w 817017"/>
                <a:gd name="connsiteY44" fmla="*/ 481013 h 604838"/>
                <a:gd name="connsiteX45" fmla="*/ 102642 w 817017"/>
                <a:gd name="connsiteY45" fmla="*/ 483394 h 604838"/>
                <a:gd name="connsiteX46" fmla="*/ 109786 w 817017"/>
                <a:gd name="connsiteY46" fmla="*/ 488157 h 604838"/>
                <a:gd name="connsiteX47" fmla="*/ 124073 w 817017"/>
                <a:gd name="connsiteY47" fmla="*/ 492919 h 604838"/>
                <a:gd name="connsiteX48" fmla="*/ 126454 w 817017"/>
                <a:gd name="connsiteY48" fmla="*/ 500063 h 604838"/>
                <a:gd name="connsiteX49" fmla="*/ 128836 w 817017"/>
                <a:gd name="connsiteY49" fmla="*/ 542925 h 604838"/>
                <a:gd name="connsiteX50" fmla="*/ 143123 w 817017"/>
                <a:gd name="connsiteY50" fmla="*/ 547688 h 604838"/>
                <a:gd name="connsiteX51" fmla="*/ 140742 w 817017"/>
                <a:gd name="connsiteY51" fmla="*/ 559594 h 604838"/>
                <a:gd name="connsiteX52" fmla="*/ 135979 w 817017"/>
                <a:gd name="connsiteY52" fmla="*/ 573882 h 604838"/>
                <a:gd name="connsiteX53" fmla="*/ 140742 w 817017"/>
                <a:gd name="connsiteY53" fmla="*/ 581025 h 604838"/>
                <a:gd name="connsiteX54" fmla="*/ 147886 w 817017"/>
                <a:gd name="connsiteY54" fmla="*/ 585788 h 604838"/>
                <a:gd name="connsiteX55" fmla="*/ 159792 w 817017"/>
                <a:gd name="connsiteY55" fmla="*/ 604838 h 604838"/>
                <a:gd name="connsiteX56" fmla="*/ 188367 w 817017"/>
                <a:gd name="connsiteY56" fmla="*/ 602457 h 604838"/>
                <a:gd name="connsiteX57" fmla="*/ 200273 w 817017"/>
                <a:gd name="connsiteY57" fmla="*/ 585788 h 604838"/>
                <a:gd name="connsiteX58" fmla="*/ 207417 w 817017"/>
                <a:gd name="connsiteY58" fmla="*/ 581025 h 604838"/>
                <a:gd name="connsiteX59" fmla="*/ 214561 w 817017"/>
                <a:gd name="connsiteY59" fmla="*/ 583407 h 604838"/>
                <a:gd name="connsiteX60" fmla="*/ 233611 w 817017"/>
                <a:gd name="connsiteY60" fmla="*/ 588169 h 604838"/>
                <a:gd name="connsiteX61" fmla="*/ 255042 w 817017"/>
                <a:gd name="connsiteY61" fmla="*/ 581025 h 604838"/>
                <a:gd name="connsiteX62" fmla="*/ 262186 w 817017"/>
                <a:gd name="connsiteY62" fmla="*/ 566738 h 604838"/>
                <a:gd name="connsiteX63" fmla="*/ 274092 w 817017"/>
                <a:gd name="connsiteY63" fmla="*/ 564357 h 604838"/>
                <a:gd name="connsiteX64" fmla="*/ 288379 w 817017"/>
                <a:gd name="connsiteY64" fmla="*/ 559594 h 604838"/>
                <a:gd name="connsiteX65" fmla="*/ 297904 w 817017"/>
                <a:gd name="connsiteY65" fmla="*/ 542925 h 604838"/>
                <a:gd name="connsiteX66" fmla="*/ 302667 w 817017"/>
                <a:gd name="connsiteY66" fmla="*/ 528638 h 604838"/>
                <a:gd name="connsiteX67" fmla="*/ 307429 w 817017"/>
                <a:gd name="connsiteY67" fmla="*/ 521494 h 604838"/>
                <a:gd name="connsiteX68" fmla="*/ 309811 w 817017"/>
                <a:gd name="connsiteY68" fmla="*/ 528638 h 604838"/>
                <a:gd name="connsiteX69" fmla="*/ 324098 w 817017"/>
                <a:gd name="connsiteY69" fmla="*/ 528638 h 604838"/>
                <a:gd name="connsiteX70" fmla="*/ 328861 w 817017"/>
                <a:gd name="connsiteY70" fmla="*/ 535782 h 604838"/>
                <a:gd name="connsiteX71" fmla="*/ 338386 w 817017"/>
                <a:gd name="connsiteY71" fmla="*/ 533400 h 604838"/>
                <a:gd name="connsiteX72" fmla="*/ 347911 w 817017"/>
                <a:gd name="connsiteY72" fmla="*/ 535782 h 604838"/>
                <a:gd name="connsiteX73" fmla="*/ 362198 w 817017"/>
                <a:gd name="connsiteY73" fmla="*/ 545307 h 604838"/>
                <a:gd name="connsiteX74" fmla="*/ 369342 w 817017"/>
                <a:gd name="connsiteY74" fmla="*/ 550069 h 604838"/>
                <a:gd name="connsiteX75" fmla="*/ 376486 w 817017"/>
                <a:gd name="connsiteY75" fmla="*/ 552450 h 604838"/>
                <a:gd name="connsiteX76" fmla="*/ 383629 w 817017"/>
                <a:gd name="connsiteY76" fmla="*/ 547688 h 604838"/>
                <a:gd name="connsiteX77" fmla="*/ 390773 w 817017"/>
                <a:gd name="connsiteY77" fmla="*/ 547688 h 604838"/>
                <a:gd name="connsiteX78" fmla="*/ 407442 w 817017"/>
                <a:gd name="connsiteY78" fmla="*/ 545307 h 604838"/>
                <a:gd name="connsiteX79" fmla="*/ 414586 w 817017"/>
                <a:gd name="connsiteY79" fmla="*/ 547688 h 604838"/>
                <a:gd name="connsiteX80" fmla="*/ 421729 w 817017"/>
                <a:gd name="connsiteY80" fmla="*/ 554832 h 604838"/>
                <a:gd name="connsiteX81" fmla="*/ 436017 w 817017"/>
                <a:gd name="connsiteY81" fmla="*/ 547688 h 604838"/>
                <a:gd name="connsiteX82" fmla="*/ 445542 w 817017"/>
                <a:gd name="connsiteY82" fmla="*/ 561975 h 604838"/>
                <a:gd name="connsiteX83" fmla="*/ 447923 w 817017"/>
                <a:gd name="connsiteY83" fmla="*/ 571500 h 604838"/>
                <a:gd name="connsiteX84" fmla="*/ 462211 w 817017"/>
                <a:gd name="connsiteY84" fmla="*/ 576263 h 604838"/>
                <a:gd name="connsiteX85" fmla="*/ 469354 w 817017"/>
                <a:gd name="connsiteY85" fmla="*/ 561975 h 604838"/>
                <a:gd name="connsiteX86" fmla="*/ 474117 w 817017"/>
                <a:gd name="connsiteY86" fmla="*/ 569119 h 604838"/>
                <a:gd name="connsiteX87" fmla="*/ 488404 w 817017"/>
                <a:gd name="connsiteY87" fmla="*/ 561975 h 604838"/>
                <a:gd name="connsiteX88" fmla="*/ 502692 w 817017"/>
                <a:gd name="connsiteY88" fmla="*/ 554832 h 604838"/>
                <a:gd name="connsiteX89" fmla="*/ 509836 w 817017"/>
                <a:gd name="connsiteY89" fmla="*/ 550069 h 604838"/>
                <a:gd name="connsiteX90" fmla="*/ 516979 w 817017"/>
                <a:gd name="connsiteY90" fmla="*/ 554832 h 604838"/>
                <a:gd name="connsiteX91" fmla="*/ 524123 w 817017"/>
                <a:gd name="connsiteY91" fmla="*/ 552450 h 604838"/>
                <a:gd name="connsiteX92" fmla="*/ 528886 w 817017"/>
                <a:gd name="connsiteY92" fmla="*/ 545307 h 604838"/>
                <a:gd name="connsiteX93" fmla="*/ 562223 w 817017"/>
                <a:gd name="connsiteY93" fmla="*/ 538163 h 604838"/>
                <a:gd name="connsiteX94" fmla="*/ 574129 w 817017"/>
                <a:gd name="connsiteY94" fmla="*/ 519113 h 604838"/>
                <a:gd name="connsiteX95" fmla="*/ 576511 w 817017"/>
                <a:gd name="connsiteY95" fmla="*/ 511969 h 604838"/>
                <a:gd name="connsiteX96" fmla="*/ 569367 w 817017"/>
                <a:gd name="connsiteY96" fmla="*/ 504825 h 604838"/>
                <a:gd name="connsiteX97" fmla="*/ 574129 w 817017"/>
                <a:gd name="connsiteY97" fmla="*/ 497682 h 604838"/>
                <a:gd name="connsiteX98" fmla="*/ 576511 w 817017"/>
                <a:gd name="connsiteY98" fmla="*/ 490538 h 604838"/>
                <a:gd name="connsiteX99" fmla="*/ 569367 w 817017"/>
                <a:gd name="connsiteY99" fmla="*/ 485775 h 604838"/>
                <a:gd name="connsiteX100" fmla="*/ 559842 w 817017"/>
                <a:gd name="connsiteY100" fmla="*/ 471488 h 604838"/>
                <a:gd name="connsiteX101" fmla="*/ 552698 w 817017"/>
                <a:gd name="connsiteY101" fmla="*/ 469107 h 604838"/>
                <a:gd name="connsiteX102" fmla="*/ 555079 w 817017"/>
                <a:gd name="connsiteY102" fmla="*/ 461963 h 604838"/>
                <a:gd name="connsiteX103" fmla="*/ 555079 w 817017"/>
                <a:gd name="connsiteY103" fmla="*/ 452438 h 604838"/>
                <a:gd name="connsiteX104" fmla="*/ 562223 w 817017"/>
                <a:gd name="connsiteY104" fmla="*/ 454819 h 604838"/>
                <a:gd name="connsiteX105" fmla="*/ 569367 w 817017"/>
                <a:gd name="connsiteY105" fmla="*/ 450057 h 604838"/>
                <a:gd name="connsiteX106" fmla="*/ 574129 w 817017"/>
                <a:gd name="connsiteY106" fmla="*/ 457200 h 604838"/>
                <a:gd name="connsiteX107" fmla="*/ 588417 w 817017"/>
                <a:gd name="connsiteY107" fmla="*/ 461963 h 604838"/>
                <a:gd name="connsiteX108" fmla="*/ 595561 w 817017"/>
                <a:gd name="connsiteY108" fmla="*/ 457200 h 604838"/>
                <a:gd name="connsiteX109" fmla="*/ 602704 w 817017"/>
                <a:gd name="connsiteY109" fmla="*/ 461963 h 604838"/>
                <a:gd name="connsiteX110" fmla="*/ 595561 w 817017"/>
                <a:gd name="connsiteY110" fmla="*/ 445294 h 604838"/>
                <a:gd name="connsiteX111" fmla="*/ 597942 w 817017"/>
                <a:gd name="connsiteY111" fmla="*/ 438150 h 604838"/>
                <a:gd name="connsiteX112" fmla="*/ 612229 w 817017"/>
                <a:gd name="connsiteY112" fmla="*/ 428625 h 604838"/>
                <a:gd name="connsiteX113" fmla="*/ 614611 w 817017"/>
                <a:gd name="connsiteY113" fmla="*/ 416719 h 604838"/>
                <a:gd name="connsiteX114" fmla="*/ 612229 w 817017"/>
                <a:gd name="connsiteY114" fmla="*/ 407194 h 604838"/>
                <a:gd name="connsiteX115" fmla="*/ 626517 w 817017"/>
                <a:gd name="connsiteY115" fmla="*/ 411957 h 604838"/>
                <a:gd name="connsiteX116" fmla="*/ 636042 w 817017"/>
                <a:gd name="connsiteY116" fmla="*/ 414338 h 604838"/>
                <a:gd name="connsiteX117" fmla="*/ 643186 w 817017"/>
                <a:gd name="connsiteY117" fmla="*/ 409575 h 604838"/>
                <a:gd name="connsiteX118" fmla="*/ 647948 w 817017"/>
                <a:gd name="connsiteY118" fmla="*/ 395288 h 604838"/>
                <a:gd name="connsiteX119" fmla="*/ 664617 w 817017"/>
                <a:gd name="connsiteY119" fmla="*/ 388144 h 604838"/>
                <a:gd name="connsiteX120" fmla="*/ 666998 w 817017"/>
                <a:gd name="connsiteY120" fmla="*/ 381000 h 604838"/>
                <a:gd name="connsiteX121" fmla="*/ 669379 w 817017"/>
                <a:gd name="connsiteY121" fmla="*/ 369094 h 604838"/>
                <a:gd name="connsiteX122" fmla="*/ 676523 w 817017"/>
                <a:gd name="connsiteY122" fmla="*/ 371475 h 604838"/>
                <a:gd name="connsiteX123" fmla="*/ 686048 w 817017"/>
                <a:gd name="connsiteY123" fmla="*/ 369094 h 604838"/>
                <a:gd name="connsiteX124" fmla="*/ 693192 w 817017"/>
                <a:gd name="connsiteY124" fmla="*/ 371475 h 604838"/>
                <a:gd name="connsiteX125" fmla="*/ 697954 w 817017"/>
                <a:gd name="connsiteY125" fmla="*/ 364332 h 604838"/>
                <a:gd name="connsiteX126" fmla="*/ 705098 w 817017"/>
                <a:gd name="connsiteY126" fmla="*/ 361950 h 604838"/>
                <a:gd name="connsiteX127" fmla="*/ 712242 w 817017"/>
                <a:gd name="connsiteY127" fmla="*/ 364332 h 604838"/>
                <a:gd name="connsiteX128" fmla="*/ 726529 w 817017"/>
                <a:gd name="connsiteY128" fmla="*/ 373857 h 604838"/>
                <a:gd name="connsiteX129" fmla="*/ 736054 w 817017"/>
                <a:gd name="connsiteY129" fmla="*/ 376238 h 604838"/>
                <a:gd name="connsiteX130" fmla="*/ 750342 w 817017"/>
                <a:gd name="connsiteY130" fmla="*/ 383382 h 604838"/>
                <a:gd name="connsiteX131" fmla="*/ 752723 w 817017"/>
                <a:gd name="connsiteY131" fmla="*/ 376238 h 604838"/>
                <a:gd name="connsiteX132" fmla="*/ 757486 w 817017"/>
                <a:gd name="connsiteY132" fmla="*/ 369094 h 604838"/>
                <a:gd name="connsiteX133" fmla="*/ 764629 w 817017"/>
                <a:gd name="connsiteY133" fmla="*/ 371475 h 604838"/>
                <a:gd name="connsiteX134" fmla="*/ 774154 w 817017"/>
                <a:gd name="connsiteY134" fmla="*/ 366713 h 604838"/>
                <a:gd name="connsiteX135" fmla="*/ 783679 w 817017"/>
                <a:gd name="connsiteY135" fmla="*/ 366713 h 604838"/>
                <a:gd name="connsiteX136" fmla="*/ 797967 w 817017"/>
                <a:gd name="connsiteY136" fmla="*/ 361950 h 604838"/>
                <a:gd name="connsiteX137" fmla="*/ 793204 w 817017"/>
                <a:gd name="connsiteY137" fmla="*/ 345282 h 604838"/>
                <a:gd name="connsiteX138" fmla="*/ 788442 w 817017"/>
                <a:gd name="connsiteY138" fmla="*/ 338138 h 604838"/>
                <a:gd name="connsiteX139" fmla="*/ 774154 w 817017"/>
                <a:gd name="connsiteY139" fmla="*/ 333375 h 604838"/>
                <a:gd name="connsiteX140" fmla="*/ 767011 w 817017"/>
                <a:gd name="connsiteY140" fmla="*/ 326232 h 604838"/>
                <a:gd name="connsiteX141" fmla="*/ 759867 w 817017"/>
                <a:gd name="connsiteY141" fmla="*/ 323850 h 604838"/>
                <a:gd name="connsiteX142" fmla="*/ 747961 w 817017"/>
                <a:gd name="connsiteY142" fmla="*/ 295275 h 604838"/>
                <a:gd name="connsiteX143" fmla="*/ 740817 w 817017"/>
                <a:gd name="connsiteY143" fmla="*/ 290513 h 604838"/>
                <a:gd name="connsiteX144" fmla="*/ 721767 w 817017"/>
                <a:gd name="connsiteY144" fmla="*/ 285750 h 604838"/>
                <a:gd name="connsiteX145" fmla="*/ 707479 w 817017"/>
                <a:gd name="connsiteY145" fmla="*/ 283369 h 604838"/>
                <a:gd name="connsiteX146" fmla="*/ 717004 w 817017"/>
                <a:gd name="connsiteY146" fmla="*/ 269082 h 604838"/>
                <a:gd name="connsiteX147" fmla="*/ 728911 w 817017"/>
                <a:gd name="connsiteY147" fmla="*/ 266700 h 604838"/>
                <a:gd name="connsiteX148" fmla="*/ 736054 w 817017"/>
                <a:gd name="connsiteY148" fmla="*/ 242888 h 604838"/>
                <a:gd name="connsiteX149" fmla="*/ 740817 w 817017"/>
                <a:gd name="connsiteY149" fmla="*/ 235744 h 604838"/>
                <a:gd name="connsiteX150" fmla="*/ 747961 w 817017"/>
                <a:gd name="connsiteY150" fmla="*/ 233363 h 604838"/>
                <a:gd name="connsiteX151" fmla="*/ 755104 w 817017"/>
                <a:gd name="connsiteY151" fmla="*/ 238125 h 604838"/>
                <a:gd name="connsiteX152" fmla="*/ 762248 w 817017"/>
                <a:gd name="connsiteY152" fmla="*/ 235744 h 604838"/>
                <a:gd name="connsiteX153" fmla="*/ 757486 w 817017"/>
                <a:gd name="connsiteY153" fmla="*/ 221457 h 604838"/>
                <a:gd name="connsiteX154" fmla="*/ 752723 w 817017"/>
                <a:gd name="connsiteY154" fmla="*/ 207169 h 604838"/>
                <a:gd name="connsiteX155" fmla="*/ 750342 w 817017"/>
                <a:gd name="connsiteY155" fmla="*/ 200025 h 604838"/>
                <a:gd name="connsiteX156" fmla="*/ 747961 w 817017"/>
                <a:gd name="connsiteY156" fmla="*/ 192882 h 604838"/>
                <a:gd name="connsiteX157" fmla="*/ 726529 w 817017"/>
                <a:gd name="connsiteY157" fmla="*/ 152400 h 604838"/>
                <a:gd name="connsiteX158" fmla="*/ 736054 w 817017"/>
                <a:gd name="connsiteY158" fmla="*/ 150019 h 604838"/>
                <a:gd name="connsiteX159" fmla="*/ 743198 w 817017"/>
                <a:gd name="connsiteY159" fmla="*/ 145257 h 604838"/>
                <a:gd name="connsiteX160" fmla="*/ 747961 w 817017"/>
                <a:gd name="connsiteY160" fmla="*/ 130969 h 604838"/>
                <a:gd name="connsiteX161" fmla="*/ 750342 w 817017"/>
                <a:gd name="connsiteY161" fmla="*/ 123825 h 604838"/>
                <a:gd name="connsiteX162" fmla="*/ 752723 w 817017"/>
                <a:gd name="connsiteY162" fmla="*/ 114300 h 604838"/>
                <a:gd name="connsiteX163" fmla="*/ 767011 w 817017"/>
                <a:gd name="connsiteY163" fmla="*/ 111919 h 604838"/>
                <a:gd name="connsiteX164" fmla="*/ 786061 w 817017"/>
                <a:gd name="connsiteY164" fmla="*/ 107157 h 604838"/>
                <a:gd name="connsiteX165" fmla="*/ 793204 w 817017"/>
                <a:gd name="connsiteY165" fmla="*/ 109538 h 604838"/>
                <a:gd name="connsiteX166" fmla="*/ 802729 w 817017"/>
                <a:gd name="connsiteY166" fmla="*/ 114300 h 604838"/>
                <a:gd name="connsiteX167" fmla="*/ 812254 w 817017"/>
                <a:gd name="connsiteY167" fmla="*/ 100013 h 604838"/>
                <a:gd name="connsiteX168" fmla="*/ 817017 w 817017"/>
                <a:gd name="connsiteY168" fmla="*/ 85725 h 604838"/>
                <a:gd name="connsiteX169" fmla="*/ 809873 w 817017"/>
                <a:gd name="connsiteY169" fmla="*/ 61913 h 604838"/>
                <a:gd name="connsiteX170" fmla="*/ 797967 w 817017"/>
                <a:gd name="connsiteY170" fmla="*/ 42863 h 604838"/>
                <a:gd name="connsiteX171" fmla="*/ 790823 w 817017"/>
                <a:gd name="connsiteY171" fmla="*/ 40482 h 604838"/>
                <a:gd name="connsiteX172" fmla="*/ 759867 w 817017"/>
                <a:gd name="connsiteY172" fmla="*/ 42863 h 604838"/>
                <a:gd name="connsiteX173" fmla="*/ 750342 w 817017"/>
                <a:gd name="connsiteY173" fmla="*/ 40482 h 604838"/>
                <a:gd name="connsiteX174" fmla="*/ 736054 w 817017"/>
                <a:gd name="connsiteY174" fmla="*/ 35719 h 604838"/>
                <a:gd name="connsiteX175" fmla="*/ 726529 w 817017"/>
                <a:gd name="connsiteY175" fmla="*/ 21432 h 604838"/>
                <a:gd name="connsiteX176" fmla="*/ 712242 w 817017"/>
                <a:gd name="connsiteY176" fmla="*/ 11907 h 604838"/>
                <a:gd name="connsiteX177" fmla="*/ 705098 w 817017"/>
                <a:gd name="connsiteY177" fmla="*/ 16669 h 604838"/>
                <a:gd name="connsiteX178" fmla="*/ 695573 w 817017"/>
                <a:gd name="connsiteY178" fmla="*/ 26194 h 604838"/>
                <a:gd name="connsiteX179" fmla="*/ 688429 w 817017"/>
                <a:gd name="connsiteY179" fmla="*/ 23813 h 604838"/>
                <a:gd name="connsiteX180" fmla="*/ 683667 w 817017"/>
                <a:gd name="connsiteY180" fmla="*/ 16669 h 604838"/>
                <a:gd name="connsiteX181" fmla="*/ 676523 w 817017"/>
                <a:gd name="connsiteY181" fmla="*/ 9525 h 604838"/>
                <a:gd name="connsiteX182" fmla="*/ 655092 w 817017"/>
                <a:gd name="connsiteY182" fmla="*/ 16669 h 604838"/>
                <a:gd name="connsiteX183" fmla="*/ 650329 w 817017"/>
                <a:gd name="connsiteY183" fmla="*/ 23813 h 604838"/>
                <a:gd name="connsiteX184" fmla="*/ 638423 w 817017"/>
                <a:gd name="connsiteY184" fmla="*/ 21432 h 604838"/>
                <a:gd name="connsiteX185" fmla="*/ 631279 w 817017"/>
                <a:gd name="connsiteY185" fmla="*/ 19050 h 604838"/>
                <a:gd name="connsiteX186" fmla="*/ 619373 w 817017"/>
                <a:gd name="connsiteY186" fmla="*/ 0 h 604838"/>
                <a:gd name="connsiteX187" fmla="*/ 571748 w 817017"/>
                <a:gd name="connsiteY187" fmla="*/ 7144 h 604838"/>
                <a:gd name="connsiteX188" fmla="*/ 557461 w 817017"/>
                <a:gd name="connsiteY188" fmla="*/ 11907 h 604838"/>
                <a:gd name="connsiteX189" fmla="*/ 550317 w 817017"/>
                <a:gd name="connsiteY189" fmla="*/ 16669 h 604838"/>
                <a:gd name="connsiteX190" fmla="*/ 540792 w 817017"/>
                <a:gd name="connsiteY190" fmla="*/ 21432 h 604838"/>
                <a:gd name="connsiteX191" fmla="*/ 526504 w 817017"/>
                <a:gd name="connsiteY191" fmla="*/ 33338 h 604838"/>
                <a:gd name="connsiteX192" fmla="*/ 502692 w 817017"/>
                <a:gd name="connsiteY192" fmla="*/ 38100 h 604838"/>
                <a:gd name="connsiteX193" fmla="*/ 497929 w 817017"/>
                <a:gd name="connsiteY193" fmla="*/ 45244 h 604838"/>
                <a:gd name="connsiteX194" fmla="*/ 486023 w 817017"/>
                <a:gd name="connsiteY194" fmla="*/ 66675 h 604838"/>
                <a:gd name="connsiteX195" fmla="*/ 471736 w 817017"/>
                <a:gd name="connsiteY195" fmla="*/ 76200 h 604838"/>
                <a:gd name="connsiteX196" fmla="*/ 469354 w 817017"/>
                <a:gd name="connsiteY196" fmla="*/ 90488 h 604838"/>
                <a:gd name="connsiteX197" fmla="*/ 457448 w 817017"/>
                <a:gd name="connsiteY197" fmla="*/ 104775 h 604838"/>
                <a:gd name="connsiteX198" fmla="*/ 455067 w 817017"/>
                <a:gd name="connsiteY198" fmla="*/ 114300 h 604838"/>
                <a:gd name="connsiteX199" fmla="*/ 447923 w 817017"/>
                <a:gd name="connsiteY199" fmla="*/ 121444 h 604838"/>
                <a:gd name="connsiteX200" fmla="*/ 431254 w 817017"/>
                <a:gd name="connsiteY200" fmla="*/ 130969 h 604838"/>
                <a:gd name="connsiteX201" fmla="*/ 416967 w 817017"/>
                <a:gd name="connsiteY201" fmla="*/ 135732 h 604838"/>
                <a:gd name="connsiteX202" fmla="*/ 409823 w 817017"/>
                <a:gd name="connsiteY202" fmla="*/ 138113 h 604838"/>
                <a:gd name="connsiteX203" fmla="*/ 405061 w 817017"/>
                <a:gd name="connsiteY203" fmla="*/ 145257 h 604838"/>
                <a:gd name="connsiteX204" fmla="*/ 381248 w 817017"/>
                <a:gd name="connsiteY204" fmla="*/ 140494 h 604838"/>
                <a:gd name="connsiteX205" fmla="*/ 331242 w 817017"/>
                <a:gd name="connsiteY205" fmla="*/ 138113 h 604838"/>
                <a:gd name="connsiteX206" fmla="*/ 312192 w 817017"/>
                <a:gd name="connsiteY206" fmla="*/ 140494 h 604838"/>
                <a:gd name="connsiteX207" fmla="*/ 305048 w 817017"/>
                <a:gd name="connsiteY207" fmla="*/ 145257 h 604838"/>
                <a:gd name="connsiteX208" fmla="*/ 297904 w 817017"/>
                <a:gd name="connsiteY208" fmla="*/ 147638 h 604838"/>
                <a:gd name="connsiteX209" fmla="*/ 295523 w 817017"/>
                <a:gd name="connsiteY209" fmla="*/ 140494 h 604838"/>
                <a:gd name="connsiteX210" fmla="*/ 290761 w 817017"/>
                <a:gd name="connsiteY210" fmla="*/ 147638 h 604838"/>
                <a:gd name="connsiteX211" fmla="*/ 281236 w 817017"/>
                <a:gd name="connsiteY211" fmla="*/ 150019 h 604838"/>
                <a:gd name="connsiteX212" fmla="*/ 274092 w 817017"/>
                <a:gd name="connsiteY212" fmla="*/ 152400 h 604838"/>
                <a:gd name="connsiteX213" fmla="*/ 266948 w 817017"/>
                <a:gd name="connsiteY213" fmla="*/ 157163 h 604838"/>
                <a:gd name="connsiteX214" fmla="*/ 247898 w 817017"/>
                <a:gd name="connsiteY214" fmla="*/ 161925 h 604838"/>
                <a:gd name="connsiteX215" fmla="*/ 240754 w 817017"/>
                <a:gd name="connsiteY215" fmla="*/ 164307 h 604838"/>
                <a:gd name="connsiteX216" fmla="*/ 231229 w 817017"/>
                <a:gd name="connsiteY216" fmla="*/ 166688 h 604838"/>
                <a:gd name="connsiteX217" fmla="*/ 216942 w 817017"/>
                <a:gd name="connsiteY217" fmla="*/ 159544 h 604838"/>
                <a:gd name="connsiteX218" fmla="*/ 209798 w 817017"/>
                <a:gd name="connsiteY218" fmla="*/ 157163 h 604838"/>
                <a:gd name="connsiteX219" fmla="*/ 195511 w 817017"/>
                <a:gd name="connsiteY219" fmla="*/ 159544 h 604838"/>
                <a:gd name="connsiteX220" fmla="*/ 183604 w 817017"/>
                <a:gd name="connsiteY220" fmla="*/ 152401 h 604838"/>
                <a:gd name="connsiteX221" fmla="*/ 166936 w 817017"/>
                <a:gd name="connsiteY221" fmla="*/ 150019 h 604838"/>
                <a:gd name="connsiteX222" fmla="*/ 152648 w 817017"/>
                <a:gd name="connsiteY222" fmla="*/ 150019 h 604838"/>
                <a:gd name="connsiteX223" fmla="*/ 143123 w 817017"/>
                <a:gd name="connsiteY223" fmla="*/ 152400 h 604838"/>
                <a:gd name="connsiteX224" fmla="*/ 128836 w 817017"/>
                <a:gd name="connsiteY224" fmla="*/ 157163 h 604838"/>
                <a:gd name="connsiteX225" fmla="*/ 114548 w 817017"/>
                <a:gd name="connsiteY225" fmla="*/ 164307 h 604838"/>
                <a:gd name="connsiteX226" fmla="*/ 81211 w 817017"/>
                <a:gd name="connsiteY226" fmla="*/ 154782 h 604838"/>
                <a:gd name="connsiteX227" fmla="*/ 78829 w 817017"/>
                <a:gd name="connsiteY227" fmla="*/ 147638 h 604838"/>
                <a:gd name="connsiteX228" fmla="*/ 81211 w 817017"/>
                <a:gd name="connsiteY228" fmla="*/ 138113 h 604838"/>
                <a:gd name="connsiteX229" fmla="*/ 88354 w 817017"/>
                <a:gd name="connsiteY229" fmla="*/ 133350 h 604838"/>
                <a:gd name="connsiteX230" fmla="*/ 93117 w 817017"/>
                <a:gd name="connsiteY230" fmla="*/ 119063 h 604838"/>
                <a:gd name="connsiteX231" fmla="*/ 76448 w 817017"/>
                <a:gd name="connsiteY231" fmla="*/ 111919 h 604838"/>
                <a:gd name="connsiteX232" fmla="*/ 45492 w 817017"/>
                <a:gd name="connsiteY232" fmla="*/ 104775 h 604838"/>
                <a:gd name="connsiteX233" fmla="*/ 33586 w 817017"/>
                <a:gd name="connsiteY233" fmla="*/ 104775 h 604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Lst>
              <a:rect l="l" t="t" r="r" b="b"/>
              <a:pathLst>
                <a:path w="817017" h="604838">
                  <a:moveTo>
                    <a:pt x="33586" y="104775"/>
                  </a:moveTo>
                  <a:cubicBezTo>
                    <a:pt x="30411" y="108744"/>
                    <a:pt x="25522" y="111814"/>
                    <a:pt x="24061" y="116682"/>
                  </a:cubicBezTo>
                  <a:cubicBezTo>
                    <a:pt x="22898" y="120559"/>
                    <a:pt x="27507" y="124683"/>
                    <a:pt x="26442" y="128588"/>
                  </a:cubicBezTo>
                  <a:cubicBezTo>
                    <a:pt x="24936" y="134110"/>
                    <a:pt x="20092" y="138113"/>
                    <a:pt x="16917" y="142875"/>
                  </a:cubicBezTo>
                  <a:lnTo>
                    <a:pt x="7392" y="157163"/>
                  </a:lnTo>
                  <a:lnTo>
                    <a:pt x="2629" y="164307"/>
                  </a:lnTo>
                  <a:cubicBezTo>
                    <a:pt x="1835" y="168276"/>
                    <a:pt x="-817" y="172308"/>
                    <a:pt x="248" y="176213"/>
                  </a:cubicBezTo>
                  <a:cubicBezTo>
                    <a:pt x="1754" y="181735"/>
                    <a:pt x="9773" y="190500"/>
                    <a:pt x="9773" y="190500"/>
                  </a:cubicBezTo>
                  <a:cubicBezTo>
                    <a:pt x="8979" y="192881"/>
                    <a:pt x="8784" y="195555"/>
                    <a:pt x="7392" y="197644"/>
                  </a:cubicBezTo>
                  <a:cubicBezTo>
                    <a:pt x="5524" y="200446"/>
                    <a:pt x="620" y="201441"/>
                    <a:pt x="248" y="204788"/>
                  </a:cubicBezTo>
                  <a:cubicBezTo>
                    <a:pt x="-306" y="209777"/>
                    <a:pt x="3423" y="214313"/>
                    <a:pt x="5011" y="219075"/>
                  </a:cubicBezTo>
                  <a:cubicBezTo>
                    <a:pt x="5805" y="221456"/>
                    <a:pt x="5304" y="224827"/>
                    <a:pt x="7392" y="226219"/>
                  </a:cubicBezTo>
                  <a:cubicBezTo>
                    <a:pt x="9773" y="227807"/>
                    <a:pt x="11921" y="229820"/>
                    <a:pt x="14536" y="230982"/>
                  </a:cubicBezTo>
                  <a:cubicBezTo>
                    <a:pt x="19123" y="233021"/>
                    <a:pt x="28823" y="235744"/>
                    <a:pt x="28823" y="235744"/>
                  </a:cubicBezTo>
                  <a:cubicBezTo>
                    <a:pt x="31204" y="238125"/>
                    <a:pt x="34099" y="240086"/>
                    <a:pt x="35967" y="242888"/>
                  </a:cubicBezTo>
                  <a:cubicBezTo>
                    <a:pt x="40899" y="250286"/>
                    <a:pt x="35079" y="250749"/>
                    <a:pt x="43111" y="257175"/>
                  </a:cubicBezTo>
                  <a:cubicBezTo>
                    <a:pt x="45555" y="259130"/>
                    <a:pt x="61563" y="261819"/>
                    <a:pt x="62161" y="261938"/>
                  </a:cubicBezTo>
                  <a:cubicBezTo>
                    <a:pt x="66923" y="265113"/>
                    <a:pt x="71018" y="269653"/>
                    <a:pt x="76448" y="271463"/>
                  </a:cubicBezTo>
                  <a:lnTo>
                    <a:pt x="90736" y="276225"/>
                  </a:lnTo>
                  <a:cubicBezTo>
                    <a:pt x="93117" y="277813"/>
                    <a:pt x="95319" y="279708"/>
                    <a:pt x="97879" y="280988"/>
                  </a:cubicBezTo>
                  <a:cubicBezTo>
                    <a:pt x="100124" y="282111"/>
                    <a:pt x="104414" y="280934"/>
                    <a:pt x="105023" y="283369"/>
                  </a:cubicBezTo>
                  <a:cubicBezTo>
                    <a:pt x="105717" y="286145"/>
                    <a:pt x="101423" y="287898"/>
                    <a:pt x="100261" y="290513"/>
                  </a:cubicBezTo>
                  <a:cubicBezTo>
                    <a:pt x="98222" y="295100"/>
                    <a:pt x="95498" y="304800"/>
                    <a:pt x="95498" y="304800"/>
                  </a:cubicBezTo>
                  <a:cubicBezTo>
                    <a:pt x="94704" y="312738"/>
                    <a:pt x="94587" y="320772"/>
                    <a:pt x="93117" y="328613"/>
                  </a:cubicBezTo>
                  <a:cubicBezTo>
                    <a:pt x="92192" y="333547"/>
                    <a:pt x="93116" y="341312"/>
                    <a:pt x="88354" y="342900"/>
                  </a:cubicBezTo>
                  <a:lnTo>
                    <a:pt x="81211" y="345282"/>
                  </a:lnTo>
                  <a:cubicBezTo>
                    <a:pt x="75655" y="344488"/>
                    <a:pt x="69918" y="344513"/>
                    <a:pt x="64542" y="342900"/>
                  </a:cubicBezTo>
                  <a:cubicBezTo>
                    <a:pt x="61801" y="342078"/>
                    <a:pt x="60221" y="337667"/>
                    <a:pt x="57398" y="338138"/>
                  </a:cubicBezTo>
                  <a:cubicBezTo>
                    <a:pt x="54076" y="338692"/>
                    <a:pt x="52635" y="342901"/>
                    <a:pt x="50254" y="345282"/>
                  </a:cubicBezTo>
                  <a:cubicBezTo>
                    <a:pt x="48667" y="348457"/>
                    <a:pt x="46890" y="351544"/>
                    <a:pt x="45492" y="354807"/>
                  </a:cubicBezTo>
                  <a:cubicBezTo>
                    <a:pt x="44503" y="357114"/>
                    <a:pt x="41989" y="359705"/>
                    <a:pt x="43111" y="361950"/>
                  </a:cubicBezTo>
                  <a:cubicBezTo>
                    <a:pt x="44233" y="364195"/>
                    <a:pt x="47873" y="363538"/>
                    <a:pt x="50254" y="364332"/>
                  </a:cubicBezTo>
                  <a:cubicBezTo>
                    <a:pt x="51048" y="366713"/>
                    <a:pt x="52254" y="368994"/>
                    <a:pt x="52636" y="371475"/>
                  </a:cubicBezTo>
                  <a:cubicBezTo>
                    <a:pt x="53849" y="379359"/>
                    <a:pt x="51716" y="388026"/>
                    <a:pt x="55017" y="395288"/>
                  </a:cubicBezTo>
                  <a:cubicBezTo>
                    <a:pt x="56371" y="398267"/>
                    <a:pt x="61367" y="396875"/>
                    <a:pt x="64542" y="397669"/>
                  </a:cubicBezTo>
                  <a:cubicBezTo>
                    <a:pt x="66949" y="401279"/>
                    <a:pt x="71686" y="407030"/>
                    <a:pt x="71686" y="411957"/>
                  </a:cubicBezTo>
                  <a:cubicBezTo>
                    <a:pt x="71686" y="416004"/>
                    <a:pt x="70182" y="419912"/>
                    <a:pt x="69304" y="423863"/>
                  </a:cubicBezTo>
                  <a:cubicBezTo>
                    <a:pt x="68594" y="427058"/>
                    <a:pt x="67822" y="430241"/>
                    <a:pt x="66923" y="433388"/>
                  </a:cubicBezTo>
                  <a:cubicBezTo>
                    <a:pt x="66233" y="435802"/>
                    <a:pt x="65151" y="438097"/>
                    <a:pt x="64542" y="440532"/>
                  </a:cubicBezTo>
                  <a:cubicBezTo>
                    <a:pt x="63560" y="444458"/>
                    <a:pt x="64406" y="449071"/>
                    <a:pt x="62161" y="452438"/>
                  </a:cubicBezTo>
                  <a:cubicBezTo>
                    <a:pt x="60769" y="454527"/>
                    <a:pt x="57398" y="454025"/>
                    <a:pt x="55017" y="454819"/>
                  </a:cubicBezTo>
                  <a:cubicBezTo>
                    <a:pt x="67713" y="473866"/>
                    <a:pt x="51051" y="450854"/>
                    <a:pt x="66923" y="466725"/>
                  </a:cubicBezTo>
                  <a:cubicBezTo>
                    <a:pt x="68947" y="468749"/>
                    <a:pt x="69305" y="472281"/>
                    <a:pt x="71686" y="473869"/>
                  </a:cubicBezTo>
                  <a:cubicBezTo>
                    <a:pt x="74409" y="475684"/>
                    <a:pt x="78076" y="475310"/>
                    <a:pt x="81211" y="476250"/>
                  </a:cubicBezTo>
                  <a:cubicBezTo>
                    <a:pt x="86019" y="477693"/>
                    <a:pt x="90736" y="479425"/>
                    <a:pt x="95498" y="481013"/>
                  </a:cubicBezTo>
                  <a:lnTo>
                    <a:pt x="102642" y="483394"/>
                  </a:lnTo>
                  <a:cubicBezTo>
                    <a:pt x="105023" y="484982"/>
                    <a:pt x="107171" y="486995"/>
                    <a:pt x="109786" y="488157"/>
                  </a:cubicBezTo>
                  <a:cubicBezTo>
                    <a:pt x="114373" y="490196"/>
                    <a:pt x="124073" y="492919"/>
                    <a:pt x="124073" y="492919"/>
                  </a:cubicBezTo>
                  <a:cubicBezTo>
                    <a:pt x="124867" y="495300"/>
                    <a:pt x="126216" y="497564"/>
                    <a:pt x="126454" y="500063"/>
                  </a:cubicBezTo>
                  <a:cubicBezTo>
                    <a:pt x="127811" y="514308"/>
                    <a:pt x="124109" y="529419"/>
                    <a:pt x="128836" y="542925"/>
                  </a:cubicBezTo>
                  <a:cubicBezTo>
                    <a:pt x="130494" y="547663"/>
                    <a:pt x="143123" y="547688"/>
                    <a:pt x="143123" y="547688"/>
                  </a:cubicBezTo>
                  <a:cubicBezTo>
                    <a:pt x="142329" y="551657"/>
                    <a:pt x="141807" y="555689"/>
                    <a:pt x="140742" y="559594"/>
                  </a:cubicBezTo>
                  <a:cubicBezTo>
                    <a:pt x="139421" y="564437"/>
                    <a:pt x="135979" y="573882"/>
                    <a:pt x="135979" y="573882"/>
                  </a:cubicBezTo>
                  <a:cubicBezTo>
                    <a:pt x="137567" y="576263"/>
                    <a:pt x="138718" y="579001"/>
                    <a:pt x="140742" y="581025"/>
                  </a:cubicBezTo>
                  <a:cubicBezTo>
                    <a:pt x="142766" y="583049"/>
                    <a:pt x="146369" y="583361"/>
                    <a:pt x="147886" y="585788"/>
                  </a:cubicBezTo>
                  <a:cubicBezTo>
                    <a:pt x="162055" y="608458"/>
                    <a:pt x="143624" y="594059"/>
                    <a:pt x="159792" y="604838"/>
                  </a:cubicBezTo>
                  <a:cubicBezTo>
                    <a:pt x="169317" y="604044"/>
                    <a:pt x="178995" y="604332"/>
                    <a:pt x="188367" y="602457"/>
                  </a:cubicBezTo>
                  <a:cubicBezTo>
                    <a:pt x="198482" y="600434"/>
                    <a:pt x="195323" y="592718"/>
                    <a:pt x="200273" y="585788"/>
                  </a:cubicBezTo>
                  <a:cubicBezTo>
                    <a:pt x="201937" y="583459"/>
                    <a:pt x="205036" y="582613"/>
                    <a:pt x="207417" y="581025"/>
                  </a:cubicBezTo>
                  <a:cubicBezTo>
                    <a:pt x="209798" y="581819"/>
                    <a:pt x="212126" y="582798"/>
                    <a:pt x="214561" y="583407"/>
                  </a:cubicBezTo>
                  <a:lnTo>
                    <a:pt x="233611" y="588169"/>
                  </a:lnTo>
                  <a:cubicBezTo>
                    <a:pt x="240584" y="587007"/>
                    <a:pt x="249890" y="587465"/>
                    <a:pt x="255042" y="581025"/>
                  </a:cubicBezTo>
                  <a:cubicBezTo>
                    <a:pt x="259417" y="575556"/>
                    <a:pt x="254789" y="570965"/>
                    <a:pt x="262186" y="566738"/>
                  </a:cubicBezTo>
                  <a:cubicBezTo>
                    <a:pt x="265700" y="564730"/>
                    <a:pt x="270187" y="565422"/>
                    <a:pt x="274092" y="564357"/>
                  </a:cubicBezTo>
                  <a:cubicBezTo>
                    <a:pt x="278935" y="563036"/>
                    <a:pt x="288379" y="559594"/>
                    <a:pt x="288379" y="559594"/>
                  </a:cubicBezTo>
                  <a:cubicBezTo>
                    <a:pt x="294922" y="533432"/>
                    <a:pt x="285007" y="566141"/>
                    <a:pt x="297904" y="542925"/>
                  </a:cubicBezTo>
                  <a:cubicBezTo>
                    <a:pt x="300342" y="538537"/>
                    <a:pt x="299883" y="532815"/>
                    <a:pt x="302667" y="528638"/>
                  </a:cubicBezTo>
                  <a:lnTo>
                    <a:pt x="307429" y="521494"/>
                  </a:lnTo>
                  <a:cubicBezTo>
                    <a:pt x="308223" y="523875"/>
                    <a:pt x="308036" y="526863"/>
                    <a:pt x="309811" y="528638"/>
                  </a:cubicBezTo>
                  <a:cubicBezTo>
                    <a:pt x="314573" y="533400"/>
                    <a:pt x="319336" y="530225"/>
                    <a:pt x="324098" y="528638"/>
                  </a:cubicBezTo>
                  <a:cubicBezTo>
                    <a:pt x="325686" y="531019"/>
                    <a:pt x="326146" y="534877"/>
                    <a:pt x="328861" y="535782"/>
                  </a:cubicBezTo>
                  <a:cubicBezTo>
                    <a:pt x="331966" y="536817"/>
                    <a:pt x="335113" y="533400"/>
                    <a:pt x="338386" y="533400"/>
                  </a:cubicBezTo>
                  <a:cubicBezTo>
                    <a:pt x="341659" y="533400"/>
                    <a:pt x="344736" y="534988"/>
                    <a:pt x="347911" y="535782"/>
                  </a:cubicBezTo>
                  <a:lnTo>
                    <a:pt x="362198" y="545307"/>
                  </a:lnTo>
                  <a:cubicBezTo>
                    <a:pt x="364579" y="546894"/>
                    <a:pt x="366627" y="549164"/>
                    <a:pt x="369342" y="550069"/>
                  </a:cubicBezTo>
                  <a:lnTo>
                    <a:pt x="376486" y="552450"/>
                  </a:lnTo>
                  <a:cubicBezTo>
                    <a:pt x="378867" y="550863"/>
                    <a:pt x="380853" y="546994"/>
                    <a:pt x="383629" y="547688"/>
                  </a:cubicBezTo>
                  <a:cubicBezTo>
                    <a:pt x="392079" y="549801"/>
                    <a:pt x="378732" y="565752"/>
                    <a:pt x="390773" y="547688"/>
                  </a:cubicBezTo>
                  <a:cubicBezTo>
                    <a:pt x="407442" y="553244"/>
                    <a:pt x="403473" y="557213"/>
                    <a:pt x="407442" y="545307"/>
                  </a:cubicBezTo>
                  <a:cubicBezTo>
                    <a:pt x="409823" y="546101"/>
                    <a:pt x="412497" y="546296"/>
                    <a:pt x="414586" y="547688"/>
                  </a:cubicBezTo>
                  <a:cubicBezTo>
                    <a:pt x="417388" y="549556"/>
                    <a:pt x="418534" y="553767"/>
                    <a:pt x="421729" y="554832"/>
                  </a:cubicBezTo>
                  <a:cubicBezTo>
                    <a:pt x="425014" y="555927"/>
                    <a:pt x="434279" y="548846"/>
                    <a:pt x="436017" y="547688"/>
                  </a:cubicBezTo>
                  <a:cubicBezTo>
                    <a:pt x="442853" y="575034"/>
                    <a:pt x="432386" y="542242"/>
                    <a:pt x="445542" y="561975"/>
                  </a:cubicBezTo>
                  <a:cubicBezTo>
                    <a:pt x="447357" y="564698"/>
                    <a:pt x="445438" y="569370"/>
                    <a:pt x="447923" y="571500"/>
                  </a:cubicBezTo>
                  <a:cubicBezTo>
                    <a:pt x="451735" y="574767"/>
                    <a:pt x="462211" y="576263"/>
                    <a:pt x="462211" y="576263"/>
                  </a:cubicBezTo>
                  <a:cubicBezTo>
                    <a:pt x="462798" y="574502"/>
                    <a:pt x="466277" y="561975"/>
                    <a:pt x="469354" y="561975"/>
                  </a:cubicBezTo>
                  <a:cubicBezTo>
                    <a:pt x="472216" y="561975"/>
                    <a:pt x="472529" y="566738"/>
                    <a:pt x="474117" y="569119"/>
                  </a:cubicBezTo>
                  <a:cubicBezTo>
                    <a:pt x="494591" y="555471"/>
                    <a:pt x="468687" y="571834"/>
                    <a:pt x="488404" y="561975"/>
                  </a:cubicBezTo>
                  <a:cubicBezTo>
                    <a:pt x="506858" y="552748"/>
                    <a:pt x="484745" y="560813"/>
                    <a:pt x="502692" y="554832"/>
                  </a:cubicBezTo>
                  <a:cubicBezTo>
                    <a:pt x="505073" y="553244"/>
                    <a:pt x="506974" y="550069"/>
                    <a:pt x="509836" y="550069"/>
                  </a:cubicBezTo>
                  <a:cubicBezTo>
                    <a:pt x="512698" y="550069"/>
                    <a:pt x="514156" y="554362"/>
                    <a:pt x="516979" y="554832"/>
                  </a:cubicBezTo>
                  <a:cubicBezTo>
                    <a:pt x="519455" y="555245"/>
                    <a:pt x="521742" y="553244"/>
                    <a:pt x="524123" y="552450"/>
                  </a:cubicBezTo>
                  <a:cubicBezTo>
                    <a:pt x="525711" y="550069"/>
                    <a:pt x="526459" y="546824"/>
                    <a:pt x="528886" y="545307"/>
                  </a:cubicBezTo>
                  <a:cubicBezTo>
                    <a:pt x="537371" y="540004"/>
                    <a:pt x="553327" y="539275"/>
                    <a:pt x="562223" y="538163"/>
                  </a:cubicBezTo>
                  <a:cubicBezTo>
                    <a:pt x="573544" y="530615"/>
                    <a:pt x="568461" y="536116"/>
                    <a:pt x="574129" y="519113"/>
                  </a:cubicBezTo>
                  <a:lnTo>
                    <a:pt x="576511" y="511969"/>
                  </a:lnTo>
                  <a:cubicBezTo>
                    <a:pt x="574130" y="509588"/>
                    <a:pt x="569921" y="508147"/>
                    <a:pt x="569367" y="504825"/>
                  </a:cubicBezTo>
                  <a:cubicBezTo>
                    <a:pt x="568896" y="502002"/>
                    <a:pt x="572849" y="500241"/>
                    <a:pt x="574129" y="497682"/>
                  </a:cubicBezTo>
                  <a:cubicBezTo>
                    <a:pt x="575252" y="495437"/>
                    <a:pt x="575717" y="492919"/>
                    <a:pt x="576511" y="490538"/>
                  </a:cubicBezTo>
                  <a:cubicBezTo>
                    <a:pt x="574130" y="488950"/>
                    <a:pt x="571155" y="488010"/>
                    <a:pt x="569367" y="485775"/>
                  </a:cubicBezTo>
                  <a:cubicBezTo>
                    <a:pt x="559381" y="473293"/>
                    <a:pt x="577536" y="483284"/>
                    <a:pt x="559842" y="471488"/>
                  </a:cubicBezTo>
                  <a:cubicBezTo>
                    <a:pt x="557753" y="470096"/>
                    <a:pt x="555079" y="469901"/>
                    <a:pt x="552698" y="469107"/>
                  </a:cubicBezTo>
                  <a:cubicBezTo>
                    <a:pt x="553492" y="466726"/>
                    <a:pt x="556011" y="464294"/>
                    <a:pt x="555079" y="461963"/>
                  </a:cubicBezTo>
                  <a:cubicBezTo>
                    <a:pt x="551069" y="451936"/>
                    <a:pt x="540041" y="462463"/>
                    <a:pt x="555079" y="452438"/>
                  </a:cubicBezTo>
                  <a:cubicBezTo>
                    <a:pt x="557460" y="453232"/>
                    <a:pt x="559747" y="455232"/>
                    <a:pt x="562223" y="454819"/>
                  </a:cubicBezTo>
                  <a:cubicBezTo>
                    <a:pt x="565046" y="454349"/>
                    <a:pt x="566561" y="449496"/>
                    <a:pt x="569367" y="450057"/>
                  </a:cubicBezTo>
                  <a:cubicBezTo>
                    <a:pt x="572173" y="450618"/>
                    <a:pt x="571702" y="455683"/>
                    <a:pt x="574129" y="457200"/>
                  </a:cubicBezTo>
                  <a:cubicBezTo>
                    <a:pt x="578386" y="459861"/>
                    <a:pt x="588417" y="461963"/>
                    <a:pt x="588417" y="461963"/>
                  </a:cubicBezTo>
                  <a:cubicBezTo>
                    <a:pt x="590798" y="460375"/>
                    <a:pt x="592699" y="457200"/>
                    <a:pt x="595561" y="457200"/>
                  </a:cubicBezTo>
                  <a:cubicBezTo>
                    <a:pt x="598423" y="457200"/>
                    <a:pt x="600680" y="463987"/>
                    <a:pt x="602704" y="461963"/>
                  </a:cubicBezTo>
                  <a:cubicBezTo>
                    <a:pt x="605779" y="458888"/>
                    <a:pt x="596760" y="447093"/>
                    <a:pt x="595561" y="445294"/>
                  </a:cubicBezTo>
                  <a:cubicBezTo>
                    <a:pt x="596355" y="442913"/>
                    <a:pt x="596167" y="439925"/>
                    <a:pt x="597942" y="438150"/>
                  </a:cubicBezTo>
                  <a:cubicBezTo>
                    <a:pt x="601989" y="434103"/>
                    <a:pt x="612229" y="428625"/>
                    <a:pt x="612229" y="428625"/>
                  </a:cubicBezTo>
                  <a:cubicBezTo>
                    <a:pt x="613023" y="424656"/>
                    <a:pt x="614611" y="420766"/>
                    <a:pt x="614611" y="416719"/>
                  </a:cubicBezTo>
                  <a:cubicBezTo>
                    <a:pt x="614611" y="413446"/>
                    <a:pt x="609190" y="408409"/>
                    <a:pt x="612229" y="407194"/>
                  </a:cubicBezTo>
                  <a:cubicBezTo>
                    <a:pt x="616890" y="405330"/>
                    <a:pt x="621647" y="410740"/>
                    <a:pt x="626517" y="411957"/>
                  </a:cubicBezTo>
                  <a:lnTo>
                    <a:pt x="636042" y="414338"/>
                  </a:lnTo>
                  <a:cubicBezTo>
                    <a:pt x="638423" y="412750"/>
                    <a:pt x="641669" y="412002"/>
                    <a:pt x="643186" y="409575"/>
                  </a:cubicBezTo>
                  <a:cubicBezTo>
                    <a:pt x="645847" y="405318"/>
                    <a:pt x="643771" y="398073"/>
                    <a:pt x="647948" y="395288"/>
                  </a:cubicBezTo>
                  <a:cubicBezTo>
                    <a:pt x="657815" y="388710"/>
                    <a:pt x="652315" y="391219"/>
                    <a:pt x="664617" y="388144"/>
                  </a:cubicBezTo>
                  <a:cubicBezTo>
                    <a:pt x="665411" y="385763"/>
                    <a:pt x="666389" y="383435"/>
                    <a:pt x="666998" y="381000"/>
                  </a:cubicBezTo>
                  <a:cubicBezTo>
                    <a:pt x="667980" y="377074"/>
                    <a:pt x="666517" y="371956"/>
                    <a:pt x="669379" y="369094"/>
                  </a:cubicBezTo>
                  <a:cubicBezTo>
                    <a:pt x="671154" y="367319"/>
                    <a:pt x="674142" y="370681"/>
                    <a:pt x="676523" y="371475"/>
                  </a:cubicBezTo>
                  <a:cubicBezTo>
                    <a:pt x="679698" y="370681"/>
                    <a:pt x="682775" y="369094"/>
                    <a:pt x="686048" y="369094"/>
                  </a:cubicBezTo>
                  <a:cubicBezTo>
                    <a:pt x="688558" y="369094"/>
                    <a:pt x="690861" y="372407"/>
                    <a:pt x="693192" y="371475"/>
                  </a:cubicBezTo>
                  <a:cubicBezTo>
                    <a:pt x="695849" y="370412"/>
                    <a:pt x="695719" y="366120"/>
                    <a:pt x="697954" y="364332"/>
                  </a:cubicBezTo>
                  <a:cubicBezTo>
                    <a:pt x="699914" y="362764"/>
                    <a:pt x="702717" y="362744"/>
                    <a:pt x="705098" y="361950"/>
                  </a:cubicBezTo>
                  <a:cubicBezTo>
                    <a:pt x="707479" y="362744"/>
                    <a:pt x="710048" y="363113"/>
                    <a:pt x="712242" y="364332"/>
                  </a:cubicBezTo>
                  <a:cubicBezTo>
                    <a:pt x="717245" y="367112"/>
                    <a:pt x="720976" y="372469"/>
                    <a:pt x="726529" y="373857"/>
                  </a:cubicBezTo>
                  <a:lnTo>
                    <a:pt x="736054" y="376238"/>
                  </a:lnTo>
                  <a:cubicBezTo>
                    <a:pt x="737257" y="377040"/>
                    <a:pt x="747526" y="384790"/>
                    <a:pt x="750342" y="383382"/>
                  </a:cubicBezTo>
                  <a:cubicBezTo>
                    <a:pt x="752587" y="382260"/>
                    <a:pt x="751600" y="378483"/>
                    <a:pt x="752723" y="376238"/>
                  </a:cubicBezTo>
                  <a:cubicBezTo>
                    <a:pt x="754003" y="373678"/>
                    <a:pt x="755898" y="371475"/>
                    <a:pt x="757486" y="369094"/>
                  </a:cubicBezTo>
                  <a:cubicBezTo>
                    <a:pt x="759867" y="369888"/>
                    <a:pt x="762384" y="372597"/>
                    <a:pt x="764629" y="371475"/>
                  </a:cubicBezTo>
                  <a:cubicBezTo>
                    <a:pt x="777329" y="365126"/>
                    <a:pt x="755106" y="360364"/>
                    <a:pt x="774154" y="366713"/>
                  </a:cubicBezTo>
                  <a:cubicBezTo>
                    <a:pt x="785879" y="349127"/>
                    <a:pt x="771956" y="365248"/>
                    <a:pt x="783679" y="366713"/>
                  </a:cubicBezTo>
                  <a:cubicBezTo>
                    <a:pt x="788661" y="367336"/>
                    <a:pt x="797967" y="361950"/>
                    <a:pt x="797967" y="361950"/>
                  </a:cubicBezTo>
                  <a:cubicBezTo>
                    <a:pt x="797202" y="358890"/>
                    <a:pt x="794915" y="348704"/>
                    <a:pt x="793204" y="345282"/>
                  </a:cubicBezTo>
                  <a:cubicBezTo>
                    <a:pt x="791924" y="342722"/>
                    <a:pt x="790869" y="339655"/>
                    <a:pt x="788442" y="338138"/>
                  </a:cubicBezTo>
                  <a:cubicBezTo>
                    <a:pt x="784185" y="335477"/>
                    <a:pt x="774154" y="333375"/>
                    <a:pt x="774154" y="333375"/>
                  </a:cubicBezTo>
                  <a:cubicBezTo>
                    <a:pt x="771773" y="330994"/>
                    <a:pt x="769813" y="328100"/>
                    <a:pt x="767011" y="326232"/>
                  </a:cubicBezTo>
                  <a:cubicBezTo>
                    <a:pt x="764922" y="324840"/>
                    <a:pt x="760661" y="326231"/>
                    <a:pt x="759867" y="323850"/>
                  </a:cubicBezTo>
                  <a:cubicBezTo>
                    <a:pt x="749400" y="292450"/>
                    <a:pt x="768899" y="300511"/>
                    <a:pt x="747961" y="295275"/>
                  </a:cubicBezTo>
                  <a:cubicBezTo>
                    <a:pt x="745580" y="293688"/>
                    <a:pt x="743377" y="291793"/>
                    <a:pt x="740817" y="290513"/>
                  </a:cubicBezTo>
                  <a:cubicBezTo>
                    <a:pt x="736098" y="288154"/>
                    <a:pt x="726033" y="286526"/>
                    <a:pt x="721767" y="285750"/>
                  </a:cubicBezTo>
                  <a:cubicBezTo>
                    <a:pt x="717017" y="284886"/>
                    <a:pt x="712242" y="284163"/>
                    <a:pt x="707479" y="283369"/>
                  </a:cubicBezTo>
                  <a:cubicBezTo>
                    <a:pt x="709596" y="277020"/>
                    <a:pt x="709870" y="272649"/>
                    <a:pt x="717004" y="269082"/>
                  </a:cubicBezTo>
                  <a:cubicBezTo>
                    <a:pt x="720624" y="267272"/>
                    <a:pt x="724942" y="267494"/>
                    <a:pt x="728911" y="266700"/>
                  </a:cubicBezTo>
                  <a:cubicBezTo>
                    <a:pt x="730242" y="261376"/>
                    <a:pt x="733735" y="246366"/>
                    <a:pt x="736054" y="242888"/>
                  </a:cubicBezTo>
                  <a:cubicBezTo>
                    <a:pt x="737642" y="240507"/>
                    <a:pt x="738582" y="237532"/>
                    <a:pt x="740817" y="235744"/>
                  </a:cubicBezTo>
                  <a:cubicBezTo>
                    <a:pt x="742777" y="234176"/>
                    <a:pt x="745580" y="234157"/>
                    <a:pt x="747961" y="233363"/>
                  </a:cubicBezTo>
                  <a:cubicBezTo>
                    <a:pt x="750342" y="234950"/>
                    <a:pt x="752281" y="237655"/>
                    <a:pt x="755104" y="238125"/>
                  </a:cubicBezTo>
                  <a:cubicBezTo>
                    <a:pt x="757580" y="238538"/>
                    <a:pt x="761893" y="238229"/>
                    <a:pt x="762248" y="235744"/>
                  </a:cubicBezTo>
                  <a:cubicBezTo>
                    <a:pt x="762958" y="230775"/>
                    <a:pt x="759073" y="226219"/>
                    <a:pt x="757486" y="221457"/>
                  </a:cubicBezTo>
                  <a:lnTo>
                    <a:pt x="752723" y="207169"/>
                  </a:lnTo>
                  <a:lnTo>
                    <a:pt x="750342" y="200025"/>
                  </a:lnTo>
                  <a:lnTo>
                    <a:pt x="747961" y="192882"/>
                  </a:lnTo>
                  <a:cubicBezTo>
                    <a:pt x="741322" y="133136"/>
                    <a:pt x="757920" y="152400"/>
                    <a:pt x="726529" y="152400"/>
                  </a:cubicBezTo>
                  <a:cubicBezTo>
                    <a:pt x="723256" y="152400"/>
                    <a:pt x="732879" y="150813"/>
                    <a:pt x="736054" y="150019"/>
                  </a:cubicBezTo>
                  <a:cubicBezTo>
                    <a:pt x="738435" y="148432"/>
                    <a:pt x="741681" y="147684"/>
                    <a:pt x="743198" y="145257"/>
                  </a:cubicBezTo>
                  <a:cubicBezTo>
                    <a:pt x="745859" y="141000"/>
                    <a:pt x="746373" y="135732"/>
                    <a:pt x="747961" y="130969"/>
                  </a:cubicBezTo>
                  <a:cubicBezTo>
                    <a:pt x="748755" y="128588"/>
                    <a:pt x="749733" y="126260"/>
                    <a:pt x="750342" y="123825"/>
                  </a:cubicBezTo>
                  <a:cubicBezTo>
                    <a:pt x="751136" y="120650"/>
                    <a:pt x="750060" y="116202"/>
                    <a:pt x="752723" y="114300"/>
                  </a:cubicBezTo>
                  <a:cubicBezTo>
                    <a:pt x="756652" y="111494"/>
                    <a:pt x="762261" y="112783"/>
                    <a:pt x="767011" y="111919"/>
                  </a:cubicBezTo>
                  <a:cubicBezTo>
                    <a:pt x="779654" y="109621"/>
                    <a:pt x="776147" y="110461"/>
                    <a:pt x="786061" y="107157"/>
                  </a:cubicBezTo>
                  <a:cubicBezTo>
                    <a:pt x="788442" y="107951"/>
                    <a:pt x="790897" y="108549"/>
                    <a:pt x="793204" y="109538"/>
                  </a:cubicBezTo>
                  <a:cubicBezTo>
                    <a:pt x="796467" y="110936"/>
                    <a:pt x="799554" y="115887"/>
                    <a:pt x="802729" y="114300"/>
                  </a:cubicBezTo>
                  <a:cubicBezTo>
                    <a:pt x="807848" y="111740"/>
                    <a:pt x="810444" y="105443"/>
                    <a:pt x="812254" y="100013"/>
                  </a:cubicBezTo>
                  <a:lnTo>
                    <a:pt x="817017" y="85725"/>
                  </a:lnTo>
                  <a:cubicBezTo>
                    <a:pt x="811792" y="49149"/>
                    <a:pt x="818993" y="82434"/>
                    <a:pt x="809873" y="61913"/>
                  </a:cubicBezTo>
                  <a:cubicBezTo>
                    <a:pt x="803667" y="47950"/>
                    <a:pt x="809595" y="48676"/>
                    <a:pt x="797967" y="42863"/>
                  </a:cubicBezTo>
                  <a:cubicBezTo>
                    <a:pt x="795722" y="41741"/>
                    <a:pt x="793204" y="41276"/>
                    <a:pt x="790823" y="40482"/>
                  </a:cubicBezTo>
                  <a:cubicBezTo>
                    <a:pt x="780504" y="41276"/>
                    <a:pt x="770216" y="42863"/>
                    <a:pt x="759867" y="42863"/>
                  </a:cubicBezTo>
                  <a:cubicBezTo>
                    <a:pt x="756594" y="42863"/>
                    <a:pt x="753477" y="41422"/>
                    <a:pt x="750342" y="40482"/>
                  </a:cubicBezTo>
                  <a:cubicBezTo>
                    <a:pt x="745533" y="39039"/>
                    <a:pt x="736054" y="35719"/>
                    <a:pt x="736054" y="35719"/>
                  </a:cubicBezTo>
                  <a:cubicBezTo>
                    <a:pt x="732879" y="30957"/>
                    <a:pt x="731291" y="24607"/>
                    <a:pt x="726529" y="21432"/>
                  </a:cubicBezTo>
                  <a:lnTo>
                    <a:pt x="712242" y="11907"/>
                  </a:lnTo>
                  <a:cubicBezTo>
                    <a:pt x="709861" y="13494"/>
                    <a:pt x="706886" y="14434"/>
                    <a:pt x="705098" y="16669"/>
                  </a:cubicBezTo>
                  <a:cubicBezTo>
                    <a:pt x="695861" y="28215"/>
                    <a:pt x="711160" y="20999"/>
                    <a:pt x="695573" y="26194"/>
                  </a:cubicBezTo>
                  <a:cubicBezTo>
                    <a:pt x="693192" y="25400"/>
                    <a:pt x="690389" y="25381"/>
                    <a:pt x="688429" y="23813"/>
                  </a:cubicBezTo>
                  <a:cubicBezTo>
                    <a:pt x="686194" y="22025"/>
                    <a:pt x="685499" y="18868"/>
                    <a:pt x="683667" y="16669"/>
                  </a:cubicBezTo>
                  <a:cubicBezTo>
                    <a:pt x="681511" y="14082"/>
                    <a:pt x="678904" y="11906"/>
                    <a:pt x="676523" y="9525"/>
                  </a:cubicBezTo>
                  <a:cubicBezTo>
                    <a:pt x="666946" y="11122"/>
                    <a:pt x="661788" y="9974"/>
                    <a:pt x="655092" y="16669"/>
                  </a:cubicBezTo>
                  <a:cubicBezTo>
                    <a:pt x="653068" y="18693"/>
                    <a:pt x="651917" y="21432"/>
                    <a:pt x="650329" y="23813"/>
                  </a:cubicBezTo>
                  <a:cubicBezTo>
                    <a:pt x="646360" y="23019"/>
                    <a:pt x="642349" y="22414"/>
                    <a:pt x="638423" y="21432"/>
                  </a:cubicBezTo>
                  <a:cubicBezTo>
                    <a:pt x="635988" y="20823"/>
                    <a:pt x="632738" y="21093"/>
                    <a:pt x="631279" y="19050"/>
                  </a:cubicBezTo>
                  <a:cubicBezTo>
                    <a:pt x="613246" y="-6196"/>
                    <a:pt x="637744" y="12248"/>
                    <a:pt x="619373" y="0"/>
                  </a:cubicBezTo>
                  <a:cubicBezTo>
                    <a:pt x="581029" y="2740"/>
                    <a:pt x="596605" y="-1141"/>
                    <a:pt x="571748" y="7144"/>
                  </a:cubicBezTo>
                  <a:cubicBezTo>
                    <a:pt x="571743" y="7146"/>
                    <a:pt x="557466" y="11903"/>
                    <a:pt x="557461" y="11907"/>
                  </a:cubicBezTo>
                  <a:cubicBezTo>
                    <a:pt x="555080" y="13494"/>
                    <a:pt x="552802" y="15249"/>
                    <a:pt x="550317" y="16669"/>
                  </a:cubicBezTo>
                  <a:cubicBezTo>
                    <a:pt x="547235" y="18430"/>
                    <a:pt x="543681" y="19369"/>
                    <a:pt x="540792" y="21432"/>
                  </a:cubicBezTo>
                  <a:cubicBezTo>
                    <a:pt x="528507" y="30207"/>
                    <a:pt x="539100" y="27040"/>
                    <a:pt x="526504" y="33338"/>
                  </a:cubicBezTo>
                  <a:cubicBezTo>
                    <a:pt x="519855" y="36663"/>
                    <a:pt x="508833" y="37223"/>
                    <a:pt x="502692" y="38100"/>
                  </a:cubicBezTo>
                  <a:cubicBezTo>
                    <a:pt x="501104" y="40481"/>
                    <a:pt x="499209" y="42684"/>
                    <a:pt x="497929" y="45244"/>
                  </a:cubicBezTo>
                  <a:cubicBezTo>
                    <a:pt x="493586" y="53930"/>
                    <a:pt x="497288" y="59165"/>
                    <a:pt x="486023" y="66675"/>
                  </a:cubicBezTo>
                  <a:lnTo>
                    <a:pt x="471736" y="76200"/>
                  </a:lnTo>
                  <a:cubicBezTo>
                    <a:pt x="458088" y="96671"/>
                    <a:pt x="472639" y="70772"/>
                    <a:pt x="469354" y="90488"/>
                  </a:cubicBezTo>
                  <a:cubicBezTo>
                    <a:pt x="468691" y="94468"/>
                    <a:pt x="459595" y="102628"/>
                    <a:pt x="457448" y="104775"/>
                  </a:cubicBezTo>
                  <a:cubicBezTo>
                    <a:pt x="456654" y="107950"/>
                    <a:pt x="456691" y="111458"/>
                    <a:pt x="455067" y="114300"/>
                  </a:cubicBezTo>
                  <a:cubicBezTo>
                    <a:pt x="453396" y="117224"/>
                    <a:pt x="450510" y="119288"/>
                    <a:pt x="447923" y="121444"/>
                  </a:cubicBezTo>
                  <a:cubicBezTo>
                    <a:pt x="443956" y="124750"/>
                    <a:pt x="435736" y="129176"/>
                    <a:pt x="431254" y="130969"/>
                  </a:cubicBezTo>
                  <a:cubicBezTo>
                    <a:pt x="426593" y="132833"/>
                    <a:pt x="421729" y="134144"/>
                    <a:pt x="416967" y="135732"/>
                  </a:cubicBezTo>
                  <a:lnTo>
                    <a:pt x="409823" y="138113"/>
                  </a:lnTo>
                  <a:cubicBezTo>
                    <a:pt x="408236" y="140494"/>
                    <a:pt x="407855" y="144636"/>
                    <a:pt x="405061" y="145257"/>
                  </a:cubicBezTo>
                  <a:cubicBezTo>
                    <a:pt x="385985" y="149496"/>
                    <a:pt x="393682" y="141530"/>
                    <a:pt x="381248" y="140494"/>
                  </a:cubicBezTo>
                  <a:cubicBezTo>
                    <a:pt x="364618" y="139108"/>
                    <a:pt x="347911" y="138907"/>
                    <a:pt x="331242" y="138113"/>
                  </a:cubicBezTo>
                  <a:cubicBezTo>
                    <a:pt x="324892" y="138907"/>
                    <a:pt x="318366" y="138810"/>
                    <a:pt x="312192" y="140494"/>
                  </a:cubicBezTo>
                  <a:cubicBezTo>
                    <a:pt x="309431" y="141247"/>
                    <a:pt x="307608" y="143977"/>
                    <a:pt x="305048" y="145257"/>
                  </a:cubicBezTo>
                  <a:cubicBezTo>
                    <a:pt x="302803" y="146380"/>
                    <a:pt x="300285" y="146844"/>
                    <a:pt x="297904" y="147638"/>
                  </a:cubicBezTo>
                  <a:cubicBezTo>
                    <a:pt x="297110" y="145257"/>
                    <a:pt x="298033" y="140494"/>
                    <a:pt x="295523" y="140494"/>
                  </a:cubicBezTo>
                  <a:cubicBezTo>
                    <a:pt x="292661" y="140494"/>
                    <a:pt x="293142" y="146050"/>
                    <a:pt x="290761" y="147638"/>
                  </a:cubicBezTo>
                  <a:cubicBezTo>
                    <a:pt x="288038" y="149453"/>
                    <a:pt x="284383" y="149120"/>
                    <a:pt x="281236" y="150019"/>
                  </a:cubicBezTo>
                  <a:cubicBezTo>
                    <a:pt x="278822" y="150709"/>
                    <a:pt x="276473" y="151606"/>
                    <a:pt x="274092" y="152400"/>
                  </a:cubicBezTo>
                  <a:cubicBezTo>
                    <a:pt x="271711" y="153988"/>
                    <a:pt x="269508" y="155883"/>
                    <a:pt x="266948" y="157163"/>
                  </a:cubicBezTo>
                  <a:cubicBezTo>
                    <a:pt x="261506" y="159884"/>
                    <a:pt x="253331" y="160567"/>
                    <a:pt x="247898" y="161925"/>
                  </a:cubicBezTo>
                  <a:cubicBezTo>
                    <a:pt x="245463" y="162534"/>
                    <a:pt x="243168" y="163617"/>
                    <a:pt x="240754" y="164307"/>
                  </a:cubicBezTo>
                  <a:cubicBezTo>
                    <a:pt x="237607" y="165206"/>
                    <a:pt x="234404" y="165894"/>
                    <a:pt x="231229" y="166688"/>
                  </a:cubicBezTo>
                  <a:cubicBezTo>
                    <a:pt x="213273" y="160703"/>
                    <a:pt x="235409" y="168778"/>
                    <a:pt x="216942" y="159544"/>
                  </a:cubicBezTo>
                  <a:cubicBezTo>
                    <a:pt x="214697" y="158421"/>
                    <a:pt x="212179" y="157957"/>
                    <a:pt x="209798" y="157163"/>
                  </a:cubicBezTo>
                  <a:cubicBezTo>
                    <a:pt x="205036" y="157957"/>
                    <a:pt x="199877" y="160338"/>
                    <a:pt x="195511" y="159544"/>
                  </a:cubicBezTo>
                  <a:cubicBezTo>
                    <a:pt x="191145" y="158750"/>
                    <a:pt x="188366" y="153988"/>
                    <a:pt x="183604" y="152401"/>
                  </a:cubicBezTo>
                  <a:cubicBezTo>
                    <a:pt x="178842" y="150814"/>
                    <a:pt x="174080" y="150813"/>
                    <a:pt x="166936" y="150019"/>
                  </a:cubicBezTo>
                  <a:cubicBezTo>
                    <a:pt x="164921" y="148004"/>
                    <a:pt x="156617" y="149622"/>
                    <a:pt x="152648" y="150019"/>
                  </a:cubicBezTo>
                  <a:cubicBezTo>
                    <a:pt x="148679" y="150416"/>
                    <a:pt x="146258" y="151460"/>
                    <a:pt x="143123" y="152400"/>
                  </a:cubicBezTo>
                  <a:cubicBezTo>
                    <a:pt x="138315" y="153843"/>
                    <a:pt x="133013" y="154379"/>
                    <a:pt x="128836" y="157163"/>
                  </a:cubicBezTo>
                  <a:cubicBezTo>
                    <a:pt x="119603" y="163317"/>
                    <a:pt x="124407" y="161020"/>
                    <a:pt x="114548" y="164307"/>
                  </a:cubicBezTo>
                  <a:cubicBezTo>
                    <a:pt x="91889" y="162418"/>
                    <a:pt x="88650" y="169659"/>
                    <a:pt x="81211" y="154782"/>
                  </a:cubicBezTo>
                  <a:cubicBezTo>
                    <a:pt x="80088" y="152537"/>
                    <a:pt x="79623" y="150019"/>
                    <a:pt x="78829" y="147638"/>
                  </a:cubicBezTo>
                  <a:cubicBezTo>
                    <a:pt x="79623" y="144463"/>
                    <a:pt x="79396" y="140836"/>
                    <a:pt x="81211" y="138113"/>
                  </a:cubicBezTo>
                  <a:cubicBezTo>
                    <a:pt x="82798" y="135732"/>
                    <a:pt x="86837" y="135777"/>
                    <a:pt x="88354" y="133350"/>
                  </a:cubicBezTo>
                  <a:cubicBezTo>
                    <a:pt x="91015" y="129093"/>
                    <a:pt x="93117" y="119063"/>
                    <a:pt x="93117" y="119063"/>
                  </a:cubicBezTo>
                  <a:cubicBezTo>
                    <a:pt x="86299" y="115654"/>
                    <a:pt x="83458" y="113671"/>
                    <a:pt x="76448" y="111919"/>
                  </a:cubicBezTo>
                  <a:cubicBezTo>
                    <a:pt x="71108" y="110584"/>
                    <a:pt x="47469" y="106752"/>
                    <a:pt x="45492" y="104775"/>
                  </a:cubicBezTo>
                  <a:lnTo>
                    <a:pt x="33586" y="104775"/>
                  </a:lnTo>
                  <a:close/>
                </a:path>
              </a:pathLst>
            </a:custGeom>
            <a:solidFill>
              <a:srgbClr val="003399"/>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36" name="Rectangle 335">
              <a:extLst>
                <a:ext uri="{FF2B5EF4-FFF2-40B4-BE49-F238E27FC236}">
                  <a16:creationId xmlns:a16="http://schemas.microsoft.com/office/drawing/2014/main" id="{DCDDB758-5629-44B7-8B76-0EE339B726A5}"/>
                </a:ext>
              </a:extLst>
            </p:cNvPr>
            <p:cNvSpPr/>
            <p:nvPr/>
          </p:nvSpPr>
          <p:spPr>
            <a:xfrm>
              <a:off x="7628303" y="6624843"/>
              <a:ext cx="72000" cy="72000"/>
            </a:xfrm>
            <a:prstGeom prst="rect">
              <a:avLst/>
            </a:prstGeom>
            <a:solidFill>
              <a:srgbClr val="003399"/>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37" name="Freeform: Shape 336">
              <a:extLst>
                <a:ext uri="{FF2B5EF4-FFF2-40B4-BE49-F238E27FC236}">
                  <a16:creationId xmlns:a16="http://schemas.microsoft.com/office/drawing/2014/main" id="{357EF11D-634C-4D29-B008-4DE90FC89554}"/>
                </a:ext>
              </a:extLst>
            </p:cNvPr>
            <p:cNvSpPr/>
            <p:nvPr/>
          </p:nvSpPr>
          <p:spPr>
            <a:xfrm>
              <a:off x="6762859" y="5740095"/>
              <a:ext cx="7642" cy="17249"/>
            </a:xfrm>
            <a:custGeom>
              <a:avLst/>
              <a:gdLst>
                <a:gd name="connsiteX0" fmla="*/ 485 w 7642"/>
                <a:gd name="connsiteY0" fmla="*/ 108 h 17249"/>
                <a:gd name="connsiteX1" fmla="*/ 2866 w 7642"/>
                <a:gd name="connsiteY1" fmla="*/ 16777 h 17249"/>
                <a:gd name="connsiteX2" fmla="*/ 7629 w 7642"/>
                <a:gd name="connsiteY2" fmla="*/ 9633 h 17249"/>
                <a:gd name="connsiteX3" fmla="*/ 485 w 7642"/>
                <a:gd name="connsiteY3" fmla="*/ 108 h 17249"/>
              </a:gdLst>
              <a:ahLst/>
              <a:cxnLst>
                <a:cxn ang="0">
                  <a:pos x="connsiteX0" y="connsiteY0"/>
                </a:cxn>
                <a:cxn ang="0">
                  <a:pos x="connsiteX1" y="connsiteY1"/>
                </a:cxn>
                <a:cxn ang="0">
                  <a:pos x="connsiteX2" y="connsiteY2"/>
                </a:cxn>
                <a:cxn ang="0">
                  <a:pos x="connsiteX3" y="connsiteY3"/>
                </a:cxn>
              </a:cxnLst>
              <a:rect l="l" t="t" r="r" b="b"/>
              <a:pathLst>
                <a:path w="7642" h="17249">
                  <a:moveTo>
                    <a:pt x="485" y="108"/>
                  </a:moveTo>
                  <a:cubicBezTo>
                    <a:pt x="-309" y="1299"/>
                    <a:pt x="-502" y="12287"/>
                    <a:pt x="2866" y="16777"/>
                  </a:cubicBezTo>
                  <a:cubicBezTo>
                    <a:pt x="4583" y="19067"/>
                    <a:pt x="7068" y="12439"/>
                    <a:pt x="7629" y="9633"/>
                  </a:cubicBezTo>
                  <a:cubicBezTo>
                    <a:pt x="7977" y="7893"/>
                    <a:pt x="1279" y="-1083"/>
                    <a:pt x="485" y="108"/>
                  </a:cubicBezTo>
                  <a:close/>
                </a:path>
              </a:pathLst>
            </a:custGeom>
            <a:solidFill>
              <a:srgbClr val="003399"/>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38" name="Freeform: Shape 337">
              <a:extLst>
                <a:ext uri="{FF2B5EF4-FFF2-40B4-BE49-F238E27FC236}">
                  <a16:creationId xmlns:a16="http://schemas.microsoft.com/office/drawing/2014/main" id="{B2877D9E-2647-4E03-841E-9C9D7D7EAF2C}"/>
                </a:ext>
              </a:extLst>
            </p:cNvPr>
            <p:cNvSpPr/>
            <p:nvPr/>
          </p:nvSpPr>
          <p:spPr>
            <a:xfrm>
              <a:off x="6768107" y="6119639"/>
              <a:ext cx="14722" cy="14692"/>
            </a:xfrm>
            <a:custGeom>
              <a:avLst/>
              <a:gdLst>
                <a:gd name="connsiteX0" fmla="*/ 14287 w 14722"/>
                <a:gd name="connsiteY0" fmla="*/ 1564 h 14692"/>
                <a:gd name="connsiteX1" fmla="*/ 9525 w 14722"/>
                <a:gd name="connsiteY1" fmla="*/ 13470 h 14692"/>
                <a:gd name="connsiteX2" fmla="*/ 0 w 14722"/>
                <a:gd name="connsiteY2" fmla="*/ 3945 h 14692"/>
                <a:gd name="connsiteX3" fmla="*/ 14287 w 14722"/>
                <a:gd name="connsiteY3" fmla="*/ 1564 h 14692"/>
              </a:gdLst>
              <a:ahLst/>
              <a:cxnLst>
                <a:cxn ang="0">
                  <a:pos x="connsiteX0" y="connsiteY0"/>
                </a:cxn>
                <a:cxn ang="0">
                  <a:pos x="connsiteX1" y="connsiteY1"/>
                </a:cxn>
                <a:cxn ang="0">
                  <a:pos x="connsiteX2" y="connsiteY2"/>
                </a:cxn>
                <a:cxn ang="0">
                  <a:pos x="connsiteX3" y="connsiteY3"/>
                </a:cxn>
              </a:cxnLst>
              <a:rect l="l" t="t" r="r" b="b"/>
              <a:pathLst>
                <a:path w="14722" h="14692">
                  <a:moveTo>
                    <a:pt x="14287" y="1564"/>
                  </a:moveTo>
                  <a:cubicBezTo>
                    <a:pt x="15874" y="3151"/>
                    <a:pt x="12863" y="10800"/>
                    <a:pt x="9525" y="13470"/>
                  </a:cubicBezTo>
                  <a:cubicBezTo>
                    <a:pt x="2840" y="18818"/>
                    <a:pt x="334" y="4948"/>
                    <a:pt x="0" y="3945"/>
                  </a:cubicBezTo>
                  <a:cubicBezTo>
                    <a:pt x="8620" y="-1802"/>
                    <a:pt x="12700" y="-23"/>
                    <a:pt x="14287" y="1564"/>
                  </a:cubicBezTo>
                  <a:close/>
                </a:path>
              </a:pathLst>
            </a:custGeom>
            <a:solidFill>
              <a:srgbClr val="003399"/>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nvGrpSpPr>
            <p:cNvPr id="339" name="Group 338">
              <a:extLst>
                <a:ext uri="{FF2B5EF4-FFF2-40B4-BE49-F238E27FC236}">
                  <a16:creationId xmlns:a16="http://schemas.microsoft.com/office/drawing/2014/main" id="{1B21C6C1-E40E-4ADB-B6CA-CB1E99A4F898}"/>
                </a:ext>
              </a:extLst>
            </p:cNvPr>
            <p:cNvGrpSpPr/>
            <p:nvPr/>
          </p:nvGrpSpPr>
          <p:grpSpPr>
            <a:xfrm>
              <a:off x="6570051" y="4671022"/>
              <a:ext cx="1614899" cy="1854465"/>
              <a:chOff x="3845307" y="5074444"/>
              <a:chExt cx="1614899" cy="1854465"/>
            </a:xfrm>
            <a:solidFill>
              <a:srgbClr val="003399"/>
            </a:solidFill>
          </p:grpSpPr>
          <p:grpSp>
            <p:nvGrpSpPr>
              <p:cNvPr id="790" name="Group 789">
                <a:extLst>
                  <a:ext uri="{FF2B5EF4-FFF2-40B4-BE49-F238E27FC236}">
                    <a16:creationId xmlns:a16="http://schemas.microsoft.com/office/drawing/2014/main" id="{F010474C-AF49-474C-81FA-25D3D2E98D41}"/>
                  </a:ext>
                </a:extLst>
              </p:cNvPr>
              <p:cNvGrpSpPr/>
              <p:nvPr/>
            </p:nvGrpSpPr>
            <p:grpSpPr>
              <a:xfrm>
                <a:off x="4021931" y="6119813"/>
                <a:ext cx="1069917" cy="809096"/>
                <a:chOff x="4021931" y="6119813"/>
                <a:chExt cx="1069917" cy="809096"/>
              </a:xfrm>
              <a:grpFill/>
            </p:grpSpPr>
            <p:grpSp>
              <p:nvGrpSpPr>
                <p:cNvPr id="798" name="Group 797">
                  <a:extLst>
                    <a:ext uri="{FF2B5EF4-FFF2-40B4-BE49-F238E27FC236}">
                      <a16:creationId xmlns:a16="http://schemas.microsoft.com/office/drawing/2014/main" id="{BDB0197D-78B1-4495-80F3-8532B9F2E889}"/>
                    </a:ext>
                  </a:extLst>
                </p:cNvPr>
                <p:cNvGrpSpPr/>
                <p:nvPr/>
              </p:nvGrpSpPr>
              <p:grpSpPr>
                <a:xfrm>
                  <a:off x="4524033" y="6538013"/>
                  <a:ext cx="567815" cy="390896"/>
                  <a:chOff x="4524033" y="6538013"/>
                  <a:chExt cx="567815" cy="390896"/>
                </a:xfrm>
                <a:grpFill/>
              </p:grpSpPr>
              <p:sp>
                <p:nvSpPr>
                  <p:cNvPr id="800" name="Freeform: Shape 799">
                    <a:extLst>
                      <a:ext uri="{FF2B5EF4-FFF2-40B4-BE49-F238E27FC236}">
                        <a16:creationId xmlns:a16="http://schemas.microsoft.com/office/drawing/2014/main" id="{D5306203-BED8-4EA4-A955-70B0B8D5462A}"/>
                      </a:ext>
                    </a:extLst>
                  </p:cNvPr>
                  <p:cNvSpPr/>
                  <p:nvPr/>
                </p:nvSpPr>
                <p:spPr>
                  <a:xfrm>
                    <a:off x="4633315" y="6622069"/>
                    <a:ext cx="458533" cy="306840"/>
                  </a:xfrm>
                  <a:custGeom>
                    <a:avLst/>
                    <a:gdLst>
                      <a:gd name="connsiteX0" fmla="*/ 42655 w 458533"/>
                      <a:gd name="connsiteY0" fmla="*/ 37322 h 306840"/>
                      <a:gd name="connsiteX1" fmla="*/ 50652 w 458533"/>
                      <a:gd name="connsiteY1" fmla="*/ 50652 h 306840"/>
                      <a:gd name="connsiteX2" fmla="*/ 55984 w 458533"/>
                      <a:gd name="connsiteY2" fmla="*/ 58649 h 306840"/>
                      <a:gd name="connsiteX3" fmla="*/ 71979 w 458533"/>
                      <a:gd name="connsiteY3" fmla="*/ 63981 h 306840"/>
                      <a:gd name="connsiteX4" fmla="*/ 85309 w 458533"/>
                      <a:gd name="connsiteY4" fmla="*/ 50652 h 306840"/>
                      <a:gd name="connsiteX5" fmla="*/ 95972 w 458533"/>
                      <a:gd name="connsiteY5" fmla="*/ 31990 h 306840"/>
                      <a:gd name="connsiteX6" fmla="*/ 103970 w 458533"/>
                      <a:gd name="connsiteY6" fmla="*/ 37322 h 306840"/>
                      <a:gd name="connsiteX7" fmla="*/ 114634 w 458533"/>
                      <a:gd name="connsiteY7" fmla="*/ 34656 h 306840"/>
                      <a:gd name="connsiteX8" fmla="*/ 122631 w 458533"/>
                      <a:gd name="connsiteY8" fmla="*/ 29325 h 306840"/>
                      <a:gd name="connsiteX9" fmla="*/ 130629 w 458533"/>
                      <a:gd name="connsiteY9" fmla="*/ 31990 h 306840"/>
                      <a:gd name="connsiteX10" fmla="*/ 138627 w 458533"/>
                      <a:gd name="connsiteY10" fmla="*/ 39988 h 306840"/>
                      <a:gd name="connsiteX11" fmla="*/ 141293 w 458533"/>
                      <a:gd name="connsiteY11" fmla="*/ 47986 h 306840"/>
                      <a:gd name="connsiteX12" fmla="*/ 149290 w 458533"/>
                      <a:gd name="connsiteY12" fmla="*/ 53318 h 306840"/>
                      <a:gd name="connsiteX13" fmla="*/ 167951 w 458533"/>
                      <a:gd name="connsiteY13" fmla="*/ 74645 h 306840"/>
                      <a:gd name="connsiteX14" fmla="*/ 175949 w 458533"/>
                      <a:gd name="connsiteY14" fmla="*/ 77311 h 306840"/>
                      <a:gd name="connsiteX15" fmla="*/ 186613 w 458533"/>
                      <a:gd name="connsiteY15" fmla="*/ 74645 h 306840"/>
                      <a:gd name="connsiteX16" fmla="*/ 202608 w 458533"/>
                      <a:gd name="connsiteY16" fmla="*/ 63981 h 306840"/>
                      <a:gd name="connsiteX17" fmla="*/ 221269 w 458533"/>
                      <a:gd name="connsiteY17" fmla="*/ 55983 h 306840"/>
                      <a:gd name="connsiteX18" fmla="*/ 229267 w 458533"/>
                      <a:gd name="connsiteY18" fmla="*/ 58649 h 306840"/>
                      <a:gd name="connsiteX19" fmla="*/ 237265 w 458533"/>
                      <a:gd name="connsiteY19" fmla="*/ 63981 h 306840"/>
                      <a:gd name="connsiteX20" fmla="*/ 250594 w 458533"/>
                      <a:gd name="connsiteY20" fmla="*/ 66647 h 306840"/>
                      <a:gd name="connsiteX21" fmla="*/ 282585 w 458533"/>
                      <a:gd name="connsiteY21" fmla="*/ 58649 h 306840"/>
                      <a:gd name="connsiteX22" fmla="*/ 293248 w 458533"/>
                      <a:gd name="connsiteY22" fmla="*/ 55983 h 306840"/>
                      <a:gd name="connsiteX23" fmla="*/ 309244 w 458533"/>
                      <a:gd name="connsiteY23" fmla="*/ 50652 h 306840"/>
                      <a:gd name="connsiteX24" fmla="*/ 317241 w 458533"/>
                      <a:gd name="connsiteY24" fmla="*/ 47986 h 306840"/>
                      <a:gd name="connsiteX25" fmla="*/ 330571 w 458533"/>
                      <a:gd name="connsiteY25" fmla="*/ 29325 h 306840"/>
                      <a:gd name="connsiteX26" fmla="*/ 346566 w 458533"/>
                      <a:gd name="connsiteY26" fmla="*/ 26659 h 306840"/>
                      <a:gd name="connsiteX27" fmla="*/ 357230 w 458533"/>
                      <a:gd name="connsiteY27" fmla="*/ 29325 h 306840"/>
                      <a:gd name="connsiteX28" fmla="*/ 381223 w 458533"/>
                      <a:gd name="connsiteY28" fmla="*/ 31990 h 306840"/>
                      <a:gd name="connsiteX29" fmla="*/ 386554 w 458533"/>
                      <a:gd name="connsiteY29" fmla="*/ 23993 h 306840"/>
                      <a:gd name="connsiteX30" fmla="*/ 394552 w 458533"/>
                      <a:gd name="connsiteY30" fmla="*/ 21327 h 306840"/>
                      <a:gd name="connsiteX31" fmla="*/ 413213 w 458533"/>
                      <a:gd name="connsiteY31" fmla="*/ 18661 h 306840"/>
                      <a:gd name="connsiteX32" fmla="*/ 421211 w 458533"/>
                      <a:gd name="connsiteY32" fmla="*/ 15995 h 306840"/>
                      <a:gd name="connsiteX33" fmla="*/ 426543 w 458533"/>
                      <a:gd name="connsiteY33" fmla="*/ 0 h 306840"/>
                      <a:gd name="connsiteX34" fmla="*/ 450536 w 458533"/>
                      <a:gd name="connsiteY34" fmla="*/ 2666 h 306840"/>
                      <a:gd name="connsiteX35" fmla="*/ 458533 w 458533"/>
                      <a:gd name="connsiteY35" fmla="*/ 5332 h 306840"/>
                      <a:gd name="connsiteX36" fmla="*/ 450536 w 458533"/>
                      <a:gd name="connsiteY36" fmla="*/ 13329 h 306840"/>
                      <a:gd name="connsiteX37" fmla="*/ 442538 w 458533"/>
                      <a:gd name="connsiteY37" fmla="*/ 15995 h 306840"/>
                      <a:gd name="connsiteX38" fmla="*/ 426543 w 458533"/>
                      <a:gd name="connsiteY38" fmla="*/ 42654 h 306840"/>
                      <a:gd name="connsiteX39" fmla="*/ 418545 w 458533"/>
                      <a:gd name="connsiteY39" fmla="*/ 61315 h 306840"/>
                      <a:gd name="connsiteX40" fmla="*/ 410547 w 458533"/>
                      <a:gd name="connsiteY40" fmla="*/ 69313 h 306840"/>
                      <a:gd name="connsiteX41" fmla="*/ 402550 w 458533"/>
                      <a:gd name="connsiteY41" fmla="*/ 85308 h 306840"/>
                      <a:gd name="connsiteX42" fmla="*/ 399884 w 458533"/>
                      <a:gd name="connsiteY42" fmla="*/ 93306 h 306840"/>
                      <a:gd name="connsiteX43" fmla="*/ 391886 w 458533"/>
                      <a:gd name="connsiteY43" fmla="*/ 98638 h 306840"/>
                      <a:gd name="connsiteX44" fmla="*/ 389220 w 458533"/>
                      <a:gd name="connsiteY44" fmla="*/ 114633 h 306840"/>
                      <a:gd name="connsiteX45" fmla="*/ 386554 w 458533"/>
                      <a:gd name="connsiteY45" fmla="*/ 122631 h 306840"/>
                      <a:gd name="connsiteX46" fmla="*/ 383888 w 458533"/>
                      <a:gd name="connsiteY46" fmla="*/ 133294 h 306840"/>
                      <a:gd name="connsiteX47" fmla="*/ 381223 w 458533"/>
                      <a:gd name="connsiteY47" fmla="*/ 141292 h 306840"/>
                      <a:gd name="connsiteX48" fmla="*/ 373225 w 458533"/>
                      <a:gd name="connsiteY48" fmla="*/ 146624 h 306840"/>
                      <a:gd name="connsiteX49" fmla="*/ 375891 w 458533"/>
                      <a:gd name="connsiteY49" fmla="*/ 159953 h 306840"/>
                      <a:gd name="connsiteX50" fmla="*/ 383888 w 458533"/>
                      <a:gd name="connsiteY50" fmla="*/ 165285 h 306840"/>
                      <a:gd name="connsiteX51" fmla="*/ 381223 w 458533"/>
                      <a:gd name="connsiteY51" fmla="*/ 183946 h 306840"/>
                      <a:gd name="connsiteX52" fmla="*/ 386554 w 458533"/>
                      <a:gd name="connsiteY52" fmla="*/ 191944 h 306840"/>
                      <a:gd name="connsiteX53" fmla="*/ 402550 w 458533"/>
                      <a:gd name="connsiteY53" fmla="*/ 197276 h 306840"/>
                      <a:gd name="connsiteX54" fmla="*/ 410547 w 458533"/>
                      <a:gd name="connsiteY54" fmla="*/ 194610 h 306840"/>
                      <a:gd name="connsiteX55" fmla="*/ 413213 w 458533"/>
                      <a:gd name="connsiteY55" fmla="*/ 202607 h 306840"/>
                      <a:gd name="connsiteX56" fmla="*/ 407882 w 458533"/>
                      <a:gd name="connsiteY56" fmla="*/ 210605 h 306840"/>
                      <a:gd name="connsiteX57" fmla="*/ 405216 w 458533"/>
                      <a:gd name="connsiteY57" fmla="*/ 218603 h 306840"/>
                      <a:gd name="connsiteX58" fmla="*/ 413213 w 458533"/>
                      <a:gd name="connsiteY58" fmla="*/ 226600 h 306840"/>
                      <a:gd name="connsiteX59" fmla="*/ 421211 w 458533"/>
                      <a:gd name="connsiteY59" fmla="*/ 229266 h 306840"/>
                      <a:gd name="connsiteX60" fmla="*/ 423877 w 458533"/>
                      <a:gd name="connsiteY60" fmla="*/ 237264 h 306840"/>
                      <a:gd name="connsiteX61" fmla="*/ 405216 w 458533"/>
                      <a:gd name="connsiteY61" fmla="*/ 247928 h 306840"/>
                      <a:gd name="connsiteX62" fmla="*/ 399884 w 458533"/>
                      <a:gd name="connsiteY62" fmla="*/ 255925 h 306840"/>
                      <a:gd name="connsiteX63" fmla="*/ 391886 w 458533"/>
                      <a:gd name="connsiteY63" fmla="*/ 258591 h 306840"/>
                      <a:gd name="connsiteX64" fmla="*/ 394552 w 458533"/>
                      <a:gd name="connsiteY64" fmla="*/ 282584 h 306840"/>
                      <a:gd name="connsiteX65" fmla="*/ 399884 w 458533"/>
                      <a:gd name="connsiteY65" fmla="*/ 298579 h 306840"/>
                      <a:gd name="connsiteX66" fmla="*/ 383888 w 458533"/>
                      <a:gd name="connsiteY66" fmla="*/ 306577 h 306840"/>
                      <a:gd name="connsiteX67" fmla="*/ 381223 w 458533"/>
                      <a:gd name="connsiteY67" fmla="*/ 295914 h 306840"/>
                      <a:gd name="connsiteX68" fmla="*/ 373225 w 458533"/>
                      <a:gd name="connsiteY68" fmla="*/ 290582 h 306840"/>
                      <a:gd name="connsiteX69" fmla="*/ 357230 w 458533"/>
                      <a:gd name="connsiteY69" fmla="*/ 285250 h 306840"/>
                      <a:gd name="connsiteX70" fmla="*/ 343900 w 458533"/>
                      <a:gd name="connsiteY70" fmla="*/ 285250 h 306840"/>
                      <a:gd name="connsiteX71" fmla="*/ 335902 w 458533"/>
                      <a:gd name="connsiteY71" fmla="*/ 287916 h 306840"/>
                      <a:gd name="connsiteX72" fmla="*/ 333237 w 458533"/>
                      <a:gd name="connsiteY72" fmla="*/ 279918 h 306840"/>
                      <a:gd name="connsiteX73" fmla="*/ 309244 w 458533"/>
                      <a:gd name="connsiteY73" fmla="*/ 279918 h 306840"/>
                      <a:gd name="connsiteX74" fmla="*/ 303912 w 458533"/>
                      <a:gd name="connsiteY74" fmla="*/ 271921 h 306840"/>
                      <a:gd name="connsiteX75" fmla="*/ 301246 w 458533"/>
                      <a:gd name="connsiteY75" fmla="*/ 263923 h 306840"/>
                      <a:gd name="connsiteX76" fmla="*/ 290582 w 458533"/>
                      <a:gd name="connsiteY76" fmla="*/ 247928 h 306840"/>
                      <a:gd name="connsiteX77" fmla="*/ 285251 w 458533"/>
                      <a:gd name="connsiteY77" fmla="*/ 239930 h 306840"/>
                      <a:gd name="connsiteX78" fmla="*/ 271921 w 458533"/>
                      <a:gd name="connsiteY78" fmla="*/ 237264 h 306840"/>
                      <a:gd name="connsiteX79" fmla="*/ 255926 w 458533"/>
                      <a:gd name="connsiteY79" fmla="*/ 226600 h 306840"/>
                      <a:gd name="connsiteX80" fmla="*/ 247928 w 458533"/>
                      <a:gd name="connsiteY80" fmla="*/ 221269 h 306840"/>
                      <a:gd name="connsiteX81" fmla="*/ 226601 w 458533"/>
                      <a:gd name="connsiteY81" fmla="*/ 218603 h 306840"/>
                      <a:gd name="connsiteX82" fmla="*/ 215937 w 458533"/>
                      <a:gd name="connsiteY82" fmla="*/ 221269 h 306840"/>
                      <a:gd name="connsiteX83" fmla="*/ 207940 w 458533"/>
                      <a:gd name="connsiteY83" fmla="*/ 226600 h 306840"/>
                      <a:gd name="connsiteX84" fmla="*/ 197276 w 458533"/>
                      <a:gd name="connsiteY84" fmla="*/ 223934 h 306840"/>
                      <a:gd name="connsiteX85" fmla="*/ 191944 w 458533"/>
                      <a:gd name="connsiteY85" fmla="*/ 215937 h 306840"/>
                      <a:gd name="connsiteX86" fmla="*/ 183947 w 458533"/>
                      <a:gd name="connsiteY86" fmla="*/ 213271 h 306840"/>
                      <a:gd name="connsiteX87" fmla="*/ 181281 w 458533"/>
                      <a:gd name="connsiteY87" fmla="*/ 205273 h 306840"/>
                      <a:gd name="connsiteX88" fmla="*/ 173283 w 458533"/>
                      <a:gd name="connsiteY88" fmla="*/ 199941 h 306840"/>
                      <a:gd name="connsiteX89" fmla="*/ 146624 w 458533"/>
                      <a:gd name="connsiteY89" fmla="*/ 191944 h 306840"/>
                      <a:gd name="connsiteX90" fmla="*/ 138627 w 458533"/>
                      <a:gd name="connsiteY90" fmla="*/ 189278 h 306840"/>
                      <a:gd name="connsiteX91" fmla="*/ 130629 w 458533"/>
                      <a:gd name="connsiteY91" fmla="*/ 181280 h 306840"/>
                      <a:gd name="connsiteX92" fmla="*/ 127963 w 458533"/>
                      <a:gd name="connsiteY92" fmla="*/ 170617 h 306840"/>
                      <a:gd name="connsiteX93" fmla="*/ 114634 w 458533"/>
                      <a:gd name="connsiteY93" fmla="*/ 167951 h 306840"/>
                      <a:gd name="connsiteX94" fmla="*/ 95972 w 458533"/>
                      <a:gd name="connsiteY94" fmla="*/ 165285 h 306840"/>
                      <a:gd name="connsiteX95" fmla="*/ 55984 w 458533"/>
                      <a:gd name="connsiteY95" fmla="*/ 151955 h 306840"/>
                      <a:gd name="connsiteX96" fmla="*/ 39989 w 458533"/>
                      <a:gd name="connsiteY96" fmla="*/ 154621 h 306840"/>
                      <a:gd name="connsiteX97" fmla="*/ 31991 w 458533"/>
                      <a:gd name="connsiteY97" fmla="*/ 149290 h 306840"/>
                      <a:gd name="connsiteX98" fmla="*/ 23993 w 458533"/>
                      <a:gd name="connsiteY98" fmla="*/ 133294 h 306840"/>
                      <a:gd name="connsiteX99" fmla="*/ 5332 w 458533"/>
                      <a:gd name="connsiteY99" fmla="*/ 135960 h 306840"/>
                      <a:gd name="connsiteX100" fmla="*/ 2666 w 458533"/>
                      <a:gd name="connsiteY100" fmla="*/ 122631 h 306840"/>
                      <a:gd name="connsiteX101" fmla="*/ 0 w 458533"/>
                      <a:gd name="connsiteY101" fmla="*/ 114633 h 306840"/>
                      <a:gd name="connsiteX102" fmla="*/ 2666 w 458533"/>
                      <a:gd name="connsiteY102" fmla="*/ 90640 h 306840"/>
                      <a:gd name="connsiteX103" fmla="*/ 2666 w 458533"/>
                      <a:gd name="connsiteY103" fmla="*/ 87974 h 306840"/>
                      <a:gd name="connsiteX104" fmla="*/ 0 w 458533"/>
                      <a:gd name="connsiteY104" fmla="*/ 79976 h 306840"/>
                      <a:gd name="connsiteX105" fmla="*/ 10664 w 458533"/>
                      <a:gd name="connsiteY105" fmla="*/ 66647 h 306840"/>
                      <a:gd name="connsiteX106" fmla="*/ 18662 w 458533"/>
                      <a:gd name="connsiteY106" fmla="*/ 58649 h 306840"/>
                      <a:gd name="connsiteX107" fmla="*/ 26659 w 458533"/>
                      <a:gd name="connsiteY107" fmla="*/ 42654 h 306840"/>
                      <a:gd name="connsiteX108" fmla="*/ 34657 w 458533"/>
                      <a:gd name="connsiteY108" fmla="*/ 39988 h 306840"/>
                      <a:gd name="connsiteX109" fmla="*/ 42655 w 458533"/>
                      <a:gd name="connsiteY109" fmla="*/ 37322 h 3068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Lst>
                    <a:rect l="l" t="t" r="r" b="b"/>
                    <a:pathLst>
                      <a:path w="458533" h="306840">
                        <a:moveTo>
                          <a:pt x="42655" y="37322"/>
                        </a:moveTo>
                        <a:cubicBezTo>
                          <a:pt x="45321" y="39099"/>
                          <a:pt x="47906" y="46258"/>
                          <a:pt x="50652" y="50652"/>
                        </a:cubicBezTo>
                        <a:cubicBezTo>
                          <a:pt x="52350" y="53369"/>
                          <a:pt x="53267" y="56951"/>
                          <a:pt x="55984" y="58649"/>
                        </a:cubicBezTo>
                        <a:cubicBezTo>
                          <a:pt x="60750" y="61628"/>
                          <a:pt x="71979" y="63981"/>
                          <a:pt x="71979" y="63981"/>
                        </a:cubicBezTo>
                        <a:cubicBezTo>
                          <a:pt x="90641" y="57760"/>
                          <a:pt x="89753" y="63981"/>
                          <a:pt x="85309" y="50652"/>
                        </a:cubicBezTo>
                        <a:cubicBezTo>
                          <a:pt x="86384" y="45277"/>
                          <a:pt x="85774" y="31990"/>
                          <a:pt x="95972" y="31990"/>
                        </a:cubicBezTo>
                        <a:cubicBezTo>
                          <a:pt x="99176" y="31990"/>
                          <a:pt x="101304" y="35545"/>
                          <a:pt x="103970" y="37322"/>
                        </a:cubicBezTo>
                        <a:cubicBezTo>
                          <a:pt x="107525" y="36433"/>
                          <a:pt x="111266" y="36099"/>
                          <a:pt x="114634" y="34656"/>
                        </a:cubicBezTo>
                        <a:cubicBezTo>
                          <a:pt x="117579" y="33394"/>
                          <a:pt x="119471" y="29852"/>
                          <a:pt x="122631" y="29325"/>
                        </a:cubicBezTo>
                        <a:cubicBezTo>
                          <a:pt x="125403" y="28863"/>
                          <a:pt x="127963" y="31102"/>
                          <a:pt x="130629" y="31990"/>
                        </a:cubicBezTo>
                        <a:cubicBezTo>
                          <a:pt x="133295" y="34656"/>
                          <a:pt x="136536" y="36851"/>
                          <a:pt x="138627" y="39988"/>
                        </a:cubicBezTo>
                        <a:cubicBezTo>
                          <a:pt x="140186" y="42326"/>
                          <a:pt x="139538" y="45792"/>
                          <a:pt x="141293" y="47986"/>
                        </a:cubicBezTo>
                        <a:cubicBezTo>
                          <a:pt x="143294" y="50488"/>
                          <a:pt x="146624" y="51541"/>
                          <a:pt x="149290" y="53318"/>
                        </a:cubicBezTo>
                        <a:cubicBezTo>
                          <a:pt x="157286" y="65312"/>
                          <a:pt x="156845" y="69092"/>
                          <a:pt x="167951" y="74645"/>
                        </a:cubicBezTo>
                        <a:cubicBezTo>
                          <a:pt x="170464" y="75902"/>
                          <a:pt x="173283" y="76422"/>
                          <a:pt x="175949" y="77311"/>
                        </a:cubicBezTo>
                        <a:cubicBezTo>
                          <a:pt x="179504" y="76422"/>
                          <a:pt x="183336" y="76284"/>
                          <a:pt x="186613" y="74645"/>
                        </a:cubicBezTo>
                        <a:cubicBezTo>
                          <a:pt x="192344" y="71779"/>
                          <a:pt x="196877" y="66847"/>
                          <a:pt x="202608" y="63981"/>
                        </a:cubicBezTo>
                        <a:cubicBezTo>
                          <a:pt x="215785" y="57392"/>
                          <a:pt x="209502" y="59906"/>
                          <a:pt x="221269" y="55983"/>
                        </a:cubicBezTo>
                        <a:cubicBezTo>
                          <a:pt x="223935" y="56872"/>
                          <a:pt x="226753" y="57392"/>
                          <a:pt x="229267" y="58649"/>
                        </a:cubicBezTo>
                        <a:cubicBezTo>
                          <a:pt x="232133" y="60082"/>
                          <a:pt x="234265" y="62856"/>
                          <a:pt x="237265" y="63981"/>
                        </a:cubicBezTo>
                        <a:cubicBezTo>
                          <a:pt x="241507" y="65572"/>
                          <a:pt x="246151" y="65758"/>
                          <a:pt x="250594" y="66647"/>
                        </a:cubicBezTo>
                        <a:lnTo>
                          <a:pt x="282585" y="58649"/>
                        </a:lnTo>
                        <a:cubicBezTo>
                          <a:pt x="286139" y="57760"/>
                          <a:pt x="289772" y="57141"/>
                          <a:pt x="293248" y="55983"/>
                        </a:cubicBezTo>
                        <a:lnTo>
                          <a:pt x="309244" y="50652"/>
                        </a:lnTo>
                        <a:lnTo>
                          <a:pt x="317241" y="47986"/>
                        </a:lnTo>
                        <a:cubicBezTo>
                          <a:pt x="323462" y="29324"/>
                          <a:pt x="317241" y="33767"/>
                          <a:pt x="330571" y="29325"/>
                        </a:cubicBezTo>
                        <a:cubicBezTo>
                          <a:pt x="351580" y="36326"/>
                          <a:pt x="324859" y="29759"/>
                          <a:pt x="346566" y="26659"/>
                        </a:cubicBezTo>
                        <a:cubicBezTo>
                          <a:pt x="350193" y="26141"/>
                          <a:pt x="353675" y="28436"/>
                          <a:pt x="357230" y="29325"/>
                        </a:cubicBezTo>
                        <a:cubicBezTo>
                          <a:pt x="366481" y="35492"/>
                          <a:pt x="367540" y="38831"/>
                          <a:pt x="381223" y="31990"/>
                        </a:cubicBezTo>
                        <a:cubicBezTo>
                          <a:pt x="384088" y="30557"/>
                          <a:pt x="384052" y="25994"/>
                          <a:pt x="386554" y="23993"/>
                        </a:cubicBezTo>
                        <a:cubicBezTo>
                          <a:pt x="388748" y="22237"/>
                          <a:pt x="391796" y="21878"/>
                          <a:pt x="394552" y="21327"/>
                        </a:cubicBezTo>
                        <a:cubicBezTo>
                          <a:pt x="400713" y="20095"/>
                          <a:pt x="406993" y="19550"/>
                          <a:pt x="413213" y="18661"/>
                        </a:cubicBezTo>
                        <a:cubicBezTo>
                          <a:pt x="415879" y="17772"/>
                          <a:pt x="419578" y="18282"/>
                          <a:pt x="421211" y="15995"/>
                        </a:cubicBezTo>
                        <a:cubicBezTo>
                          <a:pt x="424478" y="11422"/>
                          <a:pt x="426543" y="0"/>
                          <a:pt x="426543" y="0"/>
                        </a:cubicBezTo>
                        <a:cubicBezTo>
                          <a:pt x="434541" y="889"/>
                          <a:pt x="442599" y="1343"/>
                          <a:pt x="450536" y="2666"/>
                        </a:cubicBezTo>
                        <a:cubicBezTo>
                          <a:pt x="453308" y="3128"/>
                          <a:pt x="458533" y="2522"/>
                          <a:pt x="458533" y="5332"/>
                        </a:cubicBezTo>
                        <a:cubicBezTo>
                          <a:pt x="458533" y="9102"/>
                          <a:pt x="453673" y="11238"/>
                          <a:pt x="450536" y="13329"/>
                        </a:cubicBezTo>
                        <a:cubicBezTo>
                          <a:pt x="448198" y="14888"/>
                          <a:pt x="445204" y="15106"/>
                          <a:pt x="442538" y="15995"/>
                        </a:cubicBezTo>
                        <a:cubicBezTo>
                          <a:pt x="434958" y="27366"/>
                          <a:pt x="431461" y="31178"/>
                          <a:pt x="426543" y="42654"/>
                        </a:cubicBezTo>
                        <a:cubicBezTo>
                          <a:pt x="422813" y="51357"/>
                          <a:pt x="424861" y="52473"/>
                          <a:pt x="418545" y="61315"/>
                        </a:cubicBezTo>
                        <a:cubicBezTo>
                          <a:pt x="416353" y="64383"/>
                          <a:pt x="413213" y="66647"/>
                          <a:pt x="410547" y="69313"/>
                        </a:cubicBezTo>
                        <a:cubicBezTo>
                          <a:pt x="403851" y="89410"/>
                          <a:pt x="412882" y="64644"/>
                          <a:pt x="402550" y="85308"/>
                        </a:cubicBezTo>
                        <a:cubicBezTo>
                          <a:pt x="401293" y="87821"/>
                          <a:pt x="401640" y="91112"/>
                          <a:pt x="399884" y="93306"/>
                        </a:cubicBezTo>
                        <a:cubicBezTo>
                          <a:pt x="397882" y="95808"/>
                          <a:pt x="394552" y="96861"/>
                          <a:pt x="391886" y="98638"/>
                        </a:cubicBezTo>
                        <a:cubicBezTo>
                          <a:pt x="390997" y="103970"/>
                          <a:pt x="390393" y="109357"/>
                          <a:pt x="389220" y="114633"/>
                        </a:cubicBezTo>
                        <a:cubicBezTo>
                          <a:pt x="388610" y="117376"/>
                          <a:pt x="387326" y="119929"/>
                          <a:pt x="386554" y="122631"/>
                        </a:cubicBezTo>
                        <a:cubicBezTo>
                          <a:pt x="385547" y="126154"/>
                          <a:pt x="384894" y="129771"/>
                          <a:pt x="383888" y="133294"/>
                        </a:cubicBezTo>
                        <a:cubicBezTo>
                          <a:pt x="383116" y="135996"/>
                          <a:pt x="382978" y="139098"/>
                          <a:pt x="381223" y="141292"/>
                        </a:cubicBezTo>
                        <a:cubicBezTo>
                          <a:pt x="379222" y="143794"/>
                          <a:pt x="375891" y="144847"/>
                          <a:pt x="373225" y="146624"/>
                        </a:cubicBezTo>
                        <a:cubicBezTo>
                          <a:pt x="374114" y="151067"/>
                          <a:pt x="373643" y="156019"/>
                          <a:pt x="375891" y="159953"/>
                        </a:cubicBezTo>
                        <a:cubicBezTo>
                          <a:pt x="377481" y="162735"/>
                          <a:pt x="383193" y="162157"/>
                          <a:pt x="383888" y="165285"/>
                        </a:cubicBezTo>
                        <a:cubicBezTo>
                          <a:pt x="385251" y="171419"/>
                          <a:pt x="382111" y="177726"/>
                          <a:pt x="381223" y="183946"/>
                        </a:cubicBezTo>
                        <a:cubicBezTo>
                          <a:pt x="383000" y="186612"/>
                          <a:pt x="383837" y="190246"/>
                          <a:pt x="386554" y="191944"/>
                        </a:cubicBezTo>
                        <a:cubicBezTo>
                          <a:pt x="391320" y="194923"/>
                          <a:pt x="402550" y="197276"/>
                          <a:pt x="402550" y="197276"/>
                        </a:cubicBezTo>
                        <a:cubicBezTo>
                          <a:pt x="405216" y="196387"/>
                          <a:pt x="408034" y="193353"/>
                          <a:pt x="410547" y="194610"/>
                        </a:cubicBezTo>
                        <a:cubicBezTo>
                          <a:pt x="413060" y="195867"/>
                          <a:pt x="413675" y="199835"/>
                          <a:pt x="413213" y="202607"/>
                        </a:cubicBezTo>
                        <a:cubicBezTo>
                          <a:pt x="412686" y="205767"/>
                          <a:pt x="409315" y="207739"/>
                          <a:pt x="407882" y="210605"/>
                        </a:cubicBezTo>
                        <a:cubicBezTo>
                          <a:pt x="406625" y="213119"/>
                          <a:pt x="406105" y="215937"/>
                          <a:pt x="405216" y="218603"/>
                        </a:cubicBezTo>
                        <a:cubicBezTo>
                          <a:pt x="407882" y="221269"/>
                          <a:pt x="410076" y="224509"/>
                          <a:pt x="413213" y="226600"/>
                        </a:cubicBezTo>
                        <a:cubicBezTo>
                          <a:pt x="415551" y="228159"/>
                          <a:pt x="419224" y="227279"/>
                          <a:pt x="421211" y="229266"/>
                        </a:cubicBezTo>
                        <a:cubicBezTo>
                          <a:pt x="423198" y="231253"/>
                          <a:pt x="422988" y="234598"/>
                          <a:pt x="423877" y="237264"/>
                        </a:cubicBezTo>
                        <a:cubicBezTo>
                          <a:pt x="418201" y="254292"/>
                          <a:pt x="426485" y="237294"/>
                          <a:pt x="405216" y="247928"/>
                        </a:cubicBezTo>
                        <a:cubicBezTo>
                          <a:pt x="402350" y="249361"/>
                          <a:pt x="402386" y="253924"/>
                          <a:pt x="399884" y="255925"/>
                        </a:cubicBezTo>
                        <a:cubicBezTo>
                          <a:pt x="397690" y="257680"/>
                          <a:pt x="394552" y="257702"/>
                          <a:pt x="391886" y="258591"/>
                        </a:cubicBezTo>
                        <a:cubicBezTo>
                          <a:pt x="392775" y="266589"/>
                          <a:pt x="392974" y="274693"/>
                          <a:pt x="394552" y="282584"/>
                        </a:cubicBezTo>
                        <a:cubicBezTo>
                          <a:pt x="395654" y="288095"/>
                          <a:pt x="399884" y="298579"/>
                          <a:pt x="399884" y="298579"/>
                        </a:cubicBezTo>
                        <a:cubicBezTo>
                          <a:pt x="399171" y="299054"/>
                          <a:pt x="386485" y="308525"/>
                          <a:pt x="383888" y="306577"/>
                        </a:cubicBezTo>
                        <a:cubicBezTo>
                          <a:pt x="380957" y="304379"/>
                          <a:pt x="383255" y="298962"/>
                          <a:pt x="381223" y="295914"/>
                        </a:cubicBezTo>
                        <a:cubicBezTo>
                          <a:pt x="379446" y="293248"/>
                          <a:pt x="376153" y="291883"/>
                          <a:pt x="373225" y="290582"/>
                        </a:cubicBezTo>
                        <a:cubicBezTo>
                          <a:pt x="368089" y="288299"/>
                          <a:pt x="357230" y="285250"/>
                          <a:pt x="357230" y="285250"/>
                        </a:cubicBezTo>
                        <a:cubicBezTo>
                          <a:pt x="348465" y="272102"/>
                          <a:pt x="355743" y="277355"/>
                          <a:pt x="343900" y="285250"/>
                        </a:cubicBezTo>
                        <a:cubicBezTo>
                          <a:pt x="341562" y="286809"/>
                          <a:pt x="338568" y="287027"/>
                          <a:pt x="335902" y="287916"/>
                        </a:cubicBezTo>
                        <a:cubicBezTo>
                          <a:pt x="335014" y="285250"/>
                          <a:pt x="335575" y="281477"/>
                          <a:pt x="333237" y="279918"/>
                        </a:cubicBezTo>
                        <a:cubicBezTo>
                          <a:pt x="324930" y="274379"/>
                          <a:pt x="317337" y="277895"/>
                          <a:pt x="309244" y="279918"/>
                        </a:cubicBezTo>
                        <a:cubicBezTo>
                          <a:pt x="307467" y="277252"/>
                          <a:pt x="305345" y="274787"/>
                          <a:pt x="303912" y="271921"/>
                        </a:cubicBezTo>
                        <a:cubicBezTo>
                          <a:pt x="302655" y="269408"/>
                          <a:pt x="302611" y="266380"/>
                          <a:pt x="301246" y="263923"/>
                        </a:cubicBezTo>
                        <a:cubicBezTo>
                          <a:pt x="298134" y="258321"/>
                          <a:pt x="294136" y="253260"/>
                          <a:pt x="290582" y="247928"/>
                        </a:cubicBezTo>
                        <a:cubicBezTo>
                          <a:pt x="288805" y="245262"/>
                          <a:pt x="288393" y="240558"/>
                          <a:pt x="285251" y="239930"/>
                        </a:cubicBezTo>
                        <a:lnTo>
                          <a:pt x="271921" y="237264"/>
                        </a:lnTo>
                        <a:lnTo>
                          <a:pt x="255926" y="226600"/>
                        </a:lnTo>
                        <a:cubicBezTo>
                          <a:pt x="253260" y="224823"/>
                          <a:pt x="251107" y="221666"/>
                          <a:pt x="247928" y="221269"/>
                        </a:cubicBezTo>
                        <a:lnTo>
                          <a:pt x="226601" y="218603"/>
                        </a:lnTo>
                        <a:cubicBezTo>
                          <a:pt x="223046" y="219492"/>
                          <a:pt x="219305" y="219826"/>
                          <a:pt x="215937" y="221269"/>
                        </a:cubicBezTo>
                        <a:cubicBezTo>
                          <a:pt x="212992" y="222531"/>
                          <a:pt x="211111" y="226147"/>
                          <a:pt x="207940" y="226600"/>
                        </a:cubicBezTo>
                        <a:cubicBezTo>
                          <a:pt x="204313" y="227118"/>
                          <a:pt x="200831" y="224823"/>
                          <a:pt x="197276" y="223934"/>
                        </a:cubicBezTo>
                        <a:cubicBezTo>
                          <a:pt x="195499" y="221268"/>
                          <a:pt x="194446" y="217938"/>
                          <a:pt x="191944" y="215937"/>
                        </a:cubicBezTo>
                        <a:cubicBezTo>
                          <a:pt x="189750" y="214182"/>
                          <a:pt x="185934" y="215258"/>
                          <a:pt x="183947" y="213271"/>
                        </a:cubicBezTo>
                        <a:cubicBezTo>
                          <a:pt x="181960" y="211284"/>
                          <a:pt x="183037" y="207467"/>
                          <a:pt x="181281" y="205273"/>
                        </a:cubicBezTo>
                        <a:cubicBezTo>
                          <a:pt x="179279" y="202771"/>
                          <a:pt x="176211" y="201242"/>
                          <a:pt x="173283" y="199941"/>
                        </a:cubicBezTo>
                        <a:cubicBezTo>
                          <a:pt x="161882" y="194874"/>
                          <a:pt x="157479" y="195046"/>
                          <a:pt x="146624" y="191944"/>
                        </a:cubicBezTo>
                        <a:cubicBezTo>
                          <a:pt x="143922" y="191172"/>
                          <a:pt x="141293" y="190167"/>
                          <a:pt x="138627" y="189278"/>
                        </a:cubicBezTo>
                        <a:cubicBezTo>
                          <a:pt x="135961" y="186612"/>
                          <a:pt x="132500" y="184553"/>
                          <a:pt x="130629" y="181280"/>
                        </a:cubicBezTo>
                        <a:cubicBezTo>
                          <a:pt x="128811" y="178099"/>
                          <a:pt x="130778" y="172962"/>
                          <a:pt x="127963" y="170617"/>
                        </a:cubicBezTo>
                        <a:cubicBezTo>
                          <a:pt x="124482" y="167716"/>
                          <a:pt x="119103" y="168696"/>
                          <a:pt x="114634" y="167951"/>
                        </a:cubicBezTo>
                        <a:cubicBezTo>
                          <a:pt x="108436" y="166918"/>
                          <a:pt x="102193" y="166174"/>
                          <a:pt x="95972" y="165285"/>
                        </a:cubicBezTo>
                        <a:cubicBezTo>
                          <a:pt x="86977" y="138298"/>
                          <a:pt x="96244" y="148859"/>
                          <a:pt x="55984" y="151955"/>
                        </a:cubicBezTo>
                        <a:cubicBezTo>
                          <a:pt x="50652" y="152844"/>
                          <a:pt x="45361" y="155218"/>
                          <a:pt x="39989" y="154621"/>
                        </a:cubicBezTo>
                        <a:cubicBezTo>
                          <a:pt x="36805" y="154267"/>
                          <a:pt x="34257" y="151555"/>
                          <a:pt x="31991" y="149290"/>
                        </a:cubicBezTo>
                        <a:cubicBezTo>
                          <a:pt x="26823" y="144122"/>
                          <a:pt x="26161" y="139798"/>
                          <a:pt x="23993" y="133294"/>
                        </a:cubicBezTo>
                        <a:cubicBezTo>
                          <a:pt x="17773" y="134183"/>
                          <a:pt x="10952" y="138770"/>
                          <a:pt x="5332" y="135960"/>
                        </a:cubicBezTo>
                        <a:cubicBezTo>
                          <a:pt x="1279" y="133934"/>
                          <a:pt x="3765" y="127027"/>
                          <a:pt x="2666" y="122631"/>
                        </a:cubicBezTo>
                        <a:cubicBezTo>
                          <a:pt x="1984" y="119905"/>
                          <a:pt x="889" y="117299"/>
                          <a:pt x="0" y="114633"/>
                        </a:cubicBezTo>
                        <a:cubicBezTo>
                          <a:pt x="889" y="106635"/>
                          <a:pt x="-933" y="97837"/>
                          <a:pt x="2666" y="90640"/>
                        </a:cubicBezTo>
                        <a:cubicBezTo>
                          <a:pt x="4046" y="87881"/>
                          <a:pt x="24014" y="102206"/>
                          <a:pt x="2666" y="87974"/>
                        </a:cubicBezTo>
                        <a:cubicBezTo>
                          <a:pt x="1777" y="85308"/>
                          <a:pt x="0" y="82786"/>
                          <a:pt x="0" y="79976"/>
                        </a:cubicBezTo>
                        <a:cubicBezTo>
                          <a:pt x="0" y="70495"/>
                          <a:pt x="4524" y="71764"/>
                          <a:pt x="10664" y="66647"/>
                        </a:cubicBezTo>
                        <a:cubicBezTo>
                          <a:pt x="13560" y="64233"/>
                          <a:pt x="15996" y="61315"/>
                          <a:pt x="18662" y="58649"/>
                        </a:cubicBezTo>
                        <a:cubicBezTo>
                          <a:pt x="20418" y="53382"/>
                          <a:pt x="21963" y="46411"/>
                          <a:pt x="26659" y="42654"/>
                        </a:cubicBezTo>
                        <a:cubicBezTo>
                          <a:pt x="28853" y="40898"/>
                          <a:pt x="31847" y="39988"/>
                          <a:pt x="34657" y="39988"/>
                        </a:cubicBezTo>
                        <a:cubicBezTo>
                          <a:pt x="36644" y="39988"/>
                          <a:pt x="39989" y="35545"/>
                          <a:pt x="42655" y="37322"/>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01" name="Freeform: Shape 800">
                    <a:extLst>
                      <a:ext uri="{FF2B5EF4-FFF2-40B4-BE49-F238E27FC236}">
                        <a16:creationId xmlns:a16="http://schemas.microsoft.com/office/drawing/2014/main" id="{87B9DFE5-EC3B-4F67-ADD5-9E9EFDF416AC}"/>
                      </a:ext>
                    </a:extLst>
                  </p:cNvPr>
                  <p:cNvSpPr/>
                  <p:nvPr/>
                </p:nvSpPr>
                <p:spPr>
                  <a:xfrm>
                    <a:off x="4585247" y="6858076"/>
                    <a:ext cx="24237" cy="25587"/>
                  </a:xfrm>
                  <a:custGeom>
                    <a:avLst/>
                    <a:gdLst>
                      <a:gd name="connsiteX0" fmla="*/ 82 w 24237"/>
                      <a:gd name="connsiteY0" fmla="*/ 3923 h 25587"/>
                      <a:gd name="connsiteX1" fmla="*/ 8080 w 24237"/>
                      <a:gd name="connsiteY1" fmla="*/ 17252 h 25587"/>
                      <a:gd name="connsiteX2" fmla="*/ 10746 w 24237"/>
                      <a:gd name="connsiteY2" fmla="*/ 25250 h 25587"/>
                      <a:gd name="connsiteX3" fmla="*/ 21410 w 24237"/>
                      <a:gd name="connsiteY3" fmla="*/ 22584 h 25587"/>
                      <a:gd name="connsiteX4" fmla="*/ 16078 w 24237"/>
                      <a:gd name="connsiteY4" fmla="*/ 9255 h 25587"/>
                      <a:gd name="connsiteX5" fmla="*/ 13412 w 24237"/>
                      <a:gd name="connsiteY5" fmla="*/ 1257 h 25587"/>
                      <a:gd name="connsiteX6" fmla="*/ 82 w 24237"/>
                      <a:gd name="connsiteY6" fmla="*/ 3923 h 25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237" h="25587">
                        <a:moveTo>
                          <a:pt x="82" y="3923"/>
                        </a:moveTo>
                        <a:cubicBezTo>
                          <a:pt x="-807" y="6589"/>
                          <a:pt x="5763" y="12618"/>
                          <a:pt x="8080" y="17252"/>
                        </a:cubicBezTo>
                        <a:cubicBezTo>
                          <a:pt x="9337" y="19766"/>
                          <a:pt x="8137" y="24206"/>
                          <a:pt x="10746" y="25250"/>
                        </a:cubicBezTo>
                        <a:cubicBezTo>
                          <a:pt x="14148" y="26611"/>
                          <a:pt x="17855" y="23473"/>
                          <a:pt x="21410" y="22584"/>
                        </a:cubicBezTo>
                        <a:cubicBezTo>
                          <a:pt x="26332" y="7813"/>
                          <a:pt x="24995" y="20401"/>
                          <a:pt x="16078" y="9255"/>
                        </a:cubicBezTo>
                        <a:cubicBezTo>
                          <a:pt x="14322" y="7061"/>
                          <a:pt x="15750" y="2816"/>
                          <a:pt x="13412" y="1257"/>
                        </a:cubicBezTo>
                        <a:cubicBezTo>
                          <a:pt x="8890" y="-1757"/>
                          <a:pt x="971" y="1257"/>
                          <a:pt x="82" y="392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02" name="Freeform: Shape 801">
                    <a:extLst>
                      <a:ext uri="{FF2B5EF4-FFF2-40B4-BE49-F238E27FC236}">
                        <a16:creationId xmlns:a16="http://schemas.microsoft.com/office/drawing/2014/main" id="{ABBEBC9C-2CBA-4F09-BF15-3390CD4E13D4}"/>
                      </a:ext>
                    </a:extLst>
                  </p:cNvPr>
                  <p:cNvSpPr/>
                  <p:nvPr/>
                </p:nvSpPr>
                <p:spPr>
                  <a:xfrm rot="11577076">
                    <a:off x="4577274" y="6723274"/>
                    <a:ext cx="21852" cy="11186"/>
                  </a:xfrm>
                  <a:custGeom>
                    <a:avLst/>
                    <a:gdLst>
                      <a:gd name="connsiteX0" fmla="*/ 58 w 21852"/>
                      <a:gd name="connsiteY0" fmla="*/ 5430 h 11186"/>
                      <a:gd name="connsiteX1" fmla="*/ 13387 w 21852"/>
                      <a:gd name="connsiteY1" fmla="*/ 99 h 11186"/>
                      <a:gd name="connsiteX2" fmla="*/ 21385 w 21852"/>
                      <a:gd name="connsiteY2" fmla="*/ 2764 h 11186"/>
                      <a:gd name="connsiteX3" fmla="*/ 18719 w 21852"/>
                      <a:gd name="connsiteY3" fmla="*/ 10762 h 11186"/>
                      <a:gd name="connsiteX4" fmla="*/ 58 w 21852"/>
                      <a:gd name="connsiteY4" fmla="*/ 5430 h 11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2" h="11186">
                        <a:moveTo>
                          <a:pt x="58" y="5430"/>
                        </a:moveTo>
                        <a:cubicBezTo>
                          <a:pt x="-831" y="3653"/>
                          <a:pt x="8639" y="693"/>
                          <a:pt x="13387" y="99"/>
                        </a:cubicBezTo>
                        <a:cubicBezTo>
                          <a:pt x="16175" y="-250"/>
                          <a:pt x="20128" y="251"/>
                          <a:pt x="21385" y="2764"/>
                        </a:cubicBezTo>
                        <a:cubicBezTo>
                          <a:pt x="22642" y="5277"/>
                          <a:pt x="21232" y="9505"/>
                          <a:pt x="18719" y="10762"/>
                        </a:cubicBezTo>
                        <a:cubicBezTo>
                          <a:pt x="14745" y="12749"/>
                          <a:pt x="947" y="7207"/>
                          <a:pt x="58" y="543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03" name="Freeform: Shape 802">
                    <a:extLst>
                      <a:ext uri="{FF2B5EF4-FFF2-40B4-BE49-F238E27FC236}">
                        <a16:creationId xmlns:a16="http://schemas.microsoft.com/office/drawing/2014/main" id="{1A1425A0-7F6F-41A5-B7F5-E22349AC2355}"/>
                      </a:ext>
                    </a:extLst>
                  </p:cNvPr>
                  <p:cNvSpPr/>
                  <p:nvPr/>
                </p:nvSpPr>
                <p:spPr>
                  <a:xfrm>
                    <a:off x="4524033" y="6704400"/>
                    <a:ext cx="18000" cy="18000"/>
                  </a:xfrm>
                  <a:custGeom>
                    <a:avLst/>
                    <a:gdLst>
                      <a:gd name="connsiteX0" fmla="*/ 0 w 0"/>
                      <a:gd name="connsiteY0" fmla="*/ 0 h 0"/>
                      <a:gd name="connsiteX1" fmla="*/ 0 w 0"/>
                      <a:gd name="connsiteY1" fmla="*/ 0 h 0"/>
                    </a:gdLst>
                    <a:ahLst/>
                    <a:cxnLst>
                      <a:cxn ang="0">
                        <a:pos x="connsiteX0" y="connsiteY0"/>
                      </a:cxn>
                      <a:cxn ang="0">
                        <a:pos x="connsiteX1" y="connsiteY1"/>
                      </a:cxn>
                    </a:cxnLst>
                    <a:rect l="l" t="t" r="r" b="b"/>
                    <a:pathLst>
                      <a:path>
                        <a:moveTo>
                          <a:pt x="0" y="0"/>
                        </a:moveTo>
                        <a:lnTo>
                          <a:pt x="0" y="0"/>
                        </a:lnTo>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04" name="Freeform: Shape 803">
                    <a:extLst>
                      <a:ext uri="{FF2B5EF4-FFF2-40B4-BE49-F238E27FC236}">
                        <a16:creationId xmlns:a16="http://schemas.microsoft.com/office/drawing/2014/main" id="{0633C7A4-0061-4DC0-887B-2352F22B2BA1}"/>
                      </a:ext>
                    </a:extLst>
                  </p:cNvPr>
                  <p:cNvSpPr/>
                  <p:nvPr/>
                </p:nvSpPr>
                <p:spPr>
                  <a:xfrm rot="15526093">
                    <a:off x="4976571" y="6555504"/>
                    <a:ext cx="21852" cy="11186"/>
                  </a:xfrm>
                  <a:custGeom>
                    <a:avLst/>
                    <a:gdLst>
                      <a:gd name="connsiteX0" fmla="*/ 58 w 21852"/>
                      <a:gd name="connsiteY0" fmla="*/ 5430 h 11186"/>
                      <a:gd name="connsiteX1" fmla="*/ 13387 w 21852"/>
                      <a:gd name="connsiteY1" fmla="*/ 99 h 11186"/>
                      <a:gd name="connsiteX2" fmla="*/ 21385 w 21852"/>
                      <a:gd name="connsiteY2" fmla="*/ 2764 h 11186"/>
                      <a:gd name="connsiteX3" fmla="*/ 18719 w 21852"/>
                      <a:gd name="connsiteY3" fmla="*/ 10762 h 11186"/>
                      <a:gd name="connsiteX4" fmla="*/ 58 w 21852"/>
                      <a:gd name="connsiteY4" fmla="*/ 5430 h 111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852" h="11186">
                        <a:moveTo>
                          <a:pt x="58" y="5430"/>
                        </a:moveTo>
                        <a:cubicBezTo>
                          <a:pt x="-831" y="3653"/>
                          <a:pt x="8639" y="693"/>
                          <a:pt x="13387" y="99"/>
                        </a:cubicBezTo>
                        <a:cubicBezTo>
                          <a:pt x="16175" y="-250"/>
                          <a:pt x="20128" y="251"/>
                          <a:pt x="21385" y="2764"/>
                        </a:cubicBezTo>
                        <a:cubicBezTo>
                          <a:pt x="22642" y="5277"/>
                          <a:pt x="21232" y="9505"/>
                          <a:pt x="18719" y="10762"/>
                        </a:cubicBezTo>
                        <a:cubicBezTo>
                          <a:pt x="14745" y="12749"/>
                          <a:pt x="947" y="7207"/>
                          <a:pt x="58" y="543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05" name="Freeform: Shape 804">
                    <a:extLst>
                      <a:ext uri="{FF2B5EF4-FFF2-40B4-BE49-F238E27FC236}">
                        <a16:creationId xmlns:a16="http://schemas.microsoft.com/office/drawing/2014/main" id="{8A1C65BF-B688-448E-AC8E-925253F69C03}"/>
                      </a:ext>
                    </a:extLst>
                  </p:cNvPr>
                  <p:cNvSpPr/>
                  <p:nvPr/>
                </p:nvSpPr>
                <p:spPr>
                  <a:xfrm>
                    <a:off x="4992590" y="6582080"/>
                    <a:ext cx="10800" cy="7200"/>
                  </a:xfrm>
                  <a:custGeom>
                    <a:avLst/>
                    <a:gdLst>
                      <a:gd name="connsiteX0" fmla="*/ 620 w 20821"/>
                      <a:gd name="connsiteY0" fmla="*/ 10664 h 13701"/>
                      <a:gd name="connsiteX1" fmla="*/ 13950 w 20821"/>
                      <a:gd name="connsiteY1" fmla="*/ 13330 h 13701"/>
                      <a:gd name="connsiteX2" fmla="*/ 11284 w 20821"/>
                      <a:gd name="connsiteY2" fmla="*/ 0 h 13701"/>
                      <a:gd name="connsiteX3" fmla="*/ 3286 w 20821"/>
                      <a:gd name="connsiteY3" fmla="*/ 2666 h 13701"/>
                      <a:gd name="connsiteX4" fmla="*/ 620 w 20821"/>
                      <a:gd name="connsiteY4" fmla="*/ 10664 h 137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21" h="13701">
                        <a:moveTo>
                          <a:pt x="620" y="10664"/>
                        </a:moveTo>
                        <a:cubicBezTo>
                          <a:pt x="2397" y="12441"/>
                          <a:pt x="9593" y="14575"/>
                          <a:pt x="13950" y="13330"/>
                        </a:cubicBezTo>
                        <a:cubicBezTo>
                          <a:pt x="30124" y="8709"/>
                          <a:pt x="12884" y="1066"/>
                          <a:pt x="11284" y="0"/>
                        </a:cubicBezTo>
                        <a:cubicBezTo>
                          <a:pt x="8618" y="889"/>
                          <a:pt x="4543" y="152"/>
                          <a:pt x="3286" y="2666"/>
                        </a:cubicBezTo>
                        <a:cubicBezTo>
                          <a:pt x="1244" y="6751"/>
                          <a:pt x="-1157" y="8887"/>
                          <a:pt x="620" y="1066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806" name="Freeform: Shape 805">
                    <a:extLst>
                      <a:ext uri="{FF2B5EF4-FFF2-40B4-BE49-F238E27FC236}">
                        <a16:creationId xmlns:a16="http://schemas.microsoft.com/office/drawing/2014/main" id="{4695D88B-3328-4CEE-B9E5-492B731C4952}"/>
                      </a:ext>
                    </a:extLst>
                  </p:cNvPr>
                  <p:cNvSpPr/>
                  <p:nvPr/>
                </p:nvSpPr>
                <p:spPr>
                  <a:xfrm>
                    <a:off x="4949788" y="6538013"/>
                    <a:ext cx="14400" cy="7200"/>
                  </a:xfrm>
                  <a:custGeom>
                    <a:avLst/>
                    <a:gdLst>
                      <a:gd name="connsiteX0" fmla="*/ 620 w 20821"/>
                      <a:gd name="connsiteY0" fmla="*/ 10664 h 13701"/>
                      <a:gd name="connsiteX1" fmla="*/ 13950 w 20821"/>
                      <a:gd name="connsiteY1" fmla="*/ 13330 h 13701"/>
                      <a:gd name="connsiteX2" fmla="*/ 11284 w 20821"/>
                      <a:gd name="connsiteY2" fmla="*/ 0 h 13701"/>
                      <a:gd name="connsiteX3" fmla="*/ 3286 w 20821"/>
                      <a:gd name="connsiteY3" fmla="*/ 2666 h 13701"/>
                      <a:gd name="connsiteX4" fmla="*/ 620 w 20821"/>
                      <a:gd name="connsiteY4" fmla="*/ 10664 h 1370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821" h="13701">
                        <a:moveTo>
                          <a:pt x="620" y="10664"/>
                        </a:moveTo>
                        <a:cubicBezTo>
                          <a:pt x="2397" y="12441"/>
                          <a:pt x="9593" y="14575"/>
                          <a:pt x="13950" y="13330"/>
                        </a:cubicBezTo>
                        <a:cubicBezTo>
                          <a:pt x="30124" y="8709"/>
                          <a:pt x="12884" y="1066"/>
                          <a:pt x="11284" y="0"/>
                        </a:cubicBezTo>
                        <a:cubicBezTo>
                          <a:pt x="8618" y="889"/>
                          <a:pt x="4543" y="152"/>
                          <a:pt x="3286" y="2666"/>
                        </a:cubicBezTo>
                        <a:cubicBezTo>
                          <a:pt x="1244" y="6751"/>
                          <a:pt x="-1157" y="8887"/>
                          <a:pt x="620" y="1066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sp>
              <p:nvSpPr>
                <p:cNvPr id="799" name="Freeform: Shape 798">
                  <a:extLst>
                    <a:ext uri="{FF2B5EF4-FFF2-40B4-BE49-F238E27FC236}">
                      <a16:creationId xmlns:a16="http://schemas.microsoft.com/office/drawing/2014/main" id="{17873B7C-1EFB-4A22-AAD8-9624D6C6BF5A}"/>
                    </a:ext>
                  </a:extLst>
                </p:cNvPr>
                <p:cNvSpPr/>
                <p:nvPr/>
              </p:nvSpPr>
              <p:spPr>
                <a:xfrm>
                  <a:off x="4021931" y="6119813"/>
                  <a:ext cx="235744" cy="419100"/>
                </a:xfrm>
                <a:custGeom>
                  <a:avLst/>
                  <a:gdLst>
                    <a:gd name="connsiteX0" fmla="*/ 14288 w 235744"/>
                    <a:gd name="connsiteY0" fmla="*/ 54768 h 419100"/>
                    <a:gd name="connsiteX1" fmla="*/ 33338 w 235744"/>
                    <a:gd name="connsiteY1" fmla="*/ 71437 h 419100"/>
                    <a:gd name="connsiteX2" fmla="*/ 59532 w 235744"/>
                    <a:gd name="connsiteY2" fmla="*/ 78581 h 419100"/>
                    <a:gd name="connsiteX3" fmla="*/ 66675 w 235744"/>
                    <a:gd name="connsiteY3" fmla="*/ 80962 h 419100"/>
                    <a:gd name="connsiteX4" fmla="*/ 73819 w 235744"/>
                    <a:gd name="connsiteY4" fmla="*/ 64293 h 419100"/>
                    <a:gd name="connsiteX5" fmla="*/ 83344 w 235744"/>
                    <a:gd name="connsiteY5" fmla="*/ 61912 h 419100"/>
                    <a:gd name="connsiteX6" fmla="*/ 97632 w 235744"/>
                    <a:gd name="connsiteY6" fmla="*/ 59531 h 419100"/>
                    <a:gd name="connsiteX7" fmla="*/ 104775 w 235744"/>
                    <a:gd name="connsiteY7" fmla="*/ 57150 h 419100"/>
                    <a:gd name="connsiteX8" fmla="*/ 107157 w 235744"/>
                    <a:gd name="connsiteY8" fmla="*/ 47625 h 419100"/>
                    <a:gd name="connsiteX9" fmla="*/ 111919 w 235744"/>
                    <a:gd name="connsiteY9" fmla="*/ 40481 h 419100"/>
                    <a:gd name="connsiteX10" fmla="*/ 119063 w 235744"/>
                    <a:gd name="connsiteY10" fmla="*/ 35718 h 419100"/>
                    <a:gd name="connsiteX11" fmla="*/ 126207 w 235744"/>
                    <a:gd name="connsiteY11" fmla="*/ 28575 h 419100"/>
                    <a:gd name="connsiteX12" fmla="*/ 140494 w 235744"/>
                    <a:gd name="connsiteY12" fmla="*/ 21431 h 419100"/>
                    <a:gd name="connsiteX13" fmla="*/ 142875 w 235744"/>
                    <a:gd name="connsiteY13" fmla="*/ 14287 h 419100"/>
                    <a:gd name="connsiteX14" fmla="*/ 145257 w 235744"/>
                    <a:gd name="connsiteY14" fmla="*/ 4762 h 419100"/>
                    <a:gd name="connsiteX15" fmla="*/ 152400 w 235744"/>
                    <a:gd name="connsiteY15" fmla="*/ 0 h 419100"/>
                    <a:gd name="connsiteX16" fmla="*/ 169069 w 235744"/>
                    <a:gd name="connsiteY16" fmla="*/ 4762 h 419100"/>
                    <a:gd name="connsiteX17" fmla="*/ 178594 w 235744"/>
                    <a:gd name="connsiteY17" fmla="*/ 7143 h 419100"/>
                    <a:gd name="connsiteX18" fmla="*/ 195263 w 235744"/>
                    <a:gd name="connsiteY18" fmla="*/ 23812 h 419100"/>
                    <a:gd name="connsiteX19" fmla="*/ 197644 w 235744"/>
                    <a:gd name="connsiteY19" fmla="*/ 33337 h 419100"/>
                    <a:gd name="connsiteX20" fmla="*/ 197644 w 235744"/>
                    <a:gd name="connsiteY20" fmla="*/ 47625 h 419100"/>
                    <a:gd name="connsiteX21" fmla="*/ 195263 w 235744"/>
                    <a:gd name="connsiteY21" fmla="*/ 61912 h 419100"/>
                    <a:gd name="connsiteX22" fmla="*/ 188119 w 235744"/>
                    <a:gd name="connsiteY22" fmla="*/ 64293 h 419100"/>
                    <a:gd name="connsiteX23" fmla="*/ 202407 w 235744"/>
                    <a:gd name="connsiteY23" fmla="*/ 69056 h 419100"/>
                    <a:gd name="connsiteX24" fmla="*/ 209550 w 235744"/>
                    <a:gd name="connsiteY24" fmla="*/ 71437 h 419100"/>
                    <a:gd name="connsiteX25" fmla="*/ 211932 w 235744"/>
                    <a:gd name="connsiteY25" fmla="*/ 78581 h 419100"/>
                    <a:gd name="connsiteX26" fmla="*/ 216694 w 235744"/>
                    <a:gd name="connsiteY26" fmla="*/ 102393 h 419100"/>
                    <a:gd name="connsiteX27" fmla="*/ 221457 w 235744"/>
                    <a:gd name="connsiteY27" fmla="*/ 109537 h 419100"/>
                    <a:gd name="connsiteX28" fmla="*/ 235744 w 235744"/>
                    <a:gd name="connsiteY28" fmla="*/ 126206 h 419100"/>
                    <a:gd name="connsiteX29" fmla="*/ 228600 w 235744"/>
                    <a:gd name="connsiteY29" fmla="*/ 150018 h 419100"/>
                    <a:gd name="connsiteX30" fmla="*/ 211932 w 235744"/>
                    <a:gd name="connsiteY30" fmla="*/ 171450 h 419100"/>
                    <a:gd name="connsiteX31" fmla="*/ 209550 w 235744"/>
                    <a:gd name="connsiteY31" fmla="*/ 178593 h 419100"/>
                    <a:gd name="connsiteX32" fmla="*/ 211932 w 235744"/>
                    <a:gd name="connsiteY32" fmla="*/ 209550 h 419100"/>
                    <a:gd name="connsiteX33" fmla="*/ 219075 w 235744"/>
                    <a:gd name="connsiteY33" fmla="*/ 211931 h 419100"/>
                    <a:gd name="connsiteX34" fmla="*/ 221457 w 235744"/>
                    <a:gd name="connsiteY34" fmla="*/ 219075 h 419100"/>
                    <a:gd name="connsiteX35" fmla="*/ 216694 w 235744"/>
                    <a:gd name="connsiteY35" fmla="*/ 226218 h 419100"/>
                    <a:gd name="connsiteX36" fmla="*/ 211932 w 235744"/>
                    <a:gd name="connsiteY36" fmla="*/ 240506 h 419100"/>
                    <a:gd name="connsiteX37" fmla="*/ 209550 w 235744"/>
                    <a:gd name="connsiteY37" fmla="*/ 247650 h 419100"/>
                    <a:gd name="connsiteX38" fmla="*/ 209550 w 235744"/>
                    <a:gd name="connsiteY38" fmla="*/ 323850 h 419100"/>
                    <a:gd name="connsiteX39" fmla="*/ 204788 w 235744"/>
                    <a:gd name="connsiteY39" fmla="*/ 330993 h 419100"/>
                    <a:gd name="connsiteX40" fmla="*/ 207169 w 235744"/>
                    <a:gd name="connsiteY40" fmla="*/ 338137 h 419100"/>
                    <a:gd name="connsiteX41" fmla="*/ 214313 w 235744"/>
                    <a:gd name="connsiteY41" fmla="*/ 340518 h 419100"/>
                    <a:gd name="connsiteX42" fmla="*/ 202407 w 235744"/>
                    <a:gd name="connsiteY42" fmla="*/ 354806 h 419100"/>
                    <a:gd name="connsiteX43" fmla="*/ 200025 w 235744"/>
                    <a:gd name="connsiteY43" fmla="*/ 381000 h 419100"/>
                    <a:gd name="connsiteX44" fmla="*/ 173832 w 235744"/>
                    <a:gd name="connsiteY44" fmla="*/ 378618 h 419100"/>
                    <a:gd name="connsiteX45" fmla="*/ 166688 w 235744"/>
                    <a:gd name="connsiteY45" fmla="*/ 373856 h 419100"/>
                    <a:gd name="connsiteX46" fmla="*/ 138113 w 235744"/>
                    <a:gd name="connsiteY46" fmla="*/ 366712 h 419100"/>
                    <a:gd name="connsiteX47" fmla="*/ 130969 w 235744"/>
                    <a:gd name="connsiteY47" fmla="*/ 364331 h 419100"/>
                    <a:gd name="connsiteX48" fmla="*/ 121444 w 235744"/>
                    <a:gd name="connsiteY48" fmla="*/ 376237 h 419100"/>
                    <a:gd name="connsiteX49" fmla="*/ 128588 w 235744"/>
                    <a:gd name="connsiteY49" fmla="*/ 378618 h 419100"/>
                    <a:gd name="connsiteX50" fmla="*/ 121444 w 235744"/>
                    <a:gd name="connsiteY50" fmla="*/ 402431 h 419100"/>
                    <a:gd name="connsiteX51" fmla="*/ 114300 w 235744"/>
                    <a:gd name="connsiteY51" fmla="*/ 407193 h 419100"/>
                    <a:gd name="connsiteX52" fmla="*/ 100013 w 235744"/>
                    <a:gd name="connsiteY52" fmla="*/ 419100 h 419100"/>
                    <a:gd name="connsiteX53" fmla="*/ 83344 w 235744"/>
                    <a:gd name="connsiteY53" fmla="*/ 416718 h 419100"/>
                    <a:gd name="connsiteX54" fmla="*/ 76200 w 235744"/>
                    <a:gd name="connsiteY54" fmla="*/ 411956 h 419100"/>
                    <a:gd name="connsiteX55" fmla="*/ 61913 w 235744"/>
                    <a:gd name="connsiteY55" fmla="*/ 416718 h 419100"/>
                    <a:gd name="connsiteX56" fmla="*/ 59532 w 235744"/>
                    <a:gd name="connsiteY56" fmla="*/ 407193 h 419100"/>
                    <a:gd name="connsiteX57" fmla="*/ 40482 w 235744"/>
                    <a:gd name="connsiteY57" fmla="*/ 390525 h 419100"/>
                    <a:gd name="connsiteX58" fmla="*/ 33338 w 235744"/>
                    <a:gd name="connsiteY58" fmla="*/ 359568 h 419100"/>
                    <a:gd name="connsiteX59" fmla="*/ 40482 w 235744"/>
                    <a:gd name="connsiteY59" fmla="*/ 357187 h 419100"/>
                    <a:gd name="connsiteX60" fmla="*/ 38100 w 235744"/>
                    <a:gd name="connsiteY60" fmla="*/ 350043 h 419100"/>
                    <a:gd name="connsiteX61" fmla="*/ 30957 w 235744"/>
                    <a:gd name="connsiteY61" fmla="*/ 342900 h 419100"/>
                    <a:gd name="connsiteX62" fmla="*/ 33338 w 235744"/>
                    <a:gd name="connsiteY62" fmla="*/ 323850 h 419100"/>
                    <a:gd name="connsiteX63" fmla="*/ 35719 w 235744"/>
                    <a:gd name="connsiteY63" fmla="*/ 316706 h 419100"/>
                    <a:gd name="connsiteX64" fmla="*/ 38100 w 235744"/>
                    <a:gd name="connsiteY64" fmla="*/ 307181 h 419100"/>
                    <a:gd name="connsiteX65" fmla="*/ 42863 w 235744"/>
                    <a:gd name="connsiteY65" fmla="*/ 292893 h 419100"/>
                    <a:gd name="connsiteX66" fmla="*/ 45244 w 235744"/>
                    <a:gd name="connsiteY66" fmla="*/ 283368 h 419100"/>
                    <a:gd name="connsiteX67" fmla="*/ 59532 w 235744"/>
                    <a:gd name="connsiteY67" fmla="*/ 280987 h 419100"/>
                    <a:gd name="connsiteX68" fmla="*/ 59532 w 235744"/>
                    <a:gd name="connsiteY68" fmla="*/ 250031 h 419100"/>
                    <a:gd name="connsiteX69" fmla="*/ 57150 w 235744"/>
                    <a:gd name="connsiteY69" fmla="*/ 242887 h 419100"/>
                    <a:gd name="connsiteX70" fmla="*/ 47625 w 235744"/>
                    <a:gd name="connsiteY70" fmla="*/ 240506 h 419100"/>
                    <a:gd name="connsiteX71" fmla="*/ 35719 w 235744"/>
                    <a:gd name="connsiteY71" fmla="*/ 242887 h 419100"/>
                    <a:gd name="connsiteX72" fmla="*/ 30957 w 235744"/>
                    <a:gd name="connsiteY72" fmla="*/ 235743 h 419100"/>
                    <a:gd name="connsiteX73" fmla="*/ 35719 w 235744"/>
                    <a:gd name="connsiteY73" fmla="*/ 219075 h 419100"/>
                    <a:gd name="connsiteX74" fmla="*/ 38100 w 235744"/>
                    <a:gd name="connsiteY74" fmla="*/ 207168 h 419100"/>
                    <a:gd name="connsiteX75" fmla="*/ 45244 w 235744"/>
                    <a:gd name="connsiteY75" fmla="*/ 204787 h 419100"/>
                    <a:gd name="connsiteX76" fmla="*/ 52388 w 235744"/>
                    <a:gd name="connsiteY76" fmla="*/ 200025 h 419100"/>
                    <a:gd name="connsiteX77" fmla="*/ 47625 w 235744"/>
                    <a:gd name="connsiteY77" fmla="*/ 171450 h 419100"/>
                    <a:gd name="connsiteX78" fmla="*/ 45244 w 235744"/>
                    <a:gd name="connsiteY78" fmla="*/ 161925 h 419100"/>
                    <a:gd name="connsiteX79" fmla="*/ 38100 w 235744"/>
                    <a:gd name="connsiteY79" fmla="*/ 157162 h 419100"/>
                    <a:gd name="connsiteX80" fmla="*/ 35719 w 235744"/>
                    <a:gd name="connsiteY80" fmla="*/ 147637 h 419100"/>
                    <a:gd name="connsiteX81" fmla="*/ 33338 w 235744"/>
                    <a:gd name="connsiteY81" fmla="*/ 123825 h 419100"/>
                    <a:gd name="connsiteX82" fmla="*/ 19050 w 235744"/>
                    <a:gd name="connsiteY82" fmla="*/ 114300 h 419100"/>
                    <a:gd name="connsiteX83" fmla="*/ 0 w 235744"/>
                    <a:gd name="connsiteY83" fmla="*/ 111918 h 419100"/>
                    <a:gd name="connsiteX84" fmla="*/ 4763 w 235744"/>
                    <a:gd name="connsiteY84" fmla="*/ 97631 h 419100"/>
                    <a:gd name="connsiteX85" fmla="*/ 0 w 235744"/>
                    <a:gd name="connsiteY85" fmla="*/ 83343 h 419100"/>
                    <a:gd name="connsiteX86" fmla="*/ 2382 w 235744"/>
                    <a:gd name="connsiteY86" fmla="*/ 61912 h 419100"/>
                    <a:gd name="connsiteX87" fmla="*/ 4763 w 235744"/>
                    <a:gd name="connsiteY87" fmla="*/ 54768 h 419100"/>
                    <a:gd name="connsiteX88" fmla="*/ 19050 w 235744"/>
                    <a:gd name="connsiteY88" fmla="*/ 50006 h 419100"/>
                    <a:gd name="connsiteX89" fmla="*/ 21432 w 235744"/>
                    <a:gd name="connsiteY89" fmla="*/ 59531 h 419100"/>
                    <a:gd name="connsiteX90" fmla="*/ 30957 w 235744"/>
                    <a:gd name="connsiteY90" fmla="*/ 76200 h 419100"/>
                    <a:gd name="connsiteX91" fmla="*/ 14288 w 235744"/>
                    <a:gd name="connsiteY91" fmla="*/ 54768 h 41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235744" h="419100">
                      <a:moveTo>
                        <a:pt x="14288" y="54768"/>
                      </a:moveTo>
                      <a:cubicBezTo>
                        <a:pt x="14685" y="53974"/>
                        <a:pt x="26247" y="68285"/>
                        <a:pt x="33338" y="71437"/>
                      </a:cubicBezTo>
                      <a:cubicBezTo>
                        <a:pt x="46479" y="77278"/>
                        <a:pt x="46722" y="75379"/>
                        <a:pt x="59532" y="78581"/>
                      </a:cubicBezTo>
                      <a:cubicBezTo>
                        <a:pt x="61967" y="79190"/>
                        <a:pt x="64294" y="80168"/>
                        <a:pt x="66675" y="80962"/>
                      </a:cubicBezTo>
                      <a:cubicBezTo>
                        <a:pt x="67938" y="77175"/>
                        <a:pt x="71105" y="66555"/>
                        <a:pt x="73819" y="64293"/>
                      </a:cubicBezTo>
                      <a:cubicBezTo>
                        <a:pt x="76333" y="62198"/>
                        <a:pt x="80135" y="62554"/>
                        <a:pt x="83344" y="61912"/>
                      </a:cubicBezTo>
                      <a:cubicBezTo>
                        <a:pt x="88079" y="60965"/>
                        <a:pt x="92869" y="60325"/>
                        <a:pt x="97632" y="59531"/>
                      </a:cubicBezTo>
                      <a:cubicBezTo>
                        <a:pt x="100013" y="58737"/>
                        <a:pt x="103207" y="59110"/>
                        <a:pt x="104775" y="57150"/>
                      </a:cubicBezTo>
                      <a:cubicBezTo>
                        <a:pt x="106820" y="54594"/>
                        <a:pt x="105868" y="50633"/>
                        <a:pt x="107157" y="47625"/>
                      </a:cubicBezTo>
                      <a:cubicBezTo>
                        <a:pt x="108284" y="44995"/>
                        <a:pt x="109895" y="42505"/>
                        <a:pt x="111919" y="40481"/>
                      </a:cubicBezTo>
                      <a:cubicBezTo>
                        <a:pt x="113943" y="38457"/>
                        <a:pt x="116864" y="37550"/>
                        <a:pt x="119063" y="35718"/>
                      </a:cubicBezTo>
                      <a:cubicBezTo>
                        <a:pt x="121650" y="33562"/>
                        <a:pt x="123620" y="30731"/>
                        <a:pt x="126207" y="28575"/>
                      </a:cubicBezTo>
                      <a:cubicBezTo>
                        <a:pt x="132364" y="23444"/>
                        <a:pt x="133332" y="23818"/>
                        <a:pt x="140494" y="21431"/>
                      </a:cubicBezTo>
                      <a:cubicBezTo>
                        <a:pt x="141288" y="19050"/>
                        <a:pt x="142185" y="16701"/>
                        <a:pt x="142875" y="14287"/>
                      </a:cubicBezTo>
                      <a:cubicBezTo>
                        <a:pt x="143774" y="11140"/>
                        <a:pt x="143442" y="7485"/>
                        <a:pt x="145257" y="4762"/>
                      </a:cubicBezTo>
                      <a:cubicBezTo>
                        <a:pt x="146844" y="2381"/>
                        <a:pt x="150019" y="1587"/>
                        <a:pt x="152400" y="0"/>
                      </a:cubicBezTo>
                      <a:cubicBezTo>
                        <a:pt x="182176" y="7443"/>
                        <a:pt x="145156" y="-2070"/>
                        <a:pt x="169069" y="4762"/>
                      </a:cubicBezTo>
                      <a:cubicBezTo>
                        <a:pt x="172216" y="5661"/>
                        <a:pt x="175419" y="6349"/>
                        <a:pt x="178594" y="7143"/>
                      </a:cubicBezTo>
                      <a:cubicBezTo>
                        <a:pt x="184637" y="25271"/>
                        <a:pt x="178434" y="20447"/>
                        <a:pt x="195263" y="23812"/>
                      </a:cubicBezTo>
                      <a:cubicBezTo>
                        <a:pt x="196057" y="26987"/>
                        <a:pt x="197644" y="30064"/>
                        <a:pt x="197644" y="33337"/>
                      </a:cubicBezTo>
                      <a:cubicBezTo>
                        <a:pt x="197644" y="52388"/>
                        <a:pt x="191295" y="28574"/>
                        <a:pt x="197644" y="47625"/>
                      </a:cubicBezTo>
                      <a:cubicBezTo>
                        <a:pt x="196850" y="52387"/>
                        <a:pt x="197658" y="57720"/>
                        <a:pt x="195263" y="61912"/>
                      </a:cubicBezTo>
                      <a:cubicBezTo>
                        <a:pt x="194018" y="64091"/>
                        <a:pt x="186344" y="62518"/>
                        <a:pt x="188119" y="64293"/>
                      </a:cubicBezTo>
                      <a:cubicBezTo>
                        <a:pt x="191669" y="67843"/>
                        <a:pt x="197644" y="67468"/>
                        <a:pt x="202407" y="69056"/>
                      </a:cubicBezTo>
                      <a:lnTo>
                        <a:pt x="209550" y="71437"/>
                      </a:lnTo>
                      <a:cubicBezTo>
                        <a:pt x="210344" y="73818"/>
                        <a:pt x="211440" y="76120"/>
                        <a:pt x="211932" y="78581"/>
                      </a:cubicBezTo>
                      <a:cubicBezTo>
                        <a:pt x="213394" y="85893"/>
                        <a:pt x="213108" y="95221"/>
                        <a:pt x="216694" y="102393"/>
                      </a:cubicBezTo>
                      <a:cubicBezTo>
                        <a:pt x="217974" y="104953"/>
                        <a:pt x="219869" y="107156"/>
                        <a:pt x="221457" y="109537"/>
                      </a:cubicBezTo>
                      <a:cubicBezTo>
                        <a:pt x="227254" y="126930"/>
                        <a:pt x="221349" y="122608"/>
                        <a:pt x="235744" y="126206"/>
                      </a:cubicBezTo>
                      <a:cubicBezTo>
                        <a:pt x="234665" y="130524"/>
                        <a:pt x="230534" y="148084"/>
                        <a:pt x="228600" y="150018"/>
                      </a:cubicBezTo>
                      <a:cubicBezTo>
                        <a:pt x="222436" y="156183"/>
                        <a:pt x="214782" y="162904"/>
                        <a:pt x="211932" y="171450"/>
                      </a:cubicBezTo>
                      <a:lnTo>
                        <a:pt x="209550" y="178593"/>
                      </a:lnTo>
                      <a:cubicBezTo>
                        <a:pt x="209117" y="181627"/>
                        <a:pt x="203017" y="206578"/>
                        <a:pt x="211932" y="209550"/>
                      </a:cubicBezTo>
                      <a:lnTo>
                        <a:pt x="219075" y="211931"/>
                      </a:lnTo>
                      <a:cubicBezTo>
                        <a:pt x="219869" y="214312"/>
                        <a:pt x="221870" y="216599"/>
                        <a:pt x="221457" y="219075"/>
                      </a:cubicBezTo>
                      <a:cubicBezTo>
                        <a:pt x="220987" y="221898"/>
                        <a:pt x="217856" y="223603"/>
                        <a:pt x="216694" y="226218"/>
                      </a:cubicBezTo>
                      <a:cubicBezTo>
                        <a:pt x="214655" y="230806"/>
                        <a:pt x="213520" y="235743"/>
                        <a:pt x="211932" y="240506"/>
                      </a:cubicBezTo>
                      <a:lnTo>
                        <a:pt x="209550" y="247650"/>
                      </a:lnTo>
                      <a:cubicBezTo>
                        <a:pt x="210173" y="261976"/>
                        <a:pt x="214765" y="302990"/>
                        <a:pt x="209550" y="323850"/>
                      </a:cubicBezTo>
                      <a:cubicBezTo>
                        <a:pt x="208856" y="326626"/>
                        <a:pt x="206375" y="328612"/>
                        <a:pt x="204788" y="330993"/>
                      </a:cubicBezTo>
                      <a:cubicBezTo>
                        <a:pt x="205582" y="333374"/>
                        <a:pt x="205394" y="336362"/>
                        <a:pt x="207169" y="338137"/>
                      </a:cubicBezTo>
                      <a:cubicBezTo>
                        <a:pt x="208944" y="339912"/>
                        <a:pt x="213704" y="338083"/>
                        <a:pt x="214313" y="340518"/>
                      </a:cubicBezTo>
                      <a:cubicBezTo>
                        <a:pt x="214976" y="343169"/>
                        <a:pt x="202992" y="354221"/>
                        <a:pt x="202407" y="354806"/>
                      </a:cubicBezTo>
                      <a:cubicBezTo>
                        <a:pt x="201613" y="363537"/>
                        <a:pt x="206760" y="375387"/>
                        <a:pt x="200025" y="381000"/>
                      </a:cubicBezTo>
                      <a:cubicBezTo>
                        <a:pt x="193290" y="386612"/>
                        <a:pt x="182404" y="380455"/>
                        <a:pt x="173832" y="378618"/>
                      </a:cubicBezTo>
                      <a:cubicBezTo>
                        <a:pt x="171034" y="378018"/>
                        <a:pt x="169303" y="375018"/>
                        <a:pt x="166688" y="373856"/>
                      </a:cubicBezTo>
                      <a:cubicBezTo>
                        <a:pt x="152250" y="367439"/>
                        <a:pt x="153092" y="370040"/>
                        <a:pt x="138113" y="366712"/>
                      </a:cubicBezTo>
                      <a:cubicBezTo>
                        <a:pt x="135663" y="366168"/>
                        <a:pt x="133350" y="365125"/>
                        <a:pt x="130969" y="364331"/>
                      </a:cubicBezTo>
                      <a:cubicBezTo>
                        <a:pt x="125982" y="365993"/>
                        <a:pt x="117574" y="366563"/>
                        <a:pt x="121444" y="376237"/>
                      </a:cubicBezTo>
                      <a:cubicBezTo>
                        <a:pt x="122376" y="378568"/>
                        <a:pt x="126207" y="377824"/>
                        <a:pt x="128588" y="378618"/>
                      </a:cubicBezTo>
                      <a:cubicBezTo>
                        <a:pt x="127635" y="382432"/>
                        <a:pt x="123184" y="401271"/>
                        <a:pt x="121444" y="402431"/>
                      </a:cubicBezTo>
                      <a:cubicBezTo>
                        <a:pt x="119063" y="404018"/>
                        <a:pt x="116499" y="405361"/>
                        <a:pt x="114300" y="407193"/>
                      </a:cubicBezTo>
                      <a:cubicBezTo>
                        <a:pt x="95958" y="422478"/>
                        <a:pt x="117757" y="407270"/>
                        <a:pt x="100013" y="419100"/>
                      </a:cubicBezTo>
                      <a:cubicBezTo>
                        <a:pt x="94457" y="418306"/>
                        <a:pt x="88720" y="418331"/>
                        <a:pt x="83344" y="416718"/>
                      </a:cubicBezTo>
                      <a:cubicBezTo>
                        <a:pt x="80603" y="415896"/>
                        <a:pt x="79062" y="411956"/>
                        <a:pt x="76200" y="411956"/>
                      </a:cubicBezTo>
                      <a:cubicBezTo>
                        <a:pt x="71180" y="411956"/>
                        <a:pt x="61913" y="416718"/>
                        <a:pt x="61913" y="416718"/>
                      </a:cubicBezTo>
                      <a:cubicBezTo>
                        <a:pt x="61119" y="413543"/>
                        <a:pt x="60472" y="410328"/>
                        <a:pt x="59532" y="407193"/>
                      </a:cubicBezTo>
                      <a:cubicBezTo>
                        <a:pt x="53905" y="388436"/>
                        <a:pt x="59083" y="393625"/>
                        <a:pt x="40482" y="390525"/>
                      </a:cubicBezTo>
                      <a:cubicBezTo>
                        <a:pt x="32492" y="378540"/>
                        <a:pt x="25589" y="375066"/>
                        <a:pt x="33338" y="359568"/>
                      </a:cubicBezTo>
                      <a:cubicBezTo>
                        <a:pt x="34461" y="357323"/>
                        <a:pt x="38101" y="357981"/>
                        <a:pt x="40482" y="357187"/>
                      </a:cubicBezTo>
                      <a:cubicBezTo>
                        <a:pt x="39688" y="354806"/>
                        <a:pt x="39492" y="352132"/>
                        <a:pt x="38100" y="350043"/>
                      </a:cubicBezTo>
                      <a:cubicBezTo>
                        <a:pt x="36232" y="347241"/>
                        <a:pt x="31559" y="346213"/>
                        <a:pt x="30957" y="342900"/>
                      </a:cubicBezTo>
                      <a:cubicBezTo>
                        <a:pt x="29812" y="336604"/>
                        <a:pt x="32193" y="330146"/>
                        <a:pt x="33338" y="323850"/>
                      </a:cubicBezTo>
                      <a:cubicBezTo>
                        <a:pt x="33787" y="321380"/>
                        <a:pt x="35029" y="319120"/>
                        <a:pt x="35719" y="316706"/>
                      </a:cubicBezTo>
                      <a:cubicBezTo>
                        <a:pt x="36618" y="313559"/>
                        <a:pt x="37160" y="310316"/>
                        <a:pt x="38100" y="307181"/>
                      </a:cubicBezTo>
                      <a:cubicBezTo>
                        <a:pt x="39543" y="302372"/>
                        <a:pt x="41646" y="297763"/>
                        <a:pt x="42863" y="292893"/>
                      </a:cubicBezTo>
                      <a:cubicBezTo>
                        <a:pt x="43657" y="289718"/>
                        <a:pt x="42581" y="285270"/>
                        <a:pt x="45244" y="283368"/>
                      </a:cubicBezTo>
                      <a:cubicBezTo>
                        <a:pt x="49173" y="280562"/>
                        <a:pt x="54769" y="281781"/>
                        <a:pt x="59532" y="280987"/>
                      </a:cubicBezTo>
                      <a:cubicBezTo>
                        <a:pt x="64130" y="267191"/>
                        <a:pt x="63132" y="273431"/>
                        <a:pt x="59532" y="250031"/>
                      </a:cubicBezTo>
                      <a:cubicBezTo>
                        <a:pt x="59150" y="247550"/>
                        <a:pt x="59110" y="244455"/>
                        <a:pt x="57150" y="242887"/>
                      </a:cubicBezTo>
                      <a:cubicBezTo>
                        <a:pt x="54594" y="240843"/>
                        <a:pt x="50800" y="241300"/>
                        <a:pt x="47625" y="240506"/>
                      </a:cubicBezTo>
                      <a:cubicBezTo>
                        <a:pt x="43656" y="241300"/>
                        <a:pt x="39610" y="243999"/>
                        <a:pt x="35719" y="242887"/>
                      </a:cubicBezTo>
                      <a:cubicBezTo>
                        <a:pt x="32967" y="242101"/>
                        <a:pt x="31362" y="238576"/>
                        <a:pt x="30957" y="235743"/>
                      </a:cubicBezTo>
                      <a:cubicBezTo>
                        <a:pt x="30552" y="232907"/>
                        <a:pt x="34906" y="222326"/>
                        <a:pt x="35719" y="219075"/>
                      </a:cubicBezTo>
                      <a:cubicBezTo>
                        <a:pt x="36701" y="215148"/>
                        <a:pt x="35855" y="210536"/>
                        <a:pt x="38100" y="207168"/>
                      </a:cubicBezTo>
                      <a:cubicBezTo>
                        <a:pt x="39492" y="205079"/>
                        <a:pt x="42999" y="205909"/>
                        <a:pt x="45244" y="204787"/>
                      </a:cubicBezTo>
                      <a:cubicBezTo>
                        <a:pt x="47804" y="203507"/>
                        <a:pt x="50007" y="201612"/>
                        <a:pt x="52388" y="200025"/>
                      </a:cubicBezTo>
                      <a:cubicBezTo>
                        <a:pt x="48516" y="165175"/>
                        <a:pt x="52705" y="189226"/>
                        <a:pt x="47625" y="171450"/>
                      </a:cubicBezTo>
                      <a:cubicBezTo>
                        <a:pt x="46726" y="168303"/>
                        <a:pt x="47059" y="164648"/>
                        <a:pt x="45244" y="161925"/>
                      </a:cubicBezTo>
                      <a:cubicBezTo>
                        <a:pt x="43656" y="159544"/>
                        <a:pt x="40481" y="158750"/>
                        <a:pt x="38100" y="157162"/>
                      </a:cubicBezTo>
                      <a:cubicBezTo>
                        <a:pt x="37306" y="153987"/>
                        <a:pt x="35719" y="150910"/>
                        <a:pt x="35719" y="147637"/>
                      </a:cubicBezTo>
                      <a:cubicBezTo>
                        <a:pt x="35719" y="139662"/>
                        <a:pt x="44654" y="131369"/>
                        <a:pt x="33338" y="123825"/>
                      </a:cubicBezTo>
                      <a:lnTo>
                        <a:pt x="19050" y="114300"/>
                      </a:lnTo>
                      <a:cubicBezTo>
                        <a:pt x="2048" y="119967"/>
                        <a:pt x="7548" y="123239"/>
                        <a:pt x="0" y="111918"/>
                      </a:cubicBezTo>
                      <a:cubicBezTo>
                        <a:pt x="1588" y="107156"/>
                        <a:pt x="6351" y="102393"/>
                        <a:pt x="4763" y="97631"/>
                      </a:cubicBezTo>
                      <a:lnTo>
                        <a:pt x="0" y="83343"/>
                      </a:lnTo>
                      <a:cubicBezTo>
                        <a:pt x="794" y="76199"/>
                        <a:pt x="1200" y="69002"/>
                        <a:pt x="2382" y="61912"/>
                      </a:cubicBezTo>
                      <a:cubicBezTo>
                        <a:pt x="2795" y="59436"/>
                        <a:pt x="2720" y="56227"/>
                        <a:pt x="4763" y="54768"/>
                      </a:cubicBezTo>
                      <a:cubicBezTo>
                        <a:pt x="8848" y="51850"/>
                        <a:pt x="19050" y="50006"/>
                        <a:pt x="19050" y="50006"/>
                      </a:cubicBezTo>
                      <a:cubicBezTo>
                        <a:pt x="19844" y="53181"/>
                        <a:pt x="20722" y="56336"/>
                        <a:pt x="21432" y="59531"/>
                      </a:cubicBezTo>
                      <a:cubicBezTo>
                        <a:pt x="24123" y="71641"/>
                        <a:pt x="20623" y="71032"/>
                        <a:pt x="30957" y="76200"/>
                      </a:cubicBezTo>
                      <a:cubicBezTo>
                        <a:pt x="31667" y="76555"/>
                        <a:pt x="13891" y="55562"/>
                        <a:pt x="14288" y="54768"/>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grpSp>
            <p:nvGrpSpPr>
              <p:cNvPr id="791" name="Group 790">
                <a:extLst>
                  <a:ext uri="{FF2B5EF4-FFF2-40B4-BE49-F238E27FC236}">
                    <a16:creationId xmlns:a16="http://schemas.microsoft.com/office/drawing/2014/main" id="{631F69F2-9426-43F3-A66B-0F3C2AE1EEEE}"/>
                  </a:ext>
                </a:extLst>
              </p:cNvPr>
              <p:cNvGrpSpPr/>
              <p:nvPr/>
            </p:nvGrpSpPr>
            <p:grpSpPr>
              <a:xfrm>
                <a:off x="3845307" y="5074444"/>
                <a:ext cx="1614899" cy="1619250"/>
                <a:chOff x="3845307" y="5074444"/>
                <a:chExt cx="1614899" cy="1619250"/>
              </a:xfrm>
              <a:grpFill/>
            </p:grpSpPr>
            <p:grpSp>
              <p:nvGrpSpPr>
                <p:cNvPr id="792" name="Group 791">
                  <a:extLst>
                    <a:ext uri="{FF2B5EF4-FFF2-40B4-BE49-F238E27FC236}">
                      <a16:creationId xmlns:a16="http://schemas.microsoft.com/office/drawing/2014/main" id="{39341C9D-30B8-49DB-85E7-639C2223C6CC}"/>
                    </a:ext>
                  </a:extLst>
                </p:cNvPr>
                <p:cNvGrpSpPr/>
                <p:nvPr/>
              </p:nvGrpSpPr>
              <p:grpSpPr>
                <a:xfrm>
                  <a:off x="3845307" y="5074444"/>
                  <a:ext cx="1614899" cy="1619250"/>
                  <a:chOff x="3845307" y="5074444"/>
                  <a:chExt cx="1614899" cy="1619250"/>
                </a:xfrm>
                <a:grpFill/>
              </p:grpSpPr>
              <p:sp>
                <p:nvSpPr>
                  <p:cNvPr id="796" name="Freeform: Shape 795">
                    <a:extLst>
                      <a:ext uri="{FF2B5EF4-FFF2-40B4-BE49-F238E27FC236}">
                        <a16:creationId xmlns:a16="http://schemas.microsoft.com/office/drawing/2014/main" id="{082C2663-DD4A-4B43-B27B-1DC2C952CE85}"/>
                      </a:ext>
                    </a:extLst>
                  </p:cNvPr>
                  <p:cNvSpPr/>
                  <p:nvPr/>
                </p:nvSpPr>
                <p:spPr>
                  <a:xfrm>
                    <a:off x="3845307" y="5074444"/>
                    <a:ext cx="1614899" cy="1619250"/>
                  </a:xfrm>
                  <a:custGeom>
                    <a:avLst/>
                    <a:gdLst>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05262 w 1614899"/>
                      <a:gd name="connsiteY86" fmla="*/ 316706 h 1619250"/>
                      <a:gd name="connsiteX87" fmla="*/ 719549 w 1614899"/>
                      <a:gd name="connsiteY87" fmla="*/ 328612 h 1619250"/>
                      <a:gd name="connsiteX88" fmla="*/ 714787 w 1614899"/>
                      <a:gd name="connsiteY88" fmla="*/ 335756 h 1619250"/>
                      <a:gd name="connsiteX89" fmla="*/ 717168 w 1614899"/>
                      <a:gd name="connsiteY89" fmla="*/ 342900 h 1619250"/>
                      <a:gd name="connsiteX90" fmla="*/ 721931 w 1614899"/>
                      <a:gd name="connsiteY90" fmla="*/ 347662 h 1619250"/>
                      <a:gd name="connsiteX91" fmla="*/ 733837 w 1614899"/>
                      <a:gd name="connsiteY91" fmla="*/ 357187 h 1619250"/>
                      <a:gd name="connsiteX92" fmla="*/ 740981 w 1614899"/>
                      <a:gd name="connsiteY92" fmla="*/ 354806 h 1619250"/>
                      <a:gd name="connsiteX93" fmla="*/ 755268 w 1614899"/>
                      <a:gd name="connsiteY93" fmla="*/ 350044 h 1619250"/>
                      <a:gd name="connsiteX94" fmla="*/ 752887 w 1614899"/>
                      <a:gd name="connsiteY94" fmla="*/ 359569 h 1619250"/>
                      <a:gd name="connsiteX95" fmla="*/ 755268 w 1614899"/>
                      <a:gd name="connsiteY95" fmla="*/ 371475 h 1619250"/>
                      <a:gd name="connsiteX96" fmla="*/ 762412 w 1614899"/>
                      <a:gd name="connsiteY96" fmla="*/ 373856 h 1619250"/>
                      <a:gd name="connsiteX97" fmla="*/ 745743 w 1614899"/>
                      <a:gd name="connsiteY97" fmla="*/ 390525 h 1619250"/>
                      <a:gd name="connsiteX98" fmla="*/ 750506 w 1614899"/>
                      <a:gd name="connsiteY98" fmla="*/ 397669 h 1619250"/>
                      <a:gd name="connsiteX99" fmla="*/ 745743 w 1614899"/>
                      <a:gd name="connsiteY99" fmla="*/ 411956 h 1619250"/>
                      <a:gd name="connsiteX100" fmla="*/ 731456 w 1614899"/>
                      <a:gd name="connsiteY100" fmla="*/ 404812 h 1619250"/>
                      <a:gd name="connsiteX101" fmla="*/ 724312 w 1614899"/>
                      <a:gd name="connsiteY101" fmla="*/ 409575 h 1619250"/>
                      <a:gd name="connsiteX102" fmla="*/ 721931 w 1614899"/>
                      <a:gd name="connsiteY102" fmla="*/ 416719 h 1619250"/>
                      <a:gd name="connsiteX103" fmla="*/ 736218 w 1614899"/>
                      <a:gd name="connsiteY103" fmla="*/ 426244 h 1619250"/>
                      <a:gd name="connsiteX104" fmla="*/ 731456 w 1614899"/>
                      <a:gd name="connsiteY104" fmla="*/ 442912 h 1619250"/>
                      <a:gd name="connsiteX105" fmla="*/ 729074 w 1614899"/>
                      <a:gd name="connsiteY105" fmla="*/ 450056 h 1619250"/>
                      <a:gd name="connsiteX106" fmla="*/ 731456 w 1614899"/>
                      <a:gd name="connsiteY106" fmla="*/ 481012 h 1619250"/>
                      <a:gd name="connsiteX107" fmla="*/ 736218 w 1614899"/>
                      <a:gd name="connsiteY107" fmla="*/ 488156 h 1619250"/>
                      <a:gd name="connsiteX108" fmla="*/ 743362 w 1614899"/>
                      <a:gd name="connsiteY108" fmla="*/ 509587 h 1619250"/>
                      <a:gd name="connsiteX109" fmla="*/ 745743 w 1614899"/>
                      <a:gd name="connsiteY109" fmla="*/ 516731 h 1619250"/>
                      <a:gd name="connsiteX110" fmla="*/ 760031 w 1614899"/>
                      <a:gd name="connsiteY110" fmla="*/ 526256 h 1619250"/>
                      <a:gd name="connsiteX111" fmla="*/ 764793 w 1614899"/>
                      <a:gd name="connsiteY111" fmla="*/ 533400 h 1619250"/>
                      <a:gd name="connsiteX112" fmla="*/ 769556 w 1614899"/>
                      <a:gd name="connsiteY112" fmla="*/ 547687 h 1619250"/>
                      <a:gd name="connsiteX113" fmla="*/ 748124 w 1614899"/>
                      <a:gd name="connsiteY113" fmla="*/ 552450 h 1619250"/>
                      <a:gd name="connsiteX114" fmla="*/ 740981 w 1614899"/>
                      <a:gd name="connsiteY114" fmla="*/ 554831 h 1619250"/>
                      <a:gd name="connsiteX115" fmla="*/ 729074 w 1614899"/>
                      <a:gd name="connsiteY115" fmla="*/ 557212 h 1619250"/>
                      <a:gd name="connsiteX116" fmla="*/ 736218 w 1614899"/>
                      <a:gd name="connsiteY116" fmla="*/ 559594 h 1619250"/>
                      <a:gd name="connsiteX117" fmla="*/ 743362 w 1614899"/>
                      <a:gd name="connsiteY117" fmla="*/ 564356 h 1619250"/>
                      <a:gd name="connsiteX118" fmla="*/ 757649 w 1614899"/>
                      <a:gd name="connsiteY118" fmla="*/ 561975 h 1619250"/>
                      <a:gd name="connsiteX119" fmla="*/ 757649 w 1614899"/>
                      <a:gd name="connsiteY119" fmla="*/ 550069 h 1619250"/>
                      <a:gd name="connsiteX120" fmla="*/ 762412 w 1614899"/>
                      <a:gd name="connsiteY120" fmla="*/ 540544 h 1619250"/>
                      <a:gd name="connsiteX121" fmla="*/ 769556 w 1614899"/>
                      <a:gd name="connsiteY121" fmla="*/ 542925 h 1619250"/>
                      <a:gd name="connsiteX122" fmla="*/ 776699 w 1614899"/>
                      <a:gd name="connsiteY122" fmla="*/ 550069 h 1619250"/>
                      <a:gd name="connsiteX123" fmla="*/ 793368 w 1614899"/>
                      <a:gd name="connsiteY123" fmla="*/ 552450 h 1619250"/>
                      <a:gd name="connsiteX124" fmla="*/ 807656 w 1614899"/>
                      <a:gd name="connsiteY124" fmla="*/ 557212 h 1619250"/>
                      <a:gd name="connsiteX125" fmla="*/ 814799 w 1614899"/>
                      <a:gd name="connsiteY125" fmla="*/ 559594 h 1619250"/>
                      <a:gd name="connsiteX126" fmla="*/ 821943 w 1614899"/>
                      <a:gd name="connsiteY126" fmla="*/ 566737 h 1619250"/>
                      <a:gd name="connsiteX127" fmla="*/ 829087 w 1614899"/>
                      <a:gd name="connsiteY127" fmla="*/ 569119 h 1619250"/>
                      <a:gd name="connsiteX128" fmla="*/ 836231 w 1614899"/>
                      <a:gd name="connsiteY128" fmla="*/ 573881 h 1619250"/>
                      <a:gd name="connsiteX129" fmla="*/ 843374 w 1614899"/>
                      <a:gd name="connsiteY129" fmla="*/ 588169 h 1619250"/>
                      <a:gd name="connsiteX130" fmla="*/ 852899 w 1614899"/>
                      <a:gd name="connsiteY130" fmla="*/ 597694 h 1619250"/>
                      <a:gd name="connsiteX131" fmla="*/ 902906 w 1614899"/>
                      <a:gd name="connsiteY131" fmla="*/ 604837 h 1619250"/>
                      <a:gd name="connsiteX132" fmla="*/ 914812 w 1614899"/>
                      <a:gd name="connsiteY132" fmla="*/ 626269 h 1619250"/>
                      <a:gd name="connsiteX133" fmla="*/ 919574 w 1614899"/>
                      <a:gd name="connsiteY133" fmla="*/ 633412 h 1619250"/>
                      <a:gd name="connsiteX134" fmla="*/ 919574 w 1614899"/>
                      <a:gd name="connsiteY134" fmla="*/ 671512 h 1619250"/>
                      <a:gd name="connsiteX135" fmla="*/ 926718 w 1614899"/>
                      <a:gd name="connsiteY135" fmla="*/ 676275 h 1619250"/>
                      <a:gd name="connsiteX136" fmla="*/ 933862 w 1614899"/>
                      <a:gd name="connsiteY136" fmla="*/ 690562 h 1619250"/>
                      <a:gd name="connsiteX137" fmla="*/ 936243 w 1614899"/>
                      <a:gd name="connsiteY137" fmla="*/ 702469 h 1619250"/>
                      <a:gd name="connsiteX138" fmla="*/ 943387 w 1614899"/>
                      <a:gd name="connsiteY138" fmla="*/ 709612 h 1619250"/>
                      <a:gd name="connsiteX139" fmla="*/ 945768 w 1614899"/>
                      <a:gd name="connsiteY139" fmla="*/ 723900 h 1619250"/>
                      <a:gd name="connsiteX140" fmla="*/ 955293 w 1614899"/>
                      <a:gd name="connsiteY140" fmla="*/ 738187 h 1619250"/>
                      <a:gd name="connsiteX141" fmla="*/ 964818 w 1614899"/>
                      <a:gd name="connsiteY141" fmla="*/ 752475 h 1619250"/>
                      <a:gd name="connsiteX142" fmla="*/ 967199 w 1614899"/>
                      <a:gd name="connsiteY142" fmla="*/ 759619 h 1619250"/>
                      <a:gd name="connsiteX143" fmla="*/ 974343 w 1614899"/>
                      <a:gd name="connsiteY143" fmla="*/ 769144 h 1619250"/>
                      <a:gd name="connsiteX144" fmla="*/ 979106 w 1614899"/>
                      <a:gd name="connsiteY144" fmla="*/ 783431 h 1619250"/>
                      <a:gd name="connsiteX145" fmla="*/ 981487 w 1614899"/>
                      <a:gd name="connsiteY145" fmla="*/ 790575 h 1619250"/>
                      <a:gd name="connsiteX146" fmla="*/ 991012 w 1614899"/>
                      <a:gd name="connsiteY146" fmla="*/ 804862 h 1619250"/>
                      <a:gd name="connsiteX147" fmla="*/ 998156 w 1614899"/>
                      <a:gd name="connsiteY147" fmla="*/ 819150 h 1619250"/>
                      <a:gd name="connsiteX148" fmla="*/ 1000537 w 1614899"/>
                      <a:gd name="connsiteY148" fmla="*/ 826294 h 1619250"/>
                      <a:gd name="connsiteX149" fmla="*/ 1007681 w 1614899"/>
                      <a:gd name="connsiteY149" fmla="*/ 828675 h 1619250"/>
                      <a:gd name="connsiteX150" fmla="*/ 1014824 w 1614899"/>
                      <a:gd name="connsiteY150" fmla="*/ 833437 h 1619250"/>
                      <a:gd name="connsiteX151" fmla="*/ 1029112 w 1614899"/>
                      <a:gd name="connsiteY151" fmla="*/ 838200 h 1619250"/>
                      <a:gd name="connsiteX152" fmla="*/ 1033874 w 1614899"/>
                      <a:gd name="connsiteY152" fmla="*/ 845344 h 1619250"/>
                      <a:gd name="connsiteX153" fmla="*/ 1048162 w 1614899"/>
                      <a:gd name="connsiteY153" fmla="*/ 857250 h 1619250"/>
                      <a:gd name="connsiteX154" fmla="*/ 1062449 w 1614899"/>
                      <a:gd name="connsiteY154" fmla="*/ 862012 h 1619250"/>
                      <a:gd name="connsiteX155" fmla="*/ 1079118 w 1614899"/>
                      <a:gd name="connsiteY155" fmla="*/ 883444 h 1619250"/>
                      <a:gd name="connsiteX156" fmla="*/ 1081499 w 1614899"/>
                      <a:gd name="connsiteY156" fmla="*/ 890587 h 1619250"/>
                      <a:gd name="connsiteX157" fmla="*/ 1095787 w 1614899"/>
                      <a:gd name="connsiteY157" fmla="*/ 883444 h 1619250"/>
                      <a:gd name="connsiteX158" fmla="*/ 1110074 w 1614899"/>
                      <a:gd name="connsiteY158" fmla="*/ 890587 h 1619250"/>
                      <a:gd name="connsiteX159" fmla="*/ 1121981 w 1614899"/>
                      <a:gd name="connsiteY159" fmla="*/ 902494 h 1619250"/>
                      <a:gd name="connsiteX160" fmla="*/ 1136268 w 1614899"/>
                      <a:gd name="connsiteY160" fmla="*/ 907256 h 1619250"/>
                      <a:gd name="connsiteX161" fmla="*/ 1176749 w 1614899"/>
                      <a:gd name="connsiteY161" fmla="*/ 904875 h 1619250"/>
                      <a:gd name="connsiteX162" fmla="*/ 1195799 w 1614899"/>
                      <a:gd name="connsiteY162" fmla="*/ 904875 h 1619250"/>
                      <a:gd name="connsiteX163" fmla="*/ 1207706 w 1614899"/>
                      <a:gd name="connsiteY163" fmla="*/ 912019 h 1619250"/>
                      <a:gd name="connsiteX164" fmla="*/ 1210087 w 1614899"/>
                      <a:gd name="connsiteY164" fmla="*/ 902494 h 1619250"/>
                      <a:gd name="connsiteX165" fmla="*/ 1219612 w 1614899"/>
                      <a:gd name="connsiteY165" fmla="*/ 900112 h 1619250"/>
                      <a:gd name="connsiteX166" fmla="*/ 1226756 w 1614899"/>
                      <a:gd name="connsiteY166" fmla="*/ 895350 h 1619250"/>
                      <a:gd name="connsiteX167" fmla="*/ 1241043 w 1614899"/>
                      <a:gd name="connsiteY167" fmla="*/ 890587 h 1619250"/>
                      <a:gd name="connsiteX168" fmla="*/ 1255331 w 1614899"/>
                      <a:gd name="connsiteY168" fmla="*/ 892969 h 1619250"/>
                      <a:gd name="connsiteX169" fmla="*/ 1260093 w 1614899"/>
                      <a:gd name="connsiteY169" fmla="*/ 900112 h 1619250"/>
                      <a:gd name="connsiteX170" fmla="*/ 1267237 w 1614899"/>
                      <a:gd name="connsiteY170" fmla="*/ 904875 h 1619250"/>
                      <a:gd name="connsiteX171" fmla="*/ 1271999 w 1614899"/>
                      <a:gd name="connsiteY171" fmla="*/ 919162 h 1619250"/>
                      <a:gd name="connsiteX172" fmla="*/ 1269618 w 1614899"/>
                      <a:gd name="connsiteY172" fmla="*/ 928687 h 1619250"/>
                      <a:gd name="connsiteX173" fmla="*/ 1262474 w 1614899"/>
                      <a:gd name="connsiteY173" fmla="*/ 933450 h 1619250"/>
                      <a:gd name="connsiteX174" fmla="*/ 1255331 w 1614899"/>
                      <a:gd name="connsiteY174" fmla="*/ 940594 h 1619250"/>
                      <a:gd name="connsiteX175" fmla="*/ 1248187 w 1614899"/>
                      <a:gd name="connsiteY175" fmla="*/ 942975 h 1619250"/>
                      <a:gd name="connsiteX176" fmla="*/ 1241043 w 1614899"/>
                      <a:gd name="connsiteY176" fmla="*/ 947737 h 1619250"/>
                      <a:gd name="connsiteX177" fmla="*/ 1226756 w 1614899"/>
                      <a:gd name="connsiteY177" fmla="*/ 954881 h 1619250"/>
                      <a:gd name="connsiteX178" fmla="*/ 1236281 w 1614899"/>
                      <a:gd name="connsiteY178" fmla="*/ 969169 h 1619250"/>
                      <a:gd name="connsiteX179" fmla="*/ 1241043 w 1614899"/>
                      <a:gd name="connsiteY179" fmla="*/ 983456 h 1619250"/>
                      <a:gd name="connsiteX180" fmla="*/ 1250568 w 1614899"/>
                      <a:gd name="connsiteY180" fmla="*/ 997744 h 1619250"/>
                      <a:gd name="connsiteX181" fmla="*/ 1255331 w 1614899"/>
                      <a:gd name="connsiteY181" fmla="*/ 1004887 h 1619250"/>
                      <a:gd name="connsiteX182" fmla="*/ 1262474 w 1614899"/>
                      <a:gd name="connsiteY182" fmla="*/ 997744 h 1619250"/>
                      <a:gd name="connsiteX183" fmla="*/ 1264856 w 1614899"/>
                      <a:gd name="connsiteY183" fmla="*/ 990600 h 1619250"/>
                      <a:gd name="connsiteX184" fmla="*/ 1283906 w 1614899"/>
                      <a:gd name="connsiteY184" fmla="*/ 995362 h 1619250"/>
                      <a:gd name="connsiteX185" fmla="*/ 1291049 w 1614899"/>
                      <a:gd name="connsiteY185" fmla="*/ 1000125 h 1619250"/>
                      <a:gd name="connsiteX186" fmla="*/ 1298193 w 1614899"/>
                      <a:gd name="connsiteY186" fmla="*/ 1002506 h 1619250"/>
                      <a:gd name="connsiteX187" fmla="*/ 1322006 w 1614899"/>
                      <a:gd name="connsiteY187" fmla="*/ 1007269 h 1619250"/>
                      <a:gd name="connsiteX188" fmla="*/ 1336293 w 1614899"/>
                      <a:gd name="connsiteY188" fmla="*/ 1012031 h 1619250"/>
                      <a:gd name="connsiteX189" fmla="*/ 1355343 w 1614899"/>
                      <a:gd name="connsiteY189" fmla="*/ 1016794 h 1619250"/>
                      <a:gd name="connsiteX190" fmla="*/ 1362487 w 1614899"/>
                      <a:gd name="connsiteY190" fmla="*/ 1023937 h 1619250"/>
                      <a:gd name="connsiteX191" fmla="*/ 1376774 w 1614899"/>
                      <a:gd name="connsiteY191" fmla="*/ 1028700 h 1619250"/>
                      <a:gd name="connsiteX192" fmla="*/ 1391062 w 1614899"/>
                      <a:gd name="connsiteY192" fmla="*/ 1033462 h 1619250"/>
                      <a:gd name="connsiteX193" fmla="*/ 1398206 w 1614899"/>
                      <a:gd name="connsiteY193" fmla="*/ 1035844 h 1619250"/>
                      <a:gd name="connsiteX194" fmla="*/ 1405349 w 1614899"/>
                      <a:gd name="connsiteY194" fmla="*/ 1038225 h 1619250"/>
                      <a:gd name="connsiteX195" fmla="*/ 1412493 w 1614899"/>
                      <a:gd name="connsiteY195" fmla="*/ 1042987 h 1619250"/>
                      <a:gd name="connsiteX196" fmla="*/ 1426781 w 1614899"/>
                      <a:gd name="connsiteY196" fmla="*/ 1050131 h 1619250"/>
                      <a:gd name="connsiteX197" fmla="*/ 1436306 w 1614899"/>
                      <a:gd name="connsiteY197" fmla="*/ 1062037 h 1619250"/>
                      <a:gd name="connsiteX198" fmla="*/ 1441068 w 1614899"/>
                      <a:gd name="connsiteY198" fmla="*/ 1069181 h 1619250"/>
                      <a:gd name="connsiteX199" fmla="*/ 1450593 w 1614899"/>
                      <a:gd name="connsiteY199" fmla="*/ 1071562 h 1619250"/>
                      <a:gd name="connsiteX200" fmla="*/ 1464881 w 1614899"/>
                      <a:gd name="connsiteY200" fmla="*/ 1076325 h 1619250"/>
                      <a:gd name="connsiteX201" fmla="*/ 1467262 w 1614899"/>
                      <a:gd name="connsiteY201" fmla="*/ 1083469 h 1619250"/>
                      <a:gd name="connsiteX202" fmla="*/ 1488693 w 1614899"/>
                      <a:gd name="connsiteY202" fmla="*/ 1092994 h 1619250"/>
                      <a:gd name="connsiteX203" fmla="*/ 1500599 w 1614899"/>
                      <a:gd name="connsiteY203" fmla="*/ 1095375 h 1619250"/>
                      <a:gd name="connsiteX204" fmla="*/ 1514887 w 1614899"/>
                      <a:gd name="connsiteY204" fmla="*/ 1097756 h 1619250"/>
                      <a:gd name="connsiteX205" fmla="*/ 1522031 w 1614899"/>
                      <a:gd name="connsiteY205" fmla="*/ 1100137 h 1619250"/>
                      <a:gd name="connsiteX206" fmla="*/ 1541081 w 1614899"/>
                      <a:gd name="connsiteY206" fmla="*/ 1104900 h 1619250"/>
                      <a:gd name="connsiteX207" fmla="*/ 1545843 w 1614899"/>
                      <a:gd name="connsiteY207" fmla="*/ 1112044 h 1619250"/>
                      <a:gd name="connsiteX208" fmla="*/ 1543462 w 1614899"/>
                      <a:gd name="connsiteY208" fmla="*/ 1119187 h 1619250"/>
                      <a:gd name="connsiteX209" fmla="*/ 1557749 w 1614899"/>
                      <a:gd name="connsiteY209" fmla="*/ 1128712 h 1619250"/>
                      <a:gd name="connsiteX210" fmla="*/ 1564893 w 1614899"/>
                      <a:gd name="connsiteY210" fmla="*/ 1133475 h 1619250"/>
                      <a:gd name="connsiteX211" fmla="*/ 1579181 w 1614899"/>
                      <a:gd name="connsiteY211" fmla="*/ 1147762 h 1619250"/>
                      <a:gd name="connsiteX212" fmla="*/ 1593468 w 1614899"/>
                      <a:gd name="connsiteY212" fmla="*/ 1152525 h 1619250"/>
                      <a:gd name="connsiteX213" fmla="*/ 1600612 w 1614899"/>
                      <a:gd name="connsiteY213" fmla="*/ 1154906 h 1619250"/>
                      <a:gd name="connsiteX214" fmla="*/ 1607756 w 1614899"/>
                      <a:gd name="connsiteY214" fmla="*/ 1162050 h 1619250"/>
                      <a:gd name="connsiteX215" fmla="*/ 1610137 w 1614899"/>
                      <a:gd name="connsiteY215" fmla="*/ 1169194 h 1619250"/>
                      <a:gd name="connsiteX216" fmla="*/ 1614899 w 1614899"/>
                      <a:gd name="connsiteY216" fmla="*/ 1176337 h 1619250"/>
                      <a:gd name="connsiteX217" fmla="*/ 1612518 w 1614899"/>
                      <a:gd name="connsiteY217" fmla="*/ 1195387 h 1619250"/>
                      <a:gd name="connsiteX218" fmla="*/ 1610137 w 1614899"/>
                      <a:gd name="connsiteY218" fmla="*/ 1202531 h 1619250"/>
                      <a:gd name="connsiteX219" fmla="*/ 1602993 w 1614899"/>
                      <a:gd name="connsiteY219" fmla="*/ 1204912 h 1619250"/>
                      <a:gd name="connsiteX220" fmla="*/ 1600612 w 1614899"/>
                      <a:gd name="connsiteY220" fmla="*/ 1212056 h 1619250"/>
                      <a:gd name="connsiteX221" fmla="*/ 1598231 w 1614899"/>
                      <a:gd name="connsiteY221" fmla="*/ 1247775 h 1619250"/>
                      <a:gd name="connsiteX222" fmla="*/ 1579181 w 1614899"/>
                      <a:gd name="connsiteY222" fmla="*/ 1245394 h 1619250"/>
                      <a:gd name="connsiteX223" fmla="*/ 1550606 w 1614899"/>
                      <a:gd name="connsiteY223" fmla="*/ 1231106 h 1619250"/>
                      <a:gd name="connsiteX224" fmla="*/ 1543462 w 1614899"/>
                      <a:gd name="connsiteY224" fmla="*/ 1226344 h 1619250"/>
                      <a:gd name="connsiteX225" fmla="*/ 1543462 w 1614899"/>
                      <a:gd name="connsiteY225" fmla="*/ 1197769 h 1619250"/>
                      <a:gd name="connsiteX226" fmla="*/ 1545843 w 1614899"/>
                      <a:gd name="connsiteY226" fmla="*/ 1183481 h 1619250"/>
                      <a:gd name="connsiteX227" fmla="*/ 1531556 w 1614899"/>
                      <a:gd name="connsiteY227" fmla="*/ 1176337 h 1619250"/>
                      <a:gd name="connsiteX228" fmla="*/ 1529174 w 1614899"/>
                      <a:gd name="connsiteY228" fmla="*/ 1169194 h 1619250"/>
                      <a:gd name="connsiteX229" fmla="*/ 1531556 w 1614899"/>
                      <a:gd name="connsiteY229" fmla="*/ 1152525 h 1619250"/>
                      <a:gd name="connsiteX230" fmla="*/ 1524412 w 1614899"/>
                      <a:gd name="connsiteY230" fmla="*/ 1154906 h 1619250"/>
                      <a:gd name="connsiteX231" fmla="*/ 1517268 w 1614899"/>
                      <a:gd name="connsiteY231" fmla="*/ 1159669 h 1619250"/>
                      <a:gd name="connsiteX232" fmla="*/ 1502981 w 1614899"/>
                      <a:gd name="connsiteY232" fmla="*/ 1164431 h 1619250"/>
                      <a:gd name="connsiteX233" fmla="*/ 1481549 w 1614899"/>
                      <a:gd name="connsiteY233" fmla="*/ 1169194 h 1619250"/>
                      <a:gd name="connsiteX234" fmla="*/ 1457737 w 1614899"/>
                      <a:gd name="connsiteY234" fmla="*/ 1164431 h 1619250"/>
                      <a:gd name="connsiteX235" fmla="*/ 1443449 w 1614899"/>
                      <a:gd name="connsiteY235" fmla="*/ 1154906 h 1619250"/>
                      <a:gd name="connsiteX236" fmla="*/ 1436306 w 1614899"/>
                      <a:gd name="connsiteY236" fmla="*/ 1150144 h 1619250"/>
                      <a:gd name="connsiteX237" fmla="*/ 1426781 w 1614899"/>
                      <a:gd name="connsiteY237" fmla="*/ 1140619 h 1619250"/>
                      <a:gd name="connsiteX238" fmla="*/ 1402968 w 1614899"/>
                      <a:gd name="connsiteY238" fmla="*/ 1138237 h 1619250"/>
                      <a:gd name="connsiteX239" fmla="*/ 1395824 w 1614899"/>
                      <a:gd name="connsiteY239" fmla="*/ 1145381 h 1619250"/>
                      <a:gd name="connsiteX240" fmla="*/ 1374393 w 1614899"/>
                      <a:gd name="connsiteY240" fmla="*/ 1162050 h 1619250"/>
                      <a:gd name="connsiteX241" fmla="*/ 1367249 w 1614899"/>
                      <a:gd name="connsiteY241" fmla="*/ 1188244 h 1619250"/>
                      <a:gd name="connsiteX242" fmla="*/ 1357724 w 1614899"/>
                      <a:gd name="connsiteY242" fmla="*/ 1202531 h 1619250"/>
                      <a:gd name="connsiteX243" fmla="*/ 1348199 w 1614899"/>
                      <a:gd name="connsiteY243" fmla="*/ 1212056 h 1619250"/>
                      <a:gd name="connsiteX244" fmla="*/ 1345818 w 1614899"/>
                      <a:gd name="connsiteY244" fmla="*/ 1219200 h 1619250"/>
                      <a:gd name="connsiteX245" fmla="*/ 1341056 w 1614899"/>
                      <a:gd name="connsiteY245" fmla="*/ 1228725 h 1619250"/>
                      <a:gd name="connsiteX246" fmla="*/ 1350581 w 1614899"/>
                      <a:gd name="connsiteY246" fmla="*/ 1243012 h 1619250"/>
                      <a:gd name="connsiteX247" fmla="*/ 1343437 w 1614899"/>
                      <a:gd name="connsiteY247" fmla="*/ 1266825 h 1619250"/>
                      <a:gd name="connsiteX248" fmla="*/ 1345818 w 1614899"/>
                      <a:gd name="connsiteY248" fmla="*/ 1281112 h 1619250"/>
                      <a:gd name="connsiteX249" fmla="*/ 1348199 w 1614899"/>
                      <a:gd name="connsiteY249" fmla="*/ 1290637 h 1619250"/>
                      <a:gd name="connsiteX250" fmla="*/ 1355343 w 1614899"/>
                      <a:gd name="connsiteY250" fmla="*/ 1297781 h 1619250"/>
                      <a:gd name="connsiteX251" fmla="*/ 1362487 w 1614899"/>
                      <a:gd name="connsiteY251" fmla="*/ 1300162 h 1619250"/>
                      <a:gd name="connsiteX252" fmla="*/ 1386299 w 1614899"/>
                      <a:gd name="connsiteY252" fmla="*/ 1302544 h 1619250"/>
                      <a:gd name="connsiteX253" fmla="*/ 1395824 w 1614899"/>
                      <a:gd name="connsiteY253" fmla="*/ 1309687 h 1619250"/>
                      <a:gd name="connsiteX254" fmla="*/ 1410112 w 1614899"/>
                      <a:gd name="connsiteY254" fmla="*/ 1314450 h 1619250"/>
                      <a:gd name="connsiteX255" fmla="*/ 1417256 w 1614899"/>
                      <a:gd name="connsiteY255" fmla="*/ 1319212 h 1619250"/>
                      <a:gd name="connsiteX256" fmla="*/ 1431543 w 1614899"/>
                      <a:gd name="connsiteY256" fmla="*/ 1326356 h 1619250"/>
                      <a:gd name="connsiteX257" fmla="*/ 1433924 w 1614899"/>
                      <a:gd name="connsiteY257" fmla="*/ 1333500 h 1619250"/>
                      <a:gd name="connsiteX258" fmla="*/ 1429162 w 1614899"/>
                      <a:gd name="connsiteY258" fmla="*/ 1340644 h 1619250"/>
                      <a:gd name="connsiteX259" fmla="*/ 1426781 w 1614899"/>
                      <a:gd name="connsiteY259" fmla="*/ 1347787 h 1619250"/>
                      <a:gd name="connsiteX260" fmla="*/ 1431543 w 1614899"/>
                      <a:gd name="connsiteY260" fmla="*/ 1354931 h 1619250"/>
                      <a:gd name="connsiteX261" fmla="*/ 1436306 w 1614899"/>
                      <a:gd name="connsiteY261" fmla="*/ 1364456 h 1619250"/>
                      <a:gd name="connsiteX262" fmla="*/ 1443449 w 1614899"/>
                      <a:gd name="connsiteY262" fmla="*/ 1395412 h 1619250"/>
                      <a:gd name="connsiteX263" fmla="*/ 1450593 w 1614899"/>
                      <a:gd name="connsiteY263" fmla="*/ 1402556 h 1619250"/>
                      <a:gd name="connsiteX264" fmla="*/ 1448212 w 1614899"/>
                      <a:gd name="connsiteY264" fmla="*/ 1412081 h 1619250"/>
                      <a:gd name="connsiteX265" fmla="*/ 1433924 w 1614899"/>
                      <a:gd name="connsiteY265" fmla="*/ 1416844 h 1619250"/>
                      <a:gd name="connsiteX266" fmla="*/ 1419637 w 1614899"/>
                      <a:gd name="connsiteY266" fmla="*/ 1423987 h 1619250"/>
                      <a:gd name="connsiteX267" fmla="*/ 1405349 w 1614899"/>
                      <a:gd name="connsiteY267" fmla="*/ 1431131 h 1619250"/>
                      <a:gd name="connsiteX268" fmla="*/ 1398206 w 1614899"/>
                      <a:gd name="connsiteY268" fmla="*/ 1435894 h 1619250"/>
                      <a:gd name="connsiteX269" fmla="*/ 1383918 w 1614899"/>
                      <a:gd name="connsiteY269" fmla="*/ 1440656 h 1619250"/>
                      <a:gd name="connsiteX270" fmla="*/ 1376774 w 1614899"/>
                      <a:gd name="connsiteY270" fmla="*/ 1443037 h 1619250"/>
                      <a:gd name="connsiteX271" fmla="*/ 1364868 w 1614899"/>
                      <a:gd name="connsiteY271" fmla="*/ 1464469 h 1619250"/>
                      <a:gd name="connsiteX272" fmla="*/ 1362487 w 1614899"/>
                      <a:gd name="connsiteY272" fmla="*/ 1473994 h 1619250"/>
                      <a:gd name="connsiteX273" fmla="*/ 1364868 w 1614899"/>
                      <a:gd name="connsiteY273" fmla="*/ 1497806 h 1619250"/>
                      <a:gd name="connsiteX274" fmla="*/ 1372012 w 1614899"/>
                      <a:gd name="connsiteY274" fmla="*/ 1500187 h 1619250"/>
                      <a:gd name="connsiteX275" fmla="*/ 1369631 w 1614899"/>
                      <a:gd name="connsiteY275" fmla="*/ 1516856 h 1619250"/>
                      <a:gd name="connsiteX276" fmla="*/ 1367249 w 1614899"/>
                      <a:gd name="connsiteY276" fmla="*/ 1524000 h 1619250"/>
                      <a:gd name="connsiteX277" fmla="*/ 1360106 w 1614899"/>
                      <a:gd name="connsiteY277" fmla="*/ 1526381 h 1619250"/>
                      <a:gd name="connsiteX278" fmla="*/ 1352962 w 1614899"/>
                      <a:gd name="connsiteY278" fmla="*/ 1531144 h 1619250"/>
                      <a:gd name="connsiteX279" fmla="*/ 1343437 w 1614899"/>
                      <a:gd name="connsiteY279" fmla="*/ 1535906 h 1619250"/>
                      <a:gd name="connsiteX280" fmla="*/ 1329149 w 1614899"/>
                      <a:gd name="connsiteY280" fmla="*/ 1550194 h 1619250"/>
                      <a:gd name="connsiteX281" fmla="*/ 1326768 w 1614899"/>
                      <a:gd name="connsiteY281" fmla="*/ 1559719 h 1619250"/>
                      <a:gd name="connsiteX282" fmla="*/ 1322006 w 1614899"/>
                      <a:gd name="connsiteY282" fmla="*/ 1566862 h 1619250"/>
                      <a:gd name="connsiteX283" fmla="*/ 1319624 w 1614899"/>
                      <a:gd name="connsiteY283" fmla="*/ 1578769 h 1619250"/>
                      <a:gd name="connsiteX284" fmla="*/ 1317243 w 1614899"/>
                      <a:gd name="connsiteY284" fmla="*/ 1585912 h 1619250"/>
                      <a:gd name="connsiteX285" fmla="*/ 1314862 w 1614899"/>
                      <a:gd name="connsiteY285" fmla="*/ 1602581 h 1619250"/>
                      <a:gd name="connsiteX286" fmla="*/ 1283906 w 1614899"/>
                      <a:gd name="connsiteY286" fmla="*/ 1614487 h 1619250"/>
                      <a:gd name="connsiteX287" fmla="*/ 1274381 w 1614899"/>
                      <a:gd name="connsiteY287" fmla="*/ 1616869 h 1619250"/>
                      <a:gd name="connsiteX288" fmla="*/ 1260093 w 1614899"/>
                      <a:gd name="connsiteY288" fmla="*/ 1619250 h 1619250"/>
                      <a:gd name="connsiteX289" fmla="*/ 1248187 w 1614899"/>
                      <a:gd name="connsiteY289" fmla="*/ 1616869 h 1619250"/>
                      <a:gd name="connsiteX290" fmla="*/ 1243424 w 1614899"/>
                      <a:gd name="connsiteY290" fmla="*/ 1597819 h 1619250"/>
                      <a:gd name="connsiteX291" fmla="*/ 1238662 w 1614899"/>
                      <a:gd name="connsiteY291" fmla="*/ 1581150 h 1619250"/>
                      <a:gd name="connsiteX292" fmla="*/ 1243424 w 1614899"/>
                      <a:gd name="connsiteY292" fmla="*/ 1566862 h 1619250"/>
                      <a:gd name="connsiteX293" fmla="*/ 1252949 w 1614899"/>
                      <a:gd name="connsiteY293" fmla="*/ 1552575 h 1619250"/>
                      <a:gd name="connsiteX294" fmla="*/ 1260093 w 1614899"/>
                      <a:gd name="connsiteY294" fmla="*/ 1550194 h 1619250"/>
                      <a:gd name="connsiteX295" fmla="*/ 1267237 w 1614899"/>
                      <a:gd name="connsiteY295" fmla="*/ 1543050 h 1619250"/>
                      <a:gd name="connsiteX296" fmla="*/ 1269618 w 1614899"/>
                      <a:gd name="connsiteY296" fmla="*/ 1535906 h 1619250"/>
                      <a:gd name="connsiteX297" fmla="*/ 1274381 w 1614899"/>
                      <a:gd name="connsiteY297" fmla="*/ 1526381 h 1619250"/>
                      <a:gd name="connsiteX298" fmla="*/ 1267237 w 1614899"/>
                      <a:gd name="connsiteY298" fmla="*/ 1502569 h 1619250"/>
                      <a:gd name="connsiteX299" fmla="*/ 1252949 w 1614899"/>
                      <a:gd name="connsiteY299" fmla="*/ 1493044 h 1619250"/>
                      <a:gd name="connsiteX300" fmla="*/ 1262474 w 1614899"/>
                      <a:gd name="connsiteY300" fmla="*/ 1478756 h 1619250"/>
                      <a:gd name="connsiteX301" fmla="*/ 1279143 w 1614899"/>
                      <a:gd name="connsiteY301" fmla="*/ 1462087 h 1619250"/>
                      <a:gd name="connsiteX302" fmla="*/ 1302956 w 1614899"/>
                      <a:gd name="connsiteY302" fmla="*/ 1459706 h 1619250"/>
                      <a:gd name="connsiteX303" fmla="*/ 1305337 w 1614899"/>
                      <a:gd name="connsiteY303" fmla="*/ 1450181 h 1619250"/>
                      <a:gd name="connsiteX304" fmla="*/ 1310099 w 1614899"/>
                      <a:gd name="connsiteY304" fmla="*/ 1443037 h 1619250"/>
                      <a:gd name="connsiteX305" fmla="*/ 1312481 w 1614899"/>
                      <a:gd name="connsiteY305" fmla="*/ 1435894 h 1619250"/>
                      <a:gd name="connsiteX306" fmla="*/ 1305337 w 1614899"/>
                      <a:gd name="connsiteY306" fmla="*/ 1428750 h 1619250"/>
                      <a:gd name="connsiteX307" fmla="*/ 1298193 w 1614899"/>
                      <a:gd name="connsiteY307" fmla="*/ 1423987 h 1619250"/>
                      <a:gd name="connsiteX308" fmla="*/ 1295812 w 1614899"/>
                      <a:gd name="connsiteY308" fmla="*/ 1412081 h 1619250"/>
                      <a:gd name="connsiteX309" fmla="*/ 1293431 w 1614899"/>
                      <a:gd name="connsiteY309" fmla="*/ 1402556 h 1619250"/>
                      <a:gd name="connsiteX310" fmla="*/ 1288668 w 1614899"/>
                      <a:gd name="connsiteY310" fmla="*/ 1369219 h 1619250"/>
                      <a:gd name="connsiteX311" fmla="*/ 1286287 w 1614899"/>
                      <a:gd name="connsiteY311" fmla="*/ 1362075 h 1619250"/>
                      <a:gd name="connsiteX312" fmla="*/ 1276762 w 1614899"/>
                      <a:gd name="connsiteY312" fmla="*/ 1345406 h 1619250"/>
                      <a:gd name="connsiteX313" fmla="*/ 1267237 w 1614899"/>
                      <a:gd name="connsiteY313" fmla="*/ 1343025 h 1619250"/>
                      <a:gd name="connsiteX314" fmla="*/ 1260093 w 1614899"/>
                      <a:gd name="connsiteY314" fmla="*/ 1340644 h 1619250"/>
                      <a:gd name="connsiteX315" fmla="*/ 1252949 w 1614899"/>
                      <a:gd name="connsiteY315" fmla="*/ 1307306 h 1619250"/>
                      <a:gd name="connsiteX316" fmla="*/ 1248187 w 1614899"/>
                      <a:gd name="connsiteY316" fmla="*/ 1293019 h 1619250"/>
                      <a:gd name="connsiteX317" fmla="*/ 1243424 w 1614899"/>
                      <a:gd name="connsiteY317" fmla="*/ 1278731 h 1619250"/>
                      <a:gd name="connsiteX318" fmla="*/ 1241043 w 1614899"/>
                      <a:gd name="connsiteY318" fmla="*/ 1271587 h 1619250"/>
                      <a:gd name="connsiteX319" fmla="*/ 1236281 w 1614899"/>
                      <a:gd name="connsiteY319" fmla="*/ 1262062 h 1619250"/>
                      <a:gd name="connsiteX320" fmla="*/ 1231518 w 1614899"/>
                      <a:gd name="connsiteY320" fmla="*/ 1247775 h 1619250"/>
                      <a:gd name="connsiteX321" fmla="*/ 1224374 w 1614899"/>
                      <a:gd name="connsiteY321" fmla="*/ 1240631 h 1619250"/>
                      <a:gd name="connsiteX322" fmla="*/ 1214849 w 1614899"/>
                      <a:gd name="connsiteY322" fmla="*/ 1226344 h 1619250"/>
                      <a:gd name="connsiteX323" fmla="*/ 1195799 w 1614899"/>
                      <a:gd name="connsiteY323" fmla="*/ 1233487 h 1619250"/>
                      <a:gd name="connsiteX324" fmla="*/ 1198181 w 1614899"/>
                      <a:gd name="connsiteY324" fmla="*/ 1240631 h 1619250"/>
                      <a:gd name="connsiteX325" fmla="*/ 1191037 w 1614899"/>
                      <a:gd name="connsiteY325" fmla="*/ 1243012 h 1619250"/>
                      <a:gd name="connsiteX326" fmla="*/ 1164843 w 1614899"/>
                      <a:gd name="connsiteY326" fmla="*/ 1238250 h 1619250"/>
                      <a:gd name="connsiteX327" fmla="*/ 1155318 w 1614899"/>
                      <a:gd name="connsiteY327" fmla="*/ 1223962 h 1619250"/>
                      <a:gd name="connsiteX328" fmla="*/ 1148174 w 1614899"/>
                      <a:gd name="connsiteY328" fmla="*/ 1216819 h 1619250"/>
                      <a:gd name="connsiteX329" fmla="*/ 1138649 w 1614899"/>
                      <a:gd name="connsiteY329" fmla="*/ 1219200 h 1619250"/>
                      <a:gd name="connsiteX330" fmla="*/ 1131506 w 1614899"/>
                      <a:gd name="connsiteY330" fmla="*/ 1221581 h 1619250"/>
                      <a:gd name="connsiteX331" fmla="*/ 1124362 w 1614899"/>
                      <a:gd name="connsiteY331" fmla="*/ 1219200 h 1619250"/>
                      <a:gd name="connsiteX332" fmla="*/ 1117218 w 1614899"/>
                      <a:gd name="connsiteY332" fmla="*/ 1212056 h 1619250"/>
                      <a:gd name="connsiteX333" fmla="*/ 1117218 w 1614899"/>
                      <a:gd name="connsiteY333" fmla="*/ 1193006 h 1619250"/>
                      <a:gd name="connsiteX334" fmla="*/ 1112456 w 1614899"/>
                      <a:gd name="connsiteY334" fmla="*/ 1154906 h 1619250"/>
                      <a:gd name="connsiteX335" fmla="*/ 1107693 w 1614899"/>
                      <a:gd name="connsiteY335" fmla="*/ 1147762 h 1619250"/>
                      <a:gd name="connsiteX336" fmla="*/ 1100549 w 1614899"/>
                      <a:gd name="connsiteY336" fmla="*/ 1145381 h 1619250"/>
                      <a:gd name="connsiteX337" fmla="*/ 1093406 w 1614899"/>
                      <a:gd name="connsiteY337" fmla="*/ 1147762 h 1619250"/>
                      <a:gd name="connsiteX338" fmla="*/ 1062449 w 1614899"/>
                      <a:gd name="connsiteY338" fmla="*/ 1152525 h 1619250"/>
                      <a:gd name="connsiteX339" fmla="*/ 1045781 w 1614899"/>
                      <a:gd name="connsiteY339" fmla="*/ 1150144 h 1619250"/>
                      <a:gd name="connsiteX340" fmla="*/ 1043399 w 1614899"/>
                      <a:gd name="connsiteY340" fmla="*/ 1143000 h 1619250"/>
                      <a:gd name="connsiteX341" fmla="*/ 1050543 w 1614899"/>
                      <a:gd name="connsiteY341" fmla="*/ 1128712 h 1619250"/>
                      <a:gd name="connsiteX342" fmla="*/ 1041018 w 1614899"/>
                      <a:gd name="connsiteY342" fmla="*/ 1107281 h 1619250"/>
                      <a:gd name="connsiteX343" fmla="*/ 1024349 w 1614899"/>
                      <a:gd name="connsiteY343" fmla="*/ 1109662 h 1619250"/>
                      <a:gd name="connsiteX344" fmla="*/ 1014824 w 1614899"/>
                      <a:gd name="connsiteY344" fmla="*/ 1107281 h 1619250"/>
                      <a:gd name="connsiteX345" fmla="*/ 988631 w 1614899"/>
                      <a:gd name="connsiteY345" fmla="*/ 1109662 h 1619250"/>
                      <a:gd name="connsiteX346" fmla="*/ 986249 w 1614899"/>
                      <a:gd name="connsiteY346" fmla="*/ 1102519 h 1619250"/>
                      <a:gd name="connsiteX347" fmla="*/ 979106 w 1614899"/>
                      <a:gd name="connsiteY347" fmla="*/ 1076325 h 1619250"/>
                      <a:gd name="connsiteX348" fmla="*/ 964818 w 1614899"/>
                      <a:gd name="connsiteY348" fmla="*/ 1064419 h 1619250"/>
                      <a:gd name="connsiteX349" fmla="*/ 950531 w 1614899"/>
                      <a:gd name="connsiteY349" fmla="*/ 1054894 h 1619250"/>
                      <a:gd name="connsiteX350" fmla="*/ 943387 w 1614899"/>
                      <a:gd name="connsiteY350" fmla="*/ 1050131 h 1619250"/>
                      <a:gd name="connsiteX351" fmla="*/ 936243 w 1614899"/>
                      <a:gd name="connsiteY351" fmla="*/ 1045369 h 1619250"/>
                      <a:gd name="connsiteX352" fmla="*/ 931481 w 1614899"/>
                      <a:gd name="connsiteY352" fmla="*/ 1038225 h 1619250"/>
                      <a:gd name="connsiteX353" fmla="*/ 917193 w 1614899"/>
                      <a:gd name="connsiteY353" fmla="*/ 1031081 h 1619250"/>
                      <a:gd name="connsiteX354" fmla="*/ 914812 w 1614899"/>
                      <a:gd name="connsiteY354" fmla="*/ 1040606 h 1619250"/>
                      <a:gd name="connsiteX355" fmla="*/ 907668 w 1614899"/>
                      <a:gd name="connsiteY355" fmla="*/ 1042987 h 1619250"/>
                      <a:gd name="connsiteX356" fmla="*/ 886237 w 1614899"/>
                      <a:gd name="connsiteY356" fmla="*/ 1031081 h 1619250"/>
                      <a:gd name="connsiteX357" fmla="*/ 862424 w 1614899"/>
                      <a:gd name="connsiteY357" fmla="*/ 1035844 h 1619250"/>
                      <a:gd name="connsiteX358" fmla="*/ 845756 w 1614899"/>
                      <a:gd name="connsiteY358" fmla="*/ 1040606 h 1619250"/>
                      <a:gd name="connsiteX359" fmla="*/ 840993 w 1614899"/>
                      <a:gd name="connsiteY359" fmla="*/ 1033462 h 1619250"/>
                      <a:gd name="connsiteX360" fmla="*/ 821943 w 1614899"/>
                      <a:gd name="connsiteY360" fmla="*/ 1004887 h 1619250"/>
                      <a:gd name="connsiteX361" fmla="*/ 814799 w 1614899"/>
                      <a:gd name="connsiteY361" fmla="*/ 1000125 h 1619250"/>
                      <a:gd name="connsiteX362" fmla="*/ 779081 w 1614899"/>
                      <a:gd name="connsiteY362" fmla="*/ 995362 h 1619250"/>
                      <a:gd name="connsiteX363" fmla="*/ 771937 w 1614899"/>
                      <a:gd name="connsiteY363" fmla="*/ 988219 h 1619250"/>
                      <a:gd name="connsiteX364" fmla="*/ 762412 w 1614899"/>
                      <a:gd name="connsiteY364" fmla="*/ 966787 h 1619250"/>
                      <a:gd name="connsiteX365" fmla="*/ 755268 w 1614899"/>
                      <a:gd name="connsiteY365" fmla="*/ 962025 h 1619250"/>
                      <a:gd name="connsiteX366" fmla="*/ 733837 w 1614899"/>
                      <a:gd name="connsiteY366" fmla="*/ 962025 h 1619250"/>
                      <a:gd name="connsiteX367" fmla="*/ 731456 w 1614899"/>
                      <a:gd name="connsiteY367" fmla="*/ 950119 h 1619250"/>
                      <a:gd name="connsiteX368" fmla="*/ 729074 w 1614899"/>
                      <a:gd name="connsiteY368" fmla="*/ 942975 h 1619250"/>
                      <a:gd name="connsiteX369" fmla="*/ 726693 w 1614899"/>
                      <a:gd name="connsiteY369" fmla="*/ 921544 h 1619250"/>
                      <a:gd name="connsiteX370" fmla="*/ 724312 w 1614899"/>
                      <a:gd name="connsiteY370" fmla="*/ 914400 h 1619250"/>
                      <a:gd name="connsiteX371" fmla="*/ 717168 w 1614899"/>
                      <a:gd name="connsiteY371" fmla="*/ 909637 h 1619250"/>
                      <a:gd name="connsiteX372" fmla="*/ 710024 w 1614899"/>
                      <a:gd name="connsiteY372" fmla="*/ 907256 h 1619250"/>
                      <a:gd name="connsiteX373" fmla="*/ 681449 w 1614899"/>
                      <a:gd name="connsiteY373" fmla="*/ 902494 h 1619250"/>
                      <a:gd name="connsiteX374" fmla="*/ 674306 w 1614899"/>
                      <a:gd name="connsiteY374" fmla="*/ 897731 h 1619250"/>
                      <a:gd name="connsiteX375" fmla="*/ 667162 w 1614899"/>
                      <a:gd name="connsiteY375" fmla="*/ 883444 h 1619250"/>
                      <a:gd name="connsiteX376" fmla="*/ 657637 w 1614899"/>
                      <a:gd name="connsiteY376" fmla="*/ 881062 h 1619250"/>
                      <a:gd name="connsiteX377" fmla="*/ 650493 w 1614899"/>
                      <a:gd name="connsiteY377" fmla="*/ 873919 h 1619250"/>
                      <a:gd name="connsiteX378" fmla="*/ 648112 w 1614899"/>
                      <a:gd name="connsiteY378" fmla="*/ 866775 h 1619250"/>
                      <a:gd name="connsiteX379" fmla="*/ 643349 w 1614899"/>
                      <a:gd name="connsiteY379" fmla="*/ 859631 h 1619250"/>
                      <a:gd name="connsiteX380" fmla="*/ 631443 w 1614899"/>
                      <a:gd name="connsiteY380" fmla="*/ 838200 h 1619250"/>
                      <a:gd name="connsiteX381" fmla="*/ 624299 w 1614899"/>
                      <a:gd name="connsiteY381" fmla="*/ 833437 h 1619250"/>
                      <a:gd name="connsiteX382" fmla="*/ 593343 w 1614899"/>
                      <a:gd name="connsiteY382" fmla="*/ 835819 h 1619250"/>
                      <a:gd name="connsiteX383" fmla="*/ 586199 w 1614899"/>
                      <a:gd name="connsiteY383" fmla="*/ 816769 h 1619250"/>
                      <a:gd name="connsiteX384" fmla="*/ 569531 w 1614899"/>
                      <a:gd name="connsiteY384" fmla="*/ 795337 h 1619250"/>
                      <a:gd name="connsiteX385" fmla="*/ 564768 w 1614899"/>
                      <a:gd name="connsiteY385" fmla="*/ 788194 h 1619250"/>
                      <a:gd name="connsiteX386" fmla="*/ 557624 w 1614899"/>
                      <a:gd name="connsiteY386" fmla="*/ 785812 h 1619250"/>
                      <a:gd name="connsiteX387" fmla="*/ 550481 w 1614899"/>
                      <a:gd name="connsiteY387" fmla="*/ 781050 h 1619250"/>
                      <a:gd name="connsiteX388" fmla="*/ 536193 w 1614899"/>
                      <a:gd name="connsiteY388" fmla="*/ 776287 h 1619250"/>
                      <a:gd name="connsiteX389" fmla="*/ 538574 w 1614899"/>
                      <a:gd name="connsiteY389" fmla="*/ 747712 h 1619250"/>
                      <a:gd name="connsiteX390" fmla="*/ 533812 w 1614899"/>
                      <a:gd name="connsiteY390" fmla="*/ 740569 h 1619250"/>
                      <a:gd name="connsiteX391" fmla="*/ 519524 w 1614899"/>
                      <a:gd name="connsiteY391" fmla="*/ 731044 h 1619250"/>
                      <a:gd name="connsiteX392" fmla="*/ 512381 w 1614899"/>
                      <a:gd name="connsiteY392" fmla="*/ 735806 h 1619250"/>
                      <a:gd name="connsiteX393" fmla="*/ 505237 w 1614899"/>
                      <a:gd name="connsiteY393" fmla="*/ 738187 h 1619250"/>
                      <a:gd name="connsiteX394" fmla="*/ 507618 w 1614899"/>
                      <a:gd name="connsiteY394" fmla="*/ 723900 h 1619250"/>
                      <a:gd name="connsiteX395" fmla="*/ 505237 w 1614899"/>
                      <a:gd name="connsiteY395" fmla="*/ 688181 h 1619250"/>
                      <a:gd name="connsiteX396" fmla="*/ 493331 w 1614899"/>
                      <a:gd name="connsiteY396" fmla="*/ 666750 h 1619250"/>
                      <a:gd name="connsiteX397" fmla="*/ 486187 w 1614899"/>
                      <a:gd name="connsiteY397" fmla="*/ 659606 h 1619250"/>
                      <a:gd name="connsiteX398" fmla="*/ 481424 w 1614899"/>
                      <a:gd name="connsiteY398" fmla="*/ 652462 h 1619250"/>
                      <a:gd name="connsiteX399" fmla="*/ 479043 w 1614899"/>
                      <a:gd name="connsiteY399" fmla="*/ 614362 h 1619250"/>
                      <a:gd name="connsiteX400" fmla="*/ 474281 w 1614899"/>
                      <a:gd name="connsiteY400" fmla="*/ 595312 h 1619250"/>
                      <a:gd name="connsiteX401" fmla="*/ 467137 w 1614899"/>
                      <a:gd name="connsiteY401" fmla="*/ 578644 h 1619250"/>
                      <a:gd name="connsiteX402" fmla="*/ 459993 w 1614899"/>
                      <a:gd name="connsiteY402" fmla="*/ 571500 h 1619250"/>
                      <a:gd name="connsiteX403" fmla="*/ 440943 w 1614899"/>
                      <a:gd name="connsiteY403" fmla="*/ 554831 h 1619250"/>
                      <a:gd name="connsiteX404" fmla="*/ 426656 w 1614899"/>
                      <a:gd name="connsiteY404" fmla="*/ 550069 h 1619250"/>
                      <a:gd name="connsiteX405" fmla="*/ 424274 w 1614899"/>
                      <a:gd name="connsiteY405" fmla="*/ 557212 h 1619250"/>
                      <a:gd name="connsiteX406" fmla="*/ 414749 w 1614899"/>
                      <a:gd name="connsiteY406" fmla="*/ 552450 h 1619250"/>
                      <a:gd name="connsiteX407" fmla="*/ 407606 w 1614899"/>
                      <a:gd name="connsiteY407" fmla="*/ 545306 h 1619250"/>
                      <a:gd name="connsiteX408" fmla="*/ 390937 w 1614899"/>
                      <a:gd name="connsiteY408" fmla="*/ 535781 h 1619250"/>
                      <a:gd name="connsiteX409" fmla="*/ 383793 w 1614899"/>
                      <a:gd name="connsiteY409" fmla="*/ 528637 h 1619250"/>
                      <a:gd name="connsiteX410" fmla="*/ 374268 w 1614899"/>
                      <a:gd name="connsiteY410" fmla="*/ 526256 h 1619250"/>
                      <a:gd name="connsiteX411" fmla="*/ 352837 w 1614899"/>
                      <a:gd name="connsiteY411" fmla="*/ 519112 h 1619250"/>
                      <a:gd name="connsiteX412" fmla="*/ 345693 w 1614899"/>
                      <a:gd name="connsiteY412" fmla="*/ 516731 h 1619250"/>
                      <a:gd name="connsiteX413" fmla="*/ 338549 w 1614899"/>
                      <a:gd name="connsiteY413" fmla="*/ 514350 h 1619250"/>
                      <a:gd name="connsiteX414" fmla="*/ 326643 w 1614899"/>
                      <a:gd name="connsiteY414" fmla="*/ 504825 h 1619250"/>
                      <a:gd name="connsiteX415" fmla="*/ 321881 w 1614899"/>
                      <a:gd name="connsiteY415" fmla="*/ 497681 h 1619250"/>
                      <a:gd name="connsiteX416" fmla="*/ 314737 w 1614899"/>
                      <a:gd name="connsiteY416" fmla="*/ 490537 h 1619250"/>
                      <a:gd name="connsiteX417" fmla="*/ 307593 w 1614899"/>
                      <a:gd name="connsiteY417" fmla="*/ 485775 h 1619250"/>
                      <a:gd name="connsiteX418" fmla="*/ 293306 w 1614899"/>
                      <a:gd name="connsiteY418" fmla="*/ 481012 h 1619250"/>
                      <a:gd name="connsiteX419" fmla="*/ 269493 w 1614899"/>
                      <a:gd name="connsiteY419" fmla="*/ 483394 h 1619250"/>
                      <a:gd name="connsiteX420" fmla="*/ 259968 w 1614899"/>
                      <a:gd name="connsiteY420" fmla="*/ 490537 h 1619250"/>
                      <a:gd name="connsiteX421" fmla="*/ 243299 w 1614899"/>
                      <a:gd name="connsiteY421" fmla="*/ 497681 h 1619250"/>
                      <a:gd name="connsiteX422" fmla="*/ 236156 w 1614899"/>
                      <a:gd name="connsiteY422" fmla="*/ 502444 h 1619250"/>
                      <a:gd name="connsiteX423" fmla="*/ 233774 w 1614899"/>
                      <a:gd name="connsiteY423" fmla="*/ 509587 h 1619250"/>
                      <a:gd name="connsiteX424" fmla="*/ 231393 w 1614899"/>
                      <a:gd name="connsiteY424" fmla="*/ 519112 h 1619250"/>
                      <a:gd name="connsiteX425" fmla="*/ 224249 w 1614899"/>
                      <a:gd name="connsiteY425" fmla="*/ 521494 h 1619250"/>
                      <a:gd name="connsiteX426" fmla="*/ 209962 w 1614899"/>
                      <a:gd name="connsiteY426" fmla="*/ 528637 h 1619250"/>
                      <a:gd name="connsiteX427" fmla="*/ 200437 w 1614899"/>
                      <a:gd name="connsiteY427" fmla="*/ 542925 h 1619250"/>
                      <a:gd name="connsiteX428" fmla="*/ 195674 w 1614899"/>
                      <a:gd name="connsiteY428" fmla="*/ 557212 h 1619250"/>
                      <a:gd name="connsiteX429" fmla="*/ 188531 w 1614899"/>
                      <a:gd name="connsiteY429" fmla="*/ 559594 h 1619250"/>
                      <a:gd name="connsiteX430" fmla="*/ 176624 w 1614899"/>
                      <a:gd name="connsiteY430" fmla="*/ 564356 h 1619250"/>
                      <a:gd name="connsiteX431" fmla="*/ 164718 w 1614899"/>
                      <a:gd name="connsiteY431" fmla="*/ 566737 h 1619250"/>
                      <a:gd name="connsiteX432" fmla="*/ 157574 w 1614899"/>
                      <a:gd name="connsiteY432" fmla="*/ 569119 h 1619250"/>
                      <a:gd name="connsiteX433" fmla="*/ 148049 w 1614899"/>
                      <a:gd name="connsiteY433" fmla="*/ 571500 h 1619250"/>
                      <a:gd name="connsiteX434" fmla="*/ 140906 w 1614899"/>
                      <a:gd name="connsiteY434" fmla="*/ 573881 h 1619250"/>
                      <a:gd name="connsiteX435" fmla="*/ 121856 w 1614899"/>
                      <a:gd name="connsiteY435" fmla="*/ 576262 h 1619250"/>
                      <a:gd name="connsiteX436" fmla="*/ 119474 w 1614899"/>
                      <a:gd name="connsiteY436" fmla="*/ 571500 h 1619250"/>
                      <a:gd name="connsiteX437" fmla="*/ 128999 w 1614899"/>
                      <a:gd name="connsiteY437" fmla="*/ 557212 h 1619250"/>
                      <a:gd name="connsiteX438" fmla="*/ 131381 w 1614899"/>
                      <a:gd name="connsiteY438" fmla="*/ 550069 h 1619250"/>
                      <a:gd name="connsiteX439" fmla="*/ 140906 w 1614899"/>
                      <a:gd name="connsiteY439" fmla="*/ 535781 h 1619250"/>
                      <a:gd name="connsiteX440" fmla="*/ 133762 w 1614899"/>
                      <a:gd name="connsiteY440" fmla="*/ 533400 h 1619250"/>
                      <a:gd name="connsiteX441" fmla="*/ 128999 w 1614899"/>
                      <a:gd name="connsiteY441" fmla="*/ 516731 h 1619250"/>
                      <a:gd name="connsiteX442" fmla="*/ 69468 w 1614899"/>
                      <a:gd name="connsiteY442" fmla="*/ 514350 h 1619250"/>
                      <a:gd name="connsiteX443" fmla="*/ 67087 w 1614899"/>
                      <a:gd name="connsiteY443" fmla="*/ 507206 h 1619250"/>
                      <a:gd name="connsiteX444" fmla="*/ 52799 w 1614899"/>
                      <a:gd name="connsiteY444" fmla="*/ 497681 h 1619250"/>
                      <a:gd name="connsiteX445" fmla="*/ 55181 w 1614899"/>
                      <a:gd name="connsiteY445" fmla="*/ 488156 h 1619250"/>
                      <a:gd name="connsiteX446" fmla="*/ 40893 w 1614899"/>
                      <a:gd name="connsiteY446" fmla="*/ 483394 h 1619250"/>
                      <a:gd name="connsiteX447" fmla="*/ 38512 w 1614899"/>
                      <a:gd name="connsiteY447" fmla="*/ 471487 h 1619250"/>
                      <a:gd name="connsiteX448" fmla="*/ 36131 w 1614899"/>
                      <a:gd name="connsiteY448" fmla="*/ 464344 h 1619250"/>
                      <a:gd name="connsiteX449" fmla="*/ 38512 w 1614899"/>
                      <a:gd name="connsiteY449" fmla="*/ 452437 h 1619250"/>
                      <a:gd name="connsiteX450" fmla="*/ 38512 w 1614899"/>
                      <a:gd name="connsiteY450" fmla="*/ 428625 h 1619250"/>
                      <a:gd name="connsiteX451" fmla="*/ 45656 w 1614899"/>
                      <a:gd name="connsiteY451" fmla="*/ 426244 h 1619250"/>
                      <a:gd name="connsiteX452" fmla="*/ 52799 w 1614899"/>
                      <a:gd name="connsiteY452" fmla="*/ 421481 h 1619250"/>
                      <a:gd name="connsiteX453" fmla="*/ 59943 w 1614899"/>
                      <a:gd name="connsiteY453" fmla="*/ 419100 h 1619250"/>
                      <a:gd name="connsiteX454" fmla="*/ 64706 w 1614899"/>
                      <a:gd name="connsiteY454" fmla="*/ 411956 h 1619250"/>
                      <a:gd name="connsiteX455" fmla="*/ 55181 w 1614899"/>
                      <a:gd name="connsiteY455" fmla="*/ 392906 h 1619250"/>
                      <a:gd name="connsiteX456" fmla="*/ 40893 w 1614899"/>
                      <a:gd name="connsiteY456" fmla="*/ 388144 h 1619250"/>
                      <a:gd name="connsiteX457" fmla="*/ 33749 w 1614899"/>
                      <a:gd name="connsiteY457" fmla="*/ 390525 h 1619250"/>
                      <a:gd name="connsiteX458" fmla="*/ 28987 w 1614899"/>
                      <a:gd name="connsiteY458" fmla="*/ 390525 h 1619250"/>
                      <a:gd name="connsiteX459" fmla="*/ 21843 w 1614899"/>
                      <a:gd name="connsiteY459" fmla="*/ 388144 h 1619250"/>
                      <a:gd name="connsiteX460" fmla="*/ 14699 w 1614899"/>
                      <a:gd name="connsiteY460" fmla="*/ 364331 h 1619250"/>
                      <a:gd name="connsiteX461" fmla="*/ 2793 w 1614899"/>
                      <a:gd name="connsiteY461" fmla="*/ 361950 h 1619250"/>
                      <a:gd name="connsiteX462" fmla="*/ 2793 w 1614899"/>
                      <a:gd name="connsiteY462" fmla="*/ 345281 h 1619250"/>
                      <a:gd name="connsiteX463" fmla="*/ 17081 w 1614899"/>
                      <a:gd name="connsiteY463" fmla="*/ 340519 h 1619250"/>
                      <a:gd name="connsiteX464" fmla="*/ 24224 w 1614899"/>
                      <a:gd name="connsiteY464" fmla="*/ 347662 h 1619250"/>
                      <a:gd name="connsiteX465" fmla="*/ 40893 w 1614899"/>
                      <a:gd name="connsiteY465" fmla="*/ 342900 h 1619250"/>
                      <a:gd name="connsiteX466" fmla="*/ 57562 w 1614899"/>
                      <a:gd name="connsiteY466" fmla="*/ 333375 h 1619250"/>
                      <a:gd name="connsiteX467" fmla="*/ 64706 w 1614899"/>
                      <a:gd name="connsiteY467" fmla="*/ 328612 h 1619250"/>
                      <a:gd name="connsiteX468" fmla="*/ 71849 w 1614899"/>
                      <a:gd name="connsiteY468" fmla="*/ 326231 h 1619250"/>
                      <a:gd name="connsiteX469" fmla="*/ 90899 w 1614899"/>
                      <a:gd name="connsiteY469" fmla="*/ 321469 h 1619250"/>
                      <a:gd name="connsiteX470" fmla="*/ 86137 w 1614899"/>
                      <a:gd name="connsiteY470" fmla="*/ 311944 h 1619250"/>
                      <a:gd name="connsiteX471" fmla="*/ 88518 w 1614899"/>
                      <a:gd name="connsiteY471" fmla="*/ 292894 h 1619250"/>
                      <a:gd name="connsiteX472" fmla="*/ 90899 w 1614899"/>
                      <a:gd name="connsiteY472" fmla="*/ 285750 h 1619250"/>
                      <a:gd name="connsiteX473" fmla="*/ 76612 w 1614899"/>
                      <a:gd name="connsiteY473" fmla="*/ 280987 h 1619250"/>
                      <a:gd name="connsiteX474" fmla="*/ 71849 w 1614899"/>
                      <a:gd name="connsiteY474" fmla="*/ 273844 h 1619250"/>
                      <a:gd name="connsiteX475" fmla="*/ 67087 w 1614899"/>
                      <a:gd name="connsiteY475" fmla="*/ 250031 h 1619250"/>
                      <a:gd name="connsiteX476" fmla="*/ 45656 w 1614899"/>
                      <a:gd name="connsiteY476" fmla="*/ 250031 h 1619250"/>
                      <a:gd name="connsiteX477" fmla="*/ 40893 w 1614899"/>
                      <a:gd name="connsiteY477" fmla="*/ 242887 h 1619250"/>
                      <a:gd name="connsiteX478" fmla="*/ 43274 w 1614899"/>
                      <a:gd name="connsiteY478" fmla="*/ 223837 h 1619250"/>
                      <a:gd name="connsiteX479" fmla="*/ 57562 w 1614899"/>
                      <a:gd name="connsiteY479" fmla="*/ 211931 h 1619250"/>
                      <a:gd name="connsiteX480" fmla="*/ 74231 w 1614899"/>
                      <a:gd name="connsiteY480" fmla="*/ 200025 h 1619250"/>
                      <a:gd name="connsiteX481" fmla="*/ 81374 w 1614899"/>
                      <a:gd name="connsiteY481" fmla="*/ 202406 h 1619250"/>
                      <a:gd name="connsiteX482" fmla="*/ 83756 w 1614899"/>
                      <a:gd name="connsiteY482" fmla="*/ 209550 h 1619250"/>
                      <a:gd name="connsiteX483" fmla="*/ 102806 w 1614899"/>
                      <a:gd name="connsiteY483" fmla="*/ 204787 h 1619250"/>
                      <a:gd name="connsiteX484" fmla="*/ 109949 w 1614899"/>
                      <a:gd name="connsiteY484" fmla="*/ 200025 h 1619250"/>
                      <a:gd name="connsiteX485" fmla="*/ 119474 w 1614899"/>
                      <a:gd name="connsiteY485" fmla="*/ 197644 h 1619250"/>
                      <a:gd name="connsiteX486" fmla="*/ 133762 w 1614899"/>
                      <a:gd name="connsiteY486" fmla="*/ 192881 h 1619250"/>
                      <a:gd name="connsiteX487" fmla="*/ 140906 w 1614899"/>
                      <a:gd name="connsiteY487" fmla="*/ 190500 h 1619250"/>
                      <a:gd name="connsiteX488" fmla="*/ 148049 w 1614899"/>
                      <a:gd name="connsiteY488" fmla="*/ 195262 h 1619250"/>
                      <a:gd name="connsiteX489" fmla="*/ 155193 w 1614899"/>
                      <a:gd name="connsiteY489" fmla="*/ 204787 h 1619250"/>
                      <a:gd name="connsiteX490" fmla="*/ 164718 w 1614899"/>
                      <a:gd name="connsiteY490" fmla="*/ 202406 h 1619250"/>
                      <a:gd name="connsiteX491" fmla="*/ 190912 w 1614899"/>
                      <a:gd name="connsiteY491" fmla="*/ 200025 h 1619250"/>
                      <a:gd name="connsiteX492" fmla="*/ 193293 w 1614899"/>
                      <a:gd name="connsiteY492" fmla="*/ 192881 h 1619250"/>
                      <a:gd name="connsiteX493" fmla="*/ 198056 w 1614899"/>
                      <a:gd name="connsiteY493" fmla="*/ 185737 h 1619250"/>
                      <a:gd name="connsiteX494" fmla="*/ 195674 w 1614899"/>
                      <a:gd name="connsiteY494" fmla="*/ 178594 h 1619250"/>
                      <a:gd name="connsiteX495" fmla="*/ 186149 w 1614899"/>
                      <a:gd name="connsiteY495" fmla="*/ 159544 h 1619250"/>
                      <a:gd name="connsiteX496" fmla="*/ 217106 w 1614899"/>
                      <a:gd name="connsiteY496" fmla="*/ 152400 h 1619250"/>
                      <a:gd name="connsiteX497" fmla="*/ 209962 w 1614899"/>
                      <a:gd name="connsiteY497" fmla="*/ 145256 h 1619250"/>
                      <a:gd name="connsiteX498" fmla="*/ 202818 w 1614899"/>
                      <a:gd name="connsiteY498" fmla="*/ 140494 h 1619250"/>
                      <a:gd name="connsiteX499" fmla="*/ 212343 w 1614899"/>
                      <a:gd name="connsiteY499" fmla="*/ 133350 h 1619250"/>
                      <a:gd name="connsiteX500" fmla="*/ 233774 w 1614899"/>
                      <a:gd name="connsiteY500" fmla="*/ 123825 h 1619250"/>
                      <a:gd name="connsiteX501" fmla="*/ 238537 w 1614899"/>
                      <a:gd name="connsiteY501" fmla="*/ 116681 h 1619250"/>
                      <a:gd name="connsiteX502" fmla="*/ 240918 w 1614899"/>
                      <a:gd name="connsiteY502" fmla="*/ 107156 h 1619250"/>
                      <a:gd name="connsiteX503" fmla="*/ 248062 w 1614899"/>
                      <a:gd name="connsiteY503" fmla="*/ 109537 h 1619250"/>
                      <a:gd name="connsiteX504" fmla="*/ 250443 w 1614899"/>
                      <a:gd name="connsiteY504" fmla="*/ 116681 h 1619250"/>
                      <a:gd name="connsiteX505" fmla="*/ 252824 w 1614899"/>
                      <a:gd name="connsiteY505" fmla="*/ 130969 h 1619250"/>
                      <a:gd name="connsiteX506" fmla="*/ 269493 w 1614899"/>
                      <a:gd name="connsiteY506" fmla="*/ 138112 h 1619250"/>
                      <a:gd name="connsiteX507" fmla="*/ 271874 w 1614899"/>
                      <a:gd name="connsiteY507" fmla="*/ 145256 h 1619250"/>
                      <a:gd name="connsiteX508" fmla="*/ 264731 w 1614899"/>
                      <a:gd name="connsiteY508" fmla="*/ 152400 h 1619250"/>
                      <a:gd name="connsiteX509" fmla="*/ 262349 w 1614899"/>
                      <a:gd name="connsiteY509" fmla="*/ 159544 h 1619250"/>
                      <a:gd name="connsiteX510" fmla="*/ 264731 w 1614899"/>
                      <a:gd name="connsiteY510" fmla="*/ 173831 h 1619250"/>
                      <a:gd name="connsiteX511" fmla="*/ 274256 w 1614899"/>
                      <a:gd name="connsiteY511" fmla="*/ 176212 h 1619250"/>
                      <a:gd name="connsiteX512" fmla="*/ 295687 w 1614899"/>
                      <a:gd name="connsiteY512" fmla="*/ 178594 h 1619250"/>
                      <a:gd name="connsiteX513" fmla="*/ 293306 w 1614899"/>
                      <a:gd name="connsiteY513" fmla="*/ 185737 h 1619250"/>
                      <a:gd name="connsiteX514" fmla="*/ 295687 w 1614899"/>
                      <a:gd name="connsiteY514" fmla="*/ 200025 h 1619250"/>
                      <a:gd name="connsiteX515" fmla="*/ 302831 w 1614899"/>
                      <a:gd name="connsiteY515" fmla="*/ 216694 h 1619250"/>
                      <a:gd name="connsiteX516" fmla="*/ 307593 w 1614899"/>
                      <a:gd name="connsiteY516" fmla="*/ 223837 h 1619250"/>
                      <a:gd name="connsiteX517" fmla="*/ 314737 w 1614899"/>
                      <a:gd name="connsiteY517" fmla="*/ 228600 h 1619250"/>
                      <a:gd name="connsiteX518" fmla="*/ 326643 w 1614899"/>
                      <a:gd name="connsiteY518" fmla="*/ 226219 h 1619250"/>
                      <a:gd name="connsiteX519" fmla="*/ 321881 w 1614899"/>
                      <a:gd name="connsiteY519" fmla="*/ 200025 h 1619250"/>
                      <a:gd name="connsiteX520" fmla="*/ 314737 w 1614899"/>
                      <a:gd name="connsiteY520" fmla="*/ 197644 h 1619250"/>
                      <a:gd name="connsiteX521" fmla="*/ 324262 w 1614899"/>
                      <a:gd name="connsiteY521" fmla="*/ 180975 h 1619250"/>
                      <a:gd name="connsiteX522" fmla="*/ 329024 w 1614899"/>
                      <a:gd name="connsiteY522" fmla="*/ 173831 h 1619250"/>
                      <a:gd name="connsiteX523" fmla="*/ 343312 w 1614899"/>
                      <a:gd name="connsiteY523" fmla="*/ 159544 h 1619250"/>
                      <a:gd name="connsiteX524" fmla="*/ 348074 w 1614899"/>
                      <a:gd name="connsiteY524" fmla="*/ 145256 h 1619250"/>
                      <a:gd name="connsiteX525" fmla="*/ 350456 w 1614899"/>
                      <a:gd name="connsiteY525" fmla="*/ 114300 h 1619250"/>
                      <a:gd name="connsiteX526" fmla="*/ 357599 w 1614899"/>
                      <a:gd name="connsiteY526" fmla="*/ 111919 h 1619250"/>
                      <a:gd name="connsiteX527" fmla="*/ 364743 w 1614899"/>
                      <a:gd name="connsiteY527" fmla="*/ 114300 h 1619250"/>
                      <a:gd name="connsiteX528" fmla="*/ 371887 w 1614899"/>
                      <a:gd name="connsiteY528" fmla="*/ 114300 h 1619250"/>
                      <a:gd name="connsiteX529" fmla="*/ 381412 w 1614899"/>
                      <a:gd name="connsiteY529" fmla="*/ 138112 h 1619250"/>
                      <a:gd name="connsiteX530" fmla="*/ 395699 w 1614899"/>
                      <a:gd name="connsiteY530" fmla="*/ 150019 h 1619250"/>
                      <a:gd name="connsiteX531" fmla="*/ 409987 w 1614899"/>
                      <a:gd name="connsiteY531" fmla="*/ 147637 h 1619250"/>
                      <a:gd name="connsiteX532" fmla="*/ 412368 w 1614899"/>
                      <a:gd name="connsiteY532" fmla="*/ 133350 h 1619250"/>
                      <a:gd name="connsiteX533" fmla="*/ 426656 w 1614899"/>
                      <a:gd name="connsiteY533" fmla="*/ 128587 h 1619250"/>
                      <a:gd name="connsiteX534" fmla="*/ 433799 w 1614899"/>
                      <a:gd name="connsiteY534" fmla="*/ 142875 h 1619250"/>
                      <a:gd name="connsiteX535" fmla="*/ 448087 w 1614899"/>
                      <a:gd name="connsiteY535" fmla="*/ 161925 h 1619250"/>
                      <a:gd name="connsiteX536" fmla="*/ 464756 w 1614899"/>
                      <a:gd name="connsiteY536" fmla="*/ 159544 h 1619250"/>
                      <a:gd name="connsiteX537" fmla="*/ 452849 w 1614899"/>
                      <a:gd name="connsiteY537" fmla="*/ 138112 h 1619250"/>
                      <a:gd name="connsiteX538" fmla="*/ 450468 w 1614899"/>
                      <a:gd name="connsiteY538" fmla="*/ 111919 h 1619250"/>
                      <a:gd name="connsiteX539" fmla="*/ 443324 w 1614899"/>
                      <a:gd name="connsiteY539" fmla="*/ 107156 h 1619250"/>
                      <a:gd name="connsiteX540" fmla="*/ 440943 w 1614899"/>
                      <a:gd name="connsiteY540" fmla="*/ 100012 h 1619250"/>
                      <a:gd name="connsiteX541" fmla="*/ 450468 w 1614899"/>
                      <a:gd name="connsiteY541" fmla="*/ 88106 h 1619250"/>
                      <a:gd name="connsiteX542" fmla="*/ 476662 w 1614899"/>
                      <a:gd name="connsiteY542" fmla="*/ 90487 h 1619250"/>
                      <a:gd name="connsiteX543" fmla="*/ 486187 w 1614899"/>
                      <a:gd name="connsiteY543" fmla="*/ 92869 h 1619250"/>
                      <a:gd name="connsiteX544" fmla="*/ 493331 w 1614899"/>
                      <a:gd name="connsiteY544" fmla="*/ 97631 h 1619250"/>
                      <a:gd name="connsiteX545" fmla="*/ 502856 w 1614899"/>
                      <a:gd name="connsiteY545" fmla="*/ 95250 h 1619250"/>
                      <a:gd name="connsiteX546" fmla="*/ 509999 w 1614899"/>
                      <a:gd name="connsiteY546" fmla="*/ 90487 h 1619250"/>
                      <a:gd name="connsiteX547" fmla="*/ 507618 w 1614899"/>
                      <a:gd name="connsiteY547" fmla="*/ 83344 h 1619250"/>
                      <a:gd name="connsiteX548" fmla="*/ 500474 w 1614899"/>
                      <a:gd name="connsiteY548" fmla="*/ 80962 h 1619250"/>
                      <a:gd name="connsiteX549" fmla="*/ 493331 w 1614899"/>
                      <a:gd name="connsiteY549" fmla="*/ 76200 h 1619250"/>
                      <a:gd name="connsiteX550" fmla="*/ 495712 w 1614899"/>
                      <a:gd name="connsiteY550"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05262 w 1614899"/>
                      <a:gd name="connsiteY86" fmla="*/ 316706 h 1619250"/>
                      <a:gd name="connsiteX87" fmla="*/ 719549 w 1614899"/>
                      <a:gd name="connsiteY87" fmla="*/ 328612 h 1619250"/>
                      <a:gd name="connsiteX88" fmla="*/ 714787 w 1614899"/>
                      <a:gd name="connsiteY88" fmla="*/ 335756 h 1619250"/>
                      <a:gd name="connsiteX89" fmla="*/ 717168 w 1614899"/>
                      <a:gd name="connsiteY89" fmla="*/ 342900 h 1619250"/>
                      <a:gd name="connsiteX90" fmla="*/ 721931 w 1614899"/>
                      <a:gd name="connsiteY90" fmla="*/ 347662 h 1619250"/>
                      <a:gd name="connsiteX91" fmla="*/ 733837 w 1614899"/>
                      <a:gd name="connsiteY91" fmla="*/ 357187 h 1619250"/>
                      <a:gd name="connsiteX92" fmla="*/ 740981 w 1614899"/>
                      <a:gd name="connsiteY92" fmla="*/ 354806 h 1619250"/>
                      <a:gd name="connsiteX93" fmla="*/ 755268 w 1614899"/>
                      <a:gd name="connsiteY93" fmla="*/ 350044 h 1619250"/>
                      <a:gd name="connsiteX94" fmla="*/ 752887 w 1614899"/>
                      <a:gd name="connsiteY94" fmla="*/ 359569 h 1619250"/>
                      <a:gd name="connsiteX95" fmla="*/ 755268 w 1614899"/>
                      <a:gd name="connsiteY95" fmla="*/ 371475 h 1619250"/>
                      <a:gd name="connsiteX96" fmla="*/ 762412 w 1614899"/>
                      <a:gd name="connsiteY96" fmla="*/ 373856 h 1619250"/>
                      <a:gd name="connsiteX97" fmla="*/ 745743 w 1614899"/>
                      <a:gd name="connsiteY97" fmla="*/ 390525 h 1619250"/>
                      <a:gd name="connsiteX98" fmla="*/ 750506 w 1614899"/>
                      <a:gd name="connsiteY98" fmla="*/ 397669 h 1619250"/>
                      <a:gd name="connsiteX99" fmla="*/ 745743 w 1614899"/>
                      <a:gd name="connsiteY99" fmla="*/ 411956 h 1619250"/>
                      <a:gd name="connsiteX100" fmla="*/ 731456 w 1614899"/>
                      <a:gd name="connsiteY100" fmla="*/ 404812 h 1619250"/>
                      <a:gd name="connsiteX101" fmla="*/ 724312 w 1614899"/>
                      <a:gd name="connsiteY101" fmla="*/ 409575 h 1619250"/>
                      <a:gd name="connsiteX102" fmla="*/ 721931 w 1614899"/>
                      <a:gd name="connsiteY102" fmla="*/ 416719 h 1619250"/>
                      <a:gd name="connsiteX103" fmla="*/ 736218 w 1614899"/>
                      <a:gd name="connsiteY103" fmla="*/ 426244 h 1619250"/>
                      <a:gd name="connsiteX104" fmla="*/ 731456 w 1614899"/>
                      <a:gd name="connsiteY104" fmla="*/ 442912 h 1619250"/>
                      <a:gd name="connsiteX105" fmla="*/ 729074 w 1614899"/>
                      <a:gd name="connsiteY105" fmla="*/ 450056 h 1619250"/>
                      <a:gd name="connsiteX106" fmla="*/ 731456 w 1614899"/>
                      <a:gd name="connsiteY106" fmla="*/ 481012 h 1619250"/>
                      <a:gd name="connsiteX107" fmla="*/ 736218 w 1614899"/>
                      <a:gd name="connsiteY107" fmla="*/ 488156 h 1619250"/>
                      <a:gd name="connsiteX108" fmla="*/ 743362 w 1614899"/>
                      <a:gd name="connsiteY108" fmla="*/ 509587 h 1619250"/>
                      <a:gd name="connsiteX109" fmla="*/ 745743 w 1614899"/>
                      <a:gd name="connsiteY109" fmla="*/ 516731 h 1619250"/>
                      <a:gd name="connsiteX110" fmla="*/ 760031 w 1614899"/>
                      <a:gd name="connsiteY110" fmla="*/ 526256 h 1619250"/>
                      <a:gd name="connsiteX111" fmla="*/ 764793 w 1614899"/>
                      <a:gd name="connsiteY111" fmla="*/ 533400 h 1619250"/>
                      <a:gd name="connsiteX112" fmla="*/ 769556 w 1614899"/>
                      <a:gd name="connsiteY112" fmla="*/ 547687 h 1619250"/>
                      <a:gd name="connsiteX113" fmla="*/ 748124 w 1614899"/>
                      <a:gd name="connsiteY113" fmla="*/ 552450 h 1619250"/>
                      <a:gd name="connsiteX114" fmla="*/ 740981 w 1614899"/>
                      <a:gd name="connsiteY114" fmla="*/ 554831 h 1619250"/>
                      <a:gd name="connsiteX115" fmla="*/ 729074 w 1614899"/>
                      <a:gd name="connsiteY115" fmla="*/ 557212 h 1619250"/>
                      <a:gd name="connsiteX116" fmla="*/ 736218 w 1614899"/>
                      <a:gd name="connsiteY116" fmla="*/ 559594 h 1619250"/>
                      <a:gd name="connsiteX117" fmla="*/ 743362 w 1614899"/>
                      <a:gd name="connsiteY117" fmla="*/ 564356 h 1619250"/>
                      <a:gd name="connsiteX118" fmla="*/ 757649 w 1614899"/>
                      <a:gd name="connsiteY118" fmla="*/ 550069 h 1619250"/>
                      <a:gd name="connsiteX119" fmla="*/ 762412 w 1614899"/>
                      <a:gd name="connsiteY119" fmla="*/ 540544 h 1619250"/>
                      <a:gd name="connsiteX120" fmla="*/ 769556 w 1614899"/>
                      <a:gd name="connsiteY120" fmla="*/ 542925 h 1619250"/>
                      <a:gd name="connsiteX121" fmla="*/ 776699 w 1614899"/>
                      <a:gd name="connsiteY121" fmla="*/ 550069 h 1619250"/>
                      <a:gd name="connsiteX122" fmla="*/ 793368 w 1614899"/>
                      <a:gd name="connsiteY122" fmla="*/ 552450 h 1619250"/>
                      <a:gd name="connsiteX123" fmla="*/ 807656 w 1614899"/>
                      <a:gd name="connsiteY123" fmla="*/ 557212 h 1619250"/>
                      <a:gd name="connsiteX124" fmla="*/ 814799 w 1614899"/>
                      <a:gd name="connsiteY124" fmla="*/ 559594 h 1619250"/>
                      <a:gd name="connsiteX125" fmla="*/ 821943 w 1614899"/>
                      <a:gd name="connsiteY125" fmla="*/ 566737 h 1619250"/>
                      <a:gd name="connsiteX126" fmla="*/ 829087 w 1614899"/>
                      <a:gd name="connsiteY126" fmla="*/ 569119 h 1619250"/>
                      <a:gd name="connsiteX127" fmla="*/ 836231 w 1614899"/>
                      <a:gd name="connsiteY127" fmla="*/ 573881 h 1619250"/>
                      <a:gd name="connsiteX128" fmla="*/ 843374 w 1614899"/>
                      <a:gd name="connsiteY128" fmla="*/ 588169 h 1619250"/>
                      <a:gd name="connsiteX129" fmla="*/ 852899 w 1614899"/>
                      <a:gd name="connsiteY129" fmla="*/ 597694 h 1619250"/>
                      <a:gd name="connsiteX130" fmla="*/ 902906 w 1614899"/>
                      <a:gd name="connsiteY130" fmla="*/ 604837 h 1619250"/>
                      <a:gd name="connsiteX131" fmla="*/ 914812 w 1614899"/>
                      <a:gd name="connsiteY131" fmla="*/ 626269 h 1619250"/>
                      <a:gd name="connsiteX132" fmla="*/ 919574 w 1614899"/>
                      <a:gd name="connsiteY132" fmla="*/ 633412 h 1619250"/>
                      <a:gd name="connsiteX133" fmla="*/ 919574 w 1614899"/>
                      <a:gd name="connsiteY133" fmla="*/ 671512 h 1619250"/>
                      <a:gd name="connsiteX134" fmla="*/ 926718 w 1614899"/>
                      <a:gd name="connsiteY134" fmla="*/ 676275 h 1619250"/>
                      <a:gd name="connsiteX135" fmla="*/ 933862 w 1614899"/>
                      <a:gd name="connsiteY135" fmla="*/ 690562 h 1619250"/>
                      <a:gd name="connsiteX136" fmla="*/ 936243 w 1614899"/>
                      <a:gd name="connsiteY136" fmla="*/ 702469 h 1619250"/>
                      <a:gd name="connsiteX137" fmla="*/ 943387 w 1614899"/>
                      <a:gd name="connsiteY137" fmla="*/ 709612 h 1619250"/>
                      <a:gd name="connsiteX138" fmla="*/ 945768 w 1614899"/>
                      <a:gd name="connsiteY138" fmla="*/ 723900 h 1619250"/>
                      <a:gd name="connsiteX139" fmla="*/ 955293 w 1614899"/>
                      <a:gd name="connsiteY139" fmla="*/ 738187 h 1619250"/>
                      <a:gd name="connsiteX140" fmla="*/ 964818 w 1614899"/>
                      <a:gd name="connsiteY140" fmla="*/ 752475 h 1619250"/>
                      <a:gd name="connsiteX141" fmla="*/ 967199 w 1614899"/>
                      <a:gd name="connsiteY141" fmla="*/ 759619 h 1619250"/>
                      <a:gd name="connsiteX142" fmla="*/ 974343 w 1614899"/>
                      <a:gd name="connsiteY142" fmla="*/ 769144 h 1619250"/>
                      <a:gd name="connsiteX143" fmla="*/ 979106 w 1614899"/>
                      <a:gd name="connsiteY143" fmla="*/ 783431 h 1619250"/>
                      <a:gd name="connsiteX144" fmla="*/ 981487 w 1614899"/>
                      <a:gd name="connsiteY144" fmla="*/ 790575 h 1619250"/>
                      <a:gd name="connsiteX145" fmla="*/ 991012 w 1614899"/>
                      <a:gd name="connsiteY145" fmla="*/ 804862 h 1619250"/>
                      <a:gd name="connsiteX146" fmla="*/ 998156 w 1614899"/>
                      <a:gd name="connsiteY146" fmla="*/ 819150 h 1619250"/>
                      <a:gd name="connsiteX147" fmla="*/ 1000537 w 1614899"/>
                      <a:gd name="connsiteY147" fmla="*/ 826294 h 1619250"/>
                      <a:gd name="connsiteX148" fmla="*/ 1007681 w 1614899"/>
                      <a:gd name="connsiteY148" fmla="*/ 828675 h 1619250"/>
                      <a:gd name="connsiteX149" fmla="*/ 1014824 w 1614899"/>
                      <a:gd name="connsiteY149" fmla="*/ 833437 h 1619250"/>
                      <a:gd name="connsiteX150" fmla="*/ 1029112 w 1614899"/>
                      <a:gd name="connsiteY150" fmla="*/ 838200 h 1619250"/>
                      <a:gd name="connsiteX151" fmla="*/ 1033874 w 1614899"/>
                      <a:gd name="connsiteY151" fmla="*/ 845344 h 1619250"/>
                      <a:gd name="connsiteX152" fmla="*/ 1048162 w 1614899"/>
                      <a:gd name="connsiteY152" fmla="*/ 857250 h 1619250"/>
                      <a:gd name="connsiteX153" fmla="*/ 1062449 w 1614899"/>
                      <a:gd name="connsiteY153" fmla="*/ 862012 h 1619250"/>
                      <a:gd name="connsiteX154" fmla="*/ 1079118 w 1614899"/>
                      <a:gd name="connsiteY154" fmla="*/ 883444 h 1619250"/>
                      <a:gd name="connsiteX155" fmla="*/ 1081499 w 1614899"/>
                      <a:gd name="connsiteY155" fmla="*/ 890587 h 1619250"/>
                      <a:gd name="connsiteX156" fmla="*/ 1095787 w 1614899"/>
                      <a:gd name="connsiteY156" fmla="*/ 883444 h 1619250"/>
                      <a:gd name="connsiteX157" fmla="*/ 1110074 w 1614899"/>
                      <a:gd name="connsiteY157" fmla="*/ 890587 h 1619250"/>
                      <a:gd name="connsiteX158" fmla="*/ 1121981 w 1614899"/>
                      <a:gd name="connsiteY158" fmla="*/ 902494 h 1619250"/>
                      <a:gd name="connsiteX159" fmla="*/ 1136268 w 1614899"/>
                      <a:gd name="connsiteY159" fmla="*/ 907256 h 1619250"/>
                      <a:gd name="connsiteX160" fmla="*/ 1176749 w 1614899"/>
                      <a:gd name="connsiteY160" fmla="*/ 904875 h 1619250"/>
                      <a:gd name="connsiteX161" fmla="*/ 1195799 w 1614899"/>
                      <a:gd name="connsiteY161" fmla="*/ 904875 h 1619250"/>
                      <a:gd name="connsiteX162" fmla="*/ 1207706 w 1614899"/>
                      <a:gd name="connsiteY162" fmla="*/ 912019 h 1619250"/>
                      <a:gd name="connsiteX163" fmla="*/ 1210087 w 1614899"/>
                      <a:gd name="connsiteY163" fmla="*/ 902494 h 1619250"/>
                      <a:gd name="connsiteX164" fmla="*/ 1219612 w 1614899"/>
                      <a:gd name="connsiteY164" fmla="*/ 900112 h 1619250"/>
                      <a:gd name="connsiteX165" fmla="*/ 1226756 w 1614899"/>
                      <a:gd name="connsiteY165" fmla="*/ 895350 h 1619250"/>
                      <a:gd name="connsiteX166" fmla="*/ 1241043 w 1614899"/>
                      <a:gd name="connsiteY166" fmla="*/ 890587 h 1619250"/>
                      <a:gd name="connsiteX167" fmla="*/ 1255331 w 1614899"/>
                      <a:gd name="connsiteY167" fmla="*/ 892969 h 1619250"/>
                      <a:gd name="connsiteX168" fmla="*/ 1260093 w 1614899"/>
                      <a:gd name="connsiteY168" fmla="*/ 900112 h 1619250"/>
                      <a:gd name="connsiteX169" fmla="*/ 1267237 w 1614899"/>
                      <a:gd name="connsiteY169" fmla="*/ 904875 h 1619250"/>
                      <a:gd name="connsiteX170" fmla="*/ 1271999 w 1614899"/>
                      <a:gd name="connsiteY170" fmla="*/ 919162 h 1619250"/>
                      <a:gd name="connsiteX171" fmla="*/ 1269618 w 1614899"/>
                      <a:gd name="connsiteY171" fmla="*/ 928687 h 1619250"/>
                      <a:gd name="connsiteX172" fmla="*/ 1262474 w 1614899"/>
                      <a:gd name="connsiteY172" fmla="*/ 933450 h 1619250"/>
                      <a:gd name="connsiteX173" fmla="*/ 1255331 w 1614899"/>
                      <a:gd name="connsiteY173" fmla="*/ 940594 h 1619250"/>
                      <a:gd name="connsiteX174" fmla="*/ 1248187 w 1614899"/>
                      <a:gd name="connsiteY174" fmla="*/ 942975 h 1619250"/>
                      <a:gd name="connsiteX175" fmla="*/ 1241043 w 1614899"/>
                      <a:gd name="connsiteY175" fmla="*/ 947737 h 1619250"/>
                      <a:gd name="connsiteX176" fmla="*/ 1226756 w 1614899"/>
                      <a:gd name="connsiteY176" fmla="*/ 954881 h 1619250"/>
                      <a:gd name="connsiteX177" fmla="*/ 1236281 w 1614899"/>
                      <a:gd name="connsiteY177" fmla="*/ 969169 h 1619250"/>
                      <a:gd name="connsiteX178" fmla="*/ 1241043 w 1614899"/>
                      <a:gd name="connsiteY178" fmla="*/ 983456 h 1619250"/>
                      <a:gd name="connsiteX179" fmla="*/ 1250568 w 1614899"/>
                      <a:gd name="connsiteY179" fmla="*/ 997744 h 1619250"/>
                      <a:gd name="connsiteX180" fmla="*/ 1255331 w 1614899"/>
                      <a:gd name="connsiteY180" fmla="*/ 1004887 h 1619250"/>
                      <a:gd name="connsiteX181" fmla="*/ 1262474 w 1614899"/>
                      <a:gd name="connsiteY181" fmla="*/ 997744 h 1619250"/>
                      <a:gd name="connsiteX182" fmla="*/ 1264856 w 1614899"/>
                      <a:gd name="connsiteY182" fmla="*/ 990600 h 1619250"/>
                      <a:gd name="connsiteX183" fmla="*/ 1283906 w 1614899"/>
                      <a:gd name="connsiteY183" fmla="*/ 995362 h 1619250"/>
                      <a:gd name="connsiteX184" fmla="*/ 1291049 w 1614899"/>
                      <a:gd name="connsiteY184" fmla="*/ 1000125 h 1619250"/>
                      <a:gd name="connsiteX185" fmla="*/ 1298193 w 1614899"/>
                      <a:gd name="connsiteY185" fmla="*/ 1002506 h 1619250"/>
                      <a:gd name="connsiteX186" fmla="*/ 1322006 w 1614899"/>
                      <a:gd name="connsiteY186" fmla="*/ 1007269 h 1619250"/>
                      <a:gd name="connsiteX187" fmla="*/ 1336293 w 1614899"/>
                      <a:gd name="connsiteY187" fmla="*/ 1012031 h 1619250"/>
                      <a:gd name="connsiteX188" fmla="*/ 1355343 w 1614899"/>
                      <a:gd name="connsiteY188" fmla="*/ 1016794 h 1619250"/>
                      <a:gd name="connsiteX189" fmla="*/ 1362487 w 1614899"/>
                      <a:gd name="connsiteY189" fmla="*/ 1023937 h 1619250"/>
                      <a:gd name="connsiteX190" fmla="*/ 1376774 w 1614899"/>
                      <a:gd name="connsiteY190" fmla="*/ 1028700 h 1619250"/>
                      <a:gd name="connsiteX191" fmla="*/ 1391062 w 1614899"/>
                      <a:gd name="connsiteY191" fmla="*/ 1033462 h 1619250"/>
                      <a:gd name="connsiteX192" fmla="*/ 1398206 w 1614899"/>
                      <a:gd name="connsiteY192" fmla="*/ 1035844 h 1619250"/>
                      <a:gd name="connsiteX193" fmla="*/ 1405349 w 1614899"/>
                      <a:gd name="connsiteY193" fmla="*/ 1038225 h 1619250"/>
                      <a:gd name="connsiteX194" fmla="*/ 1412493 w 1614899"/>
                      <a:gd name="connsiteY194" fmla="*/ 1042987 h 1619250"/>
                      <a:gd name="connsiteX195" fmla="*/ 1426781 w 1614899"/>
                      <a:gd name="connsiteY195" fmla="*/ 1050131 h 1619250"/>
                      <a:gd name="connsiteX196" fmla="*/ 1436306 w 1614899"/>
                      <a:gd name="connsiteY196" fmla="*/ 1062037 h 1619250"/>
                      <a:gd name="connsiteX197" fmla="*/ 1441068 w 1614899"/>
                      <a:gd name="connsiteY197" fmla="*/ 1069181 h 1619250"/>
                      <a:gd name="connsiteX198" fmla="*/ 1450593 w 1614899"/>
                      <a:gd name="connsiteY198" fmla="*/ 1071562 h 1619250"/>
                      <a:gd name="connsiteX199" fmla="*/ 1464881 w 1614899"/>
                      <a:gd name="connsiteY199" fmla="*/ 1076325 h 1619250"/>
                      <a:gd name="connsiteX200" fmla="*/ 1467262 w 1614899"/>
                      <a:gd name="connsiteY200" fmla="*/ 1083469 h 1619250"/>
                      <a:gd name="connsiteX201" fmla="*/ 1488693 w 1614899"/>
                      <a:gd name="connsiteY201" fmla="*/ 1092994 h 1619250"/>
                      <a:gd name="connsiteX202" fmla="*/ 1500599 w 1614899"/>
                      <a:gd name="connsiteY202" fmla="*/ 1095375 h 1619250"/>
                      <a:gd name="connsiteX203" fmla="*/ 1514887 w 1614899"/>
                      <a:gd name="connsiteY203" fmla="*/ 1097756 h 1619250"/>
                      <a:gd name="connsiteX204" fmla="*/ 1522031 w 1614899"/>
                      <a:gd name="connsiteY204" fmla="*/ 1100137 h 1619250"/>
                      <a:gd name="connsiteX205" fmla="*/ 1541081 w 1614899"/>
                      <a:gd name="connsiteY205" fmla="*/ 1104900 h 1619250"/>
                      <a:gd name="connsiteX206" fmla="*/ 1545843 w 1614899"/>
                      <a:gd name="connsiteY206" fmla="*/ 1112044 h 1619250"/>
                      <a:gd name="connsiteX207" fmla="*/ 1543462 w 1614899"/>
                      <a:gd name="connsiteY207" fmla="*/ 1119187 h 1619250"/>
                      <a:gd name="connsiteX208" fmla="*/ 1557749 w 1614899"/>
                      <a:gd name="connsiteY208" fmla="*/ 1128712 h 1619250"/>
                      <a:gd name="connsiteX209" fmla="*/ 1564893 w 1614899"/>
                      <a:gd name="connsiteY209" fmla="*/ 1133475 h 1619250"/>
                      <a:gd name="connsiteX210" fmla="*/ 1579181 w 1614899"/>
                      <a:gd name="connsiteY210" fmla="*/ 1147762 h 1619250"/>
                      <a:gd name="connsiteX211" fmla="*/ 1593468 w 1614899"/>
                      <a:gd name="connsiteY211" fmla="*/ 1152525 h 1619250"/>
                      <a:gd name="connsiteX212" fmla="*/ 1600612 w 1614899"/>
                      <a:gd name="connsiteY212" fmla="*/ 1154906 h 1619250"/>
                      <a:gd name="connsiteX213" fmla="*/ 1607756 w 1614899"/>
                      <a:gd name="connsiteY213" fmla="*/ 1162050 h 1619250"/>
                      <a:gd name="connsiteX214" fmla="*/ 1610137 w 1614899"/>
                      <a:gd name="connsiteY214" fmla="*/ 1169194 h 1619250"/>
                      <a:gd name="connsiteX215" fmla="*/ 1614899 w 1614899"/>
                      <a:gd name="connsiteY215" fmla="*/ 1176337 h 1619250"/>
                      <a:gd name="connsiteX216" fmla="*/ 1612518 w 1614899"/>
                      <a:gd name="connsiteY216" fmla="*/ 1195387 h 1619250"/>
                      <a:gd name="connsiteX217" fmla="*/ 1610137 w 1614899"/>
                      <a:gd name="connsiteY217" fmla="*/ 1202531 h 1619250"/>
                      <a:gd name="connsiteX218" fmla="*/ 1602993 w 1614899"/>
                      <a:gd name="connsiteY218" fmla="*/ 1204912 h 1619250"/>
                      <a:gd name="connsiteX219" fmla="*/ 1600612 w 1614899"/>
                      <a:gd name="connsiteY219" fmla="*/ 1212056 h 1619250"/>
                      <a:gd name="connsiteX220" fmla="*/ 1598231 w 1614899"/>
                      <a:gd name="connsiteY220" fmla="*/ 1247775 h 1619250"/>
                      <a:gd name="connsiteX221" fmla="*/ 1579181 w 1614899"/>
                      <a:gd name="connsiteY221" fmla="*/ 1245394 h 1619250"/>
                      <a:gd name="connsiteX222" fmla="*/ 1550606 w 1614899"/>
                      <a:gd name="connsiteY222" fmla="*/ 1231106 h 1619250"/>
                      <a:gd name="connsiteX223" fmla="*/ 1543462 w 1614899"/>
                      <a:gd name="connsiteY223" fmla="*/ 1226344 h 1619250"/>
                      <a:gd name="connsiteX224" fmla="*/ 1543462 w 1614899"/>
                      <a:gd name="connsiteY224" fmla="*/ 1197769 h 1619250"/>
                      <a:gd name="connsiteX225" fmla="*/ 1545843 w 1614899"/>
                      <a:gd name="connsiteY225" fmla="*/ 1183481 h 1619250"/>
                      <a:gd name="connsiteX226" fmla="*/ 1531556 w 1614899"/>
                      <a:gd name="connsiteY226" fmla="*/ 1176337 h 1619250"/>
                      <a:gd name="connsiteX227" fmla="*/ 1529174 w 1614899"/>
                      <a:gd name="connsiteY227" fmla="*/ 1169194 h 1619250"/>
                      <a:gd name="connsiteX228" fmla="*/ 1531556 w 1614899"/>
                      <a:gd name="connsiteY228" fmla="*/ 1152525 h 1619250"/>
                      <a:gd name="connsiteX229" fmla="*/ 1524412 w 1614899"/>
                      <a:gd name="connsiteY229" fmla="*/ 1154906 h 1619250"/>
                      <a:gd name="connsiteX230" fmla="*/ 1517268 w 1614899"/>
                      <a:gd name="connsiteY230" fmla="*/ 1159669 h 1619250"/>
                      <a:gd name="connsiteX231" fmla="*/ 1502981 w 1614899"/>
                      <a:gd name="connsiteY231" fmla="*/ 1164431 h 1619250"/>
                      <a:gd name="connsiteX232" fmla="*/ 1481549 w 1614899"/>
                      <a:gd name="connsiteY232" fmla="*/ 1169194 h 1619250"/>
                      <a:gd name="connsiteX233" fmla="*/ 1457737 w 1614899"/>
                      <a:gd name="connsiteY233" fmla="*/ 1164431 h 1619250"/>
                      <a:gd name="connsiteX234" fmla="*/ 1443449 w 1614899"/>
                      <a:gd name="connsiteY234" fmla="*/ 1154906 h 1619250"/>
                      <a:gd name="connsiteX235" fmla="*/ 1436306 w 1614899"/>
                      <a:gd name="connsiteY235" fmla="*/ 1150144 h 1619250"/>
                      <a:gd name="connsiteX236" fmla="*/ 1426781 w 1614899"/>
                      <a:gd name="connsiteY236" fmla="*/ 1140619 h 1619250"/>
                      <a:gd name="connsiteX237" fmla="*/ 1402968 w 1614899"/>
                      <a:gd name="connsiteY237" fmla="*/ 1138237 h 1619250"/>
                      <a:gd name="connsiteX238" fmla="*/ 1395824 w 1614899"/>
                      <a:gd name="connsiteY238" fmla="*/ 1145381 h 1619250"/>
                      <a:gd name="connsiteX239" fmla="*/ 1374393 w 1614899"/>
                      <a:gd name="connsiteY239" fmla="*/ 1162050 h 1619250"/>
                      <a:gd name="connsiteX240" fmla="*/ 1367249 w 1614899"/>
                      <a:gd name="connsiteY240" fmla="*/ 1188244 h 1619250"/>
                      <a:gd name="connsiteX241" fmla="*/ 1357724 w 1614899"/>
                      <a:gd name="connsiteY241" fmla="*/ 1202531 h 1619250"/>
                      <a:gd name="connsiteX242" fmla="*/ 1348199 w 1614899"/>
                      <a:gd name="connsiteY242" fmla="*/ 1212056 h 1619250"/>
                      <a:gd name="connsiteX243" fmla="*/ 1345818 w 1614899"/>
                      <a:gd name="connsiteY243" fmla="*/ 1219200 h 1619250"/>
                      <a:gd name="connsiteX244" fmla="*/ 1341056 w 1614899"/>
                      <a:gd name="connsiteY244" fmla="*/ 1228725 h 1619250"/>
                      <a:gd name="connsiteX245" fmla="*/ 1350581 w 1614899"/>
                      <a:gd name="connsiteY245" fmla="*/ 1243012 h 1619250"/>
                      <a:gd name="connsiteX246" fmla="*/ 1343437 w 1614899"/>
                      <a:gd name="connsiteY246" fmla="*/ 1266825 h 1619250"/>
                      <a:gd name="connsiteX247" fmla="*/ 1345818 w 1614899"/>
                      <a:gd name="connsiteY247" fmla="*/ 1281112 h 1619250"/>
                      <a:gd name="connsiteX248" fmla="*/ 1348199 w 1614899"/>
                      <a:gd name="connsiteY248" fmla="*/ 1290637 h 1619250"/>
                      <a:gd name="connsiteX249" fmla="*/ 1355343 w 1614899"/>
                      <a:gd name="connsiteY249" fmla="*/ 1297781 h 1619250"/>
                      <a:gd name="connsiteX250" fmla="*/ 1362487 w 1614899"/>
                      <a:gd name="connsiteY250" fmla="*/ 1300162 h 1619250"/>
                      <a:gd name="connsiteX251" fmla="*/ 1386299 w 1614899"/>
                      <a:gd name="connsiteY251" fmla="*/ 1302544 h 1619250"/>
                      <a:gd name="connsiteX252" fmla="*/ 1395824 w 1614899"/>
                      <a:gd name="connsiteY252" fmla="*/ 1309687 h 1619250"/>
                      <a:gd name="connsiteX253" fmla="*/ 1410112 w 1614899"/>
                      <a:gd name="connsiteY253" fmla="*/ 1314450 h 1619250"/>
                      <a:gd name="connsiteX254" fmla="*/ 1417256 w 1614899"/>
                      <a:gd name="connsiteY254" fmla="*/ 1319212 h 1619250"/>
                      <a:gd name="connsiteX255" fmla="*/ 1431543 w 1614899"/>
                      <a:gd name="connsiteY255" fmla="*/ 1326356 h 1619250"/>
                      <a:gd name="connsiteX256" fmla="*/ 1433924 w 1614899"/>
                      <a:gd name="connsiteY256" fmla="*/ 1333500 h 1619250"/>
                      <a:gd name="connsiteX257" fmla="*/ 1429162 w 1614899"/>
                      <a:gd name="connsiteY257" fmla="*/ 1340644 h 1619250"/>
                      <a:gd name="connsiteX258" fmla="*/ 1426781 w 1614899"/>
                      <a:gd name="connsiteY258" fmla="*/ 1347787 h 1619250"/>
                      <a:gd name="connsiteX259" fmla="*/ 1431543 w 1614899"/>
                      <a:gd name="connsiteY259" fmla="*/ 1354931 h 1619250"/>
                      <a:gd name="connsiteX260" fmla="*/ 1436306 w 1614899"/>
                      <a:gd name="connsiteY260" fmla="*/ 1364456 h 1619250"/>
                      <a:gd name="connsiteX261" fmla="*/ 1443449 w 1614899"/>
                      <a:gd name="connsiteY261" fmla="*/ 1395412 h 1619250"/>
                      <a:gd name="connsiteX262" fmla="*/ 1450593 w 1614899"/>
                      <a:gd name="connsiteY262" fmla="*/ 1402556 h 1619250"/>
                      <a:gd name="connsiteX263" fmla="*/ 1448212 w 1614899"/>
                      <a:gd name="connsiteY263" fmla="*/ 1412081 h 1619250"/>
                      <a:gd name="connsiteX264" fmla="*/ 1433924 w 1614899"/>
                      <a:gd name="connsiteY264" fmla="*/ 1416844 h 1619250"/>
                      <a:gd name="connsiteX265" fmla="*/ 1419637 w 1614899"/>
                      <a:gd name="connsiteY265" fmla="*/ 1423987 h 1619250"/>
                      <a:gd name="connsiteX266" fmla="*/ 1405349 w 1614899"/>
                      <a:gd name="connsiteY266" fmla="*/ 1431131 h 1619250"/>
                      <a:gd name="connsiteX267" fmla="*/ 1398206 w 1614899"/>
                      <a:gd name="connsiteY267" fmla="*/ 1435894 h 1619250"/>
                      <a:gd name="connsiteX268" fmla="*/ 1383918 w 1614899"/>
                      <a:gd name="connsiteY268" fmla="*/ 1440656 h 1619250"/>
                      <a:gd name="connsiteX269" fmla="*/ 1376774 w 1614899"/>
                      <a:gd name="connsiteY269" fmla="*/ 1443037 h 1619250"/>
                      <a:gd name="connsiteX270" fmla="*/ 1364868 w 1614899"/>
                      <a:gd name="connsiteY270" fmla="*/ 1464469 h 1619250"/>
                      <a:gd name="connsiteX271" fmla="*/ 1362487 w 1614899"/>
                      <a:gd name="connsiteY271" fmla="*/ 1473994 h 1619250"/>
                      <a:gd name="connsiteX272" fmla="*/ 1364868 w 1614899"/>
                      <a:gd name="connsiteY272" fmla="*/ 1497806 h 1619250"/>
                      <a:gd name="connsiteX273" fmla="*/ 1372012 w 1614899"/>
                      <a:gd name="connsiteY273" fmla="*/ 1500187 h 1619250"/>
                      <a:gd name="connsiteX274" fmla="*/ 1369631 w 1614899"/>
                      <a:gd name="connsiteY274" fmla="*/ 1516856 h 1619250"/>
                      <a:gd name="connsiteX275" fmla="*/ 1367249 w 1614899"/>
                      <a:gd name="connsiteY275" fmla="*/ 1524000 h 1619250"/>
                      <a:gd name="connsiteX276" fmla="*/ 1360106 w 1614899"/>
                      <a:gd name="connsiteY276" fmla="*/ 1526381 h 1619250"/>
                      <a:gd name="connsiteX277" fmla="*/ 1352962 w 1614899"/>
                      <a:gd name="connsiteY277" fmla="*/ 1531144 h 1619250"/>
                      <a:gd name="connsiteX278" fmla="*/ 1343437 w 1614899"/>
                      <a:gd name="connsiteY278" fmla="*/ 1535906 h 1619250"/>
                      <a:gd name="connsiteX279" fmla="*/ 1329149 w 1614899"/>
                      <a:gd name="connsiteY279" fmla="*/ 1550194 h 1619250"/>
                      <a:gd name="connsiteX280" fmla="*/ 1326768 w 1614899"/>
                      <a:gd name="connsiteY280" fmla="*/ 1559719 h 1619250"/>
                      <a:gd name="connsiteX281" fmla="*/ 1322006 w 1614899"/>
                      <a:gd name="connsiteY281" fmla="*/ 1566862 h 1619250"/>
                      <a:gd name="connsiteX282" fmla="*/ 1319624 w 1614899"/>
                      <a:gd name="connsiteY282" fmla="*/ 1578769 h 1619250"/>
                      <a:gd name="connsiteX283" fmla="*/ 1317243 w 1614899"/>
                      <a:gd name="connsiteY283" fmla="*/ 1585912 h 1619250"/>
                      <a:gd name="connsiteX284" fmla="*/ 1314862 w 1614899"/>
                      <a:gd name="connsiteY284" fmla="*/ 1602581 h 1619250"/>
                      <a:gd name="connsiteX285" fmla="*/ 1283906 w 1614899"/>
                      <a:gd name="connsiteY285" fmla="*/ 1614487 h 1619250"/>
                      <a:gd name="connsiteX286" fmla="*/ 1274381 w 1614899"/>
                      <a:gd name="connsiteY286" fmla="*/ 1616869 h 1619250"/>
                      <a:gd name="connsiteX287" fmla="*/ 1260093 w 1614899"/>
                      <a:gd name="connsiteY287" fmla="*/ 1619250 h 1619250"/>
                      <a:gd name="connsiteX288" fmla="*/ 1248187 w 1614899"/>
                      <a:gd name="connsiteY288" fmla="*/ 1616869 h 1619250"/>
                      <a:gd name="connsiteX289" fmla="*/ 1243424 w 1614899"/>
                      <a:gd name="connsiteY289" fmla="*/ 1597819 h 1619250"/>
                      <a:gd name="connsiteX290" fmla="*/ 1238662 w 1614899"/>
                      <a:gd name="connsiteY290" fmla="*/ 1581150 h 1619250"/>
                      <a:gd name="connsiteX291" fmla="*/ 1243424 w 1614899"/>
                      <a:gd name="connsiteY291" fmla="*/ 1566862 h 1619250"/>
                      <a:gd name="connsiteX292" fmla="*/ 1252949 w 1614899"/>
                      <a:gd name="connsiteY292" fmla="*/ 1552575 h 1619250"/>
                      <a:gd name="connsiteX293" fmla="*/ 1260093 w 1614899"/>
                      <a:gd name="connsiteY293" fmla="*/ 1550194 h 1619250"/>
                      <a:gd name="connsiteX294" fmla="*/ 1267237 w 1614899"/>
                      <a:gd name="connsiteY294" fmla="*/ 1543050 h 1619250"/>
                      <a:gd name="connsiteX295" fmla="*/ 1269618 w 1614899"/>
                      <a:gd name="connsiteY295" fmla="*/ 1535906 h 1619250"/>
                      <a:gd name="connsiteX296" fmla="*/ 1274381 w 1614899"/>
                      <a:gd name="connsiteY296" fmla="*/ 1526381 h 1619250"/>
                      <a:gd name="connsiteX297" fmla="*/ 1267237 w 1614899"/>
                      <a:gd name="connsiteY297" fmla="*/ 1502569 h 1619250"/>
                      <a:gd name="connsiteX298" fmla="*/ 1252949 w 1614899"/>
                      <a:gd name="connsiteY298" fmla="*/ 1493044 h 1619250"/>
                      <a:gd name="connsiteX299" fmla="*/ 1262474 w 1614899"/>
                      <a:gd name="connsiteY299" fmla="*/ 1478756 h 1619250"/>
                      <a:gd name="connsiteX300" fmla="*/ 1279143 w 1614899"/>
                      <a:gd name="connsiteY300" fmla="*/ 1462087 h 1619250"/>
                      <a:gd name="connsiteX301" fmla="*/ 1302956 w 1614899"/>
                      <a:gd name="connsiteY301" fmla="*/ 1459706 h 1619250"/>
                      <a:gd name="connsiteX302" fmla="*/ 1305337 w 1614899"/>
                      <a:gd name="connsiteY302" fmla="*/ 1450181 h 1619250"/>
                      <a:gd name="connsiteX303" fmla="*/ 1310099 w 1614899"/>
                      <a:gd name="connsiteY303" fmla="*/ 1443037 h 1619250"/>
                      <a:gd name="connsiteX304" fmla="*/ 1312481 w 1614899"/>
                      <a:gd name="connsiteY304" fmla="*/ 1435894 h 1619250"/>
                      <a:gd name="connsiteX305" fmla="*/ 1305337 w 1614899"/>
                      <a:gd name="connsiteY305" fmla="*/ 1428750 h 1619250"/>
                      <a:gd name="connsiteX306" fmla="*/ 1298193 w 1614899"/>
                      <a:gd name="connsiteY306" fmla="*/ 1423987 h 1619250"/>
                      <a:gd name="connsiteX307" fmla="*/ 1295812 w 1614899"/>
                      <a:gd name="connsiteY307" fmla="*/ 1412081 h 1619250"/>
                      <a:gd name="connsiteX308" fmla="*/ 1293431 w 1614899"/>
                      <a:gd name="connsiteY308" fmla="*/ 1402556 h 1619250"/>
                      <a:gd name="connsiteX309" fmla="*/ 1288668 w 1614899"/>
                      <a:gd name="connsiteY309" fmla="*/ 1369219 h 1619250"/>
                      <a:gd name="connsiteX310" fmla="*/ 1286287 w 1614899"/>
                      <a:gd name="connsiteY310" fmla="*/ 1362075 h 1619250"/>
                      <a:gd name="connsiteX311" fmla="*/ 1276762 w 1614899"/>
                      <a:gd name="connsiteY311" fmla="*/ 1345406 h 1619250"/>
                      <a:gd name="connsiteX312" fmla="*/ 1267237 w 1614899"/>
                      <a:gd name="connsiteY312" fmla="*/ 1343025 h 1619250"/>
                      <a:gd name="connsiteX313" fmla="*/ 1260093 w 1614899"/>
                      <a:gd name="connsiteY313" fmla="*/ 1340644 h 1619250"/>
                      <a:gd name="connsiteX314" fmla="*/ 1252949 w 1614899"/>
                      <a:gd name="connsiteY314" fmla="*/ 1307306 h 1619250"/>
                      <a:gd name="connsiteX315" fmla="*/ 1248187 w 1614899"/>
                      <a:gd name="connsiteY315" fmla="*/ 1293019 h 1619250"/>
                      <a:gd name="connsiteX316" fmla="*/ 1243424 w 1614899"/>
                      <a:gd name="connsiteY316" fmla="*/ 1278731 h 1619250"/>
                      <a:gd name="connsiteX317" fmla="*/ 1241043 w 1614899"/>
                      <a:gd name="connsiteY317" fmla="*/ 1271587 h 1619250"/>
                      <a:gd name="connsiteX318" fmla="*/ 1236281 w 1614899"/>
                      <a:gd name="connsiteY318" fmla="*/ 1262062 h 1619250"/>
                      <a:gd name="connsiteX319" fmla="*/ 1231518 w 1614899"/>
                      <a:gd name="connsiteY319" fmla="*/ 1247775 h 1619250"/>
                      <a:gd name="connsiteX320" fmla="*/ 1224374 w 1614899"/>
                      <a:gd name="connsiteY320" fmla="*/ 1240631 h 1619250"/>
                      <a:gd name="connsiteX321" fmla="*/ 1214849 w 1614899"/>
                      <a:gd name="connsiteY321" fmla="*/ 1226344 h 1619250"/>
                      <a:gd name="connsiteX322" fmla="*/ 1195799 w 1614899"/>
                      <a:gd name="connsiteY322" fmla="*/ 1233487 h 1619250"/>
                      <a:gd name="connsiteX323" fmla="*/ 1198181 w 1614899"/>
                      <a:gd name="connsiteY323" fmla="*/ 1240631 h 1619250"/>
                      <a:gd name="connsiteX324" fmla="*/ 1191037 w 1614899"/>
                      <a:gd name="connsiteY324" fmla="*/ 1243012 h 1619250"/>
                      <a:gd name="connsiteX325" fmla="*/ 1164843 w 1614899"/>
                      <a:gd name="connsiteY325" fmla="*/ 1238250 h 1619250"/>
                      <a:gd name="connsiteX326" fmla="*/ 1155318 w 1614899"/>
                      <a:gd name="connsiteY326" fmla="*/ 1223962 h 1619250"/>
                      <a:gd name="connsiteX327" fmla="*/ 1148174 w 1614899"/>
                      <a:gd name="connsiteY327" fmla="*/ 1216819 h 1619250"/>
                      <a:gd name="connsiteX328" fmla="*/ 1138649 w 1614899"/>
                      <a:gd name="connsiteY328" fmla="*/ 1219200 h 1619250"/>
                      <a:gd name="connsiteX329" fmla="*/ 1131506 w 1614899"/>
                      <a:gd name="connsiteY329" fmla="*/ 1221581 h 1619250"/>
                      <a:gd name="connsiteX330" fmla="*/ 1124362 w 1614899"/>
                      <a:gd name="connsiteY330" fmla="*/ 1219200 h 1619250"/>
                      <a:gd name="connsiteX331" fmla="*/ 1117218 w 1614899"/>
                      <a:gd name="connsiteY331" fmla="*/ 1212056 h 1619250"/>
                      <a:gd name="connsiteX332" fmla="*/ 1117218 w 1614899"/>
                      <a:gd name="connsiteY332" fmla="*/ 1193006 h 1619250"/>
                      <a:gd name="connsiteX333" fmla="*/ 1112456 w 1614899"/>
                      <a:gd name="connsiteY333" fmla="*/ 1154906 h 1619250"/>
                      <a:gd name="connsiteX334" fmla="*/ 1107693 w 1614899"/>
                      <a:gd name="connsiteY334" fmla="*/ 1147762 h 1619250"/>
                      <a:gd name="connsiteX335" fmla="*/ 1100549 w 1614899"/>
                      <a:gd name="connsiteY335" fmla="*/ 1145381 h 1619250"/>
                      <a:gd name="connsiteX336" fmla="*/ 1093406 w 1614899"/>
                      <a:gd name="connsiteY336" fmla="*/ 1147762 h 1619250"/>
                      <a:gd name="connsiteX337" fmla="*/ 1062449 w 1614899"/>
                      <a:gd name="connsiteY337" fmla="*/ 1152525 h 1619250"/>
                      <a:gd name="connsiteX338" fmla="*/ 1045781 w 1614899"/>
                      <a:gd name="connsiteY338" fmla="*/ 1150144 h 1619250"/>
                      <a:gd name="connsiteX339" fmla="*/ 1043399 w 1614899"/>
                      <a:gd name="connsiteY339" fmla="*/ 1143000 h 1619250"/>
                      <a:gd name="connsiteX340" fmla="*/ 1050543 w 1614899"/>
                      <a:gd name="connsiteY340" fmla="*/ 1128712 h 1619250"/>
                      <a:gd name="connsiteX341" fmla="*/ 1041018 w 1614899"/>
                      <a:gd name="connsiteY341" fmla="*/ 1107281 h 1619250"/>
                      <a:gd name="connsiteX342" fmla="*/ 1024349 w 1614899"/>
                      <a:gd name="connsiteY342" fmla="*/ 1109662 h 1619250"/>
                      <a:gd name="connsiteX343" fmla="*/ 1014824 w 1614899"/>
                      <a:gd name="connsiteY343" fmla="*/ 1107281 h 1619250"/>
                      <a:gd name="connsiteX344" fmla="*/ 988631 w 1614899"/>
                      <a:gd name="connsiteY344" fmla="*/ 1109662 h 1619250"/>
                      <a:gd name="connsiteX345" fmla="*/ 986249 w 1614899"/>
                      <a:gd name="connsiteY345" fmla="*/ 1102519 h 1619250"/>
                      <a:gd name="connsiteX346" fmla="*/ 979106 w 1614899"/>
                      <a:gd name="connsiteY346" fmla="*/ 1076325 h 1619250"/>
                      <a:gd name="connsiteX347" fmla="*/ 964818 w 1614899"/>
                      <a:gd name="connsiteY347" fmla="*/ 1064419 h 1619250"/>
                      <a:gd name="connsiteX348" fmla="*/ 950531 w 1614899"/>
                      <a:gd name="connsiteY348" fmla="*/ 1054894 h 1619250"/>
                      <a:gd name="connsiteX349" fmla="*/ 943387 w 1614899"/>
                      <a:gd name="connsiteY349" fmla="*/ 1050131 h 1619250"/>
                      <a:gd name="connsiteX350" fmla="*/ 936243 w 1614899"/>
                      <a:gd name="connsiteY350" fmla="*/ 1045369 h 1619250"/>
                      <a:gd name="connsiteX351" fmla="*/ 931481 w 1614899"/>
                      <a:gd name="connsiteY351" fmla="*/ 1038225 h 1619250"/>
                      <a:gd name="connsiteX352" fmla="*/ 917193 w 1614899"/>
                      <a:gd name="connsiteY352" fmla="*/ 1031081 h 1619250"/>
                      <a:gd name="connsiteX353" fmla="*/ 914812 w 1614899"/>
                      <a:gd name="connsiteY353" fmla="*/ 1040606 h 1619250"/>
                      <a:gd name="connsiteX354" fmla="*/ 907668 w 1614899"/>
                      <a:gd name="connsiteY354" fmla="*/ 1042987 h 1619250"/>
                      <a:gd name="connsiteX355" fmla="*/ 886237 w 1614899"/>
                      <a:gd name="connsiteY355" fmla="*/ 1031081 h 1619250"/>
                      <a:gd name="connsiteX356" fmla="*/ 862424 w 1614899"/>
                      <a:gd name="connsiteY356" fmla="*/ 1035844 h 1619250"/>
                      <a:gd name="connsiteX357" fmla="*/ 845756 w 1614899"/>
                      <a:gd name="connsiteY357" fmla="*/ 1040606 h 1619250"/>
                      <a:gd name="connsiteX358" fmla="*/ 840993 w 1614899"/>
                      <a:gd name="connsiteY358" fmla="*/ 1033462 h 1619250"/>
                      <a:gd name="connsiteX359" fmla="*/ 821943 w 1614899"/>
                      <a:gd name="connsiteY359" fmla="*/ 1004887 h 1619250"/>
                      <a:gd name="connsiteX360" fmla="*/ 814799 w 1614899"/>
                      <a:gd name="connsiteY360" fmla="*/ 1000125 h 1619250"/>
                      <a:gd name="connsiteX361" fmla="*/ 779081 w 1614899"/>
                      <a:gd name="connsiteY361" fmla="*/ 995362 h 1619250"/>
                      <a:gd name="connsiteX362" fmla="*/ 771937 w 1614899"/>
                      <a:gd name="connsiteY362" fmla="*/ 988219 h 1619250"/>
                      <a:gd name="connsiteX363" fmla="*/ 762412 w 1614899"/>
                      <a:gd name="connsiteY363" fmla="*/ 966787 h 1619250"/>
                      <a:gd name="connsiteX364" fmla="*/ 755268 w 1614899"/>
                      <a:gd name="connsiteY364" fmla="*/ 962025 h 1619250"/>
                      <a:gd name="connsiteX365" fmla="*/ 733837 w 1614899"/>
                      <a:gd name="connsiteY365" fmla="*/ 962025 h 1619250"/>
                      <a:gd name="connsiteX366" fmla="*/ 731456 w 1614899"/>
                      <a:gd name="connsiteY366" fmla="*/ 950119 h 1619250"/>
                      <a:gd name="connsiteX367" fmla="*/ 729074 w 1614899"/>
                      <a:gd name="connsiteY367" fmla="*/ 942975 h 1619250"/>
                      <a:gd name="connsiteX368" fmla="*/ 726693 w 1614899"/>
                      <a:gd name="connsiteY368" fmla="*/ 921544 h 1619250"/>
                      <a:gd name="connsiteX369" fmla="*/ 724312 w 1614899"/>
                      <a:gd name="connsiteY369" fmla="*/ 914400 h 1619250"/>
                      <a:gd name="connsiteX370" fmla="*/ 717168 w 1614899"/>
                      <a:gd name="connsiteY370" fmla="*/ 909637 h 1619250"/>
                      <a:gd name="connsiteX371" fmla="*/ 710024 w 1614899"/>
                      <a:gd name="connsiteY371" fmla="*/ 907256 h 1619250"/>
                      <a:gd name="connsiteX372" fmla="*/ 681449 w 1614899"/>
                      <a:gd name="connsiteY372" fmla="*/ 902494 h 1619250"/>
                      <a:gd name="connsiteX373" fmla="*/ 674306 w 1614899"/>
                      <a:gd name="connsiteY373" fmla="*/ 897731 h 1619250"/>
                      <a:gd name="connsiteX374" fmla="*/ 667162 w 1614899"/>
                      <a:gd name="connsiteY374" fmla="*/ 883444 h 1619250"/>
                      <a:gd name="connsiteX375" fmla="*/ 657637 w 1614899"/>
                      <a:gd name="connsiteY375" fmla="*/ 881062 h 1619250"/>
                      <a:gd name="connsiteX376" fmla="*/ 650493 w 1614899"/>
                      <a:gd name="connsiteY376" fmla="*/ 873919 h 1619250"/>
                      <a:gd name="connsiteX377" fmla="*/ 648112 w 1614899"/>
                      <a:gd name="connsiteY377" fmla="*/ 866775 h 1619250"/>
                      <a:gd name="connsiteX378" fmla="*/ 643349 w 1614899"/>
                      <a:gd name="connsiteY378" fmla="*/ 859631 h 1619250"/>
                      <a:gd name="connsiteX379" fmla="*/ 631443 w 1614899"/>
                      <a:gd name="connsiteY379" fmla="*/ 838200 h 1619250"/>
                      <a:gd name="connsiteX380" fmla="*/ 624299 w 1614899"/>
                      <a:gd name="connsiteY380" fmla="*/ 833437 h 1619250"/>
                      <a:gd name="connsiteX381" fmla="*/ 593343 w 1614899"/>
                      <a:gd name="connsiteY381" fmla="*/ 835819 h 1619250"/>
                      <a:gd name="connsiteX382" fmla="*/ 586199 w 1614899"/>
                      <a:gd name="connsiteY382" fmla="*/ 816769 h 1619250"/>
                      <a:gd name="connsiteX383" fmla="*/ 569531 w 1614899"/>
                      <a:gd name="connsiteY383" fmla="*/ 795337 h 1619250"/>
                      <a:gd name="connsiteX384" fmla="*/ 564768 w 1614899"/>
                      <a:gd name="connsiteY384" fmla="*/ 788194 h 1619250"/>
                      <a:gd name="connsiteX385" fmla="*/ 557624 w 1614899"/>
                      <a:gd name="connsiteY385" fmla="*/ 785812 h 1619250"/>
                      <a:gd name="connsiteX386" fmla="*/ 550481 w 1614899"/>
                      <a:gd name="connsiteY386" fmla="*/ 781050 h 1619250"/>
                      <a:gd name="connsiteX387" fmla="*/ 536193 w 1614899"/>
                      <a:gd name="connsiteY387" fmla="*/ 776287 h 1619250"/>
                      <a:gd name="connsiteX388" fmla="*/ 538574 w 1614899"/>
                      <a:gd name="connsiteY388" fmla="*/ 747712 h 1619250"/>
                      <a:gd name="connsiteX389" fmla="*/ 533812 w 1614899"/>
                      <a:gd name="connsiteY389" fmla="*/ 740569 h 1619250"/>
                      <a:gd name="connsiteX390" fmla="*/ 519524 w 1614899"/>
                      <a:gd name="connsiteY390" fmla="*/ 731044 h 1619250"/>
                      <a:gd name="connsiteX391" fmla="*/ 512381 w 1614899"/>
                      <a:gd name="connsiteY391" fmla="*/ 735806 h 1619250"/>
                      <a:gd name="connsiteX392" fmla="*/ 505237 w 1614899"/>
                      <a:gd name="connsiteY392" fmla="*/ 738187 h 1619250"/>
                      <a:gd name="connsiteX393" fmla="*/ 507618 w 1614899"/>
                      <a:gd name="connsiteY393" fmla="*/ 723900 h 1619250"/>
                      <a:gd name="connsiteX394" fmla="*/ 505237 w 1614899"/>
                      <a:gd name="connsiteY394" fmla="*/ 688181 h 1619250"/>
                      <a:gd name="connsiteX395" fmla="*/ 493331 w 1614899"/>
                      <a:gd name="connsiteY395" fmla="*/ 666750 h 1619250"/>
                      <a:gd name="connsiteX396" fmla="*/ 486187 w 1614899"/>
                      <a:gd name="connsiteY396" fmla="*/ 659606 h 1619250"/>
                      <a:gd name="connsiteX397" fmla="*/ 481424 w 1614899"/>
                      <a:gd name="connsiteY397" fmla="*/ 652462 h 1619250"/>
                      <a:gd name="connsiteX398" fmla="*/ 479043 w 1614899"/>
                      <a:gd name="connsiteY398" fmla="*/ 614362 h 1619250"/>
                      <a:gd name="connsiteX399" fmla="*/ 474281 w 1614899"/>
                      <a:gd name="connsiteY399" fmla="*/ 595312 h 1619250"/>
                      <a:gd name="connsiteX400" fmla="*/ 467137 w 1614899"/>
                      <a:gd name="connsiteY400" fmla="*/ 578644 h 1619250"/>
                      <a:gd name="connsiteX401" fmla="*/ 459993 w 1614899"/>
                      <a:gd name="connsiteY401" fmla="*/ 571500 h 1619250"/>
                      <a:gd name="connsiteX402" fmla="*/ 440943 w 1614899"/>
                      <a:gd name="connsiteY402" fmla="*/ 554831 h 1619250"/>
                      <a:gd name="connsiteX403" fmla="*/ 426656 w 1614899"/>
                      <a:gd name="connsiteY403" fmla="*/ 550069 h 1619250"/>
                      <a:gd name="connsiteX404" fmla="*/ 424274 w 1614899"/>
                      <a:gd name="connsiteY404" fmla="*/ 557212 h 1619250"/>
                      <a:gd name="connsiteX405" fmla="*/ 414749 w 1614899"/>
                      <a:gd name="connsiteY405" fmla="*/ 552450 h 1619250"/>
                      <a:gd name="connsiteX406" fmla="*/ 407606 w 1614899"/>
                      <a:gd name="connsiteY406" fmla="*/ 545306 h 1619250"/>
                      <a:gd name="connsiteX407" fmla="*/ 390937 w 1614899"/>
                      <a:gd name="connsiteY407" fmla="*/ 535781 h 1619250"/>
                      <a:gd name="connsiteX408" fmla="*/ 383793 w 1614899"/>
                      <a:gd name="connsiteY408" fmla="*/ 528637 h 1619250"/>
                      <a:gd name="connsiteX409" fmla="*/ 374268 w 1614899"/>
                      <a:gd name="connsiteY409" fmla="*/ 526256 h 1619250"/>
                      <a:gd name="connsiteX410" fmla="*/ 352837 w 1614899"/>
                      <a:gd name="connsiteY410" fmla="*/ 519112 h 1619250"/>
                      <a:gd name="connsiteX411" fmla="*/ 345693 w 1614899"/>
                      <a:gd name="connsiteY411" fmla="*/ 516731 h 1619250"/>
                      <a:gd name="connsiteX412" fmla="*/ 338549 w 1614899"/>
                      <a:gd name="connsiteY412" fmla="*/ 514350 h 1619250"/>
                      <a:gd name="connsiteX413" fmla="*/ 326643 w 1614899"/>
                      <a:gd name="connsiteY413" fmla="*/ 504825 h 1619250"/>
                      <a:gd name="connsiteX414" fmla="*/ 321881 w 1614899"/>
                      <a:gd name="connsiteY414" fmla="*/ 497681 h 1619250"/>
                      <a:gd name="connsiteX415" fmla="*/ 314737 w 1614899"/>
                      <a:gd name="connsiteY415" fmla="*/ 490537 h 1619250"/>
                      <a:gd name="connsiteX416" fmla="*/ 307593 w 1614899"/>
                      <a:gd name="connsiteY416" fmla="*/ 485775 h 1619250"/>
                      <a:gd name="connsiteX417" fmla="*/ 293306 w 1614899"/>
                      <a:gd name="connsiteY417" fmla="*/ 481012 h 1619250"/>
                      <a:gd name="connsiteX418" fmla="*/ 269493 w 1614899"/>
                      <a:gd name="connsiteY418" fmla="*/ 483394 h 1619250"/>
                      <a:gd name="connsiteX419" fmla="*/ 259968 w 1614899"/>
                      <a:gd name="connsiteY419" fmla="*/ 490537 h 1619250"/>
                      <a:gd name="connsiteX420" fmla="*/ 243299 w 1614899"/>
                      <a:gd name="connsiteY420" fmla="*/ 497681 h 1619250"/>
                      <a:gd name="connsiteX421" fmla="*/ 236156 w 1614899"/>
                      <a:gd name="connsiteY421" fmla="*/ 502444 h 1619250"/>
                      <a:gd name="connsiteX422" fmla="*/ 233774 w 1614899"/>
                      <a:gd name="connsiteY422" fmla="*/ 509587 h 1619250"/>
                      <a:gd name="connsiteX423" fmla="*/ 231393 w 1614899"/>
                      <a:gd name="connsiteY423" fmla="*/ 519112 h 1619250"/>
                      <a:gd name="connsiteX424" fmla="*/ 224249 w 1614899"/>
                      <a:gd name="connsiteY424" fmla="*/ 521494 h 1619250"/>
                      <a:gd name="connsiteX425" fmla="*/ 209962 w 1614899"/>
                      <a:gd name="connsiteY425" fmla="*/ 528637 h 1619250"/>
                      <a:gd name="connsiteX426" fmla="*/ 200437 w 1614899"/>
                      <a:gd name="connsiteY426" fmla="*/ 542925 h 1619250"/>
                      <a:gd name="connsiteX427" fmla="*/ 195674 w 1614899"/>
                      <a:gd name="connsiteY427" fmla="*/ 557212 h 1619250"/>
                      <a:gd name="connsiteX428" fmla="*/ 188531 w 1614899"/>
                      <a:gd name="connsiteY428" fmla="*/ 559594 h 1619250"/>
                      <a:gd name="connsiteX429" fmla="*/ 176624 w 1614899"/>
                      <a:gd name="connsiteY429" fmla="*/ 564356 h 1619250"/>
                      <a:gd name="connsiteX430" fmla="*/ 164718 w 1614899"/>
                      <a:gd name="connsiteY430" fmla="*/ 566737 h 1619250"/>
                      <a:gd name="connsiteX431" fmla="*/ 157574 w 1614899"/>
                      <a:gd name="connsiteY431" fmla="*/ 569119 h 1619250"/>
                      <a:gd name="connsiteX432" fmla="*/ 148049 w 1614899"/>
                      <a:gd name="connsiteY432" fmla="*/ 571500 h 1619250"/>
                      <a:gd name="connsiteX433" fmla="*/ 140906 w 1614899"/>
                      <a:gd name="connsiteY433" fmla="*/ 573881 h 1619250"/>
                      <a:gd name="connsiteX434" fmla="*/ 121856 w 1614899"/>
                      <a:gd name="connsiteY434" fmla="*/ 576262 h 1619250"/>
                      <a:gd name="connsiteX435" fmla="*/ 119474 w 1614899"/>
                      <a:gd name="connsiteY435" fmla="*/ 571500 h 1619250"/>
                      <a:gd name="connsiteX436" fmla="*/ 128999 w 1614899"/>
                      <a:gd name="connsiteY436" fmla="*/ 557212 h 1619250"/>
                      <a:gd name="connsiteX437" fmla="*/ 131381 w 1614899"/>
                      <a:gd name="connsiteY437" fmla="*/ 550069 h 1619250"/>
                      <a:gd name="connsiteX438" fmla="*/ 140906 w 1614899"/>
                      <a:gd name="connsiteY438" fmla="*/ 535781 h 1619250"/>
                      <a:gd name="connsiteX439" fmla="*/ 133762 w 1614899"/>
                      <a:gd name="connsiteY439" fmla="*/ 533400 h 1619250"/>
                      <a:gd name="connsiteX440" fmla="*/ 128999 w 1614899"/>
                      <a:gd name="connsiteY440" fmla="*/ 516731 h 1619250"/>
                      <a:gd name="connsiteX441" fmla="*/ 69468 w 1614899"/>
                      <a:gd name="connsiteY441" fmla="*/ 514350 h 1619250"/>
                      <a:gd name="connsiteX442" fmla="*/ 67087 w 1614899"/>
                      <a:gd name="connsiteY442" fmla="*/ 507206 h 1619250"/>
                      <a:gd name="connsiteX443" fmla="*/ 52799 w 1614899"/>
                      <a:gd name="connsiteY443" fmla="*/ 497681 h 1619250"/>
                      <a:gd name="connsiteX444" fmla="*/ 55181 w 1614899"/>
                      <a:gd name="connsiteY444" fmla="*/ 488156 h 1619250"/>
                      <a:gd name="connsiteX445" fmla="*/ 40893 w 1614899"/>
                      <a:gd name="connsiteY445" fmla="*/ 483394 h 1619250"/>
                      <a:gd name="connsiteX446" fmla="*/ 38512 w 1614899"/>
                      <a:gd name="connsiteY446" fmla="*/ 471487 h 1619250"/>
                      <a:gd name="connsiteX447" fmla="*/ 36131 w 1614899"/>
                      <a:gd name="connsiteY447" fmla="*/ 464344 h 1619250"/>
                      <a:gd name="connsiteX448" fmla="*/ 38512 w 1614899"/>
                      <a:gd name="connsiteY448" fmla="*/ 452437 h 1619250"/>
                      <a:gd name="connsiteX449" fmla="*/ 38512 w 1614899"/>
                      <a:gd name="connsiteY449" fmla="*/ 428625 h 1619250"/>
                      <a:gd name="connsiteX450" fmla="*/ 45656 w 1614899"/>
                      <a:gd name="connsiteY450" fmla="*/ 426244 h 1619250"/>
                      <a:gd name="connsiteX451" fmla="*/ 52799 w 1614899"/>
                      <a:gd name="connsiteY451" fmla="*/ 421481 h 1619250"/>
                      <a:gd name="connsiteX452" fmla="*/ 59943 w 1614899"/>
                      <a:gd name="connsiteY452" fmla="*/ 419100 h 1619250"/>
                      <a:gd name="connsiteX453" fmla="*/ 64706 w 1614899"/>
                      <a:gd name="connsiteY453" fmla="*/ 411956 h 1619250"/>
                      <a:gd name="connsiteX454" fmla="*/ 55181 w 1614899"/>
                      <a:gd name="connsiteY454" fmla="*/ 392906 h 1619250"/>
                      <a:gd name="connsiteX455" fmla="*/ 40893 w 1614899"/>
                      <a:gd name="connsiteY455" fmla="*/ 388144 h 1619250"/>
                      <a:gd name="connsiteX456" fmla="*/ 33749 w 1614899"/>
                      <a:gd name="connsiteY456" fmla="*/ 390525 h 1619250"/>
                      <a:gd name="connsiteX457" fmla="*/ 28987 w 1614899"/>
                      <a:gd name="connsiteY457" fmla="*/ 390525 h 1619250"/>
                      <a:gd name="connsiteX458" fmla="*/ 21843 w 1614899"/>
                      <a:gd name="connsiteY458" fmla="*/ 388144 h 1619250"/>
                      <a:gd name="connsiteX459" fmla="*/ 14699 w 1614899"/>
                      <a:gd name="connsiteY459" fmla="*/ 364331 h 1619250"/>
                      <a:gd name="connsiteX460" fmla="*/ 2793 w 1614899"/>
                      <a:gd name="connsiteY460" fmla="*/ 361950 h 1619250"/>
                      <a:gd name="connsiteX461" fmla="*/ 2793 w 1614899"/>
                      <a:gd name="connsiteY461" fmla="*/ 345281 h 1619250"/>
                      <a:gd name="connsiteX462" fmla="*/ 17081 w 1614899"/>
                      <a:gd name="connsiteY462" fmla="*/ 340519 h 1619250"/>
                      <a:gd name="connsiteX463" fmla="*/ 24224 w 1614899"/>
                      <a:gd name="connsiteY463" fmla="*/ 347662 h 1619250"/>
                      <a:gd name="connsiteX464" fmla="*/ 40893 w 1614899"/>
                      <a:gd name="connsiteY464" fmla="*/ 342900 h 1619250"/>
                      <a:gd name="connsiteX465" fmla="*/ 57562 w 1614899"/>
                      <a:gd name="connsiteY465" fmla="*/ 333375 h 1619250"/>
                      <a:gd name="connsiteX466" fmla="*/ 64706 w 1614899"/>
                      <a:gd name="connsiteY466" fmla="*/ 328612 h 1619250"/>
                      <a:gd name="connsiteX467" fmla="*/ 71849 w 1614899"/>
                      <a:gd name="connsiteY467" fmla="*/ 326231 h 1619250"/>
                      <a:gd name="connsiteX468" fmla="*/ 90899 w 1614899"/>
                      <a:gd name="connsiteY468" fmla="*/ 321469 h 1619250"/>
                      <a:gd name="connsiteX469" fmla="*/ 86137 w 1614899"/>
                      <a:gd name="connsiteY469" fmla="*/ 311944 h 1619250"/>
                      <a:gd name="connsiteX470" fmla="*/ 88518 w 1614899"/>
                      <a:gd name="connsiteY470" fmla="*/ 292894 h 1619250"/>
                      <a:gd name="connsiteX471" fmla="*/ 90899 w 1614899"/>
                      <a:gd name="connsiteY471" fmla="*/ 285750 h 1619250"/>
                      <a:gd name="connsiteX472" fmla="*/ 76612 w 1614899"/>
                      <a:gd name="connsiteY472" fmla="*/ 280987 h 1619250"/>
                      <a:gd name="connsiteX473" fmla="*/ 71849 w 1614899"/>
                      <a:gd name="connsiteY473" fmla="*/ 273844 h 1619250"/>
                      <a:gd name="connsiteX474" fmla="*/ 67087 w 1614899"/>
                      <a:gd name="connsiteY474" fmla="*/ 250031 h 1619250"/>
                      <a:gd name="connsiteX475" fmla="*/ 45656 w 1614899"/>
                      <a:gd name="connsiteY475" fmla="*/ 250031 h 1619250"/>
                      <a:gd name="connsiteX476" fmla="*/ 40893 w 1614899"/>
                      <a:gd name="connsiteY476" fmla="*/ 242887 h 1619250"/>
                      <a:gd name="connsiteX477" fmla="*/ 43274 w 1614899"/>
                      <a:gd name="connsiteY477" fmla="*/ 223837 h 1619250"/>
                      <a:gd name="connsiteX478" fmla="*/ 57562 w 1614899"/>
                      <a:gd name="connsiteY478" fmla="*/ 211931 h 1619250"/>
                      <a:gd name="connsiteX479" fmla="*/ 74231 w 1614899"/>
                      <a:gd name="connsiteY479" fmla="*/ 200025 h 1619250"/>
                      <a:gd name="connsiteX480" fmla="*/ 81374 w 1614899"/>
                      <a:gd name="connsiteY480" fmla="*/ 202406 h 1619250"/>
                      <a:gd name="connsiteX481" fmla="*/ 83756 w 1614899"/>
                      <a:gd name="connsiteY481" fmla="*/ 209550 h 1619250"/>
                      <a:gd name="connsiteX482" fmla="*/ 102806 w 1614899"/>
                      <a:gd name="connsiteY482" fmla="*/ 204787 h 1619250"/>
                      <a:gd name="connsiteX483" fmla="*/ 109949 w 1614899"/>
                      <a:gd name="connsiteY483" fmla="*/ 200025 h 1619250"/>
                      <a:gd name="connsiteX484" fmla="*/ 119474 w 1614899"/>
                      <a:gd name="connsiteY484" fmla="*/ 197644 h 1619250"/>
                      <a:gd name="connsiteX485" fmla="*/ 133762 w 1614899"/>
                      <a:gd name="connsiteY485" fmla="*/ 192881 h 1619250"/>
                      <a:gd name="connsiteX486" fmla="*/ 140906 w 1614899"/>
                      <a:gd name="connsiteY486" fmla="*/ 190500 h 1619250"/>
                      <a:gd name="connsiteX487" fmla="*/ 148049 w 1614899"/>
                      <a:gd name="connsiteY487" fmla="*/ 195262 h 1619250"/>
                      <a:gd name="connsiteX488" fmla="*/ 155193 w 1614899"/>
                      <a:gd name="connsiteY488" fmla="*/ 204787 h 1619250"/>
                      <a:gd name="connsiteX489" fmla="*/ 164718 w 1614899"/>
                      <a:gd name="connsiteY489" fmla="*/ 202406 h 1619250"/>
                      <a:gd name="connsiteX490" fmla="*/ 190912 w 1614899"/>
                      <a:gd name="connsiteY490" fmla="*/ 200025 h 1619250"/>
                      <a:gd name="connsiteX491" fmla="*/ 193293 w 1614899"/>
                      <a:gd name="connsiteY491" fmla="*/ 192881 h 1619250"/>
                      <a:gd name="connsiteX492" fmla="*/ 198056 w 1614899"/>
                      <a:gd name="connsiteY492" fmla="*/ 185737 h 1619250"/>
                      <a:gd name="connsiteX493" fmla="*/ 195674 w 1614899"/>
                      <a:gd name="connsiteY493" fmla="*/ 178594 h 1619250"/>
                      <a:gd name="connsiteX494" fmla="*/ 186149 w 1614899"/>
                      <a:gd name="connsiteY494" fmla="*/ 159544 h 1619250"/>
                      <a:gd name="connsiteX495" fmla="*/ 217106 w 1614899"/>
                      <a:gd name="connsiteY495" fmla="*/ 152400 h 1619250"/>
                      <a:gd name="connsiteX496" fmla="*/ 209962 w 1614899"/>
                      <a:gd name="connsiteY496" fmla="*/ 145256 h 1619250"/>
                      <a:gd name="connsiteX497" fmla="*/ 202818 w 1614899"/>
                      <a:gd name="connsiteY497" fmla="*/ 140494 h 1619250"/>
                      <a:gd name="connsiteX498" fmla="*/ 212343 w 1614899"/>
                      <a:gd name="connsiteY498" fmla="*/ 133350 h 1619250"/>
                      <a:gd name="connsiteX499" fmla="*/ 233774 w 1614899"/>
                      <a:gd name="connsiteY499" fmla="*/ 123825 h 1619250"/>
                      <a:gd name="connsiteX500" fmla="*/ 238537 w 1614899"/>
                      <a:gd name="connsiteY500" fmla="*/ 116681 h 1619250"/>
                      <a:gd name="connsiteX501" fmla="*/ 240918 w 1614899"/>
                      <a:gd name="connsiteY501" fmla="*/ 107156 h 1619250"/>
                      <a:gd name="connsiteX502" fmla="*/ 248062 w 1614899"/>
                      <a:gd name="connsiteY502" fmla="*/ 109537 h 1619250"/>
                      <a:gd name="connsiteX503" fmla="*/ 250443 w 1614899"/>
                      <a:gd name="connsiteY503" fmla="*/ 116681 h 1619250"/>
                      <a:gd name="connsiteX504" fmla="*/ 252824 w 1614899"/>
                      <a:gd name="connsiteY504" fmla="*/ 130969 h 1619250"/>
                      <a:gd name="connsiteX505" fmla="*/ 269493 w 1614899"/>
                      <a:gd name="connsiteY505" fmla="*/ 138112 h 1619250"/>
                      <a:gd name="connsiteX506" fmla="*/ 271874 w 1614899"/>
                      <a:gd name="connsiteY506" fmla="*/ 145256 h 1619250"/>
                      <a:gd name="connsiteX507" fmla="*/ 264731 w 1614899"/>
                      <a:gd name="connsiteY507" fmla="*/ 152400 h 1619250"/>
                      <a:gd name="connsiteX508" fmla="*/ 262349 w 1614899"/>
                      <a:gd name="connsiteY508" fmla="*/ 159544 h 1619250"/>
                      <a:gd name="connsiteX509" fmla="*/ 264731 w 1614899"/>
                      <a:gd name="connsiteY509" fmla="*/ 173831 h 1619250"/>
                      <a:gd name="connsiteX510" fmla="*/ 274256 w 1614899"/>
                      <a:gd name="connsiteY510" fmla="*/ 176212 h 1619250"/>
                      <a:gd name="connsiteX511" fmla="*/ 295687 w 1614899"/>
                      <a:gd name="connsiteY511" fmla="*/ 178594 h 1619250"/>
                      <a:gd name="connsiteX512" fmla="*/ 293306 w 1614899"/>
                      <a:gd name="connsiteY512" fmla="*/ 185737 h 1619250"/>
                      <a:gd name="connsiteX513" fmla="*/ 295687 w 1614899"/>
                      <a:gd name="connsiteY513" fmla="*/ 200025 h 1619250"/>
                      <a:gd name="connsiteX514" fmla="*/ 302831 w 1614899"/>
                      <a:gd name="connsiteY514" fmla="*/ 216694 h 1619250"/>
                      <a:gd name="connsiteX515" fmla="*/ 307593 w 1614899"/>
                      <a:gd name="connsiteY515" fmla="*/ 223837 h 1619250"/>
                      <a:gd name="connsiteX516" fmla="*/ 314737 w 1614899"/>
                      <a:gd name="connsiteY516" fmla="*/ 228600 h 1619250"/>
                      <a:gd name="connsiteX517" fmla="*/ 326643 w 1614899"/>
                      <a:gd name="connsiteY517" fmla="*/ 226219 h 1619250"/>
                      <a:gd name="connsiteX518" fmla="*/ 321881 w 1614899"/>
                      <a:gd name="connsiteY518" fmla="*/ 200025 h 1619250"/>
                      <a:gd name="connsiteX519" fmla="*/ 314737 w 1614899"/>
                      <a:gd name="connsiteY519" fmla="*/ 197644 h 1619250"/>
                      <a:gd name="connsiteX520" fmla="*/ 324262 w 1614899"/>
                      <a:gd name="connsiteY520" fmla="*/ 180975 h 1619250"/>
                      <a:gd name="connsiteX521" fmla="*/ 329024 w 1614899"/>
                      <a:gd name="connsiteY521" fmla="*/ 173831 h 1619250"/>
                      <a:gd name="connsiteX522" fmla="*/ 343312 w 1614899"/>
                      <a:gd name="connsiteY522" fmla="*/ 159544 h 1619250"/>
                      <a:gd name="connsiteX523" fmla="*/ 348074 w 1614899"/>
                      <a:gd name="connsiteY523" fmla="*/ 145256 h 1619250"/>
                      <a:gd name="connsiteX524" fmla="*/ 350456 w 1614899"/>
                      <a:gd name="connsiteY524" fmla="*/ 114300 h 1619250"/>
                      <a:gd name="connsiteX525" fmla="*/ 357599 w 1614899"/>
                      <a:gd name="connsiteY525" fmla="*/ 111919 h 1619250"/>
                      <a:gd name="connsiteX526" fmla="*/ 364743 w 1614899"/>
                      <a:gd name="connsiteY526" fmla="*/ 114300 h 1619250"/>
                      <a:gd name="connsiteX527" fmla="*/ 371887 w 1614899"/>
                      <a:gd name="connsiteY527" fmla="*/ 114300 h 1619250"/>
                      <a:gd name="connsiteX528" fmla="*/ 381412 w 1614899"/>
                      <a:gd name="connsiteY528" fmla="*/ 138112 h 1619250"/>
                      <a:gd name="connsiteX529" fmla="*/ 395699 w 1614899"/>
                      <a:gd name="connsiteY529" fmla="*/ 150019 h 1619250"/>
                      <a:gd name="connsiteX530" fmla="*/ 409987 w 1614899"/>
                      <a:gd name="connsiteY530" fmla="*/ 147637 h 1619250"/>
                      <a:gd name="connsiteX531" fmla="*/ 412368 w 1614899"/>
                      <a:gd name="connsiteY531" fmla="*/ 133350 h 1619250"/>
                      <a:gd name="connsiteX532" fmla="*/ 426656 w 1614899"/>
                      <a:gd name="connsiteY532" fmla="*/ 128587 h 1619250"/>
                      <a:gd name="connsiteX533" fmla="*/ 433799 w 1614899"/>
                      <a:gd name="connsiteY533" fmla="*/ 142875 h 1619250"/>
                      <a:gd name="connsiteX534" fmla="*/ 448087 w 1614899"/>
                      <a:gd name="connsiteY534" fmla="*/ 161925 h 1619250"/>
                      <a:gd name="connsiteX535" fmla="*/ 464756 w 1614899"/>
                      <a:gd name="connsiteY535" fmla="*/ 159544 h 1619250"/>
                      <a:gd name="connsiteX536" fmla="*/ 452849 w 1614899"/>
                      <a:gd name="connsiteY536" fmla="*/ 138112 h 1619250"/>
                      <a:gd name="connsiteX537" fmla="*/ 450468 w 1614899"/>
                      <a:gd name="connsiteY537" fmla="*/ 111919 h 1619250"/>
                      <a:gd name="connsiteX538" fmla="*/ 443324 w 1614899"/>
                      <a:gd name="connsiteY538" fmla="*/ 107156 h 1619250"/>
                      <a:gd name="connsiteX539" fmla="*/ 440943 w 1614899"/>
                      <a:gd name="connsiteY539" fmla="*/ 100012 h 1619250"/>
                      <a:gd name="connsiteX540" fmla="*/ 450468 w 1614899"/>
                      <a:gd name="connsiteY540" fmla="*/ 88106 h 1619250"/>
                      <a:gd name="connsiteX541" fmla="*/ 476662 w 1614899"/>
                      <a:gd name="connsiteY541" fmla="*/ 90487 h 1619250"/>
                      <a:gd name="connsiteX542" fmla="*/ 486187 w 1614899"/>
                      <a:gd name="connsiteY542" fmla="*/ 92869 h 1619250"/>
                      <a:gd name="connsiteX543" fmla="*/ 493331 w 1614899"/>
                      <a:gd name="connsiteY543" fmla="*/ 97631 h 1619250"/>
                      <a:gd name="connsiteX544" fmla="*/ 502856 w 1614899"/>
                      <a:gd name="connsiteY544" fmla="*/ 95250 h 1619250"/>
                      <a:gd name="connsiteX545" fmla="*/ 509999 w 1614899"/>
                      <a:gd name="connsiteY545" fmla="*/ 90487 h 1619250"/>
                      <a:gd name="connsiteX546" fmla="*/ 507618 w 1614899"/>
                      <a:gd name="connsiteY546" fmla="*/ 83344 h 1619250"/>
                      <a:gd name="connsiteX547" fmla="*/ 500474 w 1614899"/>
                      <a:gd name="connsiteY547" fmla="*/ 80962 h 1619250"/>
                      <a:gd name="connsiteX548" fmla="*/ 493331 w 1614899"/>
                      <a:gd name="connsiteY548" fmla="*/ 76200 h 1619250"/>
                      <a:gd name="connsiteX549" fmla="*/ 495712 w 1614899"/>
                      <a:gd name="connsiteY549"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05262 w 1614899"/>
                      <a:gd name="connsiteY86" fmla="*/ 316706 h 1619250"/>
                      <a:gd name="connsiteX87" fmla="*/ 719549 w 1614899"/>
                      <a:gd name="connsiteY87" fmla="*/ 328612 h 1619250"/>
                      <a:gd name="connsiteX88" fmla="*/ 714787 w 1614899"/>
                      <a:gd name="connsiteY88" fmla="*/ 335756 h 1619250"/>
                      <a:gd name="connsiteX89" fmla="*/ 717168 w 1614899"/>
                      <a:gd name="connsiteY89" fmla="*/ 342900 h 1619250"/>
                      <a:gd name="connsiteX90" fmla="*/ 721931 w 1614899"/>
                      <a:gd name="connsiteY90" fmla="*/ 347662 h 1619250"/>
                      <a:gd name="connsiteX91" fmla="*/ 733837 w 1614899"/>
                      <a:gd name="connsiteY91" fmla="*/ 357187 h 1619250"/>
                      <a:gd name="connsiteX92" fmla="*/ 740981 w 1614899"/>
                      <a:gd name="connsiteY92" fmla="*/ 354806 h 1619250"/>
                      <a:gd name="connsiteX93" fmla="*/ 755268 w 1614899"/>
                      <a:gd name="connsiteY93" fmla="*/ 350044 h 1619250"/>
                      <a:gd name="connsiteX94" fmla="*/ 752887 w 1614899"/>
                      <a:gd name="connsiteY94" fmla="*/ 359569 h 1619250"/>
                      <a:gd name="connsiteX95" fmla="*/ 755268 w 1614899"/>
                      <a:gd name="connsiteY95" fmla="*/ 371475 h 1619250"/>
                      <a:gd name="connsiteX96" fmla="*/ 762412 w 1614899"/>
                      <a:gd name="connsiteY96" fmla="*/ 373856 h 1619250"/>
                      <a:gd name="connsiteX97" fmla="*/ 745743 w 1614899"/>
                      <a:gd name="connsiteY97" fmla="*/ 390525 h 1619250"/>
                      <a:gd name="connsiteX98" fmla="*/ 750506 w 1614899"/>
                      <a:gd name="connsiteY98" fmla="*/ 397669 h 1619250"/>
                      <a:gd name="connsiteX99" fmla="*/ 745743 w 1614899"/>
                      <a:gd name="connsiteY99" fmla="*/ 411956 h 1619250"/>
                      <a:gd name="connsiteX100" fmla="*/ 731456 w 1614899"/>
                      <a:gd name="connsiteY100" fmla="*/ 404812 h 1619250"/>
                      <a:gd name="connsiteX101" fmla="*/ 724312 w 1614899"/>
                      <a:gd name="connsiteY101" fmla="*/ 409575 h 1619250"/>
                      <a:gd name="connsiteX102" fmla="*/ 721931 w 1614899"/>
                      <a:gd name="connsiteY102" fmla="*/ 416719 h 1619250"/>
                      <a:gd name="connsiteX103" fmla="*/ 736218 w 1614899"/>
                      <a:gd name="connsiteY103" fmla="*/ 426244 h 1619250"/>
                      <a:gd name="connsiteX104" fmla="*/ 731456 w 1614899"/>
                      <a:gd name="connsiteY104" fmla="*/ 442912 h 1619250"/>
                      <a:gd name="connsiteX105" fmla="*/ 729074 w 1614899"/>
                      <a:gd name="connsiteY105" fmla="*/ 450056 h 1619250"/>
                      <a:gd name="connsiteX106" fmla="*/ 731456 w 1614899"/>
                      <a:gd name="connsiteY106" fmla="*/ 481012 h 1619250"/>
                      <a:gd name="connsiteX107" fmla="*/ 736218 w 1614899"/>
                      <a:gd name="connsiteY107" fmla="*/ 488156 h 1619250"/>
                      <a:gd name="connsiteX108" fmla="*/ 743362 w 1614899"/>
                      <a:gd name="connsiteY108" fmla="*/ 509587 h 1619250"/>
                      <a:gd name="connsiteX109" fmla="*/ 745743 w 1614899"/>
                      <a:gd name="connsiteY109" fmla="*/ 516731 h 1619250"/>
                      <a:gd name="connsiteX110" fmla="*/ 760031 w 1614899"/>
                      <a:gd name="connsiteY110" fmla="*/ 526256 h 1619250"/>
                      <a:gd name="connsiteX111" fmla="*/ 764793 w 1614899"/>
                      <a:gd name="connsiteY111" fmla="*/ 533400 h 1619250"/>
                      <a:gd name="connsiteX112" fmla="*/ 769556 w 1614899"/>
                      <a:gd name="connsiteY112" fmla="*/ 547687 h 1619250"/>
                      <a:gd name="connsiteX113" fmla="*/ 748124 w 1614899"/>
                      <a:gd name="connsiteY113" fmla="*/ 552450 h 1619250"/>
                      <a:gd name="connsiteX114" fmla="*/ 740981 w 1614899"/>
                      <a:gd name="connsiteY114" fmla="*/ 554831 h 1619250"/>
                      <a:gd name="connsiteX115" fmla="*/ 729074 w 1614899"/>
                      <a:gd name="connsiteY115" fmla="*/ 557212 h 1619250"/>
                      <a:gd name="connsiteX116" fmla="*/ 736218 w 1614899"/>
                      <a:gd name="connsiteY116" fmla="*/ 559594 h 1619250"/>
                      <a:gd name="connsiteX117" fmla="*/ 757649 w 1614899"/>
                      <a:gd name="connsiteY117" fmla="*/ 550069 h 1619250"/>
                      <a:gd name="connsiteX118" fmla="*/ 762412 w 1614899"/>
                      <a:gd name="connsiteY118" fmla="*/ 540544 h 1619250"/>
                      <a:gd name="connsiteX119" fmla="*/ 769556 w 1614899"/>
                      <a:gd name="connsiteY119" fmla="*/ 542925 h 1619250"/>
                      <a:gd name="connsiteX120" fmla="*/ 776699 w 1614899"/>
                      <a:gd name="connsiteY120" fmla="*/ 550069 h 1619250"/>
                      <a:gd name="connsiteX121" fmla="*/ 793368 w 1614899"/>
                      <a:gd name="connsiteY121" fmla="*/ 552450 h 1619250"/>
                      <a:gd name="connsiteX122" fmla="*/ 807656 w 1614899"/>
                      <a:gd name="connsiteY122" fmla="*/ 557212 h 1619250"/>
                      <a:gd name="connsiteX123" fmla="*/ 814799 w 1614899"/>
                      <a:gd name="connsiteY123" fmla="*/ 559594 h 1619250"/>
                      <a:gd name="connsiteX124" fmla="*/ 821943 w 1614899"/>
                      <a:gd name="connsiteY124" fmla="*/ 566737 h 1619250"/>
                      <a:gd name="connsiteX125" fmla="*/ 829087 w 1614899"/>
                      <a:gd name="connsiteY125" fmla="*/ 569119 h 1619250"/>
                      <a:gd name="connsiteX126" fmla="*/ 836231 w 1614899"/>
                      <a:gd name="connsiteY126" fmla="*/ 573881 h 1619250"/>
                      <a:gd name="connsiteX127" fmla="*/ 843374 w 1614899"/>
                      <a:gd name="connsiteY127" fmla="*/ 588169 h 1619250"/>
                      <a:gd name="connsiteX128" fmla="*/ 852899 w 1614899"/>
                      <a:gd name="connsiteY128" fmla="*/ 597694 h 1619250"/>
                      <a:gd name="connsiteX129" fmla="*/ 902906 w 1614899"/>
                      <a:gd name="connsiteY129" fmla="*/ 604837 h 1619250"/>
                      <a:gd name="connsiteX130" fmla="*/ 914812 w 1614899"/>
                      <a:gd name="connsiteY130" fmla="*/ 626269 h 1619250"/>
                      <a:gd name="connsiteX131" fmla="*/ 919574 w 1614899"/>
                      <a:gd name="connsiteY131" fmla="*/ 633412 h 1619250"/>
                      <a:gd name="connsiteX132" fmla="*/ 919574 w 1614899"/>
                      <a:gd name="connsiteY132" fmla="*/ 671512 h 1619250"/>
                      <a:gd name="connsiteX133" fmla="*/ 926718 w 1614899"/>
                      <a:gd name="connsiteY133" fmla="*/ 676275 h 1619250"/>
                      <a:gd name="connsiteX134" fmla="*/ 933862 w 1614899"/>
                      <a:gd name="connsiteY134" fmla="*/ 690562 h 1619250"/>
                      <a:gd name="connsiteX135" fmla="*/ 936243 w 1614899"/>
                      <a:gd name="connsiteY135" fmla="*/ 702469 h 1619250"/>
                      <a:gd name="connsiteX136" fmla="*/ 943387 w 1614899"/>
                      <a:gd name="connsiteY136" fmla="*/ 709612 h 1619250"/>
                      <a:gd name="connsiteX137" fmla="*/ 945768 w 1614899"/>
                      <a:gd name="connsiteY137" fmla="*/ 723900 h 1619250"/>
                      <a:gd name="connsiteX138" fmla="*/ 955293 w 1614899"/>
                      <a:gd name="connsiteY138" fmla="*/ 738187 h 1619250"/>
                      <a:gd name="connsiteX139" fmla="*/ 964818 w 1614899"/>
                      <a:gd name="connsiteY139" fmla="*/ 752475 h 1619250"/>
                      <a:gd name="connsiteX140" fmla="*/ 967199 w 1614899"/>
                      <a:gd name="connsiteY140" fmla="*/ 759619 h 1619250"/>
                      <a:gd name="connsiteX141" fmla="*/ 974343 w 1614899"/>
                      <a:gd name="connsiteY141" fmla="*/ 769144 h 1619250"/>
                      <a:gd name="connsiteX142" fmla="*/ 979106 w 1614899"/>
                      <a:gd name="connsiteY142" fmla="*/ 783431 h 1619250"/>
                      <a:gd name="connsiteX143" fmla="*/ 981487 w 1614899"/>
                      <a:gd name="connsiteY143" fmla="*/ 790575 h 1619250"/>
                      <a:gd name="connsiteX144" fmla="*/ 991012 w 1614899"/>
                      <a:gd name="connsiteY144" fmla="*/ 804862 h 1619250"/>
                      <a:gd name="connsiteX145" fmla="*/ 998156 w 1614899"/>
                      <a:gd name="connsiteY145" fmla="*/ 819150 h 1619250"/>
                      <a:gd name="connsiteX146" fmla="*/ 1000537 w 1614899"/>
                      <a:gd name="connsiteY146" fmla="*/ 826294 h 1619250"/>
                      <a:gd name="connsiteX147" fmla="*/ 1007681 w 1614899"/>
                      <a:gd name="connsiteY147" fmla="*/ 828675 h 1619250"/>
                      <a:gd name="connsiteX148" fmla="*/ 1014824 w 1614899"/>
                      <a:gd name="connsiteY148" fmla="*/ 833437 h 1619250"/>
                      <a:gd name="connsiteX149" fmla="*/ 1029112 w 1614899"/>
                      <a:gd name="connsiteY149" fmla="*/ 838200 h 1619250"/>
                      <a:gd name="connsiteX150" fmla="*/ 1033874 w 1614899"/>
                      <a:gd name="connsiteY150" fmla="*/ 845344 h 1619250"/>
                      <a:gd name="connsiteX151" fmla="*/ 1048162 w 1614899"/>
                      <a:gd name="connsiteY151" fmla="*/ 857250 h 1619250"/>
                      <a:gd name="connsiteX152" fmla="*/ 1062449 w 1614899"/>
                      <a:gd name="connsiteY152" fmla="*/ 862012 h 1619250"/>
                      <a:gd name="connsiteX153" fmla="*/ 1079118 w 1614899"/>
                      <a:gd name="connsiteY153" fmla="*/ 883444 h 1619250"/>
                      <a:gd name="connsiteX154" fmla="*/ 1081499 w 1614899"/>
                      <a:gd name="connsiteY154" fmla="*/ 890587 h 1619250"/>
                      <a:gd name="connsiteX155" fmla="*/ 1095787 w 1614899"/>
                      <a:gd name="connsiteY155" fmla="*/ 883444 h 1619250"/>
                      <a:gd name="connsiteX156" fmla="*/ 1110074 w 1614899"/>
                      <a:gd name="connsiteY156" fmla="*/ 890587 h 1619250"/>
                      <a:gd name="connsiteX157" fmla="*/ 1121981 w 1614899"/>
                      <a:gd name="connsiteY157" fmla="*/ 902494 h 1619250"/>
                      <a:gd name="connsiteX158" fmla="*/ 1136268 w 1614899"/>
                      <a:gd name="connsiteY158" fmla="*/ 907256 h 1619250"/>
                      <a:gd name="connsiteX159" fmla="*/ 1176749 w 1614899"/>
                      <a:gd name="connsiteY159" fmla="*/ 904875 h 1619250"/>
                      <a:gd name="connsiteX160" fmla="*/ 1195799 w 1614899"/>
                      <a:gd name="connsiteY160" fmla="*/ 904875 h 1619250"/>
                      <a:gd name="connsiteX161" fmla="*/ 1207706 w 1614899"/>
                      <a:gd name="connsiteY161" fmla="*/ 912019 h 1619250"/>
                      <a:gd name="connsiteX162" fmla="*/ 1210087 w 1614899"/>
                      <a:gd name="connsiteY162" fmla="*/ 902494 h 1619250"/>
                      <a:gd name="connsiteX163" fmla="*/ 1219612 w 1614899"/>
                      <a:gd name="connsiteY163" fmla="*/ 900112 h 1619250"/>
                      <a:gd name="connsiteX164" fmla="*/ 1226756 w 1614899"/>
                      <a:gd name="connsiteY164" fmla="*/ 895350 h 1619250"/>
                      <a:gd name="connsiteX165" fmla="*/ 1241043 w 1614899"/>
                      <a:gd name="connsiteY165" fmla="*/ 890587 h 1619250"/>
                      <a:gd name="connsiteX166" fmla="*/ 1255331 w 1614899"/>
                      <a:gd name="connsiteY166" fmla="*/ 892969 h 1619250"/>
                      <a:gd name="connsiteX167" fmla="*/ 1260093 w 1614899"/>
                      <a:gd name="connsiteY167" fmla="*/ 900112 h 1619250"/>
                      <a:gd name="connsiteX168" fmla="*/ 1267237 w 1614899"/>
                      <a:gd name="connsiteY168" fmla="*/ 904875 h 1619250"/>
                      <a:gd name="connsiteX169" fmla="*/ 1271999 w 1614899"/>
                      <a:gd name="connsiteY169" fmla="*/ 919162 h 1619250"/>
                      <a:gd name="connsiteX170" fmla="*/ 1269618 w 1614899"/>
                      <a:gd name="connsiteY170" fmla="*/ 928687 h 1619250"/>
                      <a:gd name="connsiteX171" fmla="*/ 1262474 w 1614899"/>
                      <a:gd name="connsiteY171" fmla="*/ 933450 h 1619250"/>
                      <a:gd name="connsiteX172" fmla="*/ 1255331 w 1614899"/>
                      <a:gd name="connsiteY172" fmla="*/ 940594 h 1619250"/>
                      <a:gd name="connsiteX173" fmla="*/ 1248187 w 1614899"/>
                      <a:gd name="connsiteY173" fmla="*/ 942975 h 1619250"/>
                      <a:gd name="connsiteX174" fmla="*/ 1241043 w 1614899"/>
                      <a:gd name="connsiteY174" fmla="*/ 947737 h 1619250"/>
                      <a:gd name="connsiteX175" fmla="*/ 1226756 w 1614899"/>
                      <a:gd name="connsiteY175" fmla="*/ 954881 h 1619250"/>
                      <a:gd name="connsiteX176" fmla="*/ 1236281 w 1614899"/>
                      <a:gd name="connsiteY176" fmla="*/ 969169 h 1619250"/>
                      <a:gd name="connsiteX177" fmla="*/ 1241043 w 1614899"/>
                      <a:gd name="connsiteY177" fmla="*/ 983456 h 1619250"/>
                      <a:gd name="connsiteX178" fmla="*/ 1250568 w 1614899"/>
                      <a:gd name="connsiteY178" fmla="*/ 997744 h 1619250"/>
                      <a:gd name="connsiteX179" fmla="*/ 1255331 w 1614899"/>
                      <a:gd name="connsiteY179" fmla="*/ 1004887 h 1619250"/>
                      <a:gd name="connsiteX180" fmla="*/ 1262474 w 1614899"/>
                      <a:gd name="connsiteY180" fmla="*/ 997744 h 1619250"/>
                      <a:gd name="connsiteX181" fmla="*/ 1264856 w 1614899"/>
                      <a:gd name="connsiteY181" fmla="*/ 990600 h 1619250"/>
                      <a:gd name="connsiteX182" fmla="*/ 1283906 w 1614899"/>
                      <a:gd name="connsiteY182" fmla="*/ 995362 h 1619250"/>
                      <a:gd name="connsiteX183" fmla="*/ 1291049 w 1614899"/>
                      <a:gd name="connsiteY183" fmla="*/ 1000125 h 1619250"/>
                      <a:gd name="connsiteX184" fmla="*/ 1298193 w 1614899"/>
                      <a:gd name="connsiteY184" fmla="*/ 1002506 h 1619250"/>
                      <a:gd name="connsiteX185" fmla="*/ 1322006 w 1614899"/>
                      <a:gd name="connsiteY185" fmla="*/ 1007269 h 1619250"/>
                      <a:gd name="connsiteX186" fmla="*/ 1336293 w 1614899"/>
                      <a:gd name="connsiteY186" fmla="*/ 1012031 h 1619250"/>
                      <a:gd name="connsiteX187" fmla="*/ 1355343 w 1614899"/>
                      <a:gd name="connsiteY187" fmla="*/ 1016794 h 1619250"/>
                      <a:gd name="connsiteX188" fmla="*/ 1362487 w 1614899"/>
                      <a:gd name="connsiteY188" fmla="*/ 1023937 h 1619250"/>
                      <a:gd name="connsiteX189" fmla="*/ 1376774 w 1614899"/>
                      <a:gd name="connsiteY189" fmla="*/ 1028700 h 1619250"/>
                      <a:gd name="connsiteX190" fmla="*/ 1391062 w 1614899"/>
                      <a:gd name="connsiteY190" fmla="*/ 1033462 h 1619250"/>
                      <a:gd name="connsiteX191" fmla="*/ 1398206 w 1614899"/>
                      <a:gd name="connsiteY191" fmla="*/ 1035844 h 1619250"/>
                      <a:gd name="connsiteX192" fmla="*/ 1405349 w 1614899"/>
                      <a:gd name="connsiteY192" fmla="*/ 1038225 h 1619250"/>
                      <a:gd name="connsiteX193" fmla="*/ 1412493 w 1614899"/>
                      <a:gd name="connsiteY193" fmla="*/ 1042987 h 1619250"/>
                      <a:gd name="connsiteX194" fmla="*/ 1426781 w 1614899"/>
                      <a:gd name="connsiteY194" fmla="*/ 1050131 h 1619250"/>
                      <a:gd name="connsiteX195" fmla="*/ 1436306 w 1614899"/>
                      <a:gd name="connsiteY195" fmla="*/ 1062037 h 1619250"/>
                      <a:gd name="connsiteX196" fmla="*/ 1441068 w 1614899"/>
                      <a:gd name="connsiteY196" fmla="*/ 1069181 h 1619250"/>
                      <a:gd name="connsiteX197" fmla="*/ 1450593 w 1614899"/>
                      <a:gd name="connsiteY197" fmla="*/ 1071562 h 1619250"/>
                      <a:gd name="connsiteX198" fmla="*/ 1464881 w 1614899"/>
                      <a:gd name="connsiteY198" fmla="*/ 1076325 h 1619250"/>
                      <a:gd name="connsiteX199" fmla="*/ 1467262 w 1614899"/>
                      <a:gd name="connsiteY199" fmla="*/ 1083469 h 1619250"/>
                      <a:gd name="connsiteX200" fmla="*/ 1488693 w 1614899"/>
                      <a:gd name="connsiteY200" fmla="*/ 1092994 h 1619250"/>
                      <a:gd name="connsiteX201" fmla="*/ 1500599 w 1614899"/>
                      <a:gd name="connsiteY201" fmla="*/ 1095375 h 1619250"/>
                      <a:gd name="connsiteX202" fmla="*/ 1514887 w 1614899"/>
                      <a:gd name="connsiteY202" fmla="*/ 1097756 h 1619250"/>
                      <a:gd name="connsiteX203" fmla="*/ 1522031 w 1614899"/>
                      <a:gd name="connsiteY203" fmla="*/ 1100137 h 1619250"/>
                      <a:gd name="connsiteX204" fmla="*/ 1541081 w 1614899"/>
                      <a:gd name="connsiteY204" fmla="*/ 1104900 h 1619250"/>
                      <a:gd name="connsiteX205" fmla="*/ 1545843 w 1614899"/>
                      <a:gd name="connsiteY205" fmla="*/ 1112044 h 1619250"/>
                      <a:gd name="connsiteX206" fmla="*/ 1543462 w 1614899"/>
                      <a:gd name="connsiteY206" fmla="*/ 1119187 h 1619250"/>
                      <a:gd name="connsiteX207" fmla="*/ 1557749 w 1614899"/>
                      <a:gd name="connsiteY207" fmla="*/ 1128712 h 1619250"/>
                      <a:gd name="connsiteX208" fmla="*/ 1564893 w 1614899"/>
                      <a:gd name="connsiteY208" fmla="*/ 1133475 h 1619250"/>
                      <a:gd name="connsiteX209" fmla="*/ 1579181 w 1614899"/>
                      <a:gd name="connsiteY209" fmla="*/ 1147762 h 1619250"/>
                      <a:gd name="connsiteX210" fmla="*/ 1593468 w 1614899"/>
                      <a:gd name="connsiteY210" fmla="*/ 1152525 h 1619250"/>
                      <a:gd name="connsiteX211" fmla="*/ 1600612 w 1614899"/>
                      <a:gd name="connsiteY211" fmla="*/ 1154906 h 1619250"/>
                      <a:gd name="connsiteX212" fmla="*/ 1607756 w 1614899"/>
                      <a:gd name="connsiteY212" fmla="*/ 1162050 h 1619250"/>
                      <a:gd name="connsiteX213" fmla="*/ 1610137 w 1614899"/>
                      <a:gd name="connsiteY213" fmla="*/ 1169194 h 1619250"/>
                      <a:gd name="connsiteX214" fmla="*/ 1614899 w 1614899"/>
                      <a:gd name="connsiteY214" fmla="*/ 1176337 h 1619250"/>
                      <a:gd name="connsiteX215" fmla="*/ 1612518 w 1614899"/>
                      <a:gd name="connsiteY215" fmla="*/ 1195387 h 1619250"/>
                      <a:gd name="connsiteX216" fmla="*/ 1610137 w 1614899"/>
                      <a:gd name="connsiteY216" fmla="*/ 1202531 h 1619250"/>
                      <a:gd name="connsiteX217" fmla="*/ 1602993 w 1614899"/>
                      <a:gd name="connsiteY217" fmla="*/ 1204912 h 1619250"/>
                      <a:gd name="connsiteX218" fmla="*/ 1600612 w 1614899"/>
                      <a:gd name="connsiteY218" fmla="*/ 1212056 h 1619250"/>
                      <a:gd name="connsiteX219" fmla="*/ 1598231 w 1614899"/>
                      <a:gd name="connsiteY219" fmla="*/ 1247775 h 1619250"/>
                      <a:gd name="connsiteX220" fmla="*/ 1579181 w 1614899"/>
                      <a:gd name="connsiteY220" fmla="*/ 1245394 h 1619250"/>
                      <a:gd name="connsiteX221" fmla="*/ 1550606 w 1614899"/>
                      <a:gd name="connsiteY221" fmla="*/ 1231106 h 1619250"/>
                      <a:gd name="connsiteX222" fmla="*/ 1543462 w 1614899"/>
                      <a:gd name="connsiteY222" fmla="*/ 1226344 h 1619250"/>
                      <a:gd name="connsiteX223" fmla="*/ 1543462 w 1614899"/>
                      <a:gd name="connsiteY223" fmla="*/ 1197769 h 1619250"/>
                      <a:gd name="connsiteX224" fmla="*/ 1545843 w 1614899"/>
                      <a:gd name="connsiteY224" fmla="*/ 1183481 h 1619250"/>
                      <a:gd name="connsiteX225" fmla="*/ 1531556 w 1614899"/>
                      <a:gd name="connsiteY225" fmla="*/ 1176337 h 1619250"/>
                      <a:gd name="connsiteX226" fmla="*/ 1529174 w 1614899"/>
                      <a:gd name="connsiteY226" fmla="*/ 1169194 h 1619250"/>
                      <a:gd name="connsiteX227" fmla="*/ 1531556 w 1614899"/>
                      <a:gd name="connsiteY227" fmla="*/ 1152525 h 1619250"/>
                      <a:gd name="connsiteX228" fmla="*/ 1524412 w 1614899"/>
                      <a:gd name="connsiteY228" fmla="*/ 1154906 h 1619250"/>
                      <a:gd name="connsiteX229" fmla="*/ 1517268 w 1614899"/>
                      <a:gd name="connsiteY229" fmla="*/ 1159669 h 1619250"/>
                      <a:gd name="connsiteX230" fmla="*/ 1502981 w 1614899"/>
                      <a:gd name="connsiteY230" fmla="*/ 1164431 h 1619250"/>
                      <a:gd name="connsiteX231" fmla="*/ 1481549 w 1614899"/>
                      <a:gd name="connsiteY231" fmla="*/ 1169194 h 1619250"/>
                      <a:gd name="connsiteX232" fmla="*/ 1457737 w 1614899"/>
                      <a:gd name="connsiteY232" fmla="*/ 1164431 h 1619250"/>
                      <a:gd name="connsiteX233" fmla="*/ 1443449 w 1614899"/>
                      <a:gd name="connsiteY233" fmla="*/ 1154906 h 1619250"/>
                      <a:gd name="connsiteX234" fmla="*/ 1436306 w 1614899"/>
                      <a:gd name="connsiteY234" fmla="*/ 1150144 h 1619250"/>
                      <a:gd name="connsiteX235" fmla="*/ 1426781 w 1614899"/>
                      <a:gd name="connsiteY235" fmla="*/ 1140619 h 1619250"/>
                      <a:gd name="connsiteX236" fmla="*/ 1402968 w 1614899"/>
                      <a:gd name="connsiteY236" fmla="*/ 1138237 h 1619250"/>
                      <a:gd name="connsiteX237" fmla="*/ 1395824 w 1614899"/>
                      <a:gd name="connsiteY237" fmla="*/ 1145381 h 1619250"/>
                      <a:gd name="connsiteX238" fmla="*/ 1374393 w 1614899"/>
                      <a:gd name="connsiteY238" fmla="*/ 1162050 h 1619250"/>
                      <a:gd name="connsiteX239" fmla="*/ 1367249 w 1614899"/>
                      <a:gd name="connsiteY239" fmla="*/ 1188244 h 1619250"/>
                      <a:gd name="connsiteX240" fmla="*/ 1357724 w 1614899"/>
                      <a:gd name="connsiteY240" fmla="*/ 1202531 h 1619250"/>
                      <a:gd name="connsiteX241" fmla="*/ 1348199 w 1614899"/>
                      <a:gd name="connsiteY241" fmla="*/ 1212056 h 1619250"/>
                      <a:gd name="connsiteX242" fmla="*/ 1345818 w 1614899"/>
                      <a:gd name="connsiteY242" fmla="*/ 1219200 h 1619250"/>
                      <a:gd name="connsiteX243" fmla="*/ 1341056 w 1614899"/>
                      <a:gd name="connsiteY243" fmla="*/ 1228725 h 1619250"/>
                      <a:gd name="connsiteX244" fmla="*/ 1350581 w 1614899"/>
                      <a:gd name="connsiteY244" fmla="*/ 1243012 h 1619250"/>
                      <a:gd name="connsiteX245" fmla="*/ 1343437 w 1614899"/>
                      <a:gd name="connsiteY245" fmla="*/ 1266825 h 1619250"/>
                      <a:gd name="connsiteX246" fmla="*/ 1345818 w 1614899"/>
                      <a:gd name="connsiteY246" fmla="*/ 1281112 h 1619250"/>
                      <a:gd name="connsiteX247" fmla="*/ 1348199 w 1614899"/>
                      <a:gd name="connsiteY247" fmla="*/ 1290637 h 1619250"/>
                      <a:gd name="connsiteX248" fmla="*/ 1355343 w 1614899"/>
                      <a:gd name="connsiteY248" fmla="*/ 1297781 h 1619250"/>
                      <a:gd name="connsiteX249" fmla="*/ 1362487 w 1614899"/>
                      <a:gd name="connsiteY249" fmla="*/ 1300162 h 1619250"/>
                      <a:gd name="connsiteX250" fmla="*/ 1386299 w 1614899"/>
                      <a:gd name="connsiteY250" fmla="*/ 1302544 h 1619250"/>
                      <a:gd name="connsiteX251" fmla="*/ 1395824 w 1614899"/>
                      <a:gd name="connsiteY251" fmla="*/ 1309687 h 1619250"/>
                      <a:gd name="connsiteX252" fmla="*/ 1410112 w 1614899"/>
                      <a:gd name="connsiteY252" fmla="*/ 1314450 h 1619250"/>
                      <a:gd name="connsiteX253" fmla="*/ 1417256 w 1614899"/>
                      <a:gd name="connsiteY253" fmla="*/ 1319212 h 1619250"/>
                      <a:gd name="connsiteX254" fmla="*/ 1431543 w 1614899"/>
                      <a:gd name="connsiteY254" fmla="*/ 1326356 h 1619250"/>
                      <a:gd name="connsiteX255" fmla="*/ 1433924 w 1614899"/>
                      <a:gd name="connsiteY255" fmla="*/ 1333500 h 1619250"/>
                      <a:gd name="connsiteX256" fmla="*/ 1429162 w 1614899"/>
                      <a:gd name="connsiteY256" fmla="*/ 1340644 h 1619250"/>
                      <a:gd name="connsiteX257" fmla="*/ 1426781 w 1614899"/>
                      <a:gd name="connsiteY257" fmla="*/ 1347787 h 1619250"/>
                      <a:gd name="connsiteX258" fmla="*/ 1431543 w 1614899"/>
                      <a:gd name="connsiteY258" fmla="*/ 1354931 h 1619250"/>
                      <a:gd name="connsiteX259" fmla="*/ 1436306 w 1614899"/>
                      <a:gd name="connsiteY259" fmla="*/ 1364456 h 1619250"/>
                      <a:gd name="connsiteX260" fmla="*/ 1443449 w 1614899"/>
                      <a:gd name="connsiteY260" fmla="*/ 1395412 h 1619250"/>
                      <a:gd name="connsiteX261" fmla="*/ 1450593 w 1614899"/>
                      <a:gd name="connsiteY261" fmla="*/ 1402556 h 1619250"/>
                      <a:gd name="connsiteX262" fmla="*/ 1448212 w 1614899"/>
                      <a:gd name="connsiteY262" fmla="*/ 1412081 h 1619250"/>
                      <a:gd name="connsiteX263" fmla="*/ 1433924 w 1614899"/>
                      <a:gd name="connsiteY263" fmla="*/ 1416844 h 1619250"/>
                      <a:gd name="connsiteX264" fmla="*/ 1419637 w 1614899"/>
                      <a:gd name="connsiteY264" fmla="*/ 1423987 h 1619250"/>
                      <a:gd name="connsiteX265" fmla="*/ 1405349 w 1614899"/>
                      <a:gd name="connsiteY265" fmla="*/ 1431131 h 1619250"/>
                      <a:gd name="connsiteX266" fmla="*/ 1398206 w 1614899"/>
                      <a:gd name="connsiteY266" fmla="*/ 1435894 h 1619250"/>
                      <a:gd name="connsiteX267" fmla="*/ 1383918 w 1614899"/>
                      <a:gd name="connsiteY267" fmla="*/ 1440656 h 1619250"/>
                      <a:gd name="connsiteX268" fmla="*/ 1376774 w 1614899"/>
                      <a:gd name="connsiteY268" fmla="*/ 1443037 h 1619250"/>
                      <a:gd name="connsiteX269" fmla="*/ 1364868 w 1614899"/>
                      <a:gd name="connsiteY269" fmla="*/ 1464469 h 1619250"/>
                      <a:gd name="connsiteX270" fmla="*/ 1362487 w 1614899"/>
                      <a:gd name="connsiteY270" fmla="*/ 1473994 h 1619250"/>
                      <a:gd name="connsiteX271" fmla="*/ 1364868 w 1614899"/>
                      <a:gd name="connsiteY271" fmla="*/ 1497806 h 1619250"/>
                      <a:gd name="connsiteX272" fmla="*/ 1372012 w 1614899"/>
                      <a:gd name="connsiteY272" fmla="*/ 1500187 h 1619250"/>
                      <a:gd name="connsiteX273" fmla="*/ 1369631 w 1614899"/>
                      <a:gd name="connsiteY273" fmla="*/ 1516856 h 1619250"/>
                      <a:gd name="connsiteX274" fmla="*/ 1367249 w 1614899"/>
                      <a:gd name="connsiteY274" fmla="*/ 1524000 h 1619250"/>
                      <a:gd name="connsiteX275" fmla="*/ 1360106 w 1614899"/>
                      <a:gd name="connsiteY275" fmla="*/ 1526381 h 1619250"/>
                      <a:gd name="connsiteX276" fmla="*/ 1352962 w 1614899"/>
                      <a:gd name="connsiteY276" fmla="*/ 1531144 h 1619250"/>
                      <a:gd name="connsiteX277" fmla="*/ 1343437 w 1614899"/>
                      <a:gd name="connsiteY277" fmla="*/ 1535906 h 1619250"/>
                      <a:gd name="connsiteX278" fmla="*/ 1329149 w 1614899"/>
                      <a:gd name="connsiteY278" fmla="*/ 1550194 h 1619250"/>
                      <a:gd name="connsiteX279" fmla="*/ 1326768 w 1614899"/>
                      <a:gd name="connsiteY279" fmla="*/ 1559719 h 1619250"/>
                      <a:gd name="connsiteX280" fmla="*/ 1322006 w 1614899"/>
                      <a:gd name="connsiteY280" fmla="*/ 1566862 h 1619250"/>
                      <a:gd name="connsiteX281" fmla="*/ 1319624 w 1614899"/>
                      <a:gd name="connsiteY281" fmla="*/ 1578769 h 1619250"/>
                      <a:gd name="connsiteX282" fmla="*/ 1317243 w 1614899"/>
                      <a:gd name="connsiteY282" fmla="*/ 1585912 h 1619250"/>
                      <a:gd name="connsiteX283" fmla="*/ 1314862 w 1614899"/>
                      <a:gd name="connsiteY283" fmla="*/ 1602581 h 1619250"/>
                      <a:gd name="connsiteX284" fmla="*/ 1283906 w 1614899"/>
                      <a:gd name="connsiteY284" fmla="*/ 1614487 h 1619250"/>
                      <a:gd name="connsiteX285" fmla="*/ 1274381 w 1614899"/>
                      <a:gd name="connsiteY285" fmla="*/ 1616869 h 1619250"/>
                      <a:gd name="connsiteX286" fmla="*/ 1260093 w 1614899"/>
                      <a:gd name="connsiteY286" fmla="*/ 1619250 h 1619250"/>
                      <a:gd name="connsiteX287" fmla="*/ 1248187 w 1614899"/>
                      <a:gd name="connsiteY287" fmla="*/ 1616869 h 1619250"/>
                      <a:gd name="connsiteX288" fmla="*/ 1243424 w 1614899"/>
                      <a:gd name="connsiteY288" fmla="*/ 1597819 h 1619250"/>
                      <a:gd name="connsiteX289" fmla="*/ 1238662 w 1614899"/>
                      <a:gd name="connsiteY289" fmla="*/ 1581150 h 1619250"/>
                      <a:gd name="connsiteX290" fmla="*/ 1243424 w 1614899"/>
                      <a:gd name="connsiteY290" fmla="*/ 1566862 h 1619250"/>
                      <a:gd name="connsiteX291" fmla="*/ 1252949 w 1614899"/>
                      <a:gd name="connsiteY291" fmla="*/ 1552575 h 1619250"/>
                      <a:gd name="connsiteX292" fmla="*/ 1260093 w 1614899"/>
                      <a:gd name="connsiteY292" fmla="*/ 1550194 h 1619250"/>
                      <a:gd name="connsiteX293" fmla="*/ 1267237 w 1614899"/>
                      <a:gd name="connsiteY293" fmla="*/ 1543050 h 1619250"/>
                      <a:gd name="connsiteX294" fmla="*/ 1269618 w 1614899"/>
                      <a:gd name="connsiteY294" fmla="*/ 1535906 h 1619250"/>
                      <a:gd name="connsiteX295" fmla="*/ 1274381 w 1614899"/>
                      <a:gd name="connsiteY295" fmla="*/ 1526381 h 1619250"/>
                      <a:gd name="connsiteX296" fmla="*/ 1267237 w 1614899"/>
                      <a:gd name="connsiteY296" fmla="*/ 1502569 h 1619250"/>
                      <a:gd name="connsiteX297" fmla="*/ 1252949 w 1614899"/>
                      <a:gd name="connsiteY297" fmla="*/ 1493044 h 1619250"/>
                      <a:gd name="connsiteX298" fmla="*/ 1262474 w 1614899"/>
                      <a:gd name="connsiteY298" fmla="*/ 1478756 h 1619250"/>
                      <a:gd name="connsiteX299" fmla="*/ 1279143 w 1614899"/>
                      <a:gd name="connsiteY299" fmla="*/ 1462087 h 1619250"/>
                      <a:gd name="connsiteX300" fmla="*/ 1302956 w 1614899"/>
                      <a:gd name="connsiteY300" fmla="*/ 1459706 h 1619250"/>
                      <a:gd name="connsiteX301" fmla="*/ 1305337 w 1614899"/>
                      <a:gd name="connsiteY301" fmla="*/ 1450181 h 1619250"/>
                      <a:gd name="connsiteX302" fmla="*/ 1310099 w 1614899"/>
                      <a:gd name="connsiteY302" fmla="*/ 1443037 h 1619250"/>
                      <a:gd name="connsiteX303" fmla="*/ 1312481 w 1614899"/>
                      <a:gd name="connsiteY303" fmla="*/ 1435894 h 1619250"/>
                      <a:gd name="connsiteX304" fmla="*/ 1305337 w 1614899"/>
                      <a:gd name="connsiteY304" fmla="*/ 1428750 h 1619250"/>
                      <a:gd name="connsiteX305" fmla="*/ 1298193 w 1614899"/>
                      <a:gd name="connsiteY305" fmla="*/ 1423987 h 1619250"/>
                      <a:gd name="connsiteX306" fmla="*/ 1295812 w 1614899"/>
                      <a:gd name="connsiteY306" fmla="*/ 1412081 h 1619250"/>
                      <a:gd name="connsiteX307" fmla="*/ 1293431 w 1614899"/>
                      <a:gd name="connsiteY307" fmla="*/ 1402556 h 1619250"/>
                      <a:gd name="connsiteX308" fmla="*/ 1288668 w 1614899"/>
                      <a:gd name="connsiteY308" fmla="*/ 1369219 h 1619250"/>
                      <a:gd name="connsiteX309" fmla="*/ 1286287 w 1614899"/>
                      <a:gd name="connsiteY309" fmla="*/ 1362075 h 1619250"/>
                      <a:gd name="connsiteX310" fmla="*/ 1276762 w 1614899"/>
                      <a:gd name="connsiteY310" fmla="*/ 1345406 h 1619250"/>
                      <a:gd name="connsiteX311" fmla="*/ 1267237 w 1614899"/>
                      <a:gd name="connsiteY311" fmla="*/ 1343025 h 1619250"/>
                      <a:gd name="connsiteX312" fmla="*/ 1260093 w 1614899"/>
                      <a:gd name="connsiteY312" fmla="*/ 1340644 h 1619250"/>
                      <a:gd name="connsiteX313" fmla="*/ 1252949 w 1614899"/>
                      <a:gd name="connsiteY313" fmla="*/ 1307306 h 1619250"/>
                      <a:gd name="connsiteX314" fmla="*/ 1248187 w 1614899"/>
                      <a:gd name="connsiteY314" fmla="*/ 1293019 h 1619250"/>
                      <a:gd name="connsiteX315" fmla="*/ 1243424 w 1614899"/>
                      <a:gd name="connsiteY315" fmla="*/ 1278731 h 1619250"/>
                      <a:gd name="connsiteX316" fmla="*/ 1241043 w 1614899"/>
                      <a:gd name="connsiteY316" fmla="*/ 1271587 h 1619250"/>
                      <a:gd name="connsiteX317" fmla="*/ 1236281 w 1614899"/>
                      <a:gd name="connsiteY317" fmla="*/ 1262062 h 1619250"/>
                      <a:gd name="connsiteX318" fmla="*/ 1231518 w 1614899"/>
                      <a:gd name="connsiteY318" fmla="*/ 1247775 h 1619250"/>
                      <a:gd name="connsiteX319" fmla="*/ 1224374 w 1614899"/>
                      <a:gd name="connsiteY319" fmla="*/ 1240631 h 1619250"/>
                      <a:gd name="connsiteX320" fmla="*/ 1214849 w 1614899"/>
                      <a:gd name="connsiteY320" fmla="*/ 1226344 h 1619250"/>
                      <a:gd name="connsiteX321" fmla="*/ 1195799 w 1614899"/>
                      <a:gd name="connsiteY321" fmla="*/ 1233487 h 1619250"/>
                      <a:gd name="connsiteX322" fmla="*/ 1198181 w 1614899"/>
                      <a:gd name="connsiteY322" fmla="*/ 1240631 h 1619250"/>
                      <a:gd name="connsiteX323" fmla="*/ 1191037 w 1614899"/>
                      <a:gd name="connsiteY323" fmla="*/ 1243012 h 1619250"/>
                      <a:gd name="connsiteX324" fmla="*/ 1164843 w 1614899"/>
                      <a:gd name="connsiteY324" fmla="*/ 1238250 h 1619250"/>
                      <a:gd name="connsiteX325" fmla="*/ 1155318 w 1614899"/>
                      <a:gd name="connsiteY325" fmla="*/ 1223962 h 1619250"/>
                      <a:gd name="connsiteX326" fmla="*/ 1148174 w 1614899"/>
                      <a:gd name="connsiteY326" fmla="*/ 1216819 h 1619250"/>
                      <a:gd name="connsiteX327" fmla="*/ 1138649 w 1614899"/>
                      <a:gd name="connsiteY327" fmla="*/ 1219200 h 1619250"/>
                      <a:gd name="connsiteX328" fmla="*/ 1131506 w 1614899"/>
                      <a:gd name="connsiteY328" fmla="*/ 1221581 h 1619250"/>
                      <a:gd name="connsiteX329" fmla="*/ 1124362 w 1614899"/>
                      <a:gd name="connsiteY329" fmla="*/ 1219200 h 1619250"/>
                      <a:gd name="connsiteX330" fmla="*/ 1117218 w 1614899"/>
                      <a:gd name="connsiteY330" fmla="*/ 1212056 h 1619250"/>
                      <a:gd name="connsiteX331" fmla="*/ 1117218 w 1614899"/>
                      <a:gd name="connsiteY331" fmla="*/ 1193006 h 1619250"/>
                      <a:gd name="connsiteX332" fmla="*/ 1112456 w 1614899"/>
                      <a:gd name="connsiteY332" fmla="*/ 1154906 h 1619250"/>
                      <a:gd name="connsiteX333" fmla="*/ 1107693 w 1614899"/>
                      <a:gd name="connsiteY333" fmla="*/ 1147762 h 1619250"/>
                      <a:gd name="connsiteX334" fmla="*/ 1100549 w 1614899"/>
                      <a:gd name="connsiteY334" fmla="*/ 1145381 h 1619250"/>
                      <a:gd name="connsiteX335" fmla="*/ 1093406 w 1614899"/>
                      <a:gd name="connsiteY335" fmla="*/ 1147762 h 1619250"/>
                      <a:gd name="connsiteX336" fmla="*/ 1062449 w 1614899"/>
                      <a:gd name="connsiteY336" fmla="*/ 1152525 h 1619250"/>
                      <a:gd name="connsiteX337" fmla="*/ 1045781 w 1614899"/>
                      <a:gd name="connsiteY337" fmla="*/ 1150144 h 1619250"/>
                      <a:gd name="connsiteX338" fmla="*/ 1043399 w 1614899"/>
                      <a:gd name="connsiteY338" fmla="*/ 1143000 h 1619250"/>
                      <a:gd name="connsiteX339" fmla="*/ 1050543 w 1614899"/>
                      <a:gd name="connsiteY339" fmla="*/ 1128712 h 1619250"/>
                      <a:gd name="connsiteX340" fmla="*/ 1041018 w 1614899"/>
                      <a:gd name="connsiteY340" fmla="*/ 1107281 h 1619250"/>
                      <a:gd name="connsiteX341" fmla="*/ 1024349 w 1614899"/>
                      <a:gd name="connsiteY341" fmla="*/ 1109662 h 1619250"/>
                      <a:gd name="connsiteX342" fmla="*/ 1014824 w 1614899"/>
                      <a:gd name="connsiteY342" fmla="*/ 1107281 h 1619250"/>
                      <a:gd name="connsiteX343" fmla="*/ 988631 w 1614899"/>
                      <a:gd name="connsiteY343" fmla="*/ 1109662 h 1619250"/>
                      <a:gd name="connsiteX344" fmla="*/ 986249 w 1614899"/>
                      <a:gd name="connsiteY344" fmla="*/ 1102519 h 1619250"/>
                      <a:gd name="connsiteX345" fmla="*/ 979106 w 1614899"/>
                      <a:gd name="connsiteY345" fmla="*/ 1076325 h 1619250"/>
                      <a:gd name="connsiteX346" fmla="*/ 964818 w 1614899"/>
                      <a:gd name="connsiteY346" fmla="*/ 1064419 h 1619250"/>
                      <a:gd name="connsiteX347" fmla="*/ 950531 w 1614899"/>
                      <a:gd name="connsiteY347" fmla="*/ 1054894 h 1619250"/>
                      <a:gd name="connsiteX348" fmla="*/ 943387 w 1614899"/>
                      <a:gd name="connsiteY348" fmla="*/ 1050131 h 1619250"/>
                      <a:gd name="connsiteX349" fmla="*/ 936243 w 1614899"/>
                      <a:gd name="connsiteY349" fmla="*/ 1045369 h 1619250"/>
                      <a:gd name="connsiteX350" fmla="*/ 931481 w 1614899"/>
                      <a:gd name="connsiteY350" fmla="*/ 1038225 h 1619250"/>
                      <a:gd name="connsiteX351" fmla="*/ 917193 w 1614899"/>
                      <a:gd name="connsiteY351" fmla="*/ 1031081 h 1619250"/>
                      <a:gd name="connsiteX352" fmla="*/ 914812 w 1614899"/>
                      <a:gd name="connsiteY352" fmla="*/ 1040606 h 1619250"/>
                      <a:gd name="connsiteX353" fmla="*/ 907668 w 1614899"/>
                      <a:gd name="connsiteY353" fmla="*/ 1042987 h 1619250"/>
                      <a:gd name="connsiteX354" fmla="*/ 886237 w 1614899"/>
                      <a:gd name="connsiteY354" fmla="*/ 1031081 h 1619250"/>
                      <a:gd name="connsiteX355" fmla="*/ 862424 w 1614899"/>
                      <a:gd name="connsiteY355" fmla="*/ 1035844 h 1619250"/>
                      <a:gd name="connsiteX356" fmla="*/ 845756 w 1614899"/>
                      <a:gd name="connsiteY356" fmla="*/ 1040606 h 1619250"/>
                      <a:gd name="connsiteX357" fmla="*/ 840993 w 1614899"/>
                      <a:gd name="connsiteY357" fmla="*/ 1033462 h 1619250"/>
                      <a:gd name="connsiteX358" fmla="*/ 821943 w 1614899"/>
                      <a:gd name="connsiteY358" fmla="*/ 1004887 h 1619250"/>
                      <a:gd name="connsiteX359" fmla="*/ 814799 w 1614899"/>
                      <a:gd name="connsiteY359" fmla="*/ 1000125 h 1619250"/>
                      <a:gd name="connsiteX360" fmla="*/ 779081 w 1614899"/>
                      <a:gd name="connsiteY360" fmla="*/ 995362 h 1619250"/>
                      <a:gd name="connsiteX361" fmla="*/ 771937 w 1614899"/>
                      <a:gd name="connsiteY361" fmla="*/ 988219 h 1619250"/>
                      <a:gd name="connsiteX362" fmla="*/ 762412 w 1614899"/>
                      <a:gd name="connsiteY362" fmla="*/ 966787 h 1619250"/>
                      <a:gd name="connsiteX363" fmla="*/ 755268 w 1614899"/>
                      <a:gd name="connsiteY363" fmla="*/ 962025 h 1619250"/>
                      <a:gd name="connsiteX364" fmla="*/ 733837 w 1614899"/>
                      <a:gd name="connsiteY364" fmla="*/ 962025 h 1619250"/>
                      <a:gd name="connsiteX365" fmla="*/ 731456 w 1614899"/>
                      <a:gd name="connsiteY365" fmla="*/ 950119 h 1619250"/>
                      <a:gd name="connsiteX366" fmla="*/ 729074 w 1614899"/>
                      <a:gd name="connsiteY366" fmla="*/ 942975 h 1619250"/>
                      <a:gd name="connsiteX367" fmla="*/ 726693 w 1614899"/>
                      <a:gd name="connsiteY367" fmla="*/ 921544 h 1619250"/>
                      <a:gd name="connsiteX368" fmla="*/ 724312 w 1614899"/>
                      <a:gd name="connsiteY368" fmla="*/ 914400 h 1619250"/>
                      <a:gd name="connsiteX369" fmla="*/ 717168 w 1614899"/>
                      <a:gd name="connsiteY369" fmla="*/ 909637 h 1619250"/>
                      <a:gd name="connsiteX370" fmla="*/ 710024 w 1614899"/>
                      <a:gd name="connsiteY370" fmla="*/ 907256 h 1619250"/>
                      <a:gd name="connsiteX371" fmla="*/ 681449 w 1614899"/>
                      <a:gd name="connsiteY371" fmla="*/ 902494 h 1619250"/>
                      <a:gd name="connsiteX372" fmla="*/ 674306 w 1614899"/>
                      <a:gd name="connsiteY372" fmla="*/ 897731 h 1619250"/>
                      <a:gd name="connsiteX373" fmla="*/ 667162 w 1614899"/>
                      <a:gd name="connsiteY373" fmla="*/ 883444 h 1619250"/>
                      <a:gd name="connsiteX374" fmla="*/ 657637 w 1614899"/>
                      <a:gd name="connsiteY374" fmla="*/ 881062 h 1619250"/>
                      <a:gd name="connsiteX375" fmla="*/ 650493 w 1614899"/>
                      <a:gd name="connsiteY375" fmla="*/ 873919 h 1619250"/>
                      <a:gd name="connsiteX376" fmla="*/ 648112 w 1614899"/>
                      <a:gd name="connsiteY376" fmla="*/ 866775 h 1619250"/>
                      <a:gd name="connsiteX377" fmla="*/ 643349 w 1614899"/>
                      <a:gd name="connsiteY377" fmla="*/ 859631 h 1619250"/>
                      <a:gd name="connsiteX378" fmla="*/ 631443 w 1614899"/>
                      <a:gd name="connsiteY378" fmla="*/ 838200 h 1619250"/>
                      <a:gd name="connsiteX379" fmla="*/ 624299 w 1614899"/>
                      <a:gd name="connsiteY379" fmla="*/ 833437 h 1619250"/>
                      <a:gd name="connsiteX380" fmla="*/ 593343 w 1614899"/>
                      <a:gd name="connsiteY380" fmla="*/ 835819 h 1619250"/>
                      <a:gd name="connsiteX381" fmla="*/ 586199 w 1614899"/>
                      <a:gd name="connsiteY381" fmla="*/ 816769 h 1619250"/>
                      <a:gd name="connsiteX382" fmla="*/ 569531 w 1614899"/>
                      <a:gd name="connsiteY382" fmla="*/ 795337 h 1619250"/>
                      <a:gd name="connsiteX383" fmla="*/ 564768 w 1614899"/>
                      <a:gd name="connsiteY383" fmla="*/ 788194 h 1619250"/>
                      <a:gd name="connsiteX384" fmla="*/ 557624 w 1614899"/>
                      <a:gd name="connsiteY384" fmla="*/ 785812 h 1619250"/>
                      <a:gd name="connsiteX385" fmla="*/ 550481 w 1614899"/>
                      <a:gd name="connsiteY385" fmla="*/ 781050 h 1619250"/>
                      <a:gd name="connsiteX386" fmla="*/ 536193 w 1614899"/>
                      <a:gd name="connsiteY386" fmla="*/ 776287 h 1619250"/>
                      <a:gd name="connsiteX387" fmla="*/ 538574 w 1614899"/>
                      <a:gd name="connsiteY387" fmla="*/ 747712 h 1619250"/>
                      <a:gd name="connsiteX388" fmla="*/ 533812 w 1614899"/>
                      <a:gd name="connsiteY388" fmla="*/ 740569 h 1619250"/>
                      <a:gd name="connsiteX389" fmla="*/ 519524 w 1614899"/>
                      <a:gd name="connsiteY389" fmla="*/ 731044 h 1619250"/>
                      <a:gd name="connsiteX390" fmla="*/ 512381 w 1614899"/>
                      <a:gd name="connsiteY390" fmla="*/ 735806 h 1619250"/>
                      <a:gd name="connsiteX391" fmla="*/ 505237 w 1614899"/>
                      <a:gd name="connsiteY391" fmla="*/ 738187 h 1619250"/>
                      <a:gd name="connsiteX392" fmla="*/ 507618 w 1614899"/>
                      <a:gd name="connsiteY392" fmla="*/ 723900 h 1619250"/>
                      <a:gd name="connsiteX393" fmla="*/ 505237 w 1614899"/>
                      <a:gd name="connsiteY393" fmla="*/ 688181 h 1619250"/>
                      <a:gd name="connsiteX394" fmla="*/ 493331 w 1614899"/>
                      <a:gd name="connsiteY394" fmla="*/ 666750 h 1619250"/>
                      <a:gd name="connsiteX395" fmla="*/ 486187 w 1614899"/>
                      <a:gd name="connsiteY395" fmla="*/ 659606 h 1619250"/>
                      <a:gd name="connsiteX396" fmla="*/ 481424 w 1614899"/>
                      <a:gd name="connsiteY396" fmla="*/ 652462 h 1619250"/>
                      <a:gd name="connsiteX397" fmla="*/ 479043 w 1614899"/>
                      <a:gd name="connsiteY397" fmla="*/ 614362 h 1619250"/>
                      <a:gd name="connsiteX398" fmla="*/ 474281 w 1614899"/>
                      <a:gd name="connsiteY398" fmla="*/ 595312 h 1619250"/>
                      <a:gd name="connsiteX399" fmla="*/ 467137 w 1614899"/>
                      <a:gd name="connsiteY399" fmla="*/ 578644 h 1619250"/>
                      <a:gd name="connsiteX400" fmla="*/ 459993 w 1614899"/>
                      <a:gd name="connsiteY400" fmla="*/ 571500 h 1619250"/>
                      <a:gd name="connsiteX401" fmla="*/ 440943 w 1614899"/>
                      <a:gd name="connsiteY401" fmla="*/ 554831 h 1619250"/>
                      <a:gd name="connsiteX402" fmla="*/ 426656 w 1614899"/>
                      <a:gd name="connsiteY402" fmla="*/ 550069 h 1619250"/>
                      <a:gd name="connsiteX403" fmla="*/ 424274 w 1614899"/>
                      <a:gd name="connsiteY403" fmla="*/ 557212 h 1619250"/>
                      <a:gd name="connsiteX404" fmla="*/ 414749 w 1614899"/>
                      <a:gd name="connsiteY404" fmla="*/ 552450 h 1619250"/>
                      <a:gd name="connsiteX405" fmla="*/ 407606 w 1614899"/>
                      <a:gd name="connsiteY405" fmla="*/ 545306 h 1619250"/>
                      <a:gd name="connsiteX406" fmla="*/ 390937 w 1614899"/>
                      <a:gd name="connsiteY406" fmla="*/ 535781 h 1619250"/>
                      <a:gd name="connsiteX407" fmla="*/ 383793 w 1614899"/>
                      <a:gd name="connsiteY407" fmla="*/ 528637 h 1619250"/>
                      <a:gd name="connsiteX408" fmla="*/ 374268 w 1614899"/>
                      <a:gd name="connsiteY408" fmla="*/ 526256 h 1619250"/>
                      <a:gd name="connsiteX409" fmla="*/ 352837 w 1614899"/>
                      <a:gd name="connsiteY409" fmla="*/ 519112 h 1619250"/>
                      <a:gd name="connsiteX410" fmla="*/ 345693 w 1614899"/>
                      <a:gd name="connsiteY410" fmla="*/ 516731 h 1619250"/>
                      <a:gd name="connsiteX411" fmla="*/ 338549 w 1614899"/>
                      <a:gd name="connsiteY411" fmla="*/ 514350 h 1619250"/>
                      <a:gd name="connsiteX412" fmla="*/ 326643 w 1614899"/>
                      <a:gd name="connsiteY412" fmla="*/ 504825 h 1619250"/>
                      <a:gd name="connsiteX413" fmla="*/ 321881 w 1614899"/>
                      <a:gd name="connsiteY413" fmla="*/ 497681 h 1619250"/>
                      <a:gd name="connsiteX414" fmla="*/ 314737 w 1614899"/>
                      <a:gd name="connsiteY414" fmla="*/ 490537 h 1619250"/>
                      <a:gd name="connsiteX415" fmla="*/ 307593 w 1614899"/>
                      <a:gd name="connsiteY415" fmla="*/ 485775 h 1619250"/>
                      <a:gd name="connsiteX416" fmla="*/ 293306 w 1614899"/>
                      <a:gd name="connsiteY416" fmla="*/ 481012 h 1619250"/>
                      <a:gd name="connsiteX417" fmla="*/ 269493 w 1614899"/>
                      <a:gd name="connsiteY417" fmla="*/ 483394 h 1619250"/>
                      <a:gd name="connsiteX418" fmla="*/ 259968 w 1614899"/>
                      <a:gd name="connsiteY418" fmla="*/ 490537 h 1619250"/>
                      <a:gd name="connsiteX419" fmla="*/ 243299 w 1614899"/>
                      <a:gd name="connsiteY419" fmla="*/ 497681 h 1619250"/>
                      <a:gd name="connsiteX420" fmla="*/ 236156 w 1614899"/>
                      <a:gd name="connsiteY420" fmla="*/ 502444 h 1619250"/>
                      <a:gd name="connsiteX421" fmla="*/ 233774 w 1614899"/>
                      <a:gd name="connsiteY421" fmla="*/ 509587 h 1619250"/>
                      <a:gd name="connsiteX422" fmla="*/ 231393 w 1614899"/>
                      <a:gd name="connsiteY422" fmla="*/ 519112 h 1619250"/>
                      <a:gd name="connsiteX423" fmla="*/ 224249 w 1614899"/>
                      <a:gd name="connsiteY423" fmla="*/ 521494 h 1619250"/>
                      <a:gd name="connsiteX424" fmla="*/ 209962 w 1614899"/>
                      <a:gd name="connsiteY424" fmla="*/ 528637 h 1619250"/>
                      <a:gd name="connsiteX425" fmla="*/ 200437 w 1614899"/>
                      <a:gd name="connsiteY425" fmla="*/ 542925 h 1619250"/>
                      <a:gd name="connsiteX426" fmla="*/ 195674 w 1614899"/>
                      <a:gd name="connsiteY426" fmla="*/ 557212 h 1619250"/>
                      <a:gd name="connsiteX427" fmla="*/ 188531 w 1614899"/>
                      <a:gd name="connsiteY427" fmla="*/ 559594 h 1619250"/>
                      <a:gd name="connsiteX428" fmla="*/ 176624 w 1614899"/>
                      <a:gd name="connsiteY428" fmla="*/ 564356 h 1619250"/>
                      <a:gd name="connsiteX429" fmla="*/ 164718 w 1614899"/>
                      <a:gd name="connsiteY429" fmla="*/ 566737 h 1619250"/>
                      <a:gd name="connsiteX430" fmla="*/ 157574 w 1614899"/>
                      <a:gd name="connsiteY430" fmla="*/ 569119 h 1619250"/>
                      <a:gd name="connsiteX431" fmla="*/ 148049 w 1614899"/>
                      <a:gd name="connsiteY431" fmla="*/ 571500 h 1619250"/>
                      <a:gd name="connsiteX432" fmla="*/ 140906 w 1614899"/>
                      <a:gd name="connsiteY432" fmla="*/ 573881 h 1619250"/>
                      <a:gd name="connsiteX433" fmla="*/ 121856 w 1614899"/>
                      <a:gd name="connsiteY433" fmla="*/ 576262 h 1619250"/>
                      <a:gd name="connsiteX434" fmla="*/ 119474 w 1614899"/>
                      <a:gd name="connsiteY434" fmla="*/ 571500 h 1619250"/>
                      <a:gd name="connsiteX435" fmla="*/ 128999 w 1614899"/>
                      <a:gd name="connsiteY435" fmla="*/ 557212 h 1619250"/>
                      <a:gd name="connsiteX436" fmla="*/ 131381 w 1614899"/>
                      <a:gd name="connsiteY436" fmla="*/ 550069 h 1619250"/>
                      <a:gd name="connsiteX437" fmla="*/ 140906 w 1614899"/>
                      <a:gd name="connsiteY437" fmla="*/ 535781 h 1619250"/>
                      <a:gd name="connsiteX438" fmla="*/ 133762 w 1614899"/>
                      <a:gd name="connsiteY438" fmla="*/ 533400 h 1619250"/>
                      <a:gd name="connsiteX439" fmla="*/ 128999 w 1614899"/>
                      <a:gd name="connsiteY439" fmla="*/ 516731 h 1619250"/>
                      <a:gd name="connsiteX440" fmla="*/ 69468 w 1614899"/>
                      <a:gd name="connsiteY440" fmla="*/ 514350 h 1619250"/>
                      <a:gd name="connsiteX441" fmla="*/ 67087 w 1614899"/>
                      <a:gd name="connsiteY441" fmla="*/ 507206 h 1619250"/>
                      <a:gd name="connsiteX442" fmla="*/ 52799 w 1614899"/>
                      <a:gd name="connsiteY442" fmla="*/ 497681 h 1619250"/>
                      <a:gd name="connsiteX443" fmla="*/ 55181 w 1614899"/>
                      <a:gd name="connsiteY443" fmla="*/ 488156 h 1619250"/>
                      <a:gd name="connsiteX444" fmla="*/ 40893 w 1614899"/>
                      <a:gd name="connsiteY444" fmla="*/ 483394 h 1619250"/>
                      <a:gd name="connsiteX445" fmla="*/ 38512 w 1614899"/>
                      <a:gd name="connsiteY445" fmla="*/ 471487 h 1619250"/>
                      <a:gd name="connsiteX446" fmla="*/ 36131 w 1614899"/>
                      <a:gd name="connsiteY446" fmla="*/ 464344 h 1619250"/>
                      <a:gd name="connsiteX447" fmla="*/ 38512 w 1614899"/>
                      <a:gd name="connsiteY447" fmla="*/ 452437 h 1619250"/>
                      <a:gd name="connsiteX448" fmla="*/ 38512 w 1614899"/>
                      <a:gd name="connsiteY448" fmla="*/ 428625 h 1619250"/>
                      <a:gd name="connsiteX449" fmla="*/ 45656 w 1614899"/>
                      <a:gd name="connsiteY449" fmla="*/ 426244 h 1619250"/>
                      <a:gd name="connsiteX450" fmla="*/ 52799 w 1614899"/>
                      <a:gd name="connsiteY450" fmla="*/ 421481 h 1619250"/>
                      <a:gd name="connsiteX451" fmla="*/ 59943 w 1614899"/>
                      <a:gd name="connsiteY451" fmla="*/ 419100 h 1619250"/>
                      <a:gd name="connsiteX452" fmla="*/ 64706 w 1614899"/>
                      <a:gd name="connsiteY452" fmla="*/ 411956 h 1619250"/>
                      <a:gd name="connsiteX453" fmla="*/ 55181 w 1614899"/>
                      <a:gd name="connsiteY453" fmla="*/ 392906 h 1619250"/>
                      <a:gd name="connsiteX454" fmla="*/ 40893 w 1614899"/>
                      <a:gd name="connsiteY454" fmla="*/ 388144 h 1619250"/>
                      <a:gd name="connsiteX455" fmla="*/ 33749 w 1614899"/>
                      <a:gd name="connsiteY455" fmla="*/ 390525 h 1619250"/>
                      <a:gd name="connsiteX456" fmla="*/ 28987 w 1614899"/>
                      <a:gd name="connsiteY456" fmla="*/ 390525 h 1619250"/>
                      <a:gd name="connsiteX457" fmla="*/ 21843 w 1614899"/>
                      <a:gd name="connsiteY457" fmla="*/ 388144 h 1619250"/>
                      <a:gd name="connsiteX458" fmla="*/ 14699 w 1614899"/>
                      <a:gd name="connsiteY458" fmla="*/ 364331 h 1619250"/>
                      <a:gd name="connsiteX459" fmla="*/ 2793 w 1614899"/>
                      <a:gd name="connsiteY459" fmla="*/ 361950 h 1619250"/>
                      <a:gd name="connsiteX460" fmla="*/ 2793 w 1614899"/>
                      <a:gd name="connsiteY460" fmla="*/ 345281 h 1619250"/>
                      <a:gd name="connsiteX461" fmla="*/ 17081 w 1614899"/>
                      <a:gd name="connsiteY461" fmla="*/ 340519 h 1619250"/>
                      <a:gd name="connsiteX462" fmla="*/ 24224 w 1614899"/>
                      <a:gd name="connsiteY462" fmla="*/ 347662 h 1619250"/>
                      <a:gd name="connsiteX463" fmla="*/ 40893 w 1614899"/>
                      <a:gd name="connsiteY463" fmla="*/ 342900 h 1619250"/>
                      <a:gd name="connsiteX464" fmla="*/ 57562 w 1614899"/>
                      <a:gd name="connsiteY464" fmla="*/ 333375 h 1619250"/>
                      <a:gd name="connsiteX465" fmla="*/ 64706 w 1614899"/>
                      <a:gd name="connsiteY465" fmla="*/ 328612 h 1619250"/>
                      <a:gd name="connsiteX466" fmla="*/ 71849 w 1614899"/>
                      <a:gd name="connsiteY466" fmla="*/ 326231 h 1619250"/>
                      <a:gd name="connsiteX467" fmla="*/ 90899 w 1614899"/>
                      <a:gd name="connsiteY467" fmla="*/ 321469 h 1619250"/>
                      <a:gd name="connsiteX468" fmla="*/ 86137 w 1614899"/>
                      <a:gd name="connsiteY468" fmla="*/ 311944 h 1619250"/>
                      <a:gd name="connsiteX469" fmla="*/ 88518 w 1614899"/>
                      <a:gd name="connsiteY469" fmla="*/ 292894 h 1619250"/>
                      <a:gd name="connsiteX470" fmla="*/ 90899 w 1614899"/>
                      <a:gd name="connsiteY470" fmla="*/ 285750 h 1619250"/>
                      <a:gd name="connsiteX471" fmla="*/ 76612 w 1614899"/>
                      <a:gd name="connsiteY471" fmla="*/ 280987 h 1619250"/>
                      <a:gd name="connsiteX472" fmla="*/ 71849 w 1614899"/>
                      <a:gd name="connsiteY472" fmla="*/ 273844 h 1619250"/>
                      <a:gd name="connsiteX473" fmla="*/ 67087 w 1614899"/>
                      <a:gd name="connsiteY473" fmla="*/ 250031 h 1619250"/>
                      <a:gd name="connsiteX474" fmla="*/ 45656 w 1614899"/>
                      <a:gd name="connsiteY474" fmla="*/ 250031 h 1619250"/>
                      <a:gd name="connsiteX475" fmla="*/ 40893 w 1614899"/>
                      <a:gd name="connsiteY475" fmla="*/ 242887 h 1619250"/>
                      <a:gd name="connsiteX476" fmla="*/ 43274 w 1614899"/>
                      <a:gd name="connsiteY476" fmla="*/ 223837 h 1619250"/>
                      <a:gd name="connsiteX477" fmla="*/ 57562 w 1614899"/>
                      <a:gd name="connsiteY477" fmla="*/ 211931 h 1619250"/>
                      <a:gd name="connsiteX478" fmla="*/ 74231 w 1614899"/>
                      <a:gd name="connsiteY478" fmla="*/ 200025 h 1619250"/>
                      <a:gd name="connsiteX479" fmla="*/ 81374 w 1614899"/>
                      <a:gd name="connsiteY479" fmla="*/ 202406 h 1619250"/>
                      <a:gd name="connsiteX480" fmla="*/ 83756 w 1614899"/>
                      <a:gd name="connsiteY480" fmla="*/ 209550 h 1619250"/>
                      <a:gd name="connsiteX481" fmla="*/ 102806 w 1614899"/>
                      <a:gd name="connsiteY481" fmla="*/ 204787 h 1619250"/>
                      <a:gd name="connsiteX482" fmla="*/ 109949 w 1614899"/>
                      <a:gd name="connsiteY482" fmla="*/ 200025 h 1619250"/>
                      <a:gd name="connsiteX483" fmla="*/ 119474 w 1614899"/>
                      <a:gd name="connsiteY483" fmla="*/ 197644 h 1619250"/>
                      <a:gd name="connsiteX484" fmla="*/ 133762 w 1614899"/>
                      <a:gd name="connsiteY484" fmla="*/ 192881 h 1619250"/>
                      <a:gd name="connsiteX485" fmla="*/ 140906 w 1614899"/>
                      <a:gd name="connsiteY485" fmla="*/ 190500 h 1619250"/>
                      <a:gd name="connsiteX486" fmla="*/ 148049 w 1614899"/>
                      <a:gd name="connsiteY486" fmla="*/ 195262 h 1619250"/>
                      <a:gd name="connsiteX487" fmla="*/ 155193 w 1614899"/>
                      <a:gd name="connsiteY487" fmla="*/ 204787 h 1619250"/>
                      <a:gd name="connsiteX488" fmla="*/ 164718 w 1614899"/>
                      <a:gd name="connsiteY488" fmla="*/ 202406 h 1619250"/>
                      <a:gd name="connsiteX489" fmla="*/ 190912 w 1614899"/>
                      <a:gd name="connsiteY489" fmla="*/ 200025 h 1619250"/>
                      <a:gd name="connsiteX490" fmla="*/ 193293 w 1614899"/>
                      <a:gd name="connsiteY490" fmla="*/ 192881 h 1619250"/>
                      <a:gd name="connsiteX491" fmla="*/ 198056 w 1614899"/>
                      <a:gd name="connsiteY491" fmla="*/ 185737 h 1619250"/>
                      <a:gd name="connsiteX492" fmla="*/ 195674 w 1614899"/>
                      <a:gd name="connsiteY492" fmla="*/ 178594 h 1619250"/>
                      <a:gd name="connsiteX493" fmla="*/ 186149 w 1614899"/>
                      <a:gd name="connsiteY493" fmla="*/ 159544 h 1619250"/>
                      <a:gd name="connsiteX494" fmla="*/ 217106 w 1614899"/>
                      <a:gd name="connsiteY494" fmla="*/ 152400 h 1619250"/>
                      <a:gd name="connsiteX495" fmla="*/ 209962 w 1614899"/>
                      <a:gd name="connsiteY495" fmla="*/ 145256 h 1619250"/>
                      <a:gd name="connsiteX496" fmla="*/ 202818 w 1614899"/>
                      <a:gd name="connsiteY496" fmla="*/ 140494 h 1619250"/>
                      <a:gd name="connsiteX497" fmla="*/ 212343 w 1614899"/>
                      <a:gd name="connsiteY497" fmla="*/ 133350 h 1619250"/>
                      <a:gd name="connsiteX498" fmla="*/ 233774 w 1614899"/>
                      <a:gd name="connsiteY498" fmla="*/ 123825 h 1619250"/>
                      <a:gd name="connsiteX499" fmla="*/ 238537 w 1614899"/>
                      <a:gd name="connsiteY499" fmla="*/ 116681 h 1619250"/>
                      <a:gd name="connsiteX500" fmla="*/ 240918 w 1614899"/>
                      <a:gd name="connsiteY500" fmla="*/ 107156 h 1619250"/>
                      <a:gd name="connsiteX501" fmla="*/ 248062 w 1614899"/>
                      <a:gd name="connsiteY501" fmla="*/ 109537 h 1619250"/>
                      <a:gd name="connsiteX502" fmla="*/ 250443 w 1614899"/>
                      <a:gd name="connsiteY502" fmla="*/ 116681 h 1619250"/>
                      <a:gd name="connsiteX503" fmla="*/ 252824 w 1614899"/>
                      <a:gd name="connsiteY503" fmla="*/ 130969 h 1619250"/>
                      <a:gd name="connsiteX504" fmla="*/ 269493 w 1614899"/>
                      <a:gd name="connsiteY504" fmla="*/ 138112 h 1619250"/>
                      <a:gd name="connsiteX505" fmla="*/ 271874 w 1614899"/>
                      <a:gd name="connsiteY505" fmla="*/ 145256 h 1619250"/>
                      <a:gd name="connsiteX506" fmla="*/ 264731 w 1614899"/>
                      <a:gd name="connsiteY506" fmla="*/ 152400 h 1619250"/>
                      <a:gd name="connsiteX507" fmla="*/ 262349 w 1614899"/>
                      <a:gd name="connsiteY507" fmla="*/ 159544 h 1619250"/>
                      <a:gd name="connsiteX508" fmla="*/ 264731 w 1614899"/>
                      <a:gd name="connsiteY508" fmla="*/ 173831 h 1619250"/>
                      <a:gd name="connsiteX509" fmla="*/ 274256 w 1614899"/>
                      <a:gd name="connsiteY509" fmla="*/ 176212 h 1619250"/>
                      <a:gd name="connsiteX510" fmla="*/ 295687 w 1614899"/>
                      <a:gd name="connsiteY510" fmla="*/ 178594 h 1619250"/>
                      <a:gd name="connsiteX511" fmla="*/ 293306 w 1614899"/>
                      <a:gd name="connsiteY511" fmla="*/ 185737 h 1619250"/>
                      <a:gd name="connsiteX512" fmla="*/ 295687 w 1614899"/>
                      <a:gd name="connsiteY512" fmla="*/ 200025 h 1619250"/>
                      <a:gd name="connsiteX513" fmla="*/ 302831 w 1614899"/>
                      <a:gd name="connsiteY513" fmla="*/ 216694 h 1619250"/>
                      <a:gd name="connsiteX514" fmla="*/ 307593 w 1614899"/>
                      <a:gd name="connsiteY514" fmla="*/ 223837 h 1619250"/>
                      <a:gd name="connsiteX515" fmla="*/ 314737 w 1614899"/>
                      <a:gd name="connsiteY515" fmla="*/ 228600 h 1619250"/>
                      <a:gd name="connsiteX516" fmla="*/ 326643 w 1614899"/>
                      <a:gd name="connsiteY516" fmla="*/ 226219 h 1619250"/>
                      <a:gd name="connsiteX517" fmla="*/ 321881 w 1614899"/>
                      <a:gd name="connsiteY517" fmla="*/ 200025 h 1619250"/>
                      <a:gd name="connsiteX518" fmla="*/ 314737 w 1614899"/>
                      <a:gd name="connsiteY518" fmla="*/ 197644 h 1619250"/>
                      <a:gd name="connsiteX519" fmla="*/ 324262 w 1614899"/>
                      <a:gd name="connsiteY519" fmla="*/ 180975 h 1619250"/>
                      <a:gd name="connsiteX520" fmla="*/ 329024 w 1614899"/>
                      <a:gd name="connsiteY520" fmla="*/ 173831 h 1619250"/>
                      <a:gd name="connsiteX521" fmla="*/ 343312 w 1614899"/>
                      <a:gd name="connsiteY521" fmla="*/ 159544 h 1619250"/>
                      <a:gd name="connsiteX522" fmla="*/ 348074 w 1614899"/>
                      <a:gd name="connsiteY522" fmla="*/ 145256 h 1619250"/>
                      <a:gd name="connsiteX523" fmla="*/ 350456 w 1614899"/>
                      <a:gd name="connsiteY523" fmla="*/ 114300 h 1619250"/>
                      <a:gd name="connsiteX524" fmla="*/ 357599 w 1614899"/>
                      <a:gd name="connsiteY524" fmla="*/ 111919 h 1619250"/>
                      <a:gd name="connsiteX525" fmla="*/ 364743 w 1614899"/>
                      <a:gd name="connsiteY525" fmla="*/ 114300 h 1619250"/>
                      <a:gd name="connsiteX526" fmla="*/ 371887 w 1614899"/>
                      <a:gd name="connsiteY526" fmla="*/ 114300 h 1619250"/>
                      <a:gd name="connsiteX527" fmla="*/ 381412 w 1614899"/>
                      <a:gd name="connsiteY527" fmla="*/ 138112 h 1619250"/>
                      <a:gd name="connsiteX528" fmla="*/ 395699 w 1614899"/>
                      <a:gd name="connsiteY528" fmla="*/ 150019 h 1619250"/>
                      <a:gd name="connsiteX529" fmla="*/ 409987 w 1614899"/>
                      <a:gd name="connsiteY529" fmla="*/ 147637 h 1619250"/>
                      <a:gd name="connsiteX530" fmla="*/ 412368 w 1614899"/>
                      <a:gd name="connsiteY530" fmla="*/ 133350 h 1619250"/>
                      <a:gd name="connsiteX531" fmla="*/ 426656 w 1614899"/>
                      <a:gd name="connsiteY531" fmla="*/ 128587 h 1619250"/>
                      <a:gd name="connsiteX532" fmla="*/ 433799 w 1614899"/>
                      <a:gd name="connsiteY532" fmla="*/ 142875 h 1619250"/>
                      <a:gd name="connsiteX533" fmla="*/ 448087 w 1614899"/>
                      <a:gd name="connsiteY533" fmla="*/ 161925 h 1619250"/>
                      <a:gd name="connsiteX534" fmla="*/ 464756 w 1614899"/>
                      <a:gd name="connsiteY534" fmla="*/ 159544 h 1619250"/>
                      <a:gd name="connsiteX535" fmla="*/ 452849 w 1614899"/>
                      <a:gd name="connsiteY535" fmla="*/ 138112 h 1619250"/>
                      <a:gd name="connsiteX536" fmla="*/ 450468 w 1614899"/>
                      <a:gd name="connsiteY536" fmla="*/ 111919 h 1619250"/>
                      <a:gd name="connsiteX537" fmla="*/ 443324 w 1614899"/>
                      <a:gd name="connsiteY537" fmla="*/ 107156 h 1619250"/>
                      <a:gd name="connsiteX538" fmla="*/ 440943 w 1614899"/>
                      <a:gd name="connsiteY538" fmla="*/ 100012 h 1619250"/>
                      <a:gd name="connsiteX539" fmla="*/ 450468 w 1614899"/>
                      <a:gd name="connsiteY539" fmla="*/ 88106 h 1619250"/>
                      <a:gd name="connsiteX540" fmla="*/ 476662 w 1614899"/>
                      <a:gd name="connsiteY540" fmla="*/ 90487 h 1619250"/>
                      <a:gd name="connsiteX541" fmla="*/ 486187 w 1614899"/>
                      <a:gd name="connsiteY541" fmla="*/ 92869 h 1619250"/>
                      <a:gd name="connsiteX542" fmla="*/ 493331 w 1614899"/>
                      <a:gd name="connsiteY542" fmla="*/ 97631 h 1619250"/>
                      <a:gd name="connsiteX543" fmla="*/ 502856 w 1614899"/>
                      <a:gd name="connsiteY543" fmla="*/ 95250 h 1619250"/>
                      <a:gd name="connsiteX544" fmla="*/ 509999 w 1614899"/>
                      <a:gd name="connsiteY544" fmla="*/ 90487 h 1619250"/>
                      <a:gd name="connsiteX545" fmla="*/ 507618 w 1614899"/>
                      <a:gd name="connsiteY545" fmla="*/ 83344 h 1619250"/>
                      <a:gd name="connsiteX546" fmla="*/ 500474 w 1614899"/>
                      <a:gd name="connsiteY546" fmla="*/ 80962 h 1619250"/>
                      <a:gd name="connsiteX547" fmla="*/ 493331 w 1614899"/>
                      <a:gd name="connsiteY547" fmla="*/ 76200 h 1619250"/>
                      <a:gd name="connsiteX548" fmla="*/ 495712 w 1614899"/>
                      <a:gd name="connsiteY548"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05262 w 1614899"/>
                      <a:gd name="connsiteY86" fmla="*/ 316706 h 1619250"/>
                      <a:gd name="connsiteX87" fmla="*/ 719549 w 1614899"/>
                      <a:gd name="connsiteY87" fmla="*/ 328612 h 1619250"/>
                      <a:gd name="connsiteX88" fmla="*/ 714787 w 1614899"/>
                      <a:gd name="connsiteY88" fmla="*/ 335756 h 1619250"/>
                      <a:gd name="connsiteX89" fmla="*/ 717168 w 1614899"/>
                      <a:gd name="connsiteY89" fmla="*/ 342900 h 1619250"/>
                      <a:gd name="connsiteX90" fmla="*/ 721931 w 1614899"/>
                      <a:gd name="connsiteY90" fmla="*/ 347662 h 1619250"/>
                      <a:gd name="connsiteX91" fmla="*/ 733837 w 1614899"/>
                      <a:gd name="connsiteY91" fmla="*/ 357187 h 1619250"/>
                      <a:gd name="connsiteX92" fmla="*/ 740981 w 1614899"/>
                      <a:gd name="connsiteY92" fmla="*/ 354806 h 1619250"/>
                      <a:gd name="connsiteX93" fmla="*/ 755268 w 1614899"/>
                      <a:gd name="connsiteY93" fmla="*/ 350044 h 1619250"/>
                      <a:gd name="connsiteX94" fmla="*/ 752887 w 1614899"/>
                      <a:gd name="connsiteY94" fmla="*/ 359569 h 1619250"/>
                      <a:gd name="connsiteX95" fmla="*/ 755268 w 1614899"/>
                      <a:gd name="connsiteY95" fmla="*/ 371475 h 1619250"/>
                      <a:gd name="connsiteX96" fmla="*/ 762412 w 1614899"/>
                      <a:gd name="connsiteY96" fmla="*/ 373856 h 1619250"/>
                      <a:gd name="connsiteX97" fmla="*/ 745743 w 1614899"/>
                      <a:gd name="connsiteY97" fmla="*/ 390525 h 1619250"/>
                      <a:gd name="connsiteX98" fmla="*/ 750506 w 1614899"/>
                      <a:gd name="connsiteY98" fmla="*/ 397669 h 1619250"/>
                      <a:gd name="connsiteX99" fmla="*/ 745743 w 1614899"/>
                      <a:gd name="connsiteY99" fmla="*/ 411956 h 1619250"/>
                      <a:gd name="connsiteX100" fmla="*/ 731456 w 1614899"/>
                      <a:gd name="connsiteY100" fmla="*/ 404812 h 1619250"/>
                      <a:gd name="connsiteX101" fmla="*/ 724312 w 1614899"/>
                      <a:gd name="connsiteY101" fmla="*/ 409575 h 1619250"/>
                      <a:gd name="connsiteX102" fmla="*/ 721931 w 1614899"/>
                      <a:gd name="connsiteY102" fmla="*/ 416719 h 1619250"/>
                      <a:gd name="connsiteX103" fmla="*/ 736218 w 1614899"/>
                      <a:gd name="connsiteY103" fmla="*/ 426244 h 1619250"/>
                      <a:gd name="connsiteX104" fmla="*/ 731456 w 1614899"/>
                      <a:gd name="connsiteY104" fmla="*/ 442912 h 1619250"/>
                      <a:gd name="connsiteX105" fmla="*/ 729074 w 1614899"/>
                      <a:gd name="connsiteY105" fmla="*/ 450056 h 1619250"/>
                      <a:gd name="connsiteX106" fmla="*/ 731456 w 1614899"/>
                      <a:gd name="connsiteY106" fmla="*/ 481012 h 1619250"/>
                      <a:gd name="connsiteX107" fmla="*/ 736218 w 1614899"/>
                      <a:gd name="connsiteY107" fmla="*/ 488156 h 1619250"/>
                      <a:gd name="connsiteX108" fmla="*/ 743362 w 1614899"/>
                      <a:gd name="connsiteY108" fmla="*/ 509587 h 1619250"/>
                      <a:gd name="connsiteX109" fmla="*/ 745743 w 1614899"/>
                      <a:gd name="connsiteY109" fmla="*/ 516731 h 1619250"/>
                      <a:gd name="connsiteX110" fmla="*/ 760031 w 1614899"/>
                      <a:gd name="connsiteY110" fmla="*/ 526256 h 1619250"/>
                      <a:gd name="connsiteX111" fmla="*/ 764793 w 1614899"/>
                      <a:gd name="connsiteY111" fmla="*/ 533400 h 1619250"/>
                      <a:gd name="connsiteX112" fmla="*/ 769556 w 1614899"/>
                      <a:gd name="connsiteY112" fmla="*/ 547687 h 1619250"/>
                      <a:gd name="connsiteX113" fmla="*/ 748124 w 1614899"/>
                      <a:gd name="connsiteY113" fmla="*/ 552450 h 1619250"/>
                      <a:gd name="connsiteX114" fmla="*/ 740981 w 1614899"/>
                      <a:gd name="connsiteY114" fmla="*/ 554831 h 1619250"/>
                      <a:gd name="connsiteX115" fmla="*/ 729074 w 1614899"/>
                      <a:gd name="connsiteY115" fmla="*/ 557212 h 1619250"/>
                      <a:gd name="connsiteX116" fmla="*/ 736218 w 1614899"/>
                      <a:gd name="connsiteY116" fmla="*/ 559594 h 1619250"/>
                      <a:gd name="connsiteX117" fmla="*/ 762412 w 1614899"/>
                      <a:gd name="connsiteY117" fmla="*/ 540544 h 1619250"/>
                      <a:gd name="connsiteX118" fmla="*/ 769556 w 1614899"/>
                      <a:gd name="connsiteY118" fmla="*/ 542925 h 1619250"/>
                      <a:gd name="connsiteX119" fmla="*/ 776699 w 1614899"/>
                      <a:gd name="connsiteY119" fmla="*/ 550069 h 1619250"/>
                      <a:gd name="connsiteX120" fmla="*/ 793368 w 1614899"/>
                      <a:gd name="connsiteY120" fmla="*/ 552450 h 1619250"/>
                      <a:gd name="connsiteX121" fmla="*/ 807656 w 1614899"/>
                      <a:gd name="connsiteY121" fmla="*/ 557212 h 1619250"/>
                      <a:gd name="connsiteX122" fmla="*/ 814799 w 1614899"/>
                      <a:gd name="connsiteY122" fmla="*/ 559594 h 1619250"/>
                      <a:gd name="connsiteX123" fmla="*/ 821943 w 1614899"/>
                      <a:gd name="connsiteY123" fmla="*/ 566737 h 1619250"/>
                      <a:gd name="connsiteX124" fmla="*/ 829087 w 1614899"/>
                      <a:gd name="connsiteY124" fmla="*/ 569119 h 1619250"/>
                      <a:gd name="connsiteX125" fmla="*/ 836231 w 1614899"/>
                      <a:gd name="connsiteY125" fmla="*/ 573881 h 1619250"/>
                      <a:gd name="connsiteX126" fmla="*/ 843374 w 1614899"/>
                      <a:gd name="connsiteY126" fmla="*/ 588169 h 1619250"/>
                      <a:gd name="connsiteX127" fmla="*/ 852899 w 1614899"/>
                      <a:gd name="connsiteY127" fmla="*/ 597694 h 1619250"/>
                      <a:gd name="connsiteX128" fmla="*/ 902906 w 1614899"/>
                      <a:gd name="connsiteY128" fmla="*/ 604837 h 1619250"/>
                      <a:gd name="connsiteX129" fmla="*/ 914812 w 1614899"/>
                      <a:gd name="connsiteY129" fmla="*/ 626269 h 1619250"/>
                      <a:gd name="connsiteX130" fmla="*/ 919574 w 1614899"/>
                      <a:gd name="connsiteY130" fmla="*/ 633412 h 1619250"/>
                      <a:gd name="connsiteX131" fmla="*/ 919574 w 1614899"/>
                      <a:gd name="connsiteY131" fmla="*/ 671512 h 1619250"/>
                      <a:gd name="connsiteX132" fmla="*/ 926718 w 1614899"/>
                      <a:gd name="connsiteY132" fmla="*/ 676275 h 1619250"/>
                      <a:gd name="connsiteX133" fmla="*/ 933862 w 1614899"/>
                      <a:gd name="connsiteY133" fmla="*/ 690562 h 1619250"/>
                      <a:gd name="connsiteX134" fmla="*/ 936243 w 1614899"/>
                      <a:gd name="connsiteY134" fmla="*/ 702469 h 1619250"/>
                      <a:gd name="connsiteX135" fmla="*/ 943387 w 1614899"/>
                      <a:gd name="connsiteY135" fmla="*/ 709612 h 1619250"/>
                      <a:gd name="connsiteX136" fmla="*/ 945768 w 1614899"/>
                      <a:gd name="connsiteY136" fmla="*/ 723900 h 1619250"/>
                      <a:gd name="connsiteX137" fmla="*/ 955293 w 1614899"/>
                      <a:gd name="connsiteY137" fmla="*/ 738187 h 1619250"/>
                      <a:gd name="connsiteX138" fmla="*/ 964818 w 1614899"/>
                      <a:gd name="connsiteY138" fmla="*/ 752475 h 1619250"/>
                      <a:gd name="connsiteX139" fmla="*/ 967199 w 1614899"/>
                      <a:gd name="connsiteY139" fmla="*/ 759619 h 1619250"/>
                      <a:gd name="connsiteX140" fmla="*/ 974343 w 1614899"/>
                      <a:gd name="connsiteY140" fmla="*/ 769144 h 1619250"/>
                      <a:gd name="connsiteX141" fmla="*/ 979106 w 1614899"/>
                      <a:gd name="connsiteY141" fmla="*/ 783431 h 1619250"/>
                      <a:gd name="connsiteX142" fmla="*/ 981487 w 1614899"/>
                      <a:gd name="connsiteY142" fmla="*/ 790575 h 1619250"/>
                      <a:gd name="connsiteX143" fmla="*/ 991012 w 1614899"/>
                      <a:gd name="connsiteY143" fmla="*/ 804862 h 1619250"/>
                      <a:gd name="connsiteX144" fmla="*/ 998156 w 1614899"/>
                      <a:gd name="connsiteY144" fmla="*/ 819150 h 1619250"/>
                      <a:gd name="connsiteX145" fmla="*/ 1000537 w 1614899"/>
                      <a:gd name="connsiteY145" fmla="*/ 826294 h 1619250"/>
                      <a:gd name="connsiteX146" fmla="*/ 1007681 w 1614899"/>
                      <a:gd name="connsiteY146" fmla="*/ 828675 h 1619250"/>
                      <a:gd name="connsiteX147" fmla="*/ 1014824 w 1614899"/>
                      <a:gd name="connsiteY147" fmla="*/ 833437 h 1619250"/>
                      <a:gd name="connsiteX148" fmla="*/ 1029112 w 1614899"/>
                      <a:gd name="connsiteY148" fmla="*/ 838200 h 1619250"/>
                      <a:gd name="connsiteX149" fmla="*/ 1033874 w 1614899"/>
                      <a:gd name="connsiteY149" fmla="*/ 845344 h 1619250"/>
                      <a:gd name="connsiteX150" fmla="*/ 1048162 w 1614899"/>
                      <a:gd name="connsiteY150" fmla="*/ 857250 h 1619250"/>
                      <a:gd name="connsiteX151" fmla="*/ 1062449 w 1614899"/>
                      <a:gd name="connsiteY151" fmla="*/ 862012 h 1619250"/>
                      <a:gd name="connsiteX152" fmla="*/ 1079118 w 1614899"/>
                      <a:gd name="connsiteY152" fmla="*/ 883444 h 1619250"/>
                      <a:gd name="connsiteX153" fmla="*/ 1081499 w 1614899"/>
                      <a:gd name="connsiteY153" fmla="*/ 890587 h 1619250"/>
                      <a:gd name="connsiteX154" fmla="*/ 1095787 w 1614899"/>
                      <a:gd name="connsiteY154" fmla="*/ 883444 h 1619250"/>
                      <a:gd name="connsiteX155" fmla="*/ 1110074 w 1614899"/>
                      <a:gd name="connsiteY155" fmla="*/ 890587 h 1619250"/>
                      <a:gd name="connsiteX156" fmla="*/ 1121981 w 1614899"/>
                      <a:gd name="connsiteY156" fmla="*/ 902494 h 1619250"/>
                      <a:gd name="connsiteX157" fmla="*/ 1136268 w 1614899"/>
                      <a:gd name="connsiteY157" fmla="*/ 907256 h 1619250"/>
                      <a:gd name="connsiteX158" fmla="*/ 1176749 w 1614899"/>
                      <a:gd name="connsiteY158" fmla="*/ 904875 h 1619250"/>
                      <a:gd name="connsiteX159" fmla="*/ 1195799 w 1614899"/>
                      <a:gd name="connsiteY159" fmla="*/ 904875 h 1619250"/>
                      <a:gd name="connsiteX160" fmla="*/ 1207706 w 1614899"/>
                      <a:gd name="connsiteY160" fmla="*/ 912019 h 1619250"/>
                      <a:gd name="connsiteX161" fmla="*/ 1210087 w 1614899"/>
                      <a:gd name="connsiteY161" fmla="*/ 902494 h 1619250"/>
                      <a:gd name="connsiteX162" fmla="*/ 1219612 w 1614899"/>
                      <a:gd name="connsiteY162" fmla="*/ 900112 h 1619250"/>
                      <a:gd name="connsiteX163" fmla="*/ 1226756 w 1614899"/>
                      <a:gd name="connsiteY163" fmla="*/ 895350 h 1619250"/>
                      <a:gd name="connsiteX164" fmla="*/ 1241043 w 1614899"/>
                      <a:gd name="connsiteY164" fmla="*/ 890587 h 1619250"/>
                      <a:gd name="connsiteX165" fmla="*/ 1255331 w 1614899"/>
                      <a:gd name="connsiteY165" fmla="*/ 892969 h 1619250"/>
                      <a:gd name="connsiteX166" fmla="*/ 1260093 w 1614899"/>
                      <a:gd name="connsiteY166" fmla="*/ 900112 h 1619250"/>
                      <a:gd name="connsiteX167" fmla="*/ 1267237 w 1614899"/>
                      <a:gd name="connsiteY167" fmla="*/ 904875 h 1619250"/>
                      <a:gd name="connsiteX168" fmla="*/ 1271999 w 1614899"/>
                      <a:gd name="connsiteY168" fmla="*/ 919162 h 1619250"/>
                      <a:gd name="connsiteX169" fmla="*/ 1269618 w 1614899"/>
                      <a:gd name="connsiteY169" fmla="*/ 928687 h 1619250"/>
                      <a:gd name="connsiteX170" fmla="*/ 1262474 w 1614899"/>
                      <a:gd name="connsiteY170" fmla="*/ 933450 h 1619250"/>
                      <a:gd name="connsiteX171" fmla="*/ 1255331 w 1614899"/>
                      <a:gd name="connsiteY171" fmla="*/ 940594 h 1619250"/>
                      <a:gd name="connsiteX172" fmla="*/ 1248187 w 1614899"/>
                      <a:gd name="connsiteY172" fmla="*/ 942975 h 1619250"/>
                      <a:gd name="connsiteX173" fmla="*/ 1241043 w 1614899"/>
                      <a:gd name="connsiteY173" fmla="*/ 947737 h 1619250"/>
                      <a:gd name="connsiteX174" fmla="*/ 1226756 w 1614899"/>
                      <a:gd name="connsiteY174" fmla="*/ 954881 h 1619250"/>
                      <a:gd name="connsiteX175" fmla="*/ 1236281 w 1614899"/>
                      <a:gd name="connsiteY175" fmla="*/ 969169 h 1619250"/>
                      <a:gd name="connsiteX176" fmla="*/ 1241043 w 1614899"/>
                      <a:gd name="connsiteY176" fmla="*/ 983456 h 1619250"/>
                      <a:gd name="connsiteX177" fmla="*/ 1250568 w 1614899"/>
                      <a:gd name="connsiteY177" fmla="*/ 997744 h 1619250"/>
                      <a:gd name="connsiteX178" fmla="*/ 1255331 w 1614899"/>
                      <a:gd name="connsiteY178" fmla="*/ 1004887 h 1619250"/>
                      <a:gd name="connsiteX179" fmla="*/ 1262474 w 1614899"/>
                      <a:gd name="connsiteY179" fmla="*/ 997744 h 1619250"/>
                      <a:gd name="connsiteX180" fmla="*/ 1264856 w 1614899"/>
                      <a:gd name="connsiteY180" fmla="*/ 990600 h 1619250"/>
                      <a:gd name="connsiteX181" fmla="*/ 1283906 w 1614899"/>
                      <a:gd name="connsiteY181" fmla="*/ 995362 h 1619250"/>
                      <a:gd name="connsiteX182" fmla="*/ 1291049 w 1614899"/>
                      <a:gd name="connsiteY182" fmla="*/ 1000125 h 1619250"/>
                      <a:gd name="connsiteX183" fmla="*/ 1298193 w 1614899"/>
                      <a:gd name="connsiteY183" fmla="*/ 1002506 h 1619250"/>
                      <a:gd name="connsiteX184" fmla="*/ 1322006 w 1614899"/>
                      <a:gd name="connsiteY184" fmla="*/ 1007269 h 1619250"/>
                      <a:gd name="connsiteX185" fmla="*/ 1336293 w 1614899"/>
                      <a:gd name="connsiteY185" fmla="*/ 1012031 h 1619250"/>
                      <a:gd name="connsiteX186" fmla="*/ 1355343 w 1614899"/>
                      <a:gd name="connsiteY186" fmla="*/ 1016794 h 1619250"/>
                      <a:gd name="connsiteX187" fmla="*/ 1362487 w 1614899"/>
                      <a:gd name="connsiteY187" fmla="*/ 1023937 h 1619250"/>
                      <a:gd name="connsiteX188" fmla="*/ 1376774 w 1614899"/>
                      <a:gd name="connsiteY188" fmla="*/ 1028700 h 1619250"/>
                      <a:gd name="connsiteX189" fmla="*/ 1391062 w 1614899"/>
                      <a:gd name="connsiteY189" fmla="*/ 1033462 h 1619250"/>
                      <a:gd name="connsiteX190" fmla="*/ 1398206 w 1614899"/>
                      <a:gd name="connsiteY190" fmla="*/ 1035844 h 1619250"/>
                      <a:gd name="connsiteX191" fmla="*/ 1405349 w 1614899"/>
                      <a:gd name="connsiteY191" fmla="*/ 1038225 h 1619250"/>
                      <a:gd name="connsiteX192" fmla="*/ 1412493 w 1614899"/>
                      <a:gd name="connsiteY192" fmla="*/ 1042987 h 1619250"/>
                      <a:gd name="connsiteX193" fmla="*/ 1426781 w 1614899"/>
                      <a:gd name="connsiteY193" fmla="*/ 1050131 h 1619250"/>
                      <a:gd name="connsiteX194" fmla="*/ 1436306 w 1614899"/>
                      <a:gd name="connsiteY194" fmla="*/ 1062037 h 1619250"/>
                      <a:gd name="connsiteX195" fmla="*/ 1441068 w 1614899"/>
                      <a:gd name="connsiteY195" fmla="*/ 1069181 h 1619250"/>
                      <a:gd name="connsiteX196" fmla="*/ 1450593 w 1614899"/>
                      <a:gd name="connsiteY196" fmla="*/ 1071562 h 1619250"/>
                      <a:gd name="connsiteX197" fmla="*/ 1464881 w 1614899"/>
                      <a:gd name="connsiteY197" fmla="*/ 1076325 h 1619250"/>
                      <a:gd name="connsiteX198" fmla="*/ 1467262 w 1614899"/>
                      <a:gd name="connsiteY198" fmla="*/ 1083469 h 1619250"/>
                      <a:gd name="connsiteX199" fmla="*/ 1488693 w 1614899"/>
                      <a:gd name="connsiteY199" fmla="*/ 1092994 h 1619250"/>
                      <a:gd name="connsiteX200" fmla="*/ 1500599 w 1614899"/>
                      <a:gd name="connsiteY200" fmla="*/ 1095375 h 1619250"/>
                      <a:gd name="connsiteX201" fmla="*/ 1514887 w 1614899"/>
                      <a:gd name="connsiteY201" fmla="*/ 1097756 h 1619250"/>
                      <a:gd name="connsiteX202" fmla="*/ 1522031 w 1614899"/>
                      <a:gd name="connsiteY202" fmla="*/ 1100137 h 1619250"/>
                      <a:gd name="connsiteX203" fmla="*/ 1541081 w 1614899"/>
                      <a:gd name="connsiteY203" fmla="*/ 1104900 h 1619250"/>
                      <a:gd name="connsiteX204" fmla="*/ 1545843 w 1614899"/>
                      <a:gd name="connsiteY204" fmla="*/ 1112044 h 1619250"/>
                      <a:gd name="connsiteX205" fmla="*/ 1543462 w 1614899"/>
                      <a:gd name="connsiteY205" fmla="*/ 1119187 h 1619250"/>
                      <a:gd name="connsiteX206" fmla="*/ 1557749 w 1614899"/>
                      <a:gd name="connsiteY206" fmla="*/ 1128712 h 1619250"/>
                      <a:gd name="connsiteX207" fmla="*/ 1564893 w 1614899"/>
                      <a:gd name="connsiteY207" fmla="*/ 1133475 h 1619250"/>
                      <a:gd name="connsiteX208" fmla="*/ 1579181 w 1614899"/>
                      <a:gd name="connsiteY208" fmla="*/ 1147762 h 1619250"/>
                      <a:gd name="connsiteX209" fmla="*/ 1593468 w 1614899"/>
                      <a:gd name="connsiteY209" fmla="*/ 1152525 h 1619250"/>
                      <a:gd name="connsiteX210" fmla="*/ 1600612 w 1614899"/>
                      <a:gd name="connsiteY210" fmla="*/ 1154906 h 1619250"/>
                      <a:gd name="connsiteX211" fmla="*/ 1607756 w 1614899"/>
                      <a:gd name="connsiteY211" fmla="*/ 1162050 h 1619250"/>
                      <a:gd name="connsiteX212" fmla="*/ 1610137 w 1614899"/>
                      <a:gd name="connsiteY212" fmla="*/ 1169194 h 1619250"/>
                      <a:gd name="connsiteX213" fmla="*/ 1614899 w 1614899"/>
                      <a:gd name="connsiteY213" fmla="*/ 1176337 h 1619250"/>
                      <a:gd name="connsiteX214" fmla="*/ 1612518 w 1614899"/>
                      <a:gd name="connsiteY214" fmla="*/ 1195387 h 1619250"/>
                      <a:gd name="connsiteX215" fmla="*/ 1610137 w 1614899"/>
                      <a:gd name="connsiteY215" fmla="*/ 1202531 h 1619250"/>
                      <a:gd name="connsiteX216" fmla="*/ 1602993 w 1614899"/>
                      <a:gd name="connsiteY216" fmla="*/ 1204912 h 1619250"/>
                      <a:gd name="connsiteX217" fmla="*/ 1600612 w 1614899"/>
                      <a:gd name="connsiteY217" fmla="*/ 1212056 h 1619250"/>
                      <a:gd name="connsiteX218" fmla="*/ 1598231 w 1614899"/>
                      <a:gd name="connsiteY218" fmla="*/ 1247775 h 1619250"/>
                      <a:gd name="connsiteX219" fmla="*/ 1579181 w 1614899"/>
                      <a:gd name="connsiteY219" fmla="*/ 1245394 h 1619250"/>
                      <a:gd name="connsiteX220" fmla="*/ 1550606 w 1614899"/>
                      <a:gd name="connsiteY220" fmla="*/ 1231106 h 1619250"/>
                      <a:gd name="connsiteX221" fmla="*/ 1543462 w 1614899"/>
                      <a:gd name="connsiteY221" fmla="*/ 1226344 h 1619250"/>
                      <a:gd name="connsiteX222" fmla="*/ 1543462 w 1614899"/>
                      <a:gd name="connsiteY222" fmla="*/ 1197769 h 1619250"/>
                      <a:gd name="connsiteX223" fmla="*/ 1545843 w 1614899"/>
                      <a:gd name="connsiteY223" fmla="*/ 1183481 h 1619250"/>
                      <a:gd name="connsiteX224" fmla="*/ 1531556 w 1614899"/>
                      <a:gd name="connsiteY224" fmla="*/ 1176337 h 1619250"/>
                      <a:gd name="connsiteX225" fmla="*/ 1529174 w 1614899"/>
                      <a:gd name="connsiteY225" fmla="*/ 1169194 h 1619250"/>
                      <a:gd name="connsiteX226" fmla="*/ 1531556 w 1614899"/>
                      <a:gd name="connsiteY226" fmla="*/ 1152525 h 1619250"/>
                      <a:gd name="connsiteX227" fmla="*/ 1524412 w 1614899"/>
                      <a:gd name="connsiteY227" fmla="*/ 1154906 h 1619250"/>
                      <a:gd name="connsiteX228" fmla="*/ 1517268 w 1614899"/>
                      <a:gd name="connsiteY228" fmla="*/ 1159669 h 1619250"/>
                      <a:gd name="connsiteX229" fmla="*/ 1502981 w 1614899"/>
                      <a:gd name="connsiteY229" fmla="*/ 1164431 h 1619250"/>
                      <a:gd name="connsiteX230" fmla="*/ 1481549 w 1614899"/>
                      <a:gd name="connsiteY230" fmla="*/ 1169194 h 1619250"/>
                      <a:gd name="connsiteX231" fmla="*/ 1457737 w 1614899"/>
                      <a:gd name="connsiteY231" fmla="*/ 1164431 h 1619250"/>
                      <a:gd name="connsiteX232" fmla="*/ 1443449 w 1614899"/>
                      <a:gd name="connsiteY232" fmla="*/ 1154906 h 1619250"/>
                      <a:gd name="connsiteX233" fmla="*/ 1436306 w 1614899"/>
                      <a:gd name="connsiteY233" fmla="*/ 1150144 h 1619250"/>
                      <a:gd name="connsiteX234" fmla="*/ 1426781 w 1614899"/>
                      <a:gd name="connsiteY234" fmla="*/ 1140619 h 1619250"/>
                      <a:gd name="connsiteX235" fmla="*/ 1402968 w 1614899"/>
                      <a:gd name="connsiteY235" fmla="*/ 1138237 h 1619250"/>
                      <a:gd name="connsiteX236" fmla="*/ 1395824 w 1614899"/>
                      <a:gd name="connsiteY236" fmla="*/ 1145381 h 1619250"/>
                      <a:gd name="connsiteX237" fmla="*/ 1374393 w 1614899"/>
                      <a:gd name="connsiteY237" fmla="*/ 1162050 h 1619250"/>
                      <a:gd name="connsiteX238" fmla="*/ 1367249 w 1614899"/>
                      <a:gd name="connsiteY238" fmla="*/ 1188244 h 1619250"/>
                      <a:gd name="connsiteX239" fmla="*/ 1357724 w 1614899"/>
                      <a:gd name="connsiteY239" fmla="*/ 1202531 h 1619250"/>
                      <a:gd name="connsiteX240" fmla="*/ 1348199 w 1614899"/>
                      <a:gd name="connsiteY240" fmla="*/ 1212056 h 1619250"/>
                      <a:gd name="connsiteX241" fmla="*/ 1345818 w 1614899"/>
                      <a:gd name="connsiteY241" fmla="*/ 1219200 h 1619250"/>
                      <a:gd name="connsiteX242" fmla="*/ 1341056 w 1614899"/>
                      <a:gd name="connsiteY242" fmla="*/ 1228725 h 1619250"/>
                      <a:gd name="connsiteX243" fmla="*/ 1350581 w 1614899"/>
                      <a:gd name="connsiteY243" fmla="*/ 1243012 h 1619250"/>
                      <a:gd name="connsiteX244" fmla="*/ 1343437 w 1614899"/>
                      <a:gd name="connsiteY244" fmla="*/ 1266825 h 1619250"/>
                      <a:gd name="connsiteX245" fmla="*/ 1345818 w 1614899"/>
                      <a:gd name="connsiteY245" fmla="*/ 1281112 h 1619250"/>
                      <a:gd name="connsiteX246" fmla="*/ 1348199 w 1614899"/>
                      <a:gd name="connsiteY246" fmla="*/ 1290637 h 1619250"/>
                      <a:gd name="connsiteX247" fmla="*/ 1355343 w 1614899"/>
                      <a:gd name="connsiteY247" fmla="*/ 1297781 h 1619250"/>
                      <a:gd name="connsiteX248" fmla="*/ 1362487 w 1614899"/>
                      <a:gd name="connsiteY248" fmla="*/ 1300162 h 1619250"/>
                      <a:gd name="connsiteX249" fmla="*/ 1386299 w 1614899"/>
                      <a:gd name="connsiteY249" fmla="*/ 1302544 h 1619250"/>
                      <a:gd name="connsiteX250" fmla="*/ 1395824 w 1614899"/>
                      <a:gd name="connsiteY250" fmla="*/ 1309687 h 1619250"/>
                      <a:gd name="connsiteX251" fmla="*/ 1410112 w 1614899"/>
                      <a:gd name="connsiteY251" fmla="*/ 1314450 h 1619250"/>
                      <a:gd name="connsiteX252" fmla="*/ 1417256 w 1614899"/>
                      <a:gd name="connsiteY252" fmla="*/ 1319212 h 1619250"/>
                      <a:gd name="connsiteX253" fmla="*/ 1431543 w 1614899"/>
                      <a:gd name="connsiteY253" fmla="*/ 1326356 h 1619250"/>
                      <a:gd name="connsiteX254" fmla="*/ 1433924 w 1614899"/>
                      <a:gd name="connsiteY254" fmla="*/ 1333500 h 1619250"/>
                      <a:gd name="connsiteX255" fmla="*/ 1429162 w 1614899"/>
                      <a:gd name="connsiteY255" fmla="*/ 1340644 h 1619250"/>
                      <a:gd name="connsiteX256" fmla="*/ 1426781 w 1614899"/>
                      <a:gd name="connsiteY256" fmla="*/ 1347787 h 1619250"/>
                      <a:gd name="connsiteX257" fmla="*/ 1431543 w 1614899"/>
                      <a:gd name="connsiteY257" fmla="*/ 1354931 h 1619250"/>
                      <a:gd name="connsiteX258" fmla="*/ 1436306 w 1614899"/>
                      <a:gd name="connsiteY258" fmla="*/ 1364456 h 1619250"/>
                      <a:gd name="connsiteX259" fmla="*/ 1443449 w 1614899"/>
                      <a:gd name="connsiteY259" fmla="*/ 1395412 h 1619250"/>
                      <a:gd name="connsiteX260" fmla="*/ 1450593 w 1614899"/>
                      <a:gd name="connsiteY260" fmla="*/ 1402556 h 1619250"/>
                      <a:gd name="connsiteX261" fmla="*/ 1448212 w 1614899"/>
                      <a:gd name="connsiteY261" fmla="*/ 1412081 h 1619250"/>
                      <a:gd name="connsiteX262" fmla="*/ 1433924 w 1614899"/>
                      <a:gd name="connsiteY262" fmla="*/ 1416844 h 1619250"/>
                      <a:gd name="connsiteX263" fmla="*/ 1419637 w 1614899"/>
                      <a:gd name="connsiteY263" fmla="*/ 1423987 h 1619250"/>
                      <a:gd name="connsiteX264" fmla="*/ 1405349 w 1614899"/>
                      <a:gd name="connsiteY264" fmla="*/ 1431131 h 1619250"/>
                      <a:gd name="connsiteX265" fmla="*/ 1398206 w 1614899"/>
                      <a:gd name="connsiteY265" fmla="*/ 1435894 h 1619250"/>
                      <a:gd name="connsiteX266" fmla="*/ 1383918 w 1614899"/>
                      <a:gd name="connsiteY266" fmla="*/ 1440656 h 1619250"/>
                      <a:gd name="connsiteX267" fmla="*/ 1376774 w 1614899"/>
                      <a:gd name="connsiteY267" fmla="*/ 1443037 h 1619250"/>
                      <a:gd name="connsiteX268" fmla="*/ 1364868 w 1614899"/>
                      <a:gd name="connsiteY268" fmla="*/ 1464469 h 1619250"/>
                      <a:gd name="connsiteX269" fmla="*/ 1362487 w 1614899"/>
                      <a:gd name="connsiteY269" fmla="*/ 1473994 h 1619250"/>
                      <a:gd name="connsiteX270" fmla="*/ 1364868 w 1614899"/>
                      <a:gd name="connsiteY270" fmla="*/ 1497806 h 1619250"/>
                      <a:gd name="connsiteX271" fmla="*/ 1372012 w 1614899"/>
                      <a:gd name="connsiteY271" fmla="*/ 1500187 h 1619250"/>
                      <a:gd name="connsiteX272" fmla="*/ 1369631 w 1614899"/>
                      <a:gd name="connsiteY272" fmla="*/ 1516856 h 1619250"/>
                      <a:gd name="connsiteX273" fmla="*/ 1367249 w 1614899"/>
                      <a:gd name="connsiteY273" fmla="*/ 1524000 h 1619250"/>
                      <a:gd name="connsiteX274" fmla="*/ 1360106 w 1614899"/>
                      <a:gd name="connsiteY274" fmla="*/ 1526381 h 1619250"/>
                      <a:gd name="connsiteX275" fmla="*/ 1352962 w 1614899"/>
                      <a:gd name="connsiteY275" fmla="*/ 1531144 h 1619250"/>
                      <a:gd name="connsiteX276" fmla="*/ 1343437 w 1614899"/>
                      <a:gd name="connsiteY276" fmla="*/ 1535906 h 1619250"/>
                      <a:gd name="connsiteX277" fmla="*/ 1329149 w 1614899"/>
                      <a:gd name="connsiteY277" fmla="*/ 1550194 h 1619250"/>
                      <a:gd name="connsiteX278" fmla="*/ 1326768 w 1614899"/>
                      <a:gd name="connsiteY278" fmla="*/ 1559719 h 1619250"/>
                      <a:gd name="connsiteX279" fmla="*/ 1322006 w 1614899"/>
                      <a:gd name="connsiteY279" fmla="*/ 1566862 h 1619250"/>
                      <a:gd name="connsiteX280" fmla="*/ 1319624 w 1614899"/>
                      <a:gd name="connsiteY280" fmla="*/ 1578769 h 1619250"/>
                      <a:gd name="connsiteX281" fmla="*/ 1317243 w 1614899"/>
                      <a:gd name="connsiteY281" fmla="*/ 1585912 h 1619250"/>
                      <a:gd name="connsiteX282" fmla="*/ 1314862 w 1614899"/>
                      <a:gd name="connsiteY282" fmla="*/ 1602581 h 1619250"/>
                      <a:gd name="connsiteX283" fmla="*/ 1283906 w 1614899"/>
                      <a:gd name="connsiteY283" fmla="*/ 1614487 h 1619250"/>
                      <a:gd name="connsiteX284" fmla="*/ 1274381 w 1614899"/>
                      <a:gd name="connsiteY284" fmla="*/ 1616869 h 1619250"/>
                      <a:gd name="connsiteX285" fmla="*/ 1260093 w 1614899"/>
                      <a:gd name="connsiteY285" fmla="*/ 1619250 h 1619250"/>
                      <a:gd name="connsiteX286" fmla="*/ 1248187 w 1614899"/>
                      <a:gd name="connsiteY286" fmla="*/ 1616869 h 1619250"/>
                      <a:gd name="connsiteX287" fmla="*/ 1243424 w 1614899"/>
                      <a:gd name="connsiteY287" fmla="*/ 1597819 h 1619250"/>
                      <a:gd name="connsiteX288" fmla="*/ 1238662 w 1614899"/>
                      <a:gd name="connsiteY288" fmla="*/ 1581150 h 1619250"/>
                      <a:gd name="connsiteX289" fmla="*/ 1243424 w 1614899"/>
                      <a:gd name="connsiteY289" fmla="*/ 1566862 h 1619250"/>
                      <a:gd name="connsiteX290" fmla="*/ 1252949 w 1614899"/>
                      <a:gd name="connsiteY290" fmla="*/ 1552575 h 1619250"/>
                      <a:gd name="connsiteX291" fmla="*/ 1260093 w 1614899"/>
                      <a:gd name="connsiteY291" fmla="*/ 1550194 h 1619250"/>
                      <a:gd name="connsiteX292" fmla="*/ 1267237 w 1614899"/>
                      <a:gd name="connsiteY292" fmla="*/ 1543050 h 1619250"/>
                      <a:gd name="connsiteX293" fmla="*/ 1269618 w 1614899"/>
                      <a:gd name="connsiteY293" fmla="*/ 1535906 h 1619250"/>
                      <a:gd name="connsiteX294" fmla="*/ 1274381 w 1614899"/>
                      <a:gd name="connsiteY294" fmla="*/ 1526381 h 1619250"/>
                      <a:gd name="connsiteX295" fmla="*/ 1267237 w 1614899"/>
                      <a:gd name="connsiteY295" fmla="*/ 1502569 h 1619250"/>
                      <a:gd name="connsiteX296" fmla="*/ 1252949 w 1614899"/>
                      <a:gd name="connsiteY296" fmla="*/ 1493044 h 1619250"/>
                      <a:gd name="connsiteX297" fmla="*/ 1262474 w 1614899"/>
                      <a:gd name="connsiteY297" fmla="*/ 1478756 h 1619250"/>
                      <a:gd name="connsiteX298" fmla="*/ 1279143 w 1614899"/>
                      <a:gd name="connsiteY298" fmla="*/ 1462087 h 1619250"/>
                      <a:gd name="connsiteX299" fmla="*/ 1302956 w 1614899"/>
                      <a:gd name="connsiteY299" fmla="*/ 1459706 h 1619250"/>
                      <a:gd name="connsiteX300" fmla="*/ 1305337 w 1614899"/>
                      <a:gd name="connsiteY300" fmla="*/ 1450181 h 1619250"/>
                      <a:gd name="connsiteX301" fmla="*/ 1310099 w 1614899"/>
                      <a:gd name="connsiteY301" fmla="*/ 1443037 h 1619250"/>
                      <a:gd name="connsiteX302" fmla="*/ 1312481 w 1614899"/>
                      <a:gd name="connsiteY302" fmla="*/ 1435894 h 1619250"/>
                      <a:gd name="connsiteX303" fmla="*/ 1305337 w 1614899"/>
                      <a:gd name="connsiteY303" fmla="*/ 1428750 h 1619250"/>
                      <a:gd name="connsiteX304" fmla="*/ 1298193 w 1614899"/>
                      <a:gd name="connsiteY304" fmla="*/ 1423987 h 1619250"/>
                      <a:gd name="connsiteX305" fmla="*/ 1295812 w 1614899"/>
                      <a:gd name="connsiteY305" fmla="*/ 1412081 h 1619250"/>
                      <a:gd name="connsiteX306" fmla="*/ 1293431 w 1614899"/>
                      <a:gd name="connsiteY306" fmla="*/ 1402556 h 1619250"/>
                      <a:gd name="connsiteX307" fmla="*/ 1288668 w 1614899"/>
                      <a:gd name="connsiteY307" fmla="*/ 1369219 h 1619250"/>
                      <a:gd name="connsiteX308" fmla="*/ 1286287 w 1614899"/>
                      <a:gd name="connsiteY308" fmla="*/ 1362075 h 1619250"/>
                      <a:gd name="connsiteX309" fmla="*/ 1276762 w 1614899"/>
                      <a:gd name="connsiteY309" fmla="*/ 1345406 h 1619250"/>
                      <a:gd name="connsiteX310" fmla="*/ 1267237 w 1614899"/>
                      <a:gd name="connsiteY310" fmla="*/ 1343025 h 1619250"/>
                      <a:gd name="connsiteX311" fmla="*/ 1260093 w 1614899"/>
                      <a:gd name="connsiteY311" fmla="*/ 1340644 h 1619250"/>
                      <a:gd name="connsiteX312" fmla="*/ 1252949 w 1614899"/>
                      <a:gd name="connsiteY312" fmla="*/ 1307306 h 1619250"/>
                      <a:gd name="connsiteX313" fmla="*/ 1248187 w 1614899"/>
                      <a:gd name="connsiteY313" fmla="*/ 1293019 h 1619250"/>
                      <a:gd name="connsiteX314" fmla="*/ 1243424 w 1614899"/>
                      <a:gd name="connsiteY314" fmla="*/ 1278731 h 1619250"/>
                      <a:gd name="connsiteX315" fmla="*/ 1241043 w 1614899"/>
                      <a:gd name="connsiteY315" fmla="*/ 1271587 h 1619250"/>
                      <a:gd name="connsiteX316" fmla="*/ 1236281 w 1614899"/>
                      <a:gd name="connsiteY316" fmla="*/ 1262062 h 1619250"/>
                      <a:gd name="connsiteX317" fmla="*/ 1231518 w 1614899"/>
                      <a:gd name="connsiteY317" fmla="*/ 1247775 h 1619250"/>
                      <a:gd name="connsiteX318" fmla="*/ 1224374 w 1614899"/>
                      <a:gd name="connsiteY318" fmla="*/ 1240631 h 1619250"/>
                      <a:gd name="connsiteX319" fmla="*/ 1214849 w 1614899"/>
                      <a:gd name="connsiteY319" fmla="*/ 1226344 h 1619250"/>
                      <a:gd name="connsiteX320" fmla="*/ 1195799 w 1614899"/>
                      <a:gd name="connsiteY320" fmla="*/ 1233487 h 1619250"/>
                      <a:gd name="connsiteX321" fmla="*/ 1198181 w 1614899"/>
                      <a:gd name="connsiteY321" fmla="*/ 1240631 h 1619250"/>
                      <a:gd name="connsiteX322" fmla="*/ 1191037 w 1614899"/>
                      <a:gd name="connsiteY322" fmla="*/ 1243012 h 1619250"/>
                      <a:gd name="connsiteX323" fmla="*/ 1164843 w 1614899"/>
                      <a:gd name="connsiteY323" fmla="*/ 1238250 h 1619250"/>
                      <a:gd name="connsiteX324" fmla="*/ 1155318 w 1614899"/>
                      <a:gd name="connsiteY324" fmla="*/ 1223962 h 1619250"/>
                      <a:gd name="connsiteX325" fmla="*/ 1148174 w 1614899"/>
                      <a:gd name="connsiteY325" fmla="*/ 1216819 h 1619250"/>
                      <a:gd name="connsiteX326" fmla="*/ 1138649 w 1614899"/>
                      <a:gd name="connsiteY326" fmla="*/ 1219200 h 1619250"/>
                      <a:gd name="connsiteX327" fmla="*/ 1131506 w 1614899"/>
                      <a:gd name="connsiteY327" fmla="*/ 1221581 h 1619250"/>
                      <a:gd name="connsiteX328" fmla="*/ 1124362 w 1614899"/>
                      <a:gd name="connsiteY328" fmla="*/ 1219200 h 1619250"/>
                      <a:gd name="connsiteX329" fmla="*/ 1117218 w 1614899"/>
                      <a:gd name="connsiteY329" fmla="*/ 1212056 h 1619250"/>
                      <a:gd name="connsiteX330" fmla="*/ 1117218 w 1614899"/>
                      <a:gd name="connsiteY330" fmla="*/ 1193006 h 1619250"/>
                      <a:gd name="connsiteX331" fmla="*/ 1112456 w 1614899"/>
                      <a:gd name="connsiteY331" fmla="*/ 1154906 h 1619250"/>
                      <a:gd name="connsiteX332" fmla="*/ 1107693 w 1614899"/>
                      <a:gd name="connsiteY332" fmla="*/ 1147762 h 1619250"/>
                      <a:gd name="connsiteX333" fmla="*/ 1100549 w 1614899"/>
                      <a:gd name="connsiteY333" fmla="*/ 1145381 h 1619250"/>
                      <a:gd name="connsiteX334" fmla="*/ 1093406 w 1614899"/>
                      <a:gd name="connsiteY334" fmla="*/ 1147762 h 1619250"/>
                      <a:gd name="connsiteX335" fmla="*/ 1062449 w 1614899"/>
                      <a:gd name="connsiteY335" fmla="*/ 1152525 h 1619250"/>
                      <a:gd name="connsiteX336" fmla="*/ 1045781 w 1614899"/>
                      <a:gd name="connsiteY336" fmla="*/ 1150144 h 1619250"/>
                      <a:gd name="connsiteX337" fmla="*/ 1043399 w 1614899"/>
                      <a:gd name="connsiteY337" fmla="*/ 1143000 h 1619250"/>
                      <a:gd name="connsiteX338" fmla="*/ 1050543 w 1614899"/>
                      <a:gd name="connsiteY338" fmla="*/ 1128712 h 1619250"/>
                      <a:gd name="connsiteX339" fmla="*/ 1041018 w 1614899"/>
                      <a:gd name="connsiteY339" fmla="*/ 1107281 h 1619250"/>
                      <a:gd name="connsiteX340" fmla="*/ 1024349 w 1614899"/>
                      <a:gd name="connsiteY340" fmla="*/ 1109662 h 1619250"/>
                      <a:gd name="connsiteX341" fmla="*/ 1014824 w 1614899"/>
                      <a:gd name="connsiteY341" fmla="*/ 1107281 h 1619250"/>
                      <a:gd name="connsiteX342" fmla="*/ 988631 w 1614899"/>
                      <a:gd name="connsiteY342" fmla="*/ 1109662 h 1619250"/>
                      <a:gd name="connsiteX343" fmla="*/ 986249 w 1614899"/>
                      <a:gd name="connsiteY343" fmla="*/ 1102519 h 1619250"/>
                      <a:gd name="connsiteX344" fmla="*/ 979106 w 1614899"/>
                      <a:gd name="connsiteY344" fmla="*/ 1076325 h 1619250"/>
                      <a:gd name="connsiteX345" fmla="*/ 964818 w 1614899"/>
                      <a:gd name="connsiteY345" fmla="*/ 1064419 h 1619250"/>
                      <a:gd name="connsiteX346" fmla="*/ 950531 w 1614899"/>
                      <a:gd name="connsiteY346" fmla="*/ 1054894 h 1619250"/>
                      <a:gd name="connsiteX347" fmla="*/ 943387 w 1614899"/>
                      <a:gd name="connsiteY347" fmla="*/ 1050131 h 1619250"/>
                      <a:gd name="connsiteX348" fmla="*/ 936243 w 1614899"/>
                      <a:gd name="connsiteY348" fmla="*/ 1045369 h 1619250"/>
                      <a:gd name="connsiteX349" fmla="*/ 931481 w 1614899"/>
                      <a:gd name="connsiteY349" fmla="*/ 1038225 h 1619250"/>
                      <a:gd name="connsiteX350" fmla="*/ 917193 w 1614899"/>
                      <a:gd name="connsiteY350" fmla="*/ 1031081 h 1619250"/>
                      <a:gd name="connsiteX351" fmla="*/ 914812 w 1614899"/>
                      <a:gd name="connsiteY351" fmla="*/ 1040606 h 1619250"/>
                      <a:gd name="connsiteX352" fmla="*/ 907668 w 1614899"/>
                      <a:gd name="connsiteY352" fmla="*/ 1042987 h 1619250"/>
                      <a:gd name="connsiteX353" fmla="*/ 886237 w 1614899"/>
                      <a:gd name="connsiteY353" fmla="*/ 1031081 h 1619250"/>
                      <a:gd name="connsiteX354" fmla="*/ 862424 w 1614899"/>
                      <a:gd name="connsiteY354" fmla="*/ 1035844 h 1619250"/>
                      <a:gd name="connsiteX355" fmla="*/ 845756 w 1614899"/>
                      <a:gd name="connsiteY355" fmla="*/ 1040606 h 1619250"/>
                      <a:gd name="connsiteX356" fmla="*/ 840993 w 1614899"/>
                      <a:gd name="connsiteY356" fmla="*/ 1033462 h 1619250"/>
                      <a:gd name="connsiteX357" fmla="*/ 821943 w 1614899"/>
                      <a:gd name="connsiteY357" fmla="*/ 1004887 h 1619250"/>
                      <a:gd name="connsiteX358" fmla="*/ 814799 w 1614899"/>
                      <a:gd name="connsiteY358" fmla="*/ 1000125 h 1619250"/>
                      <a:gd name="connsiteX359" fmla="*/ 779081 w 1614899"/>
                      <a:gd name="connsiteY359" fmla="*/ 995362 h 1619250"/>
                      <a:gd name="connsiteX360" fmla="*/ 771937 w 1614899"/>
                      <a:gd name="connsiteY360" fmla="*/ 988219 h 1619250"/>
                      <a:gd name="connsiteX361" fmla="*/ 762412 w 1614899"/>
                      <a:gd name="connsiteY361" fmla="*/ 966787 h 1619250"/>
                      <a:gd name="connsiteX362" fmla="*/ 755268 w 1614899"/>
                      <a:gd name="connsiteY362" fmla="*/ 962025 h 1619250"/>
                      <a:gd name="connsiteX363" fmla="*/ 733837 w 1614899"/>
                      <a:gd name="connsiteY363" fmla="*/ 962025 h 1619250"/>
                      <a:gd name="connsiteX364" fmla="*/ 731456 w 1614899"/>
                      <a:gd name="connsiteY364" fmla="*/ 950119 h 1619250"/>
                      <a:gd name="connsiteX365" fmla="*/ 729074 w 1614899"/>
                      <a:gd name="connsiteY365" fmla="*/ 942975 h 1619250"/>
                      <a:gd name="connsiteX366" fmla="*/ 726693 w 1614899"/>
                      <a:gd name="connsiteY366" fmla="*/ 921544 h 1619250"/>
                      <a:gd name="connsiteX367" fmla="*/ 724312 w 1614899"/>
                      <a:gd name="connsiteY367" fmla="*/ 914400 h 1619250"/>
                      <a:gd name="connsiteX368" fmla="*/ 717168 w 1614899"/>
                      <a:gd name="connsiteY368" fmla="*/ 909637 h 1619250"/>
                      <a:gd name="connsiteX369" fmla="*/ 710024 w 1614899"/>
                      <a:gd name="connsiteY369" fmla="*/ 907256 h 1619250"/>
                      <a:gd name="connsiteX370" fmla="*/ 681449 w 1614899"/>
                      <a:gd name="connsiteY370" fmla="*/ 902494 h 1619250"/>
                      <a:gd name="connsiteX371" fmla="*/ 674306 w 1614899"/>
                      <a:gd name="connsiteY371" fmla="*/ 897731 h 1619250"/>
                      <a:gd name="connsiteX372" fmla="*/ 667162 w 1614899"/>
                      <a:gd name="connsiteY372" fmla="*/ 883444 h 1619250"/>
                      <a:gd name="connsiteX373" fmla="*/ 657637 w 1614899"/>
                      <a:gd name="connsiteY373" fmla="*/ 881062 h 1619250"/>
                      <a:gd name="connsiteX374" fmla="*/ 650493 w 1614899"/>
                      <a:gd name="connsiteY374" fmla="*/ 873919 h 1619250"/>
                      <a:gd name="connsiteX375" fmla="*/ 648112 w 1614899"/>
                      <a:gd name="connsiteY375" fmla="*/ 866775 h 1619250"/>
                      <a:gd name="connsiteX376" fmla="*/ 643349 w 1614899"/>
                      <a:gd name="connsiteY376" fmla="*/ 859631 h 1619250"/>
                      <a:gd name="connsiteX377" fmla="*/ 631443 w 1614899"/>
                      <a:gd name="connsiteY377" fmla="*/ 838200 h 1619250"/>
                      <a:gd name="connsiteX378" fmla="*/ 624299 w 1614899"/>
                      <a:gd name="connsiteY378" fmla="*/ 833437 h 1619250"/>
                      <a:gd name="connsiteX379" fmla="*/ 593343 w 1614899"/>
                      <a:gd name="connsiteY379" fmla="*/ 835819 h 1619250"/>
                      <a:gd name="connsiteX380" fmla="*/ 586199 w 1614899"/>
                      <a:gd name="connsiteY380" fmla="*/ 816769 h 1619250"/>
                      <a:gd name="connsiteX381" fmla="*/ 569531 w 1614899"/>
                      <a:gd name="connsiteY381" fmla="*/ 795337 h 1619250"/>
                      <a:gd name="connsiteX382" fmla="*/ 564768 w 1614899"/>
                      <a:gd name="connsiteY382" fmla="*/ 788194 h 1619250"/>
                      <a:gd name="connsiteX383" fmla="*/ 557624 w 1614899"/>
                      <a:gd name="connsiteY383" fmla="*/ 785812 h 1619250"/>
                      <a:gd name="connsiteX384" fmla="*/ 550481 w 1614899"/>
                      <a:gd name="connsiteY384" fmla="*/ 781050 h 1619250"/>
                      <a:gd name="connsiteX385" fmla="*/ 536193 w 1614899"/>
                      <a:gd name="connsiteY385" fmla="*/ 776287 h 1619250"/>
                      <a:gd name="connsiteX386" fmla="*/ 538574 w 1614899"/>
                      <a:gd name="connsiteY386" fmla="*/ 747712 h 1619250"/>
                      <a:gd name="connsiteX387" fmla="*/ 533812 w 1614899"/>
                      <a:gd name="connsiteY387" fmla="*/ 740569 h 1619250"/>
                      <a:gd name="connsiteX388" fmla="*/ 519524 w 1614899"/>
                      <a:gd name="connsiteY388" fmla="*/ 731044 h 1619250"/>
                      <a:gd name="connsiteX389" fmla="*/ 512381 w 1614899"/>
                      <a:gd name="connsiteY389" fmla="*/ 735806 h 1619250"/>
                      <a:gd name="connsiteX390" fmla="*/ 505237 w 1614899"/>
                      <a:gd name="connsiteY390" fmla="*/ 738187 h 1619250"/>
                      <a:gd name="connsiteX391" fmla="*/ 507618 w 1614899"/>
                      <a:gd name="connsiteY391" fmla="*/ 723900 h 1619250"/>
                      <a:gd name="connsiteX392" fmla="*/ 505237 w 1614899"/>
                      <a:gd name="connsiteY392" fmla="*/ 688181 h 1619250"/>
                      <a:gd name="connsiteX393" fmla="*/ 493331 w 1614899"/>
                      <a:gd name="connsiteY393" fmla="*/ 666750 h 1619250"/>
                      <a:gd name="connsiteX394" fmla="*/ 486187 w 1614899"/>
                      <a:gd name="connsiteY394" fmla="*/ 659606 h 1619250"/>
                      <a:gd name="connsiteX395" fmla="*/ 481424 w 1614899"/>
                      <a:gd name="connsiteY395" fmla="*/ 652462 h 1619250"/>
                      <a:gd name="connsiteX396" fmla="*/ 479043 w 1614899"/>
                      <a:gd name="connsiteY396" fmla="*/ 614362 h 1619250"/>
                      <a:gd name="connsiteX397" fmla="*/ 474281 w 1614899"/>
                      <a:gd name="connsiteY397" fmla="*/ 595312 h 1619250"/>
                      <a:gd name="connsiteX398" fmla="*/ 467137 w 1614899"/>
                      <a:gd name="connsiteY398" fmla="*/ 578644 h 1619250"/>
                      <a:gd name="connsiteX399" fmla="*/ 459993 w 1614899"/>
                      <a:gd name="connsiteY399" fmla="*/ 571500 h 1619250"/>
                      <a:gd name="connsiteX400" fmla="*/ 440943 w 1614899"/>
                      <a:gd name="connsiteY400" fmla="*/ 554831 h 1619250"/>
                      <a:gd name="connsiteX401" fmla="*/ 426656 w 1614899"/>
                      <a:gd name="connsiteY401" fmla="*/ 550069 h 1619250"/>
                      <a:gd name="connsiteX402" fmla="*/ 424274 w 1614899"/>
                      <a:gd name="connsiteY402" fmla="*/ 557212 h 1619250"/>
                      <a:gd name="connsiteX403" fmla="*/ 414749 w 1614899"/>
                      <a:gd name="connsiteY403" fmla="*/ 552450 h 1619250"/>
                      <a:gd name="connsiteX404" fmla="*/ 407606 w 1614899"/>
                      <a:gd name="connsiteY404" fmla="*/ 545306 h 1619250"/>
                      <a:gd name="connsiteX405" fmla="*/ 390937 w 1614899"/>
                      <a:gd name="connsiteY405" fmla="*/ 535781 h 1619250"/>
                      <a:gd name="connsiteX406" fmla="*/ 383793 w 1614899"/>
                      <a:gd name="connsiteY406" fmla="*/ 528637 h 1619250"/>
                      <a:gd name="connsiteX407" fmla="*/ 374268 w 1614899"/>
                      <a:gd name="connsiteY407" fmla="*/ 526256 h 1619250"/>
                      <a:gd name="connsiteX408" fmla="*/ 352837 w 1614899"/>
                      <a:gd name="connsiteY408" fmla="*/ 519112 h 1619250"/>
                      <a:gd name="connsiteX409" fmla="*/ 345693 w 1614899"/>
                      <a:gd name="connsiteY409" fmla="*/ 516731 h 1619250"/>
                      <a:gd name="connsiteX410" fmla="*/ 338549 w 1614899"/>
                      <a:gd name="connsiteY410" fmla="*/ 514350 h 1619250"/>
                      <a:gd name="connsiteX411" fmla="*/ 326643 w 1614899"/>
                      <a:gd name="connsiteY411" fmla="*/ 504825 h 1619250"/>
                      <a:gd name="connsiteX412" fmla="*/ 321881 w 1614899"/>
                      <a:gd name="connsiteY412" fmla="*/ 497681 h 1619250"/>
                      <a:gd name="connsiteX413" fmla="*/ 314737 w 1614899"/>
                      <a:gd name="connsiteY413" fmla="*/ 490537 h 1619250"/>
                      <a:gd name="connsiteX414" fmla="*/ 307593 w 1614899"/>
                      <a:gd name="connsiteY414" fmla="*/ 485775 h 1619250"/>
                      <a:gd name="connsiteX415" fmla="*/ 293306 w 1614899"/>
                      <a:gd name="connsiteY415" fmla="*/ 481012 h 1619250"/>
                      <a:gd name="connsiteX416" fmla="*/ 269493 w 1614899"/>
                      <a:gd name="connsiteY416" fmla="*/ 483394 h 1619250"/>
                      <a:gd name="connsiteX417" fmla="*/ 259968 w 1614899"/>
                      <a:gd name="connsiteY417" fmla="*/ 490537 h 1619250"/>
                      <a:gd name="connsiteX418" fmla="*/ 243299 w 1614899"/>
                      <a:gd name="connsiteY418" fmla="*/ 497681 h 1619250"/>
                      <a:gd name="connsiteX419" fmla="*/ 236156 w 1614899"/>
                      <a:gd name="connsiteY419" fmla="*/ 502444 h 1619250"/>
                      <a:gd name="connsiteX420" fmla="*/ 233774 w 1614899"/>
                      <a:gd name="connsiteY420" fmla="*/ 509587 h 1619250"/>
                      <a:gd name="connsiteX421" fmla="*/ 231393 w 1614899"/>
                      <a:gd name="connsiteY421" fmla="*/ 519112 h 1619250"/>
                      <a:gd name="connsiteX422" fmla="*/ 224249 w 1614899"/>
                      <a:gd name="connsiteY422" fmla="*/ 521494 h 1619250"/>
                      <a:gd name="connsiteX423" fmla="*/ 209962 w 1614899"/>
                      <a:gd name="connsiteY423" fmla="*/ 528637 h 1619250"/>
                      <a:gd name="connsiteX424" fmla="*/ 200437 w 1614899"/>
                      <a:gd name="connsiteY424" fmla="*/ 542925 h 1619250"/>
                      <a:gd name="connsiteX425" fmla="*/ 195674 w 1614899"/>
                      <a:gd name="connsiteY425" fmla="*/ 557212 h 1619250"/>
                      <a:gd name="connsiteX426" fmla="*/ 188531 w 1614899"/>
                      <a:gd name="connsiteY426" fmla="*/ 559594 h 1619250"/>
                      <a:gd name="connsiteX427" fmla="*/ 176624 w 1614899"/>
                      <a:gd name="connsiteY427" fmla="*/ 564356 h 1619250"/>
                      <a:gd name="connsiteX428" fmla="*/ 164718 w 1614899"/>
                      <a:gd name="connsiteY428" fmla="*/ 566737 h 1619250"/>
                      <a:gd name="connsiteX429" fmla="*/ 157574 w 1614899"/>
                      <a:gd name="connsiteY429" fmla="*/ 569119 h 1619250"/>
                      <a:gd name="connsiteX430" fmla="*/ 148049 w 1614899"/>
                      <a:gd name="connsiteY430" fmla="*/ 571500 h 1619250"/>
                      <a:gd name="connsiteX431" fmla="*/ 140906 w 1614899"/>
                      <a:gd name="connsiteY431" fmla="*/ 573881 h 1619250"/>
                      <a:gd name="connsiteX432" fmla="*/ 121856 w 1614899"/>
                      <a:gd name="connsiteY432" fmla="*/ 576262 h 1619250"/>
                      <a:gd name="connsiteX433" fmla="*/ 119474 w 1614899"/>
                      <a:gd name="connsiteY433" fmla="*/ 571500 h 1619250"/>
                      <a:gd name="connsiteX434" fmla="*/ 128999 w 1614899"/>
                      <a:gd name="connsiteY434" fmla="*/ 557212 h 1619250"/>
                      <a:gd name="connsiteX435" fmla="*/ 131381 w 1614899"/>
                      <a:gd name="connsiteY435" fmla="*/ 550069 h 1619250"/>
                      <a:gd name="connsiteX436" fmla="*/ 140906 w 1614899"/>
                      <a:gd name="connsiteY436" fmla="*/ 535781 h 1619250"/>
                      <a:gd name="connsiteX437" fmla="*/ 133762 w 1614899"/>
                      <a:gd name="connsiteY437" fmla="*/ 533400 h 1619250"/>
                      <a:gd name="connsiteX438" fmla="*/ 128999 w 1614899"/>
                      <a:gd name="connsiteY438" fmla="*/ 516731 h 1619250"/>
                      <a:gd name="connsiteX439" fmla="*/ 69468 w 1614899"/>
                      <a:gd name="connsiteY439" fmla="*/ 514350 h 1619250"/>
                      <a:gd name="connsiteX440" fmla="*/ 67087 w 1614899"/>
                      <a:gd name="connsiteY440" fmla="*/ 507206 h 1619250"/>
                      <a:gd name="connsiteX441" fmla="*/ 52799 w 1614899"/>
                      <a:gd name="connsiteY441" fmla="*/ 497681 h 1619250"/>
                      <a:gd name="connsiteX442" fmla="*/ 55181 w 1614899"/>
                      <a:gd name="connsiteY442" fmla="*/ 488156 h 1619250"/>
                      <a:gd name="connsiteX443" fmla="*/ 40893 w 1614899"/>
                      <a:gd name="connsiteY443" fmla="*/ 483394 h 1619250"/>
                      <a:gd name="connsiteX444" fmla="*/ 38512 w 1614899"/>
                      <a:gd name="connsiteY444" fmla="*/ 471487 h 1619250"/>
                      <a:gd name="connsiteX445" fmla="*/ 36131 w 1614899"/>
                      <a:gd name="connsiteY445" fmla="*/ 464344 h 1619250"/>
                      <a:gd name="connsiteX446" fmla="*/ 38512 w 1614899"/>
                      <a:gd name="connsiteY446" fmla="*/ 452437 h 1619250"/>
                      <a:gd name="connsiteX447" fmla="*/ 38512 w 1614899"/>
                      <a:gd name="connsiteY447" fmla="*/ 428625 h 1619250"/>
                      <a:gd name="connsiteX448" fmla="*/ 45656 w 1614899"/>
                      <a:gd name="connsiteY448" fmla="*/ 426244 h 1619250"/>
                      <a:gd name="connsiteX449" fmla="*/ 52799 w 1614899"/>
                      <a:gd name="connsiteY449" fmla="*/ 421481 h 1619250"/>
                      <a:gd name="connsiteX450" fmla="*/ 59943 w 1614899"/>
                      <a:gd name="connsiteY450" fmla="*/ 419100 h 1619250"/>
                      <a:gd name="connsiteX451" fmla="*/ 64706 w 1614899"/>
                      <a:gd name="connsiteY451" fmla="*/ 411956 h 1619250"/>
                      <a:gd name="connsiteX452" fmla="*/ 55181 w 1614899"/>
                      <a:gd name="connsiteY452" fmla="*/ 392906 h 1619250"/>
                      <a:gd name="connsiteX453" fmla="*/ 40893 w 1614899"/>
                      <a:gd name="connsiteY453" fmla="*/ 388144 h 1619250"/>
                      <a:gd name="connsiteX454" fmla="*/ 33749 w 1614899"/>
                      <a:gd name="connsiteY454" fmla="*/ 390525 h 1619250"/>
                      <a:gd name="connsiteX455" fmla="*/ 28987 w 1614899"/>
                      <a:gd name="connsiteY455" fmla="*/ 390525 h 1619250"/>
                      <a:gd name="connsiteX456" fmla="*/ 21843 w 1614899"/>
                      <a:gd name="connsiteY456" fmla="*/ 388144 h 1619250"/>
                      <a:gd name="connsiteX457" fmla="*/ 14699 w 1614899"/>
                      <a:gd name="connsiteY457" fmla="*/ 364331 h 1619250"/>
                      <a:gd name="connsiteX458" fmla="*/ 2793 w 1614899"/>
                      <a:gd name="connsiteY458" fmla="*/ 361950 h 1619250"/>
                      <a:gd name="connsiteX459" fmla="*/ 2793 w 1614899"/>
                      <a:gd name="connsiteY459" fmla="*/ 345281 h 1619250"/>
                      <a:gd name="connsiteX460" fmla="*/ 17081 w 1614899"/>
                      <a:gd name="connsiteY460" fmla="*/ 340519 h 1619250"/>
                      <a:gd name="connsiteX461" fmla="*/ 24224 w 1614899"/>
                      <a:gd name="connsiteY461" fmla="*/ 347662 h 1619250"/>
                      <a:gd name="connsiteX462" fmla="*/ 40893 w 1614899"/>
                      <a:gd name="connsiteY462" fmla="*/ 342900 h 1619250"/>
                      <a:gd name="connsiteX463" fmla="*/ 57562 w 1614899"/>
                      <a:gd name="connsiteY463" fmla="*/ 333375 h 1619250"/>
                      <a:gd name="connsiteX464" fmla="*/ 64706 w 1614899"/>
                      <a:gd name="connsiteY464" fmla="*/ 328612 h 1619250"/>
                      <a:gd name="connsiteX465" fmla="*/ 71849 w 1614899"/>
                      <a:gd name="connsiteY465" fmla="*/ 326231 h 1619250"/>
                      <a:gd name="connsiteX466" fmla="*/ 90899 w 1614899"/>
                      <a:gd name="connsiteY466" fmla="*/ 321469 h 1619250"/>
                      <a:gd name="connsiteX467" fmla="*/ 86137 w 1614899"/>
                      <a:gd name="connsiteY467" fmla="*/ 311944 h 1619250"/>
                      <a:gd name="connsiteX468" fmla="*/ 88518 w 1614899"/>
                      <a:gd name="connsiteY468" fmla="*/ 292894 h 1619250"/>
                      <a:gd name="connsiteX469" fmla="*/ 90899 w 1614899"/>
                      <a:gd name="connsiteY469" fmla="*/ 285750 h 1619250"/>
                      <a:gd name="connsiteX470" fmla="*/ 76612 w 1614899"/>
                      <a:gd name="connsiteY470" fmla="*/ 280987 h 1619250"/>
                      <a:gd name="connsiteX471" fmla="*/ 71849 w 1614899"/>
                      <a:gd name="connsiteY471" fmla="*/ 273844 h 1619250"/>
                      <a:gd name="connsiteX472" fmla="*/ 67087 w 1614899"/>
                      <a:gd name="connsiteY472" fmla="*/ 250031 h 1619250"/>
                      <a:gd name="connsiteX473" fmla="*/ 45656 w 1614899"/>
                      <a:gd name="connsiteY473" fmla="*/ 250031 h 1619250"/>
                      <a:gd name="connsiteX474" fmla="*/ 40893 w 1614899"/>
                      <a:gd name="connsiteY474" fmla="*/ 242887 h 1619250"/>
                      <a:gd name="connsiteX475" fmla="*/ 43274 w 1614899"/>
                      <a:gd name="connsiteY475" fmla="*/ 223837 h 1619250"/>
                      <a:gd name="connsiteX476" fmla="*/ 57562 w 1614899"/>
                      <a:gd name="connsiteY476" fmla="*/ 211931 h 1619250"/>
                      <a:gd name="connsiteX477" fmla="*/ 74231 w 1614899"/>
                      <a:gd name="connsiteY477" fmla="*/ 200025 h 1619250"/>
                      <a:gd name="connsiteX478" fmla="*/ 81374 w 1614899"/>
                      <a:gd name="connsiteY478" fmla="*/ 202406 h 1619250"/>
                      <a:gd name="connsiteX479" fmla="*/ 83756 w 1614899"/>
                      <a:gd name="connsiteY479" fmla="*/ 209550 h 1619250"/>
                      <a:gd name="connsiteX480" fmla="*/ 102806 w 1614899"/>
                      <a:gd name="connsiteY480" fmla="*/ 204787 h 1619250"/>
                      <a:gd name="connsiteX481" fmla="*/ 109949 w 1614899"/>
                      <a:gd name="connsiteY481" fmla="*/ 200025 h 1619250"/>
                      <a:gd name="connsiteX482" fmla="*/ 119474 w 1614899"/>
                      <a:gd name="connsiteY482" fmla="*/ 197644 h 1619250"/>
                      <a:gd name="connsiteX483" fmla="*/ 133762 w 1614899"/>
                      <a:gd name="connsiteY483" fmla="*/ 192881 h 1619250"/>
                      <a:gd name="connsiteX484" fmla="*/ 140906 w 1614899"/>
                      <a:gd name="connsiteY484" fmla="*/ 190500 h 1619250"/>
                      <a:gd name="connsiteX485" fmla="*/ 148049 w 1614899"/>
                      <a:gd name="connsiteY485" fmla="*/ 195262 h 1619250"/>
                      <a:gd name="connsiteX486" fmla="*/ 155193 w 1614899"/>
                      <a:gd name="connsiteY486" fmla="*/ 204787 h 1619250"/>
                      <a:gd name="connsiteX487" fmla="*/ 164718 w 1614899"/>
                      <a:gd name="connsiteY487" fmla="*/ 202406 h 1619250"/>
                      <a:gd name="connsiteX488" fmla="*/ 190912 w 1614899"/>
                      <a:gd name="connsiteY488" fmla="*/ 200025 h 1619250"/>
                      <a:gd name="connsiteX489" fmla="*/ 193293 w 1614899"/>
                      <a:gd name="connsiteY489" fmla="*/ 192881 h 1619250"/>
                      <a:gd name="connsiteX490" fmla="*/ 198056 w 1614899"/>
                      <a:gd name="connsiteY490" fmla="*/ 185737 h 1619250"/>
                      <a:gd name="connsiteX491" fmla="*/ 195674 w 1614899"/>
                      <a:gd name="connsiteY491" fmla="*/ 178594 h 1619250"/>
                      <a:gd name="connsiteX492" fmla="*/ 186149 w 1614899"/>
                      <a:gd name="connsiteY492" fmla="*/ 159544 h 1619250"/>
                      <a:gd name="connsiteX493" fmla="*/ 217106 w 1614899"/>
                      <a:gd name="connsiteY493" fmla="*/ 152400 h 1619250"/>
                      <a:gd name="connsiteX494" fmla="*/ 209962 w 1614899"/>
                      <a:gd name="connsiteY494" fmla="*/ 145256 h 1619250"/>
                      <a:gd name="connsiteX495" fmla="*/ 202818 w 1614899"/>
                      <a:gd name="connsiteY495" fmla="*/ 140494 h 1619250"/>
                      <a:gd name="connsiteX496" fmla="*/ 212343 w 1614899"/>
                      <a:gd name="connsiteY496" fmla="*/ 133350 h 1619250"/>
                      <a:gd name="connsiteX497" fmla="*/ 233774 w 1614899"/>
                      <a:gd name="connsiteY497" fmla="*/ 123825 h 1619250"/>
                      <a:gd name="connsiteX498" fmla="*/ 238537 w 1614899"/>
                      <a:gd name="connsiteY498" fmla="*/ 116681 h 1619250"/>
                      <a:gd name="connsiteX499" fmla="*/ 240918 w 1614899"/>
                      <a:gd name="connsiteY499" fmla="*/ 107156 h 1619250"/>
                      <a:gd name="connsiteX500" fmla="*/ 248062 w 1614899"/>
                      <a:gd name="connsiteY500" fmla="*/ 109537 h 1619250"/>
                      <a:gd name="connsiteX501" fmla="*/ 250443 w 1614899"/>
                      <a:gd name="connsiteY501" fmla="*/ 116681 h 1619250"/>
                      <a:gd name="connsiteX502" fmla="*/ 252824 w 1614899"/>
                      <a:gd name="connsiteY502" fmla="*/ 130969 h 1619250"/>
                      <a:gd name="connsiteX503" fmla="*/ 269493 w 1614899"/>
                      <a:gd name="connsiteY503" fmla="*/ 138112 h 1619250"/>
                      <a:gd name="connsiteX504" fmla="*/ 271874 w 1614899"/>
                      <a:gd name="connsiteY504" fmla="*/ 145256 h 1619250"/>
                      <a:gd name="connsiteX505" fmla="*/ 264731 w 1614899"/>
                      <a:gd name="connsiteY505" fmla="*/ 152400 h 1619250"/>
                      <a:gd name="connsiteX506" fmla="*/ 262349 w 1614899"/>
                      <a:gd name="connsiteY506" fmla="*/ 159544 h 1619250"/>
                      <a:gd name="connsiteX507" fmla="*/ 264731 w 1614899"/>
                      <a:gd name="connsiteY507" fmla="*/ 173831 h 1619250"/>
                      <a:gd name="connsiteX508" fmla="*/ 274256 w 1614899"/>
                      <a:gd name="connsiteY508" fmla="*/ 176212 h 1619250"/>
                      <a:gd name="connsiteX509" fmla="*/ 295687 w 1614899"/>
                      <a:gd name="connsiteY509" fmla="*/ 178594 h 1619250"/>
                      <a:gd name="connsiteX510" fmla="*/ 293306 w 1614899"/>
                      <a:gd name="connsiteY510" fmla="*/ 185737 h 1619250"/>
                      <a:gd name="connsiteX511" fmla="*/ 295687 w 1614899"/>
                      <a:gd name="connsiteY511" fmla="*/ 200025 h 1619250"/>
                      <a:gd name="connsiteX512" fmla="*/ 302831 w 1614899"/>
                      <a:gd name="connsiteY512" fmla="*/ 216694 h 1619250"/>
                      <a:gd name="connsiteX513" fmla="*/ 307593 w 1614899"/>
                      <a:gd name="connsiteY513" fmla="*/ 223837 h 1619250"/>
                      <a:gd name="connsiteX514" fmla="*/ 314737 w 1614899"/>
                      <a:gd name="connsiteY514" fmla="*/ 228600 h 1619250"/>
                      <a:gd name="connsiteX515" fmla="*/ 326643 w 1614899"/>
                      <a:gd name="connsiteY515" fmla="*/ 226219 h 1619250"/>
                      <a:gd name="connsiteX516" fmla="*/ 321881 w 1614899"/>
                      <a:gd name="connsiteY516" fmla="*/ 200025 h 1619250"/>
                      <a:gd name="connsiteX517" fmla="*/ 314737 w 1614899"/>
                      <a:gd name="connsiteY517" fmla="*/ 197644 h 1619250"/>
                      <a:gd name="connsiteX518" fmla="*/ 324262 w 1614899"/>
                      <a:gd name="connsiteY518" fmla="*/ 180975 h 1619250"/>
                      <a:gd name="connsiteX519" fmla="*/ 329024 w 1614899"/>
                      <a:gd name="connsiteY519" fmla="*/ 173831 h 1619250"/>
                      <a:gd name="connsiteX520" fmla="*/ 343312 w 1614899"/>
                      <a:gd name="connsiteY520" fmla="*/ 159544 h 1619250"/>
                      <a:gd name="connsiteX521" fmla="*/ 348074 w 1614899"/>
                      <a:gd name="connsiteY521" fmla="*/ 145256 h 1619250"/>
                      <a:gd name="connsiteX522" fmla="*/ 350456 w 1614899"/>
                      <a:gd name="connsiteY522" fmla="*/ 114300 h 1619250"/>
                      <a:gd name="connsiteX523" fmla="*/ 357599 w 1614899"/>
                      <a:gd name="connsiteY523" fmla="*/ 111919 h 1619250"/>
                      <a:gd name="connsiteX524" fmla="*/ 364743 w 1614899"/>
                      <a:gd name="connsiteY524" fmla="*/ 114300 h 1619250"/>
                      <a:gd name="connsiteX525" fmla="*/ 371887 w 1614899"/>
                      <a:gd name="connsiteY525" fmla="*/ 114300 h 1619250"/>
                      <a:gd name="connsiteX526" fmla="*/ 381412 w 1614899"/>
                      <a:gd name="connsiteY526" fmla="*/ 138112 h 1619250"/>
                      <a:gd name="connsiteX527" fmla="*/ 395699 w 1614899"/>
                      <a:gd name="connsiteY527" fmla="*/ 150019 h 1619250"/>
                      <a:gd name="connsiteX528" fmla="*/ 409987 w 1614899"/>
                      <a:gd name="connsiteY528" fmla="*/ 147637 h 1619250"/>
                      <a:gd name="connsiteX529" fmla="*/ 412368 w 1614899"/>
                      <a:gd name="connsiteY529" fmla="*/ 133350 h 1619250"/>
                      <a:gd name="connsiteX530" fmla="*/ 426656 w 1614899"/>
                      <a:gd name="connsiteY530" fmla="*/ 128587 h 1619250"/>
                      <a:gd name="connsiteX531" fmla="*/ 433799 w 1614899"/>
                      <a:gd name="connsiteY531" fmla="*/ 142875 h 1619250"/>
                      <a:gd name="connsiteX532" fmla="*/ 448087 w 1614899"/>
                      <a:gd name="connsiteY532" fmla="*/ 161925 h 1619250"/>
                      <a:gd name="connsiteX533" fmla="*/ 464756 w 1614899"/>
                      <a:gd name="connsiteY533" fmla="*/ 159544 h 1619250"/>
                      <a:gd name="connsiteX534" fmla="*/ 452849 w 1614899"/>
                      <a:gd name="connsiteY534" fmla="*/ 138112 h 1619250"/>
                      <a:gd name="connsiteX535" fmla="*/ 450468 w 1614899"/>
                      <a:gd name="connsiteY535" fmla="*/ 111919 h 1619250"/>
                      <a:gd name="connsiteX536" fmla="*/ 443324 w 1614899"/>
                      <a:gd name="connsiteY536" fmla="*/ 107156 h 1619250"/>
                      <a:gd name="connsiteX537" fmla="*/ 440943 w 1614899"/>
                      <a:gd name="connsiteY537" fmla="*/ 100012 h 1619250"/>
                      <a:gd name="connsiteX538" fmla="*/ 450468 w 1614899"/>
                      <a:gd name="connsiteY538" fmla="*/ 88106 h 1619250"/>
                      <a:gd name="connsiteX539" fmla="*/ 476662 w 1614899"/>
                      <a:gd name="connsiteY539" fmla="*/ 90487 h 1619250"/>
                      <a:gd name="connsiteX540" fmla="*/ 486187 w 1614899"/>
                      <a:gd name="connsiteY540" fmla="*/ 92869 h 1619250"/>
                      <a:gd name="connsiteX541" fmla="*/ 493331 w 1614899"/>
                      <a:gd name="connsiteY541" fmla="*/ 97631 h 1619250"/>
                      <a:gd name="connsiteX542" fmla="*/ 502856 w 1614899"/>
                      <a:gd name="connsiteY542" fmla="*/ 95250 h 1619250"/>
                      <a:gd name="connsiteX543" fmla="*/ 509999 w 1614899"/>
                      <a:gd name="connsiteY543" fmla="*/ 90487 h 1619250"/>
                      <a:gd name="connsiteX544" fmla="*/ 507618 w 1614899"/>
                      <a:gd name="connsiteY544" fmla="*/ 83344 h 1619250"/>
                      <a:gd name="connsiteX545" fmla="*/ 500474 w 1614899"/>
                      <a:gd name="connsiteY545" fmla="*/ 80962 h 1619250"/>
                      <a:gd name="connsiteX546" fmla="*/ 493331 w 1614899"/>
                      <a:gd name="connsiteY546" fmla="*/ 76200 h 1619250"/>
                      <a:gd name="connsiteX547" fmla="*/ 495712 w 1614899"/>
                      <a:gd name="connsiteY547"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05262 w 1614899"/>
                      <a:gd name="connsiteY86" fmla="*/ 316706 h 1619250"/>
                      <a:gd name="connsiteX87" fmla="*/ 719549 w 1614899"/>
                      <a:gd name="connsiteY87" fmla="*/ 328612 h 1619250"/>
                      <a:gd name="connsiteX88" fmla="*/ 714787 w 1614899"/>
                      <a:gd name="connsiteY88" fmla="*/ 335756 h 1619250"/>
                      <a:gd name="connsiteX89" fmla="*/ 717168 w 1614899"/>
                      <a:gd name="connsiteY89" fmla="*/ 342900 h 1619250"/>
                      <a:gd name="connsiteX90" fmla="*/ 721931 w 1614899"/>
                      <a:gd name="connsiteY90" fmla="*/ 347662 h 1619250"/>
                      <a:gd name="connsiteX91" fmla="*/ 733837 w 1614899"/>
                      <a:gd name="connsiteY91" fmla="*/ 357187 h 1619250"/>
                      <a:gd name="connsiteX92" fmla="*/ 740981 w 1614899"/>
                      <a:gd name="connsiteY92" fmla="*/ 354806 h 1619250"/>
                      <a:gd name="connsiteX93" fmla="*/ 755268 w 1614899"/>
                      <a:gd name="connsiteY93" fmla="*/ 350044 h 1619250"/>
                      <a:gd name="connsiteX94" fmla="*/ 752887 w 1614899"/>
                      <a:gd name="connsiteY94" fmla="*/ 359569 h 1619250"/>
                      <a:gd name="connsiteX95" fmla="*/ 755268 w 1614899"/>
                      <a:gd name="connsiteY95" fmla="*/ 371475 h 1619250"/>
                      <a:gd name="connsiteX96" fmla="*/ 762412 w 1614899"/>
                      <a:gd name="connsiteY96" fmla="*/ 373856 h 1619250"/>
                      <a:gd name="connsiteX97" fmla="*/ 745743 w 1614899"/>
                      <a:gd name="connsiteY97" fmla="*/ 390525 h 1619250"/>
                      <a:gd name="connsiteX98" fmla="*/ 750506 w 1614899"/>
                      <a:gd name="connsiteY98" fmla="*/ 397669 h 1619250"/>
                      <a:gd name="connsiteX99" fmla="*/ 745743 w 1614899"/>
                      <a:gd name="connsiteY99" fmla="*/ 411956 h 1619250"/>
                      <a:gd name="connsiteX100" fmla="*/ 731456 w 1614899"/>
                      <a:gd name="connsiteY100" fmla="*/ 404812 h 1619250"/>
                      <a:gd name="connsiteX101" fmla="*/ 724312 w 1614899"/>
                      <a:gd name="connsiteY101" fmla="*/ 409575 h 1619250"/>
                      <a:gd name="connsiteX102" fmla="*/ 721931 w 1614899"/>
                      <a:gd name="connsiteY102" fmla="*/ 416719 h 1619250"/>
                      <a:gd name="connsiteX103" fmla="*/ 736218 w 1614899"/>
                      <a:gd name="connsiteY103" fmla="*/ 426244 h 1619250"/>
                      <a:gd name="connsiteX104" fmla="*/ 731456 w 1614899"/>
                      <a:gd name="connsiteY104" fmla="*/ 442912 h 1619250"/>
                      <a:gd name="connsiteX105" fmla="*/ 729074 w 1614899"/>
                      <a:gd name="connsiteY105" fmla="*/ 450056 h 1619250"/>
                      <a:gd name="connsiteX106" fmla="*/ 731456 w 1614899"/>
                      <a:gd name="connsiteY106" fmla="*/ 481012 h 1619250"/>
                      <a:gd name="connsiteX107" fmla="*/ 736218 w 1614899"/>
                      <a:gd name="connsiteY107" fmla="*/ 488156 h 1619250"/>
                      <a:gd name="connsiteX108" fmla="*/ 743362 w 1614899"/>
                      <a:gd name="connsiteY108" fmla="*/ 509587 h 1619250"/>
                      <a:gd name="connsiteX109" fmla="*/ 745743 w 1614899"/>
                      <a:gd name="connsiteY109" fmla="*/ 516731 h 1619250"/>
                      <a:gd name="connsiteX110" fmla="*/ 760031 w 1614899"/>
                      <a:gd name="connsiteY110" fmla="*/ 526256 h 1619250"/>
                      <a:gd name="connsiteX111" fmla="*/ 764793 w 1614899"/>
                      <a:gd name="connsiteY111" fmla="*/ 533400 h 1619250"/>
                      <a:gd name="connsiteX112" fmla="*/ 769556 w 1614899"/>
                      <a:gd name="connsiteY112" fmla="*/ 547687 h 1619250"/>
                      <a:gd name="connsiteX113" fmla="*/ 748124 w 1614899"/>
                      <a:gd name="connsiteY113" fmla="*/ 552450 h 1619250"/>
                      <a:gd name="connsiteX114" fmla="*/ 740981 w 1614899"/>
                      <a:gd name="connsiteY114" fmla="*/ 554831 h 1619250"/>
                      <a:gd name="connsiteX115" fmla="*/ 729074 w 1614899"/>
                      <a:gd name="connsiteY115" fmla="*/ 557212 h 1619250"/>
                      <a:gd name="connsiteX116" fmla="*/ 762412 w 1614899"/>
                      <a:gd name="connsiteY116" fmla="*/ 540544 h 1619250"/>
                      <a:gd name="connsiteX117" fmla="*/ 769556 w 1614899"/>
                      <a:gd name="connsiteY117" fmla="*/ 542925 h 1619250"/>
                      <a:gd name="connsiteX118" fmla="*/ 776699 w 1614899"/>
                      <a:gd name="connsiteY118" fmla="*/ 550069 h 1619250"/>
                      <a:gd name="connsiteX119" fmla="*/ 793368 w 1614899"/>
                      <a:gd name="connsiteY119" fmla="*/ 552450 h 1619250"/>
                      <a:gd name="connsiteX120" fmla="*/ 807656 w 1614899"/>
                      <a:gd name="connsiteY120" fmla="*/ 557212 h 1619250"/>
                      <a:gd name="connsiteX121" fmla="*/ 814799 w 1614899"/>
                      <a:gd name="connsiteY121" fmla="*/ 559594 h 1619250"/>
                      <a:gd name="connsiteX122" fmla="*/ 821943 w 1614899"/>
                      <a:gd name="connsiteY122" fmla="*/ 566737 h 1619250"/>
                      <a:gd name="connsiteX123" fmla="*/ 829087 w 1614899"/>
                      <a:gd name="connsiteY123" fmla="*/ 569119 h 1619250"/>
                      <a:gd name="connsiteX124" fmla="*/ 836231 w 1614899"/>
                      <a:gd name="connsiteY124" fmla="*/ 573881 h 1619250"/>
                      <a:gd name="connsiteX125" fmla="*/ 843374 w 1614899"/>
                      <a:gd name="connsiteY125" fmla="*/ 588169 h 1619250"/>
                      <a:gd name="connsiteX126" fmla="*/ 852899 w 1614899"/>
                      <a:gd name="connsiteY126" fmla="*/ 597694 h 1619250"/>
                      <a:gd name="connsiteX127" fmla="*/ 902906 w 1614899"/>
                      <a:gd name="connsiteY127" fmla="*/ 604837 h 1619250"/>
                      <a:gd name="connsiteX128" fmla="*/ 914812 w 1614899"/>
                      <a:gd name="connsiteY128" fmla="*/ 626269 h 1619250"/>
                      <a:gd name="connsiteX129" fmla="*/ 919574 w 1614899"/>
                      <a:gd name="connsiteY129" fmla="*/ 633412 h 1619250"/>
                      <a:gd name="connsiteX130" fmla="*/ 919574 w 1614899"/>
                      <a:gd name="connsiteY130" fmla="*/ 671512 h 1619250"/>
                      <a:gd name="connsiteX131" fmla="*/ 926718 w 1614899"/>
                      <a:gd name="connsiteY131" fmla="*/ 676275 h 1619250"/>
                      <a:gd name="connsiteX132" fmla="*/ 933862 w 1614899"/>
                      <a:gd name="connsiteY132" fmla="*/ 690562 h 1619250"/>
                      <a:gd name="connsiteX133" fmla="*/ 936243 w 1614899"/>
                      <a:gd name="connsiteY133" fmla="*/ 702469 h 1619250"/>
                      <a:gd name="connsiteX134" fmla="*/ 943387 w 1614899"/>
                      <a:gd name="connsiteY134" fmla="*/ 709612 h 1619250"/>
                      <a:gd name="connsiteX135" fmla="*/ 945768 w 1614899"/>
                      <a:gd name="connsiteY135" fmla="*/ 723900 h 1619250"/>
                      <a:gd name="connsiteX136" fmla="*/ 955293 w 1614899"/>
                      <a:gd name="connsiteY136" fmla="*/ 738187 h 1619250"/>
                      <a:gd name="connsiteX137" fmla="*/ 964818 w 1614899"/>
                      <a:gd name="connsiteY137" fmla="*/ 752475 h 1619250"/>
                      <a:gd name="connsiteX138" fmla="*/ 967199 w 1614899"/>
                      <a:gd name="connsiteY138" fmla="*/ 759619 h 1619250"/>
                      <a:gd name="connsiteX139" fmla="*/ 974343 w 1614899"/>
                      <a:gd name="connsiteY139" fmla="*/ 769144 h 1619250"/>
                      <a:gd name="connsiteX140" fmla="*/ 979106 w 1614899"/>
                      <a:gd name="connsiteY140" fmla="*/ 783431 h 1619250"/>
                      <a:gd name="connsiteX141" fmla="*/ 981487 w 1614899"/>
                      <a:gd name="connsiteY141" fmla="*/ 790575 h 1619250"/>
                      <a:gd name="connsiteX142" fmla="*/ 991012 w 1614899"/>
                      <a:gd name="connsiteY142" fmla="*/ 804862 h 1619250"/>
                      <a:gd name="connsiteX143" fmla="*/ 998156 w 1614899"/>
                      <a:gd name="connsiteY143" fmla="*/ 819150 h 1619250"/>
                      <a:gd name="connsiteX144" fmla="*/ 1000537 w 1614899"/>
                      <a:gd name="connsiteY144" fmla="*/ 826294 h 1619250"/>
                      <a:gd name="connsiteX145" fmla="*/ 1007681 w 1614899"/>
                      <a:gd name="connsiteY145" fmla="*/ 828675 h 1619250"/>
                      <a:gd name="connsiteX146" fmla="*/ 1014824 w 1614899"/>
                      <a:gd name="connsiteY146" fmla="*/ 833437 h 1619250"/>
                      <a:gd name="connsiteX147" fmla="*/ 1029112 w 1614899"/>
                      <a:gd name="connsiteY147" fmla="*/ 838200 h 1619250"/>
                      <a:gd name="connsiteX148" fmla="*/ 1033874 w 1614899"/>
                      <a:gd name="connsiteY148" fmla="*/ 845344 h 1619250"/>
                      <a:gd name="connsiteX149" fmla="*/ 1048162 w 1614899"/>
                      <a:gd name="connsiteY149" fmla="*/ 857250 h 1619250"/>
                      <a:gd name="connsiteX150" fmla="*/ 1062449 w 1614899"/>
                      <a:gd name="connsiteY150" fmla="*/ 862012 h 1619250"/>
                      <a:gd name="connsiteX151" fmla="*/ 1079118 w 1614899"/>
                      <a:gd name="connsiteY151" fmla="*/ 883444 h 1619250"/>
                      <a:gd name="connsiteX152" fmla="*/ 1081499 w 1614899"/>
                      <a:gd name="connsiteY152" fmla="*/ 890587 h 1619250"/>
                      <a:gd name="connsiteX153" fmla="*/ 1095787 w 1614899"/>
                      <a:gd name="connsiteY153" fmla="*/ 883444 h 1619250"/>
                      <a:gd name="connsiteX154" fmla="*/ 1110074 w 1614899"/>
                      <a:gd name="connsiteY154" fmla="*/ 890587 h 1619250"/>
                      <a:gd name="connsiteX155" fmla="*/ 1121981 w 1614899"/>
                      <a:gd name="connsiteY155" fmla="*/ 902494 h 1619250"/>
                      <a:gd name="connsiteX156" fmla="*/ 1136268 w 1614899"/>
                      <a:gd name="connsiteY156" fmla="*/ 907256 h 1619250"/>
                      <a:gd name="connsiteX157" fmla="*/ 1176749 w 1614899"/>
                      <a:gd name="connsiteY157" fmla="*/ 904875 h 1619250"/>
                      <a:gd name="connsiteX158" fmla="*/ 1195799 w 1614899"/>
                      <a:gd name="connsiteY158" fmla="*/ 904875 h 1619250"/>
                      <a:gd name="connsiteX159" fmla="*/ 1207706 w 1614899"/>
                      <a:gd name="connsiteY159" fmla="*/ 912019 h 1619250"/>
                      <a:gd name="connsiteX160" fmla="*/ 1210087 w 1614899"/>
                      <a:gd name="connsiteY160" fmla="*/ 902494 h 1619250"/>
                      <a:gd name="connsiteX161" fmla="*/ 1219612 w 1614899"/>
                      <a:gd name="connsiteY161" fmla="*/ 900112 h 1619250"/>
                      <a:gd name="connsiteX162" fmla="*/ 1226756 w 1614899"/>
                      <a:gd name="connsiteY162" fmla="*/ 895350 h 1619250"/>
                      <a:gd name="connsiteX163" fmla="*/ 1241043 w 1614899"/>
                      <a:gd name="connsiteY163" fmla="*/ 890587 h 1619250"/>
                      <a:gd name="connsiteX164" fmla="*/ 1255331 w 1614899"/>
                      <a:gd name="connsiteY164" fmla="*/ 892969 h 1619250"/>
                      <a:gd name="connsiteX165" fmla="*/ 1260093 w 1614899"/>
                      <a:gd name="connsiteY165" fmla="*/ 900112 h 1619250"/>
                      <a:gd name="connsiteX166" fmla="*/ 1267237 w 1614899"/>
                      <a:gd name="connsiteY166" fmla="*/ 904875 h 1619250"/>
                      <a:gd name="connsiteX167" fmla="*/ 1271999 w 1614899"/>
                      <a:gd name="connsiteY167" fmla="*/ 919162 h 1619250"/>
                      <a:gd name="connsiteX168" fmla="*/ 1269618 w 1614899"/>
                      <a:gd name="connsiteY168" fmla="*/ 928687 h 1619250"/>
                      <a:gd name="connsiteX169" fmla="*/ 1262474 w 1614899"/>
                      <a:gd name="connsiteY169" fmla="*/ 933450 h 1619250"/>
                      <a:gd name="connsiteX170" fmla="*/ 1255331 w 1614899"/>
                      <a:gd name="connsiteY170" fmla="*/ 940594 h 1619250"/>
                      <a:gd name="connsiteX171" fmla="*/ 1248187 w 1614899"/>
                      <a:gd name="connsiteY171" fmla="*/ 942975 h 1619250"/>
                      <a:gd name="connsiteX172" fmla="*/ 1241043 w 1614899"/>
                      <a:gd name="connsiteY172" fmla="*/ 947737 h 1619250"/>
                      <a:gd name="connsiteX173" fmla="*/ 1226756 w 1614899"/>
                      <a:gd name="connsiteY173" fmla="*/ 954881 h 1619250"/>
                      <a:gd name="connsiteX174" fmla="*/ 1236281 w 1614899"/>
                      <a:gd name="connsiteY174" fmla="*/ 969169 h 1619250"/>
                      <a:gd name="connsiteX175" fmla="*/ 1241043 w 1614899"/>
                      <a:gd name="connsiteY175" fmla="*/ 983456 h 1619250"/>
                      <a:gd name="connsiteX176" fmla="*/ 1250568 w 1614899"/>
                      <a:gd name="connsiteY176" fmla="*/ 997744 h 1619250"/>
                      <a:gd name="connsiteX177" fmla="*/ 1255331 w 1614899"/>
                      <a:gd name="connsiteY177" fmla="*/ 1004887 h 1619250"/>
                      <a:gd name="connsiteX178" fmla="*/ 1262474 w 1614899"/>
                      <a:gd name="connsiteY178" fmla="*/ 997744 h 1619250"/>
                      <a:gd name="connsiteX179" fmla="*/ 1264856 w 1614899"/>
                      <a:gd name="connsiteY179" fmla="*/ 990600 h 1619250"/>
                      <a:gd name="connsiteX180" fmla="*/ 1283906 w 1614899"/>
                      <a:gd name="connsiteY180" fmla="*/ 995362 h 1619250"/>
                      <a:gd name="connsiteX181" fmla="*/ 1291049 w 1614899"/>
                      <a:gd name="connsiteY181" fmla="*/ 1000125 h 1619250"/>
                      <a:gd name="connsiteX182" fmla="*/ 1298193 w 1614899"/>
                      <a:gd name="connsiteY182" fmla="*/ 1002506 h 1619250"/>
                      <a:gd name="connsiteX183" fmla="*/ 1322006 w 1614899"/>
                      <a:gd name="connsiteY183" fmla="*/ 1007269 h 1619250"/>
                      <a:gd name="connsiteX184" fmla="*/ 1336293 w 1614899"/>
                      <a:gd name="connsiteY184" fmla="*/ 1012031 h 1619250"/>
                      <a:gd name="connsiteX185" fmla="*/ 1355343 w 1614899"/>
                      <a:gd name="connsiteY185" fmla="*/ 1016794 h 1619250"/>
                      <a:gd name="connsiteX186" fmla="*/ 1362487 w 1614899"/>
                      <a:gd name="connsiteY186" fmla="*/ 1023937 h 1619250"/>
                      <a:gd name="connsiteX187" fmla="*/ 1376774 w 1614899"/>
                      <a:gd name="connsiteY187" fmla="*/ 1028700 h 1619250"/>
                      <a:gd name="connsiteX188" fmla="*/ 1391062 w 1614899"/>
                      <a:gd name="connsiteY188" fmla="*/ 1033462 h 1619250"/>
                      <a:gd name="connsiteX189" fmla="*/ 1398206 w 1614899"/>
                      <a:gd name="connsiteY189" fmla="*/ 1035844 h 1619250"/>
                      <a:gd name="connsiteX190" fmla="*/ 1405349 w 1614899"/>
                      <a:gd name="connsiteY190" fmla="*/ 1038225 h 1619250"/>
                      <a:gd name="connsiteX191" fmla="*/ 1412493 w 1614899"/>
                      <a:gd name="connsiteY191" fmla="*/ 1042987 h 1619250"/>
                      <a:gd name="connsiteX192" fmla="*/ 1426781 w 1614899"/>
                      <a:gd name="connsiteY192" fmla="*/ 1050131 h 1619250"/>
                      <a:gd name="connsiteX193" fmla="*/ 1436306 w 1614899"/>
                      <a:gd name="connsiteY193" fmla="*/ 1062037 h 1619250"/>
                      <a:gd name="connsiteX194" fmla="*/ 1441068 w 1614899"/>
                      <a:gd name="connsiteY194" fmla="*/ 1069181 h 1619250"/>
                      <a:gd name="connsiteX195" fmla="*/ 1450593 w 1614899"/>
                      <a:gd name="connsiteY195" fmla="*/ 1071562 h 1619250"/>
                      <a:gd name="connsiteX196" fmla="*/ 1464881 w 1614899"/>
                      <a:gd name="connsiteY196" fmla="*/ 1076325 h 1619250"/>
                      <a:gd name="connsiteX197" fmla="*/ 1467262 w 1614899"/>
                      <a:gd name="connsiteY197" fmla="*/ 1083469 h 1619250"/>
                      <a:gd name="connsiteX198" fmla="*/ 1488693 w 1614899"/>
                      <a:gd name="connsiteY198" fmla="*/ 1092994 h 1619250"/>
                      <a:gd name="connsiteX199" fmla="*/ 1500599 w 1614899"/>
                      <a:gd name="connsiteY199" fmla="*/ 1095375 h 1619250"/>
                      <a:gd name="connsiteX200" fmla="*/ 1514887 w 1614899"/>
                      <a:gd name="connsiteY200" fmla="*/ 1097756 h 1619250"/>
                      <a:gd name="connsiteX201" fmla="*/ 1522031 w 1614899"/>
                      <a:gd name="connsiteY201" fmla="*/ 1100137 h 1619250"/>
                      <a:gd name="connsiteX202" fmla="*/ 1541081 w 1614899"/>
                      <a:gd name="connsiteY202" fmla="*/ 1104900 h 1619250"/>
                      <a:gd name="connsiteX203" fmla="*/ 1545843 w 1614899"/>
                      <a:gd name="connsiteY203" fmla="*/ 1112044 h 1619250"/>
                      <a:gd name="connsiteX204" fmla="*/ 1543462 w 1614899"/>
                      <a:gd name="connsiteY204" fmla="*/ 1119187 h 1619250"/>
                      <a:gd name="connsiteX205" fmla="*/ 1557749 w 1614899"/>
                      <a:gd name="connsiteY205" fmla="*/ 1128712 h 1619250"/>
                      <a:gd name="connsiteX206" fmla="*/ 1564893 w 1614899"/>
                      <a:gd name="connsiteY206" fmla="*/ 1133475 h 1619250"/>
                      <a:gd name="connsiteX207" fmla="*/ 1579181 w 1614899"/>
                      <a:gd name="connsiteY207" fmla="*/ 1147762 h 1619250"/>
                      <a:gd name="connsiteX208" fmla="*/ 1593468 w 1614899"/>
                      <a:gd name="connsiteY208" fmla="*/ 1152525 h 1619250"/>
                      <a:gd name="connsiteX209" fmla="*/ 1600612 w 1614899"/>
                      <a:gd name="connsiteY209" fmla="*/ 1154906 h 1619250"/>
                      <a:gd name="connsiteX210" fmla="*/ 1607756 w 1614899"/>
                      <a:gd name="connsiteY210" fmla="*/ 1162050 h 1619250"/>
                      <a:gd name="connsiteX211" fmla="*/ 1610137 w 1614899"/>
                      <a:gd name="connsiteY211" fmla="*/ 1169194 h 1619250"/>
                      <a:gd name="connsiteX212" fmla="*/ 1614899 w 1614899"/>
                      <a:gd name="connsiteY212" fmla="*/ 1176337 h 1619250"/>
                      <a:gd name="connsiteX213" fmla="*/ 1612518 w 1614899"/>
                      <a:gd name="connsiteY213" fmla="*/ 1195387 h 1619250"/>
                      <a:gd name="connsiteX214" fmla="*/ 1610137 w 1614899"/>
                      <a:gd name="connsiteY214" fmla="*/ 1202531 h 1619250"/>
                      <a:gd name="connsiteX215" fmla="*/ 1602993 w 1614899"/>
                      <a:gd name="connsiteY215" fmla="*/ 1204912 h 1619250"/>
                      <a:gd name="connsiteX216" fmla="*/ 1600612 w 1614899"/>
                      <a:gd name="connsiteY216" fmla="*/ 1212056 h 1619250"/>
                      <a:gd name="connsiteX217" fmla="*/ 1598231 w 1614899"/>
                      <a:gd name="connsiteY217" fmla="*/ 1247775 h 1619250"/>
                      <a:gd name="connsiteX218" fmla="*/ 1579181 w 1614899"/>
                      <a:gd name="connsiteY218" fmla="*/ 1245394 h 1619250"/>
                      <a:gd name="connsiteX219" fmla="*/ 1550606 w 1614899"/>
                      <a:gd name="connsiteY219" fmla="*/ 1231106 h 1619250"/>
                      <a:gd name="connsiteX220" fmla="*/ 1543462 w 1614899"/>
                      <a:gd name="connsiteY220" fmla="*/ 1226344 h 1619250"/>
                      <a:gd name="connsiteX221" fmla="*/ 1543462 w 1614899"/>
                      <a:gd name="connsiteY221" fmla="*/ 1197769 h 1619250"/>
                      <a:gd name="connsiteX222" fmla="*/ 1545843 w 1614899"/>
                      <a:gd name="connsiteY222" fmla="*/ 1183481 h 1619250"/>
                      <a:gd name="connsiteX223" fmla="*/ 1531556 w 1614899"/>
                      <a:gd name="connsiteY223" fmla="*/ 1176337 h 1619250"/>
                      <a:gd name="connsiteX224" fmla="*/ 1529174 w 1614899"/>
                      <a:gd name="connsiteY224" fmla="*/ 1169194 h 1619250"/>
                      <a:gd name="connsiteX225" fmla="*/ 1531556 w 1614899"/>
                      <a:gd name="connsiteY225" fmla="*/ 1152525 h 1619250"/>
                      <a:gd name="connsiteX226" fmla="*/ 1524412 w 1614899"/>
                      <a:gd name="connsiteY226" fmla="*/ 1154906 h 1619250"/>
                      <a:gd name="connsiteX227" fmla="*/ 1517268 w 1614899"/>
                      <a:gd name="connsiteY227" fmla="*/ 1159669 h 1619250"/>
                      <a:gd name="connsiteX228" fmla="*/ 1502981 w 1614899"/>
                      <a:gd name="connsiteY228" fmla="*/ 1164431 h 1619250"/>
                      <a:gd name="connsiteX229" fmla="*/ 1481549 w 1614899"/>
                      <a:gd name="connsiteY229" fmla="*/ 1169194 h 1619250"/>
                      <a:gd name="connsiteX230" fmla="*/ 1457737 w 1614899"/>
                      <a:gd name="connsiteY230" fmla="*/ 1164431 h 1619250"/>
                      <a:gd name="connsiteX231" fmla="*/ 1443449 w 1614899"/>
                      <a:gd name="connsiteY231" fmla="*/ 1154906 h 1619250"/>
                      <a:gd name="connsiteX232" fmla="*/ 1436306 w 1614899"/>
                      <a:gd name="connsiteY232" fmla="*/ 1150144 h 1619250"/>
                      <a:gd name="connsiteX233" fmla="*/ 1426781 w 1614899"/>
                      <a:gd name="connsiteY233" fmla="*/ 1140619 h 1619250"/>
                      <a:gd name="connsiteX234" fmla="*/ 1402968 w 1614899"/>
                      <a:gd name="connsiteY234" fmla="*/ 1138237 h 1619250"/>
                      <a:gd name="connsiteX235" fmla="*/ 1395824 w 1614899"/>
                      <a:gd name="connsiteY235" fmla="*/ 1145381 h 1619250"/>
                      <a:gd name="connsiteX236" fmla="*/ 1374393 w 1614899"/>
                      <a:gd name="connsiteY236" fmla="*/ 1162050 h 1619250"/>
                      <a:gd name="connsiteX237" fmla="*/ 1367249 w 1614899"/>
                      <a:gd name="connsiteY237" fmla="*/ 1188244 h 1619250"/>
                      <a:gd name="connsiteX238" fmla="*/ 1357724 w 1614899"/>
                      <a:gd name="connsiteY238" fmla="*/ 1202531 h 1619250"/>
                      <a:gd name="connsiteX239" fmla="*/ 1348199 w 1614899"/>
                      <a:gd name="connsiteY239" fmla="*/ 1212056 h 1619250"/>
                      <a:gd name="connsiteX240" fmla="*/ 1345818 w 1614899"/>
                      <a:gd name="connsiteY240" fmla="*/ 1219200 h 1619250"/>
                      <a:gd name="connsiteX241" fmla="*/ 1341056 w 1614899"/>
                      <a:gd name="connsiteY241" fmla="*/ 1228725 h 1619250"/>
                      <a:gd name="connsiteX242" fmla="*/ 1350581 w 1614899"/>
                      <a:gd name="connsiteY242" fmla="*/ 1243012 h 1619250"/>
                      <a:gd name="connsiteX243" fmla="*/ 1343437 w 1614899"/>
                      <a:gd name="connsiteY243" fmla="*/ 1266825 h 1619250"/>
                      <a:gd name="connsiteX244" fmla="*/ 1345818 w 1614899"/>
                      <a:gd name="connsiteY244" fmla="*/ 1281112 h 1619250"/>
                      <a:gd name="connsiteX245" fmla="*/ 1348199 w 1614899"/>
                      <a:gd name="connsiteY245" fmla="*/ 1290637 h 1619250"/>
                      <a:gd name="connsiteX246" fmla="*/ 1355343 w 1614899"/>
                      <a:gd name="connsiteY246" fmla="*/ 1297781 h 1619250"/>
                      <a:gd name="connsiteX247" fmla="*/ 1362487 w 1614899"/>
                      <a:gd name="connsiteY247" fmla="*/ 1300162 h 1619250"/>
                      <a:gd name="connsiteX248" fmla="*/ 1386299 w 1614899"/>
                      <a:gd name="connsiteY248" fmla="*/ 1302544 h 1619250"/>
                      <a:gd name="connsiteX249" fmla="*/ 1395824 w 1614899"/>
                      <a:gd name="connsiteY249" fmla="*/ 1309687 h 1619250"/>
                      <a:gd name="connsiteX250" fmla="*/ 1410112 w 1614899"/>
                      <a:gd name="connsiteY250" fmla="*/ 1314450 h 1619250"/>
                      <a:gd name="connsiteX251" fmla="*/ 1417256 w 1614899"/>
                      <a:gd name="connsiteY251" fmla="*/ 1319212 h 1619250"/>
                      <a:gd name="connsiteX252" fmla="*/ 1431543 w 1614899"/>
                      <a:gd name="connsiteY252" fmla="*/ 1326356 h 1619250"/>
                      <a:gd name="connsiteX253" fmla="*/ 1433924 w 1614899"/>
                      <a:gd name="connsiteY253" fmla="*/ 1333500 h 1619250"/>
                      <a:gd name="connsiteX254" fmla="*/ 1429162 w 1614899"/>
                      <a:gd name="connsiteY254" fmla="*/ 1340644 h 1619250"/>
                      <a:gd name="connsiteX255" fmla="*/ 1426781 w 1614899"/>
                      <a:gd name="connsiteY255" fmla="*/ 1347787 h 1619250"/>
                      <a:gd name="connsiteX256" fmla="*/ 1431543 w 1614899"/>
                      <a:gd name="connsiteY256" fmla="*/ 1354931 h 1619250"/>
                      <a:gd name="connsiteX257" fmla="*/ 1436306 w 1614899"/>
                      <a:gd name="connsiteY257" fmla="*/ 1364456 h 1619250"/>
                      <a:gd name="connsiteX258" fmla="*/ 1443449 w 1614899"/>
                      <a:gd name="connsiteY258" fmla="*/ 1395412 h 1619250"/>
                      <a:gd name="connsiteX259" fmla="*/ 1450593 w 1614899"/>
                      <a:gd name="connsiteY259" fmla="*/ 1402556 h 1619250"/>
                      <a:gd name="connsiteX260" fmla="*/ 1448212 w 1614899"/>
                      <a:gd name="connsiteY260" fmla="*/ 1412081 h 1619250"/>
                      <a:gd name="connsiteX261" fmla="*/ 1433924 w 1614899"/>
                      <a:gd name="connsiteY261" fmla="*/ 1416844 h 1619250"/>
                      <a:gd name="connsiteX262" fmla="*/ 1419637 w 1614899"/>
                      <a:gd name="connsiteY262" fmla="*/ 1423987 h 1619250"/>
                      <a:gd name="connsiteX263" fmla="*/ 1405349 w 1614899"/>
                      <a:gd name="connsiteY263" fmla="*/ 1431131 h 1619250"/>
                      <a:gd name="connsiteX264" fmla="*/ 1398206 w 1614899"/>
                      <a:gd name="connsiteY264" fmla="*/ 1435894 h 1619250"/>
                      <a:gd name="connsiteX265" fmla="*/ 1383918 w 1614899"/>
                      <a:gd name="connsiteY265" fmla="*/ 1440656 h 1619250"/>
                      <a:gd name="connsiteX266" fmla="*/ 1376774 w 1614899"/>
                      <a:gd name="connsiteY266" fmla="*/ 1443037 h 1619250"/>
                      <a:gd name="connsiteX267" fmla="*/ 1364868 w 1614899"/>
                      <a:gd name="connsiteY267" fmla="*/ 1464469 h 1619250"/>
                      <a:gd name="connsiteX268" fmla="*/ 1362487 w 1614899"/>
                      <a:gd name="connsiteY268" fmla="*/ 1473994 h 1619250"/>
                      <a:gd name="connsiteX269" fmla="*/ 1364868 w 1614899"/>
                      <a:gd name="connsiteY269" fmla="*/ 1497806 h 1619250"/>
                      <a:gd name="connsiteX270" fmla="*/ 1372012 w 1614899"/>
                      <a:gd name="connsiteY270" fmla="*/ 1500187 h 1619250"/>
                      <a:gd name="connsiteX271" fmla="*/ 1369631 w 1614899"/>
                      <a:gd name="connsiteY271" fmla="*/ 1516856 h 1619250"/>
                      <a:gd name="connsiteX272" fmla="*/ 1367249 w 1614899"/>
                      <a:gd name="connsiteY272" fmla="*/ 1524000 h 1619250"/>
                      <a:gd name="connsiteX273" fmla="*/ 1360106 w 1614899"/>
                      <a:gd name="connsiteY273" fmla="*/ 1526381 h 1619250"/>
                      <a:gd name="connsiteX274" fmla="*/ 1352962 w 1614899"/>
                      <a:gd name="connsiteY274" fmla="*/ 1531144 h 1619250"/>
                      <a:gd name="connsiteX275" fmla="*/ 1343437 w 1614899"/>
                      <a:gd name="connsiteY275" fmla="*/ 1535906 h 1619250"/>
                      <a:gd name="connsiteX276" fmla="*/ 1329149 w 1614899"/>
                      <a:gd name="connsiteY276" fmla="*/ 1550194 h 1619250"/>
                      <a:gd name="connsiteX277" fmla="*/ 1326768 w 1614899"/>
                      <a:gd name="connsiteY277" fmla="*/ 1559719 h 1619250"/>
                      <a:gd name="connsiteX278" fmla="*/ 1322006 w 1614899"/>
                      <a:gd name="connsiteY278" fmla="*/ 1566862 h 1619250"/>
                      <a:gd name="connsiteX279" fmla="*/ 1319624 w 1614899"/>
                      <a:gd name="connsiteY279" fmla="*/ 1578769 h 1619250"/>
                      <a:gd name="connsiteX280" fmla="*/ 1317243 w 1614899"/>
                      <a:gd name="connsiteY280" fmla="*/ 1585912 h 1619250"/>
                      <a:gd name="connsiteX281" fmla="*/ 1314862 w 1614899"/>
                      <a:gd name="connsiteY281" fmla="*/ 1602581 h 1619250"/>
                      <a:gd name="connsiteX282" fmla="*/ 1283906 w 1614899"/>
                      <a:gd name="connsiteY282" fmla="*/ 1614487 h 1619250"/>
                      <a:gd name="connsiteX283" fmla="*/ 1274381 w 1614899"/>
                      <a:gd name="connsiteY283" fmla="*/ 1616869 h 1619250"/>
                      <a:gd name="connsiteX284" fmla="*/ 1260093 w 1614899"/>
                      <a:gd name="connsiteY284" fmla="*/ 1619250 h 1619250"/>
                      <a:gd name="connsiteX285" fmla="*/ 1248187 w 1614899"/>
                      <a:gd name="connsiteY285" fmla="*/ 1616869 h 1619250"/>
                      <a:gd name="connsiteX286" fmla="*/ 1243424 w 1614899"/>
                      <a:gd name="connsiteY286" fmla="*/ 1597819 h 1619250"/>
                      <a:gd name="connsiteX287" fmla="*/ 1238662 w 1614899"/>
                      <a:gd name="connsiteY287" fmla="*/ 1581150 h 1619250"/>
                      <a:gd name="connsiteX288" fmla="*/ 1243424 w 1614899"/>
                      <a:gd name="connsiteY288" fmla="*/ 1566862 h 1619250"/>
                      <a:gd name="connsiteX289" fmla="*/ 1252949 w 1614899"/>
                      <a:gd name="connsiteY289" fmla="*/ 1552575 h 1619250"/>
                      <a:gd name="connsiteX290" fmla="*/ 1260093 w 1614899"/>
                      <a:gd name="connsiteY290" fmla="*/ 1550194 h 1619250"/>
                      <a:gd name="connsiteX291" fmla="*/ 1267237 w 1614899"/>
                      <a:gd name="connsiteY291" fmla="*/ 1543050 h 1619250"/>
                      <a:gd name="connsiteX292" fmla="*/ 1269618 w 1614899"/>
                      <a:gd name="connsiteY292" fmla="*/ 1535906 h 1619250"/>
                      <a:gd name="connsiteX293" fmla="*/ 1274381 w 1614899"/>
                      <a:gd name="connsiteY293" fmla="*/ 1526381 h 1619250"/>
                      <a:gd name="connsiteX294" fmla="*/ 1267237 w 1614899"/>
                      <a:gd name="connsiteY294" fmla="*/ 1502569 h 1619250"/>
                      <a:gd name="connsiteX295" fmla="*/ 1252949 w 1614899"/>
                      <a:gd name="connsiteY295" fmla="*/ 1493044 h 1619250"/>
                      <a:gd name="connsiteX296" fmla="*/ 1262474 w 1614899"/>
                      <a:gd name="connsiteY296" fmla="*/ 1478756 h 1619250"/>
                      <a:gd name="connsiteX297" fmla="*/ 1279143 w 1614899"/>
                      <a:gd name="connsiteY297" fmla="*/ 1462087 h 1619250"/>
                      <a:gd name="connsiteX298" fmla="*/ 1302956 w 1614899"/>
                      <a:gd name="connsiteY298" fmla="*/ 1459706 h 1619250"/>
                      <a:gd name="connsiteX299" fmla="*/ 1305337 w 1614899"/>
                      <a:gd name="connsiteY299" fmla="*/ 1450181 h 1619250"/>
                      <a:gd name="connsiteX300" fmla="*/ 1310099 w 1614899"/>
                      <a:gd name="connsiteY300" fmla="*/ 1443037 h 1619250"/>
                      <a:gd name="connsiteX301" fmla="*/ 1312481 w 1614899"/>
                      <a:gd name="connsiteY301" fmla="*/ 1435894 h 1619250"/>
                      <a:gd name="connsiteX302" fmla="*/ 1305337 w 1614899"/>
                      <a:gd name="connsiteY302" fmla="*/ 1428750 h 1619250"/>
                      <a:gd name="connsiteX303" fmla="*/ 1298193 w 1614899"/>
                      <a:gd name="connsiteY303" fmla="*/ 1423987 h 1619250"/>
                      <a:gd name="connsiteX304" fmla="*/ 1295812 w 1614899"/>
                      <a:gd name="connsiteY304" fmla="*/ 1412081 h 1619250"/>
                      <a:gd name="connsiteX305" fmla="*/ 1293431 w 1614899"/>
                      <a:gd name="connsiteY305" fmla="*/ 1402556 h 1619250"/>
                      <a:gd name="connsiteX306" fmla="*/ 1288668 w 1614899"/>
                      <a:gd name="connsiteY306" fmla="*/ 1369219 h 1619250"/>
                      <a:gd name="connsiteX307" fmla="*/ 1286287 w 1614899"/>
                      <a:gd name="connsiteY307" fmla="*/ 1362075 h 1619250"/>
                      <a:gd name="connsiteX308" fmla="*/ 1276762 w 1614899"/>
                      <a:gd name="connsiteY308" fmla="*/ 1345406 h 1619250"/>
                      <a:gd name="connsiteX309" fmla="*/ 1267237 w 1614899"/>
                      <a:gd name="connsiteY309" fmla="*/ 1343025 h 1619250"/>
                      <a:gd name="connsiteX310" fmla="*/ 1260093 w 1614899"/>
                      <a:gd name="connsiteY310" fmla="*/ 1340644 h 1619250"/>
                      <a:gd name="connsiteX311" fmla="*/ 1252949 w 1614899"/>
                      <a:gd name="connsiteY311" fmla="*/ 1307306 h 1619250"/>
                      <a:gd name="connsiteX312" fmla="*/ 1248187 w 1614899"/>
                      <a:gd name="connsiteY312" fmla="*/ 1293019 h 1619250"/>
                      <a:gd name="connsiteX313" fmla="*/ 1243424 w 1614899"/>
                      <a:gd name="connsiteY313" fmla="*/ 1278731 h 1619250"/>
                      <a:gd name="connsiteX314" fmla="*/ 1241043 w 1614899"/>
                      <a:gd name="connsiteY314" fmla="*/ 1271587 h 1619250"/>
                      <a:gd name="connsiteX315" fmla="*/ 1236281 w 1614899"/>
                      <a:gd name="connsiteY315" fmla="*/ 1262062 h 1619250"/>
                      <a:gd name="connsiteX316" fmla="*/ 1231518 w 1614899"/>
                      <a:gd name="connsiteY316" fmla="*/ 1247775 h 1619250"/>
                      <a:gd name="connsiteX317" fmla="*/ 1224374 w 1614899"/>
                      <a:gd name="connsiteY317" fmla="*/ 1240631 h 1619250"/>
                      <a:gd name="connsiteX318" fmla="*/ 1214849 w 1614899"/>
                      <a:gd name="connsiteY318" fmla="*/ 1226344 h 1619250"/>
                      <a:gd name="connsiteX319" fmla="*/ 1195799 w 1614899"/>
                      <a:gd name="connsiteY319" fmla="*/ 1233487 h 1619250"/>
                      <a:gd name="connsiteX320" fmla="*/ 1198181 w 1614899"/>
                      <a:gd name="connsiteY320" fmla="*/ 1240631 h 1619250"/>
                      <a:gd name="connsiteX321" fmla="*/ 1191037 w 1614899"/>
                      <a:gd name="connsiteY321" fmla="*/ 1243012 h 1619250"/>
                      <a:gd name="connsiteX322" fmla="*/ 1164843 w 1614899"/>
                      <a:gd name="connsiteY322" fmla="*/ 1238250 h 1619250"/>
                      <a:gd name="connsiteX323" fmla="*/ 1155318 w 1614899"/>
                      <a:gd name="connsiteY323" fmla="*/ 1223962 h 1619250"/>
                      <a:gd name="connsiteX324" fmla="*/ 1148174 w 1614899"/>
                      <a:gd name="connsiteY324" fmla="*/ 1216819 h 1619250"/>
                      <a:gd name="connsiteX325" fmla="*/ 1138649 w 1614899"/>
                      <a:gd name="connsiteY325" fmla="*/ 1219200 h 1619250"/>
                      <a:gd name="connsiteX326" fmla="*/ 1131506 w 1614899"/>
                      <a:gd name="connsiteY326" fmla="*/ 1221581 h 1619250"/>
                      <a:gd name="connsiteX327" fmla="*/ 1124362 w 1614899"/>
                      <a:gd name="connsiteY327" fmla="*/ 1219200 h 1619250"/>
                      <a:gd name="connsiteX328" fmla="*/ 1117218 w 1614899"/>
                      <a:gd name="connsiteY328" fmla="*/ 1212056 h 1619250"/>
                      <a:gd name="connsiteX329" fmla="*/ 1117218 w 1614899"/>
                      <a:gd name="connsiteY329" fmla="*/ 1193006 h 1619250"/>
                      <a:gd name="connsiteX330" fmla="*/ 1112456 w 1614899"/>
                      <a:gd name="connsiteY330" fmla="*/ 1154906 h 1619250"/>
                      <a:gd name="connsiteX331" fmla="*/ 1107693 w 1614899"/>
                      <a:gd name="connsiteY331" fmla="*/ 1147762 h 1619250"/>
                      <a:gd name="connsiteX332" fmla="*/ 1100549 w 1614899"/>
                      <a:gd name="connsiteY332" fmla="*/ 1145381 h 1619250"/>
                      <a:gd name="connsiteX333" fmla="*/ 1093406 w 1614899"/>
                      <a:gd name="connsiteY333" fmla="*/ 1147762 h 1619250"/>
                      <a:gd name="connsiteX334" fmla="*/ 1062449 w 1614899"/>
                      <a:gd name="connsiteY334" fmla="*/ 1152525 h 1619250"/>
                      <a:gd name="connsiteX335" fmla="*/ 1045781 w 1614899"/>
                      <a:gd name="connsiteY335" fmla="*/ 1150144 h 1619250"/>
                      <a:gd name="connsiteX336" fmla="*/ 1043399 w 1614899"/>
                      <a:gd name="connsiteY336" fmla="*/ 1143000 h 1619250"/>
                      <a:gd name="connsiteX337" fmla="*/ 1050543 w 1614899"/>
                      <a:gd name="connsiteY337" fmla="*/ 1128712 h 1619250"/>
                      <a:gd name="connsiteX338" fmla="*/ 1041018 w 1614899"/>
                      <a:gd name="connsiteY338" fmla="*/ 1107281 h 1619250"/>
                      <a:gd name="connsiteX339" fmla="*/ 1024349 w 1614899"/>
                      <a:gd name="connsiteY339" fmla="*/ 1109662 h 1619250"/>
                      <a:gd name="connsiteX340" fmla="*/ 1014824 w 1614899"/>
                      <a:gd name="connsiteY340" fmla="*/ 1107281 h 1619250"/>
                      <a:gd name="connsiteX341" fmla="*/ 988631 w 1614899"/>
                      <a:gd name="connsiteY341" fmla="*/ 1109662 h 1619250"/>
                      <a:gd name="connsiteX342" fmla="*/ 986249 w 1614899"/>
                      <a:gd name="connsiteY342" fmla="*/ 1102519 h 1619250"/>
                      <a:gd name="connsiteX343" fmla="*/ 979106 w 1614899"/>
                      <a:gd name="connsiteY343" fmla="*/ 1076325 h 1619250"/>
                      <a:gd name="connsiteX344" fmla="*/ 964818 w 1614899"/>
                      <a:gd name="connsiteY344" fmla="*/ 1064419 h 1619250"/>
                      <a:gd name="connsiteX345" fmla="*/ 950531 w 1614899"/>
                      <a:gd name="connsiteY345" fmla="*/ 1054894 h 1619250"/>
                      <a:gd name="connsiteX346" fmla="*/ 943387 w 1614899"/>
                      <a:gd name="connsiteY346" fmla="*/ 1050131 h 1619250"/>
                      <a:gd name="connsiteX347" fmla="*/ 936243 w 1614899"/>
                      <a:gd name="connsiteY347" fmla="*/ 1045369 h 1619250"/>
                      <a:gd name="connsiteX348" fmla="*/ 931481 w 1614899"/>
                      <a:gd name="connsiteY348" fmla="*/ 1038225 h 1619250"/>
                      <a:gd name="connsiteX349" fmla="*/ 917193 w 1614899"/>
                      <a:gd name="connsiteY349" fmla="*/ 1031081 h 1619250"/>
                      <a:gd name="connsiteX350" fmla="*/ 914812 w 1614899"/>
                      <a:gd name="connsiteY350" fmla="*/ 1040606 h 1619250"/>
                      <a:gd name="connsiteX351" fmla="*/ 907668 w 1614899"/>
                      <a:gd name="connsiteY351" fmla="*/ 1042987 h 1619250"/>
                      <a:gd name="connsiteX352" fmla="*/ 886237 w 1614899"/>
                      <a:gd name="connsiteY352" fmla="*/ 1031081 h 1619250"/>
                      <a:gd name="connsiteX353" fmla="*/ 862424 w 1614899"/>
                      <a:gd name="connsiteY353" fmla="*/ 1035844 h 1619250"/>
                      <a:gd name="connsiteX354" fmla="*/ 845756 w 1614899"/>
                      <a:gd name="connsiteY354" fmla="*/ 1040606 h 1619250"/>
                      <a:gd name="connsiteX355" fmla="*/ 840993 w 1614899"/>
                      <a:gd name="connsiteY355" fmla="*/ 1033462 h 1619250"/>
                      <a:gd name="connsiteX356" fmla="*/ 821943 w 1614899"/>
                      <a:gd name="connsiteY356" fmla="*/ 1004887 h 1619250"/>
                      <a:gd name="connsiteX357" fmla="*/ 814799 w 1614899"/>
                      <a:gd name="connsiteY357" fmla="*/ 1000125 h 1619250"/>
                      <a:gd name="connsiteX358" fmla="*/ 779081 w 1614899"/>
                      <a:gd name="connsiteY358" fmla="*/ 995362 h 1619250"/>
                      <a:gd name="connsiteX359" fmla="*/ 771937 w 1614899"/>
                      <a:gd name="connsiteY359" fmla="*/ 988219 h 1619250"/>
                      <a:gd name="connsiteX360" fmla="*/ 762412 w 1614899"/>
                      <a:gd name="connsiteY360" fmla="*/ 966787 h 1619250"/>
                      <a:gd name="connsiteX361" fmla="*/ 755268 w 1614899"/>
                      <a:gd name="connsiteY361" fmla="*/ 962025 h 1619250"/>
                      <a:gd name="connsiteX362" fmla="*/ 733837 w 1614899"/>
                      <a:gd name="connsiteY362" fmla="*/ 962025 h 1619250"/>
                      <a:gd name="connsiteX363" fmla="*/ 731456 w 1614899"/>
                      <a:gd name="connsiteY363" fmla="*/ 950119 h 1619250"/>
                      <a:gd name="connsiteX364" fmla="*/ 729074 w 1614899"/>
                      <a:gd name="connsiteY364" fmla="*/ 942975 h 1619250"/>
                      <a:gd name="connsiteX365" fmla="*/ 726693 w 1614899"/>
                      <a:gd name="connsiteY365" fmla="*/ 921544 h 1619250"/>
                      <a:gd name="connsiteX366" fmla="*/ 724312 w 1614899"/>
                      <a:gd name="connsiteY366" fmla="*/ 914400 h 1619250"/>
                      <a:gd name="connsiteX367" fmla="*/ 717168 w 1614899"/>
                      <a:gd name="connsiteY367" fmla="*/ 909637 h 1619250"/>
                      <a:gd name="connsiteX368" fmla="*/ 710024 w 1614899"/>
                      <a:gd name="connsiteY368" fmla="*/ 907256 h 1619250"/>
                      <a:gd name="connsiteX369" fmla="*/ 681449 w 1614899"/>
                      <a:gd name="connsiteY369" fmla="*/ 902494 h 1619250"/>
                      <a:gd name="connsiteX370" fmla="*/ 674306 w 1614899"/>
                      <a:gd name="connsiteY370" fmla="*/ 897731 h 1619250"/>
                      <a:gd name="connsiteX371" fmla="*/ 667162 w 1614899"/>
                      <a:gd name="connsiteY371" fmla="*/ 883444 h 1619250"/>
                      <a:gd name="connsiteX372" fmla="*/ 657637 w 1614899"/>
                      <a:gd name="connsiteY372" fmla="*/ 881062 h 1619250"/>
                      <a:gd name="connsiteX373" fmla="*/ 650493 w 1614899"/>
                      <a:gd name="connsiteY373" fmla="*/ 873919 h 1619250"/>
                      <a:gd name="connsiteX374" fmla="*/ 648112 w 1614899"/>
                      <a:gd name="connsiteY374" fmla="*/ 866775 h 1619250"/>
                      <a:gd name="connsiteX375" fmla="*/ 643349 w 1614899"/>
                      <a:gd name="connsiteY375" fmla="*/ 859631 h 1619250"/>
                      <a:gd name="connsiteX376" fmla="*/ 631443 w 1614899"/>
                      <a:gd name="connsiteY376" fmla="*/ 838200 h 1619250"/>
                      <a:gd name="connsiteX377" fmla="*/ 624299 w 1614899"/>
                      <a:gd name="connsiteY377" fmla="*/ 833437 h 1619250"/>
                      <a:gd name="connsiteX378" fmla="*/ 593343 w 1614899"/>
                      <a:gd name="connsiteY378" fmla="*/ 835819 h 1619250"/>
                      <a:gd name="connsiteX379" fmla="*/ 586199 w 1614899"/>
                      <a:gd name="connsiteY379" fmla="*/ 816769 h 1619250"/>
                      <a:gd name="connsiteX380" fmla="*/ 569531 w 1614899"/>
                      <a:gd name="connsiteY380" fmla="*/ 795337 h 1619250"/>
                      <a:gd name="connsiteX381" fmla="*/ 564768 w 1614899"/>
                      <a:gd name="connsiteY381" fmla="*/ 788194 h 1619250"/>
                      <a:gd name="connsiteX382" fmla="*/ 557624 w 1614899"/>
                      <a:gd name="connsiteY382" fmla="*/ 785812 h 1619250"/>
                      <a:gd name="connsiteX383" fmla="*/ 550481 w 1614899"/>
                      <a:gd name="connsiteY383" fmla="*/ 781050 h 1619250"/>
                      <a:gd name="connsiteX384" fmla="*/ 536193 w 1614899"/>
                      <a:gd name="connsiteY384" fmla="*/ 776287 h 1619250"/>
                      <a:gd name="connsiteX385" fmla="*/ 538574 w 1614899"/>
                      <a:gd name="connsiteY385" fmla="*/ 747712 h 1619250"/>
                      <a:gd name="connsiteX386" fmla="*/ 533812 w 1614899"/>
                      <a:gd name="connsiteY386" fmla="*/ 740569 h 1619250"/>
                      <a:gd name="connsiteX387" fmla="*/ 519524 w 1614899"/>
                      <a:gd name="connsiteY387" fmla="*/ 731044 h 1619250"/>
                      <a:gd name="connsiteX388" fmla="*/ 512381 w 1614899"/>
                      <a:gd name="connsiteY388" fmla="*/ 735806 h 1619250"/>
                      <a:gd name="connsiteX389" fmla="*/ 505237 w 1614899"/>
                      <a:gd name="connsiteY389" fmla="*/ 738187 h 1619250"/>
                      <a:gd name="connsiteX390" fmla="*/ 507618 w 1614899"/>
                      <a:gd name="connsiteY390" fmla="*/ 723900 h 1619250"/>
                      <a:gd name="connsiteX391" fmla="*/ 505237 w 1614899"/>
                      <a:gd name="connsiteY391" fmla="*/ 688181 h 1619250"/>
                      <a:gd name="connsiteX392" fmla="*/ 493331 w 1614899"/>
                      <a:gd name="connsiteY392" fmla="*/ 666750 h 1619250"/>
                      <a:gd name="connsiteX393" fmla="*/ 486187 w 1614899"/>
                      <a:gd name="connsiteY393" fmla="*/ 659606 h 1619250"/>
                      <a:gd name="connsiteX394" fmla="*/ 481424 w 1614899"/>
                      <a:gd name="connsiteY394" fmla="*/ 652462 h 1619250"/>
                      <a:gd name="connsiteX395" fmla="*/ 479043 w 1614899"/>
                      <a:gd name="connsiteY395" fmla="*/ 614362 h 1619250"/>
                      <a:gd name="connsiteX396" fmla="*/ 474281 w 1614899"/>
                      <a:gd name="connsiteY396" fmla="*/ 595312 h 1619250"/>
                      <a:gd name="connsiteX397" fmla="*/ 467137 w 1614899"/>
                      <a:gd name="connsiteY397" fmla="*/ 578644 h 1619250"/>
                      <a:gd name="connsiteX398" fmla="*/ 459993 w 1614899"/>
                      <a:gd name="connsiteY398" fmla="*/ 571500 h 1619250"/>
                      <a:gd name="connsiteX399" fmla="*/ 440943 w 1614899"/>
                      <a:gd name="connsiteY399" fmla="*/ 554831 h 1619250"/>
                      <a:gd name="connsiteX400" fmla="*/ 426656 w 1614899"/>
                      <a:gd name="connsiteY400" fmla="*/ 550069 h 1619250"/>
                      <a:gd name="connsiteX401" fmla="*/ 424274 w 1614899"/>
                      <a:gd name="connsiteY401" fmla="*/ 557212 h 1619250"/>
                      <a:gd name="connsiteX402" fmla="*/ 414749 w 1614899"/>
                      <a:gd name="connsiteY402" fmla="*/ 552450 h 1619250"/>
                      <a:gd name="connsiteX403" fmla="*/ 407606 w 1614899"/>
                      <a:gd name="connsiteY403" fmla="*/ 545306 h 1619250"/>
                      <a:gd name="connsiteX404" fmla="*/ 390937 w 1614899"/>
                      <a:gd name="connsiteY404" fmla="*/ 535781 h 1619250"/>
                      <a:gd name="connsiteX405" fmla="*/ 383793 w 1614899"/>
                      <a:gd name="connsiteY405" fmla="*/ 528637 h 1619250"/>
                      <a:gd name="connsiteX406" fmla="*/ 374268 w 1614899"/>
                      <a:gd name="connsiteY406" fmla="*/ 526256 h 1619250"/>
                      <a:gd name="connsiteX407" fmla="*/ 352837 w 1614899"/>
                      <a:gd name="connsiteY407" fmla="*/ 519112 h 1619250"/>
                      <a:gd name="connsiteX408" fmla="*/ 345693 w 1614899"/>
                      <a:gd name="connsiteY408" fmla="*/ 516731 h 1619250"/>
                      <a:gd name="connsiteX409" fmla="*/ 338549 w 1614899"/>
                      <a:gd name="connsiteY409" fmla="*/ 514350 h 1619250"/>
                      <a:gd name="connsiteX410" fmla="*/ 326643 w 1614899"/>
                      <a:gd name="connsiteY410" fmla="*/ 504825 h 1619250"/>
                      <a:gd name="connsiteX411" fmla="*/ 321881 w 1614899"/>
                      <a:gd name="connsiteY411" fmla="*/ 497681 h 1619250"/>
                      <a:gd name="connsiteX412" fmla="*/ 314737 w 1614899"/>
                      <a:gd name="connsiteY412" fmla="*/ 490537 h 1619250"/>
                      <a:gd name="connsiteX413" fmla="*/ 307593 w 1614899"/>
                      <a:gd name="connsiteY413" fmla="*/ 485775 h 1619250"/>
                      <a:gd name="connsiteX414" fmla="*/ 293306 w 1614899"/>
                      <a:gd name="connsiteY414" fmla="*/ 481012 h 1619250"/>
                      <a:gd name="connsiteX415" fmla="*/ 269493 w 1614899"/>
                      <a:gd name="connsiteY415" fmla="*/ 483394 h 1619250"/>
                      <a:gd name="connsiteX416" fmla="*/ 259968 w 1614899"/>
                      <a:gd name="connsiteY416" fmla="*/ 490537 h 1619250"/>
                      <a:gd name="connsiteX417" fmla="*/ 243299 w 1614899"/>
                      <a:gd name="connsiteY417" fmla="*/ 497681 h 1619250"/>
                      <a:gd name="connsiteX418" fmla="*/ 236156 w 1614899"/>
                      <a:gd name="connsiteY418" fmla="*/ 502444 h 1619250"/>
                      <a:gd name="connsiteX419" fmla="*/ 233774 w 1614899"/>
                      <a:gd name="connsiteY419" fmla="*/ 509587 h 1619250"/>
                      <a:gd name="connsiteX420" fmla="*/ 231393 w 1614899"/>
                      <a:gd name="connsiteY420" fmla="*/ 519112 h 1619250"/>
                      <a:gd name="connsiteX421" fmla="*/ 224249 w 1614899"/>
                      <a:gd name="connsiteY421" fmla="*/ 521494 h 1619250"/>
                      <a:gd name="connsiteX422" fmla="*/ 209962 w 1614899"/>
                      <a:gd name="connsiteY422" fmla="*/ 528637 h 1619250"/>
                      <a:gd name="connsiteX423" fmla="*/ 200437 w 1614899"/>
                      <a:gd name="connsiteY423" fmla="*/ 542925 h 1619250"/>
                      <a:gd name="connsiteX424" fmla="*/ 195674 w 1614899"/>
                      <a:gd name="connsiteY424" fmla="*/ 557212 h 1619250"/>
                      <a:gd name="connsiteX425" fmla="*/ 188531 w 1614899"/>
                      <a:gd name="connsiteY425" fmla="*/ 559594 h 1619250"/>
                      <a:gd name="connsiteX426" fmla="*/ 176624 w 1614899"/>
                      <a:gd name="connsiteY426" fmla="*/ 564356 h 1619250"/>
                      <a:gd name="connsiteX427" fmla="*/ 164718 w 1614899"/>
                      <a:gd name="connsiteY427" fmla="*/ 566737 h 1619250"/>
                      <a:gd name="connsiteX428" fmla="*/ 157574 w 1614899"/>
                      <a:gd name="connsiteY428" fmla="*/ 569119 h 1619250"/>
                      <a:gd name="connsiteX429" fmla="*/ 148049 w 1614899"/>
                      <a:gd name="connsiteY429" fmla="*/ 571500 h 1619250"/>
                      <a:gd name="connsiteX430" fmla="*/ 140906 w 1614899"/>
                      <a:gd name="connsiteY430" fmla="*/ 573881 h 1619250"/>
                      <a:gd name="connsiteX431" fmla="*/ 121856 w 1614899"/>
                      <a:gd name="connsiteY431" fmla="*/ 576262 h 1619250"/>
                      <a:gd name="connsiteX432" fmla="*/ 119474 w 1614899"/>
                      <a:gd name="connsiteY432" fmla="*/ 571500 h 1619250"/>
                      <a:gd name="connsiteX433" fmla="*/ 128999 w 1614899"/>
                      <a:gd name="connsiteY433" fmla="*/ 557212 h 1619250"/>
                      <a:gd name="connsiteX434" fmla="*/ 131381 w 1614899"/>
                      <a:gd name="connsiteY434" fmla="*/ 550069 h 1619250"/>
                      <a:gd name="connsiteX435" fmla="*/ 140906 w 1614899"/>
                      <a:gd name="connsiteY435" fmla="*/ 535781 h 1619250"/>
                      <a:gd name="connsiteX436" fmla="*/ 133762 w 1614899"/>
                      <a:gd name="connsiteY436" fmla="*/ 533400 h 1619250"/>
                      <a:gd name="connsiteX437" fmla="*/ 128999 w 1614899"/>
                      <a:gd name="connsiteY437" fmla="*/ 516731 h 1619250"/>
                      <a:gd name="connsiteX438" fmla="*/ 69468 w 1614899"/>
                      <a:gd name="connsiteY438" fmla="*/ 514350 h 1619250"/>
                      <a:gd name="connsiteX439" fmla="*/ 67087 w 1614899"/>
                      <a:gd name="connsiteY439" fmla="*/ 507206 h 1619250"/>
                      <a:gd name="connsiteX440" fmla="*/ 52799 w 1614899"/>
                      <a:gd name="connsiteY440" fmla="*/ 497681 h 1619250"/>
                      <a:gd name="connsiteX441" fmla="*/ 55181 w 1614899"/>
                      <a:gd name="connsiteY441" fmla="*/ 488156 h 1619250"/>
                      <a:gd name="connsiteX442" fmla="*/ 40893 w 1614899"/>
                      <a:gd name="connsiteY442" fmla="*/ 483394 h 1619250"/>
                      <a:gd name="connsiteX443" fmla="*/ 38512 w 1614899"/>
                      <a:gd name="connsiteY443" fmla="*/ 471487 h 1619250"/>
                      <a:gd name="connsiteX444" fmla="*/ 36131 w 1614899"/>
                      <a:gd name="connsiteY444" fmla="*/ 464344 h 1619250"/>
                      <a:gd name="connsiteX445" fmla="*/ 38512 w 1614899"/>
                      <a:gd name="connsiteY445" fmla="*/ 452437 h 1619250"/>
                      <a:gd name="connsiteX446" fmla="*/ 38512 w 1614899"/>
                      <a:gd name="connsiteY446" fmla="*/ 428625 h 1619250"/>
                      <a:gd name="connsiteX447" fmla="*/ 45656 w 1614899"/>
                      <a:gd name="connsiteY447" fmla="*/ 426244 h 1619250"/>
                      <a:gd name="connsiteX448" fmla="*/ 52799 w 1614899"/>
                      <a:gd name="connsiteY448" fmla="*/ 421481 h 1619250"/>
                      <a:gd name="connsiteX449" fmla="*/ 59943 w 1614899"/>
                      <a:gd name="connsiteY449" fmla="*/ 419100 h 1619250"/>
                      <a:gd name="connsiteX450" fmla="*/ 64706 w 1614899"/>
                      <a:gd name="connsiteY450" fmla="*/ 411956 h 1619250"/>
                      <a:gd name="connsiteX451" fmla="*/ 55181 w 1614899"/>
                      <a:gd name="connsiteY451" fmla="*/ 392906 h 1619250"/>
                      <a:gd name="connsiteX452" fmla="*/ 40893 w 1614899"/>
                      <a:gd name="connsiteY452" fmla="*/ 388144 h 1619250"/>
                      <a:gd name="connsiteX453" fmla="*/ 33749 w 1614899"/>
                      <a:gd name="connsiteY453" fmla="*/ 390525 h 1619250"/>
                      <a:gd name="connsiteX454" fmla="*/ 28987 w 1614899"/>
                      <a:gd name="connsiteY454" fmla="*/ 390525 h 1619250"/>
                      <a:gd name="connsiteX455" fmla="*/ 21843 w 1614899"/>
                      <a:gd name="connsiteY455" fmla="*/ 388144 h 1619250"/>
                      <a:gd name="connsiteX456" fmla="*/ 14699 w 1614899"/>
                      <a:gd name="connsiteY456" fmla="*/ 364331 h 1619250"/>
                      <a:gd name="connsiteX457" fmla="*/ 2793 w 1614899"/>
                      <a:gd name="connsiteY457" fmla="*/ 361950 h 1619250"/>
                      <a:gd name="connsiteX458" fmla="*/ 2793 w 1614899"/>
                      <a:gd name="connsiteY458" fmla="*/ 345281 h 1619250"/>
                      <a:gd name="connsiteX459" fmla="*/ 17081 w 1614899"/>
                      <a:gd name="connsiteY459" fmla="*/ 340519 h 1619250"/>
                      <a:gd name="connsiteX460" fmla="*/ 24224 w 1614899"/>
                      <a:gd name="connsiteY460" fmla="*/ 347662 h 1619250"/>
                      <a:gd name="connsiteX461" fmla="*/ 40893 w 1614899"/>
                      <a:gd name="connsiteY461" fmla="*/ 342900 h 1619250"/>
                      <a:gd name="connsiteX462" fmla="*/ 57562 w 1614899"/>
                      <a:gd name="connsiteY462" fmla="*/ 333375 h 1619250"/>
                      <a:gd name="connsiteX463" fmla="*/ 64706 w 1614899"/>
                      <a:gd name="connsiteY463" fmla="*/ 328612 h 1619250"/>
                      <a:gd name="connsiteX464" fmla="*/ 71849 w 1614899"/>
                      <a:gd name="connsiteY464" fmla="*/ 326231 h 1619250"/>
                      <a:gd name="connsiteX465" fmla="*/ 90899 w 1614899"/>
                      <a:gd name="connsiteY465" fmla="*/ 321469 h 1619250"/>
                      <a:gd name="connsiteX466" fmla="*/ 86137 w 1614899"/>
                      <a:gd name="connsiteY466" fmla="*/ 311944 h 1619250"/>
                      <a:gd name="connsiteX467" fmla="*/ 88518 w 1614899"/>
                      <a:gd name="connsiteY467" fmla="*/ 292894 h 1619250"/>
                      <a:gd name="connsiteX468" fmla="*/ 90899 w 1614899"/>
                      <a:gd name="connsiteY468" fmla="*/ 285750 h 1619250"/>
                      <a:gd name="connsiteX469" fmla="*/ 76612 w 1614899"/>
                      <a:gd name="connsiteY469" fmla="*/ 280987 h 1619250"/>
                      <a:gd name="connsiteX470" fmla="*/ 71849 w 1614899"/>
                      <a:gd name="connsiteY470" fmla="*/ 273844 h 1619250"/>
                      <a:gd name="connsiteX471" fmla="*/ 67087 w 1614899"/>
                      <a:gd name="connsiteY471" fmla="*/ 250031 h 1619250"/>
                      <a:gd name="connsiteX472" fmla="*/ 45656 w 1614899"/>
                      <a:gd name="connsiteY472" fmla="*/ 250031 h 1619250"/>
                      <a:gd name="connsiteX473" fmla="*/ 40893 w 1614899"/>
                      <a:gd name="connsiteY473" fmla="*/ 242887 h 1619250"/>
                      <a:gd name="connsiteX474" fmla="*/ 43274 w 1614899"/>
                      <a:gd name="connsiteY474" fmla="*/ 223837 h 1619250"/>
                      <a:gd name="connsiteX475" fmla="*/ 57562 w 1614899"/>
                      <a:gd name="connsiteY475" fmla="*/ 211931 h 1619250"/>
                      <a:gd name="connsiteX476" fmla="*/ 74231 w 1614899"/>
                      <a:gd name="connsiteY476" fmla="*/ 200025 h 1619250"/>
                      <a:gd name="connsiteX477" fmla="*/ 81374 w 1614899"/>
                      <a:gd name="connsiteY477" fmla="*/ 202406 h 1619250"/>
                      <a:gd name="connsiteX478" fmla="*/ 83756 w 1614899"/>
                      <a:gd name="connsiteY478" fmla="*/ 209550 h 1619250"/>
                      <a:gd name="connsiteX479" fmla="*/ 102806 w 1614899"/>
                      <a:gd name="connsiteY479" fmla="*/ 204787 h 1619250"/>
                      <a:gd name="connsiteX480" fmla="*/ 109949 w 1614899"/>
                      <a:gd name="connsiteY480" fmla="*/ 200025 h 1619250"/>
                      <a:gd name="connsiteX481" fmla="*/ 119474 w 1614899"/>
                      <a:gd name="connsiteY481" fmla="*/ 197644 h 1619250"/>
                      <a:gd name="connsiteX482" fmla="*/ 133762 w 1614899"/>
                      <a:gd name="connsiteY482" fmla="*/ 192881 h 1619250"/>
                      <a:gd name="connsiteX483" fmla="*/ 140906 w 1614899"/>
                      <a:gd name="connsiteY483" fmla="*/ 190500 h 1619250"/>
                      <a:gd name="connsiteX484" fmla="*/ 148049 w 1614899"/>
                      <a:gd name="connsiteY484" fmla="*/ 195262 h 1619250"/>
                      <a:gd name="connsiteX485" fmla="*/ 155193 w 1614899"/>
                      <a:gd name="connsiteY485" fmla="*/ 204787 h 1619250"/>
                      <a:gd name="connsiteX486" fmla="*/ 164718 w 1614899"/>
                      <a:gd name="connsiteY486" fmla="*/ 202406 h 1619250"/>
                      <a:gd name="connsiteX487" fmla="*/ 190912 w 1614899"/>
                      <a:gd name="connsiteY487" fmla="*/ 200025 h 1619250"/>
                      <a:gd name="connsiteX488" fmla="*/ 193293 w 1614899"/>
                      <a:gd name="connsiteY488" fmla="*/ 192881 h 1619250"/>
                      <a:gd name="connsiteX489" fmla="*/ 198056 w 1614899"/>
                      <a:gd name="connsiteY489" fmla="*/ 185737 h 1619250"/>
                      <a:gd name="connsiteX490" fmla="*/ 195674 w 1614899"/>
                      <a:gd name="connsiteY490" fmla="*/ 178594 h 1619250"/>
                      <a:gd name="connsiteX491" fmla="*/ 186149 w 1614899"/>
                      <a:gd name="connsiteY491" fmla="*/ 159544 h 1619250"/>
                      <a:gd name="connsiteX492" fmla="*/ 217106 w 1614899"/>
                      <a:gd name="connsiteY492" fmla="*/ 152400 h 1619250"/>
                      <a:gd name="connsiteX493" fmla="*/ 209962 w 1614899"/>
                      <a:gd name="connsiteY493" fmla="*/ 145256 h 1619250"/>
                      <a:gd name="connsiteX494" fmla="*/ 202818 w 1614899"/>
                      <a:gd name="connsiteY494" fmla="*/ 140494 h 1619250"/>
                      <a:gd name="connsiteX495" fmla="*/ 212343 w 1614899"/>
                      <a:gd name="connsiteY495" fmla="*/ 133350 h 1619250"/>
                      <a:gd name="connsiteX496" fmla="*/ 233774 w 1614899"/>
                      <a:gd name="connsiteY496" fmla="*/ 123825 h 1619250"/>
                      <a:gd name="connsiteX497" fmla="*/ 238537 w 1614899"/>
                      <a:gd name="connsiteY497" fmla="*/ 116681 h 1619250"/>
                      <a:gd name="connsiteX498" fmla="*/ 240918 w 1614899"/>
                      <a:gd name="connsiteY498" fmla="*/ 107156 h 1619250"/>
                      <a:gd name="connsiteX499" fmla="*/ 248062 w 1614899"/>
                      <a:gd name="connsiteY499" fmla="*/ 109537 h 1619250"/>
                      <a:gd name="connsiteX500" fmla="*/ 250443 w 1614899"/>
                      <a:gd name="connsiteY500" fmla="*/ 116681 h 1619250"/>
                      <a:gd name="connsiteX501" fmla="*/ 252824 w 1614899"/>
                      <a:gd name="connsiteY501" fmla="*/ 130969 h 1619250"/>
                      <a:gd name="connsiteX502" fmla="*/ 269493 w 1614899"/>
                      <a:gd name="connsiteY502" fmla="*/ 138112 h 1619250"/>
                      <a:gd name="connsiteX503" fmla="*/ 271874 w 1614899"/>
                      <a:gd name="connsiteY503" fmla="*/ 145256 h 1619250"/>
                      <a:gd name="connsiteX504" fmla="*/ 264731 w 1614899"/>
                      <a:gd name="connsiteY504" fmla="*/ 152400 h 1619250"/>
                      <a:gd name="connsiteX505" fmla="*/ 262349 w 1614899"/>
                      <a:gd name="connsiteY505" fmla="*/ 159544 h 1619250"/>
                      <a:gd name="connsiteX506" fmla="*/ 264731 w 1614899"/>
                      <a:gd name="connsiteY506" fmla="*/ 173831 h 1619250"/>
                      <a:gd name="connsiteX507" fmla="*/ 274256 w 1614899"/>
                      <a:gd name="connsiteY507" fmla="*/ 176212 h 1619250"/>
                      <a:gd name="connsiteX508" fmla="*/ 295687 w 1614899"/>
                      <a:gd name="connsiteY508" fmla="*/ 178594 h 1619250"/>
                      <a:gd name="connsiteX509" fmla="*/ 293306 w 1614899"/>
                      <a:gd name="connsiteY509" fmla="*/ 185737 h 1619250"/>
                      <a:gd name="connsiteX510" fmla="*/ 295687 w 1614899"/>
                      <a:gd name="connsiteY510" fmla="*/ 200025 h 1619250"/>
                      <a:gd name="connsiteX511" fmla="*/ 302831 w 1614899"/>
                      <a:gd name="connsiteY511" fmla="*/ 216694 h 1619250"/>
                      <a:gd name="connsiteX512" fmla="*/ 307593 w 1614899"/>
                      <a:gd name="connsiteY512" fmla="*/ 223837 h 1619250"/>
                      <a:gd name="connsiteX513" fmla="*/ 314737 w 1614899"/>
                      <a:gd name="connsiteY513" fmla="*/ 228600 h 1619250"/>
                      <a:gd name="connsiteX514" fmla="*/ 326643 w 1614899"/>
                      <a:gd name="connsiteY514" fmla="*/ 226219 h 1619250"/>
                      <a:gd name="connsiteX515" fmla="*/ 321881 w 1614899"/>
                      <a:gd name="connsiteY515" fmla="*/ 200025 h 1619250"/>
                      <a:gd name="connsiteX516" fmla="*/ 314737 w 1614899"/>
                      <a:gd name="connsiteY516" fmla="*/ 197644 h 1619250"/>
                      <a:gd name="connsiteX517" fmla="*/ 324262 w 1614899"/>
                      <a:gd name="connsiteY517" fmla="*/ 180975 h 1619250"/>
                      <a:gd name="connsiteX518" fmla="*/ 329024 w 1614899"/>
                      <a:gd name="connsiteY518" fmla="*/ 173831 h 1619250"/>
                      <a:gd name="connsiteX519" fmla="*/ 343312 w 1614899"/>
                      <a:gd name="connsiteY519" fmla="*/ 159544 h 1619250"/>
                      <a:gd name="connsiteX520" fmla="*/ 348074 w 1614899"/>
                      <a:gd name="connsiteY520" fmla="*/ 145256 h 1619250"/>
                      <a:gd name="connsiteX521" fmla="*/ 350456 w 1614899"/>
                      <a:gd name="connsiteY521" fmla="*/ 114300 h 1619250"/>
                      <a:gd name="connsiteX522" fmla="*/ 357599 w 1614899"/>
                      <a:gd name="connsiteY522" fmla="*/ 111919 h 1619250"/>
                      <a:gd name="connsiteX523" fmla="*/ 364743 w 1614899"/>
                      <a:gd name="connsiteY523" fmla="*/ 114300 h 1619250"/>
                      <a:gd name="connsiteX524" fmla="*/ 371887 w 1614899"/>
                      <a:gd name="connsiteY524" fmla="*/ 114300 h 1619250"/>
                      <a:gd name="connsiteX525" fmla="*/ 381412 w 1614899"/>
                      <a:gd name="connsiteY525" fmla="*/ 138112 h 1619250"/>
                      <a:gd name="connsiteX526" fmla="*/ 395699 w 1614899"/>
                      <a:gd name="connsiteY526" fmla="*/ 150019 h 1619250"/>
                      <a:gd name="connsiteX527" fmla="*/ 409987 w 1614899"/>
                      <a:gd name="connsiteY527" fmla="*/ 147637 h 1619250"/>
                      <a:gd name="connsiteX528" fmla="*/ 412368 w 1614899"/>
                      <a:gd name="connsiteY528" fmla="*/ 133350 h 1619250"/>
                      <a:gd name="connsiteX529" fmla="*/ 426656 w 1614899"/>
                      <a:gd name="connsiteY529" fmla="*/ 128587 h 1619250"/>
                      <a:gd name="connsiteX530" fmla="*/ 433799 w 1614899"/>
                      <a:gd name="connsiteY530" fmla="*/ 142875 h 1619250"/>
                      <a:gd name="connsiteX531" fmla="*/ 448087 w 1614899"/>
                      <a:gd name="connsiteY531" fmla="*/ 161925 h 1619250"/>
                      <a:gd name="connsiteX532" fmla="*/ 464756 w 1614899"/>
                      <a:gd name="connsiteY532" fmla="*/ 159544 h 1619250"/>
                      <a:gd name="connsiteX533" fmla="*/ 452849 w 1614899"/>
                      <a:gd name="connsiteY533" fmla="*/ 138112 h 1619250"/>
                      <a:gd name="connsiteX534" fmla="*/ 450468 w 1614899"/>
                      <a:gd name="connsiteY534" fmla="*/ 111919 h 1619250"/>
                      <a:gd name="connsiteX535" fmla="*/ 443324 w 1614899"/>
                      <a:gd name="connsiteY535" fmla="*/ 107156 h 1619250"/>
                      <a:gd name="connsiteX536" fmla="*/ 440943 w 1614899"/>
                      <a:gd name="connsiteY536" fmla="*/ 100012 h 1619250"/>
                      <a:gd name="connsiteX537" fmla="*/ 450468 w 1614899"/>
                      <a:gd name="connsiteY537" fmla="*/ 88106 h 1619250"/>
                      <a:gd name="connsiteX538" fmla="*/ 476662 w 1614899"/>
                      <a:gd name="connsiteY538" fmla="*/ 90487 h 1619250"/>
                      <a:gd name="connsiteX539" fmla="*/ 486187 w 1614899"/>
                      <a:gd name="connsiteY539" fmla="*/ 92869 h 1619250"/>
                      <a:gd name="connsiteX540" fmla="*/ 493331 w 1614899"/>
                      <a:gd name="connsiteY540" fmla="*/ 97631 h 1619250"/>
                      <a:gd name="connsiteX541" fmla="*/ 502856 w 1614899"/>
                      <a:gd name="connsiteY541" fmla="*/ 95250 h 1619250"/>
                      <a:gd name="connsiteX542" fmla="*/ 509999 w 1614899"/>
                      <a:gd name="connsiteY542" fmla="*/ 90487 h 1619250"/>
                      <a:gd name="connsiteX543" fmla="*/ 507618 w 1614899"/>
                      <a:gd name="connsiteY543" fmla="*/ 83344 h 1619250"/>
                      <a:gd name="connsiteX544" fmla="*/ 500474 w 1614899"/>
                      <a:gd name="connsiteY544" fmla="*/ 80962 h 1619250"/>
                      <a:gd name="connsiteX545" fmla="*/ 493331 w 1614899"/>
                      <a:gd name="connsiteY545" fmla="*/ 76200 h 1619250"/>
                      <a:gd name="connsiteX546" fmla="*/ 495712 w 1614899"/>
                      <a:gd name="connsiteY546"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05262 w 1614899"/>
                      <a:gd name="connsiteY86" fmla="*/ 316706 h 1619250"/>
                      <a:gd name="connsiteX87" fmla="*/ 719549 w 1614899"/>
                      <a:gd name="connsiteY87" fmla="*/ 328612 h 1619250"/>
                      <a:gd name="connsiteX88" fmla="*/ 714787 w 1614899"/>
                      <a:gd name="connsiteY88" fmla="*/ 335756 h 1619250"/>
                      <a:gd name="connsiteX89" fmla="*/ 717168 w 1614899"/>
                      <a:gd name="connsiteY89" fmla="*/ 342900 h 1619250"/>
                      <a:gd name="connsiteX90" fmla="*/ 721931 w 1614899"/>
                      <a:gd name="connsiteY90" fmla="*/ 347662 h 1619250"/>
                      <a:gd name="connsiteX91" fmla="*/ 733837 w 1614899"/>
                      <a:gd name="connsiteY91" fmla="*/ 357187 h 1619250"/>
                      <a:gd name="connsiteX92" fmla="*/ 740981 w 1614899"/>
                      <a:gd name="connsiteY92" fmla="*/ 354806 h 1619250"/>
                      <a:gd name="connsiteX93" fmla="*/ 755268 w 1614899"/>
                      <a:gd name="connsiteY93" fmla="*/ 350044 h 1619250"/>
                      <a:gd name="connsiteX94" fmla="*/ 752887 w 1614899"/>
                      <a:gd name="connsiteY94" fmla="*/ 359569 h 1619250"/>
                      <a:gd name="connsiteX95" fmla="*/ 755268 w 1614899"/>
                      <a:gd name="connsiteY95" fmla="*/ 371475 h 1619250"/>
                      <a:gd name="connsiteX96" fmla="*/ 762412 w 1614899"/>
                      <a:gd name="connsiteY96" fmla="*/ 373856 h 1619250"/>
                      <a:gd name="connsiteX97" fmla="*/ 745743 w 1614899"/>
                      <a:gd name="connsiteY97" fmla="*/ 390525 h 1619250"/>
                      <a:gd name="connsiteX98" fmla="*/ 750506 w 1614899"/>
                      <a:gd name="connsiteY98" fmla="*/ 397669 h 1619250"/>
                      <a:gd name="connsiteX99" fmla="*/ 745743 w 1614899"/>
                      <a:gd name="connsiteY99" fmla="*/ 411956 h 1619250"/>
                      <a:gd name="connsiteX100" fmla="*/ 731456 w 1614899"/>
                      <a:gd name="connsiteY100" fmla="*/ 404812 h 1619250"/>
                      <a:gd name="connsiteX101" fmla="*/ 724312 w 1614899"/>
                      <a:gd name="connsiteY101" fmla="*/ 409575 h 1619250"/>
                      <a:gd name="connsiteX102" fmla="*/ 721931 w 1614899"/>
                      <a:gd name="connsiteY102" fmla="*/ 416719 h 1619250"/>
                      <a:gd name="connsiteX103" fmla="*/ 736218 w 1614899"/>
                      <a:gd name="connsiteY103" fmla="*/ 426244 h 1619250"/>
                      <a:gd name="connsiteX104" fmla="*/ 731456 w 1614899"/>
                      <a:gd name="connsiteY104" fmla="*/ 442912 h 1619250"/>
                      <a:gd name="connsiteX105" fmla="*/ 729074 w 1614899"/>
                      <a:gd name="connsiteY105" fmla="*/ 450056 h 1619250"/>
                      <a:gd name="connsiteX106" fmla="*/ 731456 w 1614899"/>
                      <a:gd name="connsiteY106" fmla="*/ 481012 h 1619250"/>
                      <a:gd name="connsiteX107" fmla="*/ 736218 w 1614899"/>
                      <a:gd name="connsiteY107" fmla="*/ 488156 h 1619250"/>
                      <a:gd name="connsiteX108" fmla="*/ 743362 w 1614899"/>
                      <a:gd name="connsiteY108" fmla="*/ 509587 h 1619250"/>
                      <a:gd name="connsiteX109" fmla="*/ 745743 w 1614899"/>
                      <a:gd name="connsiteY109" fmla="*/ 516731 h 1619250"/>
                      <a:gd name="connsiteX110" fmla="*/ 760031 w 1614899"/>
                      <a:gd name="connsiteY110" fmla="*/ 526256 h 1619250"/>
                      <a:gd name="connsiteX111" fmla="*/ 764793 w 1614899"/>
                      <a:gd name="connsiteY111" fmla="*/ 533400 h 1619250"/>
                      <a:gd name="connsiteX112" fmla="*/ 769556 w 1614899"/>
                      <a:gd name="connsiteY112" fmla="*/ 547687 h 1619250"/>
                      <a:gd name="connsiteX113" fmla="*/ 748124 w 1614899"/>
                      <a:gd name="connsiteY113" fmla="*/ 552450 h 1619250"/>
                      <a:gd name="connsiteX114" fmla="*/ 729074 w 1614899"/>
                      <a:gd name="connsiteY114" fmla="*/ 557212 h 1619250"/>
                      <a:gd name="connsiteX115" fmla="*/ 762412 w 1614899"/>
                      <a:gd name="connsiteY115" fmla="*/ 540544 h 1619250"/>
                      <a:gd name="connsiteX116" fmla="*/ 769556 w 1614899"/>
                      <a:gd name="connsiteY116" fmla="*/ 542925 h 1619250"/>
                      <a:gd name="connsiteX117" fmla="*/ 776699 w 1614899"/>
                      <a:gd name="connsiteY117" fmla="*/ 550069 h 1619250"/>
                      <a:gd name="connsiteX118" fmla="*/ 793368 w 1614899"/>
                      <a:gd name="connsiteY118" fmla="*/ 552450 h 1619250"/>
                      <a:gd name="connsiteX119" fmla="*/ 807656 w 1614899"/>
                      <a:gd name="connsiteY119" fmla="*/ 557212 h 1619250"/>
                      <a:gd name="connsiteX120" fmla="*/ 814799 w 1614899"/>
                      <a:gd name="connsiteY120" fmla="*/ 559594 h 1619250"/>
                      <a:gd name="connsiteX121" fmla="*/ 821943 w 1614899"/>
                      <a:gd name="connsiteY121" fmla="*/ 566737 h 1619250"/>
                      <a:gd name="connsiteX122" fmla="*/ 829087 w 1614899"/>
                      <a:gd name="connsiteY122" fmla="*/ 569119 h 1619250"/>
                      <a:gd name="connsiteX123" fmla="*/ 836231 w 1614899"/>
                      <a:gd name="connsiteY123" fmla="*/ 573881 h 1619250"/>
                      <a:gd name="connsiteX124" fmla="*/ 843374 w 1614899"/>
                      <a:gd name="connsiteY124" fmla="*/ 588169 h 1619250"/>
                      <a:gd name="connsiteX125" fmla="*/ 852899 w 1614899"/>
                      <a:gd name="connsiteY125" fmla="*/ 597694 h 1619250"/>
                      <a:gd name="connsiteX126" fmla="*/ 902906 w 1614899"/>
                      <a:gd name="connsiteY126" fmla="*/ 604837 h 1619250"/>
                      <a:gd name="connsiteX127" fmla="*/ 914812 w 1614899"/>
                      <a:gd name="connsiteY127" fmla="*/ 626269 h 1619250"/>
                      <a:gd name="connsiteX128" fmla="*/ 919574 w 1614899"/>
                      <a:gd name="connsiteY128" fmla="*/ 633412 h 1619250"/>
                      <a:gd name="connsiteX129" fmla="*/ 919574 w 1614899"/>
                      <a:gd name="connsiteY129" fmla="*/ 671512 h 1619250"/>
                      <a:gd name="connsiteX130" fmla="*/ 926718 w 1614899"/>
                      <a:gd name="connsiteY130" fmla="*/ 676275 h 1619250"/>
                      <a:gd name="connsiteX131" fmla="*/ 933862 w 1614899"/>
                      <a:gd name="connsiteY131" fmla="*/ 690562 h 1619250"/>
                      <a:gd name="connsiteX132" fmla="*/ 936243 w 1614899"/>
                      <a:gd name="connsiteY132" fmla="*/ 702469 h 1619250"/>
                      <a:gd name="connsiteX133" fmla="*/ 943387 w 1614899"/>
                      <a:gd name="connsiteY133" fmla="*/ 709612 h 1619250"/>
                      <a:gd name="connsiteX134" fmla="*/ 945768 w 1614899"/>
                      <a:gd name="connsiteY134" fmla="*/ 723900 h 1619250"/>
                      <a:gd name="connsiteX135" fmla="*/ 955293 w 1614899"/>
                      <a:gd name="connsiteY135" fmla="*/ 738187 h 1619250"/>
                      <a:gd name="connsiteX136" fmla="*/ 964818 w 1614899"/>
                      <a:gd name="connsiteY136" fmla="*/ 752475 h 1619250"/>
                      <a:gd name="connsiteX137" fmla="*/ 967199 w 1614899"/>
                      <a:gd name="connsiteY137" fmla="*/ 759619 h 1619250"/>
                      <a:gd name="connsiteX138" fmla="*/ 974343 w 1614899"/>
                      <a:gd name="connsiteY138" fmla="*/ 769144 h 1619250"/>
                      <a:gd name="connsiteX139" fmla="*/ 979106 w 1614899"/>
                      <a:gd name="connsiteY139" fmla="*/ 783431 h 1619250"/>
                      <a:gd name="connsiteX140" fmla="*/ 981487 w 1614899"/>
                      <a:gd name="connsiteY140" fmla="*/ 790575 h 1619250"/>
                      <a:gd name="connsiteX141" fmla="*/ 991012 w 1614899"/>
                      <a:gd name="connsiteY141" fmla="*/ 804862 h 1619250"/>
                      <a:gd name="connsiteX142" fmla="*/ 998156 w 1614899"/>
                      <a:gd name="connsiteY142" fmla="*/ 819150 h 1619250"/>
                      <a:gd name="connsiteX143" fmla="*/ 1000537 w 1614899"/>
                      <a:gd name="connsiteY143" fmla="*/ 826294 h 1619250"/>
                      <a:gd name="connsiteX144" fmla="*/ 1007681 w 1614899"/>
                      <a:gd name="connsiteY144" fmla="*/ 828675 h 1619250"/>
                      <a:gd name="connsiteX145" fmla="*/ 1014824 w 1614899"/>
                      <a:gd name="connsiteY145" fmla="*/ 833437 h 1619250"/>
                      <a:gd name="connsiteX146" fmla="*/ 1029112 w 1614899"/>
                      <a:gd name="connsiteY146" fmla="*/ 838200 h 1619250"/>
                      <a:gd name="connsiteX147" fmla="*/ 1033874 w 1614899"/>
                      <a:gd name="connsiteY147" fmla="*/ 845344 h 1619250"/>
                      <a:gd name="connsiteX148" fmla="*/ 1048162 w 1614899"/>
                      <a:gd name="connsiteY148" fmla="*/ 857250 h 1619250"/>
                      <a:gd name="connsiteX149" fmla="*/ 1062449 w 1614899"/>
                      <a:gd name="connsiteY149" fmla="*/ 862012 h 1619250"/>
                      <a:gd name="connsiteX150" fmla="*/ 1079118 w 1614899"/>
                      <a:gd name="connsiteY150" fmla="*/ 883444 h 1619250"/>
                      <a:gd name="connsiteX151" fmla="*/ 1081499 w 1614899"/>
                      <a:gd name="connsiteY151" fmla="*/ 890587 h 1619250"/>
                      <a:gd name="connsiteX152" fmla="*/ 1095787 w 1614899"/>
                      <a:gd name="connsiteY152" fmla="*/ 883444 h 1619250"/>
                      <a:gd name="connsiteX153" fmla="*/ 1110074 w 1614899"/>
                      <a:gd name="connsiteY153" fmla="*/ 890587 h 1619250"/>
                      <a:gd name="connsiteX154" fmla="*/ 1121981 w 1614899"/>
                      <a:gd name="connsiteY154" fmla="*/ 902494 h 1619250"/>
                      <a:gd name="connsiteX155" fmla="*/ 1136268 w 1614899"/>
                      <a:gd name="connsiteY155" fmla="*/ 907256 h 1619250"/>
                      <a:gd name="connsiteX156" fmla="*/ 1176749 w 1614899"/>
                      <a:gd name="connsiteY156" fmla="*/ 904875 h 1619250"/>
                      <a:gd name="connsiteX157" fmla="*/ 1195799 w 1614899"/>
                      <a:gd name="connsiteY157" fmla="*/ 904875 h 1619250"/>
                      <a:gd name="connsiteX158" fmla="*/ 1207706 w 1614899"/>
                      <a:gd name="connsiteY158" fmla="*/ 912019 h 1619250"/>
                      <a:gd name="connsiteX159" fmla="*/ 1210087 w 1614899"/>
                      <a:gd name="connsiteY159" fmla="*/ 902494 h 1619250"/>
                      <a:gd name="connsiteX160" fmla="*/ 1219612 w 1614899"/>
                      <a:gd name="connsiteY160" fmla="*/ 900112 h 1619250"/>
                      <a:gd name="connsiteX161" fmla="*/ 1226756 w 1614899"/>
                      <a:gd name="connsiteY161" fmla="*/ 895350 h 1619250"/>
                      <a:gd name="connsiteX162" fmla="*/ 1241043 w 1614899"/>
                      <a:gd name="connsiteY162" fmla="*/ 890587 h 1619250"/>
                      <a:gd name="connsiteX163" fmla="*/ 1255331 w 1614899"/>
                      <a:gd name="connsiteY163" fmla="*/ 892969 h 1619250"/>
                      <a:gd name="connsiteX164" fmla="*/ 1260093 w 1614899"/>
                      <a:gd name="connsiteY164" fmla="*/ 900112 h 1619250"/>
                      <a:gd name="connsiteX165" fmla="*/ 1267237 w 1614899"/>
                      <a:gd name="connsiteY165" fmla="*/ 904875 h 1619250"/>
                      <a:gd name="connsiteX166" fmla="*/ 1271999 w 1614899"/>
                      <a:gd name="connsiteY166" fmla="*/ 919162 h 1619250"/>
                      <a:gd name="connsiteX167" fmla="*/ 1269618 w 1614899"/>
                      <a:gd name="connsiteY167" fmla="*/ 928687 h 1619250"/>
                      <a:gd name="connsiteX168" fmla="*/ 1262474 w 1614899"/>
                      <a:gd name="connsiteY168" fmla="*/ 933450 h 1619250"/>
                      <a:gd name="connsiteX169" fmla="*/ 1255331 w 1614899"/>
                      <a:gd name="connsiteY169" fmla="*/ 940594 h 1619250"/>
                      <a:gd name="connsiteX170" fmla="*/ 1248187 w 1614899"/>
                      <a:gd name="connsiteY170" fmla="*/ 942975 h 1619250"/>
                      <a:gd name="connsiteX171" fmla="*/ 1241043 w 1614899"/>
                      <a:gd name="connsiteY171" fmla="*/ 947737 h 1619250"/>
                      <a:gd name="connsiteX172" fmla="*/ 1226756 w 1614899"/>
                      <a:gd name="connsiteY172" fmla="*/ 954881 h 1619250"/>
                      <a:gd name="connsiteX173" fmla="*/ 1236281 w 1614899"/>
                      <a:gd name="connsiteY173" fmla="*/ 969169 h 1619250"/>
                      <a:gd name="connsiteX174" fmla="*/ 1241043 w 1614899"/>
                      <a:gd name="connsiteY174" fmla="*/ 983456 h 1619250"/>
                      <a:gd name="connsiteX175" fmla="*/ 1250568 w 1614899"/>
                      <a:gd name="connsiteY175" fmla="*/ 997744 h 1619250"/>
                      <a:gd name="connsiteX176" fmla="*/ 1255331 w 1614899"/>
                      <a:gd name="connsiteY176" fmla="*/ 1004887 h 1619250"/>
                      <a:gd name="connsiteX177" fmla="*/ 1262474 w 1614899"/>
                      <a:gd name="connsiteY177" fmla="*/ 997744 h 1619250"/>
                      <a:gd name="connsiteX178" fmla="*/ 1264856 w 1614899"/>
                      <a:gd name="connsiteY178" fmla="*/ 990600 h 1619250"/>
                      <a:gd name="connsiteX179" fmla="*/ 1283906 w 1614899"/>
                      <a:gd name="connsiteY179" fmla="*/ 995362 h 1619250"/>
                      <a:gd name="connsiteX180" fmla="*/ 1291049 w 1614899"/>
                      <a:gd name="connsiteY180" fmla="*/ 1000125 h 1619250"/>
                      <a:gd name="connsiteX181" fmla="*/ 1298193 w 1614899"/>
                      <a:gd name="connsiteY181" fmla="*/ 1002506 h 1619250"/>
                      <a:gd name="connsiteX182" fmla="*/ 1322006 w 1614899"/>
                      <a:gd name="connsiteY182" fmla="*/ 1007269 h 1619250"/>
                      <a:gd name="connsiteX183" fmla="*/ 1336293 w 1614899"/>
                      <a:gd name="connsiteY183" fmla="*/ 1012031 h 1619250"/>
                      <a:gd name="connsiteX184" fmla="*/ 1355343 w 1614899"/>
                      <a:gd name="connsiteY184" fmla="*/ 1016794 h 1619250"/>
                      <a:gd name="connsiteX185" fmla="*/ 1362487 w 1614899"/>
                      <a:gd name="connsiteY185" fmla="*/ 1023937 h 1619250"/>
                      <a:gd name="connsiteX186" fmla="*/ 1376774 w 1614899"/>
                      <a:gd name="connsiteY186" fmla="*/ 1028700 h 1619250"/>
                      <a:gd name="connsiteX187" fmla="*/ 1391062 w 1614899"/>
                      <a:gd name="connsiteY187" fmla="*/ 1033462 h 1619250"/>
                      <a:gd name="connsiteX188" fmla="*/ 1398206 w 1614899"/>
                      <a:gd name="connsiteY188" fmla="*/ 1035844 h 1619250"/>
                      <a:gd name="connsiteX189" fmla="*/ 1405349 w 1614899"/>
                      <a:gd name="connsiteY189" fmla="*/ 1038225 h 1619250"/>
                      <a:gd name="connsiteX190" fmla="*/ 1412493 w 1614899"/>
                      <a:gd name="connsiteY190" fmla="*/ 1042987 h 1619250"/>
                      <a:gd name="connsiteX191" fmla="*/ 1426781 w 1614899"/>
                      <a:gd name="connsiteY191" fmla="*/ 1050131 h 1619250"/>
                      <a:gd name="connsiteX192" fmla="*/ 1436306 w 1614899"/>
                      <a:gd name="connsiteY192" fmla="*/ 1062037 h 1619250"/>
                      <a:gd name="connsiteX193" fmla="*/ 1441068 w 1614899"/>
                      <a:gd name="connsiteY193" fmla="*/ 1069181 h 1619250"/>
                      <a:gd name="connsiteX194" fmla="*/ 1450593 w 1614899"/>
                      <a:gd name="connsiteY194" fmla="*/ 1071562 h 1619250"/>
                      <a:gd name="connsiteX195" fmla="*/ 1464881 w 1614899"/>
                      <a:gd name="connsiteY195" fmla="*/ 1076325 h 1619250"/>
                      <a:gd name="connsiteX196" fmla="*/ 1467262 w 1614899"/>
                      <a:gd name="connsiteY196" fmla="*/ 1083469 h 1619250"/>
                      <a:gd name="connsiteX197" fmla="*/ 1488693 w 1614899"/>
                      <a:gd name="connsiteY197" fmla="*/ 1092994 h 1619250"/>
                      <a:gd name="connsiteX198" fmla="*/ 1500599 w 1614899"/>
                      <a:gd name="connsiteY198" fmla="*/ 1095375 h 1619250"/>
                      <a:gd name="connsiteX199" fmla="*/ 1514887 w 1614899"/>
                      <a:gd name="connsiteY199" fmla="*/ 1097756 h 1619250"/>
                      <a:gd name="connsiteX200" fmla="*/ 1522031 w 1614899"/>
                      <a:gd name="connsiteY200" fmla="*/ 1100137 h 1619250"/>
                      <a:gd name="connsiteX201" fmla="*/ 1541081 w 1614899"/>
                      <a:gd name="connsiteY201" fmla="*/ 1104900 h 1619250"/>
                      <a:gd name="connsiteX202" fmla="*/ 1545843 w 1614899"/>
                      <a:gd name="connsiteY202" fmla="*/ 1112044 h 1619250"/>
                      <a:gd name="connsiteX203" fmla="*/ 1543462 w 1614899"/>
                      <a:gd name="connsiteY203" fmla="*/ 1119187 h 1619250"/>
                      <a:gd name="connsiteX204" fmla="*/ 1557749 w 1614899"/>
                      <a:gd name="connsiteY204" fmla="*/ 1128712 h 1619250"/>
                      <a:gd name="connsiteX205" fmla="*/ 1564893 w 1614899"/>
                      <a:gd name="connsiteY205" fmla="*/ 1133475 h 1619250"/>
                      <a:gd name="connsiteX206" fmla="*/ 1579181 w 1614899"/>
                      <a:gd name="connsiteY206" fmla="*/ 1147762 h 1619250"/>
                      <a:gd name="connsiteX207" fmla="*/ 1593468 w 1614899"/>
                      <a:gd name="connsiteY207" fmla="*/ 1152525 h 1619250"/>
                      <a:gd name="connsiteX208" fmla="*/ 1600612 w 1614899"/>
                      <a:gd name="connsiteY208" fmla="*/ 1154906 h 1619250"/>
                      <a:gd name="connsiteX209" fmla="*/ 1607756 w 1614899"/>
                      <a:gd name="connsiteY209" fmla="*/ 1162050 h 1619250"/>
                      <a:gd name="connsiteX210" fmla="*/ 1610137 w 1614899"/>
                      <a:gd name="connsiteY210" fmla="*/ 1169194 h 1619250"/>
                      <a:gd name="connsiteX211" fmla="*/ 1614899 w 1614899"/>
                      <a:gd name="connsiteY211" fmla="*/ 1176337 h 1619250"/>
                      <a:gd name="connsiteX212" fmla="*/ 1612518 w 1614899"/>
                      <a:gd name="connsiteY212" fmla="*/ 1195387 h 1619250"/>
                      <a:gd name="connsiteX213" fmla="*/ 1610137 w 1614899"/>
                      <a:gd name="connsiteY213" fmla="*/ 1202531 h 1619250"/>
                      <a:gd name="connsiteX214" fmla="*/ 1602993 w 1614899"/>
                      <a:gd name="connsiteY214" fmla="*/ 1204912 h 1619250"/>
                      <a:gd name="connsiteX215" fmla="*/ 1600612 w 1614899"/>
                      <a:gd name="connsiteY215" fmla="*/ 1212056 h 1619250"/>
                      <a:gd name="connsiteX216" fmla="*/ 1598231 w 1614899"/>
                      <a:gd name="connsiteY216" fmla="*/ 1247775 h 1619250"/>
                      <a:gd name="connsiteX217" fmla="*/ 1579181 w 1614899"/>
                      <a:gd name="connsiteY217" fmla="*/ 1245394 h 1619250"/>
                      <a:gd name="connsiteX218" fmla="*/ 1550606 w 1614899"/>
                      <a:gd name="connsiteY218" fmla="*/ 1231106 h 1619250"/>
                      <a:gd name="connsiteX219" fmla="*/ 1543462 w 1614899"/>
                      <a:gd name="connsiteY219" fmla="*/ 1226344 h 1619250"/>
                      <a:gd name="connsiteX220" fmla="*/ 1543462 w 1614899"/>
                      <a:gd name="connsiteY220" fmla="*/ 1197769 h 1619250"/>
                      <a:gd name="connsiteX221" fmla="*/ 1545843 w 1614899"/>
                      <a:gd name="connsiteY221" fmla="*/ 1183481 h 1619250"/>
                      <a:gd name="connsiteX222" fmla="*/ 1531556 w 1614899"/>
                      <a:gd name="connsiteY222" fmla="*/ 1176337 h 1619250"/>
                      <a:gd name="connsiteX223" fmla="*/ 1529174 w 1614899"/>
                      <a:gd name="connsiteY223" fmla="*/ 1169194 h 1619250"/>
                      <a:gd name="connsiteX224" fmla="*/ 1531556 w 1614899"/>
                      <a:gd name="connsiteY224" fmla="*/ 1152525 h 1619250"/>
                      <a:gd name="connsiteX225" fmla="*/ 1524412 w 1614899"/>
                      <a:gd name="connsiteY225" fmla="*/ 1154906 h 1619250"/>
                      <a:gd name="connsiteX226" fmla="*/ 1517268 w 1614899"/>
                      <a:gd name="connsiteY226" fmla="*/ 1159669 h 1619250"/>
                      <a:gd name="connsiteX227" fmla="*/ 1502981 w 1614899"/>
                      <a:gd name="connsiteY227" fmla="*/ 1164431 h 1619250"/>
                      <a:gd name="connsiteX228" fmla="*/ 1481549 w 1614899"/>
                      <a:gd name="connsiteY228" fmla="*/ 1169194 h 1619250"/>
                      <a:gd name="connsiteX229" fmla="*/ 1457737 w 1614899"/>
                      <a:gd name="connsiteY229" fmla="*/ 1164431 h 1619250"/>
                      <a:gd name="connsiteX230" fmla="*/ 1443449 w 1614899"/>
                      <a:gd name="connsiteY230" fmla="*/ 1154906 h 1619250"/>
                      <a:gd name="connsiteX231" fmla="*/ 1436306 w 1614899"/>
                      <a:gd name="connsiteY231" fmla="*/ 1150144 h 1619250"/>
                      <a:gd name="connsiteX232" fmla="*/ 1426781 w 1614899"/>
                      <a:gd name="connsiteY232" fmla="*/ 1140619 h 1619250"/>
                      <a:gd name="connsiteX233" fmla="*/ 1402968 w 1614899"/>
                      <a:gd name="connsiteY233" fmla="*/ 1138237 h 1619250"/>
                      <a:gd name="connsiteX234" fmla="*/ 1395824 w 1614899"/>
                      <a:gd name="connsiteY234" fmla="*/ 1145381 h 1619250"/>
                      <a:gd name="connsiteX235" fmla="*/ 1374393 w 1614899"/>
                      <a:gd name="connsiteY235" fmla="*/ 1162050 h 1619250"/>
                      <a:gd name="connsiteX236" fmla="*/ 1367249 w 1614899"/>
                      <a:gd name="connsiteY236" fmla="*/ 1188244 h 1619250"/>
                      <a:gd name="connsiteX237" fmla="*/ 1357724 w 1614899"/>
                      <a:gd name="connsiteY237" fmla="*/ 1202531 h 1619250"/>
                      <a:gd name="connsiteX238" fmla="*/ 1348199 w 1614899"/>
                      <a:gd name="connsiteY238" fmla="*/ 1212056 h 1619250"/>
                      <a:gd name="connsiteX239" fmla="*/ 1345818 w 1614899"/>
                      <a:gd name="connsiteY239" fmla="*/ 1219200 h 1619250"/>
                      <a:gd name="connsiteX240" fmla="*/ 1341056 w 1614899"/>
                      <a:gd name="connsiteY240" fmla="*/ 1228725 h 1619250"/>
                      <a:gd name="connsiteX241" fmla="*/ 1350581 w 1614899"/>
                      <a:gd name="connsiteY241" fmla="*/ 1243012 h 1619250"/>
                      <a:gd name="connsiteX242" fmla="*/ 1343437 w 1614899"/>
                      <a:gd name="connsiteY242" fmla="*/ 1266825 h 1619250"/>
                      <a:gd name="connsiteX243" fmla="*/ 1345818 w 1614899"/>
                      <a:gd name="connsiteY243" fmla="*/ 1281112 h 1619250"/>
                      <a:gd name="connsiteX244" fmla="*/ 1348199 w 1614899"/>
                      <a:gd name="connsiteY244" fmla="*/ 1290637 h 1619250"/>
                      <a:gd name="connsiteX245" fmla="*/ 1355343 w 1614899"/>
                      <a:gd name="connsiteY245" fmla="*/ 1297781 h 1619250"/>
                      <a:gd name="connsiteX246" fmla="*/ 1362487 w 1614899"/>
                      <a:gd name="connsiteY246" fmla="*/ 1300162 h 1619250"/>
                      <a:gd name="connsiteX247" fmla="*/ 1386299 w 1614899"/>
                      <a:gd name="connsiteY247" fmla="*/ 1302544 h 1619250"/>
                      <a:gd name="connsiteX248" fmla="*/ 1395824 w 1614899"/>
                      <a:gd name="connsiteY248" fmla="*/ 1309687 h 1619250"/>
                      <a:gd name="connsiteX249" fmla="*/ 1410112 w 1614899"/>
                      <a:gd name="connsiteY249" fmla="*/ 1314450 h 1619250"/>
                      <a:gd name="connsiteX250" fmla="*/ 1417256 w 1614899"/>
                      <a:gd name="connsiteY250" fmla="*/ 1319212 h 1619250"/>
                      <a:gd name="connsiteX251" fmla="*/ 1431543 w 1614899"/>
                      <a:gd name="connsiteY251" fmla="*/ 1326356 h 1619250"/>
                      <a:gd name="connsiteX252" fmla="*/ 1433924 w 1614899"/>
                      <a:gd name="connsiteY252" fmla="*/ 1333500 h 1619250"/>
                      <a:gd name="connsiteX253" fmla="*/ 1429162 w 1614899"/>
                      <a:gd name="connsiteY253" fmla="*/ 1340644 h 1619250"/>
                      <a:gd name="connsiteX254" fmla="*/ 1426781 w 1614899"/>
                      <a:gd name="connsiteY254" fmla="*/ 1347787 h 1619250"/>
                      <a:gd name="connsiteX255" fmla="*/ 1431543 w 1614899"/>
                      <a:gd name="connsiteY255" fmla="*/ 1354931 h 1619250"/>
                      <a:gd name="connsiteX256" fmla="*/ 1436306 w 1614899"/>
                      <a:gd name="connsiteY256" fmla="*/ 1364456 h 1619250"/>
                      <a:gd name="connsiteX257" fmla="*/ 1443449 w 1614899"/>
                      <a:gd name="connsiteY257" fmla="*/ 1395412 h 1619250"/>
                      <a:gd name="connsiteX258" fmla="*/ 1450593 w 1614899"/>
                      <a:gd name="connsiteY258" fmla="*/ 1402556 h 1619250"/>
                      <a:gd name="connsiteX259" fmla="*/ 1448212 w 1614899"/>
                      <a:gd name="connsiteY259" fmla="*/ 1412081 h 1619250"/>
                      <a:gd name="connsiteX260" fmla="*/ 1433924 w 1614899"/>
                      <a:gd name="connsiteY260" fmla="*/ 1416844 h 1619250"/>
                      <a:gd name="connsiteX261" fmla="*/ 1419637 w 1614899"/>
                      <a:gd name="connsiteY261" fmla="*/ 1423987 h 1619250"/>
                      <a:gd name="connsiteX262" fmla="*/ 1405349 w 1614899"/>
                      <a:gd name="connsiteY262" fmla="*/ 1431131 h 1619250"/>
                      <a:gd name="connsiteX263" fmla="*/ 1398206 w 1614899"/>
                      <a:gd name="connsiteY263" fmla="*/ 1435894 h 1619250"/>
                      <a:gd name="connsiteX264" fmla="*/ 1383918 w 1614899"/>
                      <a:gd name="connsiteY264" fmla="*/ 1440656 h 1619250"/>
                      <a:gd name="connsiteX265" fmla="*/ 1376774 w 1614899"/>
                      <a:gd name="connsiteY265" fmla="*/ 1443037 h 1619250"/>
                      <a:gd name="connsiteX266" fmla="*/ 1364868 w 1614899"/>
                      <a:gd name="connsiteY266" fmla="*/ 1464469 h 1619250"/>
                      <a:gd name="connsiteX267" fmla="*/ 1362487 w 1614899"/>
                      <a:gd name="connsiteY267" fmla="*/ 1473994 h 1619250"/>
                      <a:gd name="connsiteX268" fmla="*/ 1364868 w 1614899"/>
                      <a:gd name="connsiteY268" fmla="*/ 1497806 h 1619250"/>
                      <a:gd name="connsiteX269" fmla="*/ 1372012 w 1614899"/>
                      <a:gd name="connsiteY269" fmla="*/ 1500187 h 1619250"/>
                      <a:gd name="connsiteX270" fmla="*/ 1369631 w 1614899"/>
                      <a:gd name="connsiteY270" fmla="*/ 1516856 h 1619250"/>
                      <a:gd name="connsiteX271" fmla="*/ 1367249 w 1614899"/>
                      <a:gd name="connsiteY271" fmla="*/ 1524000 h 1619250"/>
                      <a:gd name="connsiteX272" fmla="*/ 1360106 w 1614899"/>
                      <a:gd name="connsiteY272" fmla="*/ 1526381 h 1619250"/>
                      <a:gd name="connsiteX273" fmla="*/ 1352962 w 1614899"/>
                      <a:gd name="connsiteY273" fmla="*/ 1531144 h 1619250"/>
                      <a:gd name="connsiteX274" fmla="*/ 1343437 w 1614899"/>
                      <a:gd name="connsiteY274" fmla="*/ 1535906 h 1619250"/>
                      <a:gd name="connsiteX275" fmla="*/ 1329149 w 1614899"/>
                      <a:gd name="connsiteY275" fmla="*/ 1550194 h 1619250"/>
                      <a:gd name="connsiteX276" fmla="*/ 1326768 w 1614899"/>
                      <a:gd name="connsiteY276" fmla="*/ 1559719 h 1619250"/>
                      <a:gd name="connsiteX277" fmla="*/ 1322006 w 1614899"/>
                      <a:gd name="connsiteY277" fmla="*/ 1566862 h 1619250"/>
                      <a:gd name="connsiteX278" fmla="*/ 1319624 w 1614899"/>
                      <a:gd name="connsiteY278" fmla="*/ 1578769 h 1619250"/>
                      <a:gd name="connsiteX279" fmla="*/ 1317243 w 1614899"/>
                      <a:gd name="connsiteY279" fmla="*/ 1585912 h 1619250"/>
                      <a:gd name="connsiteX280" fmla="*/ 1314862 w 1614899"/>
                      <a:gd name="connsiteY280" fmla="*/ 1602581 h 1619250"/>
                      <a:gd name="connsiteX281" fmla="*/ 1283906 w 1614899"/>
                      <a:gd name="connsiteY281" fmla="*/ 1614487 h 1619250"/>
                      <a:gd name="connsiteX282" fmla="*/ 1274381 w 1614899"/>
                      <a:gd name="connsiteY282" fmla="*/ 1616869 h 1619250"/>
                      <a:gd name="connsiteX283" fmla="*/ 1260093 w 1614899"/>
                      <a:gd name="connsiteY283" fmla="*/ 1619250 h 1619250"/>
                      <a:gd name="connsiteX284" fmla="*/ 1248187 w 1614899"/>
                      <a:gd name="connsiteY284" fmla="*/ 1616869 h 1619250"/>
                      <a:gd name="connsiteX285" fmla="*/ 1243424 w 1614899"/>
                      <a:gd name="connsiteY285" fmla="*/ 1597819 h 1619250"/>
                      <a:gd name="connsiteX286" fmla="*/ 1238662 w 1614899"/>
                      <a:gd name="connsiteY286" fmla="*/ 1581150 h 1619250"/>
                      <a:gd name="connsiteX287" fmla="*/ 1243424 w 1614899"/>
                      <a:gd name="connsiteY287" fmla="*/ 1566862 h 1619250"/>
                      <a:gd name="connsiteX288" fmla="*/ 1252949 w 1614899"/>
                      <a:gd name="connsiteY288" fmla="*/ 1552575 h 1619250"/>
                      <a:gd name="connsiteX289" fmla="*/ 1260093 w 1614899"/>
                      <a:gd name="connsiteY289" fmla="*/ 1550194 h 1619250"/>
                      <a:gd name="connsiteX290" fmla="*/ 1267237 w 1614899"/>
                      <a:gd name="connsiteY290" fmla="*/ 1543050 h 1619250"/>
                      <a:gd name="connsiteX291" fmla="*/ 1269618 w 1614899"/>
                      <a:gd name="connsiteY291" fmla="*/ 1535906 h 1619250"/>
                      <a:gd name="connsiteX292" fmla="*/ 1274381 w 1614899"/>
                      <a:gd name="connsiteY292" fmla="*/ 1526381 h 1619250"/>
                      <a:gd name="connsiteX293" fmla="*/ 1267237 w 1614899"/>
                      <a:gd name="connsiteY293" fmla="*/ 1502569 h 1619250"/>
                      <a:gd name="connsiteX294" fmla="*/ 1252949 w 1614899"/>
                      <a:gd name="connsiteY294" fmla="*/ 1493044 h 1619250"/>
                      <a:gd name="connsiteX295" fmla="*/ 1262474 w 1614899"/>
                      <a:gd name="connsiteY295" fmla="*/ 1478756 h 1619250"/>
                      <a:gd name="connsiteX296" fmla="*/ 1279143 w 1614899"/>
                      <a:gd name="connsiteY296" fmla="*/ 1462087 h 1619250"/>
                      <a:gd name="connsiteX297" fmla="*/ 1302956 w 1614899"/>
                      <a:gd name="connsiteY297" fmla="*/ 1459706 h 1619250"/>
                      <a:gd name="connsiteX298" fmla="*/ 1305337 w 1614899"/>
                      <a:gd name="connsiteY298" fmla="*/ 1450181 h 1619250"/>
                      <a:gd name="connsiteX299" fmla="*/ 1310099 w 1614899"/>
                      <a:gd name="connsiteY299" fmla="*/ 1443037 h 1619250"/>
                      <a:gd name="connsiteX300" fmla="*/ 1312481 w 1614899"/>
                      <a:gd name="connsiteY300" fmla="*/ 1435894 h 1619250"/>
                      <a:gd name="connsiteX301" fmla="*/ 1305337 w 1614899"/>
                      <a:gd name="connsiteY301" fmla="*/ 1428750 h 1619250"/>
                      <a:gd name="connsiteX302" fmla="*/ 1298193 w 1614899"/>
                      <a:gd name="connsiteY302" fmla="*/ 1423987 h 1619250"/>
                      <a:gd name="connsiteX303" fmla="*/ 1295812 w 1614899"/>
                      <a:gd name="connsiteY303" fmla="*/ 1412081 h 1619250"/>
                      <a:gd name="connsiteX304" fmla="*/ 1293431 w 1614899"/>
                      <a:gd name="connsiteY304" fmla="*/ 1402556 h 1619250"/>
                      <a:gd name="connsiteX305" fmla="*/ 1288668 w 1614899"/>
                      <a:gd name="connsiteY305" fmla="*/ 1369219 h 1619250"/>
                      <a:gd name="connsiteX306" fmla="*/ 1286287 w 1614899"/>
                      <a:gd name="connsiteY306" fmla="*/ 1362075 h 1619250"/>
                      <a:gd name="connsiteX307" fmla="*/ 1276762 w 1614899"/>
                      <a:gd name="connsiteY307" fmla="*/ 1345406 h 1619250"/>
                      <a:gd name="connsiteX308" fmla="*/ 1267237 w 1614899"/>
                      <a:gd name="connsiteY308" fmla="*/ 1343025 h 1619250"/>
                      <a:gd name="connsiteX309" fmla="*/ 1260093 w 1614899"/>
                      <a:gd name="connsiteY309" fmla="*/ 1340644 h 1619250"/>
                      <a:gd name="connsiteX310" fmla="*/ 1252949 w 1614899"/>
                      <a:gd name="connsiteY310" fmla="*/ 1307306 h 1619250"/>
                      <a:gd name="connsiteX311" fmla="*/ 1248187 w 1614899"/>
                      <a:gd name="connsiteY311" fmla="*/ 1293019 h 1619250"/>
                      <a:gd name="connsiteX312" fmla="*/ 1243424 w 1614899"/>
                      <a:gd name="connsiteY312" fmla="*/ 1278731 h 1619250"/>
                      <a:gd name="connsiteX313" fmla="*/ 1241043 w 1614899"/>
                      <a:gd name="connsiteY313" fmla="*/ 1271587 h 1619250"/>
                      <a:gd name="connsiteX314" fmla="*/ 1236281 w 1614899"/>
                      <a:gd name="connsiteY314" fmla="*/ 1262062 h 1619250"/>
                      <a:gd name="connsiteX315" fmla="*/ 1231518 w 1614899"/>
                      <a:gd name="connsiteY315" fmla="*/ 1247775 h 1619250"/>
                      <a:gd name="connsiteX316" fmla="*/ 1224374 w 1614899"/>
                      <a:gd name="connsiteY316" fmla="*/ 1240631 h 1619250"/>
                      <a:gd name="connsiteX317" fmla="*/ 1214849 w 1614899"/>
                      <a:gd name="connsiteY317" fmla="*/ 1226344 h 1619250"/>
                      <a:gd name="connsiteX318" fmla="*/ 1195799 w 1614899"/>
                      <a:gd name="connsiteY318" fmla="*/ 1233487 h 1619250"/>
                      <a:gd name="connsiteX319" fmla="*/ 1198181 w 1614899"/>
                      <a:gd name="connsiteY319" fmla="*/ 1240631 h 1619250"/>
                      <a:gd name="connsiteX320" fmla="*/ 1191037 w 1614899"/>
                      <a:gd name="connsiteY320" fmla="*/ 1243012 h 1619250"/>
                      <a:gd name="connsiteX321" fmla="*/ 1164843 w 1614899"/>
                      <a:gd name="connsiteY321" fmla="*/ 1238250 h 1619250"/>
                      <a:gd name="connsiteX322" fmla="*/ 1155318 w 1614899"/>
                      <a:gd name="connsiteY322" fmla="*/ 1223962 h 1619250"/>
                      <a:gd name="connsiteX323" fmla="*/ 1148174 w 1614899"/>
                      <a:gd name="connsiteY323" fmla="*/ 1216819 h 1619250"/>
                      <a:gd name="connsiteX324" fmla="*/ 1138649 w 1614899"/>
                      <a:gd name="connsiteY324" fmla="*/ 1219200 h 1619250"/>
                      <a:gd name="connsiteX325" fmla="*/ 1131506 w 1614899"/>
                      <a:gd name="connsiteY325" fmla="*/ 1221581 h 1619250"/>
                      <a:gd name="connsiteX326" fmla="*/ 1124362 w 1614899"/>
                      <a:gd name="connsiteY326" fmla="*/ 1219200 h 1619250"/>
                      <a:gd name="connsiteX327" fmla="*/ 1117218 w 1614899"/>
                      <a:gd name="connsiteY327" fmla="*/ 1212056 h 1619250"/>
                      <a:gd name="connsiteX328" fmla="*/ 1117218 w 1614899"/>
                      <a:gd name="connsiteY328" fmla="*/ 1193006 h 1619250"/>
                      <a:gd name="connsiteX329" fmla="*/ 1112456 w 1614899"/>
                      <a:gd name="connsiteY329" fmla="*/ 1154906 h 1619250"/>
                      <a:gd name="connsiteX330" fmla="*/ 1107693 w 1614899"/>
                      <a:gd name="connsiteY330" fmla="*/ 1147762 h 1619250"/>
                      <a:gd name="connsiteX331" fmla="*/ 1100549 w 1614899"/>
                      <a:gd name="connsiteY331" fmla="*/ 1145381 h 1619250"/>
                      <a:gd name="connsiteX332" fmla="*/ 1093406 w 1614899"/>
                      <a:gd name="connsiteY332" fmla="*/ 1147762 h 1619250"/>
                      <a:gd name="connsiteX333" fmla="*/ 1062449 w 1614899"/>
                      <a:gd name="connsiteY333" fmla="*/ 1152525 h 1619250"/>
                      <a:gd name="connsiteX334" fmla="*/ 1045781 w 1614899"/>
                      <a:gd name="connsiteY334" fmla="*/ 1150144 h 1619250"/>
                      <a:gd name="connsiteX335" fmla="*/ 1043399 w 1614899"/>
                      <a:gd name="connsiteY335" fmla="*/ 1143000 h 1619250"/>
                      <a:gd name="connsiteX336" fmla="*/ 1050543 w 1614899"/>
                      <a:gd name="connsiteY336" fmla="*/ 1128712 h 1619250"/>
                      <a:gd name="connsiteX337" fmla="*/ 1041018 w 1614899"/>
                      <a:gd name="connsiteY337" fmla="*/ 1107281 h 1619250"/>
                      <a:gd name="connsiteX338" fmla="*/ 1024349 w 1614899"/>
                      <a:gd name="connsiteY338" fmla="*/ 1109662 h 1619250"/>
                      <a:gd name="connsiteX339" fmla="*/ 1014824 w 1614899"/>
                      <a:gd name="connsiteY339" fmla="*/ 1107281 h 1619250"/>
                      <a:gd name="connsiteX340" fmla="*/ 988631 w 1614899"/>
                      <a:gd name="connsiteY340" fmla="*/ 1109662 h 1619250"/>
                      <a:gd name="connsiteX341" fmla="*/ 986249 w 1614899"/>
                      <a:gd name="connsiteY341" fmla="*/ 1102519 h 1619250"/>
                      <a:gd name="connsiteX342" fmla="*/ 979106 w 1614899"/>
                      <a:gd name="connsiteY342" fmla="*/ 1076325 h 1619250"/>
                      <a:gd name="connsiteX343" fmla="*/ 964818 w 1614899"/>
                      <a:gd name="connsiteY343" fmla="*/ 1064419 h 1619250"/>
                      <a:gd name="connsiteX344" fmla="*/ 950531 w 1614899"/>
                      <a:gd name="connsiteY344" fmla="*/ 1054894 h 1619250"/>
                      <a:gd name="connsiteX345" fmla="*/ 943387 w 1614899"/>
                      <a:gd name="connsiteY345" fmla="*/ 1050131 h 1619250"/>
                      <a:gd name="connsiteX346" fmla="*/ 936243 w 1614899"/>
                      <a:gd name="connsiteY346" fmla="*/ 1045369 h 1619250"/>
                      <a:gd name="connsiteX347" fmla="*/ 931481 w 1614899"/>
                      <a:gd name="connsiteY347" fmla="*/ 1038225 h 1619250"/>
                      <a:gd name="connsiteX348" fmla="*/ 917193 w 1614899"/>
                      <a:gd name="connsiteY348" fmla="*/ 1031081 h 1619250"/>
                      <a:gd name="connsiteX349" fmla="*/ 914812 w 1614899"/>
                      <a:gd name="connsiteY349" fmla="*/ 1040606 h 1619250"/>
                      <a:gd name="connsiteX350" fmla="*/ 907668 w 1614899"/>
                      <a:gd name="connsiteY350" fmla="*/ 1042987 h 1619250"/>
                      <a:gd name="connsiteX351" fmla="*/ 886237 w 1614899"/>
                      <a:gd name="connsiteY351" fmla="*/ 1031081 h 1619250"/>
                      <a:gd name="connsiteX352" fmla="*/ 862424 w 1614899"/>
                      <a:gd name="connsiteY352" fmla="*/ 1035844 h 1619250"/>
                      <a:gd name="connsiteX353" fmla="*/ 845756 w 1614899"/>
                      <a:gd name="connsiteY353" fmla="*/ 1040606 h 1619250"/>
                      <a:gd name="connsiteX354" fmla="*/ 840993 w 1614899"/>
                      <a:gd name="connsiteY354" fmla="*/ 1033462 h 1619250"/>
                      <a:gd name="connsiteX355" fmla="*/ 821943 w 1614899"/>
                      <a:gd name="connsiteY355" fmla="*/ 1004887 h 1619250"/>
                      <a:gd name="connsiteX356" fmla="*/ 814799 w 1614899"/>
                      <a:gd name="connsiteY356" fmla="*/ 1000125 h 1619250"/>
                      <a:gd name="connsiteX357" fmla="*/ 779081 w 1614899"/>
                      <a:gd name="connsiteY357" fmla="*/ 995362 h 1619250"/>
                      <a:gd name="connsiteX358" fmla="*/ 771937 w 1614899"/>
                      <a:gd name="connsiteY358" fmla="*/ 988219 h 1619250"/>
                      <a:gd name="connsiteX359" fmla="*/ 762412 w 1614899"/>
                      <a:gd name="connsiteY359" fmla="*/ 966787 h 1619250"/>
                      <a:gd name="connsiteX360" fmla="*/ 755268 w 1614899"/>
                      <a:gd name="connsiteY360" fmla="*/ 962025 h 1619250"/>
                      <a:gd name="connsiteX361" fmla="*/ 733837 w 1614899"/>
                      <a:gd name="connsiteY361" fmla="*/ 962025 h 1619250"/>
                      <a:gd name="connsiteX362" fmla="*/ 731456 w 1614899"/>
                      <a:gd name="connsiteY362" fmla="*/ 950119 h 1619250"/>
                      <a:gd name="connsiteX363" fmla="*/ 729074 w 1614899"/>
                      <a:gd name="connsiteY363" fmla="*/ 942975 h 1619250"/>
                      <a:gd name="connsiteX364" fmla="*/ 726693 w 1614899"/>
                      <a:gd name="connsiteY364" fmla="*/ 921544 h 1619250"/>
                      <a:gd name="connsiteX365" fmla="*/ 724312 w 1614899"/>
                      <a:gd name="connsiteY365" fmla="*/ 914400 h 1619250"/>
                      <a:gd name="connsiteX366" fmla="*/ 717168 w 1614899"/>
                      <a:gd name="connsiteY366" fmla="*/ 909637 h 1619250"/>
                      <a:gd name="connsiteX367" fmla="*/ 710024 w 1614899"/>
                      <a:gd name="connsiteY367" fmla="*/ 907256 h 1619250"/>
                      <a:gd name="connsiteX368" fmla="*/ 681449 w 1614899"/>
                      <a:gd name="connsiteY368" fmla="*/ 902494 h 1619250"/>
                      <a:gd name="connsiteX369" fmla="*/ 674306 w 1614899"/>
                      <a:gd name="connsiteY369" fmla="*/ 897731 h 1619250"/>
                      <a:gd name="connsiteX370" fmla="*/ 667162 w 1614899"/>
                      <a:gd name="connsiteY370" fmla="*/ 883444 h 1619250"/>
                      <a:gd name="connsiteX371" fmla="*/ 657637 w 1614899"/>
                      <a:gd name="connsiteY371" fmla="*/ 881062 h 1619250"/>
                      <a:gd name="connsiteX372" fmla="*/ 650493 w 1614899"/>
                      <a:gd name="connsiteY372" fmla="*/ 873919 h 1619250"/>
                      <a:gd name="connsiteX373" fmla="*/ 648112 w 1614899"/>
                      <a:gd name="connsiteY373" fmla="*/ 866775 h 1619250"/>
                      <a:gd name="connsiteX374" fmla="*/ 643349 w 1614899"/>
                      <a:gd name="connsiteY374" fmla="*/ 859631 h 1619250"/>
                      <a:gd name="connsiteX375" fmla="*/ 631443 w 1614899"/>
                      <a:gd name="connsiteY375" fmla="*/ 838200 h 1619250"/>
                      <a:gd name="connsiteX376" fmla="*/ 624299 w 1614899"/>
                      <a:gd name="connsiteY376" fmla="*/ 833437 h 1619250"/>
                      <a:gd name="connsiteX377" fmla="*/ 593343 w 1614899"/>
                      <a:gd name="connsiteY377" fmla="*/ 835819 h 1619250"/>
                      <a:gd name="connsiteX378" fmla="*/ 586199 w 1614899"/>
                      <a:gd name="connsiteY378" fmla="*/ 816769 h 1619250"/>
                      <a:gd name="connsiteX379" fmla="*/ 569531 w 1614899"/>
                      <a:gd name="connsiteY379" fmla="*/ 795337 h 1619250"/>
                      <a:gd name="connsiteX380" fmla="*/ 564768 w 1614899"/>
                      <a:gd name="connsiteY380" fmla="*/ 788194 h 1619250"/>
                      <a:gd name="connsiteX381" fmla="*/ 557624 w 1614899"/>
                      <a:gd name="connsiteY381" fmla="*/ 785812 h 1619250"/>
                      <a:gd name="connsiteX382" fmla="*/ 550481 w 1614899"/>
                      <a:gd name="connsiteY382" fmla="*/ 781050 h 1619250"/>
                      <a:gd name="connsiteX383" fmla="*/ 536193 w 1614899"/>
                      <a:gd name="connsiteY383" fmla="*/ 776287 h 1619250"/>
                      <a:gd name="connsiteX384" fmla="*/ 538574 w 1614899"/>
                      <a:gd name="connsiteY384" fmla="*/ 747712 h 1619250"/>
                      <a:gd name="connsiteX385" fmla="*/ 533812 w 1614899"/>
                      <a:gd name="connsiteY385" fmla="*/ 740569 h 1619250"/>
                      <a:gd name="connsiteX386" fmla="*/ 519524 w 1614899"/>
                      <a:gd name="connsiteY386" fmla="*/ 731044 h 1619250"/>
                      <a:gd name="connsiteX387" fmla="*/ 512381 w 1614899"/>
                      <a:gd name="connsiteY387" fmla="*/ 735806 h 1619250"/>
                      <a:gd name="connsiteX388" fmla="*/ 505237 w 1614899"/>
                      <a:gd name="connsiteY388" fmla="*/ 738187 h 1619250"/>
                      <a:gd name="connsiteX389" fmla="*/ 507618 w 1614899"/>
                      <a:gd name="connsiteY389" fmla="*/ 723900 h 1619250"/>
                      <a:gd name="connsiteX390" fmla="*/ 505237 w 1614899"/>
                      <a:gd name="connsiteY390" fmla="*/ 688181 h 1619250"/>
                      <a:gd name="connsiteX391" fmla="*/ 493331 w 1614899"/>
                      <a:gd name="connsiteY391" fmla="*/ 666750 h 1619250"/>
                      <a:gd name="connsiteX392" fmla="*/ 486187 w 1614899"/>
                      <a:gd name="connsiteY392" fmla="*/ 659606 h 1619250"/>
                      <a:gd name="connsiteX393" fmla="*/ 481424 w 1614899"/>
                      <a:gd name="connsiteY393" fmla="*/ 652462 h 1619250"/>
                      <a:gd name="connsiteX394" fmla="*/ 479043 w 1614899"/>
                      <a:gd name="connsiteY394" fmla="*/ 614362 h 1619250"/>
                      <a:gd name="connsiteX395" fmla="*/ 474281 w 1614899"/>
                      <a:gd name="connsiteY395" fmla="*/ 595312 h 1619250"/>
                      <a:gd name="connsiteX396" fmla="*/ 467137 w 1614899"/>
                      <a:gd name="connsiteY396" fmla="*/ 578644 h 1619250"/>
                      <a:gd name="connsiteX397" fmla="*/ 459993 w 1614899"/>
                      <a:gd name="connsiteY397" fmla="*/ 571500 h 1619250"/>
                      <a:gd name="connsiteX398" fmla="*/ 440943 w 1614899"/>
                      <a:gd name="connsiteY398" fmla="*/ 554831 h 1619250"/>
                      <a:gd name="connsiteX399" fmla="*/ 426656 w 1614899"/>
                      <a:gd name="connsiteY399" fmla="*/ 550069 h 1619250"/>
                      <a:gd name="connsiteX400" fmla="*/ 424274 w 1614899"/>
                      <a:gd name="connsiteY400" fmla="*/ 557212 h 1619250"/>
                      <a:gd name="connsiteX401" fmla="*/ 414749 w 1614899"/>
                      <a:gd name="connsiteY401" fmla="*/ 552450 h 1619250"/>
                      <a:gd name="connsiteX402" fmla="*/ 407606 w 1614899"/>
                      <a:gd name="connsiteY402" fmla="*/ 545306 h 1619250"/>
                      <a:gd name="connsiteX403" fmla="*/ 390937 w 1614899"/>
                      <a:gd name="connsiteY403" fmla="*/ 535781 h 1619250"/>
                      <a:gd name="connsiteX404" fmla="*/ 383793 w 1614899"/>
                      <a:gd name="connsiteY404" fmla="*/ 528637 h 1619250"/>
                      <a:gd name="connsiteX405" fmla="*/ 374268 w 1614899"/>
                      <a:gd name="connsiteY405" fmla="*/ 526256 h 1619250"/>
                      <a:gd name="connsiteX406" fmla="*/ 352837 w 1614899"/>
                      <a:gd name="connsiteY406" fmla="*/ 519112 h 1619250"/>
                      <a:gd name="connsiteX407" fmla="*/ 345693 w 1614899"/>
                      <a:gd name="connsiteY407" fmla="*/ 516731 h 1619250"/>
                      <a:gd name="connsiteX408" fmla="*/ 338549 w 1614899"/>
                      <a:gd name="connsiteY408" fmla="*/ 514350 h 1619250"/>
                      <a:gd name="connsiteX409" fmla="*/ 326643 w 1614899"/>
                      <a:gd name="connsiteY409" fmla="*/ 504825 h 1619250"/>
                      <a:gd name="connsiteX410" fmla="*/ 321881 w 1614899"/>
                      <a:gd name="connsiteY410" fmla="*/ 497681 h 1619250"/>
                      <a:gd name="connsiteX411" fmla="*/ 314737 w 1614899"/>
                      <a:gd name="connsiteY411" fmla="*/ 490537 h 1619250"/>
                      <a:gd name="connsiteX412" fmla="*/ 307593 w 1614899"/>
                      <a:gd name="connsiteY412" fmla="*/ 485775 h 1619250"/>
                      <a:gd name="connsiteX413" fmla="*/ 293306 w 1614899"/>
                      <a:gd name="connsiteY413" fmla="*/ 481012 h 1619250"/>
                      <a:gd name="connsiteX414" fmla="*/ 269493 w 1614899"/>
                      <a:gd name="connsiteY414" fmla="*/ 483394 h 1619250"/>
                      <a:gd name="connsiteX415" fmla="*/ 259968 w 1614899"/>
                      <a:gd name="connsiteY415" fmla="*/ 490537 h 1619250"/>
                      <a:gd name="connsiteX416" fmla="*/ 243299 w 1614899"/>
                      <a:gd name="connsiteY416" fmla="*/ 497681 h 1619250"/>
                      <a:gd name="connsiteX417" fmla="*/ 236156 w 1614899"/>
                      <a:gd name="connsiteY417" fmla="*/ 502444 h 1619250"/>
                      <a:gd name="connsiteX418" fmla="*/ 233774 w 1614899"/>
                      <a:gd name="connsiteY418" fmla="*/ 509587 h 1619250"/>
                      <a:gd name="connsiteX419" fmla="*/ 231393 w 1614899"/>
                      <a:gd name="connsiteY419" fmla="*/ 519112 h 1619250"/>
                      <a:gd name="connsiteX420" fmla="*/ 224249 w 1614899"/>
                      <a:gd name="connsiteY420" fmla="*/ 521494 h 1619250"/>
                      <a:gd name="connsiteX421" fmla="*/ 209962 w 1614899"/>
                      <a:gd name="connsiteY421" fmla="*/ 528637 h 1619250"/>
                      <a:gd name="connsiteX422" fmla="*/ 200437 w 1614899"/>
                      <a:gd name="connsiteY422" fmla="*/ 542925 h 1619250"/>
                      <a:gd name="connsiteX423" fmla="*/ 195674 w 1614899"/>
                      <a:gd name="connsiteY423" fmla="*/ 557212 h 1619250"/>
                      <a:gd name="connsiteX424" fmla="*/ 188531 w 1614899"/>
                      <a:gd name="connsiteY424" fmla="*/ 559594 h 1619250"/>
                      <a:gd name="connsiteX425" fmla="*/ 176624 w 1614899"/>
                      <a:gd name="connsiteY425" fmla="*/ 564356 h 1619250"/>
                      <a:gd name="connsiteX426" fmla="*/ 164718 w 1614899"/>
                      <a:gd name="connsiteY426" fmla="*/ 566737 h 1619250"/>
                      <a:gd name="connsiteX427" fmla="*/ 157574 w 1614899"/>
                      <a:gd name="connsiteY427" fmla="*/ 569119 h 1619250"/>
                      <a:gd name="connsiteX428" fmla="*/ 148049 w 1614899"/>
                      <a:gd name="connsiteY428" fmla="*/ 571500 h 1619250"/>
                      <a:gd name="connsiteX429" fmla="*/ 140906 w 1614899"/>
                      <a:gd name="connsiteY429" fmla="*/ 573881 h 1619250"/>
                      <a:gd name="connsiteX430" fmla="*/ 121856 w 1614899"/>
                      <a:gd name="connsiteY430" fmla="*/ 576262 h 1619250"/>
                      <a:gd name="connsiteX431" fmla="*/ 119474 w 1614899"/>
                      <a:gd name="connsiteY431" fmla="*/ 571500 h 1619250"/>
                      <a:gd name="connsiteX432" fmla="*/ 128999 w 1614899"/>
                      <a:gd name="connsiteY432" fmla="*/ 557212 h 1619250"/>
                      <a:gd name="connsiteX433" fmla="*/ 131381 w 1614899"/>
                      <a:gd name="connsiteY433" fmla="*/ 550069 h 1619250"/>
                      <a:gd name="connsiteX434" fmla="*/ 140906 w 1614899"/>
                      <a:gd name="connsiteY434" fmla="*/ 535781 h 1619250"/>
                      <a:gd name="connsiteX435" fmla="*/ 133762 w 1614899"/>
                      <a:gd name="connsiteY435" fmla="*/ 533400 h 1619250"/>
                      <a:gd name="connsiteX436" fmla="*/ 128999 w 1614899"/>
                      <a:gd name="connsiteY436" fmla="*/ 516731 h 1619250"/>
                      <a:gd name="connsiteX437" fmla="*/ 69468 w 1614899"/>
                      <a:gd name="connsiteY437" fmla="*/ 514350 h 1619250"/>
                      <a:gd name="connsiteX438" fmla="*/ 67087 w 1614899"/>
                      <a:gd name="connsiteY438" fmla="*/ 507206 h 1619250"/>
                      <a:gd name="connsiteX439" fmla="*/ 52799 w 1614899"/>
                      <a:gd name="connsiteY439" fmla="*/ 497681 h 1619250"/>
                      <a:gd name="connsiteX440" fmla="*/ 55181 w 1614899"/>
                      <a:gd name="connsiteY440" fmla="*/ 488156 h 1619250"/>
                      <a:gd name="connsiteX441" fmla="*/ 40893 w 1614899"/>
                      <a:gd name="connsiteY441" fmla="*/ 483394 h 1619250"/>
                      <a:gd name="connsiteX442" fmla="*/ 38512 w 1614899"/>
                      <a:gd name="connsiteY442" fmla="*/ 471487 h 1619250"/>
                      <a:gd name="connsiteX443" fmla="*/ 36131 w 1614899"/>
                      <a:gd name="connsiteY443" fmla="*/ 464344 h 1619250"/>
                      <a:gd name="connsiteX444" fmla="*/ 38512 w 1614899"/>
                      <a:gd name="connsiteY444" fmla="*/ 452437 h 1619250"/>
                      <a:gd name="connsiteX445" fmla="*/ 38512 w 1614899"/>
                      <a:gd name="connsiteY445" fmla="*/ 428625 h 1619250"/>
                      <a:gd name="connsiteX446" fmla="*/ 45656 w 1614899"/>
                      <a:gd name="connsiteY446" fmla="*/ 426244 h 1619250"/>
                      <a:gd name="connsiteX447" fmla="*/ 52799 w 1614899"/>
                      <a:gd name="connsiteY447" fmla="*/ 421481 h 1619250"/>
                      <a:gd name="connsiteX448" fmla="*/ 59943 w 1614899"/>
                      <a:gd name="connsiteY448" fmla="*/ 419100 h 1619250"/>
                      <a:gd name="connsiteX449" fmla="*/ 64706 w 1614899"/>
                      <a:gd name="connsiteY449" fmla="*/ 411956 h 1619250"/>
                      <a:gd name="connsiteX450" fmla="*/ 55181 w 1614899"/>
                      <a:gd name="connsiteY450" fmla="*/ 392906 h 1619250"/>
                      <a:gd name="connsiteX451" fmla="*/ 40893 w 1614899"/>
                      <a:gd name="connsiteY451" fmla="*/ 388144 h 1619250"/>
                      <a:gd name="connsiteX452" fmla="*/ 33749 w 1614899"/>
                      <a:gd name="connsiteY452" fmla="*/ 390525 h 1619250"/>
                      <a:gd name="connsiteX453" fmla="*/ 28987 w 1614899"/>
                      <a:gd name="connsiteY453" fmla="*/ 390525 h 1619250"/>
                      <a:gd name="connsiteX454" fmla="*/ 21843 w 1614899"/>
                      <a:gd name="connsiteY454" fmla="*/ 388144 h 1619250"/>
                      <a:gd name="connsiteX455" fmla="*/ 14699 w 1614899"/>
                      <a:gd name="connsiteY455" fmla="*/ 364331 h 1619250"/>
                      <a:gd name="connsiteX456" fmla="*/ 2793 w 1614899"/>
                      <a:gd name="connsiteY456" fmla="*/ 361950 h 1619250"/>
                      <a:gd name="connsiteX457" fmla="*/ 2793 w 1614899"/>
                      <a:gd name="connsiteY457" fmla="*/ 345281 h 1619250"/>
                      <a:gd name="connsiteX458" fmla="*/ 17081 w 1614899"/>
                      <a:gd name="connsiteY458" fmla="*/ 340519 h 1619250"/>
                      <a:gd name="connsiteX459" fmla="*/ 24224 w 1614899"/>
                      <a:gd name="connsiteY459" fmla="*/ 347662 h 1619250"/>
                      <a:gd name="connsiteX460" fmla="*/ 40893 w 1614899"/>
                      <a:gd name="connsiteY460" fmla="*/ 342900 h 1619250"/>
                      <a:gd name="connsiteX461" fmla="*/ 57562 w 1614899"/>
                      <a:gd name="connsiteY461" fmla="*/ 333375 h 1619250"/>
                      <a:gd name="connsiteX462" fmla="*/ 64706 w 1614899"/>
                      <a:gd name="connsiteY462" fmla="*/ 328612 h 1619250"/>
                      <a:gd name="connsiteX463" fmla="*/ 71849 w 1614899"/>
                      <a:gd name="connsiteY463" fmla="*/ 326231 h 1619250"/>
                      <a:gd name="connsiteX464" fmla="*/ 90899 w 1614899"/>
                      <a:gd name="connsiteY464" fmla="*/ 321469 h 1619250"/>
                      <a:gd name="connsiteX465" fmla="*/ 86137 w 1614899"/>
                      <a:gd name="connsiteY465" fmla="*/ 311944 h 1619250"/>
                      <a:gd name="connsiteX466" fmla="*/ 88518 w 1614899"/>
                      <a:gd name="connsiteY466" fmla="*/ 292894 h 1619250"/>
                      <a:gd name="connsiteX467" fmla="*/ 90899 w 1614899"/>
                      <a:gd name="connsiteY467" fmla="*/ 285750 h 1619250"/>
                      <a:gd name="connsiteX468" fmla="*/ 76612 w 1614899"/>
                      <a:gd name="connsiteY468" fmla="*/ 280987 h 1619250"/>
                      <a:gd name="connsiteX469" fmla="*/ 71849 w 1614899"/>
                      <a:gd name="connsiteY469" fmla="*/ 273844 h 1619250"/>
                      <a:gd name="connsiteX470" fmla="*/ 67087 w 1614899"/>
                      <a:gd name="connsiteY470" fmla="*/ 250031 h 1619250"/>
                      <a:gd name="connsiteX471" fmla="*/ 45656 w 1614899"/>
                      <a:gd name="connsiteY471" fmla="*/ 250031 h 1619250"/>
                      <a:gd name="connsiteX472" fmla="*/ 40893 w 1614899"/>
                      <a:gd name="connsiteY472" fmla="*/ 242887 h 1619250"/>
                      <a:gd name="connsiteX473" fmla="*/ 43274 w 1614899"/>
                      <a:gd name="connsiteY473" fmla="*/ 223837 h 1619250"/>
                      <a:gd name="connsiteX474" fmla="*/ 57562 w 1614899"/>
                      <a:gd name="connsiteY474" fmla="*/ 211931 h 1619250"/>
                      <a:gd name="connsiteX475" fmla="*/ 74231 w 1614899"/>
                      <a:gd name="connsiteY475" fmla="*/ 200025 h 1619250"/>
                      <a:gd name="connsiteX476" fmla="*/ 81374 w 1614899"/>
                      <a:gd name="connsiteY476" fmla="*/ 202406 h 1619250"/>
                      <a:gd name="connsiteX477" fmla="*/ 83756 w 1614899"/>
                      <a:gd name="connsiteY477" fmla="*/ 209550 h 1619250"/>
                      <a:gd name="connsiteX478" fmla="*/ 102806 w 1614899"/>
                      <a:gd name="connsiteY478" fmla="*/ 204787 h 1619250"/>
                      <a:gd name="connsiteX479" fmla="*/ 109949 w 1614899"/>
                      <a:gd name="connsiteY479" fmla="*/ 200025 h 1619250"/>
                      <a:gd name="connsiteX480" fmla="*/ 119474 w 1614899"/>
                      <a:gd name="connsiteY480" fmla="*/ 197644 h 1619250"/>
                      <a:gd name="connsiteX481" fmla="*/ 133762 w 1614899"/>
                      <a:gd name="connsiteY481" fmla="*/ 192881 h 1619250"/>
                      <a:gd name="connsiteX482" fmla="*/ 140906 w 1614899"/>
                      <a:gd name="connsiteY482" fmla="*/ 190500 h 1619250"/>
                      <a:gd name="connsiteX483" fmla="*/ 148049 w 1614899"/>
                      <a:gd name="connsiteY483" fmla="*/ 195262 h 1619250"/>
                      <a:gd name="connsiteX484" fmla="*/ 155193 w 1614899"/>
                      <a:gd name="connsiteY484" fmla="*/ 204787 h 1619250"/>
                      <a:gd name="connsiteX485" fmla="*/ 164718 w 1614899"/>
                      <a:gd name="connsiteY485" fmla="*/ 202406 h 1619250"/>
                      <a:gd name="connsiteX486" fmla="*/ 190912 w 1614899"/>
                      <a:gd name="connsiteY486" fmla="*/ 200025 h 1619250"/>
                      <a:gd name="connsiteX487" fmla="*/ 193293 w 1614899"/>
                      <a:gd name="connsiteY487" fmla="*/ 192881 h 1619250"/>
                      <a:gd name="connsiteX488" fmla="*/ 198056 w 1614899"/>
                      <a:gd name="connsiteY488" fmla="*/ 185737 h 1619250"/>
                      <a:gd name="connsiteX489" fmla="*/ 195674 w 1614899"/>
                      <a:gd name="connsiteY489" fmla="*/ 178594 h 1619250"/>
                      <a:gd name="connsiteX490" fmla="*/ 186149 w 1614899"/>
                      <a:gd name="connsiteY490" fmla="*/ 159544 h 1619250"/>
                      <a:gd name="connsiteX491" fmla="*/ 217106 w 1614899"/>
                      <a:gd name="connsiteY491" fmla="*/ 152400 h 1619250"/>
                      <a:gd name="connsiteX492" fmla="*/ 209962 w 1614899"/>
                      <a:gd name="connsiteY492" fmla="*/ 145256 h 1619250"/>
                      <a:gd name="connsiteX493" fmla="*/ 202818 w 1614899"/>
                      <a:gd name="connsiteY493" fmla="*/ 140494 h 1619250"/>
                      <a:gd name="connsiteX494" fmla="*/ 212343 w 1614899"/>
                      <a:gd name="connsiteY494" fmla="*/ 133350 h 1619250"/>
                      <a:gd name="connsiteX495" fmla="*/ 233774 w 1614899"/>
                      <a:gd name="connsiteY495" fmla="*/ 123825 h 1619250"/>
                      <a:gd name="connsiteX496" fmla="*/ 238537 w 1614899"/>
                      <a:gd name="connsiteY496" fmla="*/ 116681 h 1619250"/>
                      <a:gd name="connsiteX497" fmla="*/ 240918 w 1614899"/>
                      <a:gd name="connsiteY497" fmla="*/ 107156 h 1619250"/>
                      <a:gd name="connsiteX498" fmla="*/ 248062 w 1614899"/>
                      <a:gd name="connsiteY498" fmla="*/ 109537 h 1619250"/>
                      <a:gd name="connsiteX499" fmla="*/ 250443 w 1614899"/>
                      <a:gd name="connsiteY499" fmla="*/ 116681 h 1619250"/>
                      <a:gd name="connsiteX500" fmla="*/ 252824 w 1614899"/>
                      <a:gd name="connsiteY500" fmla="*/ 130969 h 1619250"/>
                      <a:gd name="connsiteX501" fmla="*/ 269493 w 1614899"/>
                      <a:gd name="connsiteY501" fmla="*/ 138112 h 1619250"/>
                      <a:gd name="connsiteX502" fmla="*/ 271874 w 1614899"/>
                      <a:gd name="connsiteY502" fmla="*/ 145256 h 1619250"/>
                      <a:gd name="connsiteX503" fmla="*/ 264731 w 1614899"/>
                      <a:gd name="connsiteY503" fmla="*/ 152400 h 1619250"/>
                      <a:gd name="connsiteX504" fmla="*/ 262349 w 1614899"/>
                      <a:gd name="connsiteY504" fmla="*/ 159544 h 1619250"/>
                      <a:gd name="connsiteX505" fmla="*/ 264731 w 1614899"/>
                      <a:gd name="connsiteY505" fmla="*/ 173831 h 1619250"/>
                      <a:gd name="connsiteX506" fmla="*/ 274256 w 1614899"/>
                      <a:gd name="connsiteY506" fmla="*/ 176212 h 1619250"/>
                      <a:gd name="connsiteX507" fmla="*/ 295687 w 1614899"/>
                      <a:gd name="connsiteY507" fmla="*/ 178594 h 1619250"/>
                      <a:gd name="connsiteX508" fmla="*/ 293306 w 1614899"/>
                      <a:gd name="connsiteY508" fmla="*/ 185737 h 1619250"/>
                      <a:gd name="connsiteX509" fmla="*/ 295687 w 1614899"/>
                      <a:gd name="connsiteY509" fmla="*/ 200025 h 1619250"/>
                      <a:gd name="connsiteX510" fmla="*/ 302831 w 1614899"/>
                      <a:gd name="connsiteY510" fmla="*/ 216694 h 1619250"/>
                      <a:gd name="connsiteX511" fmla="*/ 307593 w 1614899"/>
                      <a:gd name="connsiteY511" fmla="*/ 223837 h 1619250"/>
                      <a:gd name="connsiteX512" fmla="*/ 314737 w 1614899"/>
                      <a:gd name="connsiteY512" fmla="*/ 228600 h 1619250"/>
                      <a:gd name="connsiteX513" fmla="*/ 326643 w 1614899"/>
                      <a:gd name="connsiteY513" fmla="*/ 226219 h 1619250"/>
                      <a:gd name="connsiteX514" fmla="*/ 321881 w 1614899"/>
                      <a:gd name="connsiteY514" fmla="*/ 200025 h 1619250"/>
                      <a:gd name="connsiteX515" fmla="*/ 314737 w 1614899"/>
                      <a:gd name="connsiteY515" fmla="*/ 197644 h 1619250"/>
                      <a:gd name="connsiteX516" fmla="*/ 324262 w 1614899"/>
                      <a:gd name="connsiteY516" fmla="*/ 180975 h 1619250"/>
                      <a:gd name="connsiteX517" fmla="*/ 329024 w 1614899"/>
                      <a:gd name="connsiteY517" fmla="*/ 173831 h 1619250"/>
                      <a:gd name="connsiteX518" fmla="*/ 343312 w 1614899"/>
                      <a:gd name="connsiteY518" fmla="*/ 159544 h 1619250"/>
                      <a:gd name="connsiteX519" fmla="*/ 348074 w 1614899"/>
                      <a:gd name="connsiteY519" fmla="*/ 145256 h 1619250"/>
                      <a:gd name="connsiteX520" fmla="*/ 350456 w 1614899"/>
                      <a:gd name="connsiteY520" fmla="*/ 114300 h 1619250"/>
                      <a:gd name="connsiteX521" fmla="*/ 357599 w 1614899"/>
                      <a:gd name="connsiteY521" fmla="*/ 111919 h 1619250"/>
                      <a:gd name="connsiteX522" fmla="*/ 364743 w 1614899"/>
                      <a:gd name="connsiteY522" fmla="*/ 114300 h 1619250"/>
                      <a:gd name="connsiteX523" fmla="*/ 371887 w 1614899"/>
                      <a:gd name="connsiteY523" fmla="*/ 114300 h 1619250"/>
                      <a:gd name="connsiteX524" fmla="*/ 381412 w 1614899"/>
                      <a:gd name="connsiteY524" fmla="*/ 138112 h 1619250"/>
                      <a:gd name="connsiteX525" fmla="*/ 395699 w 1614899"/>
                      <a:gd name="connsiteY525" fmla="*/ 150019 h 1619250"/>
                      <a:gd name="connsiteX526" fmla="*/ 409987 w 1614899"/>
                      <a:gd name="connsiteY526" fmla="*/ 147637 h 1619250"/>
                      <a:gd name="connsiteX527" fmla="*/ 412368 w 1614899"/>
                      <a:gd name="connsiteY527" fmla="*/ 133350 h 1619250"/>
                      <a:gd name="connsiteX528" fmla="*/ 426656 w 1614899"/>
                      <a:gd name="connsiteY528" fmla="*/ 128587 h 1619250"/>
                      <a:gd name="connsiteX529" fmla="*/ 433799 w 1614899"/>
                      <a:gd name="connsiteY529" fmla="*/ 142875 h 1619250"/>
                      <a:gd name="connsiteX530" fmla="*/ 448087 w 1614899"/>
                      <a:gd name="connsiteY530" fmla="*/ 161925 h 1619250"/>
                      <a:gd name="connsiteX531" fmla="*/ 464756 w 1614899"/>
                      <a:gd name="connsiteY531" fmla="*/ 159544 h 1619250"/>
                      <a:gd name="connsiteX532" fmla="*/ 452849 w 1614899"/>
                      <a:gd name="connsiteY532" fmla="*/ 138112 h 1619250"/>
                      <a:gd name="connsiteX533" fmla="*/ 450468 w 1614899"/>
                      <a:gd name="connsiteY533" fmla="*/ 111919 h 1619250"/>
                      <a:gd name="connsiteX534" fmla="*/ 443324 w 1614899"/>
                      <a:gd name="connsiteY534" fmla="*/ 107156 h 1619250"/>
                      <a:gd name="connsiteX535" fmla="*/ 440943 w 1614899"/>
                      <a:gd name="connsiteY535" fmla="*/ 100012 h 1619250"/>
                      <a:gd name="connsiteX536" fmla="*/ 450468 w 1614899"/>
                      <a:gd name="connsiteY536" fmla="*/ 88106 h 1619250"/>
                      <a:gd name="connsiteX537" fmla="*/ 476662 w 1614899"/>
                      <a:gd name="connsiteY537" fmla="*/ 90487 h 1619250"/>
                      <a:gd name="connsiteX538" fmla="*/ 486187 w 1614899"/>
                      <a:gd name="connsiteY538" fmla="*/ 92869 h 1619250"/>
                      <a:gd name="connsiteX539" fmla="*/ 493331 w 1614899"/>
                      <a:gd name="connsiteY539" fmla="*/ 97631 h 1619250"/>
                      <a:gd name="connsiteX540" fmla="*/ 502856 w 1614899"/>
                      <a:gd name="connsiteY540" fmla="*/ 95250 h 1619250"/>
                      <a:gd name="connsiteX541" fmla="*/ 509999 w 1614899"/>
                      <a:gd name="connsiteY541" fmla="*/ 90487 h 1619250"/>
                      <a:gd name="connsiteX542" fmla="*/ 507618 w 1614899"/>
                      <a:gd name="connsiteY542" fmla="*/ 83344 h 1619250"/>
                      <a:gd name="connsiteX543" fmla="*/ 500474 w 1614899"/>
                      <a:gd name="connsiteY543" fmla="*/ 80962 h 1619250"/>
                      <a:gd name="connsiteX544" fmla="*/ 493331 w 1614899"/>
                      <a:gd name="connsiteY544" fmla="*/ 76200 h 1619250"/>
                      <a:gd name="connsiteX545" fmla="*/ 495712 w 1614899"/>
                      <a:gd name="connsiteY545"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05262 w 1614899"/>
                      <a:gd name="connsiteY86" fmla="*/ 316706 h 1619250"/>
                      <a:gd name="connsiteX87" fmla="*/ 719549 w 1614899"/>
                      <a:gd name="connsiteY87" fmla="*/ 328612 h 1619250"/>
                      <a:gd name="connsiteX88" fmla="*/ 714787 w 1614899"/>
                      <a:gd name="connsiteY88" fmla="*/ 335756 h 1619250"/>
                      <a:gd name="connsiteX89" fmla="*/ 717168 w 1614899"/>
                      <a:gd name="connsiteY89" fmla="*/ 342900 h 1619250"/>
                      <a:gd name="connsiteX90" fmla="*/ 721931 w 1614899"/>
                      <a:gd name="connsiteY90" fmla="*/ 347662 h 1619250"/>
                      <a:gd name="connsiteX91" fmla="*/ 733837 w 1614899"/>
                      <a:gd name="connsiteY91" fmla="*/ 357187 h 1619250"/>
                      <a:gd name="connsiteX92" fmla="*/ 740981 w 1614899"/>
                      <a:gd name="connsiteY92" fmla="*/ 354806 h 1619250"/>
                      <a:gd name="connsiteX93" fmla="*/ 755268 w 1614899"/>
                      <a:gd name="connsiteY93" fmla="*/ 350044 h 1619250"/>
                      <a:gd name="connsiteX94" fmla="*/ 752887 w 1614899"/>
                      <a:gd name="connsiteY94" fmla="*/ 359569 h 1619250"/>
                      <a:gd name="connsiteX95" fmla="*/ 755268 w 1614899"/>
                      <a:gd name="connsiteY95" fmla="*/ 371475 h 1619250"/>
                      <a:gd name="connsiteX96" fmla="*/ 762412 w 1614899"/>
                      <a:gd name="connsiteY96" fmla="*/ 373856 h 1619250"/>
                      <a:gd name="connsiteX97" fmla="*/ 745743 w 1614899"/>
                      <a:gd name="connsiteY97" fmla="*/ 390525 h 1619250"/>
                      <a:gd name="connsiteX98" fmla="*/ 750506 w 1614899"/>
                      <a:gd name="connsiteY98" fmla="*/ 397669 h 1619250"/>
                      <a:gd name="connsiteX99" fmla="*/ 745743 w 1614899"/>
                      <a:gd name="connsiteY99" fmla="*/ 411956 h 1619250"/>
                      <a:gd name="connsiteX100" fmla="*/ 731456 w 1614899"/>
                      <a:gd name="connsiteY100" fmla="*/ 404812 h 1619250"/>
                      <a:gd name="connsiteX101" fmla="*/ 724312 w 1614899"/>
                      <a:gd name="connsiteY101" fmla="*/ 409575 h 1619250"/>
                      <a:gd name="connsiteX102" fmla="*/ 721931 w 1614899"/>
                      <a:gd name="connsiteY102" fmla="*/ 416719 h 1619250"/>
                      <a:gd name="connsiteX103" fmla="*/ 736218 w 1614899"/>
                      <a:gd name="connsiteY103" fmla="*/ 426244 h 1619250"/>
                      <a:gd name="connsiteX104" fmla="*/ 731456 w 1614899"/>
                      <a:gd name="connsiteY104" fmla="*/ 442912 h 1619250"/>
                      <a:gd name="connsiteX105" fmla="*/ 729074 w 1614899"/>
                      <a:gd name="connsiteY105" fmla="*/ 450056 h 1619250"/>
                      <a:gd name="connsiteX106" fmla="*/ 731456 w 1614899"/>
                      <a:gd name="connsiteY106" fmla="*/ 481012 h 1619250"/>
                      <a:gd name="connsiteX107" fmla="*/ 736218 w 1614899"/>
                      <a:gd name="connsiteY107" fmla="*/ 488156 h 1619250"/>
                      <a:gd name="connsiteX108" fmla="*/ 743362 w 1614899"/>
                      <a:gd name="connsiteY108" fmla="*/ 509587 h 1619250"/>
                      <a:gd name="connsiteX109" fmla="*/ 745743 w 1614899"/>
                      <a:gd name="connsiteY109" fmla="*/ 516731 h 1619250"/>
                      <a:gd name="connsiteX110" fmla="*/ 760031 w 1614899"/>
                      <a:gd name="connsiteY110" fmla="*/ 526256 h 1619250"/>
                      <a:gd name="connsiteX111" fmla="*/ 764793 w 1614899"/>
                      <a:gd name="connsiteY111" fmla="*/ 533400 h 1619250"/>
                      <a:gd name="connsiteX112" fmla="*/ 769556 w 1614899"/>
                      <a:gd name="connsiteY112" fmla="*/ 547687 h 1619250"/>
                      <a:gd name="connsiteX113" fmla="*/ 748124 w 1614899"/>
                      <a:gd name="connsiteY113" fmla="*/ 552450 h 1619250"/>
                      <a:gd name="connsiteX114" fmla="*/ 762412 w 1614899"/>
                      <a:gd name="connsiteY114" fmla="*/ 540544 h 1619250"/>
                      <a:gd name="connsiteX115" fmla="*/ 769556 w 1614899"/>
                      <a:gd name="connsiteY115" fmla="*/ 542925 h 1619250"/>
                      <a:gd name="connsiteX116" fmla="*/ 776699 w 1614899"/>
                      <a:gd name="connsiteY116" fmla="*/ 550069 h 1619250"/>
                      <a:gd name="connsiteX117" fmla="*/ 793368 w 1614899"/>
                      <a:gd name="connsiteY117" fmla="*/ 552450 h 1619250"/>
                      <a:gd name="connsiteX118" fmla="*/ 807656 w 1614899"/>
                      <a:gd name="connsiteY118" fmla="*/ 557212 h 1619250"/>
                      <a:gd name="connsiteX119" fmla="*/ 814799 w 1614899"/>
                      <a:gd name="connsiteY119" fmla="*/ 559594 h 1619250"/>
                      <a:gd name="connsiteX120" fmla="*/ 821943 w 1614899"/>
                      <a:gd name="connsiteY120" fmla="*/ 566737 h 1619250"/>
                      <a:gd name="connsiteX121" fmla="*/ 829087 w 1614899"/>
                      <a:gd name="connsiteY121" fmla="*/ 569119 h 1619250"/>
                      <a:gd name="connsiteX122" fmla="*/ 836231 w 1614899"/>
                      <a:gd name="connsiteY122" fmla="*/ 573881 h 1619250"/>
                      <a:gd name="connsiteX123" fmla="*/ 843374 w 1614899"/>
                      <a:gd name="connsiteY123" fmla="*/ 588169 h 1619250"/>
                      <a:gd name="connsiteX124" fmla="*/ 852899 w 1614899"/>
                      <a:gd name="connsiteY124" fmla="*/ 597694 h 1619250"/>
                      <a:gd name="connsiteX125" fmla="*/ 902906 w 1614899"/>
                      <a:gd name="connsiteY125" fmla="*/ 604837 h 1619250"/>
                      <a:gd name="connsiteX126" fmla="*/ 914812 w 1614899"/>
                      <a:gd name="connsiteY126" fmla="*/ 626269 h 1619250"/>
                      <a:gd name="connsiteX127" fmla="*/ 919574 w 1614899"/>
                      <a:gd name="connsiteY127" fmla="*/ 633412 h 1619250"/>
                      <a:gd name="connsiteX128" fmla="*/ 919574 w 1614899"/>
                      <a:gd name="connsiteY128" fmla="*/ 671512 h 1619250"/>
                      <a:gd name="connsiteX129" fmla="*/ 926718 w 1614899"/>
                      <a:gd name="connsiteY129" fmla="*/ 676275 h 1619250"/>
                      <a:gd name="connsiteX130" fmla="*/ 933862 w 1614899"/>
                      <a:gd name="connsiteY130" fmla="*/ 690562 h 1619250"/>
                      <a:gd name="connsiteX131" fmla="*/ 936243 w 1614899"/>
                      <a:gd name="connsiteY131" fmla="*/ 702469 h 1619250"/>
                      <a:gd name="connsiteX132" fmla="*/ 943387 w 1614899"/>
                      <a:gd name="connsiteY132" fmla="*/ 709612 h 1619250"/>
                      <a:gd name="connsiteX133" fmla="*/ 945768 w 1614899"/>
                      <a:gd name="connsiteY133" fmla="*/ 723900 h 1619250"/>
                      <a:gd name="connsiteX134" fmla="*/ 955293 w 1614899"/>
                      <a:gd name="connsiteY134" fmla="*/ 738187 h 1619250"/>
                      <a:gd name="connsiteX135" fmla="*/ 964818 w 1614899"/>
                      <a:gd name="connsiteY135" fmla="*/ 752475 h 1619250"/>
                      <a:gd name="connsiteX136" fmla="*/ 967199 w 1614899"/>
                      <a:gd name="connsiteY136" fmla="*/ 759619 h 1619250"/>
                      <a:gd name="connsiteX137" fmla="*/ 974343 w 1614899"/>
                      <a:gd name="connsiteY137" fmla="*/ 769144 h 1619250"/>
                      <a:gd name="connsiteX138" fmla="*/ 979106 w 1614899"/>
                      <a:gd name="connsiteY138" fmla="*/ 783431 h 1619250"/>
                      <a:gd name="connsiteX139" fmla="*/ 981487 w 1614899"/>
                      <a:gd name="connsiteY139" fmla="*/ 790575 h 1619250"/>
                      <a:gd name="connsiteX140" fmla="*/ 991012 w 1614899"/>
                      <a:gd name="connsiteY140" fmla="*/ 804862 h 1619250"/>
                      <a:gd name="connsiteX141" fmla="*/ 998156 w 1614899"/>
                      <a:gd name="connsiteY141" fmla="*/ 819150 h 1619250"/>
                      <a:gd name="connsiteX142" fmla="*/ 1000537 w 1614899"/>
                      <a:gd name="connsiteY142" fmla="*/ 826294 h 1619250"/>
                      <a:gd name="connsiteX143" fmla="*/ 1007681 w 1614899"/>
                      <a:gd name="connsiteY143" fmla="*/ 828675 h 1619250"/>
                      <a:gd name="connsiteX144" fmla="*/ 1014824 w 1614899"/>
                      <a:gd name="connsiteY144" fmla="*/ 833437 h 1619250"/>
                      <a:gd name="connsiteX145" fmla="*/ 1029112 w 1614899"/>
                      <a:gd name="connsiteY145" fmla="*/ 838200 h 1619250"/>
                      <a:gd name="connsiteX146" fmla="*/ 1033874 w 1614899"/>
                      <a:gd name="connsiteY146" fmla="*/ 845344 h 1619250"/>
                      <a:gd name="connsiteX147" fmla="*/ 1048162 w 1614899"/>
                      <a:gd name="connsiteY147" fmla="*/ 857250 h 1619250"/>
                      <a:gd name="connsiteX148" fmla="*/ 1062449 w 1614899"/>
                      <a:gd name="connsiteY148" fmla="*/ 862012 h 1619250"/>
                      <a:gd name="connsiteX149" fmla="*/ 1079118 w 1614899"/>
                      <a:gd name="connsiteY149" fmla="*/ 883444 h 1619250"/>
                      <a:gd name="connsiteX150" fmla="*/ 1081499 w 1614899"/>
                      <a:gd name="connsiteY150" fmla="*/ 890587 h 1619250"/>
                      <a:gd name="connsiteX151" fmla="*/ 1095787 w 1614899"/>
                      <a:gd name="connsiteY151" fmla="*/ 883444 h 1619250"/>
                      <a:gd name="connsiteX152" fmla="*/ 1110074 w 1614899"/>
                      <a:gd name="connsiteY152" fmla="*/ 890587 h 1619250"/>
                      <a:gd name="connsiteX153" fmla="*/ 1121981 w 1614899"/>
                      <a:gd name="connsiteY153" fmla="*/ 902494 h 1619250"/>
                      <a:gd name="connsiteX154" fmla="*/ 1136268 w 1614899"/>
                      <a:gd name="connsiteY154" fmla="*/ 907256 h 1619250"/>
                      <a:gd name="connsiteX155" fmla="*/ 1176749 w 1614899"/>
                      <a:gd name="connsiteY155" fmla="*/ 904875 h 1619250"/>
                      <a:gd name="connsiteX156" fmla="*/ 1195799 w 1614899"/>
                      <a:gd name="connsiteY156" fmla="*/ 904875 h 1619250"/>
                      <a:gd name="connsiteX157" fmla="*/ 1207706 w 1614899"/>
                      <a:gd name="connsiteY157" fmla="*/ 912019 h 1619250"/>
                      <a:gd name="connsiteX158" fmla="*/ 1210087 w 1614899"/>
                      <a:gd name="connsiteY158" fmla="*/ 902494 h 1619250"/>
                      <a:gd name="connsiteX159" fmla="*/ 1219612 w 1614899"/>
                      <a:gd name="connsiteY159" fmla="*/ 900112 h 1619250"/>
                      <a:gd name="connsiteX160" fmla="*/ 1226756 w 1614899"/>
                      <a:gd name="connsiteY160" fmla="*/ 895350 h 1619250"/>
                      <a:gd name="connsiteX161" fmla="*/ 1241043 w 1614899"/>
                      <a:gd name="connsiteY161" fmla="*/ 890587 h 1619250"/>
                      <a:gd name="connsiteX162" fmla="*/ 1255331 w 1614899"/>
                      <a:gd name="connsiteY162" fmla="*/ 892969 h 1619250"/>
                      <a:gd name="connsiteX163" fmla="*/ 1260093 w 1614899"/>
                      <a:gd name="connsiteY163" fmla="*/ 900112 h 1619250"/>
                      <a:gd name="connsiteX164" fmla="*/ 1267237 w 1614899"/>
                      <a:gd name="connsiteY164" fmla="*/ 904875 h 1619250"/>
                      <a:gd name="connsiteX165" fmla="*/ 1271999 w 1614899"/>
                      <a:gd name="connsiteY165" fmla="*/ 919162 h 1619250"/>
                      <a:gd name="connsiteX166" fmla="*/ 1269618 w 1614899"/>
                      <a:gd name="connsiteY166" fmla="*/ 928687 h 1619250"/>
                      <a:gd name="connsiteX167" fmla="*/ 1262474 w 1614899"/>
                      <a:gd name="connsiteY167" fmla="*/ 933450 h 1619250"/>
                      <a:gd name="connsiteX168" fmla="*/ 1255331 w 1614899"/>
                      <a:gd name="connsiteY168" fmla="*/ 940594 h 1619250"/>
                      <a:gd name="connsiteX169" fmla="*/ 1248187 w 1614899"/>
                      <a:gd name="connsiteY169" fmla="*/ 942975 h 1619250"/>
                      <a:gd name="connsiteX170" fmla="*/ 1241043 w 1614899"/>
                      <a:gd name="connsiteY170" fmla="*/ 947737 h 1619250"/>
                      <a:gd name="connsiteX171" fmla="*/ 1226756 w 1614899"/>
                      <a:gd name="connsiteY171" fmla="*/ 954881 h 1619250"/>
                      <a:gd name="connsiteX172" fmla="*/ 1236281 w 1614899"/>
                      <a:gd name="connsiteY172" fmla="*/ 969169 h 1619250"/>
                      <a:gd name="connsiteX173" fmla="*/ 1241043 w 1614899"/>
                      <a:gd name="connsiteY173" fmla="*/ 983456 h 1619250"/>
                      <a:gd name="connsiteX174" fmla="*/ 1250568 w 1614899"/>
                      <a:gd name="connsiteY174" fmla="*/ 997744 h 1619250"/>
                      <a:gd name="connsiteX175" fmla="*/ 1255331 w 1614899"/>
                      <a:gd name="connsiteY175" fmla="*/ 1004887 h 1619250"/>
                      <a:gd name="connsiteX176" fmla="*/ 1262474 w 1614899"/>
                      <a:gd name="connsiteY176" fmla="*/ 997744 h 1619250"/>
                      <a:gd name="connsiteX177" fmla="*/ 1264856 w 1614899"/>
                      <a:gd name="connsiteY177" fmla="*/ 990600 h 1619250"/>
                      <a:gd name="connsiteX178" fmla="*/ 1283906 w 1614899"/>
                      <a:gd name="connsiteY178" fmla="*/ 995362 h 1619250"/>
                      <a:gd name="connsiteX179" fmla="*/ 1291049 w 1614899"/>
                      <a:gd name="connsiteY179" fmla="*/ 1000125 h 1619250"/>
                      <a:gd name="connsiteX180" fmla="*/ 1298193 w 1614899"/>
                      <a:gd name="connsiteY180" fmla="*/ 1002506 h 1619250"/>
                      <a:gd name="connsiteX181" fmla="*/ 1322006 w 1614899"/>
                      <a:gd name="connsiteY181" fmla="*/ 1007269 h 1619250"/>
                      <a:gd name="connsiteX182" fmla="*/ 1336293 w 1614899"/>
                      <a:gd name="connsiteY182" fmla="*/ 1012031 h 1619250"/>
                      <a:gd name="connsiteX183" fmla="*/ 1355343 w 1614899"/>
                      <a:gd name="connsiteY183" fmla="*/ 1016794 h 1619250"/>
                      <a:gd name="connsiteX184" fmla="*/ 1362487 w 1614899"/>
                      <a:gd name="connsiteY184" fmla="*/ 1023937 h 1619250"/>
                      <a:gd name="connsiteX185" fmla="*/ 1376774 w 1614899"/>
                      <a:gd name="connsiteY185" fmla="*/ 1028700 h 1619250"/>
                      <a:gd name="connsiteX186" fmla="*/ 1391062 w 1614899"/>
                      <a:gd name="connsiteY186" fmla="*/ 1033462 h 1619250"/>
                      <a:gd name="connsiteX187" fmla="*/ 1398206 w 1614899"/>
                      <a:gd name="connsiteY187" fmla="*/ 1035844 h 1619250"/>
                      <a:gd name="connsiteX188" fmla="*/ 1405349 w 1614899"/>
                      <a:gd name="connsiteY188" fmla="*/ 1038225 h 1619250"/>
                      <a:gd name="connsiteX189" fmla="*/ 1412493 w 1614899"/>
                      <a:gd name="connsiteY189" fmla="*/ 1042987 h 1619250"/>
                      <a:gd name="connsiteX190" fmla="*/ 1426781 w 1614899"/>
                      <a:gd name="connsiteY190" fmla="*/ 1050131 h 1619250"/>
                      <a:gd name="connsiteX191" fmla="*/ 1436306 w 1614899"/>
                      <a:gd name="connsiteY191" fmla="*/ 1062037 h 1619250"/>
                      <a:gd name="connsiteX192" fmla="*/ 1441068 w 1614899"/>
                      <a:gd name="connsiteY192" fmla="*/ 1069181 h 1619250"/>
                      <a:gd name="connsiteX193" fmla="*/ 1450593 w 1614899"/>
                      <a:gd name="connsiteY193" fmla="*/ 1071562 h 1619250"/>
                      <a:gd name="connsiteX194" fmla="*/ 1464881 w 1614899"/>
                      <a:gd name="connsiteY194" fmla="*/ 1076325 h 1619250"/>
                      <a:gd name="connsiteX195" fmla="*/ 1467262 w 1614899"/>
                      <a:gd name="connsiteY195" fmla="*/ 1083469 h 1619250"/>
                      <a:gd name="connsiteX196" fmla="*/ 1488693 w 1614899"/>
                      <a:gd name="connsiteY196" fmla="*/ 1092994 h 1619250"/>
                      <a:gd name="connsiteX197" fmla="*/ 1500599 w 1614899"/>
                      <a:gd name="connsiteY197" fmla="*/ 1095375 h 1619250"/>
                      <a:gd name="connsiteX198" fmla="*/ 1514887 w 1614899"/>
                      <a:gd name="connsiteY198" fmla="*/ 1097756 h 1619250"/>
                      <a:gd name="connsiteX199" fmla="*/ 1522031 w 1614899"/>
                      <a:gd name="connsiteY199" fmla="*/ 1100137 h 1619250"/>
                      <a:gd name="connsiteX200" fmla="*/ 1541081 w 1614899"/>
                      <a:gd name="connsiteY200" fmla="*/ 1104900 h 1619250"/>
                      <a:gd name="connsiteX201" fmla="*/ 1545843 w 1614899"/>
                      <a:gd name="connsiteY201" fmla="*/ 1112044 h 1619250"/>
                      <a:gd name="connsiteX202" fmla="*/ 1543462 w 1614899"/>
                      <a:gd name="connsiteY202" fmla="*/ 1119187 h 1619250"/>
                      <a:gd name="connsiteX203" fmla="*/ 1557749 w 1614899"/>
                      <a:gd name="connsiteY203" fmla="*/ 1128712 h 1619250"/>
                      <a:gd name="connsiteX204" fmla="*/ 1564893 w 1614899"/>
                      <a:gd name="connsiteY204" fmla="*/ 1133475 h 1619250"/>
                      <a:gd name="connsiteX205" fmla="*/ 1579181 w 1614899"/>
                      <a:gd name="connsiteY205" fmla="*/ 1147762 h 1619250"/>
                      <a:gd name="connsiteX206" fmla="*/ 1593468 w 1614899"/>
                      <a:gd name="connsiteY206" fmla="*/ 1152525 h 1619250"/>
                      <a:gd name="connsiteX207" fmla="*/ 1600612 w 1614899"/>
                      <a:gd name="connsiteY207" fmla="*/ 1154906 h 1619250"/>
                      <a:gd name="connsiteX208" fmla="*/ 1607756 w 1614899"/>
                      <a:gd name="connsiteY208" fmla="*/ 1162050 h 1619250"/>
                      <a:gd name="connsiteX209" fmla="*/ 1610137 w 1614899"/>
                      <a:gd name="connsiteY209" fmla="*/ 1169194 h 1619250"/>
                      <a:gd name="connsiteX210" fmla="*/ 1614899 w 1614899"/>
                      <a:gd name="connsiteY210" fmla="*/ 1176337 h 1619250"/>
                      <a:gd name="connsiteX211" fmla="*/ 1612518 w 1614899"/>
                      <a:gd name="connsiteY211" fmla="*/ 1195387 h 1619250"/>
                      <a:gd name="connsiteX212" fmla="*/ 1610137 w 1614899"/>
                      <a:gd name="connsiteY212" fmla="*/ 1202531 h 1619250"/>
                      <a:gd name="connsiteX213" fmla="*/ 1602993 w 1614899"/>
                      <a:gd name="connsiteY213" fmla="*/ 1204912 h 1619250"/>
                      <a:gd name="connsiteX214" fmla="*/ 1600612 w 1614899"/>
                      <a:gd name="connsiteY214" fmla="*/ 1212056 h 1619250"/>
                      <a:gd name="connsiteX215" fmla="*/ 1598231 w 1614899"/>
                      <a:gd name="connsiteY215" fmla="*/ 1247775 h 1619250"/>
                      <a:gd name="connsiteX216" fmla="*/ 1579181 w 1614899"/>
                      <a:gd name="connsiteY216" fmla="*/ 1245394 h 1619250"/>
                      <a:gd name="connsiteX217" fmla="*/ 1550606 w 1614899"/>
                      <a:gd name="connsiteY217" fmla="*/ 1231106 h 1619250"/>
                      <a:gd name="connsiteX218" fmla="*/ 1543462 w 1614899"/>
                      <a:gd name="connsiteY218" fmla="*/ 1226344 h 1619250"/>
                      <a:gd name="connsiteX219" fmla="*/ 1543462 w 1614899"/>
                      <a:gd name="connsiteY219" fmla="*/ 1197769 h 1619250"/>
                      <a:gd name="connsiteX220" fmla="*/ 1545843 w 1614899"/>
                      <a:gd name="connsiteY220" fmla="*/ 1183481 h 1619250"/>
                      <a:gd name="connsiteX221" fmla="*/ 1531556 w 1614899"/>
                      <a:gd name="connsiteY221" fmla="*/ 1176337 h 1619250"/>
                      <a:gd name="connsiteX222" fmla="*/ 1529174 w 1614899"/>
                      <a:gd name="connsiteY222" fmla="*/ 1169194 h 1619250"/>
                      <a:gd name="connsiteX223" fmla="*/ 1531556 w 1614899"/>
                      <a:gd name="connsiteY223" fmla="*/ 1152525 h 1619250"/>
                      <a:gd name="connsiteX224" fmla="*/ 1524412 w 1614899"/>
                      <a:gd name="connsiteY224" fmla="*/ 1154906 h 1619250"/>
                      <a:gd name="connsiteX225" fmla="*/ 1517268 w 1614899"/>
                      <a:gd name="connsiteY225" fmla="*/ 1159669 h 1619250"/>
                      <a:gd name="connsiteX226" fmla="*/ 1502981 w 1614899"/>
                      <a:gd name="connsiteY226" fmla="*/ 1164431 h 1619250"/>
                      <a:gd name="connsiteX227" fmla="*/ 1481549 w 1614899"/>
                      <a:gd name="connsiteY227" fmla="*/ 1169194 h 1619250"/>
                      <a:gd name="connsiteX228" fmla="*/ 1457737 w 1614899"/>
                      <a:gd name="connsiteY228" fmla="*/ 1164431 h 1619250"/>
                      <a:gd name="connsiteX229" fmla="*/ 1443449 w 1614899"/>
                      <a:gd name="connsiteY229" fmla="*/ 1154906 h 1619250"/>
                      <a:gd name="connsiteX230" fmla="*/ 1436306 w 1614899"/>
                      <a:gd name="connsiteY230" fmla="*/ 1150144 h 1619250"/>
                      <a:gd name="connsiteX231" fmla="*/ 1426781 w 1614899"/>
                      <a:gd name="connsiteY231" fmla="*/ 1140619 h 1619250"/>
                      <a:gd name="connsiteX232" fmla="*/ 1402968 w 1614899"/>
                      <a:gd name="connsiteY232" fmla="*/ 1138237 h 1619250"/>
                      <a:gd name="connsiteX233" fmla="*/ 1395824 w 1614899"/>
                      <a:gd name="connsiteY233" fmla="*/ 1145381 h 1619250"/>
                      <a:gd name="connsiteX234" fmla="*/ 1374393 w 1614899"/>
                      <a:gd name="connsiteY234" fmla="*/ 1162050 h 1619250"/>
                      <a:gd name="connsiteX235" fmla="*/ 1367249 w 1614899"/>
                      <a:gd name="connsiteY235" fmla="*/ 1188244 h 1619250"/>
                      <a:gd name="connsiteX236" fmla="*/ 1357724 w 1614899"/>
                      <a:gd name="connsiteY236" fmla="*/ 1202531 h 1619250"/>
                      <a:gd name="connsiteX237" fmla="*/ 1348199 w 1614899"/>
                      <a:gd name="connsiteY237" fmla="*/ 1212056 h 1619250"/>
                      <a:gd name="connsiteX238" fmla="*/ 1345818 w 1614899"/>
                      <a:gd name="connsiteY238" fmla="*/ 1219200 h 1619250"/>
                      <a:gd name="connsiteX239" fmla="*/ 1341056 w 1614899"/>
                      <a:gd name="connsiteY239" fmla="*/ 1228725 h 1619250"/>
                      <a:gd name="connsiteX240" fmla="*/ 1350581 w 1614899"/>
                      <a:gd name="connsiteY240" fmla="*/ 1243012 h 1619250"/>
                      <a:gd name="connsiteX241" fmla="*/ 1343437 w 1614899"/>
                      <a:gd name="connsiteY241" fmla="*/ 1266825 h 1619250"/>
                      <a:gd name="connsiteX242" fmla="*/ 1345818 w 1614899"/>
                      <a:gd name="connsiteY242" fmla="*/ 1281112 h 1619250"/>
                      <a:gd name="connsiteX243" fmla="*/ 1348199 w 1614899"/>
                      <a:gd name="connsiteY243" fmla="*/ 1290637 h 1619250"/>
                      <a:gd name="connsiteX244" fmla="*/ 1355343 w 1614899"/>
                      <a:gd name="connsiteY244" fmla="*/ 1297781 h 1619250"/>
                      <a:gd name="connsiteX245" fmla="*/ 1362487 w 1614899"/>
                      <a:gd name="connsiteY245" fmla="*/ 1300162 h 1619250"/>
                      <a:gd name="connsiteX246" fmla="*/ 1386299 w 1614899"/>
                      <a:gd name="connsiteY246" fmla="*/ 1302544 h 1619250"/>
                      <a:gd name="connsiteX247" fmla="*/ 1395824 w 1614899"/>
                      <a:gd name="connsiteY247" fmla="*/ 1309687 h 1619250"/>
                      <a:gd name="connsiteX248" fmla="*/ 1410112 w 1614899"/>
                      <a:gd name="connsiteY248" fmla="*/ 1314450 h 1619250"/>
                      <a:gd name="connsiteX249" fmla="*/ 1417256 w 1614899"/>
                      <a:gd name="connsiteY249" fmla="*/ 1319212 h 1619250"/>
                      <a:gd name="connsiteX250" fmla="*/ 1431543 w 1614899"/>
                      <a:gd name="connsiteY250" fmla="*/ 1326356 h 1619250"/>
                      <a:gd name="connsiteX251" fmla="*/ 1433924 w 1614899"/>
                      <a:gd name="connsiteY251" fmla="*/ 1333500 h 1619250"/>
                      <a:gd name="connsiteX252" fmla="*/ 1429162 w 1614899"/>
                      <a:gd name="connsiteY252" fmla="*/ 1340644 h 1619250"/>
                      <a:gd name="connsiteX253" fmla="*/ 1426781 w 1614899"/>
                      <a:gd name="connsiteY253" fmla="*/ 1347787 h 1619250"/>
                      <a:gd name="connsiteX254" fmla="*/ 1431543 w 1614899"/>
                      <a:gd name="connsiteY254" fmla="*/ 1354931 h 1619250"/>
                      <a:gd name="connsiteX255" fmla="*/ 1436306 w 1614899"/>
                      <a:gd name="connsiteY255" fmla="*/ 1364456 h 1619250"/>
                      <a:gd name="connsiteX256" fmla="*/ 1443449 w 1614899"/>
                      <a:gd name="connsiteY256" fmla="*/ 1395412 h 1619250"/>
                      <a:gd name="connsiteX257" fmla="*/ 1450593 w 1614899"/>
                      <a:gd name="connsiteY257" fmla="*/ 1402556 h 1619250"/>
                      <a:gd name="connsiteX258" fmla="*/ 1448212 w 1614899"/>
                      <a:gd name="connsiteY258" fmla="*/ 1412081 h 1619250"/>
                      <a:gd name="connsiteX259" fmla="*/ 1433924 w 1614899"/>
                      <a:gd name="connsiteY259" fmla="*/ 1416844 h 1619250"/>
                      <a:gd name="connsiteX260" fmla="*/ 1419637 w 1614899"/>
                      <a:gd name="connsiteY260" fmla="*/ 1423987 h 1619250"/>
                      <a:gd name="connsiteX261" fmla="*/ 1405349 w 1614899"/>
                      <a:gd name="connsiteY261" fmla="*/ 1431131 h 1619250"/>
                      <a:gd name="connsiteX262" fmla="*/ 1398206 w 1614899"/>
                      <a:gd name="connsiteY262" fmla="*/ 1435894 h 1619250"/>
                      <a:gd name="connsiteX263" fmla="*/ 1383918 w 1614899"/>
                      <a:gd name="connsiteY263" fmla="*/ 1440656 h 1619250"/>
                      <a:gd name="connsiteX264" fmla="*/ 1376774 w 1614899"/>
                      <a:gd name="connsiteY264" fmla="*/ 1443037 h 1619250"/>
                      <a:gd name="connsiteX265" fmla="*/ 1364868 w 1614899"/>
                      <a:gd name="connsiteY265" fmla="*/ 1464469 h 1619250"/>
                      <a:gd name="connsiteX266" fmla="*/ 1362487 w 1614899"/>
                      <a:gd name="connsiteY266" fmla="*/ 1473994 h 1619250"/>
                      <a:gd name="connsiteX267" fmla="*/ 1364868 w 1614899"/>
                      <a:gd name="connsiteY267" fmla="*/ 1497806 h 1619250"/>
                      <a:gd name="connsiteX268" fmla="*/ 1372012 w 1614899"/>
                      <a:gd name="connsiteY268" fmla="*/ 1500187 h 1619250"/>
                      <a:gd name="connsiteX269" fmla="*/ 1369631 w 1614899"/>
                      <a:gd name="connsiteY269" fmla="*/ 1516856 h 1619250"/>
                      <a:gd name="connsiteX270" fmla="*/ 1367249 w 1614899"/>
                      <a:gd name="connsiteY270" fmla="*/ 1524000 h 1619250"/>
                      <a:gd name="connsiteX271" fmla="*/ 1360106 w 1614899"/>
                      <a:gd name="connsiteY271" fmla="*/ 1526381 h 1619250"/>
                      <a:gd name="connsiteX272" fmla="*/ 1352962 w 1614899"/>
                      <a:gd name="connsiteY272" fmla="*/ 1531144 h 1619250"/>
                      <a:gd name="connsiteX273" fmla="*/ 1343437 w 1614899"/>
                      <a:gd name="connsiteY273" fmla="*/ 1535906 h 1619250"/>
                      <a:gd name="connsiteX274" fmla="*/ 1329149 w 1614899"/>
                      <a:gd name="connsiteY274" fmla="*/ 1550194 h 1619250"/>
                      <a:gd name="connsiteX275" fmla="*/ 1326768 w 1614899"/>
                      <a:gd name="connsiteY275" fmla="*/ 1559719 h 1619250"/>
                      <a:gd name="connsiteX276" fmla="*/ 1322006 w 1614899"/>
                      <a:gd name="connsiteY276" fmla="*/ 1566862 h 1619250"/>
                      <a:gd name="connsiteX277" fmla="*/ 1319624 w 1614899"/>
                      <a:gd name="connsiteY277" fmla="*/ 1578769 h 1619250"/>
                      <a:gd name="connsiteX278" fmla="*/ 1317243 w 1614899"/>
                      <a:gd name="connsiteY278" fmla="*/ 1585912 h 1619250"/>
                      <a:gd name="connsiteX279" fmla="*/ 1314862 w 1614899"/>
                      <a:gd name="connsiteY279" fmla="*/ 1602581 h 1619250"/>
                      <a:gd name="connsiteX280" fmla="*/ 1283906 w 1614899"/>
                      <a:gd name="connsiteY280" fmla="*/ 1614487 h 1619250"/>
                      <a:gd name="connsiteX281" fmla="*/ 1274381 w 1614899"/>
                      <a:gd name="connsiteY281" fmla="*/ 1616869 h 1619250"/>
                      <a:gd name="connsiteX282" fmla="*/ 1260093 w 1614899"/>
                      <a:gd name="connsiteY282" fmla="*/ 1619250 h 1619250"/>
                      <a:gd name="connsiteX283" fmla="*/ 1248187 w 1614899"/>
                      <a:gd name="connsiteY283" fmla="*/ 1616869 h 1619250"/>
                      <a:gd name="connsiteX284" fmla="*/ 1243424 w 1614899"/>
                      <a:gd name="connsiteY284" fmla="*/ 1597819 h 1619250"/>
                      <a:gd name="connsiteX285" fmla="*/ 1238662 w 1614899"/>
                      <a:gd name="connsiteY285" fmla="*/ 1581150 h 1619250"/>
                      <a:gd name="connsiteX286" fmla="*/ 1243424 w 1614899"/>
                      <a:gd name="connsiteY286" fmla="*/ 1566862 h 1619250"/>
                      <a:gd name="connsiteX287" fmla="*/ 1252949 w 1614899"/>
                      <a:gd name="connsiteY287" fmla="*/ 1552575 h 1619250"/>
                      <a:gd name="connsiteX288" fmla="*/ 1260093 w 1614899"/>
                      <a:gd name="connsiteY288" fmla="*/ 1550194 h 1619250"/>
                      <a:gd name="connsiteX289" fmla="*/ 1267237 w 1614899"/>
                      <a:gd name="connsiteY289" fmla="*/ 1543050 h 1619250"/>
                      <a:gd name="connsiteX290" fmla="*/ 1269618 w 1614899"/>
                      <a:gd name="connsiteY290" fmla="*/ 1535906 h 1619250"/>
                      <a:gd name="connsiteX291" fmla="*/ 1274381 w 1614899"/>
                      <a:gd name="connsiteY291" fmla="*/ 1526381 h 1619250"/>
                      <a:gd name="connsiteX292" fmla="*/ 1267237 w 1614899"/>
                      <a:gd name="connsiteY292" fmla="*/ 1502569 h 1619250"/>
                      <a:gd name="connsiteX293" fmla="*/ 1252949 w 1614899"/>
                      <a:gd name="connsiteY293" fmla="*/ 1493044 h 1619250"/>
                      <a:gd name="connsiteX294" fmla="*/ 1262474 w 1614899"/>
                      <a:gd name="connsiteY294" fmla="*/ 1478756 h 1619250"/>
                      <a:gd name="connsiteX295" fmla="*/ 1279143 w 1614899"/>
                      <a:gd name="connsiteY295" fmla="*/ 1462087 h 1619250"/>
                      <a:gd name="connsiteX296" fmla="*/ 1302956 w 1614899"/>
                      <a:gd name="connsiteY296" fmla="*/ 1459706 h 1619250"/>
                      <a:gd name="connsiteX297" fmla="*/ 1305337 w 1614899"/>
                      <a:gd name="connsiteY297" fmla="*/ 1450181 h 1619250"/>
                      <a:gd name="connsiteX298" fmla="*/ 1310099 w 1614899"/>
                      <a:gd name="connsiteY298" fmla="*/ 1443037 h 1619250"/>
                      <a:gd name="connsiteX299" fmla="*/ 1312481 w 1614899"/>
                      <a:gd name="connsiteY299" fmla="*/ 1435894 h 1619250"/>
                      <a:gd name="connsiteX300" fmla="*/ 1305337 w 1614899"/>
                      <a:gd name="connsiteY300" fmla="*/ 1428750 h 1619250"/>
                      <a:gd name="connsiteX301" fmla="*/ 1298193 w 1614899"/>
                      <a:gd name="connsiteY301" fmla="*/ 1423987 h 1619250"/>
                      <a:gd name="connsiteX302" fmla="*/ 1295812 w 1614899"/>
                      <a:gd name="connsiteY302" fmla="*/ 1412081 h 1619250"/>
                      <a:gd name="connsiteX303" fmla="*/ 1293431 w 1614899"/>
                      <a:gd name="connsiteY303" fmla="*/ 1402556 h 1619250"/>
                      <a:gd name="connsiteX304" fmla="*/ 1288668 w 1614899"/>
                      <a:gd name="connsiteY304" fmla="*/ 1369219 h 1619250"/>
                      <a:gd name="connsiteX305" fmla="*/ 1286287 w 1614899"/>
                      <a:gd name="connsiteY305" fmla="*/ 1362075 h 1619250"/>
                      <a:gd name="connsiteX306" fmla="*/ 1276762 w 1614899"/>
                      <a:gd name="connsiteY306" fmla="*/ 1345406 h 1619250"/>
                      <a:gd name="connsiteX307" fmla="*/ 1267237 w 1614899"/>
                      <a:gd name="connsiteY307" fmla="*/ 1343025 h 1619250"/>
                      <a:gd name="connsiteX308" fmla="*/ 1260093 w 1614899"/>
                      <a:gd name="connsiteY308" fmla="*/ 1340644 h 1619250"/>
                      <a:gd name="connsiteX309" fmla="*/ 1252949 w 1614899"/>
                      <a:gd name="connsiteY309" fmla="*/ 1307306 h 1619250"/>
                      <a:gd name="connsiteX310" fmla="*/ 1248187 w 1614899"/>
                      <a:gd name="connsiteY310" fmla="*/ 1293019 h 1619250"/>
                      <a:gd name="connsiteX311" fmla="*/ 1243424 w 1614899"/>
                      <a:gd name="connsiteY311" fmla="*/ 1278731 h 1619250"/>
                      <a:gd name="connsiteX312" fmla="*/ 1241043 w 1614899"/>
                      <a:gd name="connsiteY312" fmla="*/ 1271587 h 1619250"/>
                      <a:gd name="connsiteX313" fmla="*/ 1236281 w 1614899"/>
                      <a:gd name="connsiteY313" fmla="*/ 1262062 h 1619250"/>
                      <a:gd name="connsiteX314" fmla="*/ 1231518 w 1614899"/>
                      <a:gd name="connsiteY314" fmla="*/ 1247775 h 1619250"/>
                      <a:gd name="connsiteX315" fmla="*/ 1224374 w 1614899"/>
                      <a:gd name="connsiteY315" fmla="*/ 1240631 h 1619250"/>
                      <a:gd name="connsiteX316" fmla="*/ 1214849 w 1614899"/>
                      <a:gd name="connsiteY316" fmla="*/ 1226344 h 1619250"/>
                      <a:gd name="connsiteX317" fmla="*/ 1195799 w 1614899"/>
                      <a:gd name="connsiteY317" fmla="*/ 1233487 h 1619250"/>
                      <a:gd name="connsiteX318" fmla="*/ 1198181 w 1614899"/>
                      <a:gd name="connsiteY318" fmla="*/ 1240631 h 1619250"/>
                      <a:gd name="connsiteX319" fmla="*/ 1191037 w 1614899"/>
                      <a:gd name="connsiteY319" fmla="*/ 1243012 h 1619250"/>
                      <a:gd name="connsiteX320" fmla="*/ 1164843 w 1614899"/>
                      <a:gd name="connsiteY320" fmla="*/ 1238250 h 1619250"/>
                      <a:gd name="connsiteX321" fmla="*/ 1155318 w 1614899"/>
                      <a:gd name="connsiteY321" fmla="*/ 1223962 h 1619250"/>
                      <a:gd name="connsiteX322" fmla="*/ 1148174 w 1614899"/>
                      <a:gd name="connsiteY322" fmla="*/ 1216819 h 1619250"/>
                      <a:gd name="connsiteX323" fmla="*/ 1138649 w 1614899"/>
                      <a:gd name="connsiteY323" fmla="*/ 1219200 h 1619250"/>
                      <a:gd name="connsiteX324" fmla="*/ 1131506 w 1614899"/>
                      <a:gd name="connsiteY324" fmla="*/ 1221581 h 1619250"/>
                      <a:gd name="connsiteX325" fmla="*/ 1124362 w 1614899"/>
                      <a:gd name="connsiteY325" fmla="*/ 1219200 h 1619250"/>
                      <a:gd name="connsiteX326" fmla="*/ 1117218 w 1614899"/>
                      <a:gd name="connsiteY326" fmla="*/ 1212056 h 1619250"/>
                      <a:gd name="connsiteX327" fmla="*/ 1117218 w 1614899"/>
                      <a:gd name="connsiteY327" fmla="*/ 1193006 h 1619250"/>
                      <a:gd name="connsiteX328" fmla="*/ 1112456 w 1614899"/>
                      <a:gd name="connsiteY328" fmla="*/ 1154906 h 1619250"/>
                      <a:gd name="connsiteX329" fmla="*/ 1107693 w 1614899"/>
                      <a:gd name="connsiteY329" fmla="*/ 1147762 h 1619250"/>
                      <a:gd name="connsiteX330" fmla="*/ 1100549 w 1614899"/>
                      <a:gd name="connsiteY330" fmla="*/ 1145381 h 1619250"/>
                      <a:gd name="connsiteX331" fmla="*/ 1093406 w 1614899"/>
                      <a:gd name="connsiteY331" fmla="*/ 1147762 h 1619250"/>
                      <a:gd name="connsiteX332" fmla="*/ 1062449 w 1614899"/>
                      <a:gd name="connsiteY332" fmla="*/ 1152525 h 1619250"/>
                      <a:gd name="connsiteX333" fmla="*/ 1045781 w 1614899"/>
                      <a:gd name="connsiteY333" fmla="*/ 1150144 h 1619250"/>
                      <a:gd name="connsiteX334" fmla="*/ 1043399 w 1614899"/>
                      <a:gd name="connsiteY334" fmla="*/ 1143000 h 1619250"/>
                      <a:gd name="connsiteX335" fmla="*/ 1050543 w 1614899"/>
                      <a:gd name="connsiteY335" fmla="*/ 1128712 h 1619250"/>
                      <a:gd name="connsiteX336" fmla="*/ 1041018 w 1614899"/>
                      <a:gd name="connsiteY336" fmla="*/ 1107281 h 1619250"/>
                      <a:gd name="connsiteX337" fmla="*/ 1024349 w 1614899"/>
                      <a:gd name="connsiteY337" fmla="*/ 1109662 h 1619250"/>
                      <a:gd name="connsiteX338" fmla="*/ 1014824 w 1614899"/>
                      <a:gd name="connsiteY338" fmla="*/ 1107281 h 1619250"/>
                      <a:gd name="connsiteX339" fmla="*/ 988631 w 1614899"/>
                      <a:gd name="connsiteY339" fmla="*/ 1109662 h 1619250"/>
                      <a:gd name="connsiteX340" fmla="*/ 986249 w 1614899"/>
                      <a:gd name="connsiteY340" fmla="*/ 1102519 h 1619250"/>
                      <a:gd name="connsiteX341" fmla="*/ 979106 w 1614899"/>
                      <a:gd name="connsiteY341" fmla="*/ 1076325 h 1619250"/>
                      <a:gd name="connsiteX342" fmla="*/ 964818 w 1614899"/>
                      <a:gd name="connsiteY342" fmla="*/ 1064419 h 1619250"/>
                      <a:gd name="connsiteX343" fmla="*/ 950531 w 1614899"/>
                      <a:gd name="connsiteY343" fmla="*/ 1054894 h 1619250"/>
                      <a:gd name="connsiteX344" fmla="*/ 943387 w 1614899"/>
                      <a:gd name="connsiteY344" fmla="*/ 1050131 h 1619250"/>
                      <a:gd name="connsiteX345" fmla="*/ 936243 w 1614899"/>
                      <a:gd name="connsiteY345" fmla="*/ 1045369 h 1619250"/>
                      <a:gd name="connsiteX346" fmla="*/ 931481 w 1614899"/>
                      <a:gd name="connsiteY346" fmla="*/ 1038225 h 1619250"/>
                      <a:gd name="connsiteX347" fmla="*/ 917193 w 1614899"/>
                      <a:gd name="connsiteY347" fmla="*/ 1031081 h 1619250"/>
                      <a:gd name="connsiteX348" fmla="*/ 914812 w 1614899"/>
                      <a:gd name="connsiteY348" fmla="*/ 1040606 h 1619250"/>
                      <a:gd name="connsiteX349" fmla="*/ 907668 w 1614899"/>
                      <a:gd name="connsiteY349" fmla="*/ 1042987 h 1619250"/>
                      <a:gd name="connsiteX350" fmla="*/ 886237 w 1614899"/>
                      <a:gd name="connsiteY350" fmla="*/ 1031081 h 1619250"/>
                      <a:gd name="connsiteX351" fmla="*/ 862424 w 1614899"/>
                      <a:gd name="connsiteY351" fmla="*/ 1035844 h 1619250"/>
                      <a:gd name="connsiteX352" fmla="*/ 845756 w 1614899"/>
                      <a:gd name="connsiteY352" fmla="*/ 1040606 h 1619250"/>
                      <a:gd name="connsiteX353" fmla="*/ 840993 w 1614899"/>
                      <a:gd name="connsiteY353" fmla="*/ 1033462 h 1619250"/>
                      <a:gd name="connsiteX354" fmla="*/ 821943 w 1614899"/>
                      <a:gd name="connsiteY354" fmla="*/ 1004887 h 1619250"/>
                      <a:gd name="connsiteX355" fmla="*/ 814799 w 1614899"/>
                      <a:gd name="connsiteY355" fmla="*/ 1000125 h 1619250"/>
                      <a:gd name="connsiteX356" fmla="*/ 779081 w 1614899"/>
                      <a:gd name="connsiteY356" fmla="*/ 995362 h 1619250"/>
                      <a:gd name="connsiteX357" fmla="*/ 771937 w 1614899"/>
                      <a:gd name="connsiteY357" fmla="*/ 988219 h 1619250"/>
                      <a:gd name="connsiteX358" fmla="*/ 762412 w 1614899"/>
                      <a:gd name="connsiteY358" fmla="*/ 966787 h 1619250"/>
                      <a:gd name="connsiteX359" fmla="*/ 755268 w 1614899"/>
                      <a:gd name="connsiteY359" fmla="*/ 962025 h 1619250"/>
                      <a:gd name="connsiteX360" fmla="*/ 733837 w 1614899"/>
                      <a:gd name="connsiteY360" fmla="*/ 962025 h 1619250"/>
                      <a:gd name="connsiteX361" fmla="*/ 731456 w 1614899"/>
                      <a:gd name="connsiteY361" fmla="*/ 950119 h 1619250"/>
                      <a:gd name="connsiteX362" fmla="*/ 729074 w 1614899"/>
                      <a:gd name="connsiteY362" fmla="*/ 942975 h 1619250"/>
                      <a:gd name="connsiteX363" fmla="*/ 726693 w 1614899"/>
                      <a:gd name="connsiteY363" fmla="*/ 921544 h 1619250"/>
                      <a:gd name="connsiteX364" fmla="*/ 724312 w 1614899"/>
                      <a:gd name="connsiteY364" fmla="*/ 914400 h 1619250"/>
                      <a:gd name="connsiteX365" fmla="*/ 717168 w 1614899"/>
                      <a:gd name="connsiteY365" fmla="*/ 909637 h 1619250"/>
                      <a:gd name="connsiteX366" fmla="*/ 710024 w 1614899"/>
                      <a:gd name="connsiteY366" fmla="*/ 907256 h 1619250"/>
                      <a:gd name="connsiteX367" fmla="*/ 681449 w 1614899"/>
                      <a:gd name="connsiteY367" fmla="*/ 902494 h 1619250"/>
                      <a:gd name="connsiteX368" fmla="*/ 674306 w 1614899"/>
                      <a:gd name="connsiteY368" fmla="*/ 897731 h 1619250"/>
                      <a:gd name="connsiteX369" fmla="*/ 667162 w 1614899"/>
                      <a:gd name="connsiteY369" fmla="*/ 883444 h 1619250"/>
                      <a:gd name="connsiteX370" fmla="*/ 657637 w 1614899"/>
                      <a:gd name="connsiteY370" fmla="*/ 881062 h 1619250"/>
                      <a:gd name="connsiteX371" fmla="*/ 650493 w 1614899"/>
                      <a:gd name="connsiteY371" fmla="*/ 873919 h 1619250"/>
                      <a:gd name="connsiteX372" fmla="*/ 648112 w 1614899"/>
                      <a:gd name="connsiteY372" fmla="*/ 866775 h 1619250"/>
                      <a:gd name="connsiteX373" fmla="*/ 643349 w 1614899"/>
                      <a:gd name="connsiteY373" fmla="*/ 859631 h 1619250"/>
                      <a:gd name="connsiteX374" fmla="*/ 631443 w 1614899"/>
                      <a:gd name="connsiteY374" fmla="*/ 838200 h 1619250"/>
                      <a:gd name="connsiteX375" fmla="*/ 624299 w 1614899"/>
                      <a:gd name="connsiteY375" fmla="*/ 833437 h 1619250"/>
                      <a:gd name="connsiteX376" fmla="*/ 593343 w 1614899"/>
                      <a:gd name="connsiteY376" fmla="*/ 835819 h 1619250"/>
                      <a:gd name="connsiteX377" fmla="*/ 586199 w 1614899"/>
                      <a:gd name="connsiteY377" fmla="*/ 816769 h 1619250"/>
                      <a:gd name="connsiteX378" fmla="*/ 569531 w 1614899"/>
                      <a:gd name="connsiteY378" fmla="*/ 795337 h 1619250"/>
                      <a:gd name="connsiteX379" fmla="*/ 564768 w 1614899"/>
                      <a:gd name="connsiteY379" fmla="*/ 788194 h 1619250"/>
                      <a:gd name="connsiteX380" fmla="*/ 557624 w 1614899"/>
                      <a:gd name="connsiteY380" fmla="*/ 785812 h 1619250"/>
                      <a:gd name="connsiteX381" fmla="*/ 550481 w 1614899"/>
                      <a:gd name="connsiteY381" fmla="*/ 781050 h 1619250"/>
                      <a:gd name="connsiteX382" fmla="*/ 536193 w 1614899"/>
                      <a:gd name="connsiteY382" fmla="*/ 776287 h 1619250"/>
                      <a:gd name="connsiteX383" fmla="*/ 538574 w 1614899"/>
                      <a:gd name="connsiteY383" fmla="*/ 747712 h 1619250"/>
                      <a:gd name="connsiteX384" fmla="*/ 533812 w 1614899"/>
                      <a:gd name="connsiteY384" fmla="*/ 740569 h 1619250"/>
                      <a:gd name="connsiteX385" fmla="*/ 519524 w 1614899"/>
                      <a:gd name="connsiteY385" fmla="*/ 731044 h 1619250"/>
                      <a:gd name="connsiteX386" fmla="*/ 512381 w 1614899"/>
                      <a:gd name="connsiteY386" fmla="*/ 735806 h 1619250"/>
                      <a:gd name="connsiteX387" fmla="*/ 505237 w 1614899"/>
                      <a:gd name="connsiteY387" fmla="*/ 738187 h 1619250"/>
                      <a:gd name="connsiteX388" fmla="*/ 507618 w 1614899"/>
                      <a:gd name="connsiteY388" fmla="*/ 723900 h 1619250"/>
                      <a:gd name="connsiteX389" fmla="*/ 505237 w 1614899"/>
                      <a:gd name="connsiteY389" fmla="*/ 688181 h 1619250"/>
                      <a:gd name="connsiteX390" fmla="*/ 493331 w 1614899"/>
                      <a:gd name="connsiteY390" fmla="*/ 666750 h 1619250"/>
                      <a:gd name="connsiteX391" fmla="*/ 486187 w 1614899"/>
                      <a:gd name="connsiteY391" fmla="*/ 659606 h 1619250"/>
                      <a:gd name="connsiteX392" fmla="*/ 481424 w 1614899"/>
                      <a:gd name="connsiteY392" fmla="*/ 652462 h 1619250"/>
                      <a:gd name="connsiteX393" fmla="*/ 479043 w 1614899"/>
                      <a:gd name="connsiteY393" fmla="*/ 614362 h 1619250"/>
                      <a:gd name="connsiteX394" fmla="*/ 474281 w 1614899"/>
                      <a:gd name="connsiteY394" fmla="*/ 595312 h 1619250"/>
                      <a:gd name="connsiteX395" fmla="*/ 467137 w 1614899"/>
                      <a:gd name="connsiteY395" fmla="*/ 578644 h 1619250"/>
                      <a:gd name="connsiteX396" fmla="*/ 459993 w 1614899"/>
                      <a:gd name="connsiteY396" fmla="*/ 571500 h 1619250"/>
                      <a:gd name="connsiteX397" fmla="*/ 440943 w 1614899"/>
                      <a:gd name="connsiteY397" fmla="*/ 554831 h 1619250"/>
                      <a:gd name="connsiteX398" fmla="*/ 426656 w 1614899"/>
                      <a:gd name="connsiteY398" fmla="*/ 550069 h 1619250"/>
                      <a:gd name="connsiteX399" fmla="*/ 424274 w 1614899"/>
                      <a:gd name="connsiteY399" fmla="*/ 557212 h 1619250"/>
                      <a:gd name="connsiteX400" fmla="*/ 414749 w 1614899"/>
                      <a:gd name="connsiteY400" fmla="*/ 552450 h 1619250"/>
                      <a:gd name="connsiteX401" fmla="*/ 407606 w 1614899"/>
                      <a:gd name="connsiteY401" fmla="*/ 545306 h 1619250"/>
                      <a:gd name="connsiteX402" fmla="*/ 390937 w 1614899"/>
                      <a:gd name="connsiteY402" fmla="*/ 535781 h 1619250"/>
                      <a:gd name="connsiteX403" fmla="*/ 383793 w 1614899"/>
                      <a:gd name="connsiteY403" fmla="*/ 528637 h 1619250"/>
                      <a:gd name="connsiteX404" fmla="*/ 374268 w 1614899"/>
                      <a:gd name="connsiteY404" fmla="*/ 526256 h 1619250"/>
                      <a:gd name="connsiteX405" fmla="*/ 352837 w 1614899"/>
                      <a:gd name="connsiteY405" fmla="*/ 519112 h 1619250"/>
                      <a:gd name="connsiteX406" fmla="*/ 345693 w 1614899"/>
                      <a:gd name="connsiteY406" fmla="*/ 516731 h 1619250"/>
                      <a:gd name="connsiteX407" fmla="*/ 338549 w 1614899"/>
                      <a:gd name="connsiteY407" fmla="*/ 514350 h 1619250"/>
                      <a:gd name="connsiteX408" fmla="*/ 326643 w 1614899"/>
                      <a:gd name="connsiteY408" fmla="*/ 504825 h 1619250"/>
                      <a:gd name="connsiteX409" fmla="*/ 321881 w 1614899"/>
                      <a:gd name="connsiteY409" fmla="*/ 497681 h 1619250"/>
                      <a:gd name="connsiteX410" fmla="*/ 314737 w 1614899"/>
                      <a:gd name="connsiteY410" fmla="*/ 490537 h 1619250"/>
                      <a:gd name="connsiteX411" fmla="*/ 307593 w 1614899"/>
                      <a:gd name="connsiteY411" fmla="*/ 485775 h 1619250"/>
                      <a:gd name="connsiteX412" fmla="*/ 293306 w 1614899"/>
                      <a:gd name="connsiteY412" fmla="*/ 481012 h 1619250"/>
                      <a:gd name="connsiteX413" fmla="*/ 269493 w 1614899"/>
                      <a:gd name="connsiteY413" fmla="*/ 483394 h 1619250"/>
                      <a:gd name="connsiteX414" fmla="*/ 259968 w 1614899"/>
                      <a:gd name="connsiteY414" fmla="*/ 490537 h 1619250"/>
                      <a:gd name="connsiteX415" fmla="*/ 243299 w 1614899"/>
                      <a:gd name="connsiteY415" fmla="*/ 497681 h 1619250"/>
                      <a:gd name="connsiteX416" fmla="*/ 236156 w 1614899"/>
                      <a:gd name="connsiteY416" fmla="*/ 502444 h 1619250"/>
                      <a:gd name="connsiteX417" fmla="*/ 233774 w 1614899"/>
                      <a:gd name="connsiteY417" fmla="*/ 509587 h 1619250"/>
                      <a:gd name="connsiteX418" fmla="*/ 231393 w 1614899"/>
                      <a:gd name="connsiteY418" fmla="*/ 519112 h 1619250"/>
                      <a:gd name="connsiteX419" fmla="*/ 224249 w 1614899"/>
                      <a:gd name="connsiteY419" fmla="*/ 521494 h 1619250"/>
                      <a:gd name="connsiteX420" fmla="*/ 209962 w 1614899"/>
                      <a:gd name="connsiteY420" fmla="*/ 528637 h 1619250"/>
                      <a:gd name="connsiteX421" fmla="*/ 200437 w 1614899"/>
                      <a:gd name="connsiteY421" fmla="*/ 542925 h 1619250"/>
                      <a:gd name="connsiteX422" fmla="*/ 195674 w 1614899"/>
                      <a:gd name="connsiteY422" fmla="*/ 557212 h 1619250"/>
                      <a:gd name="connsiteX423" fmla="*/ 188531 w 1614899"/>
                      <a:gd name="connsiteY423" fmla="*/ 559594 h 1619250"/>
                      <a:gd name="connsiteX424" fmla="*/ 176624 w 1614899"/>
                      <a:gd name="connsiteY424" fmla="*/ 564356 h 1619250"/>
                      <a:gd name="connsiteX425" fmla="*/ 164718 w 1614899"/>
                      <a:gd name="connsiteY425" fmla="*/ 566737 h 1619250"/>
                      <a:gd name="connsiteX426" fmla="*/ 157574 w 1614899"/>
                      <a:gd name="connsiteY426" fmla="*/ 569119 h 1619250"/>
                      <a:gd name="connsiteX427" fmla="*/ 148049 w 1614899"/>
                      <a:gd name="connsiteY427" fmla="*/ 571500 h 1619250"/>
                      <a:gd name="connsiteX428" fmla="*/ 140906 w 1614899"/>
                      <a:gd name="connsiteY428" fmla="*/ 573881 h 1619250"/>
                      <a:gd name="connsiteX429" fmla="*/ 121856 w 1614899"/>
                      <a:gd name="connsiteY429" fmla="*/ 576262 h 1619250"/>
                      <a:gd name="connsiteX430" fmla="*/ 119474 w 1614899"/>
                      <a:gd name="connsiteY430" fmla="*/ 571500 h 1619250"/>
                      <a:gd name="connsiteX431" fmla="*/ 128999 w 1614899"/>
                      <a:gd name="connsiteY431" fmla="*/ 557212 h 1619250"/>
                      <a:gd name="connsiteX432" fmla="*/ 131381 w 1614899"/>
                      <a:gd name="connsiteY432" fmla="*/ 550069 h 1619250"/>
                      <a:gd name="connsiteX433" fmla="*/ 140906 w 1614899"/>
                      <a:gd name="connsiteY433" fmla="*/ 535781 h 1619250"/>
                      <a:gd name="connsiteX434" fmla="*/ 133762 w 1614899"/>
                      <a:gd name="connsiteY434" fmla="*/ 533400 h 1619250"/>
                      <a:gd name="connsiteX435" fmla="*/ 128999 w 1614899"/>
                      <a:gd name="connsiteY435" fmla="*/ 516731 h 1619250"/>
                      <a:gd name="connsiteX436" fmla="*/ 69468 w 1614899"/>
                      <a:gd name="connsiteY436" fmla="*/ 514350 h 1619250"/>
                      <a:gd name="connsiteX437" fmla="*/ 67087 w 1614899"/>
                      <a:gd name="connsiteY437" fmla="*/ 507206 h 1619250"/>
                      <a:gd name="connsiteX438" fmla="*/ 52799 w 1614899"/>
                      <a:gd name="connsiteY438" fmla="*/ 497681 h 1619250"/>
                      <a:gd name="connsiteX439" fmla="*/ 55181 w 1614899"/>
                      <a:gd name="connsiteY439" fmla="*/ 488156 h 1619250"/>
                      <a:gd name="connsiteX440" fmla="*/ 40893 w 1614899"/>
                      <a:gd name="connsiteY440" fmla="*/ 483394 h 1619250"/>
                      <a:gd name="connsiteX441" fmla="*/ 38512 w 1614899"/>
                      <a:gd name="connsiteY441" fmla="*/ 471487 h 1619250"/>
                      <a:gd name="connsiteX442" fmla="*/ 36131 w 1614899"/>
                      <a:gd name="connsiteY442" fmla="*/ 464344 h 1619250"/>
                      <a:gd name="connsiteX443" fmla="*/ 38512 w 1614899"/>
                      <a:gd name="connsiteY443" fmla="*/ 452437 h 1619250"/>
                      <a:gd name="connsiteX444" fmla="*/ 38512 w 1614899"/>
                      <a:gd name="connsiteY444" fmla="*/ 428625 h 1619250"/>
                      <a:gd name="connsiteX445" fmla="*/ 45656 w 1614899"/>
                      <a:gd name="connsiteY445" fmla="*/ 426244 h 1619250"/>
                      <a:gd name="connsiteX446" fmla="*/ 52799 w 1614899"/>
                      <a:gd name="connsiteY446" fmla="*/ 421481 h 1619250"/>
                      <a:gd name="connsiteX447" fmla="*/ 59943 w 1614899"/>
                      <a:gd name="connsiteY447" fmla="*/ 419100 h 1619250"/>
                      <a:gd name="connsiteX448" fmla="*/ 64706 w 1614899"/>
                      <a:gd name="connsiteY448" fmla="*/ 411956 h 1619250"/>
                      <a:gd name="connsiteX449" fmla="*/ 55181 w 1614899"/>
                      <a:gd name="connsiteY449" fmla="*/ 392906 h 1619250"/>
                      <a:gd name="connsiteX450" fmla="*/ 40893 w 1614899"/>
                      <a:gd name="connsiteY450" fmla="*/ 388144 h 1619250"/>
                      <a:gd name="connsiteX451" fmla="*/ 33749 w 1614899"/>
                      <a:gd name="connsiteY451" fmla="*/ 390525 h 1619250"/>
                      <a:gd name="connsiteX452" fmla="*/ 28987 w 1614899"/>
                      <a:gd name="connsiteY452" fmla="*/ 390525 h 1619250"/>
                      <a:gd name="connsiteX453" fmla="*/ 21843 w 1614899"/>
                      <a:gd name="connsiteY453" fmla="*/ 388144 h 1619250"/>
                      <a:gd name="connsiteX454" fmla="*/ 14699 w 1614899"/>
                      <a:gd name="connsiteY454" fmla="*/ 364331 h 1619250"/>
                      <a:gd name="connsiteX455" fmla="*/ 2793 w 1614899"/>
                      <a:gd name="connsiteY455" fmla="*/ 361950 h 1619250"/>
                      <a:gd name="connsiteX456" fmla="*/ 2793 w 1614899"/>
                      <a:gd name="connsiteY456" fmla="*/ 345281 h 1619250"/>
                      <a:gd name="connsiteX457" fmla="*/ 17081 w 1614899"/>
                      <a:gd name="connsiteY457" fmla="*/ 340519 h 1619250"/>
                      <a:gd name="connsiteX458" fmla="*/ 24224 w 1614899"/>
                      <a:gd name="connsiteY458" fmla="*/ 347662 h 1619250"/>
                      <a:gd name="connsiteX459" fmla="*/ 40893 w 1614899"/>
                      <a:gd name="connsiteY459" fmla="*/ 342900 h 1619250"/>
                      <a:gd name="connsiteX460" fmla="*/ 57562 w 1614899"/>
                      <a:gd name="connsiteY460" fmla="*/ 333375 h 1619250"/>
                      <a:gd name="connsiteX461" fmla="*/ 64706 w 1614899"/>
                      <a:gd name="connsiteY461" fmla="*/ 328612 h 1619250"/>
                      <a:gd name="connsiteX462" fmla="*/ 71849 w 1614899"/>
                      <a:gd name="connsiteY462" fmla="*/ 326231 h 1619250"/>
                      <a:gd name="connsiteX463" fmla="*/ 90899 w 1614899"/>
                      <a:gd name="connsiteY463" fmla="*/ 321469 h 1619250"/>
                      <a:gd name="connsiteX464" fmla="*/ 86137 w 1614899"/>
                      <a:gd name="connsiteY464" fmla="*/ 311944 h 1619250"/>
                      <a:gd name="connsiteX465" fmla="*/ 88518 w 1614899"/>
                      <a:gd name="connsiteY465" fmla="*/ 292894 h 1619250"/>
                      <a:gd name="connsiteX466" fmla="*/ 90899 w 1614899"/>
                      <a:gd name="connsiteY466" fmla="*/ 285750 h 1619250"/>
                      <a:gd name="connsiteX467" fmla="*/ 76612 w 1614899"/>
                      <a:gd name="connsiteY467" fmla="*/ 280987 h 1619250"/>
                      <a:gd name="connsiteX468" fmla="*/ 71849 w 1614899"/>
                      <a:gd name="connsiteY468" fmla="*/ 273844 h 1619250"/>
                      <a:gd name="connsiteX469" fmla="*/ 67087 w 1614899"/>
                      <a:gd name="connsiteY469" fmla="*/ 250031 h 1619250"/>
                      <a:gd name="connsiteX470" fmla="*/ 45656 w 1614899"/>
                      <a:gd name="connsiteY470" fmla="*/ 250031 h 1619250"/>
                      <a:gd name="connsiteX471" fmla="*/ 40893 w 1614899"/>
                      <a:gd name="connsiteY471" fmla="*/ 242887 h 1619250"/>
                      <a:gd name="connsiteX472" fmla="*/ 43274 w 1614899"/>
                      <a:gd name="connsiteY472" fmla="*/ 223837 h 1619250"/>
                      <a:gd name="connsiteX473" fmla="*/ 57562 w 1614899"/>
                      <a:gd name="connsiteY473" fmla="*/ 211931 h 1619250"/>
                      <a:gd name="connsiteX474" fmla="*/ 74231 w 1614899"/>
                      <a:gd name="connsiteY474" fmla="*/ 200025 h 1619250"/>
                      <a:gd name="connsiteX475" fmla="*/ 81374 w 1614899"/>
                      <a:gd name="connsiteY475" fmla="*/ 202406 h 1619250"/>
                      <a:gd name="connsiteX476" fmla="*/ 83756 w 1614899"/>
                      <a:gd name="connsiteY476" fmla="*/ 209550 h 1619250"/>
                      <a:gd name="connsiteX477" fmla="*/ 102806 w 1614899"/>
                      <a:gd name="connsiteY477" fmla="*/ 204787 h 1619250"/>
                      <a:gd name="connsiteX478" fmla="*/ 109949 w 1614899"/>
                      <a:gd name="connsiteY478" fmla="*/ 200025 h 1619250"/>
                      <a:gd name="connsiteX479" fmla="*/ 119474 w 1614899"/>
                      <a:gd name="connsiteY479" fmla="*/ 197644 h 1619250"/>
                      <a:gd name="connsiteX480" fmla="*/ 133762 w 1614899"/>
                      <a:gd name="connsiteY480" fmla="*/ 192881 h 1619250"/>
                      <a:gd name="connsiteX481" fmla="*/ 140906 w 1614899"/>
                      <a:gd name="connsiteY481" fmla="*/ 190500 h 1619250"/>
                      <a:gd name="connsiteX482" fmla="*/ 148049 w 1614899"/>
                      <a:gd name="connsiteY482" fmla="*/ 195262 h 1619250"/>
                      <a:gd name="connsiteX483" fmla="*/ 155193 w 1614899"/>
                      <a:gd name="connsiteY483" fmla="*/ 204787 h 1619250"/>
                      <a:gd name="connsiteX484" fmla="*/ 164718 w 1614899"/>
                      <a:gd name="connsiteY484" fmla="*/ 202406 h 1619250"/>
                      <a:gd name="connsiteX485" fmla="*/ 190912 w 1614899"/>
                      <a:gd name="connsiteY485" fmla="*/ 200025 h 1619250"/>
                      <a:gd name="connsiteX486" fmla="*/ 193293 w 1614899"/>
                      <a:gd name="connsiteY486" fmla="*/ 192881 h 1619250"/>
                      <a:gd name="connsiteX487" fmla="*/ 198056 w 1614899"/>
                      <a:gd name="connsiteY487" fmla="*/ 185737 h 1619250"/>
                      <a:gd name="connsiteX488" fmla="*/ 195674 w 1614899"/>
                      <a:gd name="connsiteY488" fmla="*/ 178594 h 1619250"/>
                      <a:gd name="connsiteX489" fmla="*/ 186149 w 1614899"/>
                      <a:gd name="connsiteY489" fmla="*/ 159544 h 1619250"/>
                      <a:gd name="connsiteX490" fmla="*/ 217106 w 1614899"/>
                      <a:gd name="connsiteY490" fmla="*/ 152400 h 1619250"/>
                      <a:gd name="connsiteX491" fmla="*/ 209962 w 1614899"/>
                      <a:gd name="connsiteY491" fmla="*/ 145256 h 1619250"/>
                      <a:gd name="connsiteX492" fmla="*/ 202818 w 1614899"/>
                      <a:gd name="connsiteY492" fmla="*/ 140494 h 1619250"/>
                      <a:gd name="connsiteX493" fmla="*/ 212343 w 1614899"/>
                      <a:gd name="connsiteY493" fmla="*/ 133350 h 1619250"/>
                      <a:gd name="connsiteX494" fmla="*/ 233774 w 1614899"/>
                      <a:gd name="connsiteY494" fmla="*/ 123825 h 1619250"/>
                      <a:gd name="connsiteX495" fmla="*/ 238537 w 1614899"/>
                      <a:gd name="connsiteY495" fmla="*/ 116681 h 1619250"/>
                      <a:gd name="connsiteX496" fmla="*/ 240918 w 1614899"/>
                      <a:gd name="connsiteY496" fmla="*/ 107156 h 1619250"/>
                      <a:gd name="connsiteX497" fmla="*/ 248062 w 1614899"/>
                      <a:gd name="connsiteY497" fmla="*/ 109537 h 1619250"/>
                      <a:gd name="connsiteX498" fmla="*/ 250443 w 1614899"/>
                      <a:gd name="connsiteY498" fmla="*/ 116681 h 1619250"/>
                      <a:gd name="connsiteX499" fmla="*/ 252824 w 1614899"/>
                      <a:gd name="connsiteY499" fmla="*/ 130969 h 1619250"/>
                      <a:gd name="connsiteX500" fmla="*/ 269493 w 1614899"/>
                      <a:gd name="connsiteY500" fmla="*/ 138112 h 1619250"/>
                      <a:gd name="connsiteX501" fmla="*/ 271874 w 1614899"/>
                      <a:gd name="connsiteY501" fmla="*/ 145256 h 1619250"/>
                      <a:gd name="connsiteX502" fmla="*/ 264731 w 1614899"/>
                      <a:gd name="connsiteY502" fmla="*/ 152400 h 1619250"/>
                      <a:gd name="connsiteX503" fmla="*/ 262349 w 1614899"/>
                      <a:gd name="connsiteY503" fmla="*/ 159544 h 1619250"/>
                      <a:gd name="connsiteX504" fmla="*/ 264731 w 1614899"/>
                      <a:gd name="connsiteY504" fmla="*/ 173831 h 1619250"/>
                      <a:gd name="connsiteX505" fmla="*/ 274256 w 1614899"/>
                      <a:gd name="connsiteY505" fmla="*/ 176212 h 1619250"/>
                      <a:gd name="connsiteX506" fmla="*/ 295687 w 1614899"/>
                      <a:gd name="connsiteY506" fmla="*/ 178594 h 1619250"/>
                      <a:gd name="connsiteX507" fmla="*/ 293306 w 1614899"/>
                      <a:gd name="connsiteY507" fmla="*/ 185737 h 1619250"/>
                      <a:gd name="connsiteX508" fmla="*/ 295687 w 1614899"/>
                      <a:gd name="connsiteY508" fmla="*/ 200025 h 1619250"/>
                      <a:gd name="connsiteX509" fmla="*/ 302831 w 1614899"/>
                      <a:gd name="connsiteY509" fmla="*/ 216694 h 1619250"/>
                      <a:gd name="connsiteX510" fmla="*/ 307593 w 1614899"/>
                      <a:gd name="connsiteY510" fmla="*/ 223837 h 1619250"/>
                      <a:gd name="connsiteX511" fmla="*/ 314737 w 1614899"/>
                      <a:gd name="connsiteY511" fmla="*/ 228600 h 1619250"/>
                      <a:gd name="connsiteX512" fmla="*/ 326643 w 1614899"/>
                      <a:gd name="connsiteY512" fmla="*/ 226219 h 1619250"/>
                      <a:gd name="connsiteX513" fmla="*/ 321881 w 1614899"/>
                      <a:gd name="connsiteY513" fmla="*/ 200025 h 1619250"/>
                      <a:gd name="connsiteX514" fmla="*/ 314737 w 1614899"/>
                      <a:gd name="connsiteY514" fmla="*/ 197644 h 1619250"/>
                      <a:gd name="connsiteX515" fmla="*/ 324262 w 1614899"/>
                      <a:gd name="connsiteY515" fmla="*/ 180975 h 1619250"/>
                      <a:gd name="connsiteX516" fmla="*/ 329024 w 1614899"/>
                      <a:gd name="connsiteY516" fmla="*/ 173831 h 1619250"/>
                      <a:gd name="connsiteX517" fmla="*/ 343312 w 1614899"/>
                      <a:gd name="connsiteY517" fmla="*/ 159544 h 1619250"/>
                      <a:gd name="connsiteX518" fmla="*/ 348074 w 1614899"/>
                      <a:gd name="connsiteY518" fmla="*/ 145256 h 1619250"/>
                      <a:gd name="connsiteX519" fmla="*/ 350456 w 1614899"/>
                      <a:gd name="connsiteY519" fmla="*/ 114300 h 1619250"/>
                      <a:gd name="connsiteX520" fmla="*/ 357599 w 1614899"/>
                      <a:gd name="connsiteY520" fmla="*/ 111919 h 1619250"/>
                      <a:gd name="connsiteX521" fmla="*/ 364743 w 1614899"/>
                      <a:gd name="connsiteY521" fmla="*/ 114300 h 1619250"/>
                      <a:gd name="connsiteX522" fmla="*/ 371887 w 1614899"/>
                      <a:gd name="connsiteY522" fmla="*/ 114300 h 1619250"/>
                      <a:gd name="connsiteX523" fmla="*/ 381412 w 1614899"/>
                      <a:gd name="connsiteY523" fmla="*/ 138112 h 1619250"/>
                      <a:gd name="connsiteX524" fmla="*/ 395699 w 1614899"/>
                      <a:gd name="connsiteY524" fmla="*/ 150019 h 1619250"/>
                      <a:gd name="connsiteX525" fmla="*/ 409987 w 1614899"/>
                      <a:gd name="connsiteY525" fmla="*/ 147637 h 1619250"/>
                      <a:gd name="connsiteX526" fmla="*/ 412368 w 1614899"/>
                      <a:gd name="connsiteY526" fmla="*/ 133350 h 1619250"/>
                      <a:gd name="connsiteX527" fmla="*/ 426656 w 1614899"/>
                      <a:gd name="connsiteY527" fmla="*/ 128587 h 1619250"/>
                      <a:gd name="connsiteX528" fmla="*/ 433799 w 1614899"/>
                      <a:gd name="connsiteY528" fmla="*/ 142875 h 1619250"/>
                      <a:gd name="connsiteX529" fmla="*/ 448087 w 1614899"/>
                      <a:gd name="connsiteY529" fmla="*/ 161925 h 1619250"/>
                      <a:gd name="connsiteX530" fmla="*/ 464756 w 1614899"/>
                      <a:gd name="connsiteY530" fmla="*/ 159544 h 1619250"/>
                      <a:gd name="connsiteX531" fmla="*/ 452849 w 1614899"/>
                      <a:gd name="connsiteY531" fmla="*/ 138112 h 1619250"/>
                      <a:gd name="connsiteX532" fmla="*/ 450468 w 1614899"/>
                      <a:gd name="connsiteY532" fmla="*/ 111919 h 1619250"/>
                      <a:gd name="connsiteX533" fmla="*/ 443324 w 1614899"/>
                      <a:gd name="connsiteY533" fmla="*/ 107156 h 1619250"/>
                      <a:gd name="connsiteX534" fmla="*/ 440943 w 1614899"/>
                      <a:gd name="connsiteY534" fmla="*/ 100012 h 1619250"/>
                      <a:gd name="connsiteX535" fmla="*/ 450468 w 1614899"/>
                      <a:gd name="connsiteY535" fmla="*/ 88106 h 1619250"/>
                      <a:gd name="connsiteX536" fmla="*/ 476662 w 1614899"/>
                      <a:gd name="connsiteY536" fmla="*/ 90487 h 1619250"/>
                      <a:gd name="connsiteX537" fmla="*/ 486187 w 1614899"/>
                      <a:gd name="connsiteY537" fmla="*/ 92869 h 1619250"/>
                      <a:gd name="connsiteX538" fmla="*/ 493331 w 1614899"/>
                      <a:gd name="connsiteY538" fmla="*/ 97631 h 1619250"/>
                      <a:gd name="connsiteX539" fmla="*/ 502856 w 1614899"/>
                      <a:gd name="connsiteY539" fmla="*/ 95250 h 1619250"/>
                      <a:gd name="connsiteX540" fmla="*/ 509999 w 1614899"/>
                      <a:gd name="connsiteY540" fmla="*/ 90487 h 1619250"/>
                      <a:gd name="connsiteX541" fmla="*/ 507618 w 1614899"/>
                      <a:gd name="connsiteY541" fmla="*/ 83344 h 1619250"/>
                      <a:gd name="connsiteX542" fmla="*/ 500474 w 1614899"/>
                      <a:gd name="connsiteY542" fmla="*/ 80962 h 1619250"/>
                      <a:gd name="connsiteX543" fmla="*/ 493331 w 1614899"/>
                      <a:gd name="connsiteY543" fmla="*/ 76200 h 1619250"/>
                      <a:gd name="connsiteX544" fmla="*/ 495712 w 1614899"/>
                      <a:gd name="connsiteY544"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05262 w 1614899"/>
                      <a:gd name="connsiteY86" fmla="*/ 316706 h 1619250"/>
                      <a:gd name="connsiteX87" fmla="*/ 719549 w 1614899"/>
                      <a:gd name="connsiteY87" fmla="*/ 328612 h 1619250"/>
                      <a:gd name="connsiteX88" fmla="*/ 714787 w 1614899"/>
                      <a:gd name="connsiteY88" fmla="*/ 335756 h 1619250"/>
                      <a:gd name="connsiteX89" fmla="*/ 717168 w 1614899"/>
                      <a:gd name="connsiteY89" fmla="*/ 342900 h 1619250"/>
                      <a:gd name="connsiteX90" fmla="*/ 721931 w 1614899"/>
                      <a:gd name="connsiteY90" fmla="*/ 347662 h 1619250"/>
                      <a:gd name="connsiteX91" fmla="*/ 733837 w 1614899"/>
                      <a:gd name="connsiteY91" fmla="*/ 357187 h 1619250"/>
                      <a:gd name="connsiteX92" fmla="*/ 740981 w 1614899"/>
                      <a:gd name="connsiteY92" fmla="*/ 354806 h 1619250"/>
                      <a:gd name="connsiteX93" fmla="*/ 755268 w 1614899"/>
                      <a:gd name="connsiteY93" fmla="*/ 350044 h 1619250"/>
                      <a:gd name="connsiteX94" fmla="*/ 752887 w 1614899"/>
                      <a:gd name="connsiteY94" fmla="*/ 359569 h 1619250"/>
                      <a:gd name="connsiteX95" fmla="*/ 755268 w 1614899"/>
                      <a:gd name="connsiteY95" fmla="*/ 371475 h 1619250"/>
                      <a:gd name="connsiteX96" fmla="*/ 762412 w 1614899"/>
                      <a:gd name="connsiteY96" fmla="*/ 373856 h 1619250"/>
                      <a:gd name="connsiteX97" fmla="*/ 745743 w 1614899"/>
                      <a:gd name="connsiteY97" fmla="*/ 390525 h 1619250"/>
                      <a:gd name="connsiteX98" fmla="*/ 750506 w 1614899"/>
                      <a:gd name="connsiteY98" fmla="*/ 397669 h 1619250"/>
                      <a:gd name="connsiteX99" fmla="*/ 745743 w 1614899"/>
                      <a:gd name="connsiteY99" fmla="*/ 411956 h 1619250"/>
                      <a:gd name="connsiteX100" fmla="*/ 731456 w 1614899"/>
                      <a:gd name="connsiteY100" fmla="*/ 404812 h 1619250"/>
                      <a:gd name="connsiteX101" fmla="*/ 724312 w 1614899"/>
                      <a:gd name="connsiteY101" fmla="*/ 409575 h 1619250"/>
                      <a:gd name="connsiteX102" fmla="*/ 721931 w 1614899"/>
                      <a:gd name="connsiteY102" fmla="*/ 416719 h 1619250"/>
                      <a:gd name="connsiteX103" fmla="*/ 736218 w 1614899"/>
                      <a:gd name="connsiteY103" fmla="*/ 426244 h 1619250"/>
                      <a:gd name="connsiteX104" fmla="*/ 731456 w 1614899"/>
                      <a:gd name="connsiteY104" fmla="*/ 442912 h 1619250"/>
                      <a:gd name="connsiteX105" fmla="*/ 729074 w 1614899"/>
                      <a:gd name="connsiteY105" fmla="*/ 450056 h 1619250"/>
                      <a:gd name="connsiteX106" fmla="*/ 731456 w 1614899"/>
                      <a:gd name="connsiteY106" fmla="*/ 481012 h 1619250"/>
                      <a:gd name="connsiteX107" fmla="*/ 736218 w 1614899"/>
                      <a:gd name="connsiteY107" fmla="*/ 488156 h 1619250"/>
                      <a:gd name="connsiteX108" fmla="*/ 743362 w 1614899"/>
                      <a:gd name="connsiteY108" fmla="*/ 509587 h 1619250"/>
                      <a:gd name="connsiteX109" fmla="*/ 745743 w 1614899"/>
                      <a:gd name="connsiteY109" fmla="*/ 516731 h 1619250"/>
                      <a:gd name="connsiteX110" fmla="*/ 760031 w 1614899"/>
                      <a:gd name="connsiteY110" fmla="*/ 526256 h 1619250"/>
                      <a:gd name="connsiteX111" fmla="*/ 764793 w 1614899"/>
                      <a:gd name="connsiteY111" fmla="*/ 533400 h 1619250"/>
                      <a:gd name="connsiteX112" fmla="*/ 769556 w 1614899"/>
                      <a:gd name="connsiteY112" fmla="*/ 547687 h 1619250"/>
                      <a:gd name="connsiteX113" fmla="*/ 748124 w 1614899"/>
                      <a:gd name="connsiteY113" fmla="*/ 552450 h 1619250"/>
                      <a:gd name="connsiteX114" fmla="*/ 769556 w 1614899"/>
                      <a:gd name="connsiteY114" fmla="*/ 542925 h 1619250"/>
                      <a:gd name="connsiteX115" fmla="*/ 776699 w 1614899"/>
                      <a:gd name="connsiteY115" fmla="*/ 550069 h 1619250"/>
                      <a:gd name="connsiteX116" fmla="*/ 793368 w 1614899"/>
                      <a:gd name="connsiteY116" fmla="*/ 552450 h 1619250"/>
                      <a:gd name="connsiteX117" fmla="*/ 807656 w 1614899"/>
                      <a:gd name="connsiteY117" fmla="*/ 557212 h 1619250"/>
                      <a:gd name="connsiteX118" fmla="*/ 814799 w 1614899"/>
                      <a:gd name="connsiteY118" fmla="*/ 559594 h 1619250"/>
                      <a:gd name="connsiteX119" fmla="*/ 821943 w 1614899"/>
                      <a:gd name="connsiteY119" fmla="*/ 566737 h 1619250"/>
                      <a:gd name="connsiteX120" fmla="*/ 829087 w 1614899"/>
                      <a:gd name="connsiteY120" fmla="*/ 569119 h 1619250"/>
                      <a:gd name="connsiteX121" fmla="*/ 836231 w 1614899"/>
                      <a:gd name="connsiteY121" fmla="*/ 573881 h 1619250"/>
                      <a:gd name="connsiteX122" fmla="*/ 843374 w 1614899"/>
                      <a:gd name="connsiteY122" fmla="*/ 588169 h 1619250"/>
                      <a:gd name="connsiteX123" fmla="*/ 852899 w 1614899"/>
                      <a:gd name="connsiteY123" fmla="*/ 597694 h 1619250"/>
                      <a:gd name="connsiteX124" fmla="*/ 902906 w 1614899"/>
                      <a:gd name="connsiteY124" fmla="*/ 604837 h 1619250"/>
                      <a:gd name="connsiteX125" fmla="*/ 914812 w 1614899"/>
                      <a:gd name="connsiteY125" fmla="*/ 626269 h 1619250"/>
                      <a:gd name="connsiteX126" fmla="*/ 919574 w 1614899"/>
                      <a:gd name="connsiteY126" fmla="*/ 633412 h 1619250"/>
                      <a:gd name="connsiteX127" fmla="*/ 919574 w 1614899"/>
                      <a:gd name="connsiteY127" fmla="*/ 671512 h 1619250"/>
                      <a:gd name="connsiteX128" fmla="*/ 926718 w 1614899"/>
                      <a:gd name="connsiteY128" fmla="*/ 676275 h 1619250"/>
                      <a:gd name="connsiteX129" fmla="*/ 933862 w 1614899"/>
                      <a:gd name="connsiteY129" fmla="*/ 690562 h 1619250"/>
                      <a:gd name="connsiteX130" fmla="*/ 936243 w 1614899"/>
                      <a:gd name="connsiteY130" fmla="*/ 702469 h 1619250"/>
                      <a:gd name="connsiteX131" fmla="*/ 943387 w 1614899"/>
                      <a:gd name="connsiteY131" fmla="*/ 709612 h 1619250"/>
                      <a:gd name="connsiteX132" fmla="*/ 945768 w 1614899"/>
                      <a:gd name="connsiteY132" fmla="*/ 723900 h 1619250"/>
                      <a:gd name="connsiteX133" fmla="*/ 955293 w 1614899"/>
                      <a:gd name="connsiteY133" fmla="*/ 738187 h 1619250"/>
                      <a:gd name="connsiteX134" fmla="*/ 964818 w 1614899"/>
                      <a:gd name="connsiteY134" fmla="*/ 752475 h 1619250"/>
                      <a:gd name="connsiteX135" fmla="*/ 967199 w 1614899"/>
                      <a:gd name="connsiteY135" fmla="*/ 759619 h 1619250"/>
                      <a:gd name="connsiteX136" fmla="*/ 974343 w 1614899"/>
                      <a:gd name="connsiteY136" fmla="*/ 769144 h 1619250"/>
                      <a:gd name="connsiteX137" fmla="*/ 979106 w 1614899"/>
                      <a:gd name="connsiteY137" fmla="*/ 783431 h 1619250"/>
                      <a:gd name="connsiteX138" fmla="*/ 981487 w 1614899"/>
                      <a:gd name="connsiteY138" fmla="*/ 790575 h 1619250"/>
                      <a:gd name="connsiteX139" fmla="*/ 991012 w 1614899"/>
                      <a:gd name="connsiteY139" fmla="*/ 804862 h 1619250"/>
                      <a:gd name="connsiteX140" fmla="*/ 998156 w 1614899"/>
                      <a:gd name="connsiteY140" fmla="*/ 819150 h 1619250"/>
                      <a:gd name="connsiteX141" fmla="*/ 1000537 w 1614899"/>
                      <a:gd name="connsiteY141" fmla="*/ 826294 h 1619250"/>
                      <a:gd name="connsiteX142" fmla="*/ 1007681 w 1614899"/>
                      <a:gd name="connsiteY142" fmla="*/ 828675 h 1619250"/>
                      <a:gd name="connsiteX143" fmla="*/ 1014824 w 1614899"/>
                      <a:gd name="connsiteY143" fmla="*/ 833437 h 1619250"/>
                      <a:gd name="connsiteX144" fmla="*/ 1029112 w 1614899"/>
                      <a:gd name="connsiteY144" fmla="*/ 838200 h 1619250"/>
                      <a:gd name="connsiteX145" fmla="*/ 1033874 w 1614899"/>
                      <a:gd name="connsiteY145" fmla="*/ 845344 h 1619250"/>
                      <a:gd name="connsiteX146" fmla="*/ 1048162 w 1614899"/>
                      <a:gd name="connsiteY146" fmla="*/ 857250 h 1619250"/>
                      <a:gd name="connsiteX147" fmla="*/ 1062449 w 1614899"/>
                      <a:gd name="connsiteY147" fmla="*/ 862012 h 1619250"/>
                      <a:gd name="connsiteX148" fmla="*/ 1079118 w 1614899"/>
                      <a:gd name="connsiteY148" fmla="*/ 883444 h 1619250"/>
                      <a:gd name="connsiteX149" fmla="*/ 1081499 w 1614899"/>
                      <a:gd name="connsiteY149" fmla="*/ 890587 h 1619250"/>
                      <a:gd name="connsiteX150" fmla="*/ 1095787 w 1614899"/>
                      <a:gd name="connsiteY150" fmla="*/ 883444 h 1619250"/>
                      <a:gd name="connsiteX151" fmla="*/ 1110074 w 1614899"/>
                      <a:gd name="connsiteY151" fmla="*/ 890587 h 1619250"/>
                      <a:gd name="connsiteX152" fmla="*/ 1121981 w 1614899"/>
                      <a:gd name="connsiteY152" fmla="*/ 902494 h 1619250"/>
                      <a:gd name="connsiteX153" fmla="*/ 1136268 w 1614899"/>
                      <a:gd name="connsiteY153" fmla="*/ 907256 h 1619250"/>
                      <a:gd name="connsiteX154" fmla="*/ 1176749 w 1614899"/>
                      <a:gd name="connsiteY154" fmla="*/ 904875 h 1619250"/>
                      <a:gd name="connsiteX155" fmla="*/ 1195799 w 1614899"/>
                      <a:gd name="connsiteY155" fmla="*/ 904875 h 1619250"/>
                      <a:gd name="connsiteX156" fmla="*/ 1207706 w 1614899"/>
                      <a:gd name="connsiteY156" fmla="*/ 912019 h 1619250"/>
                      <a:gd name="connsiteX157" fmla="*/ 1210087 w 1614899"/>
                      <a:gd name="connsiteY157" fmla="*/ 902494 h 1619250"/>
                      <a:gd name="connsiteX158" fmla="*/ 1219612 w 1614899"/>
                      <a:gd name="connsiteY158" fmla="*/ 900112 h 1619250"/>
                      <a:gd name="connsiteX159" fmla="*/ 1226756 w 1614899"/>
                      <a:gd name="connsiteY159" fmla="*/ 895350 h 1619250"/>
                      <a:gd name="connsiteX160" fmla="*/ 1241043 w 1614899"/>
                      <a:gd name="connsiteY160" fmla="*/ 890587 h 1619250"/>
                      <a:gd name="connsiteX161" fmla="*/ 1255331 w 1614899"/>
                      <a:gd name="connsiteY161" fmla="*/ 892969 h 1619250"/>
                      <a:gd name="connsiteX162" fmla="*/ 1260093 w 1614899"/>
                      <a:gd name="connsiteY162" fmla="*/ 900112 h 1619250"/>
                      <a:gd name="connsiteX163" fmla="*/ 1267237 w 1614899"/>
                      <a:gd name="connsiteY163" fmla="*/ 904875 h 1619250"/>
                      <a:gd name="connsiteX164" fmla="*/ 1271999 w 1614899"/>
                      <a:gd name="connsiteY164" fmla="*/ 919162 h 1619250"/>
                      <a:gd name="connsiteX165" fmla="*/ 1269618 w 1614899"/>
                      <a:gd name="connsiteY165" fmla="*/ 928687 h 1619250"/>
                      <a:gd name="connsiteX166" fmla="*/ 1262474 w 1614899"/>
                      <a:gd name="connsiteY166" fmla="*/ 933450 h 1619250"/>
                      <a:gd name="connsiteX167" fmla="*/ 1255331 w 1614899"/>
                      <a:gd name="connsiteY167" fmla="*/ 940594 h 1619250"/>
                      <a:gd name="connsiteX168" fmla="*/ 1248187 w 1614899"/>
                      <a:gd name="connsiteY168" fmla="*/ 942975 h 1619250"/>
                      <a:gd name="connsiteX169" fmla="*/ 1241043 w 1614899"/>
                      <a:gd name="connsiteY169" fmla="*/ 947737 h 1619250"/>
                      <a:gd name="connsiteX170" fmla="*/ 1226756 w 1614899"/>
                      <a:gd name="connsiteY170" fmla="*/ 954881 h 1619250"/>
                      <a:gd name="connsiteX171" fmla="*/ 1236281 w 1614899"/>
                      <a:gd name="connsiteY171" fmla="*/ 969169 h 1619250"/>
                      <a:gd name="connsiteX172" fmla="*/ 1241043 w 1614899"/>
                      <a:gd name="connsiteY172" fmla="*/ 983456 h 1619250"/>
                      <a:gd name="connsiteX173" fmla="*/ 1250568 w 1614899"/>
                      <a:gd name="connsiteY173" fmla="*/ 997744 h 1619250"/>
                      <a:gd name="connsiteX174" fmla="*/ 1255331 w 1614899"/>
                      <a:gd name="connsiteY174" fmla="*/ 1004887 h 1619250"/>
                      <a:gd name="connsiteX175" fmla="*/ 1262474 w 1614899"/>
                      <a:gd name="connsiteY175" fmla="*/ 997744 h 1619250"/>
                      <a:gd name="connsiteX176" fmla="*/ 1264856 w 1614899"/>
                      <a:gd name="connsiteY176" fmla="*/ 990600 h 1619250"/>
                      <a:gd name="connsiteX177" fmla="*/ 1283906 w 1614899"/>
                      <a:gd name="connsiteY177" fmla="*/ 995362 h 1619250"/>
                      <a:gd name="connsiteX178" fmla="*/ 1291049 w 1614899"/>
                      <a:gd name="connsiteY178" fmla="*/ 1000125 h 1619250"/>
                      <a:gd name="connsiteX179" fmla="*/ 1298193 w 1614899"/>
                      <a:gd name="connsiteY179" fmla="*/ 1002506 h 1619250"/>
                      <a:gd name="connsiteX180" fmla="*/ 1322006 w 1614899"/>
                      <a:gd name="connsiteY180" fmla="*/ 1007269 h 1619250"/>
                      <a:gd name="connsiteX181" fmla="*/ 1336293 w 1614899"/>
                      <a:gd name="connsiteY181" fmla="*/ 1012031 h 1619250"/>
                      <a:gd name="connsiteX182" fmla="*/ 1355343 w 1614899"/>
                      <a:gd name="connsiteY182" fmla="*/ 1016794 h 1619250"/>
                      <a:gd name="connsiteX183" fmla="*/ 1362487 w 1614899"/>
                      <a:gd name="connsiteY183" fmla="*/ 1023937 h 1619250"/>
                      <a:gd name="connsiteX184" fmla="*/ 1376774 w 1614899"/>
                      <a:gd name="connsiteY184" fmla="*/ 1028700 h 1619250"/>
                      <a:gd name="connsiteX185" fmla="*/ 1391062 w 1614899"/>
                      <a:gd name="connsiteY185" fmla="*/ 1033462 h 1619250"/>
                      <a:gd name="connsiteX186" fmla="*/ 1398206 w 1614899"/>
                      <a:gd name="connsiteY186" fmla="*/ 1035844 h 1619250"/>
                      <a:gd name="connsiteX187" fmla="*/ 1405349 w 1614899"/>
                      <a:gd name="connsiteY187" fmla="*/ 1038225 h 1619250"/>
                      <a:gd name="connsiteX188" fmla="*/ 1412493 w 1614899"/>
                      <a:gd name="connsiteY188" fmla="*/ 1042987 h 1619250"/>
                      <a:gd name="connsiteX189" fmla="*/ 1426781 w 1614899"/>
                      <a:gd name="connsiteY189" fmla="*/ 1050131 h 1619250"/>
                      <a:gd name="connsiteX190" fmla="*/ 1436306 w 1614899"/>
                      <a:gd name="connsiteY190" fmla="*/ 1062037 h 1619250"/>
                      <a:gd name="connsiteX191" fmla="*/ 1441068 w 1614899"/>
                      <a:gd name="connsiteY191" fmla="*/ 1069181 h 1619250"/>
                      <a:gd name="connsiteX192" fmla="*/ 1450593 w 1614899"/>
                      <a:gd name="connsiteY192" fmla="*/ 1071562 h 1619250"/>
                      <a:gd name="connsiteX193" fmla="*/ 1464881 w 1614899"/>
                      <a:gd name="connsiteY193" fmla="*/ 1076325 h 1619250"/>
                      <a:gd name="connsiteX194" fmla="*/ 1467262 w 1614899"/>
                      <a:gd name="connsiteY194" fmla="*/ 1083469 h 1619250"/>
                      <a:gd name="connsiteX195" fmla="*/ 1488693 w 1614899"/>
                      <a:gd name="connsiteY195" fmla="*/ 1092994 h 1619250"/>
                      <a:gd name="connsiteX196" fmla="*/ 1500599 w 1614899"/>
                      <a:gd name="connsiteY196" fmla="*/ 1095375 h 1619250"/>
                      <a:gd name="connsiteX197" fmla="*/ 1514887 w 1614899"/>
                      <a:gd name="connsiteY197" fmla="*/ 1097756 h 1619250"/>
                      <a:gd name="connsiteX198" fmla="*/ 1522031 w 1614899"/>
                      <a:gd name="connsiteY198" fmla="*/ 1100137 h 1619250"/>
                      <a:gd name="connsiteX199" fmla="*/ 1541081 w 1614899"/>
                      <a:gd name="connsiteY199" fmla="*/ 1104900 h 1619250"/>
                      <a:gd name="connsiteX200" fmla="*/ 1545843 w 1614899"/>
                      <a:gd name="connsiteY200" fmla="*/ 1112044 h 1619250"/>
                      <a:gd name="connsiteX201" fmla="*/ 1543462 w 1614899"/>
                      <a:gd name="connsiteY201" fmla="*/ 1119187 h 1619250"/>
                      <a:gd name="connsiteX202" fmla="*/ 1557749 w 1614899"/>
                      <a:gd name="connsiteY202" fmla="*/ 1128712 h 1619250"/>
                      <a:gd name="connsiteX203" fmla="*/ 1564893 w 1614899"/>
                      <a:gd name="connsiteY203" fmla="*/ 1133475 h 1619250"/>
                      <a:gd name="connsiteX204" fmla="*/ 1579181 w 1614899"/>
                      <a:gd name="connsiteY204" fmla="*/ 1147762 h 1619250"/>
                      <a:gd name="connsiteX205" fmla="*/ 1593468 w 1614899"/>
                      <a:gd name="connsiteY205" fmla="*/ 1152525 h 1619250"/>
                      <a:gd name="connsiteX206" fmla="*/ 1600612 w 1614899"/>
                      <a:gd name="connsiteY206" fmla="*/ 1154906 h 1619250"/>
                      <a:gd name="connsiteX207" fmla="*/ 1607756 w 1614899"/>
                      <a:gd name="connsiteY207" fmla="*/ 1162050 h 1619250"/>
                      <a:gd name="connsiteX208" fmla="*/ 1610137 w 1614899"/>
                      <a:gd name="connsiteY208" fmla="*/ 1169194 h 1619250"/>
                      <a:gd name="connsiteX209" fmla="*/ 1614899 w 1614899"/>
                      <a:gd name="connsiteY209" fmla="*/ 1176337 h 1619250"/>
                      <a:gd name="connsiteX210" fmla="*/ 1612518 w 1614899"/>
                      <a:gd name="connsiteY210" fmla="*/ 1195387 h 1619250"/>
                      <a:gd name="connsiteX211" fmla="*/ 1610137 w 1614899"/>
                      <a:gd name="connsiteY211" fmla="*/ 1202531 h 1619250"/>
                      <a:gd name="connsiteX212" fmla="*/ 1602993 w 1614899"/>
                      <a:gd name="connsiteY212" fmla="*/ 1204912 h 1619250"/>
                      <a:gd name="connsiteX213" fmla="*/ 1600612 w 1614899"/>
                      <a:gd name="connsiteY213" fmla="*/ 1212056 h 1619250"/>
                      <a:gd name="connsiteX214" fmla="*/ 1598231 w 1614899"/>
                      <a:gd name="connsiteY214" fmla="*/ 1247775 h 1619250"/>
                      <a:gd name="connsiteX215" fmla="*/ 1579181 w 1614899"/>
                      <a:gd name="connsiteY215" fmla="*/ 1245394 h 1619250"/>
                      <a:gd name="connsiteX216" fmla="*/ 1550606 w 1614899"/>
                      <a:gd name="connsiteY216" fmla="*/ 1231106 h 1619250"/>
                      <a:gd name="connsiteX217" fmla="*/ 1543462 w 1614899"/>
                      <a:gd name="connsiteY217" fmla="*/ 1226344 h 1619250"/>
                      <a:gd name="connsiteX218" fmla="*/ 1543462 w 1614899"/>
                      <a:gd name="connsiteY218" fmla="*/ 1197769 h 1619250"/>
                      <a:gd name="connsiteX219" fmla="*/ 1545843 w 1614899"/>
                      <a:gd name="connsiteY219" fmla="*/ 1183481 h 1619250"/>
                      <a:gd name="connsiteX220" fmla="*/ 1531556 w 1614899"/>
                      <a:gd name="connsiteY220" fmla="*/ 1176337 h 1619250"/>
                      <a:gd name="connsiteX221" fmla="*/ 1529174 w 1614899"/>
                      <a:gd name="connsiteY221" fmla="*/ 1169194 h 1619250"/>
                      <a:gd name="connsiteX222" fmla="*/ 1531556 w 1614899"/>
                      <a:gd name="connsiteY222" fmla="*/ 1152525 h 1619250"/>
                      <a:gd name="connsiteX223" fmla="*/ 1524412 w 1614899"/>
                      <a:gd name="connsiteY223" fmla="*/ 1154906 h 1619250"/>
                      <a:gd name="connsiteX224" fmla="*/ 1517268 w 1614899"/>
                      <a:gd name="connsiteY224" fmla="*/ 1159669 h 1619250"/>
                      <a:gd name="connsiteX225" fmla="*/ 1502981 w 1614899"/>
                      <a:gd name="connsiteY225" fmla="*/ 1164431 h 1619250"/>
                      <a:gd name="connsiteX226" fmla="*/ 1481549 w 1614899"/>
                      <a:gd name="connsiteY226" fmla="*/ 1169194 h 1619250"/>
                      <a:gd name="connsiteX227" fmla="*/ 1457737 w 1614899"/>
                      <a:gd name="connsiteY227" fmla="*/ 1164431 h 1619250"/>
                      <a:gd name="connsiteX228" fmla="*/ 1443449 w 1614899"/>
                      <a:gd name="connsiteY228" fmla="*/ 1154906 h 1619250"/>
                      <a:gd name="connsiteX229" fmla="*/ 1436306 w 1614899"/>
                      <a:gd name="connsiteY229" fmla="*/ 1150144 h 1619250"/>
                      <a:gd name="connsiteX230" fmla="*/ 1426781 w 1614899"/>
                      <a:gd name="connsiteY230" fmla="*/ 1140619 h 1619250"/>
                      <a:gd name="connsiteX231" fmla="*/ 1402968 w 1614899"/>
                      <a:gd name="connsiteY231" fmla="*/ 1138237 h 1619250"/>
                      <a:gd name="connsiteX232" fmla="*/ 1395824 w 1614899"/>
                      <a:gd name="connsiteY232" fmla="*/ 1145381 h 1619250"/>
                      <a:gd name="connsiteX233" fmla="*/ 1374393 w 1614899"/>
                      <a:gd name="connsiteY233" fmla="*/ 1162050 h 1619250"/>
                      <a:gd name="connsiteX234" fmla="*/ 1367249 w 1614899"/>
                      <a:gd name="connsiteY234" fmla="*/ 1188244 h 1619250"/>
                      <a:gd name="connsiteX235" fmla="*/ 1357724 w 1614899"/>
                      <a:gd name="connsiteY235" fmla="*/ 1202531 h 1619250"/>
                      <a:gd name="connsiteX236" fmla="*/ 1348199 w 1614899"/>
                      <a:gd name="connsiteY236" fmla="*/ 1212056 h 1619250"/>
                      <a:gd name="connsiteX237" fmla="*/ 1345818 w 1614899"/>
                      <a:gd name="connsiteY237" fmla="*/ 1219200 h 1619250"/>
                      <a:gd name="connsiteX238" fmla="*/ 1341056 w 1614899"/>
                      <a:gd name="connsiteY238" fmla="*/ 1228725 h 1619250"/>
                      <a:gd name="connsiteX239" fmla="*/ 1350581 w 1614899"/>
                      <a:gd name="connsiteY239" fmla="*/ 1243012 h 1619250"/>
                      <a:gd name="connsiteX240" fmla="*/ 1343437 w 1614899"/>
                      <a:gd name="connsiteY240" fmla="*/ 1266825 h 1619250"/>
                      <a:gd name="connsiteX241" fmla="*/ 1345818 w 1614899"/>
                      <a:gd name="connsiteY241" fmla="*/ 1281112 h 1619250"/>
                      <a:gd name="connsiteX242" fmla="*/ 1348199 w 1614899"/>
                      <a:gd name="connsiteY242" fmla="*/ 1290637 h 1619250"/>
                      <a:gd name="connsiteX243" fmla="*/ 1355343 w 1614899"/>
                      <a:gd name="connsiteY243" fmla="*/ 1297781 h 1619250"/>
                      <a:gd name="connsiteX244" fmla="*/ 1362487 w 1614899"/>
                      <a:gd name="connsiteY244" fmla="*/ 1300162 h 1619250"/>
                      <a:gd name="connsiteX245" fmla="*/ 1386299 w 1614899"/>
                      <a:gd name="connsiteY245" fmla="*/ 1302544 h 1619250"/>
                      <a:gd name="connsiteX246" fmla="*/ 1395824 w 1614899"/>
                      <a:gd name="connsiteY246" fmla="*/ 1309687 h 1619250"/>
                      <a:gd name="connsiteX247" fmla="*/ 1410112 w 1614899"/>
                      <a:gd name="connsiteY247" fmla="*/ 1314450 h 1619250"/>
                      <a:gd name="connsiteX248" fmla="*/ 1417256 w 1614899"/>
                      <a:gd name="connsiteY248" fmla="*/ 1319212 h 1619250"/>
                      <a:gd name="connsiteX249" fmla="*/ 1431543 w 1614899"/>
                      <a:gd name="connsiteY249" fmla="*/ 1326356 h 1619250"/>
                      <a:gd name="connsiteX250" fmla="*/ 1433924 w 1614899"/>
                      <a:gd name="connsiteY250" fmla="*/ 1333500 h 1619250"/>
                      <a:gd name="connsiteX251" fmla="*/ 1429162 w 1614899"/>
                      <a:gd name="connsiteY251" fmla="*/ 1340644 h 1619250"/>
                      <a:gd name="connsiteX252" fmla="*/ 1426781 w 1614899"/>
                      <a:gd name="connsiteY252" fmla="*/ 1347787 h 1619250"/>
                      <a:gd name="connsiteX253" fmla="*/ 1431543 w 1614899"/>
                      <a:gd name="connsiteY253" fmla="*/ 1354931 h 1619250"/>
                      <a:gd name="connsiteX254" fmla="*/ 1436306 w 1614899"/>
                      <a:gd name="connsiteY254" fmla="*/ 1364456 h 1619250"/>
                      <a:gd name="connsiteX255" fmla="*/ 1443449 w 1614899"/>
                      <a:gd name="connsiteY255" fmla="*/ 1395412 h 1619250"/>
                      <a:gd name="connsiteX256" fmla="*/ 1450593 w 1614899"/>
                      <a:gd name="connsiteY256" fmla="*/ 1402556 h 1619250"/>
                      <a:gd name="connsiteX257" fmla="*/ 1448212 w 1614899"/>
                      <a:gd name="connsiteY257" fmla="*/ 1412081 h 1619250"/>
                      <a:gd name="connsiteX258" fmla="*/ 1433924 w 1614899"/>
                      <a:gd name="connsiteY258" fmla="*/ 1416844 h 1619250"/>
                      <a:gd name="connsiteX259" fmla="*/ 1419637 w 1614899"/>
                      <a:gd name="connsiteY259" fmla="*/ 1423987 h 1619250"/>
                      <a:gd name="connsiteX260" fmla="*/ 1405349 w 1614899"/>
                      <a:gd name="connsiteY260" fmla="*/ 1431131 h 1619250"/>
                      <a:gd name="connsiteX261" fmla="*/ 1398206 w 1614899"/>
                      <a:gd name="connsiteY261" fmla="*/ 1435894 h 1619250"/>
                      <a:gd name="connsiteX262" fmla="*/ 1383918 w 1614899"/>
                      <a:gd name="connsiteY262" fmla="*/ 1440656 h 1619250"/>
                      <a:gd name="connsiteX263" fmla="*/ 1376774 w 1614899"/>
                      <a:gd name="connsiteY263" fmla="*/ 1443037 h 1619250"/>
                      <a:gd name="connsiteX264" fmla="*/ 1364868 w 1614899"/>
                      <a:gd name="connsiteY264" fmla="*/ 1464469 h 1619250"/>
                      <a:gd name="connsiteX265" fmla="*/ 1362487 w 1614899"/>
                      <a:gd name="connsiteY265" fmla="*/ 1473994 h 1619250"/>
                      <a:gd name="connsiteX266" fmla="*/ 1364868 w 1614899"/>
                      <a:gd name="connsiteY266" fmla="*/ 1497806 h 1619250"/>
                      <a:gd name="connsiteX267" fmla="*/ 1372012 w 1614899"/>
                      <a:gd name="connsiteY267" fmla="*/ 1500187 h 1619250"/>
                      <a:gd name="connsiteX268" fmla="*/ 1369631 w 1614899"/>
                      <a:gd name="connsiteY268" fmla="*/ 1516856 h 1619250"/>
                      <a:gd name="connsiteX269" fmla="*/ 1367249 w 1614899"/>
                      <a:gd name="connsiteY269" fmla="*/ 1524000 h 1619250"/>
                      <a:gd name="connsiteX270" fmla="*/ 1360106 w 1614899"/>
                      <a:gd name="connsiteY270" fmla="*/ 1526381 h 1619250"/>
                      <a:gd name="connsiteX271" fmla="*/ 1352962 w 1614899"/>
                      <a:gd name="connsiteY271" fmla="*/ 1531144 h 1619250"/>
                      <a:gd name="connsiteX272" fmla="*/ 1343437 w 1614899"/>
                      <a:gd name="connsiteY272" fmla="*/ 1535906 h 1619250"/>
                      <a:gd name="connsiteX273" fmla="*/ 1329149 w 1614899"/>
                      <a:gd name="connsiteY273" fmla="*/ 1550194 h 1619250"/>
                      <a:gd name="connsiteX274" fmla="*/ 1326768 w 1614899"/>
                      <a:gd name="connsiteY274" fmla="*/ 1559719 h 1619250"/>
                      <a:gd name="connsiteX275" fmla="*/ 1322006 w 1614899"/>
                      <a:gd name="connsiteY275" fmla="*/ 1566862 h 1619250"/>
                      <a:gd name="connsiteX276" fmla="*/ 1319624 w 1614899"/>
                      <a:gd name="connsiteY276" fmla="*/ 1578769 h 1619250"/>
                      <a:gd name="connsiteX277" fmla="*/ 1317243 w 1614899"/>
                      <a:gd name="connsiteY277" fmla="*/ 1585912 h 1619250"/>
                      <a:gd name="connsiteX278" fmla="*/ 1314862 w 1614899"/>
                      <a:gd name="connsiteY278" fmla="*/ 1602581 h 1619250"/>
                      <a:gd name="connsiteX279" fmla="*/ 1283906 w 1614899"/>
                      <a:gd name="connsiteY279" fmla="*/ 1614487 h 1619250"/>
                      <a:gd name="connsiteX280" fmla="*/ 1274381 w 1614899"/>
                      <a:gd name="connsiteY280" fmla="*/ 1616869 h 1619250"/>
                      <a:gd name="connsiteX281" fmla="*/ 1260093 w 1614899"/>
                      <a:gd name="connsiteY281" fmla="*/ 1619250 h 1619250"/>
                      <a:gd name="connsiteX282" fmla="*/ 1248187 w 1614899"/>
                      <a:gd name="connsiteY282" fmla="*/ 1616869 h 1619250"/>
                      <a:gd name="connsiteX283" fmla="*/ 1243424 w 1614899"/>
                      <a:gd name="connsiteY283" fmla="*/ 1597819 h 1619250"/>
                      <a:gd name="connsiteX284" fmla="*/ 1238662 w 1614899"/>
                      <a:gd name="connsiteY284" fmla="*/ 1581150 h 1619250"/>
                      <a:gd name="connsiteX285" fmla="*/ 1243424 w 1614899"/>
                      <a:gd name="connsiteY285" fmla="*/ 1566862 h 1619250"/>
                      <a:gd name="connsiteX286" fmla="*/ 1252949 w 1614899"/>
                      <a:gd name="connsiteY286" fmla="*/ 1552575 h 1619250"/>
                      <a:gd name="connsiteX287" fmla="*/ 1260093 w 1614899"/>
                      <a:gd name="connsiteY287" fmla="*/ 1550194 h 1619250"/>
                      <a:gd name="connsiteX288" fmla="*/ 1267237 w 1614899"/>
                      <a:gd name="connsiteY288" fmla="*/ 1543050 h 1619250"/>
                      <a:gd name="connsiteX289" fmla="*/ 1269618 w 1614899"/>
                      <a:gd name="connsiteY289" fmla="*/ 1535906 h 1619250"/>
                      <a:gd name="connsiteX290" fmla="*/ 1274381 w 1614899"/>
                      <a:gd name="connsiteY290" fmla="*/ 1526381 h 1619250"/>
                      <a:gd name="connsiteX291" fmla="*/ 1267237 w 1614899"/>
                      <a:gd name="connsiteY291" fmla="*/ 1502569 h 1619250"/>
                      <a:gd name="connsiteX292" fmla="*/ 1252949 w 1614899"/>
                      <a:gd name="connsiteY292" fmla="*/ 1493044 h 1619250"/>
                      <a:gd name="connsiteX293" fmla="*/ 1262474 w 1614899"/>
                      <a:gd name="connsiteY293" fmla="*/ 1478756 h 1619250"/>
                      <a:gd name="connsiteX294" fmla="*/ 1279143 w 1614899"/>
                      <a:gd name="connsiteY294" fmla="*/ 1462087 h 1619250"/>
                      <a:gd name="connsiteX295" fmla="*/ 1302956 w 1614899"/>
                      <a:gd name="connsiteY295" fmla="*/ 1459706 h 1619250"/>
                      <a:gd name="connsiteX296" fmla="*/ 1305337 w 1614899"/>
                      <a:gd name="connsiteY296" fmla="*/ 1450181 h 1619250"/>
                      <a:gd name="connsiteX297" fmla="*/ 1310099 w 1614899"/>
                      <a:gd name="connsiteY297" fmla="*/ 1443037 h 1619250"/>
                      <a:gd name="connsiteX298" fmla="*/ 1312481 w 1614899"/>
                      <a:gd name="connsiteY298" fmla="*/ 1435894 h 1619250"/>
                      <a:gd name="connsiteX299" fmla="*/ 1305337 w 1614899"/>
                      <a:gd name="connsiteY299" fmla="*/ 1428750 h 1619250"/>
                      <a:gd name="connsiteX300" fmla="*/ 1298193 w 1614899"/>
                      <a:gd name="connsiteY300" fmla="*/ 1423987 h 1619250"/>
                      <a:gd name="connsiteX301" fmla="*/ 1295812 w 1614899"/>
                      <a:gd name="connsiteY301" fmla="*/ 1412081 h 1619250"/>
                      <a:gd name="connsiteX302" fmla="*/ 1293431 w 1614899"/>
                      <a:gd name="connsiteY302" fmla="*/ 1402556 h 1619250"/>
                      <a:gd name="connsiteX303" fmla="*/ 1288668 w 1614899"/>
                      <a:gd name="connsiteY303" fmla="*/ 1369219 h 1619250"/>
                      <a:gd name="connsiteX304" fmla="*/ 1286287 w 1614899"/>
                      <a:gd name="connsiteY304" fmla="*/ 1362075 h 1619250"/>
                      <a:gd name="connsiteX305" fmla="*/ 1276762 w 1614899"/>
                      <a:gd name="connsiteY305" fmla="*/ 1345406 h 1619250"/>
                      <a:gd name="connsiteX306" fmla="*/ 1267237 w 1614899"/>
                      <a:gd name="connsiteY306" fmla="*/ 1343025 h 1619250"/>
                      <a:gd name="connsiteX307" fmla="*/ 1260093 w 1614899"/>
                      <a:gd name="connsiteY307" fmla="*/ 1340644 h 1619250"/>
                      <a:gd name="connsiteX308" fmla="*/ 1252949 w 1614899"/>
                      <a:gd name="connsiteY308" fmla="*/ 1307306 h 1619250"/>
                      <a:gd name="connsiteX309" fmla="*/ 1248187 w 1614899"/>
                      <a:gd name="connsiteY309" fmla="*/ 1293019 h 1619250"/>
                      <a:gd name="connsiteX310" fmla="*/ 1243424 w 1614899"/>
                      <a:gd name="connsiteY310" fmla="*/ 1278731 h 1619250"/>
                      <a:gd name="connsiteX311" fmla="*/ 1241043 w 1614899"/>
                      <a:gd name="connsiteY311" fmla="*/ 1271587 h 1619250"/>
                      <a:gd name="connsiteX312" fmla="*/ 1236281 w 1614899"/>
                      <a:gd name="connsiteY312" fmla="*/ 1262062 h 1619250"/>
                      <a:gd name="connsiteX313" fmla="*/ 1231518 w 1614899"/>
                      <a:gd name="connsiteY313" fmla="*/ 1247775 h 1619250"/>
                      <a:gd name="connsiteX314" fmla="*/ 1224374 w 1614899"/>
                      <a:gd name="connsiteY314" fmla="*/ 1240631 h 1619250"/>
                      <a:gd name="connsiteX315" fmla="*/ 1214849 w 1614899"/>
                      <a:gd name="connsiteY315" fmla="*/ 1226344 h 1619250"/>
                      <a:gd name="connsiteX316" fmla="*/ 1195799 w 1614899"/>
                      <a:gd name="connsiteY316" fmla="*/ 1233487 h 1619250"/>
                      <a:gd name="connsiteX317" fmla="*/ 1198181 w 1614899"/>
                      <a:gd name="connsiteY317" fmla="*/ 1240631 h 1619250"/>
                      <a:gd name="connsiteX318" fmla="*/ 1191037 w 1614899"/>
                      <a:gd name="connsiteY318" fmla="*/ 1243012 h 1619250"/>
                      <a:gd name="connsiteX319" fmla="*/ 1164843 w 1614899"/>
                      <a:gd name="connsiteY319" fmla="*/ 1238250 h 1619250"/>
                      <a:gd name="connsiteX320" fmla="*/ 1155318 w 1614899"/>
                      <a:gd name="connsiteY320" fmla="*/ 1223962 h 1619250"/>
                      <a:gd name="connsiteX321" fmla="*/ 1148174 w 1614899"/>
                      <a:gd name="connsiteY321" fmla="*/ 1216819 h 1619250"/>
                      <a:gd name="connsiteX322" fmla="*/ 1138649 w 1614899"/>
                      <a:gd name="connsiteY322" fmla="*/ 1219200 h 1619250"/>
                      <a:gd name="connsiteX323" fmla="*/ 1131506 w 1614899"/>
                      <a:gd name="connsiteY323" fmla="*/ 1221581 h 1619250"/>
                      <a:gd name="connsiteX324" fmla="*/ 1124362 w 1614899"/>
                      <a:gd name="connsiteY324" fmla="*/ 1219200 h 1619250"/>
                      <a:gd name="connsiteX325" fmla="*/ 1117218 w 1614899"/>
                      <a:gd name="connsiteY325" fmla="*/ 1212056 h 1619250"/>
                      <a:gd name="connsiteX326" fmla="*/ 1117218 w 1614899"/>
                      <a:gd name="connsiteY326" fmla="*/ 1193006 h 1619250"/>
                      <a:gd name="connsiteX327" fmla="*/ 1112456 w 1614899"/>
                      <a:gd name="connsiteY327" fmla="*/ 1154906 h 1619250"/>
                      <a:gd name="connsiteX328" fmla="*/ 1107693 w 1614899"/>
                      <a:gd name="connsiteY328" fmla="*/ 1147762 h 1619250"/>
                      <a:gd name="connsiteX329" fmla="*/ 1100549 w 1614899"/>
                      <a:gd name="connsiteY329" fmla="*/ 1145381 h 1619250"/>
                      <a:gd name="connsiteX330" fmla="*/ 1093406 w 1614899"/>
                      <a:gd name="connsiteY330" fmla="*/ 1147762 h 1619250"/>
                      <a:gd name="connsiteX331" fmla="*/ 1062449 w 1614899"/>
                      <a:gd name="connsiteY331" fmla="*/ 1152525 h 1619250"/>
                      <a:gd name="connsiteX332" fmla="*/ 1045781 w 1614899"/>
                      <a:gd name="connsiteY332" fmla="*/ 1150144 h 1619250"/>
                      <a:gd name="connsiteX333" fmla="*/ 1043399 w 1614899"/>
                      <a:gd name="connsiteY333" fmla="*/ 1143000 h 1619250"/>
                      <a:gd name="connsiteX334" fmla="*/ 1050543 w 1614899"/>
                      <a:gd name="connsiteY334" fmla="*/ 1128712 h 1619250"/>
                      <a:gd name="connsiteX335" fmla="*/ 1041018 w 1614899"/>
                      <a:gd name="connsiteY335" fmla="*/ 1107281 h 1619250"/>
                      <a:gd name="connsiteX336" fmla="*/ 1024349 w 1614899"/>
                      <a:gd name="connsiteY336" fmla="*/ 1109662 h 1619250"/>
                      <a:gd name="connsiteX337" fmla="*/ 1014824 w 1614899"/>
                      <a:gd name="connsiteY337" fmla="*/ 1107281 h 1619250"/>
                      <a:gd name="connsiteX338" fmla="*/ 988631 w 1614899"/>
                      <a:gd name="connsiteY338" fmla="*/ 1109662 h 1619250"/>
                      <a:gd name="connsiteX339" fmla="*/ 986249 w 1614899"/>
                      <a:gd name="connsiteY339" fmla="*/ 1102519 h 1619250"/>
                      <a:gd name="connsiteX340" fmla="*/ 979106 w 1614899"/>
                      <a:gd name="connsiteY340" fmla="*/ 1076325 h 1619250"/>
                      <a:gd name="connsiteX341" fmla="*/ 964818 w 1614899"/>
                      <a:gd name="connsiteY341" fmla="*/ 1064419 h 1619250"/>
                      <a:gd name="connsiteX342" fmla="*/ 950531 w 1614899"/>
                      <a:gd name="connsiteY342" fmla="*/ 1054894 h 1619250"/>
                      <a:gd name="connsiteX343" fmla="*/ 943387 w 1614899"/>
                      <a:gd name="connsiteY343" fmla="*/ 1050131 h 1619250"/>
                      <a:gd name="connsiteX344" fmla="*/ 936243 w 1614899"/>
                      <a:gd name="connsiteY344" fmla="*/ 1045369 h 1619250"/>
                      <a:gd name="connsiteX345" fmla="*/ 931481 w 1614899"/>
                      <a:gd name="connsiteY345" fmla="*/ 1038225 h 1619250"/>
                      <a:gd name="connsiteX346" fmla="*/ 917193 w 1614899"/>
                      <a:gd name="connsiteY346" fmla="*/ 1031081 h 1619250"/>
                      <a:gd name="connsiteX347" fmla="*/ 914812 w 1614899"/>
                      <a:gd name="connsiteY347" fmla="*/ 1040606 h 1619250"/>
                      <a:gd name="connsiteX348" fmla="*/ 907668 w 1614899"/>
                      <a:gd name="connsiteY348" fmla="*/ 1042987 h 1619250"/>
                      <a:gd name="connsiteX349" fmla="*/ 886237 w 1614899"/>
                      <a:gd name="connsiteY349" fmla="*/ 1031081 h 1619250"/>
                      <a:gd name="connsiteX350" fmla="*/ 862424 w 1614899"/>
                      <a:gd name="connsiteY350" fmla="*/ 1035844 h 1619250"/>
                      <a:gd name="connsiteX351" fmla="*/ 845756 w 1614899"/>
                      <a:gd name="connsiteY351" fmla="*/ 1040606 h 1619250"/>
                      <a:gd name="connsiteX352" fmla="*/ 840993 w 1614899"/>
                      <a:gd name="connsiteY352" fmla="*/ 1033462 h 1619250"/>
                      <a:gd name="connsiteX353" fmla="*/ 821943 w 1614899"/>
                      <a:gd name="connsiteY353" fmla="*/ 1004887 h 1619250"/>
                      <a:gd name="connsiteX354" fmla="*/ 814799 w 1614899"/>
                      <a:gd name="connsiteY354" fmla="*/ 1000125 h 1619250"/>
                      <a:gd name="connsiteX355" fmla="*/ 779081 w 1614899"/>
                      <a:gd name="connsiteY355" fmla="*/ 995362 h 1619250"/>
                      <a:gd name="connsiteX356" fmla="*/ 771937 w 1614899"/>
                      <a:gd name="connsiteY356" fmla="*/ 988219 h 1619250"/>
                      <a:gd name="connsiteX357" fmla="*/ 762412 w 1614899"/>
                      <a:gd name="connsiteY357" fmla="*/ 966787 h 1619250"/>
                      <a:gd name="connsiteX358" fmla="*/ 755268 w 1614899"/>
                      <a:gd name="connsiteY358" fmla="*/ 962025 h 1619250"/>
                      <a:gd name="connsiteX359" fmla="*/ 733837 w 1614899"/>
                      <a:gd name="connsiteY359" fmla="*/ 962025 h 1619250"/>
                      <a:gd name="connsiteX360" fmla="*/ 731456 w 1614899"/>
                      <a:gd name="connsiteY360" fmla="*/ 950119 h 1619250"/>
                      <a:gd name="connsiteX361" fmla="*/ 729074 w 1614899"/>
                      <a:gd name="connsiteY361" fmla="*/ 942975 h 1619250"/>
                      <a:gd name="connsiteX362" fmla="*/ 726693 w 1614899"/>
                      <a:gd name="connsiteY362" fmla="*/ 921544 h 1619250"/>
                      <a:gd name="connsiteX363" fmla="*/ 724312 w 1614899"/>
                      <a:gd name="connsiteY363" fmla="*/ 914400 h 1619250"/>
                      <a:gd name="connsiteX364" fmla="*/ 717168 w 1614899"/>
                      <a:gd name="connsiteY364" fmla="*/ 909637 h 1619250"/>
                      <a:gd name="connsiteX365" fmla="*/ 710024 w 1614899"/>
                      <a:gd name="connsiteY365" fmla="*/ 907256 h 1619250"/>
                      <a:gd name="connsiteX366" fmla="*/ 681449 w 1614899"/>
                      <a:gd name="connsiteY366" fmla="*/ 902494 h 1619250"/>
                      <a:gd name="connsiteX367" fmla="*/ 674306 w 1614899"/>
                      <a:gd name="connsiteY367" fmla="*/ 897731 h 1619250"/>
                      <a:gd name="connsiteX368" fmla="*/ 667162 w 1614899"/>
                      <a:gd name="connsiteY368" fmla="*/ 883444 h 1619250"/>
                      <a:gd name="connsiteX369" fmla="*/ 657637 w 1614899"/>
                      <a:gd name="connsiteY369" fmla="*/ 881062 h 1619250"/>
                      <a:gd name="connsiteX370" fmla="*/ 650493 w 1614899"/>
                      <a:gd name="connsiteY370" fmla="*/ 873919 h 1619250"/>
                      <a:gd name="connsiteX371" fmla="*/ 648112 w 1614899"/>
                      <a:gd name="connsiteY371" fmla="*/ 866775 h 1619250"/>
                      <a:gd name="connsiteX372" fmla="*/ 643349 w 1614899"/>
                      <a:gd name="connsiteY372" fmla="*/ 859631 h 1619250"/>
                      <a:gd name="connsiteX373" fmla="*/ 631443 w 1614899"/>
                      <a:gd name="connsiteY373" fmla="*/ 838200 h 1619250"/>
                      <a:gd name="connsiteX374" fmla="*/ 624299 w 1614899"/>
                      <a:gd name="connsiteY374" fmla="*/ 833437 h 1619250"/>
                      <a:gd name="connsiteX375" fmla="*/ 593343 w 1614899"/>
                      <a:gd name="connsiteY375" fmla="*/ 835819 h 1619250"/>
                      <a:gd name="connsiteX376" fmla="*/ 586199 w 1614899"/>
                      <a:gd name="connsiteY376" fmla="*/ 816769 h 1619250"/>
                      <a:gd name="connsiteX377" fmla="*/ 569531 w 1614899"/>
                      <a:gd name="connsiteY377" fmla="*/ 795337 h 1619250"/>
                      <a:gd name="connsiteX378" fmla="*/ 564768 w 1614899"/>
                      <a:gd name="connsiteY378" fmla="*/ 788194 h 1619250"/>
                      <a:gd name="connsiteX379" fmla="*/ 557624 w 1614899"/>
                      <a:gd name="connsiteY379" fmla="*/ 785812 h 1619250"/>
                      <a:gd name="connsiteX380" fmla="*/ 550481 w 1614899"/>
                      <a:gd name="connsiteY380" fmla="*/ 781050 h 1619250"/>
                      <a:gd name="connsiteX381" fmla="*/ 536193 w 1614899"/>
                      <a:gd name="connsiteY381" fmla="*/ 776287 h 1619250"/>
                      <a:gd name="connsiteX382" fmla="*/ 538574 w 1614899"/>
                      <a:gd name="connsiteY382" fmla="*/ 747712 h 1619250"/>
                      <a:gd name="connsiteX383" fmla="*/ 533812 w 1614899"/>
                      <a:gd name="connsiteY383" fmla="*/ 740569 h 1619250"/>
                      <a:gd name="connsiteX384" fmla="*/ 519524 w 1614899"/>
                      <a:gd name="connsiteY384" fmla="*/ 731044 h 1619250"/>
                      <a:gd name="connsiteX385" fmla="*/ 512381 w 1614899"/>
                      <a:gd name="connsiteY385" fmla="*/ 735806 h 1619250"/>
                      <a:gd name="connsiteX386" fmla="*/ 505237 w 1614899"/>
                      <a:gd name="connsiteY386" fmla="*/ 738187 h 1619250"/>
                      <a:gd name="connsiteX387" fmla="*/ 507618 w 1614899"/>
                      <a:gd name="connsiteY387" fmla="*/ 723900 h 1619250"/>
                      <a:gd name="connsiteX388" fmla="*/ 505237 w 1614899"/>
                      <a:gd name="connsiteY388" fmla="*/ 688181 h 1619250"/>
                      <a:gd name="connsiteX389" fmla="*/ 493331 w 1614899"/>
                      <a:gd name="connsiteY389" fmla="*/ 666750 h 1619250"/>
                      <a:gd name="connsiteX390" fmla="*/ 486187 w 1614899"/>
                      <a:gd name="connsiteY390" fmla="*/ 659606 h 1619250"/>
                      <a:gd name="connsiteX391" fmla="*/ 481424 w 1614899"/>
                      <a:gd name="connsiteY391" fmla="*/ 652462 h 1619250"/>
                      <a:gd name="connsiteX392" fmla="*/ 479043 w 1614899"/>
                      <a:gd name="connsiteY392" fmla="*/ 614362 h 1619250"/>
                      <a:gd name="connsiteX393" fmla="*/ 474281 w 1614899"/>
                      <a:gd name="connsiteY393" fmla="*/ 595312 h 1619250"/>
                      <a:gd name="connsiteX394" fmla="*/ 467137 w 1614899"/>
                      <a:gd name="connsiteY394" fmla="*/ 578644 h 1619250"/>
                      <a:gd name="connsiteX395" fmla="*/ 459993 w 1614899"/>
                      <a:gd name="connsiteY395" fmla="*/ 571500 h 1619250"/>
                      <a:gd name="connsiteX396" fmla="*/ 440943 w 1614899"/>
                      <a:gd name="connsiteY396" fmla="*/ 554831 h 1619250"/>
                      <a:gd name="connsiteX397" fmla="*/ 426656 w 1614899"/>
                      <a:gd name="connsiteY397" fmla="*/ 550069 h 1619250"/>
                      <a:gd name="connsiteX398" fmla="*/ 424274 w 1614899"/>
                      <a:gd name="connsiteY398" fmla="*/ 557212 h 1619250"/>
                      <a:gd name="connsiteX399" fmla="*/ 414749 w 1614899"/>
                      <a:gd name="connsiteY399" fmla="*/ 552450 h 1619250"/>
                      <a:gd name="connsiteX400" fmla="*/ 407606 w 1614899"/>
                      <a:gd name="connsiteY400" fmla="*/ 545306 h 1619250"/>
                      <a:gd name="connsiteX401" fmla="*/ 390937 w 1614899"/>
                      <a:gd name="connsiteY401" fmla="*/ 535781 h 1619250"/>
                      <a:gd name="connsiteX402" fmla="*/ 383793 w 1614899"/>
                      <a:gd name="connsiteY402" fmla="*/ 528637 h 1619250"/>
                      <a:gd name="connsiteX403" fmla="*/ 374268 w 1614899"/>
                      <a:gd name="connsiteY403" fmla="*/ 526256 h 1619250"/>
                      <a:gd name="connsiteX404" fmla="*/ 352837 w 1614899"/>
                      <a:gd name="connsiteY404" fmla="*/ 519112 h 1619250"/>
                      <a:gd name="connsiteX405" fmla="*/ 345693 w 1614899"/>
                      <a:gd name="connsiteY405" fmla="*/ 516731 h 1619250"/>
                      <a:gd name="connsiteX406" fmla="*/ 338549 w 1614899"/>
                      <a:gd name="connsiteY406" fmla="*/ 514350 h 1619250"/>
                      <a:gd name="connsiteX407" fmla="*/ 326643 w 1614899"/>
                      <a:gd name="connsiteY407" fmla="*/ 504825 h 1619250"/>
                      <a:gd name="connsiteX408" fmla="*/ 321881 w 1614899"/>
                      <a:gd name="connsiteY408" fmla="*/ 497681 h 1619250"/>
                      <a:gd name="connsiteX409" fmla="*/ 314737 w 1614899"/>
                      <a:gd name="connsiteY409" fmla="*/ 490537 h 1619250"/>
                      <a:gd name="connsiteX410" fmla="*/ 307593 w 1614899"/>
                      <a:gd name="connsiteY410" fmla="*/ 485775 h 1619250"/>
                      <a:gd name="connsiteX411" fmla="*/ 293306 w 1614899"/>
                      <a:gd name="connsiteY411" fmla="*/ 481012 h 1619250"/>
                      <a:gd name="connsiteX412" fmla="*/ 269493 w 1614899"/>
                      <a:gd name="connsiteY412" fmla="*/ 483394 h 1619250"/>
                      <a:gd name="connsiteX413" fmla="*/ 259968 w 1614899"/>
                      <a:gd name="connsiteY413" fmla="*/ 490537 h 1619250"/>
                      <a:gd name="connsiteX414" fmla="*/ 243299 w 1614899"/>
                      <a:gd name="connsiteY414" fmla="*/ 497681 h 1619250"/>
                      <a:gd name="connsiteX415" fmla="*/ 236156 w 1614899"/>
                      <a:gd name="connsiteY415" fmla="*/ 502444 h 1619250"/>
                      <a:gd name="connsiteX416" fmla="*/ 233774 w 1614899"/>
                      <a:gd name="connsiteY416" fmla="*/ 509587 h 1619250"/>
                      <a:gd name="connsiteX417" fmla="*/ 231393 w 1614899"/>
                      <a:gd name="connsiteY417" fmla="*/ 519112 h 1619250"/>
                      <a:gd name="connsiteX418" fmla="*/ 224249 w 1614899"/>
                      <a:gd name="connsiteY418" fmla="*/ 521494 h 1619250"/>
                      <a:gd name="connsiteX419" fmla="*/ 209962 w 1614899"/>
                      <a:gd name="connsiteY419" fmla="*/ 528637 h 1619250"/>
                      <a:gd name="connsiteX420" fmla="*/ 200437 w 1614899"/>
                      <a:gd name="connsiteY420" fmla="*/ 542925 h 1619250"/>
                      <a:gd name="connsiteX421" fmla="*/ 195674 w 1614899"/>
                      <a:gd name="connsiteY421" fmla="*/ 557212 h 1619250"/>
                      <a:gd name="connsiteX422" fmla="*/ 188531 w 1614899"/>
                      <a:gd name="connsiteY422" fmla="*/ 559594 h 1619250"/>
                      <a:gd name="connsiteX423" fmla="*/ 176624 w 1614899"/>
                      <a:gd name="connsiteY423" fmla="*/ 564356 h 1619250"/>
                      <a:gd name="connsiteX424" fmla="*/ 164718 w 1614899"/>
                      <a:gd name="connsiteY424" fmla="*/ 566737 h 1619250"/>
                      <a:gd name="connsiteX425" fmla="*/ 157574 w 1614899"/>
                      <a:gd name="connsiteY425" fmla="*/ 569119 h 1619250"/>
                      <a:gd name="connsiteX426" fmla="*/ 148049 w 1614899"/>
                      <a:gd name="connsiteY426" fmla="*/ 571500 h 1619250"/>
                      <a:gd name="connsiteX427" fmla="*/ 140906 w 1614899"/>
                      <a:gd name="connsiteY427" fmla="*/ 573881 h 1619250"/>
                      <a:gd name="connsiteX428" fmla="*/ 121856 w 1614899"/>
                      <a:gd name="connsiteY428" fmla="*/ 576262 h 1619250"/>
                      <a:gd name="connsiteX429" fmla="*/ 119474 w 1614899"/>
                      <a:gd name="connsiteY429" fmla="*/ 571500 h 1619250"/>
                      <a:gd name="connsiteX430" fmla="*/ 128999 w 1614899"/>
                      <a:gd name="connsiteY430" fmla="*/ 557212 h 1619250"/>
                      <a:gd name="connsiteX431" fmla="*/ 131381 w 1614899"/>
                      <a:gd name="connsiteY431" fmla="*/ 550069 h 1619250"/>
                      <a:gd name="connsiteX432" fmla="*/ 140906 w 1614899"/>
                      <a:gd name="connsiteY432" fmla="*/ 535781 h 1619250"/>
                      <a:gd name="connsiteX433" fmla="*/ 133762 w 1614899"/>
                      <a:gd name="connsiteY433" fmla="*/ 533400 h 1619250"/>
                      <a:gd name="connsiteX434" fmla="*/ 128999 w 1614899"/>
                      <a:gd name="connsiteY434" fmla="*/ 516731 h 1619250"/>
                      <a:gd name="connsiteX435" fmla="*/ 69468 w 1614899"/>
                      <a:gd name="connsiteY435" fmla="*/ 514350 h 1619250"/>
                      <a:gd name="connsiteX436" fmla="*/ 67087 w 1614899"/>
                      <a:gd name="connsiteY436" fmla="*/ 507206 h 1619250"/>
                      <a:gd name="connsiteX437" fmla="*/ 52799 w 1614899"/>
                      <a:gd name="connsiteY437" fmla="*/ 497681 h 1619250"/>
                      <a:gd name="connsiteX438" fmla="*/ 55181 w 1614899"/>
                      <a:gd name="connsiteY438" fmla="*/ 488156 h 1619250"/>
                      <a:gd name="connsiteX439" fmla="*/ 40893 w 1614899"/>
                      <a:gd name="connsiteY439" fmla="*/ 483394 h 1619250"/>
                      <a:gd name="connsiteX440" fmla="*/ 38512 w 1614899"/>
                      <a:gd name="connsiteY440" fmla="*/ 471487 h 1619250"/>
                      <a:gd name="connsiteX441" fmla="*/ 36131 w 1614899"/>
                      <a:gd name="connsiteY441" fmla="*/ 464344 h 1619250"/>
                      <a:gd name="connsiteX442" fmla="*/ 38512 w 1614899"/>
                      <a:gd name="connsiteY442" fmla="*/ 452437 h 1619250"/>
                      <a:gd name="connsiteX443" fmla="*/ 38512 w 1614899"/>
                      <a:gd name="connsiteY443" fmla="*/ 428625 h 1619250"/>
                      <a:gd name="connsiteX444" fmla="*/ 45656 w 1614899"/>
                      <a:gd name="connsiteY444" fmla="*/ 426244 h 1619250"/>
                      <a:gd name="connsiteX445" fmla="*/ 52799 w 1614899"/>
                      <a:gd name="connsiteY445" fmla="*/ 421481 h 1619250"/>
                      <a:gd name="connsiteX446" fmla="*/ 59943 w 1614899"/>
                      <a:gd name="connsiteY446" fmla="*/ 419100 h 1619250"/>
                      <a:gd name="connsiteX447" fmla="*/ 64706 w 1614899"/>
                      <a:gd name="connsiteY447" fmla="*/ 411956 h 1619250"/>
                      <a:gd name="connsiteX448" fmla="*/ 55181 w 1614899"/>
                      <a:gd name="connsiteY448" fmla="*/ 392906 h 1619250"/>
                      <a:gd name="connsiteX449" fmla="*/ 40893 w 1614899"/>
                      <a:gd name="connsiteY449" fmla="*/ 388144 h 1619250"/>
                      <a:gd name="connsiteX450" fmla="*/ 33749 w 1614899"/>
                      <a:gd name="connsiteY450" fmla="*/ 390525 h 1619250"/>
                      <a:gd name="connsiteX451" fmla="*/ 28987 w 1614899"/>
                      <a:gd name="connsiteY451" fmla="*/ 390525 h 1619250"/>
                      <a:gd name="connsiteX452" fmla="*/ 21843 w 1614899"/>
                      <a:gd name="connsiteY452" fmla="*/ 388144 h 1619250"/>
                      <a:gd name="connsiteX453" fmla="*/ 14699 w 1614899"/>
                      <a:gd name="connsiteY453" fmla="*/ 364331 h 1619250"/>
                      <a:gd name="connsiteX454" fmla="*/ 2793 w 1614899"/>
                      <a:gd name="connsiteY454" fmla="*/ 361950 h 1619250"/>
                      <a:gd name="connsiteX455" fmla="*/ 2793 w 1614899"/>
                      <a:gd name="connsiteY455" fmla="*/ 345281 h 1619250"/>
                      <a:gd name="connsiteX456" fmla="*/ 17081 w 1614899"/>
                      <a:gd name="connsiteY456" fmla="*/ 340519 h 1619250"/>
                      <a:gd name="connsiteX457" fmla="*/ 24224 w 1614899"/>
                      <a:gd name="connsiteY457" fmla="*/ 347662 h 1619250"/>
                      <a:gd name="connsiteX458" fmla="*/ 40893 w 1614899"/>
                      <a:gd name="connsiteY458" fmla="*/ 342900 h 1619250"/>
                      <a:gd name="connsiteX459" fmla="*/ 57562 w 1614899"/>
                      <a:gd name="connsiteY459" fmla="*/ 333375 h 1619250"/>
                      <a:gd name="connsiteX460" fmla="*/ 64706 w 1614899"/>
                      <a:gd name="connsiteY460" fmla="*/ 328612 h 1619250"/>
                      <a:gd name="connsiteX461" fmla="*/ 71849 w 1614899"/>
                      <a:gd name="connsiteY461" fmla="*/ 326231 h 1619250"/>
                      <a:gd name="connsiteX462" fmla="*/ 90899 w 1614899"/>
                      <a:gd name="connsiteY462" fmla="*/ 321469 h 1619250"/>
                      <a:gd name="connsiteX463" fmla="*/ 86137 w 1614899"/>
                      <a:gd name="connsiteY463" fmla="*/ 311944 h 1619250"/>
                      <a:gd name="connsiteX464" fmla="*/ 88518 w 1614899"/>
                      <a:gd name="connsiteY464" fmla="*/ 292894 h 1619250"/>
                      <a:gd name="connsiteX465" fmla="*/ 90899 w 1614899"/>
                      <a:gd name="connsiteY465" fmla="*/ 285750 h 1619250"/>
                      <a:gd name="connsiteX466" fmla="*/ 76612 w 1614899"/>
                      <a:gd name="connsiteY466" fmla="*/ 280987 h 1619250"/>
                      <a:gd name="connsiteX467" fmla="*/ 71849 w 1614899"/>
                      <a:gd name="connsiteY467" fmla="*/ 273844 h 1619250"/>
                      <a:gd name="connsiteX468" fmla="*/ 67087 w 1614899"/>
                      <a:gd name="connsiteY468" fmla="*/ 250031 h 1619250"/>
                      <a:gd name="connsiteX469" fmla="*/ 45656 w 1614899"/>
                      <a:gd name="connsiteY469" fmla="*/ 250031 h 1619250"/>
                      <a:gd name="connsiteX470" fmla="*/ 40893 w 1614899"/>
                      <a:gd name="connsiteY470" fmla="*/ 242887 h 1619250"/>
                      <a:gd name="connsiteX471" fmla="*/ 43274 w 1614899"/>
                      <a:gd name="connsiteY471" fmla="*/ 223837 h 1619250"/>
                      <a:gd name="connsiteX472" fmla="*/ 57562 w 1614899"/>
                      <a:gd name="connsiteY472" fmla="*/ 211931 h 1619250"/>
                      <a:gd name="connsiteX473" fmla="*/ 74231 w 1614899"/>
                      <a:gd name="connsiteY473" fmla="*/ 200025 h 1619250"/>
                      <a:gd name="connsiteX474" fmla="*/ 81374 w 1614899"/>
                      <a:gd name="connsiteY474" fmla="*/ 202406 h 1619250"/>
                      <a:gd name="connsiteX475" fmla="*/ 83756 w 1614899"/>
                      <a:gd name="connsiteY475" fmla="*/ 209550 h 1619250"/>
                      <a:gd name="connsiteX476" fmla="*/ 102806 w 1614899"/>
                      <a:gd name="connsiteY476" fmla="*/ 204787 h 1619250"/>
                      <a:gd name="connsiteX477" fmla="*/ 109949 w 1614899"/>
                      <a:gd name="connsiteY477" fmla="*/ 200025 h 1619250"/>
                      <a:gd name="connsiteX478" fmla="*/ 119474 w 1614899"/>
                      <a:gd name="connsiteY478" fmla="*/ 197644 h 1619250"/>
                      <a:gd name="connsiteX479" fmla="*/ 133762 w 1614899"/>
                      <a:gd name="connsiteY479" fmla="*/ 192881 h 1619250"/>
                      <a:gd name="connsiteX480" fmla="*/ 140906 w 1614899"/>
                      <a:gd name="connsiteY480" fmla="*/ 190500 h 1619250"/>
                      <a:gd name="connsiteX481" fmla="*/ 148049 w 1614899"/>
                      <a:gd name="connsiteY481" fmla="*/ 195262 h 1619250"/>
                      <a:gd name="connsiteX482" fmla="*/ 155193 w 1614899"/>
                      <a:gd name="connsiteY482" fmla="*/ 204787 h 1619250"/>
                      <a:gd name="connsiteX483" fmla="*/ 164718 w 1614899"/>
                      <a:gd name="connsiteY483" fmla="*/ 202406 h 1619250"/>
                      <a:gd name="connsiteX484" fmla="*/ 190912 w 1614899"/>
                      <a:gd name="connsiteY484" fmla="*/ 200025 h 1619250"/>
                      <a:gd name="connsiteX485" fmla="*/ 193293 w 1614899"/>
                      <a:gd name="connsiteY485" fmla="*/ 192881 h 1619250"/>
                      <a:gd name="connsiteX486" fmla="*/ 198056 w 1614899"/>
                      <a:gd name="connsiteY486" fmla="*/ 185737 h 1619250"/>
                      <a:gd name="connsiteX487" fmla="*/ 195674 w 1614899"/>
                      <a:gd name="connsiteY487" fmla="*/ 178594 h 1619250"/>
                      <a:gd name="connsiteX488" fmla="*/ 186149 w 1614899"/>
                      <a:gd name="connsiteY488" fmla="*/ 159544 h 1619250"/>
                      <a:gd name="connsiteX489" fmla="*/ 217106 w 1614899"/>
                      <a:gd name="connsiteY489" fmla="*/ 152400 h 1619250"/>
                      <a:gd name="connsiteX490" fmla="*/ 209962 w 1614899"/>
                      <a:gd name="connsiteY490" fmla="*/ 145256 h 1619250"/>
                      <a:gd name="connsiteX491" fmla="*/ 202818 w 1614899"/>
                      <a:gd name="connsiteY491" fmla="*/ 140494 h 1619250"/>
                      <a:gd name="connsiteX492" fmla="*/ 212343 w 1614899"/>
                      <a:gd name="connsiteY492" fmla="*/ 133350 h 1619250"/>
                      <a:gd name="connsiteX493" fmla="*/ 233774 w 1614899"/>
                      <a:gd name="connsiteY493" fmla="*/ 123825 h 1619250"/>
                      <a:gd name="connsiteX494" fmla="*/ 238537 w 1614899"/>
                      <a:gd name="connsiteY494" fmla="*/ 116681 h 1619250"/>
                      <a:gd name="connsiteX495" fmla="*/ 240918 w 1614899"/>
                      <a:gd name="connsiteY495" fmla="*/ 107156 h 1619250"/>
                      <a:gd name="connsiteX496" fmla="*/ 248062 w 1614899"/>
                      <a:gd name="connsiteY496" fmla="*/ 109537 h 1619250"/>
                      <a:gd name="connsiteX497" fmla="*/ 250443 w 1614899"/>
                      <a:gd name="connsiteY497" fmla="*/ 116681 h 1619250"/>
                      <a:gd name="connsiteX498" fmla="*/ 252824 w 1614899"/>
                      <a:gd name="connsiteY498" fmla="*/ 130969 h 1619250"/>
                      <a:gd name="connsiteX499" fmla="*/ 269493 w 1614899"/>
                      <a:gd name="connsiteY499" fmla="*/ 138112 h 1619250"/>
                      <a:gd name="connsiteX500" fmla="*/ 271874 w 1614899"/>
                      <a:gd name="connsiteY500" fmla="*/ 145256 h 1619250"/>
                      <a:gd name="connsiteX501" fmla="*/ 264731 w 1614899"/>
                      <a:gd name="connsiteY501" fmla="*/ 152400 h 1619250"/>
                      <a:gd name="connsiteX502" fmla="*/ 262349 w 1614899"/>
                      <a:gd name="connsiteY502" fmla="*/ 159544 h 1619250"/>
                      <a:gd name="connsiteX503" fmla="*/ 264731 w 1614899"/>
                      <a:gd name="connsiteY503" fmla="*/ 173831 h 1619250"/>
                      <a:gd name="connsiteX504" fmla="*/ 274256 w 1614899"/>
                      <a:gd name="connsiteY504" fmla="*/ 176212 h 1619250"/>
                      <a:gd name="connsiteX505" fmla="*/ 295687 w 1614899"/>
                      <a:gd name="connsiteY505" fmla="*/ 178594 h 1619250"/>
                      <a:gd name="connsiteX506" fmla="*/ 293306 w 1614899"/>
                      <a:gd name="connsiteY506" fmla="*/ 185737 h 1619250"/>
                      <a:gd name="connsiteX507" fmla="*/ 295687 w 1614899"/>
                      <a:gd name="connsiteY507" fmla="*/ 200025 h 1619250"/>
                      <a:gd name="connsiteX508" fmla="*/ 302831 w 1614899"/>
                      <a:gd name="connsiteY508" fmla="*/ 216694 h 1619250"/>
                      <a:gd name="connsiteX509" fmla="*/ 307593 w 1614899"/>
                      <a:gd name="connsiteY509" fmla="*/ 223837 h 1619250"/>
                      <a:gd name="connsiteX510" fmla="*/ 314737 w 1614899"/>
                      <a:gd name="connsiteY510" fmla="*/ 228600 h 1619250"/>
                      <a:gd name="connsiteX511" fmla="*/ 326643 w 1614899"/>
                      <a:gd name="connsiteY511" fmla="*/ 226219 h 1619250"/>
                      <a:gd name="connsiteX512" fmla="*/ 321881 w 1614899"/>
                      <a:gd name="connsiteY512" fmla="*/ 200025 h 1619250"/>
                      <a:gd name="connsiteX513" fmla="*/ 314737 w 1614899"/>
                      <a:gd name="connsiteY513" fmla="*/ 197644 h 1619250"/>
                      <a:gd name="connsiteX514" fmla="*/ 324262 w 1614899"/>
                      <a:gd name="connsiteY514" fmla="*/ 180975 h 1619250"/>
                      <a:gd name="connsiteX515" fmla="*/ 329024 w 1614899"/>
                      <a:gd name="connsiteY515" fmla="*/ 173831 h 1619250"/>
                      <a:gd name="connsiteX516" fmla="*/ 343312 w 1614899"/>
                      <a:gd name="connsiteY516" fmla="*/ 159544 h 1619250"/>
                      <a:gd name="connsiteX517" fmla="*/ 348074 w 1614899"/>
                      <a:gd name="connsiteY517" fmla="*/ 145256 h 1619250"/>
                      <a:gd name="connsiteX518" fmla="*/ 350456 w 1614899"/>
                      <a:gd name="connsiteY518" fmla="*/ 114300 h 1619250"/>
                      <a:gd name="connsiteX519" fmla="*/ 357599 w 1614899"/>
                      <a:gd name="connsiteY519" fmla="*/ 111919 h 1619250"/>
                      <a:gd name="connsiteX520" fmla="*/ 364743 w 1614899"/>
                      <a:gd name="connsiteY520" fmla="*/ 114300 h 1619250"/>
                      <a:gd name="connsiteX521" fmla="*/ 371887 w 1614899"/>
                      <a:gd name="connsiteY521" fmla="*/ 114300 h 1619250"/>
                      <a:gd name="connsiteX522" fmla="*/ 381412 w 1614899"/>
                      <a:gd name="connsiteY522" fmla="*/ 138112 h 1619250"/>
                      <a:gd name="connsiteX523" fmla="*/ 395699 w 1614899"/>
                      <a:gd name="connsiteY523" fmla="*/ 150019 h 1619250"/>
                      <a:gd name="connsiteX524" fmla="*/ 409987 w 1614899"/>
                      <a:gd name="connsiteY524" fmla="*/ 147637 h 1619250"/>
                      <a:gd name="connsiteX525" fmla="*/ 412368 w 1614899"/>
                      <a:gd name="connsiteY525" fmla="*/ 133350 h 1619250"/>
                      <a:gd name="connsiteX526" fmla="*/ 426656 w 1614899"/>
                      <a:gd name="connsiteY526" fmla="*/ 128587 h 1619250"/>
                      <a:gd name="connsiteX527" fmla="*/ 433799 w 1614899"/>
                      <a:gd name="connsiteY527" fmla="*/ 142875 h 1619250"/>
                      <a:gd name="connsiteX528" fmla="*/ 448087 w 1614899"/>
                      <a:gd name="connsiteY528" fmla="*/ 161925 h 1619250"/>
                      <a:gd name="connsiteX529" fmla="*/ 464756 w 1614899"/>
                      <a:gd name="connsiteY529" fmla="*/ 159544 h 1619250"/>
                      <a:gd name="connsiteX530" fmla="*/ 452849 w 1614899"/>
                      <a:gd name="connsiteY530" fmla="*/ 138112 h 1619250"/>
                      <a:gd name="connsiteX531" fmla="*/ 450468 w 1614899"/>
                      <a:gd name="connsiteY531" fmla="*/ 111919 h 1619250"/>
                      <a:gd name="connsiteX532" fmla="*/ 443324 w 1614899"/>
                      <a:gd name="connsiteY532" fmla="*/ 107156 h 1619250"/>
                      <a:gd name="connsiteX533" fmla="*/ 440943 w 1614899"/>
                      <a:gd name="connsiteY533" fmla="*/ 100012 h 1619250"/>
                      <a:gd name="connsiteX534" fmla="*/ 450468 w 1614899"/>
                      <a:gd name="connsiteY534" fmla="*/ 88106 h 1619250"/>
                      <a:gd name="connsiteX535" fmla="*/ 476662 w 1614899"/>
                      <a:gd name="connsiteY535" fmla="*/ 90487 h 1619250"/>
                      <a:gd name="connsiteX536" fmla="*/ 486187 w 1614899"/>
                      <a:gd name="connsiteY536" fmla="*/ 92869 h 1619250"/>
                      <a:gd name="connsiteX537" fmla="*/ 493331 w 1614899"/>
                      <a:gd name="connsiteY537" fmla="*/ 97631 h 1619250"/>
                      <a:gd name="connsiteX538" fmla="*/ 502856 w 1614899"/>
                      <a:gd name="connsiteY538" fmla="*/ 95250 h 1619250"/>
                      <a:gd name="connsiteX539" fmla="*/ 509999 w 1614899"/>
                      <a:gd name="connsiteY539" fmla="*/ 90487 h 1619250"/>
                      <a:gd name="connsiteX540" fmla="*/ 507618 w 1614899"/>
                      <a:gd name="connsiteY540" fmla="*/ 83344 h 1619250"/>
                      <a:gd name="connsiteX541" fmla="*/ 500474 w 1614899"/>
                      <a:gd name="connsiteY541" fmla="*/ 80962 h 1619250"/>
                      <a:gd name="connsiteX542" fmla="*/ 493331 w 1614899"/>
                      <a:gd name="connsiteY542" fmla="*/ 76200 h 1619250"/>
                      <a:gd name="connsiteX543" fmla="*/ 495712 w 1614899"/>
                      <a:gd name="connsiteY543"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05262 w 1614899"/>
                      <a:gd name="connsiteY86" fmla="*/ 316706 h 1619250"/>
                      <a:gd name="connsiteX87" fmla="*/ 719549 w 1614899"/>
                      <a:gd name="connsiteY87" fmla="*/ 328612 h 1619250"/>
                      <a:gd name="connsiteX88" fmla="*/ 714787 w 1614899"/>
                      <a:gd name="connsiteY88" fmla="*/ 335756 h 1619250"/>
                      <a:gd name="connsiteX89" fmla="*/ 717168 w 1614899"/>
                      <a:gd name="connsiteY89" fmla="*/ 342900 h 1619250"/>
                      <a:gd name="connsiteX90" fmla="*/ 721931 w 1614899"/>
                      <a:gd name="connsiteY90" fmla="*/ 347662 h 1619250"/>
                      <a:gd name="connsiteX91" fmla="*/ 733837 w 1614899"/>
                      <a:gd name="connsiteY91" fmla="*/ 357187 h 1619250"/>
                      <a:gd name="connsiteX92" fmla="*/ 740981 w 1614899"/>
                      <a:gd name="connsiteY92" fmla="*/ 354806 h 1619250"/>
                      <a:gd name="connsiteX93" fmla="*/ 755268 w 1614899"/>
                      <a:gd name="connsiteY93" fmla="*/ 350044 h 1619250"/>
                      <a:gd name="connsiteX94" fmla="*/ 752887 w 1614899"/>
                      <a:gd name="connsiteY94" fmla="*/ 359569 h 1619250"/>
                      <a:gd name="connsiteX95" fmla="*/ 755268 w 1614899"/>
                      <a:gd name="connsiteY95" fmla="*/ 371475 h 1619250"/>
                      <a:gd name="connsiteX96" fmla="*/ 762412 w 1614899"/>
                      <a:gd name="connsiteY96" fmla="*/ 373856 h 1619250"/>
                      <a:gd name="connsiteX97" fmla="*/ 745743 w 1614899"/>
                      <a:gd name="connsiteY97" fmla="*/ 390525 h 1619250"/>
                      <a:gd name="connsiteX98" fmla="*/ 750506 w 1614899"/>
                      <a:gd name="connsiteY98" fmla="*/ 397669 h 1619250"/>
                      <a:gd name="connsiteX99" fmla="*/ 745743 w 1614899"/>
                      <a:gd name="connsiteY99" fmla="*/ 411956 h 1619250"/>
                      <a:gd name="connsiteX100" fmla="*/ 731456 w 1614899"/>
                      <a:gd name="connsiteY100" fmla="*/ 404812 h 1619250"/>
                      <a:gd name="connsiteX101" fmla="*/ 724312 w 1614899"/>
                      <a:gd name="connsiteY101" fmla="*/ 409575 h 1619250"/>
                      <a:gd name="connsiteX102" fmla="*/ 721931 w 1614899"/>
                      <a:gd name="connsiteY102" fmla="*/ 416719 h 1619250"/>
                      <a:gd name="connsiteX103" fmla="*/ 736218 w 1614899"/>
                      <a:gd name="connsiteY103" fmla="*/ 426244 h 1619250"/>
                      <a:gd name="connsiteX104" fmla="*/ 731456 w 1614899"/>
                      <a:gd name="connsiteY104" fmla="*/ 442912 h 1619250"/>
                      <a:gd name="connsiteX105" fmla="*/ 729074 w 1614899"/>
                      <a:gd name="connsiteY105" fmla="*/ 450056 h 1619250"/>
                      <a:gd name="connsiteX106" fmla="*/ 731456 w 1614899"/>
                      <a:gd name="connsiteY106" fmla="*/ 481012 h 1619250"/>
                      <a:gd name="connsiteX107" fmla="*/ 736218 w 1614899"/>
                      <a:gd name="connsiteY107" fmla="*/ 488156 h 1619250"/>
                      <a:gd name="connsiteX108" fmla="*/ 743362 w 1614899"/>
                      <a:gd name="connsiteY108" fmla="*/ 509587 h 1619250"/>
                      <a:gd name="connsiteX109" fmla="*/ 745743 w 1614899"/>
                      <a:gd name="connsiteY109" fmla="*/ 516731 h 1619250"/>
                      <a:gd name="connsiteX110" fmla="*/ 760031 w 1614899"/>
                      <a:gd name="connsiteY110" fmla="*/ 526256 h 1619250"/>
                      <a:gd name="connsiteX111" fmla="*/ 764793 w 1614899"/>
                      <a:gd name="connsiteY111" fmla="*/ 533400 h 1619250"/>
                      <a:gd name="connsiteX112" fmla="*/ 769556 w 1614899"/>
                      <a:gd name="connsiteY112" fmla="*/ 547687 h 1619250"/>
                      <a:gd name="connsiteX113" fmla="*/ 769556 w 1614899"/>
                      <a:gd name="connsiteY113" fmla="*/ 542925 h 1619250"/>
                      <a:gd name="connsiteX114" fmla="*/ 776699 w 1614899"/>
                      <a:gd name="connsiteY114" fmla="*/ 550069 h 1619250"/>
                      <a:gd name="connsiteX115" fmla="*/ 793368 w 1614899"/>
                      <a:gd name="connsiteY115" fmla="*/ 552450 h 1619250"/>
                      <a:gd name="connsiteX116" fmla="*/ 807656 w 1614899"/>
                      <a:gd name="connsiteY116" fmla="*/ 557212 h 1619250"/>
                      <a:gd name="connsiteX117" fmla="*/ 814799 w 1614899"/>
                      <a:gd name="connsiteY117" fmla="*/ 559594 h 1619250"/>
                      <a:gd name="connsiteX118" fmla="*/ 821943 w 1614899"/>
                      <a:gd name="connsiteY118" fmla="*/ 566737 h 1619250"/>
                      <a:gd name="connsiteX119" fmla="*/ 829087 w 1614899"/>
                      <a:gd name="connsiteY119" fmla="*/ 569119 h 1619250"/>
                      <a:gd name="connsiteX120" fmla="*/ 836231 w 1614899"/>
                      <a:gd name="connsiteY120" fmla="*/ 573881 h 1619250"/>
                      <a:gd name="connsiteX121" fmla="*/ 843374 w 1614899"/>
                      <a:gd name="connsiteY121" fmla="*/ 588169 h 1619250"/>
                      <a:gd name="connsiteX122" fmla="*/ 852899 w 1614899"/>
                      <a:gd name="connsiteY122" fmla="*/ 597694 h 1619250"/>
                      <a:gd name="connsiteX123" fmla="*/ 902906 w 1614899"/>
                      <a:gd name="connsiteY123" fmla="*/ 604837 h 1619250"/>
                      <a:gd name="connsiteX124" fmla="*/ 914812 w 1614899"/>
                      <a:gd name="connsiteY124" fmla="*/ 626269 h 1619250"/>
                      <a:gd name="connsiteX125" fmla="*/ 919574 w 1614899"/>
                      <a:gd name="connsiteY125" fmla="*/ 633412 h 1619250"/>
                      <a:gd name="connsiteX126" fmla="*/ 919574 w 1614899"/>
                      <a:gd name="connsiteY126" fmla="*/ 671512 h 1619250"/>
                      <a:gd name="connsiteX127" fmla="*/ 926718 w 1614899"/>
                      <a:gd name="connsiteY127" fmla="*/ 676275 h 1619250"/>
                      <a:gd name="connsiteX128" fmla="*/ 933862 w 1614899"/>
                      <a:gd name="connsiteY128" fmla="*/ 690562 h 1619250"/>
                      <a:gd name="connsiteX129" fmla="*/ 936243 w 1614899"/>
                      <a:gd name="connsiteY129" fmla="*/ 702469 h 1619250"/>
                      <a:gd name="connsiteX130" fmla="*/ 943387 w 1614899"/>
                      <a:gd name="connsiteY130" fmla="*/ 709612 h 1619250"/>
                      <a:gd name="connsiteX131" fmla="*/ 945768 w 1614899"/>
                      <a:gd name="connsiteY131" fmla="*/ 723900 h 1619250"/>
                      <a:gd name="connsiteX132" fmla="*/ 955293 w 1614899"/>
                      <a:gd name="connsiteY132" fmla="*/ 738187 h 1619250"/>
                      <a:gd name="connsiteX133" fmla="*/ 964818 w 1614899"/>
                      <a:gd name="connsiteY133" fmla="*/ 752475 h 1619250"/>
                      <a:gd name="connsiteX134" fmla="*/ 967199 w 1614899"/>
                      <a:gd name="connsiteY134" fmla="*/ 759619 h 1619250"/>
                      <a:gd name="connsiteX135" fmla="*/ 974343 w 1614899"/>
                      <a:gd name="connsiteY135" fmla="*/ 769144 h 1619250"/>
                      <a:gd name="connsiteX136" fmla="*/ 979106 w 1614899"/>
                      <a:gd name="connsiteY136" fmla="*/ 783431 h 1619250"/>
                      <a:gd name="connsiteX137" fmla="*/ 981487 w 1614899"/>
                      <a:gd name="connsiteY137" fmla="*/ 790575 h 1619250"/>
                      <a:gd name="connsiteX138" fmla="*/ 991012 w 1614899"/>
                      <a:gd name="connsiteY138" fmla="*/ 804862 h 1619250"/>
                      <a:gd name="connsiteX139" fmla="*/ 998156 w 1614899"/>
                      <a:gd name="connsiteY139" fmla="*/ 819150 h 1619250"/>
                      <a:gd name="connsiteX140" fmla="*/ 1000537 w 1614899"/>
                      <a:gd name="connsiteY140" fmla="*/ 826294 h 1619250"/>
                      <a:gd name="connsiteX141" fmla="*/ 1007681 w 1614899"/>
                      <a:gd name="connsiteY141" fmla="*/ 828675 h 1619250"/>
                      <a:gd name="connsiteX142" fmla="*/ 1014824 w 1614899"/>
                      <a:gd name="connsiteY142" fmla="*/ 833437 h 1619250"/>
                      <a:gd name="connsiteX143" fmla="*/ 1029112 w 1614899"/>
                      <a:gd name="connsiteY143" fmla="*/ 838200 h 1619250"/>
                      <a:gd name="connsiteX144" fmla="*/ 1033874 w 1614899"/>
                      <a:gd name="connsiteY144" fmla="*/ 845344 h 1619250"/>
                      <a:gd name="connsiteX145" fmla="*/ 1048162 w 1614899"/>
                      <a:gd name="connsiteY145" fmla="*/ 857250 h 1619250"/>
                      <a:gd name="connsiteX146" fmla="*/ 1062449 w 1614899"/>
                      <a:gd name="connsiteY146" fmla="*/ 862012 h 1619250"/>
                      <a:gd name="connsiteX147" fmla="*/ 1079118 w 1614899"/>
                      <a:gd name="connsiteY147" fmla="*/ 883444 h 1619250"/>
                      <a:gd name="connsiteX148" fmla="*/ 1081499 w 1614899"/>
                      <a:gd name="connsiteY148" fmla="*/ 890587 h 1619250"/>
                      <a:gd name="connsiteX149" fmla="*/ 1095787 w 1614899"/>
                      <a:gd name="connsiteY149" fmla="*/ 883444 h 1619250"/>
                      <a:gd name="connsiteX150" fmla="*/ 1110074 w 1614899"/>
                      <a:gd name="connsiteY150" fmla="*/ 890587 h 1619250"/>
                      <a:gd name="connsiteX151" fmla="*/ 1121981 w 1614899"/>
                      <a:gd name="connsiteY151" fmla="*/ 902494 h 1619250"/>
                      <a:gd name="connsiteX152" fmla="*/ 1136268 w 1614899"/>
                      <a:gd name="connsiteY152" fmla="*/ 907256 h 1619250"/>
                      <a:gd name="connsiteX153" fmla="*/ 1176749 w 1614899"/>
                      <a:gd name="connsiteY153" fmla="*/ 904875 h 1619250"/>
                      <a:gd name="connsiteX154" fmla="*/ 1195799 w 1614899"/>
                      <a:gd name="connsiteY154" fmla="*/ 904875 h 1619250"/>
                      <a:gd name="connsiteX155" fmla="*/ 1207706 w 1614899"/>
                      <a:gd name="connsiteY155" fmla="*/ 912019 h 1619250"/>
                      <a:gd name="connsiteX156" fmla="*/ 1210087 w 1614899"/>
                      <a:gd name="connsiteY156" fmla="*/ 902494 h 1619250"/>
                      <a:gd name="connsiteX157" fmla="*/ 1219612 w 1614899"/>
                      <a:gd name="connsiteY157" fmla="*/ 900112 h 1619250"/>
                      <a:gd name="connsiteX158" fmla="*/ 1226756 w 1614899"/>
                      <a:gd name="connsiteY158" fmla="*/ 895350 h 1619250"/>
                      <a:gd name="connsiteX159" fmla="*/ 1241043 w 1614899"/>
                      <a:gd name="connsiteY159" fmla="*/ 890587 h 1619250"/>
                      <a:gd name="connsiteX160" fmla="*/ 1255331 w 1614899"/>
                      <a:gd name="connsiteY160" fmla="*/ 892969 h 1619250"/>
                      <a:gd name="connsiteX161" fmla="*/ 1260093 w 1614899"/>
                      <a:gd name="connsiteY161" fmla="*/ 900112 h 1619250"/>
                      <a:gd name="connsiteX162" fmla="*/ 1267237 w 1614899"/>
                      <a:gd name="connsiteY162" fmla="*/ 904875 h 1619250"/>
                      <a:gd name="connsiteX163" fmla="*/ 1271999 w 1614899"/>
                      <a:gd name="connsiteY163" fmla="*/ 919162 h 1619250"/>
                      <a:gd name="connsiteX164" fmla="*/ 1269618 w 1614899"/>
                      <a:gd name="connsiteY164" fmla="*/ 928687 h 1619250"/>
                      <a:gd name="connsiteX165" fmla="*/ 1262474 w 1614899"/>
                      <a:gd name="connsiteY165" fmla="*/ 933450 h 1619250"/>
                      <a:gd name="connsiteX166" fmla="*/ 1255331 w 1614899"/>
                      <a:gd name="connsiteY166" fmla="*/ 940594 h 1619250"/>
                      <a:gd name="connsiteX167" fmla="*/ 1248187 w 1614899"/>
                      <a:gd name="connsiteY167" fmla="*/ 942975 h 1619250"/>
                      <a:gd name="connsiteX168" fmla="*/ 1241043 w 1614899"/>
                      <a:gd name="connsiteY168" fmla="*/ 947737 h 1619250"/>
                      <a:gd name="connsiteX169" fmla="*/ 1226756 w 1614899"/>
                      <a:gd name="connsiteY169" fmla="*/ 954881 h 1619250"/>
                      <a:gd name="connsiteX170" fmla="*/ 1236281 w 1614899"/>
                      <a:gd name="connsiteY170" fmla="*/ 969169 h 1619250"/>
                      <a:gd name="connsiteX171" fmla="*/ 1241043 w 1614899"/>
                      <a:gd name="connsiteY171" fmla="*/ 983456 h 1619250"/>
                      <a:gd name="connsiteX172" fmla="*/ 1250568 w 1614899"/>
                      <a:gd name="connsiteY172" fmla="*/ 997744 h 1619250"/>
                      <a:gd name="connsiteX173" fmla="*/ 1255331 w 1614899"/>
                      <a:gd name="connsiteY173" fmla="*/ 1004887 h 1619250"/>
                      <a:gd name="connsiteX174" fmla="*/ 1262474 w 1614899"/>
                      <a:gd name="connsiteY174" fmla="*/ 997744 h 1619250"/>
                      <a:gd name="connsiteX175" fmla="*/ 1264856 w 1614899"/>
                      <a:gd name="connsiteY175" fmla="*/ 990600 h 1619250"/>
                      <a:gd name="connsiteX176" fmla="*/ 1283906 w 1614899"/>
                      <a:gd name="connsiteY176" fmla="*/ 995362 h 1619250"/>
                      <a:gd name="connsiteX177" fmla="*/ 1291049 w 1614899"/>
                      <a:gd name="connsiteY177" fmla="*/ 1000125 h 1619250"/>
                      <a:gd name="connsiteX178" fmla="*/ 1298193 w 1614899"/>
                      <a:gd name="connsiteY178" fmla="*/ 1002506 h 1619250"/>
                      <a:gd name="connsiteX179" fmla="*/ 1322006 w 1614899"/>
                      <a:gd name="connsiteY179" fmla="*/ 1007269 h 1619250"/>
                      <a:gd name="connsiteX180" fmla="*/ 1336293 w 1614899"/>
                      <a:gd name="connsiteY180" fmla="*/ 1012031 h 1619250"/>
                      <a:gd name="connsiteX181" fmla="*/ 1355343 w 1614899"/>
                      <a:gd name="connsiteY181" fmla="*/ 1016794 h 1619250"/>
                      <a:gd name="connsiteX182" fmla="*/ 1362487 w 1614899"/>
                      <a:gd name="connsiteY182" fmla="*/ 1023937 h 1619250"/>
                      <a:gd name="connsiteX183" fmla="*/ 1376774 w 1614899"/>
                      <a:gd name="connsiteY183" fmla="*/ 1028700 h 1619250"/>
                      <a:gd name="connsiteX184" fmla="*/ 1391062 w 1614899"/>
                      <a:gd name="connsiteY184" fmla="*/ 1033462 h 1619250"/>
                      <a:gd name="connsiteX185" fmla="*/ 1398206 w 1614899"/>
                      <a:gd name="connsiteY185" fmla="*/ 1035844 h 1619250"/>
                      <a:gd name="connsiteX186" fmla="*/ 1405349 w 1614899"/>
                      <a:gd name="connsiteY186" fmla="*/ 1038225 h 1619250"/>
                      <a:gd name="connsiteX187" fmla="*/ 1412493 w 1614899"/>
                      <a:gd name="connsiteY187" fmla="*/ 1042987 h 1619250"/>
                      <a:gd name="connsiteX188" fmla="*/ 1426781 w 1614899"/>
                      <a:gd name="connsiteY188" fmla="*/ 1050131 h 1619250"/>
                      <a:gd name="connsiteX189" fmla="*/ 1436306 w 1614899"/>
                      <a:gd name="connsiteY189" fmla="*/ 1062037 h 1619250"/>
                      <a:gd name="connsiteX190" fmla="*/ 1441068 w 1614899"/>
                      <a:gd name="connsiteY190" fmla="*/ 1069181 h 1619250"/>
                      <a:gd name="connsiteX191" fmla="*/ 1450593 w 1614899"/>
                      <a:gd name="connsiteY191" fmla="*/ 1071562 h 1619250"/>
                      <a:gd name="connsiteX192" fmla="*/ 1464881 w 1614899"/>
                      <a:gd name="connsiteY192" fmla="*/ 1076325 h 1619250"/>
                      <a:gd name="connsiteX193" fmla="*/ 1467262 w 1614899"/>
                      <a:gd name="connsiteY193" fmla="*/ 1083469 h 1619250"/>
                      <a:gd name="connsiteX194" fmla="*/ 1488693 w 1614899"/>
                      <a:gd name="connsiteY194" fmla="*/ 1092994 h 1619250"/>
                      <a:gd name="connsiteX195" fmla="*/ 1500599 w 1614899"/>
                      <a:gd name="connsiteY195" fmla="*/ 1095375 h 1619250"/>
                      <a:gd name="connsiteX196" fmla="*/ 1514887 w 1614899"/>
                      <a:gd name="connsiteY196" fmla="*/ 1097756 h 1619250"/>
                      <a:gd name="connsiteX197" fmla="*/ 1522031 w 1614899"/>
                      <a:gd name="connsiteY197" fmla="*/ 1100137 h 1619250"/>
                      <a:gd name="connsiteX198" fmla="*/ 1541081 w 1614899"/>
                      <a:gd name="connsiteY198" fmla="*/ 1104900 h 1619250"/>
                      <a:gd name="connsiteX199" fmla="*/ 1545843 w 1614899"/>
                      <a:gd name="connsiteY199" fmla="*/ 1112044 h 1619250"/>
                      <a:gd name="connsiteX200" fmla="*/ 1543462 w 1614899"/>
                      <a:gd name="connsiteY200" fmla="*/ 1119187 h 1619250"/>
                      <a:gd name="connsiteX201" fmla="*/ 1557749 w 1614899"/>
                      <a:gd name="connsiteY201" fmla="*/ 1128712 h 1619250"/>
                      <a:gd name="connsiteX202" fmla="*/ 1564893 w 1614899"/>
                      <a:gd name="connsiteY202" fmla="*/ 1133475 h 1619250"/>
                      <a:gd name="connsiteX203" fmla="*/ 1579181 w 1614899"/>
                      <a:gd name="connsiteY203" fmla="*/ 1147762 h 1619250"/>
                      <a:gd name="connsiteX204" fmla="*/ 1593468 w 1614899"/>
                      <a:gd name="connsiteY204" fmla="*/ 1152525 h 1619250"/>
                      <a:gd name="connsiteX205" fmla="*/ 1600612 w 1614899"/>
                      <a:gd name="connsiteY205" fmla="*/ 1154906 h 1619250"/>
                      <a:gd name="connsiteX206" fmla="*/ 1607756 w 1614899"/>
                      <a:gd name="connsiteY206" fmla="*/ 1162050 h 1619250"/>
                      <a:gd name="connsiteX207" fmla="*/ 1610137 w 1614899"/>
                      <a:gd name="connsiteY207" fmla="*/ 1169194 h 1619250"/>
                      <a:gd name="connsiteX208" fmla="*/ 1614899 w 1614899"/>
                      <a:gd name="connsiteY208" fmla="*/ 1176337 h 1619250"/>
                      <a:gd name="connsiteX209" fmla="*/ 1612518 w 1614899"/>
                      <a:gd name="connsiteY209" fmla="*/ 1195387 h 1619250"/>
                      <a:gd name="connsiteX210" fmla="*/ 1610137 w 1614899"/>
                      <a:gd name="connsiteY210" fmla="*/ 1202531 h 1619250"/>
                      <a:gd name="connsiteX211" fmla="*/ 1602993 w 1614899"/>
                      <a:gd name="connsiteY211" fmla="*/ 1204912 h 1619250"/>
                      <a:gd name="connsiteX212" fmla="*/ 1600612 w 1614899"/>
                      <a:gd name="connsiteY212" fmla="*/ 1212056 h 1619250"/>
                      <a:gd name="connsiteX213" fmla="*/ 1598231 w 1614899"/>
                      <a:gd name="connsiteY213" fmla="*/ 1247775 h 1619250"/>
                      <a:gd name="connsiteX214" fmla="*/ 1579181 w 1614899"/>
                      <a:gd name="connsiteY214" fmla="*/ 1245394 h 1619250"/>
                      <a:gd name="connsiteX215" fmla="*/ 1550606 w 1614899"/>
                      <a:gd name="connsiteY215" fmla="*/ 1231106 h 1619250"/>
                      <a:gd name="connsiteX216" fmla="*/ 1543462 w 1614899"/>
                      <a:gd name="connsiteY216" fmla="*/ 1226344 h 1619250"/>
                      <a:gd name="connsiteX217" fmla="*/ 1543462 w 1614899"/>
                      <a:gd name="connsiteY217" fmla="*/ 1197769 h 1619250"/>
                      <a:gd name="connsiteX218" fmla="*/ 1545843 w 1614899"/>
                      <a:gd name="connsiteY218" fmla="*/ 1183481 h 1619250"/>
                      <a:gd name="connsiteX219" fmla="*/ 1531556 w 1614899"/>
                      <a:gd name="connsiteY219" fmla="*/ 1176337 h 1619250"/>
                      <a:gd name="connsiteX220" fmla="*/ 1529174 w 1614899"/>
                      <a:gd name="connsiteY220" fmla="*/ 1169194 h 1619250"/>
                      <a:gd name="connsiteX221" fmla="*/ 1531556 w 1614899"/>
                      <a:gd name="connsiteY221" fmla="*/ 1152525 h 1619250"/>
                      <a:gd name="connsiteX222" fmla="*/ 1524412 w 1614899"/>
                      <a:gd name="connsiteY222" fmla="*/ 1154906 h 1619250"/>
                      <a:gd name="connsiteX223" fmla="*/ 1517268 w 1614899"/>
                      <a:gd name="connsiteY223" fmla="*/ 1159669 h 1619250"/>
                      <a:gd name="connsiteX224" fmla="*/ 1502981 w 1614899"/>
                      <a:gd name="connsiteY224" fmla="*/ 1164431 h 1619250"/>
                      <a:gd name="connsiteX225" fmla="*/ 1481549 w 1614899"/>
                      <a:gd name="connsiteY225" fmla="*/ 1169194 h 1619250"/>
                      <a:gd name="connsiteX226" fmla="*/ 1457737 w 1614899"/>
                      <a:gd name="connsiteY226" fmla="*/ 1164431 h 1619250"/>
                      <a:gd name="connsiteX227" fmla="*/ 1443449 w 1614899"/>
                      <a:gd name="connsiteY227" fmla="*/ 1154906 h 1619250"/>
                      <a:gd name="connsiteX228" fmla="*/ 1436306 w 1614899"/>
                      <a:gd name="connsiteY228" fmla="*/ 1150144 h 1619250"/>
                      <a:gd name="connsiteX229" fmla="*/ 1426781 w 1614899"/>
                      <a:gd name="connsiteY229" fmla="*/ 1140619 h 1619250"/>
                      <a:gd name="connsiteX230" fmla="*/ 1402968 w 1614899"/>
                      <a:gd name="connsiteY230" fmla="*/ 1138237 h 1619250"/>
                      <a:gd name="connsiteX231" fmla="*/ 1395824 w 1614899"/>
                      <a:gd name="connsiteY231" fmla="*/ 1145381 h 1619250"/>
                      <a:gd name="connsiteX232" fmla="*/ 1374393 w 1614899"/>
                      <a:gd name="connsiteY232" fmla="*/ 1162050 h 1619250"/>
                      <a:gd name="connsiteX233" fmla="*/ 1367249 w 1614899"/>
                      <a:gd name="connsiteY233" fmla="*/ 1188244 h 1619250"/>
                      <a:gd name="connsiteX234" fmla="*/ 1357724 w 1614899"/>
                      <a:gd name="connsiteY234" fmla="*/ 1202531 h 1619250"/>
                      <a:gd name="connsiteX235" fmla="*/ 1348199 w 1614899"/>
                      <a:gd name="connsiteY235" fmla="*/ 1212056 h 1619250"/>
                      <a:gd name="connsiteX236" fmla="*/ 1345818 w 1614899"/>
                      <a:gd name="connsiteY236" fmla="*/ 1219200 h 1619250"/>
                      <a:gd name="connsiteX237" fmla="*/ 1341056 w 1614899"/>
                      <a:gd name="connsiteY237" fmla="*/ 1228725 h 1619250"/>
                      <a:gd name="connsiteX238" fmla="*/ 1350581 w 1614899"/>
                      <a:gd name="connsiteY238" fmla="*/ 1243012 h 1619250"/>
                      <a:gd name="connsiteX239" fmla="*/ 1343437 w 1614899"/>
                      <a:gd name="connsiteY239" fmla="*/ 1266825 h 1619250"/>
                      <a:gd name="connsiteX240" fmla="*/ 1345818 w 1614899"/>
                      <a:gd name="connsiteY240" fmla="*/ 1281112 h 1619250"/>
                      <a:gd name="connsiteX241" fmla="*/ 1348199 w 1614899"/>
                      <a:gd name="connsiteY241" fmla="*/ 1290637 h 1619250"/>
                      <a:gd name="connsiteX242" fmla="*/ 1355343 w 1614899"/>
                      <a:gd name="connsiteY242" fmla="*/ 1297781 h 1619250"/>
                      <a:gd name="connsiteX243" fmla="*/ 1362487 w 1614899"/>
                      <a:gd name="connsiteY243" fmla="*/ 1300162 h 1619250"/>
                      <a:gd name="connsiteX244" fmla="*/ 1386299 w 1614899"/>
                      <a:gd name="connsiteY244" fmla="*/ 1302544 h 1619250"/>
                      <a:gd name="connsiteX245" fmla="*/ 1395824 w 1614899"/>
                      <a:gd name="connsiteY245" fmla="*/ 1309687 h 1619250"/>
                      <a:gd name="connsiteX246" fmla="*/ 1410112 w 1614899"/>
                      <a:gd name="connsiteY246" fmla="*/ 1314450 h 1619250"/>
                      <a:gd name="connsiteX247" fmla="*/ 1417256 w 1614899"/>
                      <a:gd name="connsiteY247" fmla="*/ 1319212 h 1619250"/>
                      <a:gd name="connsiteX248" fmla="*/ 1431543 w 1614899"/>
                      <a:gd name="connsiteY248" fmla="*/ 1326356 h 1619250"/>
                      <a:gd name="connsiteX249" fmla="*/ 1433924 w 1614899"/>
                      <a:gd name="connsiteY249" fmla="*/ 1333500 h 1619250"/>
                      <a:gd name="connsiteX250" fmla="*/ 1429162 w 1614899"/>
                      <a:gd name="connsiteY250" fmla="*/ 1340644 h 1619250"/>
                      <a:gd name="connsiteX251" fmla="*/ 1426781 w 1614899"/>
                      <a:gd name="connsiteY251" fmla="*/ 1347787 h 1619250"/>
                      <a:gd name="connsiteX252" fmla="*/ 1431543 w 1614899"/>
                      <a:gd name="connsiteY252" fmla="*/ 1354931 h 1619250"/>
                      <a:gd name="connsiteX253" fmla="*/ 1436306 w 1614899"/>
                      <a:gd name="connsiteY253" fmla="*/ 1364456 h 1619250"/>
                      <a:gd name="connsiteX254" fmla="*/ 1443449 w 1614899"/>
                      <a:gd name="connsiteY254" fmla="*/ 1395412 h 1619250"/>
                      <a:gd name="connsiteX255" fmla="*/ 1450593 w 1614899"/>
                      <a:gd name="connsiteY255" fmla="*/ 1402556 h 1619250"/>
                      <a:gd name="connsiteX256" fmla="*/ 1448212 w 1614899"/>
                      <a:gd name="connsiteY256" fmla="*/ 1412081 h 1619250"/>
                      <a:gd name="connsiteX257" fmla="*/ 1433924 w 1614899"/>
                      <a:gd name="connsiteY257" fmla="*/ 1416844 h 1619250"/>
                      <a:gd name="connsiteX258" fmla="*/ 1419637 w 1614899"/>
                      <a:gd name="connsiteY258" fmla="*/ 1423987 h 1619250"/>
                      <a:gd name="connsiteX259" fmla="*/ 1405349 w 1614899"/>
                      <a:gd name="connsiteY259" fmla="*/ 1431131 h 1619250"/>
                      <a:gd name="connsiteX260" fmla="*/ 1398206 w 1614899"/>
                      <a:gd name="connsiteY260" fmla="*/ 1435894 h 1619250"/>
                      <a:gd name="connsiteX261" fmla="*/ 1383918 w 1614899"/>
                      <a:gd name="connsiteY261" fmla="*/ 1440656 h 1619250"/>
                      <a:gd name="connsiteX262" fmla="*/ 1376774 w 1614899"/>
                      <a:gd name="connsiteY262" fmla="*/ 1443037 h 1619250"/>
                      <a:gd name="connsiteX263" fmla="*/ 1364868 w 1614899"/>
                      <a:gd name="connsiteY263" fmla="*/ 1464469 h 1619250"/>
                      <a:gd name="connsiteX264" fmla="*/ 1362487 w 1614899"/>
                      <a:gd name="connsiteY264" fmla="*/ 1473994 h 1619250"/>
                      <a:gd name="connsiteX265" fmla="*/ 1364868 w 1614899"/>
                      <a:gd name="connsiteY265" fmla="*/ 1497806 h 1619250"/>
                      <a:gd name="connsiteX266" fmla="*/ 1372012 w 1614899"/>
                      <a:gd name="connsiteY266" fmla="*/ 1500187 h 1619250"/>
                      <a:gd name="connsiteX267" fmla="*/ 1369631 w 1614899"/>
                      <a:gd name="connsiteY267" fmla="*/ 1516856 h 1619250"/>
                      <a:gd name="connsiteX268" fmla="*/ 1367249 w 1614899"/>
                      <a:gd name="connsiteY268" fmla="*/ 1524000 h 1619250"/>
                      <a:gd name="connsiteX269" fmla="*/ 1360106 w 1614899"/>
                      <a:gd name="connsiteY269" fmla="*/ 1526381 h 1619250"/>
                      <a:gd name="connsiteX270" fmla="*/ 1352962 w 1614899"/>
                      <a:gd name="connsiteY270" fmla="*/ 1531144 h 1619250"/>
                      <a:gd name="connsiteX271" fmla="*/ 1343437 w 1614899"/>
                      <a:gd name="connsiteY271" fmla="*/ 1535906 h 1619250"/>
                      <a:gd name="connsiteX272" fmla="*/ 1329149 w 1614899"/>
                      <a:gd name="connsiteY272" fmla="*/ 1550194 h 1619250"/>
                      <a:gd name="connsiteX273" fmla="*/ 1326768 w 1614899"/>
                      <a:gd name="connsiteY273" fmla="*/ 1559719 h 1619250"/>
                      <a:gd name="connsiteX274" fmla="*/ 1322006 w 1614899"/>
                      <a:gd name="connsiteY274" fmla="*/ 1566862 h 1619250"/>
                      <a:gd name="connsiteX275" fmla="*/ 1319624 w 1614899"/>
                      <a:gd name="connsiteY275" fmla="*/ 1578769 h 1619250"/>
                      <a:gd name="connsiteX276" fmla="*/ 1317243 w 1614899"/>
                      <a:gd name="connsiteY276" fmla="*/ 1585912 h 1619250"/>
                      <a:gd name="connsiteX277" fmla="*/ 1314862 w 1614899"/>
                      <a:gd name="connsiteY277" fmla="*/ 1602581 h 1619250"/>
                      <a:gd name="connsiteX278" fmla="*/ 1283906 w 1614899"/>
                      <a:gd name="connsiteY278" fmla="*/ 1614487 h 1619250"/>
                      <a:gd name="connsiteX279" fmla="*/ 1274381 w 1614899"/>
                      <a:gd name="connsiteY279" fmla="*/ 1616869 h 1619250"/>
                      <a:gd name="connsiteX280" fmla="*/ 1260093 w 1614899"/>
                      <a:gd name="connsiteY280" fmla="*/ 1619250 h 1619250"/>
                      <a:gd name="connsiteX281" fmla="*/ 1248187 w 1614899"/>
                      <a:gd name="connsiteY281" fmla="*/ 1616869 h 1619250"/>
                      <a:gd name="connsiteX282" fmla="*/ 1243424 w 1614899"/>
                      <a:gd name="connsiteY282" fmla="*/ 1597819 h 1619250"/>
                      <a:gd name="connsiteX283" fmla="*/ 1238662 w 1614899"/>
                      <a:gd name="connsiteY283" fmla="*/ 1581150 h 1619250"/>
                      <a:gd name="connsiteX284" fmla="*/ 1243424 w 1614899"/>
                      <a:gd name="connsiteY284" fmla="*/ 1566862 h 1619250"/>
                      <a:gd name="connsiteX285" fmla="*/ 1252949 w 1614899"/>
                      <a:gd name="connsiteY285" fmla="*/ 1552575 h 1619250"/>
                      <a:gd name="connsiteX286" fmla="*/ 1260093 w 1614899"/>
                      <a:gd name="connsiteY286" fmla="*/ 1550194 h 1619250"/>
                      <a:gd name="connsiteX287" fmla="*/ 1267237 w 1614899"/>
                      <a:gd name="connsiteY287" fmla="*/ 1543050 h 1619250"/>
                      <a:gd name="connsiteX288" fmla="*/ 1269618 w 1614899"/>
                      <a:gd name="connsiteY288" fmla="*/ 1535906 h 1619250"/>
                      <a:gd name="connsiteX289" fmla="*/ 1274381 w 1614899"/>
                      <a:gd name="connsiteY289" fmla="*/ 1526381 h 1619250"/>
                      <a:gd name="connsiteX290" fmla="*/ 1267237 w 1614899"/>
                      <a:gd name="connsiteY290" fmla="*/ 1502569 h 1619250"/>
                      <a:gd name="connsiteX291" fmla="*/ 1252949 w 1614899"/>
                      <a:gd name="connsiteY291" fmla="*/ 1493044 h 1619250"/>
                      <a:gd name="connsiteX292" fmla="*/ 1262474 w 1614899"/>
                      <a:gd name="connsiteY292" fmla="*/ 1478756 h 1619250"/>
                      <a:gd name="connsiteX293" fmla="*/ 1279143 w 1614899"/>
                      <a:gd name="connsiteY293" fmla="*/ 1462087 h 1619250"/>
                      <a:gd name="connsiteX294" fmla="*/ 1302956 w 1614899"/>
                      <a:gd name="connsiteY294" fmla="*/ 1459706 h 1619250"/>
                      <a:gd name="connsiteX295" fmla="*/ 1305337 w 1614899"/>
                      <a:gd name="connsiteY295" fmla="*/ 1450181 h 1619250"/>
                      <a:gd name="connsiteX296" fmla="*/ 1310099 w 1614899"/>
                      <a:gd name="connsiteY296" fmla="*/ 1443037 h 1619250"/>
                      <a:gd name="connsiteX297" fmla="*/ 1312481 w 1614899"/>
                      <a:gd name="connsiteY297" fmla="*/ 1435894 h 1619250"/>
                      <a:gd name="connsiteX298" fmla="*/ 1305337 w 1614899"/>
                      <a:gd name="connsiteY298" fmla="*/ 1428750 h 1619250"/>
                      <a:gd name="connsiteX299" fmla="*/ 1298193 w 1614899"/>
                      <a:gd name="connsiteY299" fmla="*/ 1423987 h 1619250"/>
                      <a:gd name="connsiteX300" fmla="*/ 1295812 w 1614899"/>
                      <a:gd name="connsiteY300" fmla="*/ 1412081 h 1619250"/>
                      <a:gd name="connsiteX301" fmla="*/ 1293431 w 1614899"/>
                      <a:gd name="connsiteY301" fmla="*/ 1402556 h 1619250"/>
                      <a:gd name="connsiteX302" fmla="*/ 1288668 w 1614899"/>
                      <a:gd name="connsiteY302" fmla="*/ 1369219 h 1619250"/>
                      <a:gd name="connsiteX303" fmla="*/ 1286287 w 1614899"/>
                      <a:gd name="connsiteY303" fmla="*/ 1362075 h 1619250"/>
                      <a:gd name="connsiteX304" fmla="*/ 1276762 w 1614899"/>
                      <a:gd name="connsiteY304" fmla="*/ 1345406 h 1619250"/>
                      <a:gd name="connsiteX305" fmla="*/ 1267237 w 1614899"/>
                      <a:gd name="connsiteY305" fmla="*/ 1343025 h 1619250"/>
                      <a:gd name="connsiteX306" fmla="*/ 1260093 w 1614899"/>
                      <a:gd name="connsiteY306" fmla="*/ 1340644 h 1619250"/>
                      <a:gd name="connsiteX307" fmla="*/ 1252949 w 1614899"/>
                      <a:gd name="connsiteY307" fmla="*/ 1307306 h 1619250"/>
                      <a:gd name="connsiteX308" fmla="*/ 1248187 w 1614899"/>
                      <a:gd name="connsiteY308" fmla="*/ 1293019 h 1619250"/>
                      <a:gd name="connsiteX309" fmla="*/ 1243424 w 1614899"/>
                      <a:gd name="connsiteY309" fmla="*/ 1278731 h 1619250"/>
                      <a:gd name="connsiteX310" fmla="*/ 1241043 w 1614899"/>
                      <a:gd name="connsiteY310" fmla="*/ 1271587 h 1619250"/>
                      <a:gd name="connsiteX311" fmla="*/ 1236281 w 1614899"/>
                      <a:gd name="connsiteY311" fmla="*/ 1262062 h 1619250"/>
                      <a:gd name="connsiteX312" fmla="*/ 1231518 w 1614899"/>
                      <a:gd name="connsiteY312" fmla="*/ 1247775 h 1619250"/>
                      <a:gd name="connsiteX313" fmla="*/ 1224374 w 1614899"/>
                      <a:gd name="connsiteY313" fmla="*/ 1240631 h 1619250"/>
                      <a:gd name="connsiteX314" fmla="*/ 1214849 w 1614899"/>
                      <a:gd name="connsiteY314" fmla="*/ 1226344 h 1619250"/>
                      <a:gd name="connsiteX315" fmla="*/ 1195799 w 1614899"/>
                      <a:gd name="connsiteY315" fmla="*/ 1233487 h 1619250"/>
                      <a:gd name="connsiteX316" fmla="*/ 1198181 w 1614899"/>
                      <a:gd name="connsiteY316" fmla="*/ 1240631 h 1619250"/>
                      <a:gd name="connsiteX317" fmla="*/ 1191037 w 1614899"/>
                      <a:gd name="connsiteY317" fmla="*/ 1243012 h 1619250"/>
                      <a:gd name="connsiteX318" fmla="*/ 1164843 w 1614899"/>
                      <a:gd name="connsiteY318" fmla="*/ 1238250 h 1619250"/>
                      <a:gd name="connsiteX319" fmla="*/ 1155318 w 1614899"/>
                      <a:gd name="connsiteY319" fmla="*/ 1223962 h 1619250"/>
                      <a:gd name="connsiteX320" fmla="*/ 1148174 w 1614899"/>
                      <a:gd name="connsiteY320" fmla="*/ 1216819 h 1619250"/>
                      <a:gd name="connsiteX321" fmla="*/ 1138649 w 1614899"/>
                      <a:gd name="connsiteY321" fmla="*/ 1219200 h 1619250"/>
                      <a:gd name="connsiteX322" fmla="*/ 1131506 w 1614899"/>
                      <a:gd name="connsiteY322" fmla="*/ 1221581 h 1619250"/>
                      <a:gd name="connsiteX323" fmla="*/ 1124362 w 1614899"/>
                      <a:gd name="connsiteY323" fmla="*/ 1219200 h 1619250"/>
                      <a:gd name="connsiteX324" fmla="*/ 1117218 w 1614899"/>
                      <a:gd name="connsiteY324" fmla="*/ 1212056 h 1619250"/>
                      <a:gd name="connsiteX325" fmla="*/ 1117218 w 1614899"/>
                      <a:gd name="connsiteY325" fmla="*/ 1193006 h 1619250"/>
                      <a:gd name="connsiteX326" fmla="*/ 1112456 w 1614899"/>
                      <a:gd name="connsiteY326" fmla="*/ 1154906 h 1619250"/>
                      <a:gd name="connsiteX327" fmla="*/ 1107693 w 1614899"/>
                      <a:gd name="connsiteY327" fmla="*/ 1147762 h 1619250"/>
                      <a:gd name="connsiteX328" fmla="*/ 1100549 w 1614899"/>
                      <a:gd name="connsiteY328" fmla="*/ 1145381 h 1619250"/>
                      <a:gd name="connsiteX329" fmla="*/ 1093406 w 1614899"/>
                      <a:gd name="connsiteY329" fmla="*/ 1147762 h 1619250"/>
                      <a:gd name="connsiteX330" fmla="*/ 1062449 w 1614899"/>
                      <a:gd name="connsiteY330" fmla="*/ 1152525 h 1619250"/>
                      <a:gd name="connsiteX331" fmla="*/ 1045781 w 1614899"/>
                      <a:gd name="connsiteY331" fmla="*/ 1150144 h 1619250"/>
                      <a:gd name="connsiteX332" fmla="*/ 1043399 w 1614899"/>
                      <a:gd name="connsiteY332" fmla="*/ 1143000 h 1619250"/>
                      <a:gd name="connsiteX333" fmla="*/ 1050543 w 1614899"/>
                      <a:gd name="connsiteY333" fmla="*/ 1128712 h 1619250"/>
                      <a:gd name="connsiteX334" fmla="*/ 1041018 w 1614899"/>
                      <a:gd name="connsiteY334" fmla="*/ 1107281 h 1619250"/>
                      <a:gd name="connsiteX335" fmla="*/ 1024349 w 1614899"/>
                      <a:gd name="connsiteY335" fmla="*/ 1109662 h 1619250"/>
                      <a:gd name="connsiteX336" fmla="*/ 1014824 w 1614899"/>
                      <a:gd name="connsiteY336" fmla="*/ 1107281 h 1619250"/>
                      <a:gd name="connsiteX337" fmla="*/ 988631 w 1614899"/>
                      <a:gd name="connsiteY337" fmla="*/ 1109662 h 1619250"/>
                      <a:gd name="connsiteX338" fmla="*/ 986249 w 1614899"/>
                      <a:gd name="connsiteY338" fmla="*/ 1102519 h 1619250"/>
                      <a:gd name="connsiteX339" fmla="*/ 979106 w 1614899"/>
                      <a:gd name="connsiteY339" fmla="*/ 1076325 h 1619250"/>
                      <a:gd name="connsiteX340" fmla="*/ 964818 w 1614899"/>
                      <a:gd name="connsiteY340" fmla="*/ 1064419 h 1619250"/>
                      <a:gd name="connsiteX341" fmla="*/ 950531 w 1614899"/>
                      <a:gd name="connsiteY341" fmla="*/ 1054894 h 1619250"/>
                      <a:gd name="connsiteX342" fmla="*/ 943387 w 1614899"/>
                      <a:gd name="connsiteY342" fmla="*/ 1050131 h 1619250"/>
                      <a:gd name="connsiteX343" fmla="*/ 936243 w 1614899"/>
                      <a:gd name="connsiteY343" fmla="*/ 1045369 h 1619250"/>
                      <a:gd name="connsiteX344" fmla="*/ 931481 w 1614899"/>
                      <a:gd name="connsiteY344" fmla="*/ 1038225 h 1619250"/>
                      <a:gd name="connsiteX345" fmla="*/ 917193 w 1614899"/>
                      <a:gd name="connsiteY345" fmla="*/ 1031081 h 1619250"/>
                      <a:gd name="connsiteX346" fmla="*/ 914812 w 1614899"/>
                      <a:gd name="connsiteY346" fmla="*/ 1040606 h 1619250"/>
                      <a:gd name="connsiteX347" fmla="*/ 907668 w 1614899"/>
                      <a:gd name="connsiteY347" fmla="*/ 1042987 h 1619250"/>
                      <a:gd name="connsiteX348" fmla="*/ 886237 w 1614899"/>
                      <a:gd name="connsiteY348" fmla="*/ 1031081 h 1619250"/>
                      <a:gd name="connsiteX349" fmla="*/ 862424 w 1614899"/>
                      <a:gd name="connsiteY349" fmla="*/ 1035844 h 1619250"/>
                      <a:gd name="connsiteX350" fmla="*/ 845756 w 1614899"/>
                      <a:gd name="connsiteY350" fmla="*/ 1040606 h 1619250"/>
                      <a:gd name="connsiteX351" fmla="*/ 840993 w 1614899"/>
                      <a:gd name="connsiteY351" fmla="*/ 1033462 h 1619250"/>
                      <a:gd name="connsiteX352" fmla="*/ 821943 w 1614899"/>
                      <a:gd name="connsiteY352" fmla="*/ 1004887 h 1619250"/>
                      <a:gd name="connsiteX353" fmla="*/ 814799 w 1614899"/>
                      <a:gd name="connsiteY353" fmla="*/ 1000125 h 1619250"/>
                      <a:gd name="connsiteX354" fmla="*/ 779081 w 1614899"/>
                      <a:gd name="connsiteY354" fmla="*/ 995362 h 1619250"/>
                      <a:gd name="connsiteX355" fmla="*/ 771937 w 1614899"/>
                      <a:gd name="connsiteY355" fmla="*/ 988219 h 1619250"/>
                      <a:gd name="connsiteX356" fmla="*/ 762412 w 1614899"/>
                      <a:gd name="connsiteY356" fmla="*/ 966787 h 1619250"/>
                      <a:gd name="connsiteX357" fmla="*/ 755268 w 1614899"/>
                      <a:gd name="connsiteY357" fmla="*/ 962025 h 1619250"/>
                      <a:gd name="connsiteX358" fmla="*/ 733837 w 1614899"/>
                      <a:gd name="connsiteY358" fmla="*/ 962025 h 1619250"/>
                      <a:gd name="connsiteX359" fmla="*/ 731456 w 1614899"/>
                      <a:gd name="connsiteY359" fmla="*/ 950119 h 1619250"/>
                      <a:gd name="connsiteX360" fmla="*/ 729074 w 1614899"/>
                      <a:gd name="connsiteY360" fmla="*/ 942975 h 1619250"/>
                      <a:gd name="connsiteX361" fmla="*/ 726693 w 1614899"/>
                      <a:gd name="connsiteY361" fmla="*/ 921544 h 1619250"/>
                      <a:gd name="connsiteX362" fmla="*/ 724312 w 1614899"/>
                      <a:gd name="connsiteY362" fmla="*/ 914400 h 1619250"/>
                      <a:gd name="connsiteX363" fmla="*/ 717168 w 1614899"/>
                      <a:gd name="connsiteY363" fmla="*/ 909637 h 1619250"/>
                      <a:gd name="connsiteX364" fmla="*/ 710024 w 1614899"/>
                      <a:gd name="connsiteY364" fmla="*/ 907256 h 1619250"/>
                      <a:gd name="connsiteX365" fmla="*/ 681449 w 1614899"/>
                      <a:gd name="connsiteY365" fmla="*/ 902494 h 1619250"/>
                      <a:gd name="connsiteX366" fmla="*/ 674306 w 1614899"/>
                      <a:gd name="connsiteY366" fmla="*/ 897731 h 1619250"/>
                      <a:gd name="connsiteX367" fmla="*/ 667162 w 1614899"/>
                      <a:gd name="connsiteY367" fmla="*/ 883444 h 1619250"/>
                      <a:gd name="connsiteX368" fmla="*/ 657637 w 1614899"/>
                      <a:gd name="connsiteY368" fmla="*/ 881062 h 1619250"/>
                      <a:gd name="connsiteX369" fmla="*/ 650493 w 1614899"/>
                      <a:gd name="connsiteY369" fmla="*/ 873919 h 1619250"/>
                      <a:gd name="connsiteX370" fmla="*/ 648112 w 1614899"/>
                      <a:gd name="connsiteY370" fmla="*/ 866775 h 1619250"/>
                      <a:gd name="connsiteX371" fmla="*/ 643349 w 1614899"/>
                      <a:gd name="connsiteY371" fmla="*/ 859631 h 1619250"/>
                      <a:gd name="connsiteX372" fmla="*/ 631443 w 1614899"/>
                      <a:gd name="connsiteY372" fmla="*/ 838200 h 1619250"/>
                      <a:gd name="connsiteX373" fmla="*/ 624299 w 1614899"/>
                      <a:gd name="connsiteY373" fmla="*/ 833437 h 1619250"/>
                      <a:gd name="connsiteX374" fmla="*/ 593343 w 1614899"/>
                      <a:gd name="connsiteY374" fmla="*/ 835819 h 1619250"/>
                      <a:gd name="connsiteX375" fmla="*/ 586199 w 1614899"/>
                      <a:gd name="connsiteY375" fmla="*/ 816769 h 1619250"/>
                      <a:gd name="connsiteX376" fmla="*/ 569531 w 1614899"/>
                      <a:gd name="connsiteY376" fmla="*/ 795337 h 1619250"/>
                      <a:gd name="connsiteX377" fmla="*/ 564768 w 1614899"/>
                      <a:gd name="connsiteY377" fmla="*/ 788194 h 1619250"/>
                      <a:gd name="connsiteX378" fmla="*/ 557624 w 1614899"/>
                      <a:gd name="connsiteY378" fmla="*/ 785812 h 1619250"/>
                      <a:gd name="connsiteX379" fmla="*/ 550481 w 1614899"/>
                      <a:gd name="connsiteY379" fmla="*/ 781050 h 1619250"/>
                      <a:gd name="connsiteX380" fmla="*/ 536193 w 1614899"/>
                      <a:gd name="connsiteY380" fmla="*/ 776287 h 1619250"/>
                      <a:gd name="connsiteX381" fmla="*/ 538574 w 1614899"/>
                      <a:gd name="connsiteY381" fmla="*/ 747712 h 1619250"/>
                      <a:gd name="connsiteX382" fmla="*/ 533812 w 1614899"/>
                      <a:gd name="connsiteY382" fmla="*/ 740569 h 1619250"/>
                      <a:gd name="connsiteX383" fmla="*/ 519524 w 1614899"/>
                      <a:gd name="connsiteY383" fmla="*/ 731044 h 1619250"/>
                      <a:gd name="connsiteX384" fmla="*/ 512381 w 1614899"/>
                      <a:gd name="connsiteY384" fmla="*/ 735806 h 1619250"/>
                      <a:gd name="connsiteX385" fmla="*/ 505237 w 1614899"/>
                      <a:gd name="connsiteY385" fmla="*/ 738187 h 1619250"/>
                      <a:gd name="connsiteX386" fmla="*/ 507618 w 1614899"/>
                      <a:gd name="connsiteY386" fmla="*/ 723900 h 1619250"/>
                      <a:gd name="connsiteX387" fmla="*/ 505237 w 1614899"/>
                      <a:gd name="connsiteY387" fmla="*/ 688181 h 1619250"/>
                      <a:gd name="connsiteX388" fmla="*/ 493331 w 1614899"/>
                      <a:gd name="connsiteY388" fmla="*/ 666750 h 1619250"/>
                      <a:gd name="connsiteX389" fmla="*/ 486187 w 1614899"/>
                      <a:gd name="connsiteY389" fmla="*/ 659606 h 1619250"/>
                      <a:gd name="connsiteX390" fmla="*/ 481424 w 1614899"/>
                      <a:gd name="connsiteY390" fmla="*/ 652462 h 1619250"/>
                      <a:gd name="connsiteX391" fmla="*/ 479043 w 1614899"/>
                      <a:gd name="connsiteY391" fmla="*/ 614362 h 1619250"/>
                      <a:gd name="connsiteX392" fmla="*/ 474281 w 1614899"/>
                      <a:gd name="connsiteY392" fmla="*/ 595312 h 1619250"/>
                      <a:gd name="connsiteX393" fmla="*/ 467137 w 1614899"/>
                      <a:gd name="connsiteY393" fmla="*/ 578644 h 1619250"/>
                      <a:gd name="connsiteX394" fmla="*/ 459993 w 1614899"/>
                      <a:gd name="connsiteY394" fmla="*/ 571500 h 1619250"/>
                      <a:gd name="connsiteX395" fmla="*/ 440943 w 1614899"/>
                      <a:gd name="connsiteY395" fmla="*/ 554831 h 1619250"/>
                      <a:gd name="connsiteX396" fmla="*/ 426656 w 1614899"/>
                      <a:gd name="connsiteY396" fmla="*/ 550069 h 1619250"/>
                      <a:gd name="connsiteX397" fmla="*/ 424274 w 1614899"/>
                      <a:gd name="connsiteY397" fmla="*/ 557212 h 1619250"/>
                      <a:gd name="connsiteX398" fmla="*/ 414749 w 1614899"/>
                      <a:gd name="connsiteY398" fmla="*/ 552450 h 1619250"/>
                      <a:gd name="connsiteX399" fmla="*/ 407606 w 1614899"/>
                      <a:gd name="connsiteY399" fmla="*/ 545306 h 1619250"/>
                      <a:gd name="connsiteX400" fmla="*/ 390937 w 1614899"/>
                      <a:gd name="connsiteY400" fmla="*/ 535781 h 1619250"/>
                      <a:gd name="connsiteX401" fmla="*/ 383793 w 1614899"/>
                      <a:gd name="connsiteY401" fmla="*/ 528637 h 1619250"/>
                      <a:gd name="connsiteX402" fmla="*/ 374268 w 1614899"/>
                      <a:gd name="connsiteY402" fmla="*/ 526256 h 1619250"/>
                      <a:gd name="connsiteX403" fmla="*/ 352837 w 1614899"/>
                      <a:gd name="connsiteY403" fmla="*/ 519112 h 1619250"/>
                      <a:gd name="connsiteX404" fmla="*/ 345693 w 1614899"/>
                      <a:gd name="connsiteY404" fmla="*/ 516731 h 1619250"/>
                      <a:gd name="connsiteX405" fmla="*/ 338549 w 1614899"/>
                      <a:gd name="connsiteY405" fmla="*/ 514350 h 1619250"/>
                      <a:gd name="connsiteX406" fmla="*/ 326643 w 1614899"/>
                      <a:gd name="connsiteY406" fmla="*/ 504825 h 1619250"/>
                      <a:gd name="connsiteX407" fmla="*/ 321881 w 1614899"/>
                      <a:gd name="connsiteY407" fmla="*/ 497681 h 1619250"/>
                      <a:gd name="connsiteX408" fmla="*/ 314737 w 1614899"/>
                      <a:gd name="connsiteY408" fmla="*/ 490537 h 1619250"/>
                      <a:gd name="connsiteX409" fmla="*/ 307593 w 1614899"/>
                      <a:gd name="connsiteY409" fmla="*/ 485775 h 1619250"/>
                      <a:gd name="connsiteX410" fmla="*/ 293306 w 1614899"/>
                      <a:gd name="connsiteY410" fmla="*/ 481012 h 1619250"/>
                      <a:gd name="connsiteX411" fmla="*/ 269493 w 1614899"/>
                      <a:gd name="connsiteY411" fmla="*/ 483394 h 1619250"/>
                      <a:gd name="connsiteX412" fmla="*/ 259968 w 1614899"/>
                      <a:gd name="connsiteY412" fmla="*/ 490537 h 1619250"/>
                      <a:gd name="connsiteX413" fmla="*/ 243299 w 1614899"/>
                      <a:gd name="connsiteY413" fmla="*/ 497681 h 1619250"/>
                      <a:gd name="connsiteX414" fmla="*/ 236156 w 1614899"/>
                      <a:gd name="connsiteY414" fmla="*/ 502444 h 1619250"/>
                      <a:gd name="connsiteX415" fmla="*/ 233774 w 1614899"/>
                      <a:gd name="connsiteY415" fmla="*/ 509587 h 1619250"/>
                      <a:gd name="connsiteX416" fmla="*/ 231393 w 1614899"/>
                      <a:gd name="connsiteY416" fmla="*/ 519112 h 1619250"/>
                      <a:gd name="connsiteX417" fmla="*/ 224249 w 1614899"/>
                      <a:gd name="connsiteY417" fmla="*/ 521494 h 1619250"/>
                      <a:gd name="connsiteX418" fmla="*/ 209962 w 1614899"/>
                      <a:gd name="connsiteY418" fmla="*/ 528637 h 1619250"/>
                      <a:gd name="connsiteX419" fmla="*/ 200437 w 1614899"/>
                      <a:gd name="connsiteY419" fmla="*/ 542925 h 1619250"/>
                      <a:gd name="connsiteX420" fmla="*/ 195674 w 1614899"/>
                      <a:gd name="connsiteY420" fmla="*/ 557212 h 1619250"/>
                      <a:gd name="connsiteX421" fmla="*/ 188531 w 1614899"/>
                      <a:gd name="connsiteY421" fmla="*/ 559594 h 1619250"/>
                      <a:gd name="connsiteX422" fmla="*/ 176624 w 1614899"/>
                      <a:gd name="connsiteY422" fmla="*/ 564356 h 1619250"/>
                      <a:gd name="connsiteX423" fmla="*/ 164718 w 1614899"/>
                      <a:gd name="connsiteY423" fmla="*/ 566737 h 1619250"/>
                      <a:gd name="connsiteX424" fmla="*/ 157574 w 1614899"/>
                      <a:gd name="connsiteY424" fmla="*/ 569119 h 1619250"/>
                      <a:gd name="connsiteX425" fmla="*/ 148049 w 1614899"/>
                      <a:gd name="connsiteY425" fmla="*/ 571500 h 1619250"/>
                      <a:gd name="connsiteX426" fmla="*/ 140906 w 1614899"/>
                      <a:gd name="connsiteY426" fmla="*/ 573881 h 1619250"/>
                      <a:gd name="connsiteX427" fmla="*/ 121856 w 1614899"/>
                      <a:gd name="connsiteY427" fmla="*/ 576262 h 1619250"/>
                      <a:gd name="connsiteX428" fmla="*/ 119474 w 1614899"/>
                      <a:gd name="connsiteY428" fmla="*/ 571500 h 1619250"/>
                      <a:gd name="connsiteX429" fmla="*/ 128999 w 1614899"/>
                      <a:gd name="connsiteY429" fmla="*/ 557212 h 1619250"/>
                      <a:gd name="connsiteX430" fmla="*/ 131381 w 1614899"/>
                      <a:gd name="connsiteY430" fmla="*/ 550069 h 1619250"/>
                      <a:gd name="connsiteX431" fmla="*/ 140906 w 1614899"/>
                      <a:gd name="connsiteY431" fmla="*/ 535781 h 1619250"/>
                      <a:gd name="connsiteX432" fmla="*/ 133762 w 1614899"/>
                      <a:gd name="connsiteY432" fmla="*/ 533400 h 1619250"/>
                      <a:gd name="connsiteX433" fmla="*/ 128999 w 1614899"/>
                      <a:gd name="connsiteY433" fmla="*/ 516731 h 1619250"/>
                      <a:gd name="connsiteX434" fmla="*/ 69468 w 1614899"/>
                      <a:gd name="connsiteY434" fmla="*/ 514350 h 1619250"/>
                      <a:gd name="connsiteX435" fmla="*/ 67087 w 1614899"/>
                      <a:gd name="connsiteY435" fmla="*/ 507206 h 1619250"/>
                      <a:gd name="connsiteX436" fmla="*/ 52799 w 1614899"/>
                      <a:gd name="connsiteY436" fmla="*/ 497681 h 1619250"/>
                      <a:gd name="connsiteX437" fmla="*/ 55181 w 1614899"/>
                      <a:gd name="connsiteY437" fmla="*/ 488156 h 1619250"/>
                      <a:gd name="connsiteX438" fmla="*/ 40893 w 1614899"/>
                      <a:gd name="connsiteY438" fmla="*/ 483394 h 1619250"/>
                      <a:gd name="connsiteX439" fmla="*/ 38512 w 1614899"/>
                      <a:gd name="connsiteY439" fmla="*/ 471487 h 1619250"/>
                      <a:gd name="connsiteX440" fmla="*/ 36131 w 1614899"/>
                      <a:gd name="connsiteY440" fmla="*/ 464344 h 1619250"/>
                      <a:gd name="connsiteX441" fmla="*/ 38512 w 1614899"/>
                      <a:gd name="connsiteY441" fmla="*/ 452437 h 1619250"/>
                      <a:gd name="connsiteX442" fmla="*/ 38512 w 1614899"/>
                      <a:gd name="connsiteY442" fmla="*/ 428625 h 1619250"/>
                      <a:gd name="connsiteX443" fmla="*/ 45656 w 1614899"/>
                      <a:gd name="connsiteY443" fmla="*/ 426244 h 1619250"/>
                      <a:gd name="connsiteX444" fmla="*/ 52799 w 1614899"/>
                      <a:gd name="connsiteY444" fmla="*/ 421481 h 1619250"/>
                      <a:gd name="connsiteX445" fmla="*/ 59943 w 1614899"/>
                      <a:gd name="connsiteY445" fmla="*/ 419100 h 1619250"/>
                      <a:gd name="connsiteX446" fmla="*/ 64706 w 1614899"/>
                      <a:gd name="connsiteY446" fmla="*/ 411956 h 1619250"/>
                      <a:gd name="connsiteX447" fmla="*/ 55181 w 1614899"/>
                      <a:gd name="connsiteY447" fmla="*/ 392906 h 1619250"/>
                      <a:gd name="connsiteX448" fmla="*/ 40893 w 1614899"/>
                      <a:gd name="connsiteY448" fmla="*/ 388144 h 1619250"/>
                      <a:gd name="connsiteX449" fmla="*/ 33749 w 1614899"/>
                      <a:gd name="connsiteY449" fmla="*/ 390525 h 1619250"/>
                      <a:gd name="connsiteX450" fmla="*/ 28987 w 1614899"/>
                      <a:gd name="connsiteY450" fmla="*/ 390525 h 1619250"/>
                      <a:gd name="connsiteX451" fmla="*/ 21843 w 1614899"/>
                      <a:gd name="connsiteY451" fmla="*/ 388144 h 1619250"/>
                      <a:gd name="connsiteX452" fmla="*/ 14699 w 1614899"/>
                      <a:gd name="connsiteY452" fmla="*/ 364331 h 1619250"/>
                      <a:gd name="connsiteX453" fmla="*/ 2793 w 1614899"/>
                      <a:gd name="connsiteY453" fmla="*/ 361950 h 1619250"/>
                      <a:gd name="connsiteX454" fmla="*/ 2793 w 1614899"/>
                      <a:gd name="connsiteY454" fmla="*/ 345281 h 1619250"/>
                      <a:gd name="connsiteX455" fmla="*/ 17081 w 1614899"/>
                      <a:gd name="connsiteY455" fmla="*/ 340519 h 1619250"/>
                      <a:gd name="connsiteX456" fmla="*/ 24224 w 1614899"/>
                      <a:gd name="connsiteY456" fmla="*/ 347662 h 1619250"/>
                      <a:gd name="connsiteX457" fmla="*/ 40893 w 1614899"/>
                      <a:gd name="connsiteY457" fmla="*/ 342900 h 1619250"/>
                      <a:gd name="connsiteX458" fmla="*/ 57562 w 1614899"/>
                      <a:gd name="connsiteY458" fmla="*/ 333375 h 1619250"/>
                      <a:gd name="connsiteX459" fmla="*/ 64706 w 1614899"/>
                      <a:gd name="connsiteY459" fmla="*/ 328612 h 1619250"/>
                      <a:gd name="connsiteX460" fmla="*/ 71849 w 1614899"/>
                      <a:gd name="connsiteY460" fmla="*/ 326231 h 1619250"/>
                      <a:gd name="connsiteX461" fmla="*/ 90899 w 1614899"/>
                      <a:gd name="connsiteY461" fmla="*/ 321469 h 1619250"/>
                      <a:gd name="connsiteX462" fmla="*/ 86137 w 1614899"/>
                      <a:gd name="connsiteY462" fmla="*/ 311944 h 1619250"/>
                      <a:gd name="connsiteX463" fmla="*/ 88518 w 1614899"/>
                      <a:gd name="connsiteY463" fmla="*/ 292894 h 1619250"/>
                      <a:gd name="connsiteX464" fmla="*/ 90899 w 1614899"/>
                      <a:gd name="connsiteY464" fmla="*/ 285750 h 1619250"/>
                      <a:gd name="connsiteX465" fmla="*/ 76612 w 1614899"/>
                      <a:gd name="connsiteY465" fmla="*/ 280987 h 1619250"/>
                      <a:gd name="connsiteX466" fmla="*/ 71849 w 1614899"/>
                      <a:gd name="connsiteY466" fmla="*/ 273844 h 1619250"/>
                      <a:gd name="connsiteX467" fmla="*/ 67087 w 1614899"/>
                      <a:gd name="connsiteY467" fmla="*/ 250031 h 1619250"/>
                      <a:gd name="connsiteX468" fmla="*/ 45656 w 1614899"/>
                      <a:gd name="connsiteY468" fmla="*/ 250031 h 1619250"/>
                      <a:gd name="connsiteX469" fmla="*/ 40893 w 1614899"/>
                      <a:gd name="connsiteY469" fmla="*/ 242887 h 1619250"/>
                      <a:gd name="connsiteX470" fmla="*/ 43274 w 1614899"/>
                      <a:gd name="connsiteY470" fmla="*/ 223837 h 1619250"/>
                      <a:gd name="connsiteX471" fmla="*/ 57562 w 1614899"/>
                      <a:gd name="connsiteY471" fmla="*/ 211931 h 1619250"/>
                      <a:gd name="connsiteX472" fmla="*/ 74231 w 1614899"/>
                      <a:gd name="connsiteY472" fmla="*/ 200025 h 1619250"/>
                      <a:gd name="connsiteX473" fmla="*/ 81374 w 1614899"/>
                      <a:gd name="connsiteY473" fmla="*/ 202406 h 1619250"/>
                      <a:gd name="connsiteX474" fmla="*/ 83756 w 1614899"/>
                      <a:gd name="connsiteY474" fmla="*/ 209550 h 1619250"/>
                      <a:gd name="connsiteX475" fmla="*/ 102806 w 1614899"/>
                      <a:gd name="connsiteY475" fmla="*/ 204787 h 1619250"/>
                      <a:gd name="connsiteX476" fmla="*/ 109949 w 1614899"/>
                      <a:gd name="connsiteY476" fmla="*/ 200025 h 1619250"/>
                      <a:gd name="connsiteX477" fmla="*/ 119474 w 1614899"/>
                      <a:gd name="connsiteY477" fmla="*/ 197644 h 1619250"/>
                      <a:gd name="connsiteX478" fmla="*/ 133762 w 1614899"/>
                      <a:gd name="connsiteY478" fmla="*/ 192881 h 1619250"/>
                      <a:gd name="connsiteX479" fmla="*/ 140906 w 1614899"/>
                      <a:gd name="connsiteY479" fmla="*/ 190500 h 1619250"/>
                      <a:gd name="connsiteX480" fmla="*/ 148049 w 1614899"/>
                      <a:gd name="connsiteY480" fmla="*/ 195262 h 1619250"/>
                      <a:gd name="connsiteX481" fmla="*/ 155193 w 1614899"/>
                      <a:gd name="connsiteY481" fmla="*/ 204787 h 1619250"/>
                      <a:gd name="connsiteX482" fmla="*/ 164718 w 1614899"/>
                      <a:gd name="connsiteY482" fmla="*/ 202406 h 1619250"/>
                      <a:gd name="connsiteX483" fmla="*/ 190912 w 1614899"/>
                      <a:gd name="connsiteY483" fmla="*/ 200025 h 1619250"/>
                      <a:gd name="connsiteX484" fmla="*/ 193293 w 1614899"/>
                      <a:gd name="connsiteY484" fmla="*/ 192881 h 1619250"/>
                      <a:gd name="connsiteX485" fmla="*/ 198056 w 1614899"/>
                      <a:gd name="connsiteY485" fmla="*/ 185737 h 1619250"/>
                      <a:gd name="connsiteX486" fmla="*/ 195674 w 1614899"/>
                      <a:gd name="connsiteY486" fmla="*/ 178594 h 1619250"/>
                      <a:gd name="connsiteX487" fmla="*/ 186149 w 1614899"/>
                      <a:gd name="connsiteY487" fmla="*/ 159544 h 1619250"/>
                      <a:gd name="connsiteX488" fmla="*/ 217106 w 1614899"/>
                      <a:gd name="connsiteY488" fmla="*/ 152400 h 1619250"/>
                      <a:gd name="connsiteX489" fmla="*/ 209962 w 1614899"/>
                      <a:gd name="connsiteY489" fmla="*/ 145256 h 1619250"/>
                      <a:gd name="connsiteX490" fmla="*/ 202818 w 1614899"/>
                      <a:gd name="connsiteY490" fmla="*/ 140494 h 1619250"/>
                      <a:gd name="connsiteX491" fmla="*/ 212343 w 1614899"/>
                      <a:gd name="connsiteY491" fmla="*/ 133350 h 1619250"/>
                      <a:gd name="connsiteX492" fmla="*/ 233774 w 1614899"/>
                      <a:gd name="connsiteY492" fmla="*/ 123825 h 1619250"/>
                      <a:gd name="connsiteX493" fmla="*/ 238537 w 1614899"/>
                      <a:gd name="connsiteY493" fmla="*/ 116681 h 1619250"/>
                      <a:gd name="connsiteX494" fmla="*/ 240918 w 1614899"/>
                      <a:gd name="connsiteY494" fmla="*/ 107156 h 1619250"/>
                      <a:gd name="connsiteX495" fmla="*/ 248062 w 1614899"/>
                      <a:gd name="connsiteY495" fmla="*/ 109537 h 1619250"/>
                      <a:gd name="connsiteX496" fmla="*/ 250443 w 1614899"/>
                      <a:gd name="connsiteY496" fmla="*/ 116681 h 1619250"/>
                      <a:gd name="connsiteX497" fmla="*/ 252824 w 1614899"/>
                      <a:gd name="connsiteY497" fmla="*/ 130969 h 1619250"/>
                      <a:gd name="connsiteX498" fmla="*/ 269493 w 1614899"/>
                      <a:gd name="connsiteY498" fmla="*/ 138112 h 1619250"/>
                      <a:gd name="connsiteX499" fmla="*/ 271874 w 1614899"/>
                      <a:gd name="connsiteY499" fmla="*/ 145256 h 1619250"/>
                      <a:gd name="connsiteX500" fmla="*/ 264731 w 1614899"/>
                      <a:gd name="connsiteY500" fmla="*/ 152400 h 1619250"/>
                      <a:gd name="connsiteX501" fmla="*/ 262349 w 1614899"/>
                      <a:gd name="connsiteY501" fmla="*/ 159544 h 1619250"/>
                      <a:gd name="connsiteX502" fmla="*/ 264731 w 1614899"/>
                      <a:gd name="connsiteY502" fmla="*/ 173831 h 1619250"/>
                      <a:gd name="connsiteX503" fmla="*/ 274256 w 1614899"/>
                      <a:gd name="connsiteY503" fmla="*/ 176212 h 1619250"/>
                      <a:gd name="connsiteX504" fmla="*/ 295687 w 1614899"/>
                      <a:gd name="connsiteY504" fmla="*/ 178594 h 1619250"/>
                      <a:gd name="connsiteX505" fmla="*/ 293306 w 1614899"/>
                      <a:gd name="connsiteY505" fmla="*/ 185737 h 1619250"/>
                      <a:gd name="connsiteX506" fmla="*/ 295687 w 1614899"/>
                      <a:gd name="connsiteY506" fmla="*/ 200025 h 1619250"/>
                      <a:gd name="connsiteX507" fmla="*/ 302831 w 1614899"/>
                      <a:gd name="connsiteY507" fmla="*/ 216694 h 1619250"/>
                      <a:gd name="connsiteX508" fmla="*/ 307593 w 1614899"/>
                      <a:gd name="connsiteY508" fmla="*/ 223837 h 1619250"/>
                      <a:gd name="connsiteX509" fmla="*/ 314737 w 1614899"/>
                      <a:gd name="connsiteY509" fmla="*/ 228600 h 1619250"/>
                      <a:gd name="connsiteX510" fmla="*/ 326643 w 1614899"/>
                      <a:gd name="connsiteY510" fmla="*/ 226219 h 1619250"/>
                      <a:gd name="connsiteX511" fmla="*/ 321881 w 1614899"/>
                      <a:gd name="connsiteY511" fmla="*/ 200025 h 1619250"/>
                      <a:gd name="connsiteX512" fmla="*/ 314737 w 1614899"/>
                      <a:gd name="connsiteY512" fmla="*/ 197644 h 1619250"/>
                      <a:gd name="connsiteX513" fmla="*/ 324262 w 1614899"/>
                      <a:gd name="connsiteY513" fmla="*/ 180975 h 1619250"/>
                      <a:gd name="connsiteX514" fmla="*/ 329024 w 1614899"/>
                      <a:gd name="connsiteY514" fmla="*/ 173831 h 1619250"/>
                      <a:gd name="connsiteX515" fmla="*/ 343312 w 1614899"/>
                      <a:gd name="connsiteY515" fmla="*/ 159544 h 1619250"/>
                      <a:gd name="connsiteX516" fmla="*/ 348074 w 1614899"/>
                      <a:gd name="connsiteY516" fmla="*/ 145256 h 1619250"/>
                      <a:gd name="connsiteX517" fmla="*/ 350456 w 1614899"/>
                      <a:gd name="connsiteY517" fmla="*/ 114300 h 1619250"/>
                      <a:gd name="connsiteX518" fmla="*/ 357599 w 1614899"/>
                      <a:gd name="connsiteY518" fmla="*/ 111919 h 1619250"/>
                      <a:gd name="connsiteX519" fmla="*/ 364743 w 1614899"/>
                      <a:gd name="connsiteY519" fmla="*/ 114300 h 1619250"/>
                      <a:gd name="connsiteX520" fmla="*/ 371887 w 1614899"/>
                      <a:gd name="connsiteY520" fmla="*/ 114300 h 1619250"/>
                      <a:gd name="connsiteX521" fmla="*/ 381412 w 1614899"/>
                      <a:gd name="connsiteY521" fmla="*/ 138112 h 1619250"/>
                      <a:gd name="connsiteX522" fmla="*/ 395699 w 1614899"/>
                      <a:gd name="connsiteY522" fmla="*/ 150019 h 1619250"/>
                      <a:gd name="connsiteX523" fmla="*/ 409987 w 1614899"/>
                      <a:gd name="connsiteY523" fmla="*/ 147637 h 1619250"/>
                      <a:gd name="connsiteX524" fmla="*/ 412368 w 1614899"/>
                      <a:gd name="connsiteY524" fmla="*/ 133350 h 1619250"/>
                      <a:gd name="connsiteX525" fmla="*/ 426656 w 1614899"/>
                      <a:gd name="connsiteY525" fmla="*/ 128587 h 1619250"/>
                      <a:gd name="connsiteX526" fmla="*/ 433799 w 1614899"/>
                      <a:gd name="connsiteY526" fmla="*/ 142875 h 1619250"/>
                      <a:gd name="connsiteX527" fmla="*/ 448087 w 1614899"/>
                      <a:gd name="connsiteY527" fmla="*/ 161925 h 1619250"/>
                      <a:gd name="connsiteX528" fmla="*/ 464756 w 1614899"/>
                      <a:gd name="connsiteY528" fmla="*/ 159544 h 1619250"/>
                      <a:gd name="connsiteX529" fmla="*/ 452849 w 1614899"/>
                      <a:gd name="connsiteY529" fmla="*/ 138112 h 1619250"/>
                      <a:gd name="connsiteX530" fmla="*/ 450468 w 1614899"/>
                      <a:gd name="connsiteY530" fmla="*/ 111919 h 1619250"/>
                      <a:gd name="connsiteX531" fmla="*/ 443324 w 1614899"/>
                      <a:gd name="connsiteY531" fmla="*/ 107156 h 1619250"/>
                      <a:gd name="connsiteX532" fmla="*/ 440943 w 1614899"/>
                      <a:gd name="connsiteY532" fmla="*/ 100012 h 1619250"/>
                      <a:gd name="connsiteX533" fmla="*/ 450468 w 1614899"/>
                      <a:gd name="connsiteY533" fmla="*/ 88106 h 1619250"/>
                      <a:gd name="connsiteX534" fmla="*/ 476662 w 1614899"/>
                      <a:gd name="connsiteY534" fmla="*/ 90487 h 1619250"/>
                      <a:gd name="connsiteX535" fmla="*/ 486187 w 1614899"/>
                      <a:gd name="connsiteY535" fmla="*/ 92869 h 1619250"/>
                      <a:gd name="connsiteX536" fmla="*/ 493331 w 1614899"/>
                      <a:gd name="connsiteY536" fmla="*/ 97631 h 1619250"/>
                      <a:gd name="connsiteX537" fmla="*/ 502856 w 1614899"/>
                      <a:gd name="connsiteY537" fmla="*/ 95250 h 1619250"/>
                      <a:gd name="connsiteX538" fmla="*/ 509999 w 1614899"/>
                      <a:gd name="connsiteY538" fmla="*/ 90487 h 1619250"/>
                      <a:gd name="connsiteX539" fmla="*/ 507618 w 1614899"/>
                      <a:gd name="connsiteY539" fmla="*/ 83344 h 1619250"/>
                      <a:gd name="connsiteX540" fmla="*/ 500474 w 1614899"/>
                      <a:gd name="connsiteY540" fmla="*/ 80962 h 1619250"/>
                      <a:gd name="connsiteX541" fmla="*/ 493331 w 1614899"/>
                      <a:gd name="connsiteY541" fmla="*/ 76200 h 1619250"/>
                      <a:gd name="connsiteX542" fmla="*/ 495712 w 1614899"/>
                      <a:gd name="connsiteY542"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05262 w 1614899"/>
                      <a:gd name="connsiteY86" fmla="*/ 316706 h 1619250"/>
                      <a:gd name="connsiteX87" fmla="*/ 719549 w 1614899"/>
                      <a:gd name="connsiteY87" fmla="*/ 328612 h 1619250"/>
                      <a:gd name="connsiteX88" fmla="*/ 714787 w 1614899"/>
                      <a:gd name="connsiteY88" fmla="*/ 335756 h 1619250"/>
                      <a:gd name="connsiteX89" fmla="*/ 717168 w 1614899"/>
                      <a:gd name="connsiteY89" fmla="*/ 342900 h 1619250"/>
                      <a:gd name="connsiteX90" fmla="*/ 721931 w 1614899"/>
                      <a:gd name="connsiteY90" fmla="*/ 347662 h 1619250"/>
                      <a:gd name="connsiteX91" fmla="*/ 733837 w 1614899"/>
                      <a:gd name="connsiteY91" fmla="*/ 357187 h 1619250"/>
                      <a:gd name="connsiteX92" fmla="*/ 740981 w 1614899"/>
                      <a:gd name="connsiteY92" fmla="*/ 354806 h 1619250"/>
                      <a:gd name="connsiteX93" fmla="*/ 755268 w 1614899"/>
                      <a:gd name="connsiteY93" fmla="*/ 350044 h 1619250"/>
                      <a:gd name="connsiteX94" fmla="*/ 752887 w 1614899"/>
                      <a:gd name="connsiteY94" fmla="*/ 359569 h 1619250"/>
                      <a:gd name="connsiteX95" fmla="*/ 755268 w 1614899"/>
                      <a:gd name="connsiteY95" fmla="*/ 371475 h 1619250"/>
                      <a:gd name="connsiteX96" fmla="*/ 762412 w 1614899"/>
                      <a:gd name="connsiteY96" fmla="*/ 373856 h 1619250"/>
                      <a:gd name="connsiteX97" fmla="*/ 745743 w 1614899"/>
                      <a:gd name="connsiteY97" fmla="*/ 390525 h 1619250"/>
                      <a:gd name="connsiteX98" fmla="*/ 750506 w 1614899"/>
                      <a:gd name="connsiteY98" fmla="*/ 397669 h 1619250"/>
                      <a:gd name="connsiteX99" fmla="*/ 745743 w 1614899"/>
                      <a:gd name="connsiteY99" fmla="*/ 411956 h 1619250"/>
                      <a:gd name="connsiteX100" fmla="*/ 731456 w 1614899"/>
                      <a:gd name="connsiteY100" fmla="*/ 404812 h 1619250"/>
                      <a:gd name="connsiteX101" fmla="*/ 724312 w 1614899"/>
                      <a:gd name="connsiteY101" fmla="*/ 409575 h 1619250"/>
                      <a:gd name="connsiteX102" fmla="*/ 721931 w 1614899"/>
                      <a:gd name="connsiteY102" fmla="*/ 416719 h 1619250"/>
                      <a:gd name="connsiteX103" fmla="*/ 736218 w 1614899"/>
                      <a:gd name="connsiteY103" fmla="*/ 426244 h 1619250"/>
                      <a:gd name="connsiteX104" fmla="*/ 731456 w 1614899"/>
                      <a:gd name="connsiteY104" fmla="*/ 442912 h 1619250"/>
                      <a:gd name="connsiteX105" fmla="*/ 729074 w 1614899"/>
                      <a:gd name="connsiteY105" fmla="*/ 450056 h 1619250"/>
                      <a:gd name="connsiteX106" fmla="*/ 731456 w 1614899"/>
                      <a:gd name="connsiteY106" fmla="*/ 481012 h 1619250"/>
                      <a:gd name="connsiteX107" fmla="*/ 736218 w 1614899"/>
                      <a:gd name="connsiteY107" fmla="*/ 488156 h 1619250"/>
                      <a:gd name="connsiteX108" fmla="*/ 743362 w 1614899"/>
                      <a:gd name="connsiteY108" fmla="*/ 509587 h 1619250"/>
                      <a:gd name="connsiteX109" fmla="*/ 745743 w 1614899"/>
                      <a:gd name="connsiteY109" fmla="*/ 516731 h 1619250"/>
                      <a:gd name="connsiteX110" fmla="*/ 760031 w 1614899"/>
                      <a:gd name="connsiteY110" fmla="*/ 526256 h 1619250"/>
                      <a:gd name="connsiteX111" fmla="*/ 764793 w 1614899"/>
                      <a:gd name="connsiteY111" fmla="*/ 533400 h 1619250"/>
                      <a:gd name="connsiteX112" fmla="*/ 769556 w 1614899"/>
                      <a:gd name="connsiteY112" fmla="*/ 547687 h 1619250"/>
                      <a:gd name="connsiteX113" fmla="*/ 769556 w 1614899"/>
                      <a:gd name="connsiteY113" fmla="*/ 542925 h 1619250"/>
                      <a:gd name="connsiteX114" fmla="*/ 776699 w 1614899"/>
                      <a:gd name="connsiteY114" fmla="*/ 550069 h 1619250"/>
                      <a:gd name="connsiteX115" fmla="*/ 793368 w 1614899"/>
                      <a:gd name="connsiteY115" fmla="*/ 552450 h 1619250"/>
                      <a:gd name="connsiteX116" fmla="*/ 807656 w 1614899"/>
                      <a:gd name="connsiteY116" fmla="*/ 557212 h 1619250"/>
                      <a:gd name="connsiteX117" fmla="*/ 814799 w 1614899"/>
                      <a:gd name="connsiteY117" fmla="*/ 559594 h 1619250"/>
                      <a:gd name="connsiteX118" fmla="*/ 821943 w 1614899"/>
                      <a:gd name="connsiteY118" fmla="*/ 566737 h 1619250"/>
                      <a:gd name="connsiteX119" fmla="*/ 829087 w 1614899"/>
                      <a:gd name="connsiteY119" fmla="*/ 569119 h 1619250"/>
                      <a:gd name="connsiteX120" fmla="*/ 836231 w 1614899"/>
                      <a:gd name="connsiteY120" fmla="*/ 573881 h 1619250"/>
                      <a:gd name="connsiteX121" fmla="*/ 843374 w 1614899"/>
                      <a:gd name="connsiteY121" fmla="*/ 588169 h 1619250"/>
                      <a:gd name="connsiteX122" fmla="*/ 852899 w 1614899"/>
                      <a:gd name="connsiteY122" fmla="*/ 597694 h 1619250"/>
                      <a:gd name="connsiteX123" fmla="*/ 902906 w 1614899"/>
                      <a:gd name="connsiteY123" fmla="*/ 604837 h 1619250"/>
                      <a:gd name="connsiteX124" fmla="*/ 914812 w 1614899"/>
                      <a:gd name="connsiteY124" fmla="*/ 626269 h 1619250"/>
                      <a:gd name="connsiteX125" fmla="*/ 919574 w 1614899"/>
                      <a:gd name="connsiteY125" fmla="*/ 633412 h 1619250"/>
                      <a:gd name="connsiteX126" fmla="*/ 919574 w 1614899"/>
                      <a:gd name="connsiteY126" fmla="*/ 671512 h 1619250"/>
                      <a:gd name="connsiteX127" fmla="*/ 926718 w 1614899"/>
                      <a:gd name="connsiteY127" fmla="*/ 676275 h 1619250"/>
                      <a:gd name="connsiteX128" fmla="*/ 933862 w 1614899"/>
                      <a:gd name="connsiteY128" fmla="*/ 690562 h 1619250"/>
                      <a:gd name="connsiteX129" fmla="*/ 936243 w 1614899"/>
                      <a:gd name="connsiteY129" fmla="*/ 702469 h 1619250"/>
                      <a:gd name="connsiteX130" fmla="*/ 943387 w 1614899"/>
                      <a:gd name="connsiteY130" fmla="*/ 709612 h 1619250"/>
                      <a:gd name="connsiteX131" fmla="*/ 945768 w 1614899"/>
                      <a:gd name="connsiteY131" fmla="*/ 723900 h 1619250"/>
                      <a:gd name="connsiteX132" fmla="*/ 955293 w 1614899"/>
                      <a:gd name="connsiteY132" fmla="*/ 738187 h 1619250"/>
                      <a:gd name="connsiteX133" fmla="*/ 964818 w 1614899"/>
                      <a:gd name="connsiteY133" fmla="*/ 752475 h 1619250"/>
                      <a:gd name="connsiteX134" fmla="*/ 967199 w 1614899"/>
                      <a:gd name="connsiteY134" fmla="*/ 759619 h 1619250"/>
                      <a:gd name="connsiteX135" fmla="*/ 974343 w 1614899"/>
                      <a:gd name="connsiteY135" fmla="*/ 769144 h 1619250"/>
                      <a:gd name="connsiteX136" fmla="*/ 979106 w 1614899"/>
                      <a:gd name="connsiteY136" fmla="*/ 783431 h 1619250"/>
                      <a:gd name="connsiteX137" fmla="*/ 981487 w 1614899"/>
                      <a:gd name="connsiteY137" fmla="*/ 790575 h 1619250"/>
                      <a:gd name="connsiteX138" fmla="*/ 991012 w 1614899"/>
                      <a:gd name="connsiteY138" fmla="*/ 804862 h 1619250"/>
                      <a:gd name="connsiteX139" fmla="*/ 998156 w 1614899"/>
                      <a:gd name="connsiteY139" fmla="*/ 819150 h 1619250"/>
                      <a:gd name="connsiteX140" fmla="*/ 1000537 w 1614899"/>
                      <a:gd name="connsiteY140" fmla="*/ 826294 h 1619250"/>
                      <a:gd name="connsiteX141" fmla="*/ 1007681 w 1614899"/>
                      <a:gd name="connsiteY141" fmla="*/ 828675 h 1619250"/>
                      <a:gd name="connsiteX142" fmla="*/ 1014824 w 1614899"/>
                      <a:gd name="connsiteY142" fmla="*/ 833437 h 1619250"/>
                      <a:gd name="connsiteX143" fmla="*/ 1029112 w 1614899"/>
                      <a:gd name="connsiteY143" fmla="*/ 838200 h 1619250"/>
                      <a:gd name="connsiteX144" fmla="*/ 1033874 w 1614899"/>
                      <a:gd name="connsiteY144" fmla="*/ 845344 h 1619250"/>
                      <a:gd name="connsiteX145" fmla="*/ 1048162 w 1614899"/>
                      <a:gd name="connsiteY145" fmla="*/ 857250 h 1619250"/>
                      <a:gd name="connsiteX146" fmla="*/ 1062449 w 1614899"/>
                      <a:gd name="connsiteY146" fmla="*/ 862012 h 1619250"/>
                      <a:gd name="connsiteX147" fmla="*/ 1079118 w 1614899"/>
                      <a:gd name="connsiteY147" fmla="*/ 883444 h 1619250"/>
                      <a:gd name="connsiteX148" fmla="*/ 1081499 w 1614899"/>
                      <a:gd name="connsiteY148" fmla="*/ 890587 h 1619250"/>
                      <a:gd name="connsiteX149" fmla="*/ 1095787 w 1614899"/>
                      <a:gd name="connsiteY149" fmla="*/ 883444 h 1619250"/>
                      <a:gd name="connsiteX150" fmla="*/ 1110074 w 1614899"/>
                      <a:gd name="connsiteY150" fmla="*/ 890587 h 1619250"/>
                      <a:gd name="connsiteX151" fmla="*/ 1121981 w 1614899"/>
                      <a:gd name="connsiteY151" fmla="*/ 902494 h 1619250"/>
                      <a:gd name="connsiteX152" fmla="*/ 1136268 w 1614899"/>
                      <a:gd name="connsiteY152" fmla="*/ 907256 h 1619250"/>
                      <a:gd name="connsiteX153" fmla="*/ 1176749 w 1614899"/>
                      <a:gd name="connsiteY153" fmla="*/ 904875 h 1619250"/>
                      <a:gd name="connsiteX154" fmla="*/ 1195799 w 1614899"/>
                      <a:gd name="connsiteY154" fmla="*/ 904875 h 1619250"/>
                      <a:gd name="connsiteX155" fmla="*/ 1207706 w 1614899"/>
                      <a:gd name="connsiteY155" fmla="*/ 912019 h 1619250"/>
                      <a:gd name="connsiteX156" fmla="*/ 1210087 w 1614899"/>
                      <a:gd name="connsiteY156" fmla="*/ 902494 h 1619250"/>
                      <a:gd name="connsiteX157" fmla="*/ 1219612 w 1614899"/>
                      <a:gd name="connsiteY157" fmla="*/ 900112 h 1619250"/>
                      <a:gd name="connsiteX158" fmla="*/ 1226756 w 1614899"/>
                      <a:gd name="connsiteY158" fmla="*/ 895350 h 1619250"/>
                      <a:gd name="connsiteX159" fmla="*/ 1241043 w 1614899"/>
                      <a:gd name="connsiteY159" fmla="*/ 890587 h 1619250"/>
                      <a:gd name="connsiteX160" fmla="*/ 1255331 w 1614899"/>
                      <a:gd name="connsiteY160" fmla="*/ 892969 h 1619250"/>
                      <a:gd name="connsiteX161" fmla="*/ 1260093 w 1614899"/>
                      <a:gd name="connsiteY161" fmla="*/ 900112 h 1619250"/>
                      <a:gd name="connsiteX162" fmla="*/ 1267237 w 1614899"/>
                      <a:gd name="connsiteY162" fmla="*/ 904875 h 1619250"/>
                      <a:gd name="connsiteX163" fmla="*/ 1271999 w 1614899"/>
                      <a:gd name="connsiteY163" fmla="*/ 919162 h 1619250"/>
                      <a:gd name="connsiteX164" fmla="*/ 1269618 w 1614899"/>
                      <a:gd name="connsiteY164" fmla="*/ 928687 h 1619250"/>
                      <a:gd name="connsiteX165" fmla="*/ 1262474 w 1614899"/>
                      <a:gd name="connsiteY165" fmla="*/ 933450 h 1619250"/>
                      <a:gd name="connsiteX166" fmla="*/ 1255331 w 1614899"/>
                      <a:gd name="connsiteY166" fmla="*/ 940594 h 1619250"/>
                      <a:gd name="connsiteX167" fmla="*/ 1248187 w 1614899"/>
                      <a:gd name="connsiteY167" fmla="*/ 942975 h 1619250"/>
                      <a:gd name="connsiteX168" fmla="*/ 1241043 w 1614899"/>
                      <a:gd name="connsiteY168" fmla="*/ 947737 h 1619250"/>
                      <a:gd name="connsiteX169" fmla="*/ 1226756 w 1614899"/>
                      <a:gd name="connsiteY169" fmla="*/ 954881 h 1619250"/>
                      <a:gd name="connsiteX170" fmla="*/ 1236281 w 1614899"/>
                      <a:gd name="connsiteY170" fmla="*/ 969169 h 1619250"/>
                      <a:gd name="connsiteX171" fmla="*/ 1241043 w 1614899"/>
                      <a:gd name="connsiteY171" fmla="*/ 983456 h 1619250"/>
                      <a:gd name="connsiteX172" fmla="*/ 1250568 w 1614899"/>
                      <a:gd name="connsiteY172" fmla="*/ 997744 h 1619250"/>
                      <a:gd name="connsiteX173" fmla="*/ 1262474 w 1614899"/>
                      <a:gd name="connsiteY173" fmla="*/ 997744 h 1619250"/>
                      <a:gd name="connsiteX174" fmla="*/ 1264856 w 1614899"/>
                      <a:gd name="connsiteY174" fmla="*/ 990600 h 1619250"/>
                      <a:gd name="connsiteX175" fmla="*/ 1283906 w 1614899"/>
                      <a:gd name="connsiteY175" fmla="*/ 995362 h 1619250"/>
                      <a:gd name="connsiteX176" fmla="*/ 1291049 w 1614899"/>
                      <a:gd name="connsiteY176" fmla="*/ 1000125 h 1619250"/>
                      <a:gd name="connsiteX177" fmla="*/ 1298193 w 1614899"/>
                      <a:gd name="connsiteY177" fmla="*/ 1002506 h 1619250"/>
                      <a:gd name="connsiteX178" fmla="*/ 1322006 w 1614899"/>
                      <a:gd name="connsiteY178" fmla="*/ 1007269 h 1619250"/>
                      <a:gd name="connsiteX179" fmla="*/ 1336293 w 1614899"/>
                      <a:gd name="connsiteY179" fmla="*/ 1012031 h 1619250"/>
                      <a:gd name="connsiteX180" fmla="*/ 1355343 w 1614899"/>
                      <a:gd name="connsiteY180" fmla="*/ 1016794 h 1619250"/>
                      <a:gd name="connsiteX181" fmla="*/ 1362487 w 1614899"/>
                      <a:gd name="connsiteY181" fmla="*/ 1023937 h 1619250"/>
                      <a:gd name="connsiteX182" fmla="*/ 1376774 w 1614899"/>
                      <a:gd name="connsiteY182" fmla="*/ 1028700 h 1619250"/>
                      <a:gd name="connsiteX183" fmla="*/ 1391062 w 1614899"/>
                      <a:gd name="connsiteY183" fmla="*/ 1033462 h 1619250"/>
                      <a:gd name="connsiteX184" fmla="*/ 1398206 w 1614899"/>
                      <a:gd name="connsiteY184" fmla="*/ 1035844 h 1619250"/>
                      <a:gd name="connsiteX185" fmla="*/ 1405349 w 1614899"/>
                      <a:gd name="connsiteY185" fmla="*/ 1038225 h 1619250"/>
                      <a:gd name="connsiteX186" fmla="*/ 1412493 w 1614899"/>
                      <a:gd name="connsiteY186" fmla="*/ 1042987 h 1619250"/>
                      <a:gd name="connsiteX187" fmla="*/ 1426781 w 1614899"/>
                      <a:gd name="connsiteY187" fmla="*/ 1050131 h 1619250"/>
                      <a:gd name="connsiteX188" fmla="*/ 1436306 w 1614899"/>
                      <a:gd name="connsiteY188" fmla="*/ 1062037 h 1619250"/>
                      <a:gd name="connsiteX189" fmla="*/ 1441068 w 1614899"/>
                      <a:gd name="connsiteY189" fmla="*/ 1069181 h 1619250"/>
                      <a:gd name="connsiteX190" fmla="*/ 1450593 w 1614899"/>
                      <a:gd name="connsiteY190" fmla="*/ 1071562 h 1619250"/>
                      <a:gd name="connsiteX191" fmla="*/ 1464881 w 1614899"/>
                      <a:gd name="connsiteY191" fmla="*/ 1076325 h 1619250"/>
                      <a:gd name="connsiteX192" fmla="*/ 1467262 w 1614899"/>
                      <a:gd name="connsiteY192" fmla="*/ 1083469 h 1619250"/>
                      <a:gd name="connsiteX193" fmla="*/ 1488693 w 1614899"/>
                      <a:gd name="connsiteY193" fmla="*/ 1092994 h 1619250"/>
                      <a:gd name="connsiteX194" fmla="*/ 1500599 w 1614899"/>
                      <a:gd name="connsiteY194" fmla="*/ 1095375 h 1619250"/>
                      <a:gd name="connsiteX195" fmla="*/ 1514887 w 1614899"/>
                      <a:gd name="connsiteY195" fmla="*/ 1097756 h 1619250"/>
                      <a:gd name="connsiteX196" fmla="*/ 1522031 w 1614899"/>
                      <a:gd name="connsiteY196" fmla="*/ 1100137 h 1619250"/>
                      <a:gd name="connsiteX197" fmla="*/ 1541081 w 1614899"/>
                      <a:gd name="connsiteY197" fmla="*/ 1104900 h 1619250"/>
                      <a:gd name="connsiteX198" fmla="*/ 1545843 w 1614899"/>
                      <a:gd name="connsiteY198" fmla="*/ 1112044 h 1619250"/>
                      <a:gd name="connsiteX199" fmla="*/ 1543462 w 1614899"/>
                      <a:gd name="connsiteY199" fmla="*/ 1119187 h 1619250"/>
                      <a:gd name="connsiteX200" fmla="*/ 1557749 w 1614899"/>
                      <a:gd name="connsiteY200" fmla="*/ 1128712 h 1619250"/>
                      <a:gd name="connsiteX201" fmla="*/ 1564893 w 1614899"/>
                      <a:gd name="connsiteY201" fmla="*/ 1133475 h 1619250"/>
                      <a:gd name="connsiteX202" fmla="*/ 1579181 w 1614899"/>
                      <a:gd name="connsiteY202" fmla="*/ 1147762 h 1619250"/>
                      <a:gd name="connsiteX203" fmla="*/ 1593468 w 1614899"/>
                      <a:gd name="connsiteY203" fmla="*/ 1152525 h 1619250"/>
                      <a:gd name="connsiteX204" fmla="*/ 1600612 w 1614899"/>
                      <a:gd name="connsiteY204" fmla="*/ 1154906 h 1619250"/>
                      <a:gd name="connsiteX205" fmla="*/ 1607756 w 1614899"/>
                      <a:gd name="connsiteY205" fmla="*/ 1162050 h 1619250"/>
                      <a:gd name="connsiteX206" fmla="*/ 1610137 w 1614899"/>
                      <a:gd name="connsiteY206" fmla="*/ 1169194 h 1619250"/>
                      <a:gd name="connsiteX207" fmla="*/ 1614899 w 1614899"/>
                      <a:gd name="connsiteY207" fmla="*/ 1176337 h 1619250"/>
                      <a:gd name="connsiteX208" fmla="*/ 1612518 w 1614899"/>
                      <a:gd name="connsiteY208" fmla="*/ 1195387 h 1619250"/>
                      <a:gd name="connsiteX209" fmla="*/ 1610137 w 1614899"/>
                      <a:gd name="connsiteY209" fmla="*/ 1202531 h 1619250"/>
                      <a:gd name="connsiteX210" fmla="*/ 1602993 w 1614899"/>
                      <a:gd name="connsiteY210" fmla="*/ 1204912 h 1619250"/>
                      <a:gd name="connsiteX211" fmla="*/ 1600612 w 1614899"/>
                      <a:gd name="connsiteY211" fmla="*/ 1212056 h 1619250"/>
                      <a:gd name="connsiteX212" fmla="*/ 1598231 w 1614899"/>
                      <a:gd name="connsiteY212" fmla="*/ 1247775 h 1619250"/>
                      <a:gd name="connsiteX213" fmla="*/ 1579181 w 1614899"/>
                      <a:gd name="connsiteY213" fmla="*/ 1245394 h 1619250"/>
                      <a:gd name="connsiteX214" fmla="*/ 1550606 w 1614899"/>
                      <a:gd name="connsiteY214" fmla="*/ 1231106 h 1619250"/>
                      <a:gd name="connsiteX215" fmla="*/ 1543462 w 1614899"/>
                      <a:gd name="connsiteY215" fmla="*/ 1226344 h 1619250"/>
                      <a:gd name="connsiteX216" fmla="*/ 1543462 w 1614899"/>
                      <a:gd name="connsiteY216" fmla="*/ 1197769 h 1619250"/>
                      <a:gd name="connsiteX217" fmla="*/ 1545843 w 1614899"/>
                      <a:gd name="connsiteY217" fmla="*/ 1183481 h 1619250"/>
                      <a:gd name="connsiteX218" fmla="*/ 1531556 w 1614899"/>
                      <a:gd name="connsiteY218" fmla="*/ 1176337 h 1619250"/>
                      <a:gd name="connsiteX219" fmla="*/ 1529174 w 1614899"/>
                      <a:gd name="connsiteY219" fmla="*/ 1169194 h 1619250"/>
                      <a:gd name="connsiteX220" fmla="*/ 1531556 w 1614899"/>
                      <a:gd name="connsiteY220" fmla="*/ 1152525 h 1619250"/>
                      <a:gd name="connsiteX221" fmla="*/ 1524412 w 1614899"/>
                      <a:gd name="connsiteY221" fmla="*/ 1154906 h 1619250"/>
                      <a:gd name="connsiteX222" fmla="*/ 1517268 w 1614899"/>
                      <a:gd name="connsiteY222" fmla="*/ 1159669 h 1619250"/>
                      <a:gd name="connsiteX223" fmla="*/ 1502981 w 1614899"/>
                      <a:gd name="connsiteY223" fmla="*/ 1164431 h 1619250"/>
                      <a:gd name="connsiteX224" fmla="*/ 1481549 w 1614899"/>
                      <a:gd name="connsiteY224" fmla="*/ 1169194 h 1619250"/>
                      <a:gd name="connsiteX225" fmla="*/ 1457737 w 1614899"/>
                      <a:gd name="connsiteY225" fmla="*/ 1164431 h 1619250"/>
                      <a:gd name="connsiteX226" fmla="*/ 1443449 w 1614899"/>
                      <a:gd name="connsiteY226" fmla="*/ 1154906 h 1619250"/>
                      <a:gd name="connsiteX227" fmla="*/ 1436306 w 1614899"/>
                      <a:gd name="connsiteY227" fmla="*/ 1150144 h 1619250"/>
                      <a:gd name="connsiteX228" fmla="*/ 1426781 w 1614899"/>
                      <a:gd name="connsiteY228" fmla="*/ 1140619 h 1619250"/>
                      <a:gd name="connsiteX229" fmla="*/ 1402968 w 1614899"/>
                      <a:gd name="connsiteY229" fmla="*/ 1138237 h 1619250"/>
                      <a:gd name="connsiteX230" fmla="*/ 1395824 w 1614899"/>
                      <a:gd name="connsiteY230" fmla="*/ 1145381 h 1619250"/>
                      <a:gd name="connsiteX231" fmla="*/ 1374393 w 1614899"/>
                      <a:gd name="connsiteY231" fmla="*/ 1162050 h 1619250"/>
                      <a:gd name="connsiteX232" fmla="*/ 1367249 w 1614899"/>
                      <a:gd name="connsiteY232" fmla="*/ 1188244 h 1619250"/>
                      <a:gd name="connsiteX233" fmla="*/ 1357724 w 1614899"/>
                      <a:gd name="connsiteY233" fmla="*/ 1202531 h 1619250"/>
                      <a:gd name="connsiteX234" fmla="*/ 1348199 w 1614899"/>
                      <a:gd name="connsiteY234" fmla="*/ 1212056 h 1619250"/>
                      <a:gd name="connsiteX235" fmla="*/ 1345818 w 1614899"/>
                      <a:gd name="connsiteY235" fmla="*/ 1219200 h 1619250"/>
                      <a:gd name="connsiteX236" fmla="*/ 1341056 w 1614899"/>
                      <a:gd name="connsiteY236" fmla="*/ 1228725 h 1619250"/>
                      <a:gd name="connsiteX237" fmla="*/ 1350581 w 1614899"/>
                      <a:gd name="connsiteY237" fmla="*/ 1243012 h 1619250"/>
                      <a:gd name="connsiteX238" fmla="*/ 1343437 w 1614899"/>
                      <a:gd name="connsiteY238" fmla="*/ 1266825 h 1619250"/>
                      <a:gd name="connsiteX239" fmla="*/ 1345818 w 1614899"/>
                      <a:gd name="connsiteY239" fmla="*/ 1281112 h 1619250"/>
                      <a:gd name="connsiteX240" fmla="*/ 1348199 w 1614899"/>
                      <a:gd name="connsiteY240" fmla="*/ 1290637 h 1619250"/>
                      <a:gd name="connsiteX241" fmla="*/ 1355343 w 1614899"/>
                      <a:gd name="connsiteY241" fmla="*/ 1297781 h 1619250"/>
                      <a:gd name="connsiteX242" fmla="*/ 1362487 w 1614899"/>
                      <a:gd name="connsiteY242" fmla="*/ 1300162 h 1619250"/>
                      <a:gd name="connsiteX243" fmla="*/ 1386299 w 1614899"/>
                      <a:gd name="connsiteY243" fmla="*/ 1302544 h 1619250"/>
                      <a:gd name="connsiteX244" fmla="*/ 1395824 w 1614899"/>
                      <a:gd name="connsiteY244" fmla="*/ 1309687 h 1619250"/>
                      <a:gd name="connsiteX245" fmla="*/ 1410112 w 1614899"/>
                      <a:gd name="connsiteY245" fmla="*/ 1314450 h 1619250"/>
                      <a:gd name="connsiteX246" fmla="*/ 1417256 w 1614899"/>
                      <a:gd name="connsiteY246" fmla="*/ 1319212 h 1619250"/>
                      <a:gd name="connsiteX247" fmla="*/ 1431543 w 1614899"/>
                      <a:gd name="connsiteY247" fmla="*/ 1326356 h 1619250"/>
                      <a:gd name="connsiteX248" fmla="*/ 1433924 w 1614899"/>
                      <a:gd name="connsiteY248" fmla="*/ 1333500 h 1619250"/>
                      <a:gd name="connsiteX249" fmla="*/ 1429162 w 1614899"/>
                      <a:gd name="connsiteY249" fmla="*/ 1340644 h 1619250"/>
                      <a:gd name="connsiteX250" fmla="*/ 1426781 w 1614899"/>
                      <a:gd name="connsiteY250" fmla="*/ 1347787 h 1619250"/>
                      <a:gd name="connsiteX251" fmla="*/ 1431543 w 1614899"/>
                      <a:gd name="connsiteY251" fmla="*/ 1354931 h 1619250"/>
                      <a:gd name="connsiteX252" fmla="*/ 1436306 w 1614899"/>
                      <a:gd name="connsiteY252" fmla="*/ 1364456 h 1619250"/>
                      <a:gd name="connsiteX253" fmla="*/ 1443449 w 1614899"/>
                      <a:gd name="connsiteY253" fmla="*/ 1395412 h 1619250"/>
                      <a:gd name="connsiteX254" fmla="*/ 1450593 w 1614899"/>
                      <a:gd name="connsiteY254" fmla="*/ 1402556 h 1619250"/>
                      <a:gd name="connsiteX255" fmla="*/ 1448212 w 1614899"/>
                      <a:gd name="connsiteY255" fmla="*/ 1412081 h 1619250"/>
                      <a:gd name="connsiteX256" fmla="*/ 1433924 w 1614899"/>
                      <a:gd name="connsiteY256" fmla="*/ 1416844 h 1619250"/>
                      <a:gd name="connsiteX257" fmla="*/ 1419637 w 1614899"/>
                      <a:gd name="connsiteY257" fmla="*/ 1423987 h 1619250"/>
                      <a:gd name="connsiteX258" fmla="*/ 1405349 w 1614899"/>
                      <a:gd name="connsiteY258" fmla="*/ 1431131 h 1619250"/>
                      <a:gd name="connsiteX259" fmla="*/ 1398206 w 1614899"/>
                      <a:gd name="connsiteY259" fmla="*/ 1435894 h 1619250"/>
                      <a:gd name="connsiteX260" fmla="*/ 1383918 w 1614899"/>
                      <a:gd name="connsiteY260" fmla="*/ 1440656 h 1619250"/>
                      <a:gd name="connsiteX261" fmla="*/ 1376774 w 1614899"/>
                      <a:gd name="connsiteY261" fmla="*/ 1443037 h 1619250"/>
                      <a:gd name="connsiteX262" fmla="*/ 1364868 w 1614899"/>
                      <a:gd name="connsiteY262" fmla="*/ 1464469 h 1619250"/>
                      <a:gd name="connsiteX263" fmla="*/ 1362487 w 1614899"/>
                      <a:gd name="connsiteY263" fmla="*/ 1473994 h 1619250"/>
                      <a:gd name="connsiteX264" fmla="*/ 1364868 w 1614899"/>
                      <a:gd name="connsiteY264" fmla="*/ 1497806 h 1619250"/>
                      <a:gd name="connsiteX265" fmla="*/ 1372012 w 1614899"/>
                      <a:gd name="connsiteY265" fmla="*/ 1500187 h 1619250"/>
                      <a:gd name="connsiteX266" fmla="*/ 1369631 w 1614899"/>
                      <a:gd name="connsiteY266" fmla="*/ 1516856 h 1619250"/>
                      <a:gd name="connsiteX267" fmla="*/ 1367249 w 1614899"/>
                      <a:gd name="connsiteY267" fmla="*/ 1524000 h 1619250"/>
                      <a:gd name="connsiteX268" fmla="*/ 1360106 w 1614899"/>
                      <a:gd name="connsiteY268" fmla="*/ 1526381 h 1619250"/>
                      <a:gd name="connsiteX269" fmla="*/ 1352962 w 1614899"/>
                      <a:gd name="connsiteY269" fmla="*/ 1531144 h 1619250"/>
                      <a:gd name="connsiteX270" fmla="*/ 1343437 w 1614899"/>
                      <a:gd name="connsiteY270" fmla="*/ 1535906 h 1619250"/>
                      <a:gd name="connsiteX271" fmla="*/ 1329149 w 1614899"/>
                      <a:gd name="connsiteY271" fmla="*/ 1550194 h 1619250"/>
                      <a:gd name="connsiteX272" fmla="*/ 1326768 w 1614899"/>
                      <a:gd name="connsiteY272" fmla="*/ 1559719 h 1619250"/>
                      <a:gd name="connsiteX273" fmla="*/ 1322006 w 1614899"/>
                      <a:gd name="connsiteY273" fmla="*/ 1566862 h 1619250"/>
                      <a:gd name="connsiteX274" fmla="*/ 1319624 w 1614899"/>
                      <a:gd name="connsiteY274" fmla="*/ 1578769 h 1619250"/>
                      <a:gd name="connsiteX275" fmla="*/ 1317243 w 1614899"/>
                      <a:gd name="connsiteY275" fmla="*/ 1585912 h 1619250"/>
                      <a:gd name="connsiteX276" fmla="*/ 1314862 w 1614899"/>
                      <a:gd name="connsiteY276" fmla="*/ 1602581 h 1619250"/>
                      <a:gd name="connsiteX277" fmla="*/ 1283906 w 1614899"/>
                      <a:gd name="connsiteY277" fmla="*/ 1614487 h 1619250"/>
                      <a:gd name="connsiteX278" fmla="*/ 1274381 w 1614899"/>
                      <a:gd name="connsiteY278" fmla="*/ 1616869 h 1619250"/>
                      <a:gd name="connsiteX279" fmla="*/ 1260093 w 1614899"/>
                      <a:gd name="connsiteY279" fmla="*/ 1619250 h 1619250"/>
                      <a:gd name="connsiteX280" fmla="*/ 1248187 w 1614899"/>
                      <a:gd name="connsiteY280" fmla="*/ 1616869 h 1619250"/>
                      <a:gd name="connsiteX281" fmla="*/ 1243424 w 1614899"/>
                      <a:gd name="connsiteY281" fmla="*/ 1597819 h 1619250"/>
                      <a:gd name="connsiteX282" fmla="*/ 1238662 w 1614899"/>
                      <a:gd name="connsiteY282" fmla="*/ 1581150 h 1619250"/>
                      <a:gd name="connsiteX283" fmla="*/ 1243424 w 1614899"/>
                      <a:gd name="connsiteY283" fmla="*/ 1566862 h 1619250"/>
                      <a:gd name="connsiteX284" fmla="*/ 1252949 w 1614899"/>
                      <a:gd name="connsiteY284" fmla="*/ 1552575 h 1619250"/>
                      <a:gd name="connsiteX285" fmla="*/ 1260093 w 1614899"/>
                      <a:gd name="connsiteY285" fmla="*/ 1550194 h 1619250"/>
                      <a:gd name="connsiteX286" fmla="*/ 1267237 w 1614899"/>
                      <a:gd name="connsiteY286" fmla="*/ 1543050 h 1619250"/>
                      <a:gd name="connsiteX287" fmla="*/ 1269618 w 1614899"/>
                      <a:gd name="connsiteY287" fmla="*/ 1535906 h 1619250"/>
                      <a:gd name="connsiteX288" fmla="*/ 1274381 w 1614899"/>
                      <a:gd name="connsiteY288" fmla="*/ 1526381 h 1619250"/>
                      <a:gd name="connsiteX289" fmla="*/ 1267237 w 1614899"/>
                      <a:gd name="connsiteY289" fmla="*/ 1502569 h 1619250"/>
                      <a:gd name="connsiteX290" fmla="*/ 1252949 w 1614899"/>
                      <a:gd name="connsiteY290" fmla="*/ 1493044 h 1619250"/>
                      <a:gd name="connsiteX291" fmla="*/ 1262474 w 1614899"/>
                      <a:gd name="connsiteY291" fmla="*/ 1478756 h 1619250"/>
                      <a:gd name="connsiteX292" fmla="*/ 1279143 w 1614899"/>
                      <a:gd name="connsiteY292" fmla="*/ 1462087 h 1619250"/>
                      <a:gd name="connsiteX293" fmla="*/ 1302956 w 1614899"/>
                      <a:gd name="connsiteY293" fmla="*/ 1459706 h 1619250"/>
                      <a:gd name="connsiteX294" fmla="*/ 1305337 w 1614899"/>
                      <a:gd name="connsiteY294" fmla="*/ 1450181 h 1619250"/>
                      <a:gd name="connsiteX295" fmla="*/ 1310099 w 1614899"/>
                      <a:gd name="connsiteY295" fmla="*/ 1443037 h 1619250"/>
                      <a:gd name="connsiteX296" fmla="*/ 1312481 w 1614899"/>
                      <a:gd name="connsiteY296" fmla="*/ 1435894 h 1619250"/>
                      <a:gd name="connsiteX297" fmla="*/ 1305337 w 1614899"/>
                      <a:gd name="connsiteY297" fmla="*/ 1428750 h 1619250"/>
                      <a:gd name="connsiteX298" fmla="*/ 1298193 w 1614899"/>
                      <a:gd name="connsiteY298" fmla="*/ 1423987 h 1619250"/>
                      <a:gd name="connsiteX299" fmla="*/ 1295812 w 1614899"/>
                      <a:gd name="connsiteY299" fmla="*/ 1412081 h 1619250"/>
                      <a:gd name="connsiteX300" fmla="*/ 1293431 w 1614899"/>
                      <a:gd name="connsiteY300" fmla="*/ 1402556 h 1619250"/>
                      <a:gd name="connsiteX301" fmla="*/ 1288668 w 1614899"/>
                      <a:gd name="connsiteY301" fmla="*/ 1369219 h 1619250"/>
                      <a:gd name="connsiteX302" fmla="*/ 1286287 w 1614899"/>
                      <a:gd name="connsiteY302" fmla="*/ 1362075 h 1619250"/>
                      <a:gd name="connsiteX303" fmla="*/ 1276762 w 1614899"/>
                      <a:gd name="connsiteY303" fmla="*/ 1345406 h 1619250"/>
                      <a:gd name="connsiteX304" fmla="*/ 1267237 w 1614899"/>
                      <a:gd name="connsiteY304" fmla="*/ 1343025 h 1619250"/>
                      <a:gd name="connsiteX305" fmla="*/ 1260093 w 1614899"/>
                      <a:gd name="connsiteY305" fmla="*/ 1340644 h 1619250"/>
                      <a:gd name="connsiteX306" fmla="*/ 1252949 w 1614899"/>
                      <a:gd name="connsiteY306" fmla="*/ 1307306 h 1619250"/>
                      <a:gd name="connsiteX307" fmla="*/ 1248187 w 1614899"/>
                      <a:gd name="connsiteY307" fmla="*/ 1293019 h 1619250"/>
                      <a:gd name="connsiteX308" fmla="*/ 1243424 w 1614899"/>
                      <a:gd name="connsiteY308" fmla="*/ 1278731 h 1619250"/>
                      <a:gd name="connsiteX309" fmla="*/ 1241043 w 1614899"/>
                      <a:gd name="connsiteY309" fmla="*/ 1271587 h 1619250"/>
                      <a:gd name="connsiteX310" fmla="*/ 1236281 w 1614899"/>
                      <a:gd name="connsiteY310" fmla="*/ 1262062 h 1619250"/>
                      <a:gd name="connsiteX311" fmla="*/ 1231518 w 1614899"/>
                      <a:gd name="connsiteY311" fmla="*/ 1247775 h 1619250"/>
                      <a:gd name="connsiteX312" fmla="*/ 1224374 w 1614899"/>
                      <a:gd name="connsiteY312" fmla="*/ 1240631 h 1619250"/>
                      <a:gd name="connsiteX313" fmla="*/ 1214849 w 1614899"/>
                      <a:gd name="connsiteY313" fmla="*/ 1226344 h 1619250"/>
                      <a:gd name="connsiteX314" fmla="*/ 1195799 w 1614899"/>
                      <a:gd name="connsiteY314" fmla="*/ 1233487 h 1619250"/>
                      <a:gd name="connsiteX315" fmla="*/ 1198181 w 1614899"/>
                      <a:gd name="connsiteY315" fmla="*/ 1240631 h 1619250"/>
                      <a:gd name="connsiteX316" fmla="*/ 1191037 w 1614899"/>
                      <a:gd name="connsiteY316" fmla="*/ 1243012 h 1619250"/>
                      <a:gd name="connsiteX317" fmla="*/ 1164843 w 1614899"/>
                      <a:gd name="connsiteY317" fmla="*/ 1238250 h 1619250"/>
                      <a:gd name="connsiteX318" fmla="*/ 1155318 w 1614899"/>
                      <a:gd name="connsiteY318" fmla="*/ 1223962 h 1619250"/>
                      <a:gd name="connsiteX319" fmla="*/ 1148174 w 1614899"/>
                      <a:gd name="connsiteY319" fmla="*/ 1216819 h 1619250"/>
                      <a:gd name="connsiteX320" fmla="*/ 1138649 w 1614899"/>
                      <a:gd name="connsiteY320" fmla="*/ 1219200 h 1619250"/>
                      <a:gd name="connsiteX321" fmla="*/ 1131506 w 1614899"/>
                      <a:gd name="connsiteY321" fmla="*/ 1221581 h 1619250"/>
                      <a:gd name="connsiteX322" fmla="*/ 1124362 w 1614899"/>
                      <a:gd name="connsiteY322" fmla="*/ 1219200 h 1619250"/>
                      <a:gd name="connsiteX323" fmla="*/ 1117218 w 1614899"/>
                      <a:gd name="connsiteY323" fmla="*/ 1212056 h 1619250"/>
                      <a:gd name="connsiteX324" fmla="*/ 1117218 w 1614899"/>
                      <a:gd name="connsiteY324" fmla="*/ 1193006 h 1619250"/>
                      <a:gd name="connsiteX325" fmla="*/ 1112456 w 1614899"/>
                      <a:gd name="connsiteY325" fmla="*/ 1154906 h 1619250"/>
                      <a:gd name="connsiteX326" fmla="*/ 1107693 w 1614899"/>
                      <a:gd name="connsiteY326" fmla="*/ 1147762 h 1619250"/>
                      <a:gd name="connsiteX327" fmla="*/ 1100549 w 1614899"/>
                      <a:gd name="connsiteY327" fmla="*/ 1145381 h 1619250"/>
                      <a:gd name="connsiteX328" fmla="*/ 1093406 w 1614899"/>
                      <a:gd name="connsiteY328" fmla="*/ 1147762 h 1619250"/>
                      <a:gd name="connsiteX329" fmla="*/ 1062449 w 1614899"/>
                      <a:gd name="connsiteY329" fmla="*/ 1152525 h 1619250"/>
                      <a:gd name="connsiteX330" fmla="*/ 1045781 w 1614899"/>
                      <a:gd name="connsiteY330" fmla="*/ 1150144 h 1619250"/>
                      <a:gd name="connsiteX331" fmla="*/ 1043399 w 1614899"/>
                      <a:gd name="connsiteY331" fmla="*/ 1143000 h 1619250"/>
                      <a:gd name="connsiteX332" fmla="*/ 1050543 w 1614899"/>
                      <a:gd name="connsiteY332" fmla="*/ 1128712 h 1619250"/>
                      <a:gd name="connsiteX333" fmla="*/ 1041018 w 1614899"/>
                      <a:gd name="connsiteY333" fmla="*/ 1107281 h 1619250"/>
                      <a:gd name="connsiteX334" fmla="*/ 1024349 w 1614899"/>
                      <a:gd name="connsiteY334" fmla="*/ 1109662 h 1619250"/>
                      <a:gd name="connsiteX335" fmla="*/ 1014824 w 1614899"/>
                      <a:gd name="connsiteY335" fmla="*/ 1107281 h 1619250"/>
                      <a:gd name="connsiteX336" fmla="*/ 988631 w 1614899"/>
                      <a:gd name="connsiteY336" fmla="*/ 1109662 h 1619250"/>
                      <a:gd name="connsiteX337" fmla="*/ 986249 w 1614899"/>
                      <a:gd name="connsiteY337" fmla="*/ 1102519 h 1619250"/>
                      <a:gd name="connsiteX338" fmla="*/ 979106 w 1614899"/>
                      <a:gd name="connsiteY338" fmla="*/ 1076325 h 1619250"/>
                      <a:gd name="connsiteX339" fmla="*/ 964818 w 1614899"/>
                      <a:gd name="connsiteY339" fmla="*/ 1064419 h 1619250"/>
                      <a:gd name="connsiteX340" fmla="*/ 950531 w 1614899"/>
                      <a:gd name="connsiteY340" fmla="*/ 1054894 h 1619250"/>
                      <a:gd name="connsiteX341" fmla="*/ 943387 w 1614899"/>
                      <a:gd name="connsiteY341" fmla="*/ 1050131 h 1619250"/>
                      <a:gd name="connsiteX342" fmla="*/ 936243 w 1614899"/>
                      <a:gd name="connsiteY342" fmla="*/ 1045369 h 1619250"/>
                      <a:gd name="connsiteX343" fmla="*/ 931481 w 1614899"/>
                      <a:gd name="connsiteY343" fmla="*/ 1038225 h 1619250"/>
                      <a:gd name="connsiteX344" fmla="*/ 917193 w 1614899"/>
                      <a:gd name="connsiteY344" fmla="*/ 1031081 h 1619250"/>
                      <a:gd name="connsiteX345" fmla="*/ 914812 w 1614899"/>
                      <a:gd name="connsiteY345" fmla="*/ 1040606 h 1619250"/>
                      <a:gd name="connsiteX346" fmla="*/ 907668 w 1614899"/>
                      <a:gd name="connsiteY346" fmla="*/ 1042987 h 1619250"/>
                      <a:gd name="connsiteX347" fmla="*/ 886237 w 1614899"/>
                      <a:gd name="connsiteY347" fmla="*/ 1031081 h 1619250"/>
                      <a:gd name="connsiteX348" fmla="*/ 862424 w 1614899"/>
                      <a:gd name="connsiteY348" fmla="*/ 1035844 h 1619250"/>
                      <a:gd name="connsiteX349" fmla="*/ 845756 w 1614899"/>
                      <a:gd name="connsiteY349" fmla="*/ 1040606 h 1619250"/>
                      <a:gd name="connsiteX350" fmla="*/ 840993 w 1614899"/>
                      <a:gd name="connsiteY350" fmla="*/ 1033462 h 1619250"/>
                      <a:gd name="connsiteX351" fmla="*/ 821943 w 1614899"/>
                      <a:gd name="connsiteY351" fmla="*/ 1004887 h 1619250"/>
                      <a:gd name="connsiteX352" fmla="*/ 814799 w 1614899"/>
                      <a:gd name="connsiteY352" fmla="*/ 1000125 h 1619250"/>
                      <a:gd name="connsiteX353" fmla="*/ 779081 w 1614899"/>
                      <a:gd name="connsiteY353" fmla="*/ 995362 h 1619250"/>
                      <a:gd name="connsiteX354" fmla="*/ 771937 w 1614899"/>
                      <a:gd name="connsiteY354" fmla="*/ 988219 h 1619250"/>
                      <a:gd name="connsiteX355" fmla="*/ 762412 w 1614899"/>
                      <a:gd name="connsiteY355" fmla="*/ 966787 h 1619250"/>
                      <a:gd name="connsiteX356" fmla="*/ 755268 w 1614899"/>
                      <a:gd name="connsiteY356" fmla="*/ 962025 h 1619250"/>
                      <a:gd name="connsiteX357" fmla="*/ 733837 w 1614899"/>
                      <a:gd name="connsiteY357" fmla="*/ 962025 h 1619250"/>
                      <a:gd name="connsiteX358" fmla="*/ 731456 w 1614899"/>
                      <a:gd name="connsiteY358" fmla="*/ 950119 h 1619250"/>
                      <a:gd name="connsiteX359" fmla="*/ 729074 w 1614899"/>
                      <a:gd name="connsiteY359" fmla="*/ 942975 h 1619250"/>
                      <a:gd name="connsiteX360" fmla="*/ 726693 w 1614899"/>
                      <a:gd name="connsiteY360" fmla="*/ 921544 h 1619250"/>
                      <a:gd name="connsiteX361" fmla="*/ 724312 w 1614899"/>
                      <a:gd name="connsiteY361" fmla="*/ 914400 h 1619250"/>
                      <a:gd name="connsiteX362" fmla="*/ 717168 w 1614899"/>
                      <a:gd name="connsiteY362" fmla="*/ 909637 h 1619250"/>
                      <a:gd name="connsiteX363" fmla="*/ 710024 w 1614899"/>
                      <a:gd name="connsiteY363" fmla="*/ 907256 h 1619250"/>
                      <a:gd name="connsiteX364" fmla="*/ 681449 w 1614899"/>
                      <a:gd name="connsiteY364" fmla="*/ 902494 h 1619250"/>
                      <a:gd name="connsiteX365" fmla="*/ 674306 w 1614899"/>
                      <a:gd name="connsiteY365" fmla="*/ 897731 h 1619250"/>
                      <a:gd name="connsiteX366" fmla="*/ 667162 w 1614899"/>
                      <a:gd name="connsiteY366" fmla="*/ 883444 h 1619250"/>
                      <a:gd name="connsiteX367" fmla="*/ 657637 w 1614899"/>
                      <a:gd name="connsiteY367" fmla="*/ 881062 h 1619250"/>
                      <a:gd name="connsiteX368" fmla="*/ 650493 w 1614899"/>
                      <a:gd name="connsiteY368" fmla="*/ 873919 h 1619250"/>
                      <a:gd name="connsiteX369" fmla="*/ 648112 w 1614899"/>
                      <a:gd name="connsiteY369" fmla="*/ 866775 h 1619250"/>
                      <a:gd name="connsiteX370" fmla="*/ 643349 w 1614899"/>
                      <a:gd name="connsiteY370" fmla="*/ 859631 h 1619250"/>
                      <a:gd name="connsiteX371" fmla="*/ 631443 w 1614899"/>
                      <a:gd name="connsiteY371" fmla="*/ 838200 h 1619250"/>
                      <a:gd name="connsiteX372" fmla="*/ 624299 w 1614899"/>
                      <a:gd name="connsiteY372" fmla="*/ 833437 h 1619250"/>
                      <a:gd name="connsiteX373" fmla="*/ 593343 w 1614899"/>
                      <a:gd name="connsiteY373" fmla="*/ 835819 h 1619250"/>
                      <a:gd name="connsiteX374" fmla="*/ 586199 w 1614899"/>
                      <a:gd name="connsiteY374" fmla="*/ 816769 h 1619250"/>
                      <a:gd name="connsiteX375" fmla="*/ 569531 w 1614899"/>
                      <a:gd name="connsiteY375" fmla="*/ 795337 h 1619250"/>
                      <a:gd name="connsiteX376" fmla="*/ 564768 w 1614899"/>
                      <a:gd name="connsiteY376" fmla="*/ 788194 h 1619250"/>
                      <a:gd name="connsiteX377" fmla="*/ 557624 w 1614899"/>
                      <a:gd name="connsiteY377" fmla="*/ 785812 h 1619250"/>
                      <a:gd name="connsiteX378" fmla="*/ 550481 w 1614899"/>
                      <a:gd name="connsiteY378" fmla="*/ 781050 h 1619250"/>
                      <a:gd name="connsiteX379" fmla="*/ 536193 w 1614899"/>
                      <a:gd name="connsiteY379" fmla="*/ 776287 h 1619250"/>
                      <a:gd name="connsiteX380" fmla="*/ 538574 w 1614899"/>
                      <a:gd name="connsiteY380" fmla="*/ 747712 h 1619250"/>
                      <a:gd name="connsiteX381" fmla="*/ 533812 w 1614899"/>
                      <a:gd name="connsiteY381" fmla="*/ 740569 h 1619250"/>
                      <a:gd name="connsiteX382" fmla="*/ 519524 w 1614899"/>
                      <a:gd name="connsiteY382" fmla="*/ 731044 h 1619250"/>
                      <a:gd name="connsiteX383" fmla="*/ 512381 w 1614899"/>
                      <a:gd name="connsiteY383" fmla="*/ 735806 h 1619250"/>
                      <a:gd name="connsiteX384" fmla="*/ 505237 w 1614899"/>
                      <a:gd name="connsiteY384" fmla="*/ 738187 h 1619250"/>
                      <a:gd name="connsiteX385" fmla="*/ 507618 w 1614899"/>
                      <a:gd name="connsiteY385" fmla="*/ 723900 h 1619250"/>
                      <a:gd name="connsiteX386" fmla="*/ 505237 w 1614899"/>
                      <a:gd name="connsiteY386" fmla="*/ 688181 h 1619250"/>
                      <a:gd name="connsiteX387" fmla="*/ 493331 w 1614899"/>
                      <a:gd name="connsiteY387" fmla="*/ 666750 h 1619250"/>
                      <a:gd name="connsiteX388" fmla="*/ 486187 w 1614899"/>
                      <a:gd name="connsiteY388" fmla="*/ 659606 h 1619250"/>
                      <a:gd name="connsiteX389" fmla="*/ 481424 w 1614899"/>
                      <a:gd name="connsiteY389" fmla="*/ 652462 h 1619250"/>
                      <a:gd name="connsiteX390" fmla="*/ 479043 w 1614899"/>
                      <a:gd name="connsiteY390" fmla="*/ 614362 h 1619250"/>
                      <a:gd name="connsiteX391" fmla="*/ 474281 w 1614899"/>
                      <a:gd name="connsiteY391" fmla="*/ 595312 h 1619250"/>
                      <a:gd name="connsiteX392" fmla="*/ 467137 w 1614899"/>
                      <a:gd name="connsiteY392" fmla="*/ 578644 h 1619250"/>
                      <a:gd name="connsiteX393" fmla="*/ 459993 w 1614899"/>
                      <a:gd name="connsiteY393" fmla="*/ 571500 h 1619250"/>
                      <a:gd name="connsiteX394" fmla="*/ 440943 w 1614899"/>
                      <a:gd name="connsiteY394" fmla="*/ 554831 h 1619250"/>
                      <a:gd name="connsiteX395" fmla="*/ 426656 w 1614899"/>
                      <a:gd name="connsiteY395" fmla="*/ 550069 h 1619250"/>
                      <a:gd name="connsiteX396" fmla="*/ 424274 w 1614899"/>
                      <a:gd name="connsiteY396" fmla="*/ 557212 h 1619250"/>
                      <a:gd name="connsiteX397" fmla="*/ 414749 w 1614899"/>
                      <a:gd name="connsiteY397" fmla="*/ 552450 h 1619250"/>
                      <a:gd name="connsiteX398" fmla="*/ 407606 w 1614899"/>
                      <a:gd name="connsiteY398" fmla="*/ 545306 h 1619250"/>
                      <a:gd name="connsiteX399" fmla="*/ 390937 w 1614899"/>
                      <a:gd name="connsiteY399" fmla="*/ 535781 h 1619250"/>
                      <a:gd name="connsiteX400" fmla="*/ 383793 w 1614899"/>
                      <a:gd name="connsiteY400" fmla="*/ 528637 h 1619250"/>
                      <a:gd name="connsiteX401" fmla="*/ 374268 w 1614899"/>
                      <a:gd name="connsiteY401" fmla="*/ 526256 h 1619250"/>
                      <a:gd name="connsiteX402" fmla="*/ 352837 w 1614899"/>
                      <a:gd name="connsiteY402" fmla="*/ 519112 h 1619250"/>
                      <a:gd name="connsiteX403" fmla="*/ 345693 w 1614899"/>
                      <a:gd name="connsiteY403" fmla="*/ 516731 h 1619250"/>
                      <a:gd name="connsiteX404" fmla="*/ 338549 w 1614899"/>
                      <a:gd name="connsiteY404" fmla="*/ 514350 h 1619250"/>
                      <a:gd name="connsiteX405" fmla="*/ 326643 w 1614899"/>
                      <a:gd name="connsiteY405" fmla="*/ 504825 h 1619250"/>
                      <a:gd name="connsiteX406" fmla="*/ 321881 w 1614899"/>
                      <a:gd name="connsiteY406" fmla="*/ 497681 h 1619250"/>
                      <a:gd name="connsiteX407" fmla="*/ 314737 w 1614899"/>
                      <a:gd name="connsiteY407" fmla="*/ 490537 h 1619250"/>
                      <a:gd name="connsiteX408" fmla="*/ 307593 w 1614899"/>
                      <a:gd name="connsiteY408" fmla="*/ 485775 h 1619250"/>
                      <a:gd name="connsiteX409" fmla="*/ 293306 w 1614899"/>
                      <a:gd name="connsiteY409" fmla="*/ 481012 h 1619250"/>
                      <a:gd name="connsiteX410" fmla="*/ 269493 w 1614899"/>
                      <a:gd name="connsiteY410" fmla="*/ 483394 h 1619250"/>
                      <a:gd name="connsiteX411" fmla="*/ 259968 w 1614899"/>
                      <a:gd name="connsiteY411" fmla="*/ 490537 h 1619250"/>
                      <a:gd name="connsiteX412" fmla="*/ 243299 w 1614899"/>
                      <a:gd name="connsiteY412" fmla="*/ 497681 h 1619250"/>
                      <a:gd name="connsiteX413" fmla="*/ 236156 w 1614899"/>
                      <a:gd name="connsiteY413" fmla="*/ 502444 h 1619250"/>
                      <a:gd name="connsiteX414" fmla="*/ 233774 w 1614899"/>
                      <a:gd name="connsiteY414" fmla="*/ 509587 h 1619250"/>
                      <a:gd name="connsiteX415" fmla="*/ 231393 w 1614899"/>
                      <a:gd name="connsiteY415" fmla="*/ 519112 h 1619250"/>
                      <a:gd name="connsiteX416" fmla="*/ 224249 w 1614899"/>
                      <a:gd name="connsiteY416" fmla="*/ 521494 h 1619250"/>
                      <a:gd name="connsiteX417" fmla="*/ 209962 w 1614899"/>
                      <a:gd name="connsiteY417" fmla="*/ 528637 h 1619250"/>
                      <a:gd name="connsiteX418" fmla="*/ 200437 w 1614899"/>
                      <a:gd name="connsiteY418" fmla="*/ 542925 h 1619250"/>
                      <a:gd name="connsiteX419" fmla="*/ 195674 w 1614899"/>
                      <a:gd name="connsiteY419" fmla="*/ 557212 h 1619250"/>
                      <a:gd name="connsiteX420" fmla="*/ 188531 w 1614899"/>
                      <a:gd name="connsiteY420" fmla="*/ 559594 h 1619250"/>
                      <a:gd name="connsiteX421" fmla="*/ 176624 w 1614899"/>
                      <a:gd name="connsiteY421" fmla="*/ 564356 h 1619250"/>
                      <a:gd name="connsiteX422" fmla="*/ 164718 w 1614899"/>
                      <a:gd name="connsiteY422" fmla="*/ 566737 h 1619250"/>
                      <a:gd name="connsiteX423" fmla="*/ 157574 w 1614899"/>
                      <a:gd name="connsiteY423" fmla="*/ 569119 h 1619250"/>
                      <a:gd name="connsiteX424" fmla="*/ 148049 w 1614899"/>
                      <a:gd name="connsiteY424" fmla="*/ 571500 h 1619250"/>
                      <a:gd name="connsiteX425" fmla="*/ 140906 w 1614899"/>
                      <a:gd name="connsiteY425" fmla="*/ 573881 h 1619250"/>
                      <a:gd name="connsiteX426" fmla="*/ 121856 w 1614899"/>
                      <a:gd name="connsiteY426" fmla="*/ 576262 h 1619250"/>
                      <a:gd name="connsiteX427" fmla="*/ 119474 w 1614899"/>
                      <a:gd name="connsiteY427" fmla="*/ 571500 h 1619250"/>
                      <a:gd name="connsiteX428" fmla="*/ 128999 w 1614899"/>
                      <a:gd name="connsiteY428" fmla="*/ 557212 h 1619250"/>
                      <a:gd name="connsiteX429" fmla="*/ 131381 w 1614899"/>
                      <a:gd name="connsiteY429" fmla="*/ 550069 h 1619250"/>
                      <a:gd name="connsiteX430" fmla="*/ 140906 w 1614899"/>
                      <a:gd name="connsiteY430" fmla="*/ 535781 h 1619250"/>
                      <a:gd name="connsiteX431" fmla="*/ 133762 w 1614899"/>
                      <a:gd name="connsiteY431" fmla="*/ 533400 h 1619250"/>
                      <a:gd name="connsiteX432" fmla="*/ 128999 w 1614899"/>
                      <a:gd name="connsiteY432" fmla="*/ 516731 h 1619250"/>
                      <a:gd name="connsiteX433" fmla="*/ 69468 w 1614899"/>
                      <a:gd name="connsiteY433" fmla="*/ 514350 h 1619250"/>
                      <a:gd name="connsiteX434" fmla="*/ 67087 w 1614899"/>
                      <a:gd name="connsiteY434" fmla="*/ 507206 h 1619250"/>
                      <a:gd name="connsiteX435" fmla="*/ 52799 w 1614899"/>
                      <a:gd name="connsiteY435" fmla="*/ 497681 h 1619250"/>
                      <a:gd name="connsiteX436" fmla="*/ 55181 w 1614899"/>
                      <a:gd name="connsiteY436" fmla="*/ 488156 h 1619250"/>
                      <a:gd name="connsiteX437" fmla="*/ 40893 w 1614899"/>
                      <a:gd name="connsiteY437" fmla="*/ 483394 h 1619250"/>
                      <a:gd name="connsiteX438" fmla="*/ 38512 w 1614899"/>
                      <a:gd name="connsiteY438" fmla="*/ 471487 h 1619250"/>
                      <a:gd name="connsiteX439" fmla="*/ 36131 w 1614899"/>
                      <a:gd name="connsiteY439" fmla="*/ 464344 h 1619250"/>
                      <a:gd name="connsiteX440" fmla="*/ 38512 w 1614899"/>
                      <a:gd name="connsiteY440" fmla="*/ 452437 h 1619250"/>
                      <a:gd name="connsiteX441" fmla="*/ 38512 w 1614899"/>
                      <a:gd name="connsiteY441" fmla="*/ 428625 h 1619250"/>
                      <a:gd name="connsiteX442" fmla="*/ 45656 w 1614899"/>
                      <a:gd name="connsiteY442" fmla="*/ 426244 h 1619250"/>
                      <a:gd name="connsiteX443" fmla="*/ 52799 w 1614899"/>
                      <a:gd name="connsiteY443" fmla="*/ 421481 h 1619250"/>
                      <a:gd name="connsiteX444" fmla="*/ 59943 w 1614899"/>
                      <a:gd name="connsiteY444" fmla="*/ 419100 h 1619250"/>
                      <a:gd name="connsiteX445" fmla="*/ 64706 w 1614899"/>
                      <a:gd name="connsiteY445" fmla="*/ 411956 h 1619250"/>
                      <a:gd name="connsiteX446" fmla="*/ 55181 w 1614899"/>
                      <a:gd name="connsiteY446" fmla="*/ 392906 h 1619250"/>
                      <a:gd name="connsiteX447" fmla="*/ 40893 w 1614899"/>
                      <a:gd name="connsiteY447" fmla="*/ 388144 h 1619250"/>
                      <a:gd name="connsiteX448" fmla="*/ 33749 w 1614899"/>
                      <a:gd name="connsiteY448" fmla="*/ 390525 h 1619250"/>
                      <a:gd name="connsiteX449" fmla="*/ 28987 w 1614899"/>
                      <a:gd name="connsiteY449" fmla="*/ 390525 h 1619250"/>
                      <a:gd name="connsiteX450" fmla="*/ 21843 w 1614899"/>
                      <a:gd name="connsiteY450" fmla="*/ 388144 h 1619250"/>
                      <a:gd name="connsiteX451" fmla="*/ 14699 w 1614899"/>
                      <a:gd name="connsiteY451" fmla="*/ 364331 h 1619250"/>
                      <a:gd name="connsiteX452" fmla="*/ 2793 w 1614899"/>
                      <a:gd name="connsiteY452" fmla="*/ 361950 h 1619250"/>
                      <a:gd name="connsiteX453" fmla="*/ 2793 w 1614899"/>
                      <a:gd name="connsiteY453" fmla="*/ 345281 h 1619250"/>
                      <a:gd name="connsiteX454" fmla="*/ 17081 w 1614899"/>
                      <a:gd name="connsiteY454" fmla="*/ 340519 h 1619250"/>
                      <a:gd name="connsiteX455" fmla="*/ 24224 w 1614899"/>
                      <a:gd name="connsiteY455" fmla="*/ 347662 h 1619250"/>
                      <a:gd name="connsiteX456" fmla="*/ 40893 w 1614899"/>
                      <a:gd name="connsiteY456" fmla="*/ 342900 h 1619250"/>
                      <a:gd name="connsiteX457" fmla="*/ 57562 w 1614899"/>
                      <a:gd name="connsiteY457" fmla="*/ 333375 h 1619250"/>
                      <a:gd name="connsiteX458" fmla="*/ 64706 w 1614899"/>
                      <a:gd name="connsiteY458" fmla="*/ 328612 h 1619250"/>
                      <a:gd name="connsiteX459" fmla="*/ 71849 w 1614899"/>
                      <a:gd name="connsiteY459" fmla="*/ 326231 h 1619250"/>
                      <a:gd name="connsiteX460" fmla="*/ 90899 w 1614899"/>
                      <a:gd name="connsiteY460" fmla="*/ 321469 h 1619250"/>
                      <a:gd name="connsiteX461" fmla="*/ 86137 w 1614899"/>
                      <a:gd name="connsiteY461" fmla="*/ 311944 h 1619250"/>
                      <a:gd name="connsiteX462" fmla="*/ 88518 w 1614899"/>
                      <a:gd name="connsiteY462" fmla="*/ 292894 h 1619250"/>
                      <a:gd name="connsiteX463" fmla="*/ 90899 w 1614899"/>
                      <a:gd name="connsiteY463" fmla="*/ 285750 h 1619250"/>
                      <a:gd name="connsiteX464" fmla="*/ 76612 w 1614899"/>
                      <a:gd name="connsiteY464" fmla="*/ 280987 h 1619250"/>
                      <a:gd name="connsiteX465" fmla="*/ 71849 w 1614899"/>
                      <a:gd name="connsiteY465" fmla="*/ 273844 h 1619250"/>
                      <a:gd name="connsiteX466" fmla="*/ 67087 w 1614899"/>
                      <a:gd name="connsiteY466" fmla="*/ 250031 h 1619250"/>
                      <a:gd name="connsiteX467" fmla="*/ 45656 w 1614899"/>
                      <a:gd name="connsiteY467" fmla="*/ 250031 h 1619250"/>
                      <a:gd name="connsiteX468" fmla="*/ 40893 w 1614899"/>
                      <a:gd name="connsiteY468" fmla="*/ 242887 h 1619250"/>
                      <a:gd name="connsiteX469" fmla="*/ 43274 w 1614899"/>
                      <a:gd name="connsiteY469" fmla="*/ 223837 h 1619250"/>
                      <a:gd name="connsiteX470" fmla="*/ 57562 w 1614899"/>
                      <a:gd name="connsiteY470" fmla="*/ 211931 h 1619250"/>
                      <a:gd name="connsiteX471" fmla="*/ 74231 w 1614899"/>
                      <a:gd name="connsiteY471" fmla="*/ 200025 h 1619250"/>
                      <a:gd name="connsiteX472" fmla="*/ 81374 w 1614899"/>
                      <a:gd name="connsiteY472" fmla="*/ 202406 h 1619250"/>
                      <a:gd name="connsiteX473" fmla="*/ 83756 w 1614899"/>
                      <a:gd name="connsiteY473" fmla="*/ 209550 h 1619250"/>
                      <a:gd name="connsiteX474" fmla="*/ 102806 w 1614899"/>
                      <a:gd name="connsiteY474" fmla="*/ 204787 h 1619250"/>
                      <a:gd name="connsiteX475" fmla="*/ 109949 w 1614899"/>
                      <a:gd name="connsiteY475" fmla="*/ 200025 h 1619250"/>
                      <a:gd name="connsiteX476" fmla="*/ 119474 w 1614899"/>
                      <a:gd name="connsiteY476" fmla="*/ 197644 h 1619250"/>
                      <a:gd name="connsiteX477" fmla="*/ 133762 w 1614899"/>
                      <a:gd name="connsiteY477" fmla="*/ 192881 h 1619250"/>
                      <a:gd name="connsiteX478" fmla="*/ 140906 w 1614899"/>
                      <a:gd name="connsiteY478" fmla="*/ 190500 h 1619250"/>
                      <a:gd name="connsiteX479" fmla="*/ 148049 w 1614899"/>
                      <a:gd name="connsiteY479" fmla="*/ 195262 h 1619250"/>
                      <a:gd name="connsiteX480" fmla="*/ 155193 w 1614899"/>
                      <a:gd name="connsiteY480" fmla="*/ 204787 h 1619250"/>
                      <a:gd name="connsiteX481" fmla="*/ 164718 w 1614899"/>
                      <a:gd name="connsiteY481" fmla="*/ 202406 h 1619250"/>
                      <a:gd name="connsiteX482" fmla="*/ 190912 w 1614899"/>
                      <a:gd name="connsiteY482" fmla="*/ 200025 h 1619250"/>
                      <a:gd name="connsiteX483" fmla="*/ 193293 w 1614899"/>
                      <a:gd name="connsiteY483" fmla="*/ 192881 h 1619250"/>
                      <a:gd name="connsiteX484" fmla="*/ 198056 w 1614899"/>
                      <a:gd name="connsiteY484" fmla="*/ 185737 h 1619250"/>
                      <a:gd name="connsiteX485" fmla="*/ 195674 w 1614899"/>
                      <a:gd name="connsiteY485" fmla="*/ 178594 h 1619250"/>
                      <a:gd name="connsiteX486" fmla="*/ 186149 w 1614899"/>
                      <a:gd name="connsiteY486" fmla="*/ 159544 h 1619250"/>
                      <a:gd name="connsiteX487" fmla="*/ 217106 w 1614899"/>
                      <a:gd name="connsiteY487" fmla="*/ 152400 h 1619250"/>
                      <a:gd name="connsiteX488" fmla="*/ 209962 w 1614899"/>
                      <a:gd name="connsiteY488" fmla="*/ 145256 h 1619250"/>
                      <a:gd name="connsiteX489" fmla="*/ 202818 w 1614899"/>
                      <a:gd name="connsiteY489" fmla="*/ 140494 h 1619250"/>
                      <a:gd name="connsiteX490" fmla="*/ 212343 w 1614899"/>
                      <a:gd name="connsiteY490" fmla="*/ 133350 h 1619250"/>
                      <a:gd name="connsiteX491" fmla="*/ 233774 w 1614899"/>
                      <a:gd name="connsiteY491" fmla="*/ 123825 h 1619250"/>
                      <a:gd name="connsiteX492" fmla="*/ 238537 w 1614899"/>
                      <a:gd name="connsiteY492" fmla="*/ 116681 h 1619250"/>
                      <a:gd name="connsiteX493" fmla="*/ 240918 w 1614899"/>
                      <a:gd name="connsiteY493" fmla="*/ 107156 h 1619250"/>
                      <a:gd name="connsiteX494" fmla="*/ 248062 w 1614899"/>
                      <a:gd name="connsiteY494" fmla="*/ 109537 h 1619250"/>
                      <a:gd name="connsiteX495" fmla="*/ 250443 w 1614899"/>
                      <a:gd name="connsiteY495" fmla="*/ 116681 h 1619250"/>
                      <a:gd name="connsiteX496" fmla="*/ 252824 w 1614899"/>
                      <a:gd name="connsiteY496" fmla="*/ 130969 h 1619250"/>
                      <a:gd name="connsiteX497" fmla="*/ 269493 w 1614899"/>
                      <a:gd name="connsiteY497" fmla="*/ 138112 h 1619250"/>
                      <a:gd name="connsiteX498" fmla="*/ 271874 w 1614899"/>
                      <a:gd name="connsiteY498" fmla="*/ 145256 h 1619250"/>
                      <a:gd name="connsiteX499" fmla="*/ 264731 w 1614899"/>
                      <a:gd name="connsiteY499" fmla="*/ 152400 h 1619250"/>
                      <a:gd name="connsiteX500" fmla="*/ 262349 w 1614899"/>
                      <a:gd name="connsiteY500" fmla="*/ 159544 h 1619250"/>
                      <a:gd name="connsiteX501" fmla="*/ 264731 w 1614899"/>
                      <a:gd name="connsiteY501" fmla="*/ 173831 h 1619250"/>
                      <a:gd name="connsiteX502" fmla="*/ 274256 w 1614899"/>
                      <a:gd name="connsiteY502" fmla="*/ 176212 h 1619250"/>
                      <a:gd name="connsiteX503" fmla="*/ 295687 w 1614899"/>
                      <a:gd name="connsiteY503" fmla="*/ 178594 h 1619250"/>
                      <a:gd name="connsiteX504" fmla="*/ 293306 w 1614899"/>
                      <a:gd name="connsiteY504" fmla="*/ 185737 h 1619250"/>
                      <a:gd name="connsiteX505" fmla="*/ 295687 w 1614899"/>
                      <a:gd name="connsiteY505" fmla="*/ 200025 h 1619250"/>
                      <a:gd name="connsiteX506" fmla="*/ 302831 w 1614899"/>
                      <a:gd name="connsiteY506" fmla="*/ 216694 h 1619250"/>
                      <a:gd name="connsiteX507" fmla="*/ 307593 w 1614899"/>
                      <a:gd name="connsiteY507" fmla="*/ 223837 h 1619250"/>
                      <a:gd name="connsiteX508" fmla="*/ 314737 w 1614899"/>
                      <a:gd name="connsiteY508" fmla="*/ 228600 h 1619250"/>
                      <a:gd name="connsiteX509" fmla="*/ 326643 w 1614899"/>
                      <a:gd name="connsiteY509" fmla="*/ 226219 h 1619250"/>
                      <a:gd name="connsiteX510" fmla="*/ 321881 w 1614899"/>
                      <a:gd name="connsiteY510" fmla="*/ 200025 h 1619250"/>
                      <a:gd name="connsiteX511" fmla="*/ 314737 w 1614899"/>
                      <a:gd name="connsiteY511" fmla="*/ 197644 h 1619250"/>
                      <a:gd name="connsiteX512" fmla="*/ 324262 w 1614899"/>
                      <a:gd name="connsiteY512" fmla="*/ 180975 h 1619250"/>
                      <a:gd name="connsiteX513" fmla="*/ 329024 w 1614899"/>
                      <a:gd name="connsiteY513" fmla="*/ 173831 h 1619250"/>
                      <a:gd name="connsiteX514" fmla="*/ 343312 w 1614899"/>
                      <a:gd name="connsiteY514" fmla="*/ 159544 h 1619250"/>
                      <a:gd name="connsiteX515" fmla="*/ 348074 w 1614899"/>
                      <a:gd name="connsiteY515" fmla="*/ 145256 h 1619250"/>
                      <a:gd name="connsiteX516" fmla="*/ 350456 w 1614899"/>
                      <a:gd name="connsiteY516" fmla="*/ 114300 h 1619250"/>
                      <a:gd name="connsiteX517" fmla="*/ 357599 w 1614899"/>
                      <a:gd name="connsiteY517" fmla="*/ 111919 h 1619250"/>
                      <a:gd name="connsiteX518" fmla="*/ 364743 w 1614899"/>
                      <a:gd name="connsiteY518" fmla="*/ 114300 h 1619250"/>
                      <a:gd name="connsiteX519" fmla="*/ 371887 w 1614899"/>
                      <a:gd name="connsiteY519" fmla="*/ 114300 h 1619250"/>
                      <a:gd name="connsiteX520" fmla="*/ 381412 w 1614899"/>
                      <a:gd name="connsiteY520" fmla="*/ 138112 h 1619250"/>
                      <a:gd name="connsiteX521" fmla="*/ 395699 w 1614899"/>
                      <a:gd name="connsiteY521" fmla="*/ 150019 h 1619250"/>
                      <a:gd name="connsiteX522" fmla="*/ 409987 w 1614899"/>
                      <a:gd name="connsiteY522" fmla="*/ 147637 h 1619250"/>
                      <a:gd name="connsiteX523" fmla="*/ 412368 w 1614899"/>
                      <a:gd name="connsiteY523" fmla="*/ 133350 h 1619250"/>
                      <a:gd name="connsiteX524" fmla="*/ 426656 w 1614899"/>
                      <a:gd name="connsiteY524" fmla="*/ 128587 h 1619250"/>
                      <a:gd name="connsiteX525" fmla="*/ 433799 w 1614899"/>
                      <a:gd name="connsiteY525" fmla="*/ 142875 h 1619250"/>
                      <a:gd name="connsiteX526" fmla="*/ 448087 w 1614899"/>
                      <a:gd name="connsiteY526" fmla="*/ 161925 h 1619250"/>
                      <a:gd name="connsiteX527" fmla="*/ 464756 w 1614899"/>
                      <a:gd name="connsiteY527" fmla="*/ 159544 h 1619250"/>
                      <a:gd name="connsiteX528" fmla="*/ 452849 w 1614899"/>
                      <a:gd name="connsiteY528" fmla="*/ 138112 h 1619250"/>
                      <a:gd name="connsiteX529" fmla="*/ 450468 w 1614899"/>
                      <a:gd name="connsiteY529" fmla="*/ 111919 h 1619250"/>
                      <a:gd name="connsiteX530" fmla="*/ 443324 w 1614899"/>
                      <a:gd name="connsiteY530" fmla="*/ 107156 h 1619250"/>
                      <a:gd name="connsiteX531" fmla="*/ 440943 w 1614899"/>
                      <a:gd name="connsiteY531" fmla="*/ 100012 h 1619250"/>
                      <a:gd name="connsiteX532" fmla="*/ 450468 w 1614899"/>
                      <a:gd name="connsiteY532" fmla="*/ 88106 h 1619250"/>
                      <a:gd name="connsiteX533" fmla="*/ 476662 w 1614899"/>
                      <a:gd name="connsiteY533" fmla="*/ 90487 h 1619250"/>
                      <a:gd name="connsiteX534" fmla="*/ 486187 w 1614899"/>
                      <a:gd name="connsiteY534" fmla="*/ 92869 h 1619250"/>
                      <a:gd name="connsiteX535" fmla="*/ 493331 w 1614899"/>
                      <a:gd name="connsiteY535" fmla="*/ 97631 h 1619250"/>
                      <a:gd name="connsiteX536" fmla="*/ 502856 w 1614899"/>
                      <a:gd name="connsiteY536" fmla="*/ 95250 h 1619250"/>
                      <a:gd name="connsiteX537" fmla="*/ 509999 w 1614899"/>
                      <a:gd name="connsiteY537" fmla="*/ 90487 h 1619250"/>
                      <a:gd name="connsiteX538" fmla="*/ 507618 w 1614899"/>
                      <a:gd name="connsiteY538" fmla="*/ 83344 h 1619250"/>
                      <a:gd name="connsiteX539" fmla="*/ 500474 w 1614899"/>
                      <a:gd name="connsiteY539" fmla="*/ 80962 h 1619250"/>
                      <a:gd name="connsiteX540" fmla="*/ 493331 w 1614899"/>
                      <a:gd name="connsiteY540" fmla="*/ 76200 h 1619250"/>
                      <a:gd name="connsiteX541" fmla="*/ 495712 w 1614899"/>
                      <a:gd name="connsiteY541"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19549 w 1614899"/>
                      <a:gd name="connsiteY86" fmla="*/ 328612 h 1619250"/>
                      <a:gd name="connsiteX87" fmla="*/ 714787 w 1614899"/>
                      <a:gd name="connsiteY87" fmla="*/ 335756 h 1619250"/>
                      <a:gd name="connsiteX88" fmla="*/ 717168 w 1614899"/>
                      <a:gd name="connsiteY88" fmla="*/ 342900 h 1619250"/>
                      <a:gd name="connsiteX89" fmla="*/ 721931 w 1614899"/>
                      <a:gd name="connsiteY89" fmla="*/ 347662 h 1619250"/>
                      <a:gd name="connsiteX90" fmla="*/ 733837 w 1614899"/>
                      <a:gd name="connsiteY90" fmla="*/ 357187 h 1619250"/>
                      <a:gd name="connsiteX91" fmla="*/ 740981 w 1614899"/>
                      <a:gd name="connsiteY91" fmla="*/ 354806 h 1619250"/>
                      <a:gd name="connsiteX92" fmla="*/ 755268 w 1614899"/>
                      <a:gd name="connsiteY92" fmla="*/ 350044 h 1619250"/>
                      <a:gd name="connsiteX93" fmla="*/ 752887 w 1614899"/>
                      <a:gd name="connsiteY93" fmla="*/ 359569 h 1619250"/>
                      <a:gd name="connsiteX94" fmla="*/ 755268 w 1614899"/>
                      <a:gd name="connsiteY94" fmla="*/ 371475 h 1619250"/>
                      <a:gd name="connsiteX95" fmla="*/ 762412 w 1614899"/>
                      <a:gd name="connsiteY95" fmla="*/ 373856 h 1619250"/>
                      <a:gd name="connsiteX96" fmla="*/ 745743 w 1614899"/>
                      <a:gd name="connsiteY96" fmla="*/ 390525 h 1619250"/>
                      <a:gd name="connsiteX97" fmla="*/ 750506 w 1614899"/>
                      <a:gd name="connsiteY97" fmla="*/ 397669 h 1619250"/>
                      <a:gd name="connsiteX98" fmla="*/ 745743 w 1614899"/>
                      <a:gd name="connsiteY98" fmla="*/ 411956 h 1619250"/>
                      <a:gd name="connsiteX99" fmla="*/ 731456 w 1614899"/>
                      <a:gd name="connsiteY99" fmla="*/ 404812 h 1619250"/>
                      <a:gd name="connsiteX100" fmla="*/ 724312 w 1614899"/>
                      <a:gd name="connsiteY100" fmla="*/ 409575 h 1619250"/>
                      <a:gd name="connsiteX101" fmla="*/ 721931 w 1614899"/>
                      <a:gd name="connsiteY101" fmla="*/ 416719 h 1619250"/>
                      <a:gd name="connsiteX102" fmla="*/ 736218 w 1614899"/>
                      <a:gd name="connsiteY102" fmla="*/ 426244 h 1619250"/>
                      <a:gd name="connsiteX103" fmla="*/ 731456 w 1614899"/>
                      <a:gd name="connsiteY103" fmla="*/ 442912 h 1619250"/>
                      <a:gd name="connsiteX104" fmla="*/ 729074 w 1614899"/>
                      <a:gd name="connsiteY104" fmla="*/ 450056 h 1619250"/>
                      <a:gd name="connsiteX105" fmla="*/ 731456 w 1614899"/>
                      <a:gd name="connsiteY105" fmla="*/ 481012 h 1619250"/>
                      <a:gd name="connsiteX106" fmla="*/ 736218 w 1614899"/>
                      <a:gd name="connsiteY106" fmla="*/ 488156 h 1619250"/>
                      <a:gd name="connsiteX107" fmla="*/ 743362 w 1614899"/>
                      <a:gd name="connsiteY107" fmla="*/ 509587 h 1619250"/>
                      <a:gd name="connsiteX108" fmla="*/ 745743 w 1614899"/>
                      <a:gd name="connsiteY108" fmla="*/ 516731 h 1619250"/>
                      <a:gd name="connsiteX109" fmla="*/ 760031 w 1614899"/>
                      <a:gd name="connsiteY109" fmla="*/ 526256 h 1619250"/>
                      <a:gd name="connsiteX110" fmla="*/ 764793 w 1614899"/>
                      <a:gd name="connsiteY110" fmla="*/ 533400 h 1619250"/>
                      <a:gd name="connsiteX111" fmla="*/ 769556 w 1614899"/>
                      <a:gd name="connsiteY111" fmla="*/ 547687 h 1619250"/>
                      <a:gd name="connsiteX112" fmla="*/ 769556 w 1614899"/>
                      <a:gd name="connsiteY112" fmla="*/ 542925 h 1619250"/>
                      <a:gd name="connsiteX113" fmla="*/ 776699 w 1614899"/>
                      <a:gd name="connsiteY113" fmla="*/ 550069 h 1619250"/>
                      <a:gd name="connsiteX114" fmla="*/ 793368 w 1614899"/>
                      <a:gd name="connsiteY114" fmla="*/ 552450 h 1619250"/>
                      <a:gd name="connsiteX115" fmla="*/ 807656 w 1614899"/>
                      <a:gd name="connsiteY115" fmla="*/ 557212 h 1619250"/>
                      <a:gd name="connsiteX116" fmla="*/ 814799 w 1614899"/>
                      <a:gd name="connsiteY116" fmla="*/ 559594 h 1619250"/>
                      <a:gd name="connsiteX117" fmla="*/ 821943 w 1614899"/>
                      <a:gd name="connsiteY117" fmla="*/ 566737 h 1619250"/>
                      <a:gd name="connsiteX118" fmla="*/ 829087 w 1614899"/>
                      <a:gd name="connsiteY118" fmla="*/ 569119 h 1619250"/>
                      <a:gd name="connsiteX119" fmla="*/ 836231 w 1614899"/>
                      <a:gd name="connsiteY119" fmla="*/ 573881 h 1619250"/>
                      <a:gd name="connsiteX120" fmla="*/ 843374 w 1614899"/>
                      <a:gd name="connsiteY120" fmla="*/ 588169 h 1619250"/>
                      <a:gd name="connsiteX121" fmla="*/ 852899 w 1614899"/>
                      <a:gd name="connsiteY121" fmla="*/ 597694 h 1619250"/>
                      <a:gd name="connsiteX122" fmla="*/ 902906 w 1614899"/>
                      <a:gd name="connsiteY122" fmla="*/ 604837 h 1619250"/>
                      <a:gd name="connsiteX123" fmla="*/ 914812 w 1614899"/>
                      <a:gd name="connsiteY123" fmla="*/ 626269 h 1619250"/>
                      <a:gd name="connsiteX124" fmla="*/ 919574 w 1614899"/>
                      <a:gd name="connsiteY124" fmla="*/ 633412 h 1619250"/>
                      <a:gd name="connsiteX125" fmla="*/ 919574 w 1614899"/>
                      <a:gd name="connsiteY125" fmla="*/ 671512 h 1619250"/>
                      <a:gd name="connsiteX126" fmla="*/ 926718 w 1614899"/>
                      <a:gd name="connsiteY126" fmla="*/ 676275 h 1619250"/>
                      <a:gd name="connsiteX127" fmla="*/ 933862 w 1614899"/>
                      <a:gd name="connsiteY127" fmla="*/ 690562 h 1619250"/>
                      <a:gd name="connsiteX128" fmla="*/ 936243 w 1614899"/>
                      <a:gd name="connsiteY128" fmla="*/ 702469 h 1619250"/>
                      <a:gd name="connsiteX129" fmla="*/ 943387 w 1614899"/>
                      <a:gd name="connsiteY129" fmla="*/ 709612 h 1619250"/>
                      <a:gd name="connsiteX130" fmla="*/ 945768 w 1614899"/>
                      <a:gd name="connsiteY130" fmla="*/ 723900 h 1619250"/>
                      <a:gd name="connsiteX131" fmla="*/ 955293 w 1614899"/>
                      <a:gd name="connsiteY131" fmla="*/ 738187 h 1619250"/>
                      <a:gd name="connsiteX132" fmla="*/ 964818 w 1614899"/>
                      <a:gd name="connsiteY132" fmla="*/ 752475 h 1619250"/>
                      <a:gd name="connsiteX133" fmla="*/ 967199 w 1614899"/>
                      <a:gd name="connsiteY133" fmla="*/ 759619 h 1619250"/>
                      <a:gd name="connsiteX134" fmla="*/ 974343 w 1614899"/>
                      <a:gd name="connsiteY134" fmla="*/ 769144 h 1619250"/>
                      <a:gd name="connsiteX135" fmla="*/ 979106 w 1614899"/>
                      <a:gd name="connsiteY135" fmla="*/ 783431 h 1619250"/>
                      <a:gd name="connsiteX136" fmla="*/ 981487 w 1614899"/>
                      <a:gd name="connsiteY136" fmla="*/ 790575 h 1619250"/>
                      <a:gd name="connsiteX137" fmla="*/ 991012 w 1614899"/>
                      <a:gd name="connsiteY137" fmla="*/ 804862 h 1619250"/>
                      <a:gd name="connsiteX138" fmla="*/ 998156 w 1614899"/>
                      <a:gd name="connsiteY138" fmla="*/ 819150 h 1619250"/>
                      <a:gd name="connsiteX139" fmla="*/ 1000537 w 1614899"/>
                      <a:gd name="connsiteY139" fmla="*/ 826294 h 1619250"/>
                      <a:gd name="connsiteX140" fmla="*/ 1007681 w 1614899"/>
                      <a:gd name="connsiteY140" fmla="*/ 828675 h 1619250"/>
                      <a:gd name="connsiteX141" fmla="*/ 1014824 w 1614899"/>
                      <a:gd name="connsiteY141" fmla="*/ 833437 h 1619250"/>
                      <a:gd name="connsiteX142" fmla="*/ 1029112 w 1614899"/>
                      <a:gd name="connsiteY142" fmla="*/ 838200 h 1619250"/>
                      <a:gd name="connsiteX143" fmla="*/ 1033874 w 1614899"/>
                      <a:gd name="connsiteY143" fmla="*/ 845344 h 1619250"/>
                      <a:gd name="connsiteX144" fmla="*/ 1048162 w 1614899"/>
                      <a:gd name="connsiteY144" fmla="*/ 857250 h 1619250"/>
                      <a:gd name="connsiteX145" fmla="*/ 1062449 w 1614899"/>
                      <a:gd name="connsiteY145" fmla="*/ 862012 h 1619250"/>
                      <a:gd name="connsiteX146" fmla="*/ 1079118 w 1614899"/>
                      <a:gd name="connsiteY146" fmla="*/ 883444 h 1619250"/>
                      <a:gd name="connsiteX147" fmla="*/ 1081499 w 1614899"/>
                      <a:gd name="connsiteY147" fmla="*/ 890587 h 1619250"/>
                      <a:gd name="connsiteX148" fmla="*/ 1095787 w 1614899"/>
                      <a:gd name="connsiteY148" fmla="*/ 883444 h 1619250"/>
                      <a:gd name="connsiteX149" fmla="*/ 1110074 w 1614899"/>
                      <a:gd name="connsiteY149" fmla="*/ 890587 h 1619250"/>
                      <a:gd name="connsiteX150" fmla="*/ 1121981 w 1614899"/>
                      <a:gd name="connsiteY150" fmla="*/ 902494 h 1619250"/>
                      <a:gd name="connsiteX151" fmla="*/ 1136268 w 1614899"/>
                      <a:gd name="connsiteY151" fmla="*/ 907256 h 1619250"/>
                      <a:gd name="connsiteX152" fmla="*/ 1176749 w 1614899"/>
                      <a:gd name="connsiteY152" fmla="*/ 904875 h 1619250"/>
                      <a:gd name="connsiteX153" fmla="*/ 1195799 w 1614899"/>
                      <a:gd name="connsiteY153" fmla="*/ 904875 h 1619250"/>
                      <a:gd name="connsiteX154" fmla="*/ 1207706 w 1614899"/>
                      <a:gd name="connsiteY154" fmla="*/ 912019 h 1619250"/>
                      <a:gd name="connsiteX155" fmla="*/ 1210087 w 1614899"/>
                      <a:gd name="connsiteY155" fmla="*/ 902494 h 1619250"/>
                      <a:gd name="connsiteX156" fmla="*/ 1219612 w 1614899"/>
                      <a:gd name="connsiteY156" fmla="*/ 900112 h 1619250"/>
                      <a:gd name="connsiteX157" fmla="*/ 1226756 w 1614899"/>
                      <a:gd name="connsiteY157" fmla="*/ 895350 h 1619250"/>
                      <a:gd name="connsiteX158" fmla="*/ 1241043 w 1614899"/>
                      <a:gd name="connsiteY158" fmla="*/ 890587 h 1619250"/>
                      <a:gd name="connsiteX159" fmla="*/ 1255331 w 1614899"/>
                      <a:gd name="connsiteY159" fmla="*/ 892969 h 1619250"/>
                      <a:gd name="connsiteX160" fmla="*/ 1260093 w 1614899"/>
                      <a:gd name="connsiteY160" fmla="*/ 900112 h 1619250"/>
                      <a:gd name="connsiteX161" fmla="*/ 1267237 w 1614899"/>
                      <a:gd name="connsiteY161" fmla="*/ 904875 h 1619250"/>
                      <a:gd name="connsiteX162" fmla="*/ 1271999 w 1614899"/>
                      <a:gd name="connsiteY162" fmla="*/ 919162 h 1619250"/>
                      <a:gd name="connsiteX163" fmla="*/ 1269618 w 1614899"/>
                      <a:gd name="connsiteY163" fmla="*/ 928687 h 1619250"/>
                      <a:gd name="connsiteX164" fmla="*/ 1262474 w 1614899"/>
                      <a:gd name="connsiteY164" fmla="*/ 933450 h 1619250"/>
                      <a:gd name="connsiteX165" fmla="*/ 1255331 w 1614899"/>
                      <a:gd name="connsiteY165" fmla="*/ 940594 h 1619250"/>
                      <a:gd name="connsiteX166" fmla="*/ 1248187 w 1614899"/>
                      <a:gd name="connsiteY166" fmla="*/ 942975 h 1619250"/>
                      <a:gd name="connsiteX167" fmla="*/ 1241043 w 1614899"/>
                      <a:gd name="connsiteY167" fmla="*/ 947737 h 1619250"/>
                      <a:gd name="connsiteX168" fmla="*/ 1226756 w 1614899"/>
                      <a:gd name="connsiteY168" fmla="*/ 954881 h 1619250"/>
                      <a:gd name="connsiteX169" fmla="*/ 1236281 w 1614899"/>
                      <a:gd name="connsiteY169" fmla="*/ 969169 h 1619250"/>
                      <a:gd name="connsiteX170" fmla="*/ 1241043 w 1614899"/>
                      <a:gd name="connsiteY170" fmla="*/ 983456 h 1619250"/>
                      <a:gd name="connsiteX171" fmla="*/ 1250568 w 1614899"/>
                      <a:gd name="connsiteY171" fmla="*/ 997744 h 1619250"/>
                      <a:gd name="connsiteX172" fmla="*/ 1262474 w 1614899"/>
                      <a:gd name="connsiteY172" fmla="*/ 997744 h 1619250"/>
                      <a:gd name="connsiteX173" fmla="*/ 1264856 w 1614899"/>
                      <a:gd name="connsiteY173" fmla="*/ 990600 h 1619250"/>
                      <a:gd name="connsiteX174" fmla="*/ 1283906 w 1614899"/>
                      <a:gd name="connsiteY174" fmla="*/ 995362 h 1619250"/>
                      <a:gd name="connsiteX175" fmla="*/ 1291049 w 1614899"/>
                      <a:gd name="connsiteY175" fmla="*/ 1000125 h 1619250"/>
                      <a:gd name="connsiteX176" fmla="*/ 1298193 w 1614899"/>
                      <a:gd name="connsiteY176" fmla="*/ 1002506 h 1619250"/>
                      <a:gd name="connsiteX177" fmla="*/ 1322006 w 1614899"/>
                      <a:gd name="connsiteY177" fmla="*/ 1007269 h 1619250"/>
                      <a:gd name="connsiteX178" fmla="*/ 1336293 w 1614899"/>
                      <a:gd name="connsiteY178" fmla="*/ 1012031 h 1619250"/>
                      <a:gd name="connsiteX179" fmla="*/ 1355343 w 1614899"/>
                      <a:gd name="connsiteY179" fmla="*/ 1016794 h 1619250"/>
                      <a:gd name="connsiteX180" fmla="*/ 1362487 w 1614899"/>
                      <a:gd name="connsiteY180" fmla="*/ 1023937 h 1619250"/>
                      <a:gd name="connsiteX181" fmla="*/ 1376774 w 1614899"/>
                      <a:gd name="connsiteY181" fmla="*/ 1028700 h 1619250"/>
                      <a:gd name="connsiteX182" fmla="*/ 1391062 w 1614899"/>
                      <a:gd name="connsiteY182" fmla="*/ 1033462 h 1619250"/>
                      <a:gd name="connsiteX183" fmla="*/ 1398206 w 1614899"/>
                      <a:gd name="connsiteY183" fmla="*/ 1035844 h 1619250"/>
                      <a:gd name="connsiteX184" fmla="*/ 1405349 w 1614899"/>
                      <a:gd name="connsiteY184" fmla="*/ 1038225 h 1619250"/>
                      <a:gd name="connsiteX185" fmla="*/ 1412493 w 1614899"/>
                      <a:gd name="connsiteY185" fmla="*/ 1042987 h 1619250"/>
                      <a:gd name="connsiteX186" fmla="*/ 1426781 w 1614899"/>
                      <a:gd name="connsiteY186" fmla="*/ 1050131 h 1619250"/>
                      <a:gd name="connsiteX187" fmla="*/ 1436306 w 1614899"/>
                      <a:gd name="connsiteY187" fmla="*/ 1062037 h 1619250"/>
                      <a:gd name="connsiteX188" fmla="*/ 1441068 w 1614899"/>
                      <a:gd name="connsiteY188" fmla="*/ 1069181 h 1619250"/>
                      <a:gd name="connsiteX189" fmla="*/ 1450593 w 1614899"/>
                      <a:gd name="connsiteY189" fmla="*/ 1071562 h 1619250"/>
                      <a:gd name="connsiteX190" fmla="*/ 1464881 w 1614899"/>
                      <a:gd name="connsiteY190" fmla="*/ 1076325 h 1619250"/>
                      <a:gd name="connsiteX191" fmla="*/ 1467262 w 1614899"/>
                      <a:gd name="connsiteY191" fmla="*/ 1083469 h 1619250"/>
                      <a:gd name="connsiteX192" fmla="*/ 1488693 w 1614899"/>
                      <a:gd name="connsiteY192" fmla="*/ 1092994 h 1619250"/>
                      <a:gd name="connsiteX193" fmla="*/ 1500599 w 1614899"/>
                      <a:gd name="connsiteY193" fmla="*/ 1095375 h 1619250"/>
                      <a:gd name="connsiteX194" fmla="*/ 1514887 w 1614899"/>
                      <a:gd name="connsiteY194" fmla="*/ 1097756 h 1619250"/>
                      <a:gd name="connsiteX195" fmla="*/ 1522031 w 1614899"/>
                      <a:gd name="connsiteY195" fmla="*/ 1100137 h 1619250"/>
                      <a:gd name="connsiteX196" fmla="*/ 1541081 w 1614899"/>
                      <a:gd name="connsiteY196" fmla="*/ 1104900 h 1619250"/>
                      <a:gd name="connsiteX197" fmla="*/ 1545843 w 1614899"/>
                      <a:gd name="connsiteY197" fmla="*/ 1112044 h 1619250"/>
                      <a:gd name="connsiteX198" fmla="*/ 1543462 w 1614899"/>
                      <a:gd name="connsiteY198" fmla="*/ 1119187 h 1619250"/>
                      <a:gd name="connsiteX199" fmla="*/ 1557749 w 1614899"/>
                      <a:gd name="connsiteY199" fmla="*/ 1128712 h 1619250"/>
                      <a:gd name="connsiteX200" fmla="*/ 1564893 w 1614899"/>
                      <a:gd name="connsiteY200" fmla="*/ 1133475 h 1619250"/>
                      <a:gd name="connsiteX201" fmla="*/ 1579181 w 1614899"/>
                      <a:gd name="connsiteY201" fmla="*/ 1147762 h 1619250"/>
                      <a:gd name="connsiteX202" fmla="*/ 1593468 w 1614899"/>
                      <a:gd name="connsiteY202" fmla="*/ 1152525 h 1619250"/>
                      <a:gd name="connsiteX203" fmla="*/ 1600612 w 1614899"/>
                      <a:gd name="connsiteY203" fmla="*/ 1154906 h 1619250"/>
                      <a:gd name="connsiteX204" fmla="*/ 1607756 w 1614899"/>
                      <a:gd name="connsiteY204" fmla="*/ 1162050 h 1619250"/>
                      <a:gd name="connsiteX205" fmla="*/ 1610137 w 1614899"/>
                      <a:gd name="connsiteY205" fmla="*/ 1169194 h 1619250"/>
                      <a:gd name="connsiteX206" fmla="*/ 1614899 w 1614899"/>
                      <a:gd name="connsiteY206" fmla="*/ 1176337 h 1619250"/>
                      <a:gd name="connsiteX207" fmla="*/ 1612518 w 1614899"/>
                      <a:gd name="connsiteY207" fmla="*/ 1195387 h 1619250"/>
                      <a:gd name="connsiteX208" fmla="*/ 1610137 w 1614899"/>
                      <a:gd name="connsiteY208" fmla="*/ 1202531 h 1619250"/>
                      <a:gd name="connsiteX209" fmla="*/ 1602993 w 1614899"/>
                      <a:gd name="connsiteY209" fmla="*/ 1204912 h 1619250"/>
                      <a:gd name="connsiteX210" fmla="*/ 1600612 w 1614899"/>
                      <a:gd name="connsiteY210" fmla="*/ 1212056 h 1619250"/>
                      <a:gd name="connsiteX211" fmla="*/ 1598231 w 1614899"/>
                      <a:gd name="connsiteY211" fmla="*/ 1247775 h 1619250"/>
                      <a:gd name="connsiteX212" fmla="*/ 1579181 w 1614899"/>
                      <a:gd name="connsiteY212" fmla="*/ 1245394 h 1619250"/>
                      <a:gd name="connsiteX213" fmla="*/ 1550606 w 1614899"/>
                      <a:gd name="connsiteY213" fmla="*/ 1231106 h 1619250"/>
                      <a:gd name="connsiteX214" fmla="*/ 1543462 w 1614899"/>
                      <a:gd name="connsiteY214" fmla="*/ 1226344 h 1619250"/>
                      <a:gd name="connsiteX215" fmla="*/ 1543462 w 1614899"/>
                      <a:gd name="connsiteY215" fmla="*/ 1197769 h 1619250"/>
                      <a:gd name="connsiteX216" fmla="*/ 1545843 w 1614899"/>
                      <a:gd name="connsiteY216" fmla="*/ 1183481 h 1619250"/>
                      <a:gd name="connsiteX217" fmla="*/ 1531556 w 1614899"/>
                      <a:gd name="connsiteY217" fmla="*/ 1176337 h 1619250"/>
                      <a:gd name="connsiteX218" fmla="*/ 1529174 w 1614899"/>
                      <a:gd name="connsiteY218" fmla="*/ 1169194 h 1619250"/>
                      <a:gd name="connsiteX219" fmla="*/ 1531556 w 1614899"/>
                      <a:gd name="connsiteY219" fmla="*/ 1152525 h 1619250"/>
                      <a:gd name="connsiteX220" fmla="*/ 1524412 w 1614899"/>
                      <a:gd name="connsiteY220" fmla="*/ 1154906 h 1619250"/>
                      <a:gd name="connsiteX221" fmla="*/ 1517268 w 1614899"/>
                      <a:gd name="connsiteY221" fmla="*/ 1159669 h 1619250"/>
                      <a:gd name="connsiteX222" fmla="*/ 1502981 w 1614899"/>
                      <a:gd name="connsiteY222" fmla="*/ 1164431 h 1619250"/>
                      <a:gd name="connsiteX223" fmla="*/ 1481549 w 1614899"/>
                      <a:gd name="connsiteY223" fmla="*/ 1169194 h 1619250"/>
                      <a:gd name="connsiteX224" fmla="*/ 1457737 w 1614899"/>
                      <a:gd name="connsiteY224" fmla="*/ 1164431 h 1619250"/>
                      <a:gd name="connsiteX225" fmla="*/ 1443449 w 1614899"/>
                      <a:gd name="connsiteY225" fmla="*/ 1154906 h 1619250"/>
                      <a:gd name="connsiteX226" fmla="*/ 1436306 w 1614899"/>
                      <a:gd name="connsiteY226" fmla="*/ 1150144 h 1619250"/>
                      <a:gd name="connsiteX227" fmla="*/ 1426781 w 1614899"/>
                      <a:gd name="connsiteY227" fmla="*/ 1140619 h 1619250"/>
                      <a:gd name="connsiteX228" fmla="*/ 1402968 w 1614899"/>
                      <a:gd name="connsiteY228" fmla="*/ 1138237 h 1619250"/>
                      <a:gd name="connsiteX229" fmla="*/ 1395824 w 1614899"/>
                      <a:gd name="connsiteY229" fmla="*/ 1145381 h 1619250"/>
                      <a:gd name="connsiteX230" fmla="*/ 1374393 w 1614899"/>
                      <a:gd name="connsiteY230" fmla="*/ 1162050 h 1619250"/>
                      <a:gd name="connsiteX231" fmla="*/ 1367249 w 1614899"/>
                      <a:gd name="connsiteY231" fmla="*/ 1188244 h 1619250"/>
                      <a:gd name="connsiteX232" fmla="*/ 1357724 w 1614899"/>
                      <a:gd name="connsiteY232" fmla="*/ 1202531 h 1619250"/>
                      <a:gd name="connsiteX233" fmla="*/ 1348199 w 1614899"/>
                      <a:gd name="connsiteY233" fmla="*/ 1212056 h 1619250"/>
                      <a:gd name="connsiteX234" fmla="*/ 1345818 w 1614899"/>
                      <a:gd name="connsiteY234" fmla="*/ 1219200 h 1619250"/>
                      <a:gd name="connsiteX235" fmla="*/ 1341056 w 1614899"/>
                      <a:gd name="connsiteY235" fmla="*/ 1228725 h 1619250"/>
                      <a:gd name="connsiteX236" fmla="*/ 1350581 w 1614899"/>
                      <a:gd name="connsiteY236" fmla="*/ 1243012 h 1619250"/>
                      <a:gd name="connsiteX237" fmla="*/ 1343437 w 1614899"/>
                      <a:gd name="connsiteY237" fmla="*/ 1266825 h 1619250"/>
                      <a:gd name="connsiteX238" fmla="*/ 1345818 w 1614899"/>
                      <a:gd name="connsiteY238" fmla="*/ 1281112 h 1619250"/>
                      <a:gd name="connsiteX239" fmla="*/ 1348199 w 1614899"/>
                      <a:gd name="connsiteY239" fmla="*/ 1290637 h 1619250"/>
                      <a:gd name="connsiteX240" fmla="*/ 1355343 w 1614899"/>
                      <a:gd name="connsiteY240" fmla="*/ 1297781 h 1619250"/>
                      <a:gd name="connsiteX241" fmla="*/ 1362487 w 1614899"/>
                      <a:gd name="connsiteY241" fmla="*/ 1300162 h 1619250"/>
                      <a:gd name="connsiteX242" fmla="*/ 1386299 w 1614899"/>
                      <a:gd name="connsiteY242" fmla="*/ 1302544 h 1619250"/>
                      <a:gd name="connsiteX243" fmla="*/ 1395824 w 1614899"/>
                      <a:gd name="connsiteY243" fmla="*/ 1309687 h 1619250"/>
                      <a:gd name="connsiteX244" fmla="*/ 1410112 w 1614899"/>
                      <a:gd name="connsiteY244" fmla="*/ 1314450 h 1619250"/>
                      <a:gd name="connsiteX245" fmla="*/ 1417256 w 1614899"/>
                      <a:gd name="connsiteY245" fmla="*/ 1319212 h 1619250"/>
                      <a:gd name="connsiteX246" fmla="*/ 1431543 w 1614899"/>
                      <a:gd name="connsiteY246" fmla="*/ 1326356 h 1619250"/>
                      <a:gd name="connsiteX247" fmla="*/ 1433924 w 1614899"/>
                      <a:gd name="connsiteY247" fmla="*/ 1333500 h 1619250"/>
                      <a:gd name="connsiteX248" fmla="*/ 1429162 w 1614899"/>
                      <a:gd name="connsiteY248" fmla="*/ 1340644 h 1619250"/>
                      <a:gd name="connsiteX249" fmla="*/ 1426781 w 1614899"/>
                      <a:gd name="connsiteY249" fmla="*/ 1347787 h 1619250"/>
                      <a:gd name="connsiteX250" fmla="*/ 1431543 w 1614899"/>
                      <a:gd name="connsiteY250" fmla="*/ 1354931 h 1619250"/>
                      <a:gd name="connsiteX251" fmla="*/ 1436306 w 1614899"/>
                      <a:gd name="connsiteY251" fmla="*/ 1364456 h 1619250"/>
                      <a:gd name="connsiteX252" fmla="*/ 1443449 w 1614899"/>
                      <a:gd name="connsiteY252" fmla="*/ 1395412 h 1619250"/>
                      <a:gd name="connsiteX253" fmla="*/ 1450593 w 1614899"/>
                      <a:gd name="connsiteY253" fmla="*/ 1402556 h 1619250"/>
                      <a:gd name="connsiteX254" fmla="*/ 1448212 w 1614899"/>
                      <a:gd name="connsiteY254" fmla="*/ 1412081 h 1619250"/>
                      <a:gd name="connsiteX255" fmla="*/ 1433924 w 1614899"/>
                      <a:gd name="connsiteY255" fmla="*/ 1416844 h 1619250"/>
                      <a:gd name="connsiteX256" fmla="*/ 1419637 w 1614899"/>
                      <a:gd name="connsiteY256" fmla="*/ 1423987 h 1619250"/>
                      <a:gd name="connsiteX257" fmla="*/ 1405349 w 1614899"/>
                      <a:gd name="connsiteY257" fmla="*/ 1431131 h 1619250"/>
                      <a:gd name="connsiteX258" fmla="*/ 1398206 w 1614899"/>
                      <a:gd name="connsiteY258" fmla="*/ 1435894 h 1619250"/>
                      <a:gd name="connsiteX259" fmla="*/ 1383918 w 1614899"/>
                      <a:gd name="connsiteY259" fmla="*/ 1440656 h 1619250"/>
                      <a:gd name="connsiteX260" fmla="*/ 1376774 w 1614899"/>
                      <a:gd name="connsiteY260" fmla="*/ 1443037 h 1619250"/>
                      <a:gd name="connsiteX261" fmla="*/ 1364868 w 1614899"/>
                      <a:gd name="connsiteY261" fmla="*/ 1464469 h 1619250"/>
                      <a:gd name="connsiteX262" fmla="*/ 1362487 w 1614899"/>
                      <a:gd name="connsiteY262" fmla="*/ 1473994 h 1619250"/>
                      <a:gd name="connsiteX263" fmla="*/ 1364868 w 1614899"/>
                      <a:gd name="connsiteY263" fmla="*/ 1497806 h 1619250"/>
                      <a:gd name="connsiteX264" fmla="*/ 1372012 w 1614899"/>
                      <a:gd name="connsiteY264" fmla="*/ 1500187 h 1619250"/>
                      <a:gd name="connsiteX265" fmla="*/ 1369631 w 1614899"/>
                      <a:gd name="connsiteY265" fmla="*/ 1516856 h 1619250"/>
                      <a:gd name="connsiteX266" fmla="*/ 1367249 w 1614899"/>
                      <a:gd name="connsiteY266" fmla="*/ 1524000 h 1619250"/>
                      <a:gd name="connsiteX267" fmla="*/ 1360106 w 1614899"/>
                      <a:gd name="connsiteY267" fmla="*/ 1526381 h 1619250"/>
                      <a:gd name="connsiteX268" fmla="*/ 1352962 w 1614899"/>
                      <a:gd name="connsiteY268" fmla="*/ 1531144 h 1619250"/>
                      <a:gd name="connsiteX269" fmla="*/ 1343437 w 1614899"/>
                      <a:gd name="connsiteY269" fmla="*/ 1535906 h 1619250"/>
                      <a:gd name="connsiteX270" fmla="*/ 1329149 w 1614899"/>
                      <a:gd name="connsiteY270" fmla="*/ 1550194 h 1619250"/>
                      <a:gd name="connsiteX271" fmla="*/ 1326768 w 1614899"/>
                      <a:gd name="connsiteY271" fmla="*/ 1559719 h 1619250"/>
                      <a:gd name="connsiteX272" fmla="*/ 1322006 w 1614899"/>
                      <a:gd name="connsiteY272" fmla="*/ 1566862 h 1619250"/>
                      <a:gd name="connsiteX273" fmla="*/ 1319624 w 1614899"/>
                      <a:gd name="connsiteY273" fmla="*/ 1578769 h 1619250"/>
                      <a:gd name="connsiteX274" fmla="*/ 1317243 w 1614899"/>
                      <a:gd name="connsiteY274" fmla="*/ 1585912 h 1619250"/>
                      <a:gd name="connsiteX275" fmla="*/ 1314862 w 1614899"/>
                      <a:gd name="connsiteY275" fmla="*/ 1602581 h 1619250"/>
                      <a:gd name="connsiteX276" fmla="*/ 1283906 w 1614899"/>
                      <a:gd name="connsiteY276" fmla="*/ 1614487 h 1619250"/>
                      <a:gd name="connsiteX277" fmla="*/ 1274381 w 1614899"/>
                      <a:gd name="connsiteY277" fmla="*/ 1616869 h 1619250"/>
                      <a:gd name="connsiteX278" fmla="*/ 1260093 w 1614899"/>
                      <a:gd name="connsiteY278" fmla="*/ 1619250 h 1619250"/>
                      <a:gd name="connsiteX279" fmla="*/ 1248187 w 1614899"/>
                      <a:gd name="connsiteY279" fmla="*/ 1616869 h 1619250"/>
                      <a:gd name="connsiteX280" fmla="*/ 1243424 w 1614899"/>
                      <a:gd name="connsiteY280" fmla="*/ 1597819 h 1619250"/>
                      <a:gd name="connsiteX281" fmla="*/ 1238662 w 1614899"/>
                      <a:gd name="connsiteY281" fmla="*/ 1581150 h 1619250"/>
                      <a:gd name="connsiteX282" fmla="*/ 1243424 w 1614899"/>
                      <a:gd name="connsiteY282" fmla="*/ 1566862 h 1619250"/>
                      <a:gd name="connsiteX283" fmla="*/ 1252949 w 1614899"/>
                      <a:gd name="connsiteY283" fmla="*/ 1552575 h 1619250"/>
                      <a:gd name="connsiteX284" fmla="*/ 1260093 w 1614899"/>
                      <a:gd name="connsiteY284" fmla="*/ 1550194 h 1619250"/>
                      <a:gd name="connsiteX285" fmla="*/ 1267237 w 1614899"/>
                      <a:gd name="connsiteY285" fmla="*/ 1543050 h 1619250"/>
                      <a:gd name="connsiteX286" fmla="*/ 1269618 w 1614899"/>
                      <a:gd name="connsiteY286" fmla="*/ 1535906 h 1619250"/>
                      <a:gd name="connsiteX287" fmla="*/ 1274381 w 1614899"/>
                      <a:gd name="connsiteY287" fmla="*/ 1526381 h 1619250"/>
                      <a:gd name="connsiteX288" fmla="*/ 1267237 w 1614899"/>
                      <a:gd name="connsiteY288" fmla="*/ 1502569 h 1619250"/>
                      <a:gd name="connsiteX289" fmla="*/ 1252949 w 1614899"/>
                      <a:gd name="connsiteY289" fmla="*/ 1493044 h 1619250"/>
                      <a:gd name="connsiteX290" fmla="*/ 1262474 w 1614899"/>
                      <a:gd name="connsiteY290" fmla="*/ 1478756 h 1619250"/>
                      <a:gd name="connsiteX291" fmla="*/ 1279143 w 1614899"/>
                      <a:gd name="connsiteY291" fmla="*/ 1462087 h 1619250"/>
                      <a:gd name="connsiteX292" fmla="*/ 1302956 w 1614899"/>
                      <a:gd name="connsiteY292" fmla="*/ 1459706 h 1619250"/>
                      <a:gd name="connsiteX293" fmla="*/ 1305337 w 1614899"/>
                      <a:gd name="connsiteY293" fmla="*/ 1450181 h 1619250"/>
                      <a:gd name="connsiteX294" fmla="*/ 1310099 w 1614899"/>
                      <a:gd name="connsiteY294" fmla="*/ 1443037 h 1619250"/>
                      <a:gd name="connsiteX295" fmla="*/ 1312481 w 1614899"/>
                      <a:gd name="connsiteY295" fmla="*/ 1435894 h 1619250"/>
                      <a:gd name="connsiteX296" fmla="*/ 1305337 w 1614899"/>
                      <a:gd name="connsiteY296" fmla="*/ 1428750 h 1619250"/>
                      <a:gd name="connsiteX297" fmla="*/ 1298193 w 1614899"/>
                      <a:gd name="connsiteY297" fmla="*/ 1423987 h 1619250"/>
                      <a:gd name="connsiteX298" fmla="*/ 1295812 w 1614899"/>
                      <a:gd name="connsiteY298" fmla="*/ 1412081 h 1619250"/>
                      <a:gd name="connsiteX299" fmla="*/ 1293431 w 1614899"/>
                      <a:gd name="connsiteY299" fmla="*/ 1402556 h 1619250"/>
                      <a:gd name="connsiteX300" fmla="*/ 1288668 w 1614899"/>
                      <a:gd name="connsiteY300" fmla="*/ 1369219 h 1619250"/>
                      <a:gd name="connsiteX301" fmla="*/ 1286287 w 1614899"/>
                      <a:gd name="connsiteY301" fmla="*/ 1362075 h 1619250"/>
                      <a:gd name="connsiteX302" fmla="*/ 1276762 w 1614899"/>
                      <a:gd name="connsiteY302" fmla="*/ 1345406 h 1619250"/>
                      <a:gd name="connsiteX303" fmla="*/ 1267237 w 1614899"/>
                      <a:gd name="connsiteY303" fmla="*/ 1343025 h 1619250"/>
                      <a:gd name="connsiteX304" fmla="*/ 1260093 w 1614899"/>
                      <a:gd name="connsiteY304" fmla="*/ 1340644 h 1619250"/>
                      <a:gd name="connsiteX305" fmla="*/ 1252949 w 1614899"/>
                      <a:gd name="connsiteY305" fmla="*/ 1307306 h 1619250"/>
                      <a:gd name="connsiteX306" fmla="*/ 1248187 w 1614899"/>
                      <a:gd name="connsiteY306" fmla="*/ 1293019 h 1619250"/>
                      <a:gd name="connsiteX307" fmla="*/ 1243424 w 1614899"/>
                      <a:gd name="connsiteY307" fmla="*/ 1278731 h 1619250"/>
                      <a:gd name="connsiteX308" fmla="*/ 1241043 w 1614899"/>
                      <a:gd name="connsiteY308" fmla="*/ 1271587 h 1619250"/>
                      <a:gd name="connsiteX309" fmla="*/ 1236281 w 1614899"/>
                      <a:gd name="connsiteY309" fmla="*/ 1262062 h 1619250"/>
                      <a:gd name="connsiteX310" fmla="*/ 1231518 w 1614899"/>
                      <a:gd name="connsiteY310" fmla="*/ 1247775 h 1619250"/>
                      <a:gd name="connsiteX311" fmla="*/ 1224374 w 1614899"/>
                      <a:gd name="connsiteY311" fmla="*/ 1240631 h 1619250"/>
                      <a:gd name="connsiteX312" fmla="*/ 1214849 w 1614899"/>
                      <a:gd name="connsiteY312" fmla="*/ 1226344 h 1619250"/>
                      <a:gd name="connsiteX313" fmla="*/ 1195799 w 1614899"/>
                      <a:gd name="connsiteY313" fmla="*/ 1233487 h 1619250"/>
                      <a:gd name="connsiteX314" fmla="*/ 1198181 w 1614899"/>
                      <a:gd name="connsiteY314" fmla="*/ 1240631 h 1619250"/>
                      <a:gd name="connsiteX315" fmla="*/ 1191037 w 1614899"/>
                      <a:gd name="connsiteY315" fmla="*/ 1243012 h 1619250"/>
                      <a:gd name="connsiteX316" fmla="*/ 1164843 w 1614899"/>
                      <a:gd name="connsiteY316" fmla="*/ 1238250 h 1619250"/>
                      <a:gd name="connsiteX317" fmla="*/ 1155318 w 1614899"/>
                      <a:gd name="connsiteY317" fmla="*/ 1223962 h 1619250"/>
                      <a:gd name="connsiteX318" fmla="*/ 1148174 w 1614899"/>
                      <a:gd name="connsiteY318" fmla="*/ 1216819 h 1619250"/>
                      <a:gd name="connsiteX319" fmla="*/ 1138649 w 1614899"/>
                      <a:gd name="connsiteY319" fmla="*/ 1219200 h 1619250"/>
                      <a:gd name="connsiteX320" fmla="*/ 1131506 w 1614899"/>
                      <a:gd name="connsiteY320" fmla="*/ 1221581 h 1619250"/>
                      <a:gd name="connsiteX321" fmla="*/ 1124362 w 1614899"/>
                      <a:gd name="connsiteY321" fmla="*/ 1219200 h 1619250"/>
                      <a:gd name="connsiteX322" fmla="*/ 1117218 w 1614899"/>
                      <a:gd name="connsiteY322" fmla="*/ 1212056 h 1619250"/>
                      <a:gd name="connsiteX323" fmla="*/ 1117218 w 1614899"/>
                      <a:gd name="connsiteY323" fmla="*/ 1193006 h 1619250"/>
                      <a:gd name="connsiteX324" fmla="*/ 1112456 w 1614899"/>
                      <a:gd name="connsiteY324" fmla="*/ 1154906 h 1619250"/>
                      <a:gd name="connsiteX325" fmla="*/ 1107693 w 1614899"/>
                      <a:gd name="connsiteY325" fmla="*/ 1147762 h 1619250"/>
                      <a:gd name="connsiteX326" fmla="*/ 1100549 w 1614899"/>
                      <a:gd name="connsiteY326" fmla="*/ 1145381 h 1619250"/>
                      <a:gd name="connsiteX327" fmla="*/ 1093406 w 1614899"/>
                      <a:gd name="connsiteY327" fmla="*/ 1147762 h 1619250"/>
                      <a:gd name="connsiteX328" fmla="*/ 1062449 w 1614899"/>
                      <a:gd name="connsiteY328" fmla="*/ 1152525 h 1619250"/>
                      <a:gd name="connsiteX329" fmla="*/ 1045781 w 1614899"/>
                      <a:gd name="connsiteY329" fmla="*/ 1150144 h 1619250"/>
                      <a:gd name="connsiteX330" fmla="*/ 1043399 w 1614899"/>
                      <a:gd name="connsiteY330" fmla="*/ 1143000 h 1619250"/>
                      <a:gd name="connsiteX331" fmla="*/ 1050543 w 1614899"/>
                      <a:gd name="connsiteY331" fmla="*/ 1128712 h 1619250"/>
                      <a:gd name="connsiteX332" fmla="*/ 1041018 w 1614899"/>
                      <a:gd name="connsiteY332" fmla="*/ 1107281 h 1619250"/>
                      <a:gd name="connsiteX333" fmla="*/ 1024349 w 1614899"/>
                      <a:gd name="connsiteY333" fmla="*/ 1109662 h 1619250"/>
                      <a:gd name="connsiteX334" fmla="*/ 1014824 w 1614899"/>
                      <a:gd name="connsiteY334" fmla="*/ 1107281 h 1619250"/>
                      <a:gd name="connsiteX335" fmla="*/ 988631 w 1614899"/>
                      <a:gd name="connsiteY335" fmla="*/ 1109662 h 1619250"/>
                      <a:gd name="connsiteX336" fmla="*/ 986249 w 1614899"/>
                      <a:gd name="connsiteY336" fmla="*/ 1102519 h 1619250"/>
                      <a:gd name="connsiteX337" fmla="*/ 979106 w 1614899"/>
                      <a:gd name="connsiteY337" fmla="*/ 1076325 h 1619250"/>
                      <a:gd name="connsiteX338" fmla="*/ 964818 w 1614899"/>
                      <a:gd name="connsiteY338" fmla="*/ 1064419 h 1619250"/>
                      <a:gd name="connsiteX339" fmla="*/ 950531 w 1614899"/>
                      <a:gd name="connsiteY339" fmla="*/ 1054894 h 1619250"/>
                      <a:gd name="connsiteX340" fmla="*/ 943387 w 1614899"/>
                      <a:gd name="connsiteY340" fmla="*/ 1050131 h 1619250"/>
                      <a:gd name="connsiteX341" fmla="*/ 936243 w 1614899"/>
                      <a:gd name="connsiteY341" fmla="*/ 1045369 h 1619250"/>
                      <a:gd name="connsiteX342" fmla="*/ 931481 w 1614899"/>
                      <a:gd name="connsiteY342" fmla="*/ 1038225 h 1619250"/>
                      <a:gd name="connsiteX343" fmla="*/ 917193 w 1614899"/>
                      <a:gd name="connsiteY343" fmla="*/ 1031081 h 1619250"/>
                      <a:gd name="connsiteX344" fmla="*/ 914812 w 1614899"/>
                      <a:gd name="connsiteY344" fmla="*/ 1040606 h 1619250"/>
                      <a:gd name="connsiteX345" fmla="*/ 907668 w 1614899"/>
                      <a:gd name="connsiteY345" fmla="*/ 1042987 h 1619250"/>
                      <a:gd name="connsiteX346" fmla="*/ 886237 w 1614899"/>
                      <a:gd name="connsiteY346" fmla="*/ 1031081 h 1619250"/>
                      <a:gd name="connsiteX347" fmla="*/ 862424 w 1614899"/>
                      <a:gd name="connsiteY347" fmla="*/ 1035844 h 1619250"/>
                      <a:gd name="connsiteX348" fmla="*/ 845756 w 1614899"/>
                      <a:gd name="connsiteY348" fmla="*/ 1040606 h 1619250"/>
                      <a:gd name="connsiteX349" fmla="*/ 840993 w 1614899"/>
                      <a:gd name="connsiteY349" fmla="*/ 1033462 h 1619250"/>
                      <a:gd name="connsiteX350" fmla="*/ 821943 w 1614899"/>
                      <a:gd name="connsiteY350" fmla="*/ 1004887 h 1619250"/>
                      <a:gd name="connsiteX351" fmla="*/ 814799 w 1614899"/>
                      <a:gd name="connsiteY351" fmla="*/ 1000125 h 1619250"/>
                      <a:gd name="connsiteX352" fmla="*/ 779081 w 1614899"/>
                      <a:gd name="connsiteY352" fmla="*/ 995362 h 1619250"/>
                      <a:gd name="connsiteX353" fmla="*/ 771937 w 1614899"/>
                      <a:gd name="connsiteY353" fmla="*/ 988219 h 1619250"/>
                      <a:gd name="connsiteX354" fmla="*/ 762412 w 1614899"/>
                      <a:gd name="connsiteY354" fmla="*/ 966787 h 1619250"/>
                      <a:gd name="connsiteX355" fmla="*/ 755268 w 1614899"/>
                      <a:gd name="connsiteY355" fmla="*/ 962025 h 1619250"/>
                      <a:gd name="connsiteX356" fmla="*/ 733837 w 1614899"/>
                      <a:gd name="connsiteY356" fmla="*/ 962025 h 1619250"/>
                      <a:gd name="connsiteX357" fmla="*/ 731456 w 1614899"/>
                      <a:gd name="connsiteY357" fmla="*/ 950119 h 1619250"/>
                      <a:gd name="connsiteX358" fmla="*/ 729074 w 1614899"/>
                      <a:gd name="connsiteY358" fmla="*/ 942975 h 1619250"/>
                      <a:gd name="connsiteX359" fmla="*/ 726693 w 1614899"/>
                      <a:gd name="connsiteY359" fmla="*/ 921544 h 1619250"/>
                      <a:gd name="connsiteX360" fmla="*/ 724312 w 1614899"/>
                      <a:gd name="connsiteY360" fmla="*/ 914400 h 1619250"/>
                      <a:gd name="connsiteX361" fmla="*/ 717168 w 1614899"/>
                      <a:gd name="connsiteY361" fmla="*/ 909637 h 1619250"/>
                      <a:gd name="connsiteX362" fmla="*/ 710024 w 1614899"/>
                      <a:gd name="connsiteY362" fmla="*/ 907256 h 1619250"/>
                      <a:gd name="connsiteX363" fmla="*/ 681449 w 1614899"/>
                      <a:gd name="connsiteY363" fmla="*/ 902494 h 1619250"/>
                      <a:gd name="connsiteX364" fmla="*/ 674306 w 1614899"/>
                      <a:gd name="connsiteY364" fmla="*/ 897731 h 1619250"/>
                      <a:gd name="connsiteX365" fmla="*/ 667162 w 1614899"/>
                      <a:gd name="connsiteY365" fmla="*/ 883444 h 1619250"/>
                      <a:gd name="connsiteX366" fmla="*/ 657637 w 1614899"/>
                      <a:gd name="connsiteY366" fmla="*/ 881062 h 1619250"/>
                      <a:gd name="connsiteX367" fmla="*/ 650493 w 1614899"/>
                      <a:gd name="connsiteY367" fmla="*/ 873919 h 1619250"/>
                      <a:gd name="connsiteX368" fmla="*/ 648112 w 1614899"/>
                      <a:gd name="connsiteY368" fmla="*/ 866775 h 1619250"/>
                      <a:gd name="connsiteX369" fmla="*/ 643349 w 1614899"/>
                      <a:gd name="connsiteY369" fmla="*/ 859631 h 1619250"/>
                      <a:gd name="connsiteX370" fmla="*/ 631443 w 1614899"/>
                      <a:gd name="connsiteY370" fmla="*/ 838200 h 1619250"/>
                      <a:gd name="connsiteX371" fmla="*/ 624299 w 1614899"/>
                      <a:gd name="connsiteY371" fmla="*/ 833437 h 1619250"/>
                      <a:gd name="connsiteX372" fmla="*/ 593343 w 1614899"/>
                      <a:gd name="connsiteY372" fmla="*/ 835819 h 1619250"/>
                      <a:gd name="connsiteX373" fmla="*/ 586199 w 1614899"/>
                      <a:gd name="connsiteY373" fmla="*/ 816769 h 1619250"/>
                      <a:gd name="connsiteX374" fmla="*/ 569531 w 1614899"/>
                      <a:gd name="connsiteY374" fmla="*/ 795337 h 1619250"/>
                      <a:gd name="connsiteX375" fmla="*/ 564768 w 1614899"/>
                      <a:gd name="connsiteY375" fmla="*/ 788194 h 1619250"/>
                      <a:gd name="connsiteX376" fmla="*/ 557624 w 1614899"/>
                      <a:gd name="connsiteY376" fmla="*/ 785812 h 1619250"/>
                      <a:gd name="connsiteX377" fmla="*/ 550481 w 1614899"/>
                      <a:gd name="connsiteY377" fmla="*/ 781050 h 1619250"/>
                      <a:gd name="connsiteX378" fmla="*/ 536193 w 1614899"/>
                      <a:gd name="connsiteY378" fmla="*/ 776287 h 1619250"/>
                      <a:gd name="connsiteX379" fmla="*/ 538574 w 1614899"/>
                      <a:gd name="connsiteY379" fmla="*/ 747712 h 1619250"/>
                      <a:gd name="connsiteX380" fmla="*/ 533812 w 1614899"/>
                      <a:gd name="connsiteY380" fmla="*/ 740569 h 1619250"/>
                      <a:gd name="connsiteX381" fmla="*/ 519524 w 1614899"/>
                      <a:gd name="connsiteY381" fmla="*/ 731044 h 1619250"/>
                      <a:gd name="connsiteX382" fmla="*/ 512381 w 1614899"/>
                      <a:gd name="connsiteY382" fmla="*/ 735806 h 1619250"/>
                      <a:gd name="connsiteX383" fmla="*/ 505237 w 1614899"/>
                      <a:gd name="connsiteY383" fmla="*/ 738187 h 1619250"/>
                      <a:gd name="connsiteX384" fmla="*/ 507618 w 1614899"/>
                      <a:gd name="connsiteY384" fmla="*/ 723900 h 1619250"/>
                      <a:gd name="connsiteX385" fmla="*/ 505237 w 1614899"/>
                      <a:gd name="connsiteY385" fmla="*/ 688181 h 1619250"/>
                      <a:gd name="connsiteX386" fmla="*/ 493331 w 1614899"/>
                      <a:gd name="connsiteY386" fmla="*/ 666750 h 1619250"/>
                      <a:gd name="connsiteX387" fmla="*/ 486187 w 1614899"/>
                      <a:gd name="connsiteY387" fmla="*/ 659606 h 1619250"/>
                      <a:gd name="connsiteX388" fmla="*/ 481424 w 1614899"/>
                      <a:gd name="connsiteY388" fmla="*/ 652462 h 1619250"/>
                      <a:gd name="connsiteX389" fmla="*/ 479043 w 1614899"/>
                      <a:gd name="connsiteY389" fmla="*/ 614362 h 1619250"/>
                      <a:gd name="connsiteX390" fmla="*/ 474281 w 1614899"/>
                      <a:gd name="connsiteY390" fmla="*/ 595312 h 1619250"/>
                      <a:gd name="connsiteX391" fmla="*/ 467137 w 1614899"/>
                      <a:gd name="connsiteY391" fmla="*/ 578644 h 1619250"/>
                      <a:gd name="connsiteX392" fmla="*/ 459993 w 1614899"/>
                      <a:gd name="connsiteY392" fmla="*/ 571500 h 1619250"/>
                      <a:gd name="connsiteX393" fmla="*/ 440943 w 1614899"/>
                      <a:gd name="connsiteY393" fmla="*/ 554831 h 1619250"/>
                      <a:gd name="connsiteX394" fmla="*/ 426656 w 1614899"/>
                      <a:gd name="connsiteY394" fmla="*/ 550069 h 1619250"/>
                      <a:gd name="connsiteX395" fmla="*/ 424274 w 1614899"/>
                      <a:gd name="connsiteY395" fmla="*/ 557212 h 1619250"/>
                      <a:gd name="connsiteX396" fmla="*/ 414749 w 1614899"/>
                      <a:gd name="connsiteY396" fmla="*/ 552450 h 1619250"/>
                      <a:gd name="connsiteX397" fmla="*/ 407606 w 1614899"/>
                      <a:gd name="connsiteY397" fmla="*/ 545306 h 1619250"/>
                      <a:gd name="connsiteX398" fmla="*/ 390937 w 1614899"/>
                      <a:gd name="connsiteY398" fmla="*/ 535781 h 1619250"/>
                      <a:gd name="connsiteX399" fmla="*/ 383793 w 1614899"/>
                      <a:gd name="connsiteY399" fmla="*/ 528637 h 1619250"/>
                      <a:gd name="connsiteX400" fmla="*/ 374268 w 1614899"/>
                      <a:gd name="connsiteY400" fmla="*/ 526256 h 1619250"/>
                      <a:gd name="connsiteX401" fmla="*/ 352837 w 1614899"/>
                      <a:gd name="connsiteY401" fmla="*/ 519112 h 1619250"/>
                      <a:gd name="connsiteX402" fmla="*/ 345693 w 1614899"/>
                      <a:gd name="connsiteY402" fmla="*/ 516731 h 1619250"/>
                      <a:gd name="connsiteX403" fmla="*/ 338549 w 1614899"/>
                      <a:gd name="connsiteY403" fmla="*/ 514350 h 1619250"/>
                      <a:gd name="connsiteX404" fmla="*/ 326643 w 1614899"/>
                      <a:gd name="connsiteY404" fmla="*/ 504825 h 1619250"/>
                      <a:gd name="connsiteX405" fmla="*/ 321881 w 1614899"/>
                      <a:gd name="connsiteY405" fmla="*/ 497681 h 1619250"/>
                      <a:gd name="connsiteX406" fmla="*/ 314737 w 1614899"/>
                      <a:gd name="connsiteY406" fmla="*/ 490537 h 1619250"/>
                      <a:gd name="connsiteX407" fmla="*/ 307593 w 1614899"/>
                      <a:gd name="connsiteY407" fmla="*/ 485775 h 1619250"/>
                      <a:gd name="connsiteX408" fmla="*/ 293306 w 1614899"/>
                      <a:gd name="connsiteY408" fmla="*/ 481012 h 1619250"/>
                      <a:gd name="connsiteX409" fmla="*/ 269493 w 1614899"/>
                      <a:gd name="connsiteY409" fmla="*/ 483394 h 1619250"/>
                      <a:gd name="connsiteX410" fmla="*/ 259968 w 1614899"/>
                      <a:gd name="connsiteY410" fmla="*/ 490537 h 1619250"/>
                      <a:gd name="connsiteX411" fmla="*/ 243299 w 1614899"/>
                      <a:gd name="connsiteY411" fmla="*/ 497681 h 1619250"/>
                      <a:gd name="connsiteX412" fmla="*/ 236156 w 1614899"/>
                      <a:gd name="connsiteY412" fmla="*/ 502444 h 1619250"/>
                      <a:gd name="connsiteX413" fmla="*/ 233774 w 1614899"/>
                      <a:gd name="connsiteY413" fmla="*/ 509587 h 1619250"/>
                      <a:gd name="connsiteX414" fmla="*/ 231393 w 1614899"/>
                      <a:gd name="connsiteY414" fmla="*/ 519112 h 1619250"/>
                      <a:gd name="connsiteX415" fmla="*/ 224249 w 1614899"/>
                      <a:gd name="connsiteY415" fmla="*/ 521494 h 1619250"/>
                      <a:gd name="connsiteX416" fmla="*/ 209962 w 1614899"/>
                      <a:gd name="connsiteY416" fmla="*/ 528637 h 1619250"/>
                      <a:gd name="connsiteX417" fmla="*/ 200437 w 1614899"/>
                      <a:gd name="connsiteY417" fmla="*/ 542925 h 1619250"/>
                      <a:gd name="connsiteX418" fmla="*/ 195674 w 1614899"/>
                      <a:gd name="connsiteY418" fmla="*/ 557212 h 1619250"/>
                      <a:gd name="connsiteX419" fmla="*/ 188531 w 1614899"/>
                      <a:gd name="connsiteY419" fmla="*/ 559594 h 1619250"/>
                      <a:gd name="connsiteX420" fmla="*/ 176624 w 1614899"/>
                      <a:gd name="connsiteY420" fmla="*/ 564356 h 1619250"/>
                      <a:gd name="connsiteX421" fmla="*/ 164718 w 1614899"/>
                      <a:gd name="connsiteY421" fmla="*/ 566737 h 1619250"/>
                      <a:gd name="connsiteX422" fmla="*/ 157574 w 1614899"/>
                      <a:gd name="connsiteY422" fmla="*/ 569119 h 1619250"/>
                      <a:gd name="connsiteX423" fmla="*/ 148049 w 1614899"/>
                      <a:gd name="connsiteY423" fmla="*/ 571500 h 1619250"/>
                      <a:gd name="connsiteX424" fmla="*/ 140906 w 1614899"/>
                      <a:gd name="connsiteY424" fmla="*/ 573881 h 1619250"/>
                      <a:gd name="connsiteX425" fmla="*/ 121856 w 1614899"/>
                      <a:gd name="connsiteY425" fmla="*/ 576262 h 1619250"/>
                      <a:gd name="connsiteX426" fmla="*/ 119474 w 1614899"/>
                      <a:gd name="connsiteY426" fmla="*/ 571500 h 1619250"/>
                      <a:gd name="connsiteX427" fmla="*/ 128999 w 1614899"/>
                      <a:gd name="connsiteY427" fmla="*/ 557212 h 1619250"/>
                      <a:gd name="connsiteX428" fmla="*/ 131381 w 1614899"/>
                      <a:gd name="connsiteY428" fmla="*/ 550069 h 1619250"/>
                      <a:gd name="connsiteX429" fmla="*/ 140906 w 1614899"/>
                      <a:gd name="connsiteY429" fmla="*/ 535781 h 1619250"/>
                      <a:gd name="connsiteX430" fmla="*/ 133762 w 1614899"/>
                      <a:gd name="connsiteY430" fmla="*/ 533400 h 1619250"/>
                      <a:gd name="connsiteX431" fmla="*/ 128999 w 1614899"/>
                      <a:gd name="connsiteY431" fmla="*/ 516731 h 1619250"/>
                      <a:gd name="connsiteX432" fmla="*/ 69468 w 1614899"/>
                      <a:gd name="connsiteY432" fmla="*/ 514350 h 1619250"/>
                      <a:gd name="connsiteX433" fmla="*/ 67087 w 1614899"/>
                      <a:gd name="connsiteY433" fmla="*/ 507206 h 1619250"/>
                      <a:gd name="connsiteX434" fmla="*/ 52799 w 1614899"/>
                      <a:gd name="connsiteY434" fmla="*/ 497681 h 1619250"/>
                      <a:gd name="connsiteX435" fmla="*/ 55181 w 1614899"/>
                      <a:gd name="connsiteY435" fmla="*/ 488156 h 1619250"/>
                      <a:gd name="connsiteX436" fmla="*/ 40893 w 1614899"/>
                      <a:gd name="connsiteY436" fmla="*/ 483394 h 1619250"/>
                      <a:gd name="connsiteX437" fmla="*/ 38512 w 1614899"/>
                      <a:gd name="connsiteY437" fmla="*/ 471487 h 1619250"/>
                      <a:gd name="connsiteX438" fmla="*/ 36131 w 1614899"/>
                      <a:gd name="connsiteY438" fmla="*/ 464344 h 1619250"/>
                      <a:gd name="connsiteX439" fmla="*/ 38512 w 1614899"/>
                      <a:gd name="connsiteY439" fmla="*/ 452437 h 1619250"/>
                      <a:gd name="connsiteX440" fmla="*/ 38512 w 1614899"/>
                      <a:gd name="connsiteY440" fmla="*/ 428625 h 1619250"/>
                      <a:gd name="connsiteX441" fmla="*/ 45656 w 1614899"/>
                      <a:gd name="connsiteY441" fmla="*/ 426244 h 1619250"/>
                      <a:gd name="connsiteX442" fmla="*/ 52799 w 1614899"/>
                      <a:gd name="connsiteY442" fmla="*/ 421481 h 1619250"/>
                      <a:gd name="connsiteX443" fmla="*/ 59943 w 1614899"/>
                      <a:gd name="connsiteY443" fmla="*/ 419100 h 1619250"/>
                      <a:gd name="connsiteX444" fmla="*/ 64706 w 1614899"/>
                      <a:gd name="connsiteY444" fmla="*/ 411956 h 1619250"/>
                      <a:gd name="connsiteX445" fmla="*/ 55181 w 1614899"/>
                      <a:gd name="connsiteY445" fmla="*/ 392906 h 1619250"/>
                      <a:gd name="connsiteX446" fmla="*/ 40893 w 1614899"/>
                      <a:gd name="connsiteY446" fmla="*/ 388144 h 1619250"/>
                      <a:gd name="connsiteX447" fmla="*/ 33749 w 1614899"/>
                      <a:gd name="connsiteY447" fmla="*/ 390525 h 1619250"/>
                      <a:gd name="connsiteX448" fmla="*/ 28987 w 1614899"/>
                      <a:gd name="connsiteY448" fmla="*/ 390525 h 1619250"/>
                      <a:gd name="connsiteX449" fmla="*/ 21843 w 1614899"/>
                      <a:gd name="connsiteY449" fmla="*/ 388144 h 1619250"/>
                      <a:gd name="connsiteX450" fmla="*/ 14699 w 1614899"/>
                      <a:gd name="connsiteY450" fmla="*/ 364331 h 1619250"/>
                      <a:gd name="connsiteX451" fmla="*/ 2793 w 1614899"/>
                      <a:gd name="connsiteY451" fmla="*/ 361950 h 1619250"/>
                      <a:gd name="connsiteX452" fmla="*/ 2793 w 1614899"/>
                      <a:gd name="connsiteY452" fmla="*/ 345281 h 1619250"/>
                      <a:gd name="connsiteX453" fmla="*/ 17081 w 1614899"/>
                      <a:gd name="connsiteY453" fmla="*/ 340519 h 1619250"/>
                      <a:gd name="connsiteX454" fmla="*/ 24224 w 1614899"/>
                      <a:gd name="connsiteY454" fmla="*/ 347662 h 1619250"/>
                      <a:gd name="connsiteX455" fmla="*/ 40893 w 1614899"/>
                      <a:gd name="connsiteY455" fmla="*/ 342900 h 1619250"/>
                      <a:gd name="connsiteX456" fmla="*/ 57562 w 1614899"/>
                      <a:gd name="connsiteY456" fmla="*/ 333375 h 1619250"/>
                      <a:gd name="connsiteX457" fmla="*/ 64706 w 1614899"/>
                      <a:gd name="connsiteY457" fmla="*/ 328612 h 1619250"/>
                      <a:gd name="connsiteX458" fmla="*/ 71849 w 1614899"/>
                      <a:gd name="connsiteY458" fmla="*/ 326231 h 1619250"/>
                      <a:gd name="connsiteX459" fmla="*/ 90899 w 1614899"/>
                      <a:gd name="connsiteY459" fmla="*/ 321469 h 1619250"/>
                      <a:gd name="connsiteX460" fmla="*/ 86137 w 1614899"/>
                      <a:gd name="connsiteY460" fmla="*/ 311944 h 1619250"/>
                      <a:gd name="connsiteX461" fmla="*/ 88518 w 1614899"/>
                      <a:gd name="connsiteY461" fmla="*/ 292894 h 1619250"/>
                      <a:gd name="connsiteX462" fmla="*/ 90899 w 1614899"/>
                      <a:gd name="connsiteY462" fmla="*/ 285750 h 1619250"/>
                      <a:gd name="connsiteX463" fmla="*/ 76612 w 1614899"/>
                      <a:gd name="connsiteY463" fmla="*/ 280987 h 1619250"/>
                      <a:gd name="connsiteX464" fmla="*/ 71849 w 1614899"/>
                      <a:gd name="connsiteY464" fmla="*/ 273844 h 1619250"/>
                      <a:gd name="connsiteX465" fmla="*/ 67087 w 1614899"/>
                      <a:gd name="connsiteY465" fmla="*/ 250031 h 1619250"/>
                      <a:gd name="connsiteX466" fmla="*/ 45656 w 1614899"/>
                      <a:gd name="connsiteY466" fmla="*/ 250031 h 1619250"/>
                      <a:gd name="connsiteX467" fmla="*/ 40893 w 1614899"/>
                      <a:gd name="connsiteY467" fmla="*/ 242887 h 1619250"/>
                      <a:gd name="connsiteX468" fmla="*/ 43274 w 1614899"/>
                      <a:gd name="connsiteY468" fmla="*/ 223837 h 1619250"/>
                      <a:gd name="connsiteX469" fmla="*/ 57562 w 1614899"/>
                      <a:gd name="connsiteY469" fmla="*/ 211931 h 1619250"/>
                      <a:gd name="connsiteX470" fmla="*/ 74231 w 1614899"/>
                      <a:gd name="connsiteY470" fmla="*/ 200025 h 1619250"/>
                      <a:gd name="connsiteX471" fmla="*/ 81374 w 1614899"/>
                      <a:gd name="connsiteY471" fmla="*/ 202406 h 1619250"/>
                      <a:gd name="connsiteX472" fmla="*/ 83756 w 1614899"/>
                      <a:gd name="connsiteY472" fmla="*/ 209550 h 1619250"/>
                      <a:gd name="connsiteX473" fmla="*/ 102806 w 1614899"/>
                      <a:gd name="connsiteY473" fmla="*/ 204787 h 1619250"/>
                      <a:gd name="connsiteX474" fmla="*/ 109949 w 1614899"/>
                      <a:gd name="connsiteY474" fmla="*/ 200025 h 1619250"/>
                      <a:gd name="connsiteX475" fmla="*/ 119474 w 1614899"/>
                      <a:gd name="connsiteY475" fmla="*/ 197644 h 1619250"/>
                      <a:gd name="connsiteX476" fmla="*/ 133762 w 1614899"/>
                      <a:gd name="connsiteY476" fmla="*/ 192881 h 1619250"/>
                      <a:gd name="connsiteX477" fmla="*/ 140906 w 1614899"/>
                      <a:gd name="connsiteY477" fmla="*/ 190500 h 1619250"/>
                      <a:gd name="connsiteX478" fmla="*/ 148049 w 1614899"/>
                      <a:gd name="connsiteY478" fmla="*/ 195262 h 1619250"/>
                      <a:gd name="connsiteX479" fmla="*/ 155193 w 1614899"/>
                      <a:gd name="connsiteY479" fmla="*/ 204787 h 1619250"/>
                      <a:gd name="connsiteX480" fmla="*/ 164718 w 1614899"/>
                      <a:gd name="connsiteY480" fmla="*/ 202406 h 1619250"/>
                      <a:gd name="connsiteX481" fmla="*/ 190912 w 1614899"/>
                      <a:gd name="connsiteY481" fmla="*/ 200025 h 1619250"/>
                      <a:gd name="connsiteX482" fmla="*/ 193293 w 1614899"/>
                      <a:gd name="connsiteY482" fmla="*/ 192881 h 1619250"/>
                      <a:gd name="connsiteX483" fmla="*/ 198056 w 1614899"/>
                      <a:gd name="connsiteY483" fmla="*/ 185737 h 1619250"/>
                      <a:gd name="connsiteX484" fmla="*/ 195674 w 1614899"/>
                      <a:gd name="connsiteY484" fmla="*/ 178594 h 1619250"/>
                      <a:gd name="connsiteX485" fmla="*/ 186149 w 1614899"/>
                      <a:gd name="connsiteY485" fmla="*/ 159544 h 1619250"/>
                      <a:gd name="connsiteX486" fmla="*/ 217106 w 1614899"/>
                      <a:gd name="connsiteY486" fmla="*/ 152400 h 1619250"/>
                      <a:gd name="connsiteX487" fmla="*/ 209962 w 1614899"/>
                      <a:gd name="connsiteY487" fmla="*/ 145256 h 1619250"/>
                      <a:gd name="connsiteX488" fmla="*/ 202818 w 1614899"/>
                      <a:gd name="connsiteY488" fmla="*/ 140494 h 1619250"/>
                      <a:gd name="connsiteX489" fmla="*/ 212343 w 1614899"/>
                      <a:gd name="connsiteY489" fmla="*/ 133350 h 1619250"/>
                      <a:gd name="connsiteX490" fmla="*/ 233774 w 1614899"/>
                      <a:gd name="connsiteY490" fmla="*/ 123825 h 1619250"/>
                      <a:gd name="connsiteX491" fmla="*/ 238537 w 1614899"/>
                      <a:gd name="connsiteY491" fmla="*/ 116681 h 1619250"/>
                      <a:gd name="connsiteX492" fmla="*/ 240918 w 1614899"/>
                      <a:gd name="connsiteY492" fmla="*/ 107156 h 1619250"/>
                      <a:gd name="connsiteX493" fmla="*/ 248062 w 1614899"/>
                      <a:gd name="connsiteY493" fmla="*/ 109537 h 1619250"/>
                      <a:gd name="connsiteX494" fmla="*/ 250443 w 1614899"/>
                      <a:gd name="connsiteY494" fmla="*/ 116681 h 1619250"/>
                      <a:gd name="connsiteX495" fmla="*/ 252824 w 1614899"/>
                      <a:gd name="connsiteY495" fmla="*/ 130969 h 1619250"/>
                      <a:gd name="connsiteX496" fmla="*/ 269493 w 1614899"/>
                      <a:gd name="connsiteY496" fmla="*/ 138112 h 1619250"/>
                      <a:gd name="connsiteX497" fmla="*/ 271874 w 1614899"/>
                      <a:gd name="connsiteY497" fmla="*/ 145256 h 1619250"/>
                      <a:gd name="connsiteX498" fmla="*/ 264731 w 1614899"/>
                      <a:gd name="connsiteY498" fmla="*/ 152400 h 1619250"/>
                      <a:gd name="connsiteX499" fmla="*/ 262349 w 1614899"/>
                      <a:gd name="connsiteY499" fmla="*/ 159544 h 1619250"/>
                      <a:gd name="connsiteX500" fmla="*/ 264731 w 1614899"/>
                      <a:gd name="connsiteY500" fmla="*/ 173831 h 1619250"/>
                      <a:gd name="connsiteX501" fmla="*/ 274256 w 1614899"/>
                      <a:gd name="connsiteY501" fmla="*/ 176212 h 1619250"/>
                      <a:gd name="connsiteX502" fmla="*/ 295687 w 1614899"/>
                      <a:gd name="connsiteY502" fmla="*/ 178594 h 1619250"/>
                      <a:gd name="connsiteX503" fmla="*/ 293306 w 1614899"/>
                      <a:gd name="connsiteY503" fmla="*/ 185737 h 1619250"/>
                      <a:gd name="connsiteX504" fmla="*/ 295687 w 1614899"/>
                      <a:gd name="connsiteY504" fmla="*/ 200025 h 1619250"/>
                      <a:gd name="connsiteX505" fmla="*/ 302831 w 1614899"/>
                      <a:gd name="connsiteY505" fmla="*/ 216694 h 1619250"/>
                      <a:gd name="connsiteX506" fmla="*/ 307593 w 1614899"/>
                      <a:gd name="connsiteY506" fmla="*/ 223837 h 1619250"/>
                      <a:gd name="connsiteX507" fmla="*/ 314737 w 1614899"/>
                      <a:gd name="connsiteY507" fmla="*/ 228600 h 1619250"/>
                      <a:gd name="connsiteX508" fmla="*/ 326643 w 1614899"/>
                      <a:gd name="connsiteY508" fmla="*/ 226219 h 1619250"/>
                      <a:gd name="connsiteX509" fmla="*/ 321881 w 1614899"/>
                      <a:gd name="connsiteY509" fmla="*/ 200025 h 1619250"/>
                      <a:gd name="connsiteX510" fmla="*/ 314737 w 1614899"/>
                      <a:gd name="connsiteY510" fmla="*/ 197644 h 1619250"/>
                      <a:gd name="connsiteX511" fmla="*/ 324262 w 1614899"/>
                      <a:gd name="connsiteY511" fmla="*/ 180975 h 1619250"/>
                      <a:gd name="connsiteX512" fmla="*/ 329024 w 1614899"/>
                      <a:gd name="connsiteY512" fmla="*/ 173831 h 1619250"/>
                      <a:gd name="connsiteX513" fmla="*/ 343312 w 1614899"/>
                      <a:gd name="connsiteY513" fmla="*/ 159544 h 1619250"/>
                      <a:gd name="connsiteX514" fmla="*/ 348074 w 1614899"/>
                      <a:gd name="connsiteY514" fmla="*/ 145256 h 1619250"/>
                      <a:gd name="connsiteX515" fmla="*/ 350456 w 1614899"/>
                      <a:gd name="connsiteY515" fmla="*/ 114300 h 1619250"/>
                      <a:gd name="connsiteX516" fmla="*/ 357599 w 1614899"/>
                      <a:gd name="connsiteY516" fmla="*/ 111919 h 1619250"/>
                      <a:gd name="connsiteX517" fmla="*/ 364743 w 1614899"/>
                      <a:gd name="connsiteY517" fmla="*/ 114300 h 1619250"/>
                      <a:gd name="connsiteX518" fmla="*/ 371887 w 1614899"/>
                      <a:gd name="connsiteY518" fmla="*/ 114300 h 1619250"/>
                      <a:gd name="connsiteX519" fmla="*/ 381412 w 1614899"/>
                      <a:gd name="connsiteY519" fmla="*/ 138112 h 1619250"/>
                      <a:gd name="connsiteX520" fmla="*/ 395699 w 1614899"/>
                      <a:gd name="connsiteY520" fmla="*/ 150019 h 1619250"/>
                      <a:gd name="connsiteX521" fmla="*/ 409987 w 1614899"/>
                      <a:gd name="connsiteY521" fmla="*/ 147637 h 1619250"/>
                      <a:gd name="connsiteX522" fmla="*/ 412368 w 1614899"/>
                      <a:gd name="connsiteY522" fmla="*/ 133350 h 1619250"/>
                      <a:gd name="connsiteX523" fmla="*/ 426656 w 1614899"/>
                      <a:gd name="connsiteY523" fmla="*/ 128587 h 1619250"/>
                      <a:gd name="connsiteX524" fmla="*/ 433799 w 1614899"/>
                      <a:gd name="connsiteY524" fmla="*/ 142875 h 1619250"/>
                      <a:gd name="connsiteX525" fmla="*/ 448087 w 1614899"/>
                      <a:gd name="connsiteY525" fmla="*/ 161925 h 1619250"/>
                      <a:gd name="connsiteX526" fmla="*/ 464756 w 1614899"/>
                      <a:gd name="connsiteY526" fmla="*/ 159544 h 1619250"/>
                      <a:gd name="connsiteX527" fmla="*/ 452849 w 1614899"/>
                      <a:gd name="connsiteY527" fmla="*/ 138112 h 1619250"/>
                      <a:gd name="connsiteX528" fmla="*/ 450468 w 1614899"/>
                      <a:gd name="connsiteY528" fmla="*/ 111919 h 1619250"/>
                      <a:gd name="connsiteX529" fmla="*/ 443324 w 1614899"/>
                      <a:gd name="connsiteY529" fmla="*/ 107156 h 1619250"/>
                      <a:gd name="connsiteX530" fmla="*/ 440943 w 1614899"/>
                      <a:gd name="connsiteY530" fmla="*/ 100012 h 1619250"/>
                      <a:gd name="connsiteX531" fmla="*/ 450468 w 1614899"/>
                      <a:gd name="connsiteY531" fmla="*/ 88106 h 1619250"/>
                      <a:gd name="connsiteX532" fmla="*/ 476662 w 1614899"/>
                      <a:gd name="connsiteY532" fmla="*/ 90487 h 1619250"/>
                      <a:gd name="connsiteX533" fmla="*/ 486187 w 1614899"/>
                      <a:gd name="connsiteY533" fmla="*/ 92869 h 1619250"/>
                      <a:gd name="connsiteX534" fmla="*/ 493331 w 1614899"/>
                      <a:gd name="connsiteY534" fmla="*/ 97631 h 1619250"/>
                      <a:gd name="connsiteX535" fmla="*/ 502856 w 1614899"/>
                      <a:gd name="connsiteY535" fmla="*/ 95250 h 1619250"/>
                      <a:gd name="connsiteX536" fmla="*/ 509999 w 1614899"/>
                      <a:gd name="connsiteY536" fmla="*/ 90487 h 1619250"/>
                      <a:gd name="connsiteX537" fmla="*/ 507618 w 1614899"/>
                      <a:gd name="connsiteY537" fmla="*/ 83344 h 1619250"/>
                      <a:gd name="connsiteX538" fmla="*/ 500474 w 1614899"/>
                      <a:gd name="connsiteY538" fmla="*/ 80962 h 1619250"/>
                      <a:gd name="connsiteX539" fmla="*/ 493331 w 1614899"/>
                      <a:gd name="connsiteY539" fmla="*/ 76200 h 1619250"/>
                      <a:gd name="connsiteX540" fmla="*/ 495712 w 1614899"/>
                      <a:gd name="connsiteY540"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19549 w 1614899"/>
                      <a:gd name="connsiteY86" fmla="*/ 328612 h 1619250"/>
                      <a:gd name="connsiteX87" fmla="*/ 714787 w 1614899"/>
                      <a:gd name="connsiteY87" fmla="*/ 335756 h 1619250"/>
                      <a:gd name="connsiteX88" fmla="*/ 717168 w 1614899"/>
                      <a:gd name="connsiteY88" fmla="*/ 342900 h 1619250"/>
                      <a:gd name="connsiteX89" fmla="*/ 721931 w 1614899"/>
                      <a:gd name="connsiteY89" fmla="*/ 347662 h 1619250"/>
                      <a:gd name="connsiteX90" fmla="*/ 733837 w 1614899"/>
                      <a:gd name="connsiteY90" fmla="*/ 357187 h 1619250"/>
                      <a:gd name="connsiteX91" fmla="*/ 740981 w 1614899"/>
                      <a:gd name="connsiteY91" fmla="*/ 354806 h 1619250"/>
                      <a:gd name="connsiteX92" fmla="*/ 755268 w 1614899"/>
                      <a:gd name="connsiteY92" fmla="*/ 350044 h 1619250"/>
                      <a:gd name="connsiteX93" fmla="*/ 752887 w 1614899"/>
                      <a:gd name="connsiteY93" fmla="*/ 359569 h 1619250"/>
                      <a:gd name="connsiteX94" fmla="*/ 755268 w 1614899"/>
                      <a:gd name="connsiteY94" fmla="*/ 371475 h 1619250"/>
                      <a:gd name="connsiteX95" fmla="*/ 762412 w 1614899"/>
                      <a:gd name="connsiteY95" fmla="*/ 373856 h 1619250"/>
                      <a:gd name="connsiteX96" fmla="*/ 745743 w 1614899"/>
                      <a:gd name="connsiteY96" fmla="*/ 390525 h 1619250"/>
                      <a:gd name="connsiteX97" fmla="*/ 750506 w 1614899"/>
                      <a:gd name="connsiteY97" fmla="*/ 397669 h 1619250"/>
                      <a:gd name="connsiteX98" fmla="*/ 745743 w 1614899"/>
                      <a:gd name="connsiteY98" fmla="*/ 411956 h 1619250"/>
                      <a:gd name="connsiteX99" fmla="*/ 731456 w 1614899"/>
                      <a:gd name="connsiteY99" fmla="*/ 404812 h 1619250"/>
                      <a:gd name="connsiteX100" fmla="*/ 724312 w 1614899"/>
                      <a:gd name="connsiteY100" fmla="*/ 409575 h 1619250"/>
                      <a:gd name="connsiteX101" fmla="*/ 721931 w 1614899"/>
                      <a:gd name="connsiteY101" fmla="*/ 416719 h 1619250"/>
                      <a:gd name="connsiteX102" fmla="*/ 736218 w 1614899"/>
                      <a:gd name="connsiteY102" fmla="*/ 426244 h 1619250"/>
                      <a:gd name="connsiteX103" fmla="*/ 731456 w 1614899"/>
                      <a:gd name="connsiteY103" fmla="*/ 442912 h 1619250"/>
                      <a:gd name="connsiteX104" fmla="*/ 729074 w 1614899"/>
                      <a:gd name="connsiteY104" fmla="*/ 450056 h 1619250"/>
                      <a:gd name="connsiteX105" fmla="*/ 731456 w 1614899"/>
                      <a:gd name="connsiteY105" fmla="*/ 481012 h 1619250"/>
                      <a:gd name="connsiteX106" fmla="*/ 736218 w 1614899"/>
                      <a:gd name="connsiteY106" fmla="*/ 488156 h 1619250"/>
                      <a:gd name="connsiteX107" fmla="*/ 743362 w 1614899"/>
                      <a:gd name="connsiteY107" fmla="*/ 509587 h 1619250"/>
                      <a:gd name="connsiteX108" fmla="*/ 745743 w 1614899"/>
                      <a:gd name="connsiteY108" fmla="*/ 516731 h 1619250"/>
                      <a:gd name="connsiteX109" fmla="*/ 760031 w 1614899"/>
                      <a:gd name="connsiteY109" fmla="*/ 526256 h 1619250"/>
                      <a:gd name="connsiteX110" fmla="*/ 764793 w 1614899"/>
                      <a:gd name="connsiteY110" fmla="*/ 533400 h 1619250"/>
                      <a:gd name="connsiteX111" fmla="*/ 769556 w 1614899"/>
                      <a:gd name="connsiteY111" fmla="*/ 547687 h 1619250"/>
                      <a:gd name="connsiteX112" fmla="*/ 769556 w 1614899"/>
                      <a:gd name="connsiteY112" fmla="*/ 542925 h 1619250"/>
                      <a:gd name="connsiteX113" fmla="*/ 776699 w 1614899"/>
                      <a:gd name="connsiteY113" fmla="*/ 550069 h 1619250"/>
                      <a:gd name="connsiteX114" fmla="*/ 793368 w 1614899"/>
                      <a:gd name="connsiteY114" fmla="*/ 552450 h 1619250"/>
                      <a:gd name="connsiteX115" fmla="*/ 807656 w 1614899"/>
                      <a:gd name="connsiteY115" fmla="*/ 557212 h 1619250"/>
                      <a:gd name="connsiteX116" fmla="*/ 814799 w 1614899"/>
                      <a:gd name="connsiteY116" fmla="*/ 559594 h 1619250"/>
                      <a:gd name="connsiteX117" fmla="*/ 821943 w 1614899"/>
                      <a:gd name="connsiteY117" fmla="*/ 566737 h 1619250"/>
                      <a:gd name="connsiteX118" fmla="*/ 829087 w 1614899"/>
                      <a:gd name="connsiteY118" fmla="*/ 569119 h 1619250"/>
                      <a:gd name="connsiteX119" fmla="*/ 836231 w 1614899"/>
                      <a:gd name="connsiteY119" fmla="*/ 573881 h 1619250"/>
                      <a:gd name="connsiteX120" fmla="*/ 843374 w 1614899"/>
                      <a:gd name="connsiteY120" fmla="*/ 588169 h 1619250"/>
                      <a:gd name="connsiteX121" fmla="*/ 852899 w 1614899"/>
                      <a:gd name="connsiteY121" fmla="*/ 597694 h 1619250"/>
                      <a:gd name="connsiteX122" fmla="*/ 902906 w 1614899"/>
                      <a:gd name="connsiteY122" fmla="*/ 604837 h 1619250"/>
                      <a:gd name="connsiteX123" fmla="*/ 914812 w 1614899"/>
                      <a:gd name="connsiteY123" fmla="*/ 626269 h 1619250"/>
                      <a:gd name="connsiteX124" fmla="*/ 919574 w 1614899"/>
                      <a:gd name="connsiteY124" fmla="*/ 633412 h 1619250"/>
                      <a:gd name="connsiteX125" fmla="*/ 919574 w 1614899"/>
                      <a:gd name="connsiteY125" fmla="*/ 671512 h 1619250"/>
                      <a:gd name="connsiteX126" fmla="*/ 926718 w 1614899"/>
                      <a:gd name="connsiteY126" fmla="*/ 676275 h 1619250"/>
                      <a:gd name="connsiteX127" fmla="*/ 933862 w 1614899"/>
                      <a:gd name="connsiteY127" fmla="*/ 690562 h 1619250"/>
                      <a:gd name="connsiteX128" fmla="*/ 936243 w 1614899"/>
                      <a:gd name="connsiteY128" fmla="*/ 702469 h 1619250"/>
                      <a:gd name="connsiteX129" fmla="*/ 943387 w 1614899"/>
                      <a:gd name="connsiteY129" fmla="*/ 709612 h 1619250"/>
                      <a:gd name="connsiteX130" fmla="*/ 945768 w 1614899"/>
                      <a:gd name="connsiteY130" fmla="*/ 723900 h 1619250"/>
                      <a:gd name="connsiteX131" fmla="*/ 955293 w 1614899"/>
                      <a:gd name="connsiteY131" fmla="*/ 738187 h 1619250"/>
                      <a:gd name="connsiteX132" fmla="*/ 964818 w 1614899"/>
                      <a:gd name="connsiteY132" fmla="*/ 752475 h 1619250"/>
                      <a:gd name="connsiteX133" fmla="*/ 967199 w 1614899"/>
                      <a:gd name="connsiteY133" fmla="*/ 759619 h 1619250"/>
                      <a:gd name="connsiteX134" fmla="*/ 974343 w 1614899"/>
                      <a:gd name="connsiteY134" fmla="*/ 769144 h 1619250"/>
                      <a:gd name="connsiteX135" fmla="*/ 979106 w 1614899"/>
                      <a:gd name="connsiteY135" fmla="*/ 783431 h 1619250"/>
                      <a:gd name="connsiteX136" fmla="*/ 981487 w 1614899"/>
                      <a:gd name="connsiteY136" fmla="*/ 790575 h 1619250"/>
                      <a:gd name="connsiteX137" fmla="*/ 991012 w 1614899"/>
                      <a:gd name="connsiteY137" fmla="*/ 804862 h 1619250"/>
                      <a:gd name="connsiteX138" fmla="*/ 998156 w 1614899"/>
                      <a:gd name="connsiteY138" fmla="*/ 819150 h 1619250"/>
                      <a:gd name="connsiteX139" fmla="*/ 1000537 w 1614899"/>
                      <a:gd name="connsiteY139" fmla="*/ 826294 h 1619250"/>
                      <a:gd name="connsiteX140" fmla="*/ 1007681 w 1614899"/>
                      <a:gd name="connsiteY140" fmla="*/ 828675 h 1619250"/>
                      <a:gd name="connsiteX141" fmla="*/ 1014824 w 1614899"/>
                      <a:gd name="connsiteY141" fmla="*/ 833437 h 1619250"/>
                      <a:gd name="connsiteX142" fmla="*/ 1029112 w 1614899"/>
                      <a:gd name="connsiteY142" fmla="*/ 838200 h 1619250"/>
                      <a:gd name="connsiteX143" fmla="*/ 1033874 w 1614899"/>
                      <a:gd name="connsiteY143" fmla="*/ 845344 h 1619250"/>
                      <a:gd name="connsiteX144" fmla="*/ 1048162 w 1614899"/>
                      <a:gd name="connsiteY144" fmla="*/ 857250 h 1619250"/>
                      <a:gd name="connsiteX145" fmla="*/ 1062449 w 1614899"/>
                      <a:gd name="connsiteY145" fmla="*/ 862012 h 1619250"/>
                      <a:gd name="connsiteX146" fmla="*/ 1079118 w 1614899"/>
                      <a:gd name="connsiteY146" fmla="*/ 883444 h 1619250"/>
                      <a:gd name="connsiteX147" fmla="*/ 1081499 w 1614899"/>
                      <a:gd name="connsiteY147" fmla="*/ 890587 h 1619250"/>
                      <a:gd name="connsiteX148" fmla="*/ 1095787 w 1614899"/>
                      <a:gd name="connsiteY148" fmla="*/ 883444 h 1619250"/>
                      <a:gd name="connsiteX149" fmla="*/ 1110074 w 1614899"/>
                      <a:gd name="connsiteY149" fmla="*/ 890587 h 1619250"/>
                      <a:gd name="connsiteX150" fmla="*/ 1121981 w 1614899"/>
                      <a:gd name="connsiteY150" fmla="*/ 902494 h 1619250"/>
                      <a:gd name="connsiteX151" fmla="*/ 1136268 w 1614899"/>
                      <a:gd name="connsiteY151" fmla="*/ 907256 h 1619250"/>
                      <a:gd name="connsiteX152" fmla="*/ 1176749 w 1614899"/>
                      <a:gd name="connsiteY152" fmla="*/ 904875 h 1619250"/>
                      <a:gd name="connsiteX153" fmla="*/ 1195799 w 1614899"/>
                      <a:gd name="connsiteY153" fmla="*/ 904875 h 1619250"/>
                      <a:gd name="connsiteX154" fmla="*/ 1207706 w 1614899"/>
                      <a:gd name="connsiteY154" fmla="*/ 912019 h 1619250"/>
                      <a:gd name="connsiteX155" fmla="*/ 1210087 w 1614899"/>
                      <a:gd name="connsiteY155" fmla="*/ 902494 h 1619250"/>
                      <a:gd name="connsiteX156" fmla="*/ 1219612 w 1614899"/>
                      <a:gd name="connsiteY156" fmla="*/ 900112 h 1619250"/>
                      <a:gd name="connsiteX157" fmla="*/ 1226756 w 1614899"/>
                      <a:gd name="connsiteY157" fmla="*/ 895350 h 1619250"/>
                      <a:gd name="connsiteX158" fmla="*/ 1241043 w 1614899"/>
                      <a:gd name="connsiteY158" fmla="*/ 890587 h 1619250"/>
                      <a:gd name="connsiteX159" fmla="*/ 1255331 w 1614899"/>
                      <a:gd name="connsiteY159" fmla="*/ 892969 h 1619250"/>
                      <a:gd name="connsiteX160" fmla="*/ 1260093 w 1614899"/>
                      <a:gd name="connsiteY160" fmla="*/ 900112 h 1619250"/>
                      <a:gd name="connsiteX161" fmla="*/ 1267237 w 1614899"/>
                      <a:gd name="connsiteY161" fmla="*/ 904875 h 1619250"/>
                      <a:gd name="connsiteX162" fmla="*/ 1271999 w 1614899"/>
                      <a:gd name="connsiteY162" fmla="*/ 919162 h 1619250"/>
                      <a:gd name="connsiteX163" fmla="*/ 1269618 w 1614899"/>
                      <a:gd name="connsiteY163" fmla="*/ 928687 h 1619250"/>
                      <a:gd name="connsiteX164" fmla="*/ 1262474 w 1614899"/>
                      <a:gd name="connsiteY164" fmla="*/ 933450 h 1619250"/>
                      <a:gd name="connsiteX165" fmla="*/ 1255331 w 1614899"/>
                      <a:gd name="connsiteY165" fmla="*/ 940594 h 1619250"/>
                      <a:gd name="connsiteX166" fmla="*/ 1248187 w 1614899"/>
                      <a:gd name="connsiteY166" fmla="*/ 942975 h 1619250"/>
                      <a:gd name="connsiteX167" fmla="*/ 1241043 w 1614899"/>
                      <a:gd name="connsiteY167" fmla="*/ 947737 h 1619250"/>
                      <a:gd name="connsiteX168" fmla="*/ 1226756 w 1614899"/>
                      <a:gd name="connsiteY168" fmla="*/ 954881 h 1619250"/>
                      <a:gd name="connsiteX169" fmla="*/ 1236281 w 1614899"/>
                      <a:gd name="connsiteY169" fmla="*/ 969169 h 1619250"/>
                      <a:gd name="connsiteX170" fmla="*/ 1241043 w 1614899"/>
                      <a:gd name="connsiteY170" fmla="*/ 983456 h 1619250"/>
                      <a:gd name="connsiteX171" fmla="*/ 1250568 w 1614899"/>
                      <a:gd name="connsiteY171" fmla="*/ 997744 h 1619250"/>
                      <a:gd name="connsiteX172" fmla="*/ 1262474 w 1614899"/>
                      <a:gd name="connsiteY172" fmla="*/ 997744 h 1619250"/>
                      <a:gd name="connsiteX173" fmla="*/ 1264856 w 1614899"/>
                      <a:gd name="connsiteY173" fmla="*/ 990600 h 1619250"/>
                      <a:gd name="connsiteX174" fmla="*/ 1283906 w 1614899"/>
                      <a:gd name="connsiteY174" fmla="*/ 995362 h 1619250"/>
                      <a:gd name="connsiteX175" fmla="*/ 1291049 w 1614899"/>
                      <a:gd name="connsiteY175" fmla="*/ 1000125 h 1619250"/>
                      <a:gd name="connsiteX176" fmla="*/ 1298193 w 1614899"/>
                      <a:gd name="connsiteY176" fmla="*/ 1002506 h 1619250"/>
                      <a:gd name="connsiteX177" fmla="*/ 1322006 w 1614899"/>
                      <a:gd name="connsiteY177" fmla="*/ 1007269 h 1619250"/>
                      <a:gd name="connsiteX178" fmla="*/ 1336293 w 1614899"/>
                      <a:gd name="connsiteY178" fmla="*/ 1012031 h 1619250"/>
                      <a:gd name="connsiteX179" fmla="*/ 1355343 w 1614899"/>
                      <a:gd name="connsiteY179" fmla="*/ 1016794 h 1619250"/>
                      <a:gd name="connsiteX180" fmla="*/ 1362487 w 1614899"/>
                      <a:gd name="connsiteY180" fmla="*/ 1023937 h 1619250"/>
                      <a:gd name="connsiteX181" fmla="*/ 1376774 w 1614899"/>
                      <a:gd name="connsiteY181" fmla="*/ 1028700 h 1619250"/>
                      <a:gd name="connsiteX182" fmla="*/ 1391062 w 1614899"/>
                      <a:gd name="connsiteY182" fmla="*/ 1033462 h 1619250"/>
                      <a:gd name="connsiteX183" fmla="*/ 1398206 w 1614899"/>
                      <a:gd name="connsiteY183" fmla="*/ 1035844 h 1619250"/>
                      <a:gd name="connsiteX184" fmla="*/ 1405349 w 1614899"/>
                      <a:gd name="connsiteY184" fmla="*/ 1038225 h 1619250"/>
                      <a:gd name="connsiteX185" fmla="*/ 1412493 w 1614899"/>
                      <a:gd name="connsiteY185" fmla="*/ 1042987 h 1619250"/>
                      <a:gd name="connsiteX186" fmla="*/ 1426781 w 1614899"/>
                      <a:gd name="connsiteY186" fmla="*/ 1050131 h 1619250"/>
                      <a:gd name="connsiteX187" fmla="*/ 1436306 w 1614899"/>
                      <a:gd name="connsiteY187" fmla="*/ 1062037 h 1619250"/>
                      <a:gd name="connsiteX188" fmla="*/ 1441068 w 1614899"/>
                      <a:gd name="connsiteY188" fmla="*/ 1069181 h 1619250"/>
                      <a:gd name="connsiteX189" fmla="*/ 1450593 w 1614899"/>
                      <a:gd name="connsiteY189" fmla="*/ 1071562 h 1619250"/>
                      <a:gd name="connsiteX190" fmla="*/ 1464881 w 1614899"/>
                      <a:gd name="connsiteY190" fmla="*/ 1076325 h 1619250"/>
                      <a:gd name="connsiteX191" fmla="*/ 1467262 w 1614899"/>
                      <a:gd name="connsiteY191" fmla="*/ 1083469 h 1619250"/>
                      <a:gd name="connsiteX192" fmla="*/ 1488693 w 1614899"/>
                      <a:gd name="connsiteY192" fmla="*/ 1092994 h 1619250"/>
                      <a:gd name="connsiteX193" fmla="*/ 1500599 w 1614899"/>
                      <a:gd name="connsiteY193" fmla="*/ 1095375 h 1619250"/>
                      <a:gd name="connsiteX194" fmla="*/ 1514887 w 1614899"/>
                      <a:gd name="connsiteY194" fmla="*/ 1097756 h 1619250"/>
                      <a:gd name="connsiteX195" fmla="*/ 1522031 w 1614899"/>
                      <a:gd name="connsiteY195" fmla="*/ 1100137 h 1619250"/>
                      <a:gd name="connsiteX196" fmla="*/ 1541081 w 1614899"/>
                      <a:gd name="connsiteY196" fmla="*/ 1104900 h 1619250"/>
                      <a:gd name="connsiteX197" fmla="*/ 1545843 w 1614899"/>
                      <a:gd name="connsiteY197" fmla="*/ 1112044 h 1619250"/>
                      <a:gd name="connsiteX198" fmla="*/ 1543462 w 1614899"/>
                      <a:gd name="connsiteY198" fmla="*/ 1119187 h 1619250"/>
                      <a:gd name="connsiteX199" fmla="*/ 1557749 w 1614899"/>
                      <a:gd name="connsiteY199" fmla="*/ 1128712 h 1619250"/>
                      <a:gd name="connsiteX200" fmla="*/ 1564893 w 1614899"/>
                      <a:gd name="connsiteY200" fmla="*/ 1133475 h 1619250"/>
                      <a:gd name="connsiteX201" fmla="*/ 1579181 w 1614899"/>
                      <a:gd name="connsiteY201" fmla="*/ 1147762 h 1619250"/>
                      <a:gd name="connsiteX202" fmla="*/ 1593468 w 1614899"/>
                      <a:gd name="connsiteY202" fmla="*/ 1152525 h 1619250"/>
                      <a:gd name="connsiteX203" fmla="*/ 1600612 w 1614899"/>
                      <a:gd name="connsiteY203" fmla="*/ 1154906 h 1619250"/>
                      <a:gd name="connsiteX204" fmla="*/ 1607756 w 1614899"/>
                      <a:gd name="connsiteY204" fmla="*/ 1162050 h 1619250"/>
                      <a:gd name="connsiteX205" fmla="*/ 1610137 w 1614899"/>
                      <a:gd name="connsiteY205" fmla="*/ 1169194 h 1619250"/>
                      <a:gd name="connsiteX206" fmla="*/ 1614899 w 1614899"/>
                      <a:gd name="connsiteY206" fmla="*/ 1176337 h 1619250"/>
                      <a:gd name="connsiteX207" fmla="*/ 1612518 w 1614899"/>
                      <a:gd name="connsiteY207" fmla="*/ 1195387 h 1619250"/>
                      <a:gd name="connsiteX208" fmla="*/ 1610137 w 1614899"/>
                      <a:gd name="connsiteY208" fmla="*/ 1202531 h 1619250"/>
                      <a:gd name="connsiteX209" fmla="*/ 1602993 w 1614899"/>
                      <a:gd name="connsiteY209" fmla="*/ 1204912 h 1619250"/>
                      <a:gd name="connsiteX210" fmla="*/ 1600612 w 1614899"/>
                      <a:gd name="connsiteY210" fmla="*/ 1212056 h 1619250"/>
                      <a:gd name="connsiteX211" fmla="*/ 1598231 w 1614899"/>
                      <a:gd name="connsiteY211" fmla="*/ 1247775 h 1619250"/>
                      <a:gd name="connsiteX212" fmla="*/ 1579181 w 1614899"/>
                      <a:gd name="connsiteY212" fmla="*/ 1245394 h 1619250"/>
                      <a:gd name="connsiteX213" fmla="*/ 1550606 w 1614899"/>
                      <a:gd name="connsiteY213" fmla="*/ 1231106 h 1619250"/>
                      <a:gd name="connsiteX214" fmla="*/ 1543462 w 1614899"/>
                      <a:gd name="connsiteY214" fmla="*/ 1226344 h 1619250"/>
                      <a:gd name="connsiteX215" fmla="*/ 1543462 w 1614899"/>
                      <a:gd name="connsiteY215" fmla="*/ 1197769 h 1619250"/>
                      <a:gd name="connsiteX216" fmla="*/ 1545843 w 1614899"/>
                      <a:gd name="connsiteY216" fmla="*/ 1183481 h 1619250"/>
                      <a:gd name="connsiteX217" fmla="*/ 1531556 w 1614899"/>
                      <a:gd name="connsiteY217" fmla="*/ 1176337 h 1619250"/>
                      <a:gd name="connsiteX218" fmla="*/ 1529174 w 1614899"/>
                      <a:gd name="connsiteY218" fmla="*/ 1169194 h 1619250"/>
                      <a:gd name="connsiteX219" fmla="*/ 1531556 w 1614899"/>
                      <a:gd name="connsiteY219" fmla="*/ 1152525 h 1619250"/>
                      <a:gd name="connsiteX220" fmla="*/ 1524412 w 1614899"/>
                      <a:gd name="connsiteY220" fmla="*/ 1154906 h 1619250"/>
                      <a:gd name="connsiteX221" fmla="*/ 1517268 w 1614899"/>
                      <a:gd name="connsiteY221" fmla="*/ 1159669 h 1619250"/>
                      <a:gd name="connsiteX222" fmla="*/ 1502981 w 1614899"/>
                      <a:gd name="connsiteY222" fmla="*/ 1164431 h 1619250"/>
                      <a:gd name="connsiteX223" fmla="*/ 1481549 w 1614899"/>
                      <a:gd name="connsiteY223" fmla="*/ 1169194 h 1619250"/>
                      <a:gd name="connsiteX224" fmla="*/ 1457737 w 1614899"/>
                      <a:gd name="connsiteY224" fmla="*/ 1164431 h 1619250"/>
                      <a:gd name="connsiteX225" fmla="*/ 1443449 w 1614899"/>
                      <a:gd name="connsiteY225" fmla="*/ 1154906 h 1619250"/>
                      <a:gd name="connsiteX226" fmla="*/ 1436306 w 1614899"/>
                      <a:gd name="connsiteY226" fmla="*/ 1150144 h 1619250"/>
                      <a:gd name="connsiteX227" fmla="*/ 1426781 w 1614899"/>
                      <a:gd name="connsiteY227" fmla="*/ 1140619 h 1619250"/>
                      <a:gd name="connsiteX228" fmla="*/ 1402968 w 1614899"/>
                      <a:gd name="connsiteY228" fmla="*/ 1138237 h 1619250"/>
                      <a:gd name="connsiteX229" fmla="*/ 1395824 w 1614899"/>
                      <a:gd name="connsiteY229" fmla="*/ 1145381 h 1619250"/>
                      <a:gd name="connsiteX230" fmla="*/ 1374393 w 1614899"/>
                      <a:gd name="connsiteY230" fmla="*/ 1162050 h 1619250"/>
                      <a:gd name="connsiteX231" fmla="*/ 1367249 w 1614899"/>
                      <a:gd name="connsiteY231" fmla="*/ 1188244 h 1619250"/>
                      <a:gd name="connsiteX232" fmla="*/ 1357724 w 1614899"/>
                      <a:gd name="connsiteY232" fmla="*/ 1202531 h 1619250"/>
                      <a:gd name="connsiteX233" fmla="*/ 1348199 w 1614899"/>
                      <a:gd name="connsiteY233" fmla="*/ 1212056 h 1619250"/>
                      <a:gd name="connsiteX234" fmla="*/ 1345818 w 1614899"/>
                      <a:gd name="connsiteY234" fmla="*/ 1219200 h 1619250"/>
                      <a:gd name="connsiteX235" fmla="*/ 1341056 w 1614899"/>
                      <a:gd name="connsiteY235" fmla="*/ 1228725 h 1619250"/>
                      <a:gd name="connsiteX236" fmla="*/ 1350581 w 1614899"/>
                      <a:gd name="connsiteY236" fmla="*/ 1243012 h 1619250"/>
                      <a:gd name="connsiteX237" fmla="*/ 1343437 w 1614899"/>
                      <a:gd name="connsiteY237" fmla="*/ 1266825 h 1619250"/>
                      <a:gd name="connsiteX238" fmla="*/ 1345818 w 1614899"/>
                      <a:gd name="connsiteY238" fmla="*/ 1281112 h 1619250"/>
                      <a:gd name="connsiteX239" fmla="*/ 1348199 w 1614899"/>
                      <a:gd name="connsiteY239" fmla="*/ 1290637 h 1619250"/>
                      <a:gd name="connsiteX240" fmla="*/ 1355343 w 1614899"/>
                      <a:gd name="connsiteY240" fmla="*/ 1297781 h 1619250"/>
                      <a:gd name="connsiteX241" fmla="*/ 1362487 w 1614899"/>
                      <a:gd name="connsiteY241" fmla="*/ 1300162 h 1619250"/>
                      <a:gd name="connsiteX242" fmla="*/ 1386299 w 1614899"/>
                      <a:gd name="connsiteY242" fmla="*/ 1302544 h 1619250"/>
                      <a:gd name="connsiteX243" fmla="*/ 1395824 w 1614899"/>
                      <a:gd name="connsiteY243" fmla="*/ 1309687 h 1619250"/>
                      <a:gd name="connsiteX244" fmla="*/ 1410112 w 1614899"/>
                      <a:gd name="connsiteY244" fmla="*/ 1314450 h 1619250"/>
                      <a:gd name="connsiteX245" fmla="*/ 1417256 w 1614899"/>
                      <a:gd name="connsiteY245" fmla="*/ 1319212 h 1619250"/>
                      <a:gd name="connsiteX246" fmla="*/ 1431543 w 1614899"/>
                      <a:gd name="connsiteY246" fmla="*/ 1326356 h 1619250"/>
                      <a:gd name="connsiteX247" fmla="*/ 1433924 w 1614899"/>
                      <a:gd name="connsiteY247" fmla="*/ 1333500 h 1619250"/>
                      <a:gd name="connsiteX248" fmla="*/ 1429162 w 1614899"/>
                      <a:gd name="connsiteY248" fmla="*/ 1340644 h 1619250"/>
                      <a:gd name="connsiteX249" fmla="*/ 1426781 w 1614899"/>
                      <a:gd name="connsiteY249" fmla="*/ 1347787 h 1619250"/>
                      <a:gd name="connsiteX250" fmla="*/ 1431543 w 1614899"/>
                      <a:gd name="connsiteY250" fmla="*/ 1354931 h 1619250"/>
                      <a:gd name="connsiteX251" fmla="*/ 1436306 w 1614899"/>
                      <a:gd name="connsiteY251" fmla="*/ 1364456 h 1619250"/>
                      <a:gd name="connsiteX252" fmla="*/ 1443449 w 1614899"/>
                      <a:gd name="connsiteY252" fmla="*/ 1395412 h 1619250"/>
                      <a:gd name="connsiteX253" fmla="*/ 1450593 w 1614899"/>
                      <a:gd name="connsiteY253" fmla="*/ 1402556 h 1619250"/>
                      <a:gd name="connsiteX254" fmla="*/ 1448212 w 1614899"/>
                      <a:gd name="connsiteY254" fmla="*/ 1412081 h 1619250"/>
                      <a:gd name="connsiteX255" fmla="*/ 1433924 w 1614899"/>
                      <a:gd name="connsiteY255" fmla="*/ 1416844 h 1619250"/>
                      <a:gd name="connsiteX256" fmla="*/ 1419637 w 1614899"/>
                      <a:gd name="connsiteY256" fmla="*/ 1423987 h 1619250"/>
                      <a:gd name="connsiteX257" fmla="*/ 1405349 w 1614899"/>
                      <a:gd name="connsiteY257" fmla="*/ 1431131 h 1619250"/>
                      <a:gd name="connsiteX258" fmla="*/ 1398206 w 1614899"/>
                      <a:gd name="connsiteY258" fmla="*/ 1435894 h 1619250"/>
                      <a:gd name="connsiteX259" fmla="*/ 1383918 w 1614899"/>
                      <a:gd name="connsiteY259" fmla="*/ 1440656 h 1619250"/>
                      <a:gd name="connsiteX260" fmla="*/ 1376774 w 1614899"/>
                      <a:gd name="connsiteY260" fmla="*/ 1443037 h 1619250"/>
                      <a:gd name="connsiteX261" fmla="*/ 1364868 w 1614899"/>
                      <a:gd name="connsiteY261" fmla="*/ 1464469 h 1619250"/>
                      <a:gd name="connsiteX262" fmla="*/ 1362487 w 1614899"/>
                      <a:gd name="connsiteY262" fmla="*/ 1473994 h 1619250"/>
                      <a:gd name="connsiteX263" fmla="*/ 1364868 w 1614899"/>
                      <a:gd name="connsiteY263" fmla="*/ 1497806 h 1619250"/>
                      <a:gd name="connsiteX264" fmla="*/ 1372012 w 1614899"/>
                      <a:gd name="connsiteY264" fmla="*/ 1500187 h 1619250"/>
                      <a:gd name="connsiteX265" fmla="*/ 1369631 w 1614899"/>
                      <a:gd name="connsiteY265" fmla="*/ 1516856 h 1619250"/>
                      <a:gd name="connsiteX266" fmla="*/ 1367249 w 1614899"/>
                      <a:gd name="connsiteY266" fmla="*/ 1524000 h 1619250"/>
                      <a:gd name="connsiteX267" fmla="*/ 1360106 w 1614899"/>
                      <a:gd name="connsiteY267" fmla="*/ 1526381 h 1619250"/>
                      <a:gd name="connsiteX268" fmla="*/ 1352962 w 1614899"/>
                      <a:gd name="connsiteY268" fmla="*/ 1531144 h 1619250"/>
                      <a:gd name="connsiteX269" fmla="*/ 1343437 w 1614899"/>
                      <a:gd name="connsiteY269" fmla="*/ 1535906 h 1619250"/>
                      <a:gd name="connsiteX270" fmla="*/ 1329149 w 1614899"/>
                      <a:gd name="connsiteY270" fmla="*/ 1550194 h 1619250"/>
                      <a:gd name="connsiteX271" fmla="*/ 1326768 w 1614899"/>
                      <a:gd name="connsiteY271" fmla="*/ 1559719 h 1619250"/>
                      <a:gd name="connsiteX272" fmla="*/ 1322006 w 1614899"/>
                      <a:gd name="connsiteY272" fmla="*/ 1566862 h 1619250"/>
                      <a:gd name="connsiteX273" fmla="*/ 1319624 w 1614899"/>
                      <a:gd name="connsiteY273" fmla="*/ 1578769 h 1619250"/>
                      <a:gd name="connsiteX274" fmla="*/ 1317243 w 1614899"/>
                      <a:gd name="connsiteY274" fmla="*/ 1585912 h 1619250"/>
                      <a:gd name="connsiteX275" fmla="*/ 1314862 w 1614899"/>
                      <a:gd name="connsiteY275" fmla="*/ 1602581 h 1619250"/>
                      <a:gd name="connsiteX276" fmla="*/ 1283906 w 1614899"/>
                      <a:gd name="connsiteY276" fmla="*/ 1614487 h 1619250"/>
                      <a:gd name="connsiteX277" fmla="*/ 1274381 w 1614899"/>
                      <a:gd name="connsiteY277" fmla="*/ 1616869 h 1619250"/>
                      <a:gd name="connsiteX278" fmla="*/ 1260093 w 1614899"/>
                      <a:gd name="connsiteY278" fmla="*/ 1619250 h 1619250"/>
                      <a:gd name="connsiteX279" fmla="*/ 1248187 w 1614899"/>
                      <a:gd name="connsiteY279" fmla="*/ 1616869 h 1619250"/>
                      <a:gd name="connsiteX280" fmla="*/ 1243424 w 1614899"/>
                      <a:gd name="connsiteY280" fmla="*/ 1597819 h 1619250"/>
                      <a:gd name="connsiteX281" fmla="*/ 1238662 w 1614899"/>
                      <a:gd name="connsiteY281" fmla="*/ 1581150 h 1619250"/>
                      <a:gd name="connsiteX282" fmla="*/ 1243424 w 1614899"/>
                      <a:gd name="connsiteY282" fmla="*/ 1566862 h 1619250"/>
                      <a:gd name="connsiteX283" fmla="*/ 1252949 w 1614899"/>
                      <a:gd name="connsiteY283" fmla="*/ 1552575 h 1619250"/>
                      <a:gd name="connsiteX284" fmla="*/ 1260093 w 1614899"/>
                      <a:gd name="connsiteY284" fmla="*/ 1550194 h 1619250"/>
                      <a:gd name="connsiteX285" fmla="*/ 1267237 w 1614899"/>
                      <a:gd name="connsiteY285" fmla="*/ 1543050 h 1619250"/>
                      <a:gd name="connsiteX286" fmla="*/ 1269618 w 1614899"/>
                      <a:gd name="connsiteY286" fmla="*/ 1535906 h 1619250"/>
                      <a:gd name="connsiteX287" fmla="*/ 1274381 w 1614899"/>
                      <a:gd name="connsiteY287" fmla="*/ 1526381 h 1619250"/>
                      <a:gd name="connsiteX288" fmla="*/ 1267237 w 1614899"/>
                      <a:gd name="connsiteY288" fmla="*/ 1502569 h 1619250"/>
                      <a:gd name="connsiteX289" fmla="*/ 1252949 w 1614899"/>
                      <a:gd name="connsiteY289" fmla="*/ 1493044 h 1619250"/>
                      <a:gd name="connsiteX290" fmla="*/ 1262474 w 1614899"/>
                      <a:gd name="connsiteY290" fmla="*/ 1478756 h 1619250"/>
                      <a:gd name="connsiteX291" fmla="*/ 1279143 w 1614899"/>
                      <a:gd name="connsiteY291" fmla="*/ 1462087 h 1619250"/>
                      <a:gd name="connsiteX292" fmla="*/ 1302956 w 1614899"/>
                      <a:gd name="connsiteY292" fmla="*/ 1459706 h 1619250"/>
                      <a:gd name="connsiteX293" fmla="*/ 1305337 w 1614899"/>
                      <a:gd name="connsiteY293" fmla="*/ 1450181 h 1619250"/>
                      <a:gd name="connsiteX294" fmla="*/ 1310099 w 1614899"/>
                      <a:gd name="connsiteY294" fmla="*/ 1443037 h 1619250"/>
                      <a:gd name="connsiteX295" fmla="*/ 1312481 w 1614899"/>
                      <a:gd name="connsiteY295" fmla="*/ 1435894 h 1619250"/>
                      <a:gd name="connsiteX296" fmla="*/ 1305337 w 1614899"/>
                      <a:gd name="connsiteY296" fmla="*/ 1428750 h 1619250"/>
                      <a:gd name="connsiteX297" fmla="*/ 1298193 w 1614899"/>
                      <a:gd name="connsiteY297" fmla="*/ 1423987 h 1619250"/>
                      <a:gd name="connsiteX298" fmla="*/ 1295812 w 1614899"/>
                      <a:gd name="connsiteY298" fmla="*/ 1412081 h 1619250"/>
                      <a:gd name="connsiteX299" fmla="*/ 1293431 w 1614899"/>
                      <a:gd name="connsiteY299" fmla="*/ 1402556 h 1619250"/>
                      <a:gd name="connsiteX300" fmla="*/ 1288668 w 1614899"/>
                      <a:gd name="connsiteY300" fmla="*/ 1369219 h 1619250"/>
                      <a:gd name="connsiteX301" fmla="*/ 1286287 w 1614899"/>
                      <a:gd name="connsiteY301" fmla="*/ 1362075 h 1619250"/>
                      <a:gd name="connsiteX302" fmla="*/ 1276762 w 1614899"/>
                      <a:gd name="connsiteY302" fmla="*/ 1345406 h 1619250"/>
                      <a:gd name="connsiteX303" fmla="*/ 1267237 w 1614899"/>
                      <a:gd name="connsiteY303" fmla="*/ 1343025 h 1619250"/>
                      <a:gd name="connsiteX304" fmla="*/ 1260093 w 1614899"/>
                      <a:gd name="connsiteY304" fmla="*/ 1340644 h 1619250"/>
                      <a:gd name="connsiteX305" fmla="*/ 1252949 w 1614899"/>
                      <a:gd name="connsiteY305" fmla="*/ 1307306 h 1619250"/>
                      <a:gd name="connsiteX306" fmla="*/ 1248187 w 1614899"/>
                      <a:gd name="connsiteY306" fmla="*/ 1293019 h 1619250"/>
                      <a:gd name="connsiteX307" fmla="*/ 1243424 w 1614899"/>
                      <a:gd name="connsiteY307" fmla="*/ 1278731 h 1619250"/>
                      <a:gd name="connsiteX308" fmla="*/ 1241043 w 1614899"/>
                      <a:gd name="connsiteY308" fmla="*/ 1271587 h 1619250"/>
                      <a:gd name="connsiteX309" fmla="*/ 1236281 w 1614899"/>
                      <a:gd name="connsiteY309" fmla="*/ 1262062 h 1619250"/>
                      <a:gd name="connsiteX310" fmla="*/ 1231518 w 1614899"/>
                      <a:gd name="connsiteY310" fmla="*/ 1247775 h 1619250"/>
                      <a:gd name="connsiteX311" fmla="*/ 1224374 w 1614899"/>
                      <a:gd name="connsiteY311" fmla="*/ 1240631 h 1619250"/>
                      <a:gd name="connsiteX312" fmla="*/ 1214849 w 1614899"/>
                      <a:gd name="connsiteY312" fmla="*/ 1226344 h 1619250"/>
                      <a:gd name="connsiteX313" fmla="*/ 1195799 w 1614899"/>
                      <a:gd name="connsiteY313" fmla="*/ 1233487 h 1619250"/>
                      <a:gd name="connsiteX314" fmla="*/ 1198181 w 1614899"/>
                      <a:gd name="connsiteY314" fmla="*/ 1240631 h 1619250"/>
                      <a:gd name="connsiteX315" fmla="*/ 1191037 w 1614899"/>
                      <a:gd name="connsiteY315" fmla="*/ 1243012 h 1619250"/>
                      <a:gd name="connsiteX316" fmla="*/ 1164843 w 1614899"/>
                      <a:gd name="connsiteY316" fmla="*/ 1238250 h 1619250"/>
                      <a:gd name="connsiteX317" fmla="*/ 1155318 w 1614899"/>
                      <a:gd name="connsiteY317" fmla="*/ 1223962 h 1619250"/>
                      <a:gd name="connsiteX318" fmla="*/ 1148174 w 1614899"/>
                      <a:gd name="connsiteY318" fmla="*/ 1216819 h 1619250"/>
                      <a:gd name="connsiteX319" fmla="*/ 1138649 w 1614899"/>
                      <a:gd name="connsiteY319" fmla="*/ 1219200 h 1619250"/>
                      <a:gd name="connsiteX320" fmla="*/ 1131506 w 1614899"/>
                      <a:gd name="connsiteY320" fmla="*/ 1221581 h 1619250"/>
                      <a:gd name="connsiteX321" fmla="*/ 1124362 w 1614899"/>
                      <a:gd name="connsiteY321" fmla="*/ 1219200 h 1619250"/>
                      <a:gd name="connsiteX322" fmla="*/ 1107693 w 1614899"/>
                      <a:gd name="connsiteY322" fmla="*/ 1214438 h 1619250"/>
                      <a:gd name="connsiteX323" fmla="*/ 1117218 w 1614899"/>
                      <a:gd name="connsiteY323" fmla="*/ 1193006 h 1619250"/>
                      <a:gd name="connsiteX324" fmla="*/ 1112456 w 1614899"/>
                      <a:gd name="connsiteY324" fmla="*/ 1154906 h 1619250"/>
                      <a:gd name="connsiteX325" fmla="*/ 1107693 w 1614899"/>
                      <a:gd name="connsiteY325" fmla="*/ 1147762 h 1619250"/>
                      <a:gd name="connsiteX326" fmla="*/ 1100549 w 1614899"/>
                      <a:gd name="connsiteY326" fmla="*/ 1145381 h 1619250"/>
                      <a:gd name="connsiteX327" fmla="*/ 1093406 w 1614899"/>
                      <a:gd name="connsiteY327" fmla="*/ 1147762 h 1619250"/>
                      <a:gd name="connsiteX328" fmla="*/ 1062449 w 1614899"/>
                      <a:gd name="connsiteY328" fmla="*/ 1152525 h 1619250"/>
                      <a:gd name="connsiteX329" fmla="*/ 1045781 w 1614899"/>
                      <a:gd name="connsiteY329" fmla="*/ 1150144 h 1619250"/>
                      <a:gd name="connsiteX330" fmla="*/ 1043399 w 1614899"/>
                      <a:gd name="connsiteY330" fmla="*/ 1143000 h 1619250"/>
                      <a:gd name="connsiteX331" fmla="*/ 1050543 w 1614899"/>
                      <a:gd name="connsiteY331" fmla="*/ 1128712 h 1619250"/>
                      <a:gd name="connsiteX332" fmla="*/ 1041018 w 1614899"/>
                      <a:gd name="connsiteY332" fmla="*/ 1107281 h 1619250"/>
                      <a:gd name="connsiteX333" fmla="*/ 1024349 w 1614899"/>
                      <a:gd name="connsiteY333" fmla="*/ 1109662 h 1619250"/>
                      <a:gd name="connsiteX334" fmla="*/ 1014824 w 1614899"/>
                      <a:gd name="connsiteY334" fmla="*/ 1107281 h 1619250"/>
                      <a:gd name="connsiteX335" fmla="*/ 988631 w 1614899"/>
                      <a:gd name="connsiteY335" fmla="*/ 1109662 h 1619250"/>
                      <a:gd name="connsiteX336" fmla="*/ 986249 w 1614899"/>
                      <a:gd name="connsiteY336" fmla="*/ 1102519 h 1619250"/>
                      <a:gd name="connsiteX337" fmla="*/ 979106 w 1614899"/>
                      <a:gd name="connsiteY337" fmla="*/ 1076325 h 1619250"/>
                      <a:gd name="connsiteX338" fmla="*/ 964818 w 1614899"/>
                      <a:gd name="connsiteY338" fmla="*/ 1064419 h 1619250"/>
                      <a:gd name="connsiteX339" fmla="*/ 950531 w 1614899"/>
                      <a:gd name="connsiteY339" fmla="*/ 1054894 h 1619250"/>
                      <a:gd name="connsiteX340" fmla="*/ 943387 w 1614899"/>
                      <a:gd name="connsiteY340" fmla="*/ 1050131 h 1619250"/>
                      <a:gd name="connsiteX341" fmla="*/ 936243 w 1614899"/>
                      <a:gd name="connsiteY341" fmla="*/ 1045369 h 1619250"/>
                      <a:gd name="connsiteX342" fmla="*/ 931481 w 1614899"/>
                      <a:gd name="connsiteY342" fmla="*/ 1038225 h 1619250"/>
                      <a:gd name="connsiteX343" fmla="*/ 917193 w 1614899"/>
                      <a:gd name="connsiteY343" fmla="*/ 1031081 h 1619250"/>
                      <a:gd name="connsiteX344" fmla="*/ 914812 w 1614899"/>
                      <a:gd name="connsiteY344" fmla="*/ 1040606 h 1619250"/>
                      <a:gd name="connsiteX345" fmla="*/ 907668 w 1614899"/>
                      <a:gd name="connsiteY345" fmla="*/ 1042987 h 1619250"/>
                      <a:gd name="connsiteX346" fmla="*/ 886237 w 1614899"/>
                      <a:gd name="connsiteY346" fmla="*/ 1031081 h 1619250"/>
                      <a:gd name="connsiteX347" fmla="*/ 862424 w 1614899"/>
                      <a:gd name="connsiteY347" fmla="*/ 1035844 h 1619250"/>
                      <a:gd name="connsiteX348" fmla="*/ 845756 w 1614899"/>
                      <a:gd name="connsiteY348" fmla="*/ 1040606 h 1619250"/>
                      <a:gd name="connsiteX349" fmla="*/ 840993 w 1614899"/>
                      <a:gd name="connsiteY349" fmla="*/ 1033462 h 1619250"/>
                      <a:gd name="connsiteX350" fmla="*/ 821943 w 1614899"/>
                      <a:gd name="connsiteY350" fmla="*/ 1004887 h 1619250"/>
                      <a:gd name="connsiteX351" fmla="*/ 814799 w 1614899"/>
                      <a:gd name="connsiteY351" fmla="*/ 1000125 h 1619250"/>
                      <a:gd name="connsiteX352" fmla="*/ 779081 w 1614899"/>
                      <a:gd name="connsiteY352" fmla="*/ 995362 h 1619250"/>
                      <a:gd name="connsiteX353" fmla="*/ 771937 w 1614899"/>
                      <a:gd name="connsiteY353" fmla="*/ 988219 h 1619250"/>
                      <a:gd name="connsiteX354" fmla="*/ 762412 w 1614899"/>
                      <a:gd name="connsiteY354" fmla="*/ 966787 h 1619250"/>
                      <a:gd name="connsiteX355" fmla="*/ 755268 w 1614899"/>
                      <a:gd name="connsiteY355" fmla="*/ 962025 h 1619250"/>
                      <a:gd name="connsiteX356" fmla="*/ 733837 w 1614899"/>
                      <a:gd name="connsiteY356" fmla="*/ 962025 h 1619250"/>
                      <a:gd name="connsiteX357" fmla="*/ 731456 w 1614899"/>
                      <a:gd name="connsiteY357" fmla="*/ 950119 h 1619250"/>
                      <a:gd name="connsiteX358" fmla="*/ 729074 w 1614899"/>
                      <a:gd name="connsiteY358" fmla="*/ 942975 h 1619250"/>
                      <a:gd name="connsiteX359" fmla="*/ 726693 w 1614899"/>
                      <a:gd name="connsiteY359" fmla="*/ 921544 h 1619250"/>
                      <a:gd name="connsiteX360" fmla="*/ 724312 w 1614899"/>
                      <a:gd name="connsiteY360" fmla="*/ 914400 h 1619250"/>
                      <a:gd name="connsiteX361" fmla="*/ 717168 w 1614899"/>
                      <a:gd name="connsiteY361" fmla="*/ 909637 h 1619250"/>
                      <a:gd name="connsiteX362" fmla="*/ 710024 w 1614899"/>
                      <a:gd name="connsiteY362" fmla="*/ 907256 h 1619250"/>
                      <a:gd name="connsiteX363" fmla="*/ 681449 w 1614899"/>
                      <a:gd name="connsiteY363" fmla="*/ 902494 h 1619250"/>
                      <a:gd name="connsiteX364" fmla="*/ 674306 w 1614899"/>
                      <a:gd name="connsiteY364" fmla="*/ 897731 h 1619250"/>
                      <a:gd name="connsiteX365" fmla="*/ 667162 w 1614899"/>
                      <a:gd name="connsiteY365" fmla="*/ 883444 h 1619250"/>
                      <a:gd name="connsiteX366" fmla="*/ 657637 w 1614899"/>
                      <a:gd name="connsiteY366" fmla="*/ 881062 h 1619250"/>
                      <a:gd name="connsiteX367" fmla="*/ 650493 w 1614899"/>
                      <a:gd name="connsiteY367" fmla="*/ 873919 h 1619250"/>
                      <a:gd name="connsiteX368" fmla="*/ 648112 w 1614899"/>
                      <a:gd name="connsiteY368" fmla="*/ 866775 h 1619250"/>
                      <a:gd name="connsiteX369" fmla="*/ 643349 w 1614899"/>
                      <a:gd name="connsiteY369" fmla="*/ 859631 h 1619250"/>
                      <a:gd name="connsiteX370" fmla="*/ 631443 w 1614899"/>
                      <a:gd name="connsiteY370" fmla="*/ 838200 h 1619250"/>
                      <a:gd name="connsiteX371" fmla="*/ 624299 w 1614899"/>
                      <a:gd name="connsiteY371" fmla="*/ 833437 h 1619250"/>
                      <a:gd name="connsiteX372" fmla="*/ 593343 w 1614899"/>
                      <a:gd name="connsiteY372" fmla="*/ 835819 h 1619250"/>
                      <a:gd name="connsiteX373" fmla="*/ 586199 w 1614899"/>
                      <a:gd name="connsiteY373" fmla="*/ 816769 h 1619250"/>
                      <a:gd name="connsiteX374" fmla="*/ 569531 w 1614899"/>
                      <a:gd name="connsiteY374" fmla="*/ 795337 h 1619250"/>
                      <a:gd name="connsiteX375" fmla="*/ 564768 w 1614899"/>
                      <a:gd name="connsiteY375" fmla="*/ 788194 h 1619250"/>
                      <a:gd name="connsiteX376" fmla="*/ 557624 w 1614899"/>
                      <a:gd name="connsiteY376" fmla="*/ 785812 h 1619250"/>
                      <a:gd name="connsiteX377" fmla="*/ 550481 w 1614899"/>
                      <a:gd name="connsiteY377" fmla="*/ 781050 h 1619250"/>
                      <a:gd name="connsiteX378" fmla="*/ 536193 w 1614899"/>
                      <a:gd name="connsiteY378" fmla="*/ 776287 h 1619250"/>
                      <a:gd name="connsiteX379" fmla="*/ 538574 w 1614899"/>
                      <a:gd name="connsiteY379" fmla="*/ 747712 h 1619250"/>
                      <a:gd name="connsiteX380" fmla="*/ 533812 w 1614899"/>
                      <a:gd name="connsiteY380" fmla="*/ 740569 h 1619250"/>
                      <a:gd name="connsiteX381" fmla="*/ 519524 w 1614899"/>
                      <a:gd name="connsiteY381" fmla="*/ 731044 h 1619250"/>
                      <a:gd name="connsiteX382" fmla="*/ 512381 w 1614899"/>
                      <a:gd name="connsiteY382" fmla="*/ 735806 h 1619250"/>
                      <a:gd name="connsiteX383" fmla="*/ 505237 w 1614899"/>
                      <a:gd name="connsiteY383" fmla="*/ 738187 h 1619250"/>
                      <a:gd name="connsiteX384" fmla="*/ 507618 w 1614899"/>
                      <a:gd name="connsiteY384" fmla="*/ 723900 h 1619250"/>
                      <a:gd name="connsiteX385" fmla="*/ 505237 w 1614899"/>
                      <a:gd name="connsiteY385" fmla="*/ 688181 h 1619250"/>
                      <a:gd name="connsiteX386" fmla="*/ 493331 w 1614899"/>
                      <a:gd name="connsiteY386" fmla="*/ 666750 h 1619250"/>
                      <a:gd name="connsiteX387" fmla="*/ 486187 w 1614899"/>
                      <a:gd name="connsiteY387" fmla="*/ 659606 h 1619250"/>
                      <a:gd name="connsiteX388" fmla="*/ 481424 w 1614899"/>
                      <a:gd name="connsiteY388" fmla="*/ 652462 h 1619250"/>
                      <a:gd name="connsiteX389" fmla="*/ 479043 w 1614899"/>
                      <a:gd name="connsiteY389" fmla="*/ 614362 h 1619250"/>
                      <a:gd name="connsiteX390" fmla="*/ 474281 w 1614899"/>
                      <a:gd name="connsiteY390" fmla="*/ 595312 h 1619250"/>
                      <a:gd name="connsiteX391" fmla="*/ 467137 w 1614899"/>
                      <a:gd name="connsiteY391" fmla="*/ 578644 h 1619250"/>
                      <a:gd name="connsiteX392" fmla="*/ 459993 w 1614899"/>
                      <a:gd name="connsiteY392" fmla="*/ 571500 h 1619250"/>
                      <a:gd name="connsiteX393" fmla="*/ 440943 w 1614899"/>
                      <a:gd name="connsiteY393" fmla="*/ 554831 h 1619250"/>
                      <a:gd name="connsiteX394" fmla="*/ 426656 w 1614899"/>
                      <a:gd name="connsiteY394" fmla="*/ 550069 h 1619250"/>
                      <a:gd name="connsiteX395" fmla="*/ 424274 w 1614899"/>
                      <a:gd name="connsiteY395" fmla="*/ 557212 h 1619250"/>
                      <a:gd name="connsiteX396" fmla="*/ 414749 w 1614899"/>
                      <a:gd name="connsiteY396" fmla="*/ 552450 h 1619250"/>
                      <a:gd name="connsiteX397" fmla="*/ 407606 w 1614899"/>
                      <a:gd name="connsiteY397" fmla="*/ 545306 h 1619250"/>
                      <a:gd name="connsiteX398" fmla="*/ 390937 w 1614899"/>
                      <a:gd name="connsiteY398" fmla="*/ 535781 h 1619250"/>
                      <a:gd name="connsiteX399" fmla="*/ 383793 w 1614899"/>
                      <a:gd name="connsiteY399" fmla="*/ 528637 h 1619250"/>
                      <a:gd name="connsiteX400" fmla="*/ 374268 w 1614899"/>
                      <a:gd name="connsiteY400" fmla="*/ 526256 h 1619250"/>
                      <a:gd name="connsiteX401" fmla="*/ 352837 w 1614899"/>
                      <a:gd name="connsiteY401" fmla="*/ 519112 h 1619250"/>
                      <a:gd name="connsiteX402" fmla="*/ 345693 w 1614899"/>
                      <a:gd name="connsiteY402" fmla="*/ 516731 h 1619250"/>
                      <a:gd name="connsiteX403" fmla="*/ 338549 w 1614899"/>
                      <a:gd name="connsiteY403" fmla="*/ 514350 h 1619250"/>
                      <a:gd name="connsiteX404" fmla="*/ 326643 w 1614899"/>
                      <a:gd name="connsiteY404" fmla="*/ 504825 h 1619250"/>
                      <a:gd name="connsiteX405" fmla="*/ 321881 w 1614899"/>
                      <a:gd name="connsiteY405" fmla="*/ 497681 h 1619250"/>
                      <a:gd name="connsiteX406" fmla="*/ 314737 w 1614899"/>
                      <a:gd name="connsiteY406" fmla="*/ 490537 h 1619250"/>
                      <a:gd name="connsiteX407" fmla="*/ 307593 w 1614899"/>
                      <a:gd name="connsiteY407" fmla="*/ 485775 h 1619250"/>
                      <a:gd name="connsiteX408" fmla="*/ 293306 w 1614899"/>
                      <a:gd name="connsiteY408" fmla="*/ 481012 h 1619250"/>
                      <a:gd name="connsiteX409" fmla="*/ 269493 w 1614899"/>
                      <a:gd name="connsiteY409" fmla="*/ 483394 h 1619250"/>
                      <a:gd name="connsiteX410" fmla="*/ 259968 w 1614899"/>
                      <a:gd name="connsiteY410" fmla="*/ 490537 h 1619250"/>
                      <a:gd name="connsiteX411" fmla="*/ 243299 w 1614899"/>
                      <a:gd name="connsiteY411" fmla="*/ 497681 h 1619250"/>
                      <a:gd name="connsiteX412" fmla="*/ 236156 w 1614899"/>
                      <a:gd name="connsiteY412" fmla="*/ 502444 h 1619250"/>
                      <a:gd name="connsiteX413" fmla="*/ 233774 w 1614899"/>
                      <a:gd name="connsiteY413" fmla="*/ 509587 h 1619250"/>
                      <a:gd name="connsiteX414" fmla="*/ 231393 w 1614899"/>
                      <a:gd name="connsiteY414" fmla="*/ 519112 h 1619250"/>
                      <a:gd name="connsiteX415" fmla="*/ 224249 w 1614899"/>
                      <a:gd name="connsiteY415" fmla="*/ 521494 h 1619250"/>
                      <a:gd name="connsiteX416" fmla="*/ 209962 w 1614899"/>
                      <a:gd name="connsiteY416" fmla="*/ 528637 h 1619250"/>
                      <a:gd name="connsiteX417" fmla="*/ 200437 w 1614899"/>
                      <a:gd name="connsiteY417" fmla="*/ 542925 h 1619250"/>
                      <a:gd name="connsiteX418" fmla="*/ 195674 w 1614899"/>
                      <a:gd name="connsiteY418" fmla="*/ 557212 h 1619250"/>
                      <a:gd name="connsiteX419" fmla="*/ 188531 w 1614899"/>
                      <a:gd name="connsiteY419" fmla="*/ 559594 h 1619250"/>
                      <a:gd name="connsiteX420" fmla="*/ 176624 w 1614899"/>
                      <a:gd name="connsiteY420" fmla="*/ 564356 h 1619250"/>
                      <a:gd name="connsiteX421" fmla="*/ 164718 w 1614899"/>
                      <a:gd name="connsiteY421" fmla="*/ 566737 h 1619250"/>
                      <a:gd name="connsiteX422" fmla="*/ 157574 w 1614899"/>
                      <a:gd name="connsiteY422" fmla="*/ 569119 h 1619250"/>
                      <a:gd name="connsiteX423" fmla="*/ 148049 w 1614899"/>
                      <a:gd name="connsiteY423" fmla="*/ 571500 h 1619250"/>
                      <a:gd name="connsiteX424" fmla="*/ 140906 w 1614899"/>
                      <a:gd name="connsiteY424" fmla="*/ 573881 h 1619250"/>
                      <a:gd name="connsiteX425" fmla="*/ 121856 w 1614899"/>
                      <a:gd name="connsiteY425" fmla="*/ 576262 h 1619250"/>
                      <a:gd name="connsiteX426" fmla="*/ 119474 w 1614899"/>
                      <a:gd name="connsiteY426" fmla="*/ 571500 h 1619250"/>
                      <a:gd name="connsiteX427" fmla="*/ 128999 w 1614899"/>
                      <a:gd name="connsiteY427" fmla="*/ 557212 h 1619250"/>
                      <a:gd name="connsiteX428" fmla="*/ 131381 w 1614899"/>
                      <a:gd name="connsiteY428" fmla="*/ 550069 h 1619250"/>
                      <a:gd name="connsiteX429" fmla="*/ 140906 w 1614899"/>
                      <a:gd name="connsiteY429" fmla="*/ 535781 h 1619250"/>
                      <a:gd name="connsiteX430" fmla="*/ 133762 w 1614899"/>
                      <a:gd name="connsiteY430" fmla="*/ 533400 h 1619250"/>
                      <a:gd name="connsiteX431" fmla="*/ 128999 w 1614899"/>
                      <a:gd name="connsiteY431" fmla="*/ 516731 h 1619250"/>
                      <a:gd name="connsiteX432" fmla="*/ 69468 w 1614899"/>
                      <a:gd name="connsiteY432" fmla="*/ 514350 h 1619250"/>
                      <a:gd name="connsiteX433" fmla="*/ 67087 w 1614899"/>
                      <a:gd name="connsiteY433" fmla="*/ 507206 h 1619250"/>
                      <a:gd name="connsiteX434" fmla="*/ 52799 w 1614899"/>
                      <a:gd name="connsiteY434" fmla="*/ 497681 h 1619250"/>
                      <a:gd name="connsiteX435" fmla="*/ 55181 w 1614899"/>
                      <a:gd name="connsiteY435" fmla="*/ 488156 h 1619250"/>
                      <a:gd name="connsiteX436" fmla="*/ 40893 w 1614899"/>
                      <a:gd name="connsiteY436" fmla="*/ 483394 h 1619250"/>
                      <a:gd name="connsiteX437" fmla="*/ 38512 w 1614899"/>
                      <a:gd name="connsiteY437" fmla="*/ 471487 h 1619250"/>
                      <a:gd name="connsiteX438" fmla="*/ 36131 w 1614899"/>
                      <a:gd name="connsiteY438" fmla="*/ 464344 h 1619250"/>
                      <a:gd name="connsiteX439" fmla="*/ 38512 w 1614899"/>
                      <a:gd name="connsiteY439" fmla="*/ 452437 h 1619250"/>
                      <a:gd name="connsiteX440" fmla="*/ 38512 w 1614899"/>
                      <a:gd name="connsiteY440" fmla="*/ 428625 h 1619250"/>
                      <a:gd name="connsiteX441" fmla="*/ 45656 w 1614899"/>
                      <a:gd name="connsiteY441" fmla="*/ 426244 h 1619250"/>
                      <a:gd name="connsiteX442" fmla="*/ 52799 w 1614899"/>
                      <a:gd name="connsiteY442" fmla="*/ 421481 h 1619250"/>
                      <a:gd name="connsiteX443" fmla="*/ 59943 w 1614899"/>
                      <a:gd name="connsiteY443" fmla="*/ 419100 h 1619250"/>
                      <a:gd name="connsiteX444" fmla="*/ 64706 w 1614899"/>
                      <a:gd name="connsiteY444" fmla="*/ 411956 h 1619250"/>
                      <a:gd name="connsiteX445" fmla="*/ 55181 w 1614899"/>
                      <a:gd name="connsiteY445" fmla="*/ 392906 h 1619250"/>
                      <a:gd name="connsiteX446" fmla="*/ 40893 w 1614899"/>
                      <a:gd name="connsiteY446" fmla="*/ 388144 h 1619250"/>
                      <a:gd name="connsiteX447" fmla="*/ 33749 w 1614899"/>
                      <a:gd name="connsiteY447" fmla="*/ 390525 h 1619250"/>
                      <a:gd name="connsiteX448" fmla="*/ 28987 w 1614899"/>
                      <a:gd name="connsiteY448" fmla="*/ 390525 h 1619250"/>
                      <a:gd name="connsiteX449" fmla="*/ 21843 w 1614899"/>
                      <a:gd name="connsiteY449" fmla="*/ 388144 h 1619250"/>
                      <a:gd name="connsiteX450" fmla="*/ 14699 w 1614899"/>
                      <a:gd name="connsiteY450" fmla="*/ 364331 h 1619250"/>
                      <a:gd name="connsiteX451" fmla="*/ 2793 w 1614899"/>
                      <a:gd name="connsiteY451" fmla="*/ 361950 h 1619250"/>
                      <a:gd name="connsiteX452" fmla="*/ 2793 w 1614899"/>
                      <a:gd name="connsiteY452" fmla="*/ 345281 h 1619250"/>
                      <a:gd name="connsiteX453" fmla="*/ 17081 w 1614899"/>
                      <a:gd name="connsiteY453" fmla="*/ 340519 h 1619250"/>
                      <a:gd name="connsiteX454" fmla="*/ 24224 w 1614899"/>
                      <a:gd name="connsiteY454" fmla="*/ 347662 h 1619250"/>
                      <a:gd name="connsiteX455" fmla="*/ 40893 w 1614899"/>
                      <a:gd name="connsiteY455" fmla="*/ 342900 h 1619250"/>
                      <a:gd name="connsiteX456" fmla="*/ 57562 w 1614899"/>
                      <a:gd name="connsiteY456" fmla="*/ 333375 h 1619250"/>
                      <a:gd name="connsiteX457" fmla="*/ 64706 w 1614899"/>
                      <a:gd name="connsiteY457" fmla="*/ 328612 h 1619250"/>
                      <a:gd name="connsiteX458" fmla="*/ 71849 w 1614899"/>
                      <a:gd name="connsiteY458" fmla="*/ 326231 h 1619250"/>
                      <a:gd name="connsiteX459" fmla="*/ 90899 w 1614899"/>
                      <a:gd name="connsiteY459" fmla="*/ 321469 h 1619250"/>
                      <a:gd name="connsiteX460" fmla="*/ 86137 w 1614899"/>
                      <a:gd name="connsiteY460" fmla="*/ 311944 h 1619250"/>
                      <a:gd name="connsiteX461" fmla="*/ 88518 w 1614899"/>
                      <a:gd name="connsiteY461" fmla="*/ 292894 h 1619250"/>
                      <a:gd name="connsiteX462" fmla="*/ 90899 w 1614899"/>
                      <a:gd name="connsiteY462" fmla="*/ 285750 h 1619250"/>
                      <a:gd name="connsiteX463" fmla="*/ 76612 w 1614899"/>
                      <a:gd name="connsiteY463" fmla="*/ 280987 h 1619250"/>
                      <a:gd name="connsiteX464" fmla="*/ 71849 w 1614899"/>
                      <a:gd name="connsiteY464" fmla="*/ 273844 h 1619250"/>
                      <a:gd name="connsiteX465" fmla="*/ 67087 w 1614899"/>
                      <a:gd name="connsiteY465" fmla="*/ 250031 h 1619250"/>
                      <a:gd name="connsiteX466" fmla="*/ 45656 w 1614899"/>
                      <a:gd name="connsiteY466" fmla="*/ 250031 h 1619250"/>
                      <a:gd name="connsiteX467" fmla="*/ 40893 w 1614899"/>
                      <a:gd name="connsiteY467" fmla="*/ 242887 h 1619250"/>
                      <a:gd name="connsiteX468" fmla="*/ 43274 w 1614899"/>
                      <a:gd name="connsiteY468" fmla="*/ 223837 h 1619250"/>
                      <a:gd name="connsiteX469" fmla="*/ 57562 w 1614899"/>
                      <a:gd name="connsiteY469" fmla="*/ 211931 h 1619250"/>
                      <a:gd name="connsiteX470" fmla="*/ 74231 w 1614899"/>
                      <a:gd name="connsiteY470" fmla="*/ 200025 h 1619250"/>
                      <a:gd name="connsiteX471" fmla="*/ 81374 w 1614899"/>
                      <a:gd name="connsiteY471" fmla="*/ 202406 h 1619250"/>
                      <a:gd name="connsiteX472" fmla="*/ 83756 w 1614899"/>
                      <a:gd name="connsiteY472" fmla="*/ 209550 h 1619250"/>
                      <a:gd name="connsiteX473" fmla="*/ 102806 w 1614899"/>
                      <a:gd name="connsiteY473" fmla="*/ 204787 h 1619250"/>
                      <a:gd name="connsiteX474" fmla="*/ 109949 w 1614899"/>
                      <a:gd name="connsiteY474" fmla="*/ 200025 h 1619250"/>
                      <a:gd name="connsiteX475" fmla="*/ 119474 w 1614899"/>
                      <a:gd name="connsiteY475" fmla="*/ 197644 h 1619250"/>
                      <a:gd name="connsiteX476" fmla="*/ 133762 w 1614899"/>
                      <a:gd name="connsiteY476" fmla="*/ 192881 h 1619250"/>
                      <a:gd name="connsiteX477" fmla="*/ 140906 w 1614899"/>
                      <a:gd name="connsiteY477" fmla="*/ 190500 h 1619250"/>
                      <a:gd name="connsiteX478" fmla="*/ 148049 w 1614899"/>
                      <a:gd name="connsiteY478" fmla="*/ 195262 h 1619250"/>
                      <a:gd name="connsiteX479" fmla="*/ 155193 w 1614899"/>
                      <a:gd name="connsiteY479" fmla="*/ 204787 h 1619250"/>
                      <a:gd name="connsiteX480" fmla="*/ 164718 w 1614899"/>
                      <a:gd name="connsiteY480" fmla="*/ 202406 h 1619250"/>
                      <a:gd name="connsiteX481" fmla="*/ 190912 w 1614899"/>
                      <a:gd name="connsiteY481" fmla="*/ 200025 h 1619250"/>
                      <a:gd name="connsiteX482" fmla="*/ 193293 w 1614899"/>
                      <a:gd name="connsiteY482" fmla="*/ 192881 h 1619250"/>
                      <a:gd name="connsiteX483" fmla="*/ 198056 w 1614899"/>
                      <a:gd name="connsiteY483" fmla="*/ 185737 h 1619250"/>
                      <a:gd name="connsiteX484" fmla="*/ 195674 w 1614899"/>
                      <a:gd name="connsiteY484" fmla="*/ 178594 h 1619250"/>
                      <a:gd name="connsiteX485" fmla="*/ 186149 w 1614899"/>
                      <a:gd name="connsiteY485" fmla="*/ 159544 h 1619250"/>
                      <a:gd name="connsiteX486" fmla="*/ 217106 w 1614899"/>
                      <a:gd name="connsiteY486" fmla="*/ 152400 h 1619250"/>
                      <a:gd name="connsiteX487" fmla="*/ 209962 w 1614899"/>
                      <a:gd name="connsiteY487" fmla="*/ 145256 h 1619250"/>
                      <a:gd name="connsiteX488" fmla="*/ 202818 w 1614899"/>
                      <a:gd name="connsiteY488" fmla="*/ 140494 h 1619250"/>
                      <a:gd name="connsiteX489" fmla="*/ 212343 w 1614899"/>
                      <a:gd name="connsiteY489" fmla="*/ 133350 h 1619250"/>
                      <a:gd name="connsiteX490" fmla="*/ 233774 w 1614899"/>
                      <a:gd name="connsiteY490" fmla="*/ 123825 h 1619250"/>
                      <a:gd name="connsiteX491" fmla="*/ 238537 w 1614899"/>
                      <a:gd name="connsiteY491" fmla="*/ 116681 h 1619250"/>
                      <a:gd name="connsiteX492" fmla="*/ 240918 w 1614899"/>
                      <a:gd name="connsiteY492" fmla="*/ 107156 h 1619250"/>
                      <a:gd name="connsiteX493" fmla="*/ 248062 w 1614899"/>
                      <a:gd name="connsiteY493" fmla="*/ 109537 h 1619250"/>
                      <a:gd name="connsiteX494" fmla="*/ 250443 w 1614899"/>
                      <a:gd name="connsiteY494" fmla="*/ 116681 h 1619250"/>
                      <a:gd name="connsiteX495" fmla="*/ 252824 w 1614899"/>
                      <a:gd name="connsiteY495" fmla="*/ 130969 h 1619250"/>
                      <a:gd name="connsiteX496" fmla="*/ 269493 w 1614899"/>
                      <a:gd name="connsiteY496" fmla="*/ 138112 h 1619250"/>
                      <a:gd name="connsiteX497" fmla="*/ 271874 w 1614899"/>
                      <a:gd name="connsiteY497" fmla="*/ 145256 h 1619250"/>
                      <a:gd name="connsiteX498" fmla="*/ 264731 w 1614899"/>
                      <a:gd name="connsiteY498" fmla="*/ 152400 h 1619250"/>
                      <a:gd name="connsiteX499" fmla="*/ 262349 w 1614899"/>
                      <a:gd name="connsiteY499" fmla="*/ 159544 h 1619250"/>
                      <a:gd name="connsiteX500" fmla="*/ 264731 w 1614899"/>
                      <a:gd name="connsiteY500" fmla="*/ 173831 h 1619250"/>
                      <a:gd name="connsiteX501" fmla="*/ 274256 w 1614899"/>
                      <a:gd name="connsiteY501" fmla="*/ 176212 h 1619250"/>
                      <a:gd name="connsiteX502" fmla="*/ 295687 w 1614899"/>
                      <a:gd name="connsiteY502" fmla="*/ 178594 h 1619250"/>
                      <a:gd name="connsiteX503" fmla="*/ 293306 w 1614899"/>
                      <a:gd name="connsiteY503" fmla="*/ 185737 h 1619250"/>
                      <a:gd name="connsiteX504" fmla="*/ 295687 w 1614899"/>
                      <a:gd name="connsiteY504" fmla="*/ 200025 h 1619250"/>
                      <a:gd name="connsiteX505" fmla="*/ 302831 w 1614899"/>
                      <a:gd name="connsiteY505" fmla="*/ 216694 h 1619250"/>
                      <a:gd name="connsiteX506" fmla="*/ 307593 w 1614899"/>
                      <a:gd name="connsiteY506" fmla="*/ 223837 h 1619250"/>
                      <a:gd name="connsiteX507" fmla="*/ 314737 w 1614899"/>
                      <a:gd name="connsiteY507" fmla="*/ 228600 h 1619250"/>
                      <a:gd name="connsiteX508" fmla="*/ 326643 w 1614899"/>
                      <a:gd name="connsiteY508" fmla="*/ 226219 h 1619250"/>
                      <a:gd name="connsiteX509" fmla="*/ 321881 w 1614899"/>
                      <a:gd name="connsiteY509" fmla="*/ 200025 h 1619250"/>
                      <a:gd name="connsiteX510" fmla="*/ 314737 w 1614899"/>
                      <a:gd name="connsiteY510" fmla="*/ 197644 h 1619250"/>
                      <a:gd name="connsiteX511" fmla="*/ 324262 w 1614899"/>
                      <a:gd name="connsiteY511" fmla="*/ 180975 h 1619250"/>
                      <a:gd name="connsiteX512" fmla="*/ 329024 w 1614899"/>
                      <a:gd name="connsiteY512" fmla="*/ 173831 h 1619250"/>
                      <a:gd name="connsiteX513" fmla="*/ 343312 w 1614899"/>
                      <a:gd name="connsiteY513" fmla="*/ 159544 h 1619250"/>
                      <a:gd name="connsiteX514" fmla="*/ 348074 w 1614899"/>
                      <a:gd name="connsiteY514" fmla="*/ 145256 h 1619250"/>
                      <a:gd name="connsiteX515" fmla="*/ 350456 w 1614899"/>
                      <a:gd name="connsiteY515" fmla="*/ 114300 h 1619250"/>
                      <a:gd name="connsiteX516" fmla="*/ 357599 w 1614899"/>
                      <a:gd name="connsiteY516" fmla="*/ 111919 h 1619250"/>
                      <a:gd name="connsiteX517" fmla="*/ 364743 w 1614899"/>
                      <a:gd name="connsiteY517" fmla="*/ 114300 h 1619250"/>
                      <a:gd name="connsiteX518" fmla="*/ 371887 w 1614899"/>
                      <a:gd name="connsiteY518" fmla="*/ 114300 h 1619250"/>
                      <a:gd name="connsiteX519" fmla="*/ 381412 w 1614899"/>
                      <a:gd name="connsiteY519" fmla="*/ 138112 h 1619250"/>
                      <a:gd name="connsiteX520" fmla="*/ 395699 w 1614899"/>
                      <a:gd name="connsiteY520" fmla="*/ 150019 h 1619250"/>
                      <a:gd name="connsiteX521" fmla="*/ 409987 w 1614899"/>
                      <a:gd name="connsiteY521" fmla="*/ 147637 h 1619250"/>
                      <a:gd name="connsiteX522" fmla="*/ 412368 w 1614899"/>
                      <a:gd name="connsiteY522" fmla="*/ 133350 h 1619250"/>
                      <a:gd name="connsiteX523" fmla="*/ 426656 w 1614899"/>
                      <a:gd name="connsiteY523" fmla="*/ 128587 h 1619250"/>
                      <a:gd name="connsiteX524" fmla="*/ 433799 w 1614899"/>
                      <a:gd name="connsiteY524" fmla="*/ 142875 h 1619250"/>
                      <a:gd name="connsiteX525" fmla="*/ 448087 w 1614899"/>
                      <a:gd name="connsiteY525" fmla="*/ 161925 h 1619250"/>
                      <a:gd name="connsiteX526" fmla="*/ 464756 w 1614899"/>
                      <a:gd name="connsiteY526" fmla="*/ 159544 h 1619250"/>
                      <a:gd name="connsiteX527" fmla="*/ 452849 w 1614899"/>
                      <a:gd name="connsiteY527" fmla="*/ 138112 h 1619250"/>
                      <a:gd name="connsiteX528" fmla="*/ 450468 w 1614899"/>
                      <a:gd name="connsiteY528" fmla="*/ 111919 h 1619250"/>
                      <a:gd name="connsiteX529" fmla="*/ 443324 w 1614899"/>
                      <a:gd name="connsiteY529" fmla="*/ 107156 h 1619250"/>
                      <a:gd name="connsiteX530" fmla="*/ 440943 w 1614899"/>
                      <a:gd name="connsiteY530" fmla="*/ 100012 h 1619250"/>
                      <a:gd name="connsiteX531" fmla="*/ 450468 w 1614899"/>
                      <a:gd name="connsiteY531" fmla="*/ 88106 h 1619250"/>
                      <a:gd name="connsiteX532" fmla="*/ 476662 w 1614899"/>
                      <a:gd name="connsiteY532" fmla="*/ 90487 h 1619250"/>
                      <a:gd name="connsiteX533" fmla="*/ 486187 w 1614899"/>
                      <a:gd name="connsiteY533" fmla="*/ 92869 h 1619250"/>
                      <a:gd name="connsiteX534" fmla="*/ 493331 w 1614899"/>
                      <a:gd name="connsiteY534" fmla="*/ 97631 h 1619250"/>
                      <a:gd name="connsiteX535" fmla="*/ 502856 w 1614899"/>
                      <a:gd name="connsiteY535" fmla="*/ 95250 h 1619250"/>
                      <a:gd name="connsiteX536" fmla="*/ 509999 w 1614899"/>
                      <a:gd name="connsiteY536" fmla="*/ 90487 h 1619250"/>
                      <a:gd name="connsiteX537" fmla="*/ 507618 w 1614899"/>
                      <a:gd name="connsiteY537" fmla="*/ 83344 h 1619250"/>
                      <a:gd name="connsiteX538" fmla="*/ 500474 w 1614899"/>
                      <a:gd name="connsiteY538" fmla="*/ 80962 h 1619250"/>
                      <a:gd name="connsiteX539" fmla="*/ 493331 w 1614899"/>
                      <a:gd name="connsiteY539" fmla="*/ 76200 h 1619250"/>
                      <a:gd name="connsiteX540" fmla="*/ 495712 w 1614899"/>
                      <a:gd name="connsiteY540"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19549 w 1614899"/>
                      <a:gd name="connsiteY86" fmla="*/ 328612 h 1619250"/>
                      <a:gd name="connsiteX87" fmla="*/ 714787 w 1614899"/>
                      <a:gd name="connsiteY87" fmla="*/ 335756 h 1619250"/>
                      <a:gd name="connsiteX88" fmla="*/ 717168 w 1614899"/>
                      <a:gd name="connsiteY88" fmla="*/ 342900 h 1619250"/>
                      <a:gd name="connsiteX89" fmla="*/ 721931 w 1614899"/>
                      <a:gd name="connsiteY89" fmla="*/ 347662 h 1619250"/>
                      <a:gd name="connsiteX90" fmla="*/ 733837 w 1614899"/>
                      <a:gd name="connsiteY90" fmla="*/ 357187 h 1619250"/>
                      <a:gd name="connsiteX91" fmla="*/ 740981 w 1614899"/>
                      <a:gd name="connsiteY91" fmla="*/ 354806 h 1619250"/>
                      <a:gd name="connsiteX92" fmla="*/ 755268 w 1614899"/>
                      <a:gd name="connsiteY92" fmla="*/ 350044 h 1619250"/>
                      <a:gd name="connsiteX93" fmla="*/ 752887 w 1614899"/>
                      <a:gd name="connsiteY93" fmla="*/ 359569 h 1619250"/>
                      <a:gd name="connsiteX94" fmla="*/ 755268 w 1614899"/>
                      <a:gd name="connsiteY94" fmla="*/ 371475 h 1619250"/>
                      <a:gd name="connsiteX95" fmla="*/ 762412 w 1614899"/>
                      <a:gd name="connsiteY95" fmla="*/ 373856 h 1619250"/>
                      <a:gd name="connsiteX96" fmla="*/ 745743 w 1614899"/>
                      <a:gd name="connsiteY96" fmla="*/ 390525 h 1619250"/>
                      <a:gd name="connsiteX97" fmla="*/ 750506 w 1614899"/>
                      <a:gd name="connsiteY97" fmla="*/ 397669 h 1619250"/>
                      <a:gd name="connsiteX98" fmla="*/ 745743 w 1614899"/>
                      <a:gd name="connsiteY98" fmla="*/ 411956 h 1619250"/>
                      <a:gd name="connsiteX99" fmla="*/ 731456 w 1614899"/>
                      <a:gd name="connsiteY99" fmla="*/ 404812 h 1619250"/>
                      <a:gd name="connsiteX100" fmla="*/ 724312 w 1614899"/>
                      <a:gd name="connsiteY100" fmla="*/ 409575 h 1619250"/>
                      <a:gd name="connsiteX101" fmla="*/ 721931 w 1614899"/>
                      <a:gd name="connsiteY101" fmla="*/ 416719 h 1619250"/>
                      <a:gd name="connsiteX102" fmla="*/ 736218 w 1614899"/>
                      <a:gd name="connsiteY102" fmla="*/ 426244 h 1619250"/>
                      <a:gd name="connsiteX103" fmla="*/ 731456 w 1614899"/>
                      <a:gd name="connsiteY103" fmla="*/ 442912 h 1619250"/>
                      <a:gd name="connsiteX104" fmla="*/ 729074 w 1614899"/>
                      <a:gd name="connsiteY104" fmla="*/ 450056 h 1619250"/>
                      <a:gd name="connsiteX105" fmla="*/ 731456 w 1614899"/>
                      <a:gd name="connsiteY105" fmla="*/ 481012 h 1619250"/>
                      <a:gd name="connsiteX106" fmla="*/ 736218 w 1614899"/>
                      <a:gd name="connsiteY106" fmla="*/ 488156 h 1619250"/>
                      <a:gd name="connsiteX107" fmla="*/ 743362 w 1614899"/>
                      <a:gd name="connsiteY107" fmla="*/ 509587 h 1619250"/>
                      <a:gd name="connsiteX108" fmla="*/ 745743 w 1614899"/>
                      <a:gd name="connsiteY108" fmla="*/ 516731 h 1619250"/>
                      <a:gd name="connsiteX109" fmla="*/ 760031 w 1614899"/>
                      <a:gd name="connsiteY109" fmla="*/ 526256 h 1619250"/>
                      <a:gd name="connsiteX110" fmla="*/ 764793 w 1614899"/>
                      <a:gd name="connsiteY110" fmla="*/ 533400 h 1619250"/>
                      <a:gd name="connsiteX111" fmla="*/ 769556 w 1614899"/>
                      <a:gd name="connsiteY111" fmla="*/ 547687 h 1619250"/>
                      <a:gd name="connsiteX112" fmla="*/ 769556 w 1614899"/>
                      <a:gd name="connsiteY112" fmla="*/ 542925 h 1619250"/>
                      <a:gd name="connsiteX113" fmla="*/ 776699 w 1614899"/>
                      <a:gd name="connsiteY113" fmla="*/ 550069 h 1619250"/>
                      <a:gd name="connsiteX114" fmla="*/ 793368 w 1614899"/>
                      <a:gd name="connsiteY114" fmla="*/ 552450 h 1619250"/>
                      <a:gd name="connsiteX115" fmla="*/ 807656 w 1614899"/>
                      <a:gd name="connsiteY115" fmla="*/ 557212 h 1619250"/>
                      <a:gd name="connsiteX116" fmla="*/ 814799 w 1614899"/>
                      <a:gd name="connsiteY116" fmla="*/ 559594 h 1619250"/>
                      <a:gd name="connsiteX117" fmla="*/ 821943 w 1614899"/>
                      <a:gd name="connsiteY117" fmla="*/ 566737 h 1619250"/>
                      <a:gd name="connsiteX118" fmla="*/ 829087 w 1614899"/>
                      <a:gd name="connsiteY118" fmla="*/ 569119 h 1619250"/>
                      <a:gd name="connsiteX119" fmla="*/ 836231 w 1614899"/>
                      <a:gd name="connsiteY119" fmla="*/ 573881 h 1619250"/>
                      <a:gd name="connsiteX120" fmla="*/ 843374 w 1614899"/>
                      <a:gd name="connsiteY120" fmla="*/ 588169 h 1619250"/>
                      <a:gd name="connsiteX121" fmla="*/ 852899 w 1614899"/>
                      <a:gd name="connsiteY121" fmla="*/ 597694 h 1619250"/>
                      <a:gd name="connsiteX122" fmla="*/ 902906 w 1614899"/>
                      <a:gd name="connsiteY122" fmla="*/ 604837 h 1619250"/>
                      <a:gd name="connsiteX123" fmla="*/ 914812 w 1614899"/>
                      <a:gd name="connsiteY123" fmla="*/ 626269 h 1619250"/>
                      <a:gd name="connsiteX124" fmla="*/ 919574 w 1614899"/>
                      <a:gd name="connsiteY124" fmla="*/ 633412 h 1619250"/>
                      <a:gd name="connsiteX125" fmla="*/ 919574 w 1614899"/>
                      <a:gd name="connsiteY125" fmla="*/ 671512 h 1619250"/>
                      <a:gd name="connsiteX126" fmla="*/ 926718 w 1614899"/>
                      <a:gd name="connsiteY126" fmla="*/ 676275 h 1619250"/>
                      <a:gd name="connsiteX127" fmla="*/ 933862 w 1614899"/>
                      <a:gd name="connsiteY127" fmla="*/ 690562 h 1619250"/>
                      <a:gd name="connsiteX128" fmla="*/ 936243 w 1614899"/>
                      <a:gd name="connsiteY128" fmla="*/ 702469 h 1619250"/>
                      <a:gd name="connsiteX129" fmla="*/ 943387 w 1614899"/>
                      <a:gd name="connsiteY129" fmla="*/ 709612 h 1619250"/>
                      <a:gd name="connsiteX130" fmla="*/ 945768 w 1614899"/>
                      <a:gd name="connsiteY130" fmla="*/ 723900 h 1619250"/>
                      <a:gd name="connsiteX131" fmla="*/ 955293 w 1614899"/>
                      <a:gd name="connsiteY131" fmla="*/ 738187 h 1619250"/>
                      <a:gd name="connsiteX132" fmla="*/ 964818 w 1614899"/>
                      <a:gd name="connsiteY132" fmla="*/ 752475 h 1619250"/>
                      <a:gd name="connsiteX133" fmla="*/ 967199 w 1614899"/>
                      <a:gd name="connsiteY133" fmla="*/ 759619 h 1619250"/>
                      <a:gd name="connsiteX134" fmla="*/ 974343 w 1614899"/>
                      <a:gd name="connsiteY134" fmla="*/ 769144 h 1619250"/>
                      <a:gd name="connsiteX135" fmla="*/ 979106 w 1614899"/>
                      <a:gd name="connsiteY135" fmla="*/ 783431 h 1619250"/>
                      <a:gd name="connsiteX136" fmla="*/ 981487 w 1614899"/>
                      <a:gd name="connsiteY136" fmla="*/ 790575 h 1619250"/>
                      <a:gd name="connsiteX137" fmla="*/ 991012 w 1614899"/>
                      <a:gd name="connsiteY137" fmla="*/ 804862 h 1619250"/>
                      <a:gd name="connsiteX138" fmla="*/ 998156 w 1614899"/>
                      <a:gd name="connsiteY138" fmla="*/ 819150 h 1619250"/>
                      <a:gd name="connsiteX139" fmla="*/ 1000537 w 1614899"/>
                      <a:gd name="connsiteY139" fmla="*/ 826294 h 1619250"/>
                      <a:gd name="connsiteX140" fmla="*/ 1007681 w 1614899"/>
                      <a:gd name="connsiteY140" fmla="*/ 828675 h 1619250"/>
                      <a:gd name="connsiteX141" fmla="*/ 1014824 w 1614899"/>
                      <a:gd name="connsiteY141" fmla="*/ 833437 h 1619250"/>
                      <a:gd name="connsiteX142" fmla="*/ 1029112 w 1614899"/>
                      <a:gd name="connsiteY142" fmla="*/ 838200 h 1619250"/>
                      <a:gd name="connsiteX143" fmla="*/ 1033874 w 1614899"/>
                      <a:gd name="connsiteY143" fmla="*/ 845344 h 1619250"/>
                      <a:gd name="connsiteX144" fmla="*/ 1048162 w 1614899"/>
                      <a:gd name="connsiteY144" fmla="*/ 857250 h 1619250"/>
                      <a:gd name="connsiteX145" fmla="*/ 1062449 w 1614899"/>
                      <a:gd name="connsiteY145" fmla="*/ 862012 h 1619250"/>
                      <a:gd name="connsiteX146" fmla="*/ 1079118 w 1614899"/>
                      <a:gd name="connsiteY146" fmla="*/ 883444 h 1619250"/>
                      <a:gd name="connsiteX147" fmla="*/ 1081499 w 1614899"/>
                      <a:gd name="connsiteY147" fmla="*/ 890587 h 1619250"/>
                      <a:gd name="connsiteX148" fmla="*/ 1095787 w 1614899"/>
                      <a:gd name="connsiteY148" fmla="*/ 883444 h 1619250"/>
                      <a:gd name="connsiteX149" fmla="*/ 1110074 w 1614899"/>
                      <a:gd name="connsiteY149" fmla="*/ 890587 h 1619250"/>
                      <a:gd name="connsiteX150" fmla="*/ 1121981 w 1614899"/>
                      <a:gd name="connsiteY150" fmla="*/ 902494 h 1619250"/>
                      <a:gd name="connsiteX151" fmla="*/ 1136268 w 1614899"/>
                      <a:gd name="connsiteY151" fmla="*/ 907256 h 1619250"/>
                      <a:gd name="connsiteX152" fmla="*/ 1176749 w 1614899"/>
                      <a:gd name="connsiteY152" fmla="*/ 904875 h 1619250"/>
                      <a:gd name="connsiteX153" fmla="*/ 1195799 w 1614899"/>
                      <a:gd name="connsiteY153" fmla="*/ 904875 h 1619250"/>
                      <a:gd name="connsiteX154" fmla="*/ 1207706 w 1614899"/>
                      <a:gd name="connsiteY154" fmla="*/ 912019 h 1619250"/>
                      <a:gd name="connsiteX155" fmla="*/ 1210087 w 1614899"/>
                      <a:gd name="connsiteY155" fmla="*/ 902494 h 1619250"/>
                      <a:gd name="connsiteX156" fmla="*/ 1219612 w 1614899"/>
                      <a:gd name="connsiteY156" fmla="*/ 900112 h 1619250"/>
                      <a:gd name="connsiteX157" fmla="*/ 1226756 w 1614899"/>
                      <a:gd name="connsiteY157" fmla="*/ 895350 h 1619250"/>
                      <a:gd name="connsiteX158" fmla="*/ 1241043 w 1614899"/>
                      <a:gd name="connsiteY158" fmla="*/ 890587 h 1619250"/>
                      <a:gd name="connsiteX159" fmla="*/ 1255331 w 1614899"/>
                      <a:gd name="connsiteY159" fmla="*/ 892969 h 1619250"/>
                      <a:gd name="connsiteX160" fmla="*/ 1260093 w 1614899"/>
                      <a:gd name="connsiteY160" fmla="*/ 900112 h 1619250"/>
                      <a:gd name="connsiteX161" fmla="*/ 1267237 w 1614899"/>
                      <a:gd name="connsiteY161" fmla="*/ 904875 h 1619250"/>
                      <a:gd name="connsiteX162" fmla="*/ 1271999 w 1614899"/>
                      <a:gd name="connsiteY162" fmla="*/ 919162 h 1619250"/>
                      <a:gd name="connsiteX163" fmla="*/ 1269618 w 1614899"/>
                      <a:gd name="connsiteY163" fmla="*/ 928687 h 1619250"/>
                      <a:gd name="connsiteX164" fmla="*/ 1262474 w 1614899"/>
                      <a:gd name="connsiteY164" fmla="*/ 933450 h 1619250"/>
                      <a:gd name="connsiteX165" fmla="*/ 1255331 w 1614899"/>
                      <a:gd name="connsiteY165" fmla="*/ 940594 h 1619250"/>
                      <a:gd name="connsiteX166" fmla="*/ 1248187 w 1614899"/>
                      <a:gd name="connsiteY166" fmla="*/ 942975 h 1619250"/>
                      <a:gd name="connsiteX167" fmla="*/ 1241043 w 1614899"/>
                      <a:gd name="connsiteY167" fmla="*/ 947737 h 1619250"/>
                      <a:gd name="connsiteX168" fmla="*/ 1226756 w 1614899"/>
                      <a:gd name="connsiteY168" fmla="*/ 954881 h 1619250"/>
                      <a:gd name="connsiteX169" fmla="*/ 1236281 w 1614899"/>
                      <a:gd name="connsiteY169" fmla="*/ 969169 h 1619250"/>
                      <a:gd name="connsiteX170" fmla="*/ 1241043 w 1614899"/>
                      <a:gd name="connsiteY170" fmla="*/ 983456 h 1619250"/>
                      <a:gd name="connsiteX171" fmla="*/ 1250568 w 1614899"/>
                      <a:gd name="connsiteY171" fmla="*/ 997744 h 1619250"/>
                      <a:gd name="connsiteX172" fmla="*/ 1262474 w 1614899"/>
                      <a:gd name="connsiteY172" fmla="*/ 997744 h 1619250"/>
                      <a:gd name="connsiteX173" fmla="*/ 1264856 w 1614899"/>
                      <a:gd name="connsiteY173" fmla="*/ 990600 h 1619250"/>
                      <a:gd name="connsiteX174" fmla="*/ 1283906 w 1614899"/>
                      <a:gd name="connsiteY174" fmla="*/ 995362 h 1619250"/>
                      <a:gd name="connsiteX175" fmla="*/ 1291049 w 1614899"/>
                      <a:gd name="connsiteY175" fmla="*/ 1000125 h 1619250"/>
                      <a:gd name="connsiteX176" fmla="*/ 1298193 w 1614899"/>
                      <a:gd name="connsiteY176" fmla="*/ 1002506 h 1619250"/>
                      <a:gd name="connsiteX177" fmla="*/ 1322006 w 1614899"/>
                      <a:gd name="connsiteY177" fmla="*/ 1007269 h 1619250"/>
                      <a:gd name="connsiteX178" fmla="*/ 1336293 w 1614899"/>
                      <a:gd name="connsiteY178" fmla="*/ 1012031 h 1619250"/>
                      <a:gd name="connsiteX179" fmla="*/ 1355343 w 1614899"/>
                      <a:gd name="connsiteY179" fmla="*/ 1016794 h 1619250"/>
                      <a:gd name="connsiteX180" fmla="*/ 1362487 w 1614899"/>
                      <a:gd name="connsiteY180" fmla="*/ 1023937 h 1619250"/>
                      <a:gd name="connsiteX181" fmla="*/ 1376774 w 1614899"/>
                      <a:gd name="connsiteY181" fmla="*/ 1028700 h 1619250"/>
                      <a:gd name="connsiteX182" fmla="*/ 1391062 w 1614899"/>
                      <a:gd name="connsiteY182" fmla="*/ 1033462 h 1619250"/>
                      <a:gd name="connsiteX183" fmla="*/ 1398206 w 1614899"/>
                      <a:gd name="connsiteY183" fmla="*/ 1035844 h 1619250"/>
                      <a:gd name="connsiteX184" fmla="*/ 1405349 w 1614899"/>
                      <a:gd name="connsiteY184" fmla="*/ 1038225 h 1619250"/>
                      <a:gd name="connsiteX185" fmla="*/ 1412493 w 1614899"/>
                      <a:gd name="connsiteY185" fmla="*/ 1042987 h 1619250"/>
                      <a:gd name="connsiteX186" fmla="*/ 1426781 w 1614899"/>
                      <a:gd name="connsiteY186" fmla="*/ 1050131 h 1619250"/>
                      <a:gd name="connsiteX187" fmla="*/ 1436306 w 1614899"/>
                      <a:gd name="connsiteY187" fmla="*/ 1062037 h 1619250"/>
                      <a:gd name="connsiteX188" fmla="*/ 1441068 w 1614899"/>
                      <a:gd name="connsiteY188" fmla="*/ 1069181 h 1619250"/>
                      <a:gd name="connsiteX189" fmla="*/ 1450593 w 1614899"/>
                      <a:gd name="connsiteY189" fmla="*/ 1071562 h 1619250"/>
                      <a:gd name="connsiteX190" fmla="*/ 1464881 w 1614899"/>
                      <a:gd name="connsiteY190" fmla="*/ 1076325 h 1619250"/>
                      <a:gd name="connsiteX191" fmla="*/ 1467262 w 1614899"/>
                      <a:gd name="connsiteY191" fmla="*/ 1083469 h 1619250"/>
                      <a:gd name="connsiteX192" fmla="*/ 1488693 w 1614899"/>
                      <a:gd name="connsiteY192" fmla="*/ 1092994 h 1619250"/>
                      <a:gd name="connsiteX193" fmla="*/ 1500599 w 1614899"/>
                      <a:gd name="connsiteY193" fmla="*/ 1095375 h 1619250"/>
                      <a:gd name="connsiteX194" fmla="*/ 1514887 w 1614899"/>
                      <a:gd name="connsiteY194" fmla="*/ 1097756 h 1619250"/>
                      <a:gd name="connsiteX195" fmla="*/ 1522031 w 1614899"/>
                      <a:gd name="connsiteY195" fmla="*/ 1100137 h 1619250"/>
                      <a:gd name="connsiteX196" fmla="*/ 1541081 w 1614899"/>
                      <a:gd name="connsiteY196" fmla="*/ 1104900 h 1619250"/>
                      <a:gd name="connsiteX197" fmla="*/ 1545843 w 1614899"/>
                      <a:gd name="connsiteY197" fmla="*/ 1112044 h 1619250"/>
                      <a:gd name="connsiteX198" fmla="*/ 1543462 w 1614899"/>
                      <a:gd name="connsiteY198" fmla="*/ 1119187 h 1619250"/>
                      <a:gd name="connsiteX199" fmla="*/ 1557749 w 1614899"/>
                      <a:gd name="connsiteY199" fmla="*/ 1128712 h 1619250"/>
                      <a:gd name="connsiteX200" fmla="*/ 1564893 w 1614899"/>
                      <a:gd name="connsiteY200" fmla="*/ 1133475 h 1619250"/>
                      <a:gd name="connsiteX201" fmla="*/ 1579181 w 1614899"/>
                      <a:gd name="connsiteY201" fmla="*/ 1147762 h 1619250"/>
                      <a:gd name="connsiteX202" fmla="*/ 1593468 w 1614899"/>
                      <a:gd name="connsiteY202" fmla="*/ 1152525 h 1619250"/>
                      <a:gd name="connsiteX203" fmla="*/ 1600612 w 1614899"/>
                      <a:gd name="connsiteY203" fmla="*/ 1154906 h 1619250"/>
                      <a:gd name="connsiteX204" fmla="*/ 1607756 w 1614899"/>
                      <a:gd name="connsiteY204" fmla="*/ 1162050 h 1619250"/>
                      <a:gd name="connsiteX205" fmla="*/ 1610137 w 1614899"/>
                      <a:gd name="connsiteY205" fmla="*/ 1169194 h 1619250"/>
                      <a:gd name="connsiteX206" fmla="*/ 1614899 w 1614899"/>
                      <a:gd name="connsiteY206" fmla="*/ 1176337 h 1619250"/>
                      <a:gd name="connsiteX207" fmla="*/ 1612518 w 1614899"/>
                      <a:gd name="connsiteY207" fmla="*/ 1195387 h 1619250"/>
                      <a:gd name="connsiteX208" fmla="*/ 1610137 w 1614899"/>
                      <a:gd name="connsiteY208" fmla="*/ 1202531 h 1619250"/>
                      <a:gd name="connsiteX209" fmla="*/ 1602993 w 1614899"/>
                      <a:gd name="connsiteY209" fmla="*/ 1204912 h 1619250"/>
                      <a:gd name="connsiteX210" fmla="*/ 1600612 w 1614899"/>
                      <a:gd name="connsiteY210" fmla="*/ 1212056 h 1619250"/>
                      <a:gd name="connsiteX211" fmla="*/ 1598231 w 1614899"/>
                      <a:gd name="connsiteY211" fmla="*/ 1247775 h 1619250"/>
                      <a:gd name="connsiteX212" fmla="*/ 1579181 w 1614899"/>
                      <a:gd name="connsiteY212" fmla="*/ 1245394 h 1619250"/>
                      <a:gd name="connsiteX213" fmla="*/ 1550606 w 1614899"/>
                      <a:gd name="connsiteY213" fmla="*/ 1231106 h 1619250"/>
                      <a:gd name="connsiteX214" fmla="*/ 1543462 w 1614899"/>
                      <a:gd name="connsiteY214" fmla="*/ 1226344 h 1619250"/>
                      <a:gd name="connsiteX215" fmla="*/ 1543462 w 1614899"/>
                      <a:gd name="connsiteY215" fmla="*/ 1197769 h 1619250"/>
                      <a:gd name="connsiteX216" fmla="*/ 1545843 w 1614899"/>
                      <a:gd name="connsiteY216" fmla="*/ 1183481 h 1619250"/>
                      <a:gd name="connsiteX217" fmla="*/ 1531556 w 1614899"/>
                      <a:gd name="connsiteY217" fmla="*/ 1176337 h 1619250"/>
                      <a:gd name="connsiteX218" fmla="*/ 1529174 w 1614899"/>
                      <a:gd name="connsiteY218" fmla="*/ 1169194 h 1619250"/>
                      <a:gd name="connsiteX219" fmla="*/ 1531556 w 1614899"/>
                      <a:gd name="connsiteY219" fmla="*/ 1152525 h 1619250"/>
                      <a:gd name="connsiteX220" fmla="*/ 1524412 w 1614899"/>
                      <a:gd name="connsiteY220" fmla="*/ 1154906 h 1619250"/>
                      <a:gd name="connsiteX221" fmla="*/ 1517268 w 1614899"/>
                      <a:gd name="connsiteY221" fmla="*/ 1159669 h 1619250"/>
                      <a:gd name="connsiteX222" fmla="*/ 1502981 w 1614899"/>
                      <a:gd name="connsiteY222" fmla="*/ 1164431 h 1619250"/>
                      <a:gd name="connsiteX223" fmla="*/ 1481549 w 1614899"/>
                      <a:gd name="connsiteY223" fmla="*/ 1169194 h 1619250"/>
                      <a:gd name="connsiteX224" fmla="*/ 1457737 w 1614899"/>
                      <a:gd name="connsiteY224" fmla="*/ 1164431 h 1619250"/>
                      <a:gd name="connsiteX225" fmla="*/ 1443449 w 1614899"/>
                      <a:gd name="connsiteY225" fmla="*/ 1154906 h 1619250"/>
                      <a:gd name="connsiteX226" fmla="*/ 1436306 w 1614899"/>
                      <a:gd name="connsiteY226" fmla="*/ 1150144 h 1619250"/>
                      <a:gd name="connsiteX227" fmla="*/ 1426781 w 1614899"/>
                      <a:gd name="connsiteY227" fmla="*/ 1140619 h 1619250"/>
                      <a:gd name="connsiteX228" fmla="*/ 1402968 w 1614899"/>
                      <a:gd name="connsiteY228" fmla="*/ 1138237 h 1619250"/>
                      <a:gd name="connsiteX229" fmla="*/ 1395824 w 1614899"/>
                      <a:gd name="connsiteY229" fmla="*/ 1145381 h 1619250"/>
                      <a:gd name="connsiteX230" fmla="*/ 1374393 w 1614899"/>
                      <a:gd name="connsiteY230" fmla="*/ 1162050 h 1619250"/>
                      <a:gd name="connsiteX231" fmla="*/ 1367249 w 1614899"/>
                      <a:gd name="connsiteY231" fmla="*/ 1188244 h 1619250"/>
                      <a:gd name="connsiteX232" fmla="*/ 1357724 w 1614899"/>
                      <a:gd name="connsiteY232" fmla="*/ 1202531 h 1619250"/>
                      <a:gd name="connsiteX233" fmla="*/ 1348199 w 1614899"/>
                      <a:gd name="connsiteY233" fmla="*/ 1212056 h 1619250"/>
                      <a:gd name="connsiteX234" fmla="*/ 1345818 w 1614899"/>
                      <a:gd name="connsiteY234" fmla="*/ 1219200 h 1619250"/>
                      <a:gd name="connsiteX235" fmla="*/ 1341056 w 1614899"/>
                      <a:gd name="connsiteY235" fmla="*/ 1228725 h 1619250"/>
                      <a:gd name="connsiteX236" fmla="*/ 1350581 w 1614899"/>
                      <a:gd name="connsiteY236" fmla="*/ 1243012 h 1619250"/>
                      <a:gd name="connsiteX237" fmla="*/ 1343437 w 1614899"/>
                      <a:gd name="connsiteY237" fmla="*/ 1266825 h 1619250"/>
                      <a:gd name="connsiteX238" fmla="*/ 1345818 w 1614899"/>
                      <a:gd name="connsiteY238" fmla="*/ 1281112 h 1619250"/>
                      <a:gd name="connsiteX239" fmla="*/ 1348199 w 1614899"/>
                      <a:gd name="connsiteY239" fmla="*/ 1290637 h 1619250"/>
                      <a:gd name="connsiteX240" fmla="*/ 1355343 w 1614899"/>
                      <a:gd name="connsiteY240" fmla="*/ 1297781 h 1619250"/>
                      <a:gd name="connsiteX241" fmla="*/ 1362487 w 1614899"/>
                      <a:gd name="connsiteY241" fmla="*/ 1300162 h 1619250"/>
                      <a:gd name="connsiteX242" fmla="*/ 1386299 w 1614899"/>
                      <a:gd name="connsiteY242" fmla="*/ 1302544 h 1619250"/>
                      <a:gd name="connsiteX243" fmla="*/ 1395824 w 1614899"/>
                      <a:gd name="connsiteY243" fmla="*/ 1309687 h 1619250"/>
                      <a:gd name="connsiteX244" fmla="*/ 1410112 w 1614899"/>
                      <a:gd name="connsiteY244" fmla="*/ 1314450 h 1619250"/>
                      <a:gd name="connsiteX245" fmla="*/ 1417256 w 1614899"/>
                      <a:gd name="connsiteY245" fmla="*/ 1319212 h 1619250"/>
                      <a:gd name="connsiteX246" fmla="*/ 1431543 w 1614899"/>
                      <a:gd name="connsiteY246" fmla="*/ 1326356 h 1619250"/>
                      <a:gd name="connsiteX247" fmla="*/ 1433924 w 1614899"/>
                      <a:gd name="connsiteY247" fmla="*/ 1333500 h 1619250"/>
                      <a:gd name="connsiteX248" fmla="*/ 1429162 w 1614899"/>
                      <a:gd name="connsiteY248" fmla="*/ 1340644 h 1619250"/>
                      <a:gd name="connsiteX249" fmla="*/ 1426781 w 1614899"/>
                      <a:gd name="connsiteY249" fmla="*/ 1347787 h 1619250"/>
                      <a:gd name="connsiteX250" fmla="*/ 1431543 w 1614899"/>
                      <a:gd name="connsiteY250" fmla="*/ 1354931 h 1619250"/>
                      <a:gd name="connsiteX251" fmla="*/ 1436306 w 1614899"/>
                      <a:gd name="connsiteY251" fmla="*/ 1364456 h 1619250"/>
                      <a:gd name="connsiteX252" fmla="*/ 1443449 w 1614899"/>
                      <a:gd name="connsiteY252" fmla="*/ 1395412 h 1619250"/>
                      <a:gd name="connsiteX253" fmla="*/ 1450593 w 1614899"/>
                      <a:gd name="connsiteY253" fmla="*/ 1402556 h 1619250"/>
                      <a:gd name="connsiteX254" fmla="*/ 1448212 w 1614899"/>
                      <a:gd name="connsiteY254" fmla="*/ 1412081 h 1619250"/>
                      <a:gd name="connsiteX255" fmla="*/ 1433924 w 1614899"/>
                      <a:gd name="connsiteY255" fmla="*/ 1416844 h 1619250"/>
                      <a:gd name="connsiteX256" fmla="*/ 1419637 w 1614899"/>
                      <a:gd name="connsiteY256" fmla="*/ 1423987 h 1619250"/>
                      <a:gd name="connsiteX257" fmla="*/ 1405349 w 1614899"/>
                      <a:gd name="connsiteY257" fmla="*/ 1431131 h 1619250"/>
                      <a:gd name="connsiteX258" fmla="*/ 1398206 w 1614899"/>
                      <a:gd name="connsiteY258" fmla="*/ 1435894 h 1619250"/>
                      <a:gd name="connsiteX259" fmla="*/ 1383918 w 1614899"/>
                      <a:gd name="connsiteY259" fmla="*/ 1440656 h 1619250"/>
                      <a:gd name="connsiteX260" fmla="*/ 1376774 w 1614899"/>
                      <a:gd name="connsiteY260" fmla="*/ 1443037 h 1619250"/>
                      <a:gd name="connsiteX261" fmla="*/ 1364868 w 1614899"/>
                      <a:gd name="connsiteY261" fmla="*/ 1464469 h 1619250"/>
                      <a:gd name="connsiteX262" fmla="*/ 1362487 w 1614899"/>
                      <a:gd name="connsiteY262" fmla="*/ 1473994 h 1619250"/>
                      <a:gd name="connsiteX263" fmla="*/ 1364868 w 1614899"/>
                      <a:gd name="connsiteY263" fmla="*/ 1497806 h 1619250"/>
                      <a:gd name="connsiteX264" fmla="*/ 1372012 w 1614899"/>
                      <a:gd name="connsiteY264" fmla="*/ 1500187 h 1619250"/>
                      <a:gd name="connsiteX265" fmla="*/ 1369631 w 1614899"/>
                      <a:gd name="connsiteY265" fmla="*/ 1516856 h 1619250"/>
                      <a:gd name="connsiteX266" fmla="*/ 1367249 w 1614899"/>
                      <a:gd name="connsiteY266" fmla="*/ 1524000 h 1619250"/>
                      <a:gd name="connsiteX267" fmla="*/ 1360106 w 1614899"/>
                      <a:gd name="connsiteY267" fmla="*/ 1526381 h 1619250"/>
                      <a:gd name="connsiteX268" fmla="*/ 1352962 w 1614899"/>
                      <a:gd name="connsiteY268" fmla="*/ 1531144 h 1619250"/>
                      <a:gd name="connsiteX269" fmla="*/ 1343437 w 1614899"/>
                      <a:gd name="connsiteY269" fmla="*/ 1535906 h 1619250"/>
                      <a:gd name="connsiteX270" fmla="*/ 1329149 w 1614899"/>
                      <a:gd name="connsiteY270" fmla="*/ 1550194 h 1619250"/>
                      <a:gd name="connsiteX271" fmla="*/ 1326768 w 1614899"/>
                      <a:gd name="connsiteY271" fmla="*/ 1559719 h 1619250"/>
                      <a:gd name="connsiteX272" fmla="*/ 1322006 w 1614899"/>
                      <a:gd name="connsiteY272" fmla="*/ 1566862 h 1619250"/>
                      <a:gd name="connsiteX273" fmla="*/ 1319624 w 1614899"/>
                      <a:gd name="connsiteY273" fmla="*/ 1578769 h 1619250"/>
                      <a:gd name="connsiteX274" fmla="*/ 1317243 w 1614899"/>
                      <a:gd name="connsiteY274" fmla="*/ 1585912 h 1619250"/>
                      <a:gd name="connsiteX275" fmla="*/ 1314862 w 1614899"/>
                      <a:gd name="connsiteY275" fmla="*/ 1602581 h 1619250"/>
                      <a:gd name="connsiteX276" fmla="*/ 1283906 w 1614899"/>
                      <a:gd name="connsiteY276" fmla="*/ 1614487 h 1619250"/>
                      <a:gd name="connsiteX277" fmla="*/ 1274381 w 1614899"/>
                      <a:gd name="connsiteY277" fmla="*/ 1616869 h 1619250"/>
                      <a:gd name="connsiteX278" fmla="*/ 1260093 w 1614899"/>
                      <a:gd name="connsiteY278" fmla="*/ 1619250 h 1619250"/>
                      <a:gd name="connsiteX279" fmla="*/ 1248187 w 1614899"/>
                      <a:gd name="connsiteY279" fmla="*/ 1616869 h 1619250"/>
                      <a:gd name="connsiteX280" fmla="*/ 1243424 w 1614899"/>
                      <a:gd name="connsiteY280" fmla="*/ 1597819 h 1619250"/>
                      <a:gd name="connsiteX281" fmla="*/ 1238662 w 1614899"/>
                      <a:gd name="connsiteY281" fmla="*/ 1581150 h 1619250"/>
                      <a:gd name="connsiteX282" fmla="*/ 1243424 w 1614899"/>
                      <a:gd name="connsiteY282" fmla="*/ 1566862 h 1619250"/>
                      <a:gd name="connsiteX283" fmla="*/ 1252949 w 1614899"/>
                      <a:gd name="connsiteY283" fmla="*/ 1552575 h 1619250"/>
                      <a:gd name="connsiteX284" fmla="*/ 1260093 w 1614899"/>
                      <a:gd name="connsiteY284" fmla="*/ 1550194 h 1619250"/>
                      <a:gd name="connsiteX285" fmla="*/ 1267237 w 1614899"/>
                      <a:gd name="connsiteY285" fmla="*/ 1543050 h 1619250"/>
                      <a:gd name="connsiteX286" fmla="*/ 1269618 w 1614899"/>
                      <a:gd name="connsiteY286" fmla="*/ 1535906 h 1619250"/>
                      <a:gd name="connsiteX287" fmla="*/ 1274381 w 1614899"/>
                      <a:gd name="connsiteY287" fmla="*/ 1526381 h 1619250"/>
                      <a:gd name="connsiteX288" fmla="*/ 1267237 w 1614899"/>
                      <a:gd name="connsiteY288" fmla="*/ 1502569 h 1619250"/>
                      <a:gd name="connsiteX289" fmla="*/ 1252949 w 1614899"/>
                      <a:gd name="connsiteY289" fmla="*/ 1493044 h 1619250"/>
                      <a:gd name="connsiteX290" fmla="*/ 1262474 w 1614899"/>
                      <a:gd name="connsiteY290" fmla="*/ 1478756 h 1619250"/>
                      <a:gd name="connsiteX291" fmla="*/ 1279143 w 1614899"/>
                      <a:gd name="connsiteY291" fmla="*/ 1462087 h 1619250"/>
                      <a:gd name="connsiteX292" fmla="*/ 1302956 w 1614899"/>
                      <a:gd name="connsiteY292" fmla="*/ 1459706 h 1619250"/>
                      <a:gd name="connsiteX293" fmla="*/ 1305337 w 1614899"/>
                      <a:gd name="connsiteY293" fmla="*/ 1450181 h 1619250"/>
                      <a:gd name="connsiteX294" fmla="*/ 1310099 w 1614899"/>
                      <a:gd name="connsiteY294" fmla="*/ 1443037 h 1619250"/>
                      <a:gd name="connsiteX295" fmla="*/ 1312481 w 1614899"/>
                      <a:gd name="connsiteY295" fmla="*/ 1435894 h 1619250"/>
                      <a:gd name="connsiteX296" fmla="*/ 1305337 w 1614899"/>
                      <a:gd name="connsiteY296" fmla="*/ 1428750 h 1619250"/>
                      <a:gd name="connsiteX297" fmla="*/ 1298193 w 1614899"/>
                      <a:gd name="connsiteY297" fmla="*/ 1423987 h 1619250"/>
                      <a:gd name="connsiteX298" fmla="*/ 1295812 w 1614899"/>
                      <a:gd name="connsiteY298" fmla="*/ 1412081 h 1619250"/>
                      <a:gd name="connsiteX299" fmla="*/ 1293431 w 1614899"/>
                      <a:gd name="connsiteY299" fmla="*/ 1402556 h 1619250"/>
                      <a:gd name="connsiteX300" fmla="*/ 1288668 w 1614899"/>
                      <a:gd name="connsiteY300" fmla="*/ 1369219 h 1619250"/>
                      <a:gd name="connsiteX301" fmla="*/ 1286287 w 1614899"/>
                      <a:gd name="connsiteY301" fmla="*/ 1362075 h 1619250"/>
                      <a:gd name="connsiteX302" fmla="*/ 1276762 w 1614899"/>
                      <a:gd name="connsiteY302" fmla="*/ 1345406 h 1619250"/>
                      <a:gd name="connsiteX303" fmla="*/ 1267237 w 1614899"/>
                      <a:gd name="connsiteY303" fmla="*/ 1343025 h 1619250"/>
                      <a:gd name="connsiteX304" fmla="*/ 1260093 w 1614899"/>
                      <a:gd name="connsiteY304" fmla="*/ 1340644 h 1619250"/>
                      <a:gd name="connsiteX305" fmla="*/ 1252949 w 1614899"/>
                      <a:gd name="connsiteY305" fmla="*/ 1307306 h 1619250"/>
                      <a:gd name="connsiteX306" fmla="*/ 1248187 w 1614899"/>
                      <a:gd name="connsiteY306" fmla="*/ 1293019 h 1619250"/>
                      <a:gd name="connsiteX307" fmla="*/ 1243424 w 1614899"/>
                      <a:gd name="connsiteY307" fmla="*/ 1278731 h 1619250"/>
                      <a:gd name="connsiteX308" fmla="*/ 1241043 w 1614899"/>
                      <a:gd name="connsiteY308" fmla="*/ 1271587 h 1619250"/>
                      <a:gd name="connsiteX309" fmla="*/ 1236281 w 1614899"/>
                      <a:gd name="connsiteY309" fmla="*/ 1262062 h 1619250"/>
                      <a:gd name="connsiteX310" fmla="*/ 1231518 w 1614899"/>
                      <a:gd name="connsiteY310" fmla="*/ 1247775 h 1619250"/>
                      <a:gd name="connsiteX311" fmla="*/ 1224374 w 1614899"/>
                      <a:gd name="connsiteY311" fmla="*/ 1240631 h 1619250"/>
                      <a:gd name="connsiteX312" fmla="*/ 1214849 w 1614899"/>
                      <a:gd name="connsiteY312" fmla="*/ 1226344 h 1619250"/>
                      <a:gd name="connsiteX313" fmla="*/ 1195799 w 1614899"/>
                      <a:gd name="connsiteY313" fmla="*/ 1233487 h 1619250"/>
                      <a:gd name="connsiteX314" fmla="*/ 1198181 w 1614899"/>
                      <a:gd name="connsiteY314" fmla="*/ 1240631 h 1619250"/>
                      <a:gd name="connsiteX315" fmla="*/ 1191037 w 1614899"/>
                      <a:gd name="connsiteY315" fmla="*/ 1243012 h 1619250"/>
                      <a:gd name="connsiteX316" fmla="*/ 1164843 w 1614899"/>
                      <a:gd name="connsiteY316" fmla="*/ 1238250 h 1619250"/>
                      <a:gd name="connsiteX317" fmla="*/ 1155318 w 1614899"/>
                      <a:gd name="connsiteY317" fmla="*/ 1223962 h 1619250"/>
                      <a:gd name="connsiteX318" fmla="*/ 1148174 w 1614899"/>
                      <a:gd name="connsiteY318" fmla="*/ 1216819 h 1619250"/>
                      <a:gd name="connsiteX319" fmla="*/ 1138649 w 1614899"/>
                      <a:gd name="connsiteY319" fmla="*/ 1219200 h 1619250"/>
                      <a:gd name="connsiteX320" fmla="*/ 1131506 w 1614899"/>
                      <a:gd name="connsiteY320" fmla="*/ 1221581 h 1619250"/>
                      <a:gd name="connsiteX321" fmla="*/ 1124362 w 1614899"/>
                      <a:gd name="connsiteY321" fmla="*/ 1219200 h 1619250"/>
                      <a:gd name="connsiteX322" fmla="*/ 1107693 w 1614899"/>
                      <a:gd name="connsiteY322" fmla="*/ 1214438 h 1619250"/>
                      <a:gd name="connsiteX323" fmla="*/ 1117218 w 1614899"/>
                      <a:gd name="connsiteY323" fmla="*/ 1193006 h 1619250"/>
                      <a:gd name="connsiteX324" fmla="*/ 1112456 w 1614899"/>
                      <a:gd name="connsiteY324" fmla="*/ 1154906 h 1619250"/>
                      <a:gd name="connsiteX325" fmla="*/ 1107693 w 1614899"/>
                      <a:gd name="connsiteY325" fmla="*/ 1147762 h 1619250"/>
                      <a:gd name="connsiteX326" fmla="*/ 1100549 w 1614899"/>
                      <a:gd name="connsiteY326" fmla="*/ 1145381 h 1619250"/>
                      <a:gd name="connsiteX327" fmla="*/ 1093406 w 1614899"/>
                      <a:gd name="connsiteY327" fmla="*/ 1147762 h 1619250"/>
                      <a:gd name="connsiteX328" fmla="*/ 1062449 w 1614899"/>
                      <a:gd name="connsiteY328" fmla="*/ 1152525 h 1619250"/>
                      <a:gd name="connsiteX329" fmla="*/ 1045781 w 1614899"/>
                      <a:gd name="connsiteY329" fmla="*/ 1150144 h 1619250"/>
                      <a:gd name="connsiteX330" fmla="*/ 1031493 w 1614899"/>
                      <a:gd name="connsiteY330" fmla="*/ 1157288 h 1619250"/>
                      <a:gd name="connsiteX331" fmla="*/ 1050543 w 1614899"/>
                      <a:gd name="connsiteY331" fmla="*/ 1128712 h 1619250"/>
                      <a:gd name="connsiteX332" fmla="*/ 1041018 w 1614899"/>
                      <a:gd name="connsiteY332" fmla="*/ 1107281 h 1619250"/>
                      <a:gd name="connsiteX333" fmla="*/ 1024349 w 1614899"/>
                      <a:gd name="connsiteY333" fmla="*/ 1109662 h 1619250"/>
                      <a:gd name="connsiteX334" fmla="*/ 1014824 w 1614899"/>
                      <a:gd name="connsiteY334" fmla="*/ 1107281 h 1619250"/>
                      <a:gd name="connsiteX335" fmla="*/ 988631 w 1614899"/>
                      <a:gd name="connsiteY335" fmla="*/ 1109662 h 1619250"/>
                      <a:gd name="connsiteX336" fmla="*/ 986249 w 1614899"/>
                      <a:gd name="connsiteY336" fmla="*/ 1102519 h 1619250"/>
                      <a:gd name="connsiteX337" fmla="*/ 979106 w 1614899"/>
                      <a:gd name="connsiteY337" fmla="*/ 1076325 h 1619250"/>
                      <a:gd name="connsiteX338" fmla="*/ 964818 w 1614899"/>
                      <a:gd name="connsiteY338" fmla="*/ 1064419 h 1619250"/>
                      <a:gd name="connsiteX339" fmla="*/ 950531 w 1614899"/>
                      <a:gd name="connsiteY339" fmla="*/ 1054894 h 1619250"/>
                      <a:gd name="connsiteX340" fmla="*/ 943387 w 1614899"/>
                      <a:gd name="connsiteY340" fmla="*/ 1050131 h 1619250"/>
                      <a:gd name="connsiteX341" fmla="*/ 936243 w 1614899"/>
                      <a:gd name="connsiteY341" fmla="*/ 1045369 h 1619250"/>
                      <a:gd name="connsiteX342" fmla="*/ 931481 w 1614899"/>
                      <a:gd name="connsiteY342" fmla="*/ 1038225 h 1619250"/>
                      <a:gd name="connsiteX343" fmla="*/ 917193 w 1614899"/>
                      <a:gd name="connsiteY343" fmla="*/ 1031081 h 1619250"/>
                      <a:gd name="connsiteX344" fmla="*/ 914812 w 1614899"/>
                      <a:gd name="connsiteY344" fmla="*/ 1040606 h 1619250"/>
                      <a:gd name="connsiteX345" fmla="*/ 907668 w 1614899"/>
                      <a:gd name="connsiteY345" fmla="*/ 1042987 h 1619250"/>
                      <a:gd name="connsiteX346" fmla="*/ 886237 w 1614899"/>
                      <a:gd name="connsiteY346" fmla="*/ 1031081 h 1619250"/>
                      <a:gd name="connsiteX347" fmla="*/ 862424 w 1614899"/>
                      <a:gd name="connsiteY347" fmla="*/ 1035844 h 1619250"/>
                      <a:gd name="connsiteX348" fmla="*/ 845756 w 1614899"/>
                      <a:gd name="connsiteY348" fmla="*/ 1040606 h 1619250"/>
                      <a:gd name="connsiteX349" fmla="*/ 840993 w 1614899"/>
                      <a:gd name="connsiteY349" fmla="*/ 1033462 h 1619250"/>
                      <a:gd name="connsiteX350" fmla="*/ 821943 w 1614899"/>
                      <a:gd name="connsiteY350" fmla="*/ 1004887 h 1619250"/>
                      <a:gd name="connsiteX351" fmla="*/ 814799 w 1614899"/>
                      <a:gd name="connsiteY351" fmla="*/ 1000125 h 1619250"/>
                      <a:gd name="connsiteX352" fmla="*/ 779081 w 1614899"/>
                      <a:gd name="connsiteY352" fmla="*/ 995362 h 1619250"/>
                      <a:gd name="connsiteX353" fmla="*/ 771937 w 1614899"/>
                      <a:gd name="connsiteY353" fmla="*/ 988219 h 1619250"/>
                      <a:gd name="connsiteX354" fmla="*/ 762412 w 1614899"/>
                      <a:gd name="connsiteY354" fmla="*/ 966787 h 1619250"/>
                      <a:gd name="connsiteX355" fmla="*/ 755268 w 1614899"/>
                      <a:gd name="connsiteY355" fmla="*/ 962025 h 1619250"/>
                      <a:gd name="connsiteX356" fmla="*/ 733837 w 1614899"/>
                      <a:gd name="connsiteY356" fmla="*/ 962025 h 1619250"/>
                      <a:gd name="connsiteX357" fmla="*/ 731456 w 1614899"/>
                      <a:gd name="connsiteY357" fmla="*/ 950119 h 1619250"/>
                      <a:gd name="connsiteX358" fmla="*/ 729074 w 1614899"/>
                      <a:gd name="connsiteY358" fmla="*/ 942975 h 1619250"/>
                      <a:gd name="connsiteX359" fmla="*/ 726693 w 1614899"/>
                      <a:gd name="connsiteY359" fmla="*/ 921544 h 1619250"/>
                      <a:gd name="connsiteX360" fmla="*/ 724312 w 1614899"/>
                      <a:gd name="connsiteY360" fmla="*/ 914400 h 1619250"/>
                      <a:gd name="connsiteX361" fmla="*/ 717168 w 1614899"/>
                      <a:gd name="connsiteY361" fmla="*/ 909637 h 1619250"/>
                      <a:gd name="connsiteX362" fmla="*/ 710024 w 1614899"/>
                      <a:gd name="connsiteY362" fmla="*/ 907256 h 1619250"/>
                      <a:gd name="connsiteX363" fmla="*/ 681449 w 1614899"/>
                      <a:gd name="connsiteY363" fmla="*/ 902494 h 1619250"/>
                      <a:gd name="connsiteX364" fmla="*/ 674306 w 1614899"/>
                      <a:gd name="connsiteY364" fmla="*/ 897731 h 1619250"/>
                      <a:gd name="connsiteX365" fmla="*/ 667162 w 1614899"/>
                      <a:gd name="connsiteY365" fmla="*/ 883444 h 1619250"/>
                      <a:gd name="connsiteX366" fmla="*/ 657637 w 1614899"/>
                      <a:gd name="connsiteY366" fmla="*/ 881062 h 1619250"/>
                      <a:gd name="connsiteX367" fmla="*/ 650493 w 1614899"/>
                      <a:gd name="connsiteY367" fmla="*/ 873919 h 1619250"/>
                      <a:gd name="connsiteX368" fmla="*/ 648112 w 1614899"/>
                      <a:gd name="connsiteY368" fmla="*/ 866775 h 1619250"/>
                      <a:gd name="connsiteX369" fmla="*/ 643349 w 1614899"/>
                      <a:gd name="connsiteY369" fmla="*/ 859631 h 1619250"/>
                      <a:gd name="connsiteX370" fmla="*/ 631443 w 1614899"/>
                      <a:gd name="connsiteY370" fmla="*/ 838200 h 1619250"/>
                      <a:gd name="connsiteX371" fmla="*/ 624299 w 1614899"/>
                      <a:gd name="connsiteY371" fmla="*/ 833437 h 1619250"/>
                      <a:gd name="connsiteX372" fmla="*/ 593343 w 1614899"/>
                      <a:gd name="connsiteY372" fmla="*/ 835819 h 1619250"/>
                      <a:gd name="connsiteX373" fmla="*/ 586199 w 1614899"/>
                      <a:gd name="connsiteY373" fmla="*/ 816769 h 1619250"/>
                      <a:gd name="connsiteX374" fmla="*/ 569531 w 1614899"/>
                      <a:gd name="connsiteY374" fmla="*/ 795337 h 1619250"/>
                      <a:gd name="connsiteX375" fmla="*/ 564768 w 1614899"/>
                      <a:gd name="connsiteY375" fmla="*/ 788194 h 1619250"/>
                      <a:gd name="connsiteX376" fmla="*/ 557624 w 1614899"/>
                      <a:gd name="connsiteY376" fmla="*/ 785812 h 1619250"/>
                      <a:gd name="connsiteX377" fmla="*/ 550481 w 1614899"/>
                      <a:gd name="connsiteY377" fmla="*/ 781050 h 1619250"/>
                      <a:gd name="connsiteX378" fmla="*/ 536193 w 1614899"/>
                      <a:gd name="connsiteY378" fmla="*/ 776287 h 1619250"/>
                      <a:gd name="connsiteX379" fmla="*/ 538574 w 1614899"/>
                      <a:gd name="connsiteY379" fmla="*/ 747712 h 1619250"/>
                      <a:gd name="connsiteX380" fmla="*/ 533812 w 1614899"/>
                      <a:gd name="connsiteY380" fmla="*/ 740569 h 1619250"/>
                      <a:gd name="connsiteX381" fmla="*/ 519524 w 1614899"/>
                      <a:gd name="connsiteY381" fmla="*/ 731044 h 1619250"/>
                      <a:gd name="connsiteX382" fmla="*/ 512381 w 1614899"/>
                      <a:gd name="connsiteY382" fmla="*/ 735806 h 1619250"/>
                      <a:gd name="connsiteX383" fmla="*/ 505237 w 1614899"/>
                      <a:gd name="connsiteY383" fmla="*/ 738187 h 1619250"/>
                      <a:gd name="connsiteX384" fmla="*/ 507618 w 1614899"/>
                      <a:gd name="connsiteY384" fmla="*/ 723900 h 1619250"/>
                      <a:gd name="connsiteX385" fmla="*/ 505237 w 1614899"/>
                      <a:gd name="connsiteY385" fmla="*/ 688181 h 1619250"/>
                      <a:gd name="connsiteX386" fmla="*/ 493331 w 1614899"/>
                      <a:gd name="connsiteY386" fmla="*/ 666750 h 1619250"/>
                      <a:gd name="connsiteX387" fmla="*/ 486187 w 1614899"/>
                      <a:gd name="connsiteY387" fmla="*/ 659606 h 1619250"/>
                      <a:gd name="connsiteX388" fmla="*/ 481424 w 1614899"/>
                      <a:gd name="connsiteY388" fmla="*/ 652462 h 1619250"/>
                      <a:gd name="connsiteX389" fmla="*/ 479043 w 1614899"/>
                      <a:gd name="connsiteY389" fmla="*/ 614362 h 1619250"/>
                      <a:gd name="connsiteX390" fmla="*/ 474281 w 1614899"/>
                      <a:gd name="connsiteY390" fmla="*/ 595312 h 1619250"/>
                      <a:gd name="connsiteX391" fmla="*/ 467137 w 1614899"/>
                      <a:gd name="connsiteY391" fmla="*/ 578644 h 1619250"/>
                      <a:gd name="connsiteX392" fmla="*/ 459993 w 1614899"/>
                      <a:gd name="connsiteY392" fmla="*/ 571500 h 1619250"/>
                      <a:gd name="connsiteX393" fmla="*/ 440943 w 1614899"/>
                      <a:gd name="connsiteY393" fmla="*/ 554831 h 1619250"/>
                      <a:gd name="connsiteX394" fmla="*/ 426656 w 1614899"/>
                      <a:gd name="connsiteY394" fmla="*/ 550069 h 1619250"/>
                      <a:gd name="connsiteX395" fmla="*/ 424274 w 1614899"/>
                      <a:gd name="connsiteY395" fmla="*/ 557212 h 1619250"/>
                      <a:gd name="connsiteX396" fmla="*/ 414749 w 1614899"/>
                      <a:gd name="connsiteY396" fmla="*/ 552450 h 1619250"/>
                      <a:gd name="connsiteX397" fmla="*/ 407606 w 1614899"/>
                      <a:gd name="connsiteY397" fmla="*/ 545306 h 1619250"/>
                      <a:gd name="connsiteX398" fmla="*/ 390937 w 1614899"/>
                      <a:gd name="connsiteY398" fmla="*/ 535781 h 1619250"/>
                      <a:gd name="connsiteX399" fmla="*/ 383793 w 1614899"/>
                      <a:gd name="connsiteY399" fmla="*/ 528637 h 1619250"/>
                      <a:gd name="connsiteX400" fmla="*/ 374268 w 1614899"/>
                      <a:gd name="connsiteY400" fmla="*/ 526256 h 1619250"/>
                      <a:gd name="connsiteX401" fmla="*/ 352837 w 1614899"/>
                      <a:gd name="connsiteY401" fmla="*/ 519112 h 1619250"/>
                      <a:gd name="connsiteX402" fmla="*/ 345693 w 1614899"/>
                      <a:gd name="connsiteY402" fmla="*/ 516731 h 1619250"/>
                      <a:gd name="connsiteX403" fmla="*/ 338549 w 1614899"/>
                      <a:gd name="connsiteY403" fmla="*/ 514350 h 1619250"/>
                      <a:gd name="connsiteX404" fmla="*/ 326643 w 1614899"/>
                      <a:gd name="connsiteY404" fmla="*/ 504825 h 1619250"/>
                      <a:gd name="connsiteX405" fmla="*/ 321881 w 1614899"/>
                      <a:gd name="connsiteY405" fmla="*/ 497681 h 1619250"/>
                      <a:gd name="connsiteX406" fmla="*/ 314737 w 1614899"/>
                      <a:gd name="connsiteY406" fmla="*/ 490537 h 1619250"/>
                      <a:gd name="connsiteX407" fmla="*/ 307593 w 1614899"/>
                      <a:gd name="connsiteY407" fmla="*/ 485775 h 1619250"/>
                      <a:gd name="connsiteX408" fmla="*/ 293306 w 1614899"/>
                      <a:gd name="connsiteY408" fmla="*/ 481012 h 1619250"/>
                      <a:gd name="connsiteX409" fmla="*/ 269493 w 1614899"/>
                      <a:gd name="connsiteY409" fmla="*/ 483394 h 1619250"/>
                      <a:gd name="connsiteX410" fmla="*/ 259968 w 1614899"/>
                      <a:gd name="connsiteY410" fmla="*/ 490537 h 1619250"/>
                      <a:gd name="connsiteX411" fmla="*/ 243299 w 1614899"/>
                      <a:gd name="connsiteY411" fmla="*/ 497681 h 1619250"/>
                      <a:gd name="connsiteX412" fmla="*/ 236156 w 1614899"/>
                      <a:gd name="connsiteY412" fmla="*/ 502444 h 1619250"/>
                      <a:gd name="connsiteX413" fmla="*/ 233774 w 1614899"/>
                      <a:gd name="connsiteY413" fmla="*/ 509587 h 1619250"/>
                      <a:gd name="connsiteX414" fmla="*/ 231393 w 1614899"/>
                      <a:gd name="connsiteY414" fmla="*/ 519112 h 1619250"/>
                      <a:gd name="connsiteX415" fmla="*/ 224249 w 1614899"/>
                      <a:gd name="connsiteY415" fmla="*/ 521494 h 1619250"/>
                      <a:gd name="connsiteX416" fmla="*/ 209962 w 1614899"/>
                      <a:gd name="connsiteY416" fmla="*/ 528637 h 1619250"/>
                      <a:gd name="connsiteX417" fmla="*/ 200437 w 1614899"/>
                      <a:gd name="connsiteY417" fmla="*/ 542925 h 1619250"/>
                      <a:gd name="connsiteX418" fmla="*/ 195674 w 1614899"/>
                      <a:gd name="connsiteY418" fmla="*/ 557212 h 1619250"/>
                      <a:gd name="connsiteX419" fmla="*/ 188531 w 1614899"/>
                      <a:gd name="connsiteY419" fmla="*/ 559594 h 1619250"/>
                      <a:gd name="connsiteX420" fmla="*/ 176624 w 1614899"/>
                      <a:gd name="connsiteY420" fmla="*/ 564356 h 1619250"/>
                      <a:gd name="connsiteX421" fmla="*/ 164718 w 1614899"/>
                      <a:gd name="connsiteY421" fmla="*/ 566737 h 1619250"/>
                      <a:gd name="connsiteX422" fmla="*/ 157574 w 1614899"/>
                      <a:gd name="connsiteY422" fmla="*/ 569119 h 1619250"/>
                      <a:gd name="connsiteX423" fmla="*/ 148049 w 1614899"/>
                      <a:gd name="connsiteY423" fmla="*/ 571500 h 1619250"/>
                      <a:gd name="connsiteX424" fmla="*/ 140906 w 1614899"/>
                      <a:gd name="connsiteY424" fmla="*/ 573881 h 1619250"/>
                      <a:gd name="connsiteX425" fmla="*/ 121856 w 1614899"/>
                      <a:gd name="connsiteY425" fmla="*/ 576262 h 1619250"/>
                      <a:gd name="connsiteX426" fmla="*/ 119474 w 1614899"/>
                      <a:gd name="connsiteY426" fmla="*/ 571500 h 1619250"/>
                      <a:gd name="connsiteX427" fmla="*/ 128999 w 1614899"/>
                      <a:gd name="connsiteY427" fmla="*/ 557212 h 1619250"/>
                      <a:gd name="connsiteX428" fmla="*/ 131381 w 1614899"/>
                      <a:gd name="connsiteY428" fmla="*/ 550069 h 1619250"/>
                      <a:gd name="connsiteX429" fmla="*/ 140906 w 1614899"/>
                      <a:gd name="connsiteY429" fmla="*/ 535781 h 1619250"/>
                      <a:gd name="connsiteX430" fmla="*/ 133762 w 1614899"/>
                      <a:gd name="connsiteY430" fmla="*/ 533400 h 1619250"/>
                      <a:gd name="connsiteX431" fmla="*/ 128999 w 1614899"/>
                      <a:gd name="connsiteY431" fmla="*/ 516731 h 1619250"/>
                      <a:gd name="connsiteX432" fmla="*/ 69468 w 1614899"/>
                      <a:gd name="connsiteY432" fmla="*/ 514350 h 1619250"/>
                      <a:gd name="connsiteX433" fmla="*/ 67087 w 1614899"/>
                      <a:gd name="connsiteY433" fmla="*/ 507206 h 1619250"/>
                      <a:gd name="connsiteX434" fmla="*/ 52799 w 1614899"/>
                      <a:gd name="connsiteY434" fmla="*/ 497681 h 1619250"/>
                      <a:gd name="connsiteX435" fmla="*/ 55181 w 1614899"/>
                      <a:gd name="connsiteY435" fmla="*/ 488156 h 1619250"/>
                      <a:gd name="connsiteX436" fmla="*/ 40893 w 1614899"/>
                      <a:gd name="connsiteY436" fmla="*/ 483394 h 1619250"/>
                      <a:gd name="connsiteX437" fmla="*/ 38512 w 1614899"/>
                      <a:gd name="connsiteY437" fmla="*/ 471487 h 1619250"/>
                      <a:gd name="connsiteX438" fmla="*/ 36131 w 1614899"/>
                      <a:gd name="connsiteY438" fmla="*/ 464344 h 1619250"/>
                      <a:gd name="connsiteX439" fmla="*/ 38512 w 1614899"/>
                      <a:gd name="connsiteY439" fmla="*/ 452437 h 1619250"/>
                      <a:gd name="connsiteX440" fmla="*/ 38512 w 1614899"/>
                      <a:gd name="connsiteY440" fmla="*/ 428625 h 1619250"/>
                      <a:gd name="connsiteX441" fmla="*/ 45656 w 1614899"/>
                      <a:gd name="connsiteY441" fmla="*/ 426244 h 1619250"/>
                      <a:gd name="connsiteX442" fmla="*/ 52799 w 1614899"/>
                      <a:gd name="connsiteY442" fmla="*/ 421481 h 1619250"/>
                      <a:gd name="connsiteX443" fmla="*/ 59943 w 1614899"/>
                      <a:gd name="connsiteY443" fmla="*/ 419100 h 1619250"/>
                      <a:gd name="connsiteX444" fmla="*/ 64706 w 1614899"/>
                      <a:gd name="connsiteY444" fmla="*/ 411956 h 1619250"/>
                      <a:gd name="connsiteX445" fmla="*/ 55181 w 1614899"/>
                      <a:gd name="connsiteY445" fmla="*/ 392906 h 1619250"/>
                      <a:gd name="connsiteX446" fmla="*/ 40893 w 1614899"/>
                      <a:gd name="connsiteY446" fmla="*/ 388144 h 1619250"/>
                      <a:gd name="connsiteX447" fmla="*/ 33749 w 1614899"/>
                      <a:gd name="connsiteY447" fmla="*/ 390525 h 1619250"/>
                      <a:gd name="connsiteX448" fmla="*/ 28987 w 1614899"/>
                      <a:gd name="connsiteY448" fmla="*/ 390525 h 1619250"/>
                      <a:gd name="connsiteX449" fmla="*/ 21843 w 1614899"/>
                      <a:gd name="connsiteY449" fmla="*/ 388144 h 1619250"/>
                      <a:gd name="connsiteX450" fmla="*/ 14699 w 1614899"/>
                      <a:gd name="connsiteY450" fmla="*/ 364331 h 1619250"/>
                      <a:gd name="connsiteX451" fmla="*/ 2793 w 1614899"/>
                      <a:gd name="connsiteY451" fmla="*/ 361950 h 1619250"/>
                      <a:gd name="connsiteX452" fmla="*/ 2793 w 1614899"/>
                      <a:gd name="connsiteY452" fmla="*/ 345281 h 1619250"/>
                      <a:gd name="connsiteX453" fmla="*/ 17081 w 1614899"/>
                      <a:gd name="connsiteY453" fmla="*/ 340519 h 1619250"/>
                      <a:gd name="connsiteX454" fmla="*/ 24224 w 1614899"/>
                      <a:gd name="connsiteY454" fmla="*/ 347662 h 1619250"/>
                      <a:gd name="connsiteX455" fmla="*/ 40893 w 1614899"/>
                      <a:gd name="connsiteY455" fmla="*/ 342900 h 1619250"/>
                      <a:gd name="connsiteX456" fmla="*/ 57562 w 1614899"/>
                      <a:gd name="connsiteY456" fmla="*/ 333375 h 1619250"/>
                      <a:gd name="connsiteX457" fmla="*/ 64706 w 1614899"/>
                      <a:gd name="connsiteY457" fmla="*/ 328612 h 1619250"/>
                      <a:gd name="connsiteX458" fmla="*/ 71849 w 1614899"/>
                      <a:gd name="connsiteY458" fmla="*/ 326231 h 1619250"/>
                      <a:gd name="connsiteX459" fmla="*/ 90899 w 1614899"/>
                      <a:gd name="connsiteY459" fmla="*/ 321469 h 1619250"/>
                      <a:gd name="connsiteX460" fmla="*/ 86137 w 1614899"/>
                      <a:gd name="connsiteY460" fmla="*/ 311944 h 1619250"/>
                      <a:gd name="connsiteX461" fmla="*/ 88518 w 1614899"/>
                      <a:gd name="connsiteY461" fmla="*/ 292894 h 1619250"/>
                      <a:gd name="connsiteX462" fmla="*/ 90899 w 1614899"/>
                      <a:gd name="connsiteY462" fmla="*/ 285750 h 1619250"/>
                      <a:gd name="connsiteX463" fmla="*/ 76612 w 1614899"/>
                      <a:gd name="connsiteY463" fmla="*/ 280987 h 1619250"/>
                      <a:gd name="connsiteX464" fmla="*/ 71849 w 1614899"/>
                      <a:gd name="connsiteY464" fmla="*/ 273844 h 1619250"/>
                      <a:gd name="connsiteX465" fmla="*/ 67087 w 1614899"/>
                      <a:gd name="connsiteY465" fmla="*/ 250031 h 1619250"/>
                      <a:gd name="connsiteX466" fmla="*/ 45656 w 1614899"/>
                      <a:gd name="connsiteY466" fmla="*/ 250031 h 1619250"/>
                      <a:gd name="connsiteX467" fmla="*/ 40893 w 1614899"/>
                      <a:gd name="connsiteY467" fmla="*/ 242887 h 1619250"/>
                      <a:gd name="connsiteX468" fmla="*/ 43274 w 1614899"/>
                      <a:gd name="connsiteY468" fmla="*/ 223837 h 1619250"/>
                      <a:gd name="connsiteX469" fmla="*/ 57562 w 1614899"/>
                      <a:gd name="connsiteY469" fmla="*/ 211931 h 1619250"/>
                      <a:gd name="connsiteX470" fmla="*/ 74231 w 1614899"/>
                      <a:gd name="connsiteY470" fmla="*/ 200025 h 1619250"/>
                      <a:gd name="connsiteX471" fmla="*/ 81374 w 1614899"/>
                      <a:gd name="connsiteY471" fmla="*/ 202406 h 1619250"/>
                      <a:gd name="connsiteX472" fmla="*/ 83756 w 1614899"/>
                      <a:gd name="connsiteY472" fmla="*/ 209550 h 1619250"/>
                      <a:gd name="connsiteX473" fmla="*/ 102806 w 1614899"/>
                      <a:gd name="connsiteY473" fmla="*/ 204787 h 1619250"/>
                      <a:gd name="connsiteX474" fmla="*/ 109949 w 1614899"/>
                      <a:gd name="connsiteY474" fmla="*/ 200025 h 1619250"/>
                      <a:gd name="connsiteX475" fmla="*/ 119474 w 1614899"/>
                      <a:gd name="connsiteY475" fmla="*/ 197644 h 1619250"/>
                      <a:gd name="connsiteX476" fmla="*/ 133762 w 1614899"/>
                      <a:gd name="connsiteY476" fmla="*/ 192881 h 1619250"/>
                      <a:gd name="connsiteX477" fmla="*/ 140906 w 1614899"/>
                      <a:gd name="connsiteY477" fmla="*/ 190500 h 1619250"/>
                      <a:gd name="connsiteX478" fmla="*/ 148049 w 1614899"/>
                      <a:gd name="connsiteY478" fmla="*/ 195262 h 1619250"/>
                      <a:gd name="connsiteX479" fmla="*/ 155193 w 1614899"/>
                      <a:gd name="connsiteY479" fmla="*/ 204787 h 1619250"/>
                      <a:gd name="connsiteX480" fmla="*/ 164718 w 1614899"/>
                      <a:gd name="connsiteY480" fmla="*/ 202406 h 1619250"/>
                      <a:gd name="connsiteX481" fmla="*/ 190912 w 1614899"/>
                      <a:gd name="connsiteY481" fmla="*/ 200025 h 1619250"/>
                      <a:gd name="connsiteX482" fmla="*/ 193293 w 1614899"/>
                      <a:gd name="connsiteY482" fmla="*/ 192881 h 1619250"/>
                      <a:gd name="connsiteX483" fmla="*/ 198056 w 1614899"/>
                      <a:gd name="connsiteY483" fmla="*/ 185737 h 1619250"/>
                      <a:gd name="connsiteX484" fmla="*/ 195674 w 1614899"/>
                      <a:gd name="connsiteY484" fmla="*/ 178594 h 1619250"/>
                      <a:gd name="connsiteX485" fmla="*/ 186149 w 1614899"/>
                      <a:gd name="connsiteY485" fmla="*/ 159544 h 1619250"/>
                      <a:gd name="connsiteX486" fmla="*/ 217106 w 1614899"/>
                      <a:gd name="connsiteY486" fmla="*/ 152400 h 1619250"/>
                      <a:gd name="connsiteX487" fmla="*/ 209962 w 1614899"/>
                      <a:gd name="connsiteY487" fmla="*/ 145256 h 1619250"/>
                      <a:gd name="connsiteX488" fmla="*/ 202818 w 1614899"/>
                      <a:gd name="connsiteY488" fmla="*/ 140494 h 1619250"/>
                      <a:gd name="connsiteX489" fmla="*/ 212343 w 1614899"/>
                      <a:gd name="connsiteY489" fmla="*/ 133350 h 1619250"/>
                      <a:gd name="connsiteX490" fmla="*/ 233774 w 1614899"/>
                      <a:gd name="connsiteY490" fmla="*/ 123825 h 1619250"/>
                      <a:gd name="connsiteX491" fmla="*/ 238537 w 1614899"/>
                      <a:gd name="connsiteY491" fmla="*/ 116681 h 1619250"/>
                      <a:gd name="connsiteX492" fmla="*/ 240918 w 1614899"/>
                      <a:gd name="connsiteY492" fmla="*/ 107156 h 1619250"/>
                      <a:gd name="connsiteX493" fmla="*/ 248062 w 1614899"/>
                      <a:gd name="connsiteY493" fmla="*/ 109537 h 1619250"/>
                      <a:gd name="connsiteX494" fmla="*/ 250443 w 1614899"/>
                      <a:gd name="connsiteY494" fmla="*/ 116681 h 1619250"/>
                      <a:gd name="connsiteX495" fmla="*/ 252824 w 1614899"/>
                      <a:gd name="connsiteY495" fmla="*/ 130969 h 1619250"/>
                      <a:gd name="connsiteX496" fmla="*/ 269493 w 1614899"/>
                      <a:gd name="connsiteY496" fmla="*/ 138112 h 1619250"/>
                      <a:gd name="connsiteX497" fmla="*/ 271874 w 1614899"/>
                      <a:gd name="connsiteY497" fmla="*/ 145256 h 1619250"/>
                      <a:gd name="connsiteX498" fmla="*/ 264731 w 1614899"/>
                      <a:gd name="connsiteY498" fmla="*/ 152400 h 1619250"/>
                      <a:gd name="connsiteX499" fmla="*/ 262349 w 1614899"/>
                      <a:gd name="connsiteY499" fmla="*/ 159544 h 1619250"/>
                      <a:gd name="connsiteX500" fmla="*/ 264731 w 1614899"/>
                      <a:gd name="connsiteY500" fmla="*/ 173831 h 1619250"/>
                      <a:gd name="connsiteX501" fmla="*/ 274256 w 1614899"/>
                      <a:gd name="connsiteY501" fmla="*/ 176212 h 1619250"/>
                      <a:gd name="connsiteX502" fmla="*/ 295687 w 1614899"/>
                      <a:gd name="connsiteY502" fmla="*/ 178594 h 1619250"/>
                      <a:gd name="connsiteX503" fmla="*/ 293306 w 1614899"/>
                      <a:gd name="connsiteY503" fmla="*/ 185737 h 1619250"/>
                      <a:gd name="connsiteX504" fmla="*/ 295687 w 1614899"/>
                      <a:gd name="connsiteY504" fmla="*/ 200025 h 1619250"/>
                      <a:gd name="connsiteX505" fmla="*/ 302831 w 1614899"/>
                      <a:gd name="connsiteY505" fmla="*/ 216694 h 1619250"/>
                      <a:gd name="connsiteX506" fmla="*/ 307593 w 1614899"/>
                      <a:gd name="connsiteY506" fmla="*/ 223837 h 1619250"/>
                      <a:gd name="connsiteX507" fmla="*/ 314737 w 1614899"/>
                      <a:gd name="connsiteY507" fmla="*/ 228600 h 1619250"/>
                      <a:gd name="connsiteX508" fmla="*/ 326643 w 1614899"/>
                      <a:gd name="connsiteY508" fmla="*/ 226219 h 1619250"/>
                      <a:gd name="connsiteX509" fmla="*/ 321881 w 1614899"/>
                      <a:gd name="connsiteY509" fmla="*/ 200025 h 1619250"/>
                      <a:gd name="connsiteX510" fmla="*/ 314737 w 1614899"/>
                      <a:gd name="connsiteY510" fmla="*/ 197644 h 1619250"/>
                      <a:gd name="connsiteX511" fmla="*/ 324262 w 1614899"/>
                      <a:gd name="connsiteY511" fmla="*/ 180975 h 1619250"/>
                      <a:gd name="connsiteX512" fmla="*/ 329024 w 1614899"/>
                      <a:gd name="connsiteY512" fmla="*/ 173831 h 1619250"/>
                      <a:gd name="connsiteX513" fmla="*/ 343312 w 1614899"/>
                      <a:gd name="connsiteY513" fmla="*/ 159544 h 1619250"/>
                      <a:gd name="connsiteX514" fmla="*/ 348074 w 1614899"/>
                      <a:gd name="connsiteY514" fmla="*/ 145256 h 1619250"/>
                      <a:gd name="connsiteX515" fmla="*/ 350456 w 1614899"/>
                      <a:gd name="connsiteY515" fmla="*/ 114300 h 1619250"/>
                      <a:gd name="connsiteX516" fmla="*/ 357599 w 1614899"/>
                      <a:gd name="connsiteY516" fmla="*/ 111919 h 1619250"/>
                      <a:gd name="connsiteX517" fmla="*/ 364743 w 1614899"/>
                      <a:gd name="connsiteY517" fmla="*/ 114300 h 1619250"/>
                      <a:gd name="connsiteX518" fmla="*/ 371887 w 1614899"/>
                      <a:gd name="connsiteY518" fmla="*/ 114300 h 1619250"/>
                      <a:gd name="connsiteX519" fmla="*/ 381412 w 1614899"/>
                      <a:gd name="connsiteY519" fmla="*/ 138112 h 1619250"/>
                      <a:gd name="connsiteX520" fmla="*/ 395699 w 1614899"/>
                      <a:gd name="connsiteY520" fmla="*/ 150019 h 1619250"/>
                      <a:gd name="connsiteX521" fmla="*/ 409987 w 1614899"/>
                      <a:gd name="connsiteY521" fmla="*/ 147637 h 1619250"/>
                      <a:gd name="connsiteX522" fmla="*/ 412368 w 1614899"/>
                      <a:gd name="connsiteY522" fmla="*/ 133350 h 1619250"/>
                      <a:gd name="connsiteX523" fmla="*/ 426656 w 1614899"/>
                      <a:gd name="connsiteY523" fmla="*/ 128587 h 1619250"/>
                      <a:gd name="connsiteX524" fmla="*/ 433799 w 1614899"/>
                      <a:gd name="connsiteY524" fmla="*/ 142875 h 1619250"/>
                      <a:gd name="connsiteX525" fmla="*/ 448087 w 1614899"/>
                      <a:gd name="connsiteY525" fmla="*/ 161925 h 1619250"/>
                      <a:gd name="connsiteX526" fmla="*/ 464756 w 1614899"/>
                      <a:gd name="connsiteY526" fmla="*/ 159544 h 1619250"/>
                      <a:gd name="connsiteX527" fmla="*/ 452849 w 1614899"/>
                      <a:gd name="connsiteY527" fmla="*/ 138112 h 1619250"/>
                      <a:gd name="connsiteX528" fmla="*/ 450468 w 1614899"/>
                      <a:gd name="connsiteY528" fmla="*/ 111919 h 1619250"/>
                      <a:gd name="connsiteX529" fmla="*/ 443324 w 1614899"/>
                      <a:gd name="connsiteY529" fmla="*/ 107156 h 1619250"/>
                      <a:gd name="connsiteX530" fmla="*/ 440943 w 1614899"/>
                      <a:gd name="connsiteY530" fmla="*/ 100012 h 1619250"/>
                      <a:gd name="connsiteX531" fmla="*/ 450468 w 1614899"/>
                      <a:gd name="connsiteY531" fmla="*/ 88106 h 1619250"/>
                      <a:gd name="connsiteX532" fmla="*/ 476662 w 1614899"/>
                      <a:gd name="connsiteY532" fmla="*/ 90487 h 1619250"/>
                      <a:gd name="connsiteX533" fmla="*/ 486187 w 1614899"/>
                      <a:gd name="connsiteY533" fmla="*/ 92869 h 1619250"/>
                      <a:gd name="connsiteX534" fmla="*/ 493331 w 1614899"/>
                      <a:gd name="connsiteY534" fmla="*/ 97631 h 1619250"/>
                      <a:gd name="connsiteX535" fmla="*/ 502856 w 1614899"/>
                      <a:gd name="connsiteY535" fmla="*/ 95250 h 1619250"/>
                      <a:gd name="connsiteX536" fmla="*/ 509999 w 1614899"/>
                      <a:gd name="connsiteY536" fmla="*/ 90487 h 1619250"/>
                      <a:gd name="connsiteX537" fmla="*/ 507618 w 1614899"/>
                      <a:gd name="connsiteY537" fmla="*/ 83344 h 1619250"/>
                      <a:gd name="connsiteX538" fmla="*/ 500474 w 1614899"/>
                      <a:gd name="connsiteY538" fmla="*/ 80962 h 1619250"/>
                      <a:gd name="connsiteX539" fmla="*/ 493331 w 1614899"/>
                      <a:gd name="connsiteY539" fmla="*/ 76200 h 1619250"/>
                      <a:gd name="connsiteX540" fmla="*/ 495712 w 1614899"/>
                      <a:gd name="connsiteY540"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19549 w 1614899"/>
                      <a:gd name="connsiteY86" fmla="*/ 328612 h 1619250"/>
                      <a:gd name="connsiteX87" fmla="*/ 714787 w 1614899"/>
                      <a:gd name="connsiteY87" fmla="*/ 335756 h 1619250"/>
                      <a:gd name="connsiteX88" fmla="*/ 717168 w 1614899"/>
                      <a:gd name="connsiteY88" fmla="*/ 342900 h 1619250"/>
                      <a:gd name="connsiteX89" fmla="*/ 721931 w 1614899"/>
                      <a:gd name="connsiteY89" fmla="*/ 347662 h 1619250"/>
                      <a:gd name="connsiteX90" fmla="*/ 733837 w 1614899"/>
                      <a:gd name="connsiteY90" fmla="*/ 357187 h 1619250"/>
                      <a:gd name="connsiteX91" fmla="*/ 740981 w 1614899"/>
                      <a:gd name="connsiteY91" fmla="*/ 354806 h 1619250"/>
                      <a:gd name="connsiteX92" fmla="*/ 755268 w 1614899"/>
                      <a:gd name="connsiteY92" fmla="*/ 350044 h 1619250"/>
                      <a:gd name="connsiteX93" fmla="*/ 752887 w 1614899"/>
                      <a:gd name="connsiteY93" fmla="*/ 359569 h 1619250"/>
                      <a:gd name="connsiteX94" fmla="*/ 755268 w 1614899"/>
                      <a:gd name="connsiteY94" fmla="*/ 371475 h 1619250"/>
                      <a:gd name="connsiteX95" fmla="*/ 762412 w 1614899"/>
                      <a:gd name="connsiteY95" fmla="*/ 373856 h 1619250"/>
                      <a:gd name="connsiteX96" fmla="*/ 745743 w 1614899"/>
                      <a:gd name="connsiteY96" fmla="*/ 390525 h 1619250"/>
                      <a:gd name="connsiteX97" fmla="*/ 750506 w 1614899"/>
                      <a:gd name="connsiteY97" fmla="*/ 397669 h 1619250"/>
                      <a:gd name="connsiteX98" fmla="*/ 745743 w 1614899"/>
                      <a:gd name="connsiteY98" fmla="*/ 411956 h 1619250"/>
                      <a:gd name="connsiteX99" fmla="*/ 731456 w 1614899"/>
                      <a:gd name="connsiteY99" fmla="*/ 404812 h 1619250"/>
                      <a:gd name="connsiteX100" fmla="*/ 724312 w 1614899"/>
                      <a:gd name="connsiteY100" fmla="*/ 409575 h 1619250"/>
                      <a:gd name="connsiteX101" fmla="*/ 721931 w 1614899"/>
                      <a:gd name="connsiteY101" fmla="*/ 416719 h 1619250"/>
                      <a:gd name="connsiteX102" fmla="*/ 736218 w 1614899"/>
                      <a:gd name="connsiteY102" fmla="*/ 426244 h 1619250"/>
                      <a:gd name="connsiteX103" fmla="*/ 731456 w 1614899"/>
                      <a:gd name="connsiteY103" fmla="*/ 442912 h 1619250"/>
                      <a:gd name="connsiteX104" fmla="*/ 729074 w 1614899"/>
                      <a:gd name="connsiteY104" fmla="*/ 450056 h 1619250"/>
                      <a:gd name="connsiteX105" fmla="*/ 731456 w 1614899"/>
                      <a:gd name="connsiteY105" fmla="*/ 481012 h 1619250"/>
                      <a:gd name="connsiteX106" fmla="*/ 736218 w 1614899"/>
                      <a:gd name="connsiteY106" fmla="*/ 488156 h 1619250"/>
                      <a:gd name="connsiteX107" fmla="*/ 743362 w 1614899"/>
                      <a:gd name="connsiteY107" fmla="*/ 509587 h 1619250"/>
                      <a:gd name="connsiteX108" fmla="*/ 745743 w 1614899"/>
                      <a:gd name="connsiteY108" fmla="*/ 516731 h 1619250"/>
                      <a:gd name="connsiteX109" fmla="*/ 760031 w 1614899"/>
                      <a:gd name="connsiteY109" fmla="*/ 526256 h 1619250"/>
                      <a:gd name="connsiteX110" fmla="*/ 764793 w 1614899"/>
                      <a:gd name="connsiteY110" fmla="*/ 533400 h 1619250"/>
                      <a:gd name="connsiteX111" fmla="*/ 769556 w 1614899"/>
                      <a:gd name="connsiteY111" fmla="*/ 547687 h 1619250"/>
                      <a:gd name="connsiteX112" fmla="*/ 769556 w 1614899"/>
                      <a:gd name="connsiteY112" fmla="*/ 542925 h 1619250"/>
                      <a:gd name="connsiteX113" fmla="*/ 776699 w 1614899"/>
                      <a:gd name="connsiteY113" fmla="*/ 550069 h 1619250"/>
                      <a:gd name="connsiteX114" fmla="*/ 793368 w 1614899"/>
                      <a:gd name="connsiteY114" fmla="*/ 552450 h 1619250"/>
                      <a:gd name="connsiteX115" fmla="*/ 807656 w 1614899"/>
                      <a:gd name="connsiteY115" fmla="*/ 557212 h 1619250"/>
                      <a:gd name="connsiteX116" fmla="*/ 814799 w 1614899"/>
                      <a:gd name="connsiteY116" fmla="*/ 559594 h 1619250"/>
                      <a:gd name="connsiteX117" fmla="*/ 821943 w 1614899"/>
                      <a:gd name="connsiteY117" fmla="*/ 566737 h 1619250"/>
                      <a:gd name="connsiteX118" fmla="*/ 829087 w 1614899"/>
                      <a:gd name="connsiteY118" fmla="*/ 569119 h 1619250"/>
                      <a:gd name="connsiteX119" fmla="*/ 836231 w 1614899"/>
                      <a:gd name="connsiteY119" fmla="*/ 573881 h 1619250"/>
                      <a:gd name="connsiteX120" fmla="*/ 843374 w 1614899"/>
                      <a:gd name="connsiteY120" fmla="*/ 588169 h 1619250"/>
                      <a:gd name="connsiteX121" fmla="*/ 852899 w 1614899"/>
                      <a:gd name="connsiteY121" fmla="*/ 597694 h 1619250"/>
                      <a:gd name="connsiteX122" fmla="*/ 902906 w 1614899"/>
                      <a:gd name="connsiteY122" fmla="*/ 604837 h 1619250"/>
                      <a:gd name="connsiteX123" fmla="*/ 914812 w 1614899"/>
                      <a:gd name="connsiteY123" fmla="*/ 626269 h 1619250"/>
                      <a:gd name="connsiteX124" fmla="*/ 919574 w 1614899"/>
                      <a:gd name="connsiteY124" fmla="*/ 633412 h 1619250"/>
                      <a:gd name="connsiteX125" fmla="*/ 919574 w 1614899"/>
                      <a:gd name="connsiteY125" fmla="*/ 671512 h 1619250"/>
                      <a:gd name="connsiteX126" fmla="*/ 926718 w 1614899"/>
                      <a:gd name="connsiteY126" fmla="*/ 676275 h 1619250"/>
                      <a:gd name="connsiteX127" fmla="*/ 933862 w 1614899"/>
                      <a:gd name="connsiteY127" fmla="*/ 690562 h 1619250"/>
                      <a:gd name="connsiteX128" fmla="*/ 936243 w 1614899"/>
                      <a:gd name="connsiteY128" fmla="*/ 702469 h 1619250"/>
                      <a:gd name="connsiteX129" fmla="*/ 943387 w 1614899"/>
                      <a:gd name="connsiteY129" fmla="*/ 709612 h 1619250"/>
                      <a:gd name="connsiteX130" fmla="*/ 945768 w 1614899"/>
                      <a:gd name="connsiteY130" fmla="*/ 723900 h 1619250"/>
                      <a:gd name="connsiteX131" fmla="*/ 955293 w 1614899"/>
                      <a:gd name="connsiteY131" fmla="*/ 738187 h 1619250"/>
                      <a:gd name="connsiteX132" fmla="*/ 964818 w 1614899"/>
                      <a:gd name="connsiteY132" fmla="*/ 752475 h 1619250"/>
                      <a:gd name="connsiteX133" fmla="*/ 967199 w 1614899"/>
                      <a:gd name="connsiteY133" fmla="*/ 759619 h 1619250"/>
                      <a:gd name="connsiteX134" fmla="*/ 974343 w 1614899"/>
                      <a:gd name="connsiteY134" fmla="*/ 769144 h 1619250"/>
                      <a:gd name="connsiteX135" fmla="*/ 979106 w 1614899"/>
                      <a:gd name="connsiteY135" fmla="*/ 783431 h 1619250"/>
                      <a:gd name="connsiteX136" fmla="*/ 981487 w 1614899"/>
                      <a:gd name="connsiteY136" fmla="*/ 790575 h 1619250"/>
                      <a:gd name="connsiteX137" fmla="*/ 991012 w 1614899"/>
                      <a:gd name="connsiteY137" fmla="*/ 804862 h 1619250"/>
                      <a:gd name="connsiteX138" fmla="*/ 998156 w 1614899"/>
                      <a:gd name="connsiteY138" fmla="*/ 819150 h 1619250"/>
                      <a:gd name="connsiteX139" fmla="*/ 1000537 w 1614899"/>
                      <a:gd name="connsiteY139" fmla="*/ 826294 h 1619250"/>
                      <a:gd name="connsiteX140" fmla="*/ 1007681 w 1614899"/>
                      <a:gd name="connsiteY140" fmla="*/ 828675 h 1619250"/>
                      <a:gd name="connsiteX141" fmla="*/ 1014824 w 1614899"/>
                      <a:gd name="connsiteY141" fmla="*/ 833437 h 1619250"/>
                      <a:gd name="connsiteX142" fmla="*/ 1029112 w 1614899"/>
                      <a:gd name="connsiteY142" fmla="*/ 838200 h 1619250"/>
                      <a:gd name="connsiteX143" fmla="*/ 1033874 w 1614899"/>
                      <a:gd name="connsiteY143" fmla="*/ 845344 h 1619250"/>
                      <a:gd name="connsiteX144" fmla="*/ 1048162 w 1614899"/>
                      <a:gd name="connsiteY144" fmla="*/ 857250 h 1619250"/>
                      <a:gd name="connsiteX145" fmla="*/ 1062449 w 1614899"/>
                      <a:gd name="connsiteY145" fmla="*/ 862012 h 1619250"/>
                      <a:gd name="connsiteX146" fmla="*/ 1079118 w 1614899"/>
                      <a:gd name="connsiteY146" fmla="*/ 883444 h 1619250"/>
                      <a:gd name="connsiteX147" fmla="*/ 1081499 w 1614899"/>
                      <a:gd name="connsiteY147" fmla="*/ 890587 h 1619250"/>
                      <a:gd name="connsiteX148" fmla="*/ 1095787 w 1614899"/>
                      <a:gd name="connsiteY148" fmla="*/ 883444 h 1619250"/>
                      <a:gd name="connsiteX149" fmla="*/ 1110074 w 1614899"/>
                      <a:gd name="connsiteY149" fmla="*/ 890587 h 1619250"/>
                      <a:gd name="connsiteX150" fmla="*/ 1121981 w 1614899"/>
                      <a:gd name="connsiteY150" fmla="*/ 902494 h 1619250"/>
                      <a:gd name="connsiteX151" fmla="*/ 1136268 w 1614899"/>
                      <a:gd name="connsiteY151" fmla="*/ 907256 h 1619250"/>
                      <a:gd name="connsiteX152" fmla="*/ 1176749 w 1614899"/>
                      <a:gd name="connsiteY152" fmla="*/ 904875 h 1619250"/>
                      <a:gd name="connsiteX153" fmla="*/ 1195799 w 1614899"/>
                      <a:gd name="connsiteY153" fmla="*/ 904875 h 1619250"/>
                      <a:gd name="connsiteX154" fmla="*/ 1207706 w 1614899"/>
                      <a:gd name="connsiteY154" fmla="*/ 912019 h 1619250"/>
                      <a:gd name="connsiteX155" fmla="*/ 1210087 w 1614899"/>
                      <a:gd name="connsiteY155" fmla="*/ 902494 h 1619250"/>
                      <a:gd name="connsiteX156" fmla="*/ 1219612 w 1614899"/>
                      <a:gd name="connsiteY156" fmla="*/ 900112 h 1619250"/>
                      <a:gd name="connsiteX157" fmla="*/ 1226756 w 1614899"/>
                      <a:gd name="connsiteY157" fmla="*/ 895350 h 1619250"/>
                      <a:gd name="connsiteX158" fmla="*/ 1241043 w 1614899"/>
                      <a:gd name="connsiteY158" fmla="*/ 890587 h 1619250"/>
                      <a:gd name="connsiteX159" fmla="*/ 1255331 w 1614899"/>
                      <a:gd name="connsiteY159" fmla="*/ 892969 h 1619250"/>
                      <a:gd name="connsiteX160" fmla="*/ 1260093 w 1614899"/>
                      <a:gd name="connsiteY160" fmla="*/ 900112 h 1619250"/>
                      <a:gd name="connsiteX161" fmla="*/ 1267237 w 1614899"/>
                      <a:gd name="connsiteY161" fmla="*/ 904875 h 1619250"/>
                      <a:gd name="connsiteX162" fmla="*/ 1271999 w 1614899"/>
                      <a:gd name="connsiteY162" fmla="*/ 919162 h 1619250"/>
                      <a:gd name="connsiteX163" fmla="*/ 1269618 w 1614899"/>
                      <a:gd name="connsiteY163" fmla="*/ 928687 h 1619250"/>
                      <a:gd name="connsiteX164" fmla="*/ 1262474 w 1614899"/>
                      <a:gd name="connsiteY164" fmla="*/ 933450 h 1619250"/>
                      <a:gd name="connsiteX165" fmla="*/ 1255331 w 1614899"/>
                      <a:gd name="connsiteY165" fmla="*/ 940594 h 1619250"/>
                      <a:gd name="connsiteX166" fmla="*/ 1248187 w 1614899"/>
                      <a:gd name="connsiteY166" fmla="*/ 942975 h 1619250"/>
                      <a:gd name="connsiteX167" fmla="*/ 1241043 w 1614899"/>
                      <a:gd name="connsiteY167" fmla="*/ 947737 h 1619250"/>
                      <a:gd name="connsiteX168" fmla="*/ 1226756 w 1614899"/>
                      <a:gd name="connsiteY168" fmla="*/ 954881 h 1619250"/>
                      <a:gd name="connsiteX169" fmla="*/ 1236281 w 1614899"/>
                      <a:gd name="connsiteY169" fmla="*/ 969169 h 1619250"/>
                      <a:gd name="connsiteX170" fmla="*/ 1241043 w 1614899"/>
                      <a:gd name="connsiteY170" fmla="*/ 983456 h 1619250"/>
                      <a:gd name="connsiteX171" fmla="*/ 1250568 w 1614899"/>
                      <a:gd name="connsiteY171" fmla="*/ 997744 h 1619250"/>
                      <a:gd name="connsiteX172" fmla="*/ 1262474 w 1614899"/>
                      <a:gd name="connsiteY172" fmla="*/ 997744 h 1619250"/>
                      <a:gd name="connsiteX173" fmla="*/ 1264856 w 1614899"/>
                      <a:gd name="connsiteY173" fmla="*/ 990600 h 1619250"/>
                      <a:gd name="connsiteX174" fmla="*/ 1283906 w 1614899"/>
                      <a:gd name="connsiteY174" fmla="*/ 995362 h 1619250"/>
                      <a:gd name="connsiteX175" fmla="*/ 1291049 w 1614899"/>
                      <a:gd name="connsiteY175" fmla="*/ 1000125 h 1619250"/>
                      <a:gd name="connsiteX176" fmla="*/ 1298193 w 1614899"/>
                      <a:gd name="connsiteY176" fmla="*/ 1002506 h 1619250"/>
                      <a:gd name="connsiteX177" fmla="*/ 1322006 w 1614899"/>
                      <a:gd name="connsiteY177" fmla="*/ 1007269 h 1619250"/>
                      <a:gd name="connsiteX178" fmla="*/ 1336293 w 1614899"/>
                      <a:gd name="connsiteY178" fmla="*/ 1012031 h 1619250"/>
                      <a:gd name="connsiteX179" fmla="*/ 1355343 w 1614899"/>
                      <a:gd name="connsiteY179" fmla="*/ 1016794 h 1619250"/>
                      <a:gd name="connsiteX180" fmla="*/ 1362487 w 1614899"/>
                      <a:gd name="connsiteY180" fmla="*/ 1023937 h 1619250"/>
                      <a:gd name="connsiteX181" fmla="*/ 1376774 w 1614899"/>
                      <a:gd name="connsiteY181" fmla="*/ 1028700 h 1619250"/>
                      <a:gd name="connsiteX182" fmla="*/ 1391062 w 1614899"/>
                      <a:gd name="connsiteY182" fmla="*/ 1033462 h 1619250"/>
                      <a:gd name="connsiteX183" fmla="*/ 1398206 w 1614899"/>
                      <a:gd name="connsiteY183" fmla="*/ 1035844 h 1619250"/>
                      <a:gd name="connsiteX184" fmla="*/ 1405349 w 1614899"/>
                      <a:gd name="connsiteY184" fmla="*/ 1038225 h 1619250"/>
                      <a:gd name="connsiteX185" fmla="*/ 1412493 w 1614899"/>
                      <a:gd name="connsiteY185" fmla="*/ 1042987 h 1619250"/>
                      <a:gd name="connsiteX186" fmla="*/ 1426781 w 1614899"/>
                      <a:gd name="connsiteY186" fmla="*/ 1050131 h 1619250"/>
                      <a:gd name="connsiteX187" fmla="*/ 1436306 w 1614899"/>
                      <a:gd name="connsiteY187" fmla="*/ 1062037 h 1619250"/>
                      <a:gd name="connsiteX188" fmla="*/ 1441068 w 1614899"/>
                      <a:gd name="connsiteY188" fmla="*/ 1069181 h 1619250"/>
                      <a:gd name="connsiteX189" fmla="*/ 1450593 w 1614899"/>
                      <a:gd name="connsiteY189" fmla="*/ 1071562 h 1619250"/>
                      <a:gd name="connsiteX190" fmla="*/ 1464881 w 1614899"/>
                      <a:gd name="connsiteY190" fmla="*/ 1076325 h 1619250"/>
                      <a:gd name="connsiteX191" fmla="*/ 1467262 w 1614899"/>
                      <a:gd name="connsiteY191" fmla="*/ 1083469 h 1619250"/>
                      <a:gd name="connsiteX192" fmla="*/ 1488693 w 1614899"/>
                      <a:gd name="connsiteY192" fmla="*/ 1092994 h 1619250"/>
                      <a:gd name="connsiteX193" fmla="*/ 1500599 w 1614899"/>
                      <a:gd name="connsiteY193" fmla="*/ 1095375 h 1619250"/>
                      <a:gd name="connsiteX194" fmla="*/ 1514887 w 1614899"/>
                      <a:gd name="connsiteY194" fmla="*/ 1097756 h 1619250"/>
                      <a:gd name="connsiteX195" fmla="*/ 1522031 w 1614899"/>
                      <a:gd name="connsiteY195" fmla="*/ 1100137 h 1619250"/>
                      <a:gd name="connsiteX196" fmla="*/ 1541081 w 1614899"/>
                      <a:gd name="connsiteY196" fmla="*/ 1104900 h 1619250"/>
                      <a:gd name="connsiteX197" fmla="*/ 1545843 w 1614899"/>
                      <a:gd name="connsiteY197" fmla="*/ 1112044 h 1619250"/>
                      <a:gd name="connsiteX198" fmla="*/ 1543462 w 1614899"/>
                      <a:gd name="connsiteY198" fmla="*/ 1119187 h 1619250"/>
                      <a:gd name="connsiteX199" fmla="*/ 1557749 w 1614899"/>
                      <a:gd name="connsiteY199" fmla="*/ 1128712 h 1619250"/>
                      <a:gd name="connsiteX200" fmla="*/ 1564893 w 1614899"/>
                      <a:gd name="connsiteY200" fmla="*/ 1133475 h 1619250"/>
                      <a:gd name="connsiteX201" fmla="*/ 1579181 w 1614899"/>
                      <a:gd name="connsiteY201" fmla="*/ 1147762 h 1619250"/>
                      <a:gd name="connsiteX202" fmla="*/ 1593468 w 1614899"/>
                      <a:gd name="connsiteY202" fmla="*/ 1152525 h 1619250"/>
                      <a:gd name="connsiteX203" fmla="*/ 1600612 w 1614899"/>
                      <a:gd name="connsiteY203" fmla="*/ 1154906 h 1619250"/>
                      <a:gd name="connsiteX204" fmla="*/ 1607756 w 1614899"/>
                      <a:gd name="connsiteY204" fmla="*/ 1162050 h 1619250"/>
                      <a:gd name="connsiteX205" fmla="*/ 1610137 w 1614899"/>
                      <a:gd name="connsiteY205" fmla="*/ 1169194 h 1619250"/>
                      <a:gd name="connsiteX206" fmla="*/ 1614899 w 1614899"/>
                      <a:gd name="connsiteY206" fmla="*/ 1176337 h 1619250"/>
                      <a:gd name="connsiteX207" fmla="*/ 1612518 w 1614899"/>
                      <a:gd name="connsiteY207" fmla="*/ 1195387 h 1619250"/>
                      <a:gd name="connsiteX208" fmla="*/ 1610137 w 1614899"/>
                      <a:gd name="connsiteY208" fmla="*/ 1202531 h 1619250"/>
                      <a:gd name="connsiteX209" fmla="*/ 1602993 w 1614899"/>
                      <a:gd name="connsiteY209" fmla="*/ 1204912 h 1619250"/>
                      <a:gd name="connsiteX210" fmla="*/ 1600612 w 1614899"/>
                      <a:gd name="connsiteY210" fmla="*/ 1212056 h 1619250"/>
                      <a:gd name="connsiteX211" fmla="*/ 1598231 w 1614899"/>
                      <a:gd name="connsiteY211" fmla="*/ 1247775 h 1619250"/>
                      <a:gd name="connsiteX212" fmla="*/ 1579181 w 1614899"/>
                      <a:gd name="connsiteY212" fmla="*/ 1245394 h 1619250"/>
                      <a:gd name="connsiteX213" fmla="*/ 1550606 w 1614899"/>
                      <a:gd name="connsiteY213" fmla="*/ 1231106 h 1619250"/>
                      <a:gd name="connsiteX214" fmla="*/ 1543462 w 1614899"/>
                      <a:gd name="connsiteY214" fmla="*/ 1226344 h 1619250"/>
                      <a:gd name="connsiteX215" fmla="*/ 1543462 w 1614899"/>
                      <a:gd name="connsiteY215" fmla="*/ 1197769 h 1619250"/>
                      <a:gd name="connsiteX216" fmla="*/ 1545843 w 1614899"/>
                      <a:gd name="connsiteY216" fmla="*/ 1183481 h 1619250"/>
                      <a:gd name="connsiteX217" fmla="*/ 1531556 w 1614899"/>
                      <a:gd name="connsiteY217" fmla="*/ 1176337 h 1619250"/>
                      <a:gd name="connsiteX218" fmla="*/ 1529174 w 1614899"/>
                      <a:gd name="connsiteY218" fmla="*/ 1169194 h 1619250"/>
                      <a:gd name="connsiteX219" fmla="*/ 1531556 w 1614899"/>
                      <a:gd name="connsiteY219" fmla="*/ 1152525 h 1619250"/>
                      <a:gd name="connsiteX220" fmla="*/ 1524412 w 1614899"/>
                      <a:gd name="connsiteY220" fmla="*/ 1154906 h 1619250"/>
                      <a:gd name="connsiteX221" fmla="*/ 1517268 w 1614899"/>
                      <a:gd name="connsiteY221" fmla="*/ 1159669 h 1619250"/>
                      <a:gd name="connsiteX222" fmla="*/ 1502981 w 1614899"/>
                      <a:gd name="connsiteY222" fmla="*/ 1164431 h 1619250"/>
                      <a:gd name="connsiteX223" fmla="*/ 1481549 w 1614899"/>
                      <a:gd name="connsiteY223" fmla="*/ 1169194 h 1619250"/>
                      <a:gd name="connsiteX224" fmla="*/ 1457737 w 1614899"/>
                      <a:gd name="connsiteY224" fmla="*/ 1164431 h 1619250"/>
                      <a:gd name="connsiteX225" fmla="*/ 1443449 w 1614899"/>
                      <a:gd name="connsiteY225" fmla="*/ 1154906 h 1619250"/>
                      <a:gd name="connsiteX226" fmla="*/ 1436306 w 1614899"/>
                      <a:gd name="connsiteY226" fmla="*/ 1150144 h 1619250"/>
                      <a:gd name="connsiteX227" fmla="*/ 1426781 w 1614899"/>
                      <a:gd name="connsiteY227" fmla="*/ 1140619 h 1619250"/>
                      <a:gd name="connsiteX228" fmla="*/ 1402968 w 1614899"/>
                      <a:gd name="connsiteY228" fmla="*/ 1138237 h 1619250"/>
                      <a:gd name="connsiteX229" fmla="*/ 1395824 w 1614899"/>
                      <a:gd name="connsiteY229" fmla="*/ 1145381 h 1619250"/>
                      <a:gd name="connsiteX230" fmla="*/ 1374393 w 1614899"/>
                      <a:gd name="connsiteY230" fmla="*/ 1162050 h 1619250"/>
                      <a:gd name="connsiteX231" fmla="*/ 1367249 w 1614899"/>
                      <a:gd name="connsiteY231" fmla="*/ 1188244 h 1619250"/>
                      <a:gd name="connsiteX232" fmla="*/ 1357724 w 1614899"/>
                      <a:gd name="connsiteY232" fmla="*/ 1202531 h 1619250"/>
                      <a:gd name="connsiteX233" fmla="*/ 1348199 w 1614899"/>
                      <a:gd name="connsiteY233" fmla="*/ 1212056 h 1619250"/>
                      <a:gd name="connsiteX234" fmla="*/ 1345818 w 1614899"/>
                      <a:gd name="connsiteY234" fmla="*/ 1219200 h 1619250"/>
                      <a:gd name="connsiteX235" fmla="*/ 1341056 w 1614899"/>
                      <a:gd name="connsiteY235" fmla="*/ 1228725 h 1619250"/>
                      <a:gd name="connsiteX236" fmla="*/ 1350581 w 1614899"/>
                      <a:gd name="connsiteY236" fmla="*/ 1243012 h 1619250"/>
                      <a:gd name="connsiteX237" fmla="*/ 1343437 w 1614899"/>
                      <a:gd name="connsiteY237" fmla="*/ 1266825 h 1619250"/>
                      <a:gd name="connsiteX238" fmla="*/ 1345818 w 1614899"/>
                      <a:gd name="connsiteY238" fmla="*/ 1281112 h 1619250"/>
                      <a:gd name="connsiteX239" fmla="*/ 1348199 w 1614899"/>
                      <a:gd name="connsiteY239" fmla="*/ 1290637 h 1619250"/>
                      <a:gd name="connsiteX240" fmla="*/ 1355343 w 1614899"/>
                      <a:gd name="connsiteY240" fmla="*/ 1297781 h 1619250"/>
                      <a:gd name="connsiteX241" fmla="*/ 1362487 w 1614899"/>
                      <a:gd name="connsiteY241" fmla="*/ 1300162 h 1619250"/>
                      <a:gd name="connsiteX242" fmla="*/ 1386299 w 1614899"/>
                      <a:gd name="connsiteY242" fmla="*/ 1302544 h 1619250"/>
                      <a:gd name="connsiteX243" fmla="*/ 1395824 w 1614899"/>
                      <a:gd name="connsiteY243" fmla="*/ 1309687 h 1619250"/>
                      <a:gd name="connsiteX244" fmla="*/ 1410112 w 1614899"/>
                      <a:gd name="connsiteY244" fmla="*/ 1314450 h 1619250"/>
                      <a:gd name="connsiteX245" fmla="*/ 1417256 w 1614899"/>
                      <a:gd name="connsiteY245" fmla="*/ 1319212 h 1619250"/>
                      <a:gd name="connsiteX246" fmla="*/ 1431543 w 1614899"/>
                      <a:gd name="connsiteY246" fmla="*/ 1326356 h 1619250"/>
                      <a:gd name="connsiteX247" fmla="*/ 1433924 w 1614899"/>
                      <a:gd name="connsiteY247" fmla="*/ 1333500 h 1619250"/>
                      <a:gd name="connsiteX248" fmla="*/ 1429162 w 1614899"/>
                      <a:gd name="connsiteY248" fmla="*/ 1340644 h 1619250"/>
                      <a:gd name="connsiteX249" fmla="*/ 1426781 w 1614899"/>
                      <a:gd name="connsiteY249" fmla="*/ 1347787 h 1619250"/>
                      <a:gd name="connsiteX250" fmla="*/ 1431543 w 1614899"/>
                      <a:gd name="connsiteY250" fmla="*/ 1354931 h 1619250"/>
                      <a:gd name="connsiteX251" fmla="*/ 1436306 w 1614899"/>
                      <a:gd name="connsiteY251" fmla="*/ 1364456 h 1619250"/>
                      <a:gd name="connsiteX252" fmla="*/ 1443449 w 1614899"/>
                      <a:gd name="connsiteY252" fmla="*/ 1395412 h 1619250"/>
                      <a:gd name="connsiteX253" fmla="*/ 1450593 w 1614899"/>
                      <a:gd name="connsiteY253" fmla="*/ 1402556 h 1619250"/>
                      <a:gd name="connsiteX254" fmla="*/ 1448212 w 1614899"/>
                      <a:gd name="connsiteY254" fmla="*/ 1412081 h 1619250"/>
                      <a:gd name="connsiteX255" fmla="*/ 1433924 w 1614899"/>
                      <a:gd name="connsiteY255" fmla="*/ 1416844 h 1619250"/>
                      <a:gd name="connsiteX256" fmla="*/ 1419637 w 1614899"/>
                      <a:gd name="connsiteY256" fmla="*/ 1423987 h 1619250"/>
                      <a:gd name="connsiteX257" fmla="*/ 1405349 w 1614899"/>
                      <a:gd name="connsiteY257" fmla="*/ 1431131 h 1619250"/>
                      <a:gd name="connsiteX258" fmla="*/ 1398206 w 1614899"/>
                      <a:gd name="connsiteY258" fmla="*/ 1435894 h 1619250"/>
                      <a:gd name="connsiteX259" fmla="*/ 1383918 w 1614899"/>
                      <a:gd name="connsiteY259" fmla="*/ 1440656 h 1619250"/>
                      <a:gd name="connsiteX260" fmla="*/ 1376774 w 1614899"/>
                      <a:gd name="connsiteY260" fmla="*/ 1443037 h 1619250"/>
                      <a:gd name="connsiteX261" fmla="*/ 1364868 w 1614899"/>
                      <a:gd name="connsiteY261" fmla="*/ 1464469 h 1619250"/>
                      <a:gd name="connsiteX262" fmla="*/ 1362487 w 1614899"/>
                      <a:gd name="connsiteY262" fmla="*/ 1473994 h 1619250"/>
                      <a:gd name="connsiteX263" fmla="*/ 1364868 w 1614899"/>
                      <a:gd name="connsiteY263" fmla="*/ 1497806 h 1619250"/>
                      <a:gd name="connsiteX264" fmla="*/ 1372012 w 1614899"/>
                      <a:gd name="connsiteY264" fmla="*/ 1500187 h 1619250"/>
                      <a:gd name="connsiteX265" fmla="*/ 1369631 w 1614899"/>
                      <a:gd name="connsiteY265" fmla="*/ 1516856 h 1619250"/>
                      <a:gd name="connsiteX266" fmla="*/ 1367249 w 1614899"/>
                      <a:gd name="connsiteY266" fmla="*/ 1524000 h 1619250"/>
                      <a:gd name="connsiteX267" fmla="*/ 1360106 w 1614899"/>
                      <a:gd name="connsiteY267" fmla="*/ 1526381 h 1619250"/>
                      <a:gd name="connsiteX268" fmla="*/ 1352962 w 1614899"/>
                      <a:gd name="connsiteY268" fmla="*/ 1531144 h 1619250"/>
                      <a:gd name="connsiteX269" fmla="*/ 1343437 w 1614899"/>
                      <a:gd name="connsiteY269" fmla="*/ 1535906 h 1619250"/>
                      <a:gd name="connsiteX270" fmla="*/ 1329149 w 1614899"/>
                      <a:gd name="connsiteY270" fmla="*/ 1550194 h 1619250"/>
                      <a:gd name="connsiteX271" fmla="*/ 1326768 w 1614899"/>
                      <a:gd name="connsiteY271" fmla="*/ 1559719 h 1619250"/>
                      <a:gd name="connsiteX272" fmla="*/ 1322006 w 1614899"/>
                      <a:gd name="connsiteY272" fmla="*/ 1566862 h 1619250"/>
                      <a:gd name="connsiteX273" fmla="*/ 1319624 w 1614899"/>
                      <a:gd name="connsiteY273" fmla="*/ 1578769 h 1619250"/>
                      <a:gd name="connsiteX274" fmla="*/ 1317243 w 1614899"/>
                      <a:gd name="connsiteY274" fmla="*/ 1585912 h 1619250"/>
                      <a:gd name="connsiteX275" fmla="*/ 1314862 w 1614899"/>
                      <a:gd name="connsiteY275" fmla="*/ 1602581 h 1619250"/>
                      <a:gd name="connsiteX276" fmla="*/ 1283906 w 1614899"/>
                      <a:gd name="connsiteY276" fmla="*/ 1614487 h 1619250"/>
                      <a:gd name="connsiteX277" fmla="*/ 1274381 w 1614899"/>
                      <a:gd name="connsiteY277" fmla="*/ 1616869 h 1619250"/>
                      <a:gd name="connsiteX278" fmla="*/ 1260093 w 1614899"/>
                      <a:gd name="connsiteY278" fmla="*/ 1619250 h 1619250"/>
                      <a:gd name="connsiteX279" fmla="*/ 1248187 w 1614899"/>
                      <a:gd name="connsiteY279" fmla="*/ 1616869 h 1619250"/>
                      <a:gd name="connsiteX280" fmla="*/ 1243424 w 1614899"/>
                      <a:gd name="connsiteY280" fmla="*/ 1597819 h 1619250"/>
                      <a:gd name="connsiteX281" fmla="*/ 1238662 w 1614899"/>
                      <a:gd name="connsiteY281" fmla="*/ 1581150 h 1619250"/>
                      <a:gd name="connsiteX282" fmla="*/ 1243424 w 1614899"/>
                      <a:gd name="connsiteY282" fmla="*/ 1566862 h 1619250"/>
                      <a:gd name="connsiteX283" fmla="*/ 1252949 w 1614899"/>
                      <a:gd name="connsiteY283" fmla="*/ 1552575 h 1619250"/>
                      <a:gd name="connsiteX284" fmla="*/ 1260093 w 1614899"/>
                      <a:gd name="connsiteY284" fmla="*/ 1550194 h 1619250"/>
                      <a:gd name="connsiteX285" fmla="*/ 1267237 w 1614899"/>
                      <a:gd name="connsiteY285" fmla="*/ 1543050 h 1619250"/>
                      <a:gd name="connsiteX286" fmla="*/ 1269618 w 1614899"/>
                      <a:gd name="connsiteY286" fmla="*/ 1535906 h 1619250"/>
                      <a:gd name="connsiteX287" fmla="*/ 1274381 w 1614899"/>
                      <a:gd name="connsiteY287" fmla="*/ 1526381 h 1619250"/>
                      <a:gd name="connsiteX288" fmla="*/ 1267237 w 1614899"/>
                      <a:gd name="connsiteY288" fmla="*/ 1502569 h 1619250"/>
                      <a:gd name="connsiteX289" fmla="*/ 1252949 w 1614899"/>
                      <a:gd name="connsiteY289" fmla="*/ 1493044 h 1619250"/>
                      <a:gd name="connsiteX290" fmla="*/ 1262474 w 1614899"/>
                      <a:gd name="connsiteY290" fmla="*/ 1478756 h 1619250"/>
                      <a:gd name="connsiteX291" fmla="*/ 1279143 w 1614899"/>
                      <a:gd name="connsiteY291" fmla="*/ 1462087 h 1619250"/>
                      <a:gd name="connsiteX292" fmla="*/ 1302956 w 1614899"/>
                      <a:gd name="connsiteY292" fmla="*/ 1459706 h 1619250"/>
                      <a:gd name="connsiteX293" fmla="*/ 1305337 w 1614899"/>
                      <a:gd name="connsiteY293" fmla="*/ 1450181 h 1619250"/>
                      <a:gd name="connsiteX294" fmla="*/ 1310099 w 1614899"/>
                      <a:gd name="connsiteY294" fmla="*/ 1443037 h 1619250"/>
                      <a:gd name="connsiteX295" fmla="*/ 1312481 w 1614899"/>
                      <a:gd name="connsiteY295" fmla="*/ 1435894 h 1619250"/>
                      <a:gd name="connsiteX296" fmla="*/ 1305337 w 1614899"/>
                      <a:gd name="connsiteY296" fmla="*/ 1428750 h 1619250"/>
                      <a:gd name="connsiteX297" fmla="*/ 1298193 w 1614899"/>
                      <a:gd name="connsiteY297" fmla="*/ 1423987 h 1619250"/>
                      <a:gd name="connsiteX298" fmla="*/ 1295812 w 1614899"/>
                      <a:gd name="connsiteY298" fmla="*/ 1412081 h 1619250"/>
                      <a:gd name="connsiteX299" fmla="*/ 1293431 w 1614899"/>
                      <a:gd name="connsiteY299" fmla="*/ 1402556 h 1619250"/>
                      <a:gd name="connsiteX300" fmla="*/ 1288668 w 1614899"/>
                      <a:gd name="connsiteY300" fmla="*/ 1369219 h 1619250"/>
                      <a:gd name="connsiteX301" fmla="*/ 1286287 w 1614899"/>
                      <a:gd name="connsiteY301" fmla="*/ 1362075 h 1619250"/>
                      <a:gd name="connsiteX302" fmla="*/ 1276762 w 1614899"/>
                      <a:gd name="connsiteY302" fmla="*/ 1345406 h 1619250"/>
                      <a:gd name="connsiteX303" fmla="*/ 1267237 w 1614899"/>
                      <a:gd name="connsiteY303" fmla="*/ 1343025 h 1619250"/>
                      <a:gd name="connsiteX304" fmla="*/ 1260093 w 1614899"/>
                      <a:gd name="connsiteY304" fmla="*/ 1340644 h 1619250"/>
                      <a:gd name="connsiteX305" fmla="*/ 1252949 w 1614899"/>
                      <a:gd name="connsiteY305" fmla="*/ 1307306 h 1619250"/>
                      <a:gd name="connsiteX306" fmla="*/ 1248187 w 1614899"/>
                      <a:gd name="connsiteY306" fmla="*/ 1293019 h 1619250"/>
                      <a:gd name="connsiteX307" fmla="*/ 1243424 w 1614899"/>
                      <a:gd name="connsiteY307" fmla="*/ 1278731 h 1619250"/>
                      <a:gd name="connsiteX308" fmla="*/ 1241043 w 1614899"/>
                      <a:gd name="connsiteY308" fmla="*/ 1271587 h 1619250"/>
                      <a:gd name="connsiteX309" fmla="*/ 1236281 w 1614899"/>
                      <a:gd name="connsiteY309" fmla="*/ 1262062 h 1619250"/>
                      <a:gd name="connsiteX310" fmla="*/ 1231518 w 1614899"/>
                      <a:gd name="connsiteY310" fmla="*/ 1247775 h 1619250"/>
                      <a:gd name="connsiteX311" fmla="*/ 1224374 w 1614899"/>
                      <a:gd name="connsiteY311" fmla="*/ 1240631 h 1619250"/>
                      <a:gd name="connsiteX312" fmla="*/ 1214849 w 1614899"/>
                      <a:gd name="connsiteY312" fmla="*/ 1226344 h 1619250"/>
                      <a:gd name="connsiteX313" fmla="*/ 1195799 w 1614899"/>
                      <a:gd name="connsiteY313" fmla="*/ 1233487 h 1619250"/>
                      <a:gd name="connsiteX314" fmla="*/ 1198181 w 1614899"/>
                      <a:gd name="connsiteY314" fmla="*/ 1240631 h 1619250"/>
                      <a:gd name="connsiteX315" fmla="*/ 1191037 w 1614899"/>
                      <a:gd name="connsiteY315" fmla="*/ 1243012 h 1619250"/>
                      <a:gd name="connsiteX316" fmla="*/ 1164843 w 1614899"/>
                      <a:gd name="connsiteY316" fmla="*/ 1238250 h 1619250"/>
                      <a:gd name="connsiteX317" fmla="*/ 1155318 w 1614899"/>
                      <a:gd name="connsiteY317" fmla="*/ 1223962 h 1619250"/>
                      <a:gd name="connsiteX318" fmla="*/ 1148174 w 1614899"/>
                      <a:gd name="connsiteY318" fmla="*/ 1216819 h 1619250"/>
                      <a:gd name="connsiteX319" fmla="*/ 1138649 w 1614899"/>
                      <a:gd name="connsiteY319" fmla="*/ 1219200 h 1619250"/>
                      <a:gd name="connsiteX320" fmla="*/ 1131506 w 1614899"/>
                      <a:gd name="connsiteY320" fmla="*/ 1221581 h 1619250"/>
                      <a:gd name="connsiteX321" fmla="*/ 1124362 w 1614899"/>
                      <a:gd name="connsiteY321" fmla="*/ 1219200 h 1619250"/>
                      <a:gd name="connsiteX322" fmla="*/ 1107693 w 1614899"/>
                      <a:gd name="connsiteY322" fmla="*/ 1214438 h 1619250"/>
                      <a:gd name="connsiteX323" fmla="*/ 1117218 w 1614899"/>
                      <a:gd name="connsiteY323" fmla="*/ 1193006 h 1619250"/>
                      <a:gd name="connsiteX324" fmla="*/ 1112456 w 1614899"/>
                      <a:gd name="connsiteY324" fmla="*/ 1154906 h 1619250"/>
                      <a:gd name="connsiteX325" fmla="*/ 1107693 w 1614899"/>
                      <a:gd name="connsiteY325" fmla="*/ 1147762 h 1619250"/>
                      <a:gd name="connsiteX326" fmla="*/ 1100549 w 1614899"/>
                      <a:gd name="connsiteY326" fmla="*/ 1145381 h 1619250"/>
                      <a:gd name="connsiteX327" fmla="*/ 1093406 w 1614899"/>
                      <a:gd name="connsiteY327" fmla="*/ 1147762 h 1619250"/>
                      <a:gd name="connsiteX328" fmla="*/ 1062449 w 1614899"/>
                      <a:gd name="connsiteY328" fmla="*/ 1152525 h 1619250"/>
                      <a:gd name="connsiteX329" fmla="*/ 1045781 w 1614899"/>
                      <a:gd name="connsiteY329" fmla="*/ 1150144 h 1619250"/>
                      <a:gd name="connsiteX330" fmla="*/ 1031493 w 1614899"/>
                      <a:gd name="connsiteY330" fmla="*/ 1154906 h 1619250"/>
                      <a:gd name="connsiteX331" fmla="*/ 1050543 w 1614899"/>
                      <a:gd name="connsiteY331" fmla="*/ 1128712 h 1619250"/>
                      <a:gd name="connsiteX332" fmla="*/ 1041018 w 1614899"/>
                      <a:gd name="connsiteY332" fmla="*/ 1107281 h 1619250"/>
                      <a:gd name="connsiteX333" fmla="*/ 1024349 w 1614899"/>
                      <a:gd name="connsiteY333" fmla="*/ 1109662 h 1619250"/>
                      <a:gd name="connsiteX334" fmla="*/ 1014824 w 1614899"/>
                      <a:gd name="connsiteY334" fmla="*/ 1107281 h 1619250"/>
                      <a:gd name="connsiteX335" fmla="*/ 988631 w 1614899"/>
                      <a:gd name="connsiteY335" fmla="*/ 1109662 h 1619250"/>
                      <a:gd name="connsiteX336" fmla="*/ 986249 w 1614899"/>
                      <a:gd name="connsiteY336" fmla="*/ 1102519 h 1619250"/>
                      <a:gd name="connsiteX337" fmla="*/ 979106 w 1614899"/>
                      <a:gd name="connsiteY337" fmla="*/ 1076325 h 1619250"/>
                      <a:gd name="connsiteX338" fmla="*/ 964818 w 1614899"/>
                      <a:gd name="connsiteY338" fmla="*/ 1064419 h 1619250"/>
                      <a:gd name="connsiteX339" fmla="*/ 950531 w 1614899"/>
                      <a:gd name="connsiteY339" fmla="*/ 1054894 h 1619250"/>
                      <a:gd name="connsiteX340" fmla="*/ 943387 w 1614899"/>
                      <a:gd name="connsiteY340" fmla="*/ 1050131 h 1619250"/>
                      <a:gd name="connsiteX341" fmla="*/ 936243 w 1614899"/>
                      <a:gd name="connsiteY341" fmla="*/ 1045369 h 1619250"/>
                      <a:gd name="connsiteX342" fmla="*/ 931481 w 1614899"/>
                      <a:gd name="connsiteY342" fmla="*/ 1038225 h 1619250"/>
                      <a:gd name="connsiteX343" fmla="*/ 917193 w 1614899"/>
                      <a:gd name="connsiteY343" fmla="*/ 1031081 h 1619250"/>
                      <a:gd name="connsiteX344" fmla="*/ 914812 w 1614899"/>
                      <a:gd name="connsiteY344" fmla="*/ 1040606 h 1619250"/>
                      <a:gd name="connsiteX345" fmla="*/ 907668 w 1614899"/>
                      <a:gd name="connsiteY345" fmla="*/ 1042987 h 1619250"/>
                      <a:gd name="connsiteX346" fmla="*/ 886237 w 1614899"/>
                      <a:gd name="connsiteY346" fmla="*/ 1031081 h 1619250"/>
                      <a:gd name="connsiteX347" fmla="*/ 862424 w 1614899"/>
                      <a:gd name="connsiteY347" fmla="*/ 1035844 h 1619250"/>
                      <a:gd name="connsiteX348" fmla="*/ 845756 w 1614899"/>
                      <a:gd name="connsiteY348" fmla="*/ 1040606 h 1619250"/>
                      <a:gd name="connsiteX349" fmla="*/ 840993 w 1614899"/>
                      <a:gd name="connsiteY349" fmla="*/ 1033462 h 1619250"/>
                      <a:gd name="connsiteX350" fmla="*/ 821943 w 1614899"/>
                      <a:gd name="connsiteY350" fmla="*/ 1004887 h 1619250"/>
                      <a:gd name="connsiteX351" fmla="*/ 814799 w 1614899"/>
                      <a:gd name="connsiteY351" fmla="*/ 1000125 h 1619250"/>
                      <a:gd name="connsiteX352" fmla="*/ 779081 w 1614899"/>
                      <a:gd name="connsiteY352" fmla="*/ 995362 h 1619250"/>
                      <a:gd name="connsiteX353" fmla="*/ 771937 w 1614899"/>
                      <a:gd name="connsiteY353" fmla="*/ 988219 h 1619250"/>
                      <a:gd name="connsiteX354" fmla="*/ 762412 w 1614899"/>
                      <a:gd name="connsiteY354" fmla="*/ 966787 h 1619250"/>
                      <a:gd name="connsiteX355" fmla="*/ 755268 w 1614899"/>
                      <a:gd name="connsiteY355" fmla="*/ 962025 h 1619250"/>
                      <a:gd name="connsiteX356" fmla="*/ 733837 w 1614899"/>
                      <a:gd name="connsiteY356" fmla="*/ 962025 h 1619250"/>
                      <a:gd name="connsiteX357" fmla="*/ 731456 w 1614899"/>
                      <a:gd name="connsiteY357" fmla="*/ 950119 h 1619250"/>
                      <a:gd name="connsiteX358" fmla="*/ 729074 w 1614899"/>
                      <a:gd name="connsiteY358" fmla="*/ 942975 h 1619250"/>
                      <a:gd name="connsiteX359" fmla="*/ 726693 w 1614899"/>
                      <a:gd name="connsiteY359" fmla="*/ 921544 h 1619250"/>
                      <a:gd name="connsiteX360" fmla="*/ 724312 w 1614899"/>
                      <a:gd name="connsiteY360" fmla="*/ 914400 h 1619250"/>
                      <a:gd name="connsiteX361" fmla="*/ 717168 w 1614899"/>
                      <a:gd name="connsiteY361" fmla="*/ 909637 h 1619250"/>
                      <a:gd name="connsiteX362" fmla="*/ 710024 w 1614899"/>
                      <a:gd name="connsiteY362" fmla="*/ 907256 h 1619250"/>
                      <a:gd name="connsiteX363" fmla="*/ 681449 w 1614899"/>
                      <a:gd name="connsiteY363" fmla="*/ 902494 h 1619250"/>
                      <a:gd name="connsiteX364" fmla="*/ 674306 w 1614899"/>
                      <a:gd name="connsiteY364" fmla="*/ 897731 h 1619250"/>
                      <a:gd name="connsiteX365" fmla="*/ 667162 w 1614899"/>
                      <a:gd name="connsiteY365" fmla="*/ 883444 h 1619250"/>
                      <a:gd name="connsiteX366" fmla="*/ 657637 w 1614899"/>
                      <a:gd name="connsiteY366" fmla="*/ 881062 h 1619250"/>
                      <a:gd name="connsiteX367" fmla="*/ 650493 w 1614899"/>
                      <a:gd name="connsiteY367" fmla="*/ 873919 h 1619250"/>
                      <a:gd name="connsiteX368" fmla="*/ 648112 w 1614899"/>
                      <a:gd name="connsiteY368" fmla="*/ 866775 h 1619250"/>
                      <a:gd name="connsiteX369" fmla="*/ 643349 w 1614899"/>
                      <a:gd name="connsiteY369" fmla="*/ 859631 h 1619250"/>
                      <a:gd name="connsiteX370" fmla="*/ 631443 w 1614899"/>
                      <a:gd name="connsiteY370" fmla="*/ 838200 h 1619250"/>
                      <a:gd name="connsiteX371" fmla="*/ 624299 w 1614899"/>
                      <a:gd name="connsiteY371" fmla="*/ 833437 h 1619250"/>
                      <a:gd name="connsiteX372" fmla="*/ 593343 w 1614899"/>
                      <a:gd name="connsiteY372" fmla="*/ 835819 h 1619250"/>
                      <a:gd name="connsiteX373" fmla="*/ 586199 w 1614899"/>
                      <a:gd name="connsiteY373" fmla="*/ 816769 h 1619250"/>
                      <a:gd name="connsiteX374" fmla="*/ 569531 w 1614899"/>
                      <a:gd name="connsiteY374" fmla="*/ 795337 h 1619250"/>
                      <a:gd name="connsiteX375" fmla="*/ 564768 w 1614899"/>
                      <a:gd name="connsiteY375" fmla="*/ 788194 h 1619250"/>
                      <a:gd name="connsiteX376" fmla="*/ 557624 w 1614899"/>
                      <a:gd name="connsiteY376" fmla="*/ 785812 h 1619250"/>
                      <a:gd name="connsiteX377" fmla="*/ 550481 w 1614899"/>
                      <a:gd name="connsiteY377" fmla="*/ 781050 h 1619250"/>
                      <a:gd name="connsiteX378" fmla="*/ 536193 w 1614899"/>
                      <a:gd name="connsiteY378" fmla="*/ 776287 h 1619250"/>
                      <a:gd name="connsiteX379" fmla="*/ 538574 w 1614899"/>
                      <a:gd name="connsiteY379" fmla="*/ 747712 h 1619250"/>
                      <a:gd name="connsiteX380" fmla="*/ 533812 w 1614899"/>
                      <a:gd name="connsiteY380" fmla="*/ 740569 h 1619250"/>
                      <a:gd name="connsiteX381" fmla="*/ 519524 w 1614899"/>
                      <a:gd name="connsiteY381" fmla="*/ 731044 h 1619250"/>
                      <a:gd name="connsiteX382" fmla="*/ 512381 w 1614899"/>
                      <a:gd name="connsiteY382" fmla="*/ 735806 h 1619250"/>
                      <a:gd name="connsiteX383" fmla="*/ 505237 w 1614899"/>
                      <a:gd name="connsiteY383" fmla="*/ 738187 h 1619250"/>
                      <a:gd name="connsiteX384" fmla="*/ 507618 w 1614899"/>
                      <a:gd name="connsiteY384" fmla="*/ 723900 h 1619250"/>
                      <a:gd name="connsiteX385" fmla="*/ 505237 w 1614899"/>
                      <a:gd name="connsiteY385" fmla="*/ 688181 h 1619250"/>
                      <a:gd name="connsiteX386" fmla="*/ 493331 w 1614899"/>
                      <a:gd name="connsiteY386" fmla="*/ 666750 h 1619250"/>
                      <a:gd name="connsiteX387" fmla="*/ 486187 w 1614899"/>
                      <a:gd name="connsiteY387" fmla="*/ 659606 h 1619250"/>
                      <a:gd name="connsiteX388" fmla="*/ 481424 w 1614899"/>
                      <a:gd name="connsiteY388" fmla="*/ 652462 h 1619250"/>
                      <a:gd name="connsiteX389" fmla="*/ 479043 w 1614899"/>
                      <a:gd name="connsiteY389" fmla="*/ 614362 h 1619250"/>
                      <a:gd name="connsiteX390" fmla="*/ 474281 w 1614899"/>
                      <a:gd name="connsiteY390" fmla="*/ 595312 h 1619250"/>
                      <a:gd name="connsiteX391" fmla="*/ 467137 w 1614899"/>
                      <a:gd name="connsiteY391" fmla="*/ 578644 h 1619250"/>
                      <a:gd name="connsiteX392" fmla="*/ 459993 w 1614899"/>
                      <a:gd name="connsiteY392" fmla="*/ 571500 h 1619250"/>
                      <a:gd name="connsiteX393" fmla="*/ 440943 w 1614899"/>
                      <a:gd name="connsiteY393" fmla="*/ 554831 h 1619250"/>
                      <a:gd name="connsiteX394" fmla="*/ 426656 w 1614899"/>
                      <a:gd name="connsiteY394" fmla="*/ 550069 h 1619250"/>
                      <a:gd name="connsiteX395" fmla="*/ 424274 w 1614899"/>
                      <a:gd name="connsiteY395" fmla="*/ 557212 h 1619250"/>
                      <a:gd name="connsiteX396" fmla="*/ 414749 w 1614899"/>
                      <a:gd name="connsiteY396" fmla="*/ 552450 h 1619250"/>
                      <a:gd name="connsiteX397" fmla="*/ 407606 w 1614899"/>
                      <a:gd name="connsiteY397" fmla="*/ 545306 h 1619250"/>
                      <a:gd name="connsiteX398" fmla="*/ 390937 w 1614899"/>
                      <a:gd name="connsiteY398" fmla="*/ 535781 h 1619250"/>
                      <a:gd name="connsiteX399" fmla="*/ 383793 w 1614899"/>
                      <a:gd name="connsiteY399" fmla="*/ 528637 h 1619250"/>
                      <a:gd name="connsiteX400" fmla="*/ 374268 w 1614899"/>
                      <a:gd name="connsiteY400" fmla="*/ 526256 h 1619250"/>
                      <a:gd name="connsiteX401" fmla="*/ 352837 w 1614899"/>
                      <a:gd name="connsiteY401" fmla="*/ 519112 h 1619250"/>
                      <a:gd name="connsiteX402" fmla="*/ 345693 w 1614899"/>
                      <a:gd name="connsiteY402" fmla="*/ 516731 h 1619250"/>
                      <a:gd name="connsiteX403" fmla="*/ 338549 w 1614899"/>
                      <a:gd name="connsiteY403" fmla="*/ 514350 h 1619250"/>
                      <a:gd name="connsiteX404" fmla="*/ 326643 w 1614899"/>
                      <a:gd name="connsiteY404" fmla="*/ 504825 h 1619250"/>
                      <a:gd name="connsiteX405" fmla="*/ 321881 w 1614899"/>
                      <a:gd name="connsiteY405" fmla="*/ 497681 h 1619250"/>
                      <a:gd name="connsiteX406" fmla="*/ 314737 w 1614899"/>
                      <a:gd name="connsiteY406" fmla="*/ 490537 h 1619250"/>
                      <a:gd name="connsiteX407" fmla="*/ 307593 w 1614899"/>
                      <a:gd name="connsiteY407" fmla="*/ 485775 h 1619250"/>
                      <a:gd name="connsiteX408" fmla="*/ 293306 w 1614899"/>
                      <a:gd name="connsiteY408" fmla="*/ 481012 h 1619250"/>
                      <a:gd name="connsiteX409" fmla="*/ 269493 w 1614899"/>
                      <a:gd name="connsiteY409" fmla="*/ 483394 h 1619250"/>
                      <a:gd name="connsiteX410" fmla="*/ 259968 w 1614899"/>
                      <a:gd name="connsiteY410" fmla="*/ 490537 h 1619250"/>
                      <a:gd name="connsiteX411" fmla="*/ 243299 w 1614899"/>
                      <a:gd name="connsiteY411" fmla="*/ 497681 h 1619250"/>
                      <a:gd name="connsiteX412" fmla="*/ 236156 w 1614899"/>
                      <a:gd name="connsiteY412" fmla="*/ 502444 h 1619250"/>
                      <a:gd name="connsiteX413" fmla="*/ 233774 w 1614899"/>
                      <a:gd name="connsiteY413" fmla="*/ 509587 h 1619250"/>
                      <a:gd name="connsiteX414" fmla="*/ 231393 w 1614899"/>
                      <a:gd name="connsiteY414" fmla="*/ 519112 h 1619250"/>
                      <a:gd name="connsiteX415" fmla="*/ 224249 w 1614899"/>
                      <a:gd name="connsiteY415" fmla="*/ 521494 h 1619250"/>
                      <a:gd name="connsiteX416" fmla="*/ 209962 w 1614899"/>
                      <a:gd name="connsiteY416" fmla="*/ 528637 h 1619250"/>
                      <a:gd name="connsiteX417" fmla="*/ 200437 w 1614899"/>
                      <a:gd name="connsiteY417" fmla="*/ 542925 h 1619250"/>
                      <a:gd name="connsiteX418" fmla="*/ 195674 w 1614899"/>
                      <a:gd name="connsiteY418" fmla="*/ 557212 h 1619250"/>
                      <a:gd name="connsiteX419" fmla="*/ 188531 w 1614899"/>
                      <a:gd name="connsiteY419" fmla="*/ 559594 h 1619250"/>
                      <a:gd name="connsiteX420" fmla="*/ 176624 w 1614899"/>
                      <a:gd name="connsiteY420" fmla="*/ 564356 h 1619250"/>
                      <a:gd name="connsiteX421" fmla="*/ 164718 w 1614899"/>
                      <a:gd name="connsiteY421" fmla="*/ 566737 h 1619250"/>
                      <a:gd name="connsiteX422" fmla="*/ 157574 w 1614899"/>
                      <a:gd name="connsiteY422" fmla="*/ 569119 h 1619250"/>
                      <a:gd name="connsiteX423" fmla="*/ 148049 w 1614899"/>
                      <a:gd name="connsiteY423" fmla="*/ 571500 h 1619250"/>
                      <a:gd name="connsiteX424" fmla="*/ 140906 w 1614899"/>
                      <a:gd name="connsiteY424" fmla="*/ 573881 h 1619250"/>
                      <a:gd name="connsiteX425" fmla="*/ 121856 w 1614899"/>
                      <a:gd name="connsiteY425" fmla="*/ 576262 h 1619250"/>
                      <a:gd name="connsiteX426" fmla="*/ 119474 w 1614899"/>
                      <a:gd name="connsiteY426" fmla="*/ 571500 h 1619250"/>
                      <a:gd name="connsiteX427" fmla="*/ 128999 w 1614899"/>
                      <a:gd name="connsiteY427" fmla="*/ 557212 h 1619250"/>
                      <a:gd name="connsiteX428" fmla="*/ 131381 w 1614899"/>
                      <a:gd name="connsiteY428" fmla="*/ 550069 h 1619250"/>
                      <a:gd name="connsiteX429" fmla="*/ 140906 w 1614899"/>
                      <a:gd name="connsiteY429" fmla="*/ 535781 h 1619250"/>
                      <a:gd name="connsiteX430" fmla="*/ 133762 w 1614899"/>
                      <a:gd name="connsiteY430" fmla="*/ 533400 h 1619250"/>
                      <a:gd name="connsiteX431" fmla="*/ 128999 w 1614899"/>
                      <a:gd name="connsiteY431" fmla="*/ 516731 h 1619250"/>
                      <a:gd name="connsiteX432" fmla="*/ 69468 w 1614899"/>
                      <a:gd name="connsiteY432" fmla="*/ 514350 h 1619250"/>
                      <a:gd name="connsiteX433" fmla="*/ 67087 w 1614899"/>
                      <a:gd name="connsiteY433" fmla="*/ 507206 h 1619250"/>
                      <a:gd name="connsiteX434" fmla="*/ 52799 w 1614899"/>
                      <a:gd name="connsiteY434" fmla="*/ 497681 h 1619250"/>
                      <a:gd name="connsiteX435" fmla="*/ 55181 w 1614899"/>
                      <a:gd name="connsiteY435" fmla="*/ 488156 h 1619250"/>
                      <a:gd name="connsiteX436" fmla="*/ 40893 w 1614899"/>
                      <a:gd name="connsiteY436" fmla="*/ 483394 h 1619250"/>
                      <a:gd name="connsiteX437" fmla="*/ 38512 w 1614899"/>
                      <a:gd name="connsiteY437" fmla="*/ 471487 h 1619250"/>
                      <a:gd name="connsiteX438" fmla="*/ 36131 w 1614899"/>
                      <a:gd name="connsiteY438" fmla="*/ 464344 h 1619250"/>
                      <a:gd name="connsiteX439" fmla="*/ 38512 w 1614899"/>
                      <a:gd name="connsiteY439" fmla="*/ 452437 h 1619250"/>
                      <a:gd name="connsiteX440" fmla="*/ 38512 w 1614899"/>
                      <a:gd name="connsiteY440" fmla="*/ 428625 h 1619250"/>
                      <a:gd name="connsiteX441" fmla="*/ 45656 w 1614899"/>
                      <a:gd name="connsiteY441" fmla="*/ 426244 h 1619250"/>
                      <a:gd name="connsiteX442" fmla="*/ 52799 w 1614899"/>
                      <a:gd name="connsiteY442" fmla="*/ 421481 h 1619250"/>
                      <a:gd name="connsiteX443" fmla="*/ 59943 w 1614899"/>
                      <a:gd name="connsiteY443" fmla="*/ 419100 h 1619250"/>
                      <a:gd name="connsiteX444" fmla="*/ 64706 w 1614899"/>
                      <a:gd name="connsiteY444" fmla="*/ 411956 h 1619250"/>
                      <a:gd name="connsiteX445" fmla="*/ 55181 w 1614899"/>
                      <a:gd name="connsiteY445" fmla="*/ 392906 h 1619250"/>
                      <a:gd name="connsiteX446" fmla="*/ 40893 w 1614899"/>
                      <a:gd name="connsiteY446" fmla="*/ 388144 h 1619250"/>
                      <a:gd name="connsiteX447" fmla="*/ 33749 w 1614899"/>
                      <a:gd name="connsiteY447" fmla="*/ 390525 h 1619250"/>
                      <a:gd name="connsiteX448" fmla="*/ 28987 w 1614899"/>
                      <a:gd name="connsiteY448" fmla="*/ 390525 h 1619250"/>
                      <a:gd name="connsiteX449" fmla="*/ 21843 w 1614899"/>
                      <a:gd name="connsiteY449" fmla="*/ 388144 h 1619250"/>
                      <a:gd name="connsiteX450" fmla="*/ 14699 w 1614899"/>
                      <a:gd name="connsiteY450" fmla="*/ 364331 h 1619250"/>
                      <a:gd name="connsiteX451" fmla="*/ 2793 w 1614899"/>
                      <a:gd name="connsiteY451" fmla="*/ 361950 h 1619250"/>
                      <a:gd name="connsiteX452" fmla="*/ 2793 w 1614899"/>
                      <a:gd name="connsiteY452" fmla="*/ 345281 h 1619250"/>
                      <a:gd name="connsiteX453" fmla="*/ 17081 w 1614899"/>
                      <a:gd name="connsiteY453" fmla="*/ 340519 h 1619250"/>
                      <a:gd name="connsiteX454" fmla="*/ 24224 w 1614899"/>
                      <a:gd name="connsiteY454" fmla="*/ 347662 h 1619250"/>
                      <a:gd name="connsiteX455" fmla="*/ 40893 w 1614899"/>
                      <a:gd name="connsiteY455" fmla="*/ 342900 h 1619250"/>
                      <a:gd name="connsiteX456" fmla="*/ 57562 w 1614899"/>
                      <a:gd name="connsiteY456" fmla="*/ 333375 h 1619250"/>
                      <a:gd name="connsiteX457" fmla="*/ 64706 w 1614899"/>
                      <a:gd name="connsiteY457" fmla="*/ 328612 h 1619250"/>
                      <a:gd name="connsiteX458" fmla="*/ 71849 w 1614899"/>
                      <a:gd name="connsiteY458" fmla="*/ 326231 h 1619250"/>
                      <a:gd name="connsiteX459" fmla="*/ 90899 w 1614899"/>
                      <a:gd name="connsiteY459" fmla="*/ 321469 h 1619250"/>
                      <a:gd name="connsiteX460" fmla="*/ 86137 w 1614899"/>
                      <a:gd name="connsiteY460" fmla="*/ 311944 h 1619250"/>
                      <a:gd name="connsiteX461" fmla="*/ 88518 w 1614899"/>
                      <a:gd name="connsiteY461" fmla="*/ 292894 h 1619250"/>
                      <a:gd name="connsiteX462" fmla="*/ 90899 w 1614899"/>
                      <a:gd name="connsiteY462" fmla="*/ 285750 h 1619250"/>
                      <a:gd name="connsiteX463" fmla="*/ 76612 w 1614899"/>
                      <a:gd name="connsiteY463" fmla="*/ 280987 h 1619250"/>
                      <a:gd name="connsiteX464" fmla="*/ 71849 w 1614899"/>
                      <a:gd name="connsiteY464" fmla="*/ 273844 h 1619250"/>
                      <a:gd name="connsiteX465" fmla="*/ 67087 w 1614899"/>
                      <a:gd name="connsiteY465" fmla="*/ 250031 h 1619250"/>
                      <a:gd name="connsiteX466" fmla="*/ 45656 w 1614899"/>
                      <a:gd name="connsiteY466" fmla="*/ 250031 h 1619250"/>
                      <a:gd name="connsiteX467" fmla="*/ 40893 w 1614899"/>
                      <a:gd name="connsiteY467" fmla="*/ 242887 h 1619250"/>
                      <a:gd name="connsiteX468" fmla="*/ 43274 w 1614899"/>
                      <a:gd name="connsiteY468" fmla="*/ 223837 h 1619250"/>
                      <a:gd name="connsiteX469" fmla="*/ 57562 w 1614899"/>
                      <a:gd name="connsiteY469" fmla="*/ 211931 h 1619250"/>
                      <a:gd name="connsiteX470" fmla="*/ 74231 w 1614899"/>
                      <a:gd name="connsiteY470" fmla="*/ 200025 h 1619250"/>
                      <a:gd name="connsiteX471" fmla="*/ 81374 w 1614899"/>
                      <a:gd name="connsiteY471" fmla="*/ 202406 h 1619250"/>
                      <a:gd name="connsiteX472" fmla="*/ 83756 w 1614899"/>
                      <a:gd name="connsiteY472" fmla="*/ 209550 h 1619250"/>
                      <a:gd name="connsiteX473" fmla="*/ 102806 w 1614899"/>
                      <a:gd name="connsiteY473" fmla="*/ 204787 h 1619250"/>
                      <a:gd name="connsiteX474" fmla="*/ 109949 w 1614899"/>
                      <a:gd name="connsiteY474" fmla="*/ 200025 h 1619250"/>
                      <a:gd name="connsiteX475" fmla="*/ 119474 w 1614899"/>
                      <a:gd name="connsiteY475" fmla="*/ 197644 h 1619250"/>
                      <a:gd name="connsiteX476" fmla="*/ 133762 w 1614899"/>
                      <a:gd name="connsiteY476" fmla="*/ 192881 h 1619250"/>
                      <a:gd name="connsiteX477" fmla="*/ 140906 w 1614899"/>
                      <a:gd name="connsiteY477" fmla="*/ 190500 h 1619250"/>
                      <a:gd name="connsiteX478" fmla="*/ 148049 w 1614899"/>
                      <a:gd name="connsiteY478" fmla="*/ 195262 h 1619250"/>
                      <a:gd name="connsiteX479" fmla="*/ 155193 w 1614899"/>
                      <a:gd name="connsiteY479" fmla="*/ 204787 h 1619250"/>
                      <a:gd name="connsiteX480" fmla="*/ 164718 w 1614899"/>
                      <a:gd name="connsiteY480" fmla="*/ 202406 h 1619250"/>
                      <a:gd name="connsiteX481" fmla="*/ 190912 w 1614899"/>
                      <a:gd name="connsiteY481" fmla="*/ 200025 h 1619250"/>
                      <a:gd name="connsiteX482" fmla="*/ 193293 w 1614899"/>
                      <a:gd name="connsiteY482" fmla="*/ 192881 h 1619250"/>
                      <a:gd name="connsiteX483" fmla="*/ 198056 w 1614899"/>
                      <a:gd name="connsiteY483" fmla="*/ 185737 h 1619250"/>
                      <a:gd name="connsiteX484" fmla="*/ 195674 w 1614899"/>
                      <a:gd name="connsiteY484" fmla="*/ 178594 h 1619250"/>
                      <a:gd name="connsiteX485" fmla="*/ 186149 w 1614899"/>
                      <a:gd name="connsiteY485" fmla="*/ 159544 h 1619250"/>
                      <a:gd name="connsiteX486" fmla="*/ 217106 w 1614899"/>
                      <a:gd name="connsiteY486" fmla="*/ 152400 h 1619250"/>
                      <a:gd name="connsiteX487" fmla="*/ 209962 w 1614899"/>
                      <a:gd name="connsiteY487" fmla="*/ 145256 h 1619250"/>
                      <a:gd name="connsiteX488" fmla="*/ 202818 w 1614899"/>
                      <a:gd name="connsiteY488" fmla="*/ 140494 h 1619250"/>
                      <a:gd name="connsiteX489" fmla="*/ 212343 w 1614899"/>
                      <a:gd name="connsiteY489" fmla="*/ 133350 h 1619250"/>
                      <a:gd name="connsiteX490" fmla="*/ 233774 w 1614899"/>
                      <a:gd name="connsiteY490" fmla="*/ 123825 h 1619250"/>
                      <a:gd name="connsiteX491" fmla="*/ 238537 w 1614899"/>
                      <a:gd name="connsiteY491" fmla="*/ 116681 h 1619250"/>
                      <a:gd name="connsiteX492" fmla="*/ 240918 w 1614899"/>
                      <a:gd name="connsiteY492" fmla="*/ 107156 h 1619250"/>
                      <a:gd name="connsiteX493" fmla="*/ 248062 w 1614899"/>
                      <a:gd name="connsiteY493" fmla="*/ 109537 h 1619250"/>
                      <a:gd name="connsiteX494" fmla="*/ 250443 w 1614899"/>
                      <a:gd name="connsiteY494" fmla="*/ 116681 h 1619250"/>
                      <a:gd name="connsiteX495" fmla="*/ 252824 w 1614899"/>
                      <a:gd name="connsiteY495" fmla="*/ 130969 h 1619250"/>
                      <a:gd name="connsiteX496" fmla="*/ 269493 w 1614899"/>
                      <a:gd name="connsiteY496" fmla="*/ 138112 h 1619250"/>
                      <a:gd name="connsiteX497" fmla="*/ 271874 w 1614899"/>
                      <a:gd name="connsiteY497" fmla="*/ 145256 h 1619250"/>
                      <a:gd name="connsiteX498" fmla="*/ 264731 w 1614899"/>
                      <a:gd name="connsiteY498" fmla="*/ 152400 h 1619250"/>
                      <a:gd name="connsiteX499" fmla="*/ 262349 w 1614899"/>
                      <a:gd name="connsiteY499" fmla="*/ 159544 h 1619250"/>
                      <a:gd name="connsiteX500" fmla="*/ 264731 w 1614899"/>
                      <a:gd name="connsiteY500" fmla="*/ 173831 h 1619250"/>
                      <a:gd name="connsiteX501" fmla="*/ 274256 w 1614899"/>
                      <a:gd name="connsiteY501" fmla="*/ 176212 h 1619250"/>
                      <a:gd name="connsiteX502" fmla="*/ 295687 w 1614899"/>
                      <a:gd name="connsiteY502" fmla="*/ 178594 h 1619250"/>
                      <a:gd name="connsiteX503" fmla="*/ 293306 w 1614899"/>
                      <a:gd name="connsiteY503" fmla="*/ 185737 h 1619250"/>
                      <a:gd name="connsiteX504" fmla="*/ 295687 w 1614899"/>
                      <a:gd name="connsiteY504" fmla="*/ 200025 h 1619250"/>
                      <a:gd name="connsiteX505" fmla="*/ 302831 w 1614899"/>
                      <a:gd name="connsiteY505" fmla="*/ 216694 h 1619250"/>
                      <a:gd name="connsiteX506" fmla="*/ 307593 w 1614899"/>
                      <a:gd name="connsiteY506" fmla="*/ 223837 h 1619250"/>
                      <a:gd name="connsiteX507" fmla="*/ 314737 w 1614899"/>
                      <a:gd name="connsiteY507" fmla="*/ 228600 h 1619250"/>
                      <a:gd name="connsiteX508" fmla="*/ 326643 w 1614899"/>
                      <a:gd name="connsiteY508" fmla="*/ 226219 h 1619250"/>
                      <a:gd name="connsiteX509" fmla="*/ 321881 w 1614899"/>
                      <a:gd name="connsiteY509" fmla="*/ 200025 h 1619250"/>
                      <a:gd name="connsiteX510" fmla="*/ 314737 w 1614899"/>
                      <a:gd name="connsiteY510" fmla="*/ 197644 h 1619250"/>
                      <a:gd name="connsiteX511" fmla="*/ 324262 w 1614899"/>
                      <a:gd name="connsiteY511" fmla="*/ 180975 h 1619250"/>
                      <a:gd name="connsiteX512" fmla="*/ 329024 w 1614899"/>
                      <a:gd name="connsiteY512" fmla="*/ 173831 h 1619250"/>
                      <a:gd name="connsiteX513" fmla="*/ 343312 w 1614899"/>
                      <a:gd name="connsiteY513" fmla="*/ 159544 h 1619250"/>
                      <a:gd name="connsiteX514" fmla="*/ 348074 w 1614899"/>
                      <a:gd name="connsiteY514" fmla="*/ 145256 h 1619250"/>
                      <a:gd name="connsiteX515" fmla="*/ 350456 w 1614899"/>
                      <a:gd name="connsiteY515" fmla="*/ 114300 h 1619250"/>
                      <a:gd name="connsiteX516" fmla="*/ 357599 w 1614899"/>
                      <a:gd name="connsiteY516" fmla="*/ 111919 h 1619250"/>
                      <a:gd name="connsiteX517" fmla="*/ 364743 w 1614899"/>
                      <a:gd name="connsiteY517" fmla="*/ 114300 h 1619250"/>
                      <a:gd name="connsiteX518" fmla="*/ 371887 w 1614899"/>
                      <a:gd name="connsiteY518" fmla="*/ 114300 h 1619250"/>
                      <a:gd name="connsiteX519" fmla="*/ 381412 w 1614899"/>
                      <a:gd name="connsiteY519" fmla="*/ 138112 h 1619250"/>
                      <a:gd name="connsiteX520" fmla="*/ 395699 w 1614899"/>
                      <a:gd name="connsiteY520" fmla="*/ 150019 h 1619250"/>
                      <a:gd name="connsiteX521" fmla="*/ 409987 w 1614899"/>
                      <a:gd name="connsiteY521" fmla="*/ 147637 h 1619250"/>
                      <a:gd name="connsiteX522" fmla="*/ 412368 w 1614899"/>
                      <a:gd name="connsiteY522" fmla="*/ 133350 h 1619250"/>
                      <a:gd name="connsiteX523" fmla="*/ 426656 w 1614899"/>
                      <a:gd name="connsiteY523" fmla="*/ 128587 h 1619250"/>
                      <a:gd name="connsiteX524" fmla="*/ 433799 w 1614899"/>
                      <a:gd name="connsiteY524" fmla="*/ 142875 h 1619250"/>
                      <a:gd name="connsiteX525" fmla="*/ 448087 w 1614899"/>
                      <a:gd name="connsiteY525" fmla="*/ 161925 h 1619250"/>
                      <a:gd name="connsiteX526" fmla="*/ 464756 w 1614899"/>
                      <a:gd name="connsiteY526" fmla="*/ 159544 h 1619250"/>
                      <a:gd name="connsiteX527" fmla="*/ 452849 w 1614899"/>
                      <a:gd name="connsiteY527" fmla="*/ 138112 h 1619250"/>
                      <a:gd name="connsiteX528" fmla="*/ 450468 w 1614899"/>
                      <a:gd name="connsiteY528" fmla="*/ 111919 h 1619250"/>
                      <a:gd name="connsiteX529" fmla="*/ 443324 w 1614899"/>
                      <a:gd name="connsiteY529" fmla="*/ 107156 h 1619250"/>
                      <a:gd name="connsiteX530" fmla="*/ 440943 w 1614899"/>
                      <a:gd name="connsiteY530" fmla="*/ 100012 h 1619250"/>
                      <a:gd name="connsiteX531" fmla="*/ 450468 w 1614899"/>
                      <a:gd name="connsiteY531" fmla="*/ 88106 h 1619250"/>
                      <a:gd name="connsiteX532" fmla="*/ 476662 w 1614899"/>
                      <a:gd name="connsiteY532" fmla="*/ 90487 h 1619250"/>
                      <a:gd name="connsiteX533" fmla="*/ 486187 w 1614899"/>
                      <a:gd name="connsiteY533" fmla="*/ 92869 h 1619250"/>
                      <a:gd name="connsiteX534" fmla="*/ 493331 w 1614899"/>
                      <a:gd name="connsiteY534" fmla="*/ 97631 h 1619250"/>
                      <a:gd name="connsiteX535" fmla="*/ 502856 w 1614899"/>
                      <a:gd name="connsiteY535" fmla="*/ 95250 h 1619250"/>
                      <a:gd name="connsiteX536" fmla="*/ 509999 w 1614899"/>
                      <a:gd name="connsiteY536" fmla="*/ 90487 h 1619250"/>
                      <a:gd name="connsiteX537" fmla="*/ 507618 w 1614899"/>
                      <a:gd name="connsiteY537" fmla="*/ 83344 h 1619250"/>
                      <a:gd name="connsiteX538" fmla="*/ 500474 w 1614899"/>
                      <a:gd name="connsiteY538" fmla="*/ 80962 h 1619250"/>
                      <a:gd name="connsiteX539" fmla="*/ 493331 w 1614899"/>
                      <a:gd name="connsiteY539" fmla="*/ 76200 h 1619250"/>
                      <a:gd name="connsiteX540" fmla="*/ 495712 w 1614899"/>
                      <a:gd name="connsiteY540"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19549 w 1614899"/>
                      <a:gd name="connsiteY86" fmla="*/ 328612 h 1619250"/>
                      <a:gd name="connsiteX87" fmla="*/ 714787 w 1614899"/>
                      <a:gd name="connsiteY87" fmla="*/ 335756 h 1619250"/>
                      <a:gd name="connsiteX88" fmla="*/ 717168 w 1614899"/>
                      <a:gd name="connsiteY88" fmla="*/ 342900 h 1619250"/>
                      <a:gd name="connsiteX89" fmla="*/ 721931 w 1614899"/>
                      <a:gd name="connsiteY89" fmla="*/ 347662 h 1619250"/>
                      <a:gd name="connsiteX90" fmla="*/ 733837 w 1614899"/>
                      <a:gd name="connsiteY90" fmla="*/ 357187 h 1619250"/>
                      <a:gd name="connsiteX91" fmla="*/ 740981 w 1614899"/>
                      <a:gd name="connsiteY91" fmla="*/ 354806 h 1619250"/>
                      <a:gd name="connsiteX92" fmla="*/ 755268 w 1614899"/>
                      <a:gd name="connsiteY92" fmla="*/ 350044 h 1619250"/>
                      <a:gd name="connsiteX93" fmla="*/ 752887 w 1614899"/>
                      <a:gd name="connsiteY93" fmla="*/ 359569 h 1619250"/>
                      <a:gd name="connsiteX94" fmla="*/ 755268 w 1614899"/>
                      <a:gd name="connsiteY94" fmla="*/ 371475 h 1619250"/>
                      <a:gd name="connsiteX95" fmla="*/ 762412 w 1614899"/>
                      <a:gd name="connsiteY95" fmla="*/ 373856 h 1619250"/>
                      <a:gd name="connsiteX96" fmla="*/ 745743 w 1614899"/>
                      <a:gd name="connsiteY96" fmla="*/ 390525 h 1619250"/>
                      <a:gd name="connsiteX97" fmla="*/ 750506 w 1614899"/>
                      <a:gd name="connsiteY97" fmla="*/ 397669 h 1619250"/>
                      <a:gd name="connsiteX98" fmla="*/ 745743 w 1614899"/>
                      <a:gd name="connsiteY98" fmla="*/ 411956 h 1619250"/>
                      <a:gd name="connsiteX99" fmla="*/ 731456 w 1614899"/>
                      <a:gd name="connsiteY99" fmla="*/ 404812 h 1619250"/>
                      <a:gd name="connsiteX100" fmla="*/ 724312 w 1614899"/>
                      <a:gd name="connsiteY100" fmla="*/ 409575 h 1619250"/>
                      <a:gd name="connsiteX101" fmla="*/ 721931 w 1614899"/>
                      <a:gd name="connsiteY101" fmla="*/ 416719 h 1619250"/>
                      <a:gd name="connsiteX102" fmla="*/ 736218 w 1614899"/>
                      <a:gd name="connsiteY102" fmla="*/ 426244 h 1619250"/>
                      <a:gd name="connsiteX103" fmla="*/ 731456 w 1614899"/>
                      <a:gd name="connsiteY103" fmla="*/ 442912 h 1619250"/>
                      <a:gd name="connsiteX104" fmla="*/ 729074 w 1614899"/>
                      <a:gd name="connsiteY104" fmla="*/ 450056 h 1619250"/>
                      <a:gd name="connsiteX105" fmla="*/ 731456 w 1614899"/>
                      <a:gd name="connsiteY105" fmla="*/ 481012 h 1619250"/>
                      <a:gd name="connsiteX106" fmla="*/ 736218 w 1614899"/>
                      <a:gd name="connsiteY106" fmla="*/ 488156 h 1619250"/>
                      <a:gd name="connsiteX107" fmla="*/ 743362 w 1614899"/>
                      <a:gd name="connsiteY107" fmla="*/ 509587 h 1619250"/>
                      <a:gd name="connsiteX108" fmla="*/ 745743 w 1614899"/>
                      <a:gd name="connsiteY108" fmla="*/ 516731 h 1619250"/>
                      <a:gd name="connsiteX109" fmla="*/ 760031 w 1614899"/>
                      <a:gd name="connsiteY109" fmla="*/ 526256 h 1619250"/>
                      <a:gd name="connsiteX110" fmla="*/ 764793 w 1614899"/>
                      <a:gd name="connsiteY110" fmla="*/ 533400 h 1619250"/>
                      <a:gd name="connsiteX111" fmla="*/ 769556 w 1614899"/>
                      <a:gd name="connsiteY111" fmla="*/ 547687 h 1619250"/>
                      <a:gd name="connsiteX112" fmla="*/ 769556 w 1614899"/>
                      <a:gd name="connsiteY112" fmla="*/ 542925 h 1619250"/>
                      <a:gd name="connsiteX113" fmla="*/ 776699 w 1614899"/>
                      <a:gd name="connsiteY113" fmla="*/ 550069 h 1619250"/>
                      <a:gd name="connsiteX114" fmla="*/ 793368 w 1614899"/>
                      <a:gd name="connsiteY114" fmla="*/ 552450 h 1619250"/>
                      <a:gd name="connsiteX115" fmla="*/ 807656 w 1614899"/>
                      <a:gd name="connsiteY115" fmla="*/ 557212 h 1619250"/>
                      <a:gd name="connsiteX116" fmla="*/ 814799 w 1614899"/>
                      <a:gd name="connsiteY116" fmla="*/ 559594 h 1619250"/>
                      <a:gd name="connsiteX117" fmla="*/ 821943 w 1614899"/>
                      <a:gd name="connsiteY117" fmla="*/ 566737 h 1619250"/>
                      <a:gd name="connsiteX118" fmla="*/ 829087 w 1614899"/>
                      <a:gd name="connsiteY118" fmla="*/ 569119 h 1619250"/>
                      <a:gd name="connsiteX119" fmla="*/ 836231 w 1614899"/>
                      <a:gd name="connsiteY119" fmla="*/ 573881 h 1619250"/>
                      <a:gd name="connsiteX120" fmla="*/ 843374 w 1614899"/>
                      <a:gd name="connsiteY120" fmla="*/ 588169 h 1619250"/>
                      <a:gd name="connsiteX121" fmla="*/ 852899 w 1614899"/>
                      <a:gd name="connsiteY121" fmla="*/ 597694 h 1619250"/>
                      <a:gd name="connsiteX122" fmla="*/ 902906 w 1614899"/>
                      <a:gd name="connsiteY122" fmla="*/ 604837 h 1619250"/>
                      <a:gd name="connsiteX123" fmla="*/ 914812 w 1614899"/>
                      <a:gd name="connsiteY123" fmla="*/ 626269 h 1619250"/>
                      <a:gd name="connsiteX124" fmla="*/ 919574 w 1614899"/>
                      <a:gd name="connsiteY124" fmla="*/ 633412 h 1619250"/>
                      <a:gd name="connsiteX125" fmla="*/ 919574 w 1614899"/>
                      <a:gd name="connsiteY125" fmla="*/ 671512 h 1619250"/>
                      <a:gd name="connsiteX126" fmla="*/ 926718 w 1614899"/>
                      <a:gd name="connsiteY126" fmla="*/ 676275 h 1619250"/>
                      <a:gd name="connsiteX127" fmla="*/ 933862 w 1614899"/>
                      <a:gd name="connsiteY127" fmla="*/ 690562 h 1619250"/>
                      <a:gd name="connsiteX128" fmla="*/ 936243 w 1614899"/>
                      <a:gd name="connsiteY128" fmla="*/ 702469 h 1619250"/>
                      <a:gd name="connsiteX129" fmla="*/ 943387 w 1614899"/>
                      <a:gd name="connsiteY129" fmla="*/ 709612 h 1619250"/>
                      <a:gd name="connsiteX130" fmla="*/ 945768 w 1614899"/>
                      <a:gd name="connsiteY130" fmla="*/ 723900 h 1619250"/>
                      <a:gd name="connsiteX131" fmla="*/ 955293 w 1614899"/>
                      <a:gd name="connsiteY131" fmla="*/ 738187 h 1619250"/>
                      <a:gd name="connsiteX132" fmla="*/ 964818 w 1614899"/>
                      <a:gd name="connsiteY132" fmla="*/ 752475 h 1619250"/>
                      <a:gd name="connsiteX133" fmla="*/ 967199 w 1614899"/>
                      <a:gd name="connsiteY133" fmla="*/ 759619 h 1619250"/>
                      <a:gd name="connsiteX134" fmla="*/ 974343 w 1614899"/>
                      <a:gd name="connsiteY134" fmla="*/ 769144 h 1619250"/>
                      <a:gd name="connsiteX135" fmla="*/ 979106 w 1614899"/>
                      <a:gd name="connsiteY135" fmla="*/ 783431 h 1619250"/>
                      <a:gd name="connsiteX136" fmla="*/ 981487 w 1614899"/>
                      <a:gd name="connsiteY136" fmla="*/ 790575 h 1619250"/>
                      <a:gd name="connsiteX137" fmla="*/ 991012 w 1614899"/>
                      <a:gd name="connsiteY137" fmla="*/ 804862 h 1619250"/>
                      <a:gd name="connsiteX138" fmla="*/ 998156 w 1614899"/>
                      <a:gd name="connsiteY138" fmla="*/ 819150 h 1619250"/>
                      <a:gd name="connsiteX139" fmla="*/ 1000537 w 1614899"/>
                      <a:gd name="connsiteY139" fmla="*/ 826294 h 1619250"/>
                      <a:gd name="connsiteX140" fmla="*/ 1007681 w 1614899"/>
                      <a:gd name="connsiteY140" fmla="*/ 828675 h 1619250"/>
                      <a:gd name="connsiteX141" fmla="*/ 1014824 w 1614899"/>
                      <a:gd name="connsiteY141" fmla="*/ 833437 h 1619250"/>
                      <a:gd name="connsiteX142" fmla="*/ 1029112 w 1614899"/>
                      <a:gd name="connsiteY142" fmla="*/ 838200 h 1619250"/>
                      <a:gd name="connsiteX143" fmla="*/ 1033874 w 1614899"/>
                      <a:gd name="connsiteY143" fmla="*/ 845344 h 1619250"/>
                      <a:gd name="connsiteX144" fmla="*/ 1048162 w 1614899"/>
                      <a:gd name="connsiteY144" fmla="*/ 857250 h 1619250"/>
                      <a:gd name="connsiteX145" fmla="*/ 1062449 w 1614899"/>
                      <a:gd name="connsiteY145" fmla="*/ 862012 h 1619250"/>
                      <a:gd name="connsiteX146" fmla="*/ 1079118 w 1614899"/>
                      <a:gd name="connsiteY146" fmla="*/ 883444 h 1619250"/>
                      <a:gd name="connsiteX147" fmla="*/ 1081499 w 1614899"/>
                      <a:gd name="connsiteY147" fmla="*/ 890587 h 1619250"/>
                      <a:gd name="connsiteX148" fmla="*/ 1095787 w 1614899"/>
                      <a:gd name="connsiteY148" fmla="*/ 883444 h 1619250"/>
                      <a:gd name="connsiteX149" fmla="*/ 1110074 w 1614899"/>
                      <a:gd name="connsiteY149" fmla="*/ 890587 h 1619250"/>
                      <a:gd name="connsiteX150" fmla="*/ 1121981 w 1614899"/>
                      <a:gd name="connsiteY150" fmla="*/ 902494 h 1619250"/>
                      <a:gd name="connsiteX151" fmla="*/ 1136268 w 1614899"/>
                      <a:gd name="connsiteY151" fmla="*/ 907256 h 1619250"/>
                      <a:gd name="connsiteX152" fmla="*/ 1176749 w 1614899"/>
                      <a:gd name="connsiteY152" fmla="*/ 904875 h 1619250"/>
                      <a:gd name="connsiteX153" fmla="*/ 1195799 w 1614899"/>
                      <a:gd name="connsiteY153" fmla="*/ 904875 h 1619250"/>
                      <a:gd name="connsiteX154" fmla="*/ 1207706 w 1614899"/>
                      <a:gd name="connsiteY154" fmla="*/ 912019 h 1619250"/>
                      <a:gd name="connsiteX155" fmla="*/ 1210087 w 1614899"/>
                      <a:gd name="connsiteY155" fmla="*/ 902494 h 1619250"/>
                      <a:gd name="connsiteX156" fmla="*/ 1219612 w 1614899"/>
                      <a:gd name="connsiteY156" fmla="*/ 900112 h 1619250"/>
                      <a:gd name="connsiteX157" fmla="*/ 1226756 w 1614899"/>
                      <a:gd name="connsiteY157" fmla="*/ 895350 h 1619250"/>
                      <a:gd name="connsiteX158" fmla="*/ 1241043 w 1614899"/>
                      <a:gd name="connsiteY158" fmla="*/ 890587 h 1619250"/>
                      <a:gd name="connsiteX159" fmla="*/ 1255331 w 1614899"/>
                      <a:gd name="connsiteY159" fmla="*/ 892969 h 1619250"/>
                      <a:gd name="connsiteX160" fmla="*/ 1260093 w 1614899"/>
                      <a:gd name="connsiteY160" fmla="*/ 900112 h 1619250"/>
                      <a:gd name="connsiteX161" fmla="*/ 1267237 w 1614899"/>
                      <a:gd name="connsiteY161" fmla="*/ 904875 h 1619250"/>
                      <a:gd name="connsiteX162" fmla="*/ 1271999 w 1614899"/>
                      <a:gd name="connsiteY162" fmla="*/ 919162 h 1619250"/>
                      <a:gd name="connsiteX163" fmla="*/ 1269618 w 1614899"/>
                      <a:gd name="connsiteY163" fmla="*/ 928687 h 1619250"/>
                      <a:gd name="connsiteX164" fmla="*/ 1262474 w 1614899"/>
                      <a:gd name="connsiteY164" fmla="*/ 933450 h 1619250"/>
                      <a:gd name="connsiteX165" fmla="*/ 1255331 w 1614899"/>
                      <a:gd name="connsiteY165" fmla="*/ 940594 h 1619250"/>
                      <a:gd name="connsiteX166" fmla="*/ 1248187 w 1614899"/>
                      <a:gd name="connsiteY166" fmla="*/ 942975 h 1619250"/>
                      <a:gd name="connsiteX167" fmla="*/ 1241043 w 1614899"/>
                      <a:gd name="connsiteY167" fmla="*/ 947737 h 1619250"/>
                      <a:gd name="connsiteX168" fmla="*/ 1226756 w 1614899"/>
                      <a:gd name="connsiteY168" fmla="*/ 954881 h 1619250"/>
                      <a:gd name="connsiteX169" fmla="*/ 1236281 w 1614899"/>
                      <a:gd name="connsiteY169" fmla="*/ 969169 h 1619250"/>
                      <a:gd name="connsiteX170" fmla="*/ 1241043 w 1614899"/>
                      <a:gd name="connsiteY170" fmla="*/ 983456 h 1619250"/>
                      <a:gd name="connsiteX171" fmla="*/ 1250568 w 1614899"/>
                      <a:gd name="connsiteY171" fmla="*/ 997744 h 1619250"/>
                      <a:gd name="connsiteX172" fmla="*/ 1262474 w 1614899"/>
                      <a:gd name="connsiteY172" fmla="*/ 997744 h 1619250"/>
                      <a:gd name="connsiteX173" fmla="*/ 1264856 w 1614899"/>
                      <a:gd name="connsiteY173" fmla="*/ 990600 h 1619250"/>
                      <a:gd name="connsiteX174" fmla="*/ 1283906 w 1614899"/>
                      <a:gd name="connsiteY174" fmla="*/ 995362 h 1619250"/>
                      <a:gd name="connsiteX175" fmla="*/ 1291049 w 1614899"/>
                      <a:gd name="connsiteY175" fmla="*/ 1000125 h 1619250"/>
                      <a:gd name="connsiteX176" fmla="*/ 1298193 w 1614899"/>
                      <a:gd name="connsiteY176" fmla="*/ 1002506 h 1619250"/>
                      <a:gd name="connsiteX177" fmla="*/ 1322006 w 1614899"/>
                      <a:gd name="connsiteY177" fmla="*/ 1007269 h 1619250"/>
                      <a:gd name="connsiteX178" fmla="*/ 1336293 w 1614899"/>
                      <a:gd name="connsiteY178" fmla="*/ 1012031 h 1619250"/>
                      <a:gd name="connsiteX179" fmla="*/ 1355343 w 1614899"/>
                      <a:gd name="connsiteY179" fmla="*/ 1016794 h 1619250"/>
                      <a:gd name="connsiteX180" fmla="*/ 1362487 w 1614899"/>
                      <a:gd name="connsiteY180" fmla="*/ 1023937 h 1619250"/>
                      <a:gd name="connsiteX181" fmla="*/ 1376774 w 1614899"/>
                      <a:gd name="connsiteY181" fmla="*/ 1028700 h 1619250"/>
                      <a:gd name="connsiteX182" fmla="*/ 1391062 w 1614899"/>
                      <a:gd name="connsiteY182" fmla="*/ 1033462 h 1619250"/>
                      <a:gd name="connsiteX183" fmla="*/ 1398206 w 1614899"/>
                      <a:gd name="connsiteY183" fmla="*/ 1035844 h 1619250"/>
                      <a:gd name="connsiteX184" fmla="*/ 1405349 w 1614899"/>
                      <a:gd name="connsiteY184" fmla="*/ 1038225 h 1619250"/>
                      <a:gd name="connsiteX185" fmla="*/ 1412493 w 1614899"/>
                      <a:gd name="connsiteY185" fmla="*/ 1042987 h 1619250"/>
                      <a:gd name="connsiteX186" fmla="*/ 1426781 w 1614899"/>
                      <a:gd name="connsiteY186" fmla="*/ 1050131 h 1619250"/>
                      <a:gd name="connsiteX187" fmla="*/ 1436306 w 1614899"/>
                      <a:gd name="connsiteY187" fmla="*/ 1062037 h 1619250"/>
                      <a:gd name="connsiteX188" fmla="*/ 1441068 w 1614899"/>
                      <a:gd name="connsiteY188" fmla="*/ 1069181 h 1619250"/>
                      <a:gd name="connsiteX189" fmla="*/ 1450593 w 1614899"/>
                      <a:gd name="connsiteY189" fmla="*/ 1071562 h 1619250"/>
                      <a:gd name="connsiteX190" fmla="*/ 1464881 w 1614899"/>
                      <a:gd name="connsiteY190" fmla="*/ 1076325 h 1619250"/>
                      <a:gd name="connsiteX191" fmla="*/ 1467262 w 1614899"/>
                      <a:gd name="connsiteY191" fmla="*/ 1083469 h 1619250"/>
                      <a:gd name="connsiteX192" fmla="*/ 1488693 w 1614899"/>
                      <a:gd name="connsiteY192" fmla="*/ 1092994 h 1619250"/>
                      <a:gd name="connsiteX193" fmla="*/ 1500599 w 1614899"/>
                      <a:gd name="connsiteY193" fmla="*/ 1095375 h 1619250"/>
                      <a:gd name="connsiteX194" fmla="*/ 1514887 w 1614899"/>
                      <a:gd name="connsiteY194" fmla="*/ 1097756 h 1619250"/>
                      <a:gd name="connsiteX195" fmla="*/ 1522031 w 1614899"/>
                      <a:gd name="connsiteY195" fmla="*/ 1100137 h 1619250"/>
                      <a:gd name="connsiteX196" fmla="*/ 1541081 w 1614899"/>
                      <a:gd name="connsiteY196" fmla="*/ 1104900 h 1619250"/>
                      <a:gd name="connsiteX197" fmla="*/ 1545843 w 1614899"/>
                      <a:gd name="connsiteY197" fmla="*/ 1112044 h 1619250"/>
                      <a:gd name="connsiteX198" fmla="*/ 1543462 w 1614899"/>
                      <a:gd name="connsiteY198" fmla="*/ 1119187 h 1619250"/>
                      <a:gd name="connsiteX199" fmla="*/ 1557749 w 1614899"/>
                      <a:gd name="connsiteY199" fmla="*/ 1128712 h 1619250"/>
                      <a:gd name="connsiteX200" fmla="*/ 1564893 w 1614899"/>
                      <a:gd name="connsiteY200" fmla="*/ 1133475 h 1619250"/>
                      <a:gd name="connsiteX201" fmla="*/ 1579181 w 1614899"/>
                      <a:gd name="connsiteY201" fmla="*/ 1147762 h 1619250"/>
                      <a:gd name="connsiteX202" fmla="*/ 1593468 w 1614899"/>
                      <a:gd name="connsiteY202" fmla="*/ 1152525 h 1619250"/>
                      <a:gd name="connsiteX203" fmla="*/ 1600612 w 1614899"/>
                      <a:gd name="connsiteY203" fmla="*/ 1154906 h 1619250"/>
                      <a:gd name="connsiteX204" fmla="*/ 1607756 w 1614899"/>
                      <a:gd name="connsiteY204" fmla="*/ 1162050 h 1619250"/>
                      <a:gd name="connsiteX205" fmla="*/ 1610137 w 1614899"/>
                      <a:gd name="connsiteY205" fmla="*/ 1169194 h 1619250"/>
                      <a:gd name="connsiteX206" fmla="*/ 1614899 w 1614899"/>
                      <a:gd name="connsiteY206" fmla="*/ 1176337 h 1619250"/>
                      <a:gd name="connsiteX207" fmla="*/ 1612518 w 1614899"/>
                      <a:gd name="connsiteY207" fmla="*/ 1195387 h 1619250"/>
                      <a:gd name="connsiteX208" fmla="*/ 1610137 w 1614899"/>
                      <a:gd name="connsiteY208" fmla="*/ 1202531 h 1619250"/>
                      <a:gd name="connsiteX209" fmla="*/ 1602993 w 1614899"/>
                      <a:gd name="connsiteY209" fmla="*/ 1204912 h 1619250"/>
                      <a:gd name="connsiteX210" fmla="*/ 1600612 w 1614899"/>
                      <a:gd name="connsiteY210" fmla="*/ 1212056 h 1619250"/>
                      <a:gd name="connsiteX211" fmla="*/ 1598231 w 1614899"/>
                      <a:gd name="connsiteY211" fmla="*/ 1247775 h 1619250"/>
                      <a:gd name="connsiteX212" fmla="*/ 1579181 w 1614899"/>
                      <a:gd name="connsiteY212" fmla="*/ 1245394 h 1619250"/>
                      <a:gd name="connsiteX213" fmla="*/ 1550606 w 1614899"/>
                      <a:gd name="connsiteY213" fmla="*/ 1231106 h 1619250"/>
                      <a:gd name="connsiteX214" fmla="*/ 1543462 w 1614899"/>
                      <a:gd name="connsiteY214" fmla="*/ 1226344 h 1619250"/>
                      <a:gd name="connsiteX215" fmla="*/ 1543462 w 1614899"/>
                      <a:gd name="connsiteY215" fmla="*/ 1197769 h 1619250"/>
                      <a:gd name="connsiteX216" fmla="*/ 1545843 w 1614899"/>
                      <a:gd name="connsiteY216" fmla="*/ 1183481 h 1619250"/>
                      <a:gd name="connsiteX217" fmla="*/ 1531556 w 1614899"/>
                      <a:gd name="connsiteY217" fmla="*/ 1176337 h 1619250"/>
                      <a:gd name="connsiteX218" fmla="*/ 1529174 w 1614899"/>
                      <a:gd name="connsiteY218" fmla="*/ 1169194 h 1619250"/>
                      <a:gd name="connsiteX219" fmla="*/ 1531556 w 1614899"/>
                      <a:gd name="connsiteY219" fmla="*/ 1152525 h 1619250"/>
                      <a:gd name="connsiteX220" fmla="*/ 1524412 w 1614899"/>
                      <a:gd name="connsiteY220" fmla="*/ 1154906 h 1619250"/>
                      <a:gd name="connsiteX221" fmla="*/ 1517268 w 1614899"/>
                      <a:gd name="connsiteY221" fmla="*/ 1159669 h 1619250"/>
                      <a:gd name="connsiteX222" fmla="*/ 1502981 w 1614899"/>
                      <a:gd name="connsiteY222" fmla="*/ 1164431 h 1619250"/>
                      <a:gd name="connsiteX223" fmla="*/ 1481549 w 1614899"/>
                      <a:gd name="connsiteY223" fmla="*/ 1169194 h 1619250"/>
                      <a:gd name="connsiteX224" fmla="*/ 1457737 w 1614899"/>
                      <a:gd name="connsiteY224" fmla="*/ 1164431 h 1619250"/>
                      <a:gd name="connsiteX225" fmla="*/ 1443449 w 1614899"/>
                      <a:gd name="connsiteY225" fmla="*/ 1154906 h 1619250"/>
                      <a:gd name="connsiteX226" fmla="*/ 1436306 w 1614899"/>
                      <a:gd name="connsiteY226" fmla="*/ 1150144 h 1619250"/>
                      <a:gd name="connsiteX227" fmla="*/ 1426781 w 1614899"/>
                      <a:gd name="connsiteY227" fmla="*/ 1140619 h 1619250"/>
                      <a:gd name="connsiteX228" fmla="*/ 1402968 w 1614899"/>
                      <a:gd name="connsiteY228" fmla="*/ 1138237 h 1619250"/>
                      <a:gd name="connsiteX229" fmla="*/ 1395824 w 1614899"/>
                      <a:gd name="connsiteY229" fmla="*/ 1145381 h 1619250"/>
                      <a:gd name="connsiteX230" fmla="*/ 1374393 w 1614899"/>
                      <a:gd name="connsiteY230" fmla="*/ 1162050 h 1619250"/>
                      <a:gd name="connsiteX231" fmla="*/ 1367249 w 1614899"/>
                      <a:gd name="connsiteY231" fmla="*/ 1188244 h 1619250"/>
                      <a:gd name="connsiteX232" fmla="*/ 1357724 w 1614899"/>
                      <a:gd name="connsiteY232" fmla="*/ 1202531 h 1619250"/>
                      <a:gd name="connsiteX233" fmla="*/ 1348199 w 1614899"/>
                      <a:gd name="connsiteY233" fmla="*/ 1212056 h 1619250"/>
                      <a:gd name="connsiteX234" fmla="*/ 1345818 w 1614899"/>
                      <a:gd name="connsiteY234" fmla="*/ 1219200 h 1619250"/>
                      <a:gd name="connsiteX235" fmla="*/ 1341056 w 1614899"/>
                      <a:gd name="connsiteY235" fmla="*/ 1228725 h 1619250"/>
                      <a:gd name="connsiteX236" fmla="*/ 1350581 w 1614899"/>
                      <a:gd name="connsiteY236" fmla="*/ 1243012 h 1619250"/>
                      <a:gd name="connsiteX237" fmla="*/ 1343437 w 1614899"/>
                      <a:gd name="connsiteY237" fmla="*/ 1266825 h 1619250"/>
                      <a:gd name="connsiteX238" fmla="*/ 1345818 w 1614899"/>
                      <a:gd name="connsiteY238" fmla="*/ 1281112 h 1619250"/>
                      <a:gd name="connsiteX239" fmla="*/ 1348199 w 1614899"/>
                      <a:gd name="connsiteY239" fmla="*/ 1290637 h 1619250"/>
                      <a:gd name="connsiteX240" fmla="*/ 1355343 w 1614899"/>
                      <a:gd name="connsiteY240" fmla="*/ 1297781 h 1619250"/>
                      <a:gd name="connsiteX241" fmla="*/ 1362487 w 1614899"/>
                      <a:gd name="connsiteY241" fmla="*/ 1300162 h 1619250"/>
                      <a:gd name="connsiteX242" fmla="*/ 1386299 w 1614899"/>
                      <a:gd name="connsiteY242" fmla="*/ 1302544 h 1619250"/>
                      <a:gd name="connsiteX243" fmla="*/ 1395824 w 1614899"/>
                      <a:gd name="connsiteY243" fmla="*/ 1309687 h 1619250"/>
                      <a:gd name="connsiteX244" fmla="*/ 1410112 w 1614899"/>
                      <a:gd name="connsiteY244" fmla="*/ 1314450 h 1619250"/>
                      <a:gd name="connsiteX245" fmla="*/ 1417256 w 1614899"/>
                      <a:gd name="connsiteY245" fmla="*/ 1319212 h 1619250"/>
                      <a:gd name="connsiteX246" fmla="*/ 1431543 w 1614899"/>
                      <a:gd name="connsiteY246" fmla="*/ 1326356 h 1619250"/>
                      <a:gd name="connsiteX247" fmla="*/ 1433924 w 1614899"/>
                      <a:gd name="connsiteY247" fmla="*/ 1333500 h 1619250"/>
                      <a:gd name="connsiteX248" fmla="*/ 1429162 w 1614899"/>
                      <a:gd name="connsiteY248" fmla="*/ 1340644 h 1619250"/>
                      <a:gd name="connsiteX249" fmla="*/ 1426781 w 1614899"/>
                      <a:gd name="connsiteY249" fmla="*/ 1347787 h 1619250"/>
                      <a:gd name="connsiteX250" fmla="*/ 1431543 w 1614899"/>
                      <a:gd name="connsiteY250" fmla="*/ 1354931 h 1619250"/>
                      <a:gd name="connsiteX251" fmla="*/ 1436306 w 1614899"/>
                      <a:gd name="connsiteY251" fmla="*/ 1364456 h 1619250"/>
                      <a:gd name="connsiteX252" fmla="*/ 1443449 w 1614899"/>
                      <a:gd name="connsiteY252" fmla="*/ 1395412 h 1619250"/>
                      <a:gd name="connsiteX253" fmla="*/ 1450593 w 1614899"/>
                      <a:gd name="connsiteY253" fmla="*/ 1402556 h 1619250"/>
                      <a:gd name="connsiteX254" fmla="*/ 1448212 w 1614899"/>
                      <a:gd name="connsiteY254" fmla="*/ 1412081 h 1619250"/>
                      <a:gd name="connsiteX255" fmla="*/ 1433924 w 1614899"/>
                      <a:gd name="connsiteY255" fmla="*/ 1416844 h 1619250"/>
                      <a:gd name="connsiteX256" fmla="*/ 1419637 w 1614899"/>
                      <a:gd name="connsiteY256" fmla="*/ 1423987 h 1619250"/>
                      <a:gd name="connsiteX257" fmla="*/ 1405349 w 1614899"/>
                      <a:gd name="connsiteY257" fmla="*/ 1431131 h 1619250"/>
                      <a:gd name="connsiteX258" fmla="*/ 1398206 w 1614899"/>
                      <a:gd name="connsiteY258" fmla="*/ 1435894 h 1619250"/>
                      <a:gd name="connsiteX259" fmla="*/ 1383918 w 1614899"/>
                      <a:gd name="connsiteY259" fmla="*/ 1440656 h 1619250"/>
                      <a:gd name="connsiteX260" fmla="*/ 1376774 w 1614899"/>
                      <a:gd name="connsiteY260" fmla="*/ 1443037 h 1619250"/>
                      <a:gd name="connsiteX261" fmla="*/ 1364868 w 1614899"/>
                      <a:gd name="connsiteY261" fmla="*/ 1464469 h 1619250"/>
                      <a:gd name="connsiteX262" fmla="*/ 1362487 w 1614899"/>
                      <a:gd name="connsiteY262" fmla="*/ 1473994 h 1619250"/>
                      <a:gd name="connsiteX263" fmla="*/ 1364868 w 1614899"/>
                      <a:gd name="connsiteY263" fmla="*/ 1497806 h 1619250"/>
                      <a:gd name="connsiteX264" fmla="*/ 1372012 w 1614899"/>
                      <a:gd name="connsiteY264" fmla="*/ 1500187 h 1619250"/>
                      <a:gd name="connsiteX265" fmla="*/ 1369631 w 1614899"/>
                      <a:gd name="connsiteY265" fmla="*/ 1516856 h 1619250"/>
                      <a:gd name="connsiteX266" fmla="*/ 1367249 w 1614899"/>
                      <a:gd name="connsiteY266" fmla="*/ 1524000 h 1619250"/>
                      <a:gd name="connsiteX267" fmla="*/ 1360106 w 1614899"/>
                      <a:gd name="connsiteY267" fmla="*/ 1526381 h 1619250"/>
                      <a:gd name="connsiteX268" fmla="*/ 1352962 w 1614899"/>
                      <a:gd name="connsiteY268" fmla="*/ 1531144 h 1619250"/>
                      <a:gd name="connsiteX269" fmla="*/ 1343437 w 1614899"/>
                      <a:gd name="connsiteY269" fmla="*/ 1535906 h 1619250"/>
                      <a:gd name="connsiteX270" fmla="*/ 1329149 w 1614899"/>
                      <a:gd name="connsiteY270" fmla="*/ 1550194 h 1619250"/>
                      <a:gd name="connsiteX271" fmla="*/ 1326768 w 1614899"/>
                      <a:gd name="connsiteY271" fmla="*/ 1559719 h 1619250"/>
                      <a:gd name="connsiteX272" fmla="*/ 1322006 w 1614899"/>
                      <a:gd name="connsiteY272" fmla="*/ 1566862 h 1619250"/>
                      <a:gd name="connsiteX273" fmla="*/ 1319624 w 1614899"/>
                      <a:gd name="connsiteY273" fmla="*/ 1578769 h 1619250"/>
                      <a:gd name="connsiteX274" fmla="*/ 1317243 w 1614899"/>
                      <a:gd name="connsiteY274" fmla="*/ 1585912 h 1619250"/>
                      <a:gd name="connsiteX275" fmla="*/ 1314862 w 1614899"/>
                      <a:gd name="connsiteY275" fmla="*/ 1602581 h 1619250"/>
                      <a:gd name="connsiteX276" fmla="*/ 1283906 w 1614899"/>
                      <a:gd name="connsiteY276" fmla="*/ 1614487 h 1619250"/>
                      <a:gd name="connsiteX277" fmla="*/ 1274381 w 1614899"/>
                      <a:gd name="connsiteY277" fmla="*/ 1616869 h 1619250"/>
                      <a:gd name="connsiteX278" fmla="*/ 1260093 w 1614899"/>
                      <a:gd name="connsiteY278" fmla="*/ 1619250 h 1619250"/>
                      <a:gd name="connsiteX279" fmla="*/ 1248187 w 1614899"/>
                      <a:gd name="connsiteY279" fmla="*/ 1616869 h 1619250"/>
                      <a:gd name="connsiteX280" fmla="*/ 1243424 w 1614899"/>
                      <a:gd name="connsiteY280" fmla="*/ 1597819 h 1619250"/>
                      <a:gd name="connsiteX281" fmla="*/ 1238662 w 1614899"/>
                      <a:gd name="connsiteY281" fmla="*/ 1581150 h 1619250"/>
                      <a:gd name="connsiteX282" fmla="*/ 1243424 w 1614899"/>
                      <a:gd name="connsiteY282" fmla="*/ 1566862 h 1619250"/>
                      <a:gd name="connsiteX283" fmla="*/ 1252949 w 1614899"/>
                      <a:gd name="connsiteY283" fmla="*/ 1552575 h 1619250"/>
                      <a:gd name="connsiteX284" fmla="*/ 1260093 w 1614899"/>
                      <a:gd name="connsiteY284" fmla="*/ 1550194 h 1619250"/>
                      <a:gd name="connsiteX285" fmla="*/ 1267237 w 1614899"/>
                      <a:gd name="connsiteY285" fmla="*/ 1543050 h 1619250"/>
                      <a:gd name="connsiteX286" fmla="*/ 1269618 w 1614899"/>
                      <a:gd name="connsiteY286" fmla="*/ 1535906 h 1619250"/>
                      <a:gd name="connsiteX287" fmla="*/ 1274381 w 1614899"/>
                      <a:gd name="connsiteY287" fmla="*/ 1526381 h 1619250"/>
                      <a:gd name="connsiteX288" fmla="*/ 1267237 w 1614899"/>
                      <a:gd name="connsiteY288" fmla="*/ 1502569 h 1619250"/>
                      <a:gd name="connsiteX289" fmla="*/ 1252949 w 1614899"/>
                      <a:gd name="connsiteY289" fmla="*/ 1493044 h 1619250"/>
                      <a:gd name="connsiteX290" fmla="*/ 1262474 w 1614899"/>
                      <a:gd name="connsiteY290" fmla="*/ 1478756 h 1619250"/>
                      <a:gd name="connsiteX291" fmla="*/ 1279143 w 1614899"/>
                      <a:gd name="connsiteY291" fmla="*/ 1462087 h 1619250"/>
                      <a:gd name="connsiteX292" fmla="*/ 1302956 w 1614899"/>
                      <a:gd name="connsiteY292" fmla="*/ 1459706 h 1619250"/>
                      <a:gd name="connsiteX293" fmla="*/ 1305337 w 1614899"/>
                      <a:gd name="connsiteY293" fmla="*/ 1450181 h 1619250"/>
                      <a:gd name="connsiteX294" fmla="*/ 1310099 w 1614899"/>
                      <a:gd name="connsiteY294" fmla="*/ 1443037 h 1619250"/>
                      <a:gd name="connsiteX295" fmla="*/ 1312481 w 1614899"/>
                      <a:gd name="connsiteY295" fmla="*/ 1435894 h 1619250"/>
                      <a:gd name="connsiteX296" fmla="*/ 1305337 w 1614899"/>
                      <a:gd name="connsiteY296" fmla="*/ 1428750 h 1619250"/>
                      <a:gd name="connsiteX297" fmla="*/ 1298193 w 1614899"/>
                      <a:gd name="connsiteY297" fmla="*/ 1423987 h 1619250"/>
                      <a:gd name="connsiteX298" fmla="*/ 1295812 w 1614899"/>
                      <a:gd name="connsiteY298" fmla="*/ 1412081 h 1619250"/>
                      <a:gd name="connsiteX299" fmla="*/ 1293431 w 1614899"/>
                      <a:gd name="connsiteY299" fmla="*/ 1402556 h 1619250"/>
                      <a:gd name="connsiteX300" fmla="*/ 1288668 w 1614899"/>
                      <a:gd name="connsiteY300" fmla="*/ 1369219 h 1619250"/>
                      <a:gd name="connsiteX301" fmla="*/ 1286287 w 1614899"/>
                      <a:gd name="connsiteY301" fmla="*/ 1362075 h 1619250"/>
                      <a:gd name="connsiteX302" fmla="*/ 1276762 w 1614899"/>
                      <a:gd name="connsiteY302" fmla="*/ 1345406 h 1619250"/>
                      <a:gd name="connsiteX303" fmla="*/ 1267237 w 1614899"/>
                      <a:gd name="connsiteY303" fmla="*/ 1343025 h 1619250"/>
                      <a:gd name="connsiteX304" fmla="*/ 1260093 w 1614899"/>
                      <a:gd name="connsiteY304" fmla="*/ 1340644 h 1619250"/>
                      <a:gd name="connsiteX305" fmla="*/ 1252949 w 1614899"/>
                      <a:gd name="connsiteY305" fmla="*/ 1307306 h 1619250"/>
                      <a:gd name="connsiteX306" fmla="*/ 1248187 w 1614899"/>
                      <a:gd name="connsiteY306" fmla="*/ 1293019 h 1619250"/>
                      <a:gd name="connsiteX307" fmla="*/ 1243424 w 1614899"/>
                      <a:gd name="connsiteY307" fmla="*/ 1278731 h 1619250"/>
                      <a:gd name="connsiteX308" fmla="*/ 1241043 w 1614899"/>
                      <a:gd name="connsiteY308" fmla="*/ 1271587 h 1619250"/>
                      <a:gd name="connsiteX309" fmla="*/ 1236281 w 1614899"/>
                      <a:gd name="connsiteY309" fmla="*/ 1262062 h 1619250"/>
                      <a:gd name="connsiteX310" fmla="*/ 1231518 w 1614899"/>
                      <a:gd name="connsiteY310" fmla="*/ 1247775 h 1619250"/>
                      <a:gd name="connsiteX311" fmla="*/ 1224374 w 1614899"/>
                      <a:gd name="connsiteY311" fmla="*/ 1240631 h 1619250"/>
                      <a:gd name="connsiteX312" fmla="*/ 1214849 w 1614899"/>
                      <a:gd name="connsiteY312" fmla="*/ 1226344 h 1619250"/>
                      <a:gd name="connsiteX313" fmla="*/ 1195799 w 1614899"/>
                      <a:gd name="connsiteY313" fmla="*/ 1233487 h 1619250"/>
                      <a:gd name="connsiteX314" fmla="*/ 1198181 w 1614899"/>
                      <a:gd name="connsiteY314" fmla="*/ 1240631 h 1619250"/>
                      <a:gd name="connsiteX315" fmla="*/ 1191037 w 1614899"/>
                      <a:gd name="connsiteY315" fmla="*/ 1243012 h 1619250"/>
                      <a:gd name="connsiteX316" fmla="*/ 1164843 w 1614899"/>
                      <a:gd name="connsiteY316" fmla="*/ 1238250 h 1619250"/>
                      <a:gd name="connsiteX317" fmla="*/ 1155318 w 1614899"/>
                      <a:gd name="connsiteY317" fmla="*/ 1223962 h 1619250"/>
                      <a:gd name="connsiteX318" fmla="*/ 1148174 w 1614899"/>
                      <a:gd name="connsiteY318" fmla="*/ 1216819 h 1619250"/>
                      <a:gd name="connsiteX319" fmla="*/ 1138649 w 1614899"/>
                      <a:gd name="connsiteY319" fmla="*/ 1219200 h 1619250"/>
                      <a:gd name="connsiteX320" fmla="*/ 1131506 w 1614899"/>
                      <a:gd name="connsiteY320" fmla="*/ 1221581 h 1619250"/>
                      <a:gd name="connsiteX321" fmla="*/ 1124362 w 1614899"/>
                      <a:gd name="connsiteY321" fmla="*/ 1219200 h 1619250"/>
                      <a:gd name="connsiteX322" fmla="*/ 1107693 w 1614899"/>
                      <a:gd name="connsiteY322" fmla="*/ 1214438 h 1619250"/>
                      <a:gd name="connsiteX323" fmla="*/ 1117218 w 1614899"/>
                      <a:gd name="connsiteY323" fmla="*/ 1193006 h 1619250"/>
                      <a:gd name="connsiteX324" fmla="*/ 1112456 w 1614899"/>
                      <a:gd name="connsiteY324" fmla="*/ 1154906 h 1619250"/>
                      <a:gd name="connsiteX325" fmla="*/ 1107693 w 1614899"/>
                      <a:gd name="connsiteY325" fmla="*/ 1147762 h 1619250"/>
                      <a:gd name="connsiteX326" fmla="*/ 1100549 w 1614899"/>
                      <a:gd name="connsiteY326" fmla="*/ 1145381 h 1619250"/>
                      <a:gd name="connsiteX327" fmla="*/ 1093406 w 1614899"/>
                      <a:gd name="connsiteY327" fmla="*/ 1147762 h 1619250"/>
                      <a:gd name="connsiteX328" fmla="*/ 1062449 w 1614899"/>
                      <a:gd name="connsiteY328" fmla="*/ 1152525 h 1619250"/>
                      <a:gd name="connsiteX329" fmla="*/ 1045781 w 1614899"/>
                      <a:gd name="connsiteY329" fmla="*/ 1159669 h 1619250"/>
                      <a:gd name="connsiteX330" fmla="*/ 1031493 w 1614899"/>
                      <a:gd name="connsiteY330" fmla="*/ 1154906 h 1619250"/>
                      <a:gd name="connsiteX331" fmla="*/ 1050543 w 1614899"/>
                      <a:gd name="connsiteY331" fmla="*/ 1128712 h 1619250"/>
                      <a:gd name="connsiteX332" fmla="*/ 1041018 w 1614899"/>
                      <a:gd name="connsiteY332" fmla="*/ 1107281 h 1619250"/>
                      <a:gd name="connsiteX333" fmla="*/ 1024349 w 1614899"/>
                      <a:gd name="connsiteY333" fmla="*/ 1109662 h 1619250"/>
                      <a:gd name="connsiteX334" fmla="*/ 1014824 w 1614899"/>
                      <a:gd name="connsiteY334" fmla="*/ 1107281 h 1619250"/>
                      <a:gd name="connsiteX335" fmla="*/ 988631 w 1614899"/>
                      <a:gd name="connsiteY335" fmla="*/ 1109662 h 1619250"/>
                      <a:gd name="connsiteX336" fmla="*/ 986249 w 1614899"/>
                      <a:gd name="connsiteY336" fmla="*/ 1102519 h 1619250"/>
                      <a:gd name="connsiteX337" fmla="*/ 979106 w 1614899"/>
                      <a:gd name="connsiteY337" fmla="*/ 1076325 h 1619250"/>
                      <a:gd name="connsiteX338" fmla="*/ 964818 w 1614899"/>
                      <a:gd name="connsiteY338" fmla="*/ 1064419 h 1619250"/>
                      <a:gd name="connsiteX339" fmla="*/ 950531 w 1614899"/>
                      <a:gd name="connsiteY339" fmla="*/ 1054894 h 1619250"/>
                      <a:gd name="connsiteX340" fmla="*/ 943387 w 1614899"/>
                      <a:gd name="connsiteY340" fmla="*/ 1050131 h 1619250"/>
                      <a:gd name="connsiteX341" fmla="*/ 936243 w 1614899"/>
                      <a:gd name="connsiteY341" fmla="*/ 1045369 h 1619250"/>
                      <a:gd name="connsiteX342" fmla="*/ 931481 w 1614899"/>
                      <a:gd name="connsiteY342" fmla="*/ 1038225 h 1619250"/>
                      <a:gd name="connsiteX343" fmla="*/ 917193 w 1614899"/>
                      <a:gd name="connsiteY343" fmla="*/ 1031081 h 1619250"/>
                      <a:gd name="connsiteX344" fmla="*/ 914812 w 1614899"/>
                      <a:gd name="connsiteY344" fmla="*/ 1040606 h 1619250"/>
                      <a:gd name="connsiteX345" fmla="*/ 907668 w 1614899"/>
                      <a:gd name="connsiteY345" fmla="*/ 1042987 h 1619250"/>
                      <a:gd name="connsiteX346" fmla="*/ 886237 w 1614899"/>
                      <a:gd name="connsiteY346" fmla="*/ 1031081 h 1619250"/>
                      <a:gd name="connsiteX347" fmla="*/ 862424 w 1614899"/>
                      <a:gd name="connsiteY347" fmla="*/ 1035844 h 1619250"/>
                      <a:gd name="connsiteX348" fmla="*/ 845756 w 1614899"/>
                      <a:gd name="connsiteY348" fmla="*/ 1040606 h 1619250"/>
                      <a:gd name="connsiteX349" fmla="*/ 840993 w 1614899"/>
                      <a:gd name="connsiteY349" fmla="*/ 1033462 h 1619250"/>
                      <a:gd name="connsiteX350" fmla="*/ 821943 w 1614899"/>
                      <a:gd name="connsiteY350" fmla="*/ 1004887 h 1619250"/>
                      <a:gd name="connsiteX351" fmla="*/ 814799 w 1614899"/>
                      <a:gd name="connsiteY351" fmla="*/ 1000125 h 1619250"/>
                      <a:gd name="connsiteX352" fmla="*/ 779081 w 1614899"/>
                      <a:gd name="connsiteY352" fmla="*/ 995362 h 1619250"/>
                      <a:gd name="connsiteX353" fmla="*/ 771937 w 1614899"/>
                      <a:gd name="connsiteY353" fmla="*/ 988219 h 1619250"/>
                      <a:gd name="connsiteX354" fmla="*/ 762412 w 1614899"/>
                      <a:gd name="connsiteY354" fmla="*/ 966787 h 1619250"/>
                      <a:gd name="connsiteX355" fmla="*/ 755268 w 1614899"/>
                      <a:gd name="connsiteY355" fmla="*/ 962025 h 1619250"/>
                      <a:gd name="connsiteX356" fmla="*/ 733837 w 1614899"/>
                      <a:gd name="connsiteY356" fmla="*/ 962025 h 1619250"/>
                      <a:gd name="connsiteX357" fmla="*/ 731456 w 1614899"/>
                      <a:gd name="connsiteY357" fmla="*/ 950119 h 1619250"/>
                      <a:gd name="connsiteX358" fmla="*/ 729074 w 1614899"/>
                      <a:gd name="connsiteY358" fmla="*/ 942975 h 1619250"/>
                      <a:gd name="connsiteX359" fmla="*/ 726693 w 1614899"/>
                      <a:gd name="connsiteY359" fmla="*/ 921544 h 1619250"/>
                      <a:gd name="connsiteX360" fmla="*/ 724312 w 1614899"/>
                      <a:gd name="connsiteY360" fmla="*/ 914400 h 1619250"/>
                      <a:gd name="connsiteX361" fmla="*/ 717168 w 1614899"/>
                      <a:gd name="connsiteY361" fmla="*/ 909637 h 1619250"/>
                      <a:gd name="connsiteX362" fmla="*/ 710024 w 1614899"/>
                      <a:gd name="connsiteY362" fmla="*/ 907256 h 1619250"/>
                      <a:gd name="connsiteX363" fmla="*/ 681449 w 1614899"/>
                      <a:gd name="connsiteY363" fmla="*/ 902494 h 1619250"/>
                      <a:gd name="connsiteX364" fmla="*/ 674306 w 1614899"/>
                      <a:gd name="connsiteY364" fmla="*/ 897731 h 1619250"/>
                      <a:gd name="connsiteX365" fmla="*/ 667162 w 1614899"/>
                      <a:gd name="connsiteY365" fmla="*/ 883444 h 1619250"/>
                      <a:gd name="connsiteX366" fmla="*/ 657637 w 1614899"/>
                      <a:gd name="connsiteY366" fmla="*/ 881062 h 1619250"/>
                      <a:gd name="connsiteX367" fmla="*/ 650493 w 1614899"/>
                      <a:gd name="connsiteY367" fmla="*/ 873919 h 1619250"/>
                      <a:gd name="connsiteX368" fmla="*/ 648112 w 1614899"/>
                      <a:gd name="connsiteY368" fmla="*/ 866775 h 1619250"/>
                      <a:gd name="connsiteX369" fmla="*/ 643349 w 1614899"/>
                      <a:gd name="connsiteY369" fmla="*/ 859631 h 1619250"/>
                      <a:gd name="connsiteX370" fmla="*/ 631443 w 1614899"/>
                      <a:gd name="connsiteY370" fmla="*/ 838200 h 1619250"/>
                      <a:gd name="connsiteX371" fmla="*/ 624299 w 1614899"/>
                      <a:gd name="connsiteY371" fmla="*/ 833437 h 1619250"/>
                      <a:gd name="connsiteX372" fmla="*/ 593343 w 1614899"/>
                      <a:gd name="connsiteY372" fmla="*/ 835819 h 1619250"/>
                      <a:gd name="connsiteX373" fmla="*/ 586199 w 1614899"/>
                      <a:gd name="connsiteY373" fmla="*/ 816769 h 1619250"/>
                      <a:gd name="connsiteX374" fmla="*/ 569531 w 1614899"/>
                      <a:gd name="connsiteY374" fmla="*/ 795337 h 1619250"/>
                      <a:gd name="connsiteX375" fmla="*/ 564768 w 1614899"/>
                      <a:gd name="connsiteY375" fmla="*/ 788194 h 1619250"/>
                      <a:gd name="connsiteX376" fmla="*/ 557624 w 1614899"/>
                      <a:gd name="connsiteY376" fmla="*/ 785812 h 1619250"/>
                      <a:gd name="connsiteX377" fmla="*/ 550481 w 1614899"/>
                      <a:gd name="connsiteY377" fmla="*/ 781050 h 1619250"/>
                      <a:gd name="connsiteX378" fmla="*/ 536193 w 1614899"/>
                      <a:gd name="connsiteY378" fmla="*/ 776287 h 1619250"/>
                      <a:gd name="connsiteX379" fmla="*/ 538574 w 1614899"/>
                      <a:gd name="connsiteY379" fmla="*/ 747712 h 1619250"/>
                      <a:gd name="connsiteX380" fmla="*/ 533812 w 1614899"/>
                      <a:gd name="connsiteY380" fmla="*/ 740569 h 1619250"/>
                      <a:gd name="connsiteX381" fmla="*/ 519524 w 1614899"/>
                      <a:gd name="connsiteY381" fmla="*/ 731044 h 1619250"/>
                      <a:gd name="connsiteX382" fmla="*/ 512381 w 1614899"/>
                      <a:gd name="connsiteY382" fmla="*/ 735806 h 1619250"/>
                      <a:gd name="connsiteX383" fmla="*/ 505237 w 1614899"/>
                      <a:gd name="connsiteY383" fmla="*/ 738187 h 1619250"/>
                      <a:gd name="connsiteX384" fmla="*/ 507618 w 1614899"/>
                      <a:gd name="connsiteY384" fmla="*/ 723900 h 1619250"/>
                      <a:gd name="connsiteX385" fmla="*/ 505237 w 1614899"/>
                      <a:gd name="connsiteY385" fmla="*/ 688181 h 1619250"/>
                      <a:gd name="connsiteX386" fmla="*/ 493331 w 1614899"/>
                      <a:gd name="connsiteY386" fmla="*/ 666750 h 1619250"/>
                      <a:gd name="connsiteX387" fmla="*/ 486187 w 1614899"/>
                      <a:gd name="connsiteY387" fmla="*/ 659606 h 1619250"/>
                      <a:gd name="connsiteX388" fmla="*/ 481424 w 1614899"/>
                      <a:gd name="connsiteY388" fmla="*/ 652462 h 1619250"/>
                      <a:gd name="connsiteX389" fmla="*/ 479043 w 1614899"/>
                      <a:gd name="connsiteY389" fmla="*/ 614362 h 1619250"/>
                      <a:gd name="connsiteX390" fmla="*/ 474281 w 1614899"/>
                      <a:gd name="connsiteY390" fmla="*/ 595312 h 1619250"/>
                      <a:gd name="connsiteX391" fmla="*/ 467137 w 1614899"/>
                      <a:gd name="connsiteY391" fmla="*/ 578644 h 1619250"/>
                      <a:gd name="connsiteX392" fmla="*/ 459993 w 1614899"/>
                      <a:gd name="connsiteY392" fmla="*/ 571500 h 1619250"/>
                      <a:gd name="connsiteX393" fmla="*/ 440943 w 1614899"/>
                      <a:gd name="connsiteY393" fmla="*/ 554831 h 1619250"/>
                      <a:gd name="connsiteX394" fmla="*/ 426656 w 1614899"/>
                      <a:gd name="connsiteY394" fmla="*/ 550069 h 1619250"/>
                      <a:gd name="connsiteX395" fmla="*/ 424274 w 1614899"/>
                      <a:gd name="connsiteY395" fmla="*/ 557212 h 1619250"/>
                      <a:gd name="connsiteX396" fmla="*/ 414749 w 1614899"/>
                      <a:gd name="connsiteY396" fmla="*/ 552450 h 1619250"/>
                      <a:gd name="connsiteX397" fmla="*/ 407606 w 1614899"/>
                      <a:gd name="connsiteY397" fmla="*/ 545306 h 1619250"/>
                      <a:gd name="connsiteX398" fmla="*/ 390937 w 1614899"/>
                      <a:gd name="connsiteY398" fmla="*/ 535781 h 1619250"/>
                      <a:gd name="connsiteX399" fmla="*/ 383793 w 1614899"/>
                      <a:gd name="connsiteY399" fmla="*/ 528637 h 1619250"/>
                      <a:gd name="connsiteX400" fmla="*/ 374268 w 1614899"/>
                      <a:gd name="connsiteY400" fmla="*/ 526256 h 1619250"/>
                      <a:gd name="connsiteX401" fmla="*/ 352837 w 1614899"/>
                      <a:gd name="connsiteY401" fmla="*/ 519112 h 1619250"/>
                      <a:gd name="connsiteX402" fmla="*/ 345693 w 1614899"/>
                      <a:gd name="connsiteY402" fmla="*/ 516731 h 1619250"/>
                      <a:gd name="connsiteX403" fmla="*/ 338549 w 1614899"/>
                      <a:gd name="connsiteY403" fmla="*/ 514350 h 1619250"/>
                      <a:gd name="connsiteX404" fmla="*/ 326643 w 1614899"/>
                      <a:gd name="connsiteY404" fmla="*/ 504825 h 1619250"/>
                      <a:gd name="connsiteX405" fmla="*/ 321881 w 1614899"/>
                      <a:gd name="connsiteY405" fmla="*/ 497681 h 1619250"/>
                      <a:gd name="connsiteX406" fmla="*/ 314737 w 1614899"/>
                      <a:gd name="connsiteY406" fmla="*/ 490537 h 1619250"/>
                      <a:gd name="connsiteX407" fmla="*/ 307593 w 1614899"/>
                      <a:gd name="connsiteY407" fmla="*/ 485775 h 1619250"/>
                      <a:gd name="connsiteX408" fmla="*/ 293306 w 1614899"/>
                      <a:gd name="connsiteY408" fmla="*/ 481012 h 1619250"/>
                      <a:gd name="connsiteX409" fmla="*/ 269493 w 1614899"/>
                      <a:gd name="connsiteY409" fmla="*/ 483394 h 1619250"/>
                      <a:gd name="connsiteX410" fmla="*/ 259968 w 1614899"/>
                      <a:gd name="connsiteY410" fmla="*/ 490537 h 1619250"/>
                      <a:gd name="connsiteX411" fmla="*/ 243299 w 1614899"/>
                      <a:gd name="connsiteY411" fmla="*/ 497681 h 1619250"/>
                      <a:gd name="connsiteX412" fmla="*/ 236156 w 1614899"/>
                      <a:gd name="connsiteY412" fmla="*/ 502444 h 1619250"/>
                      <a:gd name="connsiteX413" fmla="*/ 233774 w 1614899"/>
                      <a:gd name="connsiteY413" fmla="*/ 509587 h 1619250"/>
                      <a:gd name="connsiteX414" fmla="*/ 231393 w 1614899"/>
                      <a:gd name="connsiteY414" fmla="*/ 519112 h 1619250"/>
                      <a:gd name="connsiteX415" fmla="*/ 224249 w 1614899"/>
                      <a:gd name="connsiteY415" fmla="*/ 521494 h 1619250"/>
                      <a:gd name="connsiteX416" fmla="*/ 209962 w 1614899"/>
                      <a:gd name="connsiteY416" fmla="*/ 528637 h 1619250"/>
                      <a:gd name="connsiteX417" fmla="*/ 200437 w 1614899"/>
                      <a:gd name="connsiteY417" fmla="*/ 542925 h 1619250"/>
                      <a:gd name="connsiteX418" fmla="*/ 195674 w 1614899"/>
                      <a:gd name="connsiteY418" fmla="*/ 557212 h 1619250"/>
                      <a:gd name="connsiteX419" fmla="*/ 188531 w 1614899"/>
                      <a:gd name="connsiteY419" fmla="*/ 559594 h 1619250"/>
                      <a:gd name="connsiteX420" fmla="*/ 176624 w 1614899"/>
                      <a:gd name="connsiteY420" fmla="*/ 564356 h 1619250"/>
                      <a:gd name="connsiteX421" fmla="*/ 164718 w 1614899"/>
                      <a:gd name="connsiteY421" fmla="*/ 566737 h 1619250"/>
                      <a:gd name="connsiteX422" fmla="*/ 157574 w 1614899"/>
                      <a:gd name="connsiteY422" fmla="*/ 569119 h 1619250"/>
                      <a:gd name="connsiteX423" fmla="*/ 148049 w 1614899"/>
                      <a:gd name="connsiteY423" fmla="*/ 571500 h 1619250"/>
                      <a:gd name="connsiteX424" fmla="*/ 140906 w 1614899"/>
                      <a:gd name="connsiteY424" fmla="*/ 573881 h 1619250"/>
                      <a:gd name="connsiteX425" fmla="*/ 121856 w 1614899"/>
                      <a:gd name="connsiteY425" fmla="*/ 576262 h 1619250"/>
                      <a:gd name="connsiteX426" fmla="*/ 119474 w 1614899"/>
                      <a:gd name="connsiteY426" fmla="*/ 571500 h 1619250"/>
                      <a:gd name="connsiteX427" fmla="*/ 128999 w 1614899"/>
                      <a:gd name="connsiteY427" fmla="*/ 557212 h 1619250"/>
                      <a:gd name="connsiteX428" fmla="*/ 131381 w 1614899"/>
                      <a:gd name="connsiteY428" fmla="*/ 550069 h 1619250"/>
                      <a:gd name="connsiteX429" fmla="*/ 140906 w 1614899"/>
                      <a:gd name="connsiteY429" fmla="*/ 535781 h 1619250"/>
                      <a:gd name="connsiteX430" fmla="*/ 133762 w 1614899"/>
                      <a:gd name="connsiteY430" fmla="*/ 533400 h 1619250"/>
                      <a:gd name="connsiteX431" fmla="*/ 128999 w 1614899"/>
                      <a:gd name="connsiteY431" fmla="*/ 516731 h 1619250"/>
                      <a:gd name="connsiteX432" fmla="*/ 69468 w 1614899"/>
                      <a:gd name="connsiteY432" fmla="*/ 514350 h 1619250"/>
                      <a:gd name="connsiteX433" fmla="*/ 67087 w 1614899"/>
                      <a:gd name="connsiteY433" fmla="*/ 507206 h 1619250"/>
                      <a:gd name="connsiteX434" fmla="*/ 52799 w 1614899"/>
                      <a:gd name="connsiteY434" fmla="*/ 497681 h 1619250"/>
                      <a:gd name="connsiteX435" fmla="*/ 55181 w 1614899"/>
                      <a:gd name="connsiteY435" fmla="*/ 488156 h 1619250"/>
                      <a:gd name="connsiteX436" fmla="*/ 40893 w 1614899"/>
                      <a:gd name="connsiteY436" fmla="*/ 483394 h 1619250"/>
                      <a:gd name="connsiteX437" fmla="*/ 38512 w 1614899"/>
                      <a:gd name="connsiteY437" fmla="*/ 471487 h 1619250"/>
                      <a:gd name="connsiteX438" fmla="*/ 36131 w 1614899"/>
                      <a:gd name="connsiteY438" fmla="*/ 464344 h 1619250"/>
                      <a:gd name="connsiteX439" fmla="*/ 38512 w 1614899"/>
                      <a:gd name="connsiteY439" fmla="*/ 452437 h 1619250"/>
                      <a:gd name="connsiteX440" fmla="*/ 38512 w 1614899"/>
                      <a:gd name="connsiteY440" fmla="*/ 428625 h 1619250"/>
                      <a:gd name="connsiteX441" fmla="*/ 45656 w 1614899"/>
                      <a:gd name="connsiteY441" fmla="*/ 426244 h 1619250"/>
                      <a:gd name="connsiteX442" fmla="*/ 52799 w 1614899"/>
                      <a:gd name="connsiteY442" fmla="*/ 421481 h 1619250"/>
                      <a:gd name="connsiteX443" fmla="*/ 59943 w 1614899"/>
                      <a:gd name="connsiteY443" fmla="*/ 419100 h 1619250"/>
                      <a:gd name="connsiteX444" fmla="*/ 64706 w 1614899"/>
                      <a:gd name="connsiteY444" fmla="*/ 411956 h 1619250"/>
                      <a:gd name="connsiteX445" fmla="*/ 55181 w 1614899"/>
                      <a:gd name="connsiteY445" fmla="*/ 392906 h 1619250"/>
                      <a:gd name="connsiteX446" fmla="*/ 40893 w 1614899"/>
                      <a:gd name="connsiteY446" fmla="*/ 388144 h 1619250"/>
                      <a:gd name="connsiteX447" fmla="*/ 33749 w 1614899"/>
                      <a:gd name="connsiteY447" fmla="*/ 390525 h 1619250"/>
                      <a:gd name="connsiteX448" fmla="*/ 28987 w 1614899"/>
                      <a:gd name="connsiteY448" fmla="*/ 390525 h 1619250"/>
                      <a:gd name="connsiteX449" fmla="*/ 21843 w 1614899"/>
                      <a:gd name="connsiteY449" fmla="*/ 388144 h 1619250"/>
                      <a:gd name="connsiteX450" fmla="*/ 14699 w 1614899"/>
                      <a:gd name="connsiteY450" fmla="*/ 364331 h 1619250"/>
                      <a:gd name="connsiteX451" fmla="*/ 2793 w 1614899"/>
                      <a:gd name="connsiteY451" fmla="*/ 361950 h 1619250"/>
                      <a:gd name="connsiteX452" fmla="*/ 2793 w 1614899"/>
                      <a:gd name="connsiteY452" fmla="*/ 345281 h 1619250"/>
                      <a:gd name="connsiteX453" fmla="*/ 17081 w 1614899"/>
                      <a:gd name="connsiteY453" fmla="*/ 340519 h 1619250"/>
                      <a:gd name="connsiteX454" fmla="*/ 24224 w 1614899"/>
                      <a:gd name="connsiteY454" fmla="*/ 347662 h 1619250"/>
                      <a:gd name="connsiteX455" fmla="*/ 40893 w 1614899"/>
                      <a:gd name="connsiteY455" fmla="*/ 342900 h 1619250"/>
                      <a:gd name="connsiteX456" fmla="*/ 57562 w 1614899"/>
                      <a:gd name="connsiteY456" fmla="*/ 333375 h 1619250"/>
                      <a:gd name="connsiteX457" fmla="*/ 64706 w 1614899"/>
                      <a:gd name="connsiteY457" fmla="*/ 328612 h 1619250"/>
                      <a:gd name="connsiteX458" fmla="*/ 71849 w 1614899"/>
                      <a:gd name="connsiteY458" fmla="*/ 326231 h 1619250"/>
                      <a:gd name="connsiteX459" fmla="*/ 90899 w 1614899"/>
                      <a:gd name="connsiteY459" fmla="*/ 321469 h 1619250"/>
                      <a:gd name="connsiteX460" fmla="*/ 86137 w 1614899"/>
                      <a:gd name="connsiteY460" fmla="*/ 311944 h 1619250"/>
                      <a:gd name="connsiteX461" fmla="*/ 88518 w 1614899"/>
                      <a:gd name="connsiteY461" fmla="*/ 292894 h 1619250"/>
                      <a:gd name="connsiteX462" fmla="*/ 90899 w 1614899"/>
                      <a:gd name="connsiteY462" fmla="*/ 285750 h 1619250"/>
                      <a:gd name="connsiteX463" fmla="*/ 76612 w 1614899"/>
                      <a:gd name="connsiteY463" fmla="*/ 280987 h 1619250"/>
                      <a:gd name="connsiteX464" fmla="*/ 71849 w 1614899"/>
                      <a:gd name="connsiteY464" fmla="*/ 273844 h 1619250"/>
                      <a:gd name="connsiteX465" fmla="*/ 67087 w 1614899"/>
                      <a:gd name="connsiteY465" fmla="*/ 250031 h 1619250"/>
                      <a:gd name="connsiteX466" fmla="*/ 45656 w 1614899"/>
                      <a:gd name="connsiteY466" fmla="*/ 250031 h 1619250"/>
                      <a:gd name="connsiteX467" fmla="*/ 40893 w 1614899"/>
                      <a:gd name="connsiteY467" fmla="*/ 242887 h 1619250"/>
                      <a:gd name="connsiteX468" fmla="*/ 43274 w 1614899"/>
                      <a:gd name="connsiteY468" fmla="*/ 223837 h 1619250"/>
                      <a:gd name="connsiteX469" fmla="*/ 57562 w 1614899"/>
                      <a:gd name="connsiteY469" fmla="*/ 211931 h 1619250"/>
                      <a:gd name="connsiteX470" fmla="*/ 74231 w 1614899"/>
                      <a:gd name="connsiteY470" fmla="*/ 200025 h 1619250"/>
                      <a:gd name="connsiteX471" fmla="*/ 81374 w 1614899"/>
                      <a:gd name="connsiteY471" fmla="*/ 202406 h 1619250"/>
                      <a:gd name="connsiteX472" fmla="*/ 83756 w 1614899"/>
                      <a:gd name="connsiteY472" fmla="*/ 209550 h 1619250"/>
                      <a:gd name="connsiteX473" fmla="*/ 102806 w 1614899"/>
                      <a:gd name="connsiteY473" fmla="*/ 204787 h 1619250"/>
                      <a:gd name="connsiteX474" fmla="*/ 109949 w 1614899"/>
                      <a:gd name="connsiteY474" fmla="*/ 200025 h 1619250"/>
                      <a:gd name="connsiteX475" fmla="*/ 119474 w 1614899"/>
                      <a:gd name="connsiteY475" fmla="*/ 197644 h 1619250"/>
                      <a:gd name="connsiteX476" fmla="*/ 133762 w 1614899"/>
                      <a:gd name="connsiteY476" fmla="*/ 192881 h 1619250"/>
                      <a:gd name="connsiteX477" fmla="*/ 140906 w 1614899"/>
                      <a:gd name="connsiteY477" fmla="*/ 190500 h 1619250"/>
                      <a:gd name="connsiteX478" fmla="*/ 148049 w 1614899"/>
                      <a:gd name="connsiteY478" fmla="*/ 195262 h 1619250"/>
                      <a:gd name="connsiteX479" fmla="*/ 155193 w 1614899"/>
                      <a:gd name="connsiteY479" fmla="*/ 204787 h 1619250"/>
                      <a:gd name="connsiteX480" fmla="*/ 164718 w 1614899"/>
                      <a:gd name="connsiteY480" fmla="*/ 202406 h 1619250"/>
                      <a:gd name="connsiteX481" fmla="*/ 190912 w 1614899"/>
                      <a:gd name="connsiteY481" fmla="*/ 200025 h 1619250"/>
                      <a:gd name="connsiteX482" fmla="*/ 193293 w 1614899"/>
                      <a:gd name="connsiteY482" fmla="*/ 192881 h 1619250"/>
                      <a:gd name="connsiteX483" fmla="*/ 198056 w 1614899"/>
                      <a:gd name="connsiteY483" fmla="*/ 185737 h 1619250"/>
                      <a:gd name="connsiteX484" fmla="*/ 195674 w 1614899"/>
                      <a:gd name="connsiteY484" fmla="*/ 178594 h 1619250"/>
                      <a:gd name="connsiteX485" fmla="*/ 186149 w 1614899"/>
                      <a:gd name="connsiteY485" fmla="*/ 159544 h 1619250"/>
                      <a:gd name="connsiteX486" fmla="*/ 217106 w 1614899"/>
                      <a:gd name="connsiteY486" fmla="*/ 152400 h 1619250"/>
                      <a:gd name="connsiteX487" fmla="*/ 209962 w 1614899"/>
                      <a:gd name="connsiteY487" fmla="*/ 145256 h 1619250"/>
                      <a:gd name="connsiteX488" fmla="*/ 202818 w 1614899"/>
                      <a:gd name="connsiteY488" fmla="*/ 140494 h 1619250"/>
                      <a:gd name="connsiteX489" fmla="*/ 212343 w 1614899"/>
                      <a:gd name="connsiteY489" fmla="*/ 133350 h 1619250"/>
                      <a:gd name="connsiteX490" fmla="*/ 233774 w 1614899"/>
                      <a:gd name="connsiteY490" fmla="*/ 123825 h 1619250"/>
                      <a:gd name="connsiteX491" fmla="*/ 238537 w 1614899"/>
                      <a:gd name="connsiteY491" fmla="*/ 116681 h 1619250"/>
                      <a:gd name="connsiteX492" fmla="*/ 240918 w 1614899"/>
                      <a:gd name="connsiteY492" fmla="*/ 107156 h 1619250"/>
                      <a:gd name="connsiteX493" fmla="*/ 248062 w 1614899"/>
                      <a:gd name="connsiteY493" fmla="*/ 109537 h 1619250"/>
                      <a:gd name="connsiteX494" fmla="*/ 250443 w 1614899"/>
                      <a:gd name="connsiteY494" fmla="*/ 116681 h 1619250"/>
                      <a:gd name="connsiteX495" fmla="*/ 252824 w 1614899"/>
                      <a:gd name="connsiteY495" fmla="*/ 130969 h 1619250"/>
                      <a:gd name="connsiteX496" fmla="*/ 269493 w 1614899"/>
                      <a:gd name="connsiteY496" fmla="*/ 138112 h 1619250"/>
                      <a:gd name="connsiteX497" fmla="*/ 271874 w 1614899"/>
                      <a:gd name="connsiteY497" fmla="*/ 145256 h 1619250"/>
                      <a:gd name="connsiteX498" fmla="*/ 264731 w 1614899"/>
                      <a:gd name="connsiteY498" fmla="*/ 152400 h 1619250"/>
                      <a:gd name="connsiteX499" fmla="*/ 262349 w 1614899"/>
                      <a:gd name="connsiteY499" fmla="*/ 159544 h 1619250"/>
                      <a:gd name="connsiteX500" fmla="*/ 264731 w 1614899"/>
                      <a:gd name="connsiteY500" fmla="*/ 173831 h 1619250"/>
                      <a:gd name="connsiteX501" fmla="*/ 274256 w 1614899"/>
                      <a:gd name="connsiteY501" fmla="*/ 176212 h 1619250"/>
                      <a:gd name="connsiteX502" fmla="*/ 295687 w 1614899"/>
                      <a:gd name="connsiteY502" fmla="*/ 178594 h 1619250"/>
                      <a:gd name="connsiteX503" fmla="*/ 293306 w 1614899"/>
                      <a:gd name="connsiteY503" fmla="*/ 185737 h 1619250"/>
                      <a:gd name="connsiteX504" fmla="*/ 295687 w 1614899"/>
                      <a:gd name="connsiteY504" fmla="*/ 200025 h 1619250"/>
                      <a:gd name="connsiteX505" fmla="*/ 302831 w 1614899"/>
                      <a:gd name="connsiteY505" fmla="*/ 216694 h 1619250"/>
                      <a:gd name="connsiteX506" fmla="*/ 307593 w 1614899"/>
                      <a:gd name="connsiteY506" fmla="*/ 223837 h 1619250"/>
                      <a:gd name="connsiteX507" fmla="*/ 314737 w 1614899"/>
                      <a:gd name="connsiteY507" fmla="*/ 228600 h 1619250"/>
                      <a:gd name="connsiteX508" fmla="*/ 326643 w 1614899"/>
                      <a:gd name="connsiteY508" fmla="*/ 226219 h 1619250"/>
                      <a:gd name="connsiteX509" fmla="*/ 321881 w 1614899"/>
                      <a:gd name="connsiteY509" fmla="*/ 200025 h 1619250"/>
                      <a:gd name="connsiteX510" fmla="*/ 314737 w 1614899"/>
                      <a:gd name="connsiteY510" fmla="*/ 197644 h 1619250"/>
                      <a:gd name="connsiteX511" fmla="*/ 324262 w 1614899"/>
                      <a:gd name="connsiteY511" fmla="*/ 180975 h 1619250"/>
                      <a:gd name="connsiteX512" fmla="*/ 329024 w 1614899"/>
                      <a:gd name="connsiteY512" fmla="*/ 173831 h 1619250"/>
                      <a:gd name="connsiteX513" fmla="*/ 343312 w 1614899"/>
                      <a:gd name="connsiteY513" fmla="*/ 159544 h 1619250"/>
                      <a:gd name="connsiteX514" fmla="*/ 348074 w 1614899"/>
                      <a:gd name="connsiteY514" fmla="*/ 145256 h 1619250"/>
                      <a:gd name="connsiteX515" fmla="*/ 350456 w 1614899"/>
                      <a:gd name="connsiteY515" fmla="*/ 114300 h 1619250"/>
                      <a:gd name="connsiteX516" fmla="*/ 357599 w 1614899"/>
                      <a:gd name="connsiteY516" fmla="*/ 111919 h 1619250"/>
                      <a:gd name="connsiteX517" fmla="*/ 364743 w 1614899"/>
                      <a:gd name="connsiteY517" fmla="*/ 114300 h 1619250"/>
                      <a:gd name="connsiteX518" fmla="*/ 371887 w 1614899"/>
                      <a:gd name="connsiteY518" fmla="*/ 114300 h 1619250"/>
                      <a:gd name="connsiteX519" fmla="*/ 381412 w 1614899"/>
                      <a:gd name="connsiteY519" fmla="*/ 138112 h 1619250"/>
                      <a:gd name="connsiteX520" fmla="*/ 395699 w 1614899"/>
                      <a:gd name="connsiteY520" fmla="*/ 150019 h 1619250"/>
                      <a:gd name="connsiteX521" fmla="*/ 409987 w 1614899"/>
                      <a:gd name="connsiteY521" fmla="*/ 147637 h 1619250"/>
                      <a:gd name="connsiteX522" fmla="*/ 412368 w 1614899"/>
                      <a:gd name="connsiteY522" fmla="*/ 133350 h 1619250"/>
                      <a:gd name="connsiteX523" fmla="*/ 426656 w 1614899"/>
                      <a:gd name="connsiteY523" fmla="*/ 128587 h 1619250"/>
                      <a:gd name="connsiteX524" fmla="*/ 433799 w 1614899"/>
                      <a:gd name="connsiteY524" fmla="*/ 142875 h 1619250"/>
                      <a:gd name="connsiteX525" fmla="*/ 448087 w 1614899"/>
                      <a:gd name="connsiteY525" fmla="*/ 161925 h 1619250"/>
                      <a:gd name="connsiteX526" fmla="*/ 464756 w 1614899"/>
                      <a:gd name="connsiteY526" fmla="*/ 159544 h 1619250"/>
                      <a:gd name="connsiteX527" fmla="*/ 452849 w 1614899"/>
                      <a:gd name="connsiteY527" fmla="*/ 138112 h 1619250"/>
                      <a:gd name="connsiteX528" fmla="*/ 450468 w 1614899"/>
                      <a:gd name="connsiteY528" fmla="*/ 111919 h 1619250"/>
                      <a:gd name="connsiteX529" fmla="*/ 443324 w 1614899"/>
                      <a:gd name="connsiteY529" fmla="*/ 107156 h 1619250"/>
                      <a:gd name="connsiteX530" fmla="*/ 440943 w 1614899"/>
                      <a:gd name="connsiteY530" fmla="*/ 100012 h 1619250"/>
                      <a:gd name="connsiteX531" fmla="*/ 450468 w 1614899"/>
                      <a:gd name="connsiteY531" fmla="*/ 88106 h 1619250"/>
                      <a:gd name="connsiteX532" fmla="*/ 476662 w 1614899"/>
                      <a:gd name="connsiteY532" fmla="*/ 90487 h 1619250"/>
                      <a:gd name="connsiteX533" fmla="*/ 486187 w 1614899"/>
                      <a:gd name="connsiteY533" fmla="*/ 92869 h 1619250"/>
                      <a:gd name="connsiteX534" fmla="*/ 493331 w 1614899"/>
                      <a:gd name="connsiteY534" fmla="*/ 97631 h 1619250"/>
                      <a:gd name="connsiteX535" fmla="*/ 502856 w 1614899"/>
                      <a:gd name="connsiteY535" fmla="*/ 95250 h 1619250"/>
                      <a:gd name="connsiteX536" fmla="*/ 509999 w 1614899"/>
                      <a:gd name="connsiteY536" fmla="*/ 90487 h 1619250"/>
                      <a:gd name="connsiteX537" fmla="*/ 507618 w 1614899"/>
                      <a:gd name="connsiteY537" fmla="*/ 83344 h 1619250"/>
                      <a:gd name="connsiteX538" fmla="*/ 500474 w 1614899"/>
                      <a:gd name="connsiteY538" fmla="*/ 80962 h 1619250"/>
                      <a:gd name="connsiteX539" fmla="*/ 493331 w 1614899"/>
                      <a:gd name="connsiteY539" fmla="*/ 76200 h 1619250"/>
                      <a:gd name="connsiteX540" fmla="*/ 495712 w 1614899"/>
                      <a:gd name="connsiteY540"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19549 w 1614899"/>
                      <a:gd name="connsiteY86" fmla="*/ 328612 h 1619250"/>
                      <a:gd name="connsiteX87" fmla="*/ 714787 w 1614899"/>
                      <a:gd name="connsiteY87" fmla="*/ 335756 h 1619250"/>
                      <a:gd name="connsiteX88" fmla="*/ 717168 w 1614899"/>
                      <a:gd name="connsiteY88" fmla="*/ 342900 h 1619250"/>
                      <a:gd name="connsiteX89" fmla="*/ 721931 w 1614899"/>
                      <a:gd name="connsiteY89" fmla="*/ 347662 h 1619250"/>
                      <a:gd name="connsiteX90" fmla="*/ 733837 w 1614899"/>
                      <a:gd name="connsiteY90" fmla="*/ 357187 h 1619250"/>
                      <a:gd name="connsiteX91" fmla="*/ 740981 w 1614899"/>
                      <a:gd name="connsiteY91" fmla="*/ 354806 h 1619250"/>
                      <a:gd name="connsiteX92" fmla="*/ 755268 w 1614899"/>
                      <a:gd name="connsiteY92" fmla="*/ 350044 h 1619250"/>
                      <a:gd name="connsiteX93" fmla="*/ 752887 w 1614899"/>
                      <a:gd name="connsiteY93" fmla="*/ 359569 h 1619250"/>
                      <a:gd name="connsiteX94" fmla="*/ 755268 w 1614899"/>
                      <a:gd name="connsiteY94" fmla="*/ 371475 h 1619250"/>
                      <a:gd name="connsiteX95" fmla="*/ 762412 w 1614899"/>
                      <a:gd name="connsiteY95" fmla="*/ 373856 h 1619250"/>
                      <a:gd name="connsiteX96" fmla="*/ 745743 w 1614899"/>
                      <a:gd name="connsiteY96" fmla="*/ 390525 h 1619250"/>
                      <a:gd name="connsiteX97" fmla="*/ 750506 w 1614899"/>
                      <a:gd name="connsiteY97" fmla="*/ 397669 h 1619250"/>
                      <a:gd name="connsiteX98" fmla="*/ 745743 w 1614899"/>
                      <a:gd name="connsiteY98" fmla="*/ 411956 h 1619250"/>
                      <a:gd name="connsiteX99" fmla="*/ 731456 w 1614899"/>
                      <a:gd name="connsiteY99" fmla="*/ 404812 h 1619250"/>
                      <a:gd name="connsiteX100" fmla="*/ 724312 w 1614899"/>
                      <a:gd name="connsiteY100" fmla="*/ 409575 h 1619250"/>
                      <a:gd name="connsiteX101" fmla="*/ 721931 w 1614899"/>
                      <a:gd name="connsiteY101" fmla="*/ 416719 h 1619250"/>
                      <a:gd name="connsiteX102" fmla="*/ 736218 w 1614899"/>
                      <a:gd name="connsiteY102" fmla="*/ 426244 h 1619250"/>
                      <a:gd name="connsiteX103" fmla="*/ 731456 w 1614899"/>
                      <a:gd name="connsiteY103" fmla="*/ 442912 h 1619250"/>
                      <a:gd name="connsiteX104" fmla="*/ 729074 w 1614899"/>
                      <a:gd name="connsiteY104" fmla="*/ 450056 h 1619250"/>
                      <a:gd name="connsiteX105" fmla="*/ 731456 w 1614899"/>
                      <a:gd name="connsiteY105" fmla="*/ 481012 h 1619250"/>
                      <a:gd name="connsiteX106" fmla="*/ 736218 w 1614899"/>
                      <a:gd name="connsiteY106" fmla="*/ 488156 h 1619250"/>
                      <a:gd name="connsiteX107" fmla="*/ 743362 w 1614899"/>
                      <a:gd name="connsiteY107" fmla="*/ 509587 h 1619250"/>
                      <a:gd name="connsiteX108" fmla="*/ 745743 w 1614899"/>
                      <a:gd name="connsiteY108" fmla="*/ 516731 h 1619250"/>
                      <a:gd name="connsiteX109" fmla="*/ 760031 w 1614899"/>
                      <a:gd name="connsiteY109" fmla="*/ 526256 h 1619250"/>
                      <a:gd name="connsiteX110" fmla="*/ 764793 w 1614899"/>
                      <a:gd name="connsiteY110" fmla="*/ 533400 h 1619250"/>
                      <a:gd name="connsiteX111" fmla="*/ 769556 w 1614899"/>
                      <a:gd name="connsiteY111" fmla="*/ 547687 h 1619250"/>
                      <a:gd name="connsiteX112" fmla="*/ 769556 w 1614899"/>
                      <a:gd name="connsiteY112" fmla="*/ 542925 h 1619250"/>
                      <a:gd name="connsiteX113" fmla="*/ 776699 w 1614899"/>
                      <a:gd name="connsiteY113" fmla="*/ 550069 h 1619250"/>
                      <a:gd name="connsiteX114" fmla="*/ 793368 w 1614899"/>
                      <a:gd name="connsiteY114" fmla="*/ 552450 h 1619250"/>
                      <a:gd name="connsiteX115" fmla="*/ 807656 w 1614899"/>
                      <a:gd name="connsiteY115" fmla="*/ 557212 h 1619250"/>
                      <a:gd name="connsiteX116" fmla="*/ 814799 w 1614899"/>
                      <a:gd name="connsiteY116" fmla="*/ 559594 h 1619250"/>
                      <a:gd name="connsiteX117" fmla="*/ 821943 w 1614899"/>
                      <a:gd name="connsiteY117" fmla="*/ 566737 h 1619250"/>
                      <a:gd name="connsiteX118" fmla="*/ 829087 w 1614899"/>
                      <a:gd name="connsiteY118" fmla="*/ 569119 h 1619250"/>
                      <a:gd name="connsiteX119" fmla="*/ 836231 w 1614899"/>
                      <a:gd name="connsiteY119" fmla="*/ 573881 h 1619250"/>
                      <a:gd name="connsiteX120" fmla="*/ 843374 w 1614899"/>
                      <a:gd name="connsiteY120" fmla="*/ 588169 h 1619250"/>
                      <a:gd name="connsiteX121" fmla="*/ 852899 w 1614899"/>
                      <a:gd name="connsiteY121" fmla="*/ 597694 h 1619250"/>
                      <a:gd name="connsiteX122" fmla="*/ 902906 w 1614899"/>
                      <a:gd name="connsiteY122" fmla="*/ 604837 h 1619250"/>
                      <a:gd name="connsiteX123" fmla="*/ 914812 w 1614899"/>
                      <a:gd name="connsiteY123" fmla="*/ 626269 h 1619250"/>
                      <a:gd name="connsiteX124" fmla="*/ 919574 w 1614899"/>
                      <a:gd name="connsiteY124" fmla="*/ 633412 h 1619250"/>
                      <a:gd name="connsiteX125" fmla="*/ 919574 w 1614899"/>
                      <a:gd name="connsiteY125" fmla="*/ 671512 h 1619250"/>
                      <a:gd name="connsiteX126" fmla="*/ 926718 w 1614899"/>
                      <a:gd name="connsiteY126" fmla="*/ 676275 h 1619250"/>
                      <a:gd name="connsiteX127" fmla="*/ 933862 w 1614899"/>
                      <a:gd name="connsiteY127" fmla="*/ 690562 h 1619250"/>
                      <a:gd name="connsiteX128" fmla="*/ 936243 w 1614899"/>
                      <a:gd name="connsiteY128" fmla="*/ 702469 h 1619250"/>
                      <a:gd name="connsiteX129" fmla="*/ 943387 w 1614899"/>
                      <a:gd name="connsiteY129" fmla="*/ 709612 h 1619250"/>
                      <a:gd name="connsiteX130" fmla="*/ 945768 w 1614899"/>
                      <a:gd name="connsiteY130" fmla="*/ 723900 h 1619250"/>
                      <a:gd name="connsiteX131" fmla="*/ 955293 w 1614899"/>
                      <a:gd name="connsiteY131" fmla="*/ 738187 h 1619250"/>
                      <a:gd name="connsiteX132" fmla="*/ 964818 w 1614899"/>
                      <a:gd name="connsiteY132" fmla="*/ 752475 h 1619250"/>
                      <a:gd name="connsiteX133" fmla="*/ 967199 w 1614899"/>
                      <a:gd name="connsiteY133" fmla="*/ 759619 h 1619250"/>
                      <a:gd name="connsiteX134" fmla="*/ 974343 w 1614899"/>
                      <a:gd name="connsiteY134" fmla="*/ 769144 h 1619250"/>
                      <a:gd name="connsiteX135" fmla="*/ 979106 w 1614899"/>
                      <a:gd name="connsiteY135" fmla="*/ 783431 h 1619250"/>
                      <a:gd name="connsiteX136" fmla="*/ 981487 w 1614899"/>
                      <a:gd name="connsiteY136" fmla="*/ 790575 h 1619250"/>
                      <a:gd name="connsiteX137" fmla="*/ 991012 w 1614899"/>
                      <a:gd name="connsiteY137" fmla="*/ 804862 h 1619250"/>
                      <a:gd name="connsiteX138" fmla="*/ 998156 w 1614899"/>
                      <a:gd name="connsiteY138" fmla="*/ 819150 h 1619250"/>
                      <a:gd name="connsiteX139" fmla="*/ 1000537 w 1614899"/>
                      <a:gd name="connsiteY139" fmla="*/ 826294 h 1619250"/>
                      <a:gd name="connsiteX140" fmla="*/ 1007681 w 1614899"/>
                      <a:gd name="connsiteY140" fmla="*/ 828675 h 1619250"/>
                      <a:gd name="connsiteX141" fmla="*/ 1014824 w 1614899"/>
                      <a:gd name="connsiteY141" fmla="*/ 833437 h 1619250"/>
                      <a:gd name="connsiteX142" fmla="*/ 1029112 w 1614899"/>
                      <a:gd name="connsiteY142" fmla="*/ 838200 h 1619250"/>
                      <a:gd name="connsiteX143" fmla="*/ 1033874 w 1614899"/>
                      <a:gd name="connsiteY143" fmla="*/ 845344 h 1619250"/>
                      <a:gd name="connsiteX144" fmla="*/ 1048162 w 1614899"/>
                      <a:gd name="connsiteY144" fmla="*/ 857250 h 1619250"/>
                      <a:gd name="connsiteX145" fmla="*/ 1062449 w 1614899"/>
                      <a:gd name="connsiteY145" fmla="*/ 862012 h 1619250"/>
                      <a:gd name="connsiteX146" fmla="*/ 1079118 w 1614899"/>
                      <a:gd name="connsiteY146" fmla="*/ 883444 h 1619250"/>
                      <a:gd name="connsiteX147" fmla="*/ 1081499 w 1614899"/>
                      <a:gd name="connsiteY147" fmla="*/ 890587 h 1619250"/>
                      <a:gd name="connsiteX148" fmla="*/ 1095787 w 1614899"/>
                      <a:gd name="connsiteY148" fmla="*/ 883444 h 1619250"/>
                      <a:gd name="connsiteX149" fmla="*/ 1110074 w 1614899"/>
                      <a:gd name="connsiteY149" fmla="*/ 890587 h 1619250"/>
                      <a:gd name="connsiteX150" fmla="*/ 1121981 w 1614899"/>
                      <a:gd name="connsiteY150" fmla="*/ 902494 h 1619250"/>
                      <a:gd name="connsiteX151" fmla="*/ 1136268 w 1614899"/>
                      <a:gd name="connsiteY151" fmla="*/ 907256 h 1619250"/>
                      <a:gd name="connsiteX152" fmla="*/ 1176749 w 1614899"/>
                      <a:gd name="connsiteY152" fmla="*/ 904875 h 1619250"/>
                      <a:gd name="connsiteX153" fmla="*/ 1195799 w 1614899"/>
                      <a:gd name="connsiteY153" fmla="*/ 904875 h 1619250"/>
                      <a:gd name="connsiteX154" fmla="*/ 1207706 w 1614899"/>
                      <a:gd name="connsiteY154" fmla="*/ 912019 h 1619250"/>
                      <a:gd name="connsiteX155" fmla="*/ 1210087 w 1614899"/>
                      <a:gd name="connsiteY155" fmla="*/ 902494 h 1619250"/>
                      <a:gd name="connsiteX156" fmla="*/ 1219612 w 1614899"/>
                      <a:gd name="connsiteY156" fmla="*/ 900112 h 1619250"/>
                      <a:gd name="connsiteX157" fmla="*/ 1226756 w 1614899"/>
                      <a:gd name="connsiteY157" fmla="*/ 895350 h 1619250"/>
                      <a:gd name="connsiteX158" fmla="*/ 1241043 w 1614899"/>
                      <a:gd name="connsiteY158" fmla="*/ 890587 h 1619250"/>
                      <a:gd name="connsiteX159" fmla="*/ 1255331 w 1614899"/>
                      <a:gd name="connsiteY159" fmla="*/ 892969 h 1619250"/>
                      <a:gd name="connsiteX160" fmla="*/ 1260093 w 1614899"/>
                      <a:gd name="connsiteY160" fmla="*/ 900112 h 1619250"/>
                      <a:gd name="connsiteX161" fmla="*/ 1267237 w 1614899"/>
                      <a:gd name="connsiteY161" fmla="*/ 904875 h 1619250"/>
                      <a:gd name="connsiteX162" fmla="*/ 1271999 w 1614899"/>
                      <a:gd name="connsiteY162" fmla="*/ 919162 h 1619250"/>
                      <a:gd name="connsiteX163" fmla="*/ 1269618 w 1614899"/>
                      <a:gd name="connsiteY163" fmla="*/ 928687 h 1619250"/>
                      <a:gd name="connsiteX164" fmla="*/ 1262474 w 1614899"/>
                      <a:gd name="connsiteY164" fmla="*/ 933450 h 1619250"/>
                      <a:gd name="connsiteX165" fmla="*/ 1255331 w 1614899"/>
                      <a:gd name="connsiteY165" fmla="*/ 940594 h 1619250"/>
                      <a:gd name="connsiteX166" fmla="*/ 1248187 w 1614899"/>
                      <a:gd name="connsiteY166" fmla="*/ 942975 h 1619250"/>
                      <a:gd name="connsiteX167" fmla="*/ 1241043 w 1614899"/>
                      <a:gd name="connsiteY167" fmla="*/ 947737 h 1619250"/>
                      <a:gd name="connsiteX168" fmla="*/ 1226756 w 1614899"/>
                      <a:gd name="connsiteY168" fmla="*/ 954881 h 1619250"/>
                      <a:gd name="connsiteX169" fmla="*/ 1236281 w 1614899"/>
                      <a:gd name="connsiteY169" fmla="*/ 969169 h 1619250"/>
                      <a:gd name="connsiteX170" fmla="*/ 1241043 w 1614899"/>
                      <a:gd name="connsiteY170" fmla="*/ 983456 h 1619250"/>
                      <a:gd name="connsiteX171" fmla="*/ 1250568 w 1614899"/>
                      <a:gd name="connsiteY171" fmla="*/ 997744 h 1619250"/>
                      <a:gd name="connsiteX172" fmla="*/ 1262474 w 1614899"/>
                      <a:gd name="connsiteY172" fmla="*/ 997744 h 1619250"/>
                      <a:gd name="connsiteX173" fmla="*/ 1264856 w 1614899"/>
                      <a:gd name="connsiteY173" fmla="*/ 990600 h 1619250"/>
                      <a:gd name="connsiteX174" fmla="*/ 1283906 w 1614899"/>
                      <a:gd name="connsiteY174" fmla="*/ 995362 h 1619250"/>
                      <a:gd name="connsiteX175" fmla="*/ 1291049 w 1614899"/>
                      <a:gd name="connsiteY175" fmla="*/ 1000125 h 1619250"/>
                      <a:gd name="connsiteX176" fmla="*/ 1298193 w 1614899"/>
                      <a:gd name="connsiteY176" fmla="*/ 1002506 h 1619250"/>
                      <a:gd name="connsiteX177" fmla="*/ 1322006 w 1614899"/>
                      <a:gd name="connsiteY177" fmla="*/ 1007269 h 1619250"/>
                      <a:gd name="connsiteX178" fmla="*/ 1336293 w 1614899"/>
                      <a:gd name="connsiteY178" fmla="*/ 1012031 h 1619250"/>
                      <a:gd name="connsiteX179" fmla="*/ 1355343 w 1614899"/>
                      <a:gd name="connsiteY179" fmla="*/ 1016794 h 1619250"/>
                      <a:gd name="connsiteX180" fmla="*/ 1362487 w 1614899"/>
                      <a:gd name="connsiteY180" fmla="*/ 1023937 h 1619250"/>
                      <a:gd name="connsiteX181" fmla="*/ 1376774 w 1614899"/>
                      <a:gd name="connsiteY181" fmla="*/ 1028700 h 1619250"/>
                      <a:gd name="connsiteX182" fmla="*/ 1391062 w 1614899"/>
                      <a:gd name="connsiteY182" fmla="*/ 1033462 h 1619250"/>
                      <a:gd name="connsiteX183" fmla="*/ 1398206 w 1614899"/>
                      <a:gd name="connsiteY183" fmla="*/ 1035844 h 1619250"/>
                      <a:gd name="connsiteX184" fmla="*/ 1405349 w 1614899"/>
                      <a:gd name="connsiteY184" fmla="*/ 1038225 h 1619250"/>
                      <a:gd name="connsiteX185" fmla="*/ 1412493 w 1614899"/>
                      <a:gd name="connsiteY185" fmla="*/ 1042987 h 1619250"/>
                      <a:gd name="connsiteX186" fmla="*/ 1426781 w 1614899"/>
                      <a:gd name="connsiteY186" fmla="*/ 1050131 h 1619250"/>
                      <a:gd name="connsiteX187" fmla="*/ 1436306 w 1614899"/>
                      <a:gd name="connsiteY187" fmla="*/ 1062037 h 1619250"/>
                      <a:gd name="connsiteX188" fmla="*/ 1441068 w 1614899"/>
                      <a:gd name="connsiteY188" fmla="*/ 1069181 h 1619250"/>
                      <a:gd name="connsiteX189" fmla="*/ 1450593 w 1614899"/>
                      <a:gd name="connsiteY189" fmla="*/ 1071562 h 1619250"/>
                      <a:gd name="connsiteX190" fmla="*/ 1464881 w 1614899"/>
                      <a:gd name="connsiteY190" fmla="*/ 1076325 h 1619250"/>
                      <a:gd name="connsiteX191" fmla="*/ 1467262 w 1614899"/>
                      <a:gd name="connsiteY191" fmla="*/ 1083469 h 1619250"/>
                      <a:gd name="connsiteX192" fmla="*/ 1488693 w 1614899"/>
                      <a:gd name="connsiteY192" fmla="*/ 1092994 h 1619250"/>
                      <a:gd name="connsiteX193" fmla="*/ 1500599 w 1614899"/>
                      <a:gd name="connsiteY193" fmla="*/ 1095375 h 1619250"/>
                      <a:gd name="connsiteX194" fmla="*/ 1514887 w 1614899"/>
                      <a:gd name="connsiteY194" fmla="*/ 1097756 h 1619250"/>
                      <a:gd name="connsiteX195" fmla="*/ 1522031 w 1614899"/>
                      <a:gd name="connsiteY195" fmla="*/ 1100137 h 1619250"/>
                      <a:gd name="connsiteX196" fmla="*/ 1541081 w 1614899"/>
                      <a:gd name="connsiteY196" fmla="*/ 1104900 h 1619250"/>
                      <a:gd name="connsiteX197" fmla="*/ 1545843 w 1614899"/>
                      <a:gd name="connsiteY197" fmla="*/ 1112044 h 1619250"/>
                      <a:gd name="connsiteX198" fmla="*/ 1543462 w 1614899"/>
                      <a:gd name="connsiteY198" fmla="*/ 1119187 h 1619250"/>
                      <a:gd name="connsiteX199" fmla="*/ 1557749 w 1614899"/>
                      <a:gd name="connsiteY199" fmla="*/ 1128712 h 1619250"/>
                      <a:gd name="connsiteX200" fmla="*/ 1564893 w 1614899"/>
                      <a:gd name="connsiteY200" fmla="*/ 1133475 h 1619250"/>
                      <a:gd name="connsiteX201" fmla="*/ 1579181 w 1614899"/>
                      <a:gd name="connsiteY201" fmla="*/ 1147762 h 1619250"/>
                      <a:gd name="connsiteX202" fmla="*/ 1593468 w 1614899"/>
                      <a:gd name="connsiteY202" fmla="*/ 1152525 h 1619250"/>
                      <a:gd name="connsiteX203" fmla="*/ 1600612 w 1614899"/>
                      <a:gd name="connsiteY203" fmla="*/ 1154906 h 1619250"/>
                      <a:gd name="connsiteX204" fmla="*/ 1607756 w 1614899"/>
                      <a:gd name="connsiteY204" fmla="*/ 1162050 h 1619250"/>
                      <a:gd name="connsiteX205" fmla="*/ 1610137 w 1614899"/>
                      <a:gd name="connsiteY205" fmla="*/ 1169194 h 1619250"/>
                      <a:gd name="connsiteX206" fmla="*/ 1614899 w 1614899"/>
                      <a:gd name="connsiteY206" fmla="*/ 1176337 h 1619250"/>
                      <a:gd name="connsiteX207" fmla="*/ 1612518 w 1614899"/>
                      <a:gd name="connsiteY207" fmla="*/ 1195387 h 1619250"/>
                      <a:gd name="connsiteX208" fmla="*/ 1610137 w 1614899"/>
                      <a:gd name="connsiteY208" fmla="*/ 1202531 h 1619250"/>
                      <a:gd name="connsiteX209" fmla="*/ 1602993 w 1614899"/>
                      <a:gd name="connsiteY209" fmla="*/ 1204912 h 1619250"/>
                      <a:gd name="connsiteX210" fmla="*/ 1600612 w 1614899"/>
                      <a:gd name="connsiteY210" fmla="*/ 1212056 h 1619250"/>
                      <a:gd name="connsiteX211" fmla="*/ 1598231 w 1614899"/>
                      <a:gd name="connsiteY211" fmla="*/ 1247775 h 1619250"/>
                      <a:gd name="connsiteX212" fmla="*/ 1579181 w 1614899"/>
                      <a:gd name="connsiteY212" fmla="*/ 1245394 h 1619250"/>
                      <a:gd name="connsiteX213" fmla="*/ 1550606 w 1614899"/>
                      <a:gd name="connsiteY213" fmla="*/ 1231106 h 1619250"/>
                      <a:gd name="connsiteX214" fmla="*/ 1543462 w 1614899"/>
                      <a:gd name="connsiteY214" fmla="*/ 1226344 h 1619250"/>
                      <a:gd name="connsiteX215" fmla="*/ 1543462 w 1614899"/>
                      <a:gd name="connsiteY215" fmla="*/ 1197769 h 1619250"/>
                      <a:gd name="connsiteX216" fmla="*/ 1545843 w 1614899"/>
                      <a:gd name="connsiteY216" fmla="*/ 1183481 h 1619250"/>
                      <a:gd name="connsiteX217" fmla="*/ 1531556 w 1614899"/>
                      <a:gd name="connsiteY217" fmla="*/ 1176337 h 1619250"/>
                      <a:gd name="connsiteX218" fmla="*/ 1529174 w 1614899"/>
                      <a:gd name="connsiteY218" fmla="*/ 1169194 h 1619250"/>
                      <a:gd name="connsiteX219" fmla="*/ 1531556 w 1614899"/>
                      <a:gd name="connsiteY219" fmla="*/ 1152525 h 1619250"/>
                      <a:gd name="connsiteX220" fmla="*/ 1524412 w 1614899"/>
                      <a:gd name="connsiteY220" fmla="*/ 1154906 h 1619250"/>
                      <a:gd name="connsiteX221" fmla="*/ 1517268 w 1614899"/>
                      <a:gd name="connsiteY221" fmla="*/ 1159669 h 1619250"/>
                      <a:gd name="connsiteX222" fmla="*/ 1502981 w 1614899"/>
                      <a:gd name="connsiteY222" fmla="*/ 1164431 h 1619250"/>
                      <a:gd name="connsiteX223" fmla="*/ 1481549 w 1614899"/>
                      <a:gd name="connsiteY223" fmla="*/ 1169194 h 1619250"/>
                      <a:gd name="connsiteX224" fmla="*/ 1457737 w 1614899"/>
                      <a:gd name="connsiteY224" fmla="*/ 1164431 h 1619250"/>
                      <a:gd name="connsiteX225" fmla="*/ 1443449 w 1614899"/>
                      <a:gd name="connsiteY225" fmla="*/ 1154906 h 1619250"/>
                      <a:gd name="connsiteX226" fmla="*/ 1436306 w 1614899"/>
                      <a:gd name="connsiteY226" fmla="*/ 1150144 h 1619250"/>
                      <a:gd name="connsiteX227" fmla="*/ 1426781 w 1614899"/>
                      <a:gd name="connsiteY227" fmla="*/ 1140619 h 1619250"/>
                      <a:gd name="connsiteX228" fmla="*/ 1402968 w 1614899"/>
                      <a:gd name="connsiteY228" fmla="*/ 1138237 h 1619250"/>
                      <a:gd name="connsiteX229" fmla="*/ 1395824 w 1614899"/>
                      <a:gd name="connsiteY229" fmla="*/ 1145381 h 1619250"/>
                      <a:gd name="connsiteX230" fmla="*/ 1374393 w 1614899"/>
                      <a:gd name="connsiteY230" fmla="*/ 1162050 h 1619250"/>
                      <a:gd name="connsiteX231" fmla="*/ 1367249 w 1614899"/>
                      <a:gd name="connsiteY231" fmla="*/ 1188244 h 1619250"/>
                      <a:gd name="connsiteX232" fmla="*/ 1357724 w 1614899"/>
                      <a:gd name="connsiteY232" fmla="*/ 1202531 h 1619250"/>
                      <a:gd name="connsiteX233" fmla="*/ 1348199 w 1614899"/>
                      <a:gd name="connsiteY233" fmla="*/ 1212056 h 1619250"/>
                      <a:gd name="connsiteX234" fmla="*/ 1345818 w 1614899"/>
                      <a:gd name="connsiteY234" fmla="*/ 1219200 h 1619250"/>
                      <a:gd name="connsiteX235" fmla="*/ 1341056 w 1614899"/>
                      <a:gd name="connsiteY235" fmla="*/ 1228725 h 1619250"/>
                      <a:gd name="connsiteX236" fmla="*/ 1350581 w 1614899"/>
                      <a:gd name="connsiteY236" fmla="*/ 1243012 h 1619250"/>
                      <a:gd name="connsiteX237" fmla="*/ 1343437 w 1614899"/>
                      <a:gd name="connsiteY237" fmla="*/ 1266825 h 1619250"/>
                      <a:gd name="connsiteX238" fmla="*/ 1345818 w 1614899"/>
                      <a:gd name="connsiteY238" fmla="*/ 1281112 h 1619250"/>
                      <a:gd name="connsiteX239" fmla="*/ 1348199 w 1614899"/>
                      <a:gd name="connsiteY239" fmla="*/ 1290637 h 1619250"/>
                      <a:gd name="connsiteX240" fmla="*/ 1355343 w 1614899"/>
                      <a:gd name="connsiteY240" fmla="*/ 1297781 h 1619250"/>
                      <a:gd name="connsiteX241" fmla="*/ 1362487 w 1614899"/>
                      <a:gd name="connsiteY241" fmla="*/ 1300162 h 1619250"/>
                      <a:gd name="connsiteX242" fmla="*/ 1386299 w 1614899"/>
                      <a:gd name="connsiteY242" fmla="*/ 1302544 h 1619250"/>
                      <a:gd name="connsiteX243" fmla="*/ 1395824 w 1614899"/>
                      <a:gd name="connsiteY243" fmla="*/ 1309687 h 1619250"/>
                      <a:gd name="connsiteX244" fmla="*/ 1410112 w 1614899"/>
                      <a:gd name="connsiteY244" fmla="*/ 1314450 h 1619250"/>
                      <a:gd name="connsiteX245" fmla="*/ 1417256 w 1614899"/>
                      <a:gd name="connsiteY245" fmla="*/ 1319212 h 1619250"/>
                      <a:gd name="connsiteX246" fmla="*/ 1431543 w 1614899"/>
                      <a:gd name="connsiteY246" fmla="*/ 1326356 h 1619250"/>
                      <a:gd name="connsiteX247" fmla="*/ 1433924 w 1614899"/>
                      <a:gd name="connsiteY247" fmla="*/ 1333500 h 1619250"/>
                      <a:gd name="connsiteX248" fmla="*/ 1429162 w 1614899"/>
                      <a:gd name="connsiteY248" fmla="*/ 1340644 h 1619250"/>
                      <a:gd name="connsiteX249" fmla="*/ 1426781 w 1614899"/>
                      <a:gd name="connsiteY249" fmla="*/ 1347787 h 1619250"/>
                      <a:gd name="connsiteX250" fmla="*/ 1431543 w 1614899"/>
                      <a:gd name="connsiteY250" fmla="*/ 1354931 h 1619250"/>
                      <a:gd name="connsiteX251" fmla="*/ 1436306 w 1614899"/>
                      <a:gd name="connsiteY251" fmla="*/ 1364456 h 1619250"/>
                      <a:gd name="connsiteX252" fmla="*/ 1443449 w 1614899"/>
                      <a:gd name="connsiteY252" fmla="*/ 1395412 h 1619250"/>
                      <a:gd name="connsiteX253" fmla="*/ 1450593 w 1614899"/>
                      <a:gd name="connsiteY253" fmla="*/ 1402556 h 1619250"/>
                      <a:gd name="connsiteX254" fmla="*/ 1448212 w 1614899"/>
                      <a:gd name="connsiteY254" fmla="*/ 1412081 h 1619250"/>
                      <a:gd name="connsiteX255" fmla="*/ 1433924 w 1614899"/>
                      <a:gd name="connsiteY255" fmla="*/ 1416844 h 1619250"/>
                      <a:gd name="connsiteX256" fmla="*/ 1419637 w 1614899"/>
                      <a:gd name="connsiteY256" fmla="*/ 1423987 h 1619250"/>
                      <a:gd name="connsiteX257" fmla="*/ 1405349 w 1614899"/>
                      <a:gd name="connsiteY257" fmla="*/ 1431131 h 1619250"/>
                      <a:gd name="connsiteX258" fmla="*/ 1398206 w 1614899"/>
                      <a:gd name="connsiteY258" fmla="*/ 1435894 h 1619250"/>
                      <a:gd name="connsiteX259" fmla="*/ 1383918 w 1614899"/>
                      <a:gd name="connsiteY259" fmla="*/ 1440656 h 1619250"/>
                      <a:gd name="connsiteX260" fmla="*/ 1376774 w 1614899"/>
                      <a:gd name="connsiteY260" fmla="*/ 1443037 h 1619250"/>
                      <a:gd name="connsiteX261" fmla="*/ 1364868 w 1614899"/>
                      <a:gd name="connsiteY261" fmla="*/ 1464469 h 1619250"/>
                      <a:gd name="connsiteX262" fmla="*/ 1362487 w 1614899"/>
                      <a:gd name="connsiteY262" fmla="*/ 1473994 h 1619250"/>
                      <a:gd name="connsiteX263" fmla="*/ 1364868 w 1614899"/>
                      <a:gd name="connsiteY263" fmla="*/ 1497806 h 1619250"/>
                      <a:gd name="connsiteX264" fmla="*/ 1372012 w 1614899"/>
                      <a:gd name="connsiteY264" fmla="*/ 1500187 h 1619250"/>
                      <a:gd name="connsiteX265" fmla="*/ 1369631 w 1614899"/>
                      <a:gd name="connsiteY265" fmla="*/ 1516856 h 1619250"/>
                      <a:gd name="connsiteX266" fmla="*/ 1367249 w 1614899"/>
                      <a:gd name="connsiteY266" fmla="*/ 1524000 h 1619250"/>
                      <a:gd name="connsiteX267" fmla="*/ 1360106 w 1614899"/>
                      <a:gd name="connsiteY267" fmla="*/ 1526381 h 1619250"/>
                      <a:gd name="connsiteX268" fmla="*/ 1352962 w 1614899"/>
                      <a:gd name="connsiteY268" fmla="*/ 1531144 h 1619250"/>
                      <a:gd name="connsiteX269" fmla="*/ 1343437 w 1614899"/>
                      <a:gd name="connsiteY269" fmla="*/ 1535906 h 1619250"/>
                      <a:gd name="connsiteX270" fmla="*/ 1329149 w 1614899"/>
                      <a:gd name="connsiteY270" fmla="*/ 1550194 h 1619250"/>
                      <a:gd name="connsiteX271" fmla="*/ 1326768 w 1614899"/>
                      <a:gd name="connsiteY271" fmla="*/ 1559719 h 1619250"/>
                      <a:gd name="connsiteX272" fmla="*/ 1322006 w 1614899"/>
                      <a:gd name="connsiteY272" fmla="*/ 1566862 h 1619250"/>
                      <a:gd name="connsiteX273" fmla="*/ 1319624 w 1614899"/>
                      <a:gd name="connsiteY273" fmla="*/ 1578769 h 1619250"/>
                      <a:gd name="connsiteX274" fmla="*/ 1317243 w 1614899"/>
                      <a:gd name="connsiteY274" fmla="*/ 1585912 h 1619250"/>
                      <a:gd name="connsiteX275" fmla="*/ 1314862 w 1614899"/>
                      <a:gd name="connsiteY275" fmla="*/ 1602581 h 1619250"/>
                      <a:gd name="connsiteX276" fmla="*/ 1283906 w 1614899"/>
                      <a:gd name="connsiteY276" fmla="*/ 1614487 h 1619250"/>
                      <a:gd name="connsiteX277" fmla="*/ 1274381 w 1614899"/>
                      <a:gd name="connsiteY277" fmla="*/ 1616869 h 1619250"/>
                      <a:gd name="connsiteX278" fmla="*/ 1260093 w 1614899"/>
                      <a:gd name="connsiteY278" fmla="*/ 1619250 h 1619250"/>
                      <a:gd name="connsiteX279" fmla="*/ 1248187 w 1614899"/>
                      <a:gd name="connsiteY279" fmla="*/ 1616869 h 1619250"/>
                      <a:gd name="connsiteX280" fmla="*/ 1243424 w 1614899"/>
                      <a:gd name="connsiteY280" fmla="*/ 1597819 h 1619250"/>
                      <a:gd name="connsiteX281" fmla="*/ 1238662 w 1614899"/>
                      <a:gd name="connsiteY281" fmla="*/ 1581150 h 1619250"/>
                      <a:gd name="connsiteX282" fmla="*/ 1243424 w 1614899"/>
                      <a:gd name="connsiteY282" fmla="*/ 1566862 h 1619250"/>
                      <a:gd name="connsiteX283" fmla="*/ 1252949 w 1614899"/>
                      <a:gd name="connsiteY283" fmla="*/ 1552575 h 1619250"/>
                      <a:gd name="connsiteX284" fmla="*/ 1260093 w 1614899"/>
                      <a:gd name="connsiteY284" fmla="*/ 1550194 h 1619250"/>
                      <a:gd name="connsiteX285" fmla="*/ 1267237 w 1614899"/>
                      <a:gd name="connsiteY285" fmla="*/ 1543050 h 1619250"/>
                      <a:gd name="connsiteX286" fmla="*/ 1269618 w 1614899"/>
                      <a:gd name="connsiteY286" fmla="*/ 1535906 h 1619250"/>
                      <a:gd name="connsiteX287" fmla="*/ 1274381 w 1614899"/>
                      <a:gd name="connsiteY287" fmla="*/ 1526381 h 1619250"/>
                      <a:gd name="connsiteX288" fmla="*/ 1267237 w 1614899"/>
                      <a:gd name="connsiteY288" fmla="*/ 1502569 h 1619250"/>
                      <a:gd name="connsiteX289" fmla="*/ 1252949 w 1614899"/>
                      <a:gd name="connsiteY289" fmla="*/ 1493044 h 1619250"/>
                      <a:gd name="connsiteX290" fmla="*/ 1262474 w 1614899"/>
                      <a:gd name="connsiteY290" fmla="*/ 1478756 h 1619250"/>
                      <a:gd name="connsiteX291" fmla="*/ 1279143 w 1614899"/>
                      <a:gd name="connsiteY291" fmla="*/ 1462087 h 1619250"/>
                      <a:gd name="connsiteX292" fmla="*/ 1302956 w 1614899"/>
                      <a:gd name="connsiteY292" fmla="*/ 1459706 h 1619250"/>
                      <a:gd name="connsiteX293" fmla="*/ 1305337 w 1614899"/>
                      <a:gd name="connsiteY293" fmla="*/ 1450181 h 1619250"/>
                      <a:gd name="connsiteX294" fmla="*/ 1310099 w 1614899"/>
                      <a:gd name="connsiteY294" fmla="*/ 1443037 h 1619250"/>
                      <a:gd name="connsiteX295" fmla="*/ 1312481 w 1614899"/>
                      <a:gd name="connsiteY295" fmla="*/ 1435894 h 1619250"/>
                      <a:gd name="connsiteX296" fmla="*/ 1305337 w 1614899"/>
                      <a:gd name="connsiteY296" fmla="*/ 1428750 h 1619250"/>
                      <a:gd name="connsiteX297" fmla="*/ 1298193 w 1614899"/>
                      <a:gd name="connsiteY297" fmla="*/ 1423987 h 1619250"/>
                      <a:gd name="connsiteX298" fmla="*/ 1295812 w 1614899"/>
                      <a:gd name="connsiteY298" fmla="*/ 1412081 h 1619250"/>
                      <a:gd name="connsiteX299" fmla="*/ 1293431 w 1614899"/>
                      <a:gd name="connsiteY299" fmla="*/ 1402556 h 1619250"/>
                      <a:gd name="connsiteX300" fmla="*/ 1288668 w 1614899"/>
                      <a:gd name="connsiteY300" fmla="*/ 1369219 h 1619250"/>
                      <a:gd name="connsiteX301" fmla="*/ 1286287 w 1614899"/>
                      <a:gd name="connsiteY301" fmla="*/ 1362075 h 1619250"/>
                      <a:gd name="connsiteX302" fmla="*/ 1276762 w 1614899"/>
                      <a:gd name="connsiteY302" fmla="*/ 1345406 h 1619250"/>
                      <a:gd name="connsiteX303" fmla="*/ 1267237 w 1614899"/>
                      <a:gd name="connsiteY303" fmla="*/ 1343025 h 1619250"/>
                      <a:gd name="connsiteX304" fmla="*/ 1260093 w 1614899"/>
                      <a:gd name="connsiteY304" fmla="*/ 1340644 h 1619250"/>
                      <a:gd name="connsiteX305" fmla="*/ 1252949 w 1614899"/>
                      <a:gd name="connsiteY305" fmla="*/ 1307306 h 1619250"/>
                      <a:gd name="connsiteX306" fmla="*/ 1248187 w 1614899"/>
                      <a:gd name="connsiteY306" fmla="*/ 1293019 h 1619250"/>
                      <a:gd name="connsiteX307" fmla="*/ 1243424 w 1614899"/>
                      <a:gd name="connsiteY307" fmla="*/ 1278731 h 1619250"/>
                      <a:gd name="connsiteX308" fmla="*/ 1241043 w 1614899"/>
                      <a:gd name="connsiteY308" fmla="*/ 1271587 h 1619250"/>
                      <a:gd name="connsiteX309" fmla="*/ 1236281 w 1614899"/>
                      <a:gd name="connsiteY309" fmla="*/ 1262062 h 1619250"/>
                      <a:gd name="connsiteX310" fmla="*/ 1231518 w 1614899"/>
                      <a:gd name="connsiteY310" fmla="*/ 1247775 h 1619250"/>
                      <a:gd name="connsiteX311" fmla="*/ 1224374 w 1614899"/>
                      <a:gd name="connsiteY311" fmla="*/ 1240631 h 1619250"/>
                      <a:gd name="connsiteX312" fmla="*/ 1214849 w 1614899"/>
                      <a:gd name="connsiteY312" fmla="*/ 1226344 h 1619250"/>
                      <a:gd name="connsiteX313" fmla="*/ 1195799 w 1614899"/>
                      <a:gd name="connsiteY313" fmla="*/ 1233487 h 1619250"/>
                      <a:gd name="connsiteX314" fmla="*/ 1198181 w 1614899"/>
                      <a:gd name="connsiteY314" fmla="*/ 1240631 h 1619250"/>
                      <a:gd name="connsiteX315" fmla="*/ 1191037 w 1614899"/>
                      <a:gd name="connsiteY315" fmla="*/ 1243012 h 1619250"/>
                      <a:gd name="connsiteX316" fmla="*/ 1164843 w 1614899"/>
                      <a:gd name="connsiteY316" fmla="*/ 1238250 h 1619250"/>
                      <a:gd name="connsiteX317" fmla="*/ 1155318 w 1614899"/>
                      <a:gd name="connsiteY317" fmla="*/ 1223962 h 1619250"/>
                      <a:gd name="connsiteX318" fmla="*/ 1148174 w 1614899"/>
                      <a:gd name="connsiteY318" fmla="*/ 1216819 h 1619250"/>
                      <a:gd name="connsiteX319" fmla="*/ 1138649 w 1614899"/>
                      <a:gd name="connsiteY319" fmla="*/ 1219200 h 1619250"/>
                      <a:gd name="connsiteX320" fmla="*/ 1131506 w 1614899"/>
                      <a:gd name="connsiteY320" fmla="*/ 1221581 h 1619250"/>
                      <a:gd name="connsiteX321" fmla="*/ 1124362 w 1614899"/>
                      <a:gd name="connsiteY321" fmla="*/ 1219200 h 1619250"/>
                      <a:gd name="connsiteX322" fmla="*/ 1107693 w 1614899"/>
                      <a:gd name="connsiteY322" fmla="*/ 1214438 h 1619250"/>
                      <a:gd name="connsiteX323" fmla="*/ 1117218 w 1614899"/>
                      <a:gd name="connsiteY323" fmla="*/ 1193006 h 1619250"/>
                      <a:gd name="connsiteX324" fmla="*/ 1112456 w 1614899"/>
                      <a:gd name="connsiteY324" fmla="*/ 1154906 h 1619250"/>
                      <a:gd name="connsiteX325" fmla="*/ 1107693 w 1614899"/>
                      <a:gd name="connsiteY325" fmla="*/ 1147762 h 1619250"/>
                      <a:gd name="connsiteX326" fmla="*/ 1100549 w 1614899"/>
                      <a:gd name="connsiteY326" fmla="*/ 1145381 h 1619250"/>
                      <a:gd name="connsiteX327" fmla="*/ 1093406 w 1614899"/>
                      <a:gd name="connsiteY327" fmla="*/ 1147762 h 1619250"/>
                      <a:gd name="connsiteX328" fmla="*/ 1062449 w 1614899"/>
                      <a:gd name="connsiteY328" fmla="*/ 1152525 h 1619250"/>
                      <a:gd name="connsiteX329" fmla="*/ 1043400 w 1614899"/>
                      <a:gd name="connsiteY329" fmla="*/ 1154906 h 1619250"/>
                      <a:gd name="connsiteX330" fmla="*/ 1031493 w 1614899"/>
                      <a:gd name="connsiteY330" fmla="*/ 1154906 h 1619250"/>
                      <a:gd name="connsiteX331" fmla="*/ 1050543 w 1614899"/>
                      <a:gd name="connsiteY331" fmla="*/ 1128712 h 1619250"/>
                      <a:gd name="connsiteX332" fmla="*/ 1041018 w 1614899"/>
                      <a:gd name="connsiteY332" fmla="*/ 1107281 h 1619250"/>
                      <a:gd name="connsiteX333" fmla="*/ 1024349 w 1614899"/>
                      <a:gd name="connsiteY333" fmla="*/ 1109662 h 1619250"/>
                      <a:gd name="connsiteX334" fmla="*/ 1014824 w 1614899"/>
                      <a:gd name="connsiteY334" fmla="*/ 1107281 h 1619250"/>
                      <a:gd name="connsiteX335" fmla="*/ 988631 w 1614899"/>
                      <a:gd name="connsiteY335" fmla="*/ 1109662 h 1619250"/>
                      <a:gd name="connsiteX336" fmla="*/ 986249 w 1614899"/>
                      <a:gd name="connsiteY336" fmla="*/ 1102519 h 1619250"/>
                      <a:gd name="connsiteX337" fmla="*/ 979106 w 1614899"/>
                      <a:gd name="connsiteY337" fmla="*/ 1076325 h 1619250"/>
                      <a:gd name="connsiteX338" fmla="*/ 964818 w 1614899"/>
                      <a:gd name="connsiteY338" fmla="*/ 1064419 h 1619250"/>
                      <a:gd name="connsiteX339" fmla="*/ 950531 w 1614899"/>
                      <a:gd name="connsiteY339" fmla="*/ 1054894 h 1619250"/>
                      <a:gd name="connsiteX340" fmla="*/ 943387 w 1614899"/>
                      <a:gd name="connsiteY340" fmla="*/ 1050131 h 1619250"/>
                      <a:gd name="connsiteX341" fmla="*/ 936243 w 1614899"/>
                      <a:gd name="connsiteY341" fmla="*/ 1045369 h 1619250"/>
                      <a:gd name="connsiteX342" fmla="*/ 931481 w 1614899"/>
                      <a:gd name="connsiteY342" fmla="*/ 1038225 h 1619250"/>
                      <a:gd name="connsiteX343" fmla="*/ 917193 w 1614899"/>
                      <a:gd name="connsiteY343" fmla="*/ 1031081 h 1619250"/>
                      <a:gd name="connsiteX344" fmla="*/ 914812 w 1614899"/>
                      <a:gd name="connsiteY344" fmla="*/ 1040606 h 1619250"/>
                      <a:gd name="connsiteX345" fmla="*/ 907668 w 1614899"/>
                      <a:gd name="connsiteY345" fmla="*/ 1042987 h 1619250"/>
                      <a:gd name="connsiteX346" fmla="*/ 886237 w 1614899"/>
                      <a:gd name="connsiteY346" fmla="*/ 1031081 h 1619250"/>
                      <a:gd name="connsiteX347" fmla="*/ 862424 w 1614899"/>
                      <a:gd name="connsiteY347" fmla="*/ 1035844 h 1619250"/>
                      <a:gd name="connsiteX348" fmla="*/ 845756 w 1614899"/>
                      <a:gd name="connsiteY348" fmla="*/ 1040606 h 1619250"/>
                      <a:gd name="connsiteX349" fmla="*/ 840993 w 1614899"/>
                      <a:gd name="connsiteY349" fmla="*/ 1033462 h 1619250"/>
                      <a:gd name="connsiteX350" fmla="*/ 821943 w 1614899"/>
                      <a:gd name="connsiteY350" fmla="*/ 1004887 h 1619250"/>
                      <a:gd name="connsiteX351" fmla="*/ 814799 w 1614899"/>
                      <a:gd name="connsiteY351" fmla="*/ 1000125 h 1619250"/>
                      <a:gd name="connsiteX352" fmla="*/ 779081 w 1614899"/>
                      <a:gd name="connsiteY352" fmla="*/ 995362 h 1619250"/>
                      <a:gd name="connsiteX353" fmla="*/ 771937 w 1614899"/>
                      <a:gd name="connsiteY353" fmla="*/ 988219 h 1619250"/>
                      <a:gd name="connsiteX354" fmla="*/ 762412 w 1614899"/>
                      <a:gd name="connsiteY354" fmla="*/ 966787 h 1619250"/>
                      <a:gd name="connsiteX355" fmla="*/ 755268 w 1614899"/>
                      <a:gd name="connsiteY355" fmla="*/ 962025 h 1619250"/>
                      <a:gd name="connsiteX356" fmla="*/ 733837 w 1614899"/>
                      <a:gd name="connsiteY356" fmla="*/ 962025 h 1619250"/>
                      <a:gd name="connsiteX357" fmla="*/ 731456 w 1614899"/>
                      <a:gd name="connsiteY357" fmla="*/ 950119 h 1619250"/>
                      <a:gd name="connsiteX358" fmla="*/ 729074 w 1614899"/>
                      <a:gd name="connsiteY358" fmla="*/ 942975 h 1619250"/>
                      <a:gd name="connsiteX359" fmla="*/ 726693 w 1614899"/>
                      <a:gd name="connsiteY359" fmla="*/ 921544 h 1619250"/>
                      <a:gd name="connsiteX360" fmla="*/ 724312 w 1614899"/>
                      <a:gd name="connsiteY360" fmla="*/ 914400 h 1619250"/>
                      <a:gd name="connsiteX361" fmla="*/ 717168 w 1614899"/>
                      <a:gd name="connsiteY361" fmla="*/ 909637 h 1619250"/>
                      <a:gd name="connsiteX362" fmla="*/ 710024 w 1614899"/>
                      <a:gd name="connsiteY362" fmla="*/ 907256 h 1619250"/>
                      <a:gd name="connsiteX363" fmla="*/ 681449 w 1614899"/>
                      <a:gd name="connsiteY363" fmla="*/ 902494 h 1619250"/>
                      <a:gd name="connsiteX364" fmla="*/ 674306 w 1614899"/>
                      <a:gd name="connsiteY364" fmla="*/ 897731 h 1619250"/>
                      <a:gd name="connsiteX365" fmla="*/ 667162 w 1614899"/>
                      <a:gd name="connsiteY365" fmla="*/ 883444 h 1619250"/>
                      <a:gd name="connsiteX366" fmla="*/ 657637 w 1614899"/>
                      <a:gd name="connsiteY366" fmla="*/ 881062 h 1619250"/>
                      <a:gd name="connsiteX367" fmla="*/ 650493 w 1614899"/>
                      <a:gd name="connsiteY367" fmla="*/ 873919 h 1619250"/>
                      <a:gd name="connsiteX368" fmla="*/ 648112 w 1614899"/>
                      <a:gd name="connsiteY368" fmla="*/ 866775 h 1619250"/>
                      <a:gd name="connsiteX369" fmla="*/ 643349 w 1614899"/>
                      <a:gd name="connsiteY369" fmla="*/ 859631 h 1619250"/>
                      <a:gd name="connsiteX370" fmla="*/ 631443 w 1614899"/>
                      <a:gd name="connsiteY370" fmla="*/ 838200 h 1619250"/>
                      <a:gd name="connsiteX371" fmla="*/ 624299 w 1614899"/>
                      <a:gd name="connsiteY371" fmla="*/ 833437 h 1619250"/>
                      <a:gd name="connsiteX372" fmla="*/ 593343 w 1614899"/>
                      <a:gd name="connsiteY372" fmla="*/ 835819 h 1619250"/>
                      <a:gd name="connsiteX373" fmla="*/ 586199 w 1614899"/>
                      <a:gd name="connsiteY373" fmla="*/ 816769 h 1619250"/>
                      <a:gd name="connsiteX374" fmla="*/ 569531 w 1614899"/>
                      <a:gd name="connsiteY374" fmla="*/ 795337 h 1619250"/>
                      <a:gd name="connsiteX375" fmla="*/ 564768 w 1614899"/>
                      <a:gd name="connsiteY375" fmla="*/ 788194 h 1619250"/>
                      <a:gd name="connsiteX376" fmla="*/ 557624 w 1614899"/>
                      <a:gd name="connsiteY376" fmla="*/ 785812 h 1619250"/>
                      <a:gd name="connsiteX377" fmla="*/ 550481 w 1614899"/>
                      <a:gd name="connsiteY377" fmla="*/ 781050 h 1619250"/>
                      <a:gd name="connsiteX378" fmla="*/ 536193 w 1614899"/>
                      <a:gd name="connsiteY378" fmla="*/ 776287 h 1619250"/>
                      <a:gd name="connsiteX379" fmla="*/ 538574 w 1614899"/>
                      <a:gd name="connsiteY379" fmla="*/ 747712 h 1619250"/>
                      <a:gd name="connsiteX380" fmla="*/ 533812 w 1614899"/>
                      <a:gd name="connsiteY380" fmla="*/ 740569 h 1619250"/>
                      <a:gd name="connsiteX381" fmla="*/ 519524 w 1614899"/>
                      <a:gd name="connsiteY381" fmla="*/ 731044 h 1619250"/>
                      <a:gd name="connsiteX382" fmla="*/ 512381 w 1614899"/>
                      <a:gd name="connsiteY382" fmla="*/ 735806 h 1619250"/>
                      <a:gd name="connsiteX383" fmla="*/ 505237 w 1614899"/>
                      <a:gd name="connsiteY383" fmla="*/ 738187 h 1619250"/>
                      <a:gd name="connsiteX384" fmla="*/ 507618 w 1614899"/>
                      <a:gd name="connsiteY384" fmla="*/ 723900 h 1619250"/>
                      <a:gd name="connsiteX385" fmla="*/ 505237 w 1614899"/>
                      <a:gd name="connsiteY385" fmla="*/ 688181 h 1619250"/>
                      <a:gd name="connsiteX386" fmla="*/ 493331 w 1614899"/>
                      <a:gd name="connsiteY386" fmla="*/ 666750 h 1619250"/>
                      <a:gd name="connsiteX387" fmla="*/ 486187 w 1614899"/>
                      <a:gd name="connsiteY387" fmla="*/ 659606 h 1619250"/>
                      <a:gd name="connsiteX388" fmla="*/ 481424 w 1614899"/>
                      <a:gd name="connsiteY388" fmla="*/ 652462 h 1619250"/>
                      <a:gd name="connsiteX389" fmla="*/ 479043 w 1614899"/>
                      <a:gd name="connsiteY389" fmla="*/ 614362 h 1619250"/>
                      <a:gd name="connsiteX390" fmla="*/ 474281 w 1614899"/>
                      <a:gd name="connsiteY390" fmla="*/ 595312 h 1619250"/>
                      <a:gd name="connsiteX391" fmla="*/ 467137 w 1614899"/>
                      <a:gd name="connsiteY391" fmla="*/ 578644 h 1619250"/>
                      <a:gd name="connsiteX392" fmla="*/ 459993 w 1614899"/>
                      <a:gd name="connsiteY392" fmla="*/ 571500 h 1619250"/>
                      <a:gd name="connsiteX393" fmla="*/ 440943 w 1614899"/>
                      <a:gd name="connsiteY393" fmla="*/ 554831 h 1619250"/>
                      <a:gd name="connsiteX394" fmla="*/ 426656 w 1614899"/>
                      <a:gd name="connsiteY394" fmla="*/ 550069 h 1619250"/>
                      <a:gd name="connsiteX395" fmla="*/ 424274 w 1614899"/>
                      <a:gd name="connsiteY395" fmla="*/ 557212 h 1619250"/>
                      <a:gd name="connsiteX396" fmla="*/ 414749 w 1614899"/>
                      <a:gd name="connsiteY396" fmla="*/ 552450 h 1619250"/>
                      <a:gd name="connsiteX397" fmla="*/ 407606 w 1614899"/>
                      <a:gd name="connsiteY397" fmla="*/ 545306 h 1619250"/>
                      <a:gd name="connsiteX398" fmla="*/ 390937 w 1614899"/>
                      <a:gd name="connsiteY398" fmla="*/ 535781 h 1619250"/>
                      <a:gd name="connsiteX399" fmla="*/ 383793 w 1614899"/>
                      <a:gd name="connsiteY399" fmla="*/ 528637 h 1619250"/>
                      <a:gd name="connsiteX400" fmla="*/ 374268 w 1614899"/>
                      <a:gd name="connsiteY400" fmla="*/ 526256 h 1619250"/>
                      <a:gd name="connsiteX401" fmla="*/ 352837 w 1614899"/>
                      <a:gd name="connsiteY401" fmla="*/ 519112 h 1619250"/>
                      <a:gd name="connsiteX402" fmla="*/ 345693 w 1614899"/>
                      <a:gd name="connsiteY402" fmla="*/ 516731 h 1619250"/>
                      <a:gd name="connsiteX403" fmla="*/ 338549 w 1614899"/>
                      <a:gd name="connsiteY403" fmla="*/ 514350 h 1619250"/>
                      <a:gd name="connsiteX404" fmla="*/ 326643 w 1614899"/>
                      <a:gd name="connsiteY404" fmla="*/ 504825 h 1619250"/>
                      <a:gd name="connsiteX405" fmla="*/ 321881 w 1614899"/>
                      <a:gd name="connsiteY405" fmla="*/ 497681 h 1619250"/>
                      <a:gd name="connsiteX406" fmla="*/ 314737 w 1614899"/>
                      <a:gd name="connsiteY406" fmla="*/ 490537 h 1619250"/>
                      <a:gd name="connsiteX407" fmla="*/ 307593 w 1614899"/>
                      <a:gd name="connsiteY407" fmla="*/ 485775 h 1619250"/>
                      <a:gd name="connsiteX408" fmla="*/ 293306 w 1614899"/>
                      <a:gd name="connsiteY408" fmla="*/ 481012 h 1619250"/>
                      <a:gd name="connsiteX409" fmla="*/ 269493 w 1614899"/>
                      <a:gd name="connsiteY409" fmla="*/ 483394 h 1619250"/>
                      <a:gd name="connsiteX410" fmla="*/ 259968 w 1614899"/>
                      <a:gd name="connsiteY410" fmla="*/ 490537 h 1619250"/>
                      <a:gd name="connsiteX411" fmla="*/ 243299 w 1614899"/>
                      <a:gd name="connsiteY411" fmla="*/ 497681 h 1619250"/>
                      <a:gd name="connsiteX412" fmla="*/ 236156 w 1614899"/>
                      <a:gd name="connsiteY412" fmla="*/ 502444 h 1619250"/>
                      <a:gd name="connsiteX413" fmla="*/ 233774 w 1614899"/>
                      <a:gd name="connsiteY413" fmla="*/ 509587 h 1619250"/>
                      <a:gd name="connsiteX414" fmla="*/ 231393 w 1614899"/>
                      <a:gd name="connsiteY414" fmla="*/ 519112 h 1619250"/>
                      <a:gd name="connsiteX415" fmla="*/ 224249 w 1614899"/>
                      <a:gd name="connsiteY415" fmla="*/ 521494 h 1619250"/>
                      <a:gd name="connsiteX416" fmla="*/ 209962 w 1614899"/>
                      <a:gd name="connsiteY416" fmla="*/ 528637 h 1619250"/>
                      <a:gd name="connsiteX417" fmla="*/ 200437 w 1614899"/>
                      <a:gd name="connsiteY417" fmla="*/ 542925 h 1619250"/>
                      <a:gd name="connsiteX418" fmla="*/ 195674 w 1614899"/>
                      <a:gd name="connsiteY418" fmla="*/ 557212 h 1619250"/>
                      <a:gd name="connsiteX419" fmla="*/ 188531 w 1614899"/>
                      <a:gd name="connsiteY419" fmla="*/ 559594 h 1619250"/>
                      <a:gd name="connsiteX420" fmla="*/ 176624 w 1614899"/>
                      <a:gd name="connsiteY420" fmla="*/ 564356 h 1619250"/>
                      <a:gd name="connsiteX421" fmla="*/ 164718 w 1614899"/>
                      <a:gd name="connsiteY421" fmla="*/ 566737 h 1619250"/>
                      <a:gd name="connsiteX422" fmla="*/ 157574 w 1614899"/>
                      <a:gd name="connsiteY422" fmla="*/ 569119 h 1619250"/>
                      <a:gd name="connsiteX423" fmla="*/ 148049 w 1614899"/>
                      <a:gd name="connsiteY423" fmla="*/ 571500 h 1619250"/>
                      <a:gd name="connsiteX424" fmla="*/ 140906 w 1614899"/>
                      <a:gd name="connsiteY424" fmla="*/ 573881 h 1619250"/>
                      <a:gd name="connsiteX425" fmla="*/ 121856 w 1614899"/>
                      <a:gd name="connsiteY425" fmla="*/ 576262 h 1619250"/>
                      <a:gd name="connsiteX426" fmla="*/ 119474 w 1614899"/>
                      <a:gd name="connsiteY426" fmla="*/ 571500 h 1619250"/>
                      <a:gd name="connsiteX427" fmla="*/ 128999 w 1614899"/>
                      <a:gd name="connsiteY427" fmla="*/ 557212 h 1619250"/>
                      <a:gd name="connsiteX428" fmla="*/ 131381 w 1614899"/>
                      <a:gd name="connsiteY428" fmla="*/ 550069 h 1619250"/>
                      <a:gd name="connsiteX429" fmla="*/ 140906 w 1614899"/>
                      <a:gd name="connsiteY429" fmla="*/ 535781 h 1619250"/>
                      <a:gd name="connsiteX430" fmla="*/ 133762 w 1614899"/>
                      <a:gd name="connsiteY430" fmla="*/ 533400 h 1619250"/>
                      <a:gd name="connsiteX431" fmla="*/ 128999 w 1614899"/>
                      <a:gd name="connsiteY431" fmla="*/ 516731 h 1619250"/>
                      <a:gd name="connsiteX432" fmla="*/ 69468 w 1614899"/>
                      <a:gd name="connsiteY432" fmla="*/ 514350 h 1619250"/>
                      <a:gd name="connsiteX433" fmla="*/ 67087 w 1614899"/>
                      <a:gd name="connsiteY433" fmla="*/ 507206 h 1619250"/>
                      <a:gd name="connsiteX434" fmla="*/ 52799 w 1614899"/>
                      <a:gd name="connsiteY434" fmla="*/ 497681 h 1619250"/>
                      <a:gd name="connsiteX435" fmla="*/ 55181 w 1614899"/>
                      <a:gd name="connsiteY435" fmla="*/ 488156 h 1619250"/>
                      <a:gd name="connsiteX436" fmla="*/ 40893 w 1614899"/>
                      <a:gd name="connsiteY436" fmla="*/ 483394 h 1619250"/>
                      <a:gd name="connsiteX437" fmla="*/ 38512 w 1614899"/>
                      <a:gd name="connsiteY437" fmla="*/ 471487 h 1619250"/>
                      <a:gd name="connsiteX438" fmla="*/ 36131 w 1614899"/>
                      <a:gd name="connsiteY438" fmla="*/ 464344 h 1619250"/>
                      <a:gd name="connsiteX439" fmla="*/ 38512 w 1614899"/>
                      <a:gd name="connsiteY439" fmla="*/ 452437 h 1619250"/>
                      <a:gd name="connsiteX440" fmla="*/ 38512 w 1614899"/>
                      <a:gd name="connsiteY440" fmla="*/ 428625 h 1619250"/>
                      <a:gd name="connsiteX441" fmla="*/ 45656 w 1614899"/>
                      <a:gd name="connsiteY441" fmla="*/ 426244 h 1619250"/>
                      <a:gd name="connsiteX442" fmla="*/ 52799 w 1614899"/>
                      <a:gd name="connsiteY442" fmla="*/ 421481 h 1619250"/>
                      <a:gd name="connsiteX443" fmla="*/ 59943 w 1614899"/>
                      <a:gd name="connsiteY443" fmla="*/ 419100 h 1619250"/>
                      <a:gd name="connsiteX444" fmla="*/ 64706 w 1614899"/>
                      <a:gd name="connsiteY444" fmla="*/ 411956 h 1619250"/>
                      <a:gd name="connsiteX445" fmla="*/ 55181 w 1614899"/>
                      <a:gd name="connsiteY445" fmla="*/ 392906 h 1619250"/>
                      <a:gd name="connsiteX446" fmla="*/ 40893 w 1614899"/>
                      <a:gd name="connsiteY446" fmla="*/ 388144 h 1619250"/>
                      <a:gd name="connsiteX447" fmla="*/ 33749 w 1614899"/>
                      <a:gd name="connsiteY447" fmla="*/ 390525 h 1619250"/>
                      <a:gd name="connsiteX448" fmla="*/ 28987 w 1614899"/>
                      <a:gd name="connsiteY448" fmla="*/ 390525 h 1619250"/>
                      <a:gd name="connsiteX449" fmla="*/ 21843 w 1614899"/>
                      <a:gd name="connsiteY449" fmla="*/ 388144 h 1619250"/>
                      <a:gd name="connsiteX450" fmla="*/ 14699 w 1614899"/>
                      <a:gd name="connsiteY450" fmla="*/ 364331 h 1619250"/>
                      <a:gd name="connsiteX451" fmla="*/ 2793 w 1614899"/>
                      <a:gd name="connsiteY451" fmla="*/ 361950 h 1619250"/>
                      <a:gd name="connsiteX452" fmla="*/ 2793 w 1614899"/>
                      <a:gd name="connsiteY452" fmla="*/ 345281 h 1619250"/>
                      <a:gd name="connsiteX453" fmla="*/ 17081 w 1614899"/>
                      <a:gd name="connsiteY453" fmla="*/ 340519 h 1619250"/>
                      <a:gd name="connsiteX454" fmla="*/ 24224 w 1614899"/>
                      <a:gd name="connsiteY454" fmla="*/ 347662 h 1619250"/>
                      <a:gd name="connsiteX455" fmla="*/ 40893 w 1614899"/>
                      <a:gd name="connsiteY455" fmla="*/ 342900 h 1619250"/>
                      <a:gd name="connsiteX456" fmla="*/ 57562 w 1614899"/>
                      <a:gd name="connsiteY456" fmla="*/ 333375 h 1619250"/>
                      <a:gd name="connsiteX457" fmla="*/ 64706 w 1614899"/>
                      <a:gd name="connsiteY457" fmla="*/ 328612 h 1619250"/>
                      <a:gd name="connsiteX458" fmla="*/ 71849 w 1614899"/>
                      <a:gd name="connsiteY458" fmla="*/ 326231 h 1619250"/>
                      <a:gd name="connsiteX459" fmla="*/ 90899 w 1614899"/>
                      <a:gd name="connsiteY459" fmla="*/ 321469 h 1619250"/>
                      <a:gd name="connsiteX460" fmla="*/ 86137 w 1614899"/>
                      <a:gd name="connsiteY460" fmla="*/ 311944 h 1619250"/>
                      <a:gd name="connsiteX461" fmla="*/ 88518 w 1614899"/>
                      <a:gd name="connsiteY461" fmla="*/ 292894 h 1619250"/>
                      <a:gd name="connsiteX462" fmla="*/ 90899 w 1614899"/>
                      <a:gd name="connsiteY462" fmla="*/ 285750 h 1619250"/>
                      <a:gd name="connsiteX463" fmla="*/ 76612 w 1614899"/>
                      <a:gd name="connsiteY463" fmla="*/ 280987 h 1619250"/>
                      <a:gd name="connsiteX464" fmla="*/ 71849 w 1614899"/>
                      <a:gd name="connsiteY464" fmla="*/ 273844 h 1619250"/>
                      <a:gd name="connsiteX465" fmla="*/ 67087 w 1614899"/>
                      <a:gd name="connsiteY465" fmla="*/ 250031 h 1619250"/>
                      <a:gd name="connsiteX466" fmla="*/ 45656 w 1614899"/>
                      <a:gd name="connsiteY466" fmla="*/ 250031 h 1619250"/>
                      <a:gd name="connsiteX467" fmla="*/ 40893 w 1614899"/>
                      <a:gd name="connsiteY467" fmla="*/ 242887 h 1619250"/>
                      <a:gd name="connsiteX468" fmla="*/ 43274 w 1614899"/>
                      <a:gd name="connsiteY468" fmla="*/ 223837 h 1619250"/>
                      <a:gd name="connsiteX469" fmla="*/ 57562 w 1614899"/>
                      <a:gd name="connsiteY469" fmla="*/ 211931 h 1619250"/>
                      <a:gd name="connsiteX470" fmla="*/ 74231 w 1614899"/>
                      <a:gd name="connsiteY470" fmla="*/ 200025 h 1619250"/>
                      <a:gd name="connsiteX471" fmla="*/ 81374 w 1614899"/>
                      <a:gd name="connsiteY471" fmla="*/ 202406 h 1619250"/>
                      <a:gd name="connsiteX472" fmla="*/ 83756 w 1614899"/>
                      <a:gd name="connsiteY472" fmla="*/ 209550 h 1619250"/>
                      <a:gd name="connsiteX473" fmla="*/ 102806 w 1614899"/>
                      <a:gd name="connsiteY473" fmla="*/ 204787 h 1619250"/>
                      <a:gd name="connsiteX474" fmla="*/ 109949 w 1614899"/>
                      <a:gd name="connsiteY474" fmla="*/ 200025 h 1619250"/>
                      <a:gd name="connsiteX475" fmla="*/ 119474 w 1614899"/>
                      <a:gd name="connsiteY475" fmla="*/ 197644 h 1619250"/>
                      <a:gd name="connsiteX476" fmla="*/ 133762 w 1614899"/>
                      <a:gd name="connsiteY476" fmla="*/ 192881 h 1619250"/>
                      <a:gd name="connsiteX477" fmla="*/ 140906 w 1614899"/>
                      <a:gd name="connsiteY477" fmla="*/ 190500 h 1619250"/>
                      <a:gd name="connsiteX478" fmla="*/ 148049 w 1614899"/>
                      <a:gd name="connsiteY478" fmla="*/ 195262 h 1619250"/>
                      <a:gd name="connsiteX479" fmla="*/ 155193 w 1614899"/>
                      <a:gd name="connsiteY479" fmla="*/ 204787 h 1619250"/>
                      <a:gd name="connsiteX480" fmla="*/ 164718 w 1614899"/>
                      <a:gd name="connsiteY480" fmla="*/ 202406 h 1619250"/>
                      <a:gd name="connsiteX481" fmla="*/ 190912 w 1614899"/>
                      <a:gd name="connsiteY481" fmla="*/ 200025 h 1619250"/>
                      <a:gd name="connsiteX482" fmla="*/ 193293 w 1614899"/>
                      <a:gd name="connsiteY482" fmla="*/ 192881 h 1619250"/>
                      <a:gd name="connsiteX483" fmla="*/ 198056 w 1614899"/>
                      <a:gd name="connsiteY483" fmla="*/ 185737 h 1619250"/>
                      <a:gd name="connsiteX484" fmla="*/ 195674 w 1614899"/>
                      <a:gd name="connsiteY484" fmla="*/ 178594 h 1619250"/>
                      <a:gd name="connsiteX485" fmla="*/ 186149 w 1614899"/>
                      <a:gd name="connsiteY485" fmla="*/ 159544 h 1619250"/>
                      <a:gd name="connsiteX486" fmla="*/ 217106 w 1614899"/>
                      <a:gd name="connsiteY486" fmla="*/ 152400 h 1619250"/>
                      <a:gd name="connsiteX487" fmla="*/ 209962 w 1614899"/>
                      <a:gd name="connsiteY487" fmla="*/ 145256 h 1619250"/>
                      <a:gd name="connsiteX488" fmla="*/ 202818 w 1614899"/>
                      <a:gd name="connsiteY488" fmla="*/ 140494 h 1619250"/>
                      <a:gd name="connsiteX489" fmla="*/ 212343 w 1614899"/>
                      <a:gd name="connsiteY489" fmla="*/ 133350 h 1619250"/>
                      <a:gd name="connsiteX490" fmla="*/ 233774 w 1614899"/>
                      <a:gd name="connsiteY490" fmla="*/ 123825 h 1619250"/>
                      <a:gd name="connsiteX491" fmla="*/ 238537 w 1614899"/>
                      <a:gd name="connsiteY491" fmla="*/ 116681 h 1619250"/>
                      <a:gd name="connsiteX492" fmla="*/ 240918 w 1614899"/>
                      <a:gd name="connsiteY492" fmla="*/ 107156 h 1619250"/>
                      <a:gd name="connsiteX493" fmla="*/ 248062 w 1614899"/>
                      <a:gd name="connsiteY493" fmla="*/ 109537 h 1619250"/>
                      <a:gd name="connsiteX494" fmla="*/ 250443 w 1614899"/>
                      <a:gd name="connsiteY494" fmla="*/ 116681 h 1619250"/>
                      <a:gd name="connsiteX495" fmla="*/ 252824 w 1614899"/>
                      <a:gd name="connsiteY495" fmla="*/ 130969 h 1619250"/>
                      <a:gd name="connsiteX496" fmla="*/ 269493 w 1614899"/>
                      <a:gd name="connsiteY496" fmla="*/ 138112 h 1619250"/>
                      <a:gd name="connsiteX497" fmla="*/ 271874 w 1614899"/>
                      <a:gd name="connsiteY497" fmla="*/ 145256 h 1619250"/>
                      <a:gd name="connsiteX498" fmla="*/ 264731 w 1614899"/>
                      <a:gd name="connsiteY498" fmla="*/ 152400 h 1619250"/>
                      <a:gd name="connsiteX499" fmla="*/ 262349 w 1614899"/>
                      <a:gd name="connsiteY499" fmla="*/ 159544 h 1619250"/>
                      <a:gd name="connsiteX500" fmla="*/ 264731 w 1614899"/>
                      <a:gd name="connsiteY500" fmla="*/ 173831 h 1619250"/>
                      <a:gd name="connsiteX501" fmla="*/ 274256 w 1614899"/>
                      <a:gd name="connsiteY501" fmla="*/ 176212 h 1619250"/>
                      <a:gd name="connsiteX502" fmla="*/ 295687 w 1614899"/>
                      <a:gd name="connsiteY502" fmla="*/ 178594 h 1619250"/>
                      <a:gd name="connsiteX503" fmla="*/ 293306 w 1614899"/>
                      <a:gd name="connsiteY503" fmla="*/ 185737 h 1619250"/>
                      <a:gd name="connsiteX504" fmla="*/ 295687 w 1614899"/>
                      <a:gd name="connsiteY504" fmla="*/ 200025 h 1619250"/>
                      <a:gd name="connsiteX505" fmla="*/ 302831 w 1614899"/>
                      <a:gd name="connsiteY505" fmla="*/ 216694 h 1619250"/>
                      <a:gd name="connsiteX506" fmla="*/ 307593 w 1614899"/>
                      <a:gd name="connsiteY506" fmla="*/ 223837 h 1619250"/>
                      <a:gd name="connsiteX507" fmla="*/ 314737 w 1614899"/>
                      <a:gd name="connsiteY507" fmla="*/ 228600 h 1619250"/>
                      <a:gd name="connsiteX508" fmla="*/ 326643 w 1614899"/>
                      <a:gd name="connsiteY508" fmla="*/ 226219 h 1619250"/>
                      <a:gd name="connsiteX509" fmla="*/ 321881 w 1614899"/>
                      <a:gd name="connsiteY509" fmla="*/ 200025 h 1619250"/>
                      <a:gd name="connsiteX510" fmla="*/ 314737 w 1614899"/>
                      <a:gd name="connsiteY510" fmla="*/ 197644 h 1619250"/>
                      <a:gd name="connsiteX511" fmla="*/ 324262 w 1614899"/>
                      <a:gd name="connsiteY511" fmla="*/ 180975 h 1619250"/>
                      <a:gd name="connsiteX512" fmla="*/ 329024 w 1614899"/>
                      <a:gd name="connsiteY512" fmla="*/ 173831 h 1619250"/>
                      <a:gd name="connsiteX513" fmla="*/ 343312 w 1614899"/>
                      <a:gd name="connsiteY513" fmla="*/ 159544 h 1619250"/>
                      <a:gd name="connsiteX514" fmla="*/ 348074 w 1614899"/>
                      <a:gd name="connsiteY514" fmla="*/ 145256 h 1619250"/>
                      <a:gd name="connsiteX515" fmla="*/ 350456 w 1614899"/>
                      <a:gd name="connsiteY515" fmla="*/ 114300 h 1619250"/>
                      <a:gd name="connsiteX516" fmla="*/ 357599 w 1614899"/>
                      <a:gd name="connsiteY516" fmla="*/ 111919 h 1619250"/>
                      <a:gd name="connsiteX517" fmla="*/ 364743 w 1614899"/>
                      <a:gd name="connsiteY517" fmla="*/ 114300 h 1619250"/>
                      <a:gd name="connsiteX518" fmla="*/ 371887 w 1614899"/>
                      <a:gd name="connsiteY518" fmla="*/ 114300 h 1619250"/>
                      <a:gd name="connsiteX519" fmla="*/ 381412 w 1614899"/>
                      <a:gd name="connsiteY519" fmla="*/ 138112 h 1619250"/>
                      <a:gd name="connsiteX520" fmla="*/ 395699 w 1614899"/>
                      <a:gd name="connsiteY520" fmla="*/ 150019 h 1619250"/>
                      <a:gd name="connsiteX521" fmla="*/ 409987 w 1614899"/>
                      <a:gd name="connsiteY521" fmla="*/ 147637 h 1619250"/>
                      <a:gd name="connsiteX522" fmla="*/ 412368 w 1614899"/>
                      <a:gd name="connsiteY522" fmla="*/ 133350 h 1619250"/>
                      <a:gd name="connsiteX523" fmla="*/ 426656 w 1614899"/>
                      <a:gd name="connsiteY523" fmla="*/ 128587 h 1619250"/>
                      <a:gd name="connsiteX524" fmla="*/ 433799 w 1614899"/>
                      <a:gd name="connsiteY524" fmla="*/ 142875 h 1619250"/>
                      <a:gd name="connsiteX525" fmla="*/ 448087 w 1614899"/>
                      <a:gd name="connsiteY525" fmla="*/ 161925 h 1619250"/>
                      <a:gd name="connsiteX526" fmla="*/ 464756 w 1614899"/>
                      <a:gd name="connsiteY526" fmla="*/ 159544 h 1619250"/>
                      <a:gd name="connsiteX527" fmla="*/ 452849 w 1614899"/>
                      <a:gd name="connsiteY527" fmla="*/ 138112 h 1619250"/>
                      <a:gd name="connsiteX528" fmla="*/ 450468 w 1614899"/>
                      <a:gd name="connsiteY528" fmla="*/ 111919 h 1619250"/>
                      <a:gd name="connsiteX529" fmla="*/ 443324 w 1614899"/>
                      <a:gd name="connsiteY529" fmla="*/ 107156 h 1619250"/>
                      <a:gd name="connsiteX530" fmla="*/ 440943 w 1614899"/>
                      <a:gd name="connsiteY530" fmla="*/ 100012 h 1619250"/>
                      <a:gd name="connsiteX531" fmla="*/ 450468 w 1614899"/>
                      <a:gd name="connsiteY531" fmla="*/ 88106 h 1619250"/>
                      <a:gd name="connsiteX532" fmla="*/ 476662 w 1614899"/>
                      <a:gd name="connsiteY532" fmla="*/ 90487 h 1619250"/>
                      <a:gd name="connsiteX533" fmla="*/ 486187 w 1614899"/>
                      <a:gd name="connsiteY533" fmla="*/ 92869 h 1619250"/>
                      <a:gd name="connsiteX534" fmla="*/ 493331 w 1614899"/>
                      <a:gd name="connsiteY534" fmla="*/ 97631 h 1619250"/>
                      <a:gd name="connsiteX535" fmla="*/ 502856 w 1614899"/>
                      <a:gd name="connsiteY535" fmla="*/ 95250 h 1619250"/>
                      <a:gd name="connsiteX536" fmla="*/ 509999 w 1614899"/>
                      <a:gd name="connsiteY536" fmla="*/ 90487 h 1619250"/>
                      <a:gd name="connsiteX537" fmla="*/ 507618 w 1614899"/>
                      <a:gd name="connsiteY537" fmla="*/ 83344 h 1619250"/>
                      <a:gd name="connsiteX538" fmla="*/ 500474 w 1614899"/>
                      <a:gd name="connsiteY538" fmla="*/ 80962 h 1619250"/>
                      <a:gd name="connsiteX539" fmla="*/ 493331 w 1614899"/>
                      <a:gd name="connsiteY539" fmla="*/ 76200 h 1619250"/>
                      <a:gd name="connsiteX540" fmla="*/ 495712 w 1614899"/>
                      <a:gd name="connsiteY540"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19549 w 1614899"/>
                      <a:gd name="connsiteY86" fmla="*/ 328612 h 1619250"/>
                      <a:gd name="connsiteX87" fmla="*/ 714787 w 1614899"/>
                      <a:gd name="connsiteY87" fmla="*/ 335756 h 1619250"/>
                      <a:gd name="connsiteX88" fmla="*/ 717168 w 1614899"/>
                      <a:gd name="connsiteY88" fmla="*/ 342900 h 1619250"/>
                      <a:gd name="connsiteX89" fmla="*/ 721931 w 1614899"/>
                      <a:gd name="connsiteY89" fmla="*/ 347662 h 1619250"/>
                      <a:gd name="connsiteX90" fmla="*/ 733837 w 1614899"/>
                      <a:gd name="connsiteY90" fmla="*/ 357187 h 1619250"/>
                      <a:gd name="connsiteX91" fmla="*/ 740981 w 1614899"/>
                      <a:gd name="connsiteY91" fmla="*/ 354806 h 1619250"/>
                      <a:gd name="connsiteX92" fmla="*/ 755268 w 1614899"/>
                      <a:gd name="connsiteY92" fmla="*/ 350044 h 1619250"/>
                      <a:gd name="connsiteX93" fmla="*/ 752887 w 1614899"/>
                      <a:gd name="connsiteY93" fmla="*/ 359569 h 1619250"/>
                      <a:gd name="connsiteX94" fmla="*/ 755268 w 1614899"/>
                      <a:gd name="connsiteY94" fmla="*/ 371475 h 1619250"/>
                      <a:gd name="connsiteX95" fmla="*/ 762412 w 1614899"/>
                      <a:gd name="connsiteY95" fmla="*/ 373856 h 1619250"/>
                      <a:gd name="connsiteX96" fmla="*/ 745743 w 1614899"/>
                      <a:gd name="connsiteY96" fmla="*/ 390525 h 1619250"/>
                      <a:gd name="connsiteX97" fmla="*/ 750506 w 1614899"/>
                      <a:gd name="connsiteY97" fmla="*/ 397669 h 1619250"/>
                      <a:gd name="connsiteX98" fmla="*/ 745743 w 1614899"/>
                      <a:gd name="connsiteY98" fmla="*/ 411956 h 1619250"/>
                      <a:gd name="connsiteX99" fmla="*/ 731456 w 1614899"/>
                      <a:gd name="connsiteY99" fmla="*/ 404812 h 1619250"/>
                      <a:gd name="connsiteX100" fmla="*/ 724312 w 1614899"/>
                      <a:gd name="connsiteY100" fmla="*/ 409575 h 1619250"/>
                      <a:gd name="connsiteX101" fmla="*/ 721931 w 1614899"/>
                      <a:gd name="connsiteY101" fmla="*/ 416719 h 1619250"/>
                      <a:gd name="connsiteX102" fmla="*/ 736218 w 1614899"/>
                      <a:gd name="connsiteY102" fmla="*/ 426244 h 1619250"/>
                      <a:gd name="connsiteX103" fmla="*/ 731456 w 1614899"/>
                      <a:gd name="connsiteY103" fmla="*/ 442912 h 1619250"/>
                      <a:gd name="connsiteX104" fmla="*/ 729074 w 1614899"/>
                      <a:gd name="connsiteY104" fmla="*/ 450056 h 1619250"/>
                      <a:gd name="connsiteX105" fmla="*/ 731456 w 1614899"/>
                      <a:gd name="connsiteY105" fmla="*/ 481012 h 1619250"/>
                      <a:gd name="connsiteX106" fmla="*/ 736218 w 1614899"/>
                      <a:gd name="connsiteY106" fmla="*/ 488156 h 1619250"/>
                      <a:gd name="connsiteX107" fmla="*/ 743362 w 1614899"/>
                      <a:gd name="connsiteY107" fmla="*/ 509587 h 1619250"/>
                      <a:gd name="connsiteX108" fmla="*/ 745743 w 1614899"/>
                      <a:gd name="connsiteY108" fmla="*/ 516731 h 1619250"/>
                      <a:gd name="connsiteX109" fmla="*/ 760031 w 1614899"/>
                      <a:gd name="connsiteY109" fmla="*/ 526256 h 1619250"/>
                      <a:gd name="connsiteX110" fmla="*/ 764793 w 1614899"/>
                      <a:gd name="connsiteY110" fmla="*/ 533400 h 1619250"/>
                      <a:gd name="connsiteX111" fmla="*/ 769556 w 1614899"/>
                      <a:gd name="connsiteY111" fmla="*/ 547687 h 1619250"/>
                      <a:gd name="connsiteX112" fmla="*/ 769556 w 1614899"/>
                      <a:gd name="connsiteY112" fmla="*/ 542925 h 1619250"/>
                      <a:gd name="connsiteX113" fmla="*/ 776699 w 1614899"/>
                      <a:gd name="connsiteY113" fmla="*/ 550069 h 1619250"/>
                      <a:gd name="connsiteX114" fmla="*/ 793368 w 1614899"/>
                      <a:gd name="connsiteY114" fmla="*/ 552450 h 1619250"/>
                      <a:gd name="connsiteX115" fmla="*/ 807656 w 1614899"/>
                      <a:gd name="connsiteY115" fmla="*/ 557212 h 1619250"/>
                      <a:gd name="connsiteX116" fmla="*/ 814799 w 1614899"/>
                      <a:gd name="connsiteY116" fmla="*/ 559594 h 1619250"/>
                      <a:gd name="connsiteX117" fmla="*/ 821943 w 1614899"/>
                      <a:gd name="connsiteY117" fmla="*/ 566737 h 1619250"/>
                      <a:gd name="connsiteX118" fmla="*/ 829087 w 1614899"/>
                      <a:gd name="connsiteY118" fmla="*/ 569119 h 1619250"/>
                      <a:gd name="connsiteX119" fmla="*/ 836231 w 1614899"/>
                      <a:gd name="connsiteY119" fmla="*/ 573881 h 1619250"/>
                      <a:gd name="connsiteX120" fmla="*/ 843374 w 1614899"/>
                      <a:gd name="connsiteY120" fmla="*/ 588169 h 1619250"/>
                      <a:gd name="connsiteX121" fmla="*/ 852899 w 1614899"/>
                      <a:gd name="connsiteY121" fmla="*/ 597694 h 1619250"/>
                      <a:gd name="connsiteX122" fmla="*/ 902906 w 1614899"/>
                      <a:gd name="connsiteY122" fmla="*/ 604837 h 1619250"/>
                      <a:gd name="connsiteX123" fmla="*/ 914812 w 1614899"/>
                      <a:gd name="connsiteY123" fmla="*/ 626269 h 1619250"/>
                      <a:gd name="connsiteX124" fmla="*/ 919574 w 1614899"/>
                      <a:gd name="connsiteY124" fmla="*/ 633412 h 1619250"/>
                      <a:gd name="connsiteX125" fmla="*/ 919574 w 1614899"/>
                      <a:gd name="connsiteY125" fmla="*/ 671512 h 1619250"/>
                      <a:gd name="connsiteX126" fmla="*/ 926718 w 1614899"/>
                      <a:gd name="connsiteY126" fmla="*/ 676275 h 1619250"/>
                      <a:gd name="connsiteX127" fmla="*/ 933862 w 1614899"/>
                      <a:gd name="connsiteY127" fmla="*/ 690562 h 1619250"/>
                      <a:gd name="connsiteX128" fmla="*/ 936243 w 1614899"/>
                      <a:gd name="connsiteY128" fmla="*/ 702469 h 1619250"/>
                      <a:gd name="connsiteX129" fmla="*/ 943387 w 1614899"/>
                      <a:gd name="connsiteY129" fmla="*/ 709612 h 1619250"/>
                      <a:gd name="connsiteX130" fmla="*/ 945768 w 1614899"/>
                      <a:gd name="connsiteY130" fmla="*/ 723900 h 1619250"/>
                      <a:gd name="connsiteX131" fmla="*/ 955293 w 1614899"/>
                      <a:gd name="connsiteY131" fmla="*/ 738187 h 1619250"/>
                      <a:gd name="connsiteX132" fmla="*/ 964818 w 1614899"/>
                      <a:gd name="connsiteY132" fmla="*/ 752475 h 1619250"/>
                      <a:gd name="connsiteX133" fmla="*/ 967199 w 1614899"/>
                      <a:gd name="connsiteY133" fmla="*/ 759619 h 1619250"/>
                      <a:gd name="connsiteX134" fmla="*/ 974343 w 1614899"/>
                      <a:gd name="connsiteY134" fmla="*/ 769144 h 1619250"/>
                      <a:gd name="connsiteX135" fmla="*/ 979106 w 1614899"/>
                      <a:gd name="connsiteY135" fmla="*/ 783431 h 1619250"/>
                      <a:gd name="connsiteX136" fmla="*/ 981487 w 1614899"/>
                      <a:gd name="connsiteY136" fmla="*/ 790575 h 1619250"/>
                      <a:gd name="connsiteX137" fmla="*/ 991012 w 1614899"/>
                      <a:gd name="connsiteY137" fmla="*/ 804862 h 1619250"/>
                      <a:gd name="connsiteX138" fmla="*/ 998156 w 1614899"/>
                      <a:gd name="connsiteY138" fmla="*/ 819150 h 1619250"/>
                      <a:gd name="connsiteX139" fmla="*/ 1000537 w 1614899"/>
                      <a:gd name="connsiteY139" fmla="*/ 826294 h 1619250"/>
                      <a:gd name="connsiteX140" fmla="*/ 1007681 w 1614899"/>
                      <a:gd name="connsiteY140" fmla="*/ 828675 h 1619250"/>
                      <a:gd name="connsiteX141" fmla="*/ 1014824 w 1614899"/>
                      <a:gd name="connsiteY141" fmla="*/ 833437 h 1619250"/>
                      <a:gd name="connsiteX142" fmla="*/ 1029112 w 1614899"/>
                      <a:gd name="connsiteY142" fmla="*/ 838200 h 1619250"/>
                      <a:gd name="connsiteX143" fmla="*/ 1033874 w 1614899"/>
                      <a:gd name="connsiteY143" fmla="*/ 845344 h 1619250"/>
                      <a:gd name="connsiteX144" fmla="*/ 1048162 w 1614899"/>
                      <a:gd name="connsiteY144" fmla="*/ 857250 h 1619250"/>
                      <a:gd name="connsiteX145" fmla="*/ 1062449 w 1614899"/>
                      <a:gd name="connsiteY145" fmla="*/ 862012 h 1619250"/>
                      <a:gd name="connsiteX146" fmla="*/ 1079118 w 1614899"/>
                      <a:gd name="connsiteY146" fmla="*/ 883444 h 1619250"/>
                      <a:gd name="connsiteX147" fmla="*/ 1081499 w 1614899"/>
                      <a:gd name="connsiteY147" fmla="*/ 890587 h 1619250"/>
                      <a:gd name="connsiteX148" fmla="*/ 1095787 w 1614899"/>
                      <a:gd name="connsiteY148" fmla="*/ 883444 h 1619250"/>
                      <a:gd name="connsiteX149" fmla="*/ 1110074 w 1614899"/>
                      <a:gd name="connsiteY149" fmla="*/ 890587 h 1619250"/>
                      <a:gd name="connsiteX150" fmla="*/ 1121981 w 1614899"/>
                      <a:gd name="connsiteY150" fmla="*/ 902494 h 1619250"/>
                      <a:gd name="connsiteX151" fmla="*/ 1136268 w 1614899"/>
                      <a:gd name="connsiteY151" fmla="*/ 907256 h 1619250"/>
                      <a:gd name="connsiteX152" fmla="*/ 1176749 w 1614899"/>
                      <a:gd name="connsiteY152" fmla="*/ 904875 h 1619250"/>
                      <a:gd name="connsiteX153" fmla="*/ 1195799 w 1614899"/>
                      <a:gd name="connsiteY153" fmla="*/ 904875 h 1619250"/>
                      <a:gd name="connsiteX154" fmla="*/ 1207706 w 1614899"/>
                      <a:gd name="connsiteY154" fmla="*/ 912019 h 1619250"/>
                      <a:gd name="connsiteX155" fmla="*/ 1210087 w 1614899"/>
                      <a:gd name="connsiteY155" fmla="*/ 902494 h 1619250"/>
                      <a:gd name="connsiteX156" fmla="*/ 1219612 w 1614899"/>
                      <a:gd name="connsiteY156" fmla="*/ 900112 h 1619250"/>
                      <a:gd name="connsiteX157" fmla="*/ 1226756 w 1614899"/>
                      <a:gd name="connsiteY157" fmla="*/ 895350 h 1619250"/>
                      <a:gd name="connsiteX158" fmla="*/ 1241043 w 1614899"/>
                      <a:gd name="connsiteY158" fmla="*/ 890587 h 1619250"/>
                      <a:gd name="connsiteX159" fmla="*/ 1255331 w 1614899"/>
                      <a:gd name="connsiteY159" fmla="*/ 892969 h 1619250"/>
                      <a:gd name="connsiteX160" fmla="*/ 1260093 w 1614899"/>
                      <a:gd name="connsiteY160" fmla="*/ 900112 h 1619250"/>
                      <a:gd name="connsiteX161" fmla="*/ 1267237 w 1614899"/>
                      <a:gd name="connsiteY161" fmla="*/ 904875 h 1619250"/>
                      <a:gd name="connsiteX162" fmla="*/ 1271999 w 1614899"/>
                      <a:gd name="connsiteY162" fmla="*/ 919162 h 1619250"/>
                      <a:gd name="connsiteX163" fmla="*/ 1269618 w 1614899"/>
                      <a:gd name="connsiteY163" fmla="*/ 928687 h 1619250"/>
                      <a:gd name="connsiteX164" fmla="*/ 1262474 w 1614899"/>
                      <a:gd name="connsiteY164" fmla="*/ 933450 h 1619250"/>
                      <a:gd name="connsiteX165" fmla="*/ 1255331 w 1614899"/>
                      <a:gd name="connsiteY165" fmla="*/ 940594 h 1619250"/>
                      <a:gd name="connsiteX166" fmla="*/ 1248187 w 1614899"/>
                      <a:gd name="connsiteY166" fmla="*/ 942975 h 1619250"/>
                      <a:gd name="connsiteX167" fmla="*/ 1241043 w 1614899"/>
                      <a:gd name="connsiteY167" fmla="*/ 947737 h 1619250"/>
                      <a:gd name="connsiteX168" fmla="*/ 1226756 w 1614899"/>
                      <a:gd name="connsiteY168" fmla="*/ 954881 h 1619250"/>
                      <a:gd name="connsiteX169" fmla="*/ 1236281 w 1614899"/>
                      <a:gd name="connsiteY169" fmla="*/ 969169 h 1619250"/>
                      <a:gd name="connsiteX170" fmla="*/ 1241043 w 1614899"/>
                      <a:gd name="connsiteY170" fmla="*/ 983456 h 1619250"/>
                      <a:gd name="connsiteX171" fmla="*/ 1250568 w 1614899"/>
                      <a:gd name="connsiteY171" fmla="*/ 997744 h 1619250"/>
                      <a:gd name="connsiteX172" fmla="*/ 1262474 w 1614899"/>
                      <a:gd name="connsiteY172" fmla="*/ 997744 h 1619250"/>
                      <a:gd name="connsiteX173" fmla="*/ 1264856 w 1614899"/>
                      <a:gd name="connsiteY173" fmla="*/ 990600 h 1619250"/>
                      <a:gd name="connsiteX174" fmla="*/ 1283906 w 1614899"/>
                      <a:gd name="connsiteY174" fmla="*/ 995362 h 1619250"/>
                      <a:gd name="connsiteX175" fmla="*/ 1291049 w 1614899"/>
                      <a:gd name="connsiteY175" fmla="*/ 1000125 h 1619250"/>
                      <a:gd name="connsiteX176" fmla="*/ 1298193 w 1614899"/>
                      <a:gd name="connsiteY176" fmla="*/ 1002506 h 1619250"/>
                      <a:gd name="connsiteX177" fmla="*/ 1322006 w 1614899"/>
                      <a:gd name="connsiteY177" fmla="*/ 1007269 h 1619250"/>
                      <a:gd name="connsiteX178" fmla="*/ 1336293 w 1614899"/>
                      <a:gd name="connsiteY178" fmla="*/ 1012031 h 1619250"/>
                      <a:gd name="connsiteX179" fmla="*/ 1355343 w 1614899"/>
                      <a:gd name="connsiteY179" fmla="*/ 1016794 h 1619250"/>
                      <a:gd name="connsiteX180" fmla="*/ 1362487 w 1614899"/>
                      <a:gd name="connsiteY180" fmla="*/ 1023937 h 1619250"/>
                      <a:gd name="connsiteX181" fmla="*/ 1376774 w 1614899"/>
                      <a:gd name="connsiteY181" fmla="*/ 1028700 h 1619250"/>
                      <a:gd name="connsiteX182" fmla="*/ 1391062 w 1614899"/>
                      <a:gd name="connsiteY182" fmla="*/ 1033462 h 1619250"/>
                      <a:gd name="connsiteX183" fmla="*/ 1398206 w 1614899"/>
                      <a:gd name="connsiteY183" fmla="*/ 1035844 h 1619250"/>
                      <a:gd name="connsiteX184" fmla="*/ 1405349 w 1614899"/>
                      <a:gd name="connsiteY184" fmla="*/ 1038225 h 1619250"/>
                      <a:gd name="connsiteX185" fmla="*/ 1412493 w 1614899"/>
                      <a:gd name="connsiteY185" fmla="*/ 1042987 h 1619250"/>
                      <a:gd name="connsiteX186" fmla="*/ 1426781 w 1614899"/>
                      <a:gd name="connsiteY186" fmla="*/ 1050131 h 1619250"/>
                      <a:gd name="connsiteX187" fmla="*/ 1436306 w 1614899"/>
                      <a:gd name="connsiteY187" fmla="*/ 1062037 h 1619250"/>
                      <a:gd name="connsiteX188" fmla="*/ 1441068 w 1614899"/>
                      <a:gd name="connsiteY188" fmla="*/ 1069181 h 1619250"/>
                      <a:gd name="connsiteX189" fmla="*/ 1450593 w 1614899"/>
                      <a:gd name="connsiteY189" fmla="*/ 1071562 h 1619250"/>
                      <a:gd name="connsiteX190" fmla="*/ 1464881 w 1614899"/>
                      <a:gd name="connsiteY190" fmla="*/ 1076325 h 1619250"/>
                      <a:gd name="connsiteX191" fmla="*/ 1467262 w 1614899"/>
                      <a:gd name="connsiteY191" fmla="*/ 1083469 h 1619250"/>
                      <a:gd name="connsiteX192" fmla="*/ 1488693 w 1614899"/>
                      <a:gd name="connsiteY192" fmla="*/ 1092994 h 1619250"/>
                      <a:gd name="connsiteX193" fmla="*/ 1500599 w 1614899"/>
                      <a:gd name="connsiteY193" fmla="*/ 1095375 h 1619250"/>
                      <a:gd name="connsiteX194" fmla="*/ 1514887 w 1614899"/>
                      <a:gd name="connsiteY194" fmla="*/ 1097756 h 1619250"/>
                      <a:gd name="connsiteX195" fmla="*/ 1522031 w 1614899"/>
                      <a:gd name="connsiteY195" fmla="*/ 1100137 h 1619250"/>
                      <a:gd name="connsiteX196" fmla="*/ 1541081 w 1614899"/>
                      <a:gd name="connsiteY196" fmla="*/ 1104900 h 1619250"/>
                      <a:gd name="connsiteX197" fmla="*/ 1545843 w 1614899"/>
                      <a:gd name="connsiteY197" fmla="*/ 1112044 h 1619250"/>
                      <a:gd name="connsiteX198" fmla="*/ 1543462 w 1614899"/>
                      <a:gd name="connsiteY198" fmla="*/ 1119187 h 1619250"/>
                      <a:gd name="connsiteX199" fmla="*/ 1557749 w 1614899"/>
                      <a:gd name="connsiteY199" fmla="*/ 1128712 h 1619250"/>
                      <a:gd name="connsiteX200" fmla="*/ 1564893 w 1614899"/>
                      <a:gd name="connsiteY200" fmla="*/ 1133475 h 1619250"/>
                      <a:gd name="connsiteX201" fmla="*/ 1579181 w 1614899"/>
                      <a:gd name="connsiteY201" fmla="*/ 1147762 h 1619250"/>
                      <a:gd name="connsiteX202" fmla="*/ 1593468 w 1614899"/>
                      <a:gd name="connsiteY202" fmla="*/ 1152525 h 1619250"/>
                      <a:gd name="connsiteX203" fmla="*/ 1600612 w 1614899"/>
                      <a:gd name="connsiteY203" fmla="*/ 1154906 h 1619250"/>
                      <a:gd name="connsiteX204" fmla="*/ 1607756 w 1614899"/>
                      <a:gd name="connsiteY204" fmla="*/ 1162050 h 1619250"/>
                      <a:gd name="connsiteX205" fmla="*/ 1610137 w 1614899"/>
                      <a:gd name="connsiteY205" fmla="*/ 1169194 h 1619250"/>
                      <a:gd name="connsiteX206" fmla="*/ 1614899 w 1614899"/>
                      <a:gd name="connsiteY206" fmla="*/ 1176337 h 1619250"/>
                      <a:gd name="connsiteX207" fmla="*/ 1612518 w 1614899"/>
                      <a:gd name="connsiteY207" fmla="*/ 1195387 h 1619250"/>
                      <a:gd name="connsiteX208" fmla="*/ 1610137 w 1614899"/>
                      <a:gd name="connsiteY208" fmla="*/ 1202531 h 1619250"/>
                      <a:gd name="connsiteX209" fmla="*/ 1602993 w 1614899"/>
                      <a:gd name="connsiteY209" fmla="*/ 1204912 h 1619250"/>
                      <a:gd name="connsiteX210" fmla="*/ 1600612 w 1614899"/>
                      <a:gd name="connsiteY210" fmla="*/ 1212056 h 1619250"/>
                      <a:gd name="connsiteX211" fmla="*/ 1598231 w 1614899"/>
                      <a:gd name="connsiteY211" fmla="*/ 1247775 h 1619250"/>
                      <a:gd name="connsiteX212" fmla="*/ 1579181 w 1614899"/>
                      <a:gd name="connsiteY212" fmla="*/ 1245394 h 1619250"/>
                      <a:gd name="connsiteX213" fmla="*/ 1550606 w 1614899"/>
                      <a:gd name="connsiteY213" fmla="*/ 1231106 h 1619250"/>
                      <a:gd name="connsiteX214" fmla="*/ 1543462 w 1614899"/>
                      <a:gd name="connsiteY214" fmla="*/ 1226344 h 1619250"/>
                      <a:gd name="connsiteX215" fmla="*/ 1543462 w 1614899"/>
                      <a:gd name="connsiteY215" fmla="*/ 1197769 h 1619250"/>
                      <a:gd name="connsiteX216" fmla="*/ 1545843 w 1614899"/>
                      <a:gd name="connsiteY216" fmla="*/ 1183481 h 1619250"/>
                      <a:gd name="connsiteX217" fmla="*/ 1531556 w 1614899"/>
                      <a:gd name="connsiteY217" fmla="*/ 1176337 h 1619250"/>
                      <a:gd name="connsiteX218" fmla="*/ 1529174 w 1614899"/>
                      <a:gd name="connsiteY218" fmla="*/ 1169194 h 1619250"/>
                      <a:gd name="connsiteX219" fmla="*/ 1531556 w 1614899"/>
                      <a:gd name="connsiteY219" fmla="*/ 1152525 h 1619250"/>
                      <a:gd name="connsiteX220" fmla="*/ 1524412 w 1614899"/>
                      <a:gd name="connsiteY220" fmla="*/ 1154906 h 1619250"/>
                      <a:gd name="connsiteX221" fmla="*/ 1517268 w 1614899"/>
                      <a:gd name="connsiteY221" fmla="*/ 1159669 h 1619250"/>
                      <a:gd name="connsiteX222" fmla="*/ 1502981 w 1614899"/>
                      <a:gd name="connsiteY222" fmla="*/ 1164431 h 1619250"/>
                      <a:gd name="connsiteX223" fmla="*/ 1481549 w 1614899"/>
                      <a:gd name="connsiteY223" fmla="*/ 1169194 h 1619250"/>
                      <a:gd name="connsiteX224" fmla="*/ 1457737 w 1614899"/>
                      <a:gd name="connsiteY224" fmla="*/ 1164431 h 1619250"/>
                      <a:gd name="connsiteX225" fmla="*/ 1443449 w 1614899"/>
                      <a:gd name="connsiteY225" fmla="*/ 1154906 h 1619250"/>
                      <a:gd name="connsiteX226" fmla="*/ 1436306 w 1614899"/>
                      <a:gd name="connsiteY226" fmla="*/ 1150144 h 1619250"/>
                      <a:gd name="connsiteX227" fmla="*/ 1426781 w 1614899"/>
                      <a:gd name="connsiteY227" fmla="*/ 1140619 h 1619250"/>
                      <a:gd name="connsiteX228" fmla="*/ 1402968 w 1614899"/>
                      <a:gd name="connsiteY228" fmla="*/ 1138237 h 1619250"/>
                      <a:gd name="connsiteX229" fmla="*/ 1395824 w 1614899"/>
                      <a:gd name="connsiteY229" fmla="*/ 1145381 h 1619250"/>
                      <a:gd name="connsiteX230" fmla="*/ 1374393 w 1614899"/>
                      <a:gd name="connsiteY230" fmla="*/ 1162050 h 1619250"/>
                      <a:gd name="connsiteX231" fmla="*/ 1367249 w 1614899"/>
                      <a:gd name="connsiteY231" fmla="*/ 1188244 h 1619250"/>
                      <a:gd name="connsiteX232" fmla="*/ 1357724 w 1614899"/>
                      <a:gd name="connsiteY232" fmla="*/ 1202531 h 1619250"/>
                      <a:gd name="connsiteX233" fmla="*/ 1348199 w 1614899"/>
                      <a:gd name="connsiteY233" fmla="*/ 1212056 h 1619250"/>
                      <a:gd name="connsiteX234" fmla="*/ 1345818 w 1614899"/>
                      <a:gd name="connsiteY234" fmla="*/ 1219200 h 1619250"/>
                      <a:gd name="connsiteX235" fmla="*/ 1341056 w 1614899"/>
                      <a:gd name="connsiteY235" fmla="*/ 1228725 h 1619250"/>
                      <a:gd name="connsiteX236" fmla="*/ 1350581 w 1614899"/>
                      <a:gd name="connsiteY236" fmla="*/ 1243012 h 1619250"/>
                      <a:gd name="connsiteX237" fmla="*/ 1343437 w 1614899"/>
                      <a:gd name="connsiteY237" fmla="*/ 1266825 h 1619250"/>
                      <a:gd name="connsiteX238" fmla="*/ 1345818 w 1614899"/>
                      <a:gd name="connsiteY238" fmla="*/ 1281112 h 1619250"/>
                      <a:gd name="connsiteX239" fmla="*/ 1348199 w 1614899"/>
                      <a:gd name="connsiteY239" fmla="*/ 1290637 h 1619250"/>
                      <a:gd name="connsiteX240" fmla="*/ 1355343 w 1614899"/>
                      <a:gd name="connsiteY240" fmla="*/ 1297781 h 1619250"/>
                      <a:gd name="connsiteX241" fmla="*/ 1362487 w 1614899"/>
                      <a:gd name="connsiteY241" fmla="*/ 1300162 h 1619250"/>
                      <a:gd name="connsiteX242" fmla="*/ 1386299 w 1614899"/>
                      <a:gd name="connsiteY242" fmla="*/ 1302544 h 1619250"/>
                      <a:gd name="connsiteX243" fmla="*/ 1395824 w 1614899"/>
                      <a:gd name="connsiteY243" fmla="*/ 1309687 h 1619250"/>
                      <a:gd name="connsiteX244" fmla="*/ 1410112 w 1614899"/>
                      <a:gd name="connsiteY244" fmla="*/ 1314450 h 1619250"/>
                      <a:gd name="connsiteX245" fmla="*/ 1417256 w 1614899"/>
                      <a:gd name="connsiteY245" fmla="*/ 1319212 h 1619250"/>
                      <a:gd name="connsiteX246" fmla="*/ 1431543 w 1614899"/>
                      <a:gd name="connsiteY246" fmla="*/ 1326356 h 1619250"/>
                      <a:gd name="connsiteX247" fmla="*/ 1433924 w 1614899"/>
                      <a:gd name="connsiteY247" fmla="*/ 1333500 h 1619250"/>
                      <a:gd name="connsiteX248" fmla="*/ 1429162 w 1614899"/>
                      <a:gd name="connsiteY248" fmla="*/ 1340644 h 1619250"/>
                      <a:gd name="connsiteX249" fmla="*/ 1426781 w 1614899"/>
                      <a:gd name="connsiteY249" fmla="*/ 1347787 h 1619250"/>
                      <a:gd name="connsiteX250" fmla="*/ 1431543 w 1614899"/>
                      <a:gd name="connsiteY250" fmla="*/ 1354931 h 1619250"/>
                      <a:gd name="connsiteX251" fmla="*/ 1436306 w 1614899"/>
                      <a:gd name="connsiteY251" fmla="*/ 1364456 h 1619250"/>
                      <a:gd name="connsiteX252" fmla="*/ 1443449 w 1614899"/>
                      <a:gd name="connsiteY252" fmla="*/ 1395412 h 1619250"/>
                      <a:gd name="connsiteX253" fmla="*/ 1450593 w 1614899"/>
                      <a:gd name="connsiteY253" fmla="*/ 1402556 h 1619250"/>
                      <a:gd name="connsiteX254" fmla="*/ 1448212 w 1614899"/>
                      <a:gd name="connsiteY254" fmla="*/ 1412081 h 1619250"/>
                      <a:gd name="connsiteX255" fmla="*/ 1433924 w 1614899"/>
                      <a:gd name="connsiteY255" fmla="*/ 1416844 h 1619250"/>
                      <a:gd name="connsiteX256" fmla="*/ 1419637 w 1614899"/>
                      <a:gd name="connsiteY256" fmla="*/ 1423987 h 1619250"/>
                      <a:gd name="connsiteX257" fmla="*/ 1405349 w 1614899"/>
                      <a:gd name="connsiteY257" fmla="*/ 1431131 h 1619250"/>
                      <a:gd name="connsiteX258" fmla="*/ 1398206 w 1614899"/>
                      <a:gd name="connsiteY258" fmla="*/ 1435894 h 1619250"/>
                      <a:gd name="connsiteX259" fmla="*/ 1383918 w 1614899"/>
                      <a:gd name="connsiteY259" fmla="*/ 1440656 h 1619250"/>
                      <a:gd name="connsiteX260" fmla="*/ 1376774 w 1614899"/>
                      <a:gd name="connsiteY260" fmla="*/ 1443037 h 1619250"/>
                      <a:gd name="connsiteX261" fmla="*/ 1364868 w 1614899"/>
                      <a:gd name="connsiteY261" fmla="*/ 1464469 h 1619250"/>
                      <a:gd name="connsiteX262" fmla="*/ 1362487 w 1614899"/>
                      <a:gd name="connsiteY262" fmla="*/ 1473994 h 1619250"/>
                      <a:gd name="connsiteX263" fmla="*/ 1364868 w 1614899"/>
                      <a:gd name="connsiteY263" fmla="*/ 1497806 h 1619250"/>
                      <a:gd name="connsiteX264" fmla="*/ 1372012 w 1614899"/>
                      <a:gd name="connsiteY264" fmla="*/ 1500187 h 1619250"/>
                      <a:gd name="connsiteX265" fmla="*/ 1369631 w 1614899"/>
                      <a:gd name="connsiteY265" fmla="*/ 1516856 h 1619250"/>
                      <a:gd name="connsiteX266" fmla="*/ 1367249 w 1614899"/>
                      <a:gd name="connsiteY266" fmla="*/ 1524000 h 1619250"/>
                      <a:gd name="connsiteX267" fmla="*/ 1360106 w 1614899"/>
                      <a:gd name="connsiteY267" fmla="*/ 1526381 h 1619250"/>
                      <a:gd name="connsiteX268" fmla="*/ 1352962 w 1614899"/>
                      <a:gd name="connsiteY268" fmla="*/ 1531144 h 1619250"/>
                      <a:gd name="connsiteX269" fmla="*/ 1343437 w 1614899"/>
                      <a:gd name="connsiteY269" fmla="*/ 1535906 h 1619250"/>
                      <a:gd name="connsiteX270" fmla="*/ 1329149 w 1614899"/>
                      <a:gd name="connsiteY270" fmla="*/ 1550194 h 1619250"/>
                      <a:gd name="connsiteX271" fmla="*/ 1326768 w 1614899"/>
                      <a:gd name="connsiteY271" fmla="*/ 1559719 h 1619250"/>
                      <a:gd name="connsiteX272" fmla="*/ 1322006 w 1614899"/>
                      <a:gd name="connsiteY272" fmla="*/ 1566862 h 1619250"/>
                      <a:gd name="connsiteX273" fmla="*/ 1319624 w 1614899"/>
                      <a:gd name="connsiteY273" fmla="*/ 1578769 h 1619250"/>
                      <a:gd name="connsiteX274" fmla="*/ 1317243 w 1614899"/>
                      <a:gd name="connsiteY274" fmla="*/ 1585912 h 1619250"/>
                      <a:gd name="connsiteX275" fmla="*/ 1314862 w 1614899"/>
                      <a:gd name="connsiteY275" fmla="*/ 1602581 h 1619250"/>
                      <a:gd name="connsiteX276" fmla="*/ 1283906 w 1614899"/>
                      <a:gd name="connsiteY276" fmla="*/ 1614487 h 1619250"/>
                      <a:gd name="connsiteX277" fmla="*/ 1274381 w 1614899"/>
                      <a:gd name="connsiteY277" fmla="*/ 1616869 h 1619250"/>
                      <a:gd name="connsiteX278" fmla="*/ 1260093 w 1614899"/>
                      <a:gd name="connsiteY278" fmla="*/ 1619250 h 1619250"/>
                      <a:gd name="connsiteX279" fmla="*/ 1248187 w 1614899"/>
                      <a:gd name="connsiteY279" fmla="*/ 1616869 h 1619250"/>
                      <a:gd name="connsiteX280" fmla="*/ 1243424 w 1614899"/>
                      <a:gd name="connsiteY280" fmla="*/ 1597819 h 1619250"/>
                      <a:gd name="connsiteX281" fmla="*/ 1238662 w 1614899"/>
                      <a:gd name="connsiteY281" fmla="*/ 1581150 h 1619250"/>
                      <a:gd name="connsiteX282" fmla="*/ 1243424 w 1614899"/>
                      <a:gd name="connsiteY282" fmla="*/ 1566862 h 1619250"/>
                      <a:gd name="connsiteX283" fmla="*/ 1252949 w 1614899"/>
                      <a:gd name="connsiteY283" fmla="*/ 1552575 h 1619250"/>
                      <a:gd name="connsiteX284" fmla="*/ 1260093 w 1614899"/>
                      <a:gd name="connsiteY284" fmla="*/ 1550194 h 1619250"/>
                      <a:gd name="connsiteX285" fmla="*/ 1267237 w 1614899"/>
                      <a:gd name="connsiteY285" fmla="*/ 1543050 h 1619250"/>
                      <a:gd name="connsiteX286" fmla="*/ 1269618 w 1614899"/>
                      <a:gd name="connsiteY286" fmla="*/ 1535906 h 1619250"/>
                      <a:gd name="connsiteX287" fmla="*/ 1274381 w 1614899"/>
                      <a:gd name="connsiteY287" fmla="*/ 1526381 h 1619250"/>
                      <a:gd name="connsiteX288" fmla="*/ 1267237 w 1614899"/>
                      <a:gd name="connsiteY288" fmla="*/ 1502569 h 1619250"/>
                      <a:gd name="connsiteX289" fmla="*/ 1252949 w 1614899"/>
                      <a:gd name="connsiteY289" fmla="*/ 1493044 h 1619250"/>
                      <a:gd name="connsiteX290" fmla="*/ 1262474 w 1614899"/>
                      <a:gd name="connsiteY290" fmla="*/ 1478756 h 1619250"/>
                      <a:gd name="connsiteX291" fmla="*/ 1279143 w 1614899"/>
                      <a:gd name="connsiteY291" fmla="*/ 1462087 h 1619250"/>
                      <a:gd name="connsiteX292" fmla="*/ 1302956 w 1614899"/>
                      <a:gd name="connsiteY292" fmla="*/ 1459706 h 1619250"/>
                      <a:gd name="connsiteX293" fmla="*/ 1305337 w 1614899"/>
                      <a:gd name="connsiteY293" fmla="*/ 1450181 h 1619250"/>
                      <a:gd name="connsiteX294" fmla="*/ 1310099 w 1614899"/>
                      <a:gd name="connsiteY294" fmla="*/ 1443037 h 1619250"/>
                      <a:gd name="connsiteX295" fmla="*/ 1312481 w 1614899"/>
                      <a:gd name="connsiteY295" fmla="*/ 1435894 h 1619250"/>
                      <a:gd name="connsiteX296" fmla="*/ 1305337 w 1614899"/>
                      <a:gd name="connsiteY296" fmla="*/ 1428750 h 1619250"/>
                      <a:gd name="connsiteX297" fmla="*/ 1298193 w 1614899"/>
                      <a:gd name="connsiteY297" fmla="*/ 1423987 h 1619250"/>
                      <a:gd name="connsiteX298" fmla="*/ 1295812 w 1614899"/>
                      <a:gd name="connsiteY298" fmla="*/ 1412081 h 1619250"/>
                      <a:gd name="connsiteX299" fmla="*/ 1293431 w 1614899"/>
                      <a:gd name="connsiteY299" fmla="*/ 1402556 h 1619250"/>
                      <a:gd name="connsiteX300" fmla="*/ 1288668 w 1614899"/>
                      <a:gd name="connsiteY300" fmla="*/ 1369219 h 1619250"/>
                      <a:gd name="connsiteX301" fmla="*/ 1286287 w 1614899"/>
                      <a:gd name="connsiteY301" fmla="*/ 1362075 h 1619250"/>
                      <a:gd name="connsiteX302" fmla="*/ 1276762 w 1614899"/>
                      <a:gd name="connsiteY302" fmla="*/ 1345406 h 1619250"/>
                      <a:gd name="connsiteX303" fmla="*/ 1267237 w 1614899"/>
                      <a:gd name="connsiteY303" fmla="*/ 1343025 h 1619250"/>
                      <a:gd name="connsiteX304" fmla="*/ 1260093 w 1614899"/>
                      <a:gd name="connsiteY304" fmla="*/ 1340644 h 1619250"/>
                      <a:gd name="connsiteX305" fmla="*/ 1252949 w 1614899"/>
                      <a:gd name="connsiteY305" fmla="*/ 1307306 h 1619250"/>
                      <a:gd name="connsiteX306" fmla="*/ 1248187 w 1614899"/>
                      <a:gd name="connsiteY306" fmla="*/ 1293019 h 1619250"/>
                      <a:gd name="connsiteX307" fmla="*/ 1243424 w 1614899"/>
                      <a:gd name="connsiteY307" fmla="*/ 1278731 h 1619250"/>
                      <a:gd name="connsiteX308" fmla="*/ 1241043 w 1614899"/>
                      <a:gd name="connsiteY308" fmla="*/ 1271587 h 1619250"/>
                      <a:gd name="connsiteX309" fmla="*/ 1236281 w 1614899"/>
                      <a:gd name="connsiteY309" fmla="*/ 1262062 h 1619250"/>
                      <a:gd name="connsiteX310" fmla="*/ 1231518 w 1614899"/>
                      <a:gd name="connsiteY310" fmla="*/ 1247775 h 1619250"/>
                      <a:gd name="connsiteX311" fmla="*/ 1224374 w 1614899"/>
                      <a:gd name="connsiteY311" fmla="*/ 1240631 h 1619250"/>
                      <a:gd name="connsiteX312" fmla="*/ 1214849 w 1614899"/>
                      <a:gd name="connsiteY312" fmla="*/ 1226344 h 1619250"/>
                      <a:gd name="connsiteX313" fmla="*/ 1195799 w 1614899"/>
                      <a:gd name="connsiteY313" fmla="*/ 1233487 h 1619250"/>
                      <a:gd name="connsiteX314" fmla="*/ 1198181 w 1614899"/>
                      <a:gd name="connsiteY314" fmla="*/ 1240631 h 1619250"/>
                      <a:gd name="connsiteX315" fmla="*/ 1191037 w 1614899"/>
                      <a:gd name="connsiteY315" fmla="*/ 1243012 h 1619250"/>
                      <a:gd name="connsiteX316" fmla="*/ 1164843 w 1614899"/>
                      <a:gd name="connsiteY316" fmla="*/ 1238250 h 1619250"/>
                      <a:gd name="connsiteX317" fmla="*/ 1155318 w 1614899"/>
                      <a:gd name="connsiteY317" fmla="*/ 1223962 h 1619250"/>
                      <a:gd name="connsiteX318" fmla="*/ 1148174 w 1614899"/>
                      <a:gd name="connsiteY318" fmla="*/ 1216819 h 1619250"/>
                      <a:gd name="connsiteX319" fmla="*/ 1138649 w 1614899"/>
                      <a:gd name="connsiteY319" fmla="*/ 1219200 h 1619250"/>
                      <a:gd name="connsiteX320" fmla="*/ 1131506 w 1614899"/>
                      <a:gd name="connsiteY320" fmla="*/ 1221581 h 1619250"/>
                      <a:gd name="connsiteX321" fmla="*/ 1124362 w 1614899"/>
                      <a:gd name="connsiteY321" fmla="*/ 1219200 h 1619250"/>
                      <a:gd name="connsiteX322" fmla="*/ 1112456 w 1614899"/>
                      <a:gd name="connsiteY322" fmla="*/ 1207295 h 1619250"/>
                      <a:gd name="connsiteX323" fmla="*/ 1117218 w 1614899"/>
                      <a:gd name="connsiteY323" fmla="*/ 1193006 h 1619250"/>
                      <a:gd name="connsiteX324" fmla="*/ 1112456 w 1614899"/>
                      <a:gd name="connsiteY324" fmla="*/ 1154906 h 1619250"/>
                      <a:gd name="connsiteX325" fmla="*/ 1107693 w 1614899"/>
                      <a:gd name="connsiteY325" fmla="*/ 1147762 h 1619250"/>
                      <a:gd name="connsiteX326" fmla="*/ 1100549 w 1614899"/>
                      <a:gd name="connsiteY326" fmla="*/ 1145381 h 1619250"/>
                      <a:gd name="connsiteX327" fmla="*/ 1093406 w 1614899"/>
                      <a:gd name="connsiteY327" fmla="*/ 1147762 h 1619250"/>
                      <a:gd name="connsiteX328" fmla="*/ 1062449 w 1614899"/>
                      <a:gd name="connsiteY328" fmla="*/ 1152525 h 1619250"/>
                      <a:gd name="connsiteX329" fmla="*/ 1043400 w 1614899"/>
                      <a:gd name="connsiteY329" fmla="*/ 1154906 h 1619250"/>
                      <a:gd name="connsiteX330" fmla="*/ 1031493 w 1614899"/>
                      <a:gd name="connsiteY330" fmla="*/ 1154906 h 1619250"/>
                      <a:gd name="connsiteX331" fmla="*/ 1050543 w 1614899"/>
                      <a:gd name="connsiteY331" fmla="*/ 1128712 h 1619250"/>
                      <a:gd name="connsiteX332" fmla="*/ 1041018 w 1614899"/>
                      <a:gd name="connsiteY332" fmla="*/ 1107281 h 1619250"/>
                      <a:gd name="connsiteX333" fmla="*/ 1024349 w 1614899"/>
                      <a:gd name="connsiteY333" fmla="*/ 1109662 h 1619250"/>
                      <a:gd name="connsiteX334" fmla="*/ 1014824 w 1614899"/>
                      <a:gd name="connsiteY334" fmla="*/ 1107281 h 1619250"/>
                      <a:gd name="connsiteX335" fmla="*/ 988631 w 1614899"/>
                      <a:gd name="connsiteY335" fmla="*/ 1109662 h 1619250"/>
                      <a:gd name="connsiteX336" fmla="*/ 986249 w 1614899"/>
                      <a:gd name="connsiteY336" fmla="*/ 1102519 h 1619250"/>
                      <a:gd name="connsiteX337" fmla="*/ 979106 w 1614899"/>
                      <a:gd name="connsiteY337" fmla="*/ 1076325 h 1619250"/>
                      <a:gd name="connsiteX338" fmla="*/ 964818 w 1614899"/>
                      <a:gd name="connsiteY338" fmla="*/ 1064419 h 1619250"/>
                      <a:gd name="connsiteX339" fmla="*/ 950531 w 1614899"/>
                      <a:gd name="connsiteY339" fmla="*/ 1054894 h 1619250"/>
                      <a:gd name="connsiteX340" fmla="*/ 943387 w 1614899"/>
                      <a:gd name="connsiteY340" fmla="*/ 1050131 h 1619250"/>
                      <a:gd name="connsiteX341" fmla="*/ 936243 w 1614899"/>
                      <a:gd name="connsiteY341" fmla="*/ 1045369 h 1619250"/>
                      <a:gd name="connsiteX342" fmla="*/ 931481 w 1614899"/>
                      <a:gd name="connsiteY342" fmla="*/ 1038225 h 1619250"/>
                      <a:gd name="connsiteX343" fmla="*/ 917193 w 1614899"/>
                      <a:gd name="connsiteY343" fmla="*/ 1031081 h 1619250"/>
                      <a:gd name="connsiteX344" fmla="*/ 914812 w 1614899"/>
                      <a:gd name="connsiteY344" fmla="*/ 1040606 h 1619250"/>
                      <a:gd name="connsiteX345" fmla="*/ 907668 w 1614899"/>
                      <a:gd name="connsiteY345" fmla="*/ 1042987 h 1619250"/>
                      <a:gd name="connsiteX346" fmla="*/ 886237 w 1614899"/>
                      <a:gd name="connsiteY346" fmla="*/ 1031081 h 1619250"/>
                      <a:gd name="connsiteX347" fmla="*/ 862424 w 1614899"/>
                      <a:gd name="connsiteY347" fmla="*/ 1035844 h 1619250"/>
                      <a:gd name="connsiteX348" fmla="*/ 845756 w 1614899"/>
                      <a:gd name="connsiteY348" fmla="*/ 1040606 h 1619250"/>
                      <a:gd name="connsiteX349" fmla="*/ 840993 w 1614899"/>
                      <a:gd name="connsiteY349" fmla="*/ 1033462 h 1619250"/>
                      <a:gd name="connsiteX350" fmla="*/ 821943 w 1614899"/>
                      <a:gd name="connsiteY350" fmla="*/ 1004887 h 1619250"/>
                      <a:gd name="connsiteX351" fmla="*/ 814799 w 1614899"/>
                      <a:gd name="connsiteY351" fmla="*/ 1000125 h 1619250"/>
                      <a:gd name="connsiteX352" fmla="*/ 779081 w 1614899"/>
                      <a:gd name="connsiteY352" fmla="*/ 995362 h 1619250"/>
                      <a:gd name="connsiteX353" fmla="*/ 771937 w 1614899"/>
                      <a:gd name="connsiteY353" fmla="*/ 988219 h 1619250"/>
                      <a:gd name="connsiteX354" fmla="*/ 762412 w 1614899"/>
                      <a:gd name="connsiteY354" fmla="*/ 966787 h 1619250"/>
                      <a:gd name="connsiteX355" fmla="*/ 755268 w 1614899"/>
                      <a:gd name="connsiteY355" fmla="*/ 962025 h 1619250"/>
                      <a:gd name="connsiteX356" fmla="*/ 733837 w 1614899"/>
                      <a:gd name="connsiteY356" fmla="*/ 962025 h 1619250"/>
                      <a:gd name="connsiteX357" fmla="*/ 731456 w 1614899"/>
                      <a:gd name="connsiteY357" fmla="*/ 950119 h 1619250"/>
                      <a:gd name="connsiteX358" fmla="*/ 729074 w 1614899"/>
                      <a:gd name="connsiteY358" fmla="*/ 942975 h 1619250"/>
                      <a:gd name="connsiteX359" fmla="*/ 726693 w 1614899"/>
                      <a:gd name="connsiteY359" fmla="*/ 921544 h 1619250"/>
                      <a:gd name="connsiteX360" fmla="*/ 724312 w 1614899"/>
                      <a:gd name="connsiteY360" fmla="*/ 914400 h 1619250"/>
                      <a:gd name="connsiteX361" fmla="*/ 717168 w 1614899"/>
                      <a:gd name="connsiteY361" fmla="*/ 909637 h 1619250"/>
                      <a:gd name="connsiteX362" fmla="*/ 710024 w 1614899"/>
                      <a:gd name="connsiteY362" fmla="*/ 907256 h 1619250"/>
                      <a:gd name="connsiteX363" fmla="*/ 681449 w 1614899"/>
                      <a:gd name="connsiteY363" fmla="*/ 902494 h 1619250"/>
                      <a:gd name="connsiteX364" fmla="*/ 674306 w 1614899"/>
                      <a:gd name="connsiteY364" fmla="*/ 897731 h 1619250"/>
                      <a:gd name="connsiteX365" fmla="*/ 667162 w 1614899"/>
                      <a:gd name="connsiteY365" fmla="*/ 883444 h 1619250"/>
                      <a:gd name="connsiteX366" fmla="*/ 657637 w 1614899"/>
                      <a:gd name="connsiteY366" fmla="*/ 881062 h 1619250"/>
                      <a:gd name="connsiteX367" fmla="*/ 650493 w 1614899"/>
                      <a:gd name="connsiteY367" fmla="*/ 873919 h 1619250"/>
                      <a:gd name="connsiteX368" fmla="*/ 648112 w 1614899"/>
                      <a:gd name="connsiteY368" fmla="*/ 866775 h 1619250"/>
                      <a:gd name="connsiteX369" fmla="*/ 643349 w 1614899"/>
                      <a:gd name="connsiteY369" fmla="*/ 859631 h 1619250"/>
                      <a:gd name="connsiteX370" fmla="*/ 631443 w 1614899"/>
                      <a:gd name="connsiteY370" fmla="*/ 838200 h 1619250"/>
                      <a:gd name="connsiteX371" fmla="*/ 624299 w 1614899"/>
                      <a:gd name="connsiteY371" fmla="*/ 833437 h 1619250"/>
                      <a:gd name="connsiteX372" fmla="*/ 593343 w 1614899"/>
                      <a:gd name="connsiteY372" fmla="*/ 835819 h 1619250"/>
                      <a:gd name="connsiteX373" fmla="*/ 586199 w 1614899"/>
                      <a:gd name="connsiteY373" fmla="*/ 816769 h 1619250"/>
                      <a:gd name="connsiteX374" fmla="*/ 569531 w 1614899"/>
                      <a:gd name="connsiteY374" fmla="*/ 795337 h 1619250"/>
                      <a:gd name="connsiteX375" fmla="*/ 564768 w 1614899"/>
                      <a:gd name="connsiteY375" fmla="*/ 788194 h 1619250"/>
                      <a:gd name="connsiteX376" fmla="*/ 557624 w 1614899"/>
                      <a:gd name="connsiteY376" fmla="*/ 785812 h 1619250"/>
                      <a:gd name="connsiteX377" fmla="*/ 550481 w 1614899"/>
                      <a:gd name="connsiteY377" fmla="*/ 781050 h 1619250"/>
                      <a:gd name="connsiteX378" fmla="*/ 536193 w 1614899"/>
                      <a:gd name="connsiteY378" fmla="*/ 776287 h 1619250"/>
                      <a:gd name="connsiteX379" fmla="*/ 538574 w 1614899"/>
                      <a:gd name="connsiteY379" fmla="*/ 747712 h 1619250"/>
                      <a:gd name="connsiteX380" fmla="*/ 533812 w 1614899"/>
                      <a:gd name="connsiteY380" fmla="*/ 740569 h 1619250"/>
                      <a:gd name="connsiteX381" fmla="*/ 519524 w 1614899"/>
                      <a:gd name="connsiteY381" fmla="*/ 731044 h 1619250"/>
                      <a:gd name="connsiteX382" fmla="*/ 512381 w 1614899"/>
                      <a:gd name="connsiteY382" fmla="*/ 735806 h 1619250"/>
                      <a:gd name="connsiteX383" fmla="*/ 505237 w 1614899"/>
                      <a:gd name="connsiteY383" fmla="*/ 738187 h 1619250"/>
                      <a:gd name="connsiteX384" fmla="*/ 507618 w 1614899"/>
                      <a:gd name="connsiteY384" fmla="*/ 723900 h 1619250"/>
                      <a:gd name="connsiteX385" fmla="*/ 505237 w 1614899"/>
                      <a:gd name="connsiteY385" fmla="*/ 688181 h 1619250"/>
                      <a:gd name="connsiteX386" fmla="*/ 493331 w 1614899"/>
                      <a:gd name="connsiteY386" fmla="*/ 666750 h 1619250"/>
                      <a:gd name="connsiteX387" fmla="*/ 486187 w 1614899"/>
                      <a:gd name="connsiteY387" fmla="*/ 659606 h 1619250"/>
                      <a:gd name="connsiteX388" fmla="*/ 481424 w 1614899"/>
                      <a:gd name="connsiteY388" fmla="*/ 652462 h 1619250"/>
                      <a:gd name="connsiteX389" fmla="*/ 479043 w 1614899"/>
                      <a:gd name="connsiteY389" fmla="*/ 614362 h 1619250"/>
                      <a:gd name="connsiteX390" fmla="*/ 474281 w 1614899"/>
                      <a:gd name="connsiteY390" fmla="*/ 595312 h 1619250"/>
                      <a:gd name="connsiteX391" fmla="*/ 467137 w 1614899"/>
                      <a:gd name="connsiteY391" fmla="*/ 578644 h 1619250"/>
                      <a:gd name="connsiteX392" fmla="*/ 459993 w 1614899"/>
                      <a:gd name="connsiteY392" fmla="*/ 571500 h 1619250"/>
                      <a:gd name="connsiteX393" fmla="*/ 440943 w 1614899"/>
                      <a:gd name="connsiteY393" fmla="*/ 554831 h 1619250"/>
                      <a:gd name="connsiteX394" fmla="*/ 426656 w 1614899"/>
                      <a:gd name="connsiteY394" fmla="*/ 550069 h 1619250"/>
                      <a:gd name="connsiteX395" fmla="*/ 424274 w 1614899"/>
                      <a:gd name="connsiteY395" fmla="*/ 557212 h 1619250"/>
                      <a:gd name="connsiteX396" fmla="*/ 414749 w 1614899"/>
                      <a:gd name="connsiteY396" fmla="*/ 552450 h 1619250"/>
                      <a:gd name="connsiteX397" fmla="*/ 407606 w 1614899"/>
                      <a:gd name="connsiteY397" fmla="*/ 545306 h 1619250"/>
                      <a:gd name="connsiteX398" fmla="*/ 390937 w 1614899"/>
                      <a:gd name="connsiteY398" fmla="*/ 535781 h 1619250"/>
                      <a:gd name="connsiteX399" fmla="*/ 383793 w 1614899"/>
                      <a:gd name="connsiteY399" fmla="*/ 528637 h 1619250"/>
                      <a:gd name="connsiteX400" fmla="*/ 374268 w 1614899"/>
                      <a:gd name="connsiteY400" fmla="*/ 526256 h 1619250"/>
                      <a:gd name="connsiteX401" fmla="*/ 352837 w 1614899"/>
                      <a:gd name="connsiteY401" fmla="*/ 519112 h 1619250"/>
                      <a:gd name="connsiteX402" fmla="*/ 345693 w 1614899"/>
                      <a:gd name="connsiteY402" fmla="*/ 516731 h 1619250"/>
                      <a:gd name="connsiteX403" fmla="*/ 338549 w 1614899"/>
                      <a:gd name="connsiteY403" fmla="*/ 514350 h 1619250"/>
                      <a:gd name="connsiteX404" fmla="*/ 326643 w 1614899"/>
                      <a:gd name="connsiteY404" fmla="*/ 504825 h 1619250"/>
                      <a:gd name="connsiteX405" fmla="*/ 321881 w 1614899"/>
                      <a:gd name="connsiteY405" fmla="*/ 497681 h 1619250"/>
                      <a:gd name="connsiteX406" fmla="*/ 314737 w 1614899"/>
                      <a:gd name="connsiteY406" fmla="*/ 490537 h 1619250"/>
                      <a:gd name="connsiteX407" fmla="*/ 307593 w 1614899"/>
                      <a:gd name="connsiteY407" fmla="*/ 485775 h 1619250"/>
                      <a:gd name="connsiteX408" fmla="*/ 293306 w 1614899"/>
                      <a:gd name="connsiteY408" fmla="*/ 481012 h 1619250"/>
                      <a:gd name="connsiteX409" fmla="*/ 269493 w 1614899"/>
                      <a:gd name="connsiteY409" fmla="*/ 483394 h 1619250"/>
                      <a:gd name="connsiteX410" fmla="*/ 259968 w 1614899"/>
                      <a:gd name="connsiteY410" fmla="*/ 490537 h 1619250"/>
                      <a:gd name="connsiteX411" fmla="*/ 243299 w 1614899"/>
                      <a:gd name="connsiteY411" fmla="*/ 497681 h 1619250"/>
                      <a:gd name="connsiteX412" fmla="*/ 236156 w 1614899"/>
                      <a:gd name="connsiteY412" fmla="*/ 502444 h 1619250"/>
                      <a:gd name="connsiteX413" fmla="*/ 233774 w 1614899"/>
                      <a:gd name="connsiteY413" fmla="*/ 509587 h 1619250"/>
                      <a:gd name="connsiteX414" fmla="*/ 231393 w 1614899"/>
                      <a:gd name="connsiteY414" fmla="*/ 519112 h 1619250"/>
                      <a:gd name="connsiteX415" fmla="*/ 224249 w 1614899"/>
                      <a:gd name="connsiteY415" fmla="*/ 521494 h 1619250"/>
                      <a:gd name="connsiteX416" fmla="*/ 209962 w 1614899"/>
                      <a:gd name="connsiteY416" fmla="*/ 528637 h 1619250"/>
                      <a:gd name="connsiteX417" fmla="*/ 200437 w 1614899"/>
                      <a:gd name="connsiteY417" fmla="*/ 542925 h 1619250"/>
                      <a:gd name="connsiteX418" fmla="*/ 195674 w 1614899"/>
                      <a:gd name="connsiteY418" fmla="*/ 557212 h 1619250"/>
                      <a:gd name="connsiteX419" fmla="*/ 188531 w 1614899"/>
                      <a:gd name="connsiteY419" fmla="*/ 559594 h 1619250"/>
                      <a:gd name="connsiteX420" fmla="*/ 176624 w 1614899"/>
                      <a:gd name="connsiteY420" fmla="*/ 564356 h 1619250"/>
                      <a:gd name="connsiteX421" fmla="*/ 164718 w 1614899"/>
                      <a:gd name="connsiteY421" fmla="*/ 566737 h 1619250"/>
                      <a:gd name="connsiteX422" fmla="*/ 157574 w 1614899"/>
                      <a:gd name="connsiteY422" fmla="*/ 569119 h 1619250"/>
                      <a:gd name="connsiteX423" fmla="*/ 148049 w 1614899"/>
                      <a:gd name="connsiteY423" fmla="*/ 571500 h 1619250"/>
                      <a:gd name="connsiteX424" fmla="*/ 140906 w 1614899"/>
                      <a:gd name="connsiteY424" fmla="*/ 573881 h 1619250"/>
                      <a:gd name="connsiteX425" fmla="*/ 121856 w 1614899"/>
                      <a:gd name="connsiteY425" fmla="*/ 576262 h 1619250"/>
                      <a:gd name="connsiteX426" fmla="*/ 119474 w 1614899"/>
                      <a:gd name="connsiteY426" fmla="*/ 571500 h 1619250"/>
                      <a:gd name="connsiteX427" fmla="*/ 128999 w 1614899"/>
                      <a:gd name="connsiteY427" fmla="*/ 557212 h 1619250"/>
                      <a:gd name="connsiteX428" fmla="*/ 131381 w 1614899"/>
                      <a:gd name="connsiteY428" fmla="*/ 550069 h 1619250"/>
                      <a:gd name="connsiteX429" fmla="*/ 140906 w 1614899"/>
                      <a:gd name="connsiteY429" fmla="*/ 535781 h 1619250"/>
                      <a:gd name="connsiteX430" fmla="*/ 133762 w 1614899"/>
                      <a:gd name="connsiteY430" fmla="*/ 533400 h 1619250"/>
                      <a:gd name="connsiteX431" fmla="*/ 128999 w 1614899"/>
                      <a:gd name="connsiteY431" fmla="*/ 516731 h 1619250"/>
                      <a:gd name="connsiteX432" fmla="*/ 69468 w 1614899"/>
                      <a:gd name="connsiteY432" fmla="*/ 514350 h 1619250"/>
                      <a:gd name="connsiteX433" fmla="*/ 67087 w 1614899"/>
                      <a:gd name="connsiteY433" fmla="*/ 507206 h 1619250"/>
                      <a:gd name="connsiteX434" fmla="*/ 52799 w 1614899"/>
                      <a:gd name="connsiteY434" fmla="*/ 497681 h 1619250"/>
                      <a:gd name="connsiteX435" fmla="*/ 55181 w 1614899"/>
                      <a:gd name="connsiteY435" fmla="*/ 488156 h 1619250"/>
                      <a:gd name="connsiteX436" fmla="*/ 40893 w 1614899"/>
                      <a:gd name="connsiteY436" fmla="*/ 483394 h 1619250"/>
                      <a:gd name="connsiteX437" fmla="*/ 38512 w 1614899"/>
                      <a:gd name="connsiteY437" fmla="*/ 471487 h 1619250"/>
                      <a:gd name="connsiteX438" fmla="*/ 36131 w 1614899"/>
                      <a:gd name="connsiteY438" fmla="*/ 464344 h 1619250"/>
                      <a:gd name="connsiteX439" fmla="*/ 38512 w 1614899"/>
                      <a:gd name="connsiteY439" fmla="*/ 452437 h 1619250"/>
                      <a:gd name="connsiteX440" fmla="*/ 38512 w 1614899"/>
                      <a:gd name="connsiteY440" fmla="*/ 428625 h 1619250"/>
                      <a:gd name="connsiteX441" fmla="*/ 45656 w 1614899"/>
                      <a:gd name="connsiteY441" fmla="*/ 426244 h 1619250"/>
                      <a:gd name="connsiteX442" fmla="*/ 52799 w 1614899"/>
                      <a:gd name="connsiteY442" fmla="*/ 421481 h 1619250"/>
                      <a:gd name="connsiteX443" fmla="*/ 59943 w 1614899"/>
                      <a:gd name="connsiteY443" fmla="*/ 419100 h 1619250"/>
                      <a:gd name="connsiteX444" fmla="*/ 64706 w 1614899"/>
                      <a:gd name="connsiteY444" fmla="*/ 411956 h 1619250"/>
                      <a:gd name="connsiteX445" fmla="*/ 55181 w 1614899"/>
                      <a:gd name="connsiteY445" fmla="*/ 392906 h 1619250"/>
                      <a:gd name="connsiteX446" fmla="*/ 40893 w 1614899"/>
                      <a:gd name="connsiteY446" fmla="*/ 388144 h 1619250"/>
                      <a:gd name="connsiteX447" fmla="*/ 33749 w 1614899"/>
                      <a:gd name="connsiteY447" fmla="*/ 390525 h 1619250"/>
                      <a:gd name="connsiteX448" fmla="*/ 28987 w 1614899"/>
                      <a:gd name="connsiteY448" fmla="*/ 390525 h 1619250"/>
                      <a:gd name="connsiteX449" fmla="*/ 21843 w 1614899"/>
                      <a:gd name="connsiteY449" fmla="*/ 388144 h 1619250"/>
                      <a:gd name="connsiteX450" fmla="*/ 14699 w 1614899"/>
                      <a:gd name="connsiteY450" fmla="*/ 364331 h 1619250"/>
                      <a:gd name="connsiteX451" fmla="*/ 2793 w 1614899"/>
                      <a:gd name="connsiteY451" fmla="*/ 361950 h 1619250"/>
                      <a:gd name="connsiteX452" fmla="*/ 2793 w 1614899"/>
                      <a:gd name="connsiteY452" fmla="*/ 345281 h 1619250"/>
                      <a:gd name="connsiteX453" fmla="*/ 17081 w 1614899"/>
                      <a:gd name="connsiteY453" fmla="*/ 340519 h 1619250"/>
                      <a:gd name="connsiteX454" fmla="*/ 24224 w 1614899"/>
                      <a:gd name="connsiteY454" fmla="*/ 347662 h 1619250"/>
                      <a:gd name="connsiteX455" fmla="*/ 40893 w 1614899"/>
                      <a:gd name="connsiteY455" fmla="*/ 342900 h 1619250"/>
                      <a:gd name="connsiteX456" fmla="*/ 57562 w 1614899"/>
                      <a:gd name="connsiteY456" fmla="*/ 333375 h 1619250"/>
                      <a:gd name="connsiteX457" fmla="*/ 64706 w 1614899"/>
                      <a:gd name="connsiteY457" fmla="*/ 328612 h 1619250"/>
                      <a:gd name="connsiteX458" fmla="*/ 71849 w 1614899"/>
                      <a:gd name="connsiteY458" fmla="*/ 326231 h 1619250"/>
                      <a:gd name="connsiteX459" fmla="*/ 90899 w 1614899"/>
                      <a:gd name="connsiteY459" fmla="*/ 321469 h 1619250"/>
                      <a:gd name="connsiteX460" fmla="*/ 86137 w 1614899"/>
                      <a:gd name="connsiteY460" fmla="*/ 311944 h 1619250"/>
                      <a:gd name="connsiteX461" fmla="*/ 88518 w 1614899"/>
                      <a:gd name="connsiteY461" fmla="*/ 292894 h 1619250"/>
                      <a:gd name="connsiteX462" fmla="*/ 90899 w 1614899"/>
                      <a:gd name="connsiteY462" fmla="*/ 285750 h 1619250"/>
                      <a:gd name="connsiteX463" fmla="*/ 76612 w 1614899"/>
                      <a:gd name="connsiteY463" fmla="*/ 280987 h 1619250"/>
                      <a:gd name="connsiteX464" fmla="*/ 71849 w 1614899"/>
                      <a:gd name="connsiteY464" fmla="*/ 273844 h 1619250"/>
                      <a:gd name="connsiteX465" fmla="*/ 67087 w 1614899"/>
                      <a:gd name="connsiteY465" fmla="*/ 250031 h 1619250"/>
                      <a:gd name="connsiteX466" fmla="*/ 45656 w 1614899"/>
                      <a:gd name="connsiteY466" fmla="*/ 250031 h 1619250"/>
                      <a:gd name="connsiteX467" fmla="*/ 40893 w 1614899"/>
                      <a:gd name="connsiteY467" fmla="*/ 242887 h 1619250"/>
                      <a:gd name="connsiteX468" fmla="*/ 43274 w 1614899"/>
                      <a:gd name="connsiteY468" fmla="*/ 223837 h 1619250"/>
                      <a:gd name="connsiteX469" fmla="*/ 57562 w 1614899"/>
                      <a:gd name="connsiteY469" fmla="*/ 211931 h 1619250"/>
                      <a:gd name="connsiteX470" fmla="*/ 74231 w 1614899"/>
                      <a:gd name="connsiteY470" fmla="*/ 200025 h 1619250"/>
                      <a:gd name="connsiteX471" fmla="*/ 81374 w 1614899"/>
                      <a:gd name="connsiteY471" fmla="*/ 202406 h 1619250"/>
                      <a:gd name="connsiteX472" fmla="*/ 83756 w 1614899"/>
                      <a:gd name="connsiteY472" fmla="*/ 209550 h 1619250"/>
                      <a:gd name="connsiteX473" fmla="*/ 102806 w 1614899"/>
                      <a:gd name="connsiteY473" fmla="*/ 204787 h 1619250"/>
                      <a:gd name="connsiteX474" fmla="*/ 109949 w 1614899"/>
                      <a:gd name="connsiteY474" fmla="*/ 200025 h 1619250"/>
                      <a:gd name="connsiteX475" fmla="*/ 119474 w 1614899"/>
                      <a:gd name="connsiteY475" fmla="*/ 197644 h 1619250"/>
                      <a:gd name="connsiteX476" fmla="*/ 133762 w 1614899"/>
                      <a:gd name="connsiteY476" fmla="*/ 192881 h 1619250"/>
                      <a:gd name="connsiteX477" fmla="*/ 140906 w 1614899"/>
                      <a:gd name="connsiteY477" fmla="*/ 190500 h 1619250"/>
                      <a:gd name="connsiteX478" fmla="*/ 148049 w 1614899"/>
                      <a:gd name="connsiteY478" fmla="*/ 195262 h 1619250"/>
                      <a:gd name="connsiteX479" fmla="*/ 155193 w 1614899"/>
                      <a:gd name="connsiteY479" fmla="*/ 204787 h 1619250"/>
                      <a:gd name="connsiteX480" fmla="*/ 164718 w 1614899"/>
                      <a:gd name="connsiteY480" fmla="*/ 202406 h 1619250"/>
                      <a:gd name="connsiteX481" fmla="*/ 190912 w 1614899"/>
                      <a:gd name="connsiteY481" fmla="*/ 200025 h 1619250"/>
                      <a:gd name="connsiteX482" fmla="*/ 193293 w 1614899"/>
                      <a:gd name="connsiteY482" fmla="*/ 192881 h 1619250"/>
                      <a:gd name="connsiteX483" fmla="*/ 198056 w 1614899"/>
                      <a:gd name="connsiteY483" fmla="*/ 185737 h 1619250"/>
                      <a:gd name="connsiteX484" fmla="*/ 195674 w 1614899"/>
                      <a:gd name="connsiteY484" fmla="*/ 178594 h 1619250"/>
                      <a:gd name="connsiteX485" fmla="*/ 186149 w 1614899"/>
                      <a:gd name="connsiteY485" fmla="*/ 159544 h 1619250"/>
                      <a:gd name="connsiteX486" fmla="*/ 217106 w 1614899"/>
                      <a:gd name="connsiteY486" fmla="*/ 152400 h 1619250"/>
                      <a:gd name="connsiteX487" fmla="*/ 209962 w 1614899"/>
                      <a:gd name="connsiteY487" fmla="*/ 145256 h 1619250"/>
                      <a:gd name="connsiteX488" fmla="*/ 202818 w 1614899"/>
                      <a:gd name="connsiteY488" fmla="*/ 140494 h 1619250"/>
                      <a:gd name="connsiteX489" fmla="*/ 212343 w 1614899"/>
                      <a:gd name="connsiteY489" fmla="*/ 133350 h 1619250"/>
                      <a:gd name="connsiteX490" fmla="*/ 233774 w 1614899"/>
                      <a:gd name="connsiteY490" fmla="*/ 123825 h 1619250"/>
                      <a:gd name="connsiteX491" fmla="*/ 238537 w 1614899"/>
                      <a:gd name="connsiteY491" fmla="*/ 116681 h 1619250"/>
                      <a:gd name="connsiteX492" fmla="*/ 240918 w 1614899"/>
                      <a:gd name="connsiteY492" fmla="*/ 107156 h 1619250"/>
                      <a:gd name="connsiteX493" fmla="*/ 248062 w 1614899"/>
                      <a:gd name="connsiteY493" fmla="*/ 109537 h 1619250"/>
                      <a:gd name="connsiteX494" fmla="*/ 250443 w 1614899"/>
                      <a:gd name="connsiteY494" fmla="*/ 116681 h 1619250"/>
                      <a:gd name="connsiteX495" fmla="*/ 252824 w 1614899"/>
                      <a:gd name="connsiteY495" fmla="*/ 130969 h 1619250"/>
                      <a:gd name="connsiteX496" fmla="*/ 269493 w 1614899"/>
                      <a:gd name="connsiteY496" fmla="*/ 138112 h 1619250"/>
                      <a:gd name="connsiteX497" fmla="*/ 271874 w 1614899"/>
                      <a:gd name="connsiteY497" fmla="*/ 145256 h 1619250"/>
                      <a:gd name="connsiteX498" fmla="*/ 264731 w 1614899"/>
                      <a:gd name="connsiteY498" fmla="*/ 152400 h 1619250"/>
                      <a:gd name="connsiteX499" fmla="*/ 262349 w 1614899"/>
                      <a:gd name="connsiteY499" fmla="*/ 159544 h 1619250"/>
                      <a:gd name="connsiteX500" fmla="*/ 264731 w 1614899"/>
                      <a:gd name="connsiteY500" fmla="*/ 173831 h 1619250"/>
                      <a:gd name="connsiteX501" fmla="*/ 274256 w 1614899"/>
                      <a:gd name="connsiteY501" fmla="*/ 176212 h 1619250"/>
                      <a:gd name="connsiteX502" fmla="*/ 295687 w 1614899"/>
                      <a:gd name="connsiteY502" fmla="*/ 178594 h 1619250"/>
                      <a:gd name="connsiteX503" fmla="*/ 293306 w 1614899"/>
                      <a:gd name="connsiteY503" fmla="*/ 185737 h 1619250"/>
                      <a:gd name="connsiteX504" fmla="*/ 295687 w 1614899"/>
                      <a:gd name="connsiteY504" fmla="*/ 200025 h 1619250"/>
                      <a:gd name="connsiteX505" fmla="*/ 302831 w 1614899"/>
                      <a:gd name="connsiteY505" fmla="*/ 216694 h 1619250"/>
                      <a:gd name="connsiteX506" fmla="*/ 307593 w 1614899"/>
                      <a:gd name="connsiteY506" fmla="*/ 223837 h 1619250"/>
                      <a:gd name="connsiteX507" fmla="*/ 314737 w 1614899"/>
                      <a:gd name="connsiteY507" fmla="*/ 228600 h 1619250"/>
                      <a:gd name="connsiteX508" fmla="*/ 326643 w 1614899"/>
                      <a:gd name="connsiteY508" fmla="*/ 226219 h 1619250"/>
                      <a:gd name="connsiteX509" fmla="*/ 321881 w 1614899"/>
                      <a:gd name="connsiteY509" fmla="*/ 200025 h 1619250"/>
                      <a:gd name="connsiteX510" fmla="*/ 314737 w 1614899"/>
                      <a:gd name="connsiteY510" fmla="*/ 197644 h 1619250"/>
                      <a:gd name="connsiteX511" fmla="*/ 324262 w 1614899"/>
                      <a:gd name="connsiteY511" fmla="*/ 180975 h 1619250"/>
                      <a:gd name="connsiteX512" fmla="*/ 329024 w 1614899"/>
                      <a:gd name="connsiteY512" fmla="*/ 173831 h 1619250"/>
                      <a:gd name="connsiteX513" fmla="*/ 343312 w 1614899"/>
                      <a:gd name="connsiteY513" fmla="*/ 159544 h 1619250"/>
                      <a:gd name="connsiteX514" fmla="*/ 348074 w 1614899"/>
                      <a:gd name="connsiteY514" fmla="*/ 145256 h 1619250"/>
                      <a:gd name="connsiteX515" fmla="*/ 350456 w 1614899"/>
                      <a:gd name="connsiteY515" fmla="*/ 114300 h 1619250"/>
                      <a:gd name="connsiteX516" fmla="*/ 357599 w 1614899"/>
                      <a:gd name="connsiteY516" fmla="*/ 111919 h 1619250"/>
                      <a:gd name="connsiteX517" fmla="*/ 364743 w 1614899"/>
                      <a:gd name="connsiteY517" fmla="*/ 114300 h 1619250"/>
                      <a:gd name="connsiteX518" fmla="*/ 371887 w 1614899"/>
                      <a:gd name="connsiteY518" fmla="*/ 114300 h 1619250"/>
                      <a:gd name="connsiteX519" fmla="*/ 381412 w 1614899"/>
                      <a:gd name="connsiteY519" fmla="*/ 138112 h 1619250"/>
                      <a:gd name="connsiteX520" fmla="*/ 395699 w 1614899"/>
                      <a:gd name="connsiteY520" fmla="*/ 150019 h 1619250"/>
                      <a:gd name="connsiteX521" fmla="*/ 409987 w 1614899"/>
                      <a:gd name="connsiteY521" fmla="*/ 147637 h 1619250"/>
                      <a:gd name="connsiteX522" fmla="*/ 412368 w 1614899"/>
                      <a:gd name="connsiteY522" fmla="*/ 133350 h 1619250"/>
                      <a:gd name="connsiteX523" fmla="*/ 426656 w 1614899"/>
                      <a:gd name="connsiteY523" fmla="*/ 128587 h 1619250"/>
                      <a:gd name="connsiteX524" fmla="*/ 433799 w 1614899"/>
                      <a:gd name="connsiteY524" fmla="*/ 142875 h 1619250"/>
                      <a:gd name="connsiteX525" fmla="*/ 448087 w 1614899"/>
                      <a:gd name="connsiteY525" fmla="*/ 161925 h 1619250"/>
                      <a:gd name="connsiteX526" fmla="*/ 464756 w 1614899"/>
                      <a:gd name="connsiteY526" fmla="*/ 159544 h 1619250"/>
                      <a:gd name="connsiteX527" fmla="*/ 452849 w 1614899"/>
                      <a:gd name="connsiteY527" fmla="*/ 138112 h 1619250"/>
                      <a:gd name="connsiteX528" fmla="*/ 450468 w 1614899"/>
                      <a:gd name="connsiteY528" fmla="*/ 111919 h 1619250"/>
                      <a:gd name="connsiteX529" fmla="*/ 443324 w 1614899"/>
                      <a:gd name="connsiteY529" fmla="*/ 107156 h 1619250"/>
                      <a:gd name="connsiteX530" fmla="*/ 440943 w 1614899"/>
                      <a:gd name="connsiteY530" fmla="*/ 100012 h 1619250"/>
                      <a:gd name="connsiteX531" fmla="*/ 450468 w 1614899"/>
                      <a:gd name="connsiteY531" fmla="*/ 88106 h 1619250"/>
                      <a:gd name="connsiteX532" fmla="*/ 476662 w 1614899"/>
                      <a:gd name="connsiteY532" fmla="*/ 90487 h 1619250"/>
                      <a:gd name="connsiteX533" fmla="*/ 486187 w 1614899"/>
                      <a:gd name="connsiteY533" fmla="*/ 92869 h 1619250"/>
                      <a:gd name="connsiteX534" fmla="*/ 493331 w 1614899"/>
                      <a:gd name="connsiteY534" fmla="*/ 97631 h 1619250"/>
                      <a:gd name="connsiteX535" fmla="*/ 502856 w 1614899"/>
                      <a:gd name="connsiteY535" fmla="*/ 95250 h 1619250"/>
                      <a:gd name="connsiteX536" fmla="*/ 509999 w 1614899"/>
                      <a:gd name="connsiteY536" fmla="*/ 90487 h 1619250"/>
                      <a:gd name="connsiteX537" fmla="*/ 507618 w 1614899"/>
                      <a:gd name="connsiteY537" fmla="*/ 83344 h 1619250"/>
                      <a:gd name="connsiteX538" fmla="*/ 500474 w 1614899"/>
                      <a:gd name="connsiteY538" fmla="*/ 80962 h 1619250"/>
                      <a:gd name="connsiteX539" fmla="*/ 493331 w 1614899"/>
                      <a:gd name="connsiteY539" fmla="*/ 76200 h 1619250"/>
                      <a:gd name="connsiteX540" fmla="*/ 495712 w 1614899"/>
                      <a:gd name="connsiteY540"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19549 w 1614899"/>
                      <a:gd name="connsiteY86" fmla="*/ 328612 h 1619250"/>
                      <a:gd name="connsiteX87" fmla="*/ 714787 w 1614899"/>
                      <a:gd name="connsiteY87" fmla="*/ 335756 h 1619250"/>
                      <a:gd name="connsiteX88" fmla="*/ 717168 w 1614899"/>
                      <a:gd name="connsiteY88" fmla="*/ 342900 h 1619250"/>
                      <a:gd name="connsiteX89" fmla="*/ 721931 w 1614899"/>
                      <a:gd name="connsiteY89" fmla="*/ 347662 h 1619250"/>
                      <a:gd name="connsiteX90" fmla="*/ 733837 w 1614899"/>
                      <a:gd name="connsiteY90" fmla="*/ 357187 h 1619250"/>
                      <a:gd name="connsiteX91" fmla="*/ 740981 w 1614899"/>
                      <a:gd name="connsiteY91" fmla="*/ 354806 h 1619250"/>
                      <a:gd name="connsiteX92" fmla="*/ 755268 w 1614899"/>
                      <a:gd name="connsiteY92" fmla="*/ 350044 h 1619250"/>
                      <a:gd name="connsiteX93" fmla="*/ 752887 w 1614899"/>
                      <a:gd name="connsiteY93" fmla="*/ 359569 h 1619250"/>
                      <a:gd name="connsiteX94" fmla="*/ 755268 w 1614899"/>
                      <a:gd name="connsiteY94" fmla="*/ 371475 h 1619250"/>
                      <a:gd name="connsiteX95" fmla="*/ 762412 w 1614899"/>
                      <a:gd name="connsiteY95" fmla="*/ 373856 h 1619250"/>
                      <a:gd name="connsiteX96" fmla="*/ 745743 w 1614899"/>
                      <a:gd name="connsiteY96" fmla="*/ 390525 h 1619250"/>
                      <a:gd name="connsiteX97" fmla="*/ 750506 w 1614899"/>
                      <a:gd name="connsiteY97" fmla="*/ 397669 h 1619250"/>
                      <a:gd name="connsiteX98" fmla="*/ 745743 w 1614899"/>
                      <a:gd name="connsiteY98" fmla="*/ 411956 h 1619250"/>
                      <a:gd name="connsiteX99" fmla="*/ 731456 w 1614899"/>
                      <a:gd name="connsiteY99" fmla="*/ 404812 h 1619250"/>
                      <a:gd name="connsiteX100" fmla="*/ 724312 w 1614899"/>
                      <a:gd name="connsiteY100" fmla="*/ 409575 h 1619250"/>
                      <a:gd name="connsiteX101" fmla="*/ 721931 w 1614899"/>
                      <a:gd name="connsiteY101" fmla="*/ 416719 h 1619250"/>
                      <a:gd name="connsiteX102" fmla="*/ 736218 w 1614899"/>
                      <a:gd name="connsiteY102" fmla="*/ 426244 h 1619250"/>
                      <a:gd name="connsiteX103" fmla="*/ 731456 w 1614899"/>
                      <a:gd name="connsiteY103" fmla="*/ 442912 h 1619250"/>
                      <a:gd name="connsiteX104" fmla="*/ 729074 w 1614899"/>
                      <a:gd name="connsiteY104" fmla="*/ 450056 h 1619250"/>
                      <a:gd name="connsiteX105" fmla="*/ 731456 w 1614899"/>
                      <a:gd name="connsiteY105" fmla="*/ 481012 h 1619250"/>
                      <a:gd name="connsiteX106" fmla="*/ 736218 w 1614899"/>
                      <a:gd name="connsiteY106" fmla="*/ 488156 h 1619250"/>
                      <a:gd name="connsiteX107" fmla="*/ 743362 w 1614899"/>
                      <a:gd name="connsiteY107" fmla="*/ 509587 h 1619250"/>
                      <a:gd name="connsiteX108" fmla="*/ 745743 w 1614899"/>
                      <a:gd name="connsiteY108" fmla="*/ 516731 h 1619250"/>
                      <a:gd name="connsiteX109" fmla="*/ 760031 w 1614899"/>
                      <a:gd name="connsiteY109" fmla="*/ 526256 h 1619250"/>
                      <a:gd name="connsiteX110" fmla="*/ 764793 w 1614899"/>
                      <a:gd name="connsiteY110" fmla="*/ 533400 h 1619250"/>
                      <a:gd name="connsiteX111" fmla="*/ 769556 w 1614899"/>
                      <a:gd name="connsiteY111" fmla="*/ 547687 h 1619250"/>
                      <a:gd name="connsiteX112" fmla="*/ 769556 w 1614899"/>
                      <a:gd name="connsiteY112" fmla="*/ 542925 h 1619250"/>
                      <a:gd name="connsiteX113" fmla="*/ 776699 w 1614899"/>
                      <a:gd name="connsiteY113" fmla="*/ 550069 h 1619250"/>
                      <a:gd name="connsiteX114" fmla="*/ 793368 w 1614899"/>
                      <a:gd name="connsiteY114" fmla="*/ 552450 h 1619250"/>
                      <a:gd name="connsiteX115" fmla="*/ 807656 w 1614899"/>
                      <a:gd name="connsiteY115" fmla="*/ 557212 h 1619250"/>
                      <a:gd name="connsiteX116" fmla="*/ 814799 w 1614899"/>
                      <a:gd name="connsiteY116" fmla="*/ 559594 h 1619250"/>
                      <a:gd name="connsiteX117" fmla="*/ 821943 w 1614899"/>
                      <a:gd name="connsiteY117" fmla="*/ 566737 h 1619250"/>
                      <a:gd name="connsiteX118" fmla="*/ 829087 w 1614899"/>
                      <a:gd name="connsiteY118" fmla="*/ 569119 h 1619250"/>
                      <a:gd name="connsiteX119" fmla="*/ 836231 w 1614899"/>
                      <a:gd name="connsiteY119" fmla="*/ 573881 h 1619250"/>
                      <a:gd name="connsiteX120" fmla="*/ 843374 w 1614899"/>
                      <a:gd name="connsiteY120" fmla="*/ 588169 h 1619250"/>
                      <a:gd name="connsiteX121" fmla="*/ 852899 w 1614899"/>
                      <a:gd name="connsiteY121" fmla="*/ 597694 h 1619250"/>
                      <a:gd name="connsiteX122" fmla="*/ 902906 w 1614899"/>
                      <a:gd name="connsiteY122" fmla="*/ 604837 h 1619250"/>
                      <a:gd name="connsiteX123" fmla="*/ 914812 w 1614899"/>
                      <a:gd name="connsiteY123" fmla="*/ 626269 h 1619250"/>
                      <a:gd name="connsiteX124" fmla="*/ 919574 w 1614899"/>
                      <a:gd name="connsiteY124" fmla="*/ 633412 h 1619250"/>
                      <a:gd name="connsiteX125" fmla="*/ 919574 w 1614899"/>
                      <a:gd name="connsiteY125" fmla="*/ 671512 h 1619250"/>
                      <a:gd name="connsiteX126" fmla="*/ 926718 w 1614899"/>
                      <a:gd name="connsiteY126" fmla="*/ 676275 h 1619250"/>
                      <a:gd name="connsiteX127" fmla="*/ 933862 w 1614899"/>
                      <a:gd name="connsiteY127" fmla="*/ 690562 h 1619250"/>
                      <a:gd name="connsiteX128" fmla="*/ 936243 w 1614899"/>
                      <a:gd name="connsiteY128" fmla="*/ 702469 h 1619250"/>
                      <a:gd name="connsiteX129" fmla="*/ 943387 w 1614899"/>
                      <a:gd name="connsiteY129" fmla="*/ 709612 h 1619250"/>
                      <a:gd name="connsiteX130" fmla="*/ 945768 w 1614899"/>
                      <a:gd name="connsiteY130" fmla="*/ 723900 h 1619250"/>
                      <a:gd name="connsiteX131" fmla="*/ 955293 w 1614899"/>
                      <a:gd name="connsiteY131" fmla="*/ 738187 h 1619250"/>
                      <a:gd name="connsiteX132" fmla="*/ 964818 w 1614899"/>
                      <a:gd name="connsiteY132" fmla="*/ 752475 h 1619250"/>
                      <a:gd name="connsiteX133" fmla="*/ 967199 w 1614899"/>
                      <a:gd name="connsiteY133" fmla="*/ 759619 h 1619250"/>
                      <a:gd name="connsiteX134" fmla="*/ 974343 w 1614899"/>
                      <a:gd name="connsiteY134" fmla="*/ 769144 h 1619250"/>
                      <a:gd name="connsiteX135" fmla="*/ 979106 w 1614899"/>
                      <a:gd name="connsiteY135" fmla="*/ 783431 h 1619250"/>
                      <a:gd name="connsiteX136" fmla="*/ 981487 w 1614899"/>
                      <a:gd name="connsiteY136" fmla="*/ 790575 h 1619250"/>
                      <a:gd name="connsiteX137" fmla="*/ 991012 w 1614899"/>
                      <a:gd name="connsiteY137" fmla="*/ 804862 h 1619250"/>
                      <a:gd name="connsiteX138" fmla="*/ 998156 w 1614899"/>
                      <a:gd name="connsiteY138" fmla="*/ 819150 h 1619250"/>
                      <a:gd name="connsiteX139" fmla="*/ 1000537 w 1614899"/>
                      <a:gd name="connsiteY139" fmla="*/ 826294 h 1619250"/>
                      <a:gd name="connsiteX140" fmla="*/ 1007681 w 1614899"/>
                      <a:gd name="connsiteY140" fmla="*/ 828675 h 1619250"/>
                      <a:gd name="connsiteX141" fmla="*/ 1014824 w 1614899"/>
                      <a:gd name="connsiteY141" fmla="*/ 833437 h 1619250"/>
                      <a:gd name="connsiteX142" fmla="*/ 1029112 w 1614899"/>
                      <a:gd name="connsiteY142" fmla="*/ 838200 h 1619250"/>
                      <a:gd name="connsiteX143" fmla="*/ 1033874 w 1614899"/>
                      <a:gd name="connsiteY143" fmla="*/ 845344 h 1619250"/>
                      <a:gd name="connsiteX144" fmla="*/ 1048162 w 1614899"/>
                      <a:gd name="connsiteY144" fmla="*/ 857250 h 1619250"/>
                      <a:gd name="connsiteX145" fmla="*/ 1062449 w 1614899"/>
                      <a:gd name="connsiteY145" fmla="*/ 862012 h 1619250"/>
                      <a:gd name="connsiteX146" fmla="*/ 1079118 w 1614899"/>
                      <a:gd name="connsiteY146" fmla="*/ 883444 h 1619250"/>
                      <a:gd name="connsiteX147" fmla="*/ 1081499 w 1614899"/>
                      <a:gd name="connsiteY147" fmla="*/ 890587 h 1619250"/>
                      <a:gd name="connsiteX148" fmla="*/ 1095787 w 1614899"/>
                      <a:gd name="connsiteY148" fmla="*/ 883444 h 1619250"/>
                      <a:gd name="connsiteX149" fmla="*/ 1110074 w 1614899"/>
                      <a:gd name="connsiteY149" fmla="*/ 890587 h 1619250"/>
                      <a:gd name="connsiteX150" fmla="*/ 1121981 w 1614899"/>
                      <a:gd name="connsiteY150" fmla="*/ 902494 h 1619250"/>
                      <a:gd name="connsiteX151" fmla="*/ 1136268 w 1614899"/>
                      <a:gd name="connsiteY151" fmla="*/ 907256 h 1619250"/>
                      <a:gd name="connsiteX152" fmla="*/ 1176749 w 1614899"/>
                      <a:gd name="connsiteY152" fmla="*/ 904875 h 1619250"/>
                      <a:gd name="connsiteX153" fmla="*/ 1195799 w 1614899"/>
                      <a:gd name="connsiteY153" fmla="*/ 904875 h 1619250"/>
                      <a:gd name="connsiteX154" fmla="*/ 1207706 w 1614899"/>
                      <a:gd name="connsiteY154" fmla="*/ 912019 h 1619250"/>
                      <a:gd name="connsiteX155" fmla="*/ 1210087 w 1614899"/>
                      <a:gd name="connsiteY155" fmla="*/ 902494 h 1619250"/>
                      <a:gd name="connsiteX156" fmla="*/ 1219612 w 1614899"/>
                      <a:gd name="connsiteY156" fmla="*/ 900112 h 1619250"/>
                      <a:gd name="connsiteX157" fmla="*/ 1226756 w 1614899"/>
                      <a:gd name="connsiteY157" fmla="*/ 895350 h 1619250"/>
                      <a:gd name="connsiteX158" fmla="*/ 1241043 w 1614899"/>
                      <a:gd name="connsiteY158" fmla="*/ 890587 h 1619250"/>
                      <a:gd name="connsiteX159" fmla="*/ 1255331 w 1614899"/>
                      <a:gd name="connsiteY159" fmla="*/ 892969 h 1619250"/>
                      <a:gd name="connsiteX160" fmla="*/ 1260093 w 1614899"/>
                      <a:gd name="connsiteY160" fmla="*/ 900112 h 1619250"/>
                      <a:gd name="connsiteX161" fmla="*/ 1267237 w 1614899"/>
                      <a:gd name="connsiteY161" fmla="*/ 904875 h 1619250"/>
                      <a:gd name="connsiteX162" fmla="*/ 1271999 w 1614899"/>
                      <a:gd name="connsiteY162" fmla="*/ 919162 h 1619250"/>
                      <a:gd name="connsiteX163" fmla="*/ 1269618 w 1614899"/>
                      <a:gd name="connsiteY163" fmla="*/ 928687 h 1619250"/>
                      <a:gd name="connsiteX164" fmla="*/ 1262474 w 1614899"/>
                      <a:gd name="connsiteY164" fmla="*/ 933450 h 1619250"/>
                      <a:gd name="connsiteX165" fmla="*/ 1255331 w 1614899"/>
                      <a:gd name="connsiteY165" fmla="*/ 940594 h 1619250"/>
                      <a:gd name="connsiteX166" fmla="*/ 1248187 w 1614899"/>
                      <a:gd name="connsiteY166" fmla="*/ 942975 h 1619250"/>
                      <a:gd name="connsiteX167" fmla="*/ 1241043 w 1614899"/>
                      <a:gd name="connsiteY167" fmla="*/ 947737 h 1619250"/>
                      <a:gd name="connsiteX168" fmla="*/ 1226756 w 1614899"/>
                      <a:gd name="connsiteY168" fmla="*/ 954881 h 1619250"/>
                      <a:gd name="connsiteX169" fmla="*/ 1236281 w 1614899"/>
                      <a:gd name="connsiteY169" fmla="*/ 969169 h 1619250"/>
                      <a:gd name="connsiteX170" fmla="*/ 1241043 w 1614899"/>
                      <a:gd name="connsiteY170" fmla="*/ 983456 h 1619250"/>
                      <a:gd name="connsiteX171" fmla="*/ 1250568 w 1614899"/>
                      <a:gd name="connsiteY171" fmla="*/ 997744 h 1619250"/>
                      <a:gd name="connsiteX172" fmla="*/ 1262474 w 1614899"/>
                      <a:gd name="connsiteY172" fmla="*/ 997744 h 1619250"/>
                      <a:gd name="connsiteX173" fmla="*/ 1264856 w 1614899"/>
                      <a:gd name="connsiteY173" fmla="*/ 990600 h 1619250"/>
                      <a:gd name="connsiteX174" fmla="*/ 1283906 w 1614899"/>
                      <a:gd name="connsiteY174" fmla="*/ 995362 h 1619250"/>
                      <a:gd name="connsiteX175" fmla="*/ 1291049 w 1614899"/>
                      <a:gd name="connsiteY175" fmla="*/ 1000125 h 1619250"/>
                      <a:gd name="connsiteX176" fmla="*/ 1298193 w 1614899"/>
                      <a:gd name="connsiteY176" fmla="*/ 1002506 h 1619250"/>
                      <a:gd name="connsiteX177" fmla="*/ 1322006 w 1614899"/>
                      <a:gd name="connsiteY177" fmla="*/ 1007269 h 1619250"/>
                      <a:gd name="connsiteX178" fmla="*/ 1336293 w 1614899"/>
                      <a:gd name="connsiteY178" fmla="*/ 1012031 h 1619250"/>
                      <a:gd name="connsiteX179" fmla="*/ 1355343 w 1614899"/>
                      <a:gd name="connsiteY179" fmla="*/ 1016794 h 1619250"/>
                      <a:gd name="connsiteX180" fmla="*/ 1362487 w 1614899"/>
                      <a:gd name="connsiteY180" fmla="*/ 1023937 h 1619250"/>
                      <a:gd name="connsiteX181" fmla="*/ 1376774 w 1614899"/>
                      <a:gd name="connsiteY181" fmla="*/ 1028700 h 1619250"/>
                      <a:gd name="connsiteX182" fmla="*/ 1391062 w 1614899"/>
                      <a:gd name="connsiteY182" fmla="*/ 1033462 h 1619250"/>
                      <a:gd name="connsiteX183" fmla="*/ 1398206 w 1614899"/>
                      <a:gd name="connsiteY183" fmla="*/ 1035844 h 1619250"/>
                      <a:gd name="connsiteX184" fmla="*/ 1405349 w 1614899"/>
                      <a:gd name="connsiteY184" fmla="*/ 1038225 h 1619250"/>
                      <a:gd name="connsiteX185" fmla="*/ 1412493 w 1614899"/>
                      <a:gd name="connsiteY185" fmla="*/ 1042987 h 1619250"/>
                      <a:gd name="connsiteX186" fmla="*/ 1426781 w 1614899"/>
                      <a:gd name="connsiteY186" fmla="*/ 1050131 h 1619250"/>
                      <a:gd name="connsiteX187" fmla="*/ 1436306 w 1614899"/>
                      <a:gd name="connsiteY187" fmla="*/ 1062037 h 1619250"/>
                      <a:gd name="connsiteX188" fmla="*/ 1441068 w 1614899"/>
                      <a:gd name="connsiteY188" fmla="*/ 1069181 h 1619250"/>
                      <a:gd name="connsiteX189" fmla="*/ 1450593 w 1614899"/>
                      <a:gd name="connsiteY189" fmla="*/ 1071562 h 1619250"/>
                      <a:gd name="connsiteX190" fmla="*/ 1464881 w 1614899"/>
                      <a:gd name="connsiteY190" fmla="*/ 1076325 h 1619250"/>
                      <a:gd name="connsiteX191" fmla="*/ 1467262 w 1614899"/>
                      <a:gd name="connsiteY191" fmla="*/ 1083469 h 1619250"/>
                      <a:gd name="connsiteX192" fmla="*/ 1488693 w 1614899"/>
                      <a:gd name="connsiteY192" fmla="*/ 1092994 h 1619250"/>
                      <a:gd name="connsiteX193" fmla="*/ 1500599 w 1614899"/>
                      <a:gd name="connsiteY193" fmla="*/ 1095375 h 1619250"/>
                      <a:gd name="connsiteX194" fmla="*/ 1514887 w 1614899"/>
                      <a:gd name="connsiteY194" fmla="*/ 1097756 h 1619250"/>
                      <a:gd name="connsiteX195" fmla="*/ 1522031 w 1614899"/>
                      <a:gd name="connsiteY195" fmla="*/ 1100137 h 1619250"/>
                      <a:gd name="connsiteX196" fmla="*/ 1541081 w 1614899"/>
                      <a:gd name="connsiteY196" fmla="*/ 1104900 h 1619250"/>
                      <a:gd name="connsiteX197" fmla="*/ 1545843 w 1614899"/>
                      <a:gd name="connsiteY197" fmla="*/ 1112044 h 1619250"/>
                      <a:gd name="connsiteX198" fmla="*/ 1543462 w 1614899"/>
                      <a:gd name="connsiteY198" fmla="*/ 1119187 h 1619250"/>
                      <a:gd name="connsiteX199" fmla="*/ 1557749 w 1614899"/>
                      <a:gd name="connsiteY199" fmla="*/ 1128712 h 1619250"/>
                      <a:gd name="connsiteX200" fmla="*/ 1564893 w 1614899"/>
                      <a:gd name="connsiteY200" fmla="*/ 1133475 h 1619250"/>
                      <a:gd name="connsiteX201" fmla="*/ 1579181 w 1614899"/>
                      <a:gd name="connsiteY201" fmla="*/ 1147762 h 1619250"/>
                      <a:gd name="connsiteX202" fmla="*/ 1593468 w 1614899"/>
                      <a:gd name="connsiteY202" fmla="*/ 1152525 h 1619250"/>
                      <a:gd name="connsiteX203" fmla="*/ 1600612 w 1614899"/>
                      <a:gd name="connsiteY203" fmla="*/ 1154906 h 1619250"/>
                      <a:gd name="connsiteX204" fmla="*/ 1607756 w 1614899"/>
                      <a:gd name="connsiteY204" fmla="*/ 1162050 h 1619250"/>
                      <a:gd name="connsiteX205" fmla="*/ 1610137 w 1614899"/>
                      <a:gd name="connsiteY205" fmla="*/ 1169194 h 1619250"/>
                      <a:gd name="connsiteX206" fmla="*/ 1614899 w 1614899"/>
                      <a:gd name="connsiteY206" fmla="*/ 1176337 h 1619250"/>
                      <a:gd name="connsiteX207" fmla="*/ 1612518 w 1614899"/>
                      <a:gd name="connsiteY207" fmla="*/ 1195387 h 1619250"/>
                      <a:gd name="connsiteX208" fmla="*/ 1610137 w 1614899"/>
                      <a:gd name="connsiteY208" fmla="*/ 1202531 h 1619250"/>
                      <a:gd name="connsiteX209" fmla="*/ 1602993 w 1614899"/>
                      <a:gd name="connsiteY209" fmla="*/ 1204912 h 1619250"/>
                      <a:gd name="connsiteX210" fmla="*/ 1600612 w 1614899"/>
                      <a:gd name="connsiteY210" fmla="*/ 1212056 h 1619250"/>
                      <a:gd name="connsiteX211" fmla="*/ 1598231 w 1614899"/>
                      <a:gd name="connsiteY211" fmla="*/ 1247775 h 1619250"/>
                      <a:gd name="connsiteX212" fmla="*/ 1579181 w 1614899"/>
                      <a:gd name="connsiteY212" fmla="*/ 1245394 h 1619250"/>
                      <a:gd name="connsiteX213" fmla="*/ 1550606 w 1614899"/>
                      <a:gd name="connsiteY213" fmla="*/ 1231106 h 1619250"/>
                      <a:gd name="connsiteX214" fmla="*/ 1543462 w 1614899"/>
                      <a:gd name="connsiteY214" fmla="*/ 1226344 h 1619250"/>
                      <a:gd name="connsiteX215" fmla="*/ 1543462 w 1614899"/>
                      <a:gd name="connsiteY215" fmla="*/ 1197769 h 1619250"/>
                      <a:gd name="connsiteX216" fmla="*/ 1545843 w 1614899"/>
                      <a:gd name="connsiteY216" fmla="*/ 1183481 h 1619250"/>
                      <a:gd name="connsiteX217" fmla="*/ 1531556 w 1614899"/>
                      <a:gd name="connsiteY217" fmla="*/ 1176337 h 1619250"/>
                      <a:gd name="connsiteX218" fmla="*/ 1529174 w 1614899"/>
                      <a:gd name="connsiteY218" fmla="*/ 1169194 h 1619250"/>
                      <a:gd name="connsiteX219" fmla="*/ 1531556 w 1614899"/>
                      <a:gd name="connsiteY219" fmla="*/ 1152525 h 1619250"/>
                      <a:gd name="connsiteX220" fmla="*/ 1524412 w 1614899"/>
                      <a:gd name="connsiteY220" fmla="*/ 1154906 h 1619250"/>
                      <a:gd name="connsiteX221" fmla="*/ 1517268 w 1614899"/>
                      <a:gd name="connsiteY221" fmla="*/ 1159669 h 1619250"/>
                      <a:gd name="connsiteX222" fmla="*/ 1502981 w 1614899"/>
                      <a:gd name="connsiteY222" fmla="*/ 1164431 h 1619250"/>
                      <a:gd name="connsiteX223" fmla="*/ 1481549 w 1614899"/>
                      <a:gd name="connsiteY223" fmla="*/ 1169194 h 1619250"/>
                      <a:gd name="connsiteX224" fmla="*/ 1457737 w 1614899"/>
                      <a:gd name="connsiteY224" fmla="*/ 1164431 h 1619250"/>
                      <a:gd name="connsiteX225" fmla="*/ 1443449 w 1614899"/>
                      <a:gd name="connsiteY225" fmla="*/ 1154906 h 1619250"/>
                      <a:gd name="connsiteX226" fmla="*/ 1436306 w 1614899"/>
                      <a:gd name="connsiteY226" fmla="*/ 1150144 h 1619250"/>
                      <a:gd name="connsiteX227" fmla="*/ 1426781 w 1614899"/>
                      <a:gd name="connsiteY227" fmla="*/ 1140619 h 1619250"/>
                      <a:gd name="connsiteX228" fmla="*/ 1402968 w 1614899"/>
                      <a:gd name="connsiteY228" fmla="*/ 1138237 h 1619250"/>
                      <a:gd name="connsiteX229" fmla="*/ 1395824 w 1614899"/>
                      <a:gd name="connsiteY229" fmla="*/ 1145381 h 1619250"/>
                      <a:gd name="connsiteX230" fmla="*/ 1374393 w 1614899"/>
                      <a:gd name="connsiteY230" fmla="*/ 1162050 h 1619250"/>
                      <a:gd name="connsiteX231" fmla="*/ 1367249 w 1614899"/>
                      <a:gd name="connsiteY231" fmla="*/ 1188244 h 1619250"/>
                      <a:gd name="connsiteX232" fmla="*/ 1357724 w 1614899"/>
                      <a:gd name="connsiteY232" fmla="*/ 1202531 h 1619250"/>
                      <a:gd name="connsiteX233" fmla="*/ 1348199 w 1614899"/>
                      <a:gd name="connsiteY233" fmla="*/ 1212056 h 1619250"/>
                      <a:gd name="connsiteX234" fmla="*/ 1345818 w 1614899"/>
                      <a:gd name="connsiteY234" fmla="*/ 1219200 h 1619250"/>
                      <a:gd name="connsiteX235" fmla="*/ 1341056 w 1614899"/>
                      <a:gd name="connsiteY235" fmla="*/ 1228725 h 1619250"/>
                      <a:gd name="connsiteX236" fmla="*/ 1350581 w 1614899"/>
                      <a:gd name="connsiteY236" fmla="*/ 1243012 h 1619250"/>
                      <a:gd name="connsiteX237" fmla="*/ 1343437 w 1614899"/>
                      <a:gd name="connsiteY237" fmla="*/ 1266825 h 1619250"/>
                      <a:gd name="connsiteX238" fmla="*/ 1345818 w 1614899"/>
                      <a:gd name="connsiteY238" fmla="*/ 1281112 h 1619250"/>
                      <a:gd name="connsiteX239" fmla="*/ 1348199 w 1614899"/>
                      <a:gd name="connsiteY239" fmla="*/ 1290637 h 1619250"/>
                      <a:gd name="connsiteX240" fmla="*/ 1355343 w 1614899"/>
                      <a:gd name="connsiteY240" fmla="*/ 1297781 h 1619250"/>
                      <a:gd name="connsiteX241" fmla="*/ 1362487 w 1614899"/>
                      <a:gd name="connsiteY241" fmla="*/ 1300162 h 1619250"/>
                      <a:gd name="connsiteX242" fmla="*/ 1386299 w 1614899"/>
                      <a:gd name="connsiteY242" fmla="*/ 1302544 h 1619250"/>
                      <a:gd name="connsiteX243" fmla="*/ 1395824 w 1614899"/>
                      <a:gd name="connsiteY243" fmla="*/ 1309687 h 1619250"/>
                      <a:gd name="connsiteX244" fmla="*/ 1410112 w 1614899"/>
                      <a:gd name="connsiteY244" fmla="*/ 1314450 h 1619250"/>
                      <a:gd name="connsiteX245" fmla="*/ 1417256 w 1614899"/>
                      <a:gd name="connsiteY245" fmla="*/ 1319212 h 1619250"/>
                      <a:gd name="connsiteX246" fmla="*/ 1431543 w 1614899"/>
                      <a:gd name="connsiteY246" fmla="*/ 1326356 h 1619250"/>
                      <a:gd name="connsiteX247" fmla="*/ 1433924 w 1614899"/>
                      <a:gd name="connsiteY247" fmla="*/ 1333500 h 1619250"/>
                      <a:gd name="connsiteX248" fmla="*/ 1429162 w 1614899"/>
                      <a:gd name="connsiteY248" fmla="*/ 1340644 h 1619250"/>
                      <a:gd name="connsiteX249" fmla="*/ 1426781 w 1614899"/>
                      <a:gd name="connsiteY249" fmla="*/ 1347787 h 1619250"/>
                      <a:gd name="connsiteX250" fmla="*/ 1431543 w 1614899"/>
                      <a:gd name="connsiteY250" fmla="*/ 1354931 h 1619250"/>
                      <a:gd name="connsiteX251" fmla="*/ 1436306 w 1614899"/>
                      <a:gd name="connsiteY251" fmla="*/ 1364456 h 1619250"/>
                      <a:gd name="connsiteX252" fmla="*/ 1443449 w 1614899"/>
                      <a:gd name="connsiteY252" fmla="*/ 1395412 h 1619250"/>
                      <a:gd name="connsiteX253" fmla="*/ 1450593 w 1614899"/>
                      <a:gd name="connsiteY253" fmla="*/ 1402556 h 1619250"/>
                      <a:gd name="connsiteX254" fmla="*/ 1448212 w 1614899"/>
                      <a:gd name="connsiteY254" fmla="*/ 1412081 h 1619250"/>
                      <a:gd name="connsiteX255" fmla="*/ 1433924 w 1614899"/>
                      <a:gd name="connsiteY255" fmla="*/ 1416844 h 1619250"/>
                      <a:gd name="connsiteX256" fmla="*/ 1419637 w 1614899"/>
                      <a:gd name="connsiteY256" fmla="*/ 1423987 h 1619250"/>
                      <a:gd name="connsiteX257" fmla="*/ 1405349 w 1614899"/>
                      <a:gd name="connsiteY257" fmla="*/ 1431131 h 1619250"/>
                      <a:gd name="connsiteX258" fmla="*/ 1398206 w 1614899"/>
                      <a:gd name="connsiteY258" fmla="*/ 1435894 h 1619250"/>
                      <a:gd name="connsiteX259" fmla="*/ 1383918 w 1614899"/>
                      <a:gd name="connsiteY259" fmla="*/ 1440656 h 1619250"/>
                      <a:gd name="connsiteX260" fmla="*/ 1376774 w 1614899"/>
                      <a:gd name="connsiteY260" fmla="*/ 1443037 h 1619250"/>
                      <a:gd name="connsiteX261" fmla="*/ 1364868 w 1614899"/>
                      <a:gd name="connsiteY261" fmla="*/ 1464469 h 1619250"/>
                      <a:gd name="connsiteX262" fmla="*/ 1362487 w 1614899"/>
                      <a:gd name="connsiteY262" fmla="*/ 1473994 h 1619250"/>
                      <a:gd name="connsiteX263" fmla="*/ 1364868 w 1614899"/>
                      <a:gd name="connsiteY263" fmla="*/ 1497806 h 1619250"/>
                      <a:gd name="connsiteX264" fmla="*/ 1372012 w 1614899"/>
                      <a:gd name="connsiteY264" fmla="*/ 1500187 h 1619250"/>
                      <a:gd name="connsiteX265" fmla="*/ 1369631 w 1614899"/>
                      <a:gd name="connsiteY265" fmla="*/ 1516856 h 1619250"/>
                      <a:gd name="connsiteX266" fmla="*/ 1367249 w 1614899"/>
                      <a:gd name="connsiteY266" fmla="*/ 1524000 h 1619250"/>
                      <a:gd name="connsiteX267" fmla="*/ 1360106 w 1614899"/>
                      <a:gd name="connsiteY267" fmla="*/ 1526381 h 1619250"/>
                      <a:gd name="connsiteX268" fmla="*/ 1352962 w 1614899"/>
                      <a:gd name="connsiteY268" fmla="*/ 1531144 h 1619250"/>
                      <a:gd name="connsiteX269" fmla="*/ 1343437 w 1614899"/>
                      <a:gd name="connsiteY269" fmla="*/ 1535906 h 1619250"/>
                      <a:gd name="connsiteX270" fmla="*/ 1329149 w 1614899"/>
                      <a:gd name="connsiteY270" fmla="*/ 1550194 h 1619250"/>
                      <a:gd name="connsiteX271" fmla="*/ 1326768 w 1614899"/>
                      <a:gd name="connsiteY271" fmla="*/ 1559719 h 1619250"/>
                      <a:gd name="connsiteX272" fmla="*/ 1322006 w 1614899"/>
                      <a:gd name="connsiteY272" fmla="*/ 1566862 h 1619250"/>
                      <a:gd name="connsiteX273" fmla="*/ 1319624 w 1614899"/>
                      <a:gd name="connsiteY273" fmla="*/ 1578769 h 1619250"/>
                      <a:gd name="connsiteX274" fmla="*/ 1317243 w 1614899"/>
                      <a:gd name="connsiteY274" fmla="*/ 1585912 h 1619250"/>
                      <a:gd name="connsiteX275" fmla="*/ 1314862 w 1614899"/>
                      <a:gd name="connsiteY275" fmla="*/ 1602581 h 1619250"/>
                      <a:gd name="connsiteX276" fmla="*/ 1283906 w 1614899"/>
                      <a:gd name="connsiteY276" fmla="*/ 1614487 h 1619250"/>
                      <a:gd name="connsiteX277" fmla="*/ 1274381 w 1614899"/>
                      <a:gd name="connsiteY277" fmla="*/ 1616869 h 1619250"/>
                      <a:gd name="connsiteX278" fmla="*/ 1260093 w 1614899"/>
                      <a:gd name="connsiteY278" fmla="*/ 1619250 h 1619250"/>
                      <a:gd name="connsiteX279" fmla="*/ 1248187 w 1614899"/>
                      <a:gd name="connsiteY279" fmla="*/ 1616869 h 1619250"/>
                      <a:gd name="connsiteX280" fmla="*/ 1243424 w 1614899"/>
                      <a:gd name="connsiteY280" fmla="*/ 1597819 h 1619250"/>
                      <a:gd name="connsiteX281" fmla="*/ 1238662 w 1614899"/>
                      <a:gd name="connsiteY281" fmla="*/ 1581150 h 1619250"/>
                      <a:gd name="connsiteX282" fmla="*/ 1243424 w 1614899"/>
                      <a:gd name="connsiteY282" fmla="*/ 1566862 h 1619250"/>
                      <a:gd name="connsiteX283" fmla="*/ 1252949 w 1614899"/>
                      <a:gd name="connsiteY283" fmla="*/ 1552575 h 1619250"/>
                      <a:gd name="connsiteX284" fmla="*/ 1260093 w 1614899"/>
                      <a:gd name="connsiteY284" fmla="*/ 1550194 h 1619250"/>
                      <a:gd name="connsiteX285" fmla="*/ 1267237 w 1614899"/>
                      <a:gd name="connsiteY285" fmla="*/ 1543050 h 1619250"/>
                      <a:gd name="connsiteX286" fmla="*/ 1269618 w 1614899"/>
                      <a:gd name="connsiteY286" fmla="*/ 1535906 h 1619250"/>
                      <a:gd name="connsiteX287" fmla="*/ 1274381 w 1614899"/>
                      <a:gd name="connsiteY287" fmla="*/ 1526381 h 1619250"/>
                      <a:gd name="connsiteX288" fmla="*/ 1267237 w 1614899"/>
                      <a:gd name="connsiteY288" fmla="*/ 1502569 h 1619250"/>
                      <a:gd name="connsiteX289" fmla="*/ 1252949 w 1614899"/>
                      <a:gd name="connsiteY289" fmla="*/ 1493044 h 1619250"/>
                      <a:gd name="connsiteX290" fmla="*/ 1262474 w 1614899"/>
                      <a:gd name="connsiteY290" fmla="*/ 1478756 h 1619250"/>
                      <a:gd name="connsiteX291" fmla="*/ 1279143 w 1614899"/>
                      <a:gd name="connsiteY291" fmla="*/ 1462087 h 1619250"/>
                      <a:gd name="connsiteX292" fmla="*/ 1302956 w 1614899"/>
                      <a:gd name="connsiteY292" fmla="*/ 1459706 h 1619250"/>
                      <a:gd name="connsiteX293" fmla="*/ 1305337 w 1614899"/>
                      <a:gd name="connsiteY293" fmla="*/ 1450181 h 1619250"/>
                      <a:gd name="connsiteX294" fmla="*/ 1310099 w 1614899"/>
                      <a:gd name="connsiteY294" fmla="*/ 1443037 h 1619250"/>
                      <a:gd name="connsiteX295" fmla="*/ 1312481 w 1614899"/>
                      <a:gd name="connsiteY295" fmla="*/ 1435894 h 1619250"/>
                      <a:gd name="connsiteX296" fmla="*/ 1305337 w 1614899"/>
                      <a:gd name="connsiteY296" fmla="*/ 1428750 h 1619250"/>
                      <a:gd name="connsiteX297" fmla="*/ 1298193 w 1614899"/>
                      <a:gd name="connsiteY297" fmla="*/ 1423987 h 1619250"/>
                      <a:gd name="connsiteX298" fmla="*/ 1295812 w 1614899"/>
                      <a:gd name="connsiteY298" fmla="*/ 1412081 h 1619250"/>
                      <a:gd name="connsiteX299" fmla="*/ 1293431 w 1614899"/>
                      <a:gd name="connsiteY299" fmla="*/ 1402556 h 1619250"/>
                      <a:gd name="connsiteX300" fmla="*/ 1288668 w 1614899"/>
                      <a:gd name="connsiteY300" fmla="*/ 1369219 h 1619250"/>
                      <a:gd name="connsiteX301" fmla="*/ 1286287 w 1614899"/>
                      <a:gd name="connsiteY301" fmla="*/ 1362075 h 1619250"/>
                      <a:gd name="connsiteX302" fmla="*/ 1276762 w 1614899"/>
                      <a:gd name="connsiteY302" fmla="*/ 1345406 h 1619250"/>
                      <a:gd name="connsiteX303" fmla="*/ 1267237 w 1614899"/>
                      <a:gd name="connsiteY303" fmla="*/ 1343025 h 1619250"/>
                      <a:gd name="connsiteX304" fmla="*/ 1260093 w 1614899"/>
                      <a:gd name="connsiteY304" fmla="*/ 1340644 h 1619250"/>
                      <a:gd name="connsiteX305" fmla="*/ 1252949 w 1614899"/>
                      <a:gd name="connsiteY305" fmla="*/ 1307306 h 1619250"/>
                      <a:gd name="connsiteX306" fmla="*/ 1248187 w 1614899"/>
                      <a:gd name="connsiteY306" fmla="*/ 1293019 h 1619250"/>
                      <a:gd name="connsiteX307" fmla="*/ 1243424 w 1614899"/>
                      <a:gd name="connsiteY307" fmla="*/ 1278731 h 1619250"/>
                      <a:gd name="connsiteX308" fmla="*/ 1241043 w 1614899"/>
                      <a:gd name="connsiteY308" fmla="*/ 1271587 h 1619250"/>
                      <a:gd name="connsiteX309" fmla="*/ 1236281 w 1614899"/>
                      <a:gd name="connsiteY309" fmla="*/ 1262062 h 1619250"/>
                      <a:gd name="connsiteX310" fmla="*/ 1231518 w 1614899"/>
                      <a:gd name="connsiteY310" fmla="*/ 1247775 h 1619250"/>
                      <a:gd name="connsiteX311" fmla="*/ 1224374 w 1614899"/>
                      <a:gd name="connsiteY311" fmla="*/ 1240631 h 1619250"/>
                      <a:gd name="connsiteX312" fmla="*/ 1214849 w 1614899"/>
                      <a:gd name="connsiteY312" fmla="*/ 1226344 h 1619250"/>
                      <a:gd name="connsiteX313" fmla="*/ 1195799 w 1614899"/>
                      <a:gd name="connsiteY313" fmla="*/ 1233487 h 1619250"/>
                      <a:gd name="connsiteX314" fmla="*/ 1198181 w 1614899"/>
                      <a:gd name="connsiteY314" fmla="*/ 1240631 h 1619250"/>
                      <a:gd name="connsiteX315" fmla="*/ 1191037 w 1614899"/>
                      <a:gd name="connsiteY315" fmla="*/ 1243012 h 1619250"/>
                      <a:gd name="connsiteX316" fmla="*/ 1164843 w 1614899"/>
                      <a:gd name="connsiteY316" fmla="*/ 1238250 h 1619250"/>
                      <a:gd name="connsiteX317" fmla="*/ 1155318 w 1614899"/>
                      <a:gd name="connsiteY317" fmla="*/ 1223962 h 1619250"/>
                      <a:gd name="connsiteX318" fmla="*/ 1148174 w 1614899"/>
                      <a:gd name="connsiteY318" fmla="*/ 1216819 h 1619250"/>
                      <a:gd name="connsiteX319" fmla="*/ 1138649 w 1614899"/>
                      <a:gd name="connsiteY319" fmla="*/ 1219200 h 1619250"/>
                      <a:gd name="connsiteX320" fmla="*/ 1131506 w 1614899"/>
                      <a:gd name="connsiteY320" fmla="*/ 1221581 h 1619250"/>
                      <a:gd name="connsiteX321" fmla="*/ 1124362 w 1614899"/>
                      <a:gd name="connsiteY321" fmla="*/ 1219200 h 1619250"/>
                      <a:gd name="connsiteX322" fmla="*/ 1112456 w 1614899"/>
                      <a:gd name="connsiteY322" fmla="*/ 1207295 h 1619250"/>
                      <a:gd name="connsiteX323" fmla="*/ 1126743 w 1614899"/>
                      <a:gd name="connsiteY323" fmla="*/ 1190624 h 1619250"/>
                      <a:gd name="connsiteX324" fmla="*/ 1112456 w 1614899"/>
                      <a:gd name="connsiteY324" fmla="*/ 1154906 h 1619250"/>
                      <a:gd name="connsiteX325" fmla="*/ 1107693 w 1614899"/>
                      <a:gd name="connsiteY325" fmla="*/ 1147762 h 1619250"/>
                      <a:gd name="connsiteX326" fmla="*/ 1100549 w 1614899"/>
                      <a:gd name="connsiteY326" fmla="*/ 1145381 h 1619250"/>
                      <a:gd name="connsiteX327" fmla="*/ 1093406 w 1614899"/>
                      <a:gd name="connsiteY327" fmla="*/ 1147762 h 1619250"/>
                      <a:gd name="connsiteX328" fmla="*/ 1062449 w 1614899"/>
                      <a:gd name="connsiteY328" fmla="*/ 1152525 h 1619250"/>
                      <a:gd name="connsiteX329" fmla="*/ 1043400 w 1614899"/>
                      <a:gd name="connsiteY329" fmla="*/ 1154906 h 1619250"/>
                      <a:gd name="connsiteX330" fmla="*/ 1031493 w 1614899"/>
                      <a:gd name="connsiteY330" fmla="*/ 1154906 h 1619250"/>
                      <a:gd name="connsiteX331" fmla="*/ 1050543 w 1614899"/>
                      <a:gd name="connsiteY331" fmla="*/ 1128712 h 1619250"/>
                      <a:gd name="connsiteX332" fmla="*/ 1041018 w 1614899"/>
                      <a:gd name="connsiteY332" fmla="*/ 1107281 h 1619250"/>
                      <a:gd name="connsiteX333" fmla="*/ 1024349 w 1614899"/>
                      <a:gd name="connsiteY333" fmla="*/ 1109662 h 1619250"/>
                      <a:gd name="connsiteX334" fmla="*/ 1014824 w 1614899"/>
                      <a:gd name="connsiteY334" fmla="*/ 1107281 h 1619250"/>
                      <a:gd name="connsiteX335" fmla="*/ 988631 w 1614899"/>
                      <a:gd name="connsiteY335" fmla="*/ 1109662 h 1619250"/>
                      <a:gd name="connsiteX336" fmla="*/ 986249 w 1614899"/>
                      <a:gd name="connsiteY336" fmla="*/ 1102519 h 1619250"/>
                      <a:gd name="connsiteX337" fmla="*/ 979106 w 1614899"/>
                      <a:gd name="connsiteY337" fmla="*/ 1076325 h 1619250"/>
                      <a:gd name="connsiteX338" fmla="*/ 964818 w 1614899"/>
                      <a:gd name="connsiteY338" fmla="*/ 1064419 h 1619250"/>
                      <a:gd name="connsiteX339" fmla="*/ 950531 w 1614899"/>
                      <a:gd name="connsiteY339" fmla="*/ 1054894 h 1619250"/>
                      <a:gd name="connsiteX340" fmla="*/ 943387 w 1614899"/>
                      <a:gd name="connsiteY340" fmla="*/ 1050131 h 1619250"/>
                      <a:gd name="connsiteX341" fmla="*/ 936243 w 1614899"/>
                      <a:gd name="connsiteY341" fmla="*/ 1045369 h 1619250"/>
                      <a:gd name="connsiteX342" fmla="*/ 931481 w 1614899"/>
                      <a:gd name="connsiteY342" fmla="*/ 1038225 h 1619250"/>
                      <a:gd name="connsiteX343" fmla="*/ 917193 w 1614899"/>
                      <a:gd name="connsiteY343" fmla="*/ 1031081 h 1619250"/>
                      <a:gd name="connsiteX344" fmla="*/ 914812 w 1614899"/>
                      <a:gd name="connsiteY344" fmla="*/ 1040606 h 1619250"/>
                      <a:gd name="connsiteX345" fmla="*/ 907668 w 1614899"/>
                      <a:gd name="connsiteY345" fmla="*/ 1042987 h 1619250"/>
                      <a:gd name="connsiteX346" fmla="*/ 886237 w 1614899"/>
                      <a:gd name="connsiteY346" fmla="*/ 1031081 h 1619250"/>
                      <a:gd name="connsiteX347" fmla="*/ 862424 w 1614899"/>
                      <a:gd name="connsiteY347" fmla="*/ 1035844 h 1619250"/>
                      <a:gd name="connsiteX348" fmla="*/ 845756 w 1614899"/>
                      <a:gd name="connsiteY348" fmla="*/ 1040606 h 1619250"/>
                      <a:gd name="connsiteX349" fmla="*/ 840993 w 1614899"/>
                      <a:gd name="connsiteY349" fmla="*/ 1033462 h 1619250"/>
                      <a:gd name="connsiteX350" fmla="*/ 821943 w 1614899"/>
                      <a:gd name="connsiteY350" fmla="*/ 1004887 h 1619250"/>
                      <a:gd name="connsiteX351" fmla="*/ 814799 w 1614899"/>
                      <a:gd name="connsiteY351" fmla="*/ 1000125 h 1619250"/>
                      <a:gd name="connsiteX352" fmla="*/ 779081 w 1614899"/>
                      <a:gd name="connsiteY352" fmla="*/ 995362 h 1619250"/>
                      <a:gd name="connsiteX353" fmla="*/ 771937 w 1614899"/>
                      <a:gd name="connsiteY353" fmla="*/ 988219 h 1619250"/>
                      <a:gd name="connsiteX354" fmla="*/ 762412 w 1614899"/>
                      <a:gd name="connsiteY354" fmla="*/ 966787 h 1619250"/>
                      <a:gd name="connsiteX355" fmla="*/ 755268 w 1614899"/>
                      <a:gd name="connsiteY355" fmla="*/ 962025 h 1619250"/>
                      <a:gd name="connsiteX356" fmla="*/ 733837 w 1614899"/>
                      <a:gd name="connsiteY356" fmla="*/ 962025 h 1619250"/>
                      <a:gd name="connsiteX357" fmla="*/ 731456 w 1614899"/>
                      <a:gd name="connsiteY357" fmla="*/ 950119 h 1619250"/>
                      <a:gd name="connsiteX358" fmla="*/ 729074 w 1614899"/>
                      <a:gd name="connsiteY358" fmla="*/ 942975 h 1619250"/>
                      <a:gd name="connsiteX359" fmla="*/ 726693 w 1614899"/>
                      <a:gd name="connsiteY359" fmla="*/ 921544 h 1619250"/>
                      <a:gd name="connsiteX360" fmla="*/ 724312 w 1614899"/>
                      <a:gd name="connsiteY360" fmla="*/ 914400 h 1619250"/>
                      <a:gd name="connsiteX361" fmla="*/ 717168 w 1614899"/>
                      <a:gd name="connsiteY361" fmla="*/ 909637 h 1619250"/>
                      <a:gd name="connsiteX362" fmla="*/ 710024 w 1614899"/>
                      <a:gd name="connsiteY362" fmla="*/ 907256 h 1619250"/>
                      <a:gd name="connsiteX363" fmla="*/ 681449 w 1614899"/>
                      <a:gd name="connsiteY363" fmla="*/ 902494 h 1619250"/>
                      <a:gd name="connsiteX364" fmla="*/ 674306 w 1614899"/>
                      <a:gd name="connsiteY364" fmla="*/ 897731 h 1619250"/>
                      <a:gd name="connsiteX365" fmla="*/ 667162 w 1614899"/>
                      <a:gd name="connsiteY365" fmla="*/ 883444 h 1619250"/>
                      <a:gd name="connsiteX366" fmla="*/ 657637 w 1614899"/>
                      <a:gd name="connsiteY366" fmla="*/ 881062 h 1619250"/>
                      <a:gd name="connsiteX367" fmla="*/ 650493 w 1614899"/>
                      <a:gd name="connsiteY367" fmla="*/ 873919 h 1619250"/>
                      <a:gd name="connsiteX368" fmla="*/ 648112 w 1614899"/>
                      <a:gd name="connsiteY368" fmla="*/ 866775 h 1619250"/>
                      <a:gd name="connsiteX369" fmla="*/ 643349 w 1614899"/>
                      <a:gd name="connsiteY369" fmla="*/ 859631 h 1619250"/>
                      <a:gd name="connsiteX370" fmla="*/ 631443 w 1614899"/>
                      <a:gd name="connsiteY370" fmla="*/ 838200 h 1619250"/>
                      <a:gd name="connsiteX371" fmla="*/ 624299 w 1614899"/>
                      <a:gd name="connsiteY371" fmla="*/ 833437 h 1619250"/>
                      <a:gd name="connsiteX372" fmla="*/ 593343 w 1614899"/>
                      <a:gd name="connsiteY372" fmla="*/ 835819 h 1619250"/>
                      <a:gd name="connsiteX373" fmla="*/ 586199 w 1614899"/>
                      <a:gd name="connsiteY373" fmla="*/ 816769 h 1619250"/>
                      <a:gd name="connsiteX374" fmla="*/ 569531 w 1614899"/>
                      <a:gd name="connsiteY374" fmla="*/ 795337 h 1619250"/>
                      <a:gd name="connsiteX375" fmla="*/ 564768 w 1614899"/>
                      <a:gd name="connsiteY375" fmla="*/ 788194 h 1619250"/>
                      <a:gd name="connsiteX376" fmla="*/ 557624 w 1614899"/>
                      <a:gd name="connsiteY376" fmla="*/ 785812 h 1619250"/>
                      <a:gd name="connsiteX377" fmla="*/ 550481 w 1614899"/>
                      <a:gd name="connsiteY377" fmla="*/ 781050 h 1619250"/>
                      <a:gd name="connsiteX378" fmla="*/ 536193 w 1614899"/>
                      <a:gd name="connsiteY378" fmla="*/ 776287 h 1619250"/>
                      <a:gd name="connsiteX379" fmla="*/ 538574 w 1614899"/>
                      <a:gd name="connsiteY379" fmla="*/ 747712 h 1619250"/>
                      <a:gd name="connsiteX380" fmla="*/ 533812 w 1614899"/>
                      <a:gd name="connsiteY380" fmla="*/ 740569 h 1619250"/>
                      <a:gd name="connsiteX381" fmla="*/ 519524 w 1614899"/>
                      <a:gd name="connsiteY381" fmla="*/ 731044 h 1619250"/>
                      <a:gd name="connsiteX382" fmla="*/ 512381 w 1614899"/>
                      <a:gd name="connsiteY382" fmla="*/ 735806 h 1619250"/>
                      <a:gd name="connsiteX383" fmla="*/ 505237 w 1614899"/>
                      <a:gd name="connsiteY383" fmla="*/ 738187 h 1619250"/>
                      <a:gd name="connsiteX384" fmla="*/ 507618 w 1614899"/>
                      <a:gd name="connsiteY384" fmla="*/ 723900 h 1619250"/>
                      <a:gd name="connsiteX385" fmla="*/ 505237 w 1614899"/>
                      <a:gd name="connsiteY385" fmla="*/ 688181 h 1619250"/>
                      <a:gd name="connsiteX386" fmla="*/ 493331 w 1614899"/>
                      <a:gd name="connsiteY386" fmla="*/ 666750 h 1619250"/>
                      <a:gd name="connsiteX387" fmla="*/ 486187 w 1614899"/>
                      <a:gd name="connsiteY387" fmla="*/ 659606 h 1619250"/>
                      <a:gd name="connsiteX388" fmla="*/ 481424 w 1614899"/>
                      <a:gd name="connsiteY388" fmla="*/ 652462 h 1619250"/>
                      <a:gd name="connsiteX389" fmla="*/ 479043 w 1614899"/>
                      <a:gd name="connsiteY389" fmla="*/ 614362 h 1619250"/>
                      <a:gd name="connsiteX390" fmla="*/ 474281 w 1614899"/>
                      <a:gd name="connsiteY390" fmla="*/ 595312 h 1619250"/>
                      <a:gd name="connsiteX391" fmla="*/ 467137 w 1614899"/>
                      <a:gd name="connsiteY391" fmla="*/ 578644 h 1619250"/>
                      <a:gd name="connsiteX392" fmla="*/ 459993 w 1614899"/>
                      <a:gd name="connsiteY392" fmla="*/ 571500 h 1619250"/>
                      <a:gd name="connsiteX393" fmla="*/ 440943 w 1614899"/>
                      <a:gd name="connsiteY393" fmla="*/ 554831 h 1619250"/>
                      <a:gd name="connsiteX394" fmla="*/ 426656 w 1614899"/>
                      <a:gd name="connsiteY394" fmla="*/ 550069 h 1619250"/>
                      <a:gd name="connsiteX395" fmla="*/ 424274 w 1614899"/>
                      <a:gd name="connsiteY395" fmla="*/ 557212 h 1619250"/>
                      <a:gd name="connsiteX396" fmla="*/ 414749 w 1614899"/>
                      <a:gd name="connsiteY396" fmla="*/ 552450 h 1619250"/>
                      <a:gd name="connsiteX397" fmla="*/ 407606 w 1614899"/>
                      <a:gd name="connsiteY397" fmla="*/ 545306 h 1619250"/>
                      <a:gd name="connsiteX398" fmla="*/ 390937 w 1614899"/>
                      <a:gd name="connsiteY398" fmla="*/ 535781 h 1619250"/>
                      <a:gd name="connsiteX399" fmla="*/ 383793 w 1614899"/>
                      <a:gd name="connsiteY399" fmla="*/ 528637 h 1619250"/>
                      <a:gd name="connsiteX400" fmla="*/ 374268 w 1614899"/>
                      <a:gd name="connsiteY400" fmla="*/ 526256 h 1619250"/>
                      <a:gd name="connsiteX401" fmla="*/ 352837 w 1614899"/>
                      <a:gd name="connsiteY401" fmla="*/ 519112 h 1619250"/>
                      <a:gd name="connsiteX402" fmla="*/ 345693 w 1614899"/>
                      <a:gd name="connsiteY402" fmla="*/ 516731 h 1619250"/>
                      <a:gd name="connsiteX403" fmla="*/ 338549 w 1614899"/>
                      <a:gd name="connsiteY403" fmla="*/ 514350 h 1619250"/>
                      <a:gd name="connsiteX404" fmla="*/ 326643 w 1614899"/>
                      <a:gd name="connsiteY404" fmla="*/ 504825 h 1619250"/>
                      <a:gd name="connsiteX405" fmla="*/ 321881 w 1614899"/>
                      <a:gd name="connsiteY405" fmla="*/ 497681 h 1619250"/>
                      <a:gd name="connsiteX406" fmla="*/ 314737 w 1614899"/>
                      <a:gd name="connsiteY406" fmla="*/ 490537 h 1619250"/>
                      <a:gd name="connsiteX407" fmla="*/ 307593 w 1614899"/>
                      <a:gd name="connsiteY407" fmla="*/ 485775 h 1619250"/>
                      <a:gd name="connsiteX408" fmla="*/ 293306 w 1614899"/>
                      <a:gd name="connsiteY408" fmla="*/ 481012 h 1619250"/>
                      <a:gd name="connsiteX409" fmla="*/ 269493 w 1614899"/>
                      <a:gd name="connsiteY409" fmla="*/ 483394 h 1619250"/>
                      <a:gd name="connsiteX410" fmla="*/ 259968 w 1614899"/>
                      <a:gd name="connsiteY410" fmla="*/ 490537 h 1619250"/>
                      <a:gd name="connsiteX411" fmla="*/ 243299 w 1614899"/>
                      <a:gd name="connsiteY411" fmla="*/ 497681 h 1619250"/>
                      <a:gd name="connsiteX412" fmla="*/ 236156 w 1614899"/>
                      <a:gd name="connsiteY412" fmla="*/ 502444 h 1619250"/>
                      <a:gd name="connsiteX413" fmla="*/ 233774 w 1614899"/>
                      <a:gd name="connsiteY413" fmla="*/ 509587 h 1619250"/>
                      <a:gd name="connsiteX414" fmla="*/ 231393 w 1614899"/>
                      <a:gd name="connsiteY414" fmla="*/ 519112 h 1619250"/>
                      <a:gd name="connsiteX415" fmla="*/ 224249 w 1614899"/>
                      <a:gd name="connsiteY415" fmla="*/ 521494 h 1619250"/>
                      <a:gd name="connsiteX416" fmla="*/ 209962 w 1614899"/>
                      <a:gd name="connsiteY416" fmla="*/ 528637 h 1619250"/>
                      <a:gd name="connsiteX417" fmla="*/ 200437 w 1614899"/>
                      <a:gd name="connsiteY417" fmla="*/ 542925 h 1619250"/>
                      <a:gd name="connsiteX418" fmla="*/ 195674 w 1614899"/>
                      <a:gd name="connsiteY418" fmla="*/ 557212 h 1619250"/>
                      <a:gd name="connsiteX419" fmla="*/ 188531 w 1614899"/>
                      <a:gd name="connsiteY419" fmla="*/ 559594 h 1619250"/>
                      <a:gd name="connsiteX420" fmla="*/ 176624 w 1614899"/>
                      <a:gd name="connsiteY420" fmla="*/ 564356 h 1619250"/>
                      <a:gd name="connsiteX421" fmla="*/ 164718 w 1614899"/>
                      <a:gd name="connsiteY421" fmla="*/ 566737 h 1619250"/>
                      <a:gd name="connsiteX422" fmla="*/ 157574 w 1614899"/>
                      <a:gd name="connsiteY422" fmla="*/ 569119 h 1619250"/>
                      <a:gd name="connsiteX423" fmla="*/ 148049 w 1614899"/>
                      <a:gd name="connsiteY423" fmla="*/ 571500 h 1619250"/>
                      <a:gd name="connsiteX424" fmla="*/ 140906 w 1614899"/>
                      <a:gd name="connsiteY424" fmla="*/ 573881 h 1619250"/>
                      <a:gd name="connsiteX425" fmla="*/ 121856 w 1614899"/>
                      <a:gd name="connsiteY425" fmla="*/ 576262 h 1619250"/>
                      <a:gd name="connsiteX426" fmla="*/ 119474 w 1614899"/>
                      <a:gd name="connsiteY426" fmla="*/ 571500 h 1619250"/>
                      <a:gd name="connsiteX427" fmla="*/ 128999 w 1614899"/>
                      <a:gd name="connsiteY427" fmla="*/ 557212 h 1619250"/>
                      <a:gd name="connsiteX428" fmla="*/ 131381 w 1614899"/>
                      <a:gd name="connsiteY428" fmla="*/ 550069 h 1619250"/>
                      <a:gd name="connsiteX429" fmla="*/ 140906 w 1614899"/>
                      <a:gd name="connsiteY429" fmla="*/ 535781 h 1619250"/>
                      <a:gd name="connsiteX430" fmla="*/ 133762 w 1614899"/>
                      <a:gd name="connsiteY430" fmla="*/ 533400 h 1619250"/>
                      <a:gd name="connsiteX431" fmla="*/ 128999 w 1614899"/>
                      <a:gd name="connsiteY431" fmla="*/ 516731 h 1619250"/>
                      <a:gd name="connsiteX432" fmla="*/ 69468 w 1614899"/>
                      <a:gd name="connsiteY432" fmla="*/ 514350 h 1619250"/>
                      <a:gd name="connsiteX433" fmla="*/ 67087 w 1614899"/>
                      <a:gd name="connsiteY433" fmla="*/ 507206 h 1619250"/>
                      <a:gd name="connsiteX434" fmla="*/ 52799 w 1614899"/>
                      <a:gd name="connsiteY434" fmla="*/ 497681 h 1619250"/>
                      <a:gd name="connsiteX435" fmla="*/ 55181 w 1614899"/>
                      <a:gd name="connsiteY435" fmla="*/ 488156 h 1619250"/>
                      <a:gd name="connsiteX436" fmla="*/ 40893 w 1614899"/>
                      <a:gd name="connsiteY436" fmla="*/ 483394 h 1619250"/>
                      <a:gd name="connsiteX437" fmla="*/ 38512 w 1614899"/>
                      <a:gd name="connsiteY437" fmla="*/ 471487 h 1619250"/>
                      <a:gd name="connsiteX438" fmla="*/ 36131 w 1614899"/>
                      <a:gd name="connsiteY438" fmla="*/ 464344 h 1619250"/>
                      <a:gd name="connsiteX439" fmla="*/ 38512 w 1614899"/>
                      <a:gd name="connsiteY439" fmla="*/ 452437 h 1619250"/>
                      <a:gd name="connsiteX440" fmla="*/ 38512 w 1614899"/>
                      <a:gd name="connsiteY440" fmla="*/ 428625 h 1619250"/>
                      <a:gd name="connsiteX441" fmla="*/ 45656 w 1614899"/>
                      <a:gd name="connsiteY441" fmla="*/ 426244 h 1619250"/>
                      <a:gd name="connsiteX442" fmla="*/ 52799 w 1614899"/>
                      <a:gd name="connsiteY442" fmla="*/ 421481 h 1619250"/>
                      <a:gd name="connsiteX443" fmla="*/ 59943 w 1614899"/>
                      <a:gd name="connsiteY443" fmla="*/ 419100 h 1619250"/>
                      <a:gd name="connsiteX444" fmla="*/ 64706 w 1614899"/>
                      <a:gd name="connsiteY444" fmla="*/ 411956 h 1619250"/>
                      <a:gd name="connsiteX445" fmla="*/ 55181 w 1614899"/>
                      <a:gd name="connsiteY445" fmla="*/ 392906 h 1619250"/>
                      <a:gd name="connsiteX446" fmla="*/ 40893 w 1614899"/>
                      <a:gd name="connsiteY446" fmla="*/ 388144 h 1619250"/>
                      <a:gd name="connsiteX447" fmla="*/ 33749 w 1614899"/>
                      <a:gd name="connsiteY447" fmla="*/ 390525 h 1619250"/>
                      <a:gd name="connsiteX448" fmla="*/ 28987 w 1614899"/>
                      <a:gd name="connsiteY448" fmla="*/ 390525 h 1619250"/>
                      <a:gd name="connsiteX449" fmla="*/ 21843 w 1614899"/>
                      <a:gd name="connsiteY449" fmla="*/ 388144 h 1619250"/>
                      <a:gd name="connsiteX450" fmla="*/ 14699 w 1614899"/>
                      <a:gd name="connsiteY450" fmla="*/ 364331 h 1619250"/>
                      <a:gd name="connsiteX451" fmla="*/ 2793 w 1614899"/>
                      <a:gd name="connsiteY451" fmla="*/ 361950 h 1619250"/>
                      <a:gd name="connsiteX452" fmla="*/ 2793 w 1614899"/>
                      <a:gd name="connsiteY452" fmla="*/ 345281 h 1619250"/>
                      <a:gd name="connsiteX453" fmla="*/ 17081 w 1614899"/>
                      <a:gd name="connsiteY453" fmla="*/ 340519 h 1619250"/>
                      <a:gd name="connsiteX454" fmla="*/ 24224 w 1614899"/>
                      <a:gd name="connsiteY454" fmla="*/ 347662 h 1619250"/>
                      <a:gd name="connsiteX455" fmla="*/ 40893 w 1614899"/>
                      <a:gd name="connsiteY455" fmla="*/ 342900 h 1619250"/>
                      <a:gd name="connsiteX456" fmla="*/ 57562 w 1614899"/>
                      <a:gd name="connsiteY456" fmla="*/ 333375 h 1619250"/>
                      <a:gd name="connsiteX457" fmla="*/ 64706 w 1614899"/>
                      <a:gd name="connsiteY457" fmla="*/ 328612 h 1619250"/>
                      <a:gd name="connsiteX458" fmla="*/ 71849 w 1614899"/>
                      <a:gd name="connsiteY458" fmla="*/ 326231 h 1619250"/>
                      <a:gd name="connsiteX459" fmla="*/ 90899 w 1614899"/>
                      <a:gd name="connsiteY459" fmla="*/ 321469 h 1619250"/>
                      <a:gd name="connsiteX460" fmla="*/ 86137 w 1614899"/>
                      <a:gd name="connsiteY460" fmla="*/ 311944 h 1619250"/>
                      <a:gd name="connsiteX461" fmla="*/ 88518 w 1614899"/>
                      <a:gd name="connsiteY461" fmla="*/ 292894 h 1619250"/>
                      <a:gd name="connsiteX462" fmla="*/ 90899 w 1614899"/>
                      <a:gd name="connsiteY462" fmla="*/ 285750 h 1619250"/>
                      <a:gd name="connsiteX463" fmla="*/ 76612 w 1614899"/>
                      <a:gd name="connsiteY463" fmla="*/ 280987 h 1619250"/>
                      <a:gd name="connsiteX464" fmla="*/ 71849 w 1614899"/>
                      <a:gd name="connsiteY464" fmla="*/ 273844 h 1619250"/>
                      <a:gd name="connsiteX465" fmla="*/ 67087 w 1614899"/>
                      <a:gd name="connsiteY465" fmla="*/ 250031 h 1619250"/>
                      <a:gd name="connsiteX466" fmla="*/ 45656 w 1614899"/>
                      <a:gd name="connsiteY466" fmla="*/ 250031 h 1619250"/>
                      <a:gd name="connsiteX467" fmla="*/ 40893 w 1614899"/>
                      <a:gd name="connsiteY467" fmla="*/ 242887 h 1619250"/>
                      <a:gd name="connsiteX468" fmla="*/ 43274 w 1614899"/>
                      <a:gd name="connsiteY468" fmla="*/ 223837 h 1619250"/>
                      <a:gd name="connsiteX469" fmla="*/ 57562 w 1614899"/>
                      <a:gd name="connsiteY469" fmla="*/ 211931 h 1619250"/>
                      <a:gd name="connsiteX470" fmla="*/ 74231 w 1614899"/>
                      <a:gd name="connsiteY470" fmla="*/ 200025 h 1619250"/>
                      <a:gd name="connsiteX471" fmla="*/ 81374 w 1614899"/>
                      <a:gd name="connsiteY471" fmla="*/ 202406 h 1619250"/>
                      <a:gd name="connsiteX472" fmla="*/ 83756 w 1614899"/>
                      <a:gd name="connsiteY472" fmla="*/ 209550 h 1619250"/>
                      <a:gd name="connsiteX473" fmla="*/ 102806 w 1614899"/>
                      <a:gd name="connsiteY473" fmla="*/ 204787 h 1619250"/>
                      <a:gd name="connsiteX474" fmla="*/ 109949 w 1614899"/>
                      <a:gd name="connsiteY474" fmla="*/ 200025 h 1619250"/>
                      <a:gd name="connsiteX475" fmla="*/ 119474 w 1614899"/>
                      <a:gd name="connsiteY475" fmla="*/ 197644 h 1619250"/>
                      <a:gd name="connsiteX476" fmla="*/ 133762 w 1614899"/>
                      <a:gd name="connsiteY476" fmla="*/ 192881 h 1619250"/>
                      <a:gd name="connsiteX477" fmla="*/ 140906 w 1614899"/>
                      <a:gd name="connsiteY477" fmla="*/ 190500 h 1619250"/>
                      <a:gd name="connsiteX478" fmla="*/ 148049 w 1614899"/>
                      <a:gd name="connsiteY478" fmla="*/ 195262 h 1619250"/>
                      <a:gd name="connsiteX479" fmla="*/ 155193 w 1614899"/>
                      <a:gd name="connsiteY479" fmla="*/ 204787 h 1619250"/>
                      <a:gd name="connsiteX480" fmla="*/ 164718 w 1614899"/>
                      <a:gd name="connsiteY480" fmla="*/ 202406 h 1619250"/>
                      <a:gd name="connsiteX481" fmla="*/ 190912 w 1614899"/>
                      <a:gd name="connsiteY481" fmla="*/ 200025 h 1619250"/>
                      <a:gd name="connsiteX482" fmla="*/ 193293 w 1614899"/>
                      <a:gd name="connsiteY482" fmla="*/ 192881 h 1619250"/>
                      <a:gd name="connsiteX483" fmla="*/ 198056 w 1614899"/>
                      <a:gd name="connsiteY483" fmla="*/ 185737 h 1619250"/>
                      <a:gd name="connsiteX484" fmla="*/ 195674 w 1614899"/>
                      <a:gd name="connsiteY484" fmla="*/ 178594 h 1619250"/>
                      <a:gd name="connsiteX485" fmla="*/ 186149 w 1614899"/>
                      <a:gd name="connsiteY485" fmla="*/ 159544 h 1619250"/>
                      <a:gd name="connsiteX486" fmla="*/ 217106 w 1614899"/>
                      <a:gd name="connsiteY486" fmla="*/ 152400 h 1619250"/>
                      <a:gd name="connsiteX487" fmla="*/ 209962 w 1614899"/>
                      <a:gd name="connsiteY487" fmla="*/ 145256 h 1619250"/>
                      <a:gd name="connsiteX488" fmla="*/ 202818 w 1614899"/>
                      <a:gd name="connsiteY488" fmla="*/ 140494 h 1619250"/>
                      <a:gd name="connsiteX489" fmla="*/ 212343 w 1614899"/>
                      <a:gd name="connsiteY489" fmla="*/ 133350 h 1619250"/>
                      <a:gd name="connsiteX490" fmla="*/ 233774 w 1614899"/>
                      <a:gd name="connsiteY490" fmla="*/ 123825 h 1619250"/>
                      <a:gd name="connsiteX491" fmla="*/ 238537 w 1614899"/>
                      <a:gd name="connsiteY491" fmla="*/ 116681 h 1619250"/>
                      <a:gd name="connsiteX492" fmla="*/ 240918 w 1614899"/>
                      <a:gd name="connsiteY492" fmla="*/ 107156 h 1619250"/>
                      <a:gd name="connsiteX493" fmla="*/ 248062 w 1614899"/>
                      <a:gd name="connsiteY493" fmla="*/ 109537 h 1619250"/>
                      <a:gd name="connsiteX494" fmla="*/ 250443 w 1614899"/>
                      <a:gd name="connsiteY494" fmla="*/ 116681 h 1619250"/>
                      <a:gd name="connsiteX495" fmla="*/ 252824 w 1614899"/>
                      <a:gd name="connsiteY495" fmla="*/ 130969 h 1619250"/>
                      <a:gd name="connsiteX496" fmla="*/ 269493 w 1614899"/>
                      <a:gd name="connsiteY496" fmla="*/ 138112 h 1619250"/>
                      <a:gd name="connsiteX497" fmla="*/ 271874 w 1614899"/>
                      <a:gd name="connsiteY497" fmla="*/ 145256 h 1619250"/>
                      <a:gd name="connsiteX498" fmla="*/ 264731 w 1614899"/>
                      <a:gd name="connsiteY498" fmla="*/ 152400 h 1619250"/>
                      <a:gd name="connsiteX499" fmla="*/ 262349 w 1614899"/>
                      <a:gd name="connsiteY499" fmla="*/ 159544 h 1619250"/>
                      <a:gd name="connsiteX500" fmla="*/ 264731 w 1614899"/>
                      <a:gd name="connsiteY500" fmla="*/ 173831 h 1619250"/>
                      <a:gd name="connsiteX501" fmla="*/ 274256 w 1614899"/>
                      <a:gd name="connsiteY501" fmla="*/ 176212 h 1619250"/>
                      <a:gd name="connsiteX502" fmla="*/ 295687 w 1614899"/>
                      <a:gd name="connsiteY502" fmla="*/ 178594 h 1619250"/>
                      <a:gd name="connsiteX503" fmla="*/ 293306 w 1614899"/>
                      <a:gd name="connsiteY503" fmla="*/ 185737 h 1619250"/>
                      <a:gd name="connsiteX504" fmla="*/ 295687 w 1614899"/>
                      <a:gd name="connsiteY504" fmla="*/ 200025 h 1619250"/>
                      <a:gd name="connsiteX505" fmla="*/ 302831 w 1614899"/>
                      <a:gd name="connsiteY505" fmla="*/ 216694 h 1619250"/>
                      <a:gd name="connsiteX506" fmla="*/ 307593 w 1614899"/>
                      <a:gd name="connsiteY506" fmla="*/ 223837 h 1619250"/>
                      <a:gd name="connsiteX507" fmla="*/ 314737 w 1614899"/>
                      <a:gd name="connsiteY507" fmla="*/ 228600 h 1619250"/>
                      <a:gd name="connsiteX508" fmla="*/ 326643 w 1614899"/>
                      <a:gd name="connsiteY508" fmla="*/ 226219 h 1619250"/>
                      <a:gd name="connsiteX509" fmla="*/ 321881 w 1614899"/>
                      <a:gd name="connsiteY509" fmla="*/ 200025 h 1619250"/>
                      <a:gd name="connsiteX510" fmla="*/ 314737 w 1614899"/>
                      <a:gd name="connsiteY510" fmla="*/ 197644 h 1619250"/>
                      <a:gd name="connsiteX511" fmla="*/ 324262 w 1614899"/>
                      <a:gd name="connsiteY511" fmla="*/ 180975 h 1619250"/>
                      <a:gd name="connsiteX512" fmla="*/ 329024 w 1614899"/>
                      <a:gd name="connsiteY512" fmla="*/ 173831 h 1619250"/>
                      <a:gd name="connsiteX513" fmla="*/ 343312 w 1614899"/>
                      <a:gd name="connsiteY513" fmla="*/ 159544 h 1619250"/>
                      <a:gd name="connsiteX514" fmla="*/ 348074 w 1614899"/>
                      <a:gd name="connsiteY514" fmla="*/ 145256 h 1619250"/>
                      <a:gd name="connsiteX515" fmla="*/ 350456 w 1614899"/>
                      <a:gd name="connsiteY515" fmla="*/ 114300 h 1619250"/>
                      <a:gd name="connsiteX516" fmla="*/ 357599 w 1614899"/>
                      <a:gd name="connsiteY516" fmla="*/ 111919 h 1619250"/>
                      <a:gd name="connsiteX517" fmla="*/ 364743 w 1614899"/>
                      <a:gd name="connsiteY517" fmla="*/ 114300 h 1619250"/>
                      <a:gd name="connsiteX518" fmla="*/ 371887 w 1614899"/>
                      <a:gd name="connsiteY518" fmla="*/ 114300 h 1619250"/>
                      <a:gd name="connsiteX519" fmla="*/ 381412 w 1614899"/>
                      <a:gd name="connsiteY519" fmla="*/ 138112 h 1619250"/>
                      <a:gd name="connsiteX520" fmla="*/ 395699 w 1614899"/>
                      <a:gd name="connsiteY520" fmla="*/ 150019 h 1619250"/>
                      <a:gd name="connsiteX521" fmla="*/ 409987 w 1614899"/>
                      <a:gd name="connsiteY521" fmla="*/ 147637 h 1619250"/>
                      <a:gd name="connsiteX522" fmla="*/ 412368 w 1614899"/>
                      <a:gd name="connsiteY522" fmla="*/ 133350 h 1619250"/>
                      <a:gd name="connsiteX523" fmla="*/ 426656 w 1614899"/>
                      <a:gd name="connsiteY523" fmla="*/ 128587 h 1619250"/>
                      <a:gd name="connsiteX524" fmla="*/ 433799 w 1614899"/>
                      <a:gd name="connsiteY524" fmla="*/ 142875 h 1619250"/>
                      <a:gd name="connsiteX525" fmla="*/ 448087 w 1614899"/>
                      <a:gd name="connsiteY525" fmla="*/ 161925 h 1619250"/>
                      <a:gd name="connsiteX526" fmla="*/ 464756 w 1614899"/>
                      <a:gd name="connsiteY526" fmla="*/ 159544 h 1619250"/>
                      <a:gd name="connsiteX527" fmla="*/ 452849 w 1614899"/>
                      <a:gd name="connsiteY527" fmla="*/ 138112 h 1619250"/>
                      <a:gd name="connsiteX528" fmla="*/ 450468 w 1614899"/>
                      <a:gd name="connsiteY528" fmla="*/ 111919 h 1619250"/>
                      <a:gd name="connsiteX529" fmla="*/ 443324 w 1614899"/>
                      <a:gd name="connsiteY529" fmla="*/ 107156 h 1619250"/>
                      <a:gd name="connsiteX530" fmla="*/ 440943 w 1614899"/>
                      <a:gd name="connsiteY530" fmla="*/ 100012 h 1619250"/>
                      <a:gd name="connsiteX531" fmla="*/ 450468 w 1614899"/>
                      <a:gd name="connsiteY531" fmla="*/ 88106 h 1619250"/>
                      <a:gd name="connsiteX532" fmla="*/ 476662 w 1614899"/>
                      <a:gd name="connsiteY532" fmla="*/ 90487 h 1619250"/>
                      <a:gd name="connsiteX533" fmla="*/ 486187 w 1614899"/>
                      <a:gd name="connsiteY533" fmla="*/ 92869 h 1619250"/>
                      <a:gd name="connsiteX534" fmla="*/ 493331 w 1614899"/>
                      <a:gd name="connsiteY534" fmla="*/ 97631 h 1619250"/>
                      <a:gd name="connsiteX535" fmla="*/ 502856 w 1614899"/>
                      <a:gd name="connsiteY535" fmla="*/ 95250 h 1619250"/>
                      <a:gd name="connsiteX536" fmla="*/ 509999 w 1614899"/>
                      <a:gd name="connsiteY536" fmla="*/ 90487 h 1619250"/>
                      <a:gd name="connsiteX537" fmla="*/ 507618 w 1614899"/>
                      <a:gd name="connsiteY537" fmla="*/ 83344 h 1619250"/>
                      <a:gd name="connsiteX538" fmla="*/ 500474 w 1614899"/>
                      <a:gd name="connsiteY538" fmla="*/ 80962 h 1619250"/>
                      <a:gd name="connsiteX539" fmla="*/ 493331 w 1614899"/>
                      <a:gd name="connsiteY539" fmla="*/ 76200 h 1619250"/>
                      <a:gd name="connsiteX540" fmla="*/ 495712 w 1614899"/>
                      <a:gd name="connsiteY540"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19549 w 1614899"/>
                      <a:gd name="connsiteY86" fmla="*/ 328612 h 1619250"/>
                      <a:gd name="connsiteX87" fmla="*/ 714787 w 1614899"/>
                      <a:gd name="connsiteY87" fmla="*/ 335756 h 1619250"/>
                      <a:gd name="connsiteX88" fmla="*/ 717168 w 1614899"/>
                      <a:gd name="connsiteY88" fmla="*/ 342900 h 1619250"/>
                      <a:gd name="connsiteX89" fmla="*/ 721931 w 1614899"/>
                      <a:gd name="connsiteY89" fmla="*/ 347662 h 1619250"/>
                      <a:gd name="connsiteX90" fmla="*/ 733837 w 1614899"/>
                      <a:gd name="connsiteY90" fmla="*/ 357187 h 1619250"/>
                      <a:gd name="connsiteX91" fmla="*/ 740981 w 1614899"/>
                      <a:gd name="connsiteY91" fmla="*/ 354806 h 1619250"/>
                      <a:gd name="connsiteX92" fmla="*/ 755268 w 1614899"/>
                      <a:gd name="connsiteY92" fmla="*/ 350044 h 1619250"/>
                      <a:gd name="connsiteX93" fmla="*/ 752887 w 1614899"/>
                      <a:gd name="connsiteY93" fmla="*/ 359569 h 1619250"/>
                      <a:gd name="connsiteX94" fmla="*/ 755268 w 1614899"/>
                      <a:gd name="connsiteY94" fmla="*/ 371475 h 1619250"/>
                      <a:gd name="connsiteX95" fmla="*/ 762412 w 1614899"/>
                      <a:gd name="connsiteY95" fmla="*/ 373856 h 1619250"/>
                      <a:gd name="connsiteX96" fmla="*/ 745743 w 1614899"/>
                      <a:gd name="connsiteY96" fmla="*/ 390525 h 1619250"/>
                      <a:gd name="connsiteX97" fmla="*/ 750506 w 1614899"/>
                      <a:gd name="connsiteY97" fmla="*/ 397669 h 1619250"/>
                      <a:gd name="connsiteX98" fmla="*/ 745743 w 1614899"/>
                      <a:gd name="connsiteY98" fmla="*/ 411956 h 1619250"/>
                      <a:gd name="connsiteX99" fmla="*/ 731456 w 1614899"/>
                      <a:gd name="connsiteY99" fmla="*/ 404812 h 1619250"/>
                      <a:gd name="connsiteX100" fmla="*/ 724312 w 1614899"/>
                      <a:gd name="connsiteY100" fmla="*/ 409575 h 1619250"/>
                      <a:gd name="connsiteX101" fmla="*/ 721931 w 1614899"/>
                      <a:gd name="connsiteY101" fmla="*/ 416719 h 1619250"/>
                      <a:gd name="connsiteX102" fmla="*/ 736218 w 1614899"/>
                      <a:gd name="connsiteY102" fmla="*/ 426244 h 1619250"/>
                      <a:gd name="connsiteX103" fmla="*/ 731456 w 1614899"/>
                      <a:gd name="connsiteY103" fmla="*/ 442912 h 1619250"/>
                      <a:gd name="connsiteX104" fmla="*/ 729074 w 1614899"/>
                      <a:gd name="connsiteY104" fmla="*/ 450056 h 1619250"/>
                      <a:gd name="connsiteX105" fmla="*/ 731456 w 1614899"/>
                      <a:gd name="connsiteY105" fmla="*/ 481012 h 1619250"/>
                      <a:gd name="connsiteX106" fmla="*/ 736218 w 1614899"/>
                      <a:gd name="connsiteY106" fmla="*/ 488156 h 1619250"/>
                      <a:gd name="connsiteX107" fmla="*/ 743362 w 1614899"/>
                      <a:gd name="connsiteY107" fmla="*/ 509587 h 1619250"/>
                      <a:gd name="connsiteX108" fmla="*/ 745743 w 1614899"/>
                      <a:gd name="connsiteY108" fmla="*/ 516731 h 1619250"/>
                      <a:gd name="connsiteX109" fmla="*/ 760031 w 1614899"/>
                      <a:gd name="connsiteY109" fmla="*/ 526256 h 1619250"/>
                      <a:gd name="connsiteX110" fmla="*/ 764793 w 1614899"/>
                      <a:gd name="connsiteY110" fmla="*/ 533400 h 1619250"/>
                      <a:gd name="connsiteX111" fmla="*/ 769556 w 1614899"/>
                      <a:gd name="connsiteY111" fmla="*/ 547687 h 1619250"/>
                      <a:gd name="connsiteX112" fmla="*/ 769556 w 1614899"/>
                      <a:gd name="connsiteY112" fmla="*/ 542925 h 1619250"/>
                      <a:gd name="connsiteX113" fmla="*/ 776699 w 1614899"/>
                      <a:gd name="connsiteY113" fmla="*/ 550069 h 1619250"/>
                      <a:gd name="connsiteX114" fmla="*/ 793368 w 1614899"/>
                      <a:gd name="connsiteY114" fmla="*/ 552450 h 1619250"/>
                      <a:gd name="connsiteX115" fmla="*/ 807656 w 1614899"/>
                      <a:gd name="connsiteY115" fmla="*/ 557212 h 1619250"/>
                      <a:gd name="connsiteX116" fmla="*/ 814799 w 1614899"/>
                      <a:gd name="connsiteY116" fmla="*/ 559594 h 1619250"/>
                      <a:gd name="connsiteX117" fmla="*/ 821943 w 1614899"/>
                      <a:gd name="connsiteY117" fmla="*/ 566737 h 1619250"/>
                      <a:gd name="connsiteX118" fmla="*/ 829087 w 1614899"/>
                      <a:gd name="connsiteY118" fmla="*/ 569119 h 1619250"/>
                      <a:gd name="connsiteX119" fmla="*/ 836231 w 1614899"/>
                      <a:gd name="connsiteY119" fmla="*/ 573881 h 1619250"/>
                      <a:gd name="connsiteX120" fmla="*/ 843374 w 1614899"/>
                      <a:gd name="connsiteY120" fmla="*/ 588169 h 1619250"/>
                      <a:gd name="connsiteX121" fmla="*/ 852899 w 1614899"/>
                      <a:gd name="connsiteY121" fmla="*/ 597694 h 1619250"/>
                      <a:gd name="connsiteX122" fmla="*/ 902906 w 1614899"/>
                      <a:gd name="connsiteY122" fmla="*/ 604837 h 1619250"/>
                      <a:gd name="connsiteX123" fmla="*/ 914812 w 1614899"/>
                      <a:gd name="connsiteY123" fmla="*/ 626269 h 1619250"/>
                      <a:gd name="connsiteX124" fmla="*/ 919574 w 1614899"/>
                      <a:gd name="connsiteY124" fmla="*/ 633412 h 1619250"/>
                      <a:gd name="connsiteX125" fmla="*/ 919574 w 1614899"/>
                      <a:gd name="connsiteY125" fmla="*/ 671512 h 1619250"/>
                      <a:gd name="connsiteX126" fmla="*/ 926718 w 1614899"/>
                      <a:gd name="connsiteY126" fmla="*/ 676275 h 1619250"/>
                      <a:gd name="connsiteX127" fmla="*/ 933862 w 1614899"/>
                      <a:gd name="connsiteY127" fmla="*/ 690562 h 1619250"/>
                      <a:gd name="connsiteX128" fmla="*/ 936243 w 1614899"/>
                      <a:gd name="connsiteY128" fmla="*/ 702469 h 1619250"/>
                      <a:gd name="connsiteX129" fmla="*/ 943387 w 1614899"/>
                      <a:gd name="connsiteY129" fmla="*/ 709612 h 1619250"/>
                      <a:gd name="connsiteX130" fmla="*/ 945768 w 1614899"/>
                      <a:gd name="connsiteY130" fmla="*/ 723900 h 1619250"/>
                      <a:gd name="connsiteX131" fmla="*/ 955293 w 1614899"/>
                      <a:gd name="connsiteY131" fmla="*/ 738187 h 1619250"/>
                      <a:gd name="connsiteX132" fmla="*/ 964818 w 1614899"/>
                      <a:gd name="connsiteY132" fmla="*/ 752475 h 1619250"/>
                      <a:gd name="connsiteX133" fmla="*/ 967199 w 1614899"/>
                      <a:gd name="connsiteY133" fmla="*/ 759619 h 1619250"/>
                      <a:gd name="connsiteX134" fmla="*/ 974343 w 1614899"/>
                      <a:gd name="connsiteY134" fmla="*/ 769144 h 1619250"/>
                      <a:gd name="connsiteX135" fmla="*/ 979106 w 1614899"/>
                      <a:gd name="connsiteY135" fmla="*/ 783431 h 1619250"/>
                      <a:gd name="connsiteX136" fmla="*/ 981487 w 1614899"/>
                      <a:gd name="connsiteY136" fmla="*/ 790575 h 1619250"/>
                      <a:gd name="connsiteX137" fmla="*/ 991012 w 1614899"/>
                      <a:gd name="connsiteY137" fmla="*/ 804862 h 1619250"/>
                      <a:gd name="connsiteX138" fmla="*/ 998156 w 1614899"/>
                      <a:gd name="connsiteY138" fmla="*/ 819150 h 1619250"/>
                      <a:gd name="connsiteX139" fmla="*/ 1000537 w 1614899"/>
                      <a:gd name="connsiteY139" fmla="*/ 826294 h 1619250"/>
                      <a:gd name="connsiteX140" fmla="*/ 1007681 w 1614899"/>
                      <a:gd name="connsiteY140" fmla="*/ 828675 h 1619250"/>
                      <a:gd name="connsiteX141" fmla="*/ 1014824 w 1614899"/>
                      <a:gd name="connsiteY141" fmla="*/ 833437 h 1619250"/>
                      <a:gd name="connsiteX142" fmla="*/ 1029112 w 1614899"/>
                      <a:gd name="connsiteY142" fmla="*/ 838200 h 1619250"/>
                      <a:gd name="connsiteX143" fmla="*/ 1033874 w 1614899"/>
                      <a:gd name="connsiteY143" fmla="*/ 845344 h 1619250"/>
                      <a:gd name="connsiteX144" fmla="*/ 1048162 w 1614899"/>
                      <a:gd name="connsiteY144" fmla="*/ 857250 h 1619250"/>
                      <a:gd name="connsiteX145" fmla="*/ 1062449 w 1614899"/>
                      <a:gd name="connsiteY145" fmla="*/ 862012 h 1619250"/>
                      <a:gd name="connsiteX146" fmla="*/ 1079118 w 1614899"/>
                      <a:gd name="connsiteY146" fmla="*/ 883444 h 1619250"/>
                      <a:gd name="connsiteX147" fmla="*/ 1081499 w 1614899"/>
                      <a:gd name="connsiteY147" fmla="*/ 890587 h 1619250"/>
                      <a:gd name="connsiteX148" fmla="*/ 1095787 w 1614899"/>
                      <a:gd name="connsiteY148" fmla="*/ 883444 h 1619250"/>
                      <a:gd name="connsiteX149" fmla="*/ 1110074 w 1614899"/>
                      <a:gd name="connsiteY149" fmla="*/ 890587 h 1619250"/>
                      <a:gd name="connsiteX150" fmla="*/ 1121981 w 1614899"/>
                      <a:gd name="connsiteY150" fmla="*/ 902494 h 1619250"/>
                      <a:gd name="connsiteX151" fmla="*/ 1136268 w 1614899"/>
                      <a:gd name="connsiteY151" fmla="*/ 907256 h 1619250"/>
                      <a:gd name="connsiteX152" fmla="*/ 1176749 w 1614899"/>
                      <a:gd name="connsiteY152" fmla="*/ 904875 h 1619250"/>
                      <a:gd name="connsiteX153" fmla="*/ 1195799 w 1614899"/>
                      <a:gd name="connsiteY153" fmla="*/ 904875 h 1619250"/>
                      <a:gd name="connsiteX154" fmla="*/ 1207706 w 1614899"/>
                      <a:gd name="connsiteY154" fmla="*/ 912019 h 1619250"/>
                      <a:gd name="connsiteX155" fmla="*/ 1210087 w 1614899"/>
                      <a:gd name="connsiteY155" fmla="*/ 902494 h 1619250"/>
                      <a:gd name="connsiteX156" fmla="*/ 1219612 w 1614899"/>
                      <a:gd name="connsiteY156" fmla="*/ 900112 h 1619250"/>
                      <a:gd name="connsiteX157" fmla="*/ 1226756 w 1614899"/>
                      <a:gd name="connsiteY157" fmla="*/ 895350 h 1619250"/>
                      <a:gd name="connsiteX158" fmla="*/ 1241043 w 1614899"/>
                      <a:gd name="connsiteY158" fmla="*/ 890587 h 1619250"/>
                      <a:gd name="connsiteX159" fmla="*/ 1255331 w 1614899"/>
                      <a:gd name="connsiteY159" fmla="*/ 892969 h 1619250"/>
                      <a:gd name="connsiteX160" fmla="*/ 1260093 w 1614899"/>
                      <a:gd name="connsiteY160" fmla="*/ 900112 h 1619250"/>
                      <a:gd name="connsiteX161" fmla="*/ 1267237 w 1614899"/>
                      <a:gd name="connsiteY161" fmla="*/ 904875 h 1619250"/>
                      <a:gd name="connsiteX162" fmla="*/ 1271999 w 1614899"/>
                      <a:gd name="connsiteY162" fmla="*/ 919162 h 1619250"/>
                      <a:gd name="connsiteX163" fmla="*/ 1269618 w 1614899"/>
                      <a:gd name="connsiteY163" fmla="*/ 928687 h 1619250"/>
                      <a:gd name="connsiteX164" fmla="*/ 1262474 w 1614899"/>
                      <a:gd name="connsiteY164" fmla="*/ 933450 h 1619250"/>
                      <a:gd name="connsiteX165" fmla="*/ 1255331 w 1614899"/>
                      <a:gd name="connsiteY165" fmla="*/ 940594 h 1619250"/>
                      <a:gd name="connsiteX166" fmla="*/ 1248187 w 1614899"/>
                      <a:gd name="connsiteY166" fmla="*/ 942975 h 1619250"/>
                      <a:gd name="connsiteX167" fmla="*/ 1241043 w 1614899"/>
                      <a:gd name="connsiteY167" fmla="*/ 947737 h 1619250"/>
                      <a:gd name="connsiteX168" fmla="*/ 1226756 w 1614899"/>
                      <a:gd name="connsiteY168" fmla="*/ 954881 h 1619250"/>
                      <a:gd name="connsiteX169" fmla="*/ 1236281 w 1614899"/>
                      <a:gd name="connsiteY169" fmla="*/ 969169 h 1619250"/>
                      <a:gd name="connsiteX170" fmla="*/ 1241043 w 1614899"/>
                      <a:gd name="connsiteY170" fmla="*/ 983456 h 1619250"/>
                      <a:gd name="connsiteX171" fmla="*/ 1250568 w 1614899"/>
                      <a:gd name="connsiteY171" fmla="*/ 997744 h 1619250"/>
                      <a:gd name="connsiteX172" fmla="*/ 1262474 w 1614899"/>
                      <a:gd name="connsiteY172" fmla="*/ 997744 h 1619250"/>
                      <a:gd name="connsiteX173" fmla="*/ 1264856 w 1614899"/>
                      <a:gd name="connsiteY173" fmla="*/ 990600 h 1619250"/>
                      <a:gd name="connsiteX174" fmla="*/ 1283906 w 1614899"/>
                      <a:gd name="connsiteY174" fmla="*/ 995362 h 1619250"/>
                      <a:gd name="connsiteX175" fmla="*/ 1291049 w 1614899"/>
                      <a:gd name="connsiteY175" fmla="*/ 1000125 h 1619250"/>
                      <a:gd name="connsiteX176" fmla="*/ 1298193 w 1614899"/>
                      <a:gd name="connsiteY176" fmla="*/ 1002506 h 1619250"/>
                      <a:gd name="connsiteX177" fmla="*/ 1322006 w 1614899"/>
                      <a:gd name="connsiteY177" fmla="*/ 1007269 h 1619250"/>
                      <a:gd name="connsiteX178" fmla="*/ 1336293 w 1614899"/>
                      <a:gd name="connsiteY178" fmla="*/ 1012031 h 1619250"/>
                      <a:gd name="connsiteX179" fmla="*/ 1355343 w 1614899"/>
                      <a:gd name="connsiteY179" fmla="*/ 1016794 h 1619250"/>
                      <a:gd name="connsiteX180" fmla="*/ 1362487 w 1614899"/>
                      <a:gd name="connsiteY180" fmla="*/ 1023937 h 1619250"/>
                      <a:gd name="connsiteX181" fmla="*/ 1376774 w 1614899"/>
                      <a:gd name="connsiteY181" fmla="*/ 1028700 h 1619250"/>
                      <a:gd name="connsiteX182" fmla="*/ 1391062 w 1614899"/>
                      <a:gd name="connsiteY182" fmla="*/ 1033462 h 1619250"/>
                      <a:gd name="connsiteX183" fmla="*/ 1398206 w 1614899"/>
                      <a:gd name="connsiteY183" fmla="*/ 1035844 h 1619250"/>
                      <a:gd name="connsiteX184" fmla="*/ 1405349 w 1614899"/>
                      <a:gd name="connsiteY184" fmla="*/ 1038225 h 1619250"/>
                      <a:gd name="connsiteX185" fmla="*/ 1412493 w 1614899"/>
                      <a:gd name="connsiteY185" fmla="*/ 1042987 h 1619250"/>
                      <a:gd name="connsiteX186" fmla="*/ 1426781 w 1614899"/>
                      <a:gd name="connsiteY186" fmla="*/ 1050131 h 1619250"/>
                      <a:gd name="connsiteX187" fmla="*/ 1436306 w 1614899"/>
                      <a:gd name="connsiteY187" fmla="*/ 1062037 h 1619250"/>
                      <a:gd name="connsiteX188" fmla="*/ 1441068 w 1614899"/>
                      <a:gd name="connsiteY188" fmla="*/ 1069181 h 1619250"/>
                      <a:gd name="connsiteX189" fmla="*/ 1450593 w 1614899"/>
                      <a:gd name="connsiteY189" fmla="*/ 1071562 h 1619250"/>
                      <a:gd name="connsiteX190" fmla="*/ 1464881 w 1614899"/>
                      <a:gd name="connsiteY190" fmla="*/ 1076325 h 1619250"/>
                      <a:gd name="connsiteX191" fmla="*/ 1467262 w 1614899"/>
                      <a:gd name="connsiteY191" fmla="*/ 1083469 h 1619250"/>
                      <a:gd name="connsiteX192" fmla="*/ 1488693 w 1614899"/>
                      <a:gd name="connsiteY192" fmla="*/ 1092994 h 1619250"/>
                      <a:gd name="connsiteX193" fmla="*/ 1500599 w 1614899"/>
                      <a:gd name="connsiteY193" fmla="*/ 1095375 h 1619250"/>
                      <a:gd name="connsiteX194" fmla="*/ 1514887 w 1614899"/>
                      <a:gd name="connsiteY194" fmla="*/ 1097756 h 1619250"/>
                      <a:gd name="connsiteX195" fmla="*/ 1522031 w 1614899"/>
                      <a:gd name="connsiteY195" fmla="*/ 1100137 h 1619250"/>
                      <a:gd name="connsiteX196" fmla="*/ 1541081 w 1614899"/>
                      <a:gd name="connsiteY196" fmla="*/ 1104900 h 1619250"/>
                      <a:gd name="connsiteX197" fmla="*/ 1545843 w 1614899"/>
                      <a:gd name="connsiteY197" fmla="*/ 1112044 h 1619250"/>
                      <a:gd name="connsiteX198" fmla="*/ 1543462 w 1614899"/>
                      <a:gd name="connsiteY198" fmla="*/ 1119187 h 1619250"/>
                      <a:gd name="connsiteX199" fmla="*/ 1557749 w 1614899"/>
                      <a:gd name="connsiteY199" fmla="*/ 1128712 h 1619250"/>
                      <a:gd name="connsiteX200" fmla="*/ 1564893 w 1614899"/>
                      <a:gd name="connsiteY200" fmla="*/ 1133475 h 1619250"/>
                      <a:gd name="connsiteX201" fmla="*/ 1579181 w 1614899"/>
                      <a:gd name="connsiteY201" fmla="*/ 1147762 h 1619250"/>
                      <a:gd name="connsiteX202" fmla="*/ 1593468 w 1614899"/>
                      <a:gd name="connsiteY202" fmla="*/ 1152525 h 1619250"/>
                      <a:gd name="connsiteX203" fmla="*/ 1600612 w 1614899"/>
                      <a:gd name="connsiteY203" fmla="*/ 1154906 h 1619250"/>
                      <a:gd name="connsiteX204" fmla="*/ 1607756 w 1614899"/>
                      <a:gd name="connsiteY204" fmla="*/ 1162050 h 1619250"/>
                      <a:gd name="connsiteX205" fmla="*/ 1610137 w 1614899"/>
                      <a:gd name="connsiteY205" fmla="*/ 1169194 h 1619250"/>
                      <a:gd name="connsiteX206" fmla="*/ 1614899 w 1614899"/>
                      <a:gd name="connsiteY206" fmla="*/ 1176337 h 1619250"/>
                      <a:gd name="connsiteX207" fmla="*/ 1612518 w 1614899"/>
                      <a:gd name="connsiteY207" fmla="*/ 1195387 h 1619250"/>
                      <a:gd name="connsiteX208" fmla="*/ 1610137 w 1614899"/>
                      <a:gd name="connsiteY208" fmla="*/ 1202531 h 1619250"/>
                      <a:gd name="connsiteX209" fmla="*/ 1602993 w 1614899"/>
                      <a:gd name="connsiteY209" fmla="*/ 1204912 h 1619250"/>
                      <a:gd name="connsiteX210" fmla="*/ 1600612 w 1614899"/>
                      <a:gd name="connsiteY210" fmla="*/ 1212056 h 1619250"/>
                      <a:gd name="connsiteX211" fmla="*/ 1598231 w 1614899"/>
                      <a:gd name="connsiteY211" fmla="*/ 1247775 h 1619250"/>
                      <a:gd name="connsiteX212" fmla="*/ 1579181 w 1614899"/>
                      <a:gd name="connsiteY212" fmla="*/ 1245394 h 1619250"/>
                      <a:gd name="connsiteX213" fmla="*/ 1550606 w 1614899"/>
                      <a:gd name="connsiteY213" fmla="*/ 1231106 h 1619250"/>
                      <a:gd name="connsiteX214" fmla="*/ 1543462 w 1614899"/>
                      <a:gd name="connsiteY214" fmla="*/ 1226344 h 1619250"/>
                      <a:gd name="connsiteX215" fmla="*/ 1543462 w 1614899"/>
                      <a:gd name="connsiteY215" fmla="*/ 1197769 h 1619250"/>
                      <a:gd name="connsiteX216" fmla="*/ 1545843 w 1614899"/>
                      <a:gd name="connsiteY216" fmla="*/ 1183481 h 1619250"/>
                      <a:gd name="connsiteX217" fmla="*/ 1531556 w 1614899"/>
                      <a:gd name="connsiteY217" fmla="*/ 1176337 h 1619250"/>
                      <a:gd name="connsiteX218" fmla="*/ 1529174 w 1614899"/>
                      <a:gd name="connsiteY218" fmla="*/ 1169194 h 1619250"/>
                      <a:gd name="connsiteX219" fmla="*/ 1531556 w 1614899"/>
                      <a:gd name="connsiteY219" fmla="*/ 1152525 h 1619250"/>
                      <a:gd name="connsiteX220" fmla="*/ 1524412 w 1614899"/>
                      <a:gd name="connsiteY220" fmla="*/ 1154906 h 1619250"/>
                      <a:gd name="connsiteX221" fmla="*/ 1517268 w 1614899"/>
                      <a:gd name="connsiteY221" fmla="*/ 1159669 h 1619250"/>
                      <a:gd name="connsiteX222" fmla="*/ 1502981 w 1614899"/>
                      <a:gd name="connsiteY222" fmla="*/ 1164431 h 1619250"/>
                      <a:gd name="connsiteX223" fmla="*/ 1481549 w 1614899"/>
                      <a:gd name="connsiteY223" fmla="*/ 1169194 h 1619250"/>
                      <a:gd name="connsiteX224" fmla="*/ 1457737 w 1614899"/>
                      <a:gd name="connsiteY224" fmla="*/ 1164431 h 1619250"/>
                      <a:gd name="connsiteX225" fmla="*/ 1443449 w 1614899"/>
                      <a:gd name="connsiteY225" fmla="*/ 1154906 h 1619250"/>
                      <a:gd name="connsiteX226" fmla="*/ 1436306 w 1614899"/>
                      <a:gd name="connsiteY226" fmla="*/ 1150144 h 1619250"/>
                      <a:gd name="connsiteX227" fmla="*/ 1426781 w 1614899"/>
                      <a:gd name="connsiteY227" fmla="*/ 1140619 h 1619250"/>
                      <a:gd name="connsiteX228" fmla="*/ 1402968 w 1614899"/>
                      <a:gd name="connsiteY228" fmla="*/ 1138237 h 1619250"/>
                      <a:gd name="connsiteX229" fmla="*/ 1395824 w 1614899"/>
                      <a:gd name="connsiteY229" fmla="*/ 1145381 h 1619250"/>
                      <a:gd name="connsiteX230" fmla="*/ 1374393 w 1614899"/>
                      <a:gd name="connsiteY230" fmla="*/ 1162050 h 1619250"/>
                      <a:gd name="connsiteX231" fmla="*/ 1367249 w 1614899"/>
                      <a:gd name="connsiteY231" fmla="*/ 1188244 h 1619250"/>
                      <a:gd name="connsiteX232" fmla="*/ 1357724 w 1614899"/>
                      <a:gd name="connsiteY232" fmla="*/ 1202531 h 1619250"/>
                      <a:gd name="connsiteX233" fmla="*/ 1348199 w 1614899"/>
                      <a:gd name="connsiteY233" fmla="*/ 1212056 h 1619250"/>
                      <a:gd name="connsiteX234" fmla="*/ 1345818 w 1614899"/>
                      <a:gd name="connsiteY234" fmla="*/ 1219200 h 1619250"/>
                      <a:gd name="connsiteX235" fmla="*/ 1341056 w 1614899"/>
                      <a:gd name="connsiteY235" fmla="*/ 1228725 h 1619250"/>
                      <a:gd name="connsiteX236" fmla="*/ 1350581 w 1614899"/>
                      <a:gd name="connsiteY236" fmla="*/ 1243012 h 1619250"/>
                      <a:gd name="connsiteX237" fmla="*/ 1343437 w 1614899"/>
                      <a:gd name="connsiteY237" fmla="*/ 1266825 h 1619250"/>
                      <a:gd name="connsiteX238" fmla="*/ 1345818 w 1614899"/>
                      <a:gd name="connsiteY238" fmla="*/ 1281112 h 1619250"/>
                      <a:gd name="connsiteX239" fmla="*/ 1348199 w 1614899"/>
                      <a:gd name="connsiteY239" fmla="*/ 1290637 h 1619250"/>
                      <a:gd name="connsiteX240" fmla="*/ 1355343 w 1614899"/>
                      <a:gd name="connsiteY240" fmla="*/ 1297781 h 1619250"/>
                      <a:gd name="connsiteX241" fmla="*/ 1362487 w 1614899"/>
                      <a:gd name="connsiteY241" fmla="*/ 1300162 h 1619250"/>
                      <a:gd name="connsiteX242" fmla="*/ 1386299 w 1614899"/>
                      <a:gd name="connsiteY242" fmla="*/ 1302544 h 1619250"/>
                      <a:gd name="connsiteX243" fmla="*/ 1395824 w 1614899"/>
                      <a:gd name="connsiteY243" fmla="*/ 1309687 h 1619250"/>
                      <a:gd name="connsiteX244" fmla="*/ 1410112 w 1614899"/>
                      <a:gd name="connsiteY244" fmla="*/ 1314450 h 1619250"/>
                      <a:gd name="connsiteX245" fmla="*/ 1417256 w 1614899"/>
                      <a:gd name="connsiteY245" fmla="*/ 1319212 h 1619250"/>
                      <a:gd name="connsiteX246" fmla="*/ 1431543 w 1614899"/>
                      <a:gd name="connsiteY246" fmla="*/ 1326356 h 1619250"/>
                      <a:gd name="connsiteX247" fmla="*/ 1433924 w 1614899"/>
                      <a:gd name="connsiteY247" fmla="*/ 1333500 h 1619250"/>
                      <a:gd name="connsiteX248" fmla="*/ 1429162 w 1614899"/>
                      <a:gd name="connsiteY248" fmla="*/ 1340644 h 1619250"/>
                      <a:gd name="connsiteX249" fmla="*/ 1426781 w 1614899"/>
                      <a:gd name="connsiteY249" fmla="*/ 1347787 h 1619250"/>
                      <a:gd name="connsiteX250" fmla="*/ 1431543 w 1614899"/>
                      <a:gd name="connsiteY250" fmla="*/ 1354931 h 1619250"/>
                      <a:gd name="connsiteX251" fmla="*/ 1436306 w 1614899"/>
                      <a:gd name="connsiteY251" fmla="*/ 1364456 h 1619250"/>
                      <a:gd name="connsiteX252" fmla="*/ 1443449 w 1614899"/>
                      <a:gd name="connsiteY252" fmla="*/ 1395412 h 1619250"/>
                      <a:gd name="connsiteX253" fmla="*/ 1450593 w 1614899"/>
                      <a:gd name="connsiteY253" fmla="*/ 1402556 h 1619250"/>
                      <a:gd name="connsiteX254" fmla="*/ 1448212 w 1614899"/>
                      <a:gd name="connsiteY254" fmla="*/ 1412081 h 1619250"/>
                      <a:gd name="connsiteX255" fmla="*/ 1433924 w 1614899"/>
                      <a:gd name="connsiteY255" fmla="*/ 1416844 h 1619250"/>
                      <a:gd name="connsiteX256" fmla="*/ 1419637 w 1614899"/>
                      <a:gd name="connsiteY256" fmla="*/ 1423987 h 1619250"/>
                      <a:gd name="connsiteX257" fmla="*/ 1405349 w 1614899"/>
                      <a:gd name="connsiteY257" fmla="*/ 1431131 h 1619250"/>
                      <a:gd name="connsiteX258" fmla="*/ 1398206 w 1614899"/>
                      <a:gd name="connsiteY258" fmla="*/ 1435894 h 1619250"/>
                      <a:gd name="connsiteX259" fmla="*/ 1383918 w 1614899"/>
                      <a:gd name="connsiteY259" fmla="*/ 1440656 h 1619250"/>
                      <a:gd name="connsiteX260" fmla="*/ 1376774 w 1614899"/>
                      <a:gd name="connsiteY260" fmla="*/ 1443037 h 1619250"/>
                      <a:gd name="connsiteX261" fmla="*/ 1364868 w 1614899"/>
                      <a:gd name="connsiteY261" fmla="*/ 1464469 h 1619250"/>
                      <a:gd name="connsiteX262" fmla="*/ 1362487 w 1614899"/>
                      <a:gd name="connsiteY262" fmla="*/ 1473994 h 1619250"/>
                      <a:gd name="connsiteX263" fmla="*/ 1364868 w 1614899"/>
                      <a:gd name="connsiteY263" fmla="*/ 1497806 h 1619250"/>
                      <a:gd name="connsiteX264" fmla="*/ 1372012 w 1614899"/>
                      <a:gd name="connsiteY264" fmla="*/ 1500187 h 1619250"/>
                      <a:gd name="connsiteX265" fmla="*/ 1369631 w 1614899"/>
                      <a:gd name="connsiteY265" fmla="*/ 1516856 h 1619250"/>
                      <a:gd name="connsiteX266" fmla="*/ 1367249 w 1614899"/>
                      <a:gd name="connsiteY266" fmla="*/ 1524000 h 1619250"/>
                      <a:gd name="connsiteX267" fmla="*/ 1360106 w 1614899"/>
                      <a:gd name="connsiteY267" fmla="*/ 1526381 h 1619250"/>
                      <a:gd name="connsiteX268" fmla="*/ 1352962 w 1614899"/>
                      <a:gd name="connsiteY268" fmla="*/ 1531144 h 1619250"/>
                      <a:gd name="connsiteX269" fmla="*/ 1343437 w 1614899"/>
                      <a:gd name="connsiteY269" fmla="*/ 1535906 h 1619250"/>
                      <a:gd name="connsiteX270" fmla="*/ 1329149 w 1614899"/>
                      <a:gd name="connsiteY270" fmla="*/ 1550194 h 1619250"/>
                      <a:gd name="connsiteX271" fmla="*/ 1326768 w 1614899"/>
                      <a:gd name="connsiteY271" fmla="*/ 1559719 h 1619250"/>
                      <a:gd name="connsiteX272" fmla="*/ 1322006 w 1614899"/>
                      <a:gd name="connsiteY272" fmla="*/ 1566862 h 1619250"/>
                      <a:gd name="connsiteX273" fmla="*/ 1319624 w 1614899"/>
                      <a:gd name="connsiteY273" fmla="*/ 1578769 h 1619250"/>
                      <a:gd name="connsiteX274" fmla="*/ 1317243 w 1614899"/>
                      <a:gd name="connsiteY274" fmla="*/ 1585912 h 1619250"/>
                      <a:gd name="connsiteX275" fmla="*/ 1314862 w 1614899"/>
                      <a:gd name="connsiteY275" fmla="*/ 1602581 h 1619250"/>
                      <a:gd name="connsiteX276" fmla="*/ 1283906 w 1614899"/>
                      <a:gd name="connsiteY276" fmla="*/ 1614487 h 1619250"/>
                      <a:gd name="connsiteX277" fmla="*/ 1274381 w 1614899"/>
                      <a:gd name="connsiteY277" fmla="*/ 1616869 h 1619250"/>
                      <a:gd name="connsiteX278" fmla="*/ 1260093 w 1614899"/>
                      <a:gd name="connsiteY278" fmla="*/ 1619250 h 1619250"/>
                      <a:gd name="connsiteX279" fmla="*/ 1248187 w 1614899"/>
                      <a:gd name="connsiteY279" fmla="*/ 1616869 h 1619250"/>
                      <a:gd name="connsiteX280" fmla="*/ 1243424 w 1614899"/>
                      <a:gd name="connsiteY280" fmla="*/ 1597819 h 1619250"/>
                      <a:gd name="connsiteX281" fmla="*/ 1238662 w 1614899"/>
                      <a:gd name="connsiteY281" fmla="*/ 1581150 h 1619250"/>
                      <a:gd name="connsiteX282" fmla="*/ 1243424 w 1614899"/>
                      <a:gd name="connsiteY282" fmla="*/ 1566862 h 1619250"/>
                      <a:gd name="connsiteX283" fmla="*/ 1252949 w 1614899"/>
                      <a:gd name="connsiteY283" fmla="*/ 1552575 h 1619250"/>
                      <a:gd name="connsiteX284" fmla="*/ 1260093 w 1614899"/>
                      <a:gd name="connsiteY284" fmla="*/ 1550194 h 1619250"/>
                      <a:gd name="connsiteX285" fmla="*/ 1267237 w 1614899"/>
                      <a:gd name="connsiteY285" fmla="*/ 1543050 h 1619250"/>
                      <a:gd name="connsiteX286" fmla="*/ 1269618 w 1614899"/>
                      <a:gd name="connsiteY286" fmla="*/ 1535906 h 1619250"/>
                      <a:gd name="connsiteX287" fmla="*/ 1274381 w 1614899"/>
                      <a:gd name="connsiteY287" fmla="*/ 1526381 h 1619250"/>
                      <a:gd name="connsiteX288" fmla="*/ 1267237 w 1614899"/>
                      <a:gd name="connsiteY288" fmla="*/ 1502569 h 1619250"/>
                      <a:gd name="connsiteX289" fmla="*/ 1252949 w 1614899"/>
                      <a:gd name="connsiteY289" fmla="*/ 1493044 h 1619250"/>
                      <a:gd name="connsiteX290" fmla="*/ 1262474 w 1614899"/>
                      <a:gd name="connsiteY290" fmla="*/ 1478756 h 1619250"/>
                      <a:gd name="connsiteX291" fmla="*/ 1279143 w 1614899"/>
                      <a:gd name="connsiteY291" fmla="*/ 1462087 h 1619250"/>
                      <a:gd name="connsiteX292" fmla="*/ 1302956 w 1614899"/>
                      <a:gd name="connsiteY292" fmla="*/ 1459706 h 1619250"/>
                      <a:gd name="connsiteX293" fmla="*/ 1305337 w 1614899"/>
                      <a:gd name="connsiteY293" fmla="*/ 1450181 h 1619250"/>
                      <a:gd name="connsiteX294" fmla="*/ 1310099 w 1614899"/>
                      <a:gd name="connsiteY294" fmla="*/ 1443037 h 1619250"/>
                      <a:gd name="connsiteX295" fmla="*/ 1312481 w 1614899"/>
                      <a:gd name="connsiteY295" fmla="*/ 1435894 h 1619250"/>
                      <a:gd name="connsiteX296" fmla="*/ 1305337 w 1614899"/>
                      <a:gd name="connsiteY296" fmla="*/ 1428750 h 1619250"/>
                      <a:gd name="connsiteX297" fmla="*/ 1298193 w 1614899"/>
                      <a:gd name="connsiteY297" fmla="*/ 1423987 h 1619250"/>
                      <a:gd name="connsiteX298" fmla="*/ 1295812 w 1614899"/>
                      <a:gd name="connsiteY298" fmla="*/ 1412081 h 1619250"/>
                      <a:gd name="connsiteX299" fmla="*/ 1293431 w 1614899"/>
                      <a:gd name="connsiteY299" fmla="*/ 1402556 h 1619250"/>
                      <a:gd name="connsiteX300" fmla="*/ 1288668 w 1614899"/>
                      <a:gd name="connsiteY300" fmla="*/ 1369219 h 1619250"/>
                      <a:gd name="connsiteX301" fmla="*/ 1286287 w 1614899"/>
                      <a:gd name="connsiteY301" fmla="*/ 1362075 h 1619250"/>
                      <a:gd name="connsiteX302" fmla="*/ 1276762 w 1614899"/>
                      <a:gd name="connsiteY302" fmla="*/ 1345406 h 1619250"/>
                      <a:gd name="connsiteX303" fmla="*/ 1267237 w 1614899"/>
                      <a:gd name="connsiteY303" fmla="*/ 1343025 h 1619250"/>
                      <a:gd name="connsiteX304" fmla="*/ 1260093 w 1614899"/>
                      <a:gd name="connsiteY304" fmla="*/ 1340644 h 1619250"/>
                      <a:gd name="connsiteX305" fmla="*/ 1252949 w 1614899"/>
                      <a:gd name="connsiteY305" fmla="*/ 1307306 h 1619250"/>
                      <a:gd name="connsiteX306" fmla="*/ 1248187 w 1614899"/>
                      <a:gd name="connsiteY306" fmla="*/ 1293019 h 1619250"/>
                      <a:gd name="connsiteX307" fmla="*/ 1243424 w 1614899"/>
                      <a:gd name="connsiteY307" fmla="*/ 1278731 h 1619250"/>
                      <a:gd name="connsiteX308" fmla="*/ 1241043 w 1614899"/>
                      <a:gd name="connsiteY308" fmla="*/ 1271587 h 1619250"/>
                      <a:gd name="connsiteX309" fmla="*/ 1236281 w 1614899"/>
                      <a:gd name="connsiteY309" fmla="*/ 1262062 h 1619250"/>
                      <a:gd name="connsiteX310" fmla="*/ 1231518 w 1614899"/>
                      <a:gd name="connsiteY310" fmla="*/ 1247775 h 1619250"/>
                      <a:gd name="connsiteX311" fmla="*/ 1224374 w 1614899"/>
                      <a:gd name="connsiteY311" fmla="*/ 1240631 h 1619250"/>
                      <a:gd name="connsiteX312" fmla="*/ 1214849 w 1614899"/>
                      <a:gd name="connsiteY312" fmla="*/ 1226344 h 1619250"/>
                      <a:gd name="connsiteX313" fmla="*/ 1195799 w 1614899"/>
                      <a:gd name="connsiteY313" fmla="*/ 1233487 h 1619250"/>
                      <a:gd name="connsiteX314" fmla="*/ 1198181 w 1614899"/>
                      <a:gd name="connsiteY314" fmla="*/ 1240631 h 1619250"/>
                      <a:gd name="connsiteX315" fmla="*/ 1191037 w 1614899"/>
                      <a:gd name="connsiteY315" fmla="*/ 1243012 h 1619250"/>
                      <a:gd name="connsiteX316" fmla="*/ 1164843 w 1614899"/>
                      <a:gd name="connsiteY316" fmla="*/ 1238250 h 1619250"/>
                      <a:gd name="connsiteX317" fmla="*/ 1155318 w 1614899"/>
                      <a:gd name="connsiteY317" fmla="*/ 1223962 h 1619250"/>
                      <a:gd name="connsiteX318" fmla="*/ 1148174 w 1614899"/>
                      <a:gd name="connsiteY318" fmla="*/ 1216819 h 1619250"/>
                      <a:gd name="connsiteX319" fmla="*/ 1138649 w 1614899"/>
                      <a:gd name="connsiteY319" fmla="*/ 1219200 h 1619250"/>
                      <a:gd name="connsiteX320" fmla="*/ 1131506 w 1614899"/>
                      <a:gd name="connsiteY320" fmla="*/ 1221581 h 1619250"/>
                      <a:gd name="connsiteX321" fmla="*/ 1124362 w 1614899"/>
                      <a:gd name="connsiteY321" fmla="*/ 1219200 h 1619250"/>
                      <a:gd name="connsiteX322" fmla="*/ 1112456 w 1614899"/>
                      <a:gd name="connsiteY322" fmla="*/ 1207295 h 1619250"/>
                      <a:gd name="connsiteX323" fmla="*/ 1126743 w 1614899"/>
                      <a:gd name="connsiteY323" fmla="*/ 1190624 h 1619250"/>
                      <a:gd name="connsiteX324" fmla="*/ 1112456 w 1614899"/>
                      <a:gd name="connsiteY324" fmla="*/ 1154906 h 1619250"/>
                      <a:gd name="connsiteX325" fmla="*/ 1107693 w 1614899"/>
                      <a:gd name="connsiteY325" fmla="*/ 1147762 h 1619250"/>
                      <a:gd name="connsiteX326" fmla="*/ 1100549 w 1614899"/>
                      <a:gd name="connsiteY326" fmla="*/ 1145381 h 1619250"/>
                      <a:gd name="connsiteX327" fmla="*/ 1093406 w 1614899"/>
                      <a:gd name="connsiteY327" fmla="*/ 1147762 h 1619250"/>
                      <a:gd name="connsiteX328" fmla="*/ 1062449 w 1614899"/>
                      <a:gd name="connsiteY328" fmla="*/ 1152525 h 1619250"/>
                      <a:gd name="connsiteX329" fmla="*/ 1043400 w 1614899"/>
                      <a:gd name="connsiteY329" fmla="*/ 1154906 h 1619250"/>
                      <a:gd name="connsiteX330" fmla="*/ 1031493 w 1614899"/>
                      <a:gd name="connsiteY330" fmla="*/ 1154906 h 1619250"/>
                      <a:gd name="connsiteX331" fmla="*/ 1050543 w 1614899"/>
                      <a:gd name="connsiteY331" fmla="*/ 1128712 h 1619250"/>
                      <a:gd name="connsiteX332" fmla="*/ 1041018 w 1614899"/>
                      <a:gd name="connsiteY332" fmla="*/ 1107281 h 1619250"/>
                      <a:gd name="connsiteX333" fmla="*/ 1024349 w 1614899"/>
                      <a:gd name="connsiteY333" fmla="*/ 1109662 h 1619250"/>
                      <a:gd name="connsiteX334" fmla="*/ 1014824 w 1614899"/>
                      <a:gd name="connsiteY334" fmla="*/ 1107281 h 1619250"/>
                      <a:gd name="connsiteX335" fmla="*/ 988631 w 1614899"/>
                      <a:gd name="connsiteY335" fmla="*/ 1109662 h 1619250"/>
                      <a:gd name="connsiteX336" fmla="*/ 979106 w 1614899"/>
                      <a:gd name="connsiteY336" fmla="*/ 1097757 h 1619250"/>
                      <a:gd name="connsiteX337" fmla="*/ 979106 w 1614899"/>
                      <a:gd name="connsiteY337" fmla="*/ 1076325 h 1619250"/>
                      <a:gd name="connsiteX338" fmla="*/ 964818 w 1614899"/>
                      <a:gd name="connsiteY338" fmla="*/ 1064419 h 1619250"/>
                      <a:gd name="connsiteX339" fmla="*/ 950531 w 1614899"/>
                      <a:gd name="connsiteY339" fmla="*/ 1054894 h 1619250"/>
                      <a:gd name="connsiteX340" fmla="*/ 943387 w 1614899"/>
                      <a:gd name="connsiteY340" fmla="*/ 1050131 h 1619250"/>
                      <a:gd name="connsiteX341" fmla="*/ 936243 w 1614899"/>
                      <a:gd name="connsiteY341" fmla="*/ 1045369 h 1619250"/>
                      <a:gd name="connsiteX342" fmla="*/ 931481 w 1614899"/>
                      <a:gd name="connsiteY342" fmla="*/ 1038225 h 1619250"/>
                      <a:gd name="connsiteX343" fmla="*/ 917193 w 1614899"/>
                      <a:gd name="connsiteY343" fmla="*/ 1031081 h 1619250"/>
                      <a:gd name="connsiteX344" fmla="*/ 914812 w 1614899"/>
                      <a:gd name="connsiteY344" fmla="*/ 1040606 h 1619250"/>
                      <a:gd name="connsiteX345" fmla="*/ 907668 w 1614899"/>
                      <a:gd name="connsiteY345" fmla="*/ 1042987 h 1619250"/>
                      <a:gd name="connsiteX346" fmla="*/ 886237 w 1614899"/>
                      <a:gd name="connsiteY346" fmla="*/ 1031081 h 1619250"/>
                      <a:gd name="connsiteX347" fmla="*/ 862424 w 1614899"/>
                      <a:gd name="connsiteY347" fmla="*/ 1035844 h 1619250"/>
                      <a:gd name="connsiteX348" fmla="*/ 845756 w 1614899"/>
                      <a:gd name="connsiteY348" fmla="*/ 1040606 h 1619250"/>
                      <a:gd name="connsiteX349" fmla="*/ 840993 w 1614899"/>
                      <a:gd name="connsiteY349" fmla="*/ 1033462 h 1619250"/>
                      <a:gd name="connsiteX350" fmla="*/ 821943 w 1614899"/>
                      <a:gd name="connsiteY350" fmla="*/ 1004887 h 1619250"/>
                      <a:gd name="connsiteX351" fmla="*/ 814799 w 1614899"/>
                      <a:gd name="connsiteY351" fmla="*/ 1000125 h 1619250"/>
                      <a:gd name="connsiteX352" fmla="*/ 779081 w 1614899"/>
                      <a:gd name="connsiteY352" fmla="*/ 995362 h 1619250"/>
                      <a:gd name="connsiteX353" fmla="*/ 771937 w 1614899"/>
                      <a:gd name="connsiteY353" fmla="*/ 988219 h 1619250"/>
                      <a:gd name="connsiteX354" fmla="*/ 762412 w 1614899"/>
                      <a:gd name="connsiteY354" fmla="*/ 966787 h 1619250"/>
                      <a:gd name="connsiteX355" fmla="*/ 755268 w 1614899"/>
                      <a:gd name="connsiteY355" fmla="*/ 962025 h 1619250"/>
                      <a:gd name="connsiteX356" fmla="*/ 733837 w 1614899"/>
                      <a:gd name="connsiteY356" fmla="*/ 962025 h 1619250"/>
                      <a:gd name="connsiteX357" fmla="*/ 731456 w 1614899"/>
                      <a:gd name="connsiteY357" fmla="*/ 950119 h 1619250"/>
                      <a:gd name="connsiteX358" fmla="*/ 729074 w 1614899"/>
                      <a:gd name="connsiteY358" fmla="*/ 942975 h 1619250"/>
                      <a:gd name="connsiteX359" fmla="*/ 726693 w 1614899"/>
                      <a:gd name="connsiteY359" fmla="*/ 921544 h 1619250"/>
                      <a:gd name="connsiteX360" fmla="*/ 724312 w 1614899"/>
                      <a:gd name="connsiteY360" fmla="*/ 914400 h 1619250"/>
                      <a:gd name="connsiteX361" fmla="*/ 717168 w 1614899"/>
                      <a:gd name="connsiteY361" fmla="*/ 909637 h 1619250"/>
                      <a:gd name="connsiteX362" fmla="*/ 710024 w 1614899"/>
                      <a:gd name="connsiteY362" fmla="*/ 907256 h 1619250"/>
                      <a:gd name="connsiteX363" fmla="*/ 681449 w 1614899"/>
                      <a:gd name="connsiteY363" fmla="*/ 902494 h 1619250"/>
                      <a:gd name="connsiteX364" fmla="*/ 674306 w 1614899"/>
                      <a:gd name="connsiteY364" fmla="*/ 897731 h 1619250"/>
                      <a:gd name="connsiteX365" fmla="*/ 667162 w 1614899"/>
                      <a:gd name="connsiteY365" fmla="*/ 883444 h 1619250"/>
                      <a:gd name="connsiteX366" fmla="*/ 657637 w 1614899"/>
                      <a:gd name="connsiteY366" fmla="*/ 881062 h 1619250"/>
                      <a:gd name="connsiteX367" fmla="*/ 650493 w 1614899"/>
                      <a:gd name="connsiteY367" fmla="*/ 873919 h 1619250"/>
                      <a:gd name="connsiteX368" fmla="*/ 648112 w 1614899"/>
                      <a:gd name="connsiteY368" fmla="*/ 866775 h 1619250"/>
                      <a:gd name="connsiteX369" fmla="*/ 643349 w 1614899"/>
                      <a:gd name="connsiteY369" fmla="*/ 859631 h 1619250"/>
                      <a:gd name="connsiteX370" fmla="*/ 631443 w 1614899"/>
                      <a:gd name="connsiteY370" fmla="*/ 838200 h 1619250"/>
                      <a:gd name="connsiteX371" fmla="*/ 624299 w 1614899"/>
                      <a:gd name="connsiteY371" fmla="*/ 833437 h 1619250"/>
                      <a:gd name="connsiteX372" fmla="*/ 593343 w 1614899"/>
                      <a:gd name="connsiteY372" fmla="*/ 835819 h 1619250"/>
                      <a:gd name="connsiteX373" fmla="*/ 586199 w 1614899"/>
                      <a:gd name="connsiteY373" fmla="*/ 816769 h 1619250"/>
                      <a:gd name="connsiteX374" fmla="*/ 569531 w 1614899"/>
                      <a:gd name="connsiteY374" fmla="*/ 795337 h 1619250"/>
                      <a:gd name="connsiteX375" fmla="*/ 564768 w 1614899"/>
                      <a:gd name="connsiteY375" fmla="*/ 788194 h 1619250"/>
                      <a:gd name="connsiteX376" fmla="*/ 557624 w 1614899"/>
                      <a:gd name="connsiteY376" fmla="*/ 785812 h 1619250"/>
                      <a:gd name="connsiteX377" fmla="*/ 550481 w 1614899"/>
                      <a:gd name="connsiteY377" fmla="*/ 781050 h 1619250"/>
                      <a:gd name="connsiteX378" fmla="*/ 536193 w 1614899"/>
                      <a:gd name="connsiteY378" fmla="*/ 776287 h 1619250"/>
                      <a:gd name="connsiteX379" fmla="*/ 538574 w 1614899"/>
                      <a:gd name="connsiteY379" fmla="*/ 747712 h 1619250"/>
                      <a:gd name="connsiteX380" fmla="*/ 533812 w 1614899"/>
                      <a:gd name="connsiteY380" fmla="*/ 740569 h 1619250"/>
                      <a:gd name="connsiteX381" fmla="*/ 519524 w 1614899"/>
                      <a:gd name="connsiteY381" fmla="*/ 731044 h 1619250"/>
                      <a:gd name="connsiteX382" fmla="*/ 512381 w 1614899"/>
                      <a:gd name="connsiteY382" fmla="*/ 735806 h 1619250"/>
                      <a:gd name="connsiteX383" fmla="*/ 505237 w 1614899"/>
                      <a:gd name="connsiteY383" fmla="*/ 738187 h 1619250"/>
                      <a:gd name="connsiteX384" fmla="*/ 507618 w 1614899"/>
                      <a:gd name="connsiteY384" fmla="*/ 723900 h 1619250"/>
                      <a:gd name="connsiteX385" fmla="*/ 505237 w 1614899"/>
                      <a:gd name="connsiteY385" fmla="*/ 688181 h 1619250"/>
                      <a:gd name="connsiteX386" fmla="*/ 493331 w 1614899"/>
                      <a:gd name="connsiteY386" fmla="*/ 666750 h 1619250"/>
                      <a:gd name="connsiteX387" fmla="*/ 486187 w 1614899"/>
                      <a:gd name="connsiteY387" fmla="*/ 659606 h 1619250"/>
                      <a:gd name="connsiteX388" fmla="*/ 481424 w 1614899"/>
                      <a:gd name="connsiteY388" fmla="*/ 652462 h 1619250"/>
                      <a:gd name="connsiteX389" fmla="*/ 479043 w 1614899"/>
                      <a:gd name="connsiteY389" fmla="*/ 614362 h 1619250"/>
                      <a:gd name="connsiteX390" fmla="*/ 474281 w 1614899"/>
                      <a:gd name="connsiteY390" fmla="*/ 595312 h 1619250"/>
                      <a:gd name="connsiteX391" fmla="*/ 467137 w 1614899"/>
                      <a:gd name="connsiteY391" fmla="*/ 578644 h 1619250"/>
                      <a:gd name="connsiteX392" fmla="*/ 459993 w 1614899"/>
                      <a:gd name="connsiteY392" fmla="*/ 571500 h 1619250"/>
                      <a:gd name="connsiteX393" fmla="*/ 440943 w 1614899"/>
                      <a:gd name="connsiteY393" fmla="*/ 554831 h 1619250"/>
                      <a:gd name="connsiteX394" fmla="*/ 426656 w 1614899"/>
                      <a:gd name="connsiteY394" fmla="*/ 550069 h 1619250"/>
                      <a:gd name="connsiteX395" fmla="*/ 424274 w 1614899"/>
                      <a:gd name="connsiteY395" fmla="*/ 557212 h 1619250"/>
                      <a:gd name="connsiteX396" fmla="*/ 414749 w 1614899"/>
                      <a:gd name="connsiteY396" fmla="*/ 552450 h 1619250"/>
                      <a:gd name="connsiteX397" fmla="*/ 407606 w 1614899"/>
                      <a:gd name="connsiteY397" fmla="*/ 545306 h 1619250"/>
                      <a:gd name="connsiteX398" fmla="*/ 390937 w 1614899"/>
                      <a:gd name="connsiteY398" fmla="*/ 535781 h 1619250"/>
                      <a:gd name="connsiteX399" fmla="*/ 383793 w 1614899"/>
                      <a:gd name="connsiteY399" fmla="*/ 528637 h 1619250"/>
                      <a:gd name="connsiteX400" fmla="*/ 374268 w 1614899"/>
                      <a:gd name="connsiteY400" fmla="*/ 526256 h 1619250"/>
                      <a:gd name="connsiteX401" fmla="*/ 352837 w 1614899"/>
                      <a:gd name="connsiteY401" fmla="*/ 519112 h 1619250"/>
                      <a:gd name="connsiteX402" fmla="*/ 345693 w 1614899"/>
                      <a:gd name="connsiteY402" fmla="*/ 516731 h 1619250"/>
                      <a:gd name="connsiteX403" fmla="*/ 338549 w 1614899"/>
                      <a:gd name="connsiteY403" fmla="*/ 514350 h 1619250"/>
                      <a:gd name="connsiteX404" fmla="*/ 326643 w 1614899"/>
                      <a:gd name="connsiteY404" fmla="*/ 504825 h 1619250"/>
                      <a:gd name="connsiteX405" fmla="*/ 321881 w 1614899"/>
                      <a:gd name="connsiteY405" fmla="*/ 497681 h 1619250"/>
                      <a:gd name="connsiteX406" fmla="*/ 314737 w 1614899"/>
                      <a:gd name="connsiteY406" fmla="*/ 490537 h 1619250"/>
                      <a:gd name="connsiteX407" fmla="*/ 307593 w 1614899"/>
                      <a:gd name="connsiteY407" fmla="*/ 485775 h 1619250"/>
                      <a:gd name="connsiteX408" fmla="*/ 293306 w 1614899"/>
                      <a:gd name="connsiteY408" fmla="*/ 481012 h 1619250"/>
                      <a:gd name="connsiteX409" fmla="*/ 269493 w 1614899"/>
                      <a:gd name="connsiteY409" fmla="*/ 483394 h 1619250"/>
                      <a:gd name="connsiteX410" fmla="*/ 259968 w 1614899"/>
                      <a:gd name="connsiteY410" fmla="*/ 490537 h 1619250"/>
                      <a:gd name="connsiteX411" fmla="*/ 243299 w 1614899"/>
                      <a:gd name="connsiteY411" fmla="*/ 497681 h 1619250"/>
                      <a:gd name="connsiteX412" fmla="*/ 236156 w 1614899"/>
                      <a:gd name="connsiteY412" fmla="*/ 502444 h 1619250"/>
                      <a:gd name="connsiteX413" fmla="*/ 233774 w 1614899"/>
                      <a:gd name="connsiteY413" fmla="*/ 509587 h 1619250"/>
                      <a:gd name="connsiteX414" fmla="*/ 231393 w 1614899"/>
                      <a:gd name="connsiteY414" fmla="*/ 519112 h 1619250"/>
                      <a:gd name="connsiteX415" fmla="*/ 224249 w 1614899"/>
                      <a:gd name="connsiteY415" fmla="*/ 521494 h 1619250"/>
                      <a:gd name="connsiteX416" fmla="*/ 209962 w 1614899"/>
                      <a:gd name="connsiteY416" fmla="*/ 528637 h 1619250"/>
                      <a:gd name="connsiteX417" fmla="*/ 200437 w 1614899"/>
                      <a:gd name="connsiteY417" fmla="*/ 542925 h 1619250"/>
                      <a:gd name="connsiteX418" fmla="*/ 195674 w 1614899"/>
                      <a:gd name="connsiteY418" fmla="*/ 557212 h 1619250"/>
                      <a:gd name="connsiteX419" fmla="*/ 188531 w 1614899"/>
                      <a:gd name="connsiteY419" fmla="*/ 559594 h 1619250"/>
                      <a:gd name="connsiteX420" fmla="*/ 176624 w 1614899"/>
                      <a:gd name="connsiteY420" fmla="*/ 564356 h 1619250"/>
                      <a:gd name="connsiteX421" fmla="*/ 164718 w 1614899"/>
                      <a:gd name="connsiteY421" fmla="*/ 566737 h 1619250"/>
                      <a:gd name="connsiteX422" fmla="*/ 157574 w 1614899"/>
                      <a:gd name="connsiteY422" fmla="*/ 569119 h 1619250"/>
                      <a:gd name="connsiteX423" fmla="*/ 148049 w 1614899"/>
                      <a:gd name="connsiteY423" fmla="*/ 571500 h 1619250"/>
                      <a:gd name="connsiteX424" fmla="*/ 140906 w 1614899"/>
                      <a:gd name="connsiteY424" fmla="*/ 573881 h 1619250"/>
                      <a:gd name="connsiteX425" fmla="*/ 121856 w 1614899"/>
                      <a:gd name="connsiteY425" fmla="*/ 576262 h 1619250"/>
                      <a:gd name="connsiteX426" fmla="*/ 119474 w 1614899"/>
                      <a:gd name="connsiteY426" fmla="*/ 571500 h 1619250"/>
                      <a:gd name="connsiteX427" fmla="*/ 128999 w 1614899"/>
                      <a:gd name="connsiteY427" fmla="*/ 557212 h 1619250"/>
                      <a:gd name="connsiteX428" fmla="*/ 131381 w 1614899"/>
                      <a:gd name="connsiteY428" fmla="*/ 550069 h 1619250"/>
                      <a:gd name="connsiteX429" fmla="*/ 140906 w 1614899"/>
                      <a:gd name="connsiteY429" fmla="*/ 535781 h 1619250"/>
                      <a:gd name="connsiteX430" fmla="*/ 133762 w 1614899"/>
                      <a:gd name="connsiteY430" fmla="*/ 533400 h 1619250"/>
                      <a:gd name="connsiteX431" fmla="*/ 128999 w 1614899"/>
                      <a:gd name="connsiteY431" fmla="*/ 516731 h 1619250"/>
                      <a:gd name="connsiteX432" fmla="*/ 69468 w 1614899"/>
                      <a:gd name="connsiteY432" fmla="*/ 514350 h 1619250"/>
                      <a:gd name="connsiteX433" fmla="*/ 67087 w 1614899"/>
                      <a:gd name="connsiteY433" fmla="*/ 507206 h 1619250"/>
                      <a:gd name="connsiteX434" fmla="*/ 52799 w 1614899"/>
                      <a:gd name="connsiteY434" fmla="*/ 497681 h 1619250"/>
                      <a:gd name="connsiteX435" fmla="*/ 55181 w 1614899"/>
                      <a:gd name="connsiteY435" fmla="*/ 488156 h 1619250"/>
                      <a:gd name="connsiteX436" fmla="*/ 40893 w 1614899"/>
                      <a:gd name="connsiteY436" fmla="*/ 483394 h 1619250"/>
                      <a:gd name="connsiteX437" fmla="*/ 38512 w 1614899"/>
                      <a:gd name="connsiteY437" fmla="*/ 471487 h 1619250"/>
                      <a:gd name="connsiteX438" fmla="*/ 36131 w 1614899"/>
                      <a:gd name="connsiteY438" fmla="*/ 464344 h 1619250"/>
                      <a:gd name="connsiteX439" fmla="*/ 38512 w 1614899"/>
                      <a:gd name="connsiteY439" fmla="*/ 452437 h 1619250"/>
                      <a:gd name="connsiteX440" fmla="*/ 38512 w 1614899"/>
                      <a:gd name="connsiteY440" fmla="*/ 428625 h 1619250"/>
                      <a:gd name="connsiteX441" fmla="*/ 45656 w 1614899"/>
                      <a:gd name="connsiteY441" fmla="*/ 426244 h 1619250"/>
                      <a:gd name="connsiteX442" fmla="*/ 52799 w 1614899"/>
                      <a:gd name="connsiteY442" fmla="*/ 421481 h 1619250"/>
                      <a:gd name="connsiteX443" fmla="*/ 59943 w 1614899"/>
                      <a:gd name="connsiteY443" fmla="*/ 419100 h 1619250"/>
                      <a:gd name="connsiteX444" fmla="*/ 64706 w 1614899"/>
                      <a:gd name="connsiteY444" fmla="*/ 411956 h 1619250"/>
                      <a:gd name="connsiteX445" fmla="*/ 55181 w 1614899"/>
                      <a:gd name="connsiteY445" fmla="*/ 392906 h 1619250"/>
                      <a:gd name="connsiteX446" fmla="*/ 40893 w 1614899"/>
                      <a:gd name="connsiteY446" fmla="*/ 388144 h 1619250"/>
                      <a:gd name="connsiteX447" fmla="*/ 33749 w 1614899"/>
                      <a:gd name="connsiteY447" fmla="*/ 390525 h 1619250"/>
                      <a:gd name="connsiteX448" fmla="*/ 28987 w 1614899"/>
                      <a:gd name="connsiteY448" fmla="*/ 390525 h 1619250"/>
                      <a:gd name="connsiteX449" fmla="*/ 21843 w 1614899"/>
                      <a:gd name="connsiteY449" fmla="*/ 388144 h 1619250"/>
                      <a:gd name="connsiteX450" fmla="*/ 14699 w 1614899"/>
                      <a:gd name="connsiteY450" fmla="*/ 364331 h 1619250"/>
                      <a:gd name="connsiteX451" fmla="*/ 2793 w 1614899"/>
                      <a:gd name="connsiteY451" fmla="*/ 361950 h 1619250"/>
                      <a:gd name="connsiteX452" fmla="*/ 2793 w 1614899"/>
                      <a:gd name="connsiteY452" fmla="*/ 345281 h 1619250"/>
                      <a:gd name="connsiteX453" fmla="*/ 17081 w 1614899"/>
                      <a:gd name="connsiteY453" fmla="*/ 340519 h 1619250"/>
                      <a:gd name="connsiteX454" fmla="*/ 24224 w 1614899"/>
                      <a:gd name="connsiteY454" fmla="*/ 347662 h 1619250"/>
                      <a:gd name="connsiteX455" fmla="*/ 40893 w 1614899"/>
                      <a:gd name="connsiteY455" fmla="*/ 342900 h 1619250"/>
                      <a:gd name="connsiteX456" fmla="*/ 57562 w 1614899"/>
                      <a:gd name="connsiteY456" fmla="*/ 333375 h 1619250"/>
                      <a:gd name="connsiteX457" fmla="*/ 64706 w 1614899"/>
                      <a:gd name="connsiteY457" fmla="*/ 328612 h 1619250"/>
                      <a:gd name="connsiteX458" fmla="*/ 71849 w 1614899"/>
                      <a:gd name="connsiteY458" fmla="*/ 326231 h 1619250"/>
                      <a:gd name="connsiteX459" fmla="*/ 90899 w 1614899"/>
                      <a:gd name="connsiteY459" fmla="*/ 321469 h 1619250"/>
                      <a:gd name="connsiteX460" fmla="*/ 86137 w 1614899"/>
                      <a:gd name="connsiteY460" fmla="*/ 311944 h 1619250"/>
                      <a:gd name="connsiteX461" fmla="*/ 88518 w 1614899"/>
                      <a:gd name="connsiteY461" fmla="*/ 292894 h 1619250"/>
                      <a:gd name="connsiteX462" fmla="*/ 90899 w 1614899"/>
                      <a:gd name="connsiteY462" fmla="*/ 285750 h 1619250"/>
                      <a:gd name="connsiteX463" fmla="*/ 76612 w 1614899"/>
                      <a:gd name="connsiteY463" fmla="*/ 280987 h 1619250"/>
                      <a:gd name="connsiteX464" fmla="*/ 71849 w 1614899"/>
                      <a:gd name="connsiteY464" fmla="*/ 273844 h 1619250"/>
                      <a:gd name="connsiteX465" fmla="*/ 67087 w 1614899"/>
                      <a:gd name="connsiteY465" fmla="*/ 250031 h 1619250"/>
                      <a:gd name="connsiteX466" fmla="*/ 45656 w 1614899"/>
                      <a:gd name="connsiteY466" fmla="*/ 250031 h 1619250"/>
                      <a:gd name="connsiteX467" fmla="*/ 40893 w 1614899"/>
                      <a:gd name="connsiteY467" fmla="*/ 242887 h 1619250"/>
                      <a:gd name="connsiteX468" fmla="*/ 43274 w 1614899"/>
                      <a:gd name="connsiteY468" fmla="*/ 223837 h 1619250"/>
                      <a:gd name="connsiteX469" fmla="*/ 57562 w 1614899"/>
                      <a:gd name="connsiteY469" fmla="*/ 211931 h 1619250"/>
                      <a:gd name="connsiteX470" fmla="*/ 74231 w 1614899"/>
                      <a:gd name="connsiteY470" fmla="*/ 200025 h 1619250"/>
                      <a:gd name="connsiteX471" fmla="*/ 81374 w 1614899"/>
                      <a:gd name="connsiteY471" fmla="*/ 202406 h 1619250"/>
                      <a:gd name="connsiteX472" fmla="*/ 83756 w 1614899"/>
                      <a:gd name="connsiteY472" fmla="*/ 209550 h 1619250"/>
                      <a:gd name="connsiteX473" fmla="*/ 102806 w 1614899"/>
                      <a:gd name="connsiteY473" fmla="*/ 204787 h 1619250"/>
                      <a:gd name="connsiteX474" fmla="*/ 109949 w 1614899"/>
                      <a:gd name="connsiteY474" fmla="*/ 200025 h 1619250"/>
                      <a:gd name="connsiteX475" fmla="*/ 119474 w 1614899"/>
                      <a:gd name="connsiteY475" fmla="*/ 197644 h 1619250"/>
                      <a:gd name="connsiteX476" fmla="*/ 133762 w 1614899"/>
                      <a:gd name="connsiteY476" fmla="*/ 192881 h 1619250"/>
                      <a:gd name="connsiteX477" fmla="*/ 140906 w 1614899"/>
                      <a:gd name="connsiteY477" fmla="*/ 190500 h 1619250"/>
                      <a:gd name="connsiteX478" fmla="*/ 148049 w 1614899"/>
                      <a:gd name="connsiteY478" fmla="*/ 195262 h 1619250"/>
                      <a:gd name="connsiteX479" fmla="*/ 155193 w 1614899"/>
                      <a:gd name="connsiteY479" fmla="*/ 204787 h 1619250"/>
                      <a:gd name="connsiteX480" fmla="*/ 164718 w 1614899"/>
                      <a:gd name="connsiteY480" fmla="*/ 202406 h 1619250"/>
                      <a:gd name="connsiteX481" fmla="*/ 190912 w 1614899"/>
                      <a:gd name="connsiteY481" fmla="*/ 200025 h 1619250"/>
                      <a:gd name="connsiteX482" fmla="*/ 193293 w 1614899"/>
                      <a:gd name="connsiteY482" fmla="*/ 192881 h 1619250"/>
                      <a:gd name="connsiteX483" fmla="*/ 198056 w 1614899"/>
                      <a:gd name="connsiteY483" fmla="*/ 185737 h 1619250"/>
                      <a:gd name="connsiteX484" fmla="*/ 195674 w 1614899"/>
                      <a:gd name="connsiteY484" fmla="*/ 178594 h 1619250"/>
                      <a:gd name="connsiteX485" fmla="*/ 186149 w 1614899"/>
                      <a:gd name="connsiteY485" fmla="*/ 159544 h 1619250"/>
                      <a:gd name="connsiteX486" fmla="*/ 217106 w 1614899"/>
                      <a:gd name="connsiteY486" fmla="*/ 152400 h 1619250"/>
                      <a:gd name="connsiteX487" fmla="*/ 209962 w 1614899"/>
                      <a:gd name="connsiteY487" fmla="*/ 145256 h 1619250"/>
                      <a:gd name="connsiteX488" fmla="*/ 202818 w 1614899"/>
                      <a:gd name="connsiteY488" fmla="*/ 140494 h 1619250"/>
                      <a:gd name="connsiteX489" fmla="*/ 212343 w 1614899"/>
                      <a:gd name="connsiteY489" fmla="*/ 133350 h 1619250"/>
                      <a:gd name="connsiteX490" fmla="*/ 233774 w 1614899"/>
                      <a:gd name="connsiteY490" fmla="*/ 123825 h 1619250"/>
                      <a:gd name="connsiteX491" fmla="*/ 238537 w 1614899"/>
                      <a:gd name="connsiteY491" fmla="*/ 116681 h 1619250"/>
                      <a:gd name="connsiteX492" fmla="*/ 240918 w 1614899"/>
                      <a:gd name="connsiteY492" fmla="*/ 107156 h 1619250"/>
                      <a:gd name="connsiteX493" fmla="*/ 248062 w 1614899"/>
                      <a:gd name="connsiteY493" fmla="*/ 109537 h 1619250"/>
                      <a:gd name="connsiteX494" fmla="*/ 250443 w 1614899"/>
                      <a:gd name="connsiteY494" fmla="*/ 116681 h 1619250"/>
                      <a:gd name="connsiteX495" fmla="*/ 252824 w 1614899"/>
                      <a:gd name="connsiteY495" fmla="*/ 130969 h 1619250"/>
                      <a:gd name="connsiteX496" fmla="*/ 269493 w 1614899"/>
                      <a:gd name="connsiteY496" fmla="*/ 138112 h 1619250"/>
                      <a:gd name="connsiteX497" fmla="*/ 271874 w 1614899"/>
                      <a:gd name="connsiteY497" fmla="*/ 145256 h 1619250"/>
                      <a:gd name="connsiteX498" fmla="*/ 264731 w 1614899"/>
                      <a:gd name="connsiteY498" fmla="*/ 152400 h 1619250"/>
                      <a:gd name="connsiteX499" fmla="*/ 262349 w 1614899"/>
                      <a:gd name="connsiteY499" fmla="*/ 159544 h 1619250"/>
                      <a:gd name="connsiteX500" fmla="*/ 264731 w 1614899"/>
                      <a:gd name="connsiteY500" fmla="*/ 173831 h 1619250"/>
                      <a:gd name="connsiteX501" fmla="*/ 274256 w 1614899"/>
                      <a:gd name="connsiteY501" fmla="*/ 176212 h 1619250"/>
                      <a:gd name="connsiteX502" fmla="*/ 295687 w 1614899"/>
                      <a:gd name="connsiteY502" fmla="*/ 178594 h 1619250"/>
                      <a:gd name="connsiteX503" fmla="*/ 293306 w 1614899"/>
                      <a:gd name="connsiteY503" fmla="*/ 185737 h 1619250"/>
                      <a:gd name="connsiteX504" fmla="*/ 295687 w 1614899"/>
                      <a:gd name="connsiteY504" fmla="*/ 200025 h 1619250"/>
                      <a:gd name="connsiteX505" fmla="*/ 302831 w 1614899"/>
                      <a:gd name="connsiteY505" fmla="*/ 216694 h 1619250"/>
                      <a:gd name="connsiteX506" fmla="*/ 307593 w 1614899"/>
                      <a:gd name="connsiteY506" fmla="*/ 223837 h 1619250"/>
                      <a:gd name="connsiteX507" fmla="*/ 314737 w 1614899"/>
                      <a:gd name="connsiteY507" fmla="*/ 228600 h 1619250"/>
                      <a:gd name="connsiteX508" fmla="*/ 326643 w 1614899"/>
                      <a:gd name="connsiteY508" fmla="*/ 226219 h 1619250"/>
                      <a:gd name="connsiteX509" fmla="*/ 321881 w 1614899"/>
                      <a:gd name="connsiteY509" fmla="*/ 200025 h 1619250"/>
                      <a:gd name="connsiteX510" fmla="*/ 314737 w 1614899"/>
                      <a:gd name="connsiteY510" fmla="*/ 197644 h 1619250"/>
                      <a:gd name="connsiteX511" fmla="*/ 324262 w 1614899"/>
                      <a:gd name="connsiteY511" fmla="*/ 180975 h 1619250"/>
                      <a:gd name="connsiteX512" fmla="*/ 329024 w 1614899"/>
                      <a:gd name="connsiteY512" fmla="*/ 173831 h 1619250"/>
                      <a:gd name="connsiteX513" fmla="*/ 343312 w 1614899"/>
                      <a:gd name="connsiteY513" fmla="*/ 159544 h 1619250"/>
                      <a:gd name="connsiteX514" fmla="*/ 348074 w 1614899"/>
                      <a:gd name="connsiteY514" fmla="*/ 145256 h 1619250"/>
                      <a:gd name="connsiteX515" fmla="*/ 350456 w 1614899"/>
                      <a:gd name="connsiteY515" fmla="*/ 114300 h 1619250"/>
                      <a:gd name="connsiteX516" fmla="*/ 357599 w 1614899"/>
                      <a:gd name="connsiteY516" fmla="*/ 111919 h 1619250"/>
                      <a:gd name="connsiteX517" fmla="*/ 364743 w 1614899"/>
                      <a:gd name="connsiteY517" fmla="*/ 114300 h 1619250"/>
                      <a:gd name="connsiteX518" fmla="*/ 371887 w 1614899"/>
                      <a:gd name="connsiteY518" fmla="*/ 114300 h 1619250"/>
                      <a:gd name="connsiteX519" fmla="*/ 381412 w 1614899"/>
                      <a:gd name="connsiteY519" fmla="*/ 138112 h 1619250"/>
                      <a:gd name="connsiteX520" fmla="*/ 395699 w 1614899"/>
                      <a:gd name="connsiteY520" fmla="*/ 150019 h 1619250"/>
                      <a:gd name="connsiteX521" fmla="*/ 409987 w 1614899"/>
                      <a:gd name="connsiteY521" fmla="*/ 147637 h 1619250"/>
                      <a:gd name="connsiteX522" fmla="*/ 412368 w 1614899"/>
                      <a:gd name="connsiteY522" fmla="*/ 133350 h 1619250"/>
                      <a:gd name="connsiteX523" fmla="*/ 426656 w 1614899"/>
                      <a:gd name="connsiteY523" fmla="*/ 128587 h 1619250"/>
                      <a:gd name="connsiteX524" fmla="*/ 433799 w 1614899"/>
                      <a:gd name="connsiteY524" fmla="*/ 142875 h 1619250"/>
                      <a:gd name="connsiteX525" fmla="*/ 448087 w 1614899"/>
                      <a:gd name="connsiteY525" fmla="*/ 161925 h 1619250"/>
                      <a:gd name="connsiteX526" fmla="*/ 464756 w 1614899"/>
                      <a:gd name="connsiteY526" fmla="*/ 159544 h 1619250"/>
                      <a:gd name="connsiteX527" fmla="*/ 452849 w 1614899"/>
                      <a:gd name="connsiteY527" fmla="*/ 138112 h 1619250"/>
                      <a:gd name="connsiteX528" fmla="*/ 450468 w 1614899"/>
                      <a:gd name="connsiteY528" fmla="*/ 111919 h 1619250"/>
                      <a:gd name="connsiteX529" fmla="*/ 443324 w 1614899"/>
                      <a:gd name="connsiteY529" fmla="*/ 107156 h 1619250"/>
                      <a:gd name="connsiteX530" fmla="*/ 440943 w 1614899"/>
                      <a:gd name="connsiteY530" fmla="*/ 100012 h 1619250"/>
                      <a:gd name="connsiteX531" fmla="*/ 450468 w 1614899"/>
                      <a:gd name="connsiteY531" fmla="*/ 88106 h 1619250"/>
                      <a:gd name="connsiteX532" fmla="*/ 476662 w 1614899"/>
                      <a:gd name="connsiteY532" fmla="*/ 90487 h 1619250"/>
                      <a:gd name="connsiteX533" fmla="*/ 486187 w 1614899"/>
                      <a:gd name="connsiteY533" fmla="*/ 92869 h 1619250"/>
                      <a:gd name="connsiteX534" fmla="*/ 493331 w 1614899"/>
                      <a:gd name="connsiteY534" fmla="*/ 97631 h 1619250"/>
                      <a:gd name="connsiteX535" fmla="*/ 502856 w 1614899"/>
                      <a:gd name="connsiteY535" fmla="*/ 95250 h 1619250"/>
                      <a:gd name="connsiteX536" fmla="*/ 509999 w 1614899"/>
                      <a:gd name="connsiteY536" fmla="*/ 90487 h 1619250"/>
                      <a:gd name="connsiteX537" fmla="*/ 507618 w 1614899"/>
                      <a:gd name="connsiteY537" fmla="*/ 83344 h 1619250"/>
                      <a:gd name="connsiteX538" fmla="*/ 500474 w 1614899"/>
                      <a:gd name="connsiteY538" fmla="*/ 80962 h 1619250"/>
                      <a:gd name="connsiteX539" fmla="*/ 493331 w 1614899"/>
                      <a:gd name="connsiteY539" fmla="*/ 76200 h 1619250"/>
                      <a:gd name="connsiteX540" fmla="*/ 495712 w 1614899"/>
                      <a:gd name="connsiteY540"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19549 w 1614899"/>
                      <a:gd name="connsiteY86" fmla="*/ 328612 h 1619250"/>
                      <a:gd name="connsiteX87" fmla="*/ 714787 w 1614899"/>
                      <a:gd name="connsiteY87" fmla="*/ 335756 h 1619250"/>
                      <a:gd name="connsiteX88" fmla="*/ 717168 w 1614899"/>
                      <a:gd name="connsiteY88" fmla="*/ 342900 h 1619250"/>
                      <a:gd name="connsiteX89" fmla="*/ 721931 w 1614899"/>
                      <a:gd name="connsiteY89" fmla="*/ 347662 h 1619250"/>
                      <a:gd name="connsiteX90" fmla="*/ 733837 w 1614899"/>
                      <a:gd name="connsiteY90" fmla="*/ 357187 h 1619250"/>
                      <a:gd name="connsiteX91" fmla="*/ 740981 w 1614899"/>
                      <a:gd name="connsiteY91" fmla="*/ 354806 h 1619250"/>
                      <a:gd name="connsiteX92" fmla="*/ 755268 w 1614899"/>
                      <a:gd name="connsiteY92" fmla="*/ 350044 h 1619250"/>
                      <a:gd name="connsiteX93" fmla="*/ 752887 w 1614899"/>
                      <a:gd name="connsiteY93" fmla="*/ 359569 h 1619250"/>
                      <a:gd name="connsiteX94" fmla="*/ 755268 w 1614899"/>
                      <a:gd name="connsiteY94" fmla="*/ 371475 h 1619250"/>
                      <a:gd name="connsiteX95" fmla="*/ 762412 w 1614899"/>
                      <a:gd name="connsiteY95" fmla="*/ 373856 h 1619250"/>
                      <a:gd name="connsiteX96" fmla="*/ 745743 w 1614899"/>
                      <a:gd name="connsiteY96" fmla="*/ 390525 h 1619250"/>
                      <a:gd name="connsiteX97" fmla="*/ 750506 w 1614899"/>
                      <a:gd name="connsiteY97" fmla="*/ 397669 h 1619250"/>
                      <a:gd name="connsiteX98" fmla="*/ 745743 w 1614899"/>
                      <a:gd name="connsiteY98" fmla="*/ 411956 h 1619250"/>
                      <a:gd name="connsiteX99" fmla="*/ 731456 w 1614899"/>
                      <a:gd name="connsiteY99" fmla="*/ 404812 h 1619250"/>
                      <a:gd name="connsiteX100" fmla="*/ 724312 w 1614899"/>
                      <a:gd name="connsiteY100" fmla="*/ 409575 h 1619250"/>
                      <a:gd name="connsiteX101" fmla="*/ 721931 w 1614899"/>
                      <a:gd name="connsiteY101" fmla="*/ 416719 h 1619250"/>
                      <a:gd name="connsiteX102" fmla="*/ 736218 w 1614899"/>
                      <a:gd name="connsiteY102" fmla="*/ 426244 h 1619250"/>
                      <a:gd name="connsiteX103" fmla="*/ 731456 w 1614899"/>
                      <a:gd name="connsiteY103" fmla="*/ 442912 h 1619250"/>
                      <a:gd name="connsiteX104" fmla="*/ 729074 w 1614899"/>
                      <a:gd name="connsiteY104" fmla="*/ 450056 h 1619250"/>
                      <a:gd name="connsiteX105" fmla="*/ 731456 w 1614899"/>
                      <a:gd name="connsiteY105" fmla="*/ 481012 h 1619250"/>
                      <a:gd name="connsiteX106" fmla="*/ 736218 w 1614899"/>
                      <a:gd name="connsiteY106" fmla="*/ 488156 h 1619250"/>
                      <a:gd name="connsiteX107" fmla="*/ 743362 w 1614899"/>
                      <a:gd name="connsiteY107" fmla="*/ 509587 h 1619250"/>
                      <a:gd name="connsiteX108" fmla="*/ 745743 w 1614899"/>
                      <a:gd name="connsiteY108" fmla="*/ 516731 h 1619250"/>
                      <a:gd name="connsiteX109" fmla="*/ 760031 w 1614899"/>
                      <a:gd name="connsiteY109" fmla="*/ 526256 h 1619250"/>
                      <a:gd name="connsiteX110" fmla="*/ 764793 w 1614899"/>
                      <a:gd name="connsiteY110" fmla="*/ 533400 h 1619250"/>
                      <a:gd name="connsiteX111" fmla="*/ 769556 w 1614899"/>
                      <a:gd name="connsiteY111" fmla="*/ 547687 h 1619250"/>
                      <a:gd name="connsiteX112" fmla="*/ 769556 w 1614899"/>
                      <a:gd name="connsiteY112" fmla="*/ 542925 h 1619250"/>
                      <a:gd name="connsiteX113" fmla="*/ 776699 w 1614899"/>
                      <a:gd name="connsiteY113" fmla="*/ 550069 h 1619250"/>
                      <a:gd name="connsiteX114" fmla="*/ 793368 w 1614899"/>
                      <a:gd name="connsiteY114" fmla="*/ 552450 h 1619250"/>
                      <a:gd name="connsiteX115" fmla="*/ 807656 w 1614899"/>
                      <a:gd name="connsiteY115" fmla="*/ 557212 h 1619250"/>
                      <a:gd name="connsiteX116" fmla="*/ 814799 w 1614899"/>
                      <a:gd name="connsiteY116" fmla="*/ 559594 h 1619250"/>
                      <a:gd name="connsiteX117" fmla="*/ 821943 w 1614899"/>
                      <a:gd name="connsiteY117" fmla="*/ 566737 h 1619250"/>
                      <a:gd name="connsiteX118" fmla="*/ 829087 w 1614899"/>
                      <a:gd name="connsiteY118" fmla="*/ 569119 h 1619250"/>
                      <a:gd name="connsiteX119" fmla="*/ 836231 w 1614899"/>
                      <a:gd name="connsiteY119" fmla="*/ 573881 h 1619250"/>
                      <a:gd name="connsiteX120" fmla="*/ 843374 w 1614899"/>
                      <a:gd name="connsiteY120" fmla="*/ 588169 h 1619250"/>
                      <a:gd name="connsiteX121" fmla="*/ 852899 w 1614899"/>
                      <a:gd name="connsiteY121" fmla="*/ 597694 h 1619250"/>
                      <a:gd name="connsiteX122" fmla="*/ 902906 w 1614899"/>
                      <a:gd name="connsiteY122" fmla="*/ 604837 h 1619250"/>
                      <a:gd name="connsiteX123" fmla="*/ 914812 w 1614899"/>
                      <a:gd name="connsiteY123" fmla="*/ 626269 h 1619250"/>
                      <a:gd name="connsiteX124" fmla="*/ 919574 w 1614899"/>
                      <a:gd name="connsiteY124" fmla="*/ 633412 h 1619250"/>
                      <a:gd name="connsiteX125" fmla="*/ 919574 w 1614899"/>
                      <a:gd name="connsiteY125" fmla="*/ 671512 h 1619250"/>
                      <a:gd name="connsiteX126" fmla="*/ 926718 w 1614899"/>
                      <a:gd name="connsiteY126" fmla="*/ 676275 h 1619250"/>
                      <a:gd name="connsiteX127" fmla="*/ 933862 w 1614899"/>
                      <a:gd name="connsiteY127" fmla="*/ 690562 h 1619250"/>
                      <a:gd name="connsiteX128" fmla="*/ 936243 w 1614899"/>
                      <a:gd name="connsiteY128" fmla="*/ 702469 h 1619250"/>
                      <a:gd name="connsiteX129" fmla="*/ 943387 w 1614899"/>
                      <a:gd name="connsiteY129" fmla="*/ 709612 h 1619250"/>
                      <a:gd name="connsiteX130" fmla="*/ 945768 w 1614899"/>
                      <a:gd name="connsiteY130" fmla="*/ 723900 h 1619250"/>
                      <a:gd name="connsiteX131" fmla="*/ 955293 w 1614899"/>
                      <a:gd name="connsiteY131" fmla="*/ 738187 h 1619250"/>
                      <a:gd name="connsiteX132" fmla="*/ 964818 w 1614899"/>
                      <a:gd name="connsiteY132" fmla="*/ 752475 h 1619250"/>
                      <a:gd name="connsiteX133" fmla="*/ 967199 w 1614899"/>
                      <a:gd name="connsiteY133" fmla="*/ 759619 h 1619250"/>
                      <a:gd name="connsiteX134" fmla="*/ 974343 w 1614899"/>
                      <a:gd name="connsiteY134" fmla="*/ 769144 h 1619250"/>
                      <a:gd name="connsiteX135" fmla="*/ 979106 w 1614899"/>
                      <a:gd name="connsiteY135" fmla="*/ 783431 h 1619250"/>
                      <a:gd name="connsiteX136" fmla="*/ 981487 w 1614899"/>
                      <a:gd name="connsiteY136" fmla="*/ 790575 h 1619250"/>
                      <a:gd name="connsiteX137" fmla="*/ 991012 w 1614899"/>
                      <a:gd name="connsiteY137" fmla="*/ 804862 h 1619250"/>
                      <a:gd name="connsiteX138" fmla="*/ 998156 w 1614899"/>
                      <a:gd name="connsiteY138" fmla="*/ 819150 h 1619250"/>
                      <a:gd name="connsiteX139" fmla="*/ 1000537 w 1614899"/>
                      <a:gd name="connsiteY139" fmla="*/ 826294 h 1619250"/>
                      <a:gd name="connsiteX140" fmla="*/ 1007681 w 1614899"/>
                      <a:gd name="connsiteY140" fmla="*/ 828675 h 1619250"/>
                      <a:gd name="connsiteX141" fmla="*/ 1014824 w 1614899"/>
                      <a:gd name="connsiteY141" fmla="*/ 833437 h 1619250"/>
                      <a:gd name="connsiteX142" fmla="*/ 1029112 w 1614899"/>
                      <a:gd name="connsiteY142" fmla="*/ 838200 h 1619250"/>
                      <a:gd name="connsiteX143" fmla="*/ 1033874 w 1614899"/>
                      <a:gd name="connsiteY143" fmla="*/ 845344 h 1619250"/>
                      <a:gd name="connsiteX144" fmla="*/ 1048162 w 1614899"/>
                      <a:gd name="connsiteY144" fmla="*/ 857250 h 1619250"/>
                      <a:gd name="connsiteX145" fmla="*/ 1062449 w 1614899"/>
                      <a:gd name="connsiteY145" fmla="*/ 862012 h 1619250"/>
                      <a:gd name="connsiteX146" fmla="*/ 1079118 w 1614899"/>
                      <a:gd name="connsiteY146" fmla="*/ 883444 h 1619250"/>
                      <a:gd name="connsiteX147" fmla="*/ 1081499 w 1614899"/>
                      <a:gd name="connsiteY147" fmla="*/ 890587 h 1619250"/>
                      <a:gd name="connsiteX148" fmla="*/ 1095787 w 1614899"/>
                      <a:gd name="connsiteY148" fmla="*/ 883444 h 1619250"/>
                      <a:gd name="connsiteX149" fmla="*/ 1110074 w 1614899"/>
                      <a:gd name="connsiteY149" fmla="*/ 890587 h 1619250"/>
                      <a:gd name="connsiteX150" fmla="*/ 1121981 w 1614899"/>
                      <a:gd name="connsiteY150" fmla="*/ 902494 h 1619250"/>
                      <a:gd name="connsiteX151" fmla="*/ 1136268 w 1614899"/>
                      <a:gd name="connsiteY151" fmla="*/ 907256 h 1619250"/>
                      <a:gd name="connsiteX152" fmla="*/ 1176749 w 1614899"/>
                      <a:gd name="connsiteY152" fmla="*/ 904875 h 1619250"/>
                      <a:gd name="connsiteX153" fmla="*/ 1195799 w 1614899"/>
                      <a:gd name="connsiteY153" fmla="*/ 904875 h 1619250"/>
                      <a:gd name="connsiteX154" fmla="*/ 1207706 w 1614899"/>
                      <a:gd name="connsiteY154" fmla="*/ 912019 h 1619250"/>
                      <a:gd name="connsiteX155" fmla="*/ 1210087 w 1614899"/>
                      <a:gd name="connsiteY155" fmla="*/ 902494 h 1619250"/>
                      <a:gd name="connsiteX156" fmla="*/ 1219612 w 1614899"/>
                      <a:gd name="connsiteY156" fmla="*/ 900112 h 1619250"/>
                      <a:gd name="connsiteX157" fmla="*/ 1226756 w 1614899"/>
                      <a:gd name="connsiteY157" fmla="*/ 895350 h 1619250"/>
                      <a:gd name="connsiteX158" fmla="*/ 1241043 w 1614899"/>
                      <a:gd name="connsiteY158" fmla="*/ 890587 h 1619250"/>
                      <a:gd name="connsiteX159" fmla="*/ 1255331 w 1614899"/>
                      <a:gd name="connsiteY159" fmla="*/ 892969 h 1619250"/>
                      <a:gd name="connsiteX160" fmla="*/ 1260093 w 1614899"/>
                      <a:gd name="connsiteY160" fmla="*/ 900112 h 1619250"/>
                      <a:gd name="connsiteX161" fmla="*/ 1267237 w 1614899"/>
                      <a:gd name="connsiteY161" fmla="*/ 904875 h 1619250"/>
                      <a:gd name="connsiteX162" fmla="*/ 1271999 w 1614899"/>
                      <a:gd name="connsiteY162" fmla="*/ 919162 h 1619250"/>
                      <a:gd name="connsiteX163" fmla="*/ 1269618 w 1614899"/>
                      <a:gd name="connsiteY163" fmla="*/ 928687 h 1619250"/>
                      <a:gd name="connsiteX164" fmla="*/ 1262474 w 1614899"/>
                      <a:gd name="connsiteY164" fmla="*/ 933450 h 1619250"/>
                      <a:gd name="connsiteX165" fmla="*/ 1255331 w 1614899"/>
                      <a:gd name="connsiteY165" fmla="*/ 940594 h 1619250"/>
                      <a:gd name="connsiteX166" fmla="*/ 1248187 w 1614899"/>
                      <a:gd name="connsiteY166" fmla="*/ 942975 h 1619250"/>
                      <a:gd name="connsiteX167" fmla="*/ 1241043 w 1614899"/>
                      <a:gd name="connsiteY167" fmla="*/ 947737 h 1619250"/>
                      <a:gd name="connsiteX168" fmla="*/ 1226756 w 1614899"/>
                      <a:gd name="connsiteY168" fmla="*/ 954881 h 1619250"/>
                      <a:gd name="connsiteX169" fmla="*/ 1236281 w 1614899"/>
                      <a:gd name="connsiteY169" fmla="*/ 969169 h 1619250"/>
                      <a:gd name="connsiteX170" fmla="*/ 1241043 w 1614899"/>
                      <a:gd name="connsiteY170" fmla="*/ 983456 h 1619250"/>
                      <a:gd name="connsiteX171" fmla="*/ 1250568 w 1614899"/>
                      <a:gd name="connsiteY171" fmla="*/ 997744 h 1619250"/>
                      <a:gd name="connsiteX172" fmla="*/ 1262474 w 1614899"/>
                      <a:gd name="connsiteY172" fmla="*/ 997744 h 1619250"/>
                      <a:gd name="connsiteX173" fmla="*/ 1264856 w 1614899"/>
                      <a:gd name="connsiteY173" fmla="*/ 990600 h 1619250"/>
                      <a:gd name="connsiteX174" fmla="*/ 1283906 w 1614899"/>
                      <a:gd name="connsiteY174" fmla="*/ 995362 h 1619250"/>
                      <a:gd name="connsiteX175" fmla="*/ 1291049 w 1614899"/>
                      <a:gd name="connsiteY175" fmla="*/ 1000125 h 1619250"/>
                      <a:gd name="connsiteX176" fmla="*/ 1298193 w 1614899"/>
                      <a:gd name="connsiteY176" fmla="*/ 1002506 h 1619250"/>
                      <a:gd name="connsiteX177" fmla="*/ 1322006 w 1614899"/>
                      <a:gd name="connsiteY177" fmla="*/ 1007269 h 1619250"/>
                      <a:gd name="connsiteX178" fmla="*/ 1336293 w 1614899"/>
                      <a:gd name="connsiteY178" fmla="*/ 1012031 h 1619250"/>
                      <a:gd name="connsiteX179" fmla="*/ 1355343 w 1614899"/>
                      <a:gd name="connsiteY179" fmla="*/ 1016794 h 1619250"/>
                      <a:gd name="connsiteX180" fmla="*/ 1362487 w 1614899"/>
                      <a:gd name="connsiteY180" fmla="*/ 1023937 h 1619250"/>
                      <a:gd name="connsiteX181" fmla="*/ 1376774 w 1614899"/>
                      <a:gd name="connsiteY181" fmla="*/ 1028700 h 1619250"/>
                      <a:gd name="connsiteX182" fmla="*/ 1391062 w 1614899"/>
                      <a:gd name="connsiteY182" fmla="*/ 1033462 h 1619250"/>
                      <a:gd name="connsiteX183" fmla="*/ 1398206 w 1614899"/>
                      <a:gd name="connsiteY183" fmla="*/ 1035844 h 1619250"/>
                      <a:gd name="connsiteX184" fmla="*/ 1405349 w 1614899"/>
                      <a:gd name="connsiteY184" fmla="*/ 1038225 h 1619250"/>
                      <a:gd name="connsiteX185" fmla="*/ 1412493 w 1614899"/>
                      <a:gd name="connsiteY185" fmla="*/ 1042987 h 1619250"/>
                      <a:gd name="connsiteX186" fmla="*/ 1426781 w 1614899"/>
                      <a:gd name="connsiteY186" fmla="*/ 1050131 h 1619250"/>
                      <a:gd name="connsiteX187" fmla="*/ 1436306 w 1614899"/>
                      <a:gd name="connsiteY187" fmla="*/ 1062037 h 1619250"/>
                      <a:gd name="connsiteX188" fmla="*/ 1441068 w 1614899"/>
                      <a:gd name="connsiteY188" fmla="*/ 1069181 h 1619250"/>
                      <a:gd name="connsiteX189" fmla="*/ 1450593 w 1614899"/>
                      <a:gd name="connsiteY189" fmla="*/ 1071562 h 1619250"/>
                      <a:gd name="connsiteX190" fmla="*/ 1464881 w 1614899"/>
                      <a:gd name="connsiteY190" fmla="*/ 1076325 h 1619250"/>
                      <a:gd name="connsiteX191" fmla="*/ 1467262 w 1614899"/>
                      <a:gd name="connsiteY191" fmla="*/ 1083469 h 1619250"/>
                      <a:gd name="connsiteX192" fmla="*/ 1488693 w 1614899"/>
                      <a:gd name="connsiteY192" fmla="*/ 1092994 h 1619250"/>
                      <a:gd name="connsiteX193" fmla="*/ 1500599 w 1614899"/>
                      <a:gd name="connsiteY193" fmla="*/ 1095375 h 1619250"/>
                      <a:gd name="connsiteX194" fmla="*/ 1514887 w 1614899"/>
                      <a:gd name="connsiteY194" fmla="*/ 1097756 h 1619250"/>
                      <a:gd name="connsiteX195" fmla="*/ 1522031 w 1614899"/>
                      <a:gd name="connsiteY195" fmla="*/ 1100137 h 1619250"/>
                      <a:gd name="connsiteX196" fmla="*/ 1541081 w 1614899"/>
                      <a:gd name="connsiteY196" fmla="*/ 1104900 h 1619250"/>
                      <a:gd name="connsiteX197" fmla="*/ 1545843 w 1614899"/>
                      <a:gd name="connsiteY197" fmla="*/ 1112044 h 1619250"/>
                      <a:gd name="connsiteX198" fmla="*/ 1543462 w 1614899"/>
                      <a:gd name="connsiteY198" fmla="*/ 1119187 h 1619250"/>
                      <a:gd name="connsiteX199" fmla="*/ 1557749 w 1614899"/>
                      <a:gd name="connsiteY199" fmla="*/ 1128712 h 1619250"/>
                      <a:gd name="connsiteX200" fmla="*/ 1564893 w 1614899"/>
                      <a:gd name="connsiteY200" fmla="*/ 1133475 h 1619250"/>
                      <a:gd name="connsiteX201" fmla="*/ 1579181 w 1614899"/>
                      <a:gd name="connsiteY201" fmla="*/ 1147762 h 1619250"/>
                      <a:gd name="connsiteX202" fmla="*/ 1593468 w 1614899"/>
                      <a:gd name="connsiteY202" fmla="*/ 1152525 h 1619250"/>
                      <a:gd name="connsiteX203" fmla="*/ 1600612 w 1614899"/>
                      <a:gd name="connsiteY203" fmla="*/ 1154906 h 1619250"/>
                      <a:gd name="connsiteX204" fmla="*/ 1607756 w 1614899"/>
                      <a:gd name="connsiteY204" fmla="*/ 1162050 h 1619250"/>
                      <a:gd name="connsiteX205" fmla="*/ 1610137 w 1614899"/>
                      <a:gd name="connsiteY205" fmla="*/ 1169194 h 1619250"/>
                      <a:gd name="connsiteX206" fmla="*/ 1614899 w 1614899"/>
                      <a:gd name="connsiteY206" fmla="*/ 1176337 h 1619250"/>
                      <a:gd name="connsiteX207" fmla="*/ 1612518 w 1614899"/>
                      <a:gd name="connsiteY207" fmla="*/ 1195387 h 1619250"/>
                      <a:gd name="connsiteX208" fmla="*/ 1610137 w 1614899"/>
                      <a:gd name="connsiteY208" fmla="*/ 1202531 h 1619250"/>
                      <a:gd name="connsiteX209" fmla="*/ 1602993 w 1614899"/>
                      <a:gd name="connsiteY209" fmla="*/ 1204912 h 1619250"/>
                      <a:gd name="connsiteX210" fmla="*/ 1600612 w 1614899"/>
                      <a:gd name="connsiteY210" fmla="*/ 1212056 h 1619250"/>
                      <a:gd name="connsiteX211" fmla="*/ 1598231 w 1614899"/>
                      <a:gd name="connsiteY211" fmla="*/ 1247775 h 1619250"/>
                      <a:gd name="connsiteX212" fmla="*/ 1579181 w 1614899"/>
                      <a:gd name="connsiteY212" fmla="*/ 1245394 h 1619250"/>
                      <a:gd name="connsiteX213" fmla="*/ 1550606 w 1614899"/>
                      <a:gd name="connsiteY213" fmla="*/ 1231106 h 1619250"/>
                      <a:gd name="connsiteX214" fmla="*/ 1543462 w 1614899"/>
                      <a:gd name="connsiteY214" fmla="*/ 1226344 h 1619250"/>
                      <a:gd name="connsiteX215" fmla="*/ 1543462 w 1614899"/>
                      <a:gd name="connsiteY215" fmla="*/ 1197769 h 1619250"/>
                      <a:gd name="connsiteX216" fmla="*/ 1545843 w 1614899"/>
                      <a:gd name="connsiteY216" fmla="*/ 1183481 h 1619250"/>
                      <a:gd name="connsiteX217" fmla="*/ 1531556 w 1614899"/>
                      <a:gd name="connsiteY217" fmla="*/ 1176337 h 1619250"/>
                      <a:gd name="connsiteX218" fmla="*/ 1529174 w 1614899"/>
                      <a:gd name="connsiteY218" fmla="*/ 1169194 h 1619250"/>
                      <a:gd name="connsiteX219" fmla="*/ 1531556 w 1614899"/>
                      <a:gd name="connsiteY219" fmla="*/ 1152525 h 1619250"/>
                      <a:gd name="connsiteX220" fmla="*/ 1524412 w 1614899"/>
                      <a:gd name="connsiteY220" fmla="*/ 1154906 h 1619250"/>
                      <a:gd name="connsiteX221" fmla="*/ 1517268 w 1614899"/>
                      <a:gd name="connsiteY221" fmla="*/ 1159669 h 1619250"/>
                      <a:gd name="connsiteX222" fmla="*/ 1502981 w 1614899"/>
                      <a:gd name="connsiteY222" fmla="*/ 1164431 h 1619250"/>
                      <a:gd name="connsiteX223" fmla="*/ 1481549 w 1614899"/>
                      <a:gd name="connsiteY223" fmla="*/ 1169194 h 1619250"/>
                      <a:gd name="connsiteX224" fmla="*/ 1457737 w 1614899"/>
                      <a:gd name="connsiteY224" fmla="*/ 1164431 h 1619250"/>
                      <a:gd name="connsiteX225" fmla="*/ 1443449 w 1614899"/>
                      <a:gd name="connsiteY225" fmla="*/ 1154906 h 1619250"/>
                      <a:gd name="connsiteX226" fmla="*/ 1436306 w 1614899"/>
                      <a:gd name="connsiteY226" fmla="*/ 1150144 h 1619250"/>
                      <a:gd name="connsiteX227" fmla="*/ 1426781 w 1614899"/>
                      <a:gd name="connsiteY227" fmla="*/ 1140619 h 1619250"/>
                      <a:gd name="connsiteX228" fmla="*/ 1402968 w 1614899"/>
                      <a:gd name="connsiteY228" fmla="*/ 1138237 h 1619250"/>
                      <a:gd name="connsiteX229" fmla="*/ 1395824 w 1614899"/>
                      <a:gd name="connsiteY229" fmla="*/ 1145381 h 1619250"/>
                      <a:gd name="connsiteX230" fmla="*/ 1374393 w 1614899"/>
                      <a:gd name="connsiteY230" fmla="*/ 1162050 h 1619250"/>
                      <a:gd name="connsiteX231" fmla="*/ 1367249 w 1614899"/>
                      <a:gd name="connsiteY231" fmla="*/ 1188244 h 1619250"/>
                      <a:gd name="connsiteX232" fmla="*/ 1357724 w 1614899"/>
                      <a:gd name="connsiteY232" fmla="*/ 1202531 h 1619250"/>
                      <a:gd name="connsiteX233" fmla="*/ 1348199 w 1614899"/>
                      <a:gd name="connsiteY233" fmla="*/ 1212056 h 1619250"/>
                      <a:gd name="connsiteX234" fmla="*/ 1345818 w 1614899"/>
                      <a:gd name="connsiteY234" fmla="*/ 1219200 h 1619250"/>
                      <a:gd name="connsiteX235" fmla="*/ 1341056 w 1614899"/>
                      <a:gd name="connsiteY235" fmla="*/ 1228725 h 1619250"/>
                      <a:gd name="connsiteX236" fmla="*/ 1350581 w 1614899"/>
                      <a:gd name="connsiteY236" fmla="*/ 1243012 h 1619250"/>
                      <a:gd name="connsiteX237" fmla="*/ 1343437 w 1614899"/>
                      <a:gd name="connsiteY237" fmla="*/ 1266825 h 1619250"/>
                      <a:gd name="connsiteX238" fmla="*/ 1345818 w 1614899"/>
                      <a:gd name="connsiteY238" fmla="*/ 1281112 h 1619250"/>
                      <a:gd name="connsiteX239" fmla="*/ 1348199 w 1614899"/>
                      <a:gd name="connsiteY239" fmla="*/ 1290637 h 1619250"/>
                      <a:gd name="connsiteX240" fmla="*/ 1355343 w 1614899"/>
                      <a:gd name="connsiteY240" fmla="*/ 1297781 h 1619250"/>
                      <a:gd name="connsiteX241" fmla="*/ 1362487 w 1614899"/>
                      <a:gd name="connsiteY241" fmla="*/ 1300162 h 1619250"/>
                      <a:gd name="connsiteX242" fmla="*/ 1386299 w 1614899"/>
                      <a:gd name="connsiteY242" fmla="*/ 1302544 h 1619250"/>
                      <a:gd name="connsiteX243" fmla="*/ 1395824 w 1614899"/>
                      <a:gd name="connsiteY243" fmla="*/ 1309687 h 1619250"/>
                      <a:gd name="connsiteX244" fmla="*/ 1410112 w 1614899"/>
                      <a:gd name="connsiteY244" fmla="*/ 1314450 h 1619250"/>
                      <a:gd name="connsiteX245" fmla="*/ 1417256 w 1614899"/>
                      <a:gd name="connsiteY245" fmla="*/ 1319212 h 1619250"/>
                      <a:gd name="connsiteX246" fmla="*/ 1431543 w 1614899"/>
                      <a:gd name="connsiteY246" fmla="*/ 1326356 h 1619250"/>
                      <a:gd name="connsiteX247" fmla="*/ 1433924 w 1614899"/>
                      <a:gd name="connsiteY247" fmla="*/ 1333500 h 1619250"/>
                      <a:gd name="connsiteX248" fmla="*/ 1429162 w 1614899"/>
                      <a:gd name="connsiteY248" fmla="*/ 1340644 h 1619250"/>
                      <a:gd name="connsiteX249" fmla="*/ 1426781 w 1614899"/>
                      <a:gd name="connsiteY249" fmla="*/ 1347787 h 1619250"/>
                      <a:gd name="connsiteX250" fmla="*/ 1431543 w 1614899"/>
                      <a:gd name="connsiteY250" fmla="*/ 1354931 h 1619250"/>
                      <a:gd name="connsiteX251" fmla="*/ 1436306 w 1614899"/>
                      <a:gd name="connsiteY251" fmla="*/ 1364456 h 1619250"/>
                      <a:gd name="connsiteX252" fmla="*/ 1443449 w 1614899"/>
                      <a:gd name="connsiteY252" fmla="*/ 1395412 h 1619250"/>
                      <a:gd name="connsiteX253" fmla="*/ 1450593 w 1614899"/>
                      <a:gd name="connsiteY253" fmla="*/ 1402556 h 1619250"/>
                      <a:gd name="connsiteX254" fmla="*/ 1448212 w 1614899"/>
                      <a:gd name="connsiteY254" fmla="*/ 1412081 h 1619250"/>
                      <a:gd name="connsiteX255" fmla="*/ 1433924 w 1614899"/>
                      <a:gd name="connsiteY255" fmla="*/ 1416844 h 1619250"/>
                      <a:gd name="connsiteX256" fmla="*/ 1419637 w 1614899"/>
                      <a:gd name="connsiteY256" fmla="*/ 1423987 h 1619250"/>
                      <a:gd name="connsiteX257" fmla="*/ 1405349 w 1614899"/>
                      <a:gd name="connsiteY257" fmla="*/ 1431131 h 1619250"/>
                      <a:gd name="connsiteX258" fmla="*/ 1398206 w 1614899"/>
                      <a:gd name="connsiteY258" fmla="*/ 1435894 h 1619250"/>
                      <a:gd name="connsiteX259" fmla="*/ 1383918 w 1614899"/>
                      <a:gd name="connsiteY259" fmla="*/ 1440656 h 1619250"/>
                      <a:gd name="connsiteX260" fmla="*/ 1376774 w 1614899"/>
                      <a:gd name="connsiteY260" fmla="*/ 1443037 h 1619250"/>
                      <a:gd name="connsiteX261" fmla="*/ 1364868 w 1614899"/>
                      <a:gd name="connsiteY261" fmla="*/ 1464469 h 1619250"/>
                      <a:gd name="connsiteX262" fmla="*/ 1362487 w 1614899"/>
                      <a:gd name="connsiteY262" fmla="*/ 1473994 h 1619250"/>
                      <a:gd name="connsiteX263" fmla="*/ 1364868 w 1614899"/>
                      <a:gd name="connsiteY263" fmla="*/ 1497806 h 1619250"/>
                      <a:gd name="connsiteX264" fmla="*/ 1372012 w 1614899"/>
                      <a:gd name="connsiteY264" fmla="*/ 1500187 h 1619250"/>
                      <a:gd name="connsiteX265" fmla="*/ 1369631 w 1614899"/>
                      <a:gd name="connsiteY265" fmla="*/ 1516856 h 1619250"/>
                      <a:gd name="connsiteX266" fmla="*/ 1367249 w 1614899"/>
                      <a:gd name="connsiteY266" fmla="*/ 1524000 h 1619250"/>
                      <a:gd name="connsiteX267" fmla="*/ 1360106 w 1614899"/>
                      <a:gd name="connsiteY267" fmla="*/ 1526381 h 1619250"/>
                      <a:gd name="connsiteX268" fmla="*/ 1352962 w 1614899"/>
                      <a:gd name="connsiteY268" fmla="*/ 1531144 h 1619250"/>
                      <a:gd name="connsiteX269" fmla="*/ 1343437 w 1614899"/>
                      <a:gd name="connsiteY269" fmla="*/ 1535906 h 1619250"/>
                      <a:gd name="connsiteX270" fmla="*/ 1329149 w 1614899"/>
                      <a:gd name="connsiteY270" fmla="*/ 1550194 h 1619250"/>
                      <a:gd name="connsiteX271" fmla="*/ 1326768 w 1614899"/>
                      <a:gd name="connsiteY271" fmla="*/ 1559719 h 1619250"/>
                      <a:gd name="connsiteX272" fmla="*/ 1322006 w 1614899"/>
                      <a:gd name="connsiteY272" fmla="*/ 1566862 h 1619250"/>
                      <a:gd name="connsiteX273" fmla="*/ 1319624 w 1614899"/>
                      <a:gd name="connsiteY273" fmla="*/ 1578769 h 1619250"/>
                      <a:gd name="connsiteX274" fmla="*/ 1317243 w 1614899"/>
                      <a:gd name="connsiteY274" fmla="*/ 1585912 h 1619250"/>
                      <a:gd name="connsiteX275" fmla="*/ 1314862 w 1614899"/>
                      <a:gd name="connsiteY275" fmla="*/ 1602581 h 1619250"/>
                      <a:gd name="connsiteX276" fmla="*/ 1283906 w 1614899"/>
                      <a:gd name="connsiteY276" fmla="*/ 1614487 h 1619250"/>
                      <a:gd name="connsiteX277" fmla="*/ 1274381 w 1614899"/>
                      <a:gd name="connsiteY277" fmla="*/ 1616869 h 1619250"/>
                      <a:gd name="connsiteX278" fmla="*/ 1260093 w 1614899"/>
                      <a:gd name="connsiteY278" fmla="*/ 1619250 h 1619250"/>
                      <a:gd name="connsiteX279" fmla="*/ 1248187 w 1614899"/>
                      <a:gd name="connsiteY279" fmla="*/ 1616869 h 1619250"/>
                      <a:gd name="connsiteX280" fmla="*/ 1243424 w 1614899"/>
                      <a:gd name="connsiteY280" fmla="*/ 1597819 h 1619250"/>
                      <a:gd name="connsiteX281" fmla="*/ 1238662 w 1614899"/>
                      <a:gd name="connsiteY281" fmla="*/ 1581150 h 1619250"/>
                      <a:gd name="connsiteX282" fmla="*/ 1243424 w 1614899"/>
                      <a:gd name="connsiteY282" fmla="*/ 1566862 h 1619250"/>
                      <a:gd name="connsiteX283" fmla="*/ 1252949 w 1614899"/>
                      <a:gd name="connsiteY283" fmla="*/ 1552575 h 1619250"/>
                      <a:gd name="connsiteX284" fmla="*/ 1260093 w 1614899"/>
                      <a:gd name="connsiteY284" fmla="*/ 1550194 h 1619250"/>
                      <a:gd name="connsiteX285" fmla="*/ 1267237 w 1614899"/>
                      <a:gd name="connsiteY285" fmla="*/ 1543050 h 1619250"/>
                      <a:gd name="connsiteX286" fmla="*/ 1269618 w 1614899"/>
                      <a:gd name="connsiteY286" fmla="*/ 1535906 h 1619250"/>
                      <a:gd name="connsiteX287" fmla="*/ 1274381 w 1614899"/>
                      <a:gd name="connsiteY287" fmla="*/ 1526381 h 1619250"/>
                      <a:gd name="connsiteX288" fmla="*/ 1267237 w 1614899"/>
                      <a:gd name="connsiteY288" fmla="*/ 1502569 h 1619250"/>
                      <a:gd name="connsiteX289" fmla="*/ 1252949 w 1614899"/>
                      <a:gd name="connsiteY289" fmla="*/ 1493044 h 1619250"/>
                      <a:gd name="connsiteX290" fmla="*/ 1262474 w 1614899"/>
                      <a:gd name="connsiteY290" fmla="*/ 1478756 h 1619250"/>
                      <a:gd name="connsiteX291" fmla="*/ 1279143 w 1614899"/>
                      <a:gd name="connsiteY291" fmla="*/ 1462087 h 1619250"/>
                      <a:gd name="connsiteX292" fmla="*/ 1302956 w 1614899"/>
                      <a:gd name="connsiteY292" fmla="*/ 1459706 h 1619250"/>
                      <a:gd name="connsiteX293" fmla="*/ 1305337 w 1614899"/>
                      <a:gd name="connsiteY293" fmla="*/ 1450181 h 1619250"/>
                      <a:gd name="connsiteX294" fmla="*/ 1310099 w 1614899"/>
                      <a:gd name="connsiteY294" fmla="*/ 1443037 h 1619250"/>
                      <a:gd name="connsiteX295" fmla="*/ 1312481 w 1614899"/>
                      <a:gd name="connsiteY295" fmla="*/ 1435894 h 1619250"/>
                      <a:gd name="connsiteX296" fmla="*/ 1305337 w 1614899"/>
                      <a:gd name="connsiteY296" fmla="*/ 1428750 h 1619250"/>
                      <a:gd name="connsiteX297" fmla="*/ 1298193 w 1614899"/>
                      <a:gd name="connsiteY297" fmla="*/ 1423987 h 1619250"/>
                      <a:gd name="connsiteX298" fmla="*/ 1295812 w 1614899"/>
                      <a:gd name="connsiteY298" fmla="*/ 1412081 h 1619250"/>
                      <a:gd name="connsiteX299" fmla="*/ 1293431 w 1614899"/>
                      <a:gd name="connsiteY299" fmla="*/ 1402556 h 1619250"/>
                      <a:gd name="connsiteX300" fmla="*/ 1288668 w 1614899"/>
                      <a:gd name="connsiteY300" fmla="*/ 1369219 h 1619250"/>
                      <a:gd name="connsiteX301" fmla="*/ 1286287 w 1614899"/>
                      <a:gd name="connsiteY301" fmla="*/ 1362075 h 1619250"/>
                      <a:gd name="connsiteX302" fmla="*/ 1276762 w 1614899"/>
                      <a:gd name="connsiteY302" fmla="*/ 1345406 h 1619250"/>
                      <a:gd name="connsiteX303" fmla="*/ 1267237 w 1614899"/>
                      <a:gd name="connsiteY303" fmla="*/ 1343025 h 1619250"/>
                      <a:gd name="connsiteX304" fmla="*/ 1260093 w 1614899"/>
                      <a:gd name="connsiteY304" fmla="*/ 1340644 h 1619250"/>
                      <a:gd name="connsiteX305" fmla="*/ 1252949 w 1614899"/>
                      <a:gd name="connsiteY305" fmla="*/ 1307306 h 1619250"/>
                      <a:gd name="connsiteX306" fmla="*/ 1248187 w 1614899"/>
                      <a:gd name="connsiteY306" fmla="*/ 1293019 h 1619250"/>
                      <a:gd name="connsiteX307" fmla="*/ 1243424 w 1614899"/>
                      <a:gd name="connsiteY307" fmla="*/ 1278731 h 1619250"/>
                      <a:gd name="connsiteX308" fmla="*/ 1241043 w 1614899"/>
                      <a:gd name="connsiteY308" fmla="*/ 1271587 h 1619250"/>
                      <a:gd name="connsiteX309" fmla="*/ 1236281 w 1614899"/>
                      <a:gd name="connsiteY309" fmla="*/ 1262062 h 1619250"/>
                      <a:gd name="connsiteX310" fmla="*/ 1231518 w 1614899"/>
                      <a:gd name="connsiteY310" fmla="*/ 1247775 h 1619250"/>
                      <a:gd name="connsiteX311" fmla="*/ 1224374 w 1614899"/>
                      <a:gd name="connsiteY311" fmla="*/ 1240631 h 1619250"/>
                      <a:gd name="connsiteX312" fmla="*/ 1214849 w 1614899"/>
                      <a:gd name="connsiteY312" fmla="*/ 1226344 h 1619250"/>
                      <a:gd name="connsiteX313" fmla="*/ 1195799 w 1614899"/>
                      <a:gd name="connsiteY313" fmla="*/ 1233487 h 1619250"/>
                      <a:gd name="connsiteX314" fmla="*/ 1198181 w 1614899"/>
                      <a:gd name="connsiteY314" fmla="*/ 1240631 h 1619250"/>
                      <a:gd name="connsiteX315" fmla="*/ 1191037 w 1614899"/>
                      <a:gd name="connsiteY315" fmla="*/ 1243012 h 1619250"/>
                      <a:gd name="connsiteX316" fmla="*/ 1164843 w 1614899"/>
                      <a:gd name="connsiteY316" fmla="*/ 1238250 h 1619250"/>
                      <a:gd name="connsiteX317" fmla="*/ 1155318 w 1614899"/>
                      <a:gd name="connsiteY317" fmla="*/ 1223962 h 1619250"/>
                      <a:gd name="connsiteX318" fmla="*/ 1148174 w 1614899"/>
                      <a:gd name="connsiteY318" fmla="*/ 1216819 h 1619250"/>
                      <a:gd name="connsiteX319" fmla="*/ 1138649 w 1614899"/>
                      <a:gd name="connsiteY319" fmla="*/ 1219200 h 1619250"/>
                      <a:gd name="connsiteX320" fmla="*/ 1131506 w 1614899"/>
                      <a:gd name="connsiteY320" fmla="*/ 1221581 h 1619250"/>
                      <a:gd name="connsiteX321" fmla="*/ 1124362 w 1614899"/>
                      <a:gd name="connsiteY321" fmla="*/ 1219200 h 1619250"/>
                      <a:gd name="connsiteX322" fmla="*/ 1112456 w 1614899"/>
                      <a:gd name="connsiteY322" fmla="*/ 1207295 h 1619250"/>
                      <a:gd name="connsiteX323" fmla="*/ 1126743 w 1614899"/>
                      <a:gd name="connsiteY323" fmla="*/ 1190624 h 1619250"/>
                      <a:gd name="connsiteX324" fmla="*/ 1112456 w 1614899"/>
                      <a:gd name="connsiteY324" fmla="*/ 1154906 h 1619250"/>
                      <a:gd name="connsiteX325" fmla="*/ 1107693 w 1614899"/>
                      <a:gd name="connsiteY325" fmla="*/ 1147762 h 1619250"/>
                      <a:gd name="connsiteX326" fmla="*/ 1100549 w 1614899"/>
                      <a:gd name="connsiteY326" fmla="*/ 1145381 h 1619250"/>
                      <a:gd name="connsiteX327" fmla="*/ 1093406 w 1614899"/>
                      <a:gd name="connsiteY327" fmla="*/ 1147762 h 1619250"/>
                      <a:gd name="connsiteX328" fmla="*/ 1062449 w 1614899"/>
                      <a:gd name="connsiteY328" fmla="*/ 1152525 h 1619250"/>
                      <a:gd name="connsiteX329" fmla="*/ 1043400 w 1614899"/>
                      <a:gd name="connsiteY329" fmla="*/ 1154906 h 1619250"/>
                      <a:gd name="connsiteX330" fmla="*/ 1031493 w 1614899"/>
                      <a:gd name="connsiteY330" fmla="*/ 1154906 h 1619250"/>
                      <a:gd name="connsiteX331" fmla="*/ 1050543 w 1614899"/>
                      <a:gd name="connsiteY331" fmla="*/ 1128712 h 1619250"/>
                      <a:gd name="connsiteX332" fmla="*/ 1041018 w 1614899"/>
                      <a:gd name="connsiteY332" fmla="*/ 1107281 h 1619250"/>
                      <a:gd name="connsiteX333" fmla="*/ 1024349 w 1614899"/>
                      <a:gd name="connsiteY333" fmla="*/ 1109662 h 1619250"/>
                      <a:gd name="connsiteX334" fmla="*/ 1014824 w 1614899"/>
                      <a:gd name="connsiteY334" fmla="*/ 1107281 h 1619250"/>
                      <a:gd name="connsiteX335" fmla="*/ 986250 w 1614899"/>
                      <a:gd name="connsiteY335" fmla="*/ 1114424 h 1619250"/>
                      <a:gd name="connsiteX336" fmla="*/ 979106 w 1614899"/>
                      <a:gd name="connsiteY336" fmla="*/ 1097757 h 1619250"/>
                      <a:gd name="connsiteX337" fmla="*/ 979106 w 1614899"/>
                      <a:gd name="connsiteY337" fmla="*/ 1076325 h 1619250"/>
                      <a:gd name="connsiteX338" fmla="*/ 964818 w 1614899"/>
                      <a:gd name="connsiteY338" fmla="*/ 1064419 h 1619250"/>
                      <a:gd name="connsiteX339" fmla="*/ 950531 w 1614899"/>
                      <a:gd name="connsiteY339" fmla="*/ 1054894 h 1619250"/>
                      <a:gd name="connsiteX340" fmla="*/ 943387 w 1614899"/>
                      <a:gd name="connsiteY340" fmla="*/ 1050131 h 1619250"/>
                      <a:gd name="connsiteX341" fmla="*/ 936243 w 1614899"/>
                      <a:gd name="connsiteY341" fmla="*/ 1045369 h 1619250"/>
                      <a:gd name="connsiteX342" fmla="*/ 931481 w 1614899"/>
                      <a:gd name="connsiteY342" fmla="*/ 1038225 h 1619250"/>
                      <a:gd name="connsiteX343" fmla="*/ 917193 w 1614899"/>
                      <a:gd name="connsiteY343" fmla="*/ 1031081 h 1619250"/>
                      <a:gd name="connsiteX344" fmla="*/ 914812 w 1614899"/>
                      <a:gd name="connsiteY344" fmla="*/ 1040606 h 1619250"/>
                      <a:gd name="connsiteX345" fmla="*/ 907668 w 1614899"/>
                      <a:gd name="connsiteY345" fmla="*/ 1042987 h 1619250"/>
                      <a:gd name="connsiteX346" fmla="*/ 886237 w 1614899"/>
                      <a:gd name="connsiteY346" fmla="*/ 1031081 h 1619250"/>
                      <a:gd name="connsiteX347" fmla="*/ 862424 w 1614899"/>
                      <a:gd name="connsiteY347" fmla="*/ 1035844 h 1619250"/>
                      <a:gd name="connsiteX348" fmla="*/ 845756 w 1614899"/>
                      <a:gd name="connsiteY348" fmla="*/ 1040606 h 1619250"/>
                      <a:gd name="connsiteX349" fmla="*/ 840993 w 1614899"/>
                      <a:gd name="connsiteY349" fmla="*/ 1033462 h 1619250"/>
                      <a:gd name="connsiteX350" fmla="*/ 821943 w 1614899"/>
                      <a:gd name="connsiteY350" fmla="*/ 1004887 h 1619250"/>
                      <a:gd name="connsiteX351" fmla="*/ 814799 w 1614899"/>
                      <a:gd name="connsiteY351" fmla="*/ 1000125 h 1619250"/>
                      <a:gd name="connsiteX352" fmla="*/ 779081 w 1614899"/>
                      <a:gd name="connsiteY352" fmla="*/ 995362 h 1619250"/>
                      <a:gd name="connsiteX353" fmla="*/ 771937 w 1614899"/>
                      <a:gd name="connsiteY353" fmla="*/ 988219 h 1619250"/>
                      <a:gd name="connsiteX354" fmla="*/ 762412 w 1614899"/>
                      <a:gd name="connsiteY354" fmla="*/ 966787 h 1619250"/>
                      <a:gd name="connsiteX355" fmla="*/ 755268 w 1614899"/>
                      <a:gd name="connsiteY355" fmla="*/ 962025 h 1619250"/>
                      <a:gd name="connsiteX356" fmla="*/ 733837 w 1614899"/>
                      <a:gd name="connsiteY356" fmla="*/ 962025 h 1619250"/>
                      <a:gd name="connsiteX357" fmla="*/ 731456 w 1614899"/>
                      <a:gd name="connsiteY357" fmla="*/ 950119 h 1619250"/>
                      <a:gd name="connsiteX358" fmla="*/ 729074 w 1614899"/>
                      <a:gd name="connsiteY358" fmla="*/ 942975 h 1619250"/>
                      <a:gd name="connsiteX359" fmla="*/ 726693 w 1614899"/>
                      <a:gd name="connsiteY359" fmla="*/ 921544 h 1619250"/>
                      <a:gd name="connsiteX360" fmla="*/ 724312 w 1614899"/>
                      <a:gd name="connsiteY360" fmla="*/ 914400 h 1619250"/>
                      <a:gd name="connsiteX361" fmla="*/ 717168 w 1614899"/>
                      <a:gd name="connsiteY361" fmla="*/ 909637 h 1619250"/>
                      <a:gd name="connsiteX362" fmla="*/ 710024 w 1614899"/>
                      <a:gd name="connsiteY362" fmla="*/ 907256 h 1619250"/>
                      <a:gd name="connsiteX363" fmla="*/ 681449 w 1614899"/>
                      <a:gd name="connsiteY363" fmla="*/ 902494 h 1619250"/>
                      <a:gd name="connsiteX364" fmla="*/ 674306 w 1614899"/>
                      <a:gd name="connsiteY364" fmla="*/ 897731 h 1619250"/>
                      <a:gd name="connsiteX365" fmla="*/ 667162 w 1614899"/>
                      <a:gd name="connsiteY365" fmla="*/ 883444 h 1619250"/>
                      <a:gd name="connsiteX366" fmla="*/ 657637 w 1614899"/>
                      <a:gd name="connsiteY366" fmla="*/ 881062 h 1619250"/>
                      <a:gd name="connsiteX367" fmla="*/ 650493 w 1614899"/>
                      <a:gd name="connsiteY367" fmla="*/ 873919 h 1619250"/>
                      <a:gd name="connsiteX368" fmla="*/ 648112 w 1614899"/>
                      <a:gd name="connsiteY368" fmla="*/ 866775 h 1619250"/>
                      <a:gd name="connsiteX369" fmla="*/ 643349 w 1614899"/>
                      <a:gd name="connsiteY369" fmla="*/ 859631 h 1619250"/>
                      <a:gd name="connsiteX370" fmla="*/ 631443 w 1614899"/>
                      <a:gd name="connsiteY370" fmla="*/ 838200 h 1619250"/>
                      <a:gd name="connsiteX371" fmla="*/ 624299 w 1614899"/>
                      <a:gd name="connsiteY371" fmla="*/ 833437 h 1619250"/>
                      <a:gd name="connsiteX372" fmla="*/ 593343 w 1614899"/>
                      <a:gd name="connsiteY372" fmla="*/ 835819 h 1619250"/>
                      <a:gd name="connsiteX373" fmla="*/ 586199 w 1614899"/>
                      <a:gd name="connsiteY373" fmla="*/ 816769 h 1619250"/>
                      <a:gd name="connsiteX374" fmla="*/ 569531 w 1614899"/>
                      <a:gd name="connsiteY374" fmla="*/ 795337 h 1619250"/>
                      <a:gd name="connsiteX375" fmla="*/ 564768 w 1614899"/>
                      <a:gd name="connsiteY375" fmla="*/ 788194 h 1619250"/>
                      <a:gd name="connsiteX376" fmla="*/ 557624 w 1614899"/>
                      <a:gd name="connsiteY376" fmla="*/ 785812 h 1619250"/>
                      <a:gd name="connsiteX377" fmla="*/ 550481 w 1614899"/>
                      <a:gd name="connsiteY377" fmla="*/ 781050 h 1619250"/>
                      <a:gd name="connsiteX378" fmla="*/ 536193 w 1614899"/>
                      <a:gd name="connsiteY378" fmla="*/ 776287 h 1619250"/>
                      <a:gd name="connsiteX379" fmla="*/ 538574 w 1614899"/>
                      <a:gd name="connsiteY379" fmla="*/ 747712 h 1619250"/>
                      <a:gd name="connsiteX380" fmla="*/ 533812 w 1614899"/>
                      <a:gd name="connsiteY380" fmla="*/ 740569 h 1619250"/>
                      <a:gd name="connsiteX381" fmla="*/ 519524 w 1614899"/>
                      <a:gd name="connsiteY381" fmla="*/ 731044 h 1619250"/>
                      <a:gd name="connsiteX382" fmla="*/ 512381 w 1614899"/>
                      <a:gd name="connsiteY382" fmla="*/ 735806 h 1619250"/>
                      <a:gd name="connsiteX383" fmla="*/ 505237 w 1614899"/>
                      <a:gd name="connsiteY383" fmla="*/ 738187 h 1619250"/>
                      <a:gd name="connsiteX384" fmla="*/ 507618 w 1614899"/>
                      <a:gd name="connsiteY384" fmla="*/ 723900 h 1619250"/>
                      <a:gd name="connsiteX385" fmla="*/ 505237 w 1614899"/>
                      <a:gd name="connsiteY385" fmla="*/ 688181 h 1619250"/>
                      <a:gd name="connsiteX386" fmla="*/ 493331 w 1614899"/>
                      <a:gd name="connsiteY386" fmla="*/ 666750 h 1619250"/>
                      <a:gd name="connsiteX387" fmla="*/ 486187 w 1614899"/>
                      <a:gd name="connsiteY387" fmla="*/ 659606 h 1619250"/>
                      <a:gd name="connsiteX388" fmla="*/ 481424 w 1614899"/>
                      <a:gd name="connsiteY388" fmla="*/ 652462 h 1619250"/>
                      <a:gd name="connsiteX389" fmla="*/ 479043 w 1614899"/>
                      <a:gd name="connsiteY389" fmla="*/ 614362 h 1619250"/>
                      <a:gd name="connsiteX390" fmla="*/ 474281 w 1614899"/>
                      <a:gd name="connsiteY390" fmla="*/ 595312 h 1619250"/>
                      <a:gd name="connsiteX391" fmla="*/ 467137 w 1614899"/>
                      <a:gd name="connsiteY391" fmla="*/ 578644 h 1619250"/>
                      <a:gd name="connsiteX392" fmla="*/ 459993 w 1614899"/>
                      <a:gd name="connsiteY392" fmla="*/ 571500 h 1619250"/>
                      <a:gd name="connsiteX393" fmla="*/ 440943 w 1614899"/>
                      <a:gd name="connsiteY393" fmla="*/ 554831 h 1619250"/>
                      <a:gd name="connsiteX394" fmla="*/ 426656 w 1614899"/>
                      <a:gd name="connsiteY394" fmla="*/ 550069 h 1619250"/>
                      <a:gd name="connsiteX395" fmla="*/ 424274 w 1614899"/>
                      <a:gd name="connsiteY395" fmla="*/ 557212 h 1619250"/>
                      <a:gd name="connsiteX396" fmla="*/ 414749 w 1614899"/>
                      <a:gd name="connsiteY396" fmla="*/ 552450 h 1619250"/>
                      <a:gd name="connsiteX397" fmla="*/ 407606 w 1614899"/>
                      <a:gd name="connsiteY397" fmla="*/ 545306 h 1619250"/>
                      <a:gd name="connsiteX398" fmla="*/ 390937 w 1614899"/>
                      <a:gd name="connsiteY398" fmla="*/ 535781 h 1619250"/>
                      <a:gd name="connsiteX399" fmla="*/ 383793 w 1614899"/>
                      <a:gd name="connsiteY399" fmla="*/ 528637 h 1619250"/>
                      <a:gd name="connsiteX400" fmla="*/ 374268 w 1614899"/>
                      <a:gd name="connsiteY400" fmla="*/ 526256 h 1619250"/>
                      <a:gd name="connsiteX401" fmla="*/ 352837 w 1614899"/>
                      <a:gd name="connsiteY401" fmla="*/ 519112 h 1619250"/>
                      <a:gd name="connsiteX402" fmla="*/ 345693 w 1614899"/>
                      <a:gd name="connsiteY402" fmla="*/ 516731 h 1619250"/>
                      <a:gd name="connsiteX403" fmla="*/ 338549 w 1614899"/>
                      <a:gd name="connsiteY403" fmla="*/ 514350 h 1619250"/>
                      <a:gd name="connsiteX404" fmla="*/ 326643 w 1614899"/>
                      <a:gd name="connsiteY404" fmla="*/ 504825 h 1619250"/>
                      <a:gd name="connsiteX405" fmla="*/ 321881 w 1614899"/>
                      <a:gd name="connsiteY405" fmla="*/ 497681 h 1619250"/>
                      <a:gd name="connsiteX406" fmla="*/ 314737 w 1614899"/>
                      <a:gd name="connsiteY406" fmla="*/ 490537 h 1619250"/>
                      <a:gd name="connsiteX407" fmla="*/ 307593 w 1614899"/>
                      <a:gd name="connsiteY407" fmla="*/ 485775 h 1619250"/>
                      <a:gd name="connsiteX408" fmla="*/ 293306 w 1614899"/>
                      <a:gd name="connsiteY408" fmla="*/ 481012 h 1619250"/>
                      <a:gd name="connsiteX409" fmla="*/ 269493 w 1614899"/>
                      <a:gd name="connsiteY409" fmla="*/ 483394 h 1619250"/>
                      <a:gd name="connsiteX410" fmla="*/ 259968 w 1614899"/>
                      <a:gd name="connsiteY410" fmla="*/ 490537 h 1619250"/>
                      <a:gd name="connsiteX411" fmla="*/ 243299 w 1614899"/>
                      <a:gd name="connsiteY411" fmla="*/ 497681 h 1619250"/>
                      <a:gd name="connsiteX412" fmla="*/ 236156 w 1614899"/>
                      <a:gd name="connsiteY412" fmla="*/ 502444 h 1619250"/>
                      <a:gd name="connsiteX413" fmla="*/ 233774 w 1614899"/>
                      <a:gd name="connsiteY413" fmla="*/ 509587 h 1619250"/>
                      <a:gd name="connsiteX414" fmla="*/ 231393 w 1614899"/>
                      <a:gd name="connsiteY414" fmla="*/ 519112 h 1619250"/>
                      <a:gd name="connsiteX415" fmla="*/ 224249 w 1614899"/>
                      <a:gd name="connsiteY415" fmla="*/ 521494 h 1619250"/>
                      <a:gd name="connsiteX416" fmla="*/ 209962 w 1614899"/>
                      <a:gd name="connsiteY416" fmla="*/ 528637 h 1619250"/>
                      <a:gd name="connsiteX417" fmla="*/ 200437 w 1614899"/>
                      <a:gd name="connsiteY417" fmla="*/ 542925 h 1619250"/>
                      <a:gd name="connsiteX418" fmla="*/ 195674 w 1614899"/>
                      <a:gd name="connsiteY418" fmla="*/ 557212 h 1619250"/>
                      <a:gd name="connsiteX419" fmla="*/ 188531 w 1614899"/>
                      <a:gd name="connsiteY419" fmla="*/ 559594 h 1619250"/>
                      <a:gd name="connsiteX420" fmla="*/ 176624 w 1614899"/>
                      <a:gd name="connsiteY420" fmla="*/ 564356 h 1619250"/>
                      <a:gd name="connsiteX421" fmla="*/ 164718 w 1614899"/>
                      <a:gd name="connsiteY421" fmla="*/ 566737 h 1619250"/>
                      <a:gd name="connsiteX422" fmla="*/ 157574 w 1614899"/>
                      <a:gd name="connsiteY422" fmla="*/ 569119 h 1619250"/>
                      <a:gd name="connsiteX423" fmla="*/ 148049 w 1614899"/>
                      <a:gd name="connsiteY423" fmla="*/ 571500 h 1619250"/>
                      <a:gd name="connsiteX424" fmla="*/ 140906 w 1614899"/>
                      <a:gd name="connsiteY424" fmla="*/ 573881 h 1619250"/>
                      <a:gd name="connsiteX425" fmla="*/ 121856 w 1614899"/>
                      <a:gd name="connsiteY425" fmla="*/ 576262 h 1619250"/>
                      <a:gd name="connsiteX426" fmla="*/ 119474 w 1614899"/>
                      <a:gd name="connsiteY426" fmla="*/ 571500 h 1619250"/>
                      <a:gd name="connsiteX427" fmla="*/ 128999 w 1614899"/>
                      <a:gd name="connsiteY427" fmla="*/ 557212 h 1619250"/>
                      <a:gd name="connsiteX428" fmla="*/ 131381 w 1614899"/>
                      <a:gd name="connsiteY428" fmla="*/ 550069 h 1619250"/>
                      <a:gd name="connsiteX429" fmla="*/ 140906 w 1614899"/>
                      <a:gd name="connsiteY429" fmla="*/ 535781 h 1619250"/>
                      <a:gd name="connsiteX430" fmla="*/ 133762 w 1614899"/>
                      <a:gd name="connsiteY430" fmla="*/ 533400 h 1619250"/>
                      <a:gd name="connsiteX431" fmla="*/ 128999 w 1614899"/>
                      <a:gd name="connsiteY431" fmla="*/ 516731 h 1619250"/>
                      <a:gd name="connsiteX432" fmla="*/ 69468 w 1614899"/>
                      <a:gd name="connsiteY432" fmla="*/ 514350 h 1619250"/>
                      <a:gd name="connsiteX433" fmla="*/ 67087 w 1614899"/>
                      <a:gd name="connsiteY433" fmla="*/ 507206 h 1619250"/>
                      <a:gd name="connsiteX434" fmla="*/ 52799 w 1614899"/>
                      <a:gd name="connsiteY434" fmla="*/ 497681 h 1619250"/>
                      <a:gd name="connsiteX435" fmla="*/ 55181 w 1614899"/>
                      <a:gd name="connsiteY435" fmla="*/ 488156 h 1619250"/>
                      <a:gd name="connsiteX436" fmla="*/ 40893 w 1614899"/>
                      <a:gd name="connsiteY436" fmla="*/ 483394 h 1619250"/>
                      <a:gd name="connsiteX437" fmla="*/ 38512 w 1614899"/>
                      <a:gd name="connsiteY437" fmla="*/ 471487 h 1619250"/>
                      <a:gd name="connsiteX438" fmla="*/ 36131 w 1614899"/>
                      <a:gd name="connsiteY438" fmla="*/ 464344 h 1619250"/>
                      <a:gd name="connsiteX439" fmla="*/ 38512 w 1614899"/>
                      <a:gd name="connsiteY439" fmla="*/ 452437 h 1619250"/>
                      <a:gd name="connsiteX440" fmla="*/ 38512 w 1614899"/>
                      <a:gd name="connsiteY440" fmla="*/ 428625 h 1619250"/>
                      <a:gd name="connsiteX441" fmla="*/ 45656 w 1614899"/>
                      <a:gd name="connsiteY441" fmla="*/ 426244 h 1619250"/>
                      <a:gd name="connsiteX442" fmla="*/ 52799 w 1614899"/>
                      <a:gd name="connsiteY442" fmla="*/ 421481 h 1619250"/>
                      <a:gd name="connsiteX443" fmla="*/ 59943 w 1614899"/>
                      <a:gd name="connsiteY443" fmla="*/ 419100 h 1619250"/>
                      <a:gd name="connsiteX444" fmla="*/ 64706 w 1614899"/>
                      <a:gd name="connsiteY444" fmla="*/ 411956 h 1619250"/>
                      <a:gd name="connsiteX445" fmla="*/ 55181 w 1614899"/>
                      <a:gd name="connsiteY445" fmla="*/ 392906 h 1619250"/>
                      <a:gd name="connsiteX446" fmla="*/ 40893 w 1614899"/>
                      <a:gd name="connsiteY446" fmla="*/ 388144 h 1619250"/>
                      <a:gd name="connsiteX447" fmla="*/ 33749 w 1614899"/>
                      <a:gd name="connsiteY447" fmla="*/ 390525 h 1619250"/>
                      <a:gd name="connsiteX448" fmla="*/ 28987 w 1614899"/>
                      <a:gd name="connsiteY448" fmla="*/ 390525 h 1619250"/>
                      <a:gd name="connsiteX449" fmla="*/ 21843 w 1614899"/>
                      <a:gd name="connsiteY449" fmla="*/ 388144 h 1619250"/>
                      <a:gd name="connsiteX450" fmla="*/ 14699 w 1614899"/>
                      <a:gd name="connsiteY450" fmla="*/ 364331 h 1619250"/>
                      <a:gd name="connsiteX451" fmla="*/ 2793 w 1614899"/>
                      <a:gd name="connsiteY451" fmla="*/ 361950 h 1619250"/>
                      <a:gd name="connsiteX452" fmla="*/ 2793 w 1614899"/>
                      <a:gd name="connsiteY452" fmla="*/ 345281 h 1619250"/>
                      <a:gd name="connsiteX453" fmla="*/ 17081 w 1614899"/>
                      <a:gd name="connsiteY453" fmla="*/ 340519 h 1619250"/>
                      <a:gd name="connsiteX454" fmla="*/ 24224 w 1614899"/>
                      <a:gd name="connsiteY454" fmla="*/ 347662 h 1619250"/>
                      <a:gd name="connsiteX455" fmla="*/ 40893 w 1614899"/>
                      <a:gd name="connsiteY455" fmla="*/ 342900 h 1619250"/>
                      <a:gd name="connsiteX456" fmla="*/ 57562 w 1614899"/>
                      <a:gd name="connsiteY456" fmla="*/ 333375 h 1619250"/>
                      <a:gd name="connsiteX457" fmla="*/ 64706 w 1614899"/>
                      <a:gd name="connsiteY457" fmla="*/ 328612 h 1619250"/>
                      <a:gd name="connsiteX458" fmla="*/ 71849 w 1614899"/>
                      <a:gd name="connsiteY458" fmla="*/ 326231 h 1619250"/>
                      <a:gd name="connsiteX459" fmla="*/ 90899 w 1614899"/>
                      <a:gd name="connsiteY459" fmla="*/ 321469 h 1619250"/>
                      <a:gd name="connsiteX460" fmla="*/ 86137 w 1614899"/>
                      <a:gd name="connsiteY460" fmla="*/ 311944 h 1619250"/>
                      <a:gd name="connsiteX461" fmla="*/ 88518 w 1614899"/>
                      <a:gd name="connsiteY461" fmla="*/ 292894 h 1619250"/>
                      <a:gd name="connsiteX462" fmla="*/ 90899 w 1614899"/>
                      <a:gd name="connsiteY462" fmla="*/ 285750 h 1619250"/>
                      <a:gd name="connsiteX463" fmla="*/ 76612 w 1614899"/>
                      <a:gd name="connsiteY463" fmla="*/ 280987 h 1619250"/>
                      <a:gd name="connsiteX464" fmla="*/ 71849 w 1614899"/>
                      <a:gd name="connsiteY464" fmla="*/ 273844 h 1619250"/>
                      <a:gd name="connsiteX465" fmla="*/ 67087 w 1614899"/>
                      <a:gd name="connsiteY465" fmla="*/ 250031 h 1619250"/>
                      <a:gd name="connsiteX466" fmla="*/ 45656 w 1614899"/>
                      <a:gd name="connsiteY466" fmla="*/ 250031 h 1619250"/>
                      <a:gd name="connsiteX467" fmla="*/ 40893 w 1614899"/>
                      <a:gd name="connsiteY467" fmla="*/ 242887 h 1619250"/>
                      <a:gd name="connsiteX468" fmla="*/ 43274 w 1614899"/>
                      <a:gd name="connsiteY468" fmla="*/ 223837 h 1619250"/>
                      <a:gd name="connsiteX469" fmla="*/ 57562 w 1614899"/>
                      <a:gd name="connsiteY469" fmla="*/ 211931 h 1619250"/>
                      <a:gd name="connsiteX470" fmla="*/ 74231 w 1614899"/>
                      <a:gd name="connsiteY470" fmla="*/ 200025 h 1619250"/>
                      <a:gd name="connsiteX471" fmla="*/ 81374 w 1614899"/>
                      <a:gd name="connsiteY471" fmla="*/ 202406 h 1619250"/>
                      <a:gd name="connsiteX472" fmla="*/ 83756 w 1614899"/>
                      <a:gd name="connsiteY472" fmla="*/ 209550 h 1619250"/>
                      <a:gd name="connsiteX473" fmla="*/ 102806 w 1614899"/>
                      <a:gd name="connsiteY473" fmla="*/ 204787 h 1619250"/>
                      <a:gd name="connsiteX474" fmla="*/ 109949 w 1614899"/>
                      <a:gd name="connsiteY474" fmla="*/ 200025 h 1619250"/>
                      <a:gd name="connsiteX475" fmla="*/ 119474 w 1614899"/>
                      <a:gd name="connsiteY475" fmla="*/ 197644 h 1619250"/>
                      <a:gd name="connsiteX476" fmla="*/ 133762 w 1614899"/>
                      <a:gd name="connsiteY476" fmla="*/ 192881 h 1619250"/>
                      <a:gd name="connsiteX477" fmla="*/ 140906 w 1614899"/>
                      <a:gd name="connsiteY477" fmla="*/ 190500 h 1619250"/>
                      <a:gd name="connsiteX478" fmla="*/ 148049 w 1614899"/>
                      <a:gd name="connsiteY478" fmla="*/ 195262 h 1619250"/>
                      <a:gd name="connsiteX479" fmla="*/ 155193 w 1614899"/>
                      <a:gd name="connsiteY479" fmla="*/ 204787 h 1619250"/>
                      <a:gd name="connsiteX480" fmla="*/ 164718 w 1614899"/>
                      <a:gd name="connsiteY480" fmla="*/ 202406 h 1619250"/>
                      <a:gd name="connsiteX481" fmla="*/ 190912 w 1614899"/>
                      <a:gd name="connsiteY481" fmla="*/ 200025 h 1619250"/>
                      <a:gd name="connsiteX482" fmla="*/ 193293 w 1614899"/>
                      <a:gd name="connsiteY482" fmla="*/ 192881 h 1619250"/>
                      <a:gd name="connsiteX483" fmla="*/ 198056 w 1614899"/>
                      <a:gd name="connsiteY483" fmla="*/ 185737 h 1619250"/>
                      <a:gd name="connsiteX484" fmla="*/ 195674 w 1614899"/>
                      <a:gd name="connsiteY484" fmla="*/ 178594 h 1619250"/>
                      <a:gd name="connsiteX485" fmla="*/ 186149 w 1614899"/>
                      <a:gd name="connsiteY485" fmla="*/ 159544 h 1619250"/>
                      <a:gd name="connsiteX486" fmla="*/ 217106 w 1614899"/>
                      <a:gd name="connsiteY486" fmla="*/ 152400 h 1619250"/>
                      <a:gd name="connsiteX487" fmla="*/ 209962 w 1614899"/>
                      <a:gd name="connsiteY487" fmla="*/ 145256 h 1619250"/>
                      <a:gd name="connsiteX488" fmla="*/ 202818 w 1614899"/>
                      <a:gd name="connsiteY488" fmla="*/ 140494 h 1619250"/>
                      <a:gd name="connsiteX489" fmla="*/ 212343 w 1614899"/>
                      <a:gd name="connsiteY489" fmla="*/ 133350 h 1619250"/>
                      <a:gd name="connsiteX490" fmla="*/ 233774 w 1614899"/>
                      <a:gd name="connsiteY490" fmla="*/ 123825 h 1619250"/>
                      <a:gd name="connsiteX491" fmla="*/ 238537 w 1614899"/>
                      <a:gd name="connsiteY491" fmla="*/ 116681 h 1619250"/>
                      <a:gd name="connsiteX492" fmla="*/ 240918 w 1614899"/>
                      <a:gd name="connsiteY492" fmla="*/ 107156 h 1619250"/>
                      <a:gd name="connsiteX493" fmla="*/ 248062 w 1614899"/>
                      <a:gd name="connsiteY493" fmla="*/ 109537 h 1619250"/>
                      <a:gd name="connsiteX494" fmla="*/ 250443 w 1614899"/>
                      <a:gd name="connsiteY494" fmla="*/ 116681 h 1619250"/>
                      <a:gd name="connsiteX495" fmla="*/ 252824 w 1614899"/>
                      <a:gd name="connsiteY495" fmla="*/ 130969 h 1619250"/>
                      <a:gd name="connsiteX496" fmla="*/ 269493 w 1614899"/>
                      <a:gd name="connsiteY496" fmla="*/ 138112 h 1619250"/>
                      <a:gd name="connsiteX497" fmla="*/ 271874 w 1614899"/>
                      <a:gd name="connsiteY497" fmla="*/ 145256 h 1619250"/>
                      <a:gd name="connsiteX498" fmla="*/ 264731 w 1614899"/>
                      <a:gd name="connsiteY498" fmla="*/ 152400 h 1619250"/>
                      <a:gd name="connsiteX499" fmla="*/ 262349 w 1614899"/>
                      <a:gd name="connsiteY499" fmla="*/ 159544 h 1619250"/>
                      <a:gd name="connsiteX500" fmla="*/ 264731 w 1614899"/>
                      <a:gd name="connsiteY500" fmla="*/ 173831 h 1619250"/>
                      <a:gd name="connsiteX501" fmla="*/ 274256 w 1614899"/>
                      <a:gd name="connsiteY501" fmla="*/ 176212 h 1619250"/>
                      <a:gd name="connsiteX502" fmla="*/ 295687 w 1614899"/>
                      <a:gd name="connsiteY502" fmla="*/ 178594 h 1619250"/>
                      <a:gd name="connsiteX503" fmla="*/ 293306 w 1614899"/>
                      <a:gd name="connsiteY503" fmla="*/ 185737 h 1619250"/>
                      <a:gd name="connsiteX504" fmla="*/ 295687 w 1614899"/>
                      <a:gd name="connsiteY504" fmla="*/ 200025 h 1619250"/>
                      <a:gd name="connsiteX505" fmla="*/ 302831 w 1614899"/>
                      <a:gd name="connsiteY505" fmla="*/ 216694 h 1619250"/>
                      <a:gd name="connsiteX506" fmla="*/ 307593 w 1614899"/>
                      <a:gd name="connsiteY506" fmla="*/ 223837 h 1619250"/>
                      <a:gd name="connsiteX507" fmla="*/ 314737 w 1614899"/>
                      <a:gd name="connsiteY507" fmla="*/ 228600 h 1619250"/>
                      <a:gd name="connsiteX508" fmla="*/ 326643 w 1614899"/>
                      <a:gd name="connsiteY508" fmla="*/ 226219 h 1619250"/>
                      <a:gd name="connsiteX509" fmla="*/ 321881 w 1614899"/>
                      <a:gd name="connsiteY509" fmla="*/ 200025 h 1619250"/>
                      <a:gd name="connsiteX510" fmla="*/ 314737 w 1614899"/>
                      <a:gd name="connsiteY510" fmla="*/ 197644 h 1619250"/>
                      <a:gd name="connsiteX511" fmla="*/ 324262 w 1614899"/>
                      <a:gd name="connsiteY511" fmla="*/ 180975 h 1619250"/>
                      <a:gd name="connsiteX512" fmla="*/ 329024 w 1614899"/>
                      <a:gd name="connsiteY512" fmla="*/ 173831 h 1619250"/>
                      <a:gd name="connsiteX513" fmla="*/ 343312 w 1614899"/>
                      <a:gd name="connsiteY513" fmla="*/ 159544 h 1619250"/>
                      <a:gd name="connsiteX514" fmla="*/ 348074 w 1614899"/>
                      <a:gd name="connsiteY514" fmla="*/ 145256 h 1619250"/>
                      <a:gd name="connsiteX515" fmla="*/ 350456 w 1614899"/>
                      <a:gd name="connsiteY515" fmla="*/ 114300 h 1619250"/>
                      <a:gd name="connsiteX516" fmla="*/ 357599 w 1614899"/>
                      <a:gd name="connsiteY516" fmla="*/ 111919 h 1619250"/>
                      <a:gd name="connsiteX517" fmla="*/ 364743 w 1614899"/>
                      <a:gd name="connsiteY517" fmla="*/ 114300 h 1619250"/>
                      <a:gd name="connsiteX518" fmla="*/ 371887 w 1614899"/>
                      <a:gd name="connsiteY518" fmla="*/ 114300 h 1619250"/>
                      <a:gd name="connsiteX519" fmla="*/ 381412 w 1614899"/>
                      <a:gd name="connsiteY519" fmla="*/ 138112 h 1619250"/>
                      <a:gd name="connsiteX520" fmla="*/ 395699 w 1614899"/>
                      <a:gd name="connsiteY520" fmla="*/ 150019 h 1619250"/>
                      <a:gd name="connsiteX521" fmla="*/ 409987 w 1614899"/>
                      <a:gd name="connsiteY521" fmla="*/ 147637 h 1619250"/>
                      <a:gd name="connsiteX522" fmla="*/ 412368 w 1614899"/>
                      <a:gd name="connsiteY522" fmla="*/ 133350 h 1619250"/>
                      <a:gd name="connsiteX523" fmla="*/ 426656 w 1614899"/>
                      <a:gd name="connsiteY523" fmla="*/ 128587 h 1619250"/>
                      <a:gd name="connsiteX524" fmla="*/ 433799 w 1614899"/>
                      <a:gd name="connsiteY524" fmla="*/ 142875 h 1619250"/>
                      <a:gd name="connsiteX525" fmla="*/ 448087 w 1614899"/>
                      <a:gd name="connsiteY525" fmla="*/ 161925 h 1619250"/>
                      <a:gd name="connsiteX526" fmla="*/ 464756 w 1614899"/>
                      <a:gd name="connsiteY526" fmla="*/ 159544 h 1619250"/>
                      <a:gd name="connsiteX527" fmla="*/ 452849 w 1614899"/>
                      <a:gd name="connsiteY527" fmla="*/ 138112 h 1619250"/>
                      <a:gd name="connsiteX528" fmla="*/ 450468 w 1614899"/>
                      <a:gd name="connsiteY528" fmla="*/ 111919 h 1619250"/>
                      <a:gd name="connsiteX529" fmla="*/ 443324 w 1614899"/>
                      <a:gd name="connsiteY529" fmla="*/ 107156 h 1619250"/>
                      <a:gd name="connsiteX530" fmla="*/ 440943 w 1614899"/>
                      <a:gd name="connsiteY530" fmla="*/ 100012 h 1619250"/>
                      <a:gd name="connsiteX531" fmla="*/ 450468 w 1614899"/>
                      <a:gd name="connsiteY531" fmla="*/ 88106 h 1619250"/>
                      <a:gd name="connsiteX532" fmla="*/ 476662 w 1614899"/>
                      <a:gd name="connsiteY532" fmla="*/ 90487 h 1619250"/>
                      <a:gd name="connsiteX533" fmla="*/ 486187 w 1614899"/>
                      <a:gd name="connsiteY533" fmla="*/ 92869 h 1619250"/>
                      <a:gd name="connsiteX534" fmla="*/ 493331 w 1614899"/>
                      <a:gd name="connsiteY534" fmla="*/ 97631 h 1619250"/>
                      <a:gd name="connsiteX535" fmla="*/ 502856 w 1614899"/>
                      <a:gd name="connsiteY535" fmla="*/ 95250 h 1619250"/>
                      <a:gd name="connsiteX536" fmla="*/ 509999 w 1614899"/>
                      <a:gd name="connsiteY536" fmla="*/ 90487 h 1619250"/>
                      <a:gd name="connsiteX537" fmla="*/ 507618 w 1614899"/>
                      <a:gd name="connsiteY537" fmla="*/ 83344 h 1619250"/>
                      <a:gd name="connsiteX538" fmla="*/ 500474 w 1614899"/>
                      <a:gd name="connsiteY538" fmla="*/ 80962 h 1619250"/>
                      <a:gd name="connsiteX539" fmla="*/ 493331 w 1614899"/>
                      <a:gd name="connsiteY539" fmla="*/ 76200 h 1619250"/>
                      <a:gd name="connsiteX540" fmla="*/ 495712 w 1614899"/>
                      <a:gd name="connsiteY540"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19549 w 1614899"/>
                      <a:gd name="connsiteY86" fmla="*/ 328612 h 1619250"/>
                      <a:gd name="connsiteX87" fmla="*/ 714787 w 1614899"/>
                      <a:gd name="connsiteY87" fmla="*/ 335756 h 1619250"/>
                      <a:gd name="connsiteX88" fmla="*/ 717168 w 1614899"/>
                      <a:gd name="connsiteY88" fmla="*/ 342900 h 1619250"/>
                      <a:gd name="connsiteX89" fmla="*/ 721931 w 1614899"/>
                      <a:gd name="connsiteY89" fmla="*/ 347662 h 1619250"/>
                      <a:gd name="connsiteX90" fmla="*/ 733837 w 1614899"/>
                      <a:gd name="connsiteY90" fmla="*/ 357187 h 1619250"/>
                      <a:gd name="connsiteX91" fmla="*/ 740981 w 1614899"/>
                      <a:gd name="connsiteY91" fmla="*/ 354806 h 1619250"/>
                      <a:gd name="connsiteX92" fmla="*/ 755268 w 1614899"/>
                      <a:gd name="connsiteY92" fmla="*/ 350044 h 1619250"/>
                      <a:gd name="connsiteX93" fmla="*/ 752887 w 1614899"/>
                      <a:gd name="connsiteY93" fmla="*/ 359569 h 1619250"/>
                      <a:gd name="connsiteX94" fmla="*/ 755268 w 1614899"/>
                      <a:gd name="connsiteY94" fmla="*/ 371475 h 1619250"/>
                      <a:gd name="connsiteX95" fmla="*/ 762412 w 1614899"/>
                      <a:gd name="connsiteY95" fmla="*/ 373856 h 1619250"/>
                      <a:gd name="connsiteX96" fmla="*/ 745743 w 1614899"/>
                      <a:gd name="connsiteY96" fmla="*/ 390525 h 1619250"/>
                      <a:gd name="connsiteX97" fmla="*/ 750506 w 1614899"/>
                      <a:gd name="connsiteY97" fmla="*/ 397669 h 1619250"/>
                      <a:gd name="connsiteX98" fmla="*/ 745743 w 1614899"/>
                      <a:gd name="connsiteY98" fmla="*/ 411956 h 1619250"/>
                      <a:gd name="connsiteX99" fmla="*/ 731456 w 1614899"/>
                      <a:gd name="connsiteY99" fmla="*/ 404812 h 1619250"/>
                      <a:gd name="connsiteX100" fmla="*/ 724312 w 1614899"/>
                      <a:gd name="connsiteY100" fmla="*/ 409575 h 1619250"/>
                      <a:gd name="connsiteX101" fmla="*/ 721931 w 1614899"/>
                      <a:gd name="connsiteY101" fmla="*/ 416719 h 1619250"/>
                      <a:gd name="connsiteX102" fmla="*/ 736218 w 1614899"/>
                      <a:gd name="connsiteY102" fmla="*/ 426244 h 1619250"/>
                      <a:gd name="connsiteX103" fmla="*/ 731456 w 1614899"/>
                      <a:gd name="connsiteY103" fmla="*/ 442912 h 1619250"/>
                      <a:gd name="connsiteX104" fmla="*/ 729074 w 1614899"/>
                      <a:gd name="connsiteY104" fmla="*/ 450056 h 1619250"/>
                      <a:gd name="connsiteX105" fmla="*/ 731456 w 1614899"/>
                      <a:gd name="connsiteY105" fmla="*/ 481012 h 1619250"/>
                      <a:gd name="connsiteX106" fmla="*/ 736218 w 1614899"/>
                      <a:gd name="connsiteY106" fmla="*/ 488156 h 1619250"/>
                      <a:gd name="connsiteX107" fmla="*/ 743362 w 1614899"/>
                      <a:gd name="connsiteY107" fmla="*/ 509587 h 1619250"/>
                      <a:gd name="connsiteX108" fmla="*/ 745743 w 1614899"/>
                      <a:gd name="connsiteY108" fmla="*/ 516731 h 1619250"/>
                      <a:gd name="connsiteX109" fmla="*/ 760031 w 1614899"/>
                      <a:gd name="connsiteY109" fmla="*/ 526256 h 1619250"/>
                      <a:gd name="connsiteX110" fmla="*/ 764793 w 1614899"/>
                      <a:gd name="connsiteY110" fmla="*/ 533400 h 1619250"/>
                      <a:gd name="connsiteX111" fmla="*/ 769556 w 1614899"/>
                      <a:gd name="connsiteY111" fmla="*/ 547687 h 1619250"/>
                      <a:gd name="connsiteX112" fmla="*/ 769556 w 1614899"/>
                      <a:gd name="connsiteY112" fmla="*/ 542925 h 1619250"/>
                      <a:gd name="connsiteX113" fmla="*/ 776699 w 1614899"/>
                      <a:gd name="connsiteY113" fmla="*/ 550069 h 1619250"/>
                      <a:gd name="connsiteX114" fmla="*/ 793368 w 1614899"/>
                      <a:gd name="connsiteY114" fmla="*/ 552450 h 1619250"/>
                      <a:gd name="connsiteX115" fmla="*/ 807656 w 1614899"/>
                      <a:gd name="connsiteY115" fmla="*/ 557212 h 1619250"/>
                      <a:gd name="connsiteX116" fmla="*/ 814799 w 1614899"/>
                      <a:gd name="connsiteY116" fmla="*/ 559594 h 1619250"/>
                      <a:gd name="connsiteX117" fmla="*/ 821943 w 1614899"/>
                      <a:gd name="connsiteY117" fmla="*/ 566737 h 1619250"/>
                      <a:gd name="connsiteX118" fmla="*/ 829087 w 1614899"/>
                      <a:gd name="connsiteY118" fmla="*/ 569119 h 1619250"/>
                      <a:gd name="connsiteX119" fmla="*/ 836231 w 1614899"/>
                      <a:gd name="connsiteY119" fmla="*/ 573881 h 1619250"/>
                      <a:gd name="connsiteX120" fmla="*/ 843374 w 1614899"/>
                      <a:gd name="connsiteY120" fmla="*/ 588169 h 1619250"/>
                      <a:gd name="connsiteX121" fmla="*/ 852899 w 1614899"/>
                      <a:gd name="connsiteY121" fmla="*/ 597694 h 1619250"/>
                      <a:gd name="connsiteX122" fmla="*/ 902906 w 1614899"/>
                      <a:gd name="connsiteY122" fmla="*/ 604837 h 1619250"/>
                      <a:gd name="connsiteX123" fmla="*/ 914812 w 1614899"/>
                      <a:gd name="connsiteY123" fmla="*/ 626269 h 1619250"/>
                      <a:gd name="connsiteX124" fmla="*/ 919574 w 1614899"/>
                      <a:gd name="connsiteY124" fmla="*/ 633412 h 1619250"/>
                      <a:gd name="connsiteX125" fmla="*/ 919574 w 1614899"/>
                      <a:gd name="connsiteY125" fmla="*/ 671512 h 1619250"/>
                      <a:gd name="connsiteX126" fmla="*/ 926718 w 1614899"/>
                      <a:gd name="connsiteY126" fmla="*/ 676275 h 1619250"/>
                      <a:gd name="connsiteX127" fmla="*/ 933862 w 1614899"/>
                      <a:gd name="connsiteY127" fmla="*/ 690562 h 1619250"/>
                      <a:gd name="connsiteX128" fmla="*/ 936243 w 1614899"/>
                      <a:gd name="connsiteY128" fmla="*/ 702469 h 1619250"/>
                      <a:gd name="connsiteX129" fmla="*/ 943387 w 1614899"/>
                      <a:gd name="connsiteY129" fmla="*/ 709612 h 1619250"/>
                      <a:gd name="connsiteX130" fmla="*/ 945768 w 1614899"/>
                      <a:gd name="connsiteY130" fmla="*/ 723900 h 1619250"/>
                      <a:gd name="connsiteX131" fmla="*/ 955293 w 1614899"/>
                      <a:gd name="connsiteY131" fmla="*/ 738187 h 1619250"/>
                      <a:gd name="connsiteX132" fmla="*/ 964818 w 1614899"/>
                      <a:gd name="connsiteY132" fmla="*/ 752475 h 1619250"/>
                      <a:gd name="connsiteX133" fmla="*/ 967199 w 1614899"/>
                      <a:gd name="connsiteY133" fmla="*/ 759619 h 1619250"/>
                      <a:gd name="connsiteX134" fmla="*/ 974343 w 1614899"/>
                      <a:gd name="connsiteY134" fmla="*/ 769144 h 1619250"/>
                      <a:gd name="connsiteX135" fmla="*/ 979106 w 1614899"/>
                      <a:gd name="connsiteY135" fmla="*/ 783431 h 1619250"/>
                      <a:gd name="connsiteX136" fmla="*/ 981487 w 1614899"/>
                      <a:gd name="connsiteY136" fmla="*/ 790575 h 1619250"/>
                      <a:gd name="connsiteX137" fmla="*/ 991012 w 1614899"/>
                      <a:gd name="connsiteY137" fmla="*/ 804862 h 1619250"/>
                      <a:gd name="connsiteX138" fmla="*/ 998156 w 1614899"/>
                      <a:gd name="connsiteY138" fmla="*/ 819150 h 1619250"/>
                      <a:gd name="connsiteX139" fmla="*/ 1000537 w 1614899"/>
                      <a:gd name="connsiteY139" fmla="*/ 826294 h 1619250"/>
                      <a:gd name="connsiteX140" fmla="*/ 1007681 w 1614899"/>
                      <a:gd name="connsiteY140" fmla="*/ 828675 h 1619250"/>
                      <a:gd name="connsiteX141" fmla="*/ 1014824 w 1614899"/>
                      <a:gd name="connsiteY141" fmla="*/ 833437 h 1619250"/>
                      <a:gd name="connsiteX142" fmla="*/ 1029112 w 1614899"/>
                      <a:gd name="connsiteY142" fmla="*/ 838200 h 1619250"/>
                      <a:gd name="connsiteX143" fmla="*/ 1033874 w 1614899"/>
                      <a:gd name="connsiteY143" fmla="*/ 845344 h 1619250"/>
                      <a:gd name="connsiteX144" fmla="*/ 1048162 w 1614899"/>
                      <a:gd name="connsiteY144" fmla="*/ 857250 h 1619250"/>
                      <a:gd name="connsiteX145" fmla="*/ 1062449 w 1614899"/>
                      <a:gd name="connsiteY145" fmla="*/ 862012 h 1619250"/>
                      <a:gd name="connsiteX146" fmla="*/ 1079118 w 1614899"/>
                      <a:gd name="connsiteY146" fmla="*/ 883444 h 1619250"/>
                      <a:gd name="connsiteX147" fmla="*/ 1081499 w 1614899"/>
                      <a:gd name="connsiteY147" fmla="*/ 890587 h 1619250"/>
                      <a:gd name="connsiteX148" fmla="*/ 1095787 w 1614899"/>
                      <a:gd name="connsiteY148" fmla="*/ 883444 h 1619250"/>
                      <a:gd name="connsiteX149" fmla="*/ 1110074 w 1614899"/>
                      <a:gd name="connsiteY149" fmla="*/ 890587 h 1619250"/>
                      <a:gd name="connsiteX150" fmla="*/ 1121981 w 1614899"/>
                      <a:gd name="connsiteY150" fmla="*/ 902494 h 1619250"/>
                      <a:gd name="connsiteX151" fmla="*/ 1136268 w 1614899"/>
                      <a:gd name="connsiteY151" fmla="*/ 907256 h 1619250"/>
                      <a:gd name="connsiteX152" fmla="*/ 1176749 w 1614899"/>
                      <a:gd name="connsiteY152" fmla="*/ 904875 h 1619250"/>
                      <a:gd name="connsiteX153" fmla="*/ 1195799 w 1614899"/>
                      <a:gd name="connsiteY153" fmla="*/ 904875 h 1619250"/>
                      <a:gd name="connsiteX154" fmla="*/ 1207706 w 1614899"/>
                      <a:gd name="connsiteY154" fmla="*/ 912019 h 1619250"/>
                      <a:gd name="connsiteX155" fmla="*/ 1210087 w 1614899"/>
                      <a:gd name="connsiteY155" fmla="*/ 902494 h 1619250"/>
                      <a:gd name="connsiteX156" fmla="*/ 1219612 w 1614899"/>
                      <a:gd name="connsiteY156" fmla="*/ 900112 h 1619250"/>
                      <a:gd name="connsiteX157" fmla="*/ 1226756 w 1614899"/>
                      <a:gd name="connsiteY157" fmla="*/ 895350 h 1619250"/>
                      <a:gd name="connsiteX158" fmla="*/ 1241043 w 1614899"/>
                      <a:gd name="connsiteY158" fmla="*/ 890587 h 1619250"/>
                      <a:gd name="connsiteX159" fmla="*/ 1255331 w 1614899"/>
                      <a:gd name="connsiteY159" fmla="*/ 892969 h 1619250"/>
                      <a:gd name="connsiteX160" fmla="*/ 1260093 w 1614899"/>
                      <a:gd name="connsiteY160" fmla="*/ 900112 h 1619250"/>
                      <a:gd name="connsiteX161" fmla="*/ 1267237 w 1614899"/>
                      <a:gd name="connsiteY161" fmla="*/ 904875 h 1619250"/>
                      <a:gd name="connsiteX162" fmla="*/ 1271999 w 1614899"/>
                      <a:gd name="connsiteY162" fmla="*/ 919162 h 1619250"/>
                      <a:gd name="connsiteX163" fmla="*/ 1269618 w 1614899"/>
                      <a:gd name="connsiteY163" fmla="*/ 928687 h 1619250"/>
                      <a:gd name="connsiteX164" fmla="*/ 1262474 w 1614899"/>
                      <a:gd name="connsiteY164" fmla="*/ 933450 h 1619250"/>
                      <a:gd name="connsiteX165" fmla="*/ 1255331 w 1614899"/>
                      <a:gd name="connsiteY165" fmla="*/ 940594 h 1619250"/>
                      <a:gd name="connsiteX166" fmla="*/ 1248187 w 1614899"/>
                      <a:gd name="connsiteY166" fmla="*/ 942975 h 1619250"/>
                      <a:gd name="connsiteX167" fmla="*/ 1241043 w 1614899"/>
                      <a:gd name="connsiteY167" fmla="*/ 947737 h 1619250"/>
                      <a:gd name="connsiteX168" fmla="*/ 1226756 w 1614899"/>
                      <a:gd name="connsiteY168" fmla="*/ 954881 h 1619250"/>
                      <a:gd name="connsiteX169" fmla="*/ 1236281 w 1614899"/>
                      <a:gd name="connsiteY169" fmla="*/ 969169 h 1619250"/>
                      <a:gd name="connsiteX170" fmla="*/ 1241043 w 1614899"/>
                      <a:gd name="connsiteY170" fmla="*/ 983456 h 1619250"/>
                      <a:gd name="connsiteX171" fmla="*/ 1250568 w 1614899"/>
                      <a:gd name="connsiteY171" fmla="*/ 997744 h 1619250"/>
                      <a:gd name="connsiteX172" fmla="*/ 1262474 w 1614899"/>
                      <a:gd name="connsiteY172" fmla="*/ 997744 h 1619250"/>
                      <a:gd name="connsiteX173" fmla="*/ 1264856 w 1614899"/>
                      <a:gd name="connsiteY173" fmla="*/ 990600 h 1619250"/>
                      <a:gd name="connsiteX174" fmla="*/ 1283906 w 1614899"/>
                      <a:gd name="connsiteY174" fmla="*/ 995362 h 1619250"/>
                      <a:gd name="connsiteX175" fmla="*/ 1291049 w 1614899"/>
                      <a:gd name="connsiteY175" fmla="*/ 1000125 h 1619250"/>
                      <a:gd name="connsiteX176" fmla="*/ 1298193 w 1614899"/>
                      <a:gd name="connsiteY176" fmla="*/ 1002506 h 1619250"/>
                      <a:gd name="connsiteX177" fmla="*/ 1322006 w 1614899"/>
                      <a:gd name="connsiteY177" fmla="*/ 1007269 h 1619250"/>
                      <a:gd name="connsiteX178" fmla="*/ 1336293 w 1614899"/>
                      <a:gd name="connsiteY178" fmla="*/ 1012031 h 1619250"/>
                      <a:gd name="connsiteX179" fmla="*/ 1355343 w 1614899"/>
                      <a:gd name="connsiteY179" fmla="*/ 1016794 h 1619250"/>
                      <a:gd name="connsiteX180" fmla="*/ 1362487 w 1614899"/>
                      <a:gd name="connsiteY180" fmla="*/ 1023937 h 1619250"/>
                      <a:gd name="connsiteX181" fmla="*/ 1376774 w 1614899"/>
                      <a:gd name="connsiteY181" fmla="*/ 1028700 h 1619250"/>
                      <a:gd name="connsiteX182" fmla="*/ 1391062 w 1614899"/>
                      <a:gd name="connsiteY182" fmla="*/ 1033462 h 1619250"/>
                      <a:gd name="connsiteX183" fmla="*/ 1398206 w 1614899"/>
                      <a:gd name="connsiteY183" fmla="*/ 1035844 h 1619250"/>
                      <a:gd name="connsiteX184" fmla="*/ 1405349 w 1614899"/>
                      <a:gd name="connsiteY184" fmla="*/ 1038225 h 1619250"/>
                      <a:gd name="connsiteX185" fmla="*/ 1412493 w 1614899"/>
                      <a:gd name="connsiteY185" fmla="*/ 1042987 h 1619250"/>
                      <a:gd name="connsiteX186" fmla="*/ 1426781 w 1614899"/>
                      <a:gd name="connsiteY186" fmla="*/ 1050131 h 1619250"/>
                      <a:gd name="connsiteX187" fmla="*/ 1436306 w 1614899"/>
                      <a:gd name="connsiteY187" fmla="*/ 1062037 h 1619250"/>
                      <a:gd name="connsiteX188" fmla="*/ 1441068 w 1614899"/>
                      <a:gd name="connsiteY188" fmla="*/ 1069181 h 1619250"/>
                      <a:gd name="connsiteX189" fmla="*/ 1450593 w 1614899"/>
                      <a:gd name="connsiteY189" fmla="*/ 1071562 h 1619250"/>
                      <a:gd name="connsiteX190" fmla="*/ 1464881 w 1614899"/>
                      <a:gd name="connsiteY190" fmla="*/ 1076325 h 1619250"/>
                      <a:gd name="connsiteX191" fmla="*/ 1467262 w 1614899"/>
                      <a:gd name="connsiteY191" fmla="*/ 1083469 h 1619250"/>
                      <a:gd name="connsiteX192" fmla="*/ 1488693 w 1614899"/>
                      <a:gd name="connsiteY192" fmla="*/ 1092994 h 1619250"/>
                      <a:gd name="connsiteX193" fmla="*/ 1500599 w 1614899"/>
                      <a:gd name="connsiteY193" fmla="*/ 1095375 h 1619250"/>
                      <a:gd name="connsiteX194" fmla="*/ 1514887 w 1614899"/>
                      <a:gd name="connsiteY194" fmla="*/ 1097756 h 1619250"/>
                      <a:gd name="connsiteX195" fmla="*/ 1522031 w 1614899"/>
                      <a:gd name="connsiteY195" fmla="*/ 1100137 h 1619250"/>
                      <a:gd name="connsiteX196" fmla="*/ 1541081 w 1614899"/>
                      <a:gd name="connsiteY196" fmla="*/ 1104900 h 1619250"/>
                      <a:gd name="connsiteX197" fmla="*/ 1545843 w 1614899"/>
                      <a:gd name="connsiteY197" fmla="*/ 1112044 h 1619250"/>
                      <a:gd name="connsiteX198" fmla="*/ 1543462 w 1614899"/>
                      <a:gd name="connsiteY198" fmla="*/ 1119187 h 1619250"/>
                      <a:gd name="connsiteX199" fmla="*/ 1557749 w 1614899"/>
                      <a:gd name="connsiteY199" fmla="*/ 1128712 h 1619250"/>
                      <a:gd name="connsiteX200" fmla="*/ 1564893 w 1614899"/>
                      <a:gd name="connsiteY200" fmla="*/ 1133475 h 1619250"/>
                      <a:gd name="connsiteX201" fmla="*/ 1579181 w 1614899"/>
                      <a:gd name="connsiteY201" fmla="*/ 1147762 h 1619250"/>
                      <a:gd name="connsiteX202" fmla="*/ 1593468 w 1614899"/>
                      <a:gd name="connsiteY202" fmla="*/ 1152525 h 1619250"/>
                      <a:gd name="connsiteX203" fmla="*/ 1600612 w 1614899"/>
                      <a:gd name="connsiteY203" fmla="*/ 1154906 h 1619250"/>
                      <a:gd name="connsiteX204" fmla="*/ 1607756 w 1614899"/>
                      <a:gd name="connsiteY204" fmla="*/ 1162050 h 1619250"/>
                      <a:gd name="connsiteX205" fmla="*/ 1610137 w 1614899"/>
                      <a:gd name="connsiteY205" fmla="*/ 1169194 h 1619250"/>
                      <a:gd name="connsiteX206" fmla="*/ 1614899 w 1614899"/>
                      <a:gd name="connsiteY206" fmla="*/ 1176337 h 1619250"/>
                      <a:gd name="connsiteX207" fmla="*/ 1612518 w 1614899"/>
                      <a:gd name="connsiteY207" fmla="*/ 1195387 h 1619250"/>
                      <a:gd name="connsiteX208" fmla="*/ 1610137 w 1614899"/>
                      <a:gd name="connsiteY208" fmla="*/ 1202531 h 1619250"/>
                      <a:gd name="connsiteX209" fmla="*/ 1602993 w 1614899"/>
                      <a:gd name="connsiteY209" fmla="*/ 1204912 h 1619250"/>
                      <a:gd name="connsiteX210" fmla="*/ 1600612 w 1614899"/>
                      <a:gd name="connsiteY210" fmla="*/ 1212056 h 1619250"/>
                      <a:gd name="connsiteX211" fmla="*/ 1598231 w 1614899"/>
                      <a:gd name="connsiteY211" fmla="*/ 1247775 h 1619250"/>
                      <a:gd name="connsiteX212" fmla="*/ 1579181 w 1614899"/>
                      <a:gd name="connsiteY212" fmla="*/ 1245394 h 1619250"/>
                      <a:gd name="connsiteX213" fmla="*/ 1550606 w 1614899"/>
                      <a:gd name="connsiteY213" fmla="*/ 1231106 h 1619250"/>
                      <a:gd name="connsiteX214" fmla="*/ 1543462 w 1614899"/>
                      <a:gd name="connsiteY214" fmla="*/ 1226344 h 1619250"/>
                      <a:gd name="connsiteX215" fmla="*/ 1543462 w 1614899"/>
                      <a:gd name="connsiteY215" fmla="*/ 1197769 h 1619250"/>
                      <a:gd name="connsiteX216" fmla="*/ 1545843 w 1614899"/>
                      <a:gd name="connsiteY216" fmla="*/ 1183481 h 1619250"/>
                      <a:gd name="connsiteX217" fmla="*/ 1531556 w 1614899"/>
                      <a:gd name="connsiteY217" fmla="*/ 1176337 h 1619250"/>
                      <a:gd name="connsiteX218" fmla="*/ 1529174 w 1614899"/>
                      <a:gd name="connsiteY218" fmla="*/ 1169194 h 1619250"/>
                      <a:gd name="connsiteX219" fmla="*/ 1531556 w 1614899"/>
                      <a:gd name="connsiteY219" fmla="*/ 1152525 h 1619250"/>
                      <a:gd name="connsiteX220" fmla="*/ 1524412 w 1614899"/>
                      <a:gd name="connsiteY220" fmla="*/ 1154906 h 1619250"/>
                      <a:gd name="connsiteX221" fmla="*/ 1517268 w 1614899"/>
                      <a:gd name="connsiteY221" fmla="*/ 1159669 h 1619250"/>
                      <a:gd name="connsiteX222" fmla="*/ 1502981 w 1614899"/>
                      <a:gd name="connsiteY222" fmla="*/ 1164431 h 1619250"/>
                      <a:gd name="connsiteX223" fmla="*/ 1481549 w 1614899"/>
                      <a:gd name="connsiteY223" fmla="*/ 1169194 h 1619250"/>
                      <a:gd name="connsiteX224" fmla="*/ 1457737 w 1614899"/>
                      <a:gd name="connsiteY224" fmla="*/ 1164431 h 1619250"/>
                      <a:gd name="connsiteX225" fmla="*/ 1443449 w 1614899"/>
                      <a:gd name="connsiteY225" fmla="*/ 1154906 h 1619250"/>
                      <a:gd name="connsiteX226" fmla="*/ 1436306 w 1614899"/>
                      <a:gd name="connsiteY226" fmla="*/ 1150144 h 1619250"/>
                      <a:gd name="connsiteX227" fmla="*/ 1426781 w 1614899"/>
                      <a:gd name="connsiteY227" fmla="*/ 1140619 h 1619250"/>
                      <a:gd name="connsiteX228" fmla="*/ 1402968 w 1614899"/>
                      <a:gd name="connsiteY228" fmla="*/ 1138237 h 1619250"/>
                      <a:gd name="connsiteX229" fmla="*/ 1395824 w 1614899"/>
                      <a:gd name="connsiteY229" fmla="*/ 1145381 h 1619250"/>
                      <a:gd name="connsiteX230" fmla="*/ 1374393 w 1614899"/>
                      <a:gd name="connsiteY230" fmla="*/ 1162050 h 1619250"/>
                      <a:gd name="connsiteX231" fmla="*/ 1367249 w 1614899"/>
                      <a:gd name="connsiteY231" fmla="*/ 1188244 h 1619250"/>
                      <a:gd name="connsiteX232" fmla="*/ 1357724 w 1614899"/>
                      <a:gd name="connsiteY232" fmla="*/ 1202531 h 1619250"/>
                      <a:gd name="connsiteX233" fmla="*/ 1348199 w 1614899"/>
                      <a:gd name="connsiteY233" fmla="*/ 1212056 h 1619250"/>
                      <a:gd name="connsiteX234" fmla="*/ 1345818 w 1614899"/>
                      <a:gd name="connsiteY234" fmla="*/ 1219200 h 1619250"/>
                      <a:gd name="connsiteX235" fmla="*/ 1341056 w 1614899"/>
                      <a:gd name="connsiteY235" fmla="*/ 1228725 h 1619250"/>
                      <a:gd name="connsiteX236" fmla="*/ 1350581 w 1614899"/>
                      <a:gd name="connsiteY236" fmla="*/ 1243012 h 1619250"/>
                      <a:gd name="connsiteX237" fmla="*/ 1343437 w 1614899"/>
                      <a:gd name="connsiteY237" fmla="*/ 1266825 h 1619250"/>
                      <a:gd name="connsiteX238" fmla="*/ 1345818 w 1614899"/>
                      <a:gd name="connsiteY238" fmla="*/ 1281112 h 1619250"/>
                      <a:gd name="connsiteX239" fmla="*/ 1348199 w 1614899"/>
                      <a:gd name="connsiteY239" fmla="*/ 1290637 h 1619250"/>
                      <a:gd name="connsiteX240" fmla="*/ 1355343 w 1614899"/>
                      <a:gd name="connsiteY240" fmla="*/ 1297781 h 1619250"/>
                      <a:gd name="connsiteX241" fmla="*/ 1362487 w 1614899"/>
                      <a:gd name="connsiteY241" fmla="*/ 1300162 h 1619250"/>
                      <a:gd name="connsiteX242" fmla="*/ 1386299 w 1614899"/>
                      <a:gd name="connsiteY242" fmla="*/ 1302544 h 1619250"/>
                      <a:gd name="connsiteX243" fmla="*/ 1395824 w 1614899"/>
                      <a:gd name="connsiteY243" fmla="*/ 1309687 h 1619250"/>
                      <a:gd name="connsiteX244" fmla="*/ 1410112 w 1614899"/>
                      <a:gd name="connsiteY244" fmla="*/ 1314450 h 1619250"/>
                      <a:gd name="connsiteX245" fmla="*/ 1417256 w 1614899"/>
                      <a:gd name="connsiteY245" fmla="*/ 1319212 h 1619250"/>
                      <a:gd name="connsiteX246" fmla="*/ 1431543 w 1614899"/>
                      <a:gd name="connsiteY246" fmla="*/ 1326356 h 1619250"/>
                      <a:gd name="connsiteX247" fmla="*/ 1433924 w 1614899"/>
                      <a:gd name="connsiteY247" fmla="*/ 1333500 h 1619250"/>
                      <a:gd name="connsiteX248" fmla="*/ 1429162 w 1614899"/>
                      <a:gd name="connsiteY248" fmla="*/ 1340644 h 1619250"/>
                      <a:gd name="connsiteX249" fmla="*/ 1426781 w 1614899"/>
                      <a:gd name="connsiteY249" fmla="*/ 1347787 h 1619250"/>
                      <a:gd name="connsiteX250" fmla="*/ 1431543 w 1614899"/>
                      <a:gd name="connsiteY250" fmla="*/ 1354931 h 1619250"/>
                      <a:gd name="connsiteX251" fmla="*/ 1436306 w 1614899"/>
                      <a:gd name="connsiteY251" fmla="*/ 1364456 h 1619250"/>
                      <a:gd name="connsiteX252" fmla="*/ 1443449 w 1614899"/>
                      <a:gd name="connsiteY252" fmla="*/ 1395412 h 1619250"/>
                      <a:gd name="connsiteX253" fmla="*/ 1450593 w 1614899"/>
                      <a:gd name="connsiteY253" fmla="*/ 1402556 h 1619250"/>
                      <a:gd name="connsiteX254" fmla="*/ 1448212 w 1614899"/>
                      <a:gd name="connsiteY254" fmla="*/ 1412081 h 1619250"/>
                      <a:gd name="connsiteX255" fmla="*/ 1433924 w 1614899"/>
                      <a:gd name="connsiteY255" fmla="*/ 1416844 h 1619250"/>
                      <a:gd name="connsiteX256" fmla="*/ 1419637 w 1614899"/>
                      <a:gd name="connsiteY256" fmla="*/ 1423987 h 1619250"/>
                      <a:gd name="connsiteX257" fmla="*/ 1405349 w 1614899"/>
                      <a:gd name="connsiteY257" fmla="*/ 1431131 h 1619250"/>
                      <a:gd name="connsiteX258" fmla="*/ 1398206 w 1614899"/>
                      <a:gd name="connsiteY258" fmla="*/ 1435894 h 1619250"/>
                      <a:gd name="connsiteX259" fmla="*/ 1383918 w 1614899"/>
                      <a:gd name="connsiteY259" fmla="*/ 1440656 h 1619250"/>
                      <a:gd name="connsiteX260" fmla="*/ 1376774 w 1614899"/>
                      <a:gd name="connsiteY260" fmla="*/ 1443037 h 1619250"/>
                      <a:gd name="connsiteX261" fmla="*/ 1364868 w 1614899"/>
                      <a:gd name="connsiteY261" fmla="*/ 1464469 h 1619250"/>
                      <a:gd name="connsiteX262" fmla="*/ 1362487 w 1614899"/>
                      <a:gd name="connsiteY262" fmla="*/ 1473994 h 1619250"/>
                      <a:gd name="connsiteX263" fmla="*/ 1364868 w 1614899"/>
                      <a:gd name="connsiteY263" fmla="*/ 1497806 h 1619250"/>
                      <a:gd name="connsiteX264" fmla="*/ 1372012 w 1614899"/>
                      <a:gd name="connsiteY264" fmla="*/ 1500187 h 1619250"/>
                      <a:gd name="connsiteX265" fmla="*/ 1369631 w 1614899"/>
                      <a:gd name="connsiteY265" fmla="*/ 1516856 h 1619250"/>
                      <a:gd name="connsiteX266" fmla="*/ 1367249 w 1614899"/>
                      <a:gd name="connsiteY266" fmla="*/ 1524000 h 1619250"/>
                      <a:gd name="connsiteX267" fmla="*/ 1360106 w 1614899"/>
                      <a:gd name="connsiteY267" fmla="*/ 1526381 h 1619250"/>
                      <a:gd name="connsiteX268" fmla="*/ 1352962 w 1614899"/>
                      <a:gd name="connsiteY268" fmla="*/ 1531144 h 1619250"/>
                      <a:gd name="connsiteX269" fmla="*/ 1343437 w 1614899"/>
                      <a:gd name="connsiteY269" fmla="*/ 1535906 h 1619250"/>
                      <a:gd name="connsiteX270" fmla="*/ 1329149 w 1614899"/>
                      <a:gd name="connsiteY270" fmla="*/ 1550194 h 1619250"/>
                      <a:gd name="connsiteX271" fmla="*/ 1326768 w 1614899"/>
                      <a:gd name="connsiteY271" fmla="*/ 1559719 h 1619250"/>
                      <a:gd name="connsiteX272" fmla="*/ 1322006 w 1614899"/>
                      <a:gd name="connsiteY272" fmla="*/ 1566862 h 1619250"/>
                      <a:gd name="connsiteX273" fmla="*/ 1319624 w 1614899"/>
                      <a:gd name="connsiteY273" fmla="*/ 1578769 h 1619250"/>
                      <a:gd name="connsiteX274" fmla="*/ 1317243 w 1614899"/>
                      <a:gd name="connsiteY274" fmla="*/ 1585912 h 1619250"/>
                      <a:gd name="connsiteX275" fmla="*/ 1314862 w 1614899"/>
                      <a:gd name="connsiteY275" fmla="*/ 1602581 h 1619250"/>
                      <a:gd name="connsiteX276" fmla="*/ 1283906 w 1614899"/>
                      <a:gd name="connsiteY276" fmla="*/ 1614487 h 1619250"/>
                      <a:gd name="connsiteX277" fmla="*/ 1274381 w 1614899"/>
                      <a:gd name="connsiteY277" fmla="*/ 1616869 h 1619250"/>
                      <a:gd name="connsiteX278" fmla="*/ 1260093 w 1614899"/>
                      <a:gd name="connsiteY278" fmla="*/ 1619250 h 1619250"/>
                      <a:gd name="connsiteX279" fmla="*/ 1248187 w 1614899"/>
                      <a:gd name="connsiteY279" fmla="*/ 1616869 h 1619250"/>
                      <a:gd name="connsiteX280" fmla="*/ 1243424 w 1614899"/>
                      <a:gd name="connsiteY280" fmla="*/ 1597819 h 1619250"/>
                      <a:gd name="connsiteX281" fmla="*/ 1238662 w 1614899"/>
                      <a:gd name="connsiteY281" fmla="*/ 1581150 h 1619250"/>
                      <a:gd name="connsiteX282" fmla="*/ 1243424 w 1614899"/>
                      <a:gd name="connsiteY282" fmla="*/ 1566862 h 1619250"/>
                      <a:gd name="connsiteX283" fmla="*/ 1252949 w 1614899"/>
                      <a:gd name="connsiteY283" fmla="*/ 1552575 h 1619250"/>
                      <a:gd name="connsiteX284" fmla="*/ 1260093 w 1614899"/>
                      <a:gd name="connsiteY284" fmla="*/ 1550194 h 1619250"/>
                      <a:gd name="connsiteX285" fmla="*/ 1267237 w 1614899"/>
                      <a:gd name="connsiteY285" fmla="*/ 1543050 h 1619250"/>
                      <a:gd name="connsiteX286" fmla="*/ 1269618 w 1614899"/>
                      <a:gd name="connsiteY286" fmla="*/ 1535906 h 1619250"/>
                      <a:gd name="connsiteX287" fmla="*/ 1274381 w 1614899"/>
                      <a:gd name="connsiteY287" fmla="*/ 1526381 h 1619250"/>
                      <a:gd name="connsiteX288" fmla="*/ 1267237 w 1614899"/>
                      <a:gd name="connsiteY288" fmla="*/ 1502569 h 1619250"/>
                      <a:gd name="connsiteX289" fmla="*/ 1252949 w 1614899"/>
                      <a:gd name="connsiteY289" fmla="*/ 1493044 h 1619250"/>
                      <a:gd name="connsiteX290" fmla="*/ 1262474 w 1614899"/>
                      <a:gd name="connsiteY290" fmla="*/ 1478756 h 1619250"/>
                      <a:gd name="connsiteX291" fmla="*/ 1279143 w 1614899"/>
                      <a:gd name="connsiteY291" fmla="*/ 1462087 h 1619250"/>
                      <a:gd name="connsiteX292" fmla="*/ 1302956 w 1614899"/>
                      <a:gd name="connsiteY292" fmla="*/ 1459706 h 1619250"/>
                      <a:gd name="connsiteX293" fmla="*/ 1305337 w 1614899"/>
                      <a:gd name="connsiteY293" fmla="*/ 1450181 h 1619250"/>
                      <a:gd name="connsiteX294" fmla="*/ 1310099 w 1614899"/>
                      <a:gd name="connsiteY294" fmla="*/ 1443037 h 1619250"/>
                      <a:gd name="connsiteX295" fmla="*/ 1312481 w 1614899"/>
                      <a:gd name="connsiteY295" fmla="*/ 1435894 h 1619250"/>
                      <a:gd name="connsiteX296" fmla="*/ 1305337 w 1614899"/>
                      <a:gd name="connsiteY296" fmla="*/ 1428750 h 1619250"/>
                      <a:gd name="connsiteX297" fmla="*/ 1298193 w 1614899"/>
                      <a:gd name="connsiteY297" fmla="*/ 1423987 h 1619250"/>
                      <a:gd name="connsiteX298" fmla="*/ 1295812 w 1614899"/>
                      <a:gd name="connsiteY298" fmla="*/ 1412081 h 1619250"/>
                      <a:gd name="connsiteX299" fmla="*/ 1293431 w 1614899"/>
                      <a:gd name="connsiteY299" fmla="*/ 1402556 h 1619250"/>
                      <a:gd name="connsiteX300" fmla="*/ 1288668 w 1614899"/>
                      <a:gd name="connsiteY300" fmla="*/ 1369219 h 1619250"/>
                      <a:gd name="connsiteX301" fmla="*/ 1286287 w 1614899"/>
                      <a:gd name="connsiteY301" fmla="*/ 1362075 h 1619250"/>
                      <a:gd name="connsiteX302" fmla="*/ 1276762 w 1614899"/>
                      <a:gd name="connsiteY302" fmla="*/ 1345406 h 1619250"/>
                      <a:gd name="connsiteX303" fmla="*/ 1267237 w 1614899"/>
                      <a:gd name="connsiteY303" fmla="*/ 1343025 h 1619250"/>
                      <a:gd name="connsiteX304" fmla="*/ 1260093 w 1614899"/>
                      <a:gd name="connsiteY304" fmla="*/ 1340644 h 1619250"/>
                      <a:gd name="connsiteX305" fmla="*/ 1252949 w 1614899"/>
                      <a:gd name="connsiteY305" fmla="*/ 1307306 h 1619250"/>
                      <a:gd name="connsiteX306" fmla="*/ 1248187 w 1614899"/>
                      <a:gd name="connsiteY306" fmla="*/ 1293019 h 1619250"/>
                      <a:gd name="connsiteX307" fmla="*/ 1243424 w 1614899"/>
                      <a:gd name="connsiteY307" fmla="*/ 1278731 h 1619250"/>
                      <a:gd name="connsiteX308" fmla="*/ 1241043 w 1614899"/>
                      <a:gd name="connsiteY308" fmla="*/ 1271587 h 1619250"/>
                      <a:gd name="connsiteX309" fmla="*/ 1236281 w 1614899"/>
                      <a:gd name="connsiteY309" fmla="*/ 1262062 h 1619250"/>
                      <a:gd name="connsiteX310" fmla="*/ 1231518 w 1614899"/>
                      <a:gd name="connsiteY310" fmla="*/ 1247775 h 1619250"/>
                      <a:gd name="connsiteX311" fmla="*/ 1224374 w 1614899"/>
                      <a:gd name="connsiteY311" fmla="*/ 1240631 h 1619250"/>
                      <a:gd name="connsiteX312" fmla="*/ 1214849 w 1614899"/>
                      <a:gd name="connsiteY312" fmla="*/ 1226344 h 1619250"/>
                      <a:gd name="connsiteX313" fmla="*/ 1195799 w 1614899"/>
                      <a:gd name="connsiteY313" fmla="*/ 1233487 h 1619250"/>
                      <a:gd name="connsiteX314" fmla="*/ 1198181 w 1614899"/>
                      <a:gd name="connsiteY314" fmla="*/ 1240631 h 1619250"/>
                      <a:gd name="connsiteX315" fmla="*/ 1191037 w 1614899"/>
                      <a:gd name="connsiteY315" fmla="*/ 1243012 h 1619250"/>
                      <a:gd name="connsiteX316" fmla="*/ 1164843 w 1614899"/>
                      <a:gd name="connsiteY316" fmla="*/ 1238250 h 1619250"/>
                      <a:gd name="connsiteX317" fmla="*/ 1155318 w 1614899"/>
                      <a:gd name="connsiteY317" fmla="*/ 1223962 h 1619250"/>
                      <a:gd name="connsiteX318" fmla="*/ 1148174 w 1614899"/>
                      <a:gd name="connsiteY318" fmla="*/ 1216819 h 1619250"/>
                      <a:gd name="connsiteX319" fmla="*/ 1138649 w 1614899"/>
                      <a:gd name="connsiteY319" fmla="*/ 1219200 h 1619250"/>
                      <a:gd name="connsiteX320" fmla="*/ 1131506 w 1614899"/>
                      <a:gd name="connsiteY320" fmla="*/ 1221581 h 1619250"/>
                      <a:gd name="connsiteX321" fmla="*/ 1124362 w 1614899"/>
                      <a:gd name="connsiteY321" fmla="*/ 1219200 h 1619250"/>
                      <a:gd name="connsiteX322" fmla="*/ 1112456 w 1614899"/>
                      <a:gd name="connsiteY322" fmla="*/ 1207295 h 1619250"/>
                      <a:gd name="connsiteX323" fmla="*/ 1126743 w 1614899"/>
                      <a:gd name="connsiteY323" fmla="*/ 1190624 h 1619250"/>
                      <a:gd name="connsiteX324" fmla="*/ 1112456 w 1614899"/>
                      <a:gd name="connsiteY324" fmla="*/ 1154906 h 1619250"/>
                      <a:gd name="connsiteX325" fmla="*/ 1107693 w 1614899"/>
                      <a:gd name="connsiteY325" fmla="*/ 1147762 h 1619250"/>
                      <a:gd name="connsiteX326" fmla="*/ 1100549 w 1614899"/>
                      <a:gd name="connsiteY326" fmla="*/ 1145381 h 1619250"/>
                      <a:gd name="connsiteX327" fmla="*/ 1093406 w 1614899"/>
                      <a:gd name="connsiteY327" fmla="*/ 1147762 h 1619250"/>
                      <a:gd name="connsiteX328" fmla="*/ 1062449 w 1614899"/>
                      <a:gd name="connsiteY328" fmla="*/ 1152525 h 1619250"/>
                      <a:gd name="connsiteX329" fmla="*/ 1043400 w 1614899"/>
                      <a:gd name="connsiteY329" fmla="*/ 1154906 h 1619250"/>
                      <a:gd name="connsiteX330" fmla="*/ 1031493 w 1614899"/>
                      <a:gd name="connsiteY330" fmla="*/ 1162049 h 1619250"/>
                      <a:gd name="connsiteX331" fmla="*/ 1050543 w 1614899"/>
                      <a:gd name="connsiteY331" fmla="*/ 1128712 h 1619250"/>
                      <a:gd name="connsiteX332" fmla="*/ 1041018 w 1614899"/>
                      <a:gd name="connsiteY332" fmla="*/ 1107281 h 1619250"/>
                      <a:gd name="connsiteX333" fmla="*/ 1024349 w 1614899"/>
                      <a:gd name="connsiteY333" fmla="*/ 1109662 h 1619250"/>
                      <a:gd name="connsiteX334" fmla="*/ 1014824 w 1614899"/>
                      <a:gd name="connsiteY334" fmla="*/ 1107281 h 1619250"/>
                      <a:gd name="connsiteX335" fmla="*/ 986250 w 1614899"/>
                      <a:gd name="connsiteY335" fmla="*/ 1114424 h 1619250"/>
                      <a:gd name="connsiteX336" fmla="*/ 979106 w 1614899"/>
                      <a:gd name="connsiteY336" fmla="*/ 1097757 h 1619250"/>
                      <a:gd name="connsiteX337" fmla="*/ 979106 w 1614899"/>
                      <a:gd name="connsiteY337" fmla="*/ 1076325 h 1619250"/>
                      <a:gd name="connsiteX338" fmla="*/ 964818 w 1614899"/>
                      <a:gd name="connsiteY338" fmla="*/ 1064419 h 1619250"/>
                      <a:gd name="connsiteX339" fmla="*/ 950531 w 1614899"/>
                      <a:gd name="connsiteY339" fmla="*/ 1054894 h 1619250"/>
                      <a:gd name="connsiteX340" fmla="*/ 943387 w 1614899"/>
                      <a:gd name="connsiteY340" fmla="*/ 1050131 h 1619250"/>
                      <a:gd name="connsiteX341" fmla="*/ 936243 w 1614899"/>
                      <a:gd name="connsiteY341" fmla="*/ 1045369 h 1619250"/>
                      <a:gd name="connsiteX342" fmla="*/ 931481 w 1614899"/>
                      <a:gd name="connsiteY342" fmla="*/ 1038225 h 1619250"/>
                      <a:gd name="connsiteX343" fmla="*/ 917193 w 1614899"/>
                      <a:gd name="connsiteY343" fmla="*/ 1031081 h 1619250"/>
                      <a:gd name="connsiteX344" fmla="*/ 914812 w 1614899"/>
                      <a:gd name="connsiteY344" fmla="*/ 1040606 h 1619250"/>
                      <a:gd name="connsiteX345" fmla="*/ 907668 w 1614899"/>
                      <a:gd name="connsiteY345" fmla="*/ 1042987 h 1619250"/>
                      <a:gd name="connsiteX346" fmla="*/ 886237 w 1614899"/>
                      <a:gd name="connsiteY346" fmla="*/ 1031081 h 1619250"/>
                      <a:gd name="connsiteX347" fmla="*/ 862424 w 1614899"/>
                      <a:gd name="connsiteY347" fmla="*/ 1035844 h 1619250"/>
                      <a:gd name="connsiteX348" fmla="*/ 845756 w 1614899"/>
                      <a:gd name="connsiteY348" fmla="*/ 1040606 h 1619250"/>
                      <a:gd name="connsiteX349" fmla="*/ 840993 w 1614899"/>
                      <a:gd name="connsiteY349" fmla="*/ 1033462 h 1619250"/>
                      <a:gd name="connsiteX350" fmla="*/ 821943 w 1614899"/>
                      <a:gd name="connsiteY350" fmla="*/ 1004887 h 1619250"/>
                      <a:gd name="connsiteX351" fmla="*/ 814799 w 1614899"/>
                      <a:gd name="connsiteY351" fmla="*/ 1000125 h 1619250"/>
                      <a:gd name="connsiteX352" fmla="*/ 779081 w 1614899"/>
                      <a:gd name="connsiteY352" fmla="*/ 995362 h 1619250"/>
                      <a:gd name="connsiteX353" fmla="*/ 771937 w 1614899"/>
                      <a:gd name="connsiteY353" fmla="*/ 988219 h 1619250"/>
                      <a:gd name="connsiteX354" fmla="*/ 762412 w 1614899"/>
                      <a:gd name="connsiteY354" fmla="*/ 966787 h 1619250"/>
                      <a:gd name="connsiteX355" fmla="*/ 755268 w 1614899"/>
                      <a:gd name="connsiteY355" fmla="*/ 962025 h 1619250"/>
                      <a:gd name="connsiteX356" fmla="*/ 733837 w 1614899"/>
                      <a:gd name="connsiteY356" fmla="*/ 962025 h 1619250"/>
                      <a:gd name="connsiteX357" fmla="*/ 731456 w 1614899"/>
                      <a:gd name="connsiteY357" fmla="*/ 950119 h 1619250"/>
                      <a:gd name="connsiteX358" fmla="*/ 729074 w 1614899"/>
                      <a:gd name="connsiteY358" fmla="*/ 942975 h 1619250"/>
                      <a:gd name="connsiteX359" fmla="*/ 726693 w 1614899"/>
                      <a:gd name="connsiteY359" fmla="*/ 921544 h 1619250"/>
                      <a:gd name="connsiteX360" fmla="*/ 724312 w 1614899"/>
                      <a:gd name="connsiteY360" fmla="*/ 914400 h 1619250"/>
                      <a:gd name="connsiteX361" fmla="*/ 717168 w 1614899"/>
                      <a:gd name="connsiteY361" fmla="*/ 909637 h 1619250"/>
                      <a:gd name="connsiteX362" fmla="*/ 710024 w 1614899"/>
                      <a:gd name="connsiteY362" fmla="*/ 907256 h 1619250"/>
                      <a:gd name="connsiteX363" fmla="*/ 681449 w 1614899"/>
                      <a:gd name="connsiteY363" fmla="*/ 902494 h 1619250"/>
                      <a:gd name="connsiteX364" fmla="*/ 674306 w 1614899"/>
                      <a:gd name="connsiteY364" fmla="*/ 897731 h 1619250"/>
                      <a:gd name="connsiteX365" fmla="*/ 667162 w 1614899"/>
                      <a:gd name="connsiteY365" fmla="*/ 883444 h 1619250"/>
                      <a:gd name="connsiteX366" fmla="*/ 657637 w 1614899"/>
                      <a:gd name="connsiteY366" fmla="*/ 881062 h 1619250"/>
                      <a:gd name="connsiteX367" fmla="*/ 650493 w 1614899"/>
                      <a:gd name="connsiteY367" fmla="*/ 873919 h 1619250"/>
                      <a:gd name="connsiteX368" fmla="*/ 648112 w 1614899"/>
                      <a:gd name="connsiteY368" fmla="*/ 866775 h 1619250"/>
                      <a:gd name="connsiteX369" fmla="*/ 643349 w 1614899"/>
                      <a:gd name="connsiteY369" fmla="*/ 859631 h 1619250"/>
                      <a:gd name="connsiteX370" fmla="*/ 631443 w 1614899"/>
                      <a:gd name="connsiteY370" fmla="*/ 838200 h 1619250"/>
                      <a:gd name="connsiteX371" fmla="*/ 624299 w 1614899"/>
                      <a:gd name="connsiteY371" fmla="*/ 833437 h 1619250"/>
                      <a:gd name="connsiteX372" fmla="*/ 593343 w 1614899"/>
                      <a:gd name="connsiteY372" fmla="*/ 835819 h 1619250"/>
                      <a:gd name="connsiteX373" fmla="*/ 586199 w 1614899"/>
                      <a:gd name="connsiteY373" fmla="*/ 816769 h 1619250"/>
                      <a:gd name="connsiteX374" fmla="*/ 569531 w 1614899"/>
                      <a:gd name="connsiteY374" fmla="*/ 795337 h 1619250"/>
                      <a:gd name="connsiteX375" fmla="*/ 564768 w 1614899"/>
                      <a:gd name="connsiteY375" fmla="*/ 788194 h 1619250"/>
                      <a:gd name="connsiteX376" fmla="*/ 557624 w 1614899"/>
                      <a:gd name="connsiteY376" fmla="*/ 785812 h 1619250"/>
                      <a:gd name="connsiteX377" fmla="*/ 550481 w 1614899"/>
                      <a:gd name="connsiteY377" fmla="*/ 781050 h 1619250"/>
                      <a:gd name="connsiteX378" fmla="*/ 536193 w 1614899"/>
                      <a:gd name="connsiteY378" fmla="*/ 776287 h 1619250"/>
                      <a:gd name="connsiteX379" fmla="*/ 538574 w 1614899"/>
                      <a:gd name="connsiteY379" fmla="*/ 747712 h 1619250"/>
                      <a:gd name="connsiteX380" fmla="*/ 533812 w 1614899"/>
                      <a:gd name="connsiteY380" fmla="*/ 740569 h 1619250"/>
                      <a:gd name="connsiteX381" fmla="*/ 519524 w 1614899"/>
                      <a:gd name="connsiteY381" fmla="*/ 731044 h 1619250"/>
                      <a:gd name="connsiteX382" fmla="*/ 512381 w 1614899"/>
                      <a:gd name="connsiteY382" fmla="*/ 735806 h 1619250"/>
                      <a:gd name="connsiteX383" fmla="*/ 505237 w 1614899"/>
                      <a:gd name="connsiteY383" fmla="*/ 738187 h 1619250"/>
                      <a:gd name="connsiteX384" fmla="*/ 507618 w 1614899"/>
                      <a:gd name="connsiteY384" fmla="*/ 723900 h 1619250"/>
                      <a:gd name="connsiteX385" fmla="*/ 505237 w 1614899"/>
                      <a:gd name="connsiteY385" fmla="*/ 688181 h 1619250"/>
                      <a:gd name="connsiteX386" fmla="*/ 493331 w 1614899"/>
                      <a:gd name="connsiteY386" fmla="*/ 666750 h 1619250"/>
                      <a:gd name="connsiteX387" fmla="*/ 486187 w 1614899"/>
                      <a:gd name="connsiteY387" fmla="*/ 659606 h 1619250"/>
                      <a:gd name="connsiteX388" fmla="*/ 481424 w 1614899"/>
                      <a:gd name="connsiteY388" fmla="*/ 652462 h 1619250"/>
                      <a:gd name="connsiteX389" fmla="*/ 479043 w 1614899"/>
                      <a:gd name="connsiteY389" fmla="*/ 614362 h 1619250"/>
                      <a:gd name="connsiteX390" fmla="*/ 474281 w 1614899"/>
                      <a:gd name="connsiteY390" fmla="*/ 595312 h 1619250"/>
                      <a:gd name="connsiteX391" fmla="*/ 467137 w 1614899"/>
                      <a:gd name="connsiteY391" fmla="*/ 578644 h 1619250"/>
                      <a:gd name="connsiteX392" fmla="*/ 459993 w 1614899"/>
                      <a:gd name="connsiteY392" fmla="*/ 571500 h 1619250"/>
                      <a:gd name="connsiteX393" fmla="*/ 440943 w 1614899"/>
                      <a:gd name="connsiteY393" fmla="*/ 554831 h 1619250"/>
                      <a:gd name="connsiteX394" fmla="*/ 426656 w 1614899"/>
                      <a:gd name="connsiteY394" fmla="*/ 550069 h 1619250"/>
                      <a:gd name="connsiteX395" fmla="*/ 424274 w 1614899"/>
                      <a:gd name="connsiteY395" fmla="*/ 557212 h 1619250"/>
                      <a:gd name="connsiteX396" fmla="*/ 414749 w 1614899"/>
                      <a:gd name="connsiteY396" fmla="*/ 552450 h 1619250"/>
                      <a:gd name="connsiteX397" fmla="*/ 407606 w 1614899"/>
                      <a:gd name="connsiteY397" fmla="*/ 545306 h 1619250"/>
                      <a:gd name="connsiteX398" fmla="*/ 390937 w 1614899"/>
                      <a:gd name="connsiteY398" fmla="*/ 535781 h 1619250"/>
                      <a:gd name="connsiteX399" fmla="*/ 383793 w 1614899"/>
                      <a:gd name="connsiteY399" fmla="*/ 528637 h 1619250"/>
                      <a:gd name="connsiteX400" fmla="*/ 374268 w 1614899"/>
                      <a:gd name="connsiteY400" fmla="*/ 526256 h 1619250"/>
                      <a:gd name="connsiteX401" fmla="*/ 352837 w 1614899"/>
                      <a:gd name="connsiteY401" fmla="*/ 519112 h 1619250"/>
                      <a:gd name="connsiteX402" fmla="*/ 345693 w 1614899"/>
                      <a:gd name="connsiteY402" fmla="*/ 516731 h 1619250"/>
                      <a:gd name="connsiteX403" fmla="*/ 338549 w 1614899"/>
                      <a:gd name="connsiteY403" fmla="*/ 514350 h 1619250"/>
                      <a:gd name="connsiteX404" fmla="*/ 326643 w 1614899"/>
                      <a:gd name="connsiteY404" fmla="*/ 504825 h 1619250"/>
                      <a:gd name="connsiteX405" fmla="*/ 321881 w 1614899"/>
                      <a:gd name="connsiteY405" fmla="*/ 497681 h 1619250"/>
                      <a:gd name="connsiteX406" fmla="*/ 314737 w 1614899"/>
                      <a:gd name="connsiteY406" fmla="*/ 490537 h 1619250"/>
                      <a:gd name="connsiteX407" fmla="*/ 307593 w 1614899"/>
                      <a:gd name="connsiteY407" fmla="*/ 485775 h 1619250"/>
                      <a:gd name="connsiteX408" fmla="*/ 293306 w 1614899"/>
                      <a:gd name="connsiteY408" fmla="*/ 481012 h 1619250"/>
                      <a:gd name="connsiteX409" fmla="*/ 269493 w 1614899"/>
                      <a:gd name="connsiteY409" fmla="*/ 483394 h 1619250"/>
                      <a:gd name="connsiteX410" fmla="*/ 259968 w 1614899"/>
                      <a:gd name="connsiteY410" fmla="*/ 490537 h 1619250"/>
                      <a:gd name="connsiteX411" fmla="*/ 243299 w 1614899"/>
                      <a:gd name="connsiteY411" fmla="*/ 497681 h 1619250"/>
                      <a:gd name="connsiteX412" fmla="*/ 236156 w 1614899"/>
                      <a:gd name="connsiteY412" fmla="*/ 502444 h 1619250"/>
                      <a:gd name="connsiteX413" fmla="*/ 233774 w 1614899"/>
                      <a:gd name="connsiteY413" fmla="*/ 509587 h 1619250"/>
                      <a:gd name="connsiteX414" fmla="*/ 231393 w 1614899"/>
                      <a:gd name="connsiteY414" fmla="*/ 519112 h 1619250"/>
                      <a:gd name="connsiteX415" fmla="*/ 224249 w 1614899"/>
                      <a:gd name="connsiteY415" fmla="*/ 521494 h 1619250"/>
                      <a:gd name="connsiteX416" fmla="*/ 209962 w 1614899"/>
                      <a:gd name="connsiteY416" fmla="*/ 528637 h 1619250"/>
                      <a:gd name="connsiteX417" fmla="*/ 200437 w 1614899"/>
                      <a:gd name="connsiteY417" fmla="*/ 542925 h 1619250"/>
                      <a:gd name="connsiteX418" fmla="*/ 195674 w 1614899"/>
                      <a:gd name="connsiteY418" fmla="*/ 557212 h 1619250"/>
                      <a:gd name="connsiteX419" fmla="*/ 188531 w 1614899"/>
                      <a:gd name="connsiteY419" fmla="*/ 559594 h 1619250"/>
                      <a:gd name="connsiteX420" fmla="*/ 176624 w 1614899"/>
                      <a:gd name="connsiteY420" fmla="*/ 564356 h 1619250"/>
                      <a:gd name="connsiteX421" fmla="*/ 164718 w 1614899"/>
                      <a:gd name="connsiteY421" fmla="*/ 566737 h 1619250"/>
                      <a:gd name="connsiteX422" fmla="*/ 157574 w 1614899"/>
                      <a:gd name="connsiteY422" fmla="*/ 569119 h 1619250"/>
                      <a:gd name="connsiteX423" fmla="*/ 148049 w 1614899"/>
                      <a:gd name="connsiteY423" fmla="*/ 571500 h 1619250"/>
                      <a:gd name="connsiteX424" fmla="*/ 140906 w 1614899"/>
                      <a:gd name="connsiteY424" fmla="*/ 573881 h 1619250"/>
                      <a:gd name="connsiteX425" fmla="*/ 121856 w 1614899"/>
                      <a:gd name="connsiteY425" fmla="*/ 576262 h 1619250"/>
                      <a:gd name="connsiteX426" fmla="*/ 119474 w 1614899"/>
                      <a:gd name="connsiteY426" fmla="*/ 571500 h 1619250"/>
                      <a:gd name="connsiteX427" fmla="*/ 128999 w 1614899"/>
                      <a:gd name="connsiteY427" fmla="*/ 557212 h 1619250"/>
                      <a:gd name="connsiteX428" fmla="*/ 131381 w 1614899"/>
                      <a:gd name="connsiteY428" fmla="*/ 550069 h 1619250"/>
                      <a:gd name="connsiteX429" fmla="*/ 140906 w 1614899"/>
                      <a:gd name="connsiteY429" fmla="*/ 535781 h 1619250"/>
                      <a:gd name="connsiteX430" fmla="*/ 133762 w 1614899"/>
                      <a:gd name="connsiteY430" fmla="*/ 533400 h 1619250"/>
                      <a:gd name="connsiteX431" fmla="*/ 128999 w 1614899"/>
                      <a:gd name="connsiteY431" fmla="*/ 516731 h 1619250"/>
                      <a:gd name="connsiteX432" fmla="*/ 69468 w 1614899"/>
                      <a:gd name="connsiteY432" fmla="*/ 514350 h 1619250"/>
                      <a:gd name="connsiteX433" fmla="*/ 67087 w 1614899"/>
                      <a:gd name="connsiteY433" fmla="*/ 507206 h 1619250"/>
                      <a:gd name="connsiteX434" fmla="*/ 52799 w 1614899"/>
                      <a:gd name="connsiteY434" fmla="*/ 497681 h 1619250"/>
                      <a:gd name="connsiteX435" fmla="*/ 55181 w 1614899"/>
                      <a:gd name="connsiteY435" fmla="*/ 488156 h 1619250"/>
                      <a:gd name="connsiteX436" fmla="*/ 40893 w 1614899"/>
                      <a:gd name="connsiteY436" fmla="*/ 483394 h 1619250"/>
                      <a:gd name="connsiteX437" fmla="*/ 38512 w 1614899"/>
                      <a:gd name="connsiteY437" fmla="*/ 471487 h 1619250"/>
                      <a:gd name="connsiteX438" fmla="*/ 36131 w 1614899"/>
                      <a:gd name="connsiteY438" fmla="*/ 464344 h 1619250"/>
                      <a:gd name="connsiteX439" fmla="*/ 38512 w 1614899"/>
                      <a:gd name="connsiteY439" fmla="*/ 452437 h 1619250"/>
                      <a:gd name="connsiteX440" fmla="*/ 38512 w 1614899"/>
                      <a:gd name="connsiteY440" fmla="*/ 428625 h 1619250"/>
                      <a:gd name="connsiteX441" fmla="*/ 45656 w 1614899"/>
                      <a:gd name="connsiteY441" fmla="*/ 426244 h 1619250"/>
                      <a:gd name="connsiteX442" fmla="*/ 52799 w 1614899"/>
                      <a:gd name="connsiteY442" fmla="*/ 421481 h 1619250"/>
                      <a:gd name="connsiteX443" fmla="*/ 59943 w 1614899"/>
                      <a:gd name="connsiteY443" fmla="*/ 419100 h 1619250"/>
                      <a:gd name="connsiteX444" fmla="*/ 64706 w 1614899"/>
                      <a:gd name="connsiteY444" fmla="*/ 411956 h 1619250"/>
                      <a:gd name="connsiteX445" fmla="*/ 55181 w 1614899"/>
                      <a:gd name="connsiteY445" fmla="*/ 392906 h 1619250"/>
                      <a:gd name="connsiteX446" fmla="*/ 40893 w 1614899"/>
                      <a:gd name="connsiteY446" fmla="*/ 388144 h 1619250"/>
                      <a:gd name="connsiteX447" fmla="*/ 33749 w 1614899"/>
                      <a:gd name="connsiteY447" fmla="*/ 390525 h 1619250"/>
                      <a:gd name="connsiteX448" fmla="*/ 28987 w 1614899"/>
                      <a:gd name="connsiteY448" fmla="*/ 390525 h 1619250"/>
                      <a:gd name="connsiteX449" fmla="*/ 21843 w 1614899"/>
                      <a:gd name="connsiteY449" fmla="*/ 388144 h 1619250"/>
                      <a:gd name="connsiteX450" fmla="*/ 14699 w 1614899"/>
                      <a:gd name="connsiteY450" fmla="*/ 364331 h 1619250"/>
                      <a:gd name="connsiteX451" fmla="*/ 2793 w 1614899"/>
                      <a:gd name="connsiteY451" fmla="*/ 361950 h 1619250"/>
                      <a:gd name="connsiteX452" fmla="*/ 2793 w 1614899"/>
                      <a:gd name="connsiteY452" fmla="*/ 345281 h 1619250"/>
                      <a:gd name="connsiteX453" fmla="*/ 17081 w 1614899"/>
                      <a:gd name="connsiteY453" fmla="*/ 340519 h 1619250"/>
                      <a:gd name="connsiteX454" fmla="*/ 24224 w 1614899"/>
                      <a:gd name="connsiteY454" fmla="*/ 347662 h 1619250"/>
                      <a:gd name="connsiteX455" fmla="*/ 40893 w 1614899"/>
                      <a:gd name="connsiteY455" fmla="*/ 342900 h 1619250"/>
                      <a:gd name="connsiteX456" fmla="*/ 57562 w 1614899"/>
                      <a:gd name="connsiteY456" fmla="*/ 333375 h 1619250"/>
                      <a:gd name="connsiteX457" fmla="*/ 64706 w 1614899"/>
                      <a:gd name="connsiteY457" fmla="*/ 328612 h 1619250"/>
                      <a:gd name="connsiteX458" fmla="*/ 71849 w 1614899"/>
                      <a:gd name="connsiteY458" fmla="*/ 326231 h 1619250"/>
                      <a:gd name="connsiteX459" fmla="*/ 90899 w 1614899"/>
                      <a:gd name="connsiteY459" fmla="*/ 321469 h 1619250"/>
                      <a:gd name="connsiteX460" fmla="*/ 86137 w 1614899"/>
                      <a:gd name="connsiteY460" fmla="*/ 311944 h 1619250"/>
                      <a:gd name="connsiteX461" fmla="*/ 88518 w 1614899"/>
                      <a:gd name="connsiteY461" fmla="*/ 292894 h 1619250"/>
                      <a:gd name="connsiteX462" fmla="*/ 90899 w 1614899"/>
                      <a:gd name="connsiteY462" fmla="*/ 285750 h 1619250"/>
                      <a:gd name="connsiteX463" fmla="*/ 76612 w 1614899"/>
                      <a:gd name="connsiteY463" fmla="*/ 280987 h 1619250"/>
                      <a:gd name="connsiteX464" fmla="*/ 71849 w 1614899"/>
                      <a:gd name="connsiteY464" fmla="*/ 273844 h 1619250"/>
                      <a:gd name="connsiteX465" fmla="*/ 67087 w 1614899"/>
                      <a:gd name="connsiteY465" fmla="*/ 250031 h 1619250"/>
                      <a:gd name="connsiteX466" fmla="*/ 45656 w 1614899"/>
                      <a:gd name="connsiteY466" fmla="*/ 250031 h 1619250"/>
                      <a:gd name="connsiteX467" fmla="*/ 40893 w 1614899"/>
                      <a:gd name="connsiteY467" fmla="*/ 242887 h 1619250"/>
                      <a:gd name="connsiteX468" fmla="*/ 43274 w 1614899"/>
                      <a:gd name="connsiteY468" fmla="*/ 223837 h 1619250"/>
                      <a:gd name="connsiteX469" fmla="*/ 57562 w 1614899"/>
                      <a:gd name="connsiteY469" fmla="*/ 211931 h 1619250"/>
                      <a:gd name="connsiteX470" fmla="*/ 74231 w 1614899"/>
                      <a:gd name="connsiteY470" fmla="*/ 200025 h 1619250"/>
                      <a:gd name="connsiteX471" fmla="*/ 81374 w 1614899"/>
                      <a:gd name="connsiteY471" fmla="*/ 202406 h 1619250"/>
                      <a:gd name="connsiteX472" fmla="*/ 83756 w 1614899"/>
                      <a:gd name="connsiteY472" fmla="*/ 209550 h 1619250"/>
                      <a:gd name="connsiteX473" fmla="*/ 102806 w 1614899"/>
                      <a:gd name="connsiteY473" fmla="*/ 204787 h 1619250"/>
                      <a:gd name="connsiteX474" fmla="*/ 109949 w 1614899"/>
                      <a:gd name="connsiteY474" fmla="*/ 200025 h 1619250"/>
                      <a:gd name="connsiteX475" fmla="*/ 119474 w 1614899"/>
                      <a:gd name="connsiteY475" fmla="*/ 197644 h 1619250"/>
                      <a:gd name="connsiteX476" fmla="*/ 133762 w 1614899"/>
                      <a:gd name="connsiteY476" fmla="*/ 192881 h 1619250"/>
                      <a:gd name="connsiteX477" fmla="*/ 140906 w 1614899"/>
                      <a:gd name="connsiteY477" fmla="*/ 190500 h 1619250"/>
                      <a:gd name="connsiteX478" fmla="*/ 148049 w 1614899"/>
                      <a:gd name="connsiteY478" fmla="*/ 195262 h 1619250"/>
                      <a:gd name="connsiteX479" fmla="*/ 155193 w 1614899"/>
                      <a:gd name="connsiteY479" fmla="*/ 204787 h 1619250"/>
                      <a:gd name="connsiteX480" fmla="*/ 164718 w 1614899"/>
                      <a:gd name="connsiteY480" fmla="*/ 202406 h 1619250"/>
                      <a:gd name="connsiteX481" fmla="*/ 190912 w 1614899"/>
                      <a:gd name="connsiteY481" fmla="*/ 200025 h 1619250"/>
                      <a:gd name="connsiteX482" fmla="*/ 193293 w 1614899"/>
                      <a:gd name="connsiteY482" fmla="*/ 192881 h 1619250"/>
                      <a:gd name="connsiteX483" fmla="*/ 198056 w 1614899"/>
                      <a:gd name="connsiteY483" fmla="*/ 185737 h 1619250"/>
                      <a:gd name="connsiteX484" fmla="*/ 195674 w 1614899"/>
                      <a:gd name="connsiteY484" fmla="*/ 178594 h 1619250"/>
                      <a:gd name="connsiteX485" fmla="*/ 186149 w 1614899"/>
                      <a:gd name="connsiteY485" fmla="*/ 159544 h 1619250"/>
                      <a:gd name="connsiteX486" fmla="*/ 217106 w 1614899"/>
                      <a:gd name="connsiteY486" fmla="*/ 152400 h 1619250"/>
                      <a:gd name="connsiteX487" fmla="*/ 209962 w 1614899"/>
                      <a:gd name="connsiteY487" fmla="*/ 145256 h 1619250"/>
                      <a:gd name="connsiteX488" fmla="*/ 202818 w 1614899"/>
                      <a:gd name="connsiteY488" fmla="*/ 140494 h 1619250"/>
                      <a:gd name="connsiteX489" fmla="*/ 212343 w 1614899"/>
                      <a:gd name="connsiteY489" fmla="*/ 133350 h 1619250"/>
                      <a:gd name="connsiteX490" fmla="*/ 233774 w 1614899"/>
                      <a:gd name="connsiteY490" fmla="*/ 123825 h 1619250"/>
                      <a:gd name="connsiteX491" fmla="*/ 238537 w 1614899"/>
                      <a:gd name="connsiteY491" fmla="*/ 116681 h 1619250"/>
                      <a:gd name="connsiteX492" fmla="*/ 240918 w 1614899"/>
                      <a:gd name="connsiteY492" fmla="*/ 107156 h 1619250"/>
                      <a:gd name="connsiteX493" fmla="*/ 248062 w 1614899"/>
                      <a:gd name="connsiteY493" fmla="*/ 109537 h 1619250"/>
                      <a:gd name="connsiteX494" fmla="*/ 250443 w 1614899"/>
                      <a:gd name="connsiteY494" fmla="*/ 116681 h 1619250"/>
                      <a:gd name="connsiteX495" fmla="*/ 252824 w 1614899"/>
                      <a:gd name="connsiteY495" fmla="*/ 130969 h 1619250"/>
                      <a:gd name="connsiteX496" fmla="*/ 269493 w 1614899"/>
                      <a:gd name="connsiteY496" fmla="*/ 138112 h 1619250"/>
                      <a:gd name="connsiteX497" fmla="*/ 271874 w 1614899"/>
                      <a:gd name="connsiteY497" fmla="*/ 145256 h 1619250"/>
                      <a:gd name="connsiteX498" fmla="*/ 264731 w 1614899"/>
                      <a:gd name="connsiteY498" fmla="*/ 152400 h 1619250"/>
                      <a:gd name="connsiteX499" fmla="*/ 262349 w 1614899"/>
                      <a:gd name="connsiteY499" fmla="*/ 159544 h 1619250"/>
                      <a:gd name="connsiteX500" fmla="*/ 264731 w 1614899"/>
                      <a:gd name="connsiteY500" fmla="*/ 173831 h 1619250"/>
                      <a:gd name="connsiteX501" fmla="*/ 274256 w 1614899"/>
                      <a:gd name="connsiteY501" fmla="*/ 176212 h 1619250"/>
                      <a:gd name="connsiteX502" fmla="*/ 295687 w 1614899"/>
                      <a:gd name="connsiteY502" fmla="*/ 178594 h 1619250"/>
                      <a:gd name="connsiteX503" fmla="*/ 293306 w 1614899"/>
                      <a:gd name="connsiteY503" fmla="*/ 185737 h 1619250"/>
                      <a:gd name="connsiteX504" fmla="*/ 295687 w 1614899"/>
                      <a:gd name="connsiteY504" fmla="*/ 200025 h 1619250"/>
                      <a:gd name="connsiteX505" fmla="*/ 302831 w 1614899"/>
                      <a:gd name="connsiteY505" fmla="*/ 216694 h 1619250"/>
                      <a:gd name="connsiteX506" fmla="*/ 307593 w 1614899"/>
                      <a:gd name="connsiteY506" fmla="*/ 223837 h 1619250"/>
                      <a:gd name="connsiteX507" fmla="*/ 314737 w 1614899"/>
                      <a:gd name="connsiteY507" fmla="*/ 228600 h 1619250"/>
                      <a:gd name="connsiteX508" fmla="*/ 326643 w 1614899"/>
                      <a:gd name="connsiteY508" fmla="*/ 226219 h 1619250"/>
                      <a:gd name="connsiteX509" fmla="*/ 321881 w 1614899"/>
                      <a:gd name="connsiteY509" fmla="*/ 200025 h 1619250"/>
                      <a:gd name="connsiteX510" fmla="*/ 314737 w 1614899"/>
                      <a:gd name="connsiteY510" fmla="*/ 197644 h 1619250"/>
                      <a:gd name="connsiteX511" fmla="*/ 324262 w 1614899"/>
                      <a:gd name="connsiteY511" fmla="*/ 180975 h 1619250"/>
                      <a:gd name="connsiteX512" fmla="*/ 329024 w 1614899"/>
                      <a:gd name="connsiteY512" fmla="*/ 173831 h 1619250"/>
                      <a:gd name="connsiteX513" fmla="*/ 343312 w 1614899"/>
                      <a:gd name="connsiteY513" fmla="*/ 159544 h 1619250"/>
                      <a:gd name="connsiteX514" fmla="*/ 348074 w 1614899"/>
                      <a:gd name="connsiteY514" fmla="*/ 145256 h 1619250"/>
                      <a:gd name="connsiteX515" fmla="*/ 350456 w 1614899"/>
                      <a:gd name="connsiteY515" fmla="*/ 114300 h 1619250"/>
                      <a:gd name="connsiteX516" fmla="*/ 357599 w 1614899"/>
                      <a:gd name="connsiteY516" fmla="*/ 111919 h 1619250"/>
                      <a:gd name="connsiteX517" fmla="*/ 364743 w 1614899"/>
                      <a:gd name="connsiteY517" fmla="*/ 114300 h 1619250"/>
                      <a:gd name="connsiteX518" fmla="*/ 371887 w 1614899"/>
                      <a:gd name="connsiteY518" fmla="*/ 114300 h 1619250"/>
                      <a:gd name="connsiteX519" fmla="*/ 381412 w 1614899"/>
                      <a:gd name="connsiteY519" fmla="*/ 138112 h 1619250"/>
                      <a:gd name="connsiteX520" fmla="*/ 395699 w 1614899"/>
                      <a:gd name="connsiteY520" fmla="*/ 150019 h 1619250"/>
                      <a:gd name="connsiteX521" fmla="*/ 409987 w 1614899"/>
                      <a:gd name="connsiteY521" fmla="*/ 147637 h 1619250"/>
                      <a:gd name="connsiteX522" fmla="*/ 412368 w 1614899"/>
                      <a:gd name="connsiteY522" fmla="*/ 133350 h 1619250"/>
                      <a:gd name="connsiteX523" fmla="*/ 426656 w 1614899"/>
                      <a:gd name="connsiteY523" fmla="*/ 128587 h 1619250"/>
                      <a:gd name="connsiteX524" fmla="*/ 433799 w 1614899"/>
                      <a:gd name="connsiteY524" fmla="*/ 142875 h 1619250"/>
                      <a:gd name="connsiteX525" fmla="*/ 448087 w 1614899"/>
                      <a:gd name="connsiteY525" fmla="*/ 161925 h 1619250"/>
                      <a:gd name="connsiteX526" fmla="*/ 464756 w 1614899"/>
                      <a:gd name="connsiteY526" fmla="*/ 159544 h 1619250"/>
                      <a:gd name="connsiteX527" fmla="*/ 452849 w 1614899"/>
                      <a:gd name="connsiteY527" fmla="*/ 138112 h 1619250"/>
                      <a:gd name="connsiteX528" fmla="*/ 450468 w 1614899"/>
                      <a:gd name="connsiteY528" fmla="*/ 111919 h 1619250"/>
                      <a:gd name="connsiteX529" fmla="*/ 443324 w 1614899"/>
                      <a:gd name="connsiteY529" fmla="*/ 107156 h 1619250"/>
                      <a:gd name="connsiteX530" fmla="*/ 440943 w 1614899"/>
                      <a:gd name="connsiteY530" fmla="*/ 100012 h 1619250"/>
                      <a:gd name="connsiteX531" fmla="*/ 450468 w 1614899"/>
                      <a:gd name="connsiteY531" fmla="*/ 88106 h 1619250"/>
                      <a:gd name="connsiteX532" fmla="*/ 476662 w 1614899"/>
                      <a:gd name="connsiteY532" fmla="*/ 90487 h 1619250"/>
                      <a:gd name="connsiteX533" fmla="*/ 486187 w 1614899"/>
                      <a:gd name="connsiteY533" fmla="*/ 92869 h 1619250"/>
                      <a:gd name="connsiteX534" fmla="*/ 493331 w 1614899"/>
                      <a:gd name="connsiteY534" fmla="*/ 97631 h 1619250"/>
                      <a:gd name="connsiteX535" fmla="*/ 502856 w 1614899"/>
                      <a:gd name="connsiteY535" fmla="*/ 95250 h 1619250"/>
                      <a:gd name="connsiteX536" fmla="*/ 509999 w 1614899"/>
                      <a:gd name="connsiteY536" fmla="*/ 90487 h 1619250"/>
                      <a:gd name="connsiteX537" fmla="*/ 507618 w 1614899"/>
                      <a:gd name="connsiteY537" fmla="*/ 83344 h 1619250"/>
                      <a:gd name="connsiteX538" fmla="*/ 500474 w 1614899"/>
                      <a:gd name="connsiteY538" fmla="*/ 80962 h 1619250"/>
                      <a:gd name="connsiteX539" fmla="*/ 493331 w 1614899"/>
                      <a:gd name="connsiteY539" fmla="*/ 76200 h 1619250"/>
                      <a:gd name="connsiteX540" fmla="*/ 495712 w 1614899"/>
                      <a:gd name="connsiteY540"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19549 w 1614899"/>
                      <a:gd name="connsiteY86" fmla="*/ 328612 h 1619250"/>
                      <a:gd name="connsiteX87" fmla="*/ 714787 w 1614899"/>
                      <a:gd name="connsiteY87" fmla="*/ 335756 h 1619250"/>
                      <a:gd name="connsiteX88" fmla="*/ 717168 w 1614899"/>
                      <a:gd name="connsiteY88" fmla="*/ 342900 h 1619250"/>
                      <a:gd name="connsiteX89" fmla="*/ 721931 w 1614899"/>
                      <a:gd name="connsiteY89" fmla="*/ 347662 h 1619250"/>
                      <a:gd name="connsiteX90" fmla="*/ 733837 w 1614899"/>
                      <a:gd name="connsiteY90" fmla="*/ 357187 h 1619250"/>
                      <a:gd name="connsiteX91" fmla="*/ 740981 w 1614899"/>
                      <a:gd name="connsiteY91" fmla="*/ 354806 h 1619250"/>
                      <a:gd name="connsiteX92" fmla="*/ 755268 w 1614899"/>
                      <a:gd name="connsiteY92" fmla="*/ 350044 h 1619250"/>
                      <a:gd name="connsiteX93" fmla="*/ 752887 w 1614899"/>
                      <a:gd name="connsiteY93" fmla="*/ 359569 h 1619250"/>
                      <a:gd name="connsiteX94" fmla="*/ 755268 w 1614899"/>
                      <a:gd name="connsiteY94" fmla="*/ 371475 h 1619250"/>
                      <a:gd name="connsiteX95" fmla="*/ 762412 w 1614899"/>
                      <a:gd name="connsiteY95" fmla="*/ 373856 h 1619250"/>
                      <a:gd name="connsiteX96" fmla="*/ 745743 w 1614899"/>
                      <a:gd name="connsiteY96" fmla="*/ 390525 h 1619250"/>
                      <a:gd name="connsiteX97" fmla="*/ 750506 w 1614899"/>
                      <a:gd name="connsiteY97" fmla="*/ 397669 h 1619250"/>
                      <a:gd name="connsiteX98" fmla="*/ 745743 w 1614899"/>
                      <a:gd name="connsiteY98" fmla="*/ 411956 h 1619250"/>
                      <a:gd name="connsiteX99" fmla="*/ 731456 w 1614899"/>
                      <a:gd name="connsiteY99" fmla="*/ 404812 h 1619250"/>
                      <a:gd name="connsiteX100" fmla="*/ 724312 w 1614899"/>
                      <a:gd name="connsiteY100" fmla="*/ 409575 h 1619250"/>
                      <a:gd name="connsiteX101" fmla="*/ 721931 w 1614899"/>
                      <a:gd name="connsiteY101" fmla="*/ 416719 h 1619250"/>
                      <a:gd name="connsiteX102" fmla="*/ 736218 w 1614899"/>
                      <a:gd name="connsiteY102" fmla="*/ 426244 h 1619250"/>
                      <a:gd name="connsiteX103" fmla="*/ 731456 w 1614899"/>
                      <a:gd name="connsiteY103" fmla="*/ 442912 h 1619250"/>
                      <a:gd name="connsiteX104" fmla="*/ 729074 w 1614899"/>
                      <a:gd name="connsiteY104" fmla="*/ 450056 h 1619250"/>
                      <a:gd name="connsiteX105" fmla="*/ 731456 w 1614899"/>
                      <a:gd name="connsiteY105" fmla="*/ 481012 h 1619250"/>
                      <a:gd name="connsiteX106" fmla="*/ 736218 w 1614899"/>
                      <a:gd name="connsiteY106" fmla="*/ 488156 h 1619250"/>
                      <a:gd name="connsiteX107" fmla="*/ 743362 w 1614899"/>
                      <a:gd name="connsiteY107" fmla="*/ 509587 h 1619250"/>
                      <a:gd name="connsiteX108" fmla="*/ 745743 w 1614899"/>
                      <a:gd name="connsiteY108" fmla="*/ 516731 h 1619250"/>
                      <a:gd name="connsiteX109" fmla="*/ 760031 w 1614899"/>
                      <a:gd name="connsiteY109" fmla="*/ 526256 h 1619250"/>
                      <a:gd name="connsiteX110" fmla="*/ 764793 w 1614899"/>
                      <a:gd name="connsiteY110" fmla="*/ 533400 h 1619250"/>
                      <a:gd name="connsiteX111" fmla="*/ 769556 w 1614899"/>
                      <a:gd name="connsiteY111" fmla="*/ 547687 h 1619250"/>
                      <a:gd name="connsiteX112" fmla="*/ 769556 w 1614899"/>
                      <a:gd name="connsiteY112" fmla="*/ 542925 h 1619250"/>
                      <a:gd name="connsiteX113" fmla="*/ 776699 w 1614899"/>
                      <a:gd name="connsiteY113" fmla="*/ 550069 h 1619250"/>
                      <a:gd name="connsiteX114" fmla="*/ 793368 w 1614899"/>
                      <a:gd name="connsiteY114" fmla="*/ 552450 h 1619250"/>
                      <a:gd name="connsiteX115" fmla="*/ 807656 w 1614899"/>
                      <a:gd name="connsiteY115" fmla="*/ 557212 h 1619250"/>
                      <a:gd name="connsiteX116" fmla="*/ 814799 w 1614899"/>
                      <a:gd name="connsiteY116" fmla="*/ 559594 h 1619250"/>
                      <a:gd name="connsiteX117" fmla="*/ 821943 w 1614899"/>
                      <a:gd name="connsiteY117" fmla="*/ 566737 h 1619250"/>
                      <a:gd name="connsiteX118" fmla="*/ 829087 w 1614899"/>
                      <a:gd name="connsiteY118" fmla="*/ 569119 h 1619250"/>
                      <a:gd name="connsiteX119" fmla="*/ 836231 w 1614899"/>
                      <a:gd name="connsiteY119" fmla="*/ 573881 h 1619250"/>
                      <a:gd name="connsiteX120" fmla="*/ 843374 w 1614899"/>
                      <a:gd name="connsiteY120" fmla="*/ 588169 h 1619250"/>
                      <a:gd name="connsiteX121" fmla="*/ 852899 w 1614899"/>
                      <a:gd name="connsiteY121" fmla="*/ 597694 h 1619250"/>
                      <a:gd name="connsiteX122" fmla="*/ 902906 w 1614899"/>
                      <a:gd name="connsiteY122" fmla="*/ 604837 h 1619250"/>
                      <a:gd name="connsiteX123" fmla="*/ 914812 w 1614899"/>
                      <a:gd name="connsiteY123" fmla="*/ 626269 h 1619250"/>
                      <a:gd name="connsiteX124" fmla="*/ 919574 w 1614899"/>
                      <a:gd name="connsiteY124" fmla="*/ 633412 h 1619250"/>
                      <a:gd name="connsiteX125" fmla="*/ 919574 w 1614899"/>
                      <a:gd name="connsiteY125" fmla="*/ 671512 h 1619250"/>
                      <a:gd name="connsiteX126" fmla="*/ 926718 w 1614899"/>
                      <a:gd name="connsiteY126" fmla="*/ 676275 h 1619250"/>
                      <a:gd name="connsiteX127" fmla="*/ 933862 w 1614899"/>
                      <a:gd name="connsiteY127" fmla="*/ 690562 h 1619250"/>
                      <a:gd name="connsiteX128" fmla="*/ 936243 w 1614899"/>
                      <a:gd name="connsiteY128" fmla="*/ 702469 h 1619250"/>
                      <a:gd name="connsiteX129" fmla="*/ 943387 w 1614899"/>
                      <a:gd name="connsiteY129" fmla="*/ 709612 h 1619250"/>
                      <a:gd name="connsiteX130" fmla="*/ 945768 w 1614899"/>
                      <a:gd name="connsiteY130" fmla="*/ 723900 h 1619250"/>
                      <a:gd name="connsiteX131" fmla="*/ 955293 w 1614899"/>
                      <a:gd name="connsiteY131" fmla="*/ 738187 h 1619250"/>
                      <a:gd name="connsiteX132" fmla="*/ 964818 w 1614899"/>
                      <a:gd name="connsiteY132" fmla="*/ 752475 h 1619250"/>
                      <a:gd name="connsiteX133" fmla="*/ 967199 w 1614899"/>
                      <a:gd name="connsiteY133" fmla="*/ 759619 h 1619250"/>
                      <a:gd name="connsiteX134" fmla="*/ 974343 w 1614899"/>
                      <a:gd name="connsiteY134" fmla="*/ 769144 h 1619250"/>
                      <a:gd name="connsiteX135" fmla="*/ 979106 w 1614899"/>
                      <a:gd name="connsiteY135" fmla="*/ 783431 h 1619250"/>
                      <a:gd name="connsiteX136" fmla="*/ 981487 w 1614899"/>
                      <a:gd name="connsiteY136" fmla="*/ 790575 h 1619250"/>
                      <a:gd name="connsiteX137" fmla="*/ 991012 w 1614899"/>
                      <a:gd name="connsiteY137" fmla="*/ 804862 h 1619250"/>
                      <a:gd name="connsiteX138" fmla="*/ 998156 w 1614899"/>
                      <a:gd name="connsiteY138" fmla="*/ 819150 h 1619250"/>
                      <a:gd name="connsiteX139" fmla="*/ 1000537 w 1614899"/>
                      <a:gd name="connsiteY139" fmla="*/ 826294 h 1619250"/>
                      <a:gd name="connsiteX140" fmla="*/ 1007681 w 1614899"/>
                      <a:gd name="connsiteY140" fmla="*/ 828675 h 1619250"/>
                      <a:gd name="connsiteX141" fmla="*/ 1014824 w 1614899"/>
                      <a:gd name="connsiteY141" fmla="*/ 833437 h 1619250"/>
                      <a:gd name="connsiteX142" fmla="*/ 1029112 w 1614899"/>
                      <a:gd name="connsiteY142" fmla="*/ 838200 h 1619250"/>
                      <a:gd name="connsiteX143" fmla="*/ 1033874 w 1614899"/>
                      <a:gd name="connsiteY143" fmla="*/ 845344 h 1619250"/>
                      <a:gd name="connsiteX144" fmla="*/ 1048162 w 1614899"/>
                      <a:gd name="connsiteY144" fmla="*/ 857250 h 1619250"/>
                      <a:gd name="connsiteX145" fmla="*/ 1062449 w 1614899"/>
                      <a:gd name="connsiteY145" fmla="*/ 862012 h 1619250"/>
                      <a:gd name="connsiteX146" fmla="*/ 1079118 w 1614899"/>
                      <a:gd name="connsiteY146" fmla="*/ 883444 h 1619250"/>
                      <a:gd name="connsiteX147" fmla="*/ 1081499 w 1614899"/>
                      <a:gd name="connsiteY147" fmla="*/ 890587 h 1619250"/>
                      <a:gd name="connsiteX148" fmla="*/ 1095787 w 1614899"/>
                      <a:gd name="connsiteY148" fmla="*/ 883444 h 1619250"/>
                      <a:gd name="connsiteX149" fmla="*/ 1110074 w 1614899"/>
                      <a:gd name="connsiteY149" fmla="*/ 890587 h 1619250"/>
                      <a:gd name="connsiteX150" fmla="*/ 1121981 w 1614899"/>
                      <a:gd name="connsiteY150" fmla="*/ 902494 h 1619250"/>
                      <a:gd name="connsiteX151" fmla="*/ 1136268 w 1614899"/>
                      <a:gd name="connsiteY151" fmla="*/ 907256 h 1619250"/>
                      <a:gd name="connsiteX152" fmla="*/ 1176749 w 1614899"/>
                      <a:gd name="connsiteY152" fmla="*/ 904875 h 1619250"/>
                      <a:gd name="connsiteX153" fmla="*/ 1195799 w 1614899"/>
                      <a:gd name="connsiteY153" fmla="*/ 904875 h 1619250"/>
                      <a:gd name="connsiteX154" fmla="*/ 1207706 w 1614899"/>
                      <a:gd name="connsiteY154" fmla="*/ 912019 h 1619250"/>
                      <a:gd name="connsiteX155" fmla="*/ 1210087 w 1614899"/>
                      <a:gd name="connsiteY155" fmla="*/ 902494 h 1619250"/>
                      <a:gd name="connsiteX156" fmla="*/ 1219612 w 1614899"/>
                      <a:gd name="connsiteY156" fmla="*/ 900112 h 1619250"/>
                      <a:gd name="connsiteX157" fmla="*/ 1226756 w 1614899"/>
                      <a:gd name="connsiteY157" fmla="*/ 895350 h 1619250"/>
                      <a:gd name="connsiteX158" fmla="*/ 1241043 w 1614899"/>
                      <a:gd name="connsiteY158" fmla="*/ 890587 h 1619250"/>
                      <a:gd name="connsiteX159" fmla="*/ 1255331 w 1614899"/>
                      <a:gd name="connsiteY159" fmla="*/ 892969 h 1619250"/>
                      <a:gd name="connsiteX160" fmla="*/ 1260093 w 1614899"/>
                      <a:gd name="connsiteY160" fmla="*/ 900112 h 1619250"/>
                      <a:gd name="connsiteX161" fmla="*/ 1267237 w 1614899"/>
                      <a:gd name="connsiteY161" fmla="*/ 904875 h 1619250"/>
                      <a:gd name="connsiteX162" fmla="*/ 1271999 w 1614899"/>
                      <a:gd name="connsiteY162" fmla="*/ 919162 h 1619250"/>
                      <a:gd name="connsiteX163" fmla="*/ 1269618 w 1614899"/>
                      <a:gd name="connsiteY163" fmla="*/ 928687 h 1619250"/>
                      <a:gd name="connsiteX164" fmla="*/ 1262474 w 1614899"/>
                      <a:gd name="connsiteY164" fmla="*/ 933450 h 1619250"/>
                      <a:gd name="connsiteX165" fmla="*/ 1255331 w 1614899"/>
                      <a:gd name="connsiteY165" fmla="*/ 940594 h 1619250"/>
                      <a:gd name="connsiteX166" fmla="*/ 1248187 w 1614899"/>
                      <a:gd name="connsiteY166" fmla="*/ 942975 h 1619250"/>
                      <a:gd name="connsiteX167" fmla="*/ 1241043 w 1614899"/>
                      <a:gd name="connsiteY167" fmla="*/ 947737 h 1619250"/>
                      <a:gd name="connsiteX168" fmla="*/ 1226756 w 1614899"/>
                      <a:gd name="connsiteY168" fmla="*/ 954881 h 1619250"/>
                      <a:gd name="connsiteX169" fmla="*/ 1236281 w 1614899"/>
                      <a:gd name="connsiteY169" fmla="*/ 969169 h 1619250"/>
                      <a:gd name="connsiteX170" fmla="*/ 1241043 w 1614899"/>
                      <a:gd name="connsiteY170" fmla="*/ 983456 h 1619250"/>
                      <a:gd name="connsiteX171" fmla="*/ 1250568 w 1614899"/>
                      <a:gd name="connsiteY171" fmla="*/ 997744 h 1619250"/>
                      <a:gd name="connsiteX172" fmla="*/ 1262474 w 1614899"/>
                      <a:gd name="connsiteY172" fmla="*/ 997744 h 1619250"/>
                      <a:gd name="connsiteX173" fmla="*/ 1264856 w 1614899"/>
                      <a:gd name="connsiteY173" fmla="*/ 990600 h 1619250"/>
                      <a:gd name="connsiteX174" fmla="*/ 1283906 w 1614899"/>
                      <a:gd name="connsiteY174" fmla="*/ 995362 h 1619250"/>
                      <a:gd name="connsiteX175" fmla="*/ 1291049 w 1614899"/>
                      <a:gd name="connsiteY175" fmla="*/ 1000125 h 1619250"/>
                      <a:gd name="connsiteX176" fmla="*/ 1298193 w 1614899"/>
                      <a:gd name="connsiteY176" fmla="*/ 1002506 h 1619250"/>
                      <a:gd name="connsiteX177" fmla="*/ 1322006 w 1614899"/>
                      <a:gd name="connsiteY177" fmla="*/ 1007269 h 1619250"/>
                      <a:gd name="connsiteX178" fmla="*/ 1336293 w 1614899"/>
                      <a:gd name="connsiteY178" fmla="*/ 1012031 h 1619250"/>
                      <a:gd name="connsiteX179" fmla="*/ 1355343 w 1614899"/>
                      <a:gd name="connsiteY179" fmla="*/ 1016794 h 1619250"/>
                      <a:gd name="connsiteX180" fmla="*/ 1362487 w 1614899"/>
                      <a:gd name="connsiteY180" fmla="*/ 1023937 h 1619250"/>
                      <a:gd name="connsiteX181" fmla="*/ 1376774 w 1614899"/>
                      <a:gd name="connsiteY181" fmla="*/ 1028700 h 1619250"/>
                      <a:gd name="connsiteX182" fmla="*/ 1391062 w 1614899"/>
                      <a:gd name="connsiteY182" fmla="*/ 1033462 h 1619250"/>
                      <a:gd name="connsiteX183" fmla="*/ 1398206 w 1614899"/>
                      <a:gd name="connsiteY183" fmla="*/ 1035844 h 1619250"/>
                      <a:gd name="connsiteX184" fmla="*/ 1405349 w 1614899"/>
                      <a:gd name="connsiteY184" fmla="*/ 1038225 h 1619250"/>
                      <a:gd name="connsiteX185" fmla="*/ 1412493 w 1614899"/>
                      <a:gd name="connsiteY185" fmla="*/ 1042987 h 1619250"/>
                      <a:gd name="connsiteX186" fmla="*/ 1426781 w 1614899"/>
                      <a:gd name="connsiteY186" fmla="*/ 1050131 h 1619250"/>
                      <a:gd name="connsiteX187" fmla="*/ 1436306 w 1614899"/>
                      <a:gd name="connsiteY187" fmla="*/ 1062037 h 1619250"/>
                      <a:gd name="connsiteX188" fmla="*/ 1441068 w 1614899"/>
                      <a:gd name="connsiteY188" fmla="*/ 1069181 h 1619250"/>
                      <a:gd name="connsiteX189" fmla="*/ 1450593 w 1614899"/>
                      <a:gd name="connsiteY189" fmla="*/ 1071562 h 1619250"/>
                      <a:gd name="connsiteX190" fmla="*/ 1464881 w 1614899"/>
                      <a:gd name="connsiteY190" fmla="*/ 1076325 h 1619250"/>
                      <a:gd name="connsiteX191" fmla="*/ 1467262 w 1614899"/>
                      <a:gd name="connsiteY191" fmla="*/ 1083469 h 1619250"/>
                      <a:gd name="connsiteX192" fmla="*/ 1488693 w 1614899"/>
                      <a:gd name="connsiteY192" fmla="*/ 1092994 h 1619250"/>
                      <a:gd name="connsiteX193" fmla="*/ 1500599 w 1614899"/>
                      <a:gd name="connsiteY193" fmla="*/ 1095375 h 1619250"/>
                      <a:gd name="connsiteX194" fmla="*/ 1514887 w 1614899"/>
                      <a:gd name="connsiteY194" fmla="*/ 1097756 h 1619250"/>
                      <a:gd name="connsiteX195" fmla="*/ 1522031 w 1614899"/>
                      <a:gd name="connsiteY195" fmla="*/ 1100137 h 1619250"/>
                      <a:gd name="connsiteX196" fmla="*/ 1541081 w 1614899"/>
                      <a:gd name="connsiteY196" fmla="*/ 1104900 h 1619250"/>
                      <a:gd name="connsiteX197" fmla="*/ 1545843 w 1614899"/>
                      <a:gd name="connsiteY197" fmla="*/ 1112044 h 1619250"/>
                      <a:gd name="connsiteX198" fmla="*/ 1543462 w 1614899"/>
                      <a:gd name="connsiteY198" fmla="*/ 1119187 h 1619250"/>
                      <a:gd name="connsiteX199" fmla="*/ 1557749 w 1614899"/>
                      <a:gd name="connsiteY199" fmla="*/ 1128712 h 1619250"/>
                      <a:gd name="connsiteX200" fmla="*/ 1564893 w 1614899"/>
                      <a:gd name="connsiteY200" fmla="*/ 1133475 h 1619250"/>
                      <a:gd name="connsiteX201" fmla="*/ 1579181 w 1614899"/>
                      <a:gd name="connsiteY201" fmla="*/ 1147762 h 1619250"/>
                      <a:gd name="connsiteX202" fmla="*/ 1593468 w 1614899"/>
                      <a:gd name="connsiteY202" fmla="*/ 1152525 h 1619250"/>
                      <a:gd name="connsiteX203" fmla="*/ 1600612 w 1614899"/>
                      <a:gd name="connsiteY203" fmla="*/ 1154906 h 1619250"/>
                      <a:gd name="connsiteX204" fmla="*/ 1607756 w 1614899"/>
                      <a:gd name="connsiteY204" fmla="*/ 1162050 h 1619250"/>
                      <a:gd name="connsiteX205" fmla="*/ 1610137 w 1614899"/>
                      <a:gd name="connsiteY205" fmla="*/ 1169194 h 1619250"/>
                      <a:gd name="connsiteX206" fmla="*/ 1614899 w 1614899"/>
                      <a:gd name="connsiteY206" fmla="*/ 1176337 h 1619250"/>
                      <a:gd name="connsiteX207" fmla="*/ 1612518 w 1614899"/>
                      <a:gd name="connsiteY207" fmla="*/ 1195387 h 1619250"/>
                      <a:gd name="connsiteX208" fmla="*/ 1610137 w 1614899"/>
                      <a:gd name="connsiteY208" fmla="*/ 1202531 h 1619250"/>
                      <a:gd name="connsiteX209" fmla="*/ 1602993 w 1614899"/>
                      <a:gd name="connsiteY209" fmla="*/ 1204912 h 1619250"/>
                      <a:gd name="connsiteX210" fmla="*/ 1600612 w 1614899"/>
                      <a:gd name="connsiteY210" fmla="*/ 1212056 h 1619250"/>
                      <a:gd name="connsiteX211" fmla="*/ 1598231 w 1614899"/>
                      <a:gd name="connsiteY211" fmla="*/ 1247775 h 1619250"/>
                      <a:gd name="connsiteX212" fmla="*/ 1579181 w 1614899"/>
                      <a:gd name="connsiteY212" fmla="*/ 1245394 h 1619250"/>
                      <a:gd name="connsiteX213" fmla="*/ 1550606 w 1614899"/>
                      <a:gd name="connsiteY213" fmla="*/ 1231106 h 1619250"/>
                      <a:gd name="connsiteX214" fmla="*/ 1543462 w 1614899"/>
                      <a:gd name="connsiteY214" fmla="*/ 1226344 h 1619250"/>
                      <a:gd name="connsiteX215" fmla="*/ 1543462 w 1614899"/>
                      <a:gd name="connsiteY215" fmla="*/ 1197769 h 1619250"/>
                      <a:gd name="connsiteX216" fmla="*/ 1545843 w 1614899"/>
                      <a:gd name="connsiteY216" fmla="*/ 1183481 h 1619250"/>
                      <a:gd name="connsiteX217" fmla="*/ 1531556 w 1614899"/>
                      <a:gd name="connsiteY217" fmla="*/ 1176337 h 1619250"/>
                      <a:gd name="connsiteX218" fmla="*/ 1529174 w 1614899"/>
                      <a:gd name="connsiteY218" fmla="*/ 1169194 h 1619250"/>
                      <a:gd name="connsiteX219" fmla="*/ 1531556 w 1614899"/>
                      <a:gd name="connsiteY219" fmla="*/ 1152525 h 1619250"/>
                      <a:gd name="connsiteX220" fmla="*/ 1524412 w 1614899"/>
                      <a:gd name="connsiteY220" fmla="*/ 1154906 h 1619250"/>
                      <a:gd name="connsiteX221" fmla="*/ 1517268 w 1614899"/>
                      <a:gd name="connsiteY221" fmla="*/ 1159669 h 1619250"/>
                      <a:gd name="connsiteX222" fmla="*/ 1502981 w 1614899"/>
                      <a:gd name="connsiteY222" fmla="*/ 1164431 h 1619250"/>
                      <a:gd name="connsiteX223" fmla="*/ 1481549 w 1614899"/>
                      <a:gd name="connsiteY223" fmla="*/ 1169194 h 1619250"/>
                      <a:gd name="connsiteX224" fmla="*/ 1457737 w 1614899"/>
                      <a:gd name="connsiteY224" fmla="*/ 1164431 h 1619250"/>
                      <a:gd name="connsiteX225" fmla="*/ 1443449 w 1614899"/>
                      <a:gd name="connsiteY225" fmla="*/ 1154906 h 1619250"/>
                      <a:gd name="connsiteX226" fmla="*/ 1436306 w 1614899"/>
                      <a:gd name="connsiteY226" fmla="*/ 1150144 h 1619250"/>
                      <a:gd name="connsiteX227" fmla="*/ 1426781 w 1614899"/>
                      <a:gd name="connsiteY227" fmla="*/ 1140619 h 1619250"/>
                      <a:gd name="connsiteX228" fmla="*/ 1402968 w 1614899"/>
                      <a:gd name="connsiteY228" fmla="*/ 1138237 h 1619250"/>
                      <a:gd name="connsiteX229" fmla="*/ 1395824 w 1614899"/>
                      <a:gd name="connsiteY229" fmla="*/ 1145381 h 1619250"/>
                      <a:gd name="connsiteX230" fmla="*/ 1374393 w 1614899"/>
                      <a:gd name="connsiteY230" fmla="*/ 1162050 h 1619250"/>
                      <a:gd name="connsiteX231" fmla="*/ 1367249 w 1614899"/>
                      <a:gd name="connsiteY231" fmla="*/ 1188244 h 1619250"/>
                      <a:gd name="connsiteX232" fmla="*/ 1357724 w 1614899"/>
                      <a:gd name="connsiteY232" fmla="*/ 1202531 h 1619250"/>
                      <a:gd name="connsiteX233" fmla="*/ 1348199 w 1614899"/>
                      <a:gd name="connsiteY233" fmla="*/ 1212056 h 1619250"/>
                      <a:gd name="connsiteX234" fmla="*/ 1345818 w 1614899"/>
                      <a:gd name="connsiteY234" fmla="*/ 1219200 h 1619250"/>
                      <a:gd name="connsiteX235" fmla="*/ 1341056 w 1614899"/>
                      <a:gd name="connsiteY235" fmla="*/ 1228725 h 1619250"/>
                      <a:gd name="connsiteX236" fmla="*/ 1350581 w 1614899"/>
                      <a:gd name="connsiteY236" fmla="*/ 1243012 h 1619250"/>
                      <a:gd name="connsiteX237" fmla="*/ 1343437 w 1614899"/>
                      <a:gd name="connsiteY237" fmla="*/ 1266825 h 1619250"/>
                      <a:gd name="connsiteX238" fmla="*/ 1345818 w 1614899"/>
                      <a:gd name="connsiteY238" fmla="*/ 1281112 h 1619250"/>
                      <a:gd name="connsiteX239" fmla="*/ 1348199 w 1614899"/>
                      <a:gd name="connsiteY239" fmla="*/ 1290637 h 1619250"/>
                      <a:gd name="connsiteX240" fmla="*/ 1355343 w 1614899"/>
                      <a:gd name="connsiteY240" fmla="*/ 1297781 h 1619250"/>
                      <a:gd name="connsiteX241" fmla="*/ 1362487 w 1614899"/>
                      <a:gd name="connsiteY241" fmla="*/ 1300162 h 1619250"/>
                      <a:gd name="connsiteX242" fmla="*/ 1386299 w 1614899"/>
                      <a:gd name="connsiteY242" fmla="*/ 1302544 h 1619250"/>
                      <a:gd name="connsiteX243" fmla="*/ 1395824 w 1614899"/>
                      <a:gd name="connsiteY243" fmla="*/ 1309687 h 1619250"/>
                      <a:gd name="connsiteX244" fmla="*/ 1410112 w 1614899"/>
                      <a:gd name="connsiteY244" fmla="*/ 1314450 h 1619250"/>
                      <a:gd name="connsiteX245" fmla="*/ 1417256 w 1614899"/>
                      <a:gd name="connsiteY245" fmla="*/ 1319212 h 1619250"/>
                      <a:gd name="connsiteX246" fmla="*/ 1431543 w 1614899"/>
                      <a:gd name="connsiteY246" fmla="*/ 1326356 h 1619250"/>
                      <a:gd name="connsiteX247" fmla="*/ 1433924 w 1614899"/>
                      <a:gd name="connsiteY247" fmla="*/ 1333500 h 1619250"/>
                      <a:gd name="connsiteX248" fmla="*/ 1429162 w 1614899"/>
                      <a:gd name="connsiteY248" fmla="*/ 1340644 h 1619250"/>
                      <a:gd name="connsiteX249" fmla="*/ 1426781 w 1614899"/>
                      <a:gd name="connsiteY249" fmla="*/ 1347787 h 1619250"/>
                      <a:gd name="connsiteX250" fmla="*/ 1431543 w 1614899"/>
                      <a:gd name="connsiteY250" fmla="*/ 1354931 h 1619250"/>
                      <a:gd name="connsiteX251" fmla="*/ 1436306 w 1614899"/>
                      <a:gd name="connsiteY251" fmla="*/ 1364456 h 1619250"/>
                      <a:gd name="connsiteX252" fmla="*/ 1443449 w 1614899"/>
                      <a:gd name="connsiteY252" fmla="*/ 1395412 h 1619250"/>
                      <a:gd name="connsiteX253" fmla="*/ 1450593 w 1614899"/>
                      <a:gd name="connsiteY253" fmla="*/ 1402556 h 1619250"/>
                      <a:gd name="connsiteX254" fmla="*/ 1448212 w 1614899"/>
                      <a:gd name="connsiteY254" fmla="*/ 1412081 h 1619250"/>
                      <a:gd name="connsiteX255" fmla="*/ 1433924 w 1614899"/>
                      <a:gd name="connsiteY255" fmla="*/ 1416844 h 1619250"/>
                      <a:gd name="connsiteX256" fmla="*/ 1419637 w 1614899"/>
                      <a:gd name="connsiteY256" fmla="*/ 1423987 h 1619250"/>
                      <a:gd name="connsiteX257" fmla="*/ 1405349 w 1614899"/>
                      <a:gd name="connsiteY257" fmla="*/ 1431131 h 1619250"/>
                      <a:gd name="connsiteX258" fmla="*/ 1398206 w 1614899"/>
                      <a:gd name="connsiteY258" fmla="*/ 1435894 h 1619250"/>
                      <a:gd name="connsiteX259" fmla="*/ 1383918 w 1614899"/>
                      <a:gd name="connsiteY259" fmla="*/ 1440656 h 1619250"/>
                      <a:gd name="connsiteX260" fmla="*/ 1376774 w 1614899"/>
                      <a:gd name="connsiteY260" fmla="*/ 1443037 h 1619250"/>
                      <a:gd name="connsiteX261" fmla="*/ 1364868 w 1614899"/>
                      <a:gd name="connsiteY261" fmla="*/ 1464469 h 1619250"/>
                      <a:gd name="connsiteX262" fmla="*/ 1362487 w 1614899"/>
                      <a:gd name="connsiteY262" fmla="*/ 1473994 h 1619250"/>
                      <a:gd name="connsiteX263" fmla="*/ 1364868 w 1614899"/>
                      <a:gd name="connsiteY263" fmla="*/ 1497806 h 1619250"/>
                      <a:gd name="connsiteX264" fmla="*/ 1372012 w 1614899"/>
                      <a:gd name="connsiteY264" fmla="*/ 1500187 h 1619250"/>
                      <a:gd name="connsiteX265" fmla="*/ 1369631 w 1614899"/>
                      <a:gd name="connsiteY265" fmla="*/ 1516856 h 1619250"/>
                      <a:gd name="connsiteX266" fmla="*/ 1367249 w 1614899"/>
                      <a:gd name="connsiteY266" fmla="*/ 1524000 h 1619250"/>
                      <a:gd name="connsiteX267" fmla="*/ 1360106 w 1614899"/>
                      <a:gd name="connsiteY267" fmla="*/ 1526381 h 1619250"/>
                      <a:gd name="connsiteX268" fmla="*/ 1352962 w 1614899"/>
                      <a:gd name="connsiteY268" fmla="*/ 1531144 h 1619250"/>
                      <a:gd name="connsiteX269" fmla="*/ 1343437 w 1614899"/>
                      <a:gd name="connsiteY269" fmla="*/ 1535906 h 1619250"/>
                      <a:gd name="connsiteX270" fmla="*/ 1329149 w 1614899"/>
                      <a:gd name="connsiteY270" fmla="*/ 1550194 h 1619250"/>
                      <a:gd name="connsiteX271" fmla="*/ 1326768 w 1614899"/>
                      <a:gd name="connsiteY271" fmla="*/ 1559719 h 1619250"/>
                      <a:gd name="connsiteX272" fmla="*/ 1322006 w 1614899"/>
                      <a:gd name="connsiteY272" fmla="*/ 1566862 h 1619250"/>
                      <a:gd name="connsiteX273" fmla="*/ 1319624 w 1614899"/>
                      <a:gd name="connsiteY273" fmla="*/ 1578769 h 1619250"/>
                      <a:gd name="connsiteX274" fmla="*/ 1317243 w 1614899"/>
                      <a:gd name="connsiteY274" fmla="*/ 1585912 h 1619250"/>
                      <a:gd name="connsiteX275" fmla="*/ 1314862 w 1614899"/>
                      <a:gd name="connsiteY275" fmla="*/ 1602581 h 1619250"/>
                      <a:gd name="connsiteX276" fmla="*/ 1283906 w 1614899"/>
                      <a:gd name="connsiteY276" fmla="*/ 1614487 h 1619250"/>
                      <a:gd name="connsiteX277" fmla="*/ 1274381 w 1614899"/>
                      <a:gd name="connsiteY277" fmla="*/ 1616869 h 1619250"/>
                      <a:gd name="connsiteX278" fmla="*/ 1260093 w 1614899"/>
                      <a:gd name="connsiteY278" fmla="*/ 1619250 h 1619250"/>
                      <a:gd name="connsiteX279" fmla="*/ 1248187 w 1614899"/>
                      <a:gd name="connsiteY279" fmla="*/ 1616869 h 1619250"/>
                      <a:gd name="connsiteX280" fmla="*/ 1243424 w 1614899"/>
                      <a:gd name="connsiteY280" fmla="*/ 1597819 h 1619250"/>
                      <a:gd name="connsiteX281" fmla="*/ 1238662 w 1614899"/>
                      <a:gd name="connsiteY281" fmla="*/ 1581150 h 1619250"/>
                      <a:gd name="connsiteX282" fmla="*/ 1243424 w 1614899"/>
                      <a:gd name="connsiteY282" fmla="*/ 1566862 h 1619250"/>
                      <a:gd name="connsiteX283" fmla="*/ 1252949 w 1614899"/>
                      <a:gd name="connsiteY283" fmla="*/ 1552575 h 1619250"/>
                      <a:gd name="connsiteX284" fmla="*/ 1260093 w 1614899"/>
                      <a:gd name="connsiteY284" fmla="*/ 1550194 h 1619250"/>
                      <a:gd name="connsiteX285" fmla="*/ 1267237 w 1614899"/>
                      <a:gd name="connsiteY285" fmla="*/ 1543050 h 1619250"/>
                      <a:gd name="connsiteX286" fmla="*/ 1269618 w 1614899"/>
                      <a:gd name="connsiteY286" fmla="*/ 1535906 h 1619250"/>
                      <a:gd name="connsiteX287" fmla="*/ 1274381 w 1614899"/>
                      <a:gd name="connsiteY287" fmla="*/ 1526381 h 1619250"/>
                      <a:gd name="connsiteX288" fmla="*/ 1267237 w 1614899"/>
                      <a:gd name="connsiteY288" fmla="*/ 1502569 h 1619250"/>
                      <a:gd name="connsiteX289" fmla="*/ 1252949 w 1614899"/>
                      <a:gd name="connsiteY289" fmla="*/ 1493044 h 1619250"/>
                      <a:gd name="connsiteX290" fmla="*/ 1262474 w 1614899"/>
                      <a:gd name="connsiteY290" fmla="*/ 1478756 h 1619250"/>
                      <a:gd name="connsiteX291" fmla="*/ 1279143 w 1614899"/>
                      <a:gd name="connsiteY291" fmla="*/ 1462087 h 1619250"/>
                      <a:gd name="connsiteX292" fmla="*/ 1302956 w 1614899"/>
                      <a:gd name="connsiteY292" fmla="*/ 1459706 h 1619250"/>
                      <a:gd name="connsiteX293" fmla="*/ 1305337 w 1614899"/>
                      <a:gd name="connsiteY293" fmla="*/ 1450181 h 1619250"/>
                      <a:gd name="connsiteX294" fmla="*/ 1310099 w 1614899"/>
                      <a:gd name="connsiteY294" fmla="*/ 1443037 h 1619250"/>
                      <a:gd name="connsiteX295" fmla="*/ 1312481 w 1614899"/>
                      <a:gd name="connsiteY295" fmla="*/ 1435894 h 1619250"/>
                      <a:gd name="connsiteX296" fmla="*/ 1305337 w 1614899"/>
                      <a:gd name="connsiteY296" fmla="*/ 1428750 h 1619250"/>
                      <a:gd name="connsiteX297" fmla="*/ 1298193 w 1614899"/>
                      <a:gd name="connsiteY297" fmla="*/ 1423987 h 1619250"/>
                      <a:gd name="connsiteX298" fmla="*/ 1295812 w 1614899"/>
                      <a:gd name="connsiteY298" fmla="*/ 1412081 h 1619250"/>
                      <a:gd name="connsiteX299" fmla="*/ 1293431 w 1614899"/>
                      <a:gd name="connsiteY299" fmla="*/ 1402556 h 1619250"/>
                      <a:gd name="connsiteX300" fmla="*/ 1288668 w 1614899"/>
                      <a:gd name="connsiteY300" fmla="*/ 1369219 h 1619250"/>
                      <a:gd name="connsiteX301" fmla="*/ 1286287 w 1614899"/>
                      <a:gd name="connsiteY301" fmla="*/ 1362075 h 1619250"/>
                      <a:gd name="connsiteX302" fmla="*/ 1276762 w 1614899"/>
                      <a:gd name="connsiteY302" fmla="*/ 1345406 h 1619250"/>
                      <a:gd name="connsiteX303" fmla="*/ 1267237 w 1614899"/>
                      <a:gd name="connsiteY303" fmla="*/ 1343025 h 1619250"/>
                      <a:gd name="connsiteX304" fmla="*/ 1260093 w 1614899"/>
                      <a:gd name="connsiteY304" fmla="*/ 1340644 h 1619250"/>
                      <a:gd name="connsiteX305" fmla="*/ 1252949 w 1614899"/>
                      <a:gd name="connsiteY305" fmla="*/ 1307306 h 1619250"/>
                      <a:gd name="connsiteX306" fmla="*/ 1248187 w 1614899"/>
                      <a:gd name="connsiteY306" fmla="*/ 1293019 h 1619250"/>
                      <a:gd name="connsiteX307" fmla="*/ 1243424 w 1614899"/>
                      <a:gd name="connsiteY307" fmla="*/ 1278731 h 1619250"/>
                      <a:gd name="connsiteX308" fmla="*/ 1241043 w 1614899"/>
                      <a:gd name="connsiteY308" fmla="*/ 1271587 h 1619250"/>
                      <a:gd name="connsiteX309" fmla="*/ 1236281 w 1614899"/>
                      <a:gd name="connsiteY309" fmla="*/ 1262062 h 1619250"/>
                      <a:gd name="connsiteX310" fmla="*/ 1231518 w 1614899"/>
                      <a:gd name="connsiteY310" fmla="*/ 1247775 h 1619250"/>
                      <a:gd name="connsiteX311" fmla="*/ 1224374 w 1614899"/>
                      <a:gd name="connsiteY311" fmla="*/ 1240631 h 1619250"/>
                      <a:gd name="connsiteX312" fmla="*/ 1214849 w 1614899"/>
                      <a:gd name="connsiteY312" fmla="*/ 1226344 h 1619250"/>
                      <a:gd name="connsiteX313" fmla="*/ 1195799 w 1614899"/>
                      <a:gd name="connsiteY313" fmla="*/ 1233487 h 1619250"/>
                      <a:gd name="connsiteX314" fmla="*/ 1198181 w 1614899"/>
                      <a:gd name="connsiteY314" fmla="*/ 1240631 h 1619250"/>
                      <a:gd name="connsiteX315" fmla="*/ 1191037 w 1614899"/>
                      <a:gd name="connsiteY315" fmla="*/ 1243012 h 1619250"/>
                      <a:gd name="connsiteX316" fmla="*/ 1164843 w 1614899"/>
                      <a:gd name="connsiteY316" fmla="*/ 1238250 h 1619250"/>
                      <a:gd name="connsiteX317" fmla="*/ 1155318 w 1614899"/>
                      <a:gd name="connsiteY317" fmla="*/ 1223962 h 1619250"/>
                      <a:gd name="connsiteX318" fmla="*/ 1148174 w 1614899"/>
                      <a:gd name="connsiteY318" fmla="*/ 1216819 h 1619250"/>
                      <a:gd name="connsiteX319" fmla="*/ 1138649 w 1614899"/>
                      <a:gd name="connsiteY319" fmla="*/ 1219200 h 1619250"/>
                      <a:gd name="connsiteX320" fmla="*/ 1131506 w 1614899"/>
                      <a:gd name="connsiteY320" fmla="*/ 1221581 h 1619250"/>
                      <a:gd name="connsiteX321" fmla="*/ 1124362 w 1614899"/>
                      <a:gd name="connsiteY321" fmla="*/ 1219200 h 1619250"/>
                      <a:gd name="connsiteX322" fmla="*/ 1112456 w 1614899"/>
                      <a:gd name="connsiteY322" fmla="*/ 1207295 h 1619250"/>
                      <a:gd name="connsiteX323" fmla="*/ 1126743 w 1614899"/>
                      <a:gd name="connsiteY323" fmla="*/ 1190624 h 1619250"/>
                      <a:gd name="connsiteX324" fmla="*/ 1112456 w 1614899"/>
                      <a:gd name="connsiteY324" fmla="*/ 1154906 h 1619250"/>
                      <a:gd name="connsiteX325" fmla="*/ 1107693 w 1614899"/>
                      <a:gd name="connsiteY325" fmla="*/ 1147762 h 1619250"/>
                      <a:gd name="connsiteX326" fmla="*/ 1100549 w 1614899"/>
                      <a:gd name="connsiteY326" fmla="*/ 1145381 h 1619250"/>
                      <a:gd name="connsiteX327" fmla="*/ 1093406 w 1614899"/>
                      <a:gd name="connsiteY327" fmla="*/ 1147762 h 1619250"/>
                      <a:gd name="connsiteX328" fmla="*/ 1062449 w 1614899"/>
                      <a:gd name="connsiteY328" fmla="*/ 1152525 h 1619250"/>
                      <a:gd name="connsiteX329" fmla="*/ 1043400 w 1614899"/>
                      <a:gd name="connsiteY329" fmla="*/ 1154906 h 1619250"/>
                      <a:gd name="connsiteX330" fmla="*/ 1031493 w 1614899"/>
                      <a:gd name="connsiteY330" fmla="*/ 1162049 h 1619250"/>
                      <a:gd name="connsiteX331" fmla="*/ 1050543 w 1614899"/>
                      <a:gd name="connsiteY331" fmla="*/ 1128712 h 1619250"/>
                      <a:gd name="connsiteX332" fmla="*/ 1036255 w 1614899"/>
                      <a:gd name="connsiteY332" fmla="*/ 1119187 h 1619250"/>
                      <a:gd name="connsiteX333" fmla="*/ 1024349 w 1614899"/>
                      <a:gd name="connsiteY333" fmla="*/ 1109662 h 1619250"/>
                      <a:gd name="connsiteX334" fmla="*/ 1014824 w 1614899"/>
                      <a:gd name="connsiteY334" fmla="*/ 1107281 h 1619250"/>
                      <a:gd name="connsiteX335" fmla="*/ 986250 w 1614899"/>
                      <a:gd name="connsiteY335" fmla="*/ 1114424 h 1619250"/>
                      <a:gd name="connsiteX336" fmla="*/ 979106 w 1614899"/>
                      <a:gd name="connsiteY336" fmla="*/ 1097757 h 1619250"/>
                      <a:gd name="connsiteX337" fmla="*/ 979106 w 1614899"/>
                      <a:gd name="connsiteY337" fmla="*/ 1076325 h 1619250"/>
                      <a:gd name="connsiteX338" fmla="*/ 964818 w 1614899"/>
                      <a:gd name="connsiteY338" fmla="*/ 1064419 h 1619250"/>
                      <a:gd name="connsiteX339" fmla="*/ 950531 w 1614899"/>
                      <a:gd name="connsiteY339" fmla="*/ 1054894 h 1619250"/>
                      <a:gd name="connsiteX340" fmla="*/ 943387 w 1614899"/>
                      <a:gd name="connsiteY340" fmla="*/ 1050131 h 1619250"/>
                      <a:gd name="connsiteX341" fmla="*/ 936243 w 1614899"/>
                      <a:gd name="connsiteY341" fmla="*/ 1045369 h 1619250"/>
                      <a:gd name="connsiteX342" fmla="*/ 931481 w 1614899"/>
                      <a:gd name="connsiteY342" fmla="*/ 1038225 h 1619250"/>
                      <a:gd name="connsiteX343" fmla="*/ 917193 w 1614899"/>
                      <a:gd name="connsiteY343" fmla="*/ 1031081 h 1619250"/>
                      <a:gd name="connsiteX344" fmla="*/ 914812 w 1614899"/>
                      <a:gd name="connsiteY344" fmla="*/ 1040606 h 1619250"/>
                      <a:gd name="connsiteX345" fmla="*/ 907668 w 1614899"/>
                      <a:gd name="connsiteY345" fmla="*/ 1042987 h 1619250"/>
                      <a:gd name="connsiteX346" fmla="*/ 886237 w 1614899"/>
                      <a:gd name="connsiteY346" fmla="*/ 1031081 h 1619250"/>
                      <a:gd name="connsiteX347" fmla="*/ 862424 w 1614899"/>
                      <a:gd name="connsiteY347" fmla="*/ 1035844 h 1619250"/>
                      <a:gd name="connsiteX348" fmla="*/ 845756 w 1614899"/>
                      <a:gd name="connsiteY348" fmla="*/ 1040606 h 1619250"/>
                      <a:gd name="connsiteX349" fmla="*/ 840993 w 1614899"/>
                      <a:gd name="connsiteY349" fmla="*/ 1033462 h 1619250"/>
                      <a:gd name="connsiteX350" fmla="*/ 821943 w 1614899"/>
                      <a:gd name="connsiteY350" fmla="*/ 1004887 h 1619250"/>
                      <a:gd name="connsiteX351" fmla="*/ 814799 w 1614899"/>
                      <a:gd name="connsiteY351" fmla="*/ 1000125 h 1619250"/>
                      <a:gd name="connsiteX352" fmla="*/ 779081 w 1614899"/>
                      <a:gd name="connsiteY352" fmla="*/ 995362 h 1619250"/>
                      <a:gd name="connsiteX353" fmla="*/ 771937 w 1614899"/>
                      <a:gd name="connsiteY353" fmla="*/ 988219 h 1619250"/>
                      <a:gd name="connsiteX354" fmla="*/ 762412 w 1614899"/>
                      <a:gd name="connsiteY354" fmla="*/ 966787 h 1619250"/>
                      <a:gd name="connsiteX355" fmla="*/ 755268 w 1614899"/>
                      <a:gd name="connsiteY355" fmla="*/ 962025 h 1619250"/>
                      <a:gd name="connsiteX356" fmla="*/ 733837 w 1614899"/>
                      <a:gd name="connsiteY356" fmla="*/ 962025 h 1619250"/>
                      <a:gd name="connsiteX357" fmla="*/ 731456 w 1614899"/>
                      <a:gd name="connsiteY357" fmla="*/ 950119 h 1619250"/>
                      <a:gd name="connsiteX358" fmla="*/ 729074 w 1614899"/>
                      <a:gd name="connsiteY358" fmla="*/ 942975 h 1619250"/>
                      <a:gd name="connsiteX359" fmla="*/ 726693 w 1614899"/>
                      <a:gd name="connsiteY359" fmla="*/ 921544 h 1619250"/>
                      <a:gd name="connsiteX360" fmla="*/ 724312 w 1614899"/>
                      <a:gd name="connsiteY360" fmla="*/ 914400 h 1619250"/>
                      <a:gd name="connsiteX361" fmla="*/ 717168 w 1614899"/>
                      <a:gd name="connsiteY361" fmla="*/ 909637 h 1619250"/>
                      <a:gd name="connsiteX362" fmla="*/ 710024 w 1614899"/>
                      <a:gd name="connsiteY362" fmla="*/ 907256 h 1619250"/>
                      <a:gd name="connsiteX363" fmla="*/ 681449 w 1614899"/>
                      <a:gd name="connsiteY363" fmla="*/ 902494 h 1619250"/>
                      <a:gd name="connsiteX364" fmla="*/ 674306 w 1614899"/>
                      <a:gd name="connsiteY364" fmla="*/ 897731 h 1619250"/>
                      <a:gd name="connsiteX365" fmla="*/ 667162 w 1614899"/>
                      <a:gd name="connsiteY365" fmla="*/ 883444 h 1619250"/>
                      <a:gd name="connsiteX366" fmla="*/ 657637 w 1614899"/>
                      <a:gd name="connsiteY366" fmla="*/ 881062 h 1619250"/>
                      <a:gd name="connsiteX367" fmla="*/ 650493 w 1614899"/>
                      <a:gd name="connsiteY367" fmla="*/ 873919 h 1619250"/>
                      <a:gd name="connsiteX368" fmla="*/ 648112 w 1614899"/>
                      <a:gd name="connsiteY368" fmla="*/ 866775 h 1619250"/>
                      <a:gd name="connsiteX369" fmla="*/ 643349 w 1614899"/>
                      <a:gd name="connsiteY369" fmla="*/ 859631 h 1619250"/>
                      <a:gd name="connsiteX370" fmla="*/ 631443 w 1614899"/>
                      <a:gd name="connsiteY370" fmla="*/ 838200 h 1619250"/>
                      <a:gd name="connsiteX371" fmla="*/ 624299 w 1614899"/>
                      <a:gd name="connsiteY371" fmla="*/ 833437 h 1619250"/>
                      <a:gd name="connsiteX372" fmla="*/ 593343 w 1614899"/>
                      <a:gd name="connsiteY372" fmla="*/ 835819 h 1619250"/>
                      <a:gd name="connsiteX373" fmla="*/ 586199 w 1614899"/>
                      <a:gd name="connsiteY373" fmla="*/ 816769 h 1619250"/>
                      <a:gd name="connsiteX374" fmla="*/ 569531 w 1614899"/>
                      <a:gd name="connsiteY374" fmla="*/ 795337 h 1619250"/>
                      <a:gd name="connsiteX375" fmla="*/ 564768 w 1614899"/>
                      <a:gd name="connsiteY375" fmla="*/ 788194 h 1619250"/>
                      <a:gd name="connsiteX376" fmla="*/ 557624 w 1614899"/>
                      <a:gd name="connsiteY376" fmla="*/ 785812 h 1619250"/>
                      <a:gd name="connsiteX377" fmla="*/ 550481 w 1614899"/>
                      <a:gd name="connsiteY377" fmla="*/ 781050 h 1619250"/>
                      <a:gd name="connsiteX378" fmla="*/ 536193 w 1614899"/>
                      <a:gd name="connsiteY378" fmla="*/ 776287 h 1619250"/>
                      <a:gd name="connsiteX379" fmla="*/ 538574 w 1614899"/>
                      <a:gd name="connsiteY379" fmla="*/ 747712 h 1619250"/>
                      <a:gd name="connsiteX380" fmla="*/ 533812 w 1614899"/>
                      <a:gd name="connsiteY380" fmla="*/ 740569 h 1619250"/>
                      <a:gd name="connsiteX381" fmla="*/ 519524 w 1614899"/>
                      <a:gd name="connsiteY381" fmla="*/ 731044 h 1619250"/>
                      <a:gd name="connsiteX382" fmla="*/ 512381 w 1614899"/>
                      <a:gd name="connsiteY382" fmla="*/ 735806 h 1619250"/>
                      <a:gd name="connsiteX383" fmla="*/ 505237 w 1614899"/>
                      <a:gd name="connsiteY383" fmla="*/ 738187 h 1619250"/>
                      <a:gd name="connsiteX384" fmla="*/ 507618 w 1614899"/>
                      <a:gd name="connsiteY384" fmla="*/ 723900 h 1619250"/>
                      <a:gd name="connsiteX385" fmla="*/ 505237 w 1614899"/>
                      <a:gd name="connsiteY385" fmla="*/ 688181 h 1619250"/>
                      <a:gd name="connsiteX386" fmla="*/ 493331 w 1614899"/>
                      <a:gd name="connsiteY386" fmla="*/ 666750 h 1619250"/>
                      <a:gd name="connsiteX387" fmla="*/ 486187 w 1614899"/>
                      <a:gd name="connsiteY387" fmla="*/ 659606 h 1619250"/>
                      <a:gd name="connsiteX388" fmla="*/ 481424 w 1614899"/>
                      <a:gd name="connsiteY388" fmla="*/ 652462 h 1619250"/>
                      <a:gd name="connsiteX389" fmla="*/ 479043 w 1614899"/>
                      <a:gd name="connsiteY389" fmla="*/ 614362 h 1619250"/>
                      <a:gd name="connsiteX390" fmla="*/ 474281 w 1614899"/>
                      <a:gd name="connsiteY390" fmla="*/ 595312 h 1619250"/>
                      <a:gd name="connsiteX391" fmla="*/ 467137 w 1614899"/>
                      <a:gd name="connsiteY391" fmla="*/ 578644 h 1619250"/>
                      <a:gd name="connsiteX392" fmla="*/ 459993 w 1614899"/>
                      <a:gd name="connsiteY392" fmla="*/ 571500 h 1619250"/>
                      <a:gd name="connsiteX393" fmla="*/ 440943 w 1614899"/>
                      <a:gd name="connsiteY393" fmla="*/ 554831 h 1619250"/>
                      <a:gd name="connsiteX394" fmla="*/ 426656 w 1614899"/>
                      <a:gd name="connsiteY394" fmla="*/ 550069 h 1619250"/>
                      <a:gd name="connsiteX395" fmla="*/ 424274 w 1614899"/>
                      <a:gd name="connsiteY395" fmla="*/ 557212 h 1619250"/>
                      <a:gd name="connsiteX396" fmla="*/ 414749 w 1614899"/>
                      <a:gd name="connsiteY396" fmla="*/ 552450 h 1619250"/>
                      <a:gd name="connsiteX397" fmla="*/ 407606 w 1614899"/>
                      <a:gd name="connsiteY397" fmla="*/ 545306 h 1619250"/>
                      <a:gd name="connsiteX398" fmla="*/ 390937 w 1614899"/>
                      <a:gd name="connsiteY398" fmla="*/ 535781 h 1619250"/>
                      <a:gd name="connsiteX399" fmla="*/ 383793 w 1614899"/>
                      <a:gd name="connsiteY399" fmla="*/ 528637 h 1619250"/>
                      <a:gd name="connsiteX400" fmla="*/ 374268 w 1614899"/>
                      <a:gd name="connsiteY400" fmla="*/ 526256 h 1619250"/>
                      <a:gd name="connsiteX401" fmla="*/ 352837 w 1614899"/>
                      <a:gd name="connsiteY401" fmla="*/ 519112 h 1619250"/>
                      <a:gd name="connsiteX402" fmla="*/ 345693 w 1614899"/>
                      <a:gd name="connsiteY402" fmla="*/ 516731 h 1619250"/>
                      <a:gd name="connsiteX403" fmla="*/ 338549 w 1614899"/>
                      <a:gd name="connsiteY403" fmla="*/ 514350 h 1619250"/>
                      <a:gd name="connsiteX404" fmla="*/ 326643 w 1614899"/>
                      <a:gd name="connsiteY404" fmla="*/ 504825 h 1619250"/>
                      <a:gd name="connsiteX405" fmla="*/ 321881 w 1614899"/>
                      <a:gd name="connsiteY405" fmla="*/ 497681 h 1619250"/>
                      <a:gd name="connsiteX406" fmla="*/ 314737 w 1614899"/>
                      <a:gd name="connsiteY406" fmla="*/ 490537 h 1619250"/>
                      <a:gd name="connsiteX407" fmla="*/ 307593 w 1614899"/>
                      <a:gd name="connsiteY407" fmla="*/ 485775 h 1619250"/>
                      <a:gd name="connsiteX408" fmla="*/ 293306 w 1614899"/>
                      <a:gd name="connsiteY408" fmla="*/ 481012 h 1619250"/>
                      <a:gd name="connsiteX409" fmla="*/ 269493 w 1614899"/>
                      <a:gd name="connsiteY409" fmla="*/ 483394 h 1619250"/>
                      <a:gd name="connsiteX410" fmla="*/ 259968 w 1614899"/>
                      <a:gd name="connsiteY410" fmla="*/ 490537 h 1619250"/>
                      <a:gd name="connsiteX411" fmla="*/ 243299 w 1614899"/>
                      <a:gd name="connsiteY411" fmla="*/ 497681 h 1619250"/>
                      <a:gd name="connsiteX412" fmla="*/ 236156 w 1614899"/>
                      <a:gd name="connsiteY412" fmla="*/ 502444 h 1619250"/>
                      <a:gd name="connsiteX413" fmla="*/ 233774 w 1614899"/>
                      <a:gd name="connsiteY413" fmla="*/ 509587 h 1619250"/>
                      <a:gd name="connsiteX414" fmla="*/ 231393 w 1614899"/>
                      <a:gd name="connsiteY414" fmla="*/ 519112 h 1619250"/>
                      <a:gd name="connsiteX415" fmla="*/ 224249 w 1614899"/>
                      <a:gd name="connsiteY415" fmla="*/ 521494 h 1619250"/>
                      <a:gd name="connsiteX416" fmla="*/ 209962 w 1614899"/>
                      <a:gd name="connsiteY416" fmla="*/ 528637 h 1619250"/>
                      <a:gd name="connsiteX417" fmla="*/ 200437 w 1614899"/>
                      <a:gd name="connsiteY417" fmla="*/ 542925 h 1619250"/>
                      <a:gd name="connsiteX418" fmla="*/ 195674 w 1614899"/>
                      <a:gd name="connsiteY418" fmla="*/ 557212 h 1619250"/>
                      <a:gd name="connsiteX419" fmla="*/ 188531 w 1614899"/>
                      <a:gd name="connsiteY419" fmla="*/ 559594 h 1619250"/>
                      <a:gd name="connsiteX420" fmla="*/ 176624 w 1614899"/>
                      <a:gd name="connsiteY420" fmla="*/ 564356 h 1619250"/>
                      <a:gd name="connsiteX421" fmla="*/ 164718 w 1614899"/>
                      <a:gd name="connsiteY421" fmla="*/ 566737 h 1619250"/>
                      <a:gd name="connsiteX422" fmla="*/ 157574 w 1614899"/>
                      <a:gd name="connsiteY422" fmla="*/ 569119 h 1619250"/>
                      <a:gd name="connsiteX423" fmla="*/ 148049 w 1614899"/>
                      <a:gd name="connsiteY423" fmla="*/ 571500 h 1619250"/>
                      <a:gd name="connsiteX424" fmla="*/ 140906 w 1614899"/>
                      <a:gd name="connsiteY424" fmla="*/ 573881 h 1619250"/>
                      <a:gd name="connsiteX425" fmla="*/ 121856 w 1614899"/>
                      <a:gd name="connsiteY425" fmla="*/ 576262 h 1619250"/>
                      <a:gd name="connsiteX426" fmla="*/ 119474 w 1614899"/>
                      <a:gd name="connsiteY426" fmla="*/ 571500 h 1619250"/>
                      <a:gd name="connsiteX427" fmla="*/ 128999 w 1614899"/>
                      <a:gd name="connsiteY427" fmla="*/ 557212 h 1619250"/>
                      <a:gd name="connsiteX428" fmla="*/ 131381 w 1614899"/>
                      <a:gd name="connsiteY428" fmla="*/ 550069 h 1619250"/>
                      <a:gd name="connsiteX429" fmla="*/ 140906 w 1614899"/>
                      <a:gd name="connsiteY429" fmla="*/ 535781 h 1619250"/>
                      <a:gd name="connsiteX430" fmla="*/ 133762 w 1614899"/>
                      <a:gd name="connsiteY430" fmla="*/ 533400 h 1619250"/>
                      <a:gd name="connsiteX431" fmla="*/ 128999 w 1614899"/>
                      <a:gd name="connsiteY431" fmla="*/ 516731 h 1619250"/>
                      <a:gd name="connsiteX432" fmla="*/ 69468 w 1614899"/>
                      <a:gd name="connsiteY432" fmla="*/ 514350 h 1619250"/>
                      <a:gd name="connsiteX433" fmla="*/ 67087 w 1614899"/>
                      <a:gd name="connsiteY433" fmla="*/ 507206 h 1619250"/>
                      <a:gd name="connsiteX434" fmla="*/ 52799 w 1614899"/>
                      <a:gd name="connsiteY434" fmla="*/ 497681 h 1619250"/>
                      <a:gd name="connsiteX435" fmla="*/ 55181 w 1614899"/>
                      <a:gd name="connsiteY435" fmla="*/ 488156 h 1619250"/>
                      <a:gd name="connsiteX436" fmla="*/ 40893 w 1614899"/>
                      <a:gd name="connsiteY436" fmla="*/ 483394 h 1619250"/>
                      <a:gd name="connsiteX437" fmla="*/ 38512 w 1614899"/>
                      <a:gd name="connsiteY437" fmla="*/ 471487 h 1619250"/>
                      <a:gd name="connsiteX438" fmla="*/ 36131 w 1614899"/>
                      <a:gd name="connsiteY438" fmla="*/ 464344 h 1619250"/>
                      <a:gd name="connsiteX439" fmla="*/ 38512 w 1614899"/>
                      <a:gd name="connsiteY439" fmla="*/ 452437 h 1619250"/>
                      <a:gd name="connsiteX440" fmla="*/ 38512 w 1614899"/>
                      <a:gd name="connsiteY440" fmla="*/ 428625 h 1619250"/>
                      <a:gd name="connsiteX441" fmla="*/ 45656 w 1614899"/>
                      <a:gd name="connsiteY441" fmla="*/ 426244 h 1619250"/>
                      <a:gd name="connsiteX442" fmla="*/ 52799 w 1614899"/>
                      <a:gd name="connsiteY442" fmla="*/ 421481 h 1619250"/>
                      <a:gd name="connsiteX443" fmla="*/ 59943 w 1614899"/>
                      <a:gd name="connsiteY443" fmla="*/ 419100 h 1619250"/>
                      <a:gd name="connsiteX444" fmla="*/ 64706 w 1614899"/>
                      <a:gd name="connsiteY444" fmla="*/ 411956 h 1619250"/>
                      <a:gd name="connsiteX445" fmla="*/ 55181 w 1614899"/>
                      <a:gd name="connsiteY445" fmla="*/ 392906 h 1619250"/>
                      <a:gd name="connsiteX446" fmla="*/ 40893 w 1614899"/>
                      <a:gd name="connsiteY446" fmla="*/ 388144 h 1619250"/>
                      <a:gd name="connsiteX447" fmla="*/ 33749 w 1614899"/>
                      <a:gd name="connsiteY447" fmla="*/ 390525 h 1619250"/>
                      <a:gd name="connsiteX448" fmla="*/ 28987 w 1614899"/>
                      <a:gd name="connsiteY448" fmla="*/ 390525 h 1619250"/>
                      <a:gd name="connsiteX449" fmla="*/ 21843 w 1614899"/>
                      <a:gd name="connsiteY449" fmla="*/ 388144 h 1619250"/>
                      <a:gd name="connsiteX450" fmla="*/ 14699 w 1614899"/>
                      <a:gd name="connsiteY450" fmla="*/ 364331 h 1619250"/>
                      <a:gd name="connsiteX451" fmla="*/ 2793 w 1614899"/>
                      <a:gd name="connsiteY451" fmla="*/ 361950 h 1619250"/>
                      <a:gd name="connsiteX452" fmla="*/ 2793 w 1614899"/>
                      <a:gd name="connsiteY452" fmla="*/ 345281 h 1619250"/>
                      <a:gd name="connsiteX453" fmla="*/ 17081 w 1614899"/>
                      <a:gd name="connsiteY453" fmla="*/ 340519 h 1619250"/>
                      <a:gd name="connsiteX454" fmla="*/ 24224 w 1614899"/>
                      <a:gd name="connsiteY454" fmla="*/ 347662 h 1619250"/>
                      <a:gd name="connsiteX455" fmla="*/ 40893 w 1614899"/>
                      <a:gd name="connsiteY455" fmla="*/ 342900 h 1619250"/>
                      <a:gd name="connsiteX456" fmla="*/ 57562 w 1614899"/>
                      <a:gd name="connsiteY456" fmla="*/ 333375 h 1619250"/>
                      <a:gd name="connsiteX457" fmla="*/ 64706 w 1614899"/>
                      <a:gd name="connsiteY457" fmla="*/ 328612 h 1619250"/>
                      <a:gd name="connsiteX458" fmla="*/ 71849 w 1614899"/>
                      <a:gd name="connsiteY458" fmla="*/ 326231 h 1619250"/>
                      <a:gd name="connsiteX459" fmla="*/ 90899 w 1614899"/>
                      <a:gd name="connsiteY459" fmla="*/ 321469 h 1619250"/>
                      <a:gd name="connsiteX460" fmla="*/ 86137 w 1614899"/>
                      <a:gd name="connsiteY460" fmla="*/ 311944 h 1619250"/>
                      <a:gd name="connsiteX461" fmla="*/ 88518 w 1614899"/>
                      <a:gd name="connsiteY461" fmla="*/ 292894 h 1619250"/>
                      <a:gd name="connsiteX462" fmla="*/ 90899 w 1614899"/>
                      <a:gd name="connsiteY462" fmla="*/ 285750 h 1619250"/>
                      <a:gd name="connsiteX463" fmla="*/ 76612 w 1614899"/>
                      <a:gd name="connsiteY463" fmla="*/ 280987 h 1619250"/>
                      <a:gd name="connsiteX464" fmla="*/ 71849 w 1614899"/>
                      <a:gd name="connsiteY464" fmla="*/ 273844 h 1619250"/>
                      <a:gd name="connsiteX465" fmla="*/ 67087 w 1614899"/>
                      <a:gd name="connsiteY465" fmla="*/ 250031 h 1619250"/>
                      <a:gd name="connsiteX466" fmla="*/ 45656 w 1614899"/>
                      <a:gd name="connsiteY466" fmla="*/ 250031 h 1619250"/>
                      <a:gd name="connsiteX467" fmla="*/ 40893 w 1614899"/>
                      <a:gd name="connsiteY467" fmla="*/ 242887 h 1619250"/>
                      <a:gd name="connsiteX468" fmla="*/ 43274 w 1614899"/>
                      <a:gd name="connsiteY468" fmla="*/ 223837 h 1619250"/>
                      <a:gd name="connsiteX469" fmla="*/ 57562 w 1614899"/>
                      <a:gd name="connsiteY469" fmla="*/ 211931 h 1619250"/>
                      <a:gd name="connsiteX470" fmla="*/ 74231 w 1614899"/>
                      <a:gd name="connsiteY470" fmla="*/ 200025 h 1619250"/>
                      <a:gd name="connsiteX471" fmla="*/ 81374 w 1614899"/>
                      <a:gd name="connsiteY471" fmla="*/ 202406 h 1619250"/>
                      <a:gd name="connsiteX472" fmla="*/ 83756 w 1614899"/>
                      <a:gd name="connsiteY472" fmla="*/ 209550 h 1619250"/>
                      <a:gd name="connsiteX473" fmla="*/ 102806 w 1614899"/>
                      <a:gd name="connsiteY473" fmla="*/ 204787 h 1619250"/>
                      <a:gd name="connsiteX474" fmla="*/ 109949 w 1614899"/>
                      <a:gd name="connsiteY474" fmla="*/ 200025 h 1619250"/>
                      <a:gd name="connsiteX475" fmla="*/ 119474 w 1614899"/>
                      <a:gd name="connsiteY475" fmla="*/ 197644 h 1619250"/>
                      <a:gd name="connsiteX476" fmla="*/ 133762 w 1614899"/>
                      <a:gd name="connsiteY476" fmla="*/ 192881 h 1619250"/>
                      <a:gd name="connsiteX477" fmla="*/ 140906 w 1614899"/>
                      <a:gd name="connsiteY477" fmla="*/ 190500 h 1619250"/>
                      <a:gd name="connsiteX478" fmla="*/ 148049 w 1614899"/>
                      <a:gd name="connsiteY478" fmla="*/ 195262 h 1619250"/>
                      <a:gd name="connsiteX479" fmla="*/ 155193 w 1614899"/>
                      <a:gd name="connsiteY479" fmla="*/ 204787 h 1619250"/>
                      <a:gd name="connsiteX480" fmla="*/ 164718 w 1614899"/>
                      <a:gd name="connsiteY480" fmla="*/ 202406 h 1619250"/>
                      <a:gd name="connsiteX481" fmla="*/ 190912 w 1614899"/>
                      <a:gd name="connsiteY481" fmla="*/ 200025 h 1619250"/>
                      <a:gd name="connsiteX482" fmla="*/ 193293 w 1614899"/>
                      <a:gd name="connsiteY482" fmla="*/ 192881 h 1619250"/>
                      <a:gd name="connsiteX483" fmla="*/ 198056 w 1614899"/>
                      <a:gd name="connsiteY483" fmla="*/ 185737 h 1619250"/>
                      <a:gd name="connsiteX484" fmla="*/ 195674 w 1614899"/>
                      <a:gd name="connsiteY484" fmla="*/ 178594 h 1619250"/>
                      <a:gd name="connsiteX485" fmla="*/ 186149 w 1614899"/>
                      <a:gd name="connsiteY485" fmla="*/ 159544 h 1619250"/>
                      <a:gd name="connsiteX486" fmla="*/ 217106 w 1614899"/>
                      <a:gd name="connsiteY486" fmla="*/ 152400 h 1619250"/>
                      <a:gd name="connsiteX487" fmla="*/ 209962 w 1614899"/>
                      <a:gd name="connsiteY487" fmla="*/ 145256 h 1619250"/>
                      <a:gd name="connsiteX488" fmla="*/ 202818 w 1614899"/>
                      <a:gd name="connsiteY488" fmla="*/ 140494 h 1619250"/>
                      <a:gd name="connsiteX489" fmla="*/ 212343 w 1614899"/>
                      <a:gd name="connsiteY489" fmla="*/ 133350 h 1619250"/>
                      <a:gd name="connsiteX490" fmla="*/ 233774 w 1614899"/>
                      <a:gd name="connsiteY490" fmla="*/ 123825 h 1619250"/>
                      <a:gd name="connsiteX491" fmla="*/ 238537 w 1614899"/>
                      <a:gd name="connsiteY491" fmla="*/ 116681 h 1619250"/>
                      <a:gd name="connsiteX492" fmla="*/ 240918 w 1614899"/>
                      <a:gd name="connsiteY492" fmla="*/ 107156 h 1619250"/>
                      <a:gd name="connsiteX493" fmla="*/ 248062 w 1614899"/>
                      <a:gd name="connsiteY493" fmla="*/ 109537 h 1619250"/>
                      <a:gd name="connsiteX494" fmla="*/ 250443 w 1614899"/>
                      <a:gd name="connsiteY494" fmla="*/ 116681 h 1619250"/>
                      <a:gd name="connsiteX495" fmla="*/ 252824 w 1614899"/>
                      <a:gd name="connsiteY495" fmla="*/ 130969 h 1619250"/>
                      <a:gd name="connsiteX496" fmla="*/ 269493 w 1614899"/>
                      <a:gd name="connsiteY496" fmla="*/ 138112 h 1619250"/>
                      <a:gd name="connsiteX497" fmla="*/ 271874 w 1614899"/>
                      <a:gd name="connsiteY497" fmla="*/ 145256 h 1619250"/>
                      <a:gd name="connsiteX498" fmla="*/ 264731 w 1614899"/>
                      <a:gd name="connsiteY498" fmla="*/ 152400 h 1619250"/>
                      <a:gd name="connsiteX499" fmla="*/ 262349 w 1614899"/>
                      <a:gd name="connsiteY499" fmla="*/ 159544 h 1619250"/>
                      <a:gd name="connsiteX500" fmla="*/ 264731 w 1614899"/>
                      <a:gd name="connsiteY500" fmla="*/ 173831 h 1619250"/>
                      <a:gd name="connsiteX501" fmla="*/ 274256 w 1614899"/>
                      <a:gd name="connsiteY501" fmla="*/ 176212 h 1619250"/>
                      <a:gd name="connsiteX502" fmla="*/ 295687 w 1614899"/>
                      <a:gd name="connsiteY502" fmla="*/ 178594 h 1619250"/>
                      <a:gd name="connsiteX503" fmla="*/ 293306 w 1614899"/>
                      <a:gd name="connsiteY503" fmla="*/ 185737 h 1619250"/>
                      <a:gd name="connsiteX504" fmla="*/ 295687 w 1614899"/>
                      <a:gd name="connsiteY504" fmla="*/ 200025 h 1619250"/>
                      <a:gd name="connsiteX505" fmla="*/ 302831 w 1614899"/>
                      <a:gd name="connsiteY505" fmla="*/ 216694 h 1619250"/>
                      <a:gd name="connsiteX506" fmla="*/ 307593 w 1614899"/>
                      <a:gd name="connsiteY506" fmla="*/ 223837 h 1619250"/>
                      <a:gd name="connsiteX507" fmla="*/ 314737 w 1614899"/>
                      <a:gd name="connsiteY507" fmla="*/ 228600 h 1619250"/>
                      <a:gd name="connsiteX508" fmla="*/ 326643 w 1614899"/>
                      <a:gd name="connsiteY508" fmla="*/ 226219 h 1619250"/>
                      <a:gd name="connsiteX509" fmla="*/ 321881 w 1614899"/>
                      <a:gd name="connsiteY509" fmla="*/ 200025 h 1619250"/>
                      <a:gd name="connsiteX510" fmla="*/ 314737 w 1614899"/>
                      <a:gd name="connsiteY510" fmla="*/ 197644 h 1619250"/>
                      <a:gd name="connsiteX511" fmla="*/ 324262 w 1614899"/>
                      <a:gd name="connsiteY511" fmla="*/ 180975 h 1619250"/>
                      <a:gd name="connsiteX512" fmla="*/ 329024 w 1614899"/>
                      <a:gd name="connsiteY512" fmla="*/ 173831 h 1619250"/>
                      <a:gd name="connsiteX513" fmla="*/ 343312 w 1614899"/>
                      <a:gd name="connsiteY513" fmla="*/ 159544 h 1619250"/>
                      <a:gd name="connsiteX514" fmla="*/ 348074 w 1614899"/>
                      <a:gd name="connsiteY514" fmla="*/ 145256 h 1619250"/>
                      <a:gd name="connsiteX515" fmla="*/ 350456 w 1614899"/>
                      <a:gd name="connsiteY515" fmla="*/ 114300 h 1619250"/>
                      <a:gd name="connsiteX516" fmla="*/ 357599 w 1614899"/>
                      <a:gd name="connsiteY516" fmla="*/ 111919 h 1619250"/>
                      <a:gd name="connsiteX517" fmla="*/ 364743 w 1614899"/>
                      <a:gd name="connsiteY517" fmla="*/ 114300 h 1619250"/>
                      <a:gd name="connsiteX518" fmla="*/ 371887 w 1614899"/>
                      <a:gd name="connsiteY518" fmla="*/ 114300 h 1619250"/>
                      <a:gd name="connsiteX519" fmla="*/ 381412 w 1614899"/>
                      <a:gd name="connsiteY519" fmla="*/ 138112 h 1619250"/>
                      <a:gd name="connsiteX520" fmla="*/ 395699 w 1614899"/>
                      <a:gd name="connsiteY520" fmla="*/ 150019 h 1619250"/>
                      <a:gd name="connsiteX521" fmla="*/ 409987 w 1614899"/>
                      <a:gd name="connsiteY521" fmla="*/ 147637 h 1619250"/>
                      <a:gd name="connsiteX522" fmla="*/ 412368 w 1614899"/>
                      <a:gd name="connsiteY522" fmla="*/ 133350 h 1619250"/>
                      <a:gd name="connsiteX523" fmla="*/ 426656 w 1614899"/>
                      <a:gd name="connsiteY523" fmla="*/ 128587 h 1619250"/>
                      <a:gd name="connsiteX524" fmla="*/ 433799 w 1614899"/>
                      <a:gd name="connsiteY524" fmla="*/ 142875 h 1619250"/>
                      <a:gd name="connsiteX525" fmla="*/ 448087 w 1614899"/>
                      <a:gd name="connsiteY525" fmla="*/ 161925 h 1619250"/>
                      <a:gd name="connsiteX526" fmla="*/ 464756 w 1614899"/>
                      <a:gd name="connsiteY526" fmla="*/ 159544 h 1619250"/>
                      <a:gd name="connsiteX527" fmla="*/ 452849 w 1614899"/>
                      <a:gd name="connsiteY527" fmla="*/ 138112 h 1619250"/>
                      <a:gd name="connsiteX528" fmla="*/ 450468 w 1614899"/>
                      <a:gd name="connsiteY528" fmla="*/ 111919 h 1619250"/>
                      <a:gd name="connsiteX529" fmla="*/ 443324 w 1614899"/>
                      <a:gd name="connsiteY529" fmla="*/ 107156 h 1619250"/>
                      <a:gd name="connsiteX530" fmla="*/ 440943 w 1614899"/>
                      <a:gd name="connsiteY530" fmla="*/ 100012 h 1619250"/>
                      <a:gd name="connsiteX531" fmla="*/ 450468 w 1614899"/>
                      <a:gd name="connsiteY531" fmla="*/ 88106 h 1619250"/>
                      <a:gd name="connsiteX532" fmla="*/ 476662 w 1614899"/>
                      <a:gd name="connsiteY532" fmla="*/ 90487 h 1619250"/>
                      <a:gd name="connsiteX533" fmla="*/ 486187 w 1614899"/>
                      <a:gd name="connsiteY533" fmla="*/ 92869 h 1619250"/>
                      <a:gd name="connsiteX534" fmla="*/ 493331 w 1614899"/>
                      <a:gd name="connsiteY534" fmla="*/ 97631 h 1619250"/>
                      <a:gd name="connsiteX535" fmla="*/ 502856 w 1614899"/>
                      <a:gd name="connsiteY535" fmla="*/ 95250 h 1619250"/>
                      <a:gd name="connsiteX536" fmla="*/ 509999 w 1614899"/>
                      <a:gd name="connsiteY536" fmla="*/ 90487 h 1619250"/>
                      <a:gd name="connsiteX537" fmla="*/ 507618 w 1614899"/>
                      <a:gd name="connsiteY537" fmla="*/ 83344 h 1619250"/>
                      <a:gd name="connsiteX538" fmla="*/ 500474 w 1614899"/>
                      <a:gd name="connsiteY538" fmla="*/ 80962 h 1619250"/>
                      <a:gd name="connsiteX539" fmla="*/ 493331 w 1614899"/>
                      <a:gd name="connsiteY539" fmla="*/ 76200 h 1619250"/>
                      <a:gd name="connsiteX540" fmla="*/ 495712 w 1614899"/>
                      <a:gd name="connsiteY540"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898143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19549 w 1614899"/>
                      <a:gd name="connsiteY86" fmla="*/ 328612 h 1619250"/>
                      <a:gd name="connsiteX87" fmla="*/ 714787 w 1614899"/>
                      <a:gd name="connsiteY87" fmla="*/ 335756 h 1619250"/>
                      <a:gd name="connsiteX88" fmla="*/ 717168 w 1614899"/>
                      <a:gd name="connsiteY88" fmla="*/ 342900 h 1619250"/>
                      <a:gd name="connsiteX89" fmla="*/ 721931 w 1614899"/>
                      <a:gd name="connsiteY89" fmla="*/ 347662 h 1619250"/>
                      <a:gd name="connsiteX90" fmla="*/ 733837 w 1614899"/>
                      <a:gd name="connsiteY90" fmla="*/ 357187 h 1619250"/>
                      <a:gd name="connsiteX91" fmla="*/ 740981 w 1614899"/>
                      <a:gd name="connsiteY91" fmla="*/ 354806 h 1619250"/>
                      <a:gd name="connsiteX92" fmla="*/ 755268 w 1614899"/>
                      <a:gd name="connsiteY92" fmla="*/ 350044 h 1619250"/>
                      <a:gd name="connsiteX93" fmla="*/ 752887 w 1614899"/>
                      <a:gd name="connsiteY93" fmla="*/ 359569 h 1619250"/>
                      <a:gd name="connsiteX94" fmla="*/ 755268 w 1614899"/>
                      <a:gd name="connsiteY94" fmla="*/ 371475 h 1619250"/>
                      <a:gd name="connsiteX95" fmla="*/ 762412 w 1614899"/>
                      <a:gd name="connsiteY95" fmla="*/ 373856 h 1619250"/>
                      <a:gd name="connsiteX96" fmla="*/ 745743 w 1614899"/>
                      <a:gd name="connsiteY96" fmla="*/ 390525 h 1619250"/>
                      <a:gd name="connsiteX97" fmla="*/ 750506 w 1614899"/>
                      <a:gd name="connsiteY97" fmla="*/ 397669 h 1619250"/>
                      <a:gd name="connsiteX98" fmla="*/ 745743 w 1614899"/>
                      <a:gd name="connsiteY98" fmla="*/ 411956 h 1619250"/>
                      <a:gd name="connsiteX99" fmla="*/ 731456 w 1614899"/>
                      <a:gd name="connsiteY99" fmla="*/ 404812 h 1619250"/>
                      <a:gd name="connsiteX100" fmla="*/ 724312 w 1614899"/>
                      <a:gd name="connsiteY100" fmla="*/ 409575 h 1619250"/>
                      <a:gd name="connsiteX101" fmla="*/ 721931 w 1614899"/>
                      <a:gd name="connsiteY101" fmla="*/ 416719 h 1619250"/>
                      <a:gd name="connsiteX102" fmla="*/ 736218 w 1614899"/>
                      <a:gd name="connsiteY102" fmla="*/ 426244 h 1619250"/>
                      <a:gd name="connsiteX103" fmla="*/ 731456 w 1614899"/>
                      <a:gd name="connsiteY103" fmla="*/ 442912 h 1619250"/>
                      <a:gd name="connsiteX104" fmla="*/ 729074 w 1614899"/>
                      <a:gd name="connsiteY104" fmla="*/ 450056 h 1619250"/>
                      <a:gd name="connsiteX105" fmla="*/ 731456 w 1614899"/>
                      <a:gd name="connsiteY105" fmla="*/ 481012 h 1619250"/>
                      <a:gd name="connsiteX106" fmla="*/ 736218 w 1614899"/>
                      <a:gd name="connsiteY106" fmla="*/ 488156 h 1619250"/>
                      <a:gd name="connsiteX107" fmla="*/ 743362 w 1614899"/>
                      <a:gd name="connsiteY107" fmla="*/ 509587 h 1619250"/>
                      <a:gd name="connsiteX108" fmla="*/ 745743 w 1614899"/>
                      <a:gd name="connsiteY108" fmla="*/ 516731 h 1619250"/>
                      <a:gd name="connsiteX109" fmla="*/ 760031 w 1614899"/>
                      <a:gd name="connsiteY109" fmla="*/ 526256 h 1619250"/>
                      <a:gd name="connsiteX110" fmla="*/ 764793 w 1614899"/>
                      <a:gd name="connsiteY110" fmla="*/ 533400 h 1619250"/>
                      <a:gd name="connsiteX111" fmla="*/ 769556 w 1614899"/>
                      <a:gd name="connsiteY111" fmla="*/ 547687 h 1619250"/>
                      <a:gd name="connsiteX112" fmla="*/ 769556 w 1614899"/>
                      <a:gd name="connsiteY112" fmla="*/ 542925 h 1619250"/>
                      <a:gd name="connsiteX113" fmla="*/ 776699 w 1614899"/>
                      <a:gd name="connsiteY113" fmla="*/ 550069 h 1619250"/>
                      <a:gd name="connsiteX114" fmla="*/ 793368 w 1614899"/>
                      <a:gd name="connsiteY114" fmla="*/ 552450 h 1619250"/>
                      <a:gd name="connsiteX115" fmla="*/ 807656 w 1614899"/>
                      <a:gd name="connsiteY115" fmla="*/ 557212 h 1619250"/>
                      <a:gd name="connsiteX116" fmla="*/ 814799 w 1614899"/>
                      <a:gd name="connsiteY116" fmla="*/ 559594 h 1619250"/>
                      <a:gd name="connsiteX117" fmla="*/ 821943 w 1614899"/>
                      <a:gd name="connsiteY117" fmla="*/ 566737 h 1619250"/>
                      <a:gd name="connsiteX118" fmla="*/ 829087 w 1614899"/>
                      <a:gd name="connsiteY118" fmla="*/ 569119 h 1619250"/>
                      <a:gd name="connsiteX119" fmla="*/ 836231 w 1614899"/>
                      <a:gd name="connsiteY119" fmla="*/ 573881 h 1619250"/>
                      <a:gd name="connsiteX120" fmla="*/ 843374 w 1614899"/>
                      <a:gd name="connsiteY120" fmla="*/ 588169 h 1619250"/>
                      <a:gd name="connsiteX121" fmla="*/ 852899 w 1614899"/>
                      <a:gd name="connsiteY121" fmla="*/ 597694 h 1619250"/>
                      <a:gd name="connsiteX122" fmla="*/ 902906 w 1614899"/>
                      <a:gd name="connsiteY122" fmla="*/ 604837 h 1619250"/>
                      <a:gd name="connsiteX123" fmla="*/ 914812 w 1614899"/>
                      <a:gd name="connsiteY123" fmla="*/ 626269 h 1619250"/>
                      <a:gd name="connsiteX124" fmla="*/ 919574 w 1614899"/>
                      <a:gd name="connsiteY124" fmla="*/ 633412 h 1619250"/>
                      <a:gd name="connsiteX125" fmla="*/ 919574 w 1614899"/>
                      <a:gd name="connsiteY125" fmla="*/ 671512 h 1619250"/>
                      <a:gd name="connsiteX126" fmla="*/ 926718 w 1614899"/>
                      <a:gd name="connsiteY126" fmla="*/ 676275 h 1619250"/>
                      <a:gd name="connsiteX127" fmla="*/ 933862 w 1614899"/>
                      <a:gd name="connsiteY127" fmla="*/ 690562 h 1619250"/>
                      <a:gd name="connsiteX128" fmla="*/ 936243 w 1614899"/>
                      <a:gd name="connsiteY128" fmla="*/ 702469 h 1619250"/>
                      <a:gd name="connsiteX129" fmla="*/ 943387 w 1614899"/>
                      <a:gd name="connsiteY129" fmla="*/ 709612 h 1619250"/>
                      <a:gd name="connsiteX130" fmla="*/ 945768 w 1614899"/>
                      <a:gd name="connsiteY130" fmla="*/ 723900 h 1619250"/>
                      <a:gd name="connsiteX131" fmla="*/ 955293 w 1614899"/>
                      <a:gd name="connsiteY131" fmla="*/ 738187 h 1619250"/>
                      <a:gd name="connsiteX132" fmla="*/ 964818 w 1614899"/>
                      <a:gd name="connsiteY132" fmla="*/ 752475 h 1619250"/>
                      <a:gd name="connsiteX133" fmla="*/ 967199 w 1614899"/>
                      <a:gd name="connsiteY133" fmla="*/ 759619 h 1619250"/>
                      <a:gd name="connsiteX134" fmla="*/ 974343 w 1614899"/>
                      <a:gd name="connsiteY134" fmla="*/ 769144 h 1619250"/>
                      <a:gd name="connsiteX135" fmla="*/ 979106 w 1614899"/>
                      <a:gd name="connsiteY135" fmla="*/ 783431 h 1619250"/>
                      <a:gd name="connsiteX136" fmla="*/ 981487 w 1614899"/>
                      <a:gd name="connsiteY136" fmla="*/ 790575 h 1619250"/>
                      <a:gd name="connsiteX137" fmla="*/ 991012 w 1614899"/>
                      <a:gd name="connsiteY137" fmla="*/ 804862 h 1619250"/>
                      <a:gd name="connsiteX138" fmla="*/ 998156 w 1614899"/>
                      <a:gd name="connsiteY138" fmla="*/ 819150 h 1619250"/>
                      <a:gd name="connsiteX139" fmla="*/ 1000537 w 1614899"/>
                      <a:gd name="connsiteY139" fmla="*/ 826294 h 1619250"/>
                      <a:gd name="connsiteX140" fmla="*/ 1007681 w 1614899"/>
                      <a:gd name="connsiteY140" fmla="*/ 828675 h 1619250"/>
                      <a:gd name="connsiteX141" fmla="*/ 1014824 w 1614899"/>
                      <a:gd name="connsiteY141" fmla="*/ 833437 h 1619250"/>
                      <a:gd name="connsiteX142" fmla="*/ 1029112 w 1614899"/>
                      <a:gd name="connsiteY142" fmla="*/ 838200 h 1619250"/>
                      <a:gd name="connsiteX143" fmla="*/ 1033874 w 1614899"/>
                      <a:gd name="connsiteY143" fmla="*/ 845344 h 1619250"/>
                      <a:gd name="connsiteX144" fmla="*/ 1048162 w 1614899"/>
                      <a:gd name="connsiteY144" fmla="*/ 857250 h 1619250"/>
                      <a:gd name="connsiteX145" fmla="*/ 1062449 w 1614899"/>
                      <a:gd name="connsiteY145" fmla="*/ 862012 h 1619250"/>
                      <a:gd name="connsiteX146" fmla="*/ 1079118 w 1614899"/>
                      <a:gd name="connsiteY146" fmla="*/ 883444 h 1619250"/>
                      <a:gd name="connsiteX147" fmla="*/ 1081499 w 1614899"/>
                      <a:gd name="connsiteY147" fmla="*/ 890587 h 1619250"/>
                      <a:gd name="connsiteX148" fmla="*/ 1095787 w 1614899"/>
                      <a:gd name="connsiteY148" fmla="*/ 883444 h 1619250"/>
                      <a:gd name="connsiteX149" fmla="*/ 1110074 w 1614899"/>
                      <a:gd name="connsiteY149" fmla="*/ 890587 h 1619250"/>
                      <a:gd name="connsiteX150" fmla="*/ 1121981 w 1614899"/>
                      <a:gd name="connsiteY150" fmla="*/ 902494 h 1619250"/>
                      <a:gd name="connsiteX151" fmla="*/ 1136268 w 1614899"/>
                      <a:gd name="connsiteY151" fmla="*/ 907256 h 1619250"/>
                      <a:gd name="connsiteX152" fmla="*/ 1176749 w 1614899"/>
                      <a:gd name="connsiteY152" fmla="*/ 904875 h 1619250"/>
                      <a:gd name="connsiteX153" fmla="*/ 1195799 w 1614899"/>
                      <a:gd name="connsiteY153" fmla="*/ 904875 h 1619250"/>
                      <a:gd name="connsiteX154" fmla="*/ 1207706 w 1614899"/>
                      <a:gd name="connsiteY154" fmla="*/ 912019 h 1619250"/>
                      <a:gd name="connsiteX155" fmla="*/ 1210087 w 1614899"/>
                      <a:gd name="connsiteY155" fmla="*/ 902494 h 1619250"/>
                      <a:gd name="connsiteX156" fmla="*/ 1219612 w 1614899"/>
                      <a:gd name="connsiteY156" fmla="*/ 900112 h 1619250"/>
                      <a:gd name="connsiteX157" fmla="*/ 1226756 w 1614899"/>
                      <a:gd name="connsiteY157" fmla="*/ 895350 h 1619250"/>
                      <a:gd name="connsiteX158" fmla="*/ 1241043 w 1614899"/>
                      <a:gd name="connsiteY158" fmla="*/ 890587 h 1619250"/>
                      <a:gd name="connsiteX159" fmla="*/ 1255331 w 1614899"/>
                      <a:gd name="connsiteY159" fmla="*/ 892969 h 1619250"/>
                      <a:gd name="connsiteX160" fmla="*/ 1260093 w 1614899"/>
                      <a:gd name="connsiteY160" fmla="*/ 900112 h 1619250"/>
                      <a:gd name="connsiteX161" fmla="*/ 1267237 w 1614899"/>
                      <a:gd name="connsiteY161" fmla="*/ 904875 h 1619250"/>
                      <a:gd name="connsiteX162" fmla="*/ 1271999 w 1614899"/>
                      <a:gd name="connsiteY162" fmla="*/ 919162 h 1619250"/>
                      <a:gd name="connsiteX163" fmla="*/ 1269618 w 1614899"/>
                      <a:gd name="connsiteY163" fmla="*/ 928687 h 1619250"/>
                      <a:gd name="connsiteX164" fmla="*/ 1262474 w 1614899"/>
                      <a:gd name="connsiteY164" fmla="*/ 933450 h 1619250"/>
                      <a:gd name="connsiteX165" fmla="*/ 1255331 w 1614899"/>
                      <a:gd name="connsiteY165" fmla="*/ 940594 h 1619250"/>
                      <a:gd name="connsiteX166" fmla="*/ 1248187 w 1614899"/>
                      <a:gd name="connsiteY166" fmla="*/ 942975 h 1619250"/>
                      <a:gd name="connsiteX167" fmla="*/ 1241043 w 1614899"/>
                      <a:gd name="connsiteY167" fmla="*/ 947737 h 1619250"/>
                      <a:gd name="connsiteX168" fmla="*/ 1226756 w 1614899"/>
                      <a:gd name="connsiteY168" fmla="*/ 954881 h 1619250"/>
                      <a:gd name="connsiteX169" fmla="*/ 1236281 w 1614899"/>
                      <a:gd name="connsiteY169" fmla="*/ 969169 h 1619250"/>
                      <a:gd name="connsiteX170" fmla="*/ 1241043 w 1614899"/>
                      <a:gd name="connsiteY170" fmla="*/ 983456 h 1619250"/>
                      <a:gd name="connsiteX171" fmla="*/ 1250568 w 1614899"/>
                      <a:gd name="connsiteY171" fmla="*/ 997744 h 1619250"/>
                      <a:gd name="connsiteX172" fmla="*/ 1262474 w 1614899"/>
                      <a:gd name="connsiteY172" fmla="*/ 997744 h 1619250"/>
                      <a:gd name="connsiteX173" fmla="*/ 1264856 w 1614899"/>
                      <a:gd name="connsiteY173" fmla="*/ 990600 h 1619250"/>
                      <a:gd name="connsiteX174" fmla="*/ 1283906 w 1614899"/>
                      <a:gd name="connsiteY174" fmla="*/ 995362 h 1619250"/>
                      <a:gd name="connsiteX175" fmla="*/ 1291049 w 1614899"/>
                      <a:gd name="connsiteY175" fmla="*/ 1000125 h 1619250"/>
                      <a:gd name="connsiteX176" fmla="*/ 1298193 w 1614899"/>
                      <a:gd name="connsiteY176" fmla="*/ 1002506 h 1619250"/>
                      <a:gd name="connsiteX177" fmla="*/ 1322006 w 1614899"/>
                      <a:gd name="connsiteY177" fmla="*/ 1007269 h 1619250"/>
                      <a:gd name="connsiteX178" fmla="*/ 1336293 w 1614899"/>
                      <a:gd name="connsiteY178" fmla="*/ 1012031 h 1619250"/>
                      <a:gd name="connsiteX179" fmla="*/ 1355343 w 1614899"/>
                      <a:gd name="connsiteY179" fmla="*/ 1016794 h 1619250"/>
                      <a:gd name="connsiteX180" fmla="*/ 1362487 w 1614899"/>
                      <a:gd name="connsiteY180" fmla="*/ 1023937 h 1619250"/>
                      <a:gd name="connsiteX181" fmla="*/ 1376774 w 1614899"/>
                      <a:gd name="connsiteY181" fmla="*/ 1028700 h 1619250"/>
                      <a:gd name="connsiteX182" fmla="*/ 1391062 w 1614899"/>
                      <a:gd name="connsiteY182" fmla="*/ 1033462 h 1619250"/>
                      <a:gd name="connsiteX183" fmla="*/ 1398206 w 1614899"/>
                      <a:gd name="connsiteY183" fmla="*/ 1035844 h 1619250"/>
                      <a:gd name="connsiteX184" fmla="*/ 1405349 w 1614899"/>
                      <a:gd name="connsiteY184" fmla="*/ 1038225 h 1619250"/>
                      <a:gd name="connsiteX185" fmla="*/ 1412493 w 1614899"/>
                      <a:gd name="connsiteY185" fmla="*/ 1042987 h 1619250"/>
                      <a:gd name="connsiteX186" fmla="*/ 1426781 w 1614899"/>
                      <a:gd name="connsiteY186" fmla="*/ 1050131 h 1619250"/>
                      <a:gd name="connsiteX187" fmla="*/ 1436306 w 1614899"/>
                      <a:gd name="connsiteY187" fmla="*/ 1062037 h 1619250"/>
                      <a:gd name="connsiteX188" fmla="*/ 1441068 w 1614899"/>
                      <a:gd name="connsiteY188" fmla="*/ 1069181 h 1619250"/>
                      <a:gd name="connsiteX189" fmla="*/ 1450593 w 1614899"/>
                      <a:gd name="connsiteY189" fmla="*/ 1071562 h 1619250"/>
                      <a:gd name="connsiteX190" fmla="*/ 1464881 w 1614899"/>
                      <a:gd name="connsiteY190" fmla="*/ 1076325 h 1619250"/>
                      <a:gd name="connsiteX191" fmla="*/ 1467262 w 1614899"/>
                      <a:gd name="connsiteY191" fmla="*/ 1083469 h 1619250"/>
                      <a:gd name="connsiteX192" fmla="*/ 1488693 w 1614899"/>
                      <a:gd name="connsiteY192" fmla="*/ 1092994 h 1619250"/>
                      <a:gd name="connsiteX193" fmla="*/ 1500599 w 1614899"/>
                      <a:gd name="connsiteY193" fmla="*/ 1095375 h 1619250"/>
                      <a:gd name="connsiteX194" fmla="*/ 1514887 w 1614899"/>
                      <a:gd name="connsiteY194" fmla="*/ 1097756 h 1619250"/>
                      <a:gd name="connsiteX195" fmla="*/ 1522031 w 1614899"/>
                      <a:gd name="connsiteY195" fmla="*/ 1100137 h 1619250"/>
                      <a:gd name="connsiteX196" fmla="*/ 1541081 w 1614899"/>
                      <a:gd name="connsiteY196" fmla="*/ 1104900 h 1619250"/>
                      <a:gd name="connsiteX197" fmla="*/ 1545843 w 1614899"/>
                      <a:gd name="connsiteY197" fmla="*/ 1112044 h 1619250"/>
                      <a:gd name="connsiteX198" fmla="*/ 1543462 w 1614899"/>
                      <a:gd name="connsiteY198" fmla="*/ 1119187 h 1619250"/>
                      <a:gd name="connsiteX199" fmla="*/ 1557749 w 1614899"/>
                      <a:gd name="connsiteY199" fmla="*/ 1128712 h 1619250"/>
                      <a:gd name="connsiteX200" fmla="*/ 1564893 w 1614899"/>
                      <a:gd name="connsiteY200" fmla="*/ 1133475 h 1619250"/>
                      <a:gd name="connsiteX201" fmla="*/ 1579181 w 1614899"/>
                      <a:gd name="connsiteY201" fmla="*/ 1147762 h 1619250"/>
                      <a:gd name="connsiteX202" fmla="*/ 1593468 w 1614899"/>
                      <a:gd name="connsiteY202" fmla="*/ 1152525 h 1619250"/>
                      <a:gd name="connsiteX203" fmla="*/ 1600612 w 1614899"/>
                      <a:gd name="connsiteY203" fmla="*/ 1154906 h 1619250"/>
                      <a:gd name="connsiteX204" fmla="*/ 1607756 w 1614899"/>
                      <a:gd name="connsiteY204" fmla="*/ 1162050 h 1619250"/>
                      <a:gd name="connsiteX205" fmla="*/ 1610137 w 1614899"/>
                      <a:gd name="connsiteY205" fmla="*/ 1169194 h 1619250"/>
                      <a:gd name="connsiteX206" fmla="*/ 1614899 w 1614899"/>
                      <a:gd name="connsiteY206" fmla="*/ 1176337 h 1619250"/>
                      <a:gd name="connsiteX207" fmla="*/ 1612518 w 1614899"/>
                      <a:gd name="connsiteY207" fmla="*/ 1195387 h 1619250"/>
                      <a:gd name="connsiteX208" fmla="*/ 1610137 w 1614899"/>
                      <a:gd name="connsiteY208" fmla="*/ 1202531 h 1619250"/>
                      <a:gd name="connsiteX209" fmla="*/ 1602993 w 1614899"/>
                      <a:gd name="connsiteY209" fmla="*/ 1204912 h 1619250"/>
                      <a:gd name="connsiteX210" fmla="*/ 1600612 w 1614899"/>
                      <a:gd name="connsiteY210" fmla="*/ 1212056 h 1619250"/>
                      <a:gd name="connsiteX211" fmla="*/ 1598231 w 1614899"/>
                      <a:gd name="connsiteY211" fmla="*/ 1247775 h 1619250"/>
                      <a:gd name="connsiteX212" fmla="*/ 1579181 w 1614899"/>
                      <a:gd name="connsiteY212" fmla="*/ 1245394 h 1619250"/>
                      <a:gd name="connsiteX213" fmla="*/ 1550606 w 1614899"/>
                      <a:gd name="connsiteY213" fmla="*/ 1231106 h 1619250"/>
                      <a:gd name="connsiteX214" fmla="*/ 1543462 w 1614899"/>
                      <a:gd name="connsiteY214" fmla="*/ 1226344 h 1619250"/>
                      <a:gd name="connsiteX215" fmla="*/ 1543462 w 1614899"/>
                      <a:gd name="connsiteY215" fmla="*/ 1197769 h 1619250"/>
                      <a:gd name="connsiteX216" fmla="*/ 1545843 w 1614899"/>
                      <a:gd name="connsiteY216" fmla="*/ 1183481 h 1619250"/>
                      <a:gd name="connsiteX217" fmla="*/ 1531556 w 1614899"/>
                      <a:gd name="connsiteY217" fmla="*/ 1176337 h 1619250"/>
                      <a:gd name="connsiteX218" fmla="*/ 1529174 w 1614899"/>
                      <a:gd name="connsiteY218" fmla="*/ 1169194 h 1619250"/>
                      <a:gd name="connsiteX219" fmla="*/ 1531556 w 1614899"/>
                      <a:gd name="connsiteY219" fmla="*/ 1152525 h 1619250"/>
                      <a:gd name="connsiteX220" fmla="*/ 1524412 w 1614899"/>
                      <a:gd name="connsiteY220" fmla="*/ 1154906 h 1619250"/>
                      <a:gd name="connsiteX221" fmla="*/ 1517268 w 1614899"/>
                      <a:gd name="connsiteY221" fmla="*/ 1159669 h 1619250"/>
                      <a:gd name="connsiteX222" fmla="*/ 1502981 w 1614899"/>
                      <a:gd name="connsiteY222" fmla="*/ 1164431 h 1619250"/>
                      <a:gd name="connsiteX223" fmla="*/ 1481549 w 1614899"/>
                      <a:gd name="connsiteY223" fmla="*/ 1169194 h 1619250"/>
                      <a:gd name="connsiteX224" fmla="*/ 1457737 w 1614899"/>
                      <a:gd name="connsiteY224" fmla="*/ 1164431 h 1619250"/>
                      <a:gd name="connsiteX225" fmla="*/ 1443449 w 1614899"/>
                      <a:gd name="connsiteY225" fmla="*/ 1154906 h 1619250"/>
                      <a:gd name="connsiteX226" fmla="*/ 1436306 w 1614899"/>
                      <a:gd name="connsiteY226" fmla="*/ 1150144 h 1619250"/>
                      <a:gd name="connsiteX227" fmla="*/ 1426781 w 1614899"/>
                      <a:gd name="connsiteY227" fmla="*/ 1140619 h 1619250"/>
                      <a:gd name="connsiteX228" fmla="*/ 1402968 w 1614899"/>
                      <a:gd name="connsiteY228" fmla="*/ 1138237 h 1619250"/>
                      <a:gd name="connsiteX229" fmla="*/ 1395824 w 1614899"/>
                      <a:gd name="connsiteY229" fmla="*/ 1145381 h 1619250"/>
                      <a:gd name="connsiteX230" fmla="*/ 1374393 w 1614899"/>
                      <a:gd name="connsiteY230" fmla="*/ 1162050 h 1619250"/>
                      <a:gd name="connsiteX231" fmla="*/ 1367249 w 1614899"/>
                      <a:gd name="connsiteY231" fmla="*/ 1188244 h 1619250"/>
                      <a:gd name="connsiteX232" fmla="*/ 1357724 w 1614899"/>
                      <a:gd name="connsiteY232" fmla="*/ 1202531 h 1619250"/>
                      <a:gd name="connsiteX233" fmla="*/ 1348199 w 1614899"/>
                      <a:gd name="connsiteY233" fmla="*/ 1212056 h 1619250"/>
                      <a:gd name="connsiteX234" fmla="*/ 1345818 w 1614899"/>
                      <a:gd name="connsiteY234" fmla="*/ 1219200 h 1619250"/>
                      <a:gd name="connsiteX235" fmla="*/ 1341056 w 1614899"/>
                      <a:gd name="connsiteY235" fmla="*/ 1228725 h 1619250"/>
                      <a:gd name="connsiteX236" fmla="*/ 1350581 w 1614899"/>
                      <a:gd name="connsiteY236" fmla="*/ 1243012 h 1619250"/>
                      <a:gd name="connsiteX237" fmla="*/ 1343437 w 1614899"/>
                      <a:gd name="connsiteY237" fmla="*/ 1266825 h 1619250"/>
                      <a:gd name="connsiteX238" fmla="*/ 1345818 w 1614899"/>
                      <a:gd name="connsiteY238" fmla="*/ 1281112 h 1619250"/>
                      <a:gd name="connsiteX239" fmla="*/ 1348199 w 1614899"/>
                      <a:gd name="connsiteY239" fmla="*/ 1290637 h 1619250"/>
                      <a:gd name="connsiteX240" fmla="*/ 1355343 w 1614899"/>
                      <a:gd name="connsiteY240" fmla="*/ 1297781 h 1619250"/>
                      <a:gd name="connsiteX241" fmla="*/ 1362487 w 1614899"/>
                      <a:gd name="connsiteY241" fmla="*/ 1300162 h 1619250"/>
                      <a:gd name="connsiteX242" fmla="*/ 1386299 w 1614899"/>
                      <a:gd name="connsiteY242" fmla="*/ 1302544 h 1619250"/>
                      <a:gd name="connsiteX243" fmla="*/ 1395824 w 1614899"/>
                      <a:gd name="connsiteY243" fmla="*/ 1309687 h 1619250"/>
                      <a:gd name="connsiteX244" fmla="*/ 1410112 w 1614899"/>
                      <a:gd name="connsiteY244" fmla="*/ 1314450 h 1619250"/>
                      <a:gd name="connsiteX245" fmla="*/ 1417256 w 1614899"/>
                      <a:gd name="connsiteY245" fmla="*/ 1319212 h 1619250"/>
                      <a:gd name="connsiteX246" fmla="*/ 1431543 w 1614899"/>
                      <a:gd name="connsiteY246" fmla="*/ 1326356 h 1619250"/>
                      <a:gd name="connsiteX247" fmla="*/ 1433924 w 1614899"/>
                      <a:gd name="connsiteY247" fmla="*/ 1333500 h 1619250"/>
                      <a:gd name="connsiteX248" fmla="*/ 1429162 w 1614899"/>
                      <a:gd name="connsiteY248" fmla="*/ 1340644 h 1619250"/>
                      <a:gd name="connsiteX249" fmla="*/ 1426781 w 1614899"/>
                      <a:gd name="connsiteY249" fmla="*/ 1347787 h 1619250"/>
                      <a:gd name="connsiteX250" fmla="*/ 1431543 w 1614899"/>
                      <a:gd name="connsiteY250" fmla="*/ 1354931 h 1619250"/>
                      <a:gd name="connsiteX251" fmla="*/ 1436306 w 1614899"/>
                      <a:gd name="connsiteY251" fmla="*/ 1364456 h 1619250"/>
                      <a:gd name="connsiteX252" fmla="*/ 1443449 w 1614899"/>
                      <a:gd name="connsiteY252" fmla="*/ 1395412 h 1619250"/>
                      <a:gd name="connsiteX253" fmla="*/ 1450593 w 1614899"/>
                      <a:gd name="connsiteY253" fmla="*/ 1402556 h 1619250"/>
                      <a:gd name="connsiteX254" fmla="*/ 1448212 w 1614899"/>
                      <a:gd name="connsiteY254" fmla="*/ 1412081 h 1619250"/>
                      <a:gd name="connsiteX255" fmla="*/ 1433924 w 1614899"/>
                      <a:gd name="connsiteY255" fmla="*/ 1416844 h 1619250"/>
                      <a:gd name="connsiteX256" fmla="*/ 1419637 w 1614899"/>
                      <a:gd name="connsiteY256" fmla="*/ 1423987 h 1619250"/>
                      <a:gd name="connsiteX257" fmla="*/ 1405349 w 1614899"/>
                      <a:gd name="connsiteY257" fmla="*/ 1431131 h 1619250"/>
                      <a:gd name="connsiteX258" fmla="*/ 1398206 w 1614899"/>
                      <a:gd name="connsiteY258" fmla="*/ 1435894 h 1619250"/>
                      <a:gd name="connsiteX259" fmla="*/ 1383918 w 1614899"/>
                      <a:gd name="connsiteY259" fmla="*/ 1440656 h 1619250"/>
                      <a:gd name="connsiteX260" fmla="*/ 1376774 w 1614899"/>
                      <a:gd name="connsiteY260" fmla="*/ 1443037 h 1619250"/>
                      <a:gd name="connsiteX261" fmla="*/ 1364868 w 1614899"/>
                      <a:gd name="connsiteY261" fmla="*/ 1464469 h 1619250"/>
                      <a:gd name="connsiteX262" fmla="*/ 1362487 w 1614899"/>
                      <a:gd name="connsiteY262" fmla="*/ 1473994 h 1619250"/>
                      <a:gd name="connsiteX263" fmla="*/ 1364868 w 1614899"/>
                      <a:gd name="connsiteY263" fmla="*/ 1497806 h 1619250"/>
                      <a:gd name="connsiteX264" fmla="*/ 1372012 w 1614899"/>
                      <a:gd name="connsiteY264" fmla="*/ 1500187 h 1619250"/>
                      <a:gd name="connsiteX265" fmla="*/ 1369631 w 1614899"/>
                      <a:gd name="connsiteY265" fmla="*/ 1516856 h 1619250"/>
                      <a:gd name="connsiteX266" fmla="*/ 1367249 w 1614899"/>
                      <a:gd name="connsiteY266" fmla="*/ 1524000 h 1619250"/>
                      <a:gd name="connsiteX267" fmla="*/ 1360106 w 1614899"/>
                      <a:gd name="connsiteY267" fmla="*/ 1526381 h 1619250"/>
                      <a:gd name="connsiteX268" fmla="*/ 1352962 w 1614899"/>
                      <a:gd name="connsiteY268" fmla="*/ 1531144 h 1619250"/>
                      <a:gd name="connsiteX269" fmla="*/ 1343437 w 1614899"/>
                      <a:gd name="connsiteY269" fmla="*/ 1535906 h 1619250"/>
                      <a:gd name="connsiteX270" fmla="*/ 1329149 w 1614899"/>
                      <a:gd name="connsiteY270" fmla="*/ 1550194 h 1619250"/>
                      <a:gd name="connsiteX271" fmla="*/ 1326768 w 1614899"/>
                      <a:gd name="connsiteY271" fmla="*/ 1559719 h 1619250"/>
                      <a:gd name="connsiteX272" fmla="*/ 1322006 w 1614899"/>
                      <a:gd name="connsiteY272" fmla="*/ 1566862 h 1619250"/>
                      <a:gd name="connsiteX273" fmla="*/ 1319624 w 1614899"/>
                      <a:gd name="connsiteY273" fmla="*/ 1578769 h 1619250"/>
                      <a:gd name="connsiteX274" fmla="*/ 1317243 w 1614899"/>
                      <a:gd name="connsiteY274" fmla="*/ 1585912 h 1619250"/>
                      <a:gd name="connsiteX275" fmla="*/ 1314862 w 1614899"/>
                      <a:gd name="connsiteY275" fmla="*/ 1602581 h 1619250"/>
                      <a:gd name="connsiteX276" fmla="*/ 1283906 w 1614899"/>
                      <a:gd name="connsiteY276" fmla="*/ 1614487 h 1619250"/>
                      <a:gd name="connsiteX277" fmla="*/ 1274381 w 1614899"/>
                      <a:gd name="connsiteY277" fmla="*/ 1616869 h 1619250"/>
                      <a:gd name="connsiteX278" fmla="*/ 1260093 w 1614899"/>
                      <a:gd name="connsiteY278" fmla="*/ 1619250 h 1619250"/>
                      <a:gd name="connsiteX279" fmla="*/ 1248187 w 1614899"/>
                      <a:gd name="connsiteY279" fmla="*/ 1616869 h 1619250"/>
                      <a:gd name="connsiteX280" fmla="*/ 1243424 w 1614899"/>
                      <a:gd name="connsiteY280" fmla="*/ 1597819 h 1619250"/>
                      <a:gd name="connsiteX281" fmla="*/ 1238662 w 1614899"/>
                      <a:gd name="connsiteY281" fmla="*/ 1581150 h 1619250"/>
                      <a:gd name="connsiteX282" fmla="*/ 1243424 w 1614899"/>
                      <a:gd name="connsiteY282" fmla="*/ 1566862 h 1619250"/>
                      <a:gd name="connsiteX283" fmla="*/ 1252949 w 1614899"/>
                      <a:gd name="connsiteY283" fmla="*/ 1552575 h 1619250"/>
                      <a:gd name="connsiteX284" fmla="*/ 1260093 w 1614899"/>
                      <a:gd name="connsiteY284" fmla="*/ 1550194 h 1619250"/>
                      <a:gd name="connsiteX285" fmla="*/ 1267237 w 1614899"/>
                      <a:gd name="connsiteY285" fmla="*/ 1543050 h 1619250"/>
                      <a:gd name="connsiteX286" fmla="*/ 1269618 w 1614899"/>
                      <a:gd name="connsiteY286" fmla="*/ 1535906 h 1619250"/>
                      <a:gd name="connsiteX287" fmla="*/ 1274381 w 1614899"/>
                      <a:gd name="connsiteY287" fmla="*/ 1526381 h 1619250"/>
                      <a:gd name="connsiteX288" fmla="*/ 1267237 w 1614899"/>
                      <a:gd name="connsiteY288" fmla="*/ 1502569 h 1619250"/>
                      <a:gd name="connsiteX289" fmla="*/ 1252949 w 1614899"/>
                      <a:gd name="connsiteY289" fmla="*/ 1493044 h 1619250"/>
                      <a:gd name="connsiteX290" fmla="*/ 1262474 w 1614899"/>
                      <a:gd name="connsiteY290" fmla="*/ 1478756 h 1619250"/>
                      <a:gd name="connsiteX291" fmla="*/ 1279143 w 1614899"/>
                      <a:gd name="connsiteY291" fmla="*/ 1462087 h 1619250"/>
                      <a:gd name="connsiteX292" fmla="*/ 1302956 w 1614899"/>
                      <a:gd name="connsiteY292" fmla="*/ 1459706 h 1619250"/>
                      <a:gd name="connsiteX293" fmla="*/ 1305337 w 1614899"/>
                      <a:gd name="connsiteY293" fmla="*/ 1450181 h 1619250"/>
                      <a:gd name="connsiteX294" fmla="*/ 1310099 w 1614899"/>
                      <a:gd name="connsiteY294" fmla="*/ 1443037 h 1619250"/>
                      <a:gd name="connsiteX295" fmla="*/ 1312481 w 1614899"/>
                      <a:gd name="connsiteY295" fmla="*/ 1435894 h 1619250"/>
                      <a:gd name="connsiteX296" fmla="*/ 1305337 w 1614899"/>
                      <a:gd name="connsiteY296" fmla="*/ 1428750 h 1619250"/>
                      <a:gd name="connsiteX297" fmla="*/ 1298193 w 1614899"/>
                      <a:gd name="connsiteY297" fmla="*/ 1423987 h 1619250"/>
                      <a:gd name="connsiteX298" fmla="*/ 1295812 w 1614899"/>
                      <a:gd name="connsiteY298" fmla="*/ 1412081 h 1619250"/>
                      <a:gd name="connsiteX299" fmla="*/ 1293431 w 1614899"/>
                      <a:gd name="connsiteY299" fmla="*/ 1402556 h 1619250"/>
                      <a:gd name="connsiteX300" fmla="*/ 1288668 w 1614899"/>
                      <a:gd name="connsiteY300" fmla="*/ 1369219 h 1619250"/>
                      <a:gd name="connsiteX301" fmla="*/ 1286287 w 1614899"/>
                      <a:gd name="connsiteY301" fmla="*/ 1362075 h 1619250"/>
                      <a:gd name="connsiteX302" fmla="*/ 1276762 w 1614899"/>
                      <a:gd name="connsiteY302" fmla="*/ 1345406 h 1619250"/>
                      <a:gd name="connsiteX303" fmla="*/ 1267237 w 1614899"/>
                      <a:gd name="connsiteY303" fmla="*/ 1343025 h 1619250"/>
                      <a:gd name="connsiteX304" fmla="*/ 1260093 w 1614899"/>
                      <a:gd name="connsiteY304" fmla="*/ 1340644 h 1619250"/>
                      <a:gd name="connsiteX305" fmla="*/ 1252949 w 1614899"/>
                      <a:gd name="connsiteY305" fmla="*/ 1307306 h 1619250"/>
                      <a:gd name="connsiteX306" fmla="*/ 1248187 w 1614899"/>
                      <a:gd name="connsiteY306" fmla="*/ 1293019 h 1619250"/>
                      <a:gd name="connsiteX307" fmla="*/ 1243424 w 1614899"/>
                      <a:gd name="connsiteY307" fmla="*/ 1278731 h 1619250"/>
                      <a:gd name="connsiteX308" fmla="*/ 1241043 w 1614899"/>
                      <a:gd name="connsiteY308" fmla="*/ 1271587 h 1619250"/>
                      <a:gd name="connsiteX309" fmla="*/ 1236281 w 1614899"/>
                      <a:gd name="connsiteY309" fmla="*/ 1262062 h 1619250"/>
                      <a:gd name="connsiteX310" fmla="*/ 1231518 w 1614899"/>
                      <a:gd name="connsiteY310" fmla="*/ 1247775 h 1619250"/>
                      <a:gd name="connsiteX311" fmla="*/ 1224374 w 1614899"/>
                      <a:gd name="connsiteY311" fmla="*/ 1240631 h 1619250"/>
                      <a:gd name="connsiteX312" fmla="*/ 1214849 w 1614899"/>
                      <a:gd name="connsiteY312" fmla="*/ 1226344 h 1619250"/>
                      <a:gd name="connsiteX313" fmla="*/ 1195799 w 1614899"/>
                      <a:gd name="connsiteY313" fmla="*/ 1233487 h 1619250"/>
                      <a:gd name="connsiteX314" fmla="*/ 1198181 w 1614899"/>
                      <a:gd name="connsiteY314" fmla="*/ 1240631 h 1619250"/>
                      <a:gd name="connsiteX315" fmla="*/ 1191037 w 1614899"/>
                      <a:gd name="connsiteY315" fmla="*/ 1243012 h 1619250"/>
                      <a:gd name="connsiteX316" fmla="*/ 1164843 w 1614899"/>
                      <a:gd name="connsiteY316" fmla="*/ 1238250 h 1619250"/>
                      <a:gd name="connsiteX317" fmla="*/ 1155318 w 1614899"/>
                      <a:gd name="connsiteY317" fmla="*/ 1223962 h 1619250"/>
                      <a:gd name="connsiteX318" fmla="*/ 1148174 w 1614899"/>
                      <a:gd name="connsiteY318" fmla="*/ 1216819 h 1619250"/>
                      <a:gd name="connsiteX319" fmla="*/ 1138649 w 1614899"/>
                      <a:gd name="connsiteY319" fmla="*/ 1219200 h 1619250"/>
                      <a:gd name="connsiteX320" fmla="*/ 1131506 w 1614899"/>
                      <a:gd name="connsiteY320" fmla="*/ 1221581 h 1619250"/>
                      <a:gd name="connsiteX321" fmla="*/ 1124362 w 1614899"/>
                      <a:gd name="connsiteY321" fmla="*/ 1219200 h 1619250"/>
                      <a:gd name="connsiteX322" fmla="*/ 1112456 w 1614899"/>
                      <a:gd name="connsiteY322" fmla="*/ 1207295 h 1619250"/>
                      <a:gd name="connsiteX323" fmla="*/ 1126743 w 1614899"/>
                      <a:gd name="connsiteY323" fmla="*/ 1190624 h 1619250"/>
                      <a:gd name="connsiteX324" fmla="*/ 1112456 w 1614899"/>
                      <a:gd name="connsiteY324" fmla="*/ 1154906 h 1619250"/>
                      <a:gd name="connsiteX325" fmla="*/ 1107693 w 1614899"/>
                      <a:gd name="connsiteY325" fmla="*/ 1147762 h 1619250"/>
                      <a:gd name="connsiteX326" fmla="*/ 1100549 w 1614899"/>
                      <a:gd name="connsiteY326" fmla="*/ 1145381 h 1619250"/>
                      <a:gd name="connsiteX327" fmla="*/ 1093406 w 1614899"/>
                      <a:gd name="connsiteY327" fmla="*/ 1147762 h 1619250"/>
                      <a:gd name="connsiteX328" fmla="*/ 1062449 w 1614899"/>
                      <a:gd name="connsiteY328" fmla="*/ 1152525 h 1619250"/>
                      <a:gd name="connsiteX329" fmla="*/ 1043400 w 1614899"/>
                      <a:gd name="connsiteY329" fmla="*/ 1154906 h 1619250"/>
                      <a:gd name="connsiteX330" fmla="*/ 1029112 w 1614899"/>
                      <a:gd name="connsiteY330" fmla="*/ 1157286 h 1619250"/>
                      <a:gd name="connsiteX331" fmla="*/ 1050543 w 1614899"/>
                      <a:gd name="connsiteY331" fmla="*/ 1128712 h 1619250"/>
                      <a:gd name="connsiteX332" fmla="*/ 1036255 w 1614899"/>
                      <a:gd name="connsiteY332" fmla="*/ 1119187 h 1619250"/>
                      <a:gd name="connsiteX333" fmla="*/ 1024349 w 1614899"/>
                      <a:gd name="connsiteY333" fmla="*/ 1109662 h 1619250"/>
                      <a:gd name="connsiteX334" fmla="*/ 1014824 w 1614899"/>
                      <a:gd name="connsiteY334" fmla="*/ 1107281 h 1619250"/>
                      <a:gd name="connsiteX335" fmla="*/ 986250 w 1614899"/>
                      <a:gd name="connsiteY335" fmla="*/ 1114424 h 1619250"/>
                      <a:gd name="connsiteX336" fmla="*/ 979106 w 1614899"/>
                      <a:gd name="connsiteY336" fmla="*/ 1097757 h 1619250"/>
                      <a:gd name="connsiteX337" fmla="*/ 979106 w 1614899"/>
                      <a:gd name="connsiteY337" fmla="*/ 1076325 h 1619250"/>
                      <a:gd name="connsiteX338" fmla="*/ 964818 w 1614899"/>
                      <a:gd name="connsiteY338" fmla="*/ 1064419 h 1619250"/>
                      <a:gd name="connsiteX339" fmla="*/ 950531 w 1614899"/>
                      <a:gd name="connsiteY339" fmla="*/ 1054894 h 1619250"/>
                      <a:gd name="connsiteX340" fmla="*/ 943387 w 1614899"/>
                      <a:gd name="connsiteY340" fmla="*/ 1050131 h 1619250"/>
                      <a:gd name="connsiteX341" fmla="*/ 936243 w 1614899"/>
                      <a:gd name="connsiteY341" fmla="*/ 1045369 h 1619250"/>
                      <a:gd name="connsiteX342" fmla="*/ 931481 w 1614899"/>
                      <a:gd name="connsiteY342" fmla="*/ 1038225 h 1619250"/>
                      <a:gd name="connsiteX343" fmla="*/ 917193 w 1614899"/>
                      <a:gd name="connsiteY343" fmla="*/ 1031081 h 1619250"/>
                      <a:gd name="connsiteX344" fmla="*/ 914812 w 1614899"/>
                      <a:gd name="connsiteY344" fmla="*/ 1040606 h 1619250"/>
                      <a:gd name="connsiteX345" fmla="*/ 907668 w 1614899"/>
                      <a:gd name="connsiteY345" fmla="*/ 1042987 h 1619250"/>
                      <a:gd name="connsiteX346" fmla="*/ 886237 w 1614899"/>
                      <a:gd name="connsiteY346" fmla="*/ 1031081 h 1619250"/>
                      <a:gd name="connsiteX347" fmla="*/ 862424 w 1614899"/>
                      <a:gd name="connsiteY347" fmla="*/ 1035844 h 1619250"/>
                      <a:gd name="connsiteX348" fmla="*/ 845756 w 1614899"/>
                      <a:gd name="connsiteY348" fmla="*/ 1040606 h 1619250"/>
                      <a:gd name="connsiteX349" fmla="*/ 840993 w 1614899"/>
                      <a:gd name="connsiteY349" fmla="*/ 1033462 h 1619250"/>
                      <a:gd name="connsiteX350" fmla="*/ 821943 w 1614899"/>
                      <a:gd name="connsiteY350" fmla="*/ 1004887 h 1619250"/>
                      <a:gd name="connsiteX351" fmla="*/ 814799 w 1614899"/>
                      <a:gd name="connsiteY351" fmla="*/ 1000125 h 1619250"/>
                      <a:gd name="connsiteX352" fmla="*/ 779081 w 1614899"/>
                      <a:gd name="connsiteY352" fmla="*/ 995362 h 1619250"/>
                      <a:gd name="connsiteX353" fmla="*/ 771937 w 1614899"/>
                      <a:gd name="connsiteY353" fmla="*/ 988219 h 1619250"/>
                      <a:gd name="connsiteX354" fmla="*/ 762412 w 1614899"/>
                      <a:gd name="connsiteY354" fmla="*/ 966787 h 1619250"/>
                      <a:gd name="connsiteX355" fmla="*/ 755268 w 1614899"/>
                      <a:gd name="connsiteY355" fmla="*/ 962025 h 1619250"/>
                      <a:gd name="connsiteX356" fmla="*/ 733837 w 1614899"/>
                      <a:gd name="connsiteY356" fmla="*/ 962025 h 1619250"/>
                      <a:gd name="connsiteX357" fmla="*/ 731456 w 1614899"/>
                      <a:gd name="connsiteY357" fmla="*/ 950119 h 1619250"/>
                      <a:gd name="connsiteX358" fmla="*/ 729074 w 1614899"/>
                      <a:gd name="connsiteY358" fmla="*/ 942975 h 1619250"/>
                      <a:gd name="connsiteX359" fmla="*/ 726693 w 1614899"/>
                      <a:gd name="connsiteY359" fmla="*/ 921544 h 1619250"/>
                      <a:gd name="connsiteX360" fmla="*/ 724312 w 1614899"/>
                      <a:gd name="connsiteY360" fmla="*/ 914400 h 1619250"/>
                      <a:gd name="connsiteX361" fmla="*/ 717168 w 1614899"/>
                      <a:gd name="connsiteY361" fmla="*/ 909637 h 1619250"/>
                      <a:gd name="connsiteX362" fmla="*/ 710024 w 1614899"/>
                      <a:gd name="connsiteY362" fmla="*/ 907256 h 1619250"/>
                      <a:gd name="connsiteX363" fmla="*/ 681449 w 1614899"/>
                      <a:gd name="connsiteY363" fmla="*/ 902494 h 1619250"/>
                      <a:gd name="connsiteX364" fmla="*/ 674306 w 1614899"/>
                      <a:gd name="connsiteY364" fmla="*/ 897731 h 1619250"/>
                      <a:gd name="connsiteX365" fmla="*/ 667162 w 1614899"/>
                      <a:gd name="connsiteY365" fmla="*/ 883444 h 1619250"/>
                      <a:gd name="connsiteX366" fmla="*/ 657637 w 1614899"/>
                      <a:gd name="connsiteY366" fmla="*/ 881062 h 1619250"/>
                      <a:gd name="connsiteX367" fmla="*/ 650493 w 1614899"/>
                      <a:gd name="connsiteY367" fmla="*/ 873919 h 1619250"/>
                      <a:gd name="connsiteX368" fmla="*/ 648112 w 1614899"/>
                      <a:gd name="connsiteY368" fmla="*/ 866775 h 1619250"/>
                      <a:gd name="connsiteX369" fmla="*/ 643349 w 1614899"/>
                      <a:gd name="connsiteY369" fmla="*/ 859631 h 1619250"/>
                      <a:gd name="connsiteX370" fmla="*/ 631443 w 1614899"/>
                      <a:gd name="connsiteY370" fmla="*/ 838200 h 1619250"/>
                      <a:gd name="connsiteX371" fmla="*/ 624299 w 1614899"/>
                      <a:gd name="connsiteY371" fmla="*/ 833437 h 1619250"/>
                      <a:gd name="connsiteX372" fmla="*/ 593343 w 1614899"/>
                      <a:gd name="connsiteY372" fmla="*/ 835819 h 1619250"/>
                      <a:gd name="connsiteX373" fmla="*/ 586199 w 1614899"/>
                      <a:gd name="connsiteY373" fmla="*/ 816769 h 1619250"/>
                      <a:gd name="connsiteX374" fmla="*/ 569531 w 1614899"/>
                      <a:gd name="connsiteY374" fmla="*/ 795337 h 1619250"/>
                      <a:gd name="connsiteX375" fmla="*/ 564768 w 1614899"/>
                      <a:gd name="connsiteY375" fmla="*/ 788194 h 1619250"/>
                      <a:gd name="connsiteX376" fmla="*/ 557624 w 1614899"/>
                      <a:gd name="connsiteY376" fmla="*/ 785812 h 1619250"/>
                      <a:gd name="connsiteX377" fmla="*/ 550481 w 1614899"/>
                      <a:gd name="connsiteY377" fmla="*/ 781050 h 1619250"/>
                      <a:gd name="connsiteX378" fmla="*/ 536193 w 1614899"/>
                      <a:gd name="connsiteY378" fmla="*/ 776287 h 1619250"/>
                      <a:gd name="connsiteX379" fmla="*/ 538574 w 1614899"/>
                      <a:gd name="connsiteY379" fmla="*/ 747712 h 1619250"/>
                      <a:gd name="connsiteX380" fmla="*/ 533812 w 1614899"/>
                      <a:gd name="connsiteY380" fmla="*/ 740569 h 1619250"/>
                      <a:gd name="connsiteX381" fmla="*/ 519524 w 1614899"/>
                      <a:gd name="connsiteY381" fmla="*/ 731044 h 1619250"/>
                      <a:gd name="connsiteX382" fmla="*/ 512381 w 1614899"/>
                      <a:gd name="connsiteY382" fmla="*/ 735806 h 1619250"/>
                      <a:gd name="connsiteX383" fmla="*/ 505237 w 1614899"/>
                      <a:gd name="connsiteY383" fmla="*/ 738187 h 1619250"/>
                      <a:gd name="connsiteX384" fmla="*/ 507618 w 1614899"/>
                      <a:gd name="connsiteY384" fmla="*/ 723900 h 1619250"/>
                      <a:gd name="connsiteX385" fmla="*/ 505237 w 1614899"/>
                      <a:gd name="connsiteY385" fmla="*/ 688181 h 1619250"/>
                      <a:gd name="connsiteX386" fmla="*/ 493331 w 1614899"/>
                      <a:gd name="connsiteY386" fmla="*/ 666750 h 1619250"/>
                      <a:gd name="connsiteX387" fmla="*/ 486187 w 1614899"/>
                      <a:gd name="connsiteY387" fmla="*/ 659606 h 1619250"/>
                      <a:gd name="connsiteX388" fmla="*/ 481424 w 1614899"/>
                      <a:gd name="connsiteY388" fmla="*/ 652462 h 1619250"/>
                      <a:gd name="connsiteX389" fmla="*/ 479043 w 1614899"/>
                      <a:gd name="connsiteY389" fmla="*/ 614362 h 1619250"/>
                      <a:gd name="connsiteX390" fmla="*/ 474281 w 1614899"/>
                      <a:gd name="connsiteY390" fmla="*/ 595312 h 1619250"/>
                      <a:gd name="connsiteX391" fmla="*/ 467137 w 1614899"/>
                      <a:gd name="connsiteY391" fmla="*/ 578644 h 1619250"/>
                      <a:gd name="connsiteX392" fmla="*/ 459993 w 1614899"/>
                      <a:gd name="connsiteY392" fmla="*/ 571500 h 1619250"/>
                      <a:gd name="connsiteX393" fmla="*/ 440943 w 1614899"/>
                      <a:gd name="connsiteY393" fmla="*/ 554831 h 1619250"/>
                      <a:gd name="connsiteX394" fmla="*/ 426656 w 1614899"/>
                      <a:gd name="connsiteY394" fmla="*/ 550069 h 1619250"/>
                      <a:gd name="connsiteX395" fmla="*/ 424274 w 1614899"/>
                      <a:gd name="connsiteY395" fmla="*/ 557212 h 1619250"/>
                      <a:gd name="connsiteX396" fmla="*/ 414749 w 1614899"/>
                      <a:gd name="connsiteY396" fmla="*/ 552450 h 1619250"/>
                      <a:gd name="connsiteX397" fmla="*/ 407606 w 1614899"/>
                      <a:gd name="connsiteY397" fmla="*/ 545306 h 1619250"/>
                      <a:gd name="connsiteX398" fmla="*/ 390937 w 1614899"/>
                      <a:gd name="connsiteY398" fmla="*/ 535781 h 1619250"/>
                      <a:gd name="connsiteX399" fmla="*/ 383793 w 1614899"/>
                      <a:gd name="connsiteY399" fmla="*/ 528637 h 1619250"/>
                      <a:gd name="connsiteX400" fmla="*/ 374268 w 1614899"/>
                      <a:gd name="connsiteY400" fmla="*/ 526256 h 1619250"/>
                      <a:gd name="connsiteX401" fmla="*/ 352837 w 1614899"/>
                      <a:gd name="connsiteY401" fmla="*/ 519112 h 1619250"/>
                      <a:gd name="connsiteX402" fmla="*/ 345693 w 1614899"/>
                      <a:gd name="connsiteY402" fmla="*/ 516731 h 1619250"/>
                      <a:gd name="connsiteX403" fmla="*/ 338549 w 1614899"/>
                      <a:gd name="connsiteY403" fmla="*/ 514350 h 1619250"/>
                      <a:gd name="connsiteX404" fmla="*/ 326643 w 1614899"/>
                      <a:gd name="connsiteY404" fmla="*/ 504825 h 1619250"/>
                      <a:gd name="connsiteX405" fmla="*/ 321881 w 1614899"/>
                      <a:gd name="connsiteY405" fmla="*/ 497681 h 1619250"/>
                      <a:gd name="connsiteX406" fmla="*/ 314737 w 1614899"/>
                      <a:gd name="connsiteY406" fmla="*/ 490537 h 1619250"/>
                      <a:gd name="connsiteX407" fmla="*/ 307593 w 1614899"/>
                      <a:gd name="connsiteY407" fmla="*/ 485775 h 1619250"/>
                      <a:gd name="connsiteX408" fmla="*/ 293306 w 1614899"/>
                      <a:gd name="connsiteY408" fmla="*/ 481012 h 1619250"/>
                      <a:gd name="connsiteX409" fmla="*/ 269493 w 1614899"/>
                      <a:gd name="connsiteY409" fmla="*/ 483394 h 1619250"/>
                      <a:gd name="connsiteX410" fmla="*/ 259968 w 1614899"/>
                      <a:gd name="connsiteY410" fmla="*/ 490537 h 1619250"/>
                      <a:gd name="connsiteX411" fmla="*/ 243299 w 1614899"/>
                      <a:gd name="connsiteY411" fmla="*/ 497681 h 1619250"/>
                      <a:gd name="connsiteX412" fmla="*/ 236156 w 1614899"/>
                      <a:gd name="connsiteY412" fmla="*/ 502444 h 1619250"/>
                      <a:gd name="connsiteX413" fmla="*/ 233774 w 1614899"/>
                      <a:gd name="connsiteY413" fmla="*/ 509587 h 1619250"/>
                      <a:gd name="connsiteX414" fmla="*/ 231393 w 1614899"/>
                      <a:gd name="connsiteY414" fmla="*/ 519112 h 1619250"/>
                      <a:gd name="connsiteX415" fmla="*/ 224249 w 1614899"/>
                      <a:gd name="connsiteY415" fmla="*/ 521494 h 1619250"/>
                      <a:gd name="connsiteX416" fmla="*/ 209962 w 1614899"/>
                      <a:gd name="connsiteY416" fmla="*/ 528637 h 1619250"/>
                      <a:gd name="connsiteX417" fmla="*/ 200437 w 1614899"/>
                      <a:gd name="connsiteY417" fmla="*/ 542925 h 1619250"/>
                      <a:gd name="connsiteX418" fmla="*/ 195674 w 1614899"/>
                      <a:gd name="connsiteY418" fmla="*/ 557212 h 1619250"/>
                      <a:gd name="connsiteX419" fmla="*/ 188531 w 1614899"/>
                      <a:gd name="connsiteY419" fmla="*/ 559594 h 1619250"/>
                      <a:gd name="connsiteX420" fmla="*/ 176624 w 1614899"/>
                      <a:gd name="connsiteY420" fmla="*/ 564356 h 1619250"/>
                      <a:gd name="connsiteX421" fmla="*/ 164718 w 1614899"/>
                      <a:gd name="connsiteY421" fmla="*/ 566737 h 1619250"/>
                      <a:gd name="connsiteX422" fmla="*/ 157574 w 1614899"/>
                      <a:gd name="connsiteY422" fmla="*/ 569119 h 1619250"/>
                      <a:gd name="connsiteX423" fmla="*/ 148049 w 1614899"/>
                      <a:gd name="connsiteY423" fmla="*/ 571500 h 1619250"/>
                      <a:gd name="connsiteX424" fmla="*/ 140906 w 1614899"/>
                      <a:gd name="connsiteY424" fmla="*/ 573881 h 1619250"/>
                      <a:gd name="connsiteX425" fmla="*/ 121856 w 1614899"/>
                      <a:gd name="connsiteY425" fmla="*/ 576262 h 1619250"/>
                      <a:gd name="connsiteX426" fmla="*/ 119474 w 1614899"/>
                      <a:gd name="connsiteY426" fmla="*/ 571500 h 1619250"/>
                      <a:gd name="connsiteX427" fmla="*/ 128999 w 1614899"/>
                      <a:gd name="connsiteY427" fmla="*/ 557212 h 1619250"/>
                      <a:gd name="connsiteX428" fmla="*/ 131381 w 1614899"/>
                      <a:gd name="connsiteY428" fmla="*/ 550069 h 1619250"/>
                      <a:gd name="connsiteX429" fmla="*/ 140906 w 1614899"/>
                      <a:gd name="connsiteY429" fmla="*/ 535781 h 1619250"/>
                      <a:gd name="connsiteX430" fmla="*/ 133762 w 1614899"/>
                      <a:gd name="connsiteY430" fmla="*/ 533400 h 1619250"/>
                      <a:gd name="connsiteX431" fmla="*/ 128999 w 1614899"/>
                      <a:gd name="connsiteY431" fmla="*/ 516731 h 1619250"/>
                      <a:gd name="connsiteX432" fmla="*/ 69468 w 1614899"/>
                      <a:gd name="connsiteY432" fmla="*/ 514350 h 1619250"/>
                      <a:gd name="connsiteX433" fmla="*/ 67087 w 1614899"/>
                      <a:gd name="connsiteY433" fmla="*/ 507206 h 1619250"/>
                      <a:gd name="connsiteX434" fmla="*/ 52799 w 1614899"/>
                      <a:gd name="connsiteY434" fmla="*/ 497681 h 1619250"/>
                      <a:gd name="connsiteX435" fmla="*/ 55181 w 1614899"/>
                      <a:gd name="connsiteY435" fmla="*/ 488156 h 1619250"/>
                      <a:gd name="connsiteX436" fmla="*/ 40893 w 1614899"/>
                      <a:gd name="connsiteY436" fmla="*/ 483394 h 1619250"/>
                      <a:gd name="connsiteX437" fmla="*/ 38512 w 1614899"/>
                      <a:gd name="connsiteY437" fmla="*/ 471487 h 1619250"/>
                      <a:gd name="connsiteX438" fmla="*/ 36131 w 1614899"/>
                      <a:gd name="connsiteY438" fmla="*/ 464344 h 1619250"/>
                      <a:gd name="connsiteX439" fmla="*/ 38512 w 1614899"/>
                      <a:gd name="connsiteY439" fmla="*/ 452437 h 1619250"/>
                      <a:gd name="connsiteX440" fmla="*/ 38512 w 1614899"/>
                      <a:gd name="connsiteY440" fmla="*/ 428625 h 1619250"/>
                      <a:gd name="connsiteX441" fmla="*/ 45656 w 1614899"/>
                      <a:gd name="connsiteY441" fmla="*/ 426244 h 1619250"/>
                      <a:gd name="connsiteX442" fmla="*/ 52799 w 1614899"/>
                      <a:gd name="connsiteY442" fmla="*/ 421481 h 1619250"/>
                      <a:gd name="connsiteX443" fmla="*/ 59943 w 1614899"/>
                      <a:gd name="connsiteY443" fmla="*/ 419100 h 1619250"/>
                      <a:gd name="connsiteX444" fmla="*/ 64706 w 1614899"/>
                      <a:gd name="connsiteY444" fmla="*/ 411956 h 1619250"/>
                      <a:gd name="connsiteX445" fmla="*/ 55181 w 1614899"/>
                      <a:gd name="connsiteY445" fmla="*/ 392906 h 1619250"/>
                      <a:gd name="connsiteX446" fmla="*/ 40893 w 1614899"/>
                      <a:gd name="connsiteY446" fmla="*/ 388144 h 1619250"/>
                      <a:gd name="connsiteX447" fmla="*/ 33749 w 1614899"/>
                      <a:gd name="connsiteY447" fmla="*/ 390525 h 1619250"/>
                      <a:gd name="connsiteX448" fmla="*/ 28987 w 1614899"/>
                      <a:gd name="connsiteY448" fmla="*/ 390525 h 1619250"/>
                      <a:gd name="connsiteX449" fmla="*/ 21843 w 1614899"/>
                      <a:gd name="connsiteY449" fmla="*/ 388144 h 1619250"/>
                      <a:gd name="connsiteX450" fmla="*/ 14699 w 1614899"/>
                      <a:gd name="connsiteY450" fmla="*/ 364331 h 1619250"/>
                      <a:gd name="connsiteX451" fmla="*/ 2793 w 1614899"/>
                      <a:gd name="connsiteY451" fmla="*/ 361950 h 1619250"/>
                      <a:gd name="connsiteX452" fmla="*/ 2793 w 1614899"/>
                      <a:gd name="connsiteY452" fmla="*/ 345281 h 1619250"/>
                      <a:gd name="connsiteX453" fmla="*/ 17081 w 1614899"/>
                      <a:gd name="connsiteY453" fmla="*/ 340519 h 1619250"/>
                      <a:gd name="connsiteX454" fmla="*/ 24224 w 1614899"/>
                      <a:gd name="connsiteY454" fmla="*/ 347662 h 1619250"/>
                      <a:gd name="connsiteX455" fmla="*/ 40893 w 1614899"/>
                      <a:gd name="connsiteY455" fmla="*/ 342900 h 1619250"/>
                      <a:gd name="connsiteX456" fmla="*/ 57562 w 1614899"/>
                      <a:gd name="connsiteY456" fmla="*/ 333375 h 1619250"/>
                      <a:gd name="connsiteX457" fmla="*/ 64706 w 1614899"/>
                      <a:gd name="connsiteY457" fmla="*/ 328612 h 1619250"/>
                      <a:gd name="connsiteX458" fmla="*/ 71849 w 1614899"/>
                      <a:gd name="connsiteY458" fmla="*/ 326231 h 1619250"/>
                      <a:gd name="connsiteX459" fmla="*/ 90899 w 1614899"/>
                      <a:gd name="connsiteY459" fmla="*/ 321469 h 1619250"/>
                      <a:gd name="connsiteX460" fmla="*/ 86137 w 1614899"/>
                      <a:gd name="connsiteY460" fmla="*/ 311944 h 1619250"/>
                      <a:gd name="connsiteX461" fmla="*/ 88518 w 1614899"/>
                      <a:gd name="connsiteY461" fmla="*/ 292894 h 1619250"/>
                      <a:gd name="connsiteX462" fmla="*/ 90899 w 1614899"/>
                      <a:gd name="connsiteY462" fmla="*/ 285750 h 1619250"/>
                      <a:gd name="connsiteX463" fmla="*/ 76612 w 1614899"/>
                      <a:gd name="connsiteY463" fmla="*/ 280987 h 1619250"/>
                      <a:gd name="connsiteX464" fmla="*/ 71849 w 1614899"/>
                      <a:gd name="connsiteY464" fmla="*/ 273844 h 1619250"/>
                      <a:gd name="connsiteX465" fmla="*/ 67087 w 1614899"/>
                      <a:gd name="connsiteY465" fmla="*/ 250031 h 1619250"/>
                      <a:gd name="connsiteX466" fmla="*/ 45656 w 1614899"/>
                      <a:gd name="connsiteY466" fmla="*/ 250031 h 1619250"/>
                      <a:gd name="connsiteX467" fmla="*/ 40893 w 1614899"/>
                      <a:gd name="connsiteY467" fmla="*/ 242887 h 1619250"/>
                      <a:gd name="connsiteX468" fmla="*/ 43274 w 1614899"/>
                      <a:gd name="connsiteY468" fmla="*/ 223837 h 1619250"/>
                      <a:gd name="connsiteX469" fmla="*/ 57562 w 1614899"/>
                      <a:gd name="connsiteY469" fmla="*/ 211931 h 1619250"/>
                      <a:gd name="connsiteX470" fmla="*/ 74231 w 1614899"/>
                      <a:gd name="connsiteY470" fmla="*/ 200025 h 1619250"/>
                      <a:gd name="connsiteX471" fmla="*/ 81374 w 1614899"/>
                      <a:gd name="connsiteY471" fmla="*/ 202406 h 1619250"/>
                      <a:gd name="connsiteX472" fmla="*/ 83756 w 1614899"/>
                      <a:gd name="connsiteY472" fmla="*/ 209550 h 1619250"/>
                      <a:gd name="connsiteX473" fmla="*/ 102806 w 1614899"/>
                      <a:gd name="connsiteY473" fmla="*/ 204787 h 1619250"/>
                      <a:gd name="connsiteX474" fmla="*/ 109949 w 1614899"/>
                      <a:gd name="connsiteY474" fmla="*/ 200025 h 1619250"/>
                      <a:gd name="connsiteX475" fmla="*/ 119474 w 1614899"/>
                      <a:gd name="connsiteY475" fmla="*/ 197644 h 1619250"/>
                      <a:gd name="connsiteX476" fmla="*/ 133762 w 1614899"/>
                      <a:gd name="connsiteY476" fmla="*/ 192881 h 1619250"/>
                      <a:gd name="connsiteX477" fmla="*/ 140906 w 1614899"/>
                      <a:gd name="connsiteY477" fmla="*/ 190500 h 1619250"/>
                      <a:gd name="connsiteX478" fmla="*/ 148049 w 1614899"/>
                      <a:gd name="connsiteY478" fmla="*/ 195262 h 1619250"/>
                      <a:gd name="connsiteX479" fmla="*/ 155193 w 1614899"/>
                      <a:gd name="connsiteY479" fmla="*/ 204787 h 1619250"/>
                      <a:gd name="connsiteX480" fmla="*/ 164718 w 1614899"/>
                      <a:gd name="connsiteY480" fmla="*/ 202406 h 1619250"/>
                      <a:gd name="connsiteX481" fmla="*/ 190912 w 1614899"/>
                      <a:gd name="connsiteY481" fmla="*/ 200025 h 1619250"/>
                      <a:gd name="connsiteX482" fmla="*/ 193293 w 1614899"/>
                      <a:gd name="connsiteY482" fmla="*/ 192881 h 1619250"/>
                      <a:gd name="connsiteX483" fmla="*/ 198056 w 1614899"/>
                      <a:gd name="connsiteY483" fmla="*/ 185737 h 1619250"/>
                      <a:gd name="connsiteX484" fmla="*/ 195674 w 1614899"/>
                      <a:gd name="connsiteY484" fmla="*/ 178594 h 1619250"/>
                      <a:gd name="connsiteX485" fmla="*/ 186149 w 1614899"/>
                      <a:gd name="connsiteY485" fmla="*/ 159544 h 1619250"/>
                      <a:gd name="connsiteX486" fmla="*/ 217106 w 1614899"/>
                      <a:gd name="connsiteY486" fmla="*/ 152400 h 1619250"/>
                      <a:gd name="connsiteX487" fmla="*/ 209962 w 1614899"/>
                      <a:gd name="connsiteY487" fmla="*/ 145256 h 1619250"/>
                      <a:gd name="connsiteX488" fmla="*/ 202818 w 1614899"/>
                      <a:gd name="connsiteY488" fmla="*/ 140494 h 1619250"/>
                      <a:gd name="connsiteX489" fmla="*/ 212343 w 1614899"/>
                      <a:gd name="connsiteY489" fmla="*/ 133350 h 1619250"/>
                      <a:gd name="connsiteX490" fmla="*/ 233774 w 1614899"/>
                      <a:gd name="connsiteY490" fmla="*/ 123825 h 1619250"/>
                      <a:gd name="connsiteX491" fmla="*/ 238537 w 1614899"/>
                      <a:gd name="connsiteY491" fmla="*/ 116681 h 1619250"/>
                      <a:gd name="connsiteX492" fmla="*/ 240918 w 1614899"/>
                      <a:gd name="connsiteY492" fmla="*/ 107156 h 1619250"/>
                      <a:gd name="connsiteX493" fmla="*/ 248062 w 1614899"/>
                      <a:gd name="connsiteY493" fmla="*/ 109537 h 1619250"/>
                      <a:gd name="connsiteX494" fmla="*/ 250443 w 1614899"/>
                      <a:gd name="connsiteY494" fmla="*/ 116681 h 1619250"/>
                      <a:gd name="connsiteX495" fmla="*/ 252824 w 1614899"/>
                      <a:gd name="connsiteY495" fmla="*/ 130969 h 1619250"/>
                      <a:gd name="connsiteX496" fmla="*/ 269493 w 1614899"/>
                      <a:gd name="connsiteY496" fmla="*/ 138112 h 1619250"/>
                      <a:gd name="connsiteX497" fmla="*/ 271874 w 1614899"/>
                      <a:gd name="connsiteY497" fmla="*/ 145256 h 1619250"/>
                      <a:gd name="connsiteX498" fmla="*/ 264731 w 1614899"/>
                      <a:gd name="connsiteY498" fmla="*/ 152400 h 1619250"/>
                      <a:gd name="connsiteX499" fmla="*/ 262349 w 1614899"/>
                      <a:gd name="connsiteY499" fmla="*/ 159544 h 1619250"/>
                      <a:gd name="connsiteX500" fmla="*/ 264731 w 1614899"/>
                      <a:gd name="connsiteY500" fmla="*/ 173831 h 1619250"/>
                      <a:gd name="connsiteX501" fmla="*/ 274256 w 1614899"/>
                      <a:gd name="connsiteY501" fmla="*/ 176212 h 1619250"/>
                      <a:gd name="connsiteX502" fmla="*/ 295687 w 1614899"/>
                      <a:gd name="connsiteY502" fmla="*/ 178594 h 1619250"/>
                      <a:gd name="connsiteX503" fmla="*/ 293306 w 1614899"/>
                      <a:gd name="connsiteY503" fmla="*/ 185737 h 1619250"/>
                      <a:gd name="connsiteX504" fmla="*/ 295687 w 1614899"/>
                      <a:gd name="connsiteY504" fmla="*/ 200025 h 1619250"/>
                      <a:gd name="connsiteX505" fmla="*/ 302831 w 1614899"/>
                      <a:gd name="connsiteY505" fmla="*/ 216694 h 1619250"/>
                      <a:gd name="connsiteX506" fmla="*/ 307593 w 1614899"/>
                      <a:gd name="connsiteY506" fmla="*/ 223837 h 1619250"/>
                      <a:gd name="connsiteX507" fmla="*/ 314737 w 1614899"/>
                      <a:gd name="connsiteY507" fmla="*/ 228600 h 1619250"/>
                      <a:gd name="connsiteX508" fmla="*/ 326643 w 1614899"/>
                      <a:gd name="connsiteY508" fmla="*/ 226219 h 1619250"/>
                      <a:gd name="connsiteX509" fmla="*/ 321881 w 1614899"/>
                      <a:gd name="connsiteY509" fmla="*/ 200025 h 1619250"/>
                      <a:gd name="connsiteX510" fmla="*/ 314737 w 1614899"/>
                      <a:gd name="connsiteY510" fmla="*/ 197644 h 1619250"/>
                      <a:gd name="connsiteX511" fmla="*/ 324262 w 1614899"/>
                      <a:gd name="connsiteY511" fmla="*/ 180975 h 1619250"/>
                      <a:gd name="connsiteX512" fmla="*/ 329024 w 1614899"/>
                      <a:gd name="connsiteY512" fmla="*/ 173831 h 1619250"/>
                      <a:gd name="connsiteX513" fmla="*/ 343312 w 1614899"/>
                      <a:gd name="connsiteY513" fmla="*/ 159544 h 1619250"/>
                      <a:gd name="connsiteX514" fmla="*/ 348074 w 1614899"/>
                      <a:gd name="connsiteY514" fmla="*/ 145256 h 1619250"/>
                      <a:gd name="connsiteX515" fmla="*/ 350456 w 1614899"/>
                      <a:gd name="connsiteY515" fmla="*/ 114300 h 1619250"/>
                      <a:gd name="connsiteX516" fmla="*/ 357599 w 1614899"/>
                      <a:gd name="connsiteY516" fmla="*/ 111919 h 1619250"/>
                      <a:gd name="connsiteX517" fmla="*/ 364743 w 1614899"/>
                      <a:gd name="connsiteY517" fmla="*/ 114300 h 1619250"/>
                      <a:gd name="connsiteX518" fmla="*/ 371887 w 1614899"/>
                      <a:gd name="connsiteY518" fmla="*/ 114300 h 1619250"/>
                      <a:gd name="connsiteX519" fmla="*/ 381412 w 1614899"/>
                      <a:gd name="connsiteY519" fmla="*/ 138112 h 1619250"/>
                      <a:gd name="connsiteX520" fmla="*/ 395699 w 1614899"/>
                      <a:gd name="connsiteY520" fmla="*/ 150019 h 1619250"/>
                      <a:gd name="connsiteX521" fmla="*/ 409987 w 1614899"/>
                      <a:gd name="connsiteY521" fmla="*/ 147637 h 1619250"/>
                      <a:gd name="connsiteX522" fmla="*/ 412368 w 1614899"/>
                      <a:gd name="connsiteY522" fmla="*/ 133350 h 1619250"/>
                      <a:gd name="connsiteX523" fmla="*/ 426656 w 1614899"/>
                      <a:gd name="connsiteY523" fmla="*/ 128587 h 1619250"/>
                      <a:gd name="connsiteX524" fmla="*/ 433799 w 1614899"/>
                      <a:gd name="connsiteY524" fmla="*/ 142875 h 1619250"/>
                      <a:gd name="connsiteX525" fmla="*/ 448087 w 1614899"/>
                      <a:gd name="connsiteY525" fmla="*/ 161925 h 1619250"/>
                      <a:gd name="connsiteX526" fmla="*/ 464756 w 1614899"/>
                      <a:gd name="connsiteY526" fmla="*/ 159544 h 1619250"/>
                      <a:gd name="connsiteX527" fmla="*/ 452849 w 1614899"/>
                      <a:gd name="connsiteY527" fmla="*/ 138112 h 1619250"/>
                      <a:gd name="connsiteX528" fmla="*/ 450468 w 1614899"/>
                      <a:gd name="connsiteY528" fmla="*/ 111919 h 1619250"/>
                      <a:gd name="connsiteX529" fmla="*/ 443324 w 1614899"/>
                      <a:gd name="connsiteY529" fmla="*/ 107156 h 1619250"/>
                      <a:gd name="connsiteX530" fmla="*/ 440943 w 1614899"/>
                      <a:gd name="connsiteY530" fmla="*/ 100012 h 1619250"/>
                      <a:gd name="connsiteX531" fmla="*/ 450468 w 1614899"/>
                      <a:gd name="connsiteY531" fmla="*/ 88106 h 1619250"/>
                      <a:gd name="connsiteX532" fmla="*/ 476662 w 1614899"/>
                      <a:gd name="connsiteY532" fmla="*/ 90487 h 1619250"/>
                      <a:gd name="connsiteX533" fmla="*/ 486187 w 1614899"/>
                      <a:gd name="connsiteY533" fmla="*/ 92869 h 1619250"/>
                      <a:gd name="connsiteX534" fmla="*/ 493331 w 1614899"/>
                      <a:gd name="connsiteY534" fmla="*/ 97631 h 1619250"/>
                      <a:gd name="connsiteX535" fmla="*/ 502856 w 1614899"/>
                      <a:gd name="connsiteY535" fmla="*/ 95250 h 1619250"/>
                      <a:gd name="connsiteX536" fmla="*/ 509999 w 1614899"/>
                      <a:gd name="connsiteY536" fmla="*/ 90487 h 1619250"/>
                      <a:gd name="connsiteX537" fmla="*/ 507618 w 1614899"/>
                      <a:gd name="connsiteY537" fmla="*/ 83344 h 1619250"/>
                      <a:gd name="connsiteX538" fmla="*/ 500474 w 1614899"/>
                      <a:gd name="connsiteY538" fmla="*/ 80962 h 1619250"/>
                      <a:gd name="connsiteX539" fmla="*/ 493331 w 1614899"/>
                      <a:gd name="connsiteY539" fmla="*/ 76200 h 1619250"/>
                      <a:gd name="connsiteX540" fmla="*/ 495712 w 1614899"/>
                      <a:gd name="connsiteY540"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900524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19549 w 1614899"/>
                      <a:gd name="connsiteY86" fmla="*/ 328612 h 1619250"/>
                      <a:gd name="connsiteX87" fmla="*/ 714787 w 1614899"/>
                      <a:gd name="connsiteY87" fmla="*/ 335756 h 1619250"/>
                      <a:gd name="connsiteX88" fmla="*/ 717168 w 1614899"/>
                      <a:gd name="connsiteY88" fmla="*/ 342900 h 1619250"/>
                      <a:gd name="connsiteX89" fmla="*/ 721931 w 1614899"/>
                      <a:gd name="connsiteY89" fmla="*/ 347662 h 1619250"/>
                      <a:gd name="connsiteX90" fmla="*/ 733837 w 1614899"/>
                      <a:gd name="connsiteY90" fmla="*/ 357187 h 1619250"/>
                      <a:gd name="connsiteX91" fmla="*/ 740981 w 1614899"/>
                      <a:gd name="connsiteY91" fmla="*/ 354806 h 1619250"/>
                      <a:gd name="connsiteX92" fmla="*/ 755268 w 1614899"/>
                      <a:gd name="connsiteY92" fmla="*/ 350044 h 1619250"/>
                      <a:gd name="connsiteX93" fmla="*/ 752887 w 1614899"/>
                      <a:gd name="connsiteY93" fmla="*/ 359569 h 1619250"/>
                      <a:gd name="connsiteX94" fmla="*/ 755268 w 1614899"/>
                      <a:gd name="connsiteY94" fmla="*/ 371475 h 1619250"/>
                      <a:gd name="connsiteX95" fmla="*/ 762412 w 1614899"/>
                      <a:gd name="connsiteY95" fmla="*/ 373856 h 1619250"/>
                      <a:gd name="connsiteX96" fmla="*/ 745743 w 1614899"/>
                      <a:gd name="connsiteY96" fmla="*/ 390525 h 1619250"/>
                      <a:gd name="connsiteX97" fmla="*/ 750506 w 1614899"/>
                      <a:gd name="connsiteY97" fmla="*/ 397669 h 1619250"/>
                      <a:gd name="connsiteX98" fmla="*/ 745743 w 1614899"/>
                      <a:gd name="connsiteY98" fmla="*/ 411956 h 1619250"/>
                      <a:gd name="connsiteX99" fmla="*/ 731456 w 1614899"/>
                      <a:gd name="connsiteY99" fmla="*/ 404812 h 1619250"/>
                      <a:gd name="connsiteX100" fmla="*/ 724312 w 1614899"/>
                      <a:gd name="connsiteY100" fmla="*/ 409575 h 1619250"/>
                      <a:gd name="connsiteX101" fmla="*/ 721931 w 1614899"/>
                      <a:gd name="connsiteY101" fmla="*/ 416719 h 1619250"/>
                      <a:gd name="connsiteX102" fmla="*/ 736218 w 1614899"/>
                      <a:gd name="connsiteY102" fmla="*/ 426244 h 1619250"/>
                      <a:gd name="connsiteX103" fmla="*/ 731456 w 1614899"/>
                      <a:gd name="connsiteY103" fmla="*/ 442912 h 1619250"/>
                      <a:gd name="connsiteX104" fmla="*/ 729074 w 1614899"/>
                      <a:gd name="connsiteY104" fmla="*/ 450056 h 1619250"/>
                      <a:gd name="connsiteX105" fmla="*/ 731456 w 1614899"/>
                      <a:gd name="connsiteY105" fmla="*/ 481012 h 1619250"/>
                      <a:gd name="connsiteX106" fmla="*/ 736218 w 1614899"/>
                      <a:gd name="connsiteY106" fmla="*/ 488156 h 1619250"/>
                      <a:gd name="connsiteX107" fmla="*/ 743362 w 1614899"/>
                      <a:gd name="connsiteY107" fmla="*/ 509587 h 1619250"/>
                      <a:gd name="connsiteX108" fmla="*/ 745743 w 1614899"/>
                      <a:gd name="connsiteY108" fmla="*/ 516731 h 1619250"/>
                      <a:gd name="connsiteX109" fmla="*/ 760031 w 1614899"/>
                      <a:gd name="connsiteY109" fmla="*/ 526256 h 1619250"/>
                      <a:gd name="connsiteX110" fmla="*/ 764793 w 1614899"/>
                      <a:gd name="connsiteY110" fmla="*/ 533400 h 1619250"/>
                      <a:gd name="connsiteX111" fmla="*/ 769556 w 1614899"/>
                      <a:gd name="connsiteY111" fmla="*/ 547687 h 1619250"/>
                      <a:gd name="connsiteX112" fmla="*/ 769556 w 1614899"/>
                      <a:gd name="connsiteY112" fmla="*/ 542925 h 1619250"/>
                      <a:gd name="connsiteX113" fmla="*/ 776699 w 1614899"/>
                      <a:gd name="connsiteY113" fmla="*/ 550069 h 1619250"/>
                      <a:gd name="connsiteX114" fmla="*/ 793368 w 1614899"/>
                      <a:gd name="connsiteY114" fmla="*/ 552450 h 1619250"/>
                      <a:gd name="connsiteX115" fmla="*/ 807656 w 1614899"/>
                      <a:gd name="connsiteY115" fmla="*/ 557212 h 1619250"/>
                      <a:gd name="connsiteX116" fmla="*/ 814799 w 1614899"/>
                      <a:gd name="connsiteY116" fmla="*/ 559594 h 1619250"/>
                      <a:gd name="connsiteX117" fmla="*/ 821943 w 1614899"/>
                      <a:gd name="connsiteY117" fmla="*/ 566737 h 1619250"/>
                      <a:gd name="connsiteX118" fmla="*/ 829087 w 1614899"/>
                      <a:gd name="connsiteY118" fmla="*/ 569119 h 1619250"/>
                      <a:gd name="connsiteX119" fmla="*/ 836231 w 1614899"/>
                      <a:gd name="connsiteY119" fmla="*/ 573881 h 1619250"/>
                      <a:gd name="connsiteX120" fmla="*/ 843374 w 1614899"/>
                      <a:gd name="connsiteY120" fmla="*/ 588169 h 1619250"/>
                      <a:gd name="connsiteX121" fmla="*/ 852899 w 1614899"/>
                      <a:gd name="connsiteY121" fmla="*/ 597694 h 1619250"/>
                      <a:gd name="connsiteX122" fmla="*/ 902906 w 1614899"/>
                      <a:gd name="connsiteY122" fmla="*/ 604837 h 1619250"/>
                      <a:gd name="connsiteX123" fmla="*/ 914812 w 1614899"/>
                      <a:gd name="connsiteY123" fmla="*/ 626269 h 1619250"/>
                      <a:gd name="connsiteX124" fmla="*/ 919574 w 1614899"/>
                      <a:gd name="connsiteY124" fmla="*/ 633412 h 1619250"/>
                      <a:gd name="connsiteX125" fmla="*/ 919574 w 1614899"/>
                      <a:gd name="connsiteY125" fmla="*/ 671512 h 1619250"/>
                      <a:gd name="connsiteX126" fmla="*/ 926718 w 1614899"/>
                      <a:gd name="connsiteY126" fmla="*/ 676275 h 1619250"/>
                      <a:gd name="connsiteX127" fmla="*/ 933862 w 1614899"/>
                      <a:gd name="connsiteY127" fmla="*/ 690562 h 1619250"/>
                      <a:gd name="connsiteX128" fmla="*/ 936243 w 1614899"/>
                      <a:gd name="connsiteY128" fmla="*/ 702469 h 1619250"/>
                      <a:gd name="connsiteX129" fmla="*/ 943387 w 1614899"/>
                      <a:gd name="connsiteY129" fmla="*/ 709612 h 1619250"/>
                      <a:gd name="connsiteX130" fmla="*/ 945768 w 1614899"/>
                      <a:gd name="connsiteY130" fmla="*/ 723900 h 1619250"/>
                      <a:gd name="connsiteX131" fmla="*/ 955293 w 1614899"/>
                      <a:gd name="connsiteY131" fmla="*/ 738187 h 1619250"/>
                      <a:gd name="connsiteX132" fmla="*/ 964818 w 1614899"/>
                      <a:gd name="connsiteY132" fmla="*/ 752475 h 1619250"/>
                      <a:gd name="connsiteX133" fmla="*/ 967199 w 1614899"/>
                      <a:gd name="connsiteY133" fmla="*/ 759619 h 1619250"/>
                      <a:gd name="connsiteX134" fmla="*/ 974343 w 1614899"/>
                      <a:gd name="connsiteY134" fmla="*/ 769144 h 1619250"/>
                      <a:gd name="connsiteX135" fmla="*/ 979106 w 1614899"/>
                      <a:gd name="connsiteY135" fmla="*/ 783431 h 1619250"/>
                      <a:gd name="connsiteX136" fmla="*/ 981487 w 1614899"/>
                      <a:gd name="connsiteY136" fmla="*/ 790575 h 1619250"/>
                      <a:gd name="connsiteX137" fmla="*/ 991012 w 1614899"/>
                      <a:gd name="connsiteY137" fmla="*/ 804862 h 1619250"/>
                      <a:gd name="connsiteX138" fmla="*/ 998156 w 1614899"/>
                      <a:gd name="connsiteY138" fmla="*/ 819150 h 1619250"/>
                      <a:gd name="connsiteX139" fmla="*/ 1000537 w 1614899"/>
                      <a:gd name="connsiteY139" fmla="*/ 826294 h 1619250"/>
                      <a:gd name="connsiteX140" fmla="*/ 1007681 w 1614899"/>
                      <a:gd name="connsiteY140" fmla="*/ 828675 h 1619250"/>
                      <a:gd name="connsiteX141" fmla="*/ 1014824 w 1614899"/>
                      <a:gd name="connsiteY141" fmla="*/ 833437 h 1619250"/>
                      <a:gd name="connsiteX142" fmla="*/ 1029112 w 1614899"/>
                      <a:gd name="connsiteY142" fmla="*/ 838200 h 1619250"/>
                      <a:gd name="connsiteX143" fmla="*/ 1033874 w 1614899"/>
                      <a:gd name="connsiteY143" fmla="*/ 845344 h 1619250"/>
                      <a:gd name="connsiteX144" fmla="*/ 1048162 w 1614899"/>
                      <a:gd name="connsiteY144" fmla="*/ 857250 h 1619250"/>
                      <a:gd name="connsiteX145" fmla="*/ 1062449 w 1614899"/>
                      <a:gd name="connsiteY145" fmla="*/ 862012 h 1619250"/>
                      <a:gd name="connsiteX146" fmla="*/ 1079118 w 1614899"/>
                      <a:gd name="connsiteY146" fmla="*/ 883444 h 1619250"/>
                      <a:gd name="connsiteX147" fmla="*/ 1081499 w 1614899"/>
                      <a:gd name="connsiteY147" fmla="*/ 890587 h 1619250"/>
                      <a:gd name="connsiteX148" fmla="*/ 1095787 w 1614899"/>
                      <a:gd name="connsiteY148" fmla="*/ 883444 h 1619250"/>
                      <a:gd name="connsiteX149" fmla="*/ 1110074 w 1614899"/>
                      <a:gd name="connsiteY149" fmla="*/ 890587 h 1619250"/>
                      <a:gd name="connsiteX150" fmla="*/ 1121981 w 1614899"/>
                      <a:gd name="connsiteY150" fmla="*/ 902494 h 1619250"/>
                      <a:gd name="connsiteX151" fmla="*/ 1136268 w 1614899"/>
                      <a:gd name="connsiteY151" fmla="*/ 907256 h 1619250"/>
                      <a:gd name="connsiteX152" fmla="*/ 1176749 w 1614899"/>
                      <a:gd name="connsiteY152" fmla="*/ 904875 h 1619250"/>
                      <a:gd name="connsiteX153" fmla="*/ 1195799 w 1614899"/>
                      <a:gd name="connsiteY153" fmla="*/ 904875 h 1619250"/>
                      <a:gd name="connsiteX154" fmla="*/ 1207706 w 1614899"/>
                      <a:gd name="connsiteY154" fmla="*/ 912019 h 1619250"/>
                      <a:gd name="connsiteX155" fmla="*/ 1210087 w 1614899"/>
                      <a:gd name="connsiteY155" fmla="*/ 902494 h 1619250"/>
                      <a:gd name="connsiteX156" fmla="*/ 1219612 w 1614899"/>
                      <a:gd name="connsiteY156" fmla="*/ 900112 h 1619250"/>
                      <a:gd name="connsiteX157" fmla="*/ 1226756 w 1614899"/>
                      <a:gd name="connsiteY157" fmla="*/ 895350 h 1619250"/>
                      <a:gd name="connsiteX158" fmla="*/ 1241043 w 1614899"/>
                      <a:gd name="connsiteY158" fmla="*/ 890587 h 1619250"/>
                      <a:gd name="connsiteX159" fmla="*/ 1255331 w 1614899"/>
                      <a:gd name="connsiteY159" fmla="*/ 892969 h 1619250"/>
                      <a:gd name="connsiteX160" fmla="*/ 1260093 w 1614899"/>
                      <a:gd name="connsiteY160" fmla="*/ 900112 h 1619250"/>
                      <a:gd name="connsiteX161" fmla="*/ 1267237 w 1614899"/>
                      <a:gd name="connsiteY161" fmla="*/ 904875 h 1619250"/>
                      <a:gd name="connsiteX162" fmla="*/ 1271999 w 1614899"/>
                      <a:gd name="connsiteY162" fmla="*/ 919162 h 1619250"/>
                      <a:gd name="connsiteX163" fmla="*/ 1269618 w 1614899"/>
                      <a:gd name="connsiteY163" fmla="*/ 928687 h 1619250"/>
                      <a:gd name="connsiteX164" fmla="*/ 1262474 w 1614899"/>
                      <a:gd name="connsiteY164" fmla="*/ 933450 h 1619250"/>
                      <a:gd name="connsiteX165" fmla="*/ 1255331 w 1614899"/>
                      <a:gd name="connsiteY165" fmla="*/ 940594 h 1619250"/>
                      <a:gd name="connsiteX166" fmla="*/ 1248187 w 1614899"/>
                      <a:gd name="connsiteY166" fmla="*/ 942975 h 1619250"/>
                      <a:gd name="connsiteX167" fmla="*/ 1241043 w 1614899"/>
                      <a:gd name="connsiteY167" fmla="*/ 947737 h 1619250"/>
                      <a:gd name="connsiteX168" fmla="*/ 1226756 w 1614899"/>
                      <a:gd name="connsiteY168" fmla="*/ 954881 h 1619250"/>
                      <a:gd name="connsiteX169" fmla="*/ 1236281 w 1614899"/>
                      <a:gd name="connsiteY169" fmla="*/ 969169 h 1619250"/>
                      <a:gd name="connsiteX170" fmla="*/ 1241043 w 1614899"/>
                      <a:gd name="connsiteY170" fmla="*/ 983456 h 1619250"/>
                      <a:gd name="connsiteX171" fmla="*/ 1250568 w 1614899"/>
                      <a:gd name="connsiteY171" fmla="*/ 997744 h 1619250"/>
                      <a:gd name="connsiteX172" fmla="*/ 1262474 w 1614899"/>
                      <a:gd name="connsiteY172" fmla="*/ 997744 h 1619250"/>
                      <a:gd name="connsiteX173" fmla="*/ 1264856 w 1614899"/>
                      <a:gd name="connsiteY173" fmla="*/ 990600 h 1619250"/>
                      <a:gd name="connsiteX174" fmla="*/ 1283906 w 1614899"/>
                      <a:gd name="connsiteY174" fmla="*/ 995362 h 1619250"/>
                      <a:gd name="connsiteX175" fmla="*/ 1291049 w 1614899"/>
                      <a:gd name="connsiteY175" fmla="*/ 1000125 h 1619250"/>
                      <a:gd name="connsiteX176" fmla="*/ 1298193 w 1614899"/>
                      <a:gd name="connsiteY176" fmla="*/ 1002506 h 1619250"/>
                      <a:gd name="connsiteX177" fmla="*/ 1322006 w 1614899"/>
                      <a:gd name="connsiteY177" fmla="*/ 1007269 h 1619250"/>
                      <a:gd name="connsiteX178" fmla="*/ 1336293 w 1614899"/>
                      <a:gd name="connsiteY178" fmla="*/ 1012031 h 1619250"/>
                      <a:gd name="connsiteX179" fmla="*/ 1355343 w 1614899"/>
                      <a:gd name="connsiteY179" fmla="*/ 1016794 h 1619250"/>
                      <a:gd name="connsiteX180" fmla="*/ 1362487 w 1614899"/>
                      <a:gd name="connsiteY180" fmla="*/ 1023937 h 1619250"/>
                      <a:gd name="connsiteX181" fmla="*/ 1376774 w 1614899"/>
                      <a:gd name="connsiteY181" fmla="*/ 1028700 h 1619250"/>
                      <a:gd name="connsiteX182" fmla="*/ 1391062 w 1614899"/>
                      <a:gd name="connsiteY182" fmla="*/ 1033462 h 1619250"/>
                      <a:gd name="connsiteX183" fmla="*/ 1398206 w 1614899"/>
                      <a:gd name="connsiteY183" fmla="*/ 1035844 h 1619250"/>
                      <a:gd name="connsiteX184" fmla="*/ 1405349 w 1614899"/>
                      <a:gd name="connsiteY184" fmla="*/ 1038225 h 1619250"/>
                      <a:gd name="connsiteX185" fmla="*/ 1412493 w 1614899"/>
                      <a:gd name="connsiteY185" fmla="*/ 1042987 h 1619250"/>
                      <a:gd name="connsiteX186" fmla="*/ 1426781 w 1614899"/>
                      <a:gd name="connsiteY186" fmla="*/ 1050131 h 1619250"/>
                      <a:gd name="connsiteX187" fmla="*/ 1436306 w 1614899"/>
                      <a:gd name="connsiteY187" fmla="*/ 1062037 h 1619250"/>
                      <a:gd name="connsiteX188" fmla="*/ 1441068 w 1614899"/>
                      <a:gd name="connsiteY188" fmla="*/ 1069181 h 1619250"/>
                      <a:gd name="connsiteX189" fmla="*/ 1450593 w 1614899"/>
                      <a:gd name="connsiteY189" fmla="*/ 1071562 h 1619250"/>
                      <a:gd name="connsiteX190" fmla="*/ 1464881 w 1614899"/>
                      <a:gd name="connsiteY190" fmla="*/ 1076325 h 1619250"/>
                      <a:gd name="connsiteX191" fmla="*/ 1467262 w 1614899"/>
                      <a:gd name="connsiteY191" fmla="*/ 1083469 h 1619250"/>
                      <a:gd name="connsiteX192" fmla="*/ 1488693 w 1614899"/>
                      <a:gd name="connsiteY192" fmla="*/ 1092994 h 1619250"/>
                      <a:gd name="connsiteX193" fmla="*/ 1500599 w 1614899"/>
                      <a:gd name="connsiteY193" fmla="*/ 1095375 h 1619250"/>
                      <a:gd name="connsiteX194" fmla="*/ 1514887 w 1614899"/>
                      <a:gd name="connsiteY194" fmla="*/ 1097756 h 1619250"/>
                      <a:gd name="connsiteX195" fmla="*/ 1522031 w 1614899"/>
                      <a:gd name="connsiteY195" fmla="*/ 1100137 h 1619250"/>
                      <a:gd name="connsiteX196" fmla="*/ 1541081 w 1614899"/>
                      <a:gd name="connsiteY196" fmla="*/ 1104900 h 1619250"/>
                      <a:gd name="connsiteX197" fmla="*/ 1545843 w 1614899"/>
                      <a:gd name="connsiteY197" fmla="*/ 1112044 h 1619250"/>
                      <a:gd name="connsiteX198" fmla="*/ 1543462 w 1614899"/>
                      <a:gd name="connsiteY198" fmla="*/ 1119187 h 1619250"/>
                      <a:gd name="connsiteX199" fmla="*/ 1557749 w 1614899"/>
                      <a:gd name="connsiteY199" fmla="*/ 1128712 h 1619250"/>
                      <a:gd name="connsiteX200" fmla="*/ 1564893 w 1614899"/>
                      <a:gd name="connsiteY200" fmla="*/ 1133475 h 1619250"/>
                      <a:gd name="connsiteX201" fmla="*/ 1579181 w 1614899"/>
                      <a:gd name="connsiteY201" fmla="*/ 1147762 h 1619250"/>
                      <a:gd name="connsiteX202" fmla="*/ 1593468 w 1614899"/>
                      <a:gd name="connsiteY202" fmla="*/ 1152525 h 1619250"/>
                      <a:gd name="connsiteX203" fmla="*/ 1600612 w 1614899"/>
                      <a:gd name="connsiteY203" fmla="*/ 1154906 h 1619250"/>
                      <a:gd name="connsiteX204" fmla="*/ 1607756 w 1614899"/>
                      <a:gd name="connsiteY204" fmla="*/ 1162050 h 1619250"/>
                      <a:gd name="connsiteX205" fmla="*/ 1610137 w 1614899"/>
                      <a:gd name="connsiteY205" fmla="*/ 1169194 h 1619250"/>
                      <a:gd name="connsiteX206" fmla="*/ 1614899 w 1614899"/>
                      <a:gd name="connsiteY206" fmla="*/ 1176337 h 1619250"/>
                      <a:gd name="connsiteX207" fmla="*/ 1612518 w 1614899"/>
                      <a:gd name="connsiteY207" fmla="*/ 1195387 h 1619250"/>
                      <a:gd name="connsiteX208" fmla="*/ 1610137 w 1614899"/>
                      <a:gd name="connsiteY208" fmla="*/ 1202531 h 1619250"/>
                      <a:gd name="connsiteX209" fmla="*/ 1602993 w 1614899"/>
                      <a:gd name="connsiteY209" fmla="*/ 1204912 h 1619250"/>
                      <a:gd name="connsiteX210" fmla="*/ 1600612 w 1614899"/>
                      <a:gd name="connsiteY210" fmla="*/ 1212056 h 1619250"/>
                      <a:gd name="connsiteX211" fmla="*/ 1598231 w 1614899"/>
                      <a:gd name="connsiteY211" fmla="*/ 1247775 h 1619250"/>
                      <a:gd name="connsiteX212" fmla="*/ 1579181 w 1614899"/>
                      <a:gd name="connsiteY212" fmla="*/ 1245394 h 1619250"/>
                      <a:gd name="connsiteX213" fmla="*/ 1550606 w 1614899"/>
                      <a:gd name="connsiteY213" fmla="*/ 1231106 h 1619250"/>
                      <a:gd name="connsiteX214" fmla="*/ 1543462 w 1614899"/>
                      <a:gd name="connsiteY214" fmla="*/ 1226344 h 1619250"/>
                      <a:gd name="connsiteX215" fmla="*/ 1543462 w 1614899"/>
                      <a:gd name="connsiteY215" fmla="*/ 1197769 h 1619250"/>
                      <a:gd name="connsiteX216" fmla="*/ 1545843 w 1614899"/>
                      <a:gd name="connsiteY216" fmla="*/ 1183481 h 1619250"/>
                      <a:gd name="connsiteX217" fmla="*/ 1531556 w 1614899"/>
                      <a:gd name="connsiteY217" fmla="*/ 1176337 h 1619250"/>
                      <a:gd name="connsiteX218" fmla="*/ 1529174 w 1614899"/>
                      <a:gd name="connsiteY218" fmla="*/ 1169194 h 1619250"/>
                      <a:gd name="connsiteX219" fmla="*/ 1531556 w 1614899"/>
                      <a:gd name="connsiteY219" fmla="*/ 1152525 h 1619250"/>
                      <a:gd name="connsiteX220" fmla="*/ 1524412 w 1614899"/>
                      <a:gd name="connsiteY220" fmla="*/ 1154906 h 1619250"/>
                      <a:gd name="connsiteX221" fmla="*/ 1517268 w 1614899"/>
                      <a:gd name="connsiteY221" fmla="*/ 1159669 h 1619250"/>
                      <a:gd name="connsiteX222" fmla="*/ 1502981 w 1614899"/>
                      <a:gd name="connsiteY222" fmla="*/ 1164431 h 1619250"/>
                      <a:gd name="connsiteX223" fmla="*/ 1481549 w 1614899"/>
                      <a:gd name="connsiteY223" fmla="*/ 1169194 h 1619250"/>
                      <a:gd name="connsiteX224" fmla="*/ 1457737 w 1614899"/>
                      <a:gd name="connsiteY224" fmla="*/ 1164431 h 1619250"/>
                      <a:gd name="connsiteX225" fmla="*/ 1443449 w 1614899"/>
                      <a:gd name="connsiteY225" fmla="*/ 1154906 h 1619250"/>
                      <a:gd name="connsiteX226" fmla="*/ 1436306 w 1614899"/>
                      <a:gd name="connsiteY226" fmla="*/ 1150144 h 1619250"/>
                      <a:gd name="connsiteX227" fmla="*/ 1426781 w 1614899"/>
                      <a:gd name="connsiteY227" fmla="*/ 1140619 h 1619250"/>
                      <a:gd name="connsiteX228" fmla="*/ 1402968 w 1614899"/>
                      <a:gd name="connsiteY228" fmla="*/ 1138237 h 1619250"/>
                      <a:gd name="connsiteX229" fmla="*/ 1395824 w 1614899"/>
                      <a:gd name="connsiteY229" fmla="*/ 1145381 h 1619250"/>
                      <a:gd name="connsiteX230" fmla="*/ 1374393 w 1614899"/>
                      <a:gd name="connsiteY230" fmla="*/ 1162050 h 1619250"/>
                      <a:gd name="connsiteX231" fmla="*/ 1367249 w 1614899"/>
                      <a:gd name="connsiteY231" fmla="*/ 1188244 h 1619250"/>
                      <a:gd name="connsiteX232" fmla="*/ 1357724 w 1614899"/>
                      <a:gd name="connsiteY232" fmla="*/ 1202531 h 1619250"/>
                      <a:gd name="connsiteX233" fmla="*/ 1348199 w 1614899"/>
                      <a:gd name="connsiteY233" fmla="*/ 1212056 h 1619250"/>
                      <a:gd name="connsiteX234" fmla="*/ 1345818 w 1614899"/>
                      <a:gd name="connsiteY234" fmla="*/ 1219200 h 1619250"/>
                      <a:gd name="connsiteX235" fmla="*/ 1341056 w 1614899"/>
                      <a:gd name="connsiteY235" fmla="*/ 1228725 h 1619250"/>
                      <a:gd name="connsiteX236" fmla="*/ 1350581 w 1614899"/>
                      <a:gd name="connsiteY236" fmla="*/ 1243012 h 1619250"/>
                      <a:gd name="connsiteX237" fmla="*/ 1343437 w 1614899"/>
                      <a:gd name="connsiteY237" fmla="*/ 1266825 h 1619250"/>
                      <a:gd name="connsiteX238" fmla="*/ 1345818 w 1614899"/>
                      <a:gd name="connsiteY238" fmla="*/ 1281112 h 1619250"/>
                      <a:gd name="connsiteX239" fmla="*/ 1348199 w 1614899"/>
                      <a:gd name="connsiteY239" fmla="*/ 1290637 h 1619250"/>
                      <a:gd name="connsiteX240" fmla="*/ 1355343 w 1614899"/>
                      <a:gd name="connsiteY240" fmla="*/ 1297781 h 1619250"/>
                      <a:gd name="connsiteX241" fmla="*/ 1362487 w 1614899"/>
                      <a:gd name="connsiteY241" fmla="*/ 1300162 h 1619250"/>
                      <a:gd name="connsiteX242" fmla="*/ 1386299 w 1614899"/>
                      <a:gd name="connsiteY242" fmla="*/ 1302544 h 1619250"/>
                      <a:gd name="connsiteX243" fmla="*/ 1395824 w 1614899"/>
                      <a:gd name="connsiteY243" fmla="*/ 1309687 h 1619250"/>
                      <a:gd name="connsiteX244" fmla="*/ 1410112 w 1614899"/>
                      <a:gd name="connsiteY244" fmla="*/ 1314450 h 1619250"/>
                      <a:gd name="connsiteX245" fmla="*/ 1417256 w 1614899"/>
                      <a:gd name="connsiteY245" fmla="*/ 1319212 h 1619250"/>
                      <a:gd name="connsiteX246" fmla="*/ 1431543 w 1614899"/>
                      <a:gd name="connsiteY246" fmla="*/ 1326356 h 1619250"/>
                      <a:gd name="connsiteX247" fmla="*/ 1433924 w 1614899"/>
                      <a:gd name="connsiteY247" fmla="*/ 1333500 h 1619250"/>
                      <a:gd name="connsiteX248" fmla="*/ 1429162 w 1614899"/>
                      <a:gd name="connsiteY248" fmla="*/ 1340644 h 1619250"/>
                      <a:gd name="connsiteX249" fmla="*/ 1426781 w 1614899"/>
                      <a:gd name="connsiteY249" fmla="*/ 1347787 h 1619250"/>
                      <a:gd name="connsiteX250" fmla="*/ 1431543 w 1614899"/>
                      <a:gd name="connsiteY250" fmla="*/ 1354931 h 1619250"/>
                      <a:gd name="connsiteX251" fmla="*/ 1436306 w 1614899"/>
                      <a:gd name="connsiteY251" fmla="*/ 1364456 h 1619250"/>
                      <a:gd name="connsiteX252" fmla="*/ 1443449 w 1614899"/>
                      <a:gd name="connsiteY252" fmla="*/ 1395412 h 1619250"/>
                      <a:gd name="connsiteX253" fmla="*/ 1450593 w 1614899"/>
                      <a:gd name="connsiteY253" fmla="*/ 1402556 h 1619250"/>
                      <a:gd name="connsiteX254" fmla="*/ 1448212 w 1614899"/>
                      <a:gd name="connsiteY254" fmla="*/ 1412081 h 1619250"/>
                      <a:gd name="connsiteX255" fmla="*/ 1433924 w 1614899"/>
                      <a:gd name="connsiteY255" fmla="*/ 1416844 h 1619250"/>
                      <a:gd name="connsiteX256" fmla="*/ 1419637 w 1614899"/>
                      <a:gd name="connsiteY256" fmla="*/ 1423987 h 1619250"/>
                      <a:gd name="connsiteX257" fmla="*/ 1405349 w 1614899"/>
                      <a:gd name="connsiteY257" fmla="*/ 1431131 h 1619250"/>
                      <a:gd name="connsiteX258" fmla="*/ 1398206 w 1614899"/>
                      <a:gd name="connsiteY258" fmla="*/ 1435894 h 1619250"/>
                      <a:gd name="connsiteX259" fmla="*/ 1383918 w 1614899"/>
                      <a:gd name="connsiteY259" fmla="*/ 1440656 h 1619250"/>
                      <a:gd name="connsiteX260" fmla="*/ 1376774 w 1614899"/>
                      <a:gd name="connsiteY260" fmla="*/ 1443037 h 1619250"/>
                      <a:gd name="connsiteX261" fmla="*/ 1364868 w 1614899"/>
                      <a:gd name="connsiteY261" fmla="*/ 1464469 h 1619250"/>
                      <a:gd name="connsiteX262" fmla="*/ 1362487 w 1614899"/>
                      <a:gd name="connsiteY262" fmla="*/ 1473994 h 1619250"/>
                      <a:gd name="connsiteX263" fmla="*/ 1364868 w 1614899"/>
                      <a:gd name="connsiteY263" fmla="*/ 1497806 h 1619250"/>
                      <a:gd name="connsiteX264" fmla="*/ 1372012 w 1614899"/>
                      <a:gd name="connsiteY264" fmla="*/ 1500187 h 1619250"/>
                      <a:gd name="connsiteX265" fmla="*/ 1369631 w 1614899"/>
                      <a:gd name="connsiteY265" fmla="*/ 1516856 h 1619250"/>
                      <a:gd name="connsiteX266" fmla="*/ 1367249 w 1614899"/>
                      <a:gd name="connsiteY266" fmla="*/ 1524000 h 1619250"/>
                      <a:gd name="connsiteX267" fmla="*/ 1360106 w 1614899"/>
                      <a:gd name="connsiteY267" fmla="*/ 1526381 h 1619250"/>
                      <a:gd name="connsiteX268" fmla="*/ 1352962 w 1614899"/>
                      <a:gd name="connsiteY268" fmla="*/ 1531144 h 1619250"/>
                      <a:gd name="connsiteX269" fmla="*/ 1343437 w 1614899"/>
                      <a:gd name="connsiteY269" fmla="*/ 1535906 h 1619250"/>
                      <a:gd name="connsiteX270" fmla="*/ 1329149 w 1614899"/>
                      <a:gd name="connsiteY270" fmla="*/ 1550194 h 1619250"/>
                      <a:gd name="connsiteX271" fmla="*/ 1326768 w 1614899"/>
                      <a:gd name="connsiteY271" fmla="*/ 1559719 h 1619250"/>
                      <a:gd name="connsiteX272" fmla="*/ 1322006 w 1614899"/>
                      <a:gd name="connsiteY272" fmla="*/ 1566862 h 1619250"/>
                      <a:gd name="connsiteX273" fmla="*/ 1319624 w 1614899"/>
                      <a:gd name="connsiteY273" fmla="*/ 1578769 h 1619250"/>
                      <a:gd name="connsiteX274" fmla="*/ 1317243 w 1614899"/>
                      <a:gd name="connsiteY274" fmla="*/ 1585912 h 1619250"/>
                      <a:gd name="connsiteX275" fmla="*/ 1314862 w 1614899"/>
                      <a:gd name="connsiteY275" fmla="*/ 1602581 h 1619250"/>
                      <a:gd name="connsiteX276" fmla="*/ 1283906 w 1614899"/>
                      <a:gd name="connsiteY276" fmla="*/ 1614487 h 1619250"/>
                      <a:gd name="connsiteX277" fmla="*/ 1274381 w 1614899"/>
                      <a:gd name="connsiteY277" fmla="*/ 1616869 h 1619250"/>
                      <a:gd name="connsiteX278" fmla="*/ 1260093 w 1614899"/>
                      <a:gd name="connsiteY278" fmla="*/ 1619250 h 1619250"/>
                      <a:gd name="connsiteX279" fmla="*/ 1248187 w 1614899"/>
                      <a:gd name="connsiteY279" fmla="*/ 1616869 h 1619250"/>
                      <a:gd name="connsiteX280" fmla="*/ 1243424 w 1614899"/>
                      <a:gd name="connsiteY280" fmla="*/ 1597819 h 1619250"/>
                      <a:gd name="connsiteX281" fmla="*/ 1238662 w 1614899"/>
                      <a:gd name="connsiteY281" fmla="*/ 1581150 h 1619250"/>
                      <a:gd name="connsiteX282" fmla="*/ 1243424 w 1614899"/>
                      <a:gd name="connsiteY282" fmla="*/ 1566862 h 1619250"/>
                      <a:gd name="connsiteX283" fmla="*/ 1252949 w 1614899"/>
                      <a:gd name="connsiteY283" fmla="*/ 1552575 h 1619250"/>
                      <a:gd name="connsiteX284" fmla="*/ 1260093 w 1614899"/>
                      <a:gd name="connsiteY284" fmla="*/ 1550194 h 1619250"/>
                      <a:gd name="connsiteX285" fmla="*/ 1267237 w 1614899"/>
                      <a:gd name="connsiteY285" fmla="*/ 1543050 h 1619250"/>
                      <a:gd name="connsiteX286" fmla="*/ 1269618 w 1614899"/>
                      <a:gd name="connsiteY286" fmla="*/ 1535906 h 1619250"/>
                      <a:gd name="connsiteX287" fmla="*/ 1274381 w 1614899"/>
                      <a:gd name="connsiteY287" fmla="*/ 1526381 h 1619250"/>
                      <a:gd name="connsiteX288" fmla="*/ 1267237 w 1614899"/>
                      <a:gd name="connsiteY288" fmla="*/ 1502569 h 1619250"/>
                      <a:gd name="connsiteX289" fmla="*/ 1252949 w 1614899"/>
                      <a:gd name="connsiteY289" fmla="*/ 1493044 h 1619250"/>
                      <a:gd name="connsiteX290" fmla="*/ 1262474 w 1614899"/>
                      <a:gd name="connsiteY290" fmla="*/ 1478756 h 1619250"/>
                      <a:gd name="connsiteX291" fmla="*/ 1279143 w 1614899"/>
                      <a:gd name="connsiteY291" fmla="*/ 1462087 h 1619250"/>
                      <a:gd name="connsiteX292" fmla="*/ 1302956 w 1614899"/>
                      <a:gd name="connsiteY292" fmla="*/ 1459706 h 1619250"/>
                      <a:gd name="connsiteX293" fmla="*/ 1305337 w 1614899"/>
                      <a:gd name="connsiteY293" fmla="*/ 1450181 h 1619250"/>
                      <a:gd name="connsiteX294" fmla="*/ 1310099 w 1614899"/>
                      <a:gd name="connsiteY294" fmla="*/ 1443037 h 1619250"/>
                      <a:gd name="connsiteX295" fmla="*/ 1312481 w 1614899"/>
                      <a:gd name="connsiteY295" fmla="*/ 1435894 h 1619250"/>
                      <a:gd name="connsiteX296" fmla="*/ 1305337 w 1614899"/>
                      <a:gd name="connsiteY296" fmla="*/ 1428750 h 1619250"/>
                      <a:gd name="connsiteX297" fmla="*/ 1298193 w 1614899"/>
                      <a:gd name="connsiteY297" fmla="*/ 1423987 h 1619250"/>
                      <a:gd name="connsiteX298" fmla="*/ 1295812 w 1614899"/>
                      <a:gd name="connsiteY298" fmla="*/ 1412081 h 1619250"/>
                      <a:gd name="connsiteX299" fmla="*/ 1293431 w 1614899"/>
                      <a:gd name="connsiteY299" fmla="*/ 1402556 h 1619250"/>
                      <a:gd name="connsiteX300" fmla="*/ 1288668 w 1614899"/>
                      <a:gd name="connsiteY300" fmla="*/ 1369219 h 1619250"/>
                      <a:gd name="connsiteX301" fmla="*/ 1286287 w 1614899"/>
                      <a:gd name="connsiteY301" fmla="*/ 1362075 h 1619250"/>
                      <a:gd name="connsiteX302" fmla="*/ 1276762 w 1614899"/>
                      <a:gd name="connsiteY302" fmla="*/ 1345406 h 1619250"/>
                      <a:gd name="connsiteX303" fmla="*/ 1267237 w 1614899"/>
                      <a:gd name="connsiteY303" fmla="*/ 1343025 h 1619250"/>
                      <a:gd name="connsiteX304" fmla="*/ 1260093 w 1614899"/>
                      <a:gd name="connsiteY304" fmla="*/ 1340644 h 1619250"/>
                      <a:gd name="connsiteX305" fmla="*/ 1252949 w 1614899"/>
                      <a:gd name="connsiteY305" fmla="*/ 1307306 h 1619250"/>
                      <a:gd name="connsiteX306" fmla="*/ 1248187 w 1614899"/>
                      <a:gd name="connsiteY306" fmla="*/ 1293019 h 1619250"/>
                      <a:gd name="connsiteX307" fmla="*/ 1243424 w 1614899"/>
                      <a:gd name="connsiteY307" fmla="*/ 1278731 h 1619250"/>
                      <a:gd name="connsiteX308" fmla="*/ 1241043 w 1614899"/>
                      <a:gd name="connsiteY308" fmla="*/ 1271587 h 1619250"/>
                      <a:gd name="connsiteX309" fmla="*/ 1236281 w 1614899"/>
                      <a:gd name="connsiteY309" fmla="*/ 1262062 h 1619250"/>
                      <a:gd name="connsiteX310" fmla="*/ 1231518 w 1614899"/>
                      <a:gd name="connsiteY310" fmla="*/ 1247775 h 1619250"/>
                      <a:gd name="connsiteX311" fmla="*/ 1224374 w 1614899"/>
                      <a:gd name="connsiteY311" fmla="*/ 1240631 h 1619250"/>
                      <a:gd name="connsiteX312" fmla="*/ 1214849 w 1614899"/>
                      <a:gd name="connsiteY312" fmla="*/ 1226344 h 1619250"/>
                      <a:gd name="connsiteX313" fmla="*/ 1195799 w 1614899"/>
                      <a:gd name="connsiteY313" fmla="*/ 1233487 h 1619250"/>
                      <a:gd name="connsiteX314" fmla="*/ 1198181 w 1614899"/>
                      <a:gd name="connsiteY314" fmla="*/ 1240631 h 1619250"/>
                      <a:gd name="connsiteX315" fmla="*/ 1191037 w 1614899"/>
                      <a:gd name="connsiteY315" fmla="*/ 1243012 h 1619250"/>
                      <a:gd name="connsiteX316" fmla="*/ 1164843 w 1614899"/>
                      <a:gd name="connsiteY316" fmla="*/ 1238250 h 1619250"/>
                      <a:gd name="connsiteX317" fmla="*/ 1155318 w 1614899"/>
                      <a:gd name="connsiteY317" fmla="*/ 1223962 h 1619250"/>
                      <a:gd name="connsiteX318" fmla="*/ 1148174 w 1614899"/>
                      <a:gd name="connsiteY318" fmla="*/ 1216819 h 1619250"/>
                      <a:gd name="connsiteX319" fmla="*/ 1138649 w 1614899"/>
                      <a:gd name="connsiteY319" fmla="*/ 1219200 h 1619250"/>
                      <a:gd name="connsiteX320" fmla="*/ 1131506 w 1614899"/>
                      <a:gd name="connsiteY320" fmla="*/ 1221581 h 1619250"/>
                      <a:gd name="connsiteX321" fmla="*/ 1124362 w 1614899"/>
                      <a:gd name="connsiteY321" fmla="*/ 1219200 h 1619250"/>
                      <a:gd name="connsiteX322" fmla="*/ 1112456 w 1614899"/>
                      <a:gd name="connsiteY322" fmla="*/ 1207295 h 1619250"/>
                      <a:gd name="connsiteX323" fmla="*/ 1126743 w 1614899"/>
                      <a:gd name="connsiteY323" fmla="*/ 1190624 h 1619250"/>
                      <a:gd name="connsiteX324" fmla="*/ 1112456 w 1614899"/>
                      <a:gd name="connsiteY324" fmla="*/ 1154906 h 1619250"/>
                      <a:gd name="connsiteX325" fmla="*/ 1107693 w 1614899"/>
                      <a:gd name="connsiteY325" fmla="*/ 1147762 h 1619250"/>
                      <a:gd name="connsiteX326" fmla="*/ 1100549 w 1614899"/>
                      <a:gd name="connsiteY326" fmla="*/ 1145381 h 1619250"/>
                      <a:gd name="connsiteX327" fmla="*/ 1093406 w 1614899"/>
                      <a:gd name="connsiteY327" fmla="*/ 1147762 h 1619250"/>
                      <a:gd name="connsiteX328" fmla="*/ 1062449 w 1614899"/>
                      <a:gd name="connsiteY328" fmla="*/ 1152525 h 1619250"/>
                      <a:gd name="connsiteX329" fmla="*/ 1043400 w 1614899"/>
                      <a:gd name="connsiteY329" fmla="*/ 1154906 h 1619250"/>
                      <a:gd name="connsiteX330" fmla="*/ 1029112 w 1614899"/>
                      <a:gd name="connsiteY330" fmla="*/ 1157286 h 1619250"/>
                      <a:gd name="connsiteX331" fmla="*/ 1050543 w 1614899"/>
                      <a:gd name="connsiteY331" fmla="*/ 1128712 h 1619250"/>
                      <a:gd name="connsiteX332" fmla="*/ 1036255 w 1614899"/>
                      <a:gd name="connsiteY332" fmla="*/ 1119187 h 1619250"/>
                      <a:gd name="connsiteX333" fmla="*/ 1024349 w 1614899"/>
                      <a:gd name="connsiteY333" fmla="*/ 1109662 h 1619250"/>
                      <a:gd name="connsiteX334" fmla="*/ 1014824 w 1614899"/>
                      <a:gd name="connsiteY334" fmla="*/ 1107281 h 1619250"/>
                      <a:gd name="connsiteX335" fmla="*/ 986250 w 1614899"/>
                      <a:gd name="connsiteY335" fmla="*/ 1114424 h 1619250"/>
                      <a:gd name="connsiteX336" fmla="*/ 979106 w 1614899"/>
                      <a:gd name="connsiteY336" fmla="*/ 1097757 h 1619250"/>
                      <a:gd name="connsiteX337" fmla="*/ 979106 w 1614899"/>
                      <a:gd name="connsiteY337" fmla="*/ 1076325 h 1619250"/>
                      <a:gd name="connsiteX338" fmla="*/ 964818 w 1614899"/>
                      <a:gd name="connsiteY338" fmla="*/ 1064419 h 1619250"/>
                      <a:gd name="connsiteX339" fmla="*/ 950531 w 1614899"/>
                      <a:gd name="connsiteY339" fmla="*/ 1054894 h 1619250"/>
                      <a:gd name="connsiteX340" fmla="*/ 943387 w 1614899"/>
                      <a:gd name="connsiteY340" fmla="*/ 1050131 h 1619250"/>
                      <a:gd name="connsiteX341" fmla="*/ 936243 w 1614899"/>
                      <a:gd name="connsiteY341" fmla="*/ 1045369 h 1619250"/>
                      <a:gd name="connsiteX342" fmla="*/ 931481 w 1614899"/>
                      <a:gd name="connsiteY342" fmla="*/ 1038225 h 1619250"/>
                      <a:gd name="connsiteX343" fmla="*/ 917193 w 1614899"/>
                      <a:gd name="connsiteY343" fmla="*/ 1031081 h 1619250"/>
                      <a:gd name="connsiteX344" fmla="*/ 914812 w 1614899"/>
                      <a:gd name="connsiteY344" fmla="*/ 1040606 h 1619250"/>
                      <a:gd name="connsiteX345" fmla="*/ 907668 w 1614899"/>
                      <a:gd name="connsiteY345" fmla="*/ 1042987 h 1619250"/>
                      <a:gd name="connsiteX346" fmla="*/ 886237 w 1614899"/>
                      <a:gd name="connsiteY346" fmla="*/ 1031081 h 1619250"/>
                      <a:gd name="connsiteX347" fmla="*/ 862424 w 1614899"/>
                      <a:gd name="connsiteY347" fmla="*/ 1035844 h 1619250"/>
                      <a:gd name="connsiteX348" fmla="*/ 845756 w 1614899"/>
                      <a:gd name="connsiteY348" fmla="*/ 1040606 h 1619250"/>
                      <a:gd name="connsiteX349" fmla="*/ 840993 w 1614899"/>
                      <a:gd name="connsiteY349" fmla="*/ 1033462 h 1619250"/>
                      <a:gd name="connsiteX350" fmla="*/ 821943 w 1614899"/>
                      <a:gd name="connsiteY350" fmla="*/ 1004887 h 1619250"/>
                      <a:gd name="connsiteX351" fmla="*/ 814799 w 1614899"/>
                      <a:gd name="connsiteY351" fmla="*/ 1000125 h 1619250"/>
                      <a:gd name="connsiteX352" fmla="*/ 779081 w 1614899"/>
                      <a:gd name="connsiteY352" fmla="*/ 995362 h 1619250"/>
                      <a:gd name="connsiteX353" fmla="*/ 771937 w 1614899"/>
                      <a:gd name="connsiteY353" fmla="*/ 988219 h 1619250"/>
                      <a:gd name="connsiteX354" fmla="*/ 762412 w 1614899"/>
                      <a:gd name="connsiteY354" fmla="*/ 966787 h 1619250"/>
                      <a:gd name="connsiteX355" fmla="*/ 755268 w 1614899"/>
                      <a:gd name="connsiteY355" fmla="*/ 962025 h 1619250"/>
                      <a:gd name="connsiteX356" fmla="*/ 733837 w 1614899"/>
                      <a:gd name="connsiteY356" fmla="*/ 962025 h 1619250"/>
                      <a:gd name="connsiteX357" fmla="*/ 731456 w 1614899"/>
                      <a:gd name="connsiteY357" fmla="*/ 950119 h 1619250"/>
                      <a:gd name="connsiteX358" fmla="*/ 729074 w 1614899"/>
                      <a:gd name="connsiteY358" fmla="*/ 942975 h 1619250"/>
                      <a:gd name="connsiteX359" fmla="*/ 726693 w 1614899"/>
                      <a:gd name="connsiteY359" fmla="*/ 921544 h 1619250"/>
                      <a:gd name="connsiteX360" fmla="*/ 724312 w 1614899"/>
                      <a:gd name="connsiteY360" fmla="*/ 914400 h 1619250"/>
                      <a:gd name="connsiteX361" fmla="*/ 717168 w 1614899"/>
                      <a:gd name="connsiteY361" fmla="*/ 909637 h 1619250"/>
                      <a:gd name="connsiteX362" fmla="*/ 710024 w 1614899"/>
                      <a:gd name="connsiteY362" fmla="*/ 907256 h 1619250"/>
                      <a:gd name="connsiteX363" fmla="*/ 681449 w 1614899"/>
                      <a:gd name="connsiteY363" fmla="*/ 902494 h 1619250"/>
                      <a:gd name="connsiteX364" fmla="*/ 674306 w 1614899"/>
                      <a:gd name="connsiteY364" fmla="*/ 897731 h 1619250"/>
                      <a:gd name="connsiteX365" fmla="*/ 667162 w 1614899"/>
                      <a:gd name="connsiteY365" fmla="*/ 883444 h 1619250"/>
                      <a:gd name="connsiteX366" fmla="*/ 657637 w 1614899"/>
                      <a:gd name="connsiteY366" fmla="*/ 881062 h 1619250"/>
                      <a:gd name="connsiteX367" fmla="*/ 650493 w 1614899"/>
                      <a:gd name="connsiteY367" fmla="*/ 873919 h 1619250"/>
                      <a:gd name="connsiteX368" fmla="*/ 648112 w 1614899"/>
                      <a:gd name="connsiteY368" fmla="*/ 866775 h 1619250"/>
                      <a:gd name="connsiteX369" fmla="*/ 643349 w 1614899"/>
                      <a:gd name="connsiteY369" fmla="*/ 859631 h 1619250"/>
                      <a:gd name="connsiteX370" fmla="*/ 631443 w 1614899"/>
                      <a:gd name="connsiteY370" fmla="*/ 838200 h 1619250"/>
                      <a:gd name="connsiteX371" fmla="*/ 624299 w 1614899"/>
                      <a:gd name="connsiteY371" fmla="*/ 833437 h 1619250"/>
                      <a:gd name="connsiteX372" fmla="*/ 593343 w 1614899"/>
                      <a:gd name="connsiteY372" fmla="*/ 835819 h 1619250"/>
                      <a:gd name="connsiteX373" fmla="*/ 586199 w 1614899"/>
                      <a:gd name="connsiteY373" fmla="*/ 816769 h 1619250"/>
                      <a:gd name="connsiteX374" fmla="*/ 569531 w 1614899"/>
                      <a:gd name="connsiteY374" fmla="*/ 795337 h 1619250"/>
                      <a:gd name="connsiteX375" fmla="*/ 564768 w 1614899"/>
                      <a:gd name="connsiteY375" fmla="*/ 788194 h 1619250"/>
                      <a:gd name="connsiteX376" fmla="*/ 557624 w 1614899"/>
                      <a:gd name="connsiteY376" fmla="*/ 785812 h 1619250"/>
                      <a:gd name="connsiteX377" fmla="*/ 550481 w 1614899"/>
                      <a:gd name="connsiteY377" fmla="*/ 781050 h 1619250"/>
                      <a:gd name="connsiteX378" fmla="*/ 536193 w 1614899"/>
                      <a:gd name="connsiteY378" fmla="*/ 776287 h 1619250"/>
                      <a:gd name="connsiteX379" fmla="*/ 538574 w 1614899"/>
                      <a:gd name="connsiteY379" fmla="*/ 747712 h 1619250"/>
                      <a:gd name="connsiteX380" fmla="*/ 533812 w 1614899"/>
                      <a:gd name="connsiteY380" fmla="*/ 740569 h 1619250"/>
                      <a:gd name="connsiteX381" fmla="*/ 519524 w 1614899"/>
                      <a:gd name="connsiteY381" fmla="*/ 731044 h 1619250"/>
                      <a:gd name="connsiteX382" fmla="*/ 512381 w 1614899"/>
                      <a:gd name="connsiteY382" fmla="*/ 735806 h 1619250"/>
                      <a:gd name="connsiteX383" fmla="*/ 505237 w 1614899"/>
                      <a:gd name="connsiteY383" fmla="*/ 738187 h 1619250"/>
                      <a:gd name="connsiteX384" fmla="*/ 507618 w 1614899"/>
                      <a:gd name="connsiteY384" fmla="*/ 723900 h 1619250"/>
                      <a:gd name="connsiteX385" fmla="*/ 505237 w 1614899"/>
                      <a:gd name="connsiteY385" fmla="*/ 688181 h 1619250"/>
                      <a:gd name="connsiteX386" fmla="*/ 493331 w 1614899"/>
                      <a:gd name="connsiteY386" fmla="*/ 666750 h 1619250"/>
                      <a:gd name="connsiteX387" fmla="*/ 486187 w 1614899"/>
                      <a:gd name="connsiteY387" fmla="*/ 659606 h 1619250"/>
                      <a:gd name="connsiteX388" fmla="*/ 481424 w 1614899"/>
                      <a:gd name="connsiteY388" fmla="*/ 652462 h 1619250"/>
                      <a:gd name="connsiteX389" fmla="*/ 479043 w 1614899"/>
                      <a:gd name="connsiteY389" fmla="*/ 614362 h 1619250"/>
                      <a:gd name="connsiteX390" fmla="*/ 474281 w 1614899"/>
                      <a:gd name="connsiteY390" fmla="*/ 595312 h 1619250"/>
                      <a:gd name="connsiteX391" fmla="*/ 467137 w 1614899"/>
                      <a:gd name="connsiteY391" fmla="*/ 578644 h 1619250"/>
                      <a:gd name="connsiteX392" fmla="*/ 459993 w 1614899"/>
                      <a:gd name="connsiteY392" fmla="*/ 571500 h 1619250"/>
                      <a:gd name="connsiteX393" fmla="*/ 440943 w 1614899"/>
                      <a:gd name="connsiteY393" fmla="*/ 554831 h 1619250"/>
                      <a:gd name="connsiteX394" fmla="*/ 426656 w 1614899"/>
                      <a:gd name="connsiteY394" fmla="*/ 550069 h 1619250"/>
                      <a:gd name="connsiteX395" fmla="*/ 424274 w 1614899"/>
                      <a:gd name="connsiteY395" fmla="*/ 557212 h 1619250"/>
                      <a:gd name="connsiteX396" fmla="*/ 414749 w 1614899"/>
                      <a:gd name="connsiteY396" fmla="*/ 552450 h 1619250"/>
                      <a:gd name="connsiteX397" fmla="*/ 407606 w 1614899"/>
                      <a:gd name="connsiteY397" fmla="*/ 545306 h 1619250"/>
                      <a:gd name="connsiteX398" fmla="*/ 390937 w 1614899"/>
                      <a:gd name="connsiteY398" fmla="*/ 535781 h 1619250"/>
                      <a:gd name="connsiteX399" fmla="*/ 383793 w 1614899"/>
                      <a:gd name="connsiteY399" fmla="*/ 528637 h 1619250"/>
                      <a:gd name="connsiteX400" fmla="*/ 374268 w 1614899"/>
                      <a:gd name="connsiteY400" fmla="*/ 526256 h 1619250"/>
                      <a:gd name="connsiteX401" fmla="*/ 352837 w 1614899"/>
                      <a:gd name="connsiteY401" fmla="*/ 519112 h 1619250"/>
                      <a:gd name="connsiteX402" fmla="*/ 345693 w 1614899"/>
                      <a:gd name="connsiteY402" fmla="*/ 516731 h 1619250"/>
                      <a:gd name="connsiteX403" fmla="*/ 338549 w 1614899"/>
                      <a:gd name="connsiteY403" fmla="*/ 514350 h 1619250"/>
                      <a:gd name="connsiteX404" fmla="*/ 326643 w 1614899"/>
                      <a:gd name="connsiteY404" fmla="*/ 504825 h 1619250"/>
                      <a:gd name="connsiteX405" fmla="*/ 321881 w 1614899"/>
                      <a:gd name="connsiteY405" fmla="*/ 497681 h 1619250"/>
                      <a:gd name="connsiteX406" fmla="*/ 314737 w 1614899"/>
                      <a:gd name="connsiteY406" fmla="*/ 490537 h 1619250"/>
                      <a:gd name="connsiteX407" fmla="*/ 307593 w 1614899"/>
                      <a:gd name="connsiteY407" fmla="*/ 485775 h 1619250"/>
                      <a:gd name="connsiteX408" fmla="*/ 293306 w 1614899"/>
                      <a:gd name="connsiteY408" fmla="*/ 481012 h 1619250"/>
                      <a:gd name="connsiteX409" fmla="*/ 269493 w 1614899"/>
                      <a:gd name="connsiteY409" fmla="*/ 483394 h 1619250"/>
                      <a:gd name="connsiteX410" fmla="*/ 259968 w 1614899"/>
                      <a:gd name="connsiteY410" fmla="*/ 490537 h 1619250"/>
                      <a:gd name="connsiteX411" fmla="*/ 243299 w 1614899"/>
                      <a:gd name="connsiteY411" fmla="*/ 497681 h 1619250"/>
                      <a:gd name="connsiteX412" fmla="*/ 236156 w 1614899"/>
                      <a:gd name="connsiteY412" fmla="*/ 502444 h 1619250"/>
                      <a:gd name="connsiteX413" fmla="*/ 233774 w 1614899"/>
                      <a:gd name="connsiteY413" fmla="*/ 509587 h 1619250"/>
                      <a:gd name="connsiteX414" fmla="*/ 231393 w 1614899"/>
                      <a:gd name="connsiteY414" fmla="*/ 519112 h 1619250"/>
                      <a:gd name="connsiteX415" fmla="*/ 224249 w 1614899"/>
                      <a:gd name="connsiteY415" fmla="*/ 521494 h 1619250"/>
                      <a:gd name="connsiteX416" fmla="*/ 209962 w 1614899"/>
                      <a:gd name="connsiteY416" fmla="*/ 528637 h 1619250"/>
                      <a:gd name="connsiteX417" fmla="*/ 200437 w 1614899"/>
                      <a:gd name="connsiteY417" fmla="*/ 542925 h 1619250"/>
                      <a:gd name="connsiteX418" fmla="*/ 195674 w 1614899"/>
                      <a:gd name="connsiteY418" fmla="*/ 557212 h 1619250"/>
                      <a:gd name="connsiteX419" fmla="*/ 188531 w 1614899"/>
                      <a:gd name="connsiteY419" fmla="*/ 559594 h 1619250"/>
                      <a:gd name="connsiteX420" fmla="*/ 176624 w 1614899"/>
                      <a:gd name="connsiteY420" fmla="*/ 564356 h 1619250"/>
                      <a:gd name="connsiteX421" fmla="*/ 164718 w 1614899"/>
                      <a:gd name="connsiteY421" fmla="*/ 566737 h 1619250"/>
                      <a:gd name="connsiteX422" fmla="*/ 157574 w 1614899"/>
                      <a:gd name="connsiteY422" fmla="*/ 569119 h 1619250"/>
                      <a:gd name="connsiteX423" fmla="*/ 148049 w 1614899"/>
                      <a:gd name="connsiteY423" fmla="*/ 571500 h 1619250"/>
                      <a:gd name="connsiteX424" fmla="*/ 140906 w 1614899"/>
                      <a:gd name="connsiteY424" fmla="*/ 573881 h 1619250"/>
                      <a:gd name="connsiteX425" fmla="*/ 121856 w 1614899"/>
                      <a:gd name="connsiteY425" fmla="*/ 576262 h 1619250"/>
                      <a:gd name="connsiteX426" fmla="*/ 119474 w 1614899"/>
                      <a:gd name="connsiteY426" fmla="*/ 571500 h 1619250"/>
                      <a:gd name="connsiteX427" fmla="*/ 128999 w 1614899"/>
                      <a:gd name="connsiteY427" fmla="*/ 557212 h 1619250"/>
                      <a:gd name="connsiteX428" fmla="*/ 131381 w 1614899"/>
                      <a:gd name="connsiteY428" fmla="*/ 550069 h 1619250"/>
                      <a:gd name="connsiteX429" fmla="*/ 140906 w 1614899"/>
                      <a:gd name="connsiteY429" fmla="*/ 535781 h 1619250"/>
                      <a:gd name="connsiteX430" fmla="*/ 133762 w 1614899"/>
                      <a:gd name="connsiteY430" fmla="*/ 533400 h 1619250"/>
                      <a:gd name="connsiteX431" fmla="*/ 128999 w 1614899"/>
                      <a:gd name="connsiteY431" fmla="*/ 516731 h 1619250"/>
                      <a:gd name="connsiteX432" fmla="*/ 69468 w 1614899"/>
                      <a:gd name="connsiteY432" fmla="*/ 514350 h 1619250"/>
                      <a:gd name="connsiteX433" fmla="*/ 67087 w 1614899"/>
                      <a:gd name="connsiteY433" fmla="*/ 507206 h 1619250"/>
                      <a:gd name="connsiteX434" fmla="*/ 52799 w 1614899"/>
                      <a:gd name="connsiteY434" fmla="*/ 497681 h 1619250"/>
                      <a:gd name="connsiteX435" fmla="*/ 55181 w 1614899"/>
                      <a:gd name="connsiteY435" fmla="*/ 488156 h 1619250"/>
                      <a:gd name="connsiteX436" fmla="*/ 40893 w 1614899"/>
                      <a:gd name="connsiteY436" fmla="*/ 483394 h 1619250"/>
                      <a:gd name="connsiteX437" fmla="*/ 38512 w 1614899"/>
                      <a:gd name="connsiteY437" fmla="*/ 471487 h 1619250"/>
                      <a:gd name="connsiteX438" fmla="*/ 36131 w 1614899"/>
                      <a:gd name="connsiteY438" fmla="*/ 464344 h 1619250"/>
                      <a:gd name="connsiteX439" fmla="*/ 38512 w 1614899"/>
                      <a:gd name="connsiteY439" fmla="*/ 452437 h 1619250"/>
                      <a:gd name="connsiteX440" fmla="*/ 38512 w 1614899"/>
                      <a:gd name="connsiteY440" fmla="*/ 428625 h 1619250"/>
                      <a:gd name="connsiteX441" fmla="*/ 45656 w 1614899"/>
                      <a:gd name="connsiteY441" fmla="*/ 426244 h 1619250"/>
                      <a:gd name="connsiteX442" fmla="*/ 52799 w 1614899"/>
                      <a:gd name="connsiteY442" fmla="*/ 421481 h 1619250"/>
                      <a:gd name="connsiteX443" fmla="*/ 59943 w 1614899"/>
                      <a:gd name="connsiteY443" fmla="*/ 419100 h 1619250"/>
                      <a:gd name="connsiteX444" fmla="*/ 64706 w 1614899"/>
                      <a:gd name="connsiteY444" fmla="*/ 411956 h 1619250"/>
                      <a:gd name="connsiteX445" fmla="*/ 55181 w 1614899"/>
                      <a:gd name="connsiteY445" fmla="*/ 392906 h 1619250"/>
                      <a:gd name="connsiteX446" fmla="*/ 40893 w 1614899"/>
                      <a:gd name="connsiteY446" fmla="*/ 388144 h 1619250"/>
                      <a:gd name="connsiteX447" fmla="*/ 33749 w 1614899"/>
                      <a:gd name="connsiteY447" fmla="*/ 390525 h 1619250"/>
                      <a:gd name="connsiteX448" fmla="*/ 28987 w 1614899"/>
                      <a:gd name="connsiteY448" fmla="*/ 390525 h 1619250"/>
                      <a:gd name="connsiteX449" fmla="*/ 21843 w 1614899"/>
                      <a:gd name="connsiteY449" fmla="*/ 388144 h 1619250"/>
                      <a:gd name="connsiteX450" fmla="*/ 14699 w 1614899"/>
                      <a:gd name="connsiteY450" fmla="*/ 364331 h 1619250"/>
                      <a:gd name="connsiteX451" fmla="*/ 2793 w 1614899"/>
                      <a:gd name="connsiteY451" fmla="*/ 361950 h 1619250"/>
                      <a:gd name="connsiteX452" fmla="*/ 2793 w 1614899"/>
                      <a:gd name="connsiteY452" fmla="*/ 345281 h 1619250"/>
                      <a:gd name="connsiteX453" fmla="*/ 17081 w 1614899"/>
                      <a:gd name="connsiteY453" fmla="*/ 340519 h 1619250"/>
                      <a:gd name="connsiteX454" fmla="*/ 24224 w 1614899"/>
                      <a:gd name="connsiteY454" fmla="*/ 347662 h 1619250"/>
                      <a:gd name="connsiteX455" fmla="*/ 40893 w 1614899"/>
                      <a:gd name="connsiteY455" fmla="*/ 342900 h 1619250"/>
                      <a:gd name="connsiteX456" fmla="*/ 57562 w 1614899"/>
                      <a:gd name="connsiteY456" fmla="*/ 333375 h 1619250"/>
                      <a:gd name="connsiteX457" fmla="*/ 64706 w 1614899"/>
                      <a:gd name="connsiteY457" fmla="*/ 328612 h 1619250"/>
                      <a:gd name="connsiteX458" fmla="*/ 71849 w 1614899"/>
                      <a:gd name="connsiteY458" fmla="*/ 326231 h 1619250"/>
                      <a:gd name="connsiteX459" fmla="*/ 90899 w 1614899"/>
                      <a:gd name="connsiteY459" fmla="*/ 321469 h 1619250"/>
                      <a:gd name="connsiteX460" fmla="*/ 86137 w 1614899"/>
                      <a:gd name="connsiteY460" fmla="*/ 311944 h 1619250"/>
                      <a:gd name="connsiteX461" fmla="*/ 88518 w 1614899"/>
                      <a:gd name="connsiteY461" fmla="*/ 292894 h 1619250"/>
                      <a:gd name="connsiteX462" fmla="*/ 90899 w 1614899"/>
                      <a:gd name="connsiteY462" fmla="*/ 285750 h 1619250"/>
                      <a:gd name="connsiteX463" fmla="*/ 76612 w 1614899"/>
                      <a:gd name="connsiteY463" fmla="*/ 280987 h 1619250"/>
                      <a:gd name="connsiteX464" fmla="*/ 71849 w 1614899"/>
                      <a:gd name="connsiteY464" fmla="*/ 273844 h 1619250"/>
                      <a:gd name="connsiteX465" fmla="*/ 67087 w 1614899"/>
                      <a:gd name="connsiteY465" fmla="*/ 250031 h 1619250"/>
                      <a:gd name="connsiteX466" fmla="*/ 45656 w 1614899"/>
                      <a:gd name="connsiteY466" fmla="*/ 250031 h 1619250"/>
                      <a:gd name="connsiteX467" fmla="*/ 40893 w 1614899"/>
                      <a:gd name="connsiteY467" fmla="*/ 242887 h 1619250"/>
                      <a:gd name="connsiteX468" fmla="*/ 43274 w 1614899"/>
                      <a:gd name="connsiteY468" fmla="*/ 223837 h 1619250"/>
                      <a:gd name="connsiteX469" fmla="*/ 57562 w 1614899"/>
                      <a:gd name="connsiteY469" fmla="*/ 211931 h 1619250"/>
                      <a:gd name="connsiteX470" fmla="*/ 74231 w 1614899"/>
                      <a:gd name="connsiteY470" fmla="*/ 200025 h 1619250"/>
                      <a:gd name="connsiteX471" fmla="*/ 81374 w 1614899"/>
                      <a:gd name="connsiteY471" fmla="*/ 202406 h 1619250"/>
                      <a:gd name="connsiteX472" fmla="*/ 83756 w 1614899"/>
                      <a:gd name="connsiteY472" fmla="*/ 209550 h 1619250"/>
                      <a:gd name="connsiteX473" fmla="*/ 102806 w 1614899"/>
                      <a:gd name="connsiteY473" fmla="*/ 204787 h 1619250"/>
                      <a:gd name="connsiteX474" fmla="*/ 109949 w 1614899"/>
                      <a:gd name="connsiteY474" fmla="*/ 200025 h 1619250"/>
                      <a:gd name="connsiteX475" fmla="*/ 119474 w 1614899"/>
                      <a:gd name="connsiteY475" fmla="*/ 197644 h 1619250"/>
                      <a:gd name="connsiteX476" fmla="*/ 133762 w 1614899"/>
                      <a:gd name="connsiteY476" fmla="*/ 192881 h 1619250"/>
                      <a:gd name="connsiteX477" fmla="*/ 140906 w 1614899"/>
                      <a:gd name="connsiteY477" fmla="*/ 190500 h 1619250"/>
                      <a:gd name="connsiteX478" fmla="*/ 148049 w 1614899"/>
                      <a:gd name="connsiteY478" fmla="*/ 195262 h 1619250"/>
                      <a:gd name="connsiteX479" fmla="*/ 155193 w 1614899"/>
                      <a:gd name="connsiteY479" fmla="*/ 204787 h 1619250"/>
                      <a:gd name="connsiteX480" fmla="*/ 164718 w 1614899"/>
                      <a:gd name="connsiteY480" fmla="*/ 202406 h 1619250"/>
                      <a:gd name="connsiteX481" fmla="*/ 190912 w 1614899"/>
                      <a:gd name="connsiteY481" fmla="*/ 200025 h 1619250"/>
                      <a:gd name="connsiteX482" fmla="*/ 193293 w 1614899"/>
                      <a:gd name="connsiteY482" fmla="*/ 192881 h 1619250"/>
                      <a:gd name="connsiteX483" fmla="*/ 198056 w 1614899"/>
                      <a:gd name="connsiteY483" fmla="*/ 185737 h 1619250"/>
                      <a:gd name="connsiteX484" fmla="*/ 195674 w 1614899"/>
                      <a:gd name="connsiteY484" fmla="*/ 178594 h 1619250"/>
                      <a:gd name="connsiteX485" fmla="*/ 186149 w 1614899"/>
                      <a:gd name="connsiteY485" fmla="*/ 159544 h 1619250"/>
                      <a:gd name="connsiteX486" fmla="*/ 217106 w 1614899"/>
                      <a:gd name="connsiteY486" fmla="*/ 152400 h 1619250"/>
                      <a:gd name="connsiteX487" fmla="*/ 209962 w 1614899"/>
                      <a:gd name="connsiteY487" fmla="*/ 145256 h 1619250"/>
                      <a:gd name="connsiteX488" fmla="*/ 202818 w 1614899"/>
                      <a:gd name="connsiteY488" fmla="*/ 140494 h 1619250"/>
                      <a:gd name="connsiteX489" fmla="*/ 212343 w 1614899"/>
                      <a:gd name="connsiteY489" fmla="*/ 133350 h 1619250"/>
                      <a:gd name="connsiteX490" fmla="*/ 233774 w 1614899"/>
                      <a:gd name="connsiteY490" fmla="*/ 123825 h 1619250"/>
                      <a:gd name="connsiteX491" fmla="*/ 238537 w 1614899"/>
                      <a:gd name="connsiteY491" fmla="*/ 116681 h 1619250"/>
                      <a:gd name="connsiteX492" fmla="*/ 240918 w 1614899"/>
                      <a:gd name="connsiteY492" fmla="*/ 107156 h 1619250"/>
                      <a:gd name="connsiteX493" fmla="*/ 248062 w 1614899"/>
                      <a:gd name="connsiteY493" fmla="*/ 109537 h 1619250"/>
                      <a:gd name="connsiteX494" fmla="*/ 250443 w 1614899"/>
                      <a:gd name="connsiteY494" fmla="*/ 116681 h 1619250"/>
                      <a:gd name="connsiteX495" fmla="*/ 252824 w 1614899"/>
                      <a:gd name="connsiteY495" fmla="*/ 130969 h 1619250"/>
                      <a:gd name="connsiteX496" fmla="*/ 269493 w 1614899"/>
                      <a:gd name="connsiteY496" fmla="*/ 138112 h 1619250"/>
                      <a:gd name="connsiteX497" fmla="*/ 271874 w 1614899"/>
                      <a:gd name="connsiteY497" fmla="*/ 145256 h 1619250"/>
                      <a:gd name="connsiteX498" fmla="*/ 264731 w 1614899"/>
                      <a:gd name="connsiteY498" fmla="*/ 152400 h 1619250"/>
                      <a:gd name="connsiteX499" fmla="*/ 262349 w 1614899"/>
                      <a:gd name="connsiteY499" fmla="*/ 159544 h 1619250"/>
                      <a:gd name="connsiteX500" fmla="*/ 264731 w 1614899"/>
                      <a:gd name="connsiteY500" fmla="*/ 173831 h 1619250"/>
                      <a:gd name="connsiteX501" fmla="*/ 274256 w 1614899"/>
                      <a:gd name="connsiteY501" fmla="*/ 176212 h 1619250"/>
                      <a:gd name="connsiteX502" fmla="*/ 295687 w 1614899"/>
                      <a:gd name="connsiteY502" fmla="*/ 178594 h 1619250"/>
                      <a:gd name="connsiteX503" fmla="*/ 293306 w 1614899"/>
                      <a:gd name="connsiteY503" fmla="*/ 185737 h 1619250"/>
                      <a:gd name="connsiteX504" fmla="*/ 295687 w 1614899"/>
                      <a:gd name="connsiteY504" fmla="*/ 200025 h 1619250"/>
                      <a:gd name="connsiteX505" fmla="*/ 302831 w 1614899"/>
                      <a:gd name="connsiteY505" fmla="*/ 216694 h 1619250"/>
                      <a:gd name="connsiteX506" fmla="*/ 307593 w 1614899"/>
                      <a:gd name="connsiteY506" fmla="*/ 223837 h 1619250"/>
                      <a:gd name="connsiteX507" fmla="*/ 314737 w 1614899"/>
                      <a:gd name="connsiteY507" fmla="*/ 228600 h 1619250"/>
                      <a:gd name="connsiteX508" fmla="*/ 326643 w 1614899"/>
                      <a:gd name="connsiteY508" fmla="*/ 226219 h 1619250"/>
                      <a:gd name="connsiteX509" fmla="*/ 321881 w 1614899"/>
                      <a:gd name="connsiteY509" fmla="*/ 200025 h 1619250"/>
                      <a:gd name="connsiteX510" fmla="*/ 314737 w 1614899"/>
                      <a:gd name="connsiteY510" fmla="*/ 197644 h 1619250"/>
                      <a:gd name="connsiteX511" fmla="*/ 324262 w 1614899"/>
                      <a:gd name="connsiteY511" fmla="*/ 180975 h 1619250"/>
                      <a:gd name="connsiteX512" fmla="*/ 329024 w 1614899"/>
                      <a:gd name="connsiteY512" fmla="*/ 173831 h 1619250"/>
                      <a:gd name="connsiteX513" fmla="*/ 343312 w 1614899"/>
                      <a:gd name="connsiteY513" fmla="*/ 159544 h 1619250"/>
                      <a:gd name="connsiteX514" fmla="*/ 348074 w 1614899"/>
                      <a:gd name="connsiteY514" fmla="*/ 145256 h 1619250"/>
                      <a:gd name="connsiteX515" fmla="*/ 350456 w 1614899"/>
                      <a:gd name="connsiteY515" fmla="*/ 114300 h 1619250"/>
                      <a:gd name="connsiteX516" fmla="*/ 357599 w 1614899"/>
                      <a:gd name="connsiteY516" fmla="*/ 111919 h 1619250"/>
                      <a:gd name="connsiteX517" fmla="*/ 364743 w 1614899"/>
                      <a:gd name="connsiteY517" fmla="*/ 114300 h 1619250"/>
                      <a:gd name="connsiteX518" fmla="*/ 371887 w 1614899"/>
                      <a:gd name="connsiteY518" fmla="*/ 114300 h 1619250"/>
                      <a:gd name="connsiteX519" fmla="*/ 381412 w 1614899"/>
                      <a:gd name="connsiteY519" fmla="*/ 138112 h 1619250"/>
                      <a:gd name="connsiteX520" fmla="*/ 395699 w 1614899"/>
                      <a:gd name="connsiteY520" fmla="*/ 150019 h 1619250"/>
                      <a:gd name="connsiteX521" fmla="*/ 409987 w 1614899"/>
                      <a:gd name="connsiteY521" fmla="*/ 147637 h 1619250"/>
                      <a:gd name="connsiteX522" fmla="*/ 412368 w 1614899"/>
                      <a:gd name="connsiteY522" fmla="*/ 133350 h 1619250"/>
                      <a:gd name="connsiteX523" fmla="*/ 426656 w 1614899"/>
                      <a:gd name="connsiteY523" fmla="*/ 128587 h 1619250"/>
                      <a:gd name="connsiteX524" fmla="*/ 433799 w 1614899"/>
                      <a:gd name="connsiteY524" fmla="*/ 142875 h 1619250"/>
                      <a:gd name="connsiteX525" fmla="*/ 448087 w 1614899"/>
                      <a:gd name="connsiteY525" fmla="*/ 161925 h 1619250"/>
                      <a:gd name="connsiteX526" fmla="*/ 464756 w 1614899"/>
                      <a:gd name="connsiteY526" fmla="*/ 159544 h 1619250"/>
                      <a:gd name="connsiteX527" fmla="*/ 452849 w 1614899"/>
                      <a:gd name="connsiteY527" fmla="*/ 138112 h 1619250"/>
                      <a:gd name="connsiteX528" fmla="*/ 450468 w 1614899"/>
                      <a:gd name="connsiteY528" fmla="*/ 111919 h 1619250"/>
                      <a:gd name="connsiteX529" fmla="*/ 443324 w 1614899"/>
                      <a:gd name="connsiteY529" fmla="*/ 107156 h 1619250"/>
                      <a:gd name="connsiteX530" fmla="*/ 440943 w 1614899"/>
                      <a:gd name="connsiteY530" fmla="*/ 100012 h 1619250"/>
                      <a:gd name="connsiteX531" fmla="*/ 450468 w 1614899"/>
                      <a:gd name="connsiteY531" fmla="*/ 88106 h 1619250"/>
                      <a:gd name="connsiteX532" fmla="*/ 476662 w 1614899"/>
                      <a:gd name="connsiteY532" fmla="*/ 90487 h 1619250"/>
                      <a:gd name="connsiteX533" fmla="*/ 486187 w 1614899"/>
                      <a:gd name="connsiteY533" fmla="*/ 92869 h 1619250"/>
                      <a:gd name="connsiteX534" fmla="*/ 493331 w 1614899"/>
                      <a:gd name="connsiteY534" fmla="*/ 97631 h 1619250"/>
                      <a:gd name="connsiteX535" fmla="*/ 502856 w 1614899"/>
                      <a:gd name="connsiteY535" fmla="*/ 95250 h 1619250"/>
                      <a:gd name="connsiteX536" fmla="*/ 509999 w 1614899"/>
                      <a:gd name="connsiteY536" fmla="*/ 90487 h 1619250"/>
                      <a:gd name="connsiteX537" fmla="*/ 507618 w 1614899"/>
                      <a:gd name="connsiteY537" fmla="*/ 83344 h 1619250"/>
                      <a:gd name="connsiteX538" fmla="*/ 500474 w 1614899"/>
                      <a:gd name="connsiteY538" fmla="*/ 80962 h 1619250"/>
                      <a:gd name="connsiteX539" fmla="*/ 493331 w 1614899"/>
                      <a:gd name="connsiteY539" fmla="*/ 76200 h 1619250"/>
                      <a:gd name="connsiteX540" fmla="*/ 495712 w 1614899"/>
                      <a:gd name="connsiteY540"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83856 w 1614899"/>
                      <a:gd name="connsiteY51" fmla="*/ 197644 h 1619250"/>
                      <a:gd name="connsiteX52" fmla="*/ 900524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19549 w 1614899"/>
                      <a:gd name="connsiteY86" fmla="*/ 328612 h 1619250"/>
                      <a:gd name="connsiteX87" fmla="*/ 714787 w 1614899"/>
                      <a:gd name="connsiteY87" fmla="*/ 335756 h 1619250"/>
                      <a:gd name="connsiteX88" fmla="*/ 717168 w 1614899"/>
                      <a:gd name="connsiteY88" fmla="*/ 342900 h 1619250"/>
                      <a:gd name="connsiteX89" fmla="*/ 721931 w 1614899"/>
                      <a:gd name="connsiteY89" fmla="*/ 347662 h 1619250"/>
                      <a:gd name="connsiteX90" fmla="*/ 733837 w 1614899"/>
                      <a:gd name="connsiteY90" fmla="*/ 357187 h 1619250"/>
                      <a:gd name="connsiteX91" fmla="*/ 740981 w 1614899"/>
                      <a:gd name="connsiteY91" fmla="*/ 354806 h 1619250"/>
                      <a:gd name="connsiteX92" fmla="*/ 755268 w 1614899"/>
                      <a:gd name="connsiteY92" fmla="*/ 350044 h 1619250"/>
                      <a:gd name="connsiteX93" fmla="*/ 752887 w 1614899"/>
                      <a:gd name="connsiteY93" fmla="*/ 359569 h 1619250"/>
                      <a:gd name="connsiteX94" fmla="*/ 755268 w 1614899"/>
                      <a:gd name="connsiteY94" fmla="*/ 371475 h 1619250"/>
                      <a:gd name="connsiteX95" fmla="*/ 762412 w 1614899"/>
                      <a:gd name="connsiteY95" fmla="*/ 373856 h 1619250"/>
                      <a:gd name="connsiteX96" fmla="*/ 745743 w 1614899"/>
                      <a:gd name="connsiteY96" fmla="*/ 390525 h 1619250"/>
                      <a:gd name="connsiteX97" fmla="*/ 750506 w 1614899"/>
                      <a:gd name="connsiteY97" fmla="*/ 397669 h 1619250"/>
                      <a:gd name="connsiteX98" fmla="*/ 745743 w 1614899"/>
                      <a:gd name="connsiteY98" fmla="*/ 411956 h 1619250"/>
                      <a:gd name="connsiteX99" fmla="*/ 731456 w 1614899"/>
                      <a:gd name="connsiteY99" fmla="*/ 404812 h 1619250"/>
                      <a:gd name="connsiteX100" fmla="*/ 724312 w 1614899"/>
                      <a:gd name="connsiteY100" fmla="*/ 409575 h 1619250"/>
                      <a:gd name="connsiteX101" fmla="*/ 721931 w 1614899"/>
                      <a:gd name="connsiteY101" fmla="*/ 416719 h 1619250"/>
                      <a:gd name="connsiteX102" fmla="*/ 736218 w 1614899"/>
                      <a:gd name="connsiteY102" fmla="*/ 426244 h 1619250"/>
                      <a:gd name="connsiteX103" fmla="*/ 731456 w 1614899"/>
                      <a:gd name="connsiteY103" fmla="*/ 442912 h 1619250"/>
                      <a:gd name="connsiteX104" fmla="*/ 729074 w 1614899"/>
                      <a:gd name="connsiteY104" fmla="*/ 450056 h 1619250"/>
                      <a:gd name="connsiteX105" fmla="*/ 731456 w 1614899"/>
                      <a:gd name="connsiteY105" fmla="*/ 481012 h 1619250"/>
                      <a:gd name="connsiteX106" fmla="*/ 736218 w 1614899"/>
                      <a:gd name="connsiteY106" fmla="*/ 488156 h 1619250"/>
                      <a:gd name="connsiteX107" fmla="*/ 743362 w 1614899"/>
                      <a:gd name="connsiteY107" fmla="*/ 509587 h 1619250"/>
                      <a:gd name="connsiteX108" fmla="*/ 745743 w 1614899"/>
                      <a:gd name="connsiteY108" fmla="*/ 516731 h 1619250"/>
                      <a:gd name="connsiteX109" fmla="*/ 760031 w 1614899"/>
                      <a:gd name="connsiteY109" fmla="*/ 526256 h 1619250"/>
                      <a:gd name="connsiteX110" fmla="*/ 764793 w 1614899"/>
                      <a:gd name="connsiteY110" fmla="*/ 533400 h 1619250"/>
                      <a:gd name="connsiteX111" fmla="*/ 769556 w 1614899"/>
                      <a:gd name="connsiteY111" fmla="*/ 547687 h 1619250"/>
                      <a:gd name="connsiteX112" fmla="*/ 769556 w 1614899"/>
                      <a:gd name="connsiteY112" fmla="*/ 542925 h 1619250"/>
                      <a:gd name="connsiteX113" fmla="*/ 776699 w 1614899"/>
                      <a:gd name="connsiteY113" fmla="*/ 550069 h 1619250"/>
                      <a:gd name="connsiteX114" fmla="*/ 793368 w 1614899"/>
                      <a:gd name="connsiteY114" fmla="*/ 552450 h 1619250"/>
                      <a:gd name="connsiteX115" fmla="*/ 807656 w 1614899"/>
                      <a:gd name="connsiteY115" fmla="*/ 557212 h 1619250"/>
                      <a:gd name="connsiteX116" fmla="*/ 814799 w 1614899"/>
                      <a:gd name="connsiteY116" fmla="*/ 559594 h 1619250"/>
                      <a:gd name="connsiteX117" fmla="*/ 821943 w 1614899"/>
                      <a:gd name="connsiteY117" fmla="*/ 566737 h 1619250"/>
                      <a:gd name="connsiteX118" fmla="*/ 829087 w 1614899"/>
                      <a:gd name="connsiteY118" fmla="*/ 569119 h 1619250"/>
                      <a:gd name="connsiteX119" fmla="*/ 836231 w 1614899"/>
                      <a:gd name="connsiteY119" fmla="*/ 573881 h 1619250"/>
                      <a:gd name="connsiteX120" fmla="*/ 843374 w 1614899"/>
                      <a:gd name="connsiteY120" fmla="*/ 588169 h 1619250"/>
                      <a:gd name="connsiteX121" fmla="*/ 852899 w 1614899"/>
                      <a:gd name="connsiteY121" fmla="*/ 597694 h 1619250"/>
                      <a:gd name="connsiteX122" fmla="*/ 902906 w 1614899"/>
                      <a:gd name="connsiteY122" fmla="*/ 604837 h 1619250"/>
                      <a:gd name="connsiteX123" fmla="*/ 914812 w 1614899"/>
                      <a:gd name="connsiteY123" fmla="*/ 626269 h 1619250"/>
                      <a:gd name="connsiteX124" fmla="*/ 919574 w 1614899"/>
                      <a:gd name="connsiteY124" fmla="*/ 633412 h 1619250"/>
                      <a:gd name="connsiteX125" fmla="*/ 919574 w 1614899"/>
                      <a:gd name="connsiteY125" fmla="*/ 671512 h 1619250"/>
                      <a:gd name="connsiteX126" fmla="*/ 926718 w 1614899"/>
                      <a:gd name="connsiteY126" fmla="*/ 676275 h 1619250"/>
                      <a:gd name="connsiteX127" fmla="*/ 933862 w 1614899"/>
                      <a:gd name="connsiteY127" fmla="*/ 690562 h 1619250"/>
                      <a:gd name="connsiteX128" fmla="*/ 936243 w 1614899"/>
                      <a:gd name="connsiteY128" fmla="*/ 702469 h 1619250"/>
                      <a:gd name="connsiteX129" fmla="*/ 943387 w 1614899"/>
                      <a:gd name="connsiteY129" fmla="*/ 709612 h 1619250"/>
                      <a:gd name="connsiteX130" fmla="*/ 945768 w 1614899"/>
                      <a:gd name="connsiteY130" fmla="*/ 723900 h 1619250"/>
                      <a:gd name="connsiteX131" fmla="*/ 955293 w 1614899"/>
                      <a:gd name="connsiteY131" fmla="*/ 738187 h 1619250"/>
                      <a:gd name="connsiteX132" fmla="*/ 964818 w 1614899"/>
                      <a:gd name="connsiteY132" fmla="*/ 752475 h 1619250"/>
                      <a:gd name="connsiteX133" fmla="*/ 967199 w 1614899"/>
                      <a:gd name="connsiteY133" fmla="*/ 759619 h 1619250"/>
                      <a:gd name="connsiteX134" fmla="*/ 974343 w 1614899"/>
                      <a:gd name="connsiteY134" fmla="*/ 769144 h 1619250"/>
                      <a:gd name="connsiteX135" fmla="*/ 979106 w 1614899"/>
                      <a:gd name="connsiteY135" fmla="*/ 783431 h 1619250"/>
                      <a:gd name="connsiteX136" fmla="*/ 981487 w 1614899"/>
                      <a:gd name="connsiteY136" fmla="*/ 790575 h 1619250"/>
                      <a:gd name="connsiteX137" fmla="*/ 991012 w 1614899"/>
                      <a:gd name="connsiteY137" fmla="*/ 804862 h 1619250"/>
                      <a:gd name="connsiteX138" fmla="*/ 998156 w 1614899"/>
                      <a:gd name="connsiteY138" fmla="*/ 819150 h 1619250"/>
                      <a:gd name="connsiteX139" fmla="*/ 1000537 w 1614899"/>
                      <a:gd name="connsiteY139" fmla="*/ 826294 h 1619250"/>
                      <a:gd name="connsiteX140" fmla="*/ 1007681 w 1614899"/>
                      <a:gd name="connsiteY140" fmla="*/ 828675 h 1619250"/>
                      <a:gd name="connsiteX141" fmla="*/ 1014824 w 1614899"/>
                      <a:gd name="connsiteY141" fmla="*/ 833437 h 1619250"/>
                      <a:gd name="connsiteX142" fmla="*/ 1029112 w 1614899"/>
                      <a:gd name="connsiteY142" fmla="*/ 838200 h 1619250"/>
                      <a:gd name="connsiteX143" fmla="*/ 1033874 w 1614899"/>
                      <a:gd name="connsiteY143" fmla="*/ 845344 h 1619250"/>
                      <a:gd name="connsiteX144" fmla="*/ 1048162 w 1614899"/>
                      <a:gd name="connsiteY144" fmla="*/ 857250 h 1619250"/>
                      <a:gd name="connsiteX145" fmla="*/ 1062449 w 1614899"/>
                      <a:gd name="connsiteY145" fmla="*/ 862012 h 1619250"/>
                      <a:gd name="connsiteX146" fmla="*/ 1079118 w 1614899"/>
                      <a:gd name="connsiteY146" fmla="*/ 883444 h 1619250"/>
                      <a:gd name="connsiteX147" fmla="*/ 1081499 w 1614899"/>
                      <a:gd name="connsiteY147" fmla="*/ 890587 h 1619250"/>
                      <a:gd name="connsiteX148" fmla="*/ 1095787 w 1614899"/>
                      <a:gd name="connsiteY148" fmla="*/ 883444 h 1619250"/>
                      <a:gd name="connsiteX149" fmla="*/ 1110074 w 1614899"/>
                      <a:gd name="connsiteY149" fmla="*/ 890587 h 1619250"/>
                      <a:gd name="connsiteX150" fmla="*/ 1121981 w 1614899"/>
                      <a:gd name="connsiteY150" fmla="*/ 902494 h 1619250"/>
                      <a:gd name="connsiteX151" fmla="*/ 1136268 w 1614899"/>
                      <a:gd name="connsiteY151" fmla="*/ 907256 h 1619250"/>
                      <a:gd name="connsiteX152" fmla="*/ 1176749 w 1614899"/>
                      <a:gd name="connsiteY152" fmla="*/ 904875 h 1619250"/>
                      <a:gd name="connsiteX153" fmla="*/ 1195799 w 1614899"/>
                      <a:gd name="connsiteY153" fmla="*/ 904875 h 1619250"/>
                      <a:gd name="connsiteX154" fmla="*/ 1207706 w 1614899"/>
                      <a:gd name="connsiteY154" fmla="*/ 912019 h 1619250"/>
                      <a:gd name="connsiteX155" fmla="*/ 1210087 w 1614899"/>
                      <a:gd name="connsiteY155" fmla="*/ 902494 h 1619250"/>
                      <a:gd name="connsiteX156" fmla="*/ 1219612 w 1614899"/>
                      <a:gd name="connsiteY156" fmla="*/ 900112 h 1619250"/>
                      <a:gd name="connsiteX157" fmla="*/ 1226756 w 1614899"/>
                      <a:gd name="connsiteY157" fmla="*/ 895350 h 1619250"/>
                      <a:gd name="connsiteX158" fmla="*/ 1241043 w 1614899"/>
                      <a:gd name="connsiteY158" fmla="*/ 890587 h 1619250"/>
                      <a:gd name="connsiteX159" fmla="*/ 1255331 w 1614899"/>
                      <a:gd name="connsiteY159" fmla="*/ 892969 h 1619250"/>
                      <a:gd name="connsiteX160" fmla="*/ 1260093 w 1614899"/>
                      <a:gd name="connsiteY160" fmla="*/ 900112 h 1619250"/>
                      <a:gd name="connsiteX161" fmla="*/ 1267237 w 1614899"/>
                      <a:gd name="connsiteY161" fmla="*/ 904875 h 1619250"/>
                      <a:gd name="connsiteX162" fmla="*/ 1271999 w 1614899"/>
                      <a:gd name="connsiteY162" fmla="*/ 919162 h 1619250"/>
                      <a:gd name="connsiteX163" fmla="*/ 1269618 w 1614899"/>
                      <a:gd name="connsiteY163" fmla="*/ 928687 h 1619250"/>
                      <a:gd name="connsiteX164" fmla="*/ 1262474 w 1614899"/>
                      <a:gd name="connsiteY164" fmla="*/ 933450 h 1619250"/>
                      <a:gd name="connsiteX165" fmla="*/ 1255331 w 1614899"/>
                      <a:gd name="connsiteY165" fmla="*/ 940594 h 1619250"/>
                      <a:gd name="connsiteX166" fmla="*/ 1248187 w 1614899"/>
                      <a:gd name="connsiteY166" fmla="*/ 942975 h 1619250"/>
                      <a:gd name="connsiteX167" fmla="*/ 1241043 w 1614899"/>
                      <a:gd name="connsiteY167" fmla="*/ 947737 h 1619250"/>
                      <a:gd name="connsiteX168" fmla="*/ 1226756 w 1614899"/>
                      <a:gd name="connsiteY168" fmla="*/ 954881 h 1619250"/>
                      <a:gd name="connsiteX169" fmla="*/ 1236281 w 1614899"/>
                      <a:gd name="connsiteY169" fmla="*/ 969169 h 1619250"/>
                      <a:gd name="connsiteX170" fmla="*/ 1241043 w 1614899"/>
                      <a:gd name="connsiteY170" fmla="*/ 983456 h 1619250"/>
                      <a:gd name="connsiteX171" fmla="*/ 1250568 w 1614899"/>
                      <a:gd name="connsiteY171" fmla="*/ 997744 h 1619250"/>
                      <a:gd name="connsiteX172" fmla="*/ 1262474 w 1614899"/>
                      <a:gd name="connsiteY172" fmla="*/ 997744 h 1619250"/>
                      <a:gd name="connsiteX173" fmla="*/ 1264856 w 1614899"/>
                      <a:gd name="connsiteY173" fmla="*/ 990600 h 1619250"/>
                      <a:gd name="connsiteX174" fmla="*/ 1283906 w 1614899"/>
                      <a:gd name="connsiteY174" fmla="*/ 995362 h 1619250"/>
                      <a:gd name="connsiteX175" fmla="*/ 1291049 w 1614899"/>
                      <a:gd name="connsiteY175" fmla="*/ 1000125 h 1619250"/>
                      <a:gd name="connsiteX176" fmla="*/ 1298193 w 1614899"/>
                      <a:gd name="connsiteY176" fmla="*/ 1002506 h 1619250"/>
                      <a:gd name="connsiteX177" fmla="*/ 1322006 w 1614899"/>
                      <a:gd name="connsiteY177" fmla="*/ 1007269 h 1619250"/>
                      <a:gd name="connsiteX178" fmla="*/ 1336293 w 1614899"/>
                      <a:gd name="connsiteY178" fmla="*/ 1012031 h 1619250"/>
                      <a:gd name="connsiteX179" fmla="*/ 1355343 w 1614899"/>
                      <a:gd name="connsiteY179" fmla="*/ 1016794 h 1619250"/>
                      <a:gd name="connsiteX180" fmla="*/ 1362487 w 1614899"/>
                      <a:gd name="connsiteY180" fmla="*/ 1023937 h 1619250"/>
                      <a:gd name="connsiteX181" fmla="*/ 1376774 w 1614899"/>
                      <a:gd name="connsiteY181" fmla="*/ 1028700 h 1619250"/>
                      <a:gd name="connsiteX182" fmla="*/ 1391062 w 1614899"/>
                      <a:gd name="connsiteY182" fmla="*/ 1033462 h 1619250"/>
                      <a:gd name="connsiteX183" fmla="*/ 1398206 w 1614899"/>
                      <a:gd name="connsiteY183" fmla="*/ 1035844 h 1619250"/>
                      <a:gd name="connsiteX184" fmla="*/ 1405349 w 1614899"/>
                      <a:gd name="connsiteY184" fmla="*/ 1038225 h 1619250"/>
                      <a:gd name="connsiteX185" fmla="*/ 1412493 w 1614899"/>
                      <a:gd name="connsiteY185" fmla="*/ 1042987 h 1619250"/>
                      <a:gd name="connsiteX186" fmla="*/ 1426781 w 1614899"/>
                      <a:gd name="connsiteY186" fmla="*/ 1050131 h 1619250"/>
                      <a:gd name="connsiteX187" fmla="*/ 1436306 w 1614899"/>
                      <a:gd name="connsiteY187" fmla="*/ 1062037 h 1619250"/>
                      <a:gd name="connsiteX188" fmla="*/ 1441068 w 1614899"/>
                      <a:gd name="connsiteY188" fmla="*/ 1069181 h 1619250"/>
                      <a:gd name="connsiteX189" fmla="*/ 1450593 w 1614899"/>
                      <a:gd name="connsiteY189" fmla="*/ 1071562 h 1619250"/>
                      <a:gd name="connsiteX190" fmla="*/ 1464881 w 1614899"/>
                      <a:gd name="connsiteY190" fmla="*/ 1076325 h 1619250"/>
                      <a:gd name="connsiteX191" fmla="*/ 1467262 w 1614899"/>
                      <a:gd name="connsiteY191" fmla="*/ 1083469 h 1619250"/>
                      <a:gd name="connsiteX192" fmla="*/ 1488693 w 1614899"/>
                      <a:gd name="connsiteY192" fmla="*/ 1092994 h 1619250"/>
                      <a:gd name="connsiteX193" fmla="*/ 1500599 w 1614899"/>
                      <a:gd name="connsiteY193" fmla="*/ 1095375 h 1619250"/>
                      <a:gd name="connsiteX194" fmla="*/ 1514887 w 1614899"/>
                      <a:gd name="connsiteY194" fmla="*/ 1097756 h 1619250"/>
                      <a:gd name="connsiteX195" fmla="*/ 1522031 w 1614899"/>
                      <a:gd name="connsiteY195" fmla="*/ 1100137 h 1619250"/>
                      <a:gd name="connsiteX196" fmla="*/ 1541081 w 1614899"/>
                      <a:gd name="connsiteY196" fmla="*/ 1104900 h 1619250"/>
                      <a:gd name="connsiteX197" fmla="*/ 1545843 w 1614899"/>
                      <a:gd name="connsiteY197" fmla="*/ 1112044 h 1619250"/>
                      <a:gd name="connsiteX198" fmla="*/ 1543462 w 1614899"/>
                      <a:gd name="connsiteY198" fmla="*/ 1119187 h 1619250"/>
                      <a:gd name="connsiteX199" fmla="*/ 1557749 w 1614899"/>
                      <a:gd name="connsiteY199" fmla="*/ 1128712 h 1619250"/>
                      <a:gd name="connsiteX200" fmla="*/ 1564893 w 1614899"/>
                      <a:gd name="connsiteY200" fmla="*/ 1133475 h 1619250"/>
                      <a:gd name="connsiteX201" fmla="*/ 1579181 w 1614899"/>
                      <a:gd name="connsiteY201" fmla="*/ 1147762 h 1619250"/>
                      <a:gd name="connsiteX202" fmla="*/ 1593468 w 1614899"/>
                      <a:gd name="connsiteY202" fmla="*/ 1152525 h 1619250"/>
                      <a:gd name="connsiteX203" fmla="*/ 1600612 w 1614899"/>
                      <a:gd name="connsiteY203" fmla="*/ 1154906 h 1619250"/>
                      <a:gd name="connsiteX204" fmla="*/ 1607756 w 1614899"/>
                      <a:gd name="connsiteY204" fmla="*/ 1162050 h 1619250"/>
                      <a:gd name="connsiteX205" fmla="*/ 1610137 w 1614899"/>
                      <a:gd name="connsiteY205" fmla="*/ 1169194 h 1619250"/>
                      <a:gd name="connsiteX206" fmla="*/ 1614899 w 1614899"/>
                      <a:gd name="connsiteY206" fmla="*/ 1176337 h 1619250"/>
                      <a:gd name="connsiteX207" fmla="*/ 1612518 w 1614899"/>
                      <a:gd name="connsiteY207" fmla="*/ 1195387 h 1619250"/>
                      <a:gd name="connsiteX208" fmla="*/ 1610137 w 1614899"/>
                      <a:gd name="connsiteY208" fmla="*/ 1202531 h 1619250"/>
                      <a:gd name="connsiteX209" fmla="*/ 1602993 w 1614899"/>
                      <a:gd name="connsiteY209" fmla="*/ 1204912 h 1619250"/>
                      <a:gd name="connsiteX210" fmla="*/ 1600612 w 1614899"/>
                      <a:gd name="connsiteY210" fmla="*/ 1212056 h 1619250"/>
                      <a:gd name="connsiteX211" fmla="*/ 1598231 w 1614899"/>
                      <a:gd name="connsiteY211" fmla="*/ 1247775 h 1619250"/>
                      <a:gd name="connsiteX212" fmla="*/ 1579181 w 1614899"/>
                      <a:gd name="connsiteY212" fmla="*/ 1245394 h 1619250"/>
                      <a:gd name="connsiteX213" fmla="*/ 1550606 w 1614899"/>
                      <a:gd name="connsiteY213" fmla="*/ 1231106 h 1619250"/>
                      <a:gd name="connsiteX214" fmla="*/ 1543462 w 1614899"/>
                      <a:gd name="connsiteY214" fmla="*/ 1226344 h 1619250"/>
                      <a:gd name="connsiteX215" fmla="*/ 1543462 w 1614899"/>
                      <a:gd name="connsiteY215" fmla="*/ 1197769 h 1619250"/>
                      <a:gd name="connsiteX216" fmla="*/ 1545843 w 1614899"/>
                      <a:gd name="connsiteY216" fmla="*/ 1183481 h 1619250"/>
                      <a:gd name="connsiteX217" fmla="*/ 1531556 w 1614899"/>
                      <a:gd name="connsiteY217" fmla="*/ 1176337 h 1619250"/>
                      <a:gd name="connsiteX218" fmla="*/ 1529174 w 1614899"/>
                      <a:gd name="connsiteY218" fmla="*/ 1169194 h 1619250"/>
                      <a:gd name="connsiteX219" fmla="*/ 1531556 w 1614899"/>
                      <a:gd name="connsiteY219" fmla="*/ 1152525 h 1619250"/>
                      <a:gd name="connsiteX220" fmla="*/ 1524412 w 1614899"/>
                      <a:gd name="connsiteY220" fmla="*/ 1154906 h 1619250"/>
                      <a:gd name="connsiteX221" fmla="*/ 1517268 w 1614899"/>
                      <a:gd name="connsiteY221" fmla="*/ 1159669 h 1619250"/>
                      <a:gd name="connsiteX222" fmla="*/ 1502981 w 1614899"/>
                      <a:gd name="connsiteY222" fmla="*/ 1164431 h 1619250"/>
                      <a:gd name="connsiteX223" fmla="*/ 1481549 w 1614899"/>
                      <a:gd name="connsiteY223" fmla="*/ 1169194 h 1619250"/>
                      <a:gd name="connsiteX224" fmla="*/ 1457737 w 1614899"/>
                      <a:gd name="connsiteY224" fmla="*/ 1164431 h 1619250"/>
                      <a:gd name="connsiteX225" fmla="*/ 1443449 w 1614899"/>
                      <a:gd name="connsiteY225" fmla="*/ 1154906 h 1619250"/>
                      <a:gd name="connsiteX226" fmla="*/ 1436306 w 1614899"/>
                      <a:gd name="connsiteY226" fmla="*/ 1150144 h 1619250"/>
                      <a:gd name="connsiteX227" fmla="*/ 1426781 w 1614899"/>
                      <a:gd name="connsiteY227" fmla="*/ 1140619 h 1619250"/>
                      <a:gd name="connsiteX228" fmla="*/ 1402968 w 1614899"/>
                      <a:gd name="connsiteY228" fmla="*/ 1138237 h 1619250"/>
                      <a:gd name="connsiteX229" fmla="*/ 1395824 w 1614899"/>
                      <a:gd name="connsiteY229" fmla="*/ 1145381 h 1619250"/>
                      <a:gd name="connsiteX230" fmla="*/ 1374393 w 1614899"/>
                      <a:gd name="connsiteY230" fmla="*/ 1162050 h 1619250"/>
                      <a:gd name="connsiteX231" fmla="*/ 1367249 w 1614899"/>
                      <a:gd name="connsiteY231" fmla="*/ 1188244 h 1619250"/>
                      <a:gd name="connsiteX232" fmla="*/ 1357724 w 1614899"/>
                      <a:gd name="connsiteY232" fmla="*/ 1202531 h 1619250"/>
                      <a:gd name="connsiteX233" fmla="*/ 1348199 w 1614899"/>
                      <a:gd name="connsiteY233" fmla="*/ 1212056 h 1619250"/>
                      <a:gd name="connsiteX234" fmla="*/ 1345818 w 1614899"/>
                      <a:gd name="connsiteY234" fmla="*/ 1219200 h 1619250"/>
                      <a:gd name="connsiteX235" fmla="*/ 1341056 w 1614899"/>
                      <a:gd name="connsiteY235" fmla="*/ 1228725 h 1619250"/>
                      <a:gd name="connsiteX236" fmla="*/ 1350581 w 1614899"/>
                      <a:gd name="connsiteY236" fmla="*/ 1243012 h 1619250"/>
                      <a:gd name="connsiteX237" fmla="*/ 1343437 w 1614899"/>
                      <a:gd name="connsiteY237" fmla="*/ 1266825 h 1619250"/>
                      <a:gd name="connsiteX238" fmla="*/ 1345818 w 1614899"/>
                      <a:gd name="connsiteY238" fmla="*/ 1281112 h 1619250"/>
                      <a:gd name="connsiteX239" fmla="*/ 1348199 w 1614899"/>
                      <a:gd name="connsiteY239" fmla="*/ 1290637 h 1619250"/>
                      <a:gd name="connsiteX240" fmla="*/ 1355343 w 1614899"/>
                      <a:gd name="connsiteY240" fmla="*/ 1297781 h 1619250"/>
                      <a:gd name="connsiteX241" fmla="*/ 1362487 w 1614899"/>
                      <a:gd name="connsiteY241" fmla="*/ 1300162 h 1619250"/>
                      <a:gd name="connsiteX242" fmla="*/ 1386299 w 1614899"/>
                      <a:gd name="connsiteY242" fmla="*/ 1302544 h 1619250"/>
                      <a:gd name="connsiteX243" fmla="*/ 1395824 w 1614899"/>
                      <a:gd name="connsiteY243" fmla="*/ 1309687 h 1619250"/>
                      <a:gd name="connsiteX244" fmla="*/ 1410112 w 1614899"/>
                      <a:gd name="connsiteY244" fmla="*/ 1314450 h 1619250"/>
                      <a:gd name="connsiteX245" fmla="*/ 1417256 w 1614899"/>
                      <a:gd name="connsiteY245" fmla="*/ 1319212 h 1619250"/>
                      <a:gd name="connsiteX246" fmla="*/ 1431543 w 1614899"/>
                      <a:gd name="connsiteY246" fmla="*/ 1326356 h 1619250"/>
                      <a:gd name="connsiteX247" fmla="*/ 1433924 w 1614899"/>
                      <a:gd name="connsiteY247" fmla="*/ 1333500 h 1619250"/>
                      <a:gd name="connsiteX248" fmla="*/ 1429162 w 1614899"/>
                      <a:gd name="connsiteY248" fmla="*/ 1340644 h 1619250"/>
                      <a:gd name="connsiteX249" fmla="*/ 1426781 w 1614899"/>
                      <a:gd name="connsiteY249" fmla="*/ 1347787 h 1619250"/>
                      <a:gd name="connsiteX250" fmla="*/ 1431543 w 1614899"/>
                      <a:gd name="connsiteY250" fmla="*/ 1354931 h 1619250"/>
                      <a:gd name="connsiteX251" fmla="*/ 1436306 w 1614899"/>
                      <a:gd name="connsiteY251" fmla="*/ 1364456 h 1619250"/>
                      <a:gd name="connsiteX252" fmla="*/ 1443449 w 1614899"/>
                      <a:gd name="connsiteY252" fmla="*/ 1395412 h 1619250"/>
                      <a:gd name="connsiteX253" fmla="*/ 1450593 w 1614899"/>
                      <a:gd name="connsiteY253" fmla="*/ 1402556 h 1619250"/>
                      <a:gd name="connsiteX254" fmla="*/ 1448212 w 1614899"/>
                      <a:gd name="connsiteY254" fmla="*/ 1412081 h 1619250"/>
                      <a:gd name="connsiteX255" fmla="*/ 1433924 w 1614899"/>
                      <a:gd name="connsiteY255" fmla="*/ 1416844 h 1619250"/>
                      <a:gd name="connsiteX256" fmla="*/ 1419637 w 1614899"/>
                      <a:gd name="connsiteY256" fmla="*/ 1423987 h 1619250"/>
                      <a:gd name="connsiteX257" fmla="*/ 1405349 w 1614899"/>
                      <a:gd name="connsiteY257" fmla="*/ 1431131 h 1619250"/>
                      <a:gd name="connsiteX258" fmla="*/ 1398206 w 1614899"/>
                      <a:gd name="connsiteY258" fmla="*/ 1435894 h 1619250"/>
                      <a:gd name="connsiteX259" fmla="*/ 1383918 w 1614899"/>
                      <a:gd name="connsiteY259" fmla="*/ 1440656 h 1619250"/>
                      <a:gd name="connsiteX260" fmla="*/ 1376774 w 1614899"/>
                      <a:gd name="connsiteY260" fmla="*/ 1443037 h 1619250"/>
                      <a:gd name="connsiteX261" fmla="*/ 1364868 w 1614899"/>
                      <a:gd name="connsiteY261" fmla="*/ 1464469 h 1619250"/>
                      <a:gd name="connsiteX262" fmla="*/ 1362487 w 1614899"/>
                      <a:gd name="connsiteY262" fmla="*/ 1473994 h 1619250"/>
                      <a:gd name="connsiteX263" fmla="*/ 1364868 w 1614899"/>
                      <a:gd name="connsiteY263" fmla="*/ 1497806 h 1619250"/>
                      <a:gd name="connsiteX264" fmla="*/ 1372012 w 1614899"/>
                      <a:gd name="connsiteY264" fmla="*/ 1500187 h 1619250"/>
                      <a:gd name="connsiteX265" fmla="*/ 1369631 w 1614899"/>
                      <a:gd name="connsiteY265" fmla="*/ 1516856 h 1619250"/>
                      <a:gd name="connsiteX266" fmla="*/ 1367249 w 1614899"/>
                      <a:gd name="connsiteY266" fmla="*/ 1524000 h 1619250"/>
                      <a:gd name="connsiteX267" fmla="*/ 1360106 w 1614899"/>
                      <a:gd name="connsiteY267" fmla="*/ 1526381 h 1619250"/>
                      <a:gd name="connsiteX268" fmla="*/ 1352962 w 1614899"/>
                      <a:gd name="connsiteY268" fmla="*/ 1531144 h 1619250"/>
                      <a:gd name="connsiteX269" fmla="*/ 1343437 w 1614899"/>
                      <a:gd name="connsiteY269" fmla="*/ 1535906 h 1619250"/>
                      <a:gd name="connsiteX270" fmla="*/ 1329149 w 1614899"/>
                      <a:gd name="connsiteY270" fmla="*/ 1550194 h 1619250"/>
                      <a:gd name="connsiteX271" fmla="*/ 1326768 w 1614899"/>
                      <a:gd name="connsiteY271" fmla="*/ 1559719 h 1619250"/>
                      <a:gd name="connsiteX272" fmla="*/ 1322006 w 1614899"/>
                      <a:gd name="connsiteY272" fmla="*/ 1566862 h 1619250"/>
                      <a:gd name="connsiteX273" fmla="*/ 1319624 w 1614899"/>
                      <a:gd name="connsiteY273" fmla="*/ 1578769 h 1619250"/>
                      <a:gd name="connsiteX274" fmla="*/ 1317243 w 1614899"/>
                      <a:gd name="connsiteY274" fmla="*/ 1585912 h 1619250"/>
                      <a:gd name="connsiteX275" fmla="*/ 1314862 w 1614899"/>
                      <a:gd name="connsiteY275" fmla="*/ 1602581 h 1619250"/>
                      <a:gd name="connsiteX276" fmla="*/ 1283906 w 1614899"/>
                      <a:gd name="connsiteY276" fmla="*/ 1614487 h 1619250"/>
                      <a:gd name="connsiteX277" fmla="*/ 1274381 w 1614899"/>
                      <a:gd name="connsiteY277" fmla="*/ 1616869 h 1619250"/>
                      <a:gd name="connsiteX278" fmla="*/ 1260093 w 1614899"/>
                      <a:gd name="connsiteY278" fmla="*/ 1619250 h 1619250"/>
                      <a:gd name="connsiteX279" fmla="*/ 1248187 w 1614899"/>
                      <a:gd name="connsiteY279" fmla="*/ 1616869 h 1619250"/>
                      <a:gd name="connsiteX280" fmla="*/ 1243424 w 1614899"/>
                      <a:gd name="connsiteY280" fmla="*/ 1597819 h 1619250"/>
                      <a:gd name="connsiteX281" fmla="*/ 1238662 w 1614899"/>
                      <a:gd name="connsiteY281" fmla="*/ 1581150 h 1619250"/>
                      <a:gd name="connsiteX282" fmla="*/ 1243424 w 1614899"/>
                      <a:gd name="connsiteY282" fmla="*/ 1566862 h 1619250"/>
                      <a:gd name="connsiteX283" fmla="*/ 1252949 w 1614899"/>
                      <a:gd name="connsiteY283" fmla="*/ 1552575 h 1619250"/>
                      <a:gd name="connsiteX284" fmla="*/ 1260093 w 1614899"/>
                      <a:gd name="connsiteY284" fmla="*/ 1550194 h 1619250"/>
                      <a:gd name="connsiteX285" fmla="*/ 1267237 w 1614899"/>
                      <a:gd name="connsiteY285" fmla="*/ 1543050 h 1619250"/>
                      <a:gd name="connsiteX286" fmla="*/ 1269618 w 1614899"/>
                      <a:gd name="connsiteY286" fmla="*/ 1535906 h 1619250"/>
                      <a:gd name="connsiteX287" fmla="*/ 1274381 w 1614899"/>
                      <a:gd name="connsiteY287" fmla="*/ 1526381 h 1619250"/>
                      <a:gd name="connsiteX288" fmla="*/ 1267237 w 1614899"/>
                      <a:gd name="connsiteY288" fmla="*/ 1502569 h 1619250"/>
                      <a:gd name="connsiteX289" fmla="*/ 1252949 w 1614899"/>
                      <a:gd name="connsiteY289" fmla="*/ 1493044 h 1619250"/>
                      <a:gd name="connsiteX290" fmla="*/ 1262474 w 1614899"/>
                      <a:gd name="connsiteY290" fmla="*/ 1478756 h 1619250"/>
                      <a:gd name="connsiteX291" fmla="*/ 1279143 w 1614899"/>
                      <a:gd name="connsiteY291" fmla="*/ 1462087 h 1619250"/>
                      <a:gd name="connsiteX292" fmla="*/ 1302956 w 1614899"/>
                      <a:gd name="connsiteY292" fmla="*/ 1459706 h 1619250"/>
                      <a:gd name="connsiteX293" fmla="*/ 1305337 w 1614899"/>
                      <a:gd name="connsiteY293" fmla="*/ 1450181 h 1619250"/>
                      <a:gd name="connsiteX294" fmla="*/ 1310099 w 1614899"/>
                      <a:gd name="connsiteY294" fmla="*/ 1443037 h 1619250"/>
                      <a:gd name="connsiteX295" fmla="*/ 1312481 w 1614899"/>
                      <a:gd name="connsiteY295" fmla="*/ 1435894 h 1619250"/>
                      <a:gd name="connsiteX296" fmla="*/ 1305337 w 1614899"/>
                      <a:gd name="connsiteY296" fmla="*/ 1428750 h 1619250"/>
                      <a:gd name="connsiteX297" fmla="*/ 1298193 w 1614899"/>
                      <a:gd name="connsiteY297" fmla="*/ 1423987 h 1619250"/>
                      <a:gd name="connsiteX298" fmla="*/ 1295812 w 1614899"/>
                      <a:gd name="connsiteY298" fmla="*/ 1412081 h 1619250"/>
                      <a:gd name="connsiteX299" fmla="*/ 1293431 w 1614899"/>
                      <a:gd name="connsiteY299" fmla="*/ 1402556 h 1619250"/>
                      <a:gd name="connsiteX300" fmla="*/ 1288668 w 1614899"/>
                      <a:gd name="connsiteY300" fmla="*/ 1369219 h 1619250"/>
                      <a:gd name="connsiteX301" fmla="*/ 1286287 w 1614899"/>
                      <a:gd name="connsiteY301" fmla="*/ 1362075 h 1619250"/>
                      <a:gd name="connsiteX302" fmla="*/ 1276762 w 1614899"/>
                      <a:gd name="connsiteY302" fmla="*/ 1345406 h 1619250"/>
                      <a:gd name="connsiteX303" fmla="*/ 1267237 w 1614899"/>
                      <a:gd name="connsiteY303" fmla="*/ 1343025 h 1619250"/>
                      <a:gd name="connsiteX304" fmla="*/ 1260093 w 1614899"/>
                      <a:gd name="connsiteY304" fmla="*/ 1340644 h 1619250"/>
                      <a:gd name="connsiteX305" fmla="*/ 1252949 w 1614899"/>
                      <a:gd name="connsiteY305" fmla="*/ 1307306 h 1619250"/>
                      <a:gd name="connsiteX306" fmla="*/ 1248187 w 1614899"/>
                      <a:gd name="connsiteY306" fmla="*/ 1293019 h 1619250"/>
                      <a:gd name="connsiteX307" fmla="*/ 1243424 w 1614899"/>
                      <a:gd name="connsiteY307" fmla="*/ 1278731 h 1619250"/>
                      <a:gd name="connsiteX308" fmla="*/ 1241043 w 1614899"/>
                      <a:gd name="connsiteY308" fmla="*/ 1271587 h 1619250"/>
                      <a:gd name="connsiteX309" fmla="*/ 1236281 w 1614899"/>
                      <a:gd name="connsiteY309" fmla="*/ 1262062 h 1619250"/>
                      <a:gd name="connsiteX310" fmla="*/ 1231518 w 1614899"/>
                      <a:gd name="connsiteY310" fmla="*/ 1247775 h 1619250"/>
                      <a:gd name="connsiteX311" fmla="*/ 1224374 w 1614899"/>
                      <a:gd name="connsiteY311" fmla="*/ 1240631 h 1619250"/>
                      <a:gd name="connsiteX312" fmla="*/ 1214849 w 1614899"/>
                      <a:gd name="connsiteY312" fmla="*/ 1226344 h 1619250"/>
                      <a:gd name="connsiteX313" fmla="*/ 1195799 w 1614899"/>
                      <a:gd name="connsiteY313" fmla="*/ 1233487 h 1619250"/>
                      <a:gd name="connsiteX314" fmla="*/ 1198181 w 1614899"/>
                      <a:gd name="connsiteY314" fmla="*/ 1240631 h 1619250"/>
                      <a:gd name="connsiteX315" fmla="*/ 1191037 w 1614899"/>
                      <a:gd name="connsiteY315" fmla="*/ 1243012 h 1619250"/>
                      <a:gd name="connsiteX316" fmla="*/ 1164843 w 1614899"/>
                      <a:gd name="connsiteY316" fmla="*/ 1238250 h 1619250"/>
                      <a:gd name="connsiteX317" fmla="*/ 1155318 w 1614899"/>
                      <a:gd name="connsiteY317" fmla="*/ 1223962 h 1619250"/>
                      <a:gd name="connsiteX318" fmla="*/ 1148174 w 1614899"/>
                      <a:gd name="connsiteY318" fmla="*/ 1216819 h 1619250"/>
                      <a:gd name="connsiteX319" fmla="*/ 1138649 w 1614899"/>
                      <a:gd name="connsiteY319" fmla="*/ 1219200 h 1619250"/>
                      <a:gd name="connsiteX320" fmla="*/ 1131506 w 1614899"/>
                      <a:gd name="connsiteY320" fmla="*/ 1221581 h 1619250"/>
                      <a:gd name="connsiteX321" fmla="*/ 1124362 w 1614899"/>
                      <a:gd name="connsiteY321" fmla="*/ 1219200 h 1619250"/>
                      <a:gd name="connsiteX322" fmla="*/ 1112456 w 1614899"/>
                      <a:gd name="connsiteY322" fmla="*/ 1207295 h 1619250"/>
                      <a:gd name="connsiteX323" fmla="*/ 1126743 w 1614899"/>
                      <a:gd name="connsiteY323" fmla="*/ 1190624 h 1619250"/>
                      <a:gd name="connsiteX324" fmla="*/ 1112456 w 1614899"/>
                      <a:gd name="connsiteY324" fmla="*/ 1154906 h 1619250"/>
                      <a:gd name="connsiteX325" fmla="*/ 1107693 w 1614899"/>
                      <a:gd name="connsiteY325" fmla="*/ 1147762 h 1619250"/>
                      <a:gd name="connsiteX326" fmla="*/ 1100549 w 1614899"/>
                      <a:gd name="connsiteY326" fmla="*/ 1145381 h 1619250"/>
                      <a:gd name="connsiteX327" fmla="*/ 1093406 w 1614899"/>
                      <a:gd name="connsiteY327" fmla="*/ 1147762 h 1619250"/>
                      <a:gd name="connsiteX328" fmla="*/ 1062449 w 1614899"/>
                      <a:gd name="connsiteY328" fmla="*/ 1152525 h 1619250"/>
                      <a:gd name="connsiteX329" fmla="*/ 1043400 w 1614899"/>
                      <a:gd name="connsiteY329" fmla="*/ 1154906 h 1619250"/>
                      <a:gd name="connsiteX330" fmla="*/ 1029112 w 1614899"/>
                      <a:gd name="connsiteY330" fmla="*/ 1157286 h 1619250"/>
                      <a:gd name="connsiteX331" fmla="*/ 1050543 w 1614899"/>
                      <a:gd name="connsiteY331" fmla="*/ 1128712 h 1619250"/>
                      <a:gd name="connsiteX332" fmla="*/ 1036255 w 1614899"/>
                      <a:gd name="connsiteY332" fmla="*/ 1119187 h 1619250"/>
                      <a:gd name="connsiteX333" fmla="*/ 1024349 w 1614899"/>
                      <a:gd name="connsiteY333" fmla="*/ 1109662 h 1619250"/>
                      <a:gd name="connsiteX334" fmla="*/ 1014824 w 1614899"/>
                      <a:gd name="connsiteY334" fmla="*/ 1107281 h 1619250"/>
                      <a:gd name="connsiteX335" fmla="*/ 986250 w 1614899"/>
                      <a:gd name="connsiteY335" fmla="*/ 1114424 h 1619250"/>
                      <a:gd name="connsiteX336" fmla="*/ 979106 w 1614899"/>
                      <a:gd name="connsiteY336" fmla="*/ 1097757 h 1619250"/>
                      <a:gd name="connsiteX337" fmla="*/ 979106 w 1614899"/>
                      <a:gd name="connsiteY337" fmla="*/ 1076325 h 1619250"/>
                      <a:gd name="connsiteX338" fmla="*/ 964818 w 1614899"/>
                      <a:gd name="connsiteY338" fmla="*/ 1064419 h 1619250"/>
                      <a:gd name="connsiteX339" fmla="*/ 950531 w 1614899"/>
                      <a:gd name="connsiteY339" fmla="*/ 1054894 h 1619250"/>
                      <a:gd name="connsiteX340" fmla="*/ 943387 w 1614899"/>
                      <a:gd name="connsiteY340" fmla="*/ 1050131 h 1619250"/>
                      <a:gd name="connsiteX341" fmla="*/ 936243 w 1614899"/>
                      <a:gd name="connsiteY341" fmla="*/ 1045369 h 1619250"/>
                      <a:gd name="connsiteX342" fmla="*/ 931481 w 1614899"/>
                      <a:gd name="connsiteY342" fmla="*/ 1038225 h 1619250"/>
                      <a:gd name="connsiteX343" fmla="*/ 917193 w 1614899"/>
                      <a:gd name="connsiteY343" fmla="*/ 1031081 h 1619250"/>
                      <a:gd name="connsiteX344" fmla="*/ 914812 w 1614899"/>
                      <a:gd name="connsiteY344" fmla="*/ 1040606 h 1619250"/>
                      <a:gd name="connsiteX345" fmla="*/ 907668 w 1614899"/>
                      <a:gd name="connsiteY345" fmla="*/ 1042987 h 1619250"/>
                      <a:gd name="connsiteX346" fmla="*/ 886237 w 1614899"/>
                      <a:gd name="connsiteY346" fmla="*/ 1031081 h 1619250"/>
                      <a:gd name="connsiteX347" fmla="*/ 862424 w 1614899"/>
                      <a:gd name="connsiteY347" fmla="*/ 1035844 h 1619250"/>
                      <a:gd name="connsiteX348" fmla="*/ 845756 w 1614899"/>
                      <a:gd name="connsiteY348" fmla="*/ 1040606 h 1619250"/>
                      <a:gd name="connsiteX349" fmla="*/ 840993 w 1614899"/>
                      <a:gd name="connsiteY349" fmla="*/ 1033462 h 1619250"/>
                      <a:gd name="connsiteX350" fmla="*/ 821943 w 1614899"/>
                      <a:gd name="connsiteY350" fmla="*/ 1004887 h 1619250"/>
                      <a:gd name="connsiteX351" fmla="*/ 814799 w 1614899"/>
                      <a:gd name="connsiteY351" fmla="*/ 1000125 h 1619250"/>
                      <a:gd name="connsiteX352" fmla="*/ 779081 w 1614899"/>
                      <a:gd name="connsiteY352" fmla="*/ 995362 h 1619250"/>
                      <a:gd name="connsiteX353" fmla="*/ 771937 w 1614899"/>
                      <a:gd name="connsiteY353" fmla="*/ 988219 h 1619250"/>
                      <a:gd name="connsiteX354" fmla="*/ 762412 w 1614899"/>
                      <a:gd name="connsiteY354" fmla="*/ 966787 h 1619250"/>
                      <a:gd name="connsiteX355" fmla="*/ 755268 w 1614899"/>
                      <a:gd name="connsiteY355" fmla="*/ 962025 h 1619250"/>
                      <a:gd name="connsiteX356" fmla="*/ 733837 w 1614899"/>
                      <a:gd name="connsiteY356" fmla="*/ 962025 h 1619250"/>
                      <a:gd name="connsiteX357" fmla="*/ 731456 w 1614899"/>
                      <a:gd name="connsiteY357" fmla="*/ 950119 h 1619250"/>
                      <a:gd name="connsiteX358" fmla="*/ 729074 w 1614899"/>
                      <a:gd name="connsiteY358" fmla="*/ 942975 h 1619250"/>
                      <a:gd name="connsiteX359" fmla="*/ 726693 w 1614899"/>
                      <a:gd name="connsiteY359" fmla="*/ 921544 h 1619250"/>
                      <a:gd name="connsiteX360" fmla="*/ 724312 w 1614899"/>
                      <a:gd name="connsiteY360" fmla="*/ 914400 h 1619250"/>
                      <a:gd name="connsiteX361" fmla="*/ 717168 w 1614899"/>
                      <a:gd name="connsiteY361" fmla="*/ 909637 h 1619250"/>
                      <a:gd name="connsiteX362" fmla="*/ 710024 w 1614899"/>
                      <a:gd name="connsiteY362" fmla="*/ 907256 h 1619250"/>
                      <a:gd name="connsiteX363" fmla="*/ 681449 w 1614899"/>
                      <a:gd name="connsiteY363" fmla="*/ 902494 h 1619250"/>
                      <a:gd name="connsiteX364" fmla="*/ 674306 w 1614899"/>
                      <a:gd name="connsiteY364" fmla="*/ 897731 h 1619250"/>
                      <a:gd name="connsiteX365" fmla="*/ 667162 w 1614899"/>
                      <a:gd name="connsiteY365" fmla="*/ 883444 h 1619250"/>
                      <a:gd name="connsiteX366" fmla="*/ 657637 w 1614899"/>
                      <a:gd name="connsiteY366" fmla="*/ 881062 h 1619250"/>
                      <a:gd name="connsiteX367" fmla="*/ 650493 w 1614899"/>
                      <a:gd name="connsiteY367" fmla="*/ 873919 h 1619250"/>
                      <a:gd name="connsiteX368" fmla="*/ 648112 w 1614899"/>
                      <a:gd name="connsiteY368" fmla="*/ 866775 h 1619250"/>
                      <a:gd name="connsiteX369" fmla="*/ 643349 w 1614899"/>
                      <a:gd name="connsiteY369" fmla="*/ 859631 h 1619250"/>
                      <a:gd name="connsiteX370" fmla="*/ 631443 w 1614899"/>
                      <a:gd name="connsiteY370" fmla="*/ 838200 h 1619250"/>
                      <a:gd name="connsiteX371" fmla="*/ 624299 w 1614899"/>
                      <a:gd name="connsiteY371" fmla="*/ 833437 h 1619250"/>
                      <a:gd name="connsiteX372" fmla="*/ 593343 w 1614899"/>
                      <a:gd name="connsiteY372" fmla="*/ 835819 h 1619250"/>
                      <a:gd name="connsiteX373" fmla="*/ 586199 w 1614899"/>
                      <a:gd name="connsiteY373" fmla="*/ 816769 h 1619250"/>
                      <a:gd name="connsiteX374" fmla="*/ 569531 w 1614899"/>
                      <a:gd name="connsiteY374" fmla="*/ 795337 h 1619250"/>
                      <a:gd name="connsiteX375" fmla="*/ 564768 w 1614899"/>
                      <a:gd name="connsiteY375" fmla="*/ 788194 h 1619250"/>
                      <a:gd name="connsiteX376" fmla="*/ 557624 w 1614899"/>
                      <a:gd name="connsiteY376" fmla="*/ 785812 h 1619250"/>
                      <a:gd name="connsiteX377" fmla="*/ 550481 w 1614899"/>
                      <a:gd name="connsiteY377" fmla="*/ 781050 h 1619250"/>
                      <a:gd name="connsiteX378" fmla="*/ 536193 w 1614899"/>
                      <a:gd name="connsiteY378" fmla="*/ 776287 h 1619250"/>
                      <a:gd name="connsiteX379" fmla="*/ 538574 w 1614899"/>
                      <a:gd name="connsiteY379" fmla="*/ 747712 h 1619250"/>
                      <a:gd name="connsiteX380" fmla="*/ 533812 w 1614899"/>
                      <a:gd name="connsiteY380" fmla="*/ 740569 h 1619250"/>
                      <a:gd name="connsiteX381" fmla="*/ 519524 w 1614899"/>
                      <a:gd name="connsiteY381" fmla="*/ 731044 h 1619250"/>
                      <a:gd name="connsiteX382" fmla="*/ 512381 w 1614899"/>
                      <a:gd name="connsiteY382" fmla="*/ 735806 h 1619250"/>
                      <a:gd name="connsiteX383" fmla="*/ 505237 w 1614899"/>
                      <a:gd name="connsiteY383" fmla="*/ 738187 h 1619250"/>
                      <a:gd name="connsiteX384" fmla="*/ 507618 w 1614899"/>
                      <a:gd name="connsiteY384" fmla="*/ 723900 h 1619250"/>
                      <a:gd name="connsiteX385" fmla="*/ 505237 w 1614899"/>
                      <a:gd name="connsiteY385" fmla="*/ 688181 h 1619250"/>
                      <a:gd name="connsiteX386" fmla="*/ 493331 w 1614899"/>
                      <a:gd name="connsiteY386" fmla="*/ 666750 h 1619250"/>
                      <a:gd name="connsiteX387" fmla="*/ 486187 w 1614899"/>
                      <a:gd name="connsiteY387" fmla="*/ 659606 h 1619250"/>
                      <a:gd name="connsiteX388" fmla="*/ 481424 w 1614899"/>
                      <a:gd name="connsiteY388" fmla="*/ 652462 h 1619250"/>
                      <a:gd name="connsiteX389" fmla="*/ 479043 w 1614899"/>
                      <a:gd name="connsiteY389" fmla="*/ 614362 h 1619250"/>
                      <a:gd name="connsiteX390" fmla="*/ 474281 w 1614899"/>
                      <a:gd name="connsiteY390" fmla="*/ 595312 h 1619250"/>
                      <a:gd name="connsiteX391" fmla="*/ 467137 w 1614899"/>
                      <a:gd name="connsiteY391" fmla="*/ 578644 h 1619250"/>
                      <a:gd name="connsiteX392" fmla="*/ 459993 w 1614899"/>
                      <a:gd name="connsiteY392" fmla="*/ 571500 h 1619250"/>
                      <a:gd name="connsiteX393" fmla="*/ 440943 w 1614899"/>
                      <a:gd name="connsiteY393" fmla="*/ 554831 h 1619250"/>
                      <a:gd name="connsiteX394" fmla="*/ 426656 w 1614899"/>
                      <a:gd name="connsiteY394" fmla="*/ 550069 h 1619250"/>
                      <a:gd name="connsiteX395" fmla="*/ 424274 w 1614899"/>
                      <a:gd name="connsiteY395" fmla="*/ 557212 h 1619250"/>
                      <a:gd name="connsiteX396" fmla="*/ 414749 w 1614899"/>
                      <a:gd name="connsiteY396" fmla="*/ 552450 h 1619250"/>
                      <a:gd name="connsiteX397" fmla="*/ 407606 w 1614899"/>
                      <a:gd name="connsiteY397" fmla="*/ 545306 h 1619250"/>
                      <a:gd name="connsiteX398" fmla="*/ 390937 w 1614899"/>
                      <a:gd name="connsiteY398" fmla="*/ 535781 h 1619250"/>
                      <a:gd name="connsiteX399" fmla="*/ 383793 w 1614899"/>
                      <a:gd name="connsiteY399" fmla="*/ 528637 h 1619250"/>
                      <a:gd name="connsiteX400" fmla="*/ 374268 w 1614899"/>
                      <a:gd name="connsiteY400" fmla="*/ 526256 h 1619250"/>
                      <a:gd name="connsiteX401" fmla="*/ 352837 w 1614899"/>
                      <a:gd name="connsiteY401" fmla="*/ 519112 h 1619250"/>
                      <a:gd name="connsiteX402" fmla="*/ 345693 w 1614899"/>
                      <a:gd name="connsiteY402" fmla="*/ 516731 h 1619250"/>
                      <a:gd name="connsiteX403" fmla="*/ 338549 w 1614899"/>
                      <a:gd name="connsiteY403" fmla="*/ 514350 h 1619250"/>
                      <a:gd name="connsiteX404" fmla="*/ 326643 w 1614899"/>
                      <a:gd name="connsiteY404" fmla="*/ 504825 h 1619250"/>
                      <a:gd name="connsiteX405" fmla="*/ 321881 w 1614899"/>
                      <a:gd name="connsiteY405" fmla="*/ 497681 h 1619250"/>
                      <a:gd name="connsiteX406" fmla="*/ 314737 w 1614899"/>
                      <a:gd name="connsiteY406" fmla="*/ 490537 h 1619250"/>
                      <a:gd name="connsiteX407" fmla="*/ 307593 w 1614899"/>
                      <a:gd name="connsiteY407" fmla="*/ 485775 h 1619250"/>
                      <a:gd name="connsiteX408" fmla="*/ 293306 w 1614899"/>
                      <a:gd name="connsiteY408" fmla="*/ 481012 h 1619250"/>
                      <a:gd name="connsiteX409" fmla="*/ 269493 w 1614899"/>
                      <a:gd name="connsiteY409" fmla="*/ 483394 h 1619250"/>
                      <a:gd name="connsiteX410" fmla="*/ 259968 w 1614899"/>
                      <a:gd name="connsiteY410" fmla="*/ 490537 h 1619250"/>
                      <a:gd name="connsiteX411" fmla="*/ 243299 w 1614899"/>
                      <a:gd name="connsiteY411" fmla="*/ 497681 h 1619250"/>
                      <a:gd name="connsiteX412" fmla="*/ 236156 w 1614899"/>
                      <a:gd name="connsiteY412" fmla="*/ 502444 h 1619250"/>
                      <a:gd name="connsiteX413" fmla="*/ 233774 w 1614899"/>
                      <a:gd name="connsiteY413" fmla="*/ 509587 h 1619250"/>
                      <a:gd name="connsiteX414" fmla="*/ 231393 w 1614899"/>
                      <a:gd name="connsiteY414" fmla="*/ 519112 h 1619250"/>
                      <a:gd name="connsiteX415" fmla="*/ 224249 w 1614899"/>
                      <a:gd name="connsiteY415" fmla="*/ 521494 h 1619250"/>
                      <a:gd name="connsiteX416" fmla="*/ 209962 w 1614899"/>
                      <a:gd name="connsiteY416" fmla="*/ 528637 h 1619250"/>
                      <a:gd name="connsiteX417" fmla="*/ 200437 w 1614899"/>
                      <a:gd name="connsiteY417" fmla="*/ 542925 h 1619250"/>
                      <a:gd name="connsiteX418" fmla="*/ 195674 w 1614899"/>
                      <a:gd name="connsiteY418" fmla="*/ 557212 h 1619250"/>
                      <a:gd name="connsiteX419" fmla="*/ 188531 w 1614899"/>
                      <a:gd name="connsiteY419" fmla="*/ 559594 h 1619250"/>
                      <a:gd name="connsiteX420" fmla="*/ 176624 w 1614899"/>
                      <a:gd name="connsiteY420" fmla="*/ 564356 h 1619250"/>
                      <a:gd name="connsiteX421" fmla="*/ 164718 w 1614899"/>
                      <a:gd name="connsiteY421" fmla="*/ 566737 h 1619250"/>
                      <a:gd name="connsiteX422" fmla="*/ 157574 w 1614899"/>
                      <a:gd name="connsiteY422" fmla="*/ 569119 h 1619250"/>
                      <a:gd name="connsiteX423" fmla="*/ 148049 w 1614899"/>
                      <a:gd name="connsiteY423" fmla="*/ 571500 h 1619250"/>
                      <a:gd name="connsiteX424" fmla="*/ 140906 w 1614899"/>
                      <a:gd name="connsiteY424" fmla="*/ 573881 h 1619250"/>
                      <a:gd name="connsiteX425" fmla="*/ 121856 w 1614899"/>
                      <a:gd name="connsiteY425" fmla="*/ 576262 h 1619250"/>
                      <a:gd name="connsiteX426" fmla="*/ 119474 w 1614899"/>
                      <a:gd name="connsiteY426" fmla="*/ 571500 h 1619250"/>
                      <a:gd name="connsiteX427" fmla="*/ 128999 w 1614899"/>
                      <a:gd name="connsiteY427" fmla="*/ 557212 h 1619250"/>
                      <a:gd name="connsiteX428" fmla="*/ 131381 w 1614899"/>
                      <a:gd name="connsiteY428" fmla="*/ 550069 h 1619250"/>
                      <a:gd name="connsiteX429" fmla="*/ 140906 w 1614899"/>
                      <a:gd name="connsiteY429" fmla="*/ 535781 h 1619250"/>
                      <a:gd name="connsiteX430" fmla="*/ 133762 w 1614899"/>
                      <a:gd name="connsiteY430" fmla="*/ 533400 h 1619250"/>
                      <a:gd name="connsiteX431" fmla="*/ 128999 w 1614899"/>
                      <a:gd name="connsiteY431" fmla="*/ 516731 h 1619250"/>
                      <a:gd name="connsiteX432" fmla="*/ 69468 w 1614899"/>
                      <a:gd name="connsiteY432" fmla="*/ 514350 h 1619250"/>
                      <a:gd name="connsiteX433" fmla="*/ 67087 w 1614899"/>
                      <a:gd name="connsiteY433" fmla="*/ 507206 h 1619250"/>
                      <a:gd name="connsiteX434" fmla="*/ 52799 w 1614899"/>
                      <a:gd name="connsiteY434" fmla="*/ 497681 h 1619250"/>
                      <a:gd name="connsiteX435" fmla="*/ 55181 w 1614899"/>
                      <a:gd name="connsiteY435" fmla="*/ 488156 h 1619250"/>
                      <a:gd name="connsiteX436" fmla="*/ 40893 w 1614899"/>
                      <a:gd name="connsiteY436" fmla="*/ 483394 h 1619250"/>
                      <a:gd name="connsiteX437" fmla="*/ 38512 w 1614899"/>
                      <a:gd name="connsiteY437" fmla="*/ 471487 h 1619250"/>
                      <a:gd name="connsiteX438" fmla="*/ 36131 w 1614899"/>
                      <a:gd name="connsiteY438" fmla="*/ 464344 h 1619250"/>
                      <a:gd name="connsiteX439" fmla="*/ 38512 w 1614899"/>
                      <a:gd name="connsiteY439" fmla="*/ 452437 h 1619250"/>
                      <a:gd name="connsiteX440" fmla="*/ 38512 w 1614899"/>
                      <a:gd name="connsiteY440" fmla="*/ 428625 h 1619250"/>
                      <a:gd name="connsiteX441" fmla="*/ 45656 w 1614899"/>
                      <a:gd name="connsiteY441" fmla="*/ 426244 h 1619250"/>
                      <a:gd name="connsiteX442" fmla="*/ 52799 w 1614899"/>
                      <a:gd name="connsiteY442" fmla="*/ 421481 h 1619250"/>
                      <a:gd name="connsiteX443" fmla="*/ 59943 w 1614899"/>
                      <a:gd name="connsiteY443" fmla="*/ 419100 h 1619250"/>
                      <a:gd name="connsiteX444" fmla="*/ 64706 w 1614899"/>
                      <a:gd name="connsiteY444" fmla="*/ 411956 h 1619250"/>
                      <a:gd name="connsiteX445" fmla="*/ 55181 w 1614899"/>
                      <a:gd name="connsiteY445" fmla="*/ 392906 h 1619250"/>
                      <a:gd name="connsiteX446" fmla="*/ 40893 w 1614899"/>
                      <a:gd name="connsiteY446" fmla="*/ 388144 h 1619250"/>
                      <a:gd name="connsiteX447" fmla="*/ 33749 w 1614899"/>
                      <a:gd name="connsiteY447" fmla="*/ 390525 h 1619250"/>
                      <a:gd name="connsiteX448" fmla="*/ 28987 w 1614899"/>
                      <a:gd name="connsiteY448" fmla="*/ 390525 h 1619250"/>
                      <a:gd name="connsiteX449" fmla="*/ 21843 w 1614899"/>
                      <a:gd name="connsiteY449" fmla="*/ 388144 h 1619250"/>
                      <a:gd name="connsiteX450" fmla="*/ 14699 w 1614899"/>
                      <a:gd name="connsiteY450" fmla="*/ 364331 h 1619250"/>
                      <a:gd name="connsiteX451" fmla="*/ 2793 w 1614899"/>
                      <a:gd name="connsiteY451" fmla="*/ 361950 h 1619250"/>
                      <a:gd name="connsiteX452" fmla="*/ 2793 w 1614899"/>
                      <a:gd name="connsiteY452" fmla="*/ 345281 h 1619250"/>
                      <a:gd name="connsiteX453" fmla="*/ 17081 w 1614899"/>
                      <a:gd name="connsiteY453" fmla="*/ 340519 h 1619250"/>
                      <a:gd name="connsiteX454" fmla="*/ 24224 w 1614899"/>
                      <a:gd name="connsiteY454" fmla="*/ 347662 h 1619250"/>
                      <a:gd name="connsiteX455" fmla="*/ 40893 w 1614899"/>
                      <a:gd name="connsiteY455" fmla="*/ 342900 h 1619250"/>
                      <a:gd name="connsiteX456" fmla="*/ 57562 w 1614899"/>
                      <a:gd name="connsiteY456" fmla="*/ 333375 h 1619250"/>
                      <a:gd name="connsiteX457" fmla="*/ 64706 w 1614899"/>
                      <a:gd name="connsiteY457" fmla="*/ 328612 h 1619250"/>
                      <a:gd name="connsiteX458" fmla="*/ 71849 w 1614899"/>
                      <a:gd name="connsiteY458" fmla="*/ 326231 h 1619250"/>
                      <a:gd name="connsiteX459" fmla="*/ 90899 w 1614899"/>
                      <a:gd name="connsiteY459" fmla="*/ 321469 h 1619250"/>
                      <a:gd name="connsiteX460" fmla="*/ 86137 w 1614899"/>
                      <a:gd name="connsiteY460" fmla="*/ 311944 h 1619250"/>
                      <a:gd name="connsiteX461" fmla="*/ 88518 w 1614899"/>
                      <a:gd name="connsiteY461" fmla="*/ 292894 h 1619250"/>
                      <a:gd name="connsiteX462" fmla="*/ 90899 w 1614899"/>
                      <a:gd name="connsiteY462" fmla="*/ 285750 h 1619250"/>
                      <a:gd name="connsiteX463" fmla="*/ 76612 w 1614899"/>
                      <a:gd name="connsiteY463" fmla="*/ 280987 h 1619250"/>
                      <a:gd name="connsiteX464" fmla="*/ 71849 w 1614899"/>
                      <a:gd name="connsiteY464" fmla="*/ 273844 h 1619250"/>
                      <a:gd name="connsiteX465" fmla="*/ 67087 w 1614899"/>
                      <a:gd name="connsiteY465" fmla="*/ 250031 h 1619250"/>
                      <a:gd name="connsiteX466" fmla="*/ 45656 w 1614899"/>
                      <a:gd name="connsiteY466" fmla="*/ 250031 h 1619250"/>
                      <a:gd name="connsiteX467" fmla="*/ 40893 w 1614899"/>
                      <a:gd name="connsiteY467" fmla="*/ 242887 h 1619250"/>
                      <a:gd name="connsiteX468" fmla="*/ 43274 w 1614899"/>
                      <a:gd name="connsiteY468" fmla="*/ 223837 h 1619250"/>
                      <a:gd name="connsiteX469" fmla="*/ 57562 w 1614899"/>
                      <a:gd name="connsiteY469" fmla="*/ 211931 h 1619250"/>
                      <a:gd name="connsiteX470" fmla="*/ 74231 w 1614899"/>
                      <a:gd name="connsiteY470" fmla="*/ 200025 h 1619250"/>
                      <a:gd name="connsiteX471" fmla="*/ 81374 w 1614899"/>
                      <a:gd name="connsiteY471" fmla="*/ 202406 h 1619250"/>
                      <a:gd name="connsiteX472" fmla="*/ 83756 w 1614899"/>
                      <a:gd name="connsiteY472" fmla="*/ 209550 h 1619250"/>
                      <a:gd name="connsiteX473" fmla="*/ 102806 w 1614899"/>
                      <a:gd name="connsiteY473" fmla="*/ 204787 h 1619250"/>
                      <a:gd name="connsiteX474" fmla="*/ 109949 w 1614899"/>
                      <a:gd name="connsiteY474" fmla="*/ 200025 h 1619250"/>
                      <a:gd name="connsiteX475" fmla="*/ 119474 w 1614899"/>
                      <a:gd name="connsiteY475" fmla="*/ 197644 h 1619250"/>
                      <a:gd name="connsiteX476" fmla="*/ 133762 w 1614899"/>
                      <a:gd name="connsiteY476" fmla="*/ 192881 h 1619250"/>
                      <a:gd name="connsiteX477" fmla="*/ 140906 w 1614899"/>
                      <a:gd name="connsiteY477" fmla="*/ 190500 h 1619250"/>
                      <a:gd name="connsiteX478" fmla="*/ 148049 w 1614899"/>
                      <a:gd name="connsiteY478" fmla="*/ 195262 h 1619250"/>
                      <a:gd name="connsiteX479" fmla="*/ 155193 w 1614899"/>
                      <a:gd name="connsiteY479" fmla="*/ 204787 h 1619250"/>
                      <a:gd name="connsiteX480" fmla="*/ 164718 w 1614899"/>
                      <a:gd name="connsiteY480" fmla="*/ 202406 h 1619250"/>
                      <a:gd name="connsiteX481" fmla="*/ 190912 w 1614899"/>
                      <a:gd name="connsiteY481" fmla="*/ 200025 h 1619250"/>
                      <a:gd name="connsiteX482" fmla="*/ 193293 w 1614899"/>
                      <a:gd name="connsiteY482" fmla="*/ 192881 h 1619250"/>
                      <a:gd name="connsiteX483" fmla="*/ 198056 w 1614899"/>
                      <a:gd name="connsiteY483" fmla="*/ 185737 h 1619250"/>
                      <a:gd name="connsiteX484" fmla="*/ 195674 w 1614899"/>
                      <a:gd name="connsiteY484" fmla="*/ 178594 h 1619250"/>
                      <a:gd name="connsiteX485" fmla="*/ 186149 w 1614899"/>
                      <a:gd name="connsiteY485" fmla="*/ 159544 h 1619250"/>
                      <a:gd name="connsiteX486" fmla="*/ 217106 w 1614899"/>
                      <a:gd name="connsiteY486" fmla="*/ 152400 h 1619250"/>
                      <a:gd name="connsiteX487" fmla="*/ 209962 w 1614899"/>
                      <a:gd name="connsiteY487" fmla="*/ 145256 h 1619250"/>
                      <a:gd name="connsiteX488" fmla="*/ 202818 w 1614899"/>
                      <a:gd name="connsiteY488" fmla="*/ 140494 h 1619250"/>
                      <a:gd name="connsiteX489" fmla="*/ 212343 w 1614899"/>
                      <a:gd name="connsiteY489" fmla="*/ 133350 h 1619250"/>
                      <a:gd name="connsiteX490" fmla="*/ 233774 w 1614899"/>
                      <a:gd name="connsiteY490" fmla="*/ 123825 h 1619250"/>
                      <a:gd name="connsiteX491" fmla="*/ 238537 w 1614899"/>
                      <a:gd name="connsiteY491" fmla="*/ 116681 h 1619250"/>
                      <a:gd name="connsiteX492" fmla="*/ 240918 w 1614899"/>
                      <a:gd name="connsiteY492" fmla="*/ 107156 h 1619250"/>
                      <a:gd name="connsiteX493" fmla="*/ 248062 w 1614899"/>
                      <a:gd name="connsiteY493" fmla="*/ 109537 h 1619250"/>
                      <a:gd name="connsiteX494" fmla="*/ 250443 w 1614899"/>
                      <a:gd name="connsiteY494" fmla="*/ 116681 h 1619250"/>
                      <a:gd name="connsiteX495" fmla="*/ 252824 w 1614899"/>
                      <a:gd name="connsiteY495" fmla="*/ 130969 h 1619250"/>
                      <a:gd name="connsiteX496" fmla="*/ 269493 w 1614899"/>
                      <a:gd name="connsiteY496" fmla="*/ 138112 h 1619250"/>
                      <a:gd name="connsiteX497" fmla="*/ 271874 w 1614899"/>
                      <a:gd name="connsiteY497" fmla="*/ 145256 h 1619250"/>
                      <a:gd name="connsiteX498" fmla="*/ 264731 w 1614899"/>
                      <a:gd name="connsiteY498" fmla="*/ 152400 h 1619250"/>
                      <a:gd name="connsiteX499" fmla="*/ 262349 w 1614899"/>
                      <a:gd name="connsiteY499" fmla="*/ 159544 h 1619250"/>
                      <a:gd name="connsiteX500" fmla="*/ 264731 w 1614899"/>
                      <a:gd name="connsiteY500" fmla="*/ 173831 h 1619250"/>
                      <a:gd name="connsiteX501" fmla="*/ 274256 w 1614899"/>
                      <a:gd name="connsiteY501" fmla="*/ 176212 h 1619250"/>
                      <a:gd name="connsiteX502" fmla="*/ 295687 w 1614899"/>
                      <a:gd name="connsiteY502" fmla="*/ 178594 h 1619250"/>
                      <a:gd name="connsiteX503" fmla="*/ 293306 w 1614899"/>
                      <a:gd name="connsiteY503" fmla="*/ 185737 h 1619250"/>
                      <a:gd name="connsiteX504" fmla="*/ 295687 w 1614899"/>
                      <a:gd name="connsiteY504" fmla="*/ 200025 h 1619250"/>
                      <a:gd name="connsiteX505" fmla="*/ 302831 w 1614899"/>
                      <a:gd name="connsiteY505" fmla="*/ 216694 h 1619250"/>
                      <a:gd name="connsiteX506" fmla="*/ 307593 w 1614899"/>
                      <a:gd name="connsiteY506" fmla="*/ 223837 h 1619250"/>
                      <a:gd name="connsiteX507" fmla="*/ 314737 w 1614899"/>
                      <a:gd name="connsiteY507" fmla="*/ 228600 h 1619250"/>
                      <a:gd name="connsiteX508" fmla="*/ 326643 w 1614899"/>
                      <a:gd name="connsiteY508" fmla="*/ 226219 h 1619250"/>
                      <a:gd name="connsiteX509" fmla="*/ 321881 w 1614899"/>
                      <a:gd name="connsiteY509" fmla="*/ 200025 h 1619250"/>
                      <a:gd name="connsiteX510" fmla="*/ 314737 w 1614899"/>
                      <a:gd name="connsiteY510" fmla="*/ 197644 h 1619250"/>
                      <a:gd name="connsiteX511" fmla="*/ 324262 w 1614899"/>
                      <a:gd name="connsiteY511" fmla="*/ 180975 h 1619250"/>
                      <a:gd name="connsiteX512" fmla="*/ 329024 w 1614899"/>
                      <a:gd name="connsiteY512" fmla="*/ 173831 h 1619250"/>
                      <a:gd name="connsiteX513" fmla="*/ 343312 w 1614899"/>
                      <a:gd name="connsiteY513" fmla="*/ 159544 h 1619250"/>
                      <a:gd name="connsiteX514" fmla="*/ 348074 w 1614899"/>
                      <a:gd name="connsiteY514" fmla="*/ 145256 h 1619250"/>
                      <a:gd name="connsiteX515" fmla="*/ 350456 w 1614899"/>
                      <a:gd name="connsiteY515" fmla="*/ 114300 h 1619250"/>
                      <a:gd name="connsiteX516" fmla="*/ 357599 w 1614899"/>
                      <a:gd name="connsiteY516" fmla="*/ 111919 h 1619250"/>
                      <a:gd name="connsiteX517" fmla="*/ 364743 w 1614899"/>
                      <a:gd name="connsiteY517" fmla="*/ 114300 h 1619250"/>
                      <a:gd name="connsiteX518" fmla="*/ 371887 w 1614899"/>
                      <a:gd name="connsiteY518" fmla="*/ 114300 h 1619250"/>
                      <a:gd name="connsiteX519" fmla="*/ 381412 w 1614899"/>
                      <a:gd name="connsiteY519" fmla="*/ 138112 h 1619250"/>
                      <a:gd name="connsiteX520" fmla="*/ 395699 w 1614899"/>
                      <a:gd name="connsiteY520" fmla="*/ 150019 h 1619250"/>
                      <a:gd name="connsiteX521" fmla="*/ 409987 w 1614899"/>
                      <a:gd name="connsiteY521" fmla="*/ 147637 h 1619250"/>
                      <a:gd name="connsiteX522" fmla="*/ 412368 w 1614899"/>
                      <a:gd name="connsiteY522" fmla="*/ 133350 h 1619250"/>
                      <a:gd name="connsiteX523" fmla="*/ 426656 w 1614899"/>
                      <a:gd name="connsiteY523" fmla="*/ 128587 h 1619250"/>
                      <a:gd name="connsiteX524" fmla="*/ 433799 w 1614899"/>
                      <a:gd name="connsiteY524" fmla="*/ 142875 h 1619250"/>
                      <a:gd name="connsiteX525" fmla="*/ 448087 w 1614899"/>
                      <a:gd name="connsiteY525" fmla="*/ 161925 h 1619250"/>
                      <a:gd name="connsiteX526" fmla="*/ 464756 w 1614899"/>
                      <a:gd name="connsiteY526" fmla="*/ 159544 h 1619250"/>
                      <a:gd name="connsiteX527" fmla="*/ 452849 w 1614899"/>
                      <a:gd name="connsiteY527" fmla="*/ 138112 h 1619250"/>
                      <a:gd name="connsiteX528" fmla="*/ 450468 w 1614899"/>
                      <a:gd name="connsiteY528" fmla="*/ 111919 h 1619250"/>
                      <a:gd name="connsiteX529" fmla="*/ 443324 w 1614899"/>
                      <a:gd name="connsiteY529" fmla="*/ 107156 h 1619250"/>
                      <a:gd name="connsiteX530" fmla="*/ 440943 w 1614899"/>
                      <a:gd name="connsiteY530" fmla="*/ 100012 h 1619250"/>
                      <a:gd name="connsiteX531" fmla="*/ 450468 w 1614899"/>
                      <a:gd name="connsiteY531" fmla="*/ 88106 h 1619250"/>
                      <a:gd name="connsiteX532" fmla="*/ 476662 w 1614899"/>
                      <a:gd name="connsiteY532" fmla="*/ 90487 h 1619250"/>
                      <a:gd name="connsiteX533" fmla="*/ 486187 w 1614899"/>
                      <a:gd name="connsiteY533" fmla="*/ 92869 h 1619250"/>
                      <a:gd name="connsiteX534" fmla="*/ 493331 w 1614899"/>
                      <a:gd name="connsiteY534" fmla="*/ 97631 h 1619250"/>
                      <a:gd name="connsiteX535" fmla="*/ 502856 w 1614899"/>
                      <a:gd name="connsiteY535" fmla="*/ 95250 h 1619250"/>
                      <a:gd name="connsiteX536" fmla="*/ 509999 w 1614899"/>
                      <a:gd name="connsiteY536" fmla="*/ 90487 h 1619250"/>
                      <a:gd name="connsiteX537" fmla="*/ 507618 w 1614899"/>
                      <a:gd name="connsiteY537" fmla="*/ 83344 h 1619250"/>
                      <a:gd name="connsiteX538" fmla="*/ 500474 w 1614899"/>
                      <a:gd name="connsiteY538" fmla="*/ 80962 h 1619250"/>
                      <a:gd name="connsiteX539" fmla="*/ 493331 w 1614899"/>
                      <a:gd name="connsiteY539" fmla="*/ 76200 h 1619250"/>
                      <a:gd name="connsiteX540" fmla="*/ 495712 w 1614899"/>
                      <a:gd name="connsiteY540" fmla="*/ 102394 h 1619250"/>
                      <a:gd name="connsiteX0" fmla="*/ 495712 w 1614899"/>
                      <a:gd name="connsiteY0" fmla="*/ 102394 h 1619250"/>
                      <a:gd name="connsiteX1" fmla="*/ 502856 w 1614899"/>
                      <a:gd name="connsiteY1" fmla="*/ 90487 h 1619250"/>
                      <a:gd name="connsiteX2" fmla="*/ 507618 w 1614899"/>
                      <a:gd name="connsiteY2" fmla="*/ 76200 h 1619250"/>
                      <a:gd name="connsiteX3" fmla="*/ 500474 w 1614899"/>
                      <a:gd name="connsiteY3" fmla="*/ 73819 h 1619250"/>
                      <a:gd name="connsiteX4" fmla="*/ 490949 w 1614899"/>
                      <a:gd name="connsiteY4" fmla="*/ 69056 h 1619250"/>
                      <a:gd name="connsiteX5" fmla="*/ 486187 w 1614899"/>
                      <a:gd name="connsiteY5" fmla="*/ 59531 h 1619250"/>
                      <a:gd name="connsiteX6" fmla="*/ 488568 w 1614899"/>
                      <a:gd name="connsiteY6" fmla="*/ 52387 h 1619250"/>
                      <a:gd name="connsiteX7" fmla="*/ 498093 w 1614899"/>
                      <a:gd name="connsiteY7" fmla="*/ 38100 h 1619250"/>
                      <a:gd name="connsiteX8" fmla="*/ 517143 w 1614899"/>
                      <a:gd name="connsiteY8" fmla="*/ 40481 h 1619250"/>
                      <a:gd name="connsiteX9" fmla="*/ 524287 w 1614899"/>
                      <a:gd name="connsiteY9" fmla="*/ 42862 h 1619250"/>
                      <a:gd name="connsiteX10" fmla="*/ 533812 w 1614899"/>
                      <a:gd name="connsiteY10" fmla="*/ 45244 h 1619250"/>
                      <a:gd name="connsiteX11" fmla="*/ 529049 w 1614899"/>
                      <a:gd name="connsiteY11" fmla="*/ 52387 h 1619250"/>
                      <a:gd name="connsiteX12" fmla="*/ 545718 w 1614899"/>
                      <a:gd name="connsiteY12" fmla="*/ 57150 h 1619250"/>
                      <a:gd name="connsiteX13" fmla="*/ 560006 w 1614899"/>
                      <a:gd name="connsiteY13" fmla="*/ 54769 h 1619250"/>
                      <a:gd name="connsiteX14" fmla="*/ 567149 w 1614899"/>
                      <a:gd name="connsiteY14" fmla="*/ 50006 h 1619250"/>
                      <a:gd name="connsiteX15" fmla="*/ 576674 w 1614899"/>
                      <a:gd name="connsiteY15" fmla="*/ 26194 h 1619250"/>
                      <a:gd name="connsiteX16" fmla="*/ 583818 w 1614899"/>
                      <a:gd name="connsiteY16" fmla="*/ 28575 h 1619250"/>
                      <a:gd name="connsiteX17" fmla="*/ 590962 w 1614899"/>
                      <a:gd name="connsiteY17" fmla="*/ 26194 h 1619250"/>
                      <a:gd name="connsiteX18" fmla="*/ 600487 w 1614899"/>
                      <a:gd name="connsiteY18" fmla="*/ 23812 h 1619250"/>
                      <a:gd name="connsiteX19" fmla="*/ 607631 w 1614899"/>
                      <a:gd name="connsiteY19" fmla="*/ 19050 h 1619250"/>
                      <a:gd name="connsiteX20" fmla="*/ 626681 w 1614899"/>
                      <a:gd name="connsiteY20" fmla="*/ 14287 h 1619250"/>
                      <a:gd name="connsiteX21" fmla="*/ 633824 w 1614899"/>
                      <a:gd name="connsiteY21" fmla="*/ 11906 h 1619250"/>
                      <a:gd name="connsiteX22" fmla="*/ 648112 w 1614899"/>
                      <a:gd name="connsiteY22" fmla="*/ 16669 h 1619250"/>
                      <a:gd name="connsiteX23" fmla="*/ 655256 w 1614899"/>
                      <a:gd name="connsiteY23" fmla="*/ 19050 h 1619250"/>
                      <a:gd name="connsiteX24" fmla="*/ 662399 w 1614899"/>
                      <a:gd name="connsiteY24" fmla="*/ 23812 h 1619250"/>
                      <a:gd name="connsiteX25" fmla="*/ 683831 w 1614899"/>
                      <a:gd name="connsiteY25" fmla="*/ 9525 h 1619250"/>
                      <a:gd name="connsiteX26" fmla="*/ 705262 w 1614899"/>
                      <a:gd name="connsiteY26" fmla="*/ 2381 h 1619250"/>
                      <a:gd name="connsiteX27" fmla="*/ 712406 w 1614899"/>
                      <a:gd name="connsiteY27" fmla="*/ 0 h 1619250"/>
                      <a:gd name="connsiteX28" fmla="*/ 710024 w 1614899"/>
                      <a:gd name="connsiteY28" fmla="*/ 11906 h 1619250"/>
                      <a:gd name="connsiteX29" fmla="*/ 707643 w 1614899"/>
                      <a:gd name="connsiteY29" fmla="*/ 19050 h 1619250"/>
                      <a:gd name="connsiteX30" fmla="*/ 714787 w 1614899"/>
                      <a:gd name="connsiteY30" fmla="*/ 23812 h 1619250"/>
                      <a:gd name="connsiteX31" fmla="*/ 712406 w 1614899"/>
                      <a:gd name="connsiteY31" fmla="*/ 40481 h 1619250"/>
                      <a:gd name="connsiteX32" fmla="*/ 726693 w 1614899"/>
                      <a:gd name="connsiteY32" fmla="*/ 42862 h 1619250"/>
                      <a:gd name="connsiteX33" fmla="*/ 740981 w 1614899"/>
                      <a:gd name="connsiteY33" fmla="*/ 54769 h 1619250"/>
                      <a:gd name="connsiteX34" fmla="*/ 738599 w 1614899"/>
                      <a:gd name="connsiteY34" fmla="*/ 71437 h 1619250"/>
                      <a:gd name="connsiteX35" fmla="*/ 757649 w 1614899"/>
                      <a:gd name="connsiteY35" fmla="*/ 69056 h 1619250"/>
                      <a:gd name="connsiteX36" fmla="*/ 774318 w 1614899"/>
                      <a:gd name="connsiteY36" fmla="*/ 71437 h 1619250"/>
                      <a:gd name="connsiteX37" fmla="*/ 795749 w 1614899"/>
                      <a:gd name="connsiteY37" fmla="*/ 78581 h 1619250"/>
                      <a:gd name="connsiteX38" fmla="*/ 802893 w 1614899"/>
                      <a:gd name="connsiteY38" fmla="*/ 80962 h 1619250"/>
                      <a:gd name="connsiteX39" fmla="*/ 848137 w 1614899"/>
                      <a:gd name="connsiteY39" fmla="*/ 83344 h 1619250"/>
                      <a:gd name="connsiteX40" fmla="*/ 888618 w 1614899"/>
                      <a:gd name="connsiteY40" fmla="*/ 88106 h 1619250"/>
                      <a:gd name="connsiteX41" fmla="*/ 910049 w 1614899"/>
                      <a:gd name="connsiteY41" fmla="*/ 90487 h 1619250"/>
                      <a:gd name="connsiteX42" fmla="*/ 905287 w 1614899"/>
                      <a:gd name="connsiteY42" fmla="*/ 97631 h 1619250"/>
                      <a:gd name="connsiteX43" fmla="*/ 898143 w 1614899"/>
                      <a:gd name="connsiteY43" fmla="*/ 100012 h 1619250"/>
                      <a:gd name="connsiteX44" fmla="*/ 881474 w 1614899"/>
                      <a:gd name="connsiteY44" fmla="*/ 107156 h 1619250"/>
                      <a:gd name="connsiteX45" fmla="*/ 874331 w 1614899"/>
                      <a:gd name="connsiteY45" fmla="*/ 111919 h 1619250"/>
                      <a:gd name="connsiteX46" fmla="*/ 864806 w 1614899"/>
                      <a:gd name="connsiteY46" fmla="*/ 123825 h 1619250"/>
                      <a:gd name="connsiteX47" fmla="*/ 888618 w 1614899"/>
                      <a:gd name="connsiteY47" fmla="*/ 150019 h 1619250"/>
                      <a:gd name="connsiteX48" fmla="*/ 898143 w 1614899"/>
                      <a:gd name="connsiteY48" fmla="*/ 152400 h 1619250"/>
                      <a:gd name="connsiteX49" fmla="*/ 886237 w 1614899"/>
                      <a:gd name="connsiteY49" fmla="*/ 173831 h 1619250"/>
                      <a:gd name="connsiteX50" fmla="*/ 879093 w 1614899"/>
                      <a:gd name="connsiteY50" fmla="*/ 180975 h 1619250"/>
                      <a:gd name="connsiteX51" fmla="*/ 895763 w 1614899"/>
                      <a:gd name="connsiteY51" fmla="*/ 195263 h 1619250"/>
                      <a:gd name="connsiteX52" fmla="*/ 900524 w 1614899"/>
                      <a:gd name="connsiteY52" fmla="*/ 188119 h 1619250"/>
                      <a:gd name="connsiteX53" fmla="*/ 898143 w 1614899"/>
                      <a:gd name="connsiteY53" fmla="*/ 219075 h 1619250"/>
                      <a:gd name="connsiteX54" fmla="*/ 912431 w 1614899"/>
                      <a:gd name="connsiteY54" fmla="*/ 228600 h 1619250"/>
                      <a:gd name="connsiteX55" fmla="*/ 919574 w 1614899"/>
                      <a:gd name="connsiteY55" fmla="*/ 233362 h 1619250"/>
                      <a:gd name="connsiteX56" fmla="*/ 919574 w 1614899"/>
                      <a:gd name="connsiteY56" fmla="*/ 250031 h 1619250"/>
                      <a:gd name="connsiteX57" fmla="*/ 905287 w 1614899"/>
                      <a:gd name="connsiteY57" fmla="*/ 254794 h 1619250"/>
                      <a:gd name="connsiteX58" fmla="*/ 893381 w 1614899"/>
                      <a:gd name="connsiteY58" fmla="*/ 235744 h 1619250"/>
                      <a:gd name="connsiteX59" fmla="*/ 886237 w 1614899"/>
                      <a:gd name="connsiteY59" fmla="*/ 233362 h 1619250"/>
                      <a:gd name="connsiteX60" fmla="*/ 876712 w 1614899"/>
                      <a:gd name="connsiteY60" fmla="*/ 235744 h 1619250"/>
                      <a:gd name="connsiteX61" fmla="*/ 867187 w 1614899"/>
                      <a:gd name="connsiteY61" fmla="*/ 242887 h 1619250"/>
                      <a:gd name="connsiteX62" fmla="*/ 864806 w 1614899"/>
                      <a:gd name="connsiteY62" fmla="*/ 235744 h 1619250"/>
                      <a:gd name="connsiteX63" fmla="*/ 850518 w 1614899"/>
                      <a:gd name="connsiteY63" fmla="*/ 228600 h 1619250"/>
                      <a:gd name="connsiteX64" fmla="*/ 826706 w 1614899"/>
                      <a:gd name="connsiteY64" fmla="*/ 238125 h 1619250"/>
                      <a:gd name="connsiteX65" fmla="*/ 831468 w 1614899"/>
                      <a:gd name="connsiteY65" fmla="*/ 245269 h 1619250"/>
                      <a:gd name="connsiteX66" fmla="*/ 817181 w 1614899"/>
                      <a:gd name="connsiteY66" fmla="*/ 254794 h 1619250"/>
                      <a:gd name="connsiteX67" fmla="*/ 802893 w 1614899"/>
                      <a:gd name="connsiteY67" fmla="*/ 259556 h 1619250"/>
                      <a:gd name="connsiteX68" fmla="*/ 783843 w 1614899"/>
                      <a:gd name="connsiteY68" fmla="*/ 266700 h 1619250"/>
                      <a:gd name="connsiteX69" fmla="*/ 769556 w 1614899"/>
                      <a:gd name="connsiteY69" fmla="*/ 273844 h 1619250"/>
                      <a:gd name="connsiteX70" fmla="*/ 755268 w 1614899"/>
                      <a:gd name="connsiteY70" fmla="*/ 285750 h 1619250"/>
                      <a:gd name="connsiteX71" fmla="*/ 752887 w 1614899"/>
                      <a:gd name="connsiteY71" fmla="*/ 276225 h 1619250"/>
                      <a:gd name="connsiteX72" fmla="*/ 738599 w 1614899"/>
                      <a:gd name="connsiteY72" fmla="*/ 280987 h 1619250"/>
                      <a:gd name="connsiteX73" fmla="*/ 733837 w 1614899"/>
                      <a:gd name="connsiteY73" fmla="*/ 288131 h 1619250"/>
                      <a:gd name="connsiteX74" fmla="*/ 726693 w 1614899"/>
                      <a:gd name="connsiteY74" fmla="*/ 290512 h 1619250"/>
                      <a:gd name="connsiteX75" fmla="*/ 724312 w 1614899"/>
                      <a:gd name="connsiteY75" fmla="*/ 300037 h 1619250"/>
                      <a:gd name="connsiteX76" fmla="*/ 726693 w 1614899"/>
                      <a:gd name="connsiteY76" fmla="*/ 307181 h 1619250"/>
                      <a:gd name="connsiteX77" fmla="*/ 740981 w 1614899"/>
                      <a:gd name="connsiteY77" fmla="*/ 302419 h 1619250"/>
                      <a:gd name="connsiteX78" fmla="*/ 738599 w 1614899"/>
                      <a:gd name="connsiteY78" fmla="*/ 295275 h 1619250"/>
                      <a:gd name="connsiteX79" fmla="*/ 745743 w 1614899"/>
                      <a:gd name="connsiteY79" fmla="*/ 278606 h 1619250"/>
                      <a:gd name="connsiteX80" fmla="*/ 755268 w 1614899"/>
                      <a:gd name="connsiteY80" fmla="*/ 280987 h 1619250"/>
                      <a:gd name="connsiteX81" fmla="*/ 752887 w 1614899"/>
                      <a:gd name="connsiteY81" fmla="*/ 288131 h 1619250"/>
                      <a:gd name="connsiteX82" fmla="*/ 740981 w 1614899"/>
                      <a:gd name="connsiteY82" fmla="*/ 297656 h 1619250"/>
                      <a:gd name="connsiteX83" fmla="*/ 736218 w 1614899"/>
                      <a:gd name="connsiteY83" fmla="*/ 304800 h 1619250"/>
                      <a:gd name="connsiteX84" fmla="*/ 729074 w 1614899"/>
                      <a:gd name="connsiteY84" fmla="*/ 307181 h 1619250"/>
                      <a:gd name="connsiteX85" fmla="*/ 721931 w 1614899"/>
                      <a:gd name="connsiteY85" fmla="*/ 311944 h 1619250"/>
                      <a:gd name="connsiteX86" fmla="*/ 719549 w 1614899"/>
                      <a:gd name="connsiteY86" fmla="*/ 328612 h 1619250"/>
                      <a:gd name="connsiteX87" fmla="*/ 714787 w 1614899"/>
                      <a:gd name="connsiteY87" fmla="*/ 335756 h 1619250"/>
                      <a:gd name="connsiteX88" fmla="*/ 717168 w 1614899"/>
                      <a:gd name="connsiteY88" fmla="*/ 342900 h 1619250"/>
                      <a:gd name="connsiteX89" fmla="*/ 721931 w 1614899"/>
                      <a:gd name="connsiteY89" fmla="*/ 347662 h 1619250"/>
                      <a:gd name="connsiteX90" fmla="*/ 733837 w 1614899"/>
                      <a:gd name="connsiteY90" fmla="*/ 357187 h 1619250"/>
                      <a:gd name="connsiteX91" fmla="*/ 740981 w 1614899"/>
                      <a:gd name="connsiteY91" fmla="*/ 354806 h 1619250"/>
                      <a:gd name="connsiteX92" fmla="*/ 755268 w 1614899"/>
                      <a:gd name="connsiteY92" fmla="*/ 350044 h 1619250"/>
                      <a:gd name="connsiteX93" fmla="*/ 752887 w 1614899"/>
                      <a:gd name="connsiteY93" fmla="*/ 359569 h 1619250"/>
                      <a:gd name="connsiteX94" fmla="*/ 755268 w 1614899"/>
                      <a:gd name="connsiteY94" fmla="*/ 371475 h 1619250"/>
                      <a:gd name="connsiteX95" fmla="*/ 762412 w 1614899"/>
                      <a:gd name="connsiteY95" fmla="*/ 373856 h 1619250"/>
                      <a:gd name="connsiteX96" fmla="*/ 745743 w 1614899"/>
                      <a:gd name="connsiteY96" fmla="*/ 390525 h 1619250"/>
                      <a:gd name="connsiteX97" fmla="*/ 750506 w 1614899"/>
                      <a:gd name="connsiteY97" fmla="*/ 397669 h 1619250"/>
                      <a:gd name="connsiteX98" fmla="*/ 745743 w 1614899"/>
                      <a:gd name="connsiteY98" fmla="*/ 411956 h 1619250"/>
                      <a:gd name="connsiteX99" fmla="*/ 731456 w 1614899"/>
                      <a:gd name="connsiteY99" fmla="*/ 404812 h 1619250"/>
                      <a:gd name="connsiteX100" fmla="*/ 724312 w 1614899"/>
                      <a:gd name="connsiteY100" fmla="*/ 409575 h 1619250"/>
                      <a:gd name="connsiteX101" fmla="*/ 721931 w 1614899"/>
                      <a:gd name="connsiteY101" fmla="*/ 416719 h 1619250"/>
                      <a:gd name="connsiteX102" fmla="*/ 736218 w 1614899"/>
                      <a:gd name="connsiteY102" fmla="*/ 426244 h 1619250"/>
                      <a:gd name="connsiteX103" fmla="*/ 731456 w 1614899"/>
                      <a:gd name="connsiteY103" fmla="*/ 442912 h 1619250"/>
                      <a:gd name="connsiteX104" fmla="*/ 729074 w 1614899"/>
                      <a:gd name="connsiteY104" fmla="*/ 450056 h 1619250"/>
                      <a:gd name="connsiteX105" fmla="*/ 731456 w 1614899"/>
                      <a:gd name="connsiteY105" fmla="*/ 481012 h 1619250"/>
                      <a:gd name="connsiteX106" fmla="*/ 736218 w 1614899"/>
                      <a:gd name="connsiteY106" fmla="*/ 488156 h 1619250"/>
                      <a:gd name="connsiteX107" fmla="*/ 743362 w 1614899"/>
                      <a:gd name="connsiteY107" fmla="*/ 509587 h 1619250"/>
                      <a:gd name="connsiteX108" fmla="*/ 745743 w 1614899"/>
                      <a:gd name="connsiteY108" fmla="*/ 516731 h 1619250"/>
                      <a:gd name="connsiteX109" fmla="*/ 760031 w 1614899"/>
                      <a:gd name="connsiteY109" fmla="*/ 526256 h 1619250"/>
                      <a:gd name="connsiteX110" fmla="*/ 764793 w 1614899"/>
                      <a:gd name="connsiteY110" fmla="*/ 533400 h 1619250"/>
                      <a:gd name="connsiteX111" fmla="*/ 769556 w 1614899"/>
                      <a:gd name="connsiteY111" fmla="*/ 547687 h 1619250"/>
                      <a:gd name="connsiteX112" fmla="*/ 769556 w 1614899"/>
                      <a:gd name="connsiteY112" fmla="*/ 542925 h 1619250"/>
                      <a:gd name="connsiteX113" fmla="*/ 776699 w 1614899"/>
                      <a:gd name="connsiteY113" fmla="*/ 550069 h 1619250"/>
                      <a:gd name="connsiteX114" fmla="*/ 793368 w 1614899"/>
                      <a:gd name="connsiteY114" fmla="*/ 552450 h 1619250"/>
                      <a:gd name="connsiteX115" fmla="*/ 807656 w 1614899"/>
                      <a:gd name="connsiteY115" fmla="*/ 557212 h 1619250"/>
                      <a:gd name="connsiteX116" fmla="*/ 814799 w 1614899"/>
                      <a:gd name="connsiteY116" fmla="*/ 559594 h 1619250"/>
                      <a:gd name="connsiteX117" fmla="*/ 821943 w 1614899"/>
                      <a:gd name="connsiteY117" fmla="*/ 566737 h 1619250"/>
                      <a:gd name="connsiteX118" fmla="*/ 829087 w 1614899"/>
                      <a:gd name="connsiteY118" fmla="*/ 569119 h 1619250"/>
                      <a:gd name="connsiteX119" fmla="*/ 836231 w 1614899"/>
                      <a:gd name="connsiteY119" fmla="*/ 573881 h 1619250"/>
                      <a:gd name="connsiteX120" fmla="*/ 843374 w 1614899"/>
                      <a:gd name="connsiteY120" fmla="*/ 588169 h 1619250"/>
                      <a:gd name="connsiteX121" fmla="*/ 852899 w 1614899"/>
                      <a:gd name="connsiteY121" fmla="*/ 597694 h 1619250"/>
                      <a:gd name="connsiteX122" fmla="*/ 902906 w 1614899"/>
                      <a:gd name="connsiteY122" fmla="*/ 604837 h 1619250"/>
                      <a:gd name="connsiteX123" fmla="*/ 914812 w 1614899"/>
                      <a:gd name="connsiteY123" fmla="*/ 626269 h 1619250"/>
                      <a:gd name="connsiteX124" fmla="*/ 919574 w 1614899"/>
                      <a:gd name="connsiteY124" fmla="*/ 633412 h 1619250"/>
                      <a:gd name="connsiteX125" fmla="*/ 919574 w 1614899"/>
                      <a:gd name="connsiteY125" fmla="*/ 671512 h 1619250"/>
                      <a:gd name="connsiteX126" fmla="*/ 926718 w 1614899"/>
                      <a:gd name="connsiteY126" fmla="*/ 676275 h 1619250"/>
                      <a:gd name="connsiteX127" fmla="*/ 933862 w 1614899"/>
                      <a:gd name="connsiteY127" fmla="*/ 690562 h 1619250"/>
                      <a:gd name="connsiteX128" fmla="*/ 936243 w 1614899"/>
                      <a:gd name="connsiteY128" fmla="*/ 702469 h 1619250"/>
                      <a:gd name="connsiteX129" fmla="*/ 943387 w 1614899"/>
                      <a:gd name="connsiteY129" fmla="*/ 709612 h 1619250"/>
                      <a:gd name="connsiteX130" fmla="*/ 945768 w 1614899"/>
                      <a:gd name="connsiteY130" fmla="*/ 723900 h 1619250"/>
                      <a:gd name="connsiteX131" fmla="*/ 955293 w 1614899"/>
                      <a:gd name="connsiteY131" fmla="*/ 738187 h 1619250"/>
                      <a:gd name="connsiteX132" fmla="*/ 964818 w 1614899"/>
                      <a:gd name="connsiteY132" fmla="*/ 752475 h 1619250"/>
                      <a:gd name="connsiteX133" fmla="*/ 967199 w 1614899"/>
                      <a:gd name="connsiteY133" fmla="*/ 759619 h 1619250"/>
                      <a:gd name="connsiteX134" fmla="*/ 974343 w 1614899"/>
                      <a:gd name="connsiteY134" fmla="*/ 769144 h 1619250"/>
                      <a:gd name="connsiteX135" fmla="*/ 979106 w 1614899"/>
                      <a:gd name="connsiteY135" fmla="*/ 783431 h 1619250"/>
                      <a:gd name="connsiteX136" fmla="*/ 981487 w 1614899"/>
                      <a:gd name="connsiteY136" fmla="*/ 790575 h 1619250"/>
                      <a:gd name="connsiteX137" fmla="*/ 991012 w 1614899"/>
                      <a:gd name="connsiteY137" fmla="*/ 804862 h 1619250"/>
                      <a:gd name="connsiteX138" fmla="*/ 998156 w 1614899"/>
                      <a:gd name="connsiteY138" fmla="*/ 819150 h 1619250"/>
                      <a:gd name="connsiteX139" fmla="*/ 1000537 w 1614899"/>
                      <a:gd name="connsiteY139" fmla="*/ 826294 h 1619250"/>
                      <a:gd name="connsiteX140" fmla="*/ 1007681 w 1614899"/>
                      <a:gd name="connsiteY140" fmla="*/ 828675 h 1619250"/>
                      <a:gd name="connsiteX141" fmla="*/ 1014824 w 1614899"/>
                      <a:gd name="connsiteY141" fmla="*/ 833437 h 1619250"/>
                      <a:gd name="connsiteX142" fmla="*/ 1029112 w 1614899"/>
                      <a:gd name="connsiteY142" fmla="*/ 838200 h 1619250"/>
                      <a:gd name="connsiteX143" fmla="*/ 1033874 w 1614899"/>
                      <a:gd name="connsiteY143" fmla="*/ 845344 h 1619250"/>
                      <a:gd name="connsiteX144" fmla="*/ 1048162 w 1614899"/>
                      <a:gd name="connsiteY144" fmla="*/ 857250 h 1619250"/>
                      <a:gd name="connsiteX145" fmla="*/ 1062449 w 1614899"/>
                      <a:gd name="connsiteY145" fmla="*/ 862012 h 1619250"/>
                      <a:gd name="connsiteX146" fmla="*/ 1079118 w 1614899"/>
                      <a:gd name="connsiteY146" fmla="*/ 883444 h 1619250"/>
                      <a:gd name="connsiteX147" fmla="*/ 1081499 w 1614899"/>
                      <a:gd name="connsiteY147" fmla="*/ 890587 h 1619250"/>
                      <a:gd name="connsiteX148" fmla="*/ 1095787 w 1614899"/>
                      <a:gd name="connsiteY148" fmla="*/ 883444 h 1619250"/>
                      <a:gd name="connsiteX149" fmla="*/ 1110074 w 1614899"/>
                      <a:gd name="connsiteY149" fmla="*/ 890587 h 1619250"/>
                      <a:gd name="connsiteX150" fmla="*/ 1121981 w 1614899"/>
                      <a:gd name="connsiteY150" fmla="*/ 902494 h 1619250"/>
                      <a:gd name="connsiteX151" fmla="*/ 1136268 w 1614899"/>
                      <a:gd name="connsiteY151" fmla="*/ 907256 h 1619250"/>
                      <a:gd name="connsiteX152" fmla="*/ 1176749 w 1614899"/>
                      <a:gd name="connsiteY152" fmla="*/ 904875 h 1619250"/>
                      <a:gd name="connsiteX153" fmla="*/ 1195799 w 1614899"/>
                      <a:gd name="connsiteY153" fmla="*/ 904875 h 1619250"/>
                      <a:gd name="connsiteX154" fmla="*/ 1207706 w 1614899"/>
                      <a:gd name="connsiteY154" fmla="*/ 912019 h 1619250"/>
                      <a:gd name="connsiteX155" fmla="*/ 1210087 w 1614899"/>
                      <a:gd name="connsiteY155" fmla="*/ 902494 h 1619250"/>
                      <a:gd name="connsiteX156" fmla="*/ 1219612 w 1614899"/>
                      <a:gd name="connsiteY156" fmla="*/ 900112 h 1619250"/>
                      <a:gd name="connsiteX157" fmla="*/ 1226756 w 1614899"/>
                      <a:gd name="connsiteY157" fmla="*/ 895350 h 1619250"/>
                      <a:gd name="connsiteX158" fmla="*/ 1241043 w 1614899"/>
                      <a:gd name="connsiteY158" fmla="*/ 890587 h 1619250"/>
                      <a:gd name="connsiteX159" fmla="*/ 1255331 w 1614899"/>
                      <a:gd name="connsiteY159" fmla="*/ 892969 h 1619250"/>
                      <a:gd name="connsiteX160" fmla="*/ 1260093 w 1614899"/>
                      <a:gd name="connsiteY160" fmla="*/ 900112 h 1619250"/>
                      <a:gd name="connsiteX161" fmla="*/ 1267237 w 1614899"/>
                      <a:gd name="connsiteY161" fmla="*/ 904875 h 1619250"/>
                      <a:gd name="connsiteX162" fmla="*/ 1271999 w 1614899"/>
                      <a:gd name="connsiteY162" fmla="*/ 919162 h 1619250"/>
                      <a:gd name="connsiteX163" fmla="*/ 1269618 w 1614899"/>
                      <a:gd name="connsiteY163" fmla="*/ 928687 h 1619250"/>
                      <a:gd name="connsiteX164" fmla="*/ 1262474 w 1614899"/>
                      <a:gd name="connsiteY164" fmla="*/ 933450 h 1619250"/>
                      <a:gd name="connsiteX165" fmla="*/ 1255331 w 1614899"/>
                      <a:gd name="connsiteY165" fmla="*/ 940594 h 1619250"/>
                      <a:gd name="connsiteX166" fmla="*/ 1248187 w 1614899"/>
                      <a:gd name="connsiteY166" fmla="*/ 942975 h 1619250"/>
                      <a:gd name="connsiteX167" fmla="*/ 1241043 w 1614899"/>
                      <a:gd name="connsiteY167" fmla="*/ 947737 h 1619250"/>
                      <a:gd name="connsiteX168" fmla="*/ 1226756 w 1614899"/>
                      <a:gd name="connsiteY168" fmla="*/ 954881 h 1619250"/>
                      <a:gd name="connsiteX169" fmla="*/ 1236281 w 1614899"/>
                      <a:gd name="connsiteY169" fmla="*/ 969169 h 1619250"/>
                      <a:gd name="connsiteX170" fmla="*/ 1241043 w 1614899"/>
                      <a:gd name="connsiteY170" fmla="*/ 983456 h 1619250"/>
                      <a:gd name="connsiteX171" fmla="*/ 1250568 w 1614899"/>
                      <a:gd name="connsiteY171" fmla="*/ 997744 h 1619250"/>
                      <a:gd name="connsiteX172" fmla="*/ 1262474 w 1614899"/>
                      <a:gd name="connsiteY172" fmla="*/ 997744 h 1619250"/>
                      <a:gd name="connsiteX173" fmla="*/ 1264856 w 1614899"/>
                      <a:gd name="connsiteY173" fmla="*/ 990600 h 1619250"/>
                      <a:gd name="connsiteX174" fmla="*/ 1283906 w 1614899"/>
                      <a:gd name="connsiteY174" fmla="*/ 995362 h 1619250"/>
                      <a:gd name="connsiteX175" fmla="*/ 1291049 w 1614899"/>
                      <a:gd name="connsiteY175" fmla="*/ 1000125 h 1619250"/>
                      <a:gd name="connsiteX176" fmla="*/ 1298193 w 1614899"/>
                      <a:gd name="connsiteY176" fmla="*/ 1002506 h 1619250"/>
                      <a:gd name="connsiteX177" fmla="*/ 1322006 w 1614899"/>
                      <a:gd name="connsiteY177" fmla="*/ 1007269 h 1619250"/>
                      <a:gd name="connsiteX178" fmla="*/ 1336293 w 1614899"/>
                      <a:gd name="connsiteY178" fmla="*/ 1012031 h 1619250"/>
                      <a:gd name="connsiteX179" fmla="*/ 1355343 w 1614899"/>
                      <a:gd name="connsiteY179" fmla="*/ 1016794 h 1619250"/>
                      <a:gd name="connsiteX180" fmla="*/ 1362487 w 1614899"/>
                      <a:gd name="connsiteY180" fmla="*/ 1023937 h 1619250"/>
                      <a:gd name="connsiteX181" fmla="*/ 1376774 w 1614899"/>
                      <a:gd name="connsiteY181" fmla="*/ 1028700 h 1619250"/>
                      <a:gd name="connsiteX182" fmla="*/ 1391062 w 1614899"/>
                      <a:gd name="connsiteY182" fmla="*/ 1033462 h 1619250"/>
                      <a:gd name="connsiteX183" fmla="*/ 1398206 w 1614899"/>
                      <a:gd name="connsiteY183" fmla="*/ 1035844 h 1619250"/>
                      <a:gd name="connsiteX184" fmla="*/ 1405349 w 1614899"/>
                      <a:gd name="connsiteY184" fmla="*/ 1038225 h 1619250"/>
                      <a:gd name="connsiteX185" fmla="*/ 1412493 w 1614899"/>
                      <a:gd name="connsiteY185" fmla="*/ 1042987 h 1619250"/>
                      <a:gd name="connsiteX186" fmla="*/ 1426781 w 1614899"/>
                      <a:gd name="connsiteY186" fmla="*/ 1050131 h 1619250"/>
                      <a:gd name="connsiteX187" fmla="*/ 1436306 w 1614899"/>
                      <a:gd name="connsiteY187" fmla="*/ 1062037 h 1619250"/>
                      <a:gd name="connsiteX188" fmla="*/ 1441068 w 1614899"/>
                      <a:gd name="connsiteY188" fmla="*/ 1069181 h 1619250"/>
                      <a:gd name="connsiteX189" fmla="*/ 1450593 w 1614899"/>
                      <a:gd name="connsiteY189" fmla="*/ 1071562 h 1619250"/>
                      <a:gd name="connsiteX190" fmla="*/ 1464881 w 1614899"/>
                      <a:gd name="connsiteY190" fmla="*/ 1076325 h 1619250"/>
                      <a:gd name="connsiteX191" fmla="*/ 1467262 w 1614899"/>
                      <a:gd name="connsiteY191" fmla="*/ 1083469 h 1619250"/>
                      <a:gd name="connsiteX192" fmla="*/ 1488693 w 1614899"/>
                      <a:gd name="connsiteY192" fmla="*/ 1092994 h 1619250"/>
                      <a:gd name="connsiteX193" fmla="*/ 1500599 w 1614899"/>
                      <a:gd name="connsiteY193" fmla="*/ 1095375 h 1619250"/>
                      <a:gd name="connsiteX194" fmla="*/ 1514887 w 1614899"/>
                      <a:gd name="connsiteY194" fmla="*/ 1097756 h 1619250"/>
                      <a:gd name="connsiteX195" fmla="*/ 1522031 w 1614899"/>
                      <a:gd name="connsiteY195" fmla="*/ 1100137 h 1619250"/>
                      <a:gd name="connsiteX196" fmla="*/ 1541081 w 1614899"/>
                      <a:gd name="connsiteY196" fmla="*/ 1104900 h 1619250"/>
                      <a:gd name="connsiteX197" fmla="*/ 1545843 w 1614899"/>
                      <a:gd name="connsiteY197" fmla="*/ 1112044 h 1619250"/>
                      <a:gd name="connsiteX198" fmla="*/ 1543462 w 1614899"/>
                      <a:gd name="connsiteY198" fmla="*/ 1119187 h 1619250"/>
                      <a:gd name="connsiteX199" fmla="*/ 1557749 w 1614899"/>
                      <a:gd name="connsiteY199" fmla="*/ 1128712 h 1619250"/>
                      <a:gd name="connsiteX200" fmla="*/ 1564893 w 1614899"/>
                      <a:gd name="connsiteY200" fmla="*/ 1133475 h 1619250"/>
                      <a:gd name="connsiteX201" fmla="*/ 1579181 w 1614899"/>
                      <a:gd name="connsiteY201" fmla="*/ 1147762 h 1619250"/>
                      <a:gd name="connsiteX202" fmla="*/ 1593468 w 1614899"/>
                      <a:gd name="connsiteY202" fmla="*/ 1152525 h 1619250"/>
                      <a:gd name="connsiteX203" fmla="*/ 1600612 w 1614899"/>
                      <a:gd name="connsiteY203" fmla="*/ 1154906 h 1619250"/>
                      <a:gd name="connsiteX204" fmla="*/ 1607756 w 1614899"/>
                      <a:gd name="connsiteY204" fmla="*/ 1162050 h 1619250"/>
                      <a:gd name="connsiteX205" fmla="*/ 1610137 w 1614899"/>
                      <a:gd name="connsiteY205" fmla="*/ 1169194 h 1619250"/>
                      <a:gd name="connsiteX206" fmla="*/ 1614899 w 1614899"/>
                      <a:gd name="connsiteY206" fmla="*/ 1176337 h 1619250"/>
                      <a:gd name="connsiteX207" fmla="*/ 1612518 w 1614899"/>
                      <a:gd name="connsiteY207" fmla="*/ 1195387 h 1619250"/>
                      <a:gd name="connsiteX208" fmla="*/ 1610137 w 1614899"/>
                      <a:gd name="connsiteY208" fmla="*/ 1202531 h 1619250"/>
                      <a:gd name="connsiteX209" fmla="*/ 1602993 w 1614899"/>
                      <a:gd name="connsiteY209" fmla="*/ 1204912 h 1619250"/>
                      <a:gd name="connsiteX210" fmla="*/ 1600612 w 1614899"/>
                      <a:gd name="connsiteY210" fmla="*/ 1212056 h 1619250"/>
                      <a:gd name="connsiteX211" fmla="*/ 1598231 w 1614899"/>
                      <a:gd name="connsiteY211" fmla="*/ 1247775 h 1619250"/>
                      <a:gd name="connsiteX212" fmla="*/ 1579181 w 1614899"/>
                      <a:gd name="connsiteY212" fmla="*/ 1245394 h 1619250"/>
                      <a:gd name="connsiteX213" fmla="*/ 1550606 w 1614899"/>
                      <a:gd name="connsiteY213" fmla="*/ 1231106 h 1619250"/>
                      <a:gd name="connsiteX214" fmla="*/ 1543462 w 1614899"/>
                      <a:gd name="connsiteY214" fmla="*/ 1226344 h 1619250"/>
                      <a:gd name="connsiteX215" fmla="*/ 1543462 w 1614899"/>
                      <a:gd name="connsiteY215" fmla="*/ 1197769 h 1619250"/>
                      <a:gd name="connsiteX216" fmla="*/ 1545843 w 1614899"/>
                      <a:gd name="connsiteY216" fmla="*/ 1183481 h 1619250"/>
                      <a:gd name="connsiteX217" fmla="*/ 1531556 w 1614899"/>
                      <a:gd name="connsiteY217" fmla="*/ 1176337 h 1619250"/>
                      <a:gd name="connsiteX218" fmla="*/ 1529174 w 1614899"/>
                      <a:gd name="connsiteY218" fmla="*/ 1169194 h 1619250"/>
                      <a:gd name="connsiteX219" fmla="*/ 1531556 w 1614899"/>
                      <a:gd name="connsiteY219" fmla="*/ 1152525 h 1619250"/>
                      <a:gd name="connsiteX220" fmla="*/ 1524412 w 1614899"/>
                      <a:gd name="connsiteY220" fmla="*/ 1154906 h 1619250"/>
                      <a:gd name="connsiteX221" fmla="*/ 1517268 w 1614899"/>
                      <a:gd name="connsiteY221" fmla="*/ 1159669 h 1619250"/>
                      <a:gd name="connsiteX222" fmla="*/ 1502981 w 1614899"/>
                      <a:gd name="connsiteY222" fmla="*/ 1164431 h 1619250"/>
                      <a:gd name="connsiteX223" fmla="*/ 1481549 w 1614899"/>
                      <a:gd name="connsiteY223" fmla="*/ 1169194 h 1619250"/>
                      <a:gd name="connsiteX224" fmla="*/ 1457737 w 1614899"/>
                      <a:gd name="connsiteY224" fmla="*/ 1164431 h 1619250"/>
                      <a:gd name="connsiteX225" fmla="*/ 1443449 w 1614899"/>
                      <a:gd name="connsiteY225" fmla="*/ 1154906 h 1619250"/>
                      <a:gd name="connsiteX226" fmla="*/ 1436306 w 1614899"/>
                      <a:gd name="connsiteY226" fmla="*/ 1150144 h 1619250"/>
                      <a:gd name="connsiteX227" fmla="*/ 1426781 w 1614899"/>
                      <a:gd name="connsiteY227" fmla="*/ 1140619 h 1619250"/>
                      <a:gd name="connsiteX228" fmla="*/ 1402968 w 1614899"/>
                      <a:gd name="connsiteY228" fmla="*/ 1138237 h 1619250"/>
                      <a:gd name="connsiteX229" fmla="*/ 1395824 w 1614899"/>
                      <a:gd name="connsiteY229" fmla="*/ 1145381 h 1619250"/>
                      <a:gd name="connsiteX230" fmla="*/ 1374393 w 1614899"/>
                      <a:gd name="connsiteY230" fmla="*/ 1162050 h 1619250"/>
                      <a:gd name="connsiteX231" fmla="*/ 1367249 w 1614899"/>
                      <a:gd name="connsiteY231" fmla="*/ 1188244 h 1619250"/>
                      <a:gd name="connsiteX232" fmla="*/ 1357724 w 1614899"/>
                      <a:gd name="connsiteY232" fmla="*/ 1202531 h 1619250"/>
                      <a:gd name="connsiteX233" fmla="*/ 1348199 w 1614899"/>
                      <a:gd name="connsiteY233" fmla="*/ 1212056 h 1619250"/>
                      <a:gd name="connsiteX234" fmla="*/ 1345818 w 1614899"/>
                      <a:gd name="connsiteY234" fmla="*/ 1219200 h 1619250"/>
                      <a:gd name="connsiteX235" fmla="*/ 1341056 w 1614899"/>
                      <a:gd name="connsiteY235" fmla="*/ 1228725 h 1619250"/>
                      <a:gd name="connsiteX236" fmla="*/ 1350581 w 1614899"/>
                      <a:gd name="connsiteY236" fmla="*/ 1243012 h 1619250"/>
                      <a:gd name="connsiteX237" fmla="*/ 1343437 w 1614899"/>
                      <a:gd name="connsiteY237" fmla="*/ 1266825 h 1619250"/>
                      <a:gd name="connsiteX238" fmla="*/ 1345818 w 1614899"/>
                      <a:gd name="connsiteY238" fmla="*/ 1281112 h 1619250"/>
                      <a:gd name="connsiteX239" fmla="*/ 1348199 w 1614899"/>
                      <a:gd name="connsiteY239" fmla="*/ 1290637 h 1619250"/>
                      <a:gd name="connsiteX240" fmla="*/ 1355343 w 1614899"/>
                      <a:gd name="connsiteY240" fmla="*/ 1297781 h 1619250"/>
                      <a:gd name="connsiteX241" fmla="*/ 1362487 w 1614899"/>
                      <a:gd name="connsiteY241" fmla="*/ 1300162 h 1619250"/>
                      <a:gd name="connsiteX242" fmla="*/ 1386299 w 1614899"/>
                      <a:gd name="connsiteY242" fmla="*/ 1302544 h 1619250"/>
                      <a:gd name="connsiteX243" fmla="*/ 1395824 w 1614899"/>
                      <a:gd name="connsiteY243" fmla="*/ 1309687 h 1619250"/>
                      <a:gd name="connsiteX244" fmla="*/ 1410112 w 1614899"/>
                      <a:gd name="connsiteY244" fmla="*/ 1314450 h 1619250"/>
                      <a:gd name="connsiteX245" fmla="*/ 1417256 w 1614899"/>
                      <a:gd name="connsiteY245" fmla="*/ 1319212 h 1619250"/>
                      <a:gd name="connsiteX246" fmla="*/ 1431543 w 1614899"/>
                      <a:gd name="connsiteY246" fmla="*/ 1326356 h 1619250"/>
                      <a:gd name="connsiteX247" fmla="*/ 1433924 w 1614899"/>
                      <a:gd name="connsiteY247" fmla="*/ 1333500 h 1619250"/>
                      <a:gd name="connsiteX248" fmla="*/ 1429162 w 1614899"/>
                      <a:gd name="connsiteY248" fmla="*/ 1340644 h 1619250"/>
                      <a:gd name="connsiteX249" fmla="*/ 1426781 w 1614899"/>
                      <a:gd name="connsiteY249" fmla="*/ 1347787 h 1619250"/>
                      <a:gd name="connsiteX250" fmla="*/ 1431543 w 1614899"/>
                      <a:gd name="connsiteY250" fmla="*/ 1354931 h 1619250"/>
                      <a:gd name="connsiteX251" fmla="*/ 1436306 w 1614899"/>
                      <a:gd name="connsiteY251" fmla="*/ 1364456 h 1619250"/>
                      <a:gd name="connsiteX252" fmla="*/ 1443449 w 1614899"/>
                      <a:gd name="connsiteY252" fmla="*/ 1395412 h 1619250"/>
                      <a:gd name="connsiteX253" fmla="*/ 1450593 w 1614899"/>
                      <a:gd name="connsiteY253" fmla="*/ 1402556 h 1619250"/>
                      <a:gd name="connsiteX254" fmla="*/ 1448212 w 1614899"/>
                      <a:gd name="connsiteY254" fmla="*/ 1412081 h 1619250"/>
                      <a:gd name="connsiteX255" fmla="*/ 1433924 w 1614899"/>
                      <a:gd name="connsiteY255" fmla="*/ 1416844 h 1619250"/>
                      <a:gd name="connsiteX256" fmla="*/ 1419637 w 1614899"/>
                      <a:gd name="connsiteY256" fmla="*/ 1423987 h 1619250"/>
                      <a:gd name="connsiteX257" fmla="*/ 1405349 w 1614899"/>
                      <a:gd name="connsiteY257" fmla="*/ 1431131 h 1619250"/>
                      <a:gd name="connsiteX258" fmla="*/ 1398206 w 1614899"/>
                      <a:gd name="connsiteY258" fmla="*/ 1435894 h 1619250"/>
                      <a:gd name="connsiteX259" fmla="*/ 1383918 w 1614899"/>
                      <a:gd name="connsiteY259" fmla="*/ 1440656 h 1619250"/>
                      <a:gd name="connsiteX260" fmla="*/ 1376774 w 1614899"/>
                      <a:gd name="connsiteY260" fmla="*/ 1443037 h 1619250"/>
                      <a:gd name="connsiteX261" fmla="*/ 1364868 w 1614899"/>
                      <a:gd name="connsiteY261" fmla="*/ 1464469 h 1619250"/>
                      <a:gd name="connsiteX262" fmla="*/ 1362487 w 1614899"/>
                      <a:gd name="connsiteY262" fmla="*/ 1473994 h 1619250"/>
                      <a:gd name="connsiteX263" fmla="*/ 1364868 w 1614899"/>
                      <a:gd name="connsiteY263" fmla="*/ 1497806 h 1619250"/>
                      <a:gd name="connsiteX264" fmla="*/ 1372012 w 1614899"/>
                      <a:gd name="connsiteY264" fmla="*/ 1500187 h 1619250"/>
                      <a:gd name="connsiteX265" fmla="*/ 1369631 w 1614899"/>
                      <a:gd name="connsiteY265" fmla="*/ 1516856 h 1619250"/>
                      <a:gd name="connsiteX266" fmla="*/ 1367249 w 1614899"/>
                      <a:gd name="connsiteY266" fmla="*/ 1524000 h 1619250"/>
                      <a:gd name="connsiteX267" fmla="*/ 1360106 w 1614899"/>
                      <a:gd name="connsiteY267" fmla="*/ 1526381 h 1619250"/>
                      <a:gd name="connsiteX268" fmla="*/ 1352962 w 1614899"/>
                      <a:gd name="connsiteY268" fmla="*/ 1531144 h 1619250"/>
                      <a:gd name="connsiteX269" fmla="*/ 1343437 w 1614899"/>
                      <a:gd name="connsiteY269" fmla="*/ 1535906 h 1619250"/>
                      <a:gd name="connsiteX270" fmla="*/ 1329149 w 1614899"/>
                      <a:gd name="connsiteY270" fmla="*/ 1550194 h 1619250"/>
                      <a:gd name="connsiteX271" fmla="*/ 1326768 w 1614899"/>
                      <a:gd name="connsiteY271" fmla="*/ 1559719 h 1619250"/>
                      <a:gd name="connsiteX272" fmla="*/ 1322006 w 1614899"/>
                      <a:gd name="connsiteY272" fmla="*/ 1566862 h 1619250"/>
                      <a:gd name="connsiteX273" fmla="*/ 1319624 w 1614899"/>
                      <a:gd name="connsiteY273" fmla="*/ 1578769 h 1619250"/>
                      <a:gd name="connsiteX274" fmla="*/ 1317243 w 1614899"/>
                      <a:gd name="connsiteY274" fmla="*/ 1585912 h 1619250"/>
                      <a:gd name="connsiteX275" fmla="*/ 1314862 w 1614899"/>
                      <a:gd name="connsiteY275" fmla="*/ 1602581 h 1619250"/>
                      <a:gd name="connsiteX276" fmla="*/ 1283906 w 1614899"/>
                      <a:gd name="connsiteY276" fmla="*/ 1614487 h 1619250"/>
                      <a:gd name="connsiteX277" fmla="*/ 1274381 w 1614899"/>
                      <a:gd name="connsiteY277" fmla="*/ 1616869 h 1619250"/>
                      <a:gd name="connsiteX278" fmla="*/ 1260093 w 1614899"/>
                      <a:gd name="connsiteY278" fmla="*/ 1619250 h 1619250"/>
                      <a:gd name="connsiteX279" fmla="*/ 1248187 w 1614899"/>
                      <a:gd name="connsiteY279" fmla="*/ 1616869 h 1619250"/>
                      <a:gd name="connsiteX280" fmla="*/ 1243424 w 1614899"/>
                      <a:gd name="connsiteY280" fmla="*/ 1597819 h 1619250"/>
                      <a:gd name="connsiteX281" fmla="*/ 1238662 w 1614899"/>
                      <a:gd name="connsiteY281" fmla="*/ 1581150 h 1619250"/>
                      <a:gd name="connsiteX282" fmla="*/ 1243424 w 1614899"/>
                      <a:gd name="connsiteY282" fmla="*/ 1566862 h 1619250"/>
                      <a:gd name="connsiteX283" fmla="*/ 1252949 w 1614899"/>
                      <a:gd name="connsiteY283" fmla="*/ 1552575 h 1619250"/>
                      <a:gd name="connsiteX284" fmla="*/ 1260093 w 1614899"/>
                      <a:gd name="connsiteY284" fmla="*/ 1550194 h 1619250"/>
                      <a:gd name="connsiteX285" fmla="*/ 1267237 w 1614899"/>
                      <a:gd name="connsiteY285" fmla="*/ 1543050 h 1619250"/>
                      <a:gd name="connsiteX286" fmla="*/ 1269618 w 1614899"/>
                      <a:gd name="connsiteY286" fmla="*/ 1535906 h 1619250"/>
                      <a:gd name="connsiteX287" fmla="*/ 1274381 w 1614899"/>
                      <a:gd name="connsiteY287" fmla="*/ 1526381 h 1619250"/>
                      <a:gd name="connsiteX288" fmla="*/ 1267237 w 1614899"/>
                      <a:gd name="connsiteY288" fmla="*/ 1502569 h 1619250"/>
                      <a:gd name="connsiteX289" fmla="*/ 1252949 w 1614899"/>
                      <a:gd name="connsiteY289" fmla="*/ 1493044 h 1619250"/>
                      <a:gd name="connsiteX290" fmla="*/ 1262474 w 1614899"/>
                      <a:gd name="connsiteY290" fmla="*/ 1478756 h 1619250"/>
                      <a:gd name="connsiteX291" fmla="*/ 1279143 w 1614899"/>
                      <a:gd name="connsiteY291" fmla="*/ 1462087 h 1619250"/>
                      <a:gd name="connsiteX292" fmla="*/ 1302956 w 1614899"/>
                      <a:gd name="connsiteY292" fmla="*/ 1459706 h 1619250"/>
                      <a:gd name="connsiteX293" fmla="*/ 1305337 w 1614899"/>
                      <a:gd name="connsiteY293" fmla="*/ 1450181 h 1619250"/>
                      <a:gd name="connsiteX294" fmla="*/ 1310099 w 1614899"/>
                      <a:gd name="connsiteY294" fmla="*/ 1443037 h 1619250"/>
                      <a:gd name="connsiteX295" fmla="*/ 1312481 w 1614899"/>
                      <a:gd name="connsiteY295" fmla="*/ 1435894 h 1619250"/>
                      <a:gd name="connsiteX296" fmla="*/ 1305337 w 1614899"/>
                      <a:gd name="connsiteY296" fmla="*/ 1428750 h 1619250"/>
                      <a:gd name="connsiteX297" fmla="*/ 1298193 w 1614899"/>
                      <a:gd name="connsiteY297" fmla="*/ 1423987 h 1619250"/>
                      <a:gd name="connsiteX298" fmla="*/ 1295812 w 1614899"/>
                      <a:gd name="connsiteY298" fmla="*/ 1412081 h 1619250"/>
                      <a:gd name="connsiteX299" fmla="*/ 1293431 w 1614899"/>
                      <a:gd name="connsiteY299" fmla="*/ 1402556 h 1619250"/>
                      <a:gd name="connsiteX300" fmla="*/ 1288668 w 1614899"/>
                      <a:gd name="connsiteY300" fmla="*/ 1369219 h 1619250"/>
                      <a:gd name="connsiteX301" fmla="*/ 1286287 w 1614899"/>
                      <a:gd name="connsiteY301" fmla="*/ 1362075 h 1619250"/>
                      <a:gd name="connsiteX302" fmla="*/ 1276762 w 1614899"/>
                      <a:gd name="connsiteY302" fmla="*/ 1345406 h 1619250"/>
                      <a:gd name="connsiteX303" fmla="*/ 1267237 w 1614899"/>
                      <a:gd name="connsiteY303" fmla="*/ 1343025 h 1619250"/>
                      <a:gd name="connsiteX304" fmla="*/ 1260093 w 1614899"/>
                      <a:gd name="connsiteY304" fmla="*/ 1340644 h 1619250"/>
                      <a:gd name="connsiteX305" fmla="*/ 1252949 w 1614899"/>
                      <a:gd name="connsiteY305" fmla="*/ 1307306 h 1619250"/>
                      <a:gd name="connsiteX306" fmla="*/ 1248187 w 1614899"/>
                      <a:gd name="connsiteY306" fmla="*/ 1293019 h 1619250"/>
                      <a:gd name="connsiteX307" fmla="*/ 1243424 w 1614899"/>
                      <a:gd name="connsiteY307" fmla="*/ 1278731 h 1619250"/>
                      <a:gd name="connsiteX308" fmla="*/ 1241043 w 1614899"/>
                      <a:gd name="connsiteY308" fmla="*/ 1271587 h 1619250"/>
                      <a:gd name="connsiteX309" fmla="*/ 1236281 w 1614899"/>
                      <a:gd name="connsiteY309" fmla="*/ 1262062 h 1619250"/>
                      <a:gd name="connsiteX310" fmla="*/ 1231518 w 1614899"/>
                      <a:gd name="connsiteY310" fmla="*/ 1247775 h 1619250"/>
                      <a:gd name="connsiteX311" fmla="*/ 1224374 w 1614899"/>
                      <a:gd name="connsiteY311" fmla="*/ 1240631 h 1619250"/>
                      <a:gd name="connsiteX312" fmla="*/ 1214849 w 1614899"/>
                      <a:gd name="connsiteY312" fmla="*/ 1226344 h 1619250"/>
                      <a:gd name="connsiteX313" fmla="*/ 1195799 w 1614899"/>
                      <a:gd name="connsiteY313" fmla="*/ 1233487 h 1619250"/>
                      <a:gd name="connsiteX314" fmla="*/ 1198181 w 1614899"/>
                      <a:gd name="connsiteY314" fmla="*/ 1240631 h 1619250"/>
                      <a:gd name="connsiteX315" fmla="*/ 1191037 w 1614899"/>
                      <a:gd name="connsiteY315" fmla="*/ 1243012 h 1619250"/>
                      <a:gd name="connsiteX316" fmla="*/ 1164843 w 1614899"/>
                      <a:gd name="connsiteY316" fmla="*/ 1238250 h 1619250"/>
                      <a:gd name="connsiteX317" fmla="*/ 1155318 w 1614899"/>
                      <a:gd name="connsiteY317" fmla="*/ 1223962 h 1619250"/>
                      <a:gd name="connsiteX318" fmla="*/ 1148174 w 1614899"/>
                      <a:gd name="connsiteY318" fmla="*/ 1216819 h 1619250"/>
                      <a:gd name="connsiteX319" fmla="*/ 1138649 w 1614899"/>
                      <a:gd name="connsiteY319" fmla="*/ 1219200 h 1619250"/>
                      <a:gd name="connsiteX320" fmla="*/ 1131506 w 1614899"/>
                      <a:gd name="connsiteY320" fmla="*/ 1221581 h 1619250"/>
                      <a:gd name="connsiteX321" fmla="*/ 1124362 w 1614899"/>
                      <a:gd name="connsiteY321" fmla="*/ 1219200 h 1619250"/>
                      <a:gd name="connsiteX322" fmla="*/ 1112456 w 1614899"/>
                      <a:gd name="connsiteY322" fmla="*/ 1207295 h 1619250"/>
                      <a:gd name="connsiteX323" fmla="*/ 1126743 w 1614899"/>
                      <a:gd name="connsiteY323" fmla="*/ 1190624 h 1619250"/>
                      <a:gd name="connsiteX324" fmla="*/ 1112456 w 1614899"/>
                      <a:gd name="connsiteY324" fmla="*/ 1154906 h 1619250"/>
                      <a:gd name="connsiteX325" fmla="*/ 1107693 w 1614899"/>
                      <a:gd name="connsiteY325" fmla="*/ 1147762 h 1619250"/>
                      <a:gd name="connsiteX326" fmla="*/ 1100549 w 1614899"/>
                      <a:gd name="connsiteY326" fmla="*/ 1145381 h 1619250"/>
                      <a:gd name="connsiteX327" fmla="*/ 1093406 w 1614899"/>
                      <a:gd name="connsiteY327" fmla="*/ 1147762 h 1619250"/>
                      <a:gd name="connsiteX328" fmla="*/ 1062449 w 1614899"/>
                      <a:gd name="connsiteY328" fmla="*/ 1152525 h 1619250"/>
                      <a:gd name="connsiteX329" fmla="*/ 1043400 w 1614899"/>
                      <a:gd name="connsiteY329" fmla="*/ 1154906 h 1619250"/>
                      <a:gd name="connsiteX330" fmla="*/ 1029112 w 1614899"/>
                      <a:gd name="connsiteY330" fmla="*/ 1157286 h 1619250"/>
                      <a:gd name="connsiteX331" fmla="*/ 1050543 w 1614899"/>
                      <a:gd name="connsiteY331" fmla="*/ 1128712 h 1619250"/>
                      <a:gd name="connsiteX332" fmla="*/ 1036255 w 1614899"/>
                      <a:gd name="connsiteY332" fmla="*/ 1119187 h 1619250"/>
                      <a:gd name="connsiteX333" fmla="*/ 1024349 w 1614899"/>
                      <a:gd name="connsiteY333" fmla="*/ 1109662 h 1619250"/>
                      <a:gd name="connsiteX334" fmla="*/ 1014824 w 1614899"/>
                      <a:gd name="connsiteY334" fmla="*/ 1107281 h 1619250"/>
                      <a:gd name="connsiteX335" fmla="*/ 986250 w 1614899"/>
                      <a:gd name="connsiteY335" fmla="*/ 1114424 h 1619250"/>
                      <a:gd name="connsiteX336" fmla="*/ 979106 w 1614899"/>
                      <a:gd name="connsiteY336" fmla="*/ 1097757 h 1619250"/>
                      <a:gd name="connsiteX337" fmla="*/ 979106 w 1614899"/>
                      <a:gd name="connsiteY337" fmla="*/ 1076325 h 1619250"/>
                      <a:gd name="connsiteX338" fmla="*/ 964818 w 1614899"/>
                      <a:gd name="connsiteY338" fmla="*/ 1064419 h 1619250"/>
                      <a:gd name="connsiteX339" fmla="*/ 950531 w 1614899"/>
                      <a:gd name="connsiteY339" fmla="*/ 1054894 h 1619250"/>
                      <a:gd name="connsiteX340" fmla="*/ 943387 w 1614899"/>
                      <a:gd name="connsiteY340" fmla="*/ 1050131 h 1619250"/>
                      <a:gd name="connsiteX341" fmla="*/ 936243 w 1614899"/>
                      <a:gd name="connsiteY341" fmla="*/ 1045369 h 1619250"/>
                      <a:gd name="connsiteX342" fmla="*/ 931481 w 1614899"/>
                      <a:gd name="connsiteY342" fmla="*/ 1038225 h 1619250"/>
                      <a:gd name="connsiteX343" fmla="*/ 917193 w 1614899"/>
                      <a:gd name="connsiteY343" fmla="*/ 1031081 h 1619250"/>
                      <a:gd name="connsiteX344" fmla="*/ 914812 w 1614899"/>
                      <a:gd name="connsiteY344" fmla="*/ 1040606 h 1619250"/>
                      <a:gd name="connsiteX345" fmla="*/ 907668 w 1614899"/>
                      <a:gd name="connsiteY345" fmla="*/ 1042987 h 1619250"/>
                      <a:gd name="connsiteX346" fmla="*/ 886237 w 1614899"/>
                      <a:gd name="connsiteY346" fmla="*/ 1031081 h 1619250"/>
                      <a:gd name="connsiteX347" fmla="*/ 862424 w 1614899"/>
                      <a:gd name="connsiteY347" fmla="*/ 1035844 h 1619250"/>
                      <a:gd name="connsiteX348" fmla="*/ 845756 w 1614899"/>
                      <a:gd name="connsiteY348" fmla="*/ 1040606 h 1619250"/>
                      <a:gd name="connsiteX349" fmla="*/ 840993 w 1614899"/>
                      <a:gd name="connsiteY349" fmla="*/ 1033462 h 1619250"/>
                      <a:gd name="connsiteX350" fmla="*/ 821943 w 1614899"/>
                      <a:gd name="connsiteY350" fmla="*/ 1004887 h 1619250"/>
                      <a:gd name="connsiteX351" fmla="*/ 814799 w 1614899"/>
                      <a:gd name="connsiteY351" fmla="*/ 1000125 h 1619250"/>
                      <a:gd name="connsiteX352" fmla="*/ 779081 w 1614899"/>
                      <a:gd name="connsiteY352" fmla="*/ 995362 h 1619250"/>
                      <a:gd name="connsiteX353" fmla="*/ 771937 w 1614899"/>
                      <a:gd name="connsiteY353" fmla="*/ 988219 h 1619250"/>
                      <a:gd name="connsiteX354" fmla="*/ 762412 w 1614899"/>
                      <a:gd name="connsiteY354" fmla="*/ 966787 h 1619250"/>
                      <a:gd name="connsiteX355" fmla="*/ 755268 w 1614899"/>
                      <a:gd name="connsiteY355" fmla="*/ 962025 h 1619250"/>
                      <a:gd name="connsiteX356" fmla="*/ 733837 w 1614899"/>
                      <a:gd name="connsiteY356" fmla="*/ 962025 h 1619250"/>
                      <a:gd name="connsiteX357" fmla="*/ 731456 w 1614899"/>
                      <a:gd name="connsiteY357" fmla="*/ 950119 h 1619250"/>
                      <a:gd name="connsiteX358" fmla="*/ 729074 w 1614899"/>
                      <a:gd name="connsiteY358" fmla="*/ 942975 h 1619250"/>
                      <a:gd name="connsiteX359" fmla="*/ 726693 w 1614899"/>
                      <a:gd name="connsiteY359" fmla="*/ 921544 h 1619250"/>
                      <a:gd name="connsiteX360" fmla="*/ 724312 w 1614899"/>
                      <a:gd name="connsiteY360" fmla="*/ 914400 h 1619250"/>
                      <a:gd name="connsiteX361" fmla="*/ 717168 w 1614899"/>
                      <a:gd name="connsiteY361" fmla="*/ 909637 h 1619250"/>
                      <a:gd name="connsiteX362" fmla="*/ 710024 w 1614899"/>
                      <a:gd name="connsiteY362" fmla="*/ 907256 h 1619250"/>
                      <a:gd name="connsiteX363" fmla="*/ 681449 w 1614899"/>
                      <a:gd name="connsiteY363" fmla="*/ 902494 h 1619250"/>
                      <a:gd name="connsiteX364" fmla="*/ 674306 w 1614899"/>
                      <a:gd name="connsiteY364" fmla="*/ 897731 h 1619250"/>
                      <a:gd name="connsiteX365" fmla="*/ 667162 w 1614899"/>
                      <a:gd name="connsiteY365" fmla="*/ 883444 h 1619250"/>
                      <a:gd name="connsiteX366" fmla="*/ 657637 w 1614899"/>
                      <a:gd name="connsiteY366" fmla="*/ 881062 h 1619250"/>
                      <a:gd name="connsiteX367" fmla="*/ 650493 w 1614899"/>
                      <a:gd name="connsiteY367" fmla="*/ 873919 h 1619250"/>
                      <a:gd name="connsiteX368" fmla="*/ 648112 w 1614899"/>
                      <a:gd name="connsiteY368" fmla="*/ 866775 h 1619250"/>
                      <a:gd name="connsiteX369" fmla="*/ 643349 w 1614899"/>
                      <a:gd name="connsiteY369" fmla="*/ 859631 h 1619250"/>
                      <a:gd name="connsiteX370" fmla="*/ 631443 w 1614899"/>
                      <a:gd name="connsiteY370" fmla="*/ 838200 h 1619250"/>
                      <a:gd name="connsiteX371" fmla="*/ 624299 w 1614899"/>
                      <a:gd name="connsiteY371" fmla="*/ 833437 h 1619250"/>
                      <a:gd name="connsiteX372" fmla="*/ 593343 w 1614899"/>
                      <a:gd name="connsiteY372" fmla="*/ 835819 h 1619250"/>
                      <a:gd name="connsiteX373" fmla="*/ 586199 w 1614899"/>
                      <a:gd name="connsiteY373" fmla="*/ 816769 h 1619250"/>
                      <a:gd name="connsiteX374" fmla="*/ 569531 w 1614899"/>
                      <a:gd name="connsiteY374" fmla="*/ 795337 h 1619250"/>
                      <a:gd name="connsiteX375" fmla="*/ 564768 w 1614899"/>
                      <a:gd name="connsiteY375" fmla="*/ 788194 h 1619250"/>
                      <a:gd name="connsiteX376" fmla="*/ 557624 w 1614899"/>
                      <a:gd name="connsiteY376" fmla="*/ 785812 h 1619250"/>
                      <a:gd name="connsiteX377" fmla="*/ 550481 w 1614899"/>
                      <a:gd name="connsiteY377" fmla="*/ 781050 h 1619250"/>
                      <a:gd name="connsiteX378" fmla="*/ 536193 w 1614899"/>
                      <a:gd name="connsiteY378" fmla="*/ 776287 h 1619250"/>
                      <a:gd name="connsiteX379" fmla="*/ 538574 w 1614899"/>
                      <a:gd name="connsiteY379" fmla="*/ 747712 h 1619250"/>
                      <a:gd name="connsiteX380" fmla="*/ 533812 w 1614899"/>
                      <a:gd name="connsiteY380" fmla="*/ 740569 h 1619250"/>
                      <a:gd name="connsiteX381" fmla="*/ 519524 w 1614899"/>
                      <a:gd name="connsiteY381" fmla="*/ 731044 h 1619250"/>
                      <a:gd name="connsiteX382" fmla="*/ 512381 w 1614899"/>
                      <a:gd name="connsiteY382" fmla="*/ 735806 h 1619250"/>
                      <a:gd name="connsiteX383" fmla="*/ 505237 w 1614899"/>
                      <a:gd name="connsiteY383" fmla="*/ 738187 h 1619250"/>
                      <a:gd name="connsiteX384" fmla="*/ 507618 w 1614899"/>
                      <a:gd name="connsiteY384" fmla="*/ 723900 h 1619250"/>
                      <a:gd name="connsiteX385" fmla="*/ 505237 w 1614899"/>
                      <a:gd name="connsiteY385" fmla="*/ 688181 h 1619250"/>
                      <a:gd name="connsiteX386" fmla="*/ 493331 w 1614899"/>
                      <a:gd name="connsiteY386" fmla="*/ 666750 h 1619250"/>
                      <a:gd name="connsiteX387" fmla="*/ 486187 w 1614899"/>
                      <a:gd name="connsiteY387" fmla="*/ 659606 h 1619250"/>
                      <a:gd name="connsiteX388" fmla="*/ 481424 w 1614899"/>
                      <a:gd name="connsiteY388" fmla="*/ 652462 h 1619250"/>
                      <a:gd name="connsiteX389" fmla="*/ 479043 w 1614899"/>
                      <a:gd name="connsiteY389" fmla="*/ 614362 h 1619250"/>
                      <a:gd name="connsiteX390" fmla="*/ 474281 w 1614899"/>
                      <a:gd name="connsiteY390" fmla="*/ 595312 h 1619250"/>
                      <a:gd name="connsiteX391" fmla="*/ 467137 w 1614899"/>
                      <a:gd name="connsiteY391" fmla="*/ 578644 h 1619250"/>
                      <a:gd name="connsiteX392" fmla="*/ 459993 w 1614899"/>
                      <a:gd name="connsiteY392" fmla="*/ 571500 h 1619250"/>
                      <a:gd name="connsiteX393" fmla="*/ 440943 w 1614899"/>
                      <a:gd name="connsiteY393" fmla="*/ 554831 h 1619250"/>
                      <a:gd name="connsiteX394" fmla="*/ 426656 w 1614899"/>
                      <a:gd name="connsiteY394" fmla="*/ 550069 h 1619250"/>
                      <a:gd name="connsiteX395" fmla="*/ 424274 w 1614899"/>
                      <a:gd name="connsiteY395" fmla="*/ 557212 h 1619250"/>
                      <a:gd name="connsiteX396" fmla="*/ 414749 w 1614899"/>
                      <a:gd name="connsiteY396" fmla="*/ 552450 h 1619250"/>
                      <a:gd name="connsiteX397" fmla="*/ 407606 w 1614899"/>
                      <a:gd name="connsiteY397" fmla="*/ 545306 h 1619250"/>
                      <a:gd name="connsiteX398" fmla="*/ 390937 w 1614899"/>
                      <a:gd name="connsiteY398" fmla="*/ 535781 h 1619250"/>
                      <a:gd name="connsiteX399" fmla="*/ 383793 w 1614899"/>
                      <a:gd name="connsiteY399" fmla="*/ 528637 h 1619250"/>
                      <a:gd name="connsiteX400" fmla="*/ 374268 w 1614899"/>
                      <a:gd name="connsiteY400" fmla="*/ 526256 h 1619250"/>
                      <a:gd name="connsiteX401" fmla="*/ 352837 w 1614899"/>
                      <a:gd name="connsiteY401" fmla="*/ 519112 h 1619250"/>
                      <a:gd name="connsiteX402" fmla="*/ 345693 w 1614899"/>
                      <a:gd name="connsiteY402" fmla="*/ 516731 h 1619250"/>
                      <a:gd name="connsiteX403" fmla="*/ 338549 w 1614899"/>
                      <a:gd name="connsiteY403" fmla="*/ 514350 h 1619250"/>
                      <a:gd name="connsiteX404" fmla="*/ 326643 w 1614899"/>
                      <a:gd name="connsiteY404" fmla="*/ 504825 h 1619250"/>
                      <a:gd name="connsiteX405" fmla="*/ 321881 w 1614899"/>
                      <a:gd name="connsiteY405" fmla="*/ 497681 h 1619250"/>
                      <a:gd name="connsiteX406" fmla="*/ 314737 w 1614899"/>
                      <a:gd name="connsiteY406" fmla="*/ 490537 h 1619250"/>
                      <a:gd name="connsiteX407" fmla="*/ 307593 w 1614899"/>
                      <a:gd name="connsiteY407" fmla="*/ 485775 h 1619250"/>
                      <a:gd name="connsiteX408" fmla="*/ 293306 w 1614899"/>
                      <a:gd name="connsiteY408" fmla="*/ 481012 h 1619250"/>
                      <a:gd name="connsiteX409" fmla="*/ 269493 w 1614899"/>
                      <a:gd name="connsiteY409" fmla="*/ 483394 h 1619250"/>
                      <a:gd name="connsiteX410" fmla="*/ 259968 w 1614899"/>
                      <a:gd name="connsiteY410" fmla="*/ 490537 h 1619250"/>
                      <a:gd name="connsiteX411" fmla="*/ 243299 w 1614899"/>
                      <a:gd name="connsiteY411" fmla="*/ 497681 h 1619250"/>
                      <a:gd name="connsiteX412" fmla="*/ 236156 w 1614899"/>
                      <a:gd name="connsiteY412" fmla="*/ 502444 h 1619250"/>
                      <a:gd name="connsiteX413" fmla="*/ 233774 w 1614899"/>
                      <a:gd name="connsiteY413" fmla="*/ 509587 h 1619250"/>
                      <a:gd name="connsiteX414" fmla="*/ 231393 w 1614899"/>
                      <a:gd name="connsiteY414" fmla="*/ 519112 h 1619250"/>
                      <a:gd name="connsiteX415" fmla="*/ 224249 w 1614899"/>
                      <a:gd name="connsiteY415" fmla="*/ 521494 h 1619250"/>
                      <a:gd name="connsiteX416" fmla="*/ 209962 w 1614899"/>
                      <a:gd name="connsiteY416" fmla="*/ 528637 h 1619250"/>
                      <a:gd name="connsiteX417" fmla="*/ 200437 w 1614899"/>
                      <a:gd name="connsiteY417" fmla="*/ 542925 h 1619250"/>
                      <a:gd name="connsiteX418" fmla="*/ 195674 w 1614899"/>
                      <a:gd name="connsiteY418" fmla="*/ 557212 h 1619250"/>
                      <a:gd name="connsiteX419" fmla="*/ 188531 w 1614899"/>
                      <a:gd name="connsiteY419" fmla="*/ 559594 h 1619250"/>
                      <a:gd name="connsiteX420" fmla="*/ 176624 w 1614899"/>
                      <a:gd name="connsiteY420" fmla="*/ 564356 h 1619250"/>
                      <a:gd name="connsiteX421" fmla="*/ 164718 w 1614899"/>
                      <a:gd name="connsiteY421" fmla="*/ 566737 h 1619250"/>
                      <a:gd name="connsiteX422" fmla="*/ 157574 w 1614899"/>
                      <a:gd name="connsiteY422" fmla="*/ 569119 h 1619250"/>
                      <a:gd name="connsiteX423" fmla="*/ 148049 w 1614899"/>
                      <a:gd name="connsiteY423" fmla="*/ 571500 h 1619250"/>
                      <a:gd name="connsiteX424" fmla="*/ 140906 w 1614899"/>
                      <a:gd name="connsiteY424" fmla="*/ 573881 h 1619250"/>
                      <a:gd name="connsiteX425" fmla="*/ 121856 w 1614899"/>
                      <a:gd name="connsiteY425" fmla="*/ 576262 h 1619250"/>
                      <a:gd name="connsiteX426" fmla="*/ 119474 w 1614899"/>
                      <a:gd name="connsiteY426" fmla="*/ 571500 h 1619250"/>
                      <a:gd name="connsiteX427" fmla="*/ 128999 w 1614899"/>
                      <a:gd name="connsiteY427" fmla="*/ 557212 h 1619250"/>
                      <a:gd name="connsiteX428" fmla="*/ 131381 w 1614899"/>
                      <a:gd name="connsiteY428" fmla="*/ 550069 h 1619250"/>
                      <a:gd name="connsiteX429" fmla="*/ 140906 w 1614899"/>
                      <a:gd name="connsiteY429" fmla="*/ 535781 h 1619250"/>
                      <a:gd name="connsiteX430" fmla="*/ 133762 w 1614899"/>
                      <a:gd name="connsiteY430" fmla="*/ 533400 h 1619250"/>
                      <a:gd name="connsiteX431" fmla="*/ 128999 w 1614899"/>
                      <a:gd name="connsiteY431" fmla="*/ 516731 h 1619250"/>
                      <a:gd name="connsiteX432" fmla="*/ 69468 w 1614899"/>
                      <a:gd name="connsiteY432" fmla="*/ 514350 h 1619250"/>
                      <a:gd name="connsiteX433" fmla="*/ 67087 w 1614899"/>
                      <a:gd name="connsiteY433" fmla="*/ 507206 h 1619250"/>
                      <a:gd name="connsiteX434" fmla="*/ 52799 w 1614899"/>
                      <a:gd name="connsiteY434" fmla="*/ 497681 h 1619250"/>
                      <a:gd name="connsiteX435" fmla="*/ 55181 w 1614899"/>
                      <a:gd name="connsiteY435" fmla="*/ 488156 h 1619250"/>
                      <a:gd name="connsiteX436" fmla="*/ 40893 w 1614899"/>
                      <a:gd name="connsiteY436" fmla="*/ 483394 h 1619250"/>
                      <a:gd name="connsiteX437" fmla="*/ 38512 w 1614899"/>
                      <a:gd name="connsiteY437" fmla="*/ 471487 h 1619250"/>
                      <a:gd name="connsiteX438" fmla="*/ 36131 w 1614899"/>
                      <a:gd name="connsiteY438" fmla="*/ 464344 h 1619250"/>
                      <a:gd name="connsiteX439" fmla="*/ 38512 w 1614899"/>
                      <a:gd name="connsiteY439" fmla="*/ 452437 h 1619250"/>
                      <a:gd name="connsiteX440" fmla="*/ 38512 w 1614899"/>
                      <a:gd name="connsiteY440" fmla="*/ 428625 h 1619250"/>
                      <a:gd name="connsiteX441" fmla="*/ 45656 w 1614899"/>
                      <a:gd name="connsiteY441" fmla="*/ 426244 h 1619250"/>
                      <a:gd name="connsiteX442" fmla="*/ 52799 w 1614899"/>
                      <a:gd name="connsiteY442" fmla="*/ 421481 h 1619250"/>
                      <a:gd name="connsiteX443" fmla="*/ 59943 w 1614899"/>
                      <a:gd name="connsiteY443" fmla="*/ 419100 h 1619250"/>
                      <a:gd name="connsiteX444" fmla="*/ 64706 w 1614899"/>
                      <a:gd name="connsiteY444" fmla="*/ 411956 h 1619250"/>
                      <a:gd name="connsiteX445" fmla="*/ 55181 w 1614899"/>
                      <a:gd name="connsiteY445" fmla="*/ 392906 h 1619250"/>
                      <a:gd name="connsiteX446" fmla="*/ 40893 w 1614899"/>
                      <a:gd name="connsiteY446" fmla="*/ 388144 h 1619250"/>
                      <a:gd name="connsiteX447" fmla="*/ 33749 w 1614899"/>
                      <a:gd name="connsiteY447" fmla="*/ 390525 h 1619250"/>
                      <a:gd name="connsiteX448" fmla="*/ 28987 w 1614899"/>
                      <a:gd name="connsiteY448" fmla="*/ 390525 h 1619250"/>
                      <a:gd name="connsiteX449" fmla="*/ 21843 w 1614899"/>
                      <a:gd name="connsiteY449" fmla="*/ 388144 h 1619250"/>
                      <a:gd name="connsiteX450" fmla="*/ 14699 w 1614899"/>
                      <a:gd name="connsiteY450" fmla="*/ 364331 h 1619250"/>
                      <a:gd name="connsiteX451" fmla="*/ 2793 w 1614899"/>
                      <a:gd name="connsiteY451" fmla="*/ 361950 h 1619250"/>
                      <a:gd name="connsiteX452" fmla="*/ 2793 w 1614899"/>
                      <a:gd name="connsiteY452" fmla="*/ 345281 h 1619250"/>
                      <a:gd name="connsiteX453" fmla="*/ 17081 w 1614899"/>
                      <a:gd name="connsiteY453" fmla="*/ 340519 h 1619250"/>
                      <a:gd name="connsiteX454" fmla="*/ 24224 w 1614899"/>
                      <a:gd name="connsiteY454" fmla="*/ 347662 h 1619250"/>
                      <a:gd name="connsiteX455" fmla="*/ 40893 w 1614899"/>
                      <a:gd name="connsiteY455" fmla="*/ 342900 h 1619250"/>
                      <a:gd name="connsiteX456" fmla="*/ 57562 w 1614899"/>
                      <a:gd name="connsiteY456" fmla="*/ 333375 h 1619250"/>
                      <a:gd name="connsiteX457" fmla="*/ 64706 w 1614899"/>
                      <a:gd name="connsiteY457" fmla="*/ 328612 h 1619250"/>
                      <a:gd name="connsiteX458" fmla="*/ 71849 w 1614899"/>
                      <a:gd name="connsiteY458" fmla="*/ 326231 h 1619250"/>
                      <a:gd name="connsiteX459" fmla="*/ 90899 w 1614899"/>
                      <a:gd name="connsiteY459" fmla="*/ 321469 h 1619250"/>
                      <a:gd name="connsiteX460" fmla="*/ 86137 w 1614899"/>
                      <a:gd name="connsiteY460" fmla="*/ 311944 h 1619250"/>
                      <a:gd name="connsiteX461" fmla="*/ 88518 w 1614899"/>
                      <a:gd name="connsiteY461" fmla="*/ 292894 h 1619250"/>
                      <a:gd name="connsiteX462" fmla="*/ 90899 w 1614899"/>
                      <a:gd name="connsiteY462" fmla="*/ 285750 h 1619250"/>
                      <a:gd name="connsiteX463" fmla="*/ 76612 w 1614899"/>
                      <a:gd name="connsiteY463" fmla="*/ 280987 h 1619250"/>
                      <a:gd name="connsiteX464" fmla="*/ 71849 w 1614899"/>
                      <a:gd name="connsiteY464" fmla="*/ 273844 h 1619250"/>
                      <a:gd name="connsiteX465" fmla="*/ 67087 w 1614899"/>
                      <a:gd name="connsiteY465" fmla="*/ 250031 h 1619250"/>
                      <a:gd name="connsiteX466" fmla="*/ 45656 w 1614899"/>
                      <a:gd name="connsiteY466" fmla="*/ 250031 h 1619250"/>
                      <a:gd name="connsiteX467" fmla="*/ 40893 w 1614899"/>
                      <a:gd name="connsiteY467" fmla="*/ 242887 h 1619250"/>
                      <a:gd name="connsiteX468" fmla="*/ 43274 w 1614899"/>
                      <a:gd name="connsiteY468" fmla="*/ 223837 h 1619250"/>
                      <a:gd name="connsiteX469" fmla="*/ 57562 w 1614899"/>
                      <a:gd name="connsiteY469" fmla="*/ 211931 h 1619250"/>
                      <a:gd name="connsiteX470" fmla="*/ 74231 w 1614899"/>
                      <a:gd name="connsiteY470" fmla="*/ 200025 h 1619250"/>
                      <a:gd name="connsiteX471" fmla="*/ 81374 w 1614899"/>
                      <a:gd name="connsiteY471" fmla="*/ 202406 h 1619250"/>
                      <a:gd name="connsiteX472" fmla="*/ 83756 w 1614899"/>
                      <a:gd name="connsiteY472" fmla="*/ 209550 h 1619250"/>
                      <a:gd name="connsiteX473" fmla="*/ 102806 w 1614899"/>
                      <a:gd name="connsiteY473" fmla="*/ 204787 h 1619250"/>
                      <a:gd name="connsiteX474" fmla="*/ 109949 w 1614899"/>
                      <a:gd name="connsiteY474" fmla="*/ 200025 h 1619250"/>
                      <a:gd name="connsiteX475" fmla="*/ 119474 w 1614899"/>
                      <a:gd name="connsiteY475" fmla="*/ 197644 h 1619250"/>
                      <a:gd name="connsiteX476" fmla="*/ 133762 w 1614899"/>
                      <a:gd name="connsiteY476" fmla="*/ 192881 h 1619250"/>
                      <a:gd name="connsiteX477" fmla="*/ 140906 w 1614899"/>
                      <a:gd name="connsiteY477" fmla="*/ 190500 h 1619250"/>
                      <a:gd name="connsiteX478" fmla="*/ 148049 w 1614899"/>
                      <a:gd name="connsiteY478" fmla="*/ 195262 h 1619250"/>
                      <a:gd name="connsiteX479" fmla="*/ 155193 w 1614899"/>
                      <a:gd name="connsiteY479" fmla="*/ 204787 h 1619250"/>
                      <a:gd name="connsiteX480" fmla="*/ 164718 w 1614899"/>
                      <a:gd name="connsiteY480" fmla="*/ 202406 h 1619250"/>
                      <a:gd name="connsiteX481" fmla="*/ 190912 w 1614899"/>
                      <a:gd name="connsiteY481" fmla="*/ 200025 h 1619250"/>
                      <a:gd name="connsiteX482" fmla="*/ 193293 w 1614899"/>
                      <a:gd name="connsiteY482" fmla="*/ 192881 h 1619250"/>
                      <a:gd name="connsiteX483" fmla="*/ 198056 w 1614899"/>
                      <a:gd name="connsiteY483" fmla="*/ 185737 h 1619250"/>
                      <a:gd name="connsiteX484" fmla="*/ 195674 w 1614899"/>
                      <a:gd name="connsiteY484" fmla="*/ 178594 h 1619250"/>
                      <a:gd name="connsiteX485" fmla="*/ 186149 w 1614899"/>
                      <a:gd name="connsiteY485" fmla="*/ 159544 h 1619250"/>
                      <a:gd name="connsiteX486" fmla="*/ 217106 w 1614899"/>
                      <a:gd name="connsiteY486" fmla="*/ 152400 h 1619250"/>
                      <a:gd name="connsiteX487" fmla="*/ 209962 w 1614899"/>
                      <a:gd name="connsiteY487" fmla="*/ 145256 h 1619250"/>
                      <a:gd name="connsiteX488" fmla="*/ 202818 w 1614899"/>
                      <a:gd name="connsiteY488" fmla="*/ 140494 h 1619250"/>
                      <a:gd name="connsiteX489" fmla="*/ 212343 w 1614899"/>
                      <a:gd name="connsiteY489" fmla="*/ 133350 h 1619250"/>
                      <a:gd name="connsiteX490" fmla="*/ 233774 w 1614899"/>
                      <a:gd name="connsiteY490" fmla="*/ 123825 h 1619250"/>
                      <a:gd name="connsiteX491" fmla="*/ 238537 w 1614899"/>
                      <a:gd name="connsiteY491" fmla="*/ 116681 h 1619250"/>
                      <a:gd name="connsiteX492" fmla="*/ 240918 w 1614899"/>
                      <a:gd name="connsiteY492" fmla="*/ 107156 h 1619250"/>
                      <a:gd name="connsiteX493" fmla="*/ 248062 w 1614899"/>
                      <a:gd name="connsiteY493" fmla="*/ 109537 h 1619250"/>
                      <a:gd name="connsiteX494" fmla="*/ 250443 w 1614899"/>
                      <a:gd name="connsiteY494" fmla="*/ 116681 h 1619250"/>
                      <a:gd name="connsiteX495" fmla="*/ 252824 w 1614899"/>
                      <a:gd name="connsiteY495" fmla="*/ 130969 h 1619250"/>
                      <a:gd name="connsiteX496" fmla="*/ 269493 w 1614899"/>
                      <a:gd name="connsiteY496" fmla="*/ 138112 h 1619250"/>
                      <a:gd name="connsiteX497" fmla="*/ 271874 w 1614899"/>
                      <a:gd name="connsiteY497" fmla="*/ 145256 h 1619250"/>
                      <a:gd name="connsiteX498" fmla="*/ 264731 w 1614899"/>
                      <a:gd name="connsiteY498" fmla="*/ 152400 h 1619250"/>
                      <a:gd name="connsiteX499" fmla="*/ 262349 w 1614899"/>
                      <a:gd name="connsiteY499" fmla="*/ 159544 h 1619250"/>
                      <a:gd name="connsiteX500" fmla="*/ 264731 w 1614899"/>
                      <a:gd name="connsiteY500" fmla="*/ 173831 h 1619250"/>
                      <a:gd name="connsiteX501" fmla="*/ 274256 w 1614899"/>
                      <a:gd name="connsiteY501" fmla="*/ 176212 h 1619250"/>
                      <a:gd name="connsiteX502" fmla="*/ 295687 w 1614899"/>
                      <a:gd name="connsiteY502" fmla="*/ 178594 h 1619250"/>
                      <a:gd name="connsiteX503" fmla="*/ 293306 w 1614899"/>
                      <a:gd name="connsiteY503" fmla="*/ 185737 h 1619250"/>
                      <a:gd name="connsiteX504" fmla="*/ 295687 w 1614899"/>
                      <a:gd name="connsiteY504" fmla="*/ 200025 h 1619250"/>
                      <a:gd name="connsiteX505" fmla="*/ 302831 w 1614899"/>
                      <a:gd name="connsiteY505" fmla="*/ 216694 h 1619250"/>
                      <a:gd name="connsiteX506" fmla="*/ 307593 w 1614899"/>
                      <a:gd name="connsiteY506" fmla="*/ 223837 h 1619250"/>
                      <a:gd name="connsiteX507" fmla="*/ 314737 w 1614899"/>
                      <a:gd name="connsiteY507" fmla="*/ 228600 h 1619250"/>
                      <a:gd name="connsiteX508" fmla="*/ 326643 w 1614899"/>
                      <a:gd name="connsiteY508" fmla="*/ 226219 h 1619250"/>
                      <a:gd name="connsiteX509" fmla="*/ 321881 w 1614899"/>
                      <a:gd name="connsiteY509" fmla="*/ 200025 h 1619250"/>
                      <a:gd name="connsiteX510" fmla="*/ 314737 w 1614899"/>
                      <a:gd name="connsiteY510" fmla="*/ 197644 h 1619250"/>
                      <a:gd name="connsiteX511" fmla="*/ 324262 w 1614899"/>
                      <a:gd name="connsiteY511" fmla="*/ 180975 h 1619250"/>
                      <a:gd name="connsiteX512" fmla="*/ 329024 w 1614899"/>
                      <a:gd name="connsiteY512" fmla="*/ 173831 h 1619250"/>
                      <a:gd name="connsiteX513" fmla="*/ 343312 w 1614899"/>
                      <a:gd name="connsiteY513" fmla="*/ 159544 h 1619250"/>
                      <a:gd name="connsiteX514" fmla="*/ 348074 w 1614899"/>
                      <a:gd name="connsiteY514" fmla="*/ 145256 h 1619250"/>
                      <a:gd name="connsiteX515" fmla="*/ 350456 w 1614899"/>
                      <a:gd name="connsiteY515" fmla="*/ 114300 h 1619250"/>
                      <a:gd name="connsiteX516" fmla="*/ 357599 w 1614899"/>
                      <a:gd name="connsiteY516" fmla="*/ 111919 h 1619250"/>
                      <a:gd name="connsiteX517" fmla="*/ 364743 w 1614899"/>
                      <a:gd name="connsiteY517" fmla="*/ 114300 h 1619250"/>
                      <a:gd name="connsiteX518" fmla="*/ 371887 w 1614899"/>
                      <a:gd name="connsiteY518" fmla="*/ 114300 h 1619250"/>
                      <a:gd name="connsiteX519" fmla="*/ 381412 w 1614899"/>
                      <a:gd name="connsiteY519" fmla="*/ 138112 h 1619250"/>
                      <a:gd name="connsiteX520" fmla="*/ 395699 w 1614899"/>
                      <a:gd name="connsiteY520" fmla="*/ 150019 h 1619250"/>
                      <a:gd name="connsiteX521" fmla="*/ 409987 w 1614899"/>
                      <a:gd name="connsiteY521" fmla="*/ 147637 h 1619250"/>
                      <a:gd name="connsiteX522" fmla="*/ 412368 w 1614899"/>
                      <a:gd name="connsiteY522" fmla="*/ 133350 h 1619250"/>
                      <a:gd name="connsiteX523" fmla="*/ 426656 w 1614899"/>
                      <a:gd name="connsiteY523" fmla="*/ 128587 h 1619250"/>
                      <a:gd name="connsiteX524" fmla="*/ 433799 w 1614899"/>
                      <a:gd name="connsiteY524" fmla="*/ 142875 h 1619250"/>
                      <a:gd name="connsiteX525" fmla="*/ 448087 w 1614899"/>
                      <a:gd name="connsiteY525" fmla="*/ 161925 h 1619250"/>
                      <a:gd name="connsiteX526" fmla="*/ 464756 w 1614899"/>
                      <a:gd name="connsiteY526" fmla="*/ 159544 h 1619250"/>
                      <a:gd name="connsiteX527" fmla="*/ 452849 w 1614899"/>
                      <a:gd name="connsiteY527" fmla="*/ 138112 h 1619250"/>
                      <a:gd name="connsiteX528" fmla="*/ 450468 w 1614899"/>
                      <a:gd name="connsiteY528" fmla="*/ 111919 h 1619250"/>
                      <a:gd name="connsiteX529" fmla="*/ 443324 w 1614899"/>
                      <a:gd name="connsiteY529" fmla="*/ 107156 h 1619250"/>
                      <a:gd name="connsiteX530" fmla="*/ 440943 w 1614899"/>
                      <a:gd name="connsiteY530" fmla="*/ 100012 h 1619250"/>
                      <a:gd name="connsiteX531" fmla="*/ 450468 w 1614899"/>
                      <a:gd name="connsiteY531" fmla="*/ 88106 h 1619250"/>
                      <a:gd name="connsiteX532" fmla="*/ 476662 w 1614899"/>
                      <a:gd name="connsiteY532" fmla="*/ 90487 h 1619250"/>
                      <a:gd name="connsiteX533" fmla="*/ 486187 w 1614899"/>
                      <a:gd name="connsiteY533" fmla="*/ 92869 h 1619250"/>
                      <a:gd name="connsiteX534" fmla="*/ 493331 w 1614899"/>
                      <a:gd name="connsiteY534" fmla="*/ 97631 h 1619250"/>
                      <a:gd name="connsiteX535" fmla="*/ 502856 w 1614899"/>
                      <a:gd name="connsiteY535" fmla="*/ 95250 h 1619250"/>
                      <a:gd name="connsiteX536" fmla="*/ 509999 w 1614899"/>
                      <a:gd name="connsiteY536" fmla="*/ 90487 h 1619250"/>
                      <a:gd name="connsiteX537" fmla="*/ 507618 w 1614899"/>
                      <a:gd name="connsiteY537" fmla="*/ 83344 h 1619250"/>
                      <a:gd name="connsiteX538" fmla="*/ 500474 w 1614899"/>
                      <a:gd name="connsiteY538" fmla="*/ 80962 h 1619250"/>
                      <a:gd name="connsiteX539" fmla="*/ 493331 w 1614899"/>
                      <a:gd name="connsiteY539" fmla="*/ 76200 h 1619250"/>
                      <a:gd name="connsiteX540" fmla="*/ 495712 w 1614899"/>
                      <a:gd name="connsiteY540" fmla="*/ 102394 h 1619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Lst>
                    <a:rect l="l" t="t" r="r" b="b"/>
                    <a:pathLst>
                      <a:path w="1614899" h="1619250">
                        <a:moveTo>
                          <a:pt x="495712" y="102394"/>
                        </a:moveTo>
                        <a:cubicBezTo>
                          <a:pt x="497300" y="104775"/>
                          <a:pt x="500941" y="94701"/>
                          <a:pt x="502856" y="90487"/>
                        </a:cubicBezTo>
                        <a:cubicBezTo>
                          <a:pt x="504933" y="85917"/>
                          <a:pt x="507618" y="76200"/>
                          <a:pt x="507618" y="76200"/>
                        </a:cubicBezTo>
                        <a:cubicBezTo>
                          <a:pt x="505237" y="75406"/>
                          <a:pt x="502984" y="73819"/>
                          <a:pt x="500474" y="73819"/>
                        </a:cubicBezTo>
                        <a:cubicBezTo>
                          <a:pt x="489891" y="73819"/>
                          <a:pt x="495184" y="81756"/>
                          <a:pt x="490949" y="69056"/>
                        </a:cubicBezTo>
                        <a:cubicBezTo>
                          <a:pt x="497301" y="50007"/>
                          <a:pt x="492537" y="72230"/>
                          <a:pt x="486187" y="59531"/>
                        </a:cubicBezTo>
                        <a:cubicBezTo>
                          <a:pt x="485064" y="57286"/>
                          <a:pt x="487774" y="54768"/>
                          <a:pt x="488568" y="52387"/>
                        </a:cubicBezTo>
                        <a:cubicBezTo>
                          <a:pt x="493094" y="11648"/>
                          <a:pt x="485036" y="33352"/>
                          <a:pt x="498093" y="38100"/>
                        </a:cubicBezTo>
                        <a:cubicBezTo>
                          <a:pt x="504107" y="40287"/>
                          <a:pt x="510793" y="39687"/>
                          <a:pt x="517143" y="40481"/>
                        </a:cubicBezTo>
                        <a:cubicBezTo>
                          <a:pt x="519524" y="41275"/>
                          <a:pt x="521873" y="42172"/>
                          <a:pt x="524287" y="42862"/>
                        </a:cubicBezTo>
                        <a:cubicBezTo>
                          <a:pt x="527434" y="43761"/>
                          <a:pt x="532348" y="42317"/>
                          <a:pt x="533812" y="45244"/>
                        </a:cubicBezTo>
                        <a:cubicBezTo>
                          <a:pt x="535092" y="47804"/>
                          <a:pt x="530637" y="50006"/>
                          <a:pt x="529049" y="52387"/>
                        </a:cubicBezTo>
                        <a:cubicBezTo>
                          <a:pt x="532420" y="53511"/>
                          <a:pt x="542724" y="57150"/>
                          <a:pt x="545718" y="57150"/>
                        </a:cubicBezTo>
                        <a:cubicBezTo>
                          <a:pt x="550546" y="57150"/>
                          <a:pt x="555243" y="55563"/>
                          <a:pt x="560006" y="54769"/>
                        </a:cubicBezTo>
                        <a:cubicBezTo>
                          <a:pt x="562387" y="53181"/>
                          <a:pt x="565125" y="52030"/>
                          <a:pt x="567149" y="50006"/>
                        </a:cubicBezTo>
                        <a:cubicBezTo>
                          <a:pt x="573265" y="43889"/>
                          <a:pt x="574689" y="34134"/>
                          <a:pt x="576674" y="26194"/>
                        </a:cubicBezTo>
                        <a:cubicBezTo>
                          <a:pt x="579055" y="26988"/>
                          <a:pt x="581308" y="28575"/>
                          <a:pt x="583818" y="28575"/>
                        </a:cubicBezTo>
                        <a:cubicBezTo>
                          <a:pt x="586328" y="28575"/>
                          <a:pt x="588548" y="26884"/>
                          <a:pt x="590962" y="26194"/>
                        </a:cubicBezTo>
                        <a:cubicBezTo>
                          <a:pt x="594109" y="25295"/>
                          <a:pt x="597312" y="24606"/>
                          <a:pt x="600487" y="23812"/>
                        </a:cubicBezTo>
                        <a:cubicBezTo>
                          <a:pt x="602868" y="22225"/>
                          <a:pt x="605071" y="20330"/>
                          <a:pt x="607631" y="19050"/>
                        </a:cubicBezTo>
                        <a:cubicBezTo>
                          <a:pt x="613073" y="16329"/>
                          <a:pt x="621249" y="15645"/>
                          <a:pt x="626681" y="14287"/>
                        </a:cubicBezTo>
                        <a:cubicBezTo>
                          <a:pt x="629116" y="13678"/>
                          <a:pt x="631443" y="12700"/>
                          <a:pt x="633824" y="11906"/>
                        </a:cubicBezTo>
                        <a:lnTo>
                          <a:pt x="648112" y="16669"/>
                        </a:lnTo>
                        <a:lnTo>
                          <a:pt x="655256" y="19050"/>
                        </a:lnTo>
                        <a:cubicBezTo>
                          <a:pt x="657637" y="20637"/>
                          <a:pt x="659606" y="24433"/>
                          <a:pt x="662399" y="23812"/>
                        </a:cubicBezTo>
                        <a:cubicBezTo>
                          <a:pt x="683811" y="19053"/>
                          <a:pt x="669553" y="14285"/>
                          <a:pt x="683831" y="9525"/>
                        </a:cubicBezTo>
                        <a:lnTo>
                          <a:pt x="705262" y="2381"/>
                        </a:lnTo>
                        <a:lnTo>
                          <a:pt x="712406" y="0"/>
                        </a:lnTo>
                        <a:cubicBezTo>
                          <a:pt x="720776" y="12557"/>
                          <a:pt x="717529" y="2525"/>
                          <a:pt x="710024" y="11906"/>
                        </a:cubicBezTo>
                        <a:cubicBezTo>
                          <a:pt x="708456" y="13866"/>
                          <a:pt x="708437" y="16669"/>
                          <a:pt x="707643" y="19050"/>
                        </a:cubicBezTo>
                        <a:cubicBezTo>
                          <a:pt x="710024" y="20637"/>
                          <a:pt x="714226" y="21006"/>
                          <a:pt x="714787" y="23812"/>
                        </a:cubicBezTo>
                        <a:cubicBezTo>
                          <a:pt x="716124" y="30496"/>
                          <a:pt x="700279" y="31819"/>
                          <a:pt x="712406" y="40481"/>
                        </a:cubicBezTo>
                        <a:cubicBezTo>
                          <a:pt x="716335" y="43287"/>
                          <a:pt x="721931" y="42068"/>
                          <a:pt x="726693" y="42862"/>
                        </a:cubicBezTo>
                        <a:cubicBezTo>
                          <a:pt x="732491" y="60255"/>
                          <a:pt x="726586" y="58367"/>
                          <a:pt x="740981" y="54769"/>
                        </a:cubicBezTo>
                        <a:cubicBezTo>
                          <a:pt x="740187" y="60325"/>
                          <a:pt x="734338" y="67784"/>
                          <a:pt x="738599" y="71437"/>
                        </a:cubicBezTo>
                        <a:cubicBezTo>
                          <a:pt x="743458" y="75602"/>
                          <a:pt x="751250" y="69056"/>
                          <a:pt x="757649" y="69056"/>
                        </a:cubicBezTo>
                        <a:cubicBezTo>
                          <a:pt x="763262" y="69056"/>
                          <a:pt x="768762" y="70643"/>
                          <a:pt x="774318" y="71437"/>
                        </a:cubicBezTo>
                        <a:lnTo>
                          <a:pt x="795749" y="78581"/>
                        </a:lnTo>
                        <a:lnTo>
                          <a:pt x="802893" y="80962"/>
                        </a:lnTo>
                        <a:cubicBezTo>
                          <a:pt x="821488" y="93359"/>
                          <a:pt x="803342" y="83344"/>
                          <a:pt x="848137" y="83344"/>
                        </a:cubicBezTo>
                        <a:cubicBezTo>
                          <a:pt x="868415" y="83344"/>
                          <a:pt x="871589" y="85836"/>
                          <a:pt x="888618" y="88106"/>
                        </a:cubicBezTo>
                        <a:cubicBezTo>
                          <a:pt x="895743" y="89056"/>
                          <a:pt x="902905" y="89693"/>
                          <a:pt x="910049" y="90487"/>
                        </a:cubicBezTo>
                        <a:cubicBezTo>
                          <a:pt x="908462" y="92868"/>
                          <a:pt x="907522" y="95843"/>
                          <a:pt x="905287" y="97631"/>
                        </a:cubicBezTo>
                        <a:cubicBezTo>
                          <a:pt x="903327" y="99199"/>
                          <a:pt x="900388" y="98889"/>
                          <a:pt x="898143" y="100012"/>
                        </a:cubicBezTo>
                        <a:cubicBezTo>
                          <a:pt x="881697" y="108235"/>
                          <a:pt x="901299" y="102200"/>
                          <a:pt x="881474" y="107156"/>
                        </a:cubicBezTo>
                        <a:cubicBezTo>
                          <a:pt x="879093" y="108744"/>
                          <a:pt x="876119" y="109684"/>
                          <a:pt x="874331" y="111919"/>
                        </a:cubicBezTo>
                        <a:cubicBezTo>
                          <a:pt x="861186" y="128350"/>
                          <a:pt x="885277" y="110175"/>
                          <a:pt x="864806" y="123825"/>
                        </a:cubicBezTo>
                        <a:cubicBezTo>
                          <a:pt x="868165" y="164132"/>
                          <a:pt x="857401" y="150019"/>
                          <a:pt x="888618" y="150019"/>
                        </a:cubicBezTo>
                        <a:cubicBezTo>
                          <a:pt x="891891" y="150019"/>
                          <a:pt x="894968" y="151606"/>
                          <a:pt x="898143" y="152400"/>
                        </a:cubicBezTo>
                        <a:cubicBezTo>
                          <a:pt x="902654" y="165933"/>
                          <a:pt x="902299" y="157769"/>
                          <a:pt x="886237" y="173831"/>
                        </a:cubicBezTo>
                        <a:cubicBezTo>
                          <a:pt x="883856" y="176212"/>
                          <a:pt x="877505" y="177403"/>
                          <a:pt x="879093" y="180975"/>
                        </a:cubicBezTo>
                        <a:cubicBezTo>
                          <a:pt x="880681" y="184547"/>
                          <a:pt x="892191" y="194072"/>
                          <a:pt x="895763" y="195263"/>
                        </a:cubicBezTo>
                        <a:cubicBezTo>
                          <a:pt x="899335" y="196454"/>
                          <a:pt x="900127" y="184150"/>
                          <a:pt x="900524" y="188119"/>
                        </a:cubicBezTo>
                        <a:cubicBezTo>
                          <a:pt x="900921" y="192088"/>
                          <a:pt x="896159" y="212328"/>
                          <a:pt x="898143" y="219075"/>
                        </a:cubicBezTo>
                        <a:cubicBezTo>
                          <a:pt x="900127" y="225822"/>
                          <a:pt x="907668" y="225425"/>
                          <a:pt x="912431" y="228600"/>
                        </a:cubicBezTo>
                        <a:lnTo>
                          <a:pt x="919574" y="233362"/>
                        </a:lnTo>
                        <a:cubicBezTo>
                          <a:pt x="921122" y="238006"/>
                          <a:pt x="925002" y="245379"/>
                          <a:pt x="919574" y="250031"/>
                        </a:cubicBezTo>
                        <a:cubicBezTo>
                          <a:pt x="915763" y="253298"/>
                          <a:pt x="905287" y="254794"/>
                          <a:pt x="905287" y="254794"/>
                        </a:cubicBezTo>
                        <a:cubicBezTo>
                          <a:pt x="900943" y="241762"/>
                          <a:pt x="903947" y="241027"/>
                          <a:pt x="893381" y="235744"/>
                        </a:cubicBezTo>
                        <a:cubicBezTo>
                          <a:pt x="891136" y="234621"/>
                          <a:pt x="888618" y="234156"/>
                          <a:pt x="886237" y="233362"/>
                        </a:cubicBezTo>
                        <a:cubicBezTo>
                          <a:pt x="883062" y="234156"/>
                          <a:pt x="879026" y="233430"/>
                          <a:pt x="876712" y="235744"/>
                        </a:cubicBezTo>
                        <a:cubicBezTo>
                          <a:pt x="866995" y="245461"/>
                          <a:pt x="882595" y="248025"/>
                          <a:pt x="867187" y="242887"/>
                        </a:cubicBezTo>
                        <a:cubicBezTo>
                          <a:pt x="866393" y="240506"/>
                          <a:pt x="866374" y="237704"/>
                          <a:pt x="864806" y="235744"/>
                        </a:cubicBezTo>
                        <a:cubicBezTo>
                          <a:pt x="861448" y="231546"/>
                          <a:pt x="855225" y="230169"/>
                          <a:pt x="850518" y="228600"/>
                        </a:cubicBezTo>
                        <a:cubicBezTo>
                          <a:pt x="832863" y="234484"/>
                          <a:pt x="840721" y="231117"/>
                          <a:pt x="826706" y="238125"/>
                        </a:cubicBezTo>
                        <a:cubicBezTo>
                          <a:pt x="828293" y="240506"/>
                          <a:pt x="832888" y="242784"/>
                          <a:pt x="831468" y="245269"/>
                        </a:cubicBezTo>
                        <a:cubicBezTo>
                          <a:pt x="828628" y="250239"/>
                          <a:pt x="822611" y="252984"/>
                          <a:pt x="817181" y="254794"/>
                        </a:cubicBezTo>
                        <a:cubicBezTo>
                          <a:pt x="812418" y="256381"/>
                          <a:pt x="807383" y="257311"/>
                          <a:pt x="802893" y="259556"/>
                        </a:cubicBezTo>
                        <a:cubicBezTo>
                          <a:pt x="790441" y="265783"/>
                          <a:pt x="796812" y="263458"/>
                          <a:pt x="783843" y="266700"/>
                        </a:cubicBezTo>
                        <a:cubicBezTo>
                          <a:pt x="763369" y="280348"/>
                          <a:pt x="789273" y="263985"/>
                          <a:pt x="769556" y="273844"/>
                        </a:cubicBezTo>
                        <a:cubicBezTo>
                          <a:pt x="762923" y="277161"/>
                          <a:pt x="760537" y="280481"/>
                          <a:pt x="755268" y="285750"/>
                        </a:cubicBezTo>
                        <a:cubicBezTo>
                          <a:pt x="754474" y="282575"/>
                          <a:pt x="756034" y="277124"/>
                          <a:pt x="752887" y="276225"/>
                        </a:cubicBezTo>
                        <a:cubicBezTo>
                          <a:pt x="748060" y="274846"/>
                          <a:pt x="738599" y="280987"/>
                          <a:pt x="738599" y="280987"/>
                        </a:cubicBezTo>
                        <a:cubicBezTo>
                          <a:pt x="737012" y="283368"/>
                          <a:pt x="736072" y="286343"/>
                          <a:pt x="733837" y="288131"/>
                        </a:cubicBezTo>
                        <a:cubicBezTo>
                          <a:pt x="731877" y="289699"/>
                          <a:pt x="728261" y="288552"/>
                          <a:pt x="726693" y="290512"/>
                        </a:cubicBezTo>
                        <a:cubicBezTo>
                          <a:pt x="724649" y="293068"/>
                          <a:pt x="725106" y="296862"/>
                          <a:pt x="724312" y="300037"/>
                        </a:cubicBezTo>
                        <a:cubicBezTo>
                          <a:pt x="725106" y="302418"/>
                          <a:pt x="724208" y="306826"/>
                          <a:pt x="726693" y="307181"/>
                        </a:cubicBezTo>
                        <a:cubicBezTo>
                          <a:pt x="731663" y="307891"/>
                          <a:pt x="740981" y="302419"/>
                          <a:pt x="740981" y="302419"/>
                        </a:cubicBezTo>
                        <a:cubicBezTo>
                          <a:pt x="740187" y="300038"/>
                          <a:pt x="738599" y="297785"/>
                          <a:pt x="738599" y="295275"/>
                        </a:cubicBezTo>
                        <a:cubicBezTo>
                          <a:pt x="738599" y="287589"/>
                          <a:pt x="741856" y="284438"/>
                          <a:pt x="745743" y="278606"/>
                        </a:cubicBezTo>
                        <a:cubicBezTo>
                          <a:pt x="748918" y="279400"/>
                          <a:pt x="753304" y="278369"/>
                          <a:pt x="755268" y="280987"/>
                        </a:cubicBezTo>
                        <a:cubicBezTo>
                          <a:pt x="756774" y="282995"/>
                          <a:pt x="754010" y="285886"/>
                          <a:pt x="752887" y="288131"/>
                        </a:cubicBezTo>
                        <a:cubicBezTo>
                          <a:pt x="748579" y="296748"/>
                          <a:pt x="749220" y="294910"/>
                          <a:pt x="740981" y="297656"/>
                        </a:cubicBezTo>
                        <a:cubicBezTo>
                          <a:pt x="739393" y="300037"/>
                          <a:pt x="738453" y="303012"/>
                          <a:pt x="736218" y="304800"/>
                        </a:cubicBezTo>
                        <a:cubicBezTo>
                          <a:pt x="734258" y="306368"/>
                          <a:pt x="731319" y="306058"/>
                          <a:pt x="729074" y="307181"/>
                        </a:cubicBezTo>
                        <a:cubicBezTo>
                          <a:pt x="726514" y="308461"/>
                          <a:pt x="723519" y="308372"/>
                          <a:pt x="721931" y="311944"/>
                        </a:cubicBezTo>
                        <a:cubicBezTo>
                          <a:pt x="720344" y="315516"/>
                          <a:pt x="720740" y="324643"/>
                          <a:pt x="719549" y="328612"/>
                        </a:cubicBezTo>
                        <a:cubicBezTo>
                          <a:pt x="718358" y="332581"/>
                          <a:pt x="716374" y="333375"/>
                          <a:pt x="714787" y="335756"/>
                        </a:cubicBezTo>
                        <a:cubicBezTo>
                          <a:pt x="715581" y="338137"/>
                          <a:pt x="715079" y="341508"/>
                          <a:pt x="717168" y="342900"/>
                        </a:cubicBezTo>
                        <a:cubicBezTo>
                          <a:pt x="724830" y="348008"/>
                          <a:pt x="737072" y="342615"/>
                          <a:pt x="721931" y="347662"/>
                        </a:cubicBezTo>
                        <a:cubicBezTo>
                          <a:pt x="725588" y="353148"/>
                          <a:pt x="726168" y="357187"/>
                          <a:pt x="733837" y="357187"/>
                        </a:cubicBezTo>
                        <a:cubicBezTo>
                          <a:pt x="736347" y="357187"/>
                          <a:pt x="738600" y="355600"/>
                          <a:pt x="740981" y="354806"/>
                        </a:cubicBezTo>
                        <a:cubicBezTo>
                          <a:pt x="742746" y="352158"/>
                          <a:pt x="748469" y="338713"/>
                          <a:pt x="755268" y="350044"/>
                        </a:cubicBezTo>
                        <a:cubicBezTo>
                          <a:pt x="756952" y="352850"/>
                          <a:pt x="753681" y="356394"/>
                          <a:pt x="752887" y="359569"/>
                        </a:cubicBezTo>
                        <a:cubicBezTo>
                          <a:pt x="753681" y="363538"/>
                          <a:pt x="753023" y="368108"/>
                          <a:pt x="755268" y="371475"/>
                        </a:cubicBezTo>
                        <a:cubicBezTo>
                          <a:pt x="756660" y="373564"/>
                          <a:pt x="762767" y="371371"/>
                          <a:pt x="762412" y="373856"/>
                        </a:cubicBezTo>
                        <a:cubicBezTo>
                          <a:pt x="760502" y="387231"/>
                          <a:pt x="754368" y="387651"/>
                          <a:pt x="745743" y="390525"/>
                        </a:cubicBezTo>
                        <a:cubicBezTo>
                          <a:pt x="747331" y="392906"/>
                          <a:pt x="750506" y="394807"/>
                          <a:pt x="750506" y="397669"/>
                        </a:cubicBezTo>
                        <a:cubicBezTo>
                          <a:pt x="750506" y="402689"/>
                          <a:pt x="745743" y="411956"/>
                          <a:pt x="745743" y="411956"/>
                        </a:cubicBezTo>
                        <a:cubicBezTo>
                          <a:pt x="743257" y="410299"/>
                          <a:pt x="735397" y="404155"/>
                          <a:pt x="731456" y="404812"/>
                        </a:cubicBezTo>
                        <a:cubicBezTo>
                          <a:pt x="728633" y="405282"/>
                          <a:pt x="726693" y="407987"/>
                          <a:pt x="724312" y="409575"/>
                        </a:cubicBezTo>
                        <a:cubicBezTo>
                          <a:pt x="723518" y="411956"/>
                          <a:pt x="720472" y="414676"/>
                          <a:pt x="721931" y="416719"/>
                        </a:cubicBezTo>
                        <a:cubicBezTo>
                          <a:pt x="725258" y="421377"/>
                          <a:pt x="736218" y="426244"/>
                          <a:pt x="736218" y="426244"/>
                        </a:cubicBezTo>
                        <a:cubicBezTo>
                          <a:pt x="730505" y="443384"/>
                          <a:pt x="737442" y="421964"/>
                          <a:pt x="731456" y="442912"/>
                        </a:cubicBezTo>
                        <a:cubicBezTo>
                          <a:pt x="730766" y="445326"/>
                          <a:pt x="729868" y="447675"/>
                          <a:pt x="729074" y="450056"/>
                        </a:cubicBezTo>
                        <a:cubicBezTo>
                          <a:pt x="729868" y="460375"/>
                          <a:pt x="729549" y="470840"/>
                          <a:pt x="731456" y="481012"/>
                        </a:cubicBezTo>
                        <a:cubicBezTo>
                          <a:pt x="731983" y="483825"/>
                          <a:pt x="735056" y="485541"/>
                          <a:pt x="736218" y="488156"/>
                        </a:cubicBezTo>
                        <a:cubicBezTo>
                          <a:pt x="736219" y="488158"/>
                          <a:pt x="742171" y="506014"/>
                          <a:pt x="743362" y="509587"/>
                        </a:cubicBezTo>
                        <a:cubicBezTo>
                          <a:pt x="744156" y="511968"/>
                          <a:pt x="743654" y="515339"/>
                          <a:pt x="745743" y="516731"/>
                        </a:cubicBezTo>
                        <a:lnTo>
                          <a:pt x="760031" y="526256"/>
                        </a:lnTo>
                        <a:cubicBezTo>
                          <a:pt x="761618" y="528637"/>
                          <a:pt x="763631" y="530785"/>
                          <a:pt x="764793" y="533400"/>
                        </a:cubicBezTo>
                        <a:cubicBezTo>
                          <a:pt x="766832" y="537987"/>
                          <a:pt x="768762" y="546100"/>
                          <a:pt x="769556" y="547687"/>
                        </a:cubicBezTo>
                        <a:cubicBezTo>
                          <a:pt x="770350" y="549274"/>
                          <a:pt x="768366" y="542528"/>
                          <a:pt x="769556" y="542925"/>
                        </a:cubicBezTo>
                        <a:cubicBezTo>
                          <a:pt x="770746" y="543322"/>
                          <a:pt x="773572" y="548818"/>
                          <a:pt x="776699" y="550069"/>
                        </a:cubicBezTo>
                        <a:cubicBezTo>
                          <a:pt x="781910" y="552154"/>
                          <a:pt x="787812" y="551656"/>
                          <a:pt x="793368" y="552450"/>
                        </a:cubicBezTo>
                        <a:lnTo>
                          <a:pt x="807656" y="557212"/>
                        </a:lnTo>
                        <a:lnTo>
                          <a:pt x="814799" y="559594"/>
                        </a:lnTo>
                        <a:cubicBezTo>
                          <a:pt x="817180" y="561975"/>
                          <a:pt x="819141" y="564869"/>
                          <a:pt x="821943" y="566737"/>
                        </a:cubicBezTo>
                        <a:cubicBezTo>
                          <a:pt x="824032" y="568129"/>
                          <a:pt x="826842" y="567996"/>
                          <a:pt x="829087" y="569119"/>
                        </a:cubicBezTo>
                        <a:cubicBezTo>
                          <a:pt x="831647" y="570399"/>
                          <a:pt x="833850" y="572294"/>
                          <a:pt x="836231" y="573881"/>
                        </a:cubicBezTo>
                        <a:cubicBezTo>
                          <a:pt x="838535" y="580795"/>
                          <a:pt x="838339" y="582295"/>
                          <a:pt x="843374" y="588169"/>
                        </a:cubicBezTo>
                        <a:cubicBezTo>
                          <a:pt x="846296" y="591578"/>
                          <a:pt x="849049" y="595384"/>
                          <a:pt x="852899" y="597694"/>
                        </a:cubicBezTo>
                        <a:cubicBezTo>
                          <a:pt x="865702" y="605375"/>
                          <a:pt x="892616" y="604151"/>
                          <a:pt x="902906" y="604837"/>
                        </a:cubicBezTo>
                        <a:cubicBezTo>
                          <a:pt x="907097" y="617411"/>
                          <a:pt x="903895" y="609893"/>
                          <a:pt x="914812" y="626269"/>
                        </a:cubicBezTo>
                        <a:lnTo>
                          <a:pt x="919574" y="633412"/>
                        </a:lnTo>
                        <a:cubicBezTo>
                          <a:pt x="917679" y="646680"/>
                          <a:pt x="914650" y="657970"/>
                          <a:pt x="919574" y="671512"/>
                        </a:cubicBezTo>
                        <a:cubicBezTo>
                          <a:pt x="920552" y="674202"/>
                          <a:pt x="924337" y="674687"/>
                          <a:pt x="926718" y="676275"/>
                        </a:cubicBezTo>
                        <a:cubicBezTo>
                          <a:pt x="931374" y="683259"/>
                          <a:pt x="931891" y="682676"/>
                          <a:pt x="933862" y="690562"/>
                        </a:cubicBezTo>
                        <a:cubicBezTo>
                          <a:pt x="934844" y="694489"/>
                          <a:pt x="934433" y="698849"/>
                          <a:pt x="936243" y="702469"/>
                        </a:cubicBezTo>
                        <a:cubicBezTo>
                          <a:pt x="937749" y="705481"/>
                          <a:pt x="941006" y="707231"/>
                          <a:pt x="943387" y="709612"/>
                        </a:cubicBezTo>
                        <a:cubicBezTo>
                          <a:pt x="944181" y="714375"/>
                          <a:pt x="943911" y="719443"/>
                          <a:pt x="945768" y="723900"/>
                        </a:cubicBezTo>
                        <a:cubicBezTo>
                          <a:pt x="947969" y="729183"/>
                          <a:pt x="955293" y="738187"/>
                          <a:pt x="955293" y="738187"/>
                        </a:cubicBezTo>
                        <a:cubicBezTo>
                          <a:pt x="960954" y="755174"/>
                          <a:pt x="952927" y="734637"/>
                          <a:pt x="964818" y="752475"/>
                        </a:cubicBezTo>
                        <a:cubicBezTo>
                          <a:pt x="966210" y="754564"/>
                          <a:pt x="965954" y="757440"/>
                          <a:pt x="967199" y="759619"/>
                        </a:cubicBezTo>
                        <a:cubicBezTo>
                          <a:pt x="969168" y="763065"/>
                          <a:pt x="971962" y="765969"/>
                          <a:pt x="974343" y="769144"/>
                        </a:cubicBezTo>
                        <a:lnTo>
                          <a:pt x="979106" y="783431"/>
                        </a:lnTo>
                        <a:cubicBezTo>
                          <a:pt x="979900" y="785812"/>
                          <a:pt x="980095" y="788486"/>
                          <a:pt x="981487" y="790575"/>
                        </a:cubicBezTo>
                        <a:lnTo>
                          <a:pt x="991012" y="804862"/>
                        </a:lnTo>
                        <a:cubicBezTo>
                          <a:pt x="996997" y="822818"/>
                          <a:pt x="988924" y="800685"/>
                          <a:pt x="998156" y="819150"/>
                        </a:cubicBezTo>
                        <a:cubicBezTo>
                          <a:pt x="999279" y="821395"/>
                          <a:pt x="998762" y="824519"/>
                          <a:pt x="1000537" y="826294"/>
                        </a:cubicBezTo>
                        <a:cubicBezTo>
                          <a:pt x="1002312" y="828069"/>
                          <a:pt x="1005300" y="827881"/>
                          <a:pt x="1007681" y="828675"/>
                        </a:cubicBezTo>
                        <a:cubicBezTo>
                          <a:pt x="1010062" y="830262"/>
                          <a:pt x="1012209" y="832275"/>
                          <a:pt x="1014824" y="833437"/>
                        </a:cubicBezTo>
                        <a:cubicBezTo>
                          <a:pt x="1019412" y="835476"/>
                          <a:pt x="1029112" y="838200"/>
                          <a:pt x="1029112" y="838200"/>
                        </a:cubicBezTo>
                        <a:cubicBezTo>
                          <a:pt x="1030699" y="840581"/>
                          <a:pt x="1032042" y="843145"/>
                          <a:pt x="1033874" y="845344"/>
                        </a:cubicBezTo>
                        <a:cubicBezTo>
                          <a:pt x="1037171" y="849300"/>
                          <a:pt x="1043206" y="855047"/>
                          <a:pt x="1048162" y="857250"/>
                        </a:cubicBezTo>
                        <a:cubicBezTo>
                          <a:pt x="1052749" y="859289"/>
                          <a:pt x="1062449" y="862012"/>
                          <a:pt x="1062449" y="862012"/>
                        </a:cubicBezTo>
                        <a:cubicBezTo>
                          <a:pt x="1073842" y="879102"/>
                          <a:pt x="1067927" y="872253"/>
                          <a:pt x="1079118" y="883444"/>
                        </a:cubicBezTo>
                        <a:cubicBezTo>
                          <a:pt x="1079912" y="885825"/>
                          <a:pt x="1079254" y="889465"/>
                          <a:pt x="1081499" y="890587"/>
                        </a:cubicBezTo>
                        <a:cubicBezTo>
                          <a:pt x="1084316" y="891995"/>
                          <a:pt x="1094584" y="884246"/>
                          <a:pt x="1095787" y="883444"/>
                        </a:cubicBezTo>
                        <a:cubicBezTo>
                          <a:pt x="1101597" y="885380"/>
                          <a:pt x="1105458" y="885971"/>
                          <a:pt x="1110074" y="890587"/>
                        </a:cubicBezTo>
                        <a:cubicBezTo>
                          <a:pt x="1118328" y="898841"/>
                          <a:pt x="1110552" y="897414"/>
                          <a:pt x="1121981" y="902494"/>
                        </a:cubicBezTo>
                        <a:cubicBezTo>
                          <a:pt x="1126568" y="904533"/>
                          <a:pt x="1136268" y="907256"/>
                          <a:pt x="1136268" y="907256"/>
                        </a:cubicBezTo>
                        <a:cubicBezTo>
                          <a:pt x="1149762" y="906462"/>
                          <a:pt x="1163299" y="906220"/>
                          <a:pt x="1176749" y="904875"/>
                        </a:cubicBezTo>
                        <a:cubicBezTo>
                          <a:pt x="1196275" y="902923"/>
                          <a:pt x="1167658" y="899247"/>
                          <a:pt x="1195799" y="904875"/>
                        </a:cubicBezTo>
                        <a:cubicBezTo>
                          <a:pt x="1197069" y="909955"/>
                          <a:pt x="1196911" y="922814"/>
                          <a:pt x="1207706" y="912019"/>
                        </a:cubicBezTo>
                        <a:cubicBezTo>
                          <a:pt x="1210020" y="909705"/>
                          <a:pt x="1207773" y="904808"/>
                          <a:pt x="1210087" y="902494"/>
                        </a:cubicBezTo>
                        <a:cubicBezTo>
                          <a:pt x="1212401" y="900180"/>
                          <a:pt x="1216437" y="900906"/>
                          <a:pt x="1219612" y="900112"/>
                        </a:cubicBezTo>
                        <a:cubicBezTo>
                          <a:pt x="1221993" y="898525"/>
                          <a:pt x="1224141" y="896512"/>
                          <a:pt x="1226756" y="895350"/>
                        </a:cubicBezTo>
                        <a:cubicBezTo>
                          <a:pt x="1231343" y="893311"/>
                          <a:pt x="1241043" y="890587"/>
                          <a:pt x="1241043" y="890587"/>
                        </a:cubicBezTo>
                        <a:cubicBezTo>
                          <a:pt x="1245806" y="891381"/>
                          <a:pt x="1251012" y="890810"/>
                          <a:pt x="1255331" y="892969"/>
                        </a:cubicBezTo>
                        <a:cubicBezTo>
                          <a:pt x="1257890" y="894249"/>
                          <a:pt x="1258070" y="898089"/>
                          <a:pt x="1260093" y="900112"/>
                        </a:cubicBezTo>
                        <a:cubicBezTo>
                          <a:pt x="1262117" y="902136"/>
                          <a:pt x="1264856" y="903287"/>
                          <a:pt x="1267237" y="904875"/>
                        </a:cubicBezTo>
                        <a:cubicBezTo>
                          <a:pt x="1268824" y="909637"/>
                          <a:pt x="1273216" y="914292"/>
                          <a:pt x="1271999" y="919162"/>
                        </a:cubicBezTo>
                        <a:cubicBezTo>
                          <a:pt x="1271205" y="922337"/>
                          <a:pt x="1271433" y="925964"/>
                          <a:pt x="1269618" y="928687"/>
                        </a:cubicBezTo>
                        <a:cubicBezTo>
                          <a:pt x="1268030" y="931068"/>
                          <a:pt x="1264673" y="931618"/>
                          <a:pt x="1262474" y="933450"/>
                        </a:cubicBezTo>
                        <a:cubicBezTo>
                          <a:pt x="1259887" y="935606"/>
                          <a:pt x="1258133" y="938726"/>
                          <a:pt x="1255331" y="940594"/>
                        </a:cubicBezTo>
                        <a:cubicBezTo>
                          <a:pt x="1253242" y="941986"/>
                          <a:pt x="1250432" y="941853"/>
                          <a:pt x="1248187" y="942975"/>
                        </a:cubicBezTo>
                        <a:cubicBezTo>
                          <a:pt x="1245627" y="944255"/>
                          <a:pt x="1243603" y="946457"/>
                          <a:pt x="1241043" y="947737"/>
                        </a:cubicBezTo>
                        <a:cubicBezTo>
                          <a:pt x="1221331" y="957593"/>
                          <a:pt x="1247220" y="941238"/>
                          <a:pt x="1226756" y="954881"/>
                        </a:cubicBezTo>
                        <a:cubicBezTo>
                          <a:pt x="1229931" y="959644"/>
                          <a:pt x="1234471" y="963739"/>
                          <a:pt x="1236281" y="969169"/>
                        </a:cubicBezTo>
                        <a:cubicBezTo>
                          <a:pt x="1237868" y="973931"/>
                          <a:pt x="1238259" y="979279"/>
                          <a:pt x="1241043" y="983456"/>
                        </a:cubicBezTo>
                        <a:lnTo>
                          <a:pt x="1250568" y="997744"/>
                        </a:lnTo>
                        <a:lnTo>
                          <a:pt x="1262474" y="997744"/>
                        </a:lnTo>
                        <a:cubicBezTo>
                          <a:pt x="1263866" y="995655"/>
                          <a:pt x="1262475" y="991394"/>
                          <a:pt x="1264856" y="990600"/>
                        </a:cubicBezTo>
                        <a:cubicBezTo>
                          <a:pt x="1267729" y="989642"/>
                          <a:pt x="1280051" y="994077"/>
                          <a:pt x="1283906" y="995362"/>
                        </a:cubicBezTo>
                        <a:cubicBezTo>
                          <a:pt x="1286287" y="996950"/>
                          <a:pt x="1288489" y="998845"/>
                          <a:pt x="1291049" y="1000125"/>
                        </a:cubicBezTo>
                        <a:cubicBezTo>
                          <a:pt x="1293294" y="1001248"/>
                          <a:pt x="1295747" y="1001942"/>
                          <a:pt x="1298193" y="1002506"/>
                        </a:cubicBezTo>
                        <a:cubicBezTo>
                          <a:pt x="1306081" y="1004326"/>
                          <a:pt x="1314326" y="1004709"/>
                          <a:pt x="1322006" y="1007269"/>
                        </a:cubicBezTo>
                        <a:cubicBezTo>
                          <a:pt x="1326768" y="1008856"/>
                          <a:pt x="1331371" y="1011047"/>
                          <a:pt x="1336293" y="1012031"/>
                        </a:cubicBezTo>
                        <a:cubicBezTo>
                          <a:pt x="1350660" y="1014904"/>
                          <a:pt x="1344360" y="1013132"/>
                          <a:pt x="1355343" y="1016794"/>
                        </a:cubicBezTo>
                        <a:cubicBezTo>
                          <a:pt x="1357724" y="1019175"/>
                          <a:pt x="1359543" y="1022302"/>
                          <a:pt x="1362487" y="1023937"/>
                        </a:cubicBezTo>
                        <a:cubicBezTo>
                          <a:pt x="1366875" y="1026375"/>
                          <a:pt x="1372012" y="1027112"/>
                          <a:pt x="1376774" y="1028700"/>
                        </a:cubicBezTo>
                        <a:lnTo>
                          <a:pt x="1391062" y="1033462"/>
                        </a:lnTo>
                        <a:lnTo>
                          <a:pt x="1398206" y="1035844"/>
                        </a:lnTo>
                        <a:cubicBezTo>
                          <a:pt x="1400587" y="1036638"/>
                          <a:pt x="1403261" y="1036833"/>
                          <a:pt x="1405349" y="1038225"/>
                        </a:cubicBezTo>
                        <a:cubicBezTo>
                          <a:pt x="1407730" y="1039812"/>
                          <a:pt x="1409933" y="1041707"/>
                          <a:pt x="1412493" y="1042987"/>
                        </a:cubicBezTo>
                        <a:cubicBezTo>
                          <a:pt x="1432211" y="1052846"/>
                          <a:pt x="1406308" y="1036484"/>
                          <a:pt x="1426781" y="1050131"/>
                        </a:cubicBezTo>
                        <a:cubicBezTo>
                          <a:pt x="1431417" y="1064040"/>
                          <a:pt x="1425534" y="1051265"/>
                          <a:pt x="1436306" y="1062037"/>
                        </a:cubicBezTo>
                        <a:cubicBezTo>
                          <a:pt x="1438330" y="1064061"/>
                          <a:pt x="1438687" y="1067593"/>
                          <a:pt x="1441068" y="1069181"/>
                        </a:cubicBezTo>
                        <a:cubicBezTo>
                          <a:pt x="1443791" y="1070996"/>
                          <a:pt x="1447458" y="1070622"/>
                          <a:pt x="1450593" y="1071562"/>
                        </a:cubicBezTo>
                        <a:cubicBezTo>
                          <a:pt x="1455402" y="1073005"/>
                          <a:pt x="1464881" y="1076325"/>
                          <a:pt x="1464881" y="1076325"/>
                        </a:cubicBezTo>
                        <a:cubicBezTo>
                          <a:pt x="1465675" y="1078706"/>
                          <a:pt x="1465694" y="1081509"/>
                          <a:pt x="1467262" y="1083469"/>
                        </a:cubicBezTo>
                        <a:cubicBezTo>
                          <a:pt x="1471061" y="1088218"/>
                          <a:pt x="1484885" y="1092232"/>
                          <a:pt x="1488693" y="1092994"/>
                        </a:cubicBezTo>
                        <a:lnTo>
                          <a:pt x="1500599" y="1095375"/>
                        </a:lnTo>
                        <a:cubicBezTo>
                          <a:pt x="1505349" y="1096239"/>
                          <a:pt x="1510174" y="1096709"/>
                          <a:pt x="1514887" y="1097756"/>
                        </a:cubicBezTo>
                        <a:cubicBezTo>
                          <a:pt x="1517337" y="1098300"/>
                          <a:pt x="1519596" y="1099528"/>
                          <a:pt x="1522031" y="1100137"/>
                        </a:cubicBezTo>
                        <a:lnTo>
                          <a:pt x="1541081" y="1104900"/>
                        </a:lnTo>
                        <a:cubicBezTo>
                          <a:pt x="1542668" y="1107281"/>
                          <a:pt x="1545373" y="1109221"/>
                          <a:pt x="1545843" y="1112044"/>
                        </a:cubicBezTo>
                        <a:cubicBezTo>
                          <a:pt x="1546256" y="1114520"/>
                          <a:pt x="1542668" y="1116806"/>
                          <a:pt x="1543462" y="1119187"/>
                        </a:cubicBezTo>
                        <a:cubicBezTo>
                          <a:pt x="1545692" y="1125876"/>
                          <a:pt x="1552396" y="1126928"/>
                          <a:pt x="1557749" y="1128712"/>
                        </a:cubicBezTo>
                        <a:cubicBezTo>
                          <a:pt x="1560130" y="1130300"/>
                          <a:pt x="1562754" y="1131574"/>
                          <a:pt x="1564893" y="1133475"/>
                        </a:cubicBezTo>
                        <a:cubicBezTo>
                          <a:pt x="1569927" y="1137950"/>
                          <a:pt x="1572792" y="1145632"/>
                          <a:pt x="1579181" y="1147762"/>
                        </a:cubicBezTo>
                        <a:lnTo>
                          <a:pt x="1593468" y="1152525"/>
                        </a:lnTo>
                        <a:lnTo>
                          <a:pt x="1600612" y="1154906"/>
                        </a:lnTo>
                        <a:cubicBezTo>
                          <a:pt x="1602993" y="1157287"/>
                          <a:pt x="1605888" y="1159248"/>
                          <a:pt x="1607756" y="1162050"/>
                        </a:cubicBezTo>
                        <a:cubicBezTo>
                          <a:pt x="1609148" y="1164139"/>
                          <a:pt x="1609015" y="1166949"/>
                          <a:pt x="1610137" y="1169194"/>
                        </a:cubicBezTo>
                        <a:cubicBezTo>
                          <a:pt x="1611417" y="1171754"/>
                          <a:pt x="1613312" y="1173956"/>
                          <a:pt x="1614899" y="1176337"/>
                        </a:cubicBezTo>
                        <a:cubicBezTo>
                          <a:pt x="1614105" y="1182687"/>
                          <a:pt x="1613663" y="1189091"/>
                          <a:pt x="1612518" y="1195387"/>
                        </a:cubicBezTo>
                        <a:cubicBezTo>
                          <a:pt x="1612069" y="1197857"/>
                          <a:pt x="1611912" y="1200756"/>
                          <a:pt x="1610137" y="1202531"/>
                        </a:cubicBezTo>
                        <a:cubicBezTo>
                          <a:pt x="1608362" y="1204306"/>
                          <a:pt x="1605374" y="1204118"/>
                          <a:pt x="1602993" y="1204912"/>
                        </a:cubicBezTo>
                        <a:cubicBezTo>
                          <a:pt x="1602199" y="1207293"/>
                          <a:pt x="1600889" y="1209561"/>
                          <a:pt x="1600612" y="1212056"/>
                        </a:cubicBezTo>
                        <a:cubicBezTo>
                          <a:pt x="1599294" y="1223916"/>
                          <a:pt x="1604684" y="1237737"/>
                          <a:pt x="1598231" y="1247775"/>
                        </a:cubicBezTo>
                        <a:cubicBezTo>
                          <a:pt x="1594771" y="1253158"/>
                          <a:pt x="1585531" y="1246188"/>
                          <a:pt x="1579181" y="1245394"/>
                        </a:cubicBezTo>
                        <a:cubicBezTo>
                          <a:pt x="1559461" y="1238820"/>
                          <a:pt x="1569072" y="1243417"/>
                          <a:pt x="1550606" y="1231106"/>
                        </a:cubicBezTo>
                        <a:lnTo>
                          <a:pt x="1543462" y="1226344"/>
                        </a:lnTo>
                        <a:cubicBezTo>
                          <a:pt x="1549073" y="1198282"/>
                          <a:pt x="1543462" y="1233213"/>
                          <a:pt x="1543462" y="1197769"/>
                        </a:cubicBezTo>
                        <a:cubicBezTo>
                          <a:pt x="1543462" y="1192941"/>
                          <a:pt x="1545049" y="1188244"/>
                          <a:pt x="1545843" y="1183481"/>
                        </a:cubicBezTo>
                        <a:cubicBezTo>
                          <a:pt x="1541135" y="1181912"/>
                          <a:pt x="1534915" y="1180535"/>
                          <a:pt x="1531556" y="1176337"/>
                        </a:cubicBezTo>
                        <a:cubicBezTo>
                          <a:pt x="1529988" y="1174377"/>
                          <a:pt x="1529968" y="1171575"/>
                          <a:pt x="1529174" y="1169194"/>
                        </a:cubicBezTo>
                        <a:cubicBezTo>
                          <a:pt x="1529968" y="1163638"/>
                          <a:pt x="1533331" y="1157850"/>
                          <a:pt x="1531556" y="1152525"/>
                        </a:cubicBezTo>
                        <a:cubicBezTo>
                          <a:pt x="1530762" y="1150144"/>
                          <a:pt x="1526657" y="1153783"/>
                          <a:pt x="1524412" y="1154906"/>
                        </a:cubicBezTo>
                        <a:cubicBezTo>
                          <a:pt x="1521852" y="1156186"/>
                          <a:pt x="1519883" y="1158507"/>
                          <a:pt x="1517268" y="1159669"/>
                        </a:cubicBezTo>
                        <a:cubicBezTo>
                          <a:pt x="1512681" y="1161708"/>
                          <a:pt x="1507743" y="1162844"/>
                          <a:pt x="1502981" y="1164431"/>
                        </a:cubicBezTo>
                        <a:cubicBezTo>
                          <a:pt x="1491257" y="1168338"/>
                          <a:pt x="1498311" y="1166400"/>
                          <a:pt x="1481549" y="1169194"/>
                        </a:cubicBezTo>
                        <a:cubicBezTo>
                          <a:pt x="1480141" y="1168993"/>
                          <a:pt x="1462269" y="1167452"/>
                          <a:pt x="1457737" y="1164431"/>
                        </a:cubicBezTo>
                        <a:cubicBezTo>
                          <a:pt x="1439899" y="1152540"/>
                          <a:pt x="1460436" y="1160567"/>
                          <a:pt x="1443449" y="1154906"/>
                        </a:cubicBezTo>
                        <a:cubicBezTo>
                          <a:pt x="1441068" y="1153319"/>
                          <a:pt x="1438094" y="1152379"/>
                          <a:pt x="1436306" y="1150144"/>
                        </a:cubicBezTo>
                        <a:cubicBezTo>
                          <a:pt x="1427070" y="1138599"/>
                          <a:pt x="1442365" y="1145814"/>
                          <a:pt x="1426781" y="1140619"/>
                        </a:cubicBezTo>
                        <a:cubicBezTo>
                          <a:pt x="1417364" y="1134341"/>
                          <a:pt x="1417769" y="1132317"/>
                          <a:pt x="1402968" y="1138237"/>
                        </a:cubicBezTo>
                        <a:cubicBezTo>
                          <a:pt x="1399841" y="1139488"/>
                          <a:pt x="1398482" y="1143313"/>
                          <a:pt x="1395824" y="1145381"/>
                        </a:cubicBezTo>
                        <a:cubicBezTo>
                          <a:pt x="1370190" y="1165319"/>
                          <a:pt x="1390612" y="1145831"/>
                          <a:pt x="1374393" y="1162050"/>
                        </a:cubicBezTo>
                        <a:cubicBezTo>
                          <a:pt x="1373115" y="1168441"/>
                          <a:pt x="1370703" y="1183064"/>
                          <a:pt x="1367249" y="1188244"/>
                        </a:cubicBezTo>
                        <a:lnTo>
                          <a:pt x="1357724" y="1202531"/>
                        </a:lnTo>
                        <a:cubicBezTo>
                          <a:pt x="1351375" y="1221582"/>
                          <a:pt x="1360899" y="1199356"/>
                          <a:pt x="1348199" y="1212056"/>
                        </a:cubicBezTo>
                        <a:cubicBezTo>
                          <a:pt x="1346424" y="1213831"/>
                          <a:pt x="1346807" y="1216893"/>
                          <a:pt x="1345818" y="1219200"/>
                        </a:cubicBezTo>
                        <a:cubicBezTo>
                          <a:pt x="1344420" y="1222463"/>
                          <a:pt x="1342643" y="1225550"/>
                          <a:pt x="1341056" y="1228725"/>
                        </a:cubicBezTo>
                        <a:cubicBezTo>
                          <a:pt x="1344231" y="1233487"/>
                          <a:pt x="1352391" y="1237582"/>
                          <a:pt x="1350581" y="1243012"/>
                        </a:cubicBezTo>
                        <a:cubicBezTo>
                          <a:pt x="1344783" y="1260405"/>
                          <a:pt x="1347035" y="1252430"/>
                          <a:pt x="1343437" y="1266825"/>
                        </a:cubicBezTo>
                        <a:cubicBezTo>
                          <a:pt x="1344231" y="1271587"/>
                          <a:pt x="1344871" y="1276378"/>
                          <a:pt x="1345818" y="1281112"/>
                        </a:cubicBezTo>
                        <a:cubicBezTo>
                          <a:pt x="1346460" y="1284321"/>
                          <a:pt x="1346575" y="1287795"/>
                          <a:pt x="1348199" y="1290637"/>
                        </a:cubicBezTo>
                        <a:cubicBezTo>
                          <a:pt x="1349870" y="1293561"/>
                          <a:pt x="1352541" y="1295913"/>
                          <a:pt x="1355343" y="1297781"/>
                        </a:cubicBezTo>
                        <a:cubicBezTo>
                          <a:pt x="1357432" y="1299173"/>
                          <a:pt x="1360006" y="1299780"/>
                          <a:pt x="1362487" y="1300162"/>
                        </a:cubicBezTo>
                        <a:cubicBezTo>
                          <a:pt x="1370371" y="1301375"/>
                          <a:pt x="1378362" y="1301750"/>
                          <a:pt x="1386299" y="1302544"/>
                        </a:cubicBezTo>
                        <a:cubicBezTo>
                          <a:pt x="1389474" y="1304925"/>
                          <a:pt x="1392274" y="1307912"/>
                          <a:pt x="1395824" y="1309687"/>
                        </a:cubicBezTo>
                        <a:cubicBezTo>
                          <a:pt x="1400314" y="1311932"/>
                          <a:pt x="1405935" y="1311665"/>
                          <a:pt x="1410112" y="1314450"/>
                        </a:cubicBezTo>
                        <a:cubicBezTo>
                          <a:pt x="1412493" y="1316037"/>
                          <a:pt x="1414696" y="1317932"/>
                          <a:pt x="1417256" y="1319212"/>
                        </a:cubicBezTo>
                        <a:cubicBezTo>
                          <a:pt x="1436973" y="1329071"/>
                          <a:pt x="1411069" y="1312708"/>
                          <a:pt x="1431543" y="1326356"/>
                        </a:cubicBezTo>
                        <a:cubicBezTo>
                          <a:pt x="1432337" y="1328737"/>
                          <a:pt x="1434337" y="1331024"/>
                          <a:pt x="1433924" y="1333500"/>
                        </a:cubicBezTo>
                        <a:cubicBezTo>
                          <a:pt x="1433454" y="1336323"/>
                          <a:pt x="1430442" y="1338084"/>
                          <a:pt x="1429162" y="1340644"/>
                        </a:cubicBezTo>
                        <a:cubicBezTo>
                          <a:pt x="1428040" y="1342889"/>
                          <a:pt x="1427575" y="1345406"/>
                          <a:pt x="1426781" y="1347787"/>
                        </a:cubicBezTo>
                        <a:cubicBezTo>
                          <a:pt x="1428368" y="1350168"/>
                          <a:pt x="1429308" y="1353143"/>
                          <a:pt x="1431543" y="1354931"/>
                        </a:cubicBezTo>
                        <a:cubicBezTo>
                          <a:pt x="1439899" y="1361616"/>
                          <a:pt x="1440650" y="1351421"/>
                          <a:pt x="1436306" y="1364456"/>
                        </a:cubicBezTo>
                        <a:cubicBezTo>
                          <a:pt x="1436961" y="1369039"/>
                          <a:pt x="1439091" y="1391054"/>
                          <a:pt x="1443449" y="1395412"/>
                        </a:cubicBezTo>
                        <a:lnTo>
                          <a:pt x="1450593" y="1402556"/>
                        </a:lnTo>
                        <a:cubicBezTo>
                          <a:pt x="1449799" y="1405731"/>
                          <a:pt x="1450697" y="1409951"/>
                          <a:pt x="1448212" y="1412081"/>
                        </a:cubicBezTo>
                        <a:cubicBezTo>
                          <a:pt x="1444400" y="1415348"/>
                          <a:pt x="1438101" y="1414059"/>
                          <a:pt x="1433924" y="1416844"/>
                        </a:cubicBezTo>
                        <a:cubicBezTo>
                          <a:pt x="1424692" y="1422998"/>
                          <a:pt x="1429496" y="1420701"/>
                          <a:pt x="1419637" y="1423987"/>
                        </a:cubicBezTo>
                        <a:cubicBezTo>
                          <a:pt x="1399158" y="1437641"/>
                          <a:pt x="1425072" y="1421269"/>
                          <a:pt x="1405349" y="1431131"/>
                        </a:cubicBezTo>
                        <a:cubicBezTo>
                          <a:pt x="1402789" y="1432411"/>
                          <a:pt x="1400821" y="1434732"/>
                          <a:pt x="1398206" y="1435894"/>
                        </a:cubicBezTo>
                        <a:cubicBezTo>
                          <a:pt x="1393618" y="1437933"/>
                          <a:pt x="1388681" y="1439069"/>
                          <a:pt x="1383918" y="1440656"/>
                        </a:cubicBezTo>
                        <a:lnTo>
                          <a:pt x="1376774" y="1443037"/>
                        </a:lnTo>
                        <a:cubicBezTo>
                          <a:pt x="1368245" y="1455830"/>
                          <a:pt x="1368011" y="1453466"/>
                          <a:pt x="1364868" y="1464469"/>
                        </a:cubicBezTo>
                        <a:cubicBezTo>
                          <a:pt x="1363969" y="1467616"/>
                          <a:pt x="1363281" y="1470819"/>
                          <a:pt x="1362487" y="1473994"/>
                        </a:cubicBezTo>
                        <a:cubicBezTo>
                          <a:pt x="1363281" y="1481931"/>
                          <a:pt x="1362142" y="1490309"/>
                          <a:pt x="1364868" y="1497806"/>
                        </a:cubicBezTo>
                        <a:cubicBezTo>
                          <a:pt x="1365726" y="1500165"/>
                          <a:pt x="1371403" y="1497752"/>
                          <a:pt x="1372012" y="1500187"/>
                        </a:cubicBezTo>
                        <a:cubicBezTo>
                          <a:pt x="1373373" y="1505632"/>
                          <a:pt x="1370732" y="1511352"/>
                          <a:pt x="1369631" y="1516856"/>
                        </a:cubicBezTo>
                        <a:cubicBezTo>
                          <a:pt x="1369139" y="1519317"/>
                          <a:pt x="1369024" y="1522225"/>
                          <a:pt x="1367249" y="1524000"/>
                        </a:cubicBezTo>
                        <a:cubicBezTo>
                          <a:pt x="1365474" y="1525775"/>
                          <a:pt x="1362487" y="1525587"/>
                          <a:pt x="1360106" y="1526381"/>
                        </a:cubicBezTo>
                        <a:cubicBezTo>
                          <a:pt x="1357725" y="1527969"/>
                          <a:pt x="1355447" y="1529724"/>
                          <a:pt x="1352962" y="1531144"/>
                        </a:cubicBezTo>
                        <a:cubicBezTo>
                          <a:pt x="1349880" y="1532905"/>
                          <a:pt x="1346209" y="1533689"/>
                          <a:pt x="1343437" y="1535906"/>
                        </a:cubicBezTo>
                        <a:cubicBezTo>
                          <a:pt x="1338177" y="1540114"/>
                          <a:pt x="1329149" y="1550194"/>
                          <a:pt x="1329149" y="1550194"/>
                        </a:cubicBezTo>
                        <a:cubicBezTo>
                          <a:pt x="1328355" y="1553369"/>
                          <a:pt x="1328057" y="1556711"/>
                          <a:pt x="1326768" y="1559719"/>
                        </a:cubicBezTo>
                        <a:cubicBezTo>
                          <a:pt x="1325641" y="1562349"/>
                          <a:pt x="1323011" y="1564183"/>
                          <a:pt x="1322006" y="1566862"/>
                        </a:cubicBezTo>
                        <a:cubicBezTo>
                          <a:pt x="1320585" y="1570652"/>
                          <a:pt x="1320606" y="1574842"/>
                          <a:pt x="1319624" y="1578769"/>
                        </a:cubicBezTo>
                        <a:cubicBezTo>
                          <a:pt x="1319015" y="1581204"/>
                          <a:pt x="1318037" y="1583531"/>
                          <a:pt x="1317243" y="1585912"/>
                        </a:cubicBezTo>
                        <a:cubicBezTo>
                          <a:pt x="1316449" y="1591468"/>
                          <a:pt x="1317875" y="1597846"/>
                          <a:pt x="1314862" y="1602581"/>
                        </a:cubicBezTo>
                        <a:cubicBezTo>
                          <a:pt x="1307609" y="1613979"/>
                          <a:pt x="1294764" y="1612513"/>
                          <a:pt x="1283906" y="1614487"/>
                        </a:cubicBezTo>
                        <a:cubicBezTo>
                          <a:pt x="1280686" y="1615073"/>
                          <a:pt x="1277590" y="1616227"/>
                          <a:pt x="1274381" y="1616869"/>
                        </a:cubicBezTo>
                        <a:cubicBezTo>
                          <a:pt x="1269646" y="1617816"/>
                          <a:pt x="1264856" y="1618456"/>
                          <a:pt x="1260093" y="1619250"/>
                        </a:cubicBezTo>
                        <a:cubicBezTo>
                          <a:pt x="1256124" y="1618456"/>
                          <a:pt x="1250672" y="1620064"/>
                          <a:pt x="1248187" y="1616869"/>
                        </a:cubicBezTo>
                        <a:cubicBezTo>
                          <a:pt x="1244168" y="1611702"/>
                          <a:pt x="1245012" y="1604169"/>
                          <a:pt x="1243424" y="1597819"/>
                        </a:cubicBezTo>
                        <a:cubicBezTo>
                          <a:pt x="1240433" y="1585854"/>
                          <a:pt x="1242079" y="1591403"/>
                          <a:pt x="1238662" y="1581150"/>
                        </a:cubicBezTo>
                        <a:lnTo>
                          <a:pt x="1243424" y="1566862"/>
                        </a:lnTo>
                        <a:cubicBezTo>
                          <a:pt x="1245920" y="1559375"/>
                          <a:pt x="1245308" y="1557669"/>
                          <a:pt x="1252949" y="1552575"/>
                        </a:cubicBezTo>
                        <a:cubicBezTo>
                          <a:pt x="1255038" y="1551183"/>
                          <a:pt x="1257712" y="1550988"/>
                          <a:pt x="1260093" y="1550194"/>
                        </a:cubicBezTo>
                        <a:cubicBezTo>
                          <a:pt x="1262474" y="1547813"/>
                          <a:pt x="1265369" y="1545852"/>
                          <a:pt x="1267237" y="1543050"/>
                        </a:cubicBezTo>
                        <a:cubicBezTo>
                          <a:pt x="1268629" y="1540961"/>
                          <a:pt x="1268629" y="1538213"/>
                          <a:pt x="1269618" y="1535906"/>
                        </a:cubicBezTo>
                        <a:cubicBezTo>
                          <a:pt x="1271016" y="1532643"/>
                          <a:pt x="1272793" y="1529556"/>
                          <a:pt x="1274381" y="1526381"/>
                        </a:cubicBezTo>
                        <a:cubicBezTo>
                          <a:pt x="1273171" y="1517914"/>
                          <a:pt x="1274308" y="1508756"/>
                          <a:pt x="1267237" y="1502569"/>
                        </a:cubicBezTo>
                        <a:cubicBezTo>
                          <a:pt x="1262929" y="1498800"/>
                          <a:pt x="1252949" y="1493044"/>
                          <a:pt x="1252949" y="1493044"/>
                        </a:cubicBezTo>
                        <a:cubicBezTo>
                          <a:pt x="1257906" y="1473221"/>
                          <a:pt x="1250963" y="1491912"/>
                          <a:pt x="1262474" y="1478756"/>
                        </a:cubicBezTo>
                        <a:cubicBezTo>
                          <a:pt x="1272127" y="1467723"/>
                          <a:pt x="1267124" y="1463936"/>
                          <a:pt x="1279143" y="1462087"/>
                        </a:cubicBezTo>
                        <a:cubicBezTo>
                          <a:pt x="1287027" y="1460874"/>
                          <a:pt x="1295018" y="1460500"/>
                          <a:pt x="1302956" y="1459706"/>
                        </a:cubicBezTo>
                        <a:cubicBezTo>
                          <a:pt x="1303750" y="1456531"/>
                          <a:pt x="1304048" y="1453189"/>
                          <a:pt x="1305337" y="1450181"/>
                        </a:cubicBezTo>
                        <a:cubicBezTo>
                          <a:pt x="1306464" y="1447550"/>
                          <a:pt x="1308819" y="1445597"/>
                          <a:pt x="1310099" y="1443037"/>
                        </a:cubicBezTo>
                        <a:cubicBezTo>
                          <a:pt x="1311222" y="1440792"/>
                          <a:pt x="1311687" y="1438275"/>
                          <a:pt x="1312481" y="1435894"/>
                        </a:cubicBezTo>
                        <a:cubicBezTo>
                          <a:pt x="1310100" y="1433513"/>
                          <a:pt x="1307924" y="1430906"/>
                          <a:pt x="1305337" y="1428750"/>
                        </a:cubicBezTo>
                        <a:cubicBezTo>
                          <a:pt x="1303138" y="1426918"/>
                          <a:pt x="1299613" y="1426472"/>
                          <a:pt x="1298193" y="1423987"/>
                        </a:cubicBezTo>
                        <a:cubicBezTo>
                          <a:pt x="1296185" y="1420473"/>
                          <a:pt x="1296690" y="1416032"/>
                          <a:pt x="1295812" y="1412081"/>
                        </a:cubicBezTo>
                        <a:cubicBezTo>
                          <a:pt x="1295102" y="1408886"/>
                          <a:pt x="1293969" y="1405784"/>
                          <a:pt x="1293431" y="1402556"/>
                        </a:cubicBezTo>
                        <a:cubicBezTo>
                          <a:pt x="1291030" y="1388150"/>
                          <a:pt x="1291664" y="1382700"/>
                          <a:pt x="1288668" y="1369219"/>
                        </a:cubicBezTo>
                        <a:cubicBezTo>
                          <a:pt x="1288124" y="1366769"/>
                          <a:pt x="1286977" y="1364489"/>
                          <a:pt x="1286287" y="1362075"/>
                        </a:cubicBezTo>
                        <a:cubicBezTo>
                          <a:pt x="1283888" y="1353679"/>
                          <a:pt x="1285398" y="1350341"/>
                          <a:pt x="1276762" y="1345406"/>
                        </a:cubicBezTo>
                        <a:cubicBezTo>
                          <a:pt x="1273920" y="1343782"/>
                          <a:pt x="1270384" y="1343924"/>
                          <a:pt x="1267237" y="1343025"/>
                        </a:cubicBezTo>
                        <a:cubicBezTo>
                          <a:pt x="1264823" y="1342335"/>
                          <a:pt x="1262474" y="1341438"/>
                          <a:pt x="1260093" y="1340644"/>
                        </a:cubicBezTo>
                        <a:cubicBezTo>
                          <a:pt x="1249365" y="1324550"/>
                          <a:pt x="1258969" y="1341419"/>
                          <a:pt x="1252949" y="1307306"/>
                        </a:cubicBezTo>
                        <a:cubicBezTo>
                          <a:pt x="1252077" y="1302362"/>
                          <a:pt x="1249774" y="1297781"/>
                          <a:pt x="1248187" y="1293019"/>
                        </a:cubicBezTo>
                        <a:lnTo>
                          <a:pt x="1243424" y="1278731"/>
                        </a:lnTo>
                        <a:cubicBezTo>
                          <a:pt x="1242630" y="1276350"/>
                          <a:pt x="1242165" y="1273832"/>
                          <a:pt x="1241043" y="1271587"/>
                        </a:cubicBezTo>
                        <a:cubicBezTo>
                          <a:pt x="1239456" y="1268412"/>
                          <a:pt x="1237599" y="1265358"/>
                          <a:pt x="1236281" y="1262062"/>
                        </a:cubicBezTo>
                        <a:cubicBezTo>
                          <a:pt x="1234417" y="1257401"/>
                          <a:pt x="1235068" y="1251325"/>
                          <a:pt x="1231518" y="1247775"/>
                        </a:cubicBezTo>
                        <a:cubicBezTo>
                          <a:pt x="1229137" y="1245394"/>
                          <a:pt x="1226442" y="1243289"/>
                          <a:pt x="1224374" y="1240631"/>
                        </a:cubicBezTo>
                        <a:cubicBezTo>
                          <a:pt x="1220860" y="1236113"/>
                          <a:pt x="1214849" y="1226344"/>
                          <a:pt x="1214849" y="1226344"/>
                        </a:cubicBezTo>
                        <a:cubicBezTo>
                          <a:pt x="1211987" y="1226916"/>
                          <a:pt x="1197931" y="1228156"/>
                          <a:pt x="1195799" y="1233487"/>
                        </a:cubicBezTo>
                        <a:cubicBezTo>
                          <a:pt x="1194867" y="1235818"/>
                          <a:pt x="1197387" y="1238250"/>
                          <a:pt x="1198181" y="1240631"/>
                        </a:cubicBezTo>
                        <a:cubicBezTo>
                          <a:pt x="1195800" y="1241425"/>
                          <a:pt x="1193547" y="1243012"/>
                          <a:pt x="1191037" y="1243012"/>
                        </a:cubicBezTo>
                        <a:cubicBezTo>
                          <a:pt x="1177574" y="1243012"/>
                          <a:pt x="1174890" y="1241598"/>
                          <a:pt x="1164843" y="1238250"/>
                        </a:cubicBezTo>
                        <a:cubicBezTo>
                          <a:pt x="1142049" y="1215456"/>
                          <a:pt x="1169106" y="1244643"/>
                          <a:pt x="1155318" y="1223962"/>
                        </a:cubicBezTo>
                        <a:cubicBezTo>
                          <a:pt x="1153450" y="1221160"/>
                          <a:pt x="1150555" y="1219200"/>
                          <a:pt x="1148174" y="1216819"/>
                        </a:cubicBezTo>
                        <a:cubicBezTo>
                          <a:pt x="1144999" y="1217613"/>
                          <a:pt x="1141796" y="1218301"/>
                          <a:pt x="1138649" y="1219200"/>
                        </a:cubicBezTo>
                        <a:cubicBezTo>
                          <a:pt x="1136236" y="1219889"/>
                          <a:pt x="1134016" y="1221581"/>
                          <a:pt x="1131506" y="1221581"/>
                        </a:cubicBezTo>
                        <a:cubicBezTo>
                          <a:pt x="1128996" y="1221581"/>
                          <a:pt x="1126743" y="1219994"/>
                          <a:pt x="1124362" y="1219200"/>
                        </a:cubicBezTo>
                        <a:cubicBezTo>
                          <a:pt x="1121981" y="1216819"/>
                          <a:pt x="1112059" y="1212058"/>
                          <a:pt x="1112456" y="1207295"/>
                        </a:cubicBezTo>
                        <a:cubicBezTo>
                          <a:pt x="1112853" y="1202532"/>
                          <a:pt x="1125232" y="1198179"/>
                          <a:pt x="1126743" y="1190624"/>
                        </a:cubicBezTo>
                        <a:cubicBezTo>
                          <a:pt x="1126457" y="1187188"/>
                          <a:pt x="1115631" y="1162050"/>
                          <a:pt x="1112456" y="1154906"/>
                        </a:cubicBezTo>
                        <a:cubicBezTo>
                          <a:pt x="1109281" y="1147762"/>
                          <a:pt x="1109928" y="1149550"/>
                          <a:pt x="1107693" y="1147762"/>
                        </a:cubicBezTo>
                        <a:cubicBezTo>
                          <a:pt x="1105733" y="1146194"/>
                          <a:pt x="1102930" y="1146175"/>
                          <a:pt x="1100549" y="1145381"/>
                        </a:cubicBezTo>
                        <a:cubicBezTo>
                          <a:pt x="1098168" y="1146175"/>
                          <a:pt x="1095856" y="1147217"/>
                          <a:pt x="1093406" y="1147762"/>
                        </a:cubicBezTo>
                        <a:cubicBezTo>
                          <a:pt x="1087446" y="1149087"/>
                          <a:pt x="1067781" y="1151763"/>
                          <a:pt x="1062449" y="1152525"/>
                        </a:cubicBezTo>
                        <a:cubicBezTo>
                          <a:pt x="1056893" y="1151731"/>
                          <a:pt x="1048956" y="1154113"/>
                          <a:pt x="1043400" y="1154906"/>
                        </a:cubicBezTo>
                        <a:cubicBezTo>
                          <a:pt x="1037844" y="1155699"/>
                          <a:pt x="1027922" y="1161652"/>
                          <a:pt x="1029112" y="1157286"/>
                        </a:cubicBezTo>
                        <a:cubicBezTo>
                          <a:pt x="1030302" y="1152920"/>
                          <a:pt x="1048136" y="1132322"/>
                          <a:pt x="1050543" y="1128712"/>
                        </a:cubicBezTo>
                        <a:cubicBezTo>
                          <a:pt x="1049696" y="1123629"/>
                          <a:pt x="1045357" y="1121008"/>
                          <a:pt x="1036255" y="1119187"/>
                        </a:cubicBezTo>
                        <a:cubicBezTo>
                          <a:pt x="1030751" y="1118086"/>
                          <a:pt x="1029905" y="1108868"/>
                          <a:pt x="1024349" y="1109662"/>
                        </a:cubicBezTo>
                        <a:cubicBezTo>
                          <a:pt x="1021174" y="1108868"/>
                          <a:pt x="1021174" y="1106487"/>
                          <a:pt x="1014824" y="1107281"/>
                        </a:cubicBezTo>
                        <a:cubicBezTo>
                          <a:pt x="1008474" y="1108075"/>
                          <a:pt x="992203" y="1116011"/>
                          <a:pt x="986250" y="1114424"/>
                        </a:cubicBezTo>
                        <a:cubicBezTo>
                          <a:pt x="980297" y="1112837"/>
                          <a:pt x="980297" y="1104107"/>
                          <a:pt x="979106" y="1097757"/>
                        </a:cubicBezTo>
                        <a:cubicBezTo>
                          <a:pt x="977915" y="1091407"/>
                          <a:pt x="981487" y="1081881"/>
                          <a:pt x="979106" y="1076325"/>
                        </a:cubicBezTo>
                        <a:cubicBezTo>
                          <a:pt x="976725" y="1070769"/>
                          <a:pt x="992324" y="1085812"/>
                          <a:pt x="964818" y="1064419"/>
                        </a:cubicBezTo>
                        <a:cubicBezTo>
                          <a:pt x="960300" y="1060905"/>
                          <a:pt x="955293" y="1058069"/>
                          <a:pt x="950531" y="1054894"/>
                        </a:cubicBezTo>
                        <a:lnTo>
                          <a:pt x="943387" y="1050131"/>
                        </a:lnTo>
                        <a:lnTo>
                          <a:pt x="936243" y="1045369"/>
                        </a:lnTo>
                        <a:cubicBezTo>
                          <a:pt x="934656" y="1042988"/>
                          <a:pt x="933505" y="1040249"/>
                          <a:pt x="931481" y="1038225"/>
                        </a:cubicBezTo>
                        <a:cubicBezTo>
                          <a:pt x="926864" y="1033608"/>
                          <a:pt x="923004" y="1033018"/>
                          <a:pt x="917193" y="1031081"/>
                        </a:cubicBezTo>
                        <a:cubicBezTo>
                          <a:pt x="899237" y="1037066"/>
                          <a:pt x="917889" y="1028296"/>
                          <a:pt x="914812" y="1040606"/>
                        </a:cubicBezTo>
                        <a:cubicBezTo>
                          <a:pt x="914203" y="1043041"/>
                          <a:pt x="910049" y="1042193"/>
                          <a:pt x="907668" y="1042987"/>
                        </a:cubicBezTo>
                        <a:cubicBezTo>
                          <a:pt x="890186" y="1037160"/>
                          <a:pt x="896931" y="1041775"/>
                          <a:pt x="886237" y="1031081"/>
                        </a:cubicBezTo>
                        <a:cubicBezTo>
                          <a:pt x="878299" y="1032669"/>
                          <a:pt x="869896" y="1032731"/>
                          <a:pt x="862424" y="1035844"/>
                        </a:cubicBezTo>
                        <a:cubicBezTo>
                          <a:pt x="843107" y="1043893"/>
                          <a:pt x="877879" y="1047030"/>
                          <a:pt x="845756" y="1040606"/>
                        </a:cubicBezTo>
                        <a:cubicBezTo>
                          <a:pt x="844168" y="1038225"/>
                          <a:pt x="842155" y="1036077"/>
                          <a:pt x="840993" y="1033462"/>
                        </a:cubicBezTo>
                        <a:cubicBezTo>
                          <a:pt x="833635" y="1016907"/>
                          <a:pt x="840406" y="1017194"/>
                          <a:pt x="821943" y="1004887"/>
                        </a:cubicBezTo>
                        <a:cubicBezTo>
                          <a:pt x="819562" y="1003300"/>
                          <a:pt x="817593" y="1000746"/>
                          <a:pt x="814799" y="1000125"/>
                        </a:cubicBezTo>
                        <a:cubicBezTo>
                          <a:pt x="803074" y="997519"/>
                          <a:pt x="790987" y="996950"/>
                          <a:pt x="779081" y="995362"/>
                        </a:cubicBezTo>
                        <a:cubicBezTo>
                          <a:pt x="776700" y="992981"/>
                          <a:pt x="773572" y="991163"/>
                          <a:pt x="771937" y="988219"/>
                        </a:cubicBezTo>
                        <a:cubicBezTo>
                          <a:pt x="766045" y="977614"/>
                          <a:pt x="770086" y="974461"/>
                          <a:pt x="762412" y="966787"/>
                        </a:cubicBezTo>
                        <a:cubicBezTo>
                          <a:pt x="760388" y="964763"/>
                          <a:pt x="757649" y="963612"/>
                          <a:pt x="755268" y="962025"/>
                        </a:cubicBezTo>
                        <a:cubicBezTo>
                          <a:pt x="748599" y="964248"/>
                          <a:pt x="740877" y="968059"/>
                          <a:pt x="733837" y="962025"/>
                        </a:cubicBezTo>
                        <a:cubicBezTo>
                          <a:pt x="730764" y="959391"/>
                          <a:pt x="732438" y="954045"/>
                          <a:pt x="731456" y="950119"/>
                        </a:cubicBezTo>
                        <a:cubicBezTo>
                          <a:pt x="730847" y="947684"/>
                          <a:pt x="729868" y="945356"/>
                          <a:pt x="729074" y="942975"/>
                        </a:cubicBezTo>
                        <a:cubicBezTo>
                          <a:pt x="728280" y="935831"/>
                          <a:pt x="727875" y="928634"/>
                          <a:pt x="726693" y="921544"/>
                        </a:cubicBezTo>
                        <a:cubicBezTo>
                          <a:pt x="726280" y="919068"/>
                          <a:pt x="725880" y="916360"/>
                          <a:pt x="724312" y="914400"/>
                        </a:cubicBezTo>
                        <a:cubicBezTo>
                          <a:pt x="722524" y="912165"/>
                          <a:pt x="719728" y="910917"/>
                          <a:pt x="717168" y="909637"/>
                        </a:cubicBezTo>
                        <a:cubicBezTo>
                          <a:pt x="714923" y="908514"/>
                          <a:pt x="712438" y="907946"/>
                          <a:pt x="710024" y="907256"/>
                        </a:cubicBezTo>
                        <a:cubicBezTo>
                          <a:pt x="697787" y="903760"/>
                          <a:pt x="696910" y="904426"/>
                          <a:pt x="681449" y="902494"/>
                        </a:cubicBezTo>
                        <a:cubicBezTo>
                          <a:pt x="679068" y="900906"/>
                          <a:pt x="676094" y="899966"/>
                          <a:pt x="674306" y="897731"/>
                        </a:cubicBezTo>
                        <a:cubicBezTo>
                          <a:pt x="668875" y="890942"/>
                          <a:pt x="675760" y="889176"/>
                          <a:pt x="667162" y="883444"/>
                        </a:cubicBezTo>
                        <a:cubicBezTo>
                          <a:pt x="664439" y="881629"/>
                          <a:pt x="660812" y="881856"/>
                          <a:pt x="657637" y="881062"/>
                        </a:cubicBezTo>
                        <a:cubicBezTo>
                          <a:pt x="655256" y="878681"/>
                          <a:pt x="652361" y="876721"/>
                          <a:pt x="650493" y="873919"/>
                        </a:cubicBezTo>
                        <a:cubicBezTo>
                          <a:pt x="649101" y="871830"/>
                          <a:pt x="649235" y="869020"/>
                          <a:pt x="648112" y="866775"/>
                        </a:cubicBezTo>
                        <a:cubicBezTo>
                          <a:pt x="646832" y="864215"/>
                          <a:pt x="644937" y="862012"/>
                          <a:pt x="643349" y="859631"/>
                        </a:cubicBezTo>
                        <a:cubicBezTo>
                          <a:pt x="640868" y="852186"/>
                          <a:pt x="638462" y="842880"/>
                          <a:pt x="631443" y="838200"/>
                        </a:cubicBezTo>
                        <a:lnTo>
                          <a:pt x="624299" y="833437"/>
                        </a:lnTo>
                        <a:cubicBezTo>
                          <a:pt x="613980" y="834231"/>
                          <a:pt x="603491" y="837848"/>
                          <a:pt x="593343" y="835819"/>
                        </a:cubicBezTo>
                        <a:cubicBezTo>
                          <a:pt x="589982" y="835147"/>
                          <a:pt x="586801" y="818876"/>
                          <a:pt x="586199" y="816769"/>
                        </a:cubicBezTo>
                        <a:cubicBezTo>
                          <a:pt x="581319" y="799691"/>
                          <a:pt x="586584" y="820911"/>
                          <a:pt x="569531" y="795337"/>
                        </a:cubicBezTo>
                        <a:cubicBezTo>
                          <a:pt x="567943" y="792956"/>
                          <a:pt x="567003" y="789982"/>
                          <a:pt x="564768" y="788194"/>
                        </a:cubicBezTo>
                        <a:cubicBezTo>
                          <a:pt x="562808" y="786626"/>
                          <a:pt x="559869" y="786935"/>
                          <a:pt x="557624" y="785812"/>
                        </a:cubicBezTo>
                        <a:cubicBezTo>
                          <a:pt x="555065" y="784532"/>
                          <a:pt x="553096" y="782212"/>
                          <a:pt x="550481" y="781050"/>
                        </a:cubicBezTo>
                        <a:cubicBezTo>
                          <a:pt x="545893" y="779011"/>
                          <a:pt x="536193" y="776287"/>
                          <a:pt x="536193" y="776287"/>
                        </a:cubicBezTo>
                        <a:cubicBezTo>
                          <a:pt x="540816" y="762419"/>
                          <a:pt x="543385" y="762143"/>
                          <a:pt x="538574" y="747712"/>
                        </a:cubicBezTo>
                        <a:cubicBezTo>
                          <a:pt x="537669" y="744997"/>
                          <a:pt x="535966" y="742453"/>
                          <a:pt x="533812" y="740569"/>
                        </a:cubicBezTo>
                        <a:cubicBezTo>
                          <a:pt x="529504" y="736800"/>
                          <a:pt x="519524" y="731044"/>
                          <a:pt x="519524" y="731044"/>
                        </a:cubicBezTo>
                        <a:cubicBezTo>
                          <a:pt x="517143" y="732631"/>
                          <a:pt x="514941" y="734526"/>
                          <a:pt x="512381" y="735806"/>
                        </a:cubicBezTo>
                        <a:cubicBezTo>
                          <a:pt x="510136" y="736928"/>
                          <a:pt x="506169" y="740518"/>
                          <a:pt x="505237" y="738187"/>
                        </a:cubicBezTo>
                        <a:cubicBezTo>
                          <a:pt x="503444" y="733704"/>
                          <a:pt x="506824" y="728662"/>
                          <a:pt x="507618" y="723900"/>
                        </a:cubicBezTo>
                        <a:cubicBezTo>
                          <a:pt x="506824" y="711994"/>
                          <a:pt x="506555" y="700041"/>
                          <a:pt x="505237" y="688181"/>
                        </a:cubicBezTo>
                        <a:cubicBezTo>
                          <a:pt x="504488" y="681443"/>
                          <a:pt x="496399" y="669818"/>
                          <a:pt x="493331" y="666750"/>
                        </a:cubicBezTo>
                        <a:cubicBezTo>
                          <a:pt x="490950" y="664369"/>
                          <a:pt x="488343" y="662193"/>
                          <a:pt x="486187" y="659606"/>
                        </a:cubicBezTo>
                        <a:cubicBezTo>
                          <a:pt x="484355" y="657407"/>
                          <a:pt x="483012" y="654843"/>
                          <a:pt x="481424" y="652462"/>
                        </a:cubicBezTo>
                        <a:cubicBezTo>
                          <a:pt x="480630" y="639762"/>
                          <a:pt x="480249" y="627029"/>
                          <a:pt x="479043" y="614362"/>
                        </a:cubicBezTo>
                        <a:cubicBezTo>
                          <a:pt x="478006" y="603475"/>
                          <a:pt x="476803" y="604137"/>
                          <a:pt x="474281" y="595312"/>
                        </a:cubicBezTo>
                        <a:cubicBezTo>
                          <a:pt x="471519" y="585644"/>
                          <a:pt x="473440" y="586208"/>
                          <a:pt x="467137" y="578644"/>
                        </a:cubicBezTo>
                        <a:cubicBezTo>
                          <a:pt x="464981" y="576057"/>
                          <a:pt x="462149" y="574087"/>
                          <a:pt x="459993" y="571500"/>
                        </a:cubicBezTo>
                        <a:cubicBezTo>
                          <a:pt x="452513" y="562524"/>
                          <a:pt x="456699" y="560082"/>
                          <a:pt x="440943" y="554831"/>
                        </a:cubicBezTo>
                        <a:lnTo>
                          <a:pt x="426656" y="550069"/>
                        </a:lnTo>
                        <a:cubicBezTo>
                          <a:pt x="425862" y="552450"/>
                          <a:pt x="426735" y="556720"/>
                          <a:pt x="424274" y="557212"/>
                        </a:cubicBezTo>
                        <a:cubicBezTo>
                          <a:pt x="420793" y="557908"/>
                          <a:pt x="417637" y="554513"/>
                          <a:pt x="414749" y="552450"/>
                        </a:cubicBezTo>
                        <a:cubicBezTo>
                          <a:pt x="412009" y="550493"/>
                          <a:pt x="410193" y="547462"/>
                          <a:pt x="407606" y="545306"/>
                        </a:cubicBezTo>
                        <a:cubicBezTo>
                          <a:pt x="394118" y="534066"/>
                          <a:pt x="407227" y="547417"/>
                          <a:pt x="390937" y="535781"/>
                        </a:cubicBezTo>
                        <a:cubicBezTo>
                          <a:pt x="388197" y="533823"/>
                          <a:pt x="386717" y="530308"/>
                          <a:pt x="383793" y="528637"/>
                        </a:cubicBezTo>
                        <a:cubicBezTo>
                          <a:pt x="380951" y="527013"/>
                          <a:pt x="377403" y="527196"/>
                          <a:pt x="374268" y="526256"/>
                        </a:cubicBezTo>
                        <a:cubicBezTo>
                          <a:pt x="374195" y="526234"/>
                          <a:pt x="356445" y="520315"/>
                          <a:pt x="352837" y="519112"/>
                        </a:cubicBezTo>
                        <a:lnTo>
                          <a:pt x="345693" y="516731"/>
                        </a:lnTo>
                        <a:lnTo>
                          <a:pt x="338549" y="514350"/>
                        </a:lnTo>
                        <a:cubicBezTo>
                          <a:pt x="324902" y="493877"/>
                          <a:pt x="343074" y="517970"/>
                          <a:pt x="326643" y="504825"/>
                        </a:cubicBezTo>
                        <a:cubicBezTo>
                          <a:pt x="324408" y="503037"/>
                          <a:pt x="323713" y="499880"/>
                          <a:pt x="321881" y="497681"/>
                        </a:cubicBezTo>
                        <a:cubicBezTo>
                          <a:pt x="319725" y="495094"/>
                          <a:pt x="317324" y="492693"/>
                          <a:pt x="314737" y="490537"/>
                        </a:cubicBezTo>
                        <a:cubicBezTo>
                          <a:pt x="312538" y="488705"/>
                          <a:pt x="310208" y="486937"/>
                          <a:pt x="307593" y="485775"/>
                        </a:cubicBezTo>
                        <a:cubicBezTo>
                          <a:pt x="303006" y="483736"/>
                          <a:pt x="293306" y="481012"/>
                          <a:pt x="293306" y="481012"/>
                        </a:cubicBezTo>
                        <a:cubicBezTo>
                          <a:pt x="285368" y="481806"/>
                          <a:pt x="277163" y="481203"/>
                          <a:pt x="269493" y="483394"/>
                        </a:cubicBezTo>
                        <a:cubicBezTo>
                          <a:pt x="265677" y="484484"/>
                          <a:pt x="263333" y="488434"/>
                          <a:pt x="259968" y="490537"/>
                        </a:cubicBezTo>
                        <a:cubicBezTo>
                          <a:pt x="253239" y="494743"/>
                          <a:pt x="250246" y="495366"/>
                          <a:pt x="243299" y="497681"/>
                        </a:cubicBezTo>
                        <a:cubicBezTo>
                          <a:pt x="240918" y="499269"/>
                          <a:pt x="237944" y="500209"/>
                          <a:pt x="236156" y="502444"/>
                        </a:cubicBezTo>
                        <a:cubicBezTo>
                          <a:pt x="234588" y="504404"/>
                          <a:pt x="234464" y="507174"/>
                          <a:pt x="233774" y="509587"/>
                        </a:cubicBezTo>
                        <a:cubicBezTo>
                          <a:pt x="232875" y="512734"/>
                          <a:pt x="233437" y="516556"/>
                          <a:pt x="231393" y="519112"/>
                        </a:cubicBezTo>
                        <a:cubicBezTo>
                          <a:pt x="229825" y="521072"/>
                          <a:pt x="226494" y="520371"/>
                          <a:pt x="224249" y="521494"/>
                        </a:cubicBezTo>
                        <a:cubicBezTo>
                          <a:pt x="205792" y="530723"/>
                          <a:pt x="227913" y="522654"/>
                          <a:pt x="209962" y="528637"/>
                        </a:cubicBezTo>
                        <a:cubicBezTo>
                          <a:pt x="199422" y="535664"/>
                          <a:pt x="204282" y="530110"/>
                          <a:pt x="200437" y="542925"/>
                        </a:cubicBezTo>
                        <a:cubicBezTo>
                          <a:pt x="198994" y="547733"/>
                          <a:pt x="200436" y="555624"/>
                          <a:pt x="195674" y="557212"/>
                        </a:cubicBezTo>
                        <a:cubicBezTo>
                          <a:pt x="193293" y="558006"/>
                          <a:pt x="190881" y="558713"/>
                          <a:pt x="188531" y="559594"/>
                        </a:cubicBezTo>
                        <a:cubicBezTo>
                          <a:pt x="184529" y="561095"/>
                          <a:pt x="180718" y="563128"/>
                          <a:pt x="176624" y="564356"/>
                        </a:cubicBezTo>
                        <a:cubicBezTo>
                          <a:pt x="172747" y="565519"/>
                          <a:pt x="168644" y="565755"/>
                          <a:pt x="164718" y="566737"/>
                        </a:cubicBezTo>
                        <a:cubicBezTo>
                          <a:pt x="162283" y="567346"/>
                          <a:pt x="159988" y="568429"/>
                          <a:pt x="157574" y="569119"/>
                        </a:cubicBezTo>
                        <a:cubicBezTo>
                          <a:pt x="154427" y="570018"/>
                          <a:pt x="151196" y="570601"/>
                          <a:pt x="148049" y="571500"/>
                        </a:cubicBezTo>
                        <a:cubicBezTo>
                          <a:pt x="145636" y="572189"/>
                          <a:pt x="143375" y="573432"/>
                          <a:pt x="140906" y="573881"/>
                        </a:cubicBezTo>
                        <a:cubicBezTo>
                          <a:pt x="134610" y="575026"/>
                          <a:pt x="128206" y="575468"/>
                          <a:pt x="121856" y="576262"/>
                        </a:cubicBezTo>
                        <a:cubicBezTo>
                          <a:pt x="103813" y="580774"/>
                          <a:pt x="115420" y="579607"/>
                          <a:pt x="119474" y="571500"/>
                        </a:cubicBezTo>
                        <a:cubicBezTo>
                          <a:pt x="127520" y="555408"/>
                          <a:pt x="114810" y="561944"/>
                          <a:pt x="128999" y="557212"/>
                        </a:cubicBezTo>
                        <a:cubicBezTo>
                          <a:pt x="129793" y="554831"/>
                          <a:pt x="130162" y="552263"/>
                          <a:pt x="131381" y="550069"/>
                        </a:cubicBezTo>
                        <a:cubicBezTo>
                          <a:pt x="134161" y="545065"/>
                          <a:pt x="140906" y="535781"/>
                          <a:pt x="140906" y="535781"/>
                        </a:cubicBezTo>
                        <a:cubicBezTo>
                          <a:pt x="138525" y="534987"/>
                          <a:pt x="134307" y="535850"/>
                          <a:pt x="133762" y="533400"/>
                        </a:cubicBezTo>
                        <a:cubicBezTo>
                          <a:pt x="129490" y="514180"/>
                          <a:pt x="144946" y="511416"/>
                          <a:pt x="128999" y="516731"/>
                        </a:cubicBezTo>
                        <a:cubicBezTo>
                          <a:pt x="109155" y="515937"/>
                          <a:pt x="89097" y="517370"/>
                          <a:pt x="69468" y="514350"/>
                        </a:cubicBezTo>
                        <a:cubicBezTo>
                          <a:pt x="66987" y="513968"/>
                          <a:pt x="68479" y="509295"/>
                          <a:pt x="67087" y="507206"/>
                        </a:cubicBezTo>
                        <a:cubicBezTo>
                          <a:pt x="61991" y="499561"/>
                          <a:pt x="60289" y="500177"/>
                          <a:pt x="52799" y="497681"/>
                        </a:cubicBezTo>
                        <a:cubicBezTo>
                          <a:pt x="53593" y="494506"/>
                          <a:pt x="57276" y="490670"/>
                          <a:pt x="55181" y="488156"/>
                        </a:cubicBezTo>
                        <a:cubicBezTo>
                          <a:pt x="51967" y="484299"/>
                          <a:pt x="40893" y="483394"/>
                          <a:pt x="40893" y="483394"/>
                        </a:cubicBezTo>
                        <a:cubicBezTo>
                          <a:pt x="40099" y="479425"/>
                          <a:pt x="39494" y="475414"/>
                          <a:pt x="38512" y="471487"/>
                        </a:cubicBezTo>
                        <a:cubicBezTo>
                          <a:pt x="37903" y="469052"/>
                          <a:pt x="36131" y="466854"/>
                          <a:pt x="36131" y="464344"/>
                        </a:cubicBezTo>
                        <a:cubicBezTo>
                          <a:pt x="36131" y="460296"/>
                          <a:pt x="37718" y="456406"/>
                          <a:pt x="38512" y="452437"/>
                        </a:cubicBezTo>
                        <a:cubicBezTo>
                          <a:pt x="35580" y="443640"/>
                          <a:pt x="33040" y="439570"/>
                          <a:pt x="38512" y="428625"/>
                        </a:cubicBezTo>
                        <a:cubicBezTo>
                          <a:pt x="39635" y="426380"/>
                          <a:pt x="43275" y="427038"/>
                          <a:pt x="45656" y="426244"/>
                        </a:cubicBezTo>
                        <a:cubicBezTo>
                          <a:pt x="48037" y="424656"/>
                          <a:pt x="50239" y="422761"/>
                          <a:pt x="52799" y="421481"/>
                        </a:cubicBezTo>
                        <a:cubicBezTo>
                          <a:pt x="55044" y="420358"/>
                          <a:pt x="57983" y="420668"/>
                          <a:pt x="59943" y="419100"/>
                        </a:cubicBezTo>
                        <a:cubicBezTo>
                          <a:pt x="62178" y="417312"/>
                          <a:pt x="63118" y="414337"/>
                          <a:pt x="64706" y="411956"/>
                        </a:cubicBezTo>
                        <a:cubicBezTo>
                          <a:pt x="62607" y="399368"/>
                          <a:pt x="65894" y="397667"/>
                          <a:pt x="55181" y="392906"/>
                        </a:cubicBezTo>
                        <a:cubicBezTo>
                          <a:pt x="50593" y="390867"/>
                          <a:pt x="40893" y="388144"/>
                          <a:pt x="40893" y="388144"/>
                        </a:cubicBezTo>
                        <a:cubicBezTo>
                          <a:pt x="38512" y="388938"/>
                          <a:pt x="35928" y="389280"/>
                          <a:pt x="33749" y="390525"/>
                        </a:cubicBezTo>
                        <a:cubicBezTo>
                          <a:pt x="24207" y="395977"/>
                          <a:pt x="20383" y="403429"/>
                          <a:pt x="28987" y="390525"/>
                        </a:cubicBezTo>
                        <a:cubicBezTo>
                          <a:pt x="26606" y="389731"/>
                          <a:pt x="23803" y="389712"/>
                          <a:pt x="21843" y="388144"/>
                        </a:cubicBezTo>
                        <a:cubicBezTo>
                          <a:pt x="9214" y="378040"/>
                          <a:pt x="26810" y="380478"/>
                          <a:pt x="14699" y="364331"/>
                        </a:cubicBezTo>
                        <a:cubicBezTo>
                          <a:pt x="12271" y="361093"/>
                          <a:pt x="6762" y="362744"/>
                          <a:pt x="2793" y="361950"/>
                        </a:cubicBezTo>
                        <a:cubicBezTo>
                          <a:pt x="1246" y="357308"/>
                          <a:pt x="-2633" y="349932"/>
                          <a:pt x="2793" y="345281"/>
                        </a:cubicBezTo>
                        <a:cubicBezTo>
                          <a:pt x="6605" y="342014"/>
                          <a:pt x="17081" y="340519"/>
                          <a:pt x="17081" y="340519"/>
                        </a:cubicBezTo>
                        <a:cubicBezTo>
                          <a:pt x="19462" y="342900"/>
                          <a:pt x="20986" y="346737"/>
                          <a:pt x="24224" y="347662"/>
                        </a:cubicBezTo>
                        <a:lnTo>
                          <a:pt x="40893" y="342900"/>
                        </a:lnTo>
                        <a:cubicBezTo>
                          <a:pt x="49520" y="329960"/>
                          <a:pt x="40560" y="339751"/>
                          <a:pt x="57562" y="333375"/>
                        </a:cubicBezTo>
                        <a:cubicBezTo>
                          <a:pt x="60242" y="332370"/>
                          <a:pt x="62146" y="329892"/>
                          <a:pt x="64706" y="328612"/>
                        </a:cubicBezTo>
                        <a:cubicBezTo>
                          <a:pt x="66951" y="327490"/>
                          <a:pt x="69468" y="327025"/>
                          <a:pt x="71849" y="326231"/>
                        </a:cubicBezTo>
                        <a:cubicBezTo>
                          <a:pt x="77036" y="327268"/>
                          <a:pt x="89232" y="333141"/>
                          <a:pt x="90899" y="321469"/>
                        </a:cubicBezTo>
                        <a:cubicBezTo>
                          <a:pt x="91401" y="317955"/>
                          <a:pt x="87724" y="315119"/>
                          <a:pt x="86137" y="311944"/>
                        </a:cubicBezTo>
                        <a:cubicBezTo>
                          <a:pt x="86931" y="305594"/>
                          <a:pt x="87373" y="299190"/>
                          <a:pt x="88518" y="292894"/>
                        </a:cubicBezTo>
                        <a:cubicBezTo>
                          <a:pt x="88967" y="290424"/>
                          <a:pt x="92674" y="287525"/>
                          <a:pt x="90899" y="285750"/>
                        </a:cubicBezTo>
                        <a:cubicBezTo>
                          <a:pt x="87349" y="282200"/>
                          <a:pt x="76612" y="280987"/>
                          <a:pt x="76612" y="280987"/>
                        </a:cubicBezTo>
                        <a:cubicBezTo>
                          <a:pt x="75024" y="278606"/>
                          <a:pt x="73129" y="276404"/>
                          <a:pt x="71849" y="273844"/>
                        </a:cubicBezTo>
                        <a:cubicBezTo>
                          <a:pt x="68525" y="267196"/>
                          <a:pt x="67964" y="256169"/>
                          <a:pt x="67087" y="250031"/>
                        </a:cubicBezTo>
                        <a:cubicBezTo>
                          <a:pt x="58849" y="252777"/>
                          <a:pt x="55713" y="255060"/>
                          <a:pt x="45656" y="250031"/>
                        </a:cubicBezTo>
                        <a:cubicBezTo>
                          <a:pt x="43096" y="248751"/>
                          <a:pt x="42481" y="245268"/>
                          <a:pt x="40893" y="242887"/>
                        </a:cubicBezTo>
                        <a:cubicBezTo>
                          <a:pt x="41687" y="236537"/>
                          <a:pt x="41087" y="229851"/>
                          <a:pt x="43274" y="223837"/>
                        </a:cubicBezTo>
                        <a:cubicBezTo>
                          <a:pt x="44740" y="219805"/>
                          <a:pt x="54162" y="214198"/>
                          <a:pt x="57562" y="211931"/>
                        </a:cubicBezTo>
                        <a:cubicBezTo>
                          <a:pt x="63283" y="194768"/>
                          <a:pt x="57660" y="195883"/>
                          <a:pt x="74231" y="200025"/>
                        </a:cubicBezTo>
                        <a:cubicBezTo>
                          <a:pt x="76666" y="200634"/>
                          <a:pt x="78993" y="201612"/>
                          <a:pt x="81374" y="202406"/>
                        </a:cubicBezTo>
                        <a:cubicBezTo>
                          <a:pt x="82168" y="204787"/>
                          <a:pt x="81375" y="208756"/>
                          <a:pt x="83756" y="209550"/>
                        </a:cubicBezTo>
                        <a:cubicBezTo>
                          <a:pt x="85389" y="210094"/>
                          <a:pt x="99721" y="206330"/>
                          <a:pt x="102806" y="204787"/>
                        </a:cubicBezTo>
                        <a:cubicBezTo>
                          <a:pt x="105365" y="203507"/>
                          <a:pt x="107319" y="201152"/>
                          <a:pt x="109949" y="200025"/>
                        </a:cubicBezTo>
                        <a:cubicBezTo>
                          <a:pt x="112957" y="198736"/>
                          <a:pt x="116339" y="198584"/>
                          <a:pt x="119474" y="197644"/>
                        </a:cubicBezTo>
                        <a:cubicBezTo>
                          <a:pt x="124283" y="196201"/>
                          <a:pt x="128999" y="194469"/>
                          <a:pt x="133762" y="192881"/>
                        </a:cubicBezTo>
                        <a:lnTo>
                          <a:pt x="140906" y="190500"/>
                        </a:lnTo>
                        <a:cubicBezTo>
                          <a:pt x="143287" y="192087"/>
                          <a:pt x="146026" y="193239"/>
                          <a:pt x="148049" y="195262"/>
                        </a:cubicBezTo>
                        <a:cubicBezTo>
                          <a:pt x="150855" y="198068"/>
                          <a:pt x="151545" y="203224"/>
                          <a:pt x="155193" y="204787"/>
                        </a:cubicBezTo>
                        <a:cubicBezTo>
                          <a:pt x="158201" y="206076"/>
                          <a:pt x="161474" y="202838"/>
                          <a:pt x="164718" y="202406"/>
                        </a:cubicBezTo>
                        <a:cubicBezTo>
                          <a:pt x="173408" y="201247"/>
                          <a:pt x="182181" y="200819"/>
                          <a:pt x="190912" y="200025"/>
                        </a:cubicBezTo>
                        <a:cubicBezTo>
                          <a:pt x="191706" y="197644"/>
                          <a:pt x="192170" y="195126"/>
                          <a:pt x="193293" y="192881"/>
                        </a:cubicBezTo>
                        <a:cubicBezTo>
                          <a:pt x="194573" y="190321"/>
                          <a:pt x="197586" y="188560"/>
                          <a:pt x="198056" y="185737"/>
                        </a:cubicBezTo>
                        <a:cubicBezTo>
                          <a:pt x="198469" y="183261"/>
                          <a:pt x="196555" y="180944"/>
                          <a:pt x="195674" y="178594"/>
                        </a:cubicBezTo>
                        <a:cubicBezTo>
                          <a:pt x="190679" y="165274"/>
                          <a:pt x="192728" y="169411"/>
                          <a:pt x="186149" y="159544"/>
                        </a:cubicBezTo>
                        <a:cubicBezTo>
                          <a:pt x="212423" y="154289"/>
                          <a:pt x="202282" y="157341"/>
                          <a:pt x="217106" y="152400"/>
                        </a:cubicBezTo>
                        <a:cubicBezTo>
                          <a:pt x="214725" y="150019"/>
                          <a:pt x="212549" y="147412"/>
                          <a:pt x="209962" y="145256"/>
                        </a:cubicBezTo>
                        <a:cubicBezTo>
                          <a:pt x="207763" y="143424"/>
                          <a:pt x="202257" y="143300"/>
                          <a:pt x="202818" y="140494"/>
                        </a:cubicBezTo>
                        <a:cubicBezTo>
                          <a:pt x="203596" y="136602"/>
                          <a:pt x="208793" y="135125"/>
                          <a:pt x="212343" y="133350"/>
                        </a:cubicBezTo>
                        <a:cubicBezTo>
                          <a:pt x="246350" y="116346"/>
                          <a:pt x="212761" y="137834"/>
                          <a:pt x="233774" y="123825"/>
                        </a:cubicBezTo>
                        <a:cubicBezTo>
                          <a:pt x="235362" y="121444"/>
                          <a:pt x="237410" y="119312"/>
                          <a:pt x="238537" y="116681"/>
                        </a:cubicBezTo>
                        <a:cubicBezTo>
                          <a:pt x="239826" y="113673"/>
                          <a:pt x="238300" y="109120"/>
                          <a:pt x="240918" y="107156"/>
                        </a:cubicBezTo>
                        <a:cubicBezTo>
                          <a:pt x="242926" y="105650"/>
                          <a:pt x="245681" y="108743"/>
                          <a:pt x="248062" y="109537"/>
                        </a:cubicBezTo>
                        <a:cubicBezTo>
                          <a:pt x="248856" y="111918"/>
                          <a:pt x="249899" y="114231"/>
                          <a:pt x="250443" y="116681"/>
                        </a:cubicBezTo>
                        <a:cubicBezTo>
                          <a:pt x="251490" y="121394"/>
                          <a:pt x="250665" y="126650"/>
                          <a:pt x="252824" y="130969"/>
                        </a:cubicBezTo>
                        <a:cubicBezTo>
                          <a:pt x="255173" y="135667"/>
                          <a:pt x="265789" y="137186"/>
                          <a:pt x="269493" y="138112"/>
                        </a:cubicBezTo>
                        <a:cubicBezTo>
                          <a:pt x="270287" y="140493"/>
                          <a:pt x="272668" y="142875"/>
                          <a:pt x="271874" y="145256"/>
                        </a:cubicBezTo>
                        <a:cubicBezTo>
                          <a:pt x="270809" y="148451"/>
                          <a:pt x="266599" y="149598"/>
                          <a:pt x="264731" y="152400"/>
                        </a:cubicBezTo>
                        <a:cubicBezTo>
                          <a:pt x="263339" y="154489"/>
                          <a:pt x="263143" y="157163"/>
                          <a:pt x="262349" y="159544"/>
                        </a:cubicBezTo>
                        <a:cubicBezTo>
                          <a:pt x="263143" y="164306"/>
                          <a:pt x="261925" y="169902"/>
                          <a:pt x="264731" y="173831"/>
                        </a:cubicBezTo>
                        <a:cubicBezTo>
                          <a:pt x="266633" y="176494"/>
                          <a:pt x="271021" y="175714"/>
                          <a:pt x="274256" y="176212"/>
                        </a:cubicBezTo>
                        <a:cubicBezTo>
                          <a:pt x="281360" y="177305"/>
                          <a:pt x="288543" y="177800"/>
                          <a:pt x="295687" y="178594"/>
                        </a:cubicBezTo>
                        <a:cubicBezTo>
                          <a:pt x="294893" y="180975"/>
                          <a:pt x="293306" y="183227"/>
                          <a:pt x="293306" y="185737"/>
                        </a:cubicBezTo>
                        <a:cubicBezTo>
                          <a:pt x="293306" y="190565"/>
                          <a:pt x="294640" y="195312"/>
                          <a:pt x="295687" y="200025"/>
                        </a:cubicBezTo>
                        <a:cubicBezTo>
                          <a:pt x="296902" y="205492"/>
                          <a:pt x="300182" y="212059"/>
                          <a:pt x="302831" y="216694"/>
                        </a:cubicBezTo>
                        <a:cubicBezTo>
                          <a:pt x="304251" y="219179"/>
                          <a:pt x="305570" y="221814"/>
                          <a:pt x="307593" y="223837"/>
                        </a:cubicBezTo>
                        <a:cubicBezTo>
                          <a:pt x="309617" y="225861"/>
                          <a:pt x="312356" y="227012"/>
                          <a:pt x="314737" y="228600"/>
                        </a:cubicBezTo>
                        <a:cubicBezTo>
                          <a:pt x="318706" y="227806"/>
                          <a:pt x="324561" y="229690"/>
                          <a:pt x="326643" y="226219"/>
                        </a:cubicBezTo>
                        <a:cubicBezTo>
                          <a:pt x="335933" y="210735"/>
                          <a:pt x="332380" y="205274"/>
                          <a:pt x="321881" y="200025"/>
                        </a:cubicBezTo>
                        <a:cubicBezTo>
                          <a:pt x="319636" y="198903"/>
                          <a:pt x="317118" y="198438"/>
                          <a:pt x="314737" y="197644"/>
                        </a:cubicBezTo>
                        <a:cubicBezTo>
                          <a:pt x="319555" y="168735"/>
                          <a:pt x="311485" y="191197"/>
                          <a:pt x="324262" y="180975"/>
                        </a:cubicBezTo>
                        <a:cubicBezTo>
                          <a:pt x="326497" y="179187"/>
                          <a:pt x="327123" y="175970"/>
                          <a:pt x="329024" y="173831"/>
                        </a:cubicBezTo>
                        <a:cubicBezTo>
                          <a:pt x="333499" y="168797"/>
                          <a:pt x="343312" y="159544"/>
                          <a:pt x="343312" y="159544"/>
                        </a:cubicBezTo>
                        <a:cubicBezTo>
                          <a:pt x="344899" y="154781"/>
                          <a:pt x="347689" y="150261"/>
                          <a:pt x="348074" y="145256"/>
                        </a:cubicBezTo>
                        <a:cubicBezTo>
                          <a:pt x="348868" y="134937"/>
                          <a:pt x="347613" y="124251"/>
                          <a:pt x="350456" y="114300"/>
                        </a:cubicBezTo>
                        <a:cubicBezTo>
                          <a:pt x="351146" y="111887"/>
                          <a:pt x="355218" y="112713"/>
                          <a:pt x="357599" y="111919"/>
                        </a:cubicBezTo>
                        <a:cubicBezTo>
                          <a:pt x="359980" y="112713"/>
                          <a:pt x="362968" y="112525"/>
                          <a:pt x="364743" y="114300"/>
                        </a:cubicBezTo>
                        <a:cubicBezTo>
                          <a:pt x="370658" y="120215"/>
                          <a:pt x="362733" y="128029"/>
                          <a:pt x="371887" y="114300"/>
                        </a:cubicBezTo>
                        <a:cubicBezTo>
                          <a:pt x="388144" y="130557"/>
                          <a:pt x="369982" y="109537"/>
                          <a:pt x="381412" y="138112"/>
                        </a:cubicBezTo>
                        <a:cubicBezTo>
                          <a:pt x="383078" y="142278"/>
                          <a:pt x="392128" y="147638"/>
                          <a:pt x="395699" y="150019"/>
                        </a:cubicBezTo>
                        <a:cubicBezTo>
                          <a:pt x="400462" y="149225"/>
                          <a:pt x="406573" y="151051"/>
                          <a:pt x="409987" y="147637"/>
                        </a:cubicBezTo>
                        <a:cubicBezTo>
                          <a:pt x="413401" y="144223"/>
                          <a:pt x="409189" y="136983"/>
                          <a:pt x="412368" y="133350"/>
                        </a:cubicBezTo>
                        <a:cubicBezTo>
                          <a:pt x="415674" y="129572"/>
                          <a:pt x="426656" y="128587"/>
                          <a:pt x="426656" y="128587"/>
                        </a:cubicBezTo>
                        <a:cubicBezTo>
                          <a:pt x="435335" y="154627"/>
                          <a:pt x="421496" y="115194"/>
                          <a:pt x="433799" y="142875"/>
                        </a:cubicBezTo>
                        <a:cubicBezTo>
                          <a:pt x="442206" y="161790"/>
                          <a:pt x="432289" y="154025"/>
                          <a:pt x="448087" y="161925"/>
                        </a:cubicBezTo>
                        <a:cubicBezTo>
                          <a:pt x="453643" y="161131"/>
                          <a:pt x="462030" y="164450"/>
                          <a:pt x="464756" y="159544"/>
                        </a:cubicBezTo>
                        <a:cubicBezTo>
                          <a:pt x="473987" y="142928"/>
                          <a:pt x="460602" y="140697"/>
                          <a:pt x="452849" y="138112"/>
                        </a:cubicBezTo>
                        <a:cubicBezTo>
                          <a:pt x="454553" y="124480"/>
                          <a:pt x="459243" y="120693"/>
                          <a:pt x="450468" y="111919"/>
                        </a:cubicBezTo>
                        <a:cubicBezTo>
                          <a:pt x="448444" y="109895"/>
                          <a:pt x="445705" y="108744"/>
                          <a:pt x="443324" y="107156"/>
                        </a:cubicBezTo>
                        <a:cubicBezTo>
                          <a:pt x="442530" y="104775"/>
                          <a:pt x="440943" y="102522"/>
                          <a:pt x="440943" y="100012"/>
                        </a:cubicBezTo>
                        <a:cubicBezTo>
                          <a:pt x="440943" y="92345"/>
                          <a:pt x="444983" y="91763"/>
                          <a:pt x="450468" y="88106"/>
                        </a:cubicBezTo>
                        <a:cubicBezTo>
                          <a:pt x="468596" y="94149"/>
                          <a:pt x="459833" y="93854"/>
                          <a:pt x="476662" y="90487"/>
                        </a:cubicBezTo>
                        <a:cubicBezTo>
                          <a:pt x="479837" y="91281"/>
                          <a:pt x="483179" y="91580"/>
                          <a:pt x="486187" y="92869"/>
                        </a:cubicBezTo>
                        <a:cubicBezTo>
                          <a:pt x="488817" y="93996"/>
                          <a:pt x="490498" y="97226"/>
                          <a:pt x="493331" y="97631"/>
                        </a:cubicBezTo>
                        <a:cubicBezTo>
                          <a:pt x="496571" y="98094"/>
                          <a:pt x="499681" y="96044"/>
                          <a:pt x="502856" y="95250"/>
                        </a:cubicBezTo>
                        <a:cubicBezTo>
                          <a:pt x="505237" y="93662"/>
                          <a:pt x="508936" y="93144"/>
                          <a:pt x="509999" y="90487"/>
                        </a:cubicBezTo>
                        <a:cubicBezTo>
                          <a:pt x="510931" y="88157"/>
                          <a:pt x="509393" y="85119"/>
                          <a:pt x="507618" y="83344"/>
                        </a:cubicBezTo>
                        <a:cubicBezTo>
                          <a:pt x="505843" y="81569"/>
                          <a:pt x="502719" y="82085"/>
                          <a:pt x="500474" y="80962"/>
                        </a:cubicBezTo>
                        <a:cubicBezTo>
                          <a:pt x="497915" y="79682"/>
                          <a:pt x="495891" y="77480"/>
                          <a:pt x="493331" y="76200"/>
                        </a:cubicBezTo>
                        <a:cubicBezTo>
                          <a:pt x="480966" y="70018"/>
                          <a:pt x="494124" y="100013"/>
                          <a:pt x="495712" y="10239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797" name="Freeform: Shape 796">
                    <a:extLst>
                      <a:ext uri="{FF2B5EF4-FFF2-40B4-BE49-F238E27FC236}">
                        <a16:creationId xmlns:a16="http://schemas.microsoft.com/office/drawing/2014/main" id="{46622B63-03BE-4403-A1E1-8058DDE44CE4}"/>
                      </a:ext>
                    </a:extLst>
                  </p:cNvPr>
                  <p:cNvSpPr/>
                  <p:nvPr/>
                </p:nvSpPr>
                <p:spPr>
                  <a:xfrm>
                    <a:off x="4588669" y="5350601"/>
                    <a:ext cx="30974" cy="74027"/>
                  </a:xfrm>
                  <a:custGeom>
                    <a:avLst/>
                    <a:gdLst>
                      <a:gd name="connsiteX0" fmla="*/ 30956 w 30974"/>
                      <a:gd name="connsiteY0" fmla="*/ 68 h 74027"/>
                      <a:gd name="connsiteX1" fmla="*/ 21431 w 30974"/>
                      <a:gd name="connsiteY1" fmla="*/ 11974 h 74027"/>
                      <a:gd name="connsiteX2" fmla="*/ 14287 w 30974"/>
                      <a:gd name="connsiteY2" fmla="*/ 14355 h 74027"/>
                      <a:gd name="connsiteX3" fmla="*/ 11906 w 30974"/>
                      <a:gd name="connsiteY3" fmla="*/ 28643 h 74027"/>
                      <a:gd name="connsiteX4" fmla="*/ 7144 w 30974"/>
                      <a:gd name="connsiteY4" fmla="*/ 35787 h 74027"/>
                      <a:gd name="connsiteX5" fmla="*/ 4762 w 30974"/>
                      <a:gd name="connsiteY5" fmla="*/ 64362 h 74027"/>
                      <a:gd name="connsiteX6" fmla="*/ 2381 w 30974"/>
                      <a:gd name="connsiteY6" fmla="*/ 73887 h 74027"/>
                      <a:gd name="connsiteX7" fmla="*/ 0 w 30974"/>
                      <a:gd name="connsiteY7" fmla="*/ 66743 h 74027"/>
                      <a:gd name="connsiteX8" fmla="*/ 0 w 30974"/>
                      <a:gd name="connsiteY8" fmla="*/ 52455 h 74027"/>
                      <a:gd name="connsiteX9" fmla="*/ 7144 w 30974"/>
                      <a:gd name="connsiteY9" fmla="*/ 33405 h 74027"/>
                      <a:gd name="connsiteX10" fmla="*/ 2381 w 30974"/>
                      <a:gd name="connsiteY10" fmla="*/ 26262 h 74027"/>
                      <a:gd name="connsiteX11" fmla="*/ 14287 w 30974"/>
                      <a:gd name="connsiteY11" fmla="*/ 14355 h 74027"/>
                      <a:gd name="connsiteX12" fmla="*/ 19050 w 30974"/>
                      <a:gd name="connsiteY12" fmla="*/ 7212 h 74027"/>
                      <a:gd name="connsiteX13" fmla="*/ 30956 w 30974"/>
                      <a:gd name="connsiteY13" fmla="*/ 68 h 74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974" h="74027">
                        <a:moveTo>
                          <a:pt x="30956" y="68"/>
                        </a:moveTo>
                        <a:cubicBezTo>
                          <a:pt x="31353" y="862"/>
                          <a:pt x="25290" y="8667"/>
                          <a:pt x="21431" y="11974"/>
                        </a:cubicBezTo>
                        <a:cubicBezTo>
                          <a:pt x="19525" y="13608"/>
                          <a:pt x="15532" y="12176"/>
                          <a:pt x="14287" y="14355"/>
                        </a:cubicBezTo>
                        <a:cubicBezTo>
                          <a:pt x="11891" y="18547"/>
                          <a:pt x="13433" y="24062"/>
                          <a:pt x="11906" y="28643"/>
                        </a:cubicBezTo>
                        <a:cubicBezTo>
                          <a:pt x="11001" y="31358"/>
                          <a:pt x="8731" y="33406"/>
                          <a:pt x="7144" y="35787"/>
                        </a:cubicBezTo>
                        <a:cubicBezTo>
                          <a:pt x="6350" y="45312"/>
                          <a:pt x="5948" y="54878"/>
                          <a:pt x="4762" y="64362"/>
                        </a:cubicBezTo>
                        <a:cubicBezTo>
                          <a:pt x="4356" y="67609"/>
                          <a:pt x="5308" y="72423"/>
                          <a:pt x="2381" y="73887"/>
                        </a:cubicBezTo>
                        <a:cubicBezTo>
                          <a:pt x="136" y="75010"/>
                          <a:pt x="794" y="69124"/>
                          <a:pt x="0" y="66743"/>
                        </a:cubicBezTo>
                        <a:cubicBezTo>
                          <a:pt x="6349" y="47692"/>
                          <a:pt x="0" y="71506"/>
                          <a:pt x="0" y="52455"/>
                        </a:cubicBezTo>
                        <a:cubicBezTo>
                          <a:pt x="0" y="42156"/>
                          <a:pt x="2217" y="40796"/>
                          <a:pt x="7144" y="33405"/>
                        </a:cubicBezTo>
                        <a:cubicBezTo>
                          <a:pt x="5556" y="31024"/>
                          <a:pt x="2381" y="29124"/>
                          <a:pt x="2381" y="26262"/>
                        </a:cubicBezTo>
                        <a:cubicBezTo>
                          <a:pt x="2381" y="20971"/>
                          <a:pt x="11113" y="16472"/>
                          <a:pt x="14287" y="14355"/>
                        </a:cubicBezTo>
                        <a:cubicBezTo>
                          <a:pt x="15875" y="11974"/>
                          <a:pt x="16815" y="9000"/>
                          <a:pt x="19050" y="7212"/>
                        </a:cubicBezTo>
                        <a:cubicBezTo>
                          <a:pt x="21010" y="5644"/>
                          <a:pt x="30559" y="-726"/>
                          <a:pt x="30956" y="68"/>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sp>
              <p:nvSpPr>
                <p:cNvPr id="793" name="Freeform: Shape 792">
                  <a:extLst>
                    <a:ext uri="{FF2B5EF4-FFF2-40B4-BE49-F238E27FC236}">
                      <a16:creationId xmlns:a16="http://schemas.microsoft.com/office/drawing/2014/main" id="{FFF08582-89DF-4996-BC8A-7655D294006F}"/>
                    </a:ext>
                  </a:extLst>
                </p:cNvPr>
                <p:cNvSpPr/>
                <p:nvPr/>
              </p:nvSpPr>
              <p:spPr>
                <a:xfrm>
                  <a:off x="4290931" y="5831380"/>
                  <a:ext cx="53024" cy="37233"/>
                </a:xfrm>
                <a:custGeom>
                  <a:avLst/>
                  <a:gdLst>
                    <a:gd name="connsiteX0" fmla="*/ 52469 w 53024"/>
                    <a:gd name="connsiteY0" fmla="*/ 33639 h 37233"/>
                    <a:gd name="connsiteX1" fmla="*/ 50088 w 53024"/>
                    <a:gd name="connsiteY1" fmla="*/ 7445 h 37233"/>
                    <a:gd name="connsiteX2" fmla="*/ 45325 w 53024"/>
                    <a:gd name="connsiteY2" fmla="*/ 301 h 37233"/>
                    <a:gd name="connsiteX3" fmla="*/ 40563 w 53024"/>
                    <a:gd name="connsiteY3" fmla="*/ 14589 h 37233"/>
                    <a:gd name="connsiteX4" fmla="*/ 33419 w 53024"/>
                    <a:gd name="connsiteY4" fmla="*/ 16970 h 37233"/>
                    <a:gd name="connsiteX5" fmla="*/ 19132 w 53024"/>
                    <a:gd name="connsiteY5" fmla="*/ 7445 h 37233"/>
                    <a:gd name="connsiteX6" fmla="*/ 16750 w 53024"/>
                    <a:gd name="connsiteY6" fmla="*/ 14589 h 37233"/>
                    <a:gd name="connsiteX7" fmla="*/ 4844 w 53024"/>
                    <a:gd name="connsiteY7" fmla="*/ 16970 h 37233"/>
                    <a:gd name="connsiteX8" fmla="*/ 82 w 53024"/>
                    <a:gd name="connsiteY8" fmla="*/ 24114 h 37233"/>
                    <a:gd name="connsiteX9" fmla="*/ 7225 w 53024"/>
                    <a:gd name="connsiteY9" fmla="*/ 26495 h 37233"/>
                    <a:gd name="connsiteX10" fmla="*/ 26275 w 53024"/>
                    <a:gd name="connsiteY10" fmla="*/ 28876 h 37233"/>
                    <a:gd name="connsiteX11" fmla="*/ 40563 w 53024"/>
                    <a:gd name="connsiteY11" fmla="*/ 33639 h 37233"/>
                    <a:gd name="connsiteX12" fmla="*/ 52469 w 53024"/>
                    <a:gd name="connsiteY12" fmla="*/ 33639 h 37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3024" h="37233">
                      <a:moveTo>
                        <a:pt x="52469" y="33639"/>
                      </a:moveTo>
                      <a:cubicBezTo>
                        <a:pt x="54056" y="29273"/>
                        <a:pt x="51925" y="16018"/>
                        <a:pt x="50088" y="7445"/>
                      </a:cubicBezTo>
                      <a:cubicBezTo>
                        <a:pt x="49488" y="4646"/>
                        <a:pt x="47615" y="-1416"/>
                        <a:pt x="45325" y="301"/>
                      </a:cubicBezTo>
                      <a:cubicBezTo>
                        <a:pt x="41309" y="3313"/>
                        <a:pt x="45326" y="13002"/>
                        <a:pt x="40563" y="14589"/>
                      </a:cubicBezTo>
                      <a:lnTo>
                        <a:pt x="33419" y="16970"/>
                      </a:lnTo>
                      <a:cubicBezTo>
                        <a:pt x="28657" y="13795"/>
                        <a:pt x="20942" y="2015"/>
                        <a:pt x="19132" y="7445"/>
                      </a:cubicBezTo>
                      <a:cubicBezTo>
                        <a:pt x="18338" y="9826"/>
                        <a:pt x="18839" y="13197"/>
                        <a:pt x="16750" y="14589"/>
                      </a:cubicBezTo>
                      <a:cubicBezTo>
                        <a:pt x="13382" y="16834"/>
                        <a:pt x="8813" y="16176"/>
                        <a:pt x="4844" y="16970"/>
                      </a:cubicBezTo>
                      <a:cubicBezTo>
                        <a:pt x="3257" y="19351"/>
                        <a:pt x="-612" y="21338"/>
                        <a:pt x="82" y="24114"/>
                      </a:cubicBezTo>
                      <a:cubicBezTo>
                        <a:pt x="691" y="26549"/>
                        <a:pt x="4756" y="26046"/>
                        <a:pt x="7225" y="26495"/>
                      </a:cubicBezTo>
                      <a:cubicBezTo>
                        <a:pt x="13521" y="27640"/>
                        <a:pt x="19925" y="28082"/>
                        <a:pt x="26275" y="28876"/>
                      </a:cubicBezTo>
                      <a:cubicBezTo>
                        <a:pt x="31038" y="30464"/>
                        <a:pt x="36386" y="30854"/>
                        <a:pt x="40563" y="33639"/>
                      </a:cubicBezTo>
                      <a:cubicBezTo>
                        <a:pt x="48367" y="38841"/>
                        <a:pt x="50882" y="38005"/>
                        <a:pt x="52469" y="33639"/>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94" name="Freeform: Shape 793">
                  <a:extLst>
                    <a:ext uri="{FF2B5EF4-FFF2-40B4-BE49-F238E27FC236}">
                      <a16:creationId xmlns:a16="http://schemas.microsoft.com/office/drawing/2014/main" id="{2FC41FC4-EAAB-4A1F-B7EB-621AAD13E797}"/>
                    </a:ext>
                  </a:extLst>
                </p:cNvPr>
                <p:cNvSpPr/>
                <p:nvPr/>
              </p:nvSpPr>
              <p:spPr>
                <a:xfrm>
                  <a:off x="4419583" y="5907493"/>
                  <a:ext cx="19067" cy="17124"/>
                </a:xfrm>
                <a:custGeom>
                  <a:avLst/>
                  <a:gdLst>
                    <a:gd name="connsiteX0" fmla="*/ 17 w 19067"/>
                    <a:gd name="connsiteY0" fmla="*/ 388 h 17124"/>
                    <a:gd name="connsiteX1" fmla="*/ 9542 w 19067"/>
                    <a:gd name="connsiteY1" fmla="*/ 17057 h 17124"/>
                    <a:gd name="connsiteX2" fmla="*/ 19067 w 19067"/>
                    <a:gd name="connsiteY2" fmla="*/ 14676 h 17124"/>
                    <a:gd name="connsiteX3" fmla="*/ 14305 w 19067"/>
                    <a:gd name="connsiteY3" fmla="*/ 7532 h 17124"/>
                    <a:gd name="connsiteX4" fmla="*/ 7161 w 19067"/>
                    <a:gd name="connsiteY4" fmla="*/ 5151 h 17124"/>
                    <a:gd name="connsiteX5" fmla="*/ 17 w 19067"/>
                    <a:gd name="connsiteY5" fmla="*/ 388 h 17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67" h="17124">
                      <a:moveTo>
                        <a:pt x="17" y="388"/>
                      </a:moveTo>
                      <a:cubicBezTo>
                        <a:pt x="414" y="2372"/>
                        <a:pt x="163" y="15717"/>
                        <a:pt x="9542" y="17057"/>
                      </a:cubicBezTo>
                      <a:cubicBezTo>
                        <a:pt x="12782" y="17520"/>
                        <a:pt x="15892" y="15470"/>
                        <a:pt x="19067" y="14676"/>
                      </a:cubicBezTo>
                      <a:cubicBezTo>
                        <a:pt x="17480" y="12295"/>
                        <a:pt x="16540" y="9320"/>
                        <a:pt x="14305" y="7532"/>
                      </a:cubicBezTo>
                      <a:cubicBezTo>
                        <a:pt x="12345" y="5964"/>
                        <a:pt x="9406" y="6273"/>
                        <a:pt x="7161" y="5151"/>
                      </a:cubicBezTo>
                      <a:cubicBezTo>
                        <a:pt x="6157" y="4649"/>
                        <a:pt x="-380" y="-1596"/>
                        <a:pt x="17" y="388"/>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95" name="Freeform: Shape 794">
                  <a:extLst>
                    <a:ext uri="{FF2B5EF4-FFF2-40B4-BE49-F238E27FC236}">
                      <a16:creationId xmlns:a16="http://schemas.microsoft.com/office/drawing/2014/main" id="{E4E0F970-C046-4BFE-80A6-8BC13F2BF6C2}"/>
                    </a:ext>
                  </a:extLst>
                </p:cNvPr>
                <p:cNvSpPr/>
                <p:nvPr/>
              </p:nvSpPr>
              <p:spPr>
                <a:xfrm>
                  <a:off x="4812506" y="6205437"/>
                  <a:ext cx="17006" cy="7425"/>
                </a:xfrm>
                <a:custGeom>
                  <a:avLst/>
                  <a:gdLst>
                    <a:gd name="connsiteX0" fmla="*/ 4762 w 21768"/>
                    <a:gd name="connsiteY0" fmla="*/ 4862 h 19150"/>
                    <a:gd name="connsiteX1" fmla="*/ 16669 w 21768"/>
                    <a:gd name="connsiteY1" fmla="*/ 100 h 19150"/>
                    <a:gd name="connsiteX2" fmla="*/ 21431 w 21768"/>
                    <a:gd name="connsiteY2" fmla="*/ 7243 h 19150"/>
                    <a:gd name="connsiteX3" fmla="*/ 0 w 21768"/>
                    <a:gd name="connsiteY3" fmla="*/ 19150 h 19150"/>
                    <a:gd name="connsiteX4" fmla="*/ 4762 w 21768"/>
                    <a:gd name="connsiteY4" fmla="*/ 4862 h 19150"/>
                    <a:gd name="connsiteX0" fmla="*/ 0 w 17006"/>
                    <a:gd name="connsiteY0" fmla="*/ 4862 h 7425"/>
                    <a:gd name="connsiteX1" fmla="*/ 11907 w 17006"/>
                    <a:gd name="connsiteY1" fmla="*/ 100 h 7425"/>
                    <a:gd name="connsiteX2" fmla="*/ 16669 w 17006"/>
                    <a:gd name="connsiteY2" fmla="*/ 7243 h 7425"/>
                    <a:gd name="connsiteX3" fmla="*/ 0 w 17006"/>
                    <a:gd name="connsiteY3" fmla="*/ 4862 h 7425"/>
                  </a:gdLst>
                  <a:ahLst/>
                  <a:cxnLst>
                    <a:cxn ang="0">
                      <a:pos x="connsiteX0" y="connsiteY0"/>
                    </a:cxn>
                    <a:cxn ang="0">
                      <a:pos x="connsiteX1" y="connsiteY1"/>
                    </a:cxn>
                    <a:cxn ang="0">
                      <a:pos x="connsiteX2" y="connsiteY2"/>
                    </a:cxn>
                    <a:cxn ang="0">
                      <a:pos x="connsiteX3" y="connsiteY3"/>
                    </a:cxn>
                  </a:cxnLst>
                  <a:rect l="l" t="t" r="r" b="b"/>
                  <a:pathLst>
                    <a:path w="17006" h="7425">
                      <a:moveTo>
                        <a:pt x="0" y="4862"/>
                      </a:moveTo>
                      <a:cubicBezTo>
                        <a:pt x="2778" y="1687"/>
                        <a:pt x="7675" y="-504"/>
                        <a:pt x="11907" y="100"/>
                      </a:cubicBezTo>
                      <a:cubicBezTo>
                        <a:pt x="14740" y="505"/>
                        <a:pt x="18089" y="4758"/>
                        <a:pt x="16669" y="7243"/>
                      </a:cubicBezTo>
                      <a:cubicBezTo>
                        <a:pt x="14684" y="8037"/>
                        <a:pt x="794" y="6052"/>
                        <a:pt x="0" y="4862"/>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grpSp>
        <p:grpSp>
          <p:nvGrpSpPr>
            <p:cNvPr id="340" name="Group 339">
              <a:extLst>
                <a:ext uri="{FF2B5EF4-FFF2-40B4-BE49-F238E27FC236}">
                  <a16:creationId xmlns:a16="http://schemas.microsoft.com/office/drawing/2014/main" id="{48866F27-1287-4670-B7A6-D1E5B52B103E}"/>
                </a:ext>
              </a:extLst>
            </p:cNvPr>
            <p:cNvGrpSpPr/>
            <p:nvPr/>
          </p:nvGrpSpPr>
          <p:grpSpPr>
            <a:xfrm>
              <a:off x="5506038" y="1749228"/>
              <a:ext cx="146091" cy="219459"/>
              <a:chOff x="2781294" y="2152650"/>
              <a:chExt cx="146091" cy="219459"/>
            </a:xfrm>
            <a:solidFill>
              <a:schemeClr val="bg2">
                <a:lumMod val="90000"/>
              </a:schemeClr>
            </a:solidFill>
          </p:grpSpPr>
          <p:sp>
            <p:nvSpPr>
              <p:cNvPr id="781" name="Freeform: Shape 780">
                <a:extLst>
                  <a:ext uri="{FF2B5EF4-FFF2-40B4-BE49-F238E27FC236}">
                    <a16:creationId xmlns:a16="http://schemas.microsoft.com/office/drawing/2014/main" id="{37425EB2-E4E2-44F7-89A8-5BB3146A2301}"/>
                  </a:ext>
                </a:extLst>
              </p:cNvPr>
              <p:cNvSpPr/>
              <p:nvPr/>
            </p:nvSpPr>
            <p:spPr>
              <a:xfrm rot="951732">
                <a:off x="2915057" y="2163168"/>
                <a:ext cx="12328" cy="24944"/>
              </a:xfrm>
              <a:custGeom>
                <a:avLst/>
                <a:gdLst>
                  <a:gd name="connsiteX0" fmla="*/ 12067 w 12328"/>
                  <a:gd name="connsiteY0" fmla="*/ 12866 h 24944"/>
                  <a:gd name="connsiteX1" fmla="*/ 9686 w 12328"/>
                  <a:gd name="connsiteY1" fmla="*/ 960 h 24944"/>
                  <a:gd name="connsiteX2" fmla="*/ 161 w 12328"/>
                  <a:gd name="connsiteY2" fmla="*/ 3341 h 24944"/>
                  <a:gd name="connsiteX3" fmla="*/ 7304 w 12328"/>
                  <a:gd name="connsiteY3" fmla="*/ 24773 h 24944"/>
                  <a:gd name="connsiteX4" fmla="*/ 12067 w 12328"/>
                  <a:gd name="connsiteY4" fmla="*/ 12866 h 249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328" h="24944">
                    <a:moveTo>
                      <a:pt x="12067" y="12866"/>
                    </a:moveTo>
                    <a:cubicBezTo>
                      <a:pt x="12464" y="8897"/>
                      <a:pt x="12846" y="3488"/>
                      <a:pt x="9686" y="960"/>
                    </a:cubicBezTo>
                    <a:cubicBezTo>
                      <a:pt x="7130" y="-1084"/>
                      <a:pt x="1450" y="333"/>
                      <a:pt x="161" y="3341"/>
                    </a:cubicBezTo>
                    <a:cubicBezTo>
                      <a:pt x="-722" y="5400"/>
                      <a:pt x="2077" y="22533"/>
                      <a:pt x="7304" y="24773"/>
                    </a:cubicBezTo>
                    <a:cubicBezTo>
                      <a:pt x="10952" y="26336"/>
                      <a:pt x="11670" y="16835"/>
                      <a:pt x="12067" y="12866"/>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82" name="Freeform: Shape 781">
                <a:extLst>
                  <a:ext uri="{FF2B5EF4-FFF2-40B4-BE49-F238E27FC236}">
                    <a16:creationId xmlns:a16="http://schemas.microsoft.com/office/drawing/2014/main" id="{12CBB0B5-03E1-42E0-92C6-2666E0B7CF5A}"/>
                  </a:ext>
                </a:extLst>
              </p:cNvPr>
              <p:cNvSpPr/>
              <p:nvPr/>
            </p:nvSpPr>
            <p:spPr>
              <a:xfrm>
                <a:off x="2845041" y="2321709"/>
                <a:ext cx="35922" cy="50400"/>
              </a:xfrm>
              <a:custGeom>
                <a:avLst/>
                <a:gdLst>
                  <a:gd name="connsiteX0" fmla="*/ 0 w 35922"/>
                  <a:gd name="connsiteY0" fmla="*/ 4386 h 30579"/>
                  <a:gd name="connsiteX1" fmla="*/ 19050 w 35922"/>
                  <a:gd name="connsiteY1" fmla="*/ 25817 h 30579"/>
                  <a:gd name="connsiteX2" fmla="*/ 33338 w 35922"/>
                  <a:gd name="connsiteY2" fmla="*/ 30579 h 30579"/>
                  <a:gd name="connsiteX3" fmla="*/ 35719 w 35922"/>
                  <a:gd name="connsiteY3" fmla="*/ 23436 h 30579"/>
                  <a:gd name="connsiteX4" fmla="*/ 28575 w 35922"/>
                  <a:gd name="connsiteY4" fmla="*/ 18673 h 30579"/>
                  <a:gd name="connsiteX5" fmla="*/ 16669 w 35922"/>
                  <a:gd name="connsiteY5" fmla="*/ 9148 h 30579"/>
                  <a:gd name="connsiteX6" fmla="*/ 0 w 35922"/>
                  <a:gd name="connsiteY6" fmla="*/ 4386 h 30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922" h="30579">
                    <a:moveTo>
                      <a:pt x="0" y="4386"/>
                    </a:moveTo>
                    <a:cubicBezTo>
                      <a:pt x="4838" y="16480"/>
                      <a:pt x="3953" y="20785"/>
                      <a:pt x="19050" y="25817"/>
                    </a:cubicBezTo>
                    <a:lnTo>
                      <a:pt x="33338" y="30579"/>
                    </a:lnTo>
                    <a:cubicBezTo>
                      <a:pt x="34132" y="28198"/>
                      <a:pt x="36651" y="25766"/>
                      <a:pt x="35719" y="23436"/>
                    </a:cubicBezTo>
                    <a:cubicBezTo>
                      <a:pt x="34656" y="20779"/>
                      <a:pt x="30599" y="20697"/>
                      <a:pt x="28575" y="18673"/>
                    </a:cubicBezTo>
                    <a:cubicBezTo>
                      <a:pt x="9878" y="-26"/>
                      <a:pt x="37529" y="20736"/>
                      <a:pt x="16669" y="9148"/>
                    </a:cubicBezTo>
                    <a:cubicBezTo>
                      <a:pt x="-755" y="-532"/>
                      <a:pt x="8015" y="-3194"/>
                      <a:pt x="0" y="4386"/>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83" name="Freeform: Shape 782">
                <a:extLst>
                  <a:ext uri="{FF2B5EF4-FFF2-40B4-BE49-F238E27FC236}">
                    <a16:creationId xmlns:a16="http://schemas.microsoft.com/office/drawing/2014/main" id="{7F2A28B5-4CA8-4B6F-84F9-5302708CD4F0}"/>
                  </a:ext>
                </a:extLst>
              </p:cNvPr>
              <p:cNvSpPr/>
              <p:nvPr/>
            </p:nvSpPr>
            <p:spPr>
              <a:xfrm>
                <a:off x="2845118" y="2267083"/>
                <a:ext cx="45719" cy="36000"/>
              </a:xfrm>
              <a:custGeom>
                <a:avLst/>
                <a:gdLst>
                  <a:gd name="connsiteX0" fmla="*/ 528 w 38628"/>
                  <a:gd name="connsiteY0" fmla="*/ 241 h 31444"/>
                  <a:gd name="connsiteX1" fmla="*/ 7672 w 38628"/>
                  <a:gd name="connsiteY1" fmla="*/ 12148 h 31444"/>
                  <a:gd name="connsiteX2" fmla="*/ 24341 w 38628"/>
                  <a:gd name="connsiteY2" fmla="*/ 16910 h 31444"/>
                  <a:gd name="connsiteX3" fmla="*/ 31485 w 38628"/>
                  <a:gd name="connsiteY3" fmla="*/ 24054 h 31444"/>
                  <a:gd name="connsiteX4" fmla="*/ 38628 w 38628"/>
                  <a:gd name="connsiteY4" fmla="*/ 24054 h 31444"/>
                  <a:gd name="connsiteX5" fmla="*/ 36247 w 38628"/>
                  <a:gd name="connsiteY5" fmla="*/ 14529 h 31444"/>
                  <a:gd name="connsiteX6" fmla="*/ 21960 w 38628"/>
                  <a:gd name="connsiteY6" fmla="*/ 2623 h 31444"/>
                  <a:gd name="connsiteX7" fmla="*/ 528 w 38628"/>
                  <a:gd name="connsiteY7" fmla="*/ 241 h 31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628" h="31444">
                    <a:moveTo>
                      <a:pt x="528" y="241"/>
                    </a:moveTo>
                    <a:cubicBezTo>
                      <a:pt x="-1853" y="1828"/>
                      <a:pt x="4399" y="8875"/>
                      <a:pt x="7672" y="12148"/>
                    </a:cubicBezTo>
                    <a:cubicBezTo>
                      <a:pt x="8810" y="13286"/>
                      <a:pt x="24259" y="16889"/>
                      <a:pt x="24341" y="16910"/>
                    </a:cubicBezTo>
                    <a:cubicBezTo>
                      <a:pt x="26722" y="19291"/>
                      <a:pt x="29617" y="21252"/>
                      <a:pt x="31485" y="24054"/>
                    </a:cubicBezTo>
                    <a:cubicBezTo>
                      <a:pt x="36414" y="31448"/>
                      <a:pt x="30600" y="36097"/>
                      <a:pt x="38628" y="24054"/>
                    </a:cubicBezTo>
                    <a:cubicBezTo>
                      <a:pt x="37834" y="20879"/>
                      <a:pt x="37871" y="17371"/>
                      <a:pt x="36247" y="14529"/>
                    </a:cubicBezTo>
                    <a:cubicBezTo>
                      <a:pt x="33426" y="9593"/>
                      <a:pt x="26512" y="5658"/>
                      <a:pt x="21960" y="2623"/>
                    </a:cubicBezTo>
                    <a:cubicBezTo>
                      <a:pt x="13310" y="5506"/>
                      <a:pt x="2909" y="-1346"/>
                      <a:pt x="528" y="241"/>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84" name="Freeform: Shape 783">
                <a:extLst>
                  <a:ext uri="{FF2B5EF4-FFF2-40B4-BE49-F238E27FC236}">
                    <a16:creationId xmlns:a16="http://schemas.microsoft.com/office/drawing/2014/main" id="{B59AF568-4FD0-4017-AA8D-0A0A6F967BDD}"/>
                  </a:ext>
                </a:extLst>
              </p:cNvPr>
              <p:cNvSpPr/>
              <p:nvPr/>
            </p:nvSpPr>
            <p:spPr>
              <a:xfrm rot="20703817">
                <a:off x="2805275" y="2203693"/>
                <a:ext cx="36079" cy="33337"/>
              </a:xfrm>
              <a:custGeom>
                <a:avLst/>
                <a:gdLst>
                  <a:gd name="connsiteX0" fmla="*/ 355 w 36079"/>
                  <a:gd name="connsiteY0" fmla="*/ 4762 h 33337"/>
                  <a:gd name="connsiteX1" fmla="*/ 14643 w 36079"/>
                  <a:gd name="connsiteY1" fmla="*/ 23812 h 33337"/>
                  <a:gd name="connsiteX2" fmla="*/ 28930 w 36079"/>
                  <a:gd name="connsiteY2" fmla="*/ 33337 h 33337"/>
                  <a:gd name="connsiteX3" fmla="*/ 36074 w 36079"/>
                  <a:gd name="connsiteY3" fmla="*/ 30956 h 33337"/>
                  <a:gd name="connsiteX4" fmla="*/ 26549 w 36079"/>
                  <a:gd name="connsiteY4" fmla="*/ 4762 h 33337"/>
                  <a:gd name="connsiteX5" fmla="*/ 12262 w 36079"/>
                  <a:gd name="connsiteY5" fmla="*/ 0 h 33337"/>
                  <a:gd name="connsiteX6" fmla="*/ 5118 w 36079"/>
                  <a:gd name="connsiteY6" fmla="*/ 4762 h 33337"/>
                  <a:gd name="connsiteX7" fmla="*/ 355 w 36079"/>
                  <a:gd name="connsiteY7" fmla="*/ 4762 h 33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6079" h="33337">
                    <a:moveTo>
                      <a:pt x="355" y="4762"/>
                    </a:moveTo>
                    <a:cubicBezTo>
                      <a:pt x="1942" y="7937"/>
                      <a:pt x="6831" y="17736"/>
                      <a:pt x="14643" y="23812"/>
                    </a:cubicBezTo>
                    <a:cubicBezTo>
                      <a:pt x="19161" y="27326"/>
                      <a:pt x="28930" y="33337"/>
                      <a:pt x="28930" y="33337"/>
                    </a:cubicBezTo>
                    <a:cubicBezTo>
                      <a:pt x="31311" y="32543"/>
                      <a:pt x="35797" y="33451"/>
                      <a:pt x="36074" y="30956"/>
                    </a:cubicBezTo>
                    <a:cubicBezTo>
                      <a:pt x="36243" y="29440"/>
                      <a:pt x="32483" y="8471"/>
                      <a:pt x="26549" y="4762"/>
                    </a:cubicBezTo>
                    <a:cubicBezTo>
                      <a:pt x="22292" y="2101"/>
                      <a:pt x="12262" y="0"/>
                      <a:pt x="12262" y="0"/>
                    </a:cubicBezTo>
                    <a:cubicBezTo>
                      <a:pt x="9881" y="1587"/>
                      <a:pt x="7678" y="3482"/>
                      <a:pt x="5118" y="4762"/>
                    </a:cubicBezTo>
                    <a:cubicBezTo>
                      <a:pt x="2873" y="5884"/>
                      <a:pt x="-1232" y="1587"/>
                      <a:pt x="355" y="4762"/>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85" name="Freeform: Shape 784">
                <a:extLst>
                  <a:ext uri="{FF2B5EF4-FFF2-40B4-BE49-F238E27FC236}">
                    <a16:creationId xmlns:a16="http://schemas.microsoft.com/office/drawing/2014/main" id="{D098FF82-E3A9-4604-896A-71F957A5EAE8}"/>
                  </a:ext>
                </a:extLst>
              </p:cNvPr>
              <p:cNvSpPr/>
              <p:nvPr/>
            </p:nvSpPr>
            <p:spPr>
              <a:xfrm>
                <a:off x="2831066" y="2169241"/>
                <a:ext cx="63024" cy="88184"/>
              </a:xfrm>
              <a:custGeom>
                <a:avLst/>
                <a:gdLst>
                  <a:gd name="connsiteX0" fmla="*/ 12147 w 63024"/>
                  <a:gd name="connsiteY0" fmla="*/ 78 h 88184"/>
                  <a:gd name="connsiteX1" fmla="*/ 2622 w 63024"/>
                  <a:gd name="connsiteY1" fmla="*/ 11984 h 88184"/>
                  <a:gd name="connsiteX2" fmla="*/ 240 w 63024"/>
                  <a:gd name="connsiteY2" fmla="*/ 19128 h 88184"/>
                  <a:gd name="connsiteX3" fmla="*/ 14528 w 63024"/>
                  <a:gd name="connsiteY3" fmla="*/ 26272 h 88184"/>
                  <a:gd name="connsiteX4" fmla="*/ 21672 w 63024"/>
                  <a:gd name="connsiteY4" fmla="*/ 47703 h 88184"/>
                  <a:gd name="connsiteX5" fmla="*/ 24053 w 63024"/>
                  <a:gd name="connsiteY5" fmla="*/ 54847 h 88184"/>
                  <a:gd name="connsiteX6" fmla="*/ 28815 w 63024"/>
                  <a:gd name="connsiteY6" fmla="*/ 71515 h 88184"/>
                  <a:gd name="connsiteX7" fmla="*/ 35959 w 63024"/>
                  <a:gd name="connsiteY7" fmla="*/ 76278 h 88184"/>
                  <a:gd name="connsiteX8" fmla="*/ 50247 w 63024"/>
                  <a:gd name="connsiteY8" fmla="*/ 88184 h 88184"/>
                  <a:gd name="connsiteX9" fmla="*/ 47865 w 63024"/>
                  <a:gd name="connsiteY9" fmla="*/ 76278 h 88184"/>
                  <a:gd name="connsiteX10" fmla="*/ 45484 w 63024"/>
                  <a:gd name="connsiteY10" fmla="*/ 50084 h 88184"/>
                  <a:gd name="connsiteX11" fmla="*/ 43103 w 63024"/>
                  <a:gd name="connsiteY11" fmla="*/ 42940 h 88184"/>
                  <a:gd name="connsiteX12" fmla="*/ 33578 w 63024"/>
                  <a:gd name="connsiteY12" fmla="*/ 28653 h 88184"/>
                  <a:gd name="connsiteX13" fmla="*/ 28815 w 63024"/>
                  <a:gd name="connsiteY13" fmla="*/ 21509 h 88184"/>
                  <a:gd name="connsiteX14" fmla="*/ 24053 w 63024"/>
                  <a:gd name="connsiteY14" fmla="*/ 7222 h 88184"/>
                  <a:gd name="connsiteX15" fmla="*/ 33578 w 63024"/>
                  <a:gd name="connsiteY15" fmla="*/ 21509 h 88184"/>
                  <a:gd name="connsiteX16" fmla="*/ 45484 w 63024"/>
                  <a:gd name="connsiteY16" fmla="*/ 40559 h 88184"/>
                  <a:gd name="connsiteX17" fmla="*/ 50247 w 63024"/>
                  <a:gd name="connsiteY17" fmla="*/ 47703 h 88184"/>
                  <a:gd name="connsiteX18" fmla="*/ 52628 w 63024"/>
                  <a:gd name="connsiteY18" fmla="*/ 57228 h 88184"/>
                  <a:gd name="connsiteX19" fmla="*/ 59772 w 63024"/>
                  <a:gd name="connsiteY19" fmla="*/ 54847 h 88184"/>
                  <a:gd name="connsiteX20" fmla="*/ 59772 w 63024"/>
                  <a:gd name="connsiteY20" fmla="*/ 28653 h 88184"/>
                  <a:gd name="connsiteX21" fmla="*/ 52628 w 63024"/>
                  <a:gd name="connsiteY21" fmla="*/ 21509 h 88184"/>
                  <a:gd name="connsiteX22" fmla="*/ 50247 w 63024"/>
                  <a:gd name="connsiteY22" fmla="*/ 14365 h 88184"/>
                  <a:gd name="connsiteX23" fmla="*/ 43103 w 63024"/>
                  <a:gd name="connsiteY23" fmla="*/ 9603 h 88184"/>
                  <a:gd name="connsiteX24" fmla="*/ 38340 w 63024"/>
                  <a:gd name="connsiteY24" fmla="*/ 2459 h 88184"/>
                  <a:gd name="connsiteX25" fmla="*/ 16909 w 63024"/>
                  <a:gd name="connsiteY25" fmla="*/ 4840 h 88184"/>
                  <a:gd name="connsiteX26" fmla="*/ 12147 w 63024"/>
                  <a:gd name="connsiteY26" fmla="*/ 78 h 88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3024" h="88184">
                    <a:moveTo>
                      <a:pt x="12147" y="78"/>
                    </a:moveTo>
                    <a:cubicBezTo>
                      <a:pt x="9766" y="1269"/>
                      <a:pt x="5316" y="7674"/>
                      <a:pt x="2622" y="11984"/>
                    </a:cubicBezTo>
                    <a:cubicBezTo>
                      <a:pt x="1292" y="14113"/>
                      <a:pt x="-692" y="16797"/>
                      <a:pt x="240" y="19128"/>
                    </a:cubicBezTo>
                    <a:cubicBezTo>
                      <a:pt x="1660" y="22677"/>
                      <a:pt x="11522" y="25270"/>
                      <a:pt x="14528" y="26272"/>
                    </a:cubicBezTo>
                    <a:lnTo>
                      <a:pt x="21672" y="47703"/>
                    </a:lnTo>
                    <a:cubicBezTo>
                      <a:pt x="22466" y="50084"/>
                      <a:pt x="23444" y="52412"/>
                      <a:pt x="24053" y="54847"/>
                    </a:cubicBezTo>
                    <a:cubicBezTo>
                      <a:pt x="24209" y="55469"/>
                      <a:pt x="27573" y="69962"/>
                      <a:pt x="28815" y="71515"/>
                    </a:cubicBezTo>
                    <a:cubicBezTo>
                      <a:pt x="30603" y="73750"/>
                      <a:pt x="33760" y="74446"/>
                      <a:pt x="35959" y="76278"/>
                    </a:cubicBezTo>
                    <a:cubicBezTo>
                      <a:pt x="54287" y="91551"/>
                      <a:pt x="32517" y="76365"/>
                      <a:pt x="50247" y="88184"/>
                    </a:cubicBezTo>
                    <a:lnTo>
                      <a:pt x="47865" y="76278"/>
                    </a:lnTo>
                    <a:cubicBezTo>
                      <a:pt x="51232" y="59449"/>
                      <a:pt x="51527" y="68212"/>
                      <a:pt x="45484" y="50084"/>
                    </a:cubicBezTo>
                    <a:cubicBezTo>
                      <a:pt x="44690" y="47703"/>
                      <a:pt x="44495" y="45029"/>
                      <a:pt x="43103" y="42940"/>
                    </a:cubicBezTo>
                    <a:lnTo>
                      <a:pt x="33578" y="28653"/>
                    </a:lnTo>
                    <a:lnTo>
                      <a:pt x="28815" y="21509"/>
                    </a:lnTo>
                    <a:cubicBezTo>
                      <a:pt x="27228" y="16747"/>
                      <a:pt x="21268" y="3045"/>
                      <a:pt x="24053" y="7222"/>
                    </a:cubicBezTo>
                    <a:lnTo>
                      <a:pt x="33578" y="21509"/>
                    </a:lnTo>
                    <a:cubicBezTo>
                      <a:pt x="39245" y="38512"/>
                      <a:pt x="34163" y="33013"/>
                      <a:pt x="45484" y="40559"/>
                    </a:cubicBezTo>
                    <a:cubicBezTo>
                      <a:pt x="47072" y="42940"/>
                      <a:pt x="49120" y="45072"/>
                      <a:pt x="50247" y="47703"/>
                    </a:cubicBezTo>
                    <a:cubicBezTo>
                      <a:pt x="51536" y="50711"/>
                      <a:pt x="50010" y="55264"/>
                      <a:pt x="52628" y="57228"/>
                    </a:cubicBezTo>
                    <a:cubicBezTo>
                      <a:pt x="54636" y="58734"/>
                      <a:pt x="57391" y="55641"/>
                      <a:pt x="59772" y="54847"/>
                    </a:cubicBezTo>
                    <a:cubicBezTo>
                      <a:pt x="63212" y="44525"/>
                      <a:pt x="64923" y="42818"/>
                      <a:pt x="59772" y="28653"/>
                    </a:cubicBezTo>
                    <a:cubicBezTo>
                      <a:pt x="58621" y="25488"/>
                      <a:pt x="55009" y="23890"/>
                      <a:pt x="52628" y="21509"/>
                    </a:cubicBezTo>
                    <a:cubicBezTo>
                      <a:pt x="51834" y="19128"/>
                      <a:pt x="51815" y="16325"/>
                      <a:pt x="50247" y="14365"/>
                    </a:cubicBezTo>
                    <a:cubicBezTo>
                      <a:pt x="48459" y="12130"/>
                      <a:pt x="45127" y="11627"/>
                      <a:pt x="43103" y="9603"/>
                    </a:cubicBezTo>
                    <a:cubicBezTo>
                      <a:pt x="41079" y="7579"/>
                      <a:pt x="39928" y="4840"/>
                      <a:pt x="38340" y="2459"/>
                    </a:cubicBezTo>
                    <a:cubicBezTo>
                      <a:pt x="31196" y="3253"/>
                      <a:pt x="23882" y="3097"/>
                      <a:pt x="16909" y="4840"/>
                    </a:cubicBezTo>
                    <a:cubicBezTo>
                      <a:pt x="-10948" y="11805"/>
                      <a:pt x="14528" y="-1113"/>
                      <a:pt x="12147" y="78"/>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86" name="Freeform: Shape 785">
                <a:extLst>
                  <a:ext uri="{FF2B5EF4-FFF2-40B4-BE49-F238E27FC236}">
                    <a16:creationId xmlns:a16="http://schemas.microsoft.com/office/drawing/2014/main" id="{2E35B8D1-A393-41E4-B596-18DCDC958B82}"/>
                  </a:ext>
                </a:extLst>
              </p:cNvPr>
              <p:cNvSpPr/>
              <p:nvPr/>
            </p:nvSpPr>
            <p:spPr>
              <a:xfrm>
                <a:off x="2878510" y="2152650"/>
                <a:ext cx="28996" cy="36000"/>
              </a:xfrm>
              <a:custGeom>
                <a:avLst/>
                <a:gdLst>
                  <a:gd name="connsiteX0" fmla="*/ 17090 w 28996"/>
                  <a:gd name="connsiteY0" fmla="*/ 42863 h 61913"/>
                  <a:gd name="connsiteX1" fmla="*/ 12328 w 28996"/>
                  <a:gd name="connsiteY1" fmla="*/ 23813 h 61913"/>
                  <a:gd name="connsiteX2" fmla="*/ 5184 w 28996"/>
                  <a:gd name="connsiteY2" fmla="*/ 19050 h 61913"/>
                  <a:gd name="connsiteX3" fmla="*/ 7565 w 28996"/>
                  <a:gd name="connsiteY3" fmla="*/ 0 h 61913"/>
                  <a:gd name="connsiteX4" fmla="*/ 12328 w 28996"/>
                  <a:gd name="connsiteY4" fmla="*/ 7144 h 61913"/>
                  <a:gd name="connsiteX5" fmla="*/ 14709 w 28996"/>
                  <a:gd name="connsiteY5" fmla="*/ 23813 h 61913"/>
                  <a:gd name="connsiteX6" fmla="*/ 17090 w 28996"/>
                  <a:gd name="connsiteY6" fmla="*/ 30956 h 61913"/>
                  <a:gd name="connsiteX7" fmla="*/ 19471 w 28996"/>
                  <a:gd name="connsiteY7" fmla="*/ 23813 h 61913"/>
                  <a:gd name="connsiteX8" fmla="*/ 21853 w 28996"/>
                  <a:gd name="connsiteY8" fmla="*/ 11906 h 61913"/>
                  <a:gd name="connsiteX9" fmla="*/ 24234 w 28996"/>
                  <a:gd name="connsiteY9" fmla="*/ 19050 h 61913"/>
                  <a:gd name="connsiteX10" fmla="*/ 26615 w 28996"/>
                  <a:gd name="connsiteY10" fmla="*/ 45244 h 61913"/>
                  <a:gd name="connsiteX11" fmla="*/ 28996 w 28996"/>
                  <a:gd name="connsiteY11" fmla="*/ 52388 h 61913"/>
                  <a:gd name="connsiteX12" fmla="*/ 26615 w 28996"/>
                  <a:gd name="connsiteY12" fmla="*/ 61913 h 61913"/>
                  <a:gd name="connsiteX13" fmla="*/ 24234 w 28996"/>
                  <a:gd name="connsiteY13" fmla="*/ 54769 h 61913"/>
                  <a:gd name="connsiteX14" fmla="*/ 17090 w 28996"/>
                  <a:gd name="connsiteY14" fmla="*/ 42863 h 6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8996" h="61913">
                    <a:moveTo>
                      <a:pt x="17090" y="42863"/>
                    </a:moveTo>
                    <a:cubicBezTo>
                      <a:pt x="15106" y="37704"/>
                      <a:pt x="14281" y="26254"/>
                      <a:pt x="12328" y="23813"/>
                    </a:cubicBezTo>
                    <a:cubicBezTo>
                      <a:pt x="10540" y="21578"/>
                      <a:pt x="7565" y="20638"/>
                      <a:pt x="5184" y="19050"/>
                    </a:cubicBezTo>
                    <a:cubicBezTo>
                      <a:pt x="-484" y="2048"/>
                      <a:pt x="-3756" y="7548"/>
                      <a:pt x="7565" y="0"/>
                    </a:cubicBezTo>
                    <a:cubicBezTo>
                      <a:pt x="9153" y="2381"/>
                      <a:pt x="11506" y="4403"/>
                      <a:pt x="12328" y="7144"/>
                    </a:cubicBezTo>
                    <a:cubicBezTo>
                      <a:pt x="13941" y="12520"/>
                      <a:pt x="13608" y="18309"/>
                      <a:pt x="14709" y="23813"/>
                    </a:cubicBezTo>
                    <a:cubicBezTo>
                      <a:pt x="15201" y="26274"/>
                      <a:pt x="16296" y="28575"/>
                      <a:pt x="17090" y="30956"/>
                    </a:cubicBezTo>
                    <a:cubicBezTo>
                      <a:pt x="17884" y="28575"/>
                      <a:pt x="18862" y="26248"/>
                      <a:pt x="19471" y="23813"/>
                    </a:cubicBezTo>
                    <a:cubicBezTo>
                      <a:pt x="20453" y="19886"/>
                      <a:pt x="18991" y="14768"/>
                      <a:pt x="21853" y="11906"/>
                    </a:cubicBezTo>
                    <a:cubicBezTo>
                      <a:pt x="23628" y="10131"/>
                      <a:pt x="23440" y="16669"/>
                      <a:pt x="24234" y="19050"/>
                    </a:cubicBezTo>
                    <a:cubicBezTo>
                      <a:pt x="25028" y="27781"/>
                      <a:pt x="25375" y="36565"/>
                      <a:pt x="26615" y="45244"/>
                    </a:cubicBezTo>
                    <a:cubicBezTo>
                      <a:pt x="26970" y="47729"/>
                      <a:pt x="28996" y="49878"/>
                      <a:pt x="28996" y="52388"/>
                    </a:cubicBezTo>
                    <a:cubicBezTo>
                      <a:pt x="28996" y="55661"/>
                      <a:pt x="27409" y="58738"/>
                      <a:pt x="26615" y="61913"/>
                    </a:cubicBezTo>
                    <a:cubicBezTo>
                      <a:pt x="25821" y="59532"/>
                      <a:pt x="24924" y="57183"/>
                      <a:pt x="24234" y="54769"/>
                    </a:cubicBezTo>
                    <a:cubicBezTo>
                      <a:pt x="23335" y="51622"/>
                      <a:pt x="19074" y="48022"/>
                      <a:pt x="17090" y="4286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87" name="Freeform: Shape 786">
                <a:extLst>
                  <a:ext uri="{FF2B5EF4-FFF2-40B4-BE49-F238E27FC236}">
                    <a16:creationId xmlns:a16="http://schemas.microsoft.com/office/drawing/2014/main" id="{B0880F69-3E9F-4313-BEFA-17584CF6AFC4}"/>
                  </a:ext>
                </a:extLst>
              </p:cNvPr>
              <p:cNvSpPr/>
              <p:nvPr/>
            </p:nvSpPr>
            <p:spPr>
              <a:xfrm>
                <a:off x="2860621" y="2293750"/>
                <a:ext cx="14928" cy="18541"/>
              </a:xfrm>
              <a:custGeom>
                <a:avLst/>
                <a:gdLst>
                  <a:gd name="connsiteX0" fmla="*/ 3022 w 14928"/>
                  <a:gd name="connsiteY0" fmla="*/ 23 h 18541"/>
                  <a:gd name="connsiteX1" fmla="*/ 641 w 14928"/>
                  <a:gd name="connsiteY1" fmla="*/ 11929 h 18541"/>
                  <a:gd name="connsiteX2" fmla="*/ 14928 w 14928"/>
                  <a:gd name="connsiteY2" fmla="*/ 9548 h 18541"/>
                  <a:gd name="connsiteX3" fmla="*/ 3022 w 14928"/>
                  <a:gd name="connsiteY3" fmla="*/ 23 h 18541"/>
                </a:gdLst>
                <a:ahLst/>
                <a:cxnLst>
                  <a:cxn ang="0">
                    <a:pos x="connsiteX0" y="connsiteY0"/>
                  </a:cxn>
                  <a:cxn ang="0">
                    <a:pos x="connsiteX1" y="connsiteY1"/>
                  </a:cxn>
                  <a:cxn ang="0">
                    <a:pos x="connsiteX2" y="connsiteY2"/>
                  </a:cxn>
                  <a:cxn ang="0">
                    <a:pos x="connsiteX3" y="connsiteY3"/>
                  </a:cxn>
                </a:cxnLst>
                <a:rect l="l" t="t" r="r" b="b"/>
                <a:pathLst>
                  <a:path w="14928" h="18541">
                    <a:moveTo>
                      <a:pt x="3022" y="23"/>
                    </a:moveTo>
                    <a:cubicBezTo>
                      <a:pt x="641" y="420"/>
                      <a:pt x="-953" y="8209"/>
                      <a:pt x="641" y="11929"/>
                    </a:cubicBezTo>
                    <a:cubicBezTo>
                      <a:pt x="6947" y="26642"/>
                      <a:pt x="12856" y="12656"/>
                      <a:pt x="14928" y="9548"/>
                    </a:cubicBezTo>
                    <a:cubicBezTo>
                      <a:pt x="7123" y="4346"/>
                      <a:pt x="5403" y="-374"/>
                      <a:pt x="3022" y="2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88" name="Freeform: Shape 787">
                <a:extLst>
                  <a:ext uri="{FF2B5EF4-FFF2-40B4-BE49-F238E27FC236}">
                    <a16:creationId xmlns:a16="http://schemas.microsoft.com/office/drawing/2014/main" id="{F40C14C0-1EB8-404E-B649-3570846D26AC}"/>
                  </a:ext>
                </a:extLst>
              </p:cNvPr>
              <p:cNvSpPr/>
              <p:nvPr/>
            </p:nvSpPr>
            <p:spPr>
              <a:xfrm rot="11290027">
                <a:off x="2781294" y="2230605"/>
                <a:ext cx="14928" cy="7200"/>
              </a:xfrm>
              <a:custGeom>
                <a:avLst/>
                <a:gdLst>
                  <a:gd name="connsiteX0" fmla="*/ 3022 w 14928"/>
                  <a:gd name="connsiteY0" fmla="*/ 23 h 18541"/>
                  <a:gd name="connsiteX1" fmla="*/ 641 w 14928"/>
                  <a:gd name="connsiteY1" fmla="*/ 11929 h 18541"/>
                  <a:gd name="connsiteX2" fmla="*/ 14928 w 14928"/>
                  <a:gd name="connsiteY2" fmla="*/ 9548 h 18541"/>
                  <a:gd name="connsiteX3" fmla="*/ 3022 w 14928"/>
                  <a:gd name="connsiteY3" fmla="*/ 23 h 18541"/>
                </a:gdLst>
                <a:ahLst/>
                <a:cxnLst>
                  <a:cxn ang="0">
                    <a:pos x="connsiteX0" y="connsiteY0"/>
                  </a:cxn>
                  <a:cxn ang="0">
                    <a:pos x="connsiteX1" y="connsiteY1"/>
                  </a:cxn>
                  <a:cxn ang="0">
                    <a:pos x="connsiteX2" y="connsiteY2"/>
                  </a:cxn>
                  <a:cxn ang="0">
                    <a:pos x="connsiteX3" y="connsiteY3"/>
                  </a:cxn>
                </a:cxnLst>
                <a:rect l="l" t="t" r="r" b="b"/>
                <a:pathLst>
                  <a:path w="14928" h="18541">
                    <a:moveTo>
                      <a:pt x="3022" y="23"/>
                    </a:moveTo>
                    <a:cubicBezTo>
                      <a:pt x="641" y="420"/>
                      <a:pt x="-953" y="8209"/>
                      <a:pt x="641" y="11929"/>
                    </a:cubicBezTo>
                    <a:cubicBezTo>
                      <a:pt x="6947" y="26642"/>
                      <a:pt x="12856" y="12656"/>
                      <a:pt x="14928" y="9548"/>
                    </a:cubicBezTo>
                    <a:cubicBezTo>
                      <a:pt x="7123" y="4346"/>
                      <a:pt x="5403" y="-374"/>
                      <a:pt x="3022" y="2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89" name="Freeform: Shape 788">
                <a:extLst>
                  <a:ext uri="{FF2B5EF4-FFF2-40B4-BE49-F238E27FC236}">
                    <a16:creationId xmlns:a16="http://schemas.microsoft.com/office/drawing/2014/main" id="{1BDF9D22-5720-45D0-A39F-AE2D07EC545E}"/>
                  </a:ext>
                </a:extLst>
              </p:cNvPr>
              <p:cNvSpPr/>
              <p:nvPr/>
            </p:nvSpPr>
            <p:spPr>
              <a:xfrm rot="20540395">
                <a:off x="2896658" y="2245983"/>
                <a:ext cx="3600" cy="18541"/>
              </a:xfrm>
              <a:custGeom>
                <a:avLst/>
                <a:gdLst>
                  <a:gd name="connsiteX0" fmla="*/ 3022 w 14928"/>
                  <a:gd name="connsiteY0" fmla="*/ 23 h 18541"/>
                  <a:gd name="connsiteX1" fmla="*/ 641 w 14928"/>
                  <a:gd name="connsiteY1" fmla="*/ 11929 h 18541"/>
                  <a:gd name="connsiteX2" fmla="*/ 14928 w 14928"/>
                  <a:gd name="connsiteY2" fmla="*/ 9548 h 18541"/>
                  <a:gd name="connsiteX3" fmla="*/ 3022 w 14928"/>
                  <a:gd name="connsiteY3" fmla="*/ 23 h 18541"/>
                </a:gdLst>
                <a:ahLst/>
                <a:cxnLst>
                  <a:cxn ang="0">
                    <a:pos x="connsiteX0" y="connsiteY0"/>
                  </a:cxn>
                  <a:cxn ang="0">
                    <a:pos x="connsiteX1" y="connsiteY1"/>
                  </a:cxn>
                  <a:cxn ang="0">
                    <a:pos x="connsiteX2" y="connsiteY2"/>
                  </a:cxn>
                  <a:cxn ang="0">
                    <a:pos x="connsiteX3" y="connsiteY3"/>
                  </a:cxn>
                </a:cxnLst>
                <a:rect l="l" t="t" r="r" b="b"/>
                <a:pathLst>
                  <a:path w="14928" h="18541">
                    <a:moveTo>
                      <a:pt x="3022" y="23"/>
                    </a:moveTo>
                    <a:cubicBezTo>
                      <a:pt x="641" y="420"/>
                      <a:pt x="-953" y="8209"/>
                      <a:pt x="641" y="11929"/>
                    </a:cubicBezTo>
                    <a:cubicBezTo>
                      <a:pt x="6947" y="26642"/>
                      <a:pt x="12856" y="12656"/>
                      <a:pt x="14928" y="9548"/>
                    </a:cubicBezTo>
                    <a:cubicBezTo>
                      <a:pt x="7123" y="4346"/>
                      <a:pt x="5403" y="-374"/>
                      <a:pt x="3022" y="2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grpSp>
          <p:nvGrpSpPr>
            <p:cNvPr id="341" name="Group 340">
              <a:extLst>
                <a:ext uri="{FF2B5EF4-FFF2-40B4-BE49-F238E27FC236}">
                  <a16:creationId xmlns:a16="http://schemas.microsoft.com/office/drawing/2014/main" id="{941DEDFA-B373-44AC-AFB1-399A331B5EC0}"/>
                </a:ext>
              </a:extLst>
            </p:cNvPr>
            <p:cNvGrpSpPr/>
            <p:nvPr/>
          </p:nvGrpSpPr>
          <p:grpSpPr>
            <a:xfrm>
              <a:off x="5134569" y="2121677"/>
              <a:ext cx="973969" cy="2062923"/>
              <a:chOff x="2409825" y="2525099"/>
              <a:chExt cx="973969" cy="2062923"/>
            </a:xfrm>
            <a:solidFill>
              <a:schemeClr val="bg2">
                <a:lumMod val="90000"/>
              </a:schemeClr>
            </a:solidFill>
          </p:grpSpPr>
          <p:grpSp>
            <p:nvGrpSpPr>
              <p:cNvPr id="750" name="Group 749">
                <a:extLst>
                  <a:ext uri="{FF2B5EF4-FFF2-40B4-BE49-F238E27FC236}">
                    <a16:creationId xmlns:a16="http://schemas.microsoft.com/office/drawing/2014/main" id="{2B167A88-5DEB-4336-9D30-A7171E37350F}"/>
                  </a:ext>
                </a:extLst>
              </p:cNvPr>
              <p:cNvGrpSpPr/>
              <p:nvPr/>
            </p:nvGrpSpPr>
            <p:grpSpPr>
              <a:xfrm>
                <a:off x="2409825" y="2528827"/>
                <a:ext cx="973969" cy="2059195"/>
                <a:chOff x="2409825" y="2528827"/>
                <a:chExt cx="973969" cy="2059195"/>
              </a:xfrm>
              <a:grpFill/>
            </p:grpSpPr>
            <p:grpSp>
              <p:nvGrpSpPr>
                <p:cNvPr id="752" name="Group 751">
                  <a:extLst>
                    <a:ext uri="{FF2B5EF4-FFF2-40B4-BE49-F238E27FC236}">
                      <a16:creationId xmlns:a16="http://schemas.microsoft.com/office/drawing/2014/main" id="{101BC4D6-6882-4577-9CB2-A2A2133199A3}"/>
                    </a:ext>
                  </a:extLst>
                </p:cNvPr>
                <p:cNvGrpSpPr/>
                <p:nvPr/>
              </p:nvGrpSpPr>
              <p:grpSpPr>
                <a:xfrm>
                  <a:off x="2488406" y="2528827"/>
                  <a:ext cx="895388" cy="2059195"/>
                  <a:chOff x="2488406" y="2528827"/>
                  <a:chExt cx="895388" cy="2059195"/>
                </a:xfrm>
                <a:grpFill/>
              </p:grpSpPr>
              <p:grpSp>
                <p:nvGrpSpPr>
                  <p:cNvPr id="754" name="Group 753">
                    <a:extLst>
                      <a:ext uri="{FF2B5EF4-FFF2-40B4-BE49-F238E27FC236}">
                        <a16:creationId xmlns:a16="http://schemas.microsoft.com/office/drawing/2014/main" id="{A9B0640F-D132-4B85-9D02-604ED5886190}"/>
                      </a:ext>
                    </a:extLst>
                  </p:cNvPr>
                  <p:cNvGrpSpPr/>
                  <p:nvPr/>
                </p:nvGrpSpPr>
                <p:grpSpPr>
                  <a:xfrm>
                    <a:off x="2488406" y="2528827"/>
                    <a:ext cx="895388" cy="1845529"/>
                    <a:chOff x="2488406" y="2528827"/>
                    <a:chExt cx="895388" cy="1845529"/>
                  </a:xfrm>
                  <a:grpFill/>
                </p:grpSpPr>
                <p:sp>
                  <p:nvSpPr>
                    <p:cNvPr id="757" name="Freeform: Shape 756">
                      <a:extLst>
                        <a:ext uri="{FF2B5EF4-FFF2-40B4-BE49-F238E27FC236}">
                          <a16:creationId xmlns:a16="http://schemas.microsoft.com/office/drawing/2014/main" id="{F8ADB00A-DE47-4224-97E9-ABAC729F65F2}"/>
                        </a:ext>
                      </a:extLst>
                    </p:cNvPr>
                    <p:cNvSpPr/>
                    <p:nvPr/>
                  </p:nvSpPr>
                  <p:spPr>
                    <a:xfrm>
                      <a:off x="2488406" y="2862263"/>
                      <a:ext cx="895388" cy="1512093"/>
                    </a:xfrm>
                    <a:custGeom>
                      <a:avLst/>
                      <a:gdLst>
                        <a:gd name="connsiteX0" fmla="*/ 378619 w 895388"/>
                        <a:gd name="connsiteY0" fmla="*/ 54768 h 1512093"/>
                        <a:gd name="connsiteX1" fmla="*/ 376238 w 895388"/>
                        <a:gd name="connsiteY1" fmla="*/ 42862 h 1512093"/>
                        <a:gd name="connsiteX2" fmla="*/ 371475 w 895388"/>
                        <a:gd name="connsiteY2" fmla="*/ 35718 h 1512093"/>
                        <a:gd name="connsiteX3" fmla="*/ 373857 w 895388"/>
                        <a:gd name="connsiteY3" fmla="*/ 14287 h 1512093"/>
                        <a:gd name="connsiteX4" fmla="*/ 376238 w 895388"/>
                        <a:gd name="connsiteY4" fmla="*/ 4762 h 1512093"/>
                        <a:gd name="connsiteX5" fmla="*/ 383382 w 895388"/>
                        <a:gd name="connsiteY5" fmla="*/ 2381 h 1512093"/>
                        <a:gd name="connsiteX6" fmla="*/ 407194 w 895388"/>
                        <a:gd name="connsiteY6" fmla="*/ 0 h 1512093"/>
                        <a:gd name="connsiteX7" fmla="*/ 414338 w 895388"/>
                        <a:gd name="connsiteY7" fmla="*/ 2381 h 1512093"/>
                        <a:gd name="connsiteX8" fmla="*/ 423863 w 895388"/>
                        <a:gd name="connsiteY8" fmla="*/ 16668 h 1512093"/>
                        <a:gd name="connsiteX9" fmla="*/ 421482 w 895388"/>
                        <a:gd name="connsiteY9" fmla="*/ 23812 h 1512093"/>
                        <a:gd name="connsiteX10" fmla="*/ 419100 w 895388"/>
                        <a:gd name="connsiteY10" fmla="*/ 33337 h 1512093"/>
                        <a:gd name="connsiteX11" fmla="*/ 426244 w 895388"/>
                        <a:gd name="connsiteY11" fmla="*/ 30956 h 1512093"/>
                        <a:gd name="connsiteX12" fmla="*/ 440532 w 895388"/>
                        <a:gd name="connsiteY12" fmla="*/ 23812 h 1512093"/>
                        <a:gd name="connsiteX13" fmla="*/ 447675 w 895388"/>
                        <a:gd name="connsiteY13" fmla="*/ 26193 h 1512093"/>
                        <a:gd name="connsiteX14" fmla="*/ 454819 w 895388"/>
                        <a:gd name="connsiteY14" fmla="*/ 30956 h 1512093"/>
                        <a:gd name="connsiteX15" fmla="*/ 459582 w 895388"/>
                        <a:gd name="connsiteY15" fmla="*/ 38100 h 1512093"/>
                        <a:gd name="connsiteX16" fmla="*/ 471488 w 895388"/>
                        <a:gd name="connsiteY16" fmla="*/ 35718 h 1512093"/>
                        <a:gd name="connsiteX17" fmla="*/ 502444 w 895388"/>
                        <a:gd name="connsiteY17" fmla="*/ 30956 h 1512093"/>
                        <a:gd name="connsiteX18" fmla="*/ 519113 w 895388"/>
                        <a:gd name="connsiteY18" fmla="*/ 19050 h 1512093"/>
                        <a:gd name="connsiteX19" fmla="*/ 526257 w 895388"/>
                        <a:gd name="connsiteY19" fmla="*/ 28575 h 1512093"/>
                        <a:gd name="connsiteX20" fmla="*/ 542925 w 895388"/>
                        <a:gd name="connsiteY20" fmla="*/ 21431 h 1512093"/>
                        <a:gd name="connsiteX21" fmla="*/ 545307 w 895388"/>
                        <a:gd name="connsiteY21" fmla="*/ 28575 h 1512093"/>
                        <a:gd name="connsiteX22" fmla="*/ 569119 w 895388"/>
                        <a:gd name="connsiteY22" fmla="*/ 28575 h 1512093"/>
                        <a:gd name="connsiteX23" fmla="*/ 573882 w 895388"/>
                        <a:gd name="connsiteY23" fmla="*/ 45243 h 1512093"/>
                        <a:gd name="connsiteX24" fmla="*/ 564357 w 895388"/>
                        <a:gd name="connsiteY24" fmla="*/ 61912 h 1512093"/>
                        <a:gd name="connsiteX25" fmla="*/ 557213 w 895388"/>
                        <a:gd name="connsiteY25" fmla="*/ 76200 h 1512093"/>
                        <a:gd name="connsiteX26" fmla="*/ 550069 w 895388"/>
                        <a:gd name="connsiteY26" fmla="*/ 80962 h 1512093"/>
                        <a:gd name="connsiteX27" fmla="*/ 542925 w 895388"/>
                        <a:gd name="connsiteY27" fmla="*/ 88106 h 1512093"/>
                        <a:gd name="connsiteX28" fmla="*/ 519113 w 895388"/>
                        <a:gd name="connsiteY28" fmla="*/ 95250 h 1512093"/>
                        <a:gd name="connsiteX29" fmla="*/ 504825 w 895388"/>
                        <a:gd name="connsiteY29" fmla="*/ 100012 h 1512093"/>
                        <a:gd name="connsiteX30" fmla="*/ 483394 w 895388"/>
                        <a:gd name="connsiteY30" fmla="*/ 109537 h 1512093"/>
                        <a:gd name="connsiteX31" fmla="*/ 476250 w 895388"/>
                        <a:gd name="connsiteY31" fmla="*/ 111918 h 1512093"/>
                        <a:gd name="connsiteX32" fmla="*/ 464344 w 895388"/>
                        <a:gd name="connsiteY32" fmla="*/ 123825 h 1512093"/>
                        <a:gd name="connsiteX33" fmla="*/ 461963 w 895388"/>
                        <a:gd name="connsiteY33" fmla="*/ 130968 h 1512093"/>
                        <a:gd name="connsiteX34" fmla="*/ 454819 w 895388"/>
                        <a:gd name="connsiteY34" fmla="*/ 135731 h 1512093"/>
                        <a:gd name="connsiteX35" fmla="*/ 438150 w 895388"/>
                        <a:gd name="connsiteY35" fmla="*/ 133350 h 1512093"/>
                        <a:gd name="connsiteX36" fmla="*/ 431007 w 895388"/>
                        <a:gd name="connsiteY36" fmla="*/ 126206 h 1512093"/>
                        <a:gd name="connsiteX37" fmla="*/ 428625 w 895388"/>
                        <a:gd name="connsiteY37" fmla="*/ 133350 h 1512093"/>
                        <a:gd name="connsiteX38" fmla="*/ 435769 w 895388"/>
                        <a:gd name="connsiteY38" fmla="*/ 138112 h 1512093"/>
                        <a:gd name="connsiteX39" fmla="*/ 442913 w 895388"/>
                        <a:gd name="connsiteY39" fmla="*/ 140493 h 1512093"/>
                        <a:gd name="connsiteX40" fmla="*/ 447675 w 895388"/>
                        <a:gd name="connsiteY40" fmla="*/ 154781 h 1512093"/>
                        <a:gd name="connsiteX41" fmla="*/ 431007 w 895388"/>
                        <a:gd name="connsiteY41" fmla="*/ 171450 h 1512093"/>
                        <a:gd name="connsiteX42" fmla="*/ 421482 w 895388"/>
                        <a:gd name="connsiteY42" fmla="*/ 176212 h 1512093"/>
                        <a:gd name="connsiteX43" fmla="*/ 419100 w 895388"/>
                        <a:gd name="connsiteY43" fmla="*/ 192881 h 1512093"/>
                        <a:gd name="connsiteX44" fmla="*/ 426244 w 895388"/>
                        <a:gd name="connsiteY44" fmla="*/ 195262 h 1512093"/>
                        <a:gd name="connsiteX45" fmla="*/ 431007 w 895388"/>
                        <a:gd name="connsiteY45" fmla="*/ 202406 h 1512093"/>
                        <a:gd name="connsiteX46" fmla="*/ 457200 w 895388"/>
                        <a:gd name="connsiteY46" fmla="*/ 197643 h 1512093"/>
                        <a:gd name="connsiteX47" fmla="*/ 478632 w 895388"/>
                        <a:gd name="connsiteY47" fmla="*/ 195262 h 1512093"/>
                        <a:gd name="connsiteX48" fmla="*/ 488157 w 895388"/>
                        <a:gd name="connsiteY48" fmla="*/ 183356 h 1512093"/>
                        <a:gd name="connsiteX49" fmla="*/ 497682 w 895388"/>
                        <a:gd name="connsiteY49" fmla="*/ 176212 h 1512093"/>
                        <a:gd name="connsiteX50" fmla="*/ 511969 w 895388"/>
                        <a:gd name="connsiteY50" fmla="*/ 178593 h 1512093"/>
                        <a:gd name="connsiteX51" fmla="*/ 526257 w 895388"/>
                        <a:gd name="connsiteY51" fmla="*/ 188118 h 1512093"/>
                        <a:gd name="connsiteX52" fmla="*/ 531019 w 895388"/>
                        <a:gd name="connsiteY52" fmla="*/ 195262 h 1512093"/>
                        <a:gd name="connsiteX53" fmla="*/ 545307 w 895388"/>
                        <a:gd name="connsiteY53" fmla="*/ 202406 h 1512093"/>
                        <a:gd name="connsiteX54" fmla="*/ 552450 w 895388"/>
                        <a:gd name="connsiteY54" fmla="*/ 197643 h 1512093"/>
                        <a:gd name="connsiteX55" fmla="*/ 557213 w 895388"/>
                        <a:gd name="connsiteY55" fmla="*/ 190500 h 1512093"/>
                        <a:gd name="connsiteX56" fmla="*/ 564357 w 895388"/>
                        <a:gd name="connsiteY56" fmla="*/ 192881 h 1512093"/>
                        <a:gd name="connsiteX57" fmla="*/ 569119 w 895388"/>
                        <a:gd name="connsiteY57" fmla="*/ 200025 h 1512093"/>
                        <a:gd name="connsiteX58" fmla="*/ 576263 w 895388"/>
                        <a:gd name="connsiteY58" fmla="*/ 202406 h 1512093"/>
                        <a:gd name="connsiteX59" fmla="*/ 595313 w 895388"/>
                        <a:gd name="connsiteY59" fmla="*/ 207168 h 1512093"/>
                        <a:gd name="connsiteX60" fmla="*/ 633413 w 895388"/>
                        <a:gd name="connsiteY60" fmla="*/ 214312 h 1512093"/>
                        <a:gd name="connsiteX61" fmla="*/ 638175 w 895388"/>
                        <a:gd name="connsiteY61" fmla="*/ 207168 h 1512093"/>
                        <a:gd name="connsiteX62" fmla="*/ 631032 w 895388"/>
                        <a:gd name="connsiteY62" fmla="*/ 202406 h 1512093"/>
                        <a:gd name="connsiteX63" fmla="*/ 633413 w 895388"/>
                        <a:gd name="connsiteY63" fmla="*/ 216693 h 1512093"/>
                        <a:gd name="connsiteX64" fmla="*/ 647700 w 895388"/>
                        <a:gd name="connsiteY64" fmla="*/ 221456 h 1512093"/>
                        <a:gd name="connsiteX65" fmla="*/ 652463 w 895388"/>
                        <a:gd name="connsiteY65" fmla="*/ 228600 h 1512093"/>
                        <a:gd name="connsiteX66" fmla="*/ 657225 w 895388"/>
                        <a:gd name="connsiteY66" fmla="*/ 242887 h 1512093"/>
                        <a:gd name="connsiteX67" fmla="*/ 647700 w 895388"/>
                        <a:gd name="connsiteY67" fmla="*/ 271462 h 1512093"/>
                        <a:gd name="connsiteX68" fmla="*/ 638175 w 895388"/>
                        <a:gd name="connsiteY68" fmla="*/ 273843 h 1512093"/>
                        <a:gd name="connsiteX69" fmla="*/ 626269 w 895388"/>
                        <a:gd name="connsiteY69" fmla="*/ 292893 h 1512093"/>
                        <a:gd name="connsiteX70" fmla="*/ 621507 w 895388"/>
                        <a:gd name="connsiteY70" fmla="*/ 300037 h 1512093"/>
                        <a:gd name="connsiteX71" fmla="*/ 616744 w 895388"/>
                        <a:gd name="connsiteY71" fmla="*/ 314325 h 1512093"/>
                        <a:gd name="connsiteX72" fmla="*/ 614363 w 895388"/>
                        <a:gd name="connsiteY72" fmla="*/ 321468 h 1512093"/>
                        <a:gd name="connsiteX73" fmla="*/ 604838 w 895388"/>
                        <a:gd name="connsiteY73" fmla="*/ 335756 h 1512093"/>
                        <a:gd name="connsiteX74" fmla="*/ 602457 w 895388"/>
                        <a:gd name="connsiteY74" fmla="*/ 342900 h 1512093"/>
                        <a:gd name="connsiteX75" fmla="*/ 600075 w 895388"/>
                        <a:gd name="connsiteY75" fmla="*/ 352425 h 1512093"/>
                        <a:gd name="connsiteX76" fmla="*/ 583407 w 895388"/>
                        <a:gd name="connsiteY76" fmla="*/ 354806 h 1512093"/>
                        <a:gd name="connsiteX77" fmla="*/ 566738 w 895388"/>
                        <a:gd name="connsiteY77" fmla="*/ 369093 h 1512093"/>
                        <a:gd name="connsiteX78" fmla="*/ 564357 w 895388"/>
                        <a:gd name="connsiteY78" fmla="*/ 378618 h 1512093"/>
                        <a:gd name="connsiteX79" fmla="*/ 559594 w 895388"/>
                        <a:gd name="connsiteY79" fmla="*/ 392906 h 1512093"/>
                        <a:gd name="connsiteX80" fmla="*/ 550069 w 895388"/>
                        <a:gd name="connsiteY80" fmla="*/ 404812 h 1512093"/>
                        <a:gd name="connsiteX81" fmla="*/ 542925 w 895388"/>
                        <a:gd name="connsiteY81" fmla="*/ 407193 h 1512093"/>
                        <a:gd name="connsiteX82" fmla="*/ 495300 w 895388"/>
                        <a:gd name="connsiteY82" fmla="*/ 409575 h 1512093"/>
                        <a:gd name="connsiteX83" fmla="*/ 478632 w 895388"/>
                        <a:gd name="connsiteY83" fmla="*/ 419100 h 1512093"/>
                        <a:gd name="connsiteX84" fmla="*/ 476250 w 895388"/>
                        <a:gd name="connsiteY84" fmla="*/ 426243 h 1512093"/>
                        <a:gd name="connsiteX85" fmla="*/ 478632 w 895388"/>
                        <a:gd name="connsiteY85" fmla="*/ 433387 h 1512093"/>
                        <a:gd name="connsiteX86" fmla="*/ 500063 w 895388"/>
                        <a:gd name="connsiteY86" fmla="*/ 423862 h 1512093"/>
                        <a:gd name="connsiteX87" fmla="*/ 514350 w 895388"/>
                        <a:gd name="connsiteY87" fmla="*/ 416718 h 1512093"/>
                        <a:gd name="connsiteX88" fmla="*/ 519113 w 895388"/>
                        <a:gd name="connsiteY88" fmla="*/ 423862 h 1512093"/>
                        <a:gd name="connsiteX89" fmla="*/ 526257 w 895388"/>
                        <a:gd name="connsiteY89" fmla="*/ 431006 h 1512093"/>
                        <a:gd name="connsiteX90" fmla="*/ 528638 w 895388"/>
                        <a:gd name="connsiteY90" fmla="*/ 438150 h 1512093"/>
                        <a:gd name="connsiteX91" fmla="*/ 535782 w 895388"/>
                        <a:gd name="connsiteY91" fmla="*/ 445293 h 1512093"/>
                        <a:gd name="connsiteX92" fmla="*/ 540544 w 895388"/>
                        <a:gd name="connsiteY92" fmla="*/ 452437 h 1512093"/>
                        <a:gd name="connsiteX93" fmla="*/ 519113 w 895388"/>
                        <a:gd name="connsiteY93" fmla="*/ 447675 h 1512093"/>
                        <a:gd name="connsiteX94" fmla="*/ 502444 w 895388"/>
                        <a:gd name="connsiteY94" fmla="*/ 450056 h 1512093"/>
                        <a:gd name="connsiteX95" fmla="*/ 488157 w 895388"/>
                        <a:gd name="connsiteY95" fmla="*/ 461962 h 1512093"/>
                        <a:gd name="connsiteX96" fmla="*/ 473869 w 895388"/>
                        <a:gd name="connsiteY96" fmla="*/ 469106 h 1512093"/>
                        <a:gd name="connsiteX97" fmla="*/ 466725 w 895388"/>
                        <a:gd name="connsiteY97" fmla="*/ 476250 h 1512093"/>
                        <a:gd name="connsiteX98" fmla="*/ 461963 w 895388"/>
                        <a:gd name="connsiteY98" fmla="*/ 483393 h 1512093"/>
                        <a:gd name="connsiteX99" fmla="*/ 447675 w 895388"/>
                        <a:gd name="connsiteY99" fmla="*/ 476250 h 1512093"/>
                        <a:gd name="connsiteX100" fmla="*/ 433388 w 895388"/>
                        <a:gd name="connsiteY100" fmla="*/ 471487 h 1512093"/>
                        <a:gd name="connsiteX101" fmla="*/ 426244 w 895388"/>
                        <a:gd name="connsiteY101" fmla="*/ 469106 h 1512093"/>
                        <a:gd name="connsiteX102" fmla="*/ 423863 w 895388"/>
                        <a:gd name="connsiteY102" fmla="*/ 485775 h 1512093"/>
                        <a:gd name="connsiteX103" fmla="*/ 431007 w 895388"/>
                        <a:gd name="connsiteY103" fmla="*/ 488156 h 1512093"/>
                        <a:gd name="connsiteX104" fmla="*/ 457200 w 895388"/>
                        <a:gd name="connsiteY104" fmla="*/ 488156 h 1512093"/>
                        <a:gd name="connsiteX105" fmla="*/ 471488 w 895388"/>
                        <a:gd name="connsiteY105" fmla="*/ 497681 h 1512093"/>
                        <a:gd name="connsiteX106" fmla="*/ 478632 w 895388"/>
                        <a:gd name="connsiteY106" fmla="*/ 500062 h 1512093"/>
                        <a:gd name="connsiteX107" fmla="*/ 502444 w 895388"/>
                        <a:gd name="connsiteY107" fmla="*/ 497681 h 1512093"/>
                        <a:gd name="connsiteX108" fmla="*/ 504825 w 895388"/>
                        <a:gd name="connsiteY108" fmla="*/ 490537 h 1512093"/>
                        <a:gd name="connsiteX109" fmla="*/ 519113 w 895388"/>
                        <a:gd name="connsiteY109" fmla="*/ 481012 h 1512093"/>
                        <a:gd name="connsiteX110" fmla="*/ 526257 w 895388"/>
                        <a:gd name="connsiteY110" fmla="*/ 495300 h 1512093"/>
                        <a:gd name="connsiteX111" fmla="*/ 533400 w 895388"/>
                        <a:gd name="connsiteY111" fmla="*/ 500062 h 1512093"/>
                        <a:gd name="connsiteX112" fmla="*/ 540544 w 895388"/>
                        <a:gd name="connsiteY112" fmla="*/ 507206 h 1512093"/>
                        <a:gd name="connsiteX113" fmla="*/ 554832 w 895388"/>
                        <a:gd name="connsiteY113" fmla="*/ 516731 h 1512093"/>
                        <a:gd name="connsiteX114" fmla="*/ 569119 w 895388"/>
                        <a:gd name="connsiteY114" fmla="*/ 528637 h 1512093"/>
                        <a:gd name="connsiteX115" fmla="*/ 578644 w 895388"/>
                        <a:gd name="connsiteY115" fmla="*/ 542925 h 1512093"/>
                        <a:gd name="connsiteX116" fmla="*/ 583407 w 895388"/>
                        <a:gd name="connsiteY116" fmla="*/ 557212 h 1512093"/>
                        <a:gd name="connsiteX117" fmla="*/ 588169 w 895388"/>
                        <a:gd name="connsiteY117" fmla="*/ 564356 h 1512093"/>
                        <a:gd name="connsiteX118" fmla="*/ 590550 w 895388"/>
                        <a:gd name="connsiteY118" fmla="*/ 571500 h 1512093"/>
                        <a:gd name="connsiteX119" fmla="*/ 597694 w 895388"/>
                        <a:gd name="connsiteY119" fmla="*/ 573881 h 1512093"/>
                        <a:gd name="connsiteX120" fmla="*/ 609600 w 895388"/>
                        <a:gd name="connsiteY120" fmla="*/ 595312 h 1512093"/>
                        <a:gd name="connsiteX121" fmla="*/ 616744 w 895388"/>
                        <a:gd name="connsiteY121" fmla="*/ 600075 h 1512093"/>
                        <a:gd name="connsiteX122" fmla="*/ 614363 w 895388"/>
                        <a:gd name="connsiteY122" fmla="*/ 614362 h 1512093"/>
                        <a:gd name="connsiteX123" fmla="*/ 604838 w 895388"/>
                        <a:gd name="connsiteY123" fmla="*/ 635793 h 1512093"/>
                        <a:gd name="connsiteX124" fmla="*/ 611982 w 895388"/>
                        <a:gd name="connsiteY124" fmla="*/ 676275 h 1512093"/>
                        <a:gd name="connsiteX125" fmla="*/ 619125 w 895388"/>
                        <a:gd name="connsiteY125" fmla="*/ 681037 h 1512093"/>
                        <a:gd name="connsiteX126" fmla="*/ 616744 w 895388"/>
                        <a:gd name="connsiteY126" fmla="*/ 738187 h 1512093"/>
                        <a:gd name="connsiteX127" fmla="*/ 623888 w 895388"/>
                        <a:gd name="connsiteY127" fmla="*/ 759618 h 1512093"/>
                        <a:gd name="connsiteX128" fmla="*/ 631032 w 895388"/>
                        <a:gd name="connsiteY128" fmla="*/ 762000 h 1512093"/>
                        <a:gd name="connsiteX129" fmla="*/ 640557 w 895388"/>
                        <a:gd name="connsiteY129" fmla="*/ 776287 h 1512093"/>
                        <a:gd name="connsiteX130" fmla="*/ 647700 w 895388"/>
                        <a:gd name="connsiteY130" fmla="*/ 778668 h 1512093"/>
                        <a:gd name="connsiteX131" fmla="*/ 661988 w 895388"/>
                        <a:gd name="connsiteY131" fmla="*/ 788193 h 1512093"/>
                        <a:gd name="connsiteX132" fmla="*/ 683419 w 895388"/>
                        <a:gd name="connsiteY132" fmla="*/ 804862 h 1512093"/>
                        <a:gd name="connsiteX133" fmla="*/ 690563 w 895388"/>
                        <a:gd name="connsiteY133" fmla="*/ 809625 h 1512093"/>
                        <a:gd name="connsiteX134" fmla="*/ 697707 w 895388"/>
                        <a:gd name="connsiteY134" fmla="*/ 814387 h 1512093"/>
                        <a:gd name="connsiteX135" fmla="*/ 700088 w 895388"/>
                        <a:gd name="connsiteY135" fmla="*/ 821531 h 1512093"/>
                        <a:gd name="connsiteX136" fmla="*/ 695325 w 895388"/>
                        <a:gd name="connsiteY136" fmla="*/ 840581 h 1512093"/>
                        <a:gd name="connsiteX137" fmla="*/ 697707 w 895388"/>
                        <a:gd name="connsiteY137" fmla="*/ 847725 h 1512093"/>
                        <a:gd name="connsiteX138" fmla="*/ 709613 w 895388"/>
                        <a:gd name="connsiteY138" fmla="*/ 862012 h 1512093"/>
                        <a:gd name="connsiteX139" fmla="*/ 711994 w 895388"/>
                        <a:gd name="connsiteY139" fmla="*/ 869156 h 1512093"/>
                        <a:gd name="connsiteX140" fmla="*/ 726282 w 895388"/>
                        <a:gd name="connsiteY140" fmla="*/ 878681 h 1512093"/>
                        <a:gd name="connsiteX141" fmla="*/ 716757 w 895388"/>
                        <a:gd name="connsiteY141" fmla="*/ 890587 h 1512093"/>
                        <a:gd name="connsiteX142" fmla="*/ 714375 w 895388"/>
                        <a:gd name="connsiteY142" fmla="*/ 897731 h 1512093"/>
                        <a:gd name="connsiteX143" fmla="*/ 716757 w 895388"/>
                        <a:gd name="connsiteY143" fmla="*/ 916781 h 1512093"/>
                        <a:gd name="connsiteX144" fmla="*/ 726282 w 895388"/>
                        <a:gd name="connsiteY144" fmla="*/ 931068 h 1512093"/>
                        <a:gd name="connsiteX145" fmla="*/ 702469 w 895388"/>
                        <a:gd name="connsiteY145" fmla="*/ 935831 h 1512093"/>
                        <a:gd name="connsiteX146" fmla="*/ 688182 w 895388"/>
                        <a:gd name="connsiteY146" fmla="*/ 940593 h 1512093"/>
                        <a:gd name="connsiteX147" fmla="*/ 681038 w 895388"/>
                        <a:gd name="connsiteY147" fmla="*/ 942975 h 1512093"/>
                        <a:gd name="connsiteX148" fmla="*/ 673894 w 895388"/>
                        <a:gd name="connsiteY148" fmla="*/ 945356 h 1512093"/>
                        <a:gd name="connsiteX149" fmla="*/ 664369 w 895388"/>
                        <a:gd name="connsiteY149" fmla="*/ 950118 h 1512093"/>
                        <a:gd name="connsiteX150" fmla="*/ 678657 w 895388"/>
                        <a:gd name="connsiteY150" fmla="*/ 954881 h 1512093"/>
                        <a:gd name="connsiteX151" fmla="*/ 685800 w 895388"/>
                        <a:gd name="connsiteY151" fmla="*/ 957262 h 1512093"/>
                        <a:gd name="connsiteX152" fmla="*/ 707232 w 895388"/>
                        <a:gd name="connsiteY152" fmla="*/ 962025 h 1512093"/>
                        <a:gd name="connsiteX153" fmla="*/ 711994 w 895388"/>
                        <a:gd name="connsiteY153" fmla="*/ 969168 h 1512093"/>
                        <a:gd name="connsiteX154" fmla="*/ 721519 w 895388"/>
                        <a:gd name="connsiteY154" fmla="*/ 978693 h 1512093"/>
                        <a:gd name="connsiteX155" fmla="*/ 731044 w 895388"/>
                        <a:gd name="connsiteY155" fmla="*/ 976312 h 1512093"/>
                        <a:gd name="connsiteX156" fmla="*/ 740569 w 895388"/>
                        <a:gd name="connsiteY156" fmla="*/ 976312 h 1512093"/>
                        <a:gd name="connsiteX157" fmla="*/ 742950 w 895388"/>
                        <a:gd name="connsiteY157" fmla="*/ 995362 h 1512093"/>
                        <a:gd name="connsiteX158" fmla="*/ 747713 w 895388"/>
                        <a:gd name="connsiteY158" fmla="*/ 1002506 h 1512093"/>
                        <a:gd name="connsiteX159" fmla="*/ 754857 w 895388"/>
                        <a:gd name="connsiteY159" fmla="*/ 1016793 h 1512093"/>
                        <a:gd name="connsiteX160" fmla="*/ 757238 w 895388"/>
                        <a:gd name="connsiteY160" fmla="*/ 1042987 h 1512093"/>
                        <a:gd name="connsiteX161" fmla="*/ 762000 w 895388"/>
                        <a:gd name="connsiteY161" fmla="*/ 1057275 h 1512093"/>
                        <a:gd name="connsiteX162" fmla="*/ 757238 w 895388"/>
                        <a:gd name="connsiteY162" fmla="*/ 1064418 h 1512093"/>
                        <a:gd name="connsiteX163" fmla="*/ 742950 w 895388"/>
                        <a:gd name="connsiteY163" fmla="*/ 1069181 h 1512093"/>
                        <a:gd name="connsiteX164" fmla="*/ 735807 w 895388"/>
                        <a:gd name="connsiteY164" fmla="*/ 1083468 h 1512093"/>
                        <a:gd name="connsiteX165" fmla="*/ 733425 w 895388"/>
                        <a:gd name="connsiteY165" fmla="*/ 1092993 h 1512093"/>
                        <a:gd name="connsiteX166" fmla="*/ 723900 w 895388"/>
                        <a:gd name="connsiteY166" fmla="*/ 1095375 h 1512093"/>
                        <a:gd name="connsiteX167" fmla="*/ 726282 w 895388"/>
                        <a:gd name="connsiteY167" fmla="*/ 1112043 h 1512093"/>
                        <a:gd name="connsiteX168" fmla="*/ 740569 w 895388"/>
                        <a:gd name="connsiteY168" fmla="*/ 1119187 h 1512093"/>
                        <a:gd name="connsiteX169" fmla="*/ 750094 w 895388"/>
                        <a:gd name="connsiteY169" fmla="*/ 1116806 h 1512093"/>
                        <a:gd name="connsiteX170" fmla="*/ 764382 w 895388"/>
                        <a:gd name="connsiteY170" fmla="*/ 1107281 h 1512093"/>
                        <a:gd name="connsiteX171" fmla="*/ 771525 w 895388"/>
                        <a:gd name="connsiteY171" fmla="*/ 1100137 h 1512093"/>
                        <a:gd name="connsiteX172" fmla="*/ 778669 w 895388"/>
                        <a:gd name="connsiteY172" fmla="*/ 1097756 h 1512093"/>
                        <a:gd name="connsiteX173" fmla="*/ 831057 w 895388"/>
                        <a:gd name="connsiteY173" fmla="*/ 1100137 h 1512093"/>
                        <a:gd name="connsiteX174" fmla="*/ 838200 w 895388"/>
                        <a:gd name="connsiteY174" fmla="*/ 1104900 h 1512093"/>
                        <a:gd name="connsiteX175" fmla="*/ 845344 w 895388"/>
                        <a:gd name="connsiteY175" fmla="*/ 1107281 h 1512093"/>
                        <a:gd name="connsiteX176" fmla="*/ 852488 w 895388"/>
                        <a:gd name="connsiteY176" fmla="*/ 1112043 h 1512093"/>
                        <a:gd name="connsiteX177" fmla="*/ 859632 w 895388"/>
                        <a:gd name="connsiteY177" fmla="*/ 1114425 h 1512093"/>
                        <a:gd name="connsiteX178" fmla="*/ 873919 w 895388"/>
                        <a:gd name="connsiteY178" fmla="*/ 1123950 h 1512093"/>
                        <a:gd name="connsiteX179" fmla="*/ 890588 w 895388"/>
                        <a:gd name="connsiteY179" fmla="*/ 1145381 h 1512093"/>
                        <a:gd name="connsiteX180" fmla="*/ 895350 w 895388"/>
                        <a:gd name="connsiteY180" fmla="*/ 1159668 h 1512093"/>
                        <a:gd name="connsiteX181" fmla="*/ 892969 w 895388"/>
                        <a:gd name="connsiteY181" fmla="*/ 1185862 h 1512093"/>
                        <a:gd name="connsiteX182" fmla="*/ 888207 w 895388"/>
                        <a:gd name="connsiteY182" fmla="*/ 1202531 h 1512093"/>
                        <a:gd name="connsiteX183" fmla="*/ 885825 w 895388"/>
                        <a:gd name="connsiteY183" fmla="*/ 1214437 h 1512093"/>
                        <a:gd name="connsiteX184" fmla="*/ 871538 w 895388"/>
                        <a:gd name="connsiteY184" fmla="*/ 1228725 h 1512093"/>
                        <a:gd name="connsiteX185" fmla="*/ 869157 w 895388"/>
                        <a:gd name="connsiteY185" fmla="*/ 1245393 h 1512093"/>
                        <a:gd name="connsiteX186" fmla="*/ 862013 w 895388"/>
                        <a:gd name="connsiteY186" fmla="*/ 1262062 h 1512093"/>
                        <a:gd name="connsiteX187" fmla="*/ 852488 w 895388"/>
                        <a:gd name="connsiteY187" fmla="*/ 1273968 h 1512093"/>
                        <a:gd name="connsiteX188" fmla="*/ 838200 w 895388"/>
                        <a:gd name="connsiteY188" fmla="*/ 1276350 h 1512093"/>
                        <a:gd name="connsiteX189" fmla="*/ 831057 w 895388"/>
                        <a:gd name="connsiteY189" fmla="*/ 1278731 h 1512093"/>
                        <a:gd name="connsiteX190" fmla="*/ 821532 w 895388"/>
                        <a:gd name="connsiteY190" fmla="*/ 1276350 h 1512093"/>
                        <a:gd name="connsiteX191" fmla="*/ 814388 w 895388"/>
                        <a:gd name="connsiteY191" fmla="*/ 1273968 h 1512093"/>
                        <a:gd name="connsiteX192" fmla="*/ 823913 w 895388"/>
                        <a:gd name="connsiteY192" fmla="*/ 1285875 h 1512093"/>
                        <a:gd name="connsiteX193" fmla="*/ 826294 w 895388"/>
                        <a:gd name="connsiteY193" fmla="*/ 1293018 h 1512093"/>
                        <a:gd name="connsiteX194" fmla="*/ 812007 w 895388"/>
                        <a:gd name="connsiteY194" fmla="*/ 1295400 h 1512093"/>
                        <a:gd name="connsiteX195" fmla="*/ 797719 w 895388"/>
                        <a:gd name="connsiteY195" fmla="*/ 1300162 h 1512093"/>
                        <a:gd name="connsiteX196" fmla="*/ 778669 w 895388"/>
                        <a:gd name="connsiteY196" fmla="*/ 1304925 h 1512093"/>
                        <a:gd name="connsiteX197" fmla="*/ 773907 w 895388"/>
                        <a:gd name="connsiteY197" fmla="*/ 1312068 h 1512093"/>
                        <a:gd name="connsiteX198" fmla="*/ 759619 w 895388"/>
                        <a:gd name="connsiteY198" fmla="*/ 1316831 h 1512093"/>
                        <a:gd name="connsiteX199" fmla="*/ 781050 w 895388"/>
                        <a:gd name="connsiteY199" fmla="*/ 1319212 h 1512093"/>
                        <a:gd name="connsiteX200" fmla="*/ 783432 w 895388"/>
                        <a:gd name="connsiteY200" fmla="*/ 1326356 h 1512093"/>
                        <a:gd name="connsiteX201" fmla="*/ 781050 w 895388"/>
                        <a:gd name="connsiteY201" fmla="*/ 1340643 h 1512093"/>
                        <a:gd name="connsiteX202" fmla="*/ 771525 w 895388"/>
                        <a:gd name="connsiteY202" fmla="*/ 1343025 h 1512093"/>
                        <a:gd name="connsiteX203" fmla="*/ 759619 w 895388"/>
                        <a:gd name="connsiteY203" fmla="*/ 1347787 h 1512093"/>
                        <a:gd name="connsiteX204" fmla="*/ 721519 w 895388"/>
                        <a:gd name="connsiteY204" fmla="*/ 1352550 h 1512093"/>
                        <a:gd name="connsiteX205" fmla="*/ 735807 w 895388"/>
                        <a:gd name="connsiteY205" fmla="*/ 1359693 h 1512093"/>
                        <a:gd name="connsiteX206" fmla="*/ 742950 w 895388"/>
                        <a:gd name="connsiteY206" fmla="*/ 1357312 h 1512093"/>
                        <a:gd name="connsiteX207" fmla="*/ 752475 w 895388"/>
                        <a:gd name="connsiteY207" fmla="*/ 1359693 h 1512093"/>
                        <a:gd name="connsiteX208" fmla="*/ 769144 w 895388"/>
                        <a:gd name="connsiteY208" fmla="*/ 1378743 h 1512093"/>
                        <a:gd name="connsiteX209" fmla="*/ 802482 w 895388"/>
                        <a:gd name="connsiteY209" fmla="*/ 1385887 h 1512093"/>
                        <a:gd name="connsiteX210" fmla="*/ 823913 w 895388"/>
                        <a:gd name="connsiteY210" fmla="*/ 1383506 h 1512093"/>
                        <a:gd name="connsiteX211" fmla="*/ 814388 w 895388"/>
                        <a:gd name="connsiteY211" fmla="*/ 1423987 h 1512093"/>
                        <a:gd name="connsiteX212" fmla="*/ 797719 w 895388"/>
                        <a:gd name="connsiteY212" fmla="*/ 1428750 h 1512093"/>
                        <a:gd name="connsiteX213" fmla="*/ 792957 w 895388"/>
                        <a:gd name="connsiteY213" fmla="*/ 1435893 h 1512093"/>
                        <a:gd name="connsiteX214" fmla="*/ 778669 w 895388"/>
                        <a:gd name="connsiteY214" fmla="*/ 1443037 h 1512093"/>
                        <a:gd name="connsiteX215" fmla="*/ 771525 w 895388"/>
                        <a:gd name="connsiteY215" fmla="*/ 1447800 h 1512093"/>
                        <a:gd name="connsiteX216" fmla="*/ 769144 w 895388"/>
                        <a:gd name="connsiteY216" fmla="*/ 1454943 h 1512093"/>
                        <a:gd name="connsiteX217" fmla="*/ 762000 w 895388"/>
                        <a:gd name="connsiteY217" fmla="*/ 1457325 h 1512093"/>
                        <a:gd name="connsiteX218" fmla="*/ 731044 w 895388"/>
                        <a:gd name="connsiteY218" fmla="*/ 1459706 h 1512093"/>
                        <a:gd name="connsiteX219" fmla="*/ 723900 w 895388"/>
                        <a:gd name="connsiteY219" fmla="*/ 1462087 h 1512093"/>
                        <a:gd name="connsiteX220" fmla="*/ 709613 w 895388"/>
                        <a:gd name="connsiteY220" fmla="*/ 1469231 h 1512093"/>
                        <a:gd name="connsiteX221" fmla="*/ 690563 w 895388"/>
                        <a:gd name="connsiteY221" fmla="*/ 1471612 h 1512093"/>
                        <a:gd name="connsiteX222" fmla="*/ 685800 w 895388"/>
                        <a:gd name="connsiteY222" fmla="*/ 1478756 h 1512093"/>
                        <a:gd name="connsiteX223" fmla="*/ 673894 w 895388"/>
                        <a:gd name="connsiteY223" fmla="*/ 1476375 h 1512093"/>
                        <a:gd name="connsiteX224" fmla="*/ 659607 w 895388"/>
                        <a:gd name="connsiteY224" fmla="*/ 1466850 h 1512093"/>
                        <a:gd name="connsiteX225" fmla="*/ 652463 w 895388"/>
                        <a:gd name="connsiteY225" fmla="*/ 1462087 h 1512093"/>
                        <a:gd name="connsiteX226" fmla="*/ 628650 w 895388"/>
                        <a:gd name="connsiteY226" fmla="*/ 1454943 h 1512093"/>
                        <a:gd name="connsiteX227" fmla="*/ 583407 w 895388"/>
                        <a:gd name="connsiteY227" fmla="*/ 1457325 h 1512093"/>
                        <a:gd name="connsiteX228" fmla="*/ 573882 w 895388"/>
                        <a:gd name="connsiteY228" fmla="*/ 1459706 h 1512093"/>
                        <a:gd name="connsiteX229" fmla="*/ 566738 w 895388"/>
                        <a:gd name="connsiteY229" fmla="*/ 1466850 h 1512093"/>
                        <a:gd name="connsiteX230" fmla="*/ 547688 w 895388"/>
                        <a:gd name="connsiteY230" fmla="*/ 1450181 h 1512093"/>
                        <a:gd name="connsiteX231" fmla="*/ 533400 w 895388"/>
                        <a:gd name="connsiteY231" fmla="*/ 1445418 h 1512093"/>
                        <a:gd name="connsiteX232" fmla="*/ 509588 w 895388"/>
                        <a:gd name="connsiteY232" fmla="*/ 1447800 h 1512093"/>
                        <a:gd name="connsiteX233" fmla="*/ 495300 w 895388"/>
                        <a:gd name="connsiteY233" fmla="*/ 1452562 h 1512093"/>
                        <a:gd name="connsiteX234" fmla="*/ 483394 w 895388"/>
                        <a:gd name="connsiteY234" fmla="*/ 1462087 h 1512093"/>
                        <a:gd name="connsiteX235" fmla="*/ 473869 w 895388"/>
                        <a:gd name="connsiteY235" fmla="*/ 1452562 h 1512093"/>
                        <a:gd name="connsiteX236" fmla="*/ 469107 w 895388"/>
                        <a:gd name="connsiteY236" fmla="*/ 1445418 h 1512093"/>
                        <a:gd name="connsiteX237" fmla="*/ 454819 w 895388"/>
                        <a:gd name="connsiteY237" fmla="*/ 1447800 h 1512093"/>
                        <a:gd name="connsiteX238" fmla="*/ 440532 w 895388"/>
                        <a:gd name="connsiteY238" fmla="*/ 1457325 h 1512093"/>
                        <a:gd name="connsiteX239" fmla="*/ 435769 w 895388"/>
                        <a:gd name="connsiteY239" fmla="*/ 1466850 h 1512093"/>
                        <a:gd name="connsiteX240" fmla="*/ 428625 w 895388"/>
                        <a:gd name="connsiteY240" fmla="*/ 1469231 h 1512093"/>
                        <a:gd name="connsiteX241" fmla="*/ 411957 w 895388"/>
                        <a:gd name="connsiteY241" fmla="*/ 1471612 h 1512093"/>
                        <a:gd name="connsiteX242" fmla="*/ 414338 w 895388"/>
                        <a:gd name="connsiteY242" fmla="*/ 1464468 h 1512093"/>
                        <a:gd name="connsiteX243" fmla="*/ 421482 w 895388"/>
                        <a:gd name="connsiteY243" fmla="*/ 1459706 h 1512093"/>
                        <a:gd name="connsiteX244" fmla="*/ 404813 w 895388"/>
                        <a:gd name="connsiteY244" fmla="*/ 1462087 h 1512093"/>
                        <a:gd name="connsiteX245" fmla="*/ 385763 w 895388"/>
                        <a:gd name="connsiteY245" fmla="*/ 1464468 h 1512093"/>
                        <a:gd name="connsiteX246" fmla="*/ 383382 w 895388"/>
                        <a:gd name="connsiteY246" fmla="*/ 1471612 h 1512093"/>
                        <a:gd name="connsiteX247" fmla="*/ 378619 w 895388"/>
                        <a:gd name="connsiteY247" fmla="*/ 1464468 h 1512093"/>
                        <a:gd name="connsiteX248" fmla="*/ 371475 w 895388"/>
                        <a:gd name="connsiteY248" fmla="*/ 1457325 h 1512093"/>
                        <a:gd name="connsiteX249" fmla="*/ 366713 w 895388"/>
                        <a:gd name="connsiteY249" fmla="*/ 1450181 h 1512093"/>
                        <a:gd name="connsiteX250" fmla="*/ 352425 w 895388"/>
                        <a:gd name="connsiteY250" fmla="*/ 1443037 h 1512093"/>
                        <a:gd name="connsiteX251" fmla="*/ 345282 w 895388"/>
                        <a:gd name="connsiteY251" fmla="*/ 1438275 h 1512093"/>
                        <a:gd name="connsiteX252" fmla="*/ 328613 w 895388"/>
                        <a:gd name="connsiteY252" fmla="*/ 1435893 h 1512093"/>
                        <a:gd name="connsiteX253" fmla="*/ 321469 w 895388"/>
                        <a:gd name="connsiteY253" fmla="*/ 1433512 h 1512093"/>
                        <a:gd name="connsiteX254" fmla="*/ 271463 w 895388"/>
                        <a:gd name="connsiteY254" fmla="*/ 1440656 h 1512093"/>
                        <a:gd name="connsiteX255" fmla="*/ 264319 w 895388"/>
                        <a:gd name="connsiteY255" fmla="*/ 1445418 h 1512093"/>
                        <a:gd name="connsiteX256" fmla="*/ 257175 w 895388"/>
                        <a:gd name="connsiteY256" fmla="*/ 1459706 h 1512093"/>
                        <a:gd name="connsiteX257" fmla="*/ 252413 w 895388"/>
                        <a:gd name="connsiteY257" fmla="*/ 1466850 h 1512093"/>
                        <a:gd name="connsiteX258" fmla="*/ 250032 w 895388"/>
                        <a:gd name="connsiteY258" fmla="*/ 1473993 h 1512093"/>
                        <a:gd name="connsiteX259" fmla="*/ 242888 w 895388"/>
                        <a:gd name="connsiteY259" fmla="*/ 1476375 h 1512093"/>
                        <a:gd name="connsiteX260" fmla="*/ 240507 w 895388"/>
                        <a:gd name="connsiteY260" fmla="*/ 1485900 h 1512093"/>
                        <a:gd name="connsiteX261" fmla="*/ 228600 w 895388"/>
                        <a:gd name="connsiteY261" fmla="*/ 1504950 h 1512093"/>
                        <a:gd name="connsiteX262" fmla="*/ 221457 w 895388"/>
                        <a:gd name="connsiteY262" fmla="*/ 1507331 h 1512093"/>
                        <a:gd name="connsiteX263" fmla="*/ 209550 w 895388"/>
                        <a:gd name="connsiteY263" fmla="*/ 1504950 h 1512093"/>
                        <a:gd name="connsiteX264" fmla="*/ 204788 w 895388"/>
                        <a:gd name="connsiteY264" fmla="*/ 1497806 h 1512093"/>
                        <a:gd name="connsiteX265" fmla="*/ 197644 w 895388"/>
                        <a:gd name="connsiteY265" fmla="*/ 1490662 h 1512093"/>
                        <a:gd name="connsiteX266" fmla="*/ 188119 w 895388"/>
                        <a:gd name="connsiteY266" fmla="*/ 1488281 h 1512093"/>
                        <a:gd name="connsiteX267" fmla="*/ 185738 w 895388"/>
                        <a:gd name="connsiteY267" fmla="*/ 1478756 h 1512093"/>
                        <a:gd name="connsiteX268" fmla="*/ 183357 w 895388"/>
                        <a:gd name="connsiteY268" fmla="*/ 1471612 h 1512093"/>
                        <a:gd name="connsiteX269" fmla="*/ 161925 w 895388"/>
                        <a:gd name="connsiteY269" fmla="*/ 1464468 h 1512093"/>
                        <a:gd name="connsiteX270" fmla="*/ 154782 w 895388"/>
                        <a:gd name="connsiteY270" fmla="*/ 1462087 h 1512093"/>
                        <a:gd name="connsiteX271" fmla="*/ 140494 w 895388"/>
                        <a:gd name="connsiteY271" fmla="*/ 1464468 h 1512093"/>
                        <a:gd name="connsiteX272" fmla="*/ 133350 w 895388"/>
                        <a:gd name="connsiteY272" fmla="*/ 1469231 h 1512093"/>
                        <a:gd name="connsiteX273" fmla="*/ 126207 w 895388"/>
                        <a:gd name="connsiteY273" fmla="*/ 1464468 h 1512093"/>
                        <a:gd name="connsiteX274" fmla="*/ 116682 w 895388"/>
                        <a:gd name="connsiteY274" fmla="*/ 1457325 h 1512093"/>
                        <a:gd name="connsiteX275" fmla="*/ 90488 w 895388"/>
                        <a:gd name="connsiteY275" fmla="*/ 1469231 h 1512093"/>
                        <a:gd name="connsiteX276" fmla="*/ 83344 w 895388"/>
                        <a:gd name="connsiteY276" fmla="*/ 1473993 h 1512093"/>
                        <a:gd name="connsiteX277" fmla="*/ 80963 w 895388"/>
                        <a:gd name="connsiteY277" fmla="*/ 1481137 h 1512093"/>
                        <a:gd name="connsiteX278" fmla="*/ 73819 w 895388"/>
                        <a:gd name="connsiteY278" fmla="*/ 1485900 h 1512093"/>
                        <a:gd name="connsiteX279" fmla="*/ 59532 w 895388"/>
                        <a:gd name="connsiteY279" fmla="*/ 1495425 h 1512093"/>
                        <a:gd name="connsiteX280" fmla="*/ 52388 w 895388"/>
                        <a:gd name="connsiteY280" fmla="*/ 1502568 h 1512093"/>
                        <a:gd name="connsiteX281" fmla="*/ 38100 w 895388"/>
                        <a:gd name="connsiteY281" fmla="*/ 1512093 h 1512093"/>
                        <a:gd name="connsiteX282" fmla="*/ 30957 w 895388"/>
                        <a:gd name="connsiteY282" fmla="*/ 1504950 h 1512093"/>
                        <a:gd name="connsiteX283" fmla="*/ 33338 w 895388"/>
                        <a:gd name="connsiteY283" fmla="*/ 1488281 h 1512093"/>
                        <a:gd name="connsiteX284" fmla="*/ 30957 w 895388"/>
                        <a:gd name="connsiteY284" fmla="*/ 1476375 h 1512093"/>
                        <a:gd name="connsiteX285" fmla="*/ 21432 w 895388"/>
                        <a:gd name="connsiteY285" fmla="*/ 1478756 h 1512093"/>
                        <a:gd name="connsiteX286" fmla="*/ 16669 w 895388"/>
                        <a:gd name="connsiteY286" fmla="*/ 1485900 h 1512093"/>
                        <a:gd name="connsiteX287" fmla="*/ 0 w 895388"/>
                        <a:gd name="connsiteY287" fmla="*/ 1483518 h 1512093"/>
                        <a:gd name="connsiteX288" fmla="*/ 2382 w 895388"/>
                        <a:gd name="connsiteY288" fmla="*/ 1476375 h 1512093"/>
                        <a:gd name="connsiteX289" fmla="*/ 28575 w 895388"/>
                        <a:gd name="connsiteY289" fmla="*/ 1476375 h 1512093"/>
                        <a:gd name="connsiteX290" fmla="*/ 35719 w 895388"/>
                        <a:gd name="connsiteY290" fmla="*/ 1478756 h 1512093"/>
                        <a:gd name="connsiteX291" fmla="*/ 45244 w 895388"/>
                        <a:gd name="connsiteY291" fmla="*/ 1464468 h 1512093"/>
                        <a:gd name="connsiteX292" fmla="*/ 52388 w 895388"/>
                        <a:gd name="connsiteY292" fmla="*/ 1459706 h 1512093"/>
                        <a:gd name="connsiteX293" fmla="*/ 69057 w 895388"/>
                        <a:gd name="connsiteY293" fmla="*/ 1454943 h 1512093"/>
                        <a:gd name="connsiteX294" fmla="*/ 76200 w 895388"/>
                        <a:gd name="connsiteY294" fmla="*/ 1452562 h 1512093"/>
                        <a:gd name="connsiteX295" fmla="*/ 85725 w 895388"/>
                        <a:gd name="connsiteY295" fmla="*/ 1433512 h 1512093"/>
                        <a:gd name="connsiteX296" fmla="*/ 90488 w 895388"/>
                        <a:gd name="connsiteY296" fmla="*/ 1423987 h 1512093"/>
                        <a:gd name="connsiteX297" fmla="*/ 97632 w 895388"/>
                        <a:gd name="connsiteY297" fmla="*/ 1421606 h 1512093"/>
                        <a:gd name="connsiteX298" fmla="*/ 109538 w 895388"/>
                        <a:gd name="connsiteY298" fmla="*/ 1419225 h 1512093"/>
                        <a:gd name="connsiteX299" fmla="*/ 126207 w 895388"/>
                        <a:gd name="connsiteY299" fmla="*/ 1412081 h 1512093"/>
                        <a:gd name="connsiteX300" fmla="*/ 135732 w 895388"/>
                        <a:gd name="connsiteY300" fmla="*/ 1409700 h 1512093"/>
                        <a:gd name="connsiteX301" fmla="*/ 142875 w 895388"/>
                        <a:gd name="connsiteY301" fmla="*/ 1407318 h 1512093"/>
                        <a:gd name="connsiteX302" fmla="*/ 147638 w 895388"/>
                        <a:gd name="connsiteY302" fmla="*/ 1400175 h 1512093"/>
                        <a:gd name="connsiteX303" fmla="*/ 152400 w 895388"/>
                        <a:gd name="connsiteY303" fmla="*/ 1383506 h 1512093"/>
                        <a:gd name="connsiteX304" fmla="*/ 154782 w 895388"/>
                        <a:gd name="connsiteY304" fmla="*/ 1362075 h 1512093"/>
                        <a:gd name="connsiteX305" fmla="*/ 157163 w 895388"/>
                        <a:gd name="connsiteY305" fmla="*/ 1354931 h 1512093"/>
                        <a:gd name="connsiteX306" fmla="*/ 159544 w 895388"/>
                        <a:gd name="connsiteY306" fmla="*/ 1345406 h 1512093"/>
                        <a:gd name="connsiteX307" fmla="*/ 166688 w 895388"/>
                        <a:gd name="connsiteY307" fmla="*/ 1347787 h 1512093"/>
                        <a:gd name="connsiteX308" fmla="*/ 173832 w 895388"/>
                        <a:gd name="connsiteY308" fmla="*/ 1352550 h 1512093"/>
                        <a:gd name="connsiteX309" fmla="*/ 190500 w 895388"/>
                        <a:gd name="connsiteY309" fmla="*/ 1350168 h 1512093"/>
                        <a:gd name="connsiteX310" fmla="*/ 195263 w 895388"/>
                        <a:gd name="connsiteY310" fmla="*/ 1335881 h 1512093"/>
                        <a:gd name="connsiteX311" fmla="*/ 197644 w 895388"/>
                        <a:gd name="connsiteY311" fmla="*/ 1326356 h 1512093"/>
                        <a:gd name="connsiteX312" fmla="*/ 204788 w 895388"/>
                        <a:gd name="connsiteY312" fmla="*/ 1321593 h 1512093"/>
                        <a:gd name="connsiteX313" fmla="*/ 219075 w 895388"/>
                        <a:gd name="connsiteY313" fmla="*/ 1326356 h 1512093"/>
                        <a:gd name="connsiteX314" fmla="*/ 276225 w 895388"/>
                        <a:gd name="connsiteY314" fmla="*/ 1331118 h 1512093"/>
                        <a:gd name="connsiteX315" fmla="*/ 290513 w 895388"/>
                        <a:gd name="connsiteY315" fmla="*/ 1343025 h 1512093"/>
                        <a:gd name="connsiteX316" fmla="*/ 297657 w 895388"/>
                        <a:gd name="connsiteY316" fmla="*/ 1345406 h 1512093"/>
                        <a:gd name="connsiteX317" fmla="*/ 328613 w 895388"/>
                        <a:gd name="connsiteY317" fmla="*/ 1343025 h 1512093"/>
                        <a:gd name="connsiteX318" fmla="*/ 342900 w 895388"/>
                        <a:gd name="connsiteY318" fmla="*/ 1333500 h 1512093"/>
                        <a:gd name="connsiteX319" fmla="*/ 345282 w 895388"/>
                        <a:gd name="connsiteY319" fmla="*/ 1316831 h 1512093"/>
                        <a:gd name="connsiteX320" fmla="*/ 347663 w 895388"/>
                        <a:gd name="connsiteY320" fmla="*/ 1323975 h 1512093"/>
                        <a:gd name="connsiteX321" fmla="*/ 357188 w 895388"/>
                        <a:gd name="connsiteY321" fmla="*/ 1321593 h 1512093"/>
                        <a:gd name="connsiteX322" fmla="*/ 359569 w 895388"/>
                        <a:gd name="connsiteY322" fmla="*/ 1307306 h 1512093"/>
                        <a:gd name="connsiteX323" fmla="*/ 373857 w 895388"/>
                        <a:gd name="connsiteY323" fmla="*/ 1297781 h 1512093"/>
                        <a:gd name="connsiteX324" fmla="*/ 395288 w 895388"/>
                        <a:gd name="connsiteY324" fmla="*/ 1283493 h 1512093"/>
                        <a:gd name="connsiteX325" fmla="*/ 409575 w 895388"/>
                        <a:gd name="connsiteY325" fmla="*/ 1273968 h 1512093"/>
                        <a:gd name="connsiteX326" fmla="*/ 416719 w 895388"/>
                        <a:gd name="connsiteY326" fmla="*/ 1269206 h 1512093"/>
                        <a:gd name="connsiteX327" fmla="*/ 419100 w 895388"/>
                        <a:gd name="connsiteY327" fmla="*/ 1262062 h 1512093"/>
                        <a:gd name="connsiteX328" fmla="*/ 404813 w 895388"/>
                        <a:gd name="connsiteY328" fmla="*/ 1264443 h 1512093"/>
                        <a:gd name="connsiteX329" fmla="*/ 400050 w 895388"/>
                        <a:gd name="connsiteY329" fmla="*/ 1271587 h 1512093"/>
                        <a:gd name="connsiteX330" fmla="*/ 395288 w 895388"/>
                        <a:gd name="connsiteY330" fmla="*/ 1281112 h 1512093"/>
                        <a:gd name="connsiteX331" fmla="*/ 388144 w 895388"/>
                        <a:gd name="connsiteY331" fmla="*/ 1283493 h 1512093"/>
                        <a:gd name="connsiteX332" fmla="*/ 357188 w 895388"/>
                        <a:gd name="connsiteY332" fmla="*/ 1290637 h 1512093"/>
                        <a:gd name="connsiteX333" fmla="*/ 345282 w 895388"/>
                        <a:gd name="connsiteY333" fmla="*/ 1281112 h 1512093"/>
                        <a:gd name="connsiteX334" fmla="*/ 338138 w 895388"/>
                        <a:gd name="connsiteY334" fmla="*/ 1288256 h 1512093"/>
                        <a:gd name="connsiteX335" fmla="*/ 330994 w 895388"/>
                        <a:gd name="connsiteY335" fmla="*/ 1293018 h 1512093"/>
                        <a:gd name="connsiteX336" fmla="*/ 304800 w 895388"/>
                        <a:gd name="connsiteY336" fmla="*/ 1300162 h 1512093"/>
                        <a:gd name="connsiteX337" fmla="*/ 297657 w 895388"/>
                        <a:gd name="connsiteY337" fmla="*/ 1302543 h 1512093"/>
                        <a:gd name="connsiteX338" fmla="*/ 280988 w 895388"/>
                        <a:gd name="connsiteY338" fmla="*/ 1300162 h 1512093"/>
                        <a:gd name="connsiteX339" fmla="*/ 271463 w 895388"/>
                        <a:gd name="connsiteY339" fmla="*/ 1288256 h 1512093"/>
                        <a:gd name="connsiteX340" fmla="*/ 266700 w 895388"/>
                        <a:gd name="connsiteY340" fmla="*/ 1281112 h 1512093"/>
                        <a:gd name="connsiteX341" fmla="*/ 259557 w 895388"/>
                        <a:gd name="connsiteY341" fmla="*/ 1262062 h 1512093"/>
                        <a:gd name="connsiteX342" fmla="*/ 250032 w 895388"/>
                        <a:gd name="connsiteY342" fmla="*/ 1259681 h 1512093"/>
                        <a:gd name="connsiteX343" fmla="*/ 242888 w 895388"/>
                        <a:gd name="connsiteY343" fmla="*/ 1254918 h 1512093"/>
                        <a:gd name="connsiteX344" fmla="*/ 228600 w 895388"/>
                        <a:gd name="connsiteY344" fmla="*/ 1250156 h 1512093"/>
                        <a:gd name="connsiteX345" fmla="*/ 216694 w 895388"/>
                        <a:gd name="connsiteY345" fmla="*/ 1262062 h 1512093"/>
                        <a:gd name="connsiteX346" fmla="*/ 211932 w 895388"/>
                        <a:gd name="connsiteY346" fmla="*/ 1254918 h 1512093"/>
                        <a:gd name="connsiteX347" fmla="*/ 207169 w 895388"/>
                        <a:gd name="connsiteY347" fmla="*/ 1228725 h 1512093"/>
                        <a:gd name="connsiteX348" fmla="*/ 200025 w 895388"/>
                        <a:gd name="connsiteY348" fmla="*/ 1221581 h 1512093"/>
                        <a:gd name="connsiteX349" fmla="*/ 192882 w 895388"/>
                        <a:gd name="connsiteY349" fmla="*/ 1219200 h 1512093"/>
                        <a:gd name="connsiteX350" fmla="*/ 183357 w 895388"/>
                        <a:gd name="connsiteY350" fmla="*/ 1221581 h 1512093"/>
                        <a:gd name="connsiteX351" fmla="*/ 171450 w 895388"/>
                        <a:gd name="connsiteY351" fmla="*/ 1223962 h 1512093"/>
                        <a:gd name="connsiteX352" fmla="*/ 164307 w 895388"/>
                        <a:gd name="connsiteY352" fmla="*/ 1226343 h 1512093"/>
                        <a:gd name="connsiteX353" fmla="*/ 154782 w 895388"/>
                        <a:gd name="connsiteY353" fmla="*/ 1223962 h 1512093"/>
                        <a:gd name="connsiteX354" fmla="*/ 147638 w 895388"/>
                        <a:gd name="connsiteY354" fmla="*/ 1219200 h 1512093"/>
                        <a:gd name="connsiteX355" fmla="*/ 145257 w 895388"/>
                        <a:gd name="connsiteY355" fmla="*/ 1226343 h 1512093"/>
                        <a:gd name="connsiteX356" fmla="*/ 140494 w 895388"/>
                        <a:gd name="connsiteY356" fmla="*/ 1233487 h 1512093"/>
                        <a:gd name="connsiteX357" fmla="*/ 126207 w 895388"/>
                        <a:gd name="connsiteY357" fmla="*/ 1219200 h 1512093"/>
                        <a:gd name="connsiteX358" fmla="*/ 119063 w 895388"/>
                        <a:gd name="connsiteY358" fmla="*/ 1214437 h 1512093"/>
                        <a:gd name="connsiteX359" fmla="*/ 104775 w 895388"/>
                        <a:gd name="connsiteY359" fmla="*/ 1209675 h 1512093"/>
                        <a:gd name="connsiteX360" fmla="*/ 116682 w 895388"/>
                        <a:gd name="connsiteY360" fmla="*/ 1197768 h 1512093"/>
                        <a:gd name="connsiteX361" fmla="*/ 114300 w 895388"/>
                        <a:gd name="connsiteY361" fmla="*/ 1183481 h 1512093"/>
                        <a:gd name="connsiteX362" fmla="*/ 130969 w 895388"/>
                        <a:gd name="connsiteY362" fmla="*/ 1173956 h 1512093"/>
                        <a:gd name="connsiteX363" fmla="*/ 145257 w 895388"/>
                        <a:gd name="connsiteY363" fmla="*/ 1169193 h 1512093"/>
                        <a:gd name="connsiteX364" fmla="*/ 164307 w 895388"/>
                        <a:gd name="connsiteY364" fmla="*/ 1166812 h 1512093"/>
                        <a:gd name="connsiteX365" fmla="*/ 176213 w 895388"/>
                        <a:gd name="connsiteY365" fmla="*/ 1154906 h 1512093"/>
                        <a:gd name="connsiteX366" fmla="*/ 200025 w 895388"/>
                        <a:gd name="connsiteY366" fmla="*/ 1152525 h 1512093"/>
                        <a:gd name="connsiteX367" fmla="*/ 216694 w 895388"/>
                        <a:gd name="connsiteY367" fmla="*/ 1150143 h 1512093"/>
                        <a:gd name="connsiteX368" fmla="*/ 223838 w 895388"/>
                        <a:gd name="connsiteY368" fmla="*/ 1145381 h 1512093"/>
                        <a:gd name="connsiteX369" fmla="*/ 230982 w 895388"/>
                        <a:gd name="connsiteY369" fmla="*/ 1143000 h 1512093"/>
                        <a:gd name="connsiteX370" fmla="*/ 242888 w 895388"/>
                        <a:gd name="connsiteY370" fmla="*/ 1133475 h 1512093"/>
                        <a:gd name="connsiteX371" fmla="*/ 245269 w 895388"/>
                        <a:gd name="connsiteY371" fmla="*/ 1114425 h 1512093"/>
                        <a:gd name="connsiteX372" fmla="*/ 257175 w 895388"/>
                        <a:gd name="connsiteY372" fmla="*/ 1100137 h 1512093"/>
                        <a:gd name="connsiteX373" fmla="*/ 269082 w 895388"/>
                        <a:gd name="connsiteY373" fmla="*/ 1078706 h 1512093"/>
                        <a:gd name="connsiteX374" fmla="*/ 264319 w 895388"/>
                        <a:gd name="connsiteY374" fmla="*/ 1064418 h 1512093"/>
                        <a:gd name="connsiteX375" fmla="*/ 261938 w 895388"/>
                        <a:gd name="connsiteY375" fmla="*/ 1057275 h 1512093"/>
                        <a:gd name="connsiteX376" fmla="*/ 264319 w 895388"/>
                        <a:gd name="connsiteY376" fmla="*/ 1045368 h 1512093"/>
                        <a:gd name="connsiteX377" fmla="*/ 271463 w 895388"/>
                        <a:gd name="connsiteY377" fmla="*/ 1042987 h 1512093"/>
                        <a:gd name="connsiteX378" fmla="*/ 278607 w 895388"/>
                        <a:gd name="connsiteY378" fmla="*/ 1038225 h 1512093"/>
                        <a:gd name="connsiteX379" fmla="*/ 280988 w 895388"/>
                        <a:gd name="connsiteY379" fmla="*/ 1031081 h 1512093"/>
                        <a:gd name="connsiteX380" fmla="*/ 266700 w 895388"/>
                        <a:gd name="connsiteY380" fmla="*/ 1026318 h 1512093"/>
                        <a:gd name="connsiteX381" fmla="*/ 259557 w 895388"/>
                        <a:gd name="connsiteY381" fmla="*/ 1019175 h 1512093"/>
                        <a:gd name="connsiteX382" fmla="*/ 245269 w 895388"/>
                        <a:gd name="connsiteY382" fmla="*/ 1023937 h 1512093"/>
                        <a:gd name="connsiteX383" fmla="*/ 223838 w 895388"/>
                        <a:gd name="connsiteY383" fmla="*/ 1026318 h 1512093"/>
                        <a:gd name="connsiteX384" fmla="*/ 216694 w 895388"/>
                        <a:gd name="connsiteY384" fmla="*/ 1028700 h 1512093"/>
                        <a:gd name="connsiteX385" fmla="*/ 209550 w 895388"/>
                        <a:gd name="connsiteY385" fmla="*/ 1033462 h 1512093"/>
                        <a:gd name="connsiteX386" fmla="*/ 202407 w 895388"/>
                        <a:gd name="connsiteY386" fmla="*/ 1028700 h 1512093"/>
                        <a:gd name="connsiteX387" fmla="*/ 209550 w 895388"/>
                        <a:gd name="connsiteY387" fmla="*/ 1021556 h 1512093"/>
                        <a:gd name="connsiteX388" fmla="*/ 214313 w 895388"/>
                        <a:gd name="connsiteY388" fmla="*/ 1014412 h 1512093"/>
                        <a:gd name="connsiteX389" fmla="*/ 233363 w 895388"/>
                        <a:gd name="connsiteY389" fmla="*/ 1012031 h 1512093"/>
                        <a:gd name="connsiteX390" fmla="*/ 242888 w 895388"/>
                        <a:gd name="connsiteY390" fmla="*/ 995362 h 1512093"/>
                        <a:gd name="connsiteX391" fmla="*/ 264319 w 895388"/>
                        <a:gd name="connsiteY391" fmla="*/ 976312 h 1512093"/>
                        <a:gd name="connsiteX392" fmla="*/ 269082 w 895388"/>
                        <a:gd name="connsiteY392" fmla="*/ 969168 h 1512093"/>
                        <a:gd name="connsiteX393" fmla="*/ 242888 w 895388"/>
                        <a:gd name="connsiteY393" fmla="*/ 966787 h 1512093"/>
                        <a:gd name="connsiteX394" fmla="*/ 235744 w 895388"/>
                        <a:gd name="connsiteY394" fmla="*/ 964406 h 1512093"/>
                        <a:gd name="connsiteX395" fmla="*/ 235744 w 895388"/>
                        <a:gd name="connsiteY395" fmla="*/ 935831 h 1512093"/>
                        <a:gd name="connsiteX396" fmla="*/ 245269 w 895388"/>
                        <a:gd name="connsiteY396" fmla="*/ 921543 h 1512093"/>
                        <a:gd name="connsiteX397" fmla="*/ 271463 w 895388"/>
                        <a:gd name="connsiteY397" fmla="*/ 923925 h 1512093"/>
                        <a:gd name="connsiteX398" fmla="*/ 276225 w 895388"/>
                        <a:gd name="connsiteY398" fmla="*/ 931068 h 1512093"/>
                        <a:gd name="connsiteX399" fmla="*/ 283369 w 895388"/>
                        <a:gd name="connsiteY399" fmla="*/ 945356 h 1512093"/>
                        <a:gd name="connsiteX400" fmla="*/ 280988 w 895388"/>
                        <a:gd name="connsiteY400" fmla="*/ 962025 h 1512093"/>
                        <a:gd name="connsiteX401" fmla="*/ 266700 w 895388"/>
                        <a:gd name="connsiteY401" fmla="*/ 971550 h 1512093"/>
                        <a:gd name="connsiteX402" fmla="*/ 273844 w 895388"/>
                        <a:gd name="connsiteY402" fmla="*/ 973931 h 1512093"/>
                        <a:gd name="connsiteX403" fmla="*/ 288132 w 895388"/>
                        <a:gd name="connsiteY403" fmla="*/ 969168 h 1512093"/>
                        <a:gd name="connsiteX404" fmla="*/ 292894 w 895388"/>
                        <a:gd name="connsiteY404" fmla="*/ 962025 h 1512093"/>
                        <a:gd name="connsiteX405" fmla="*/ 319088 w 895388"/>
                        <a:gd name="connsiteY405" fmla="*/ 959643 h 1512093"/>
                        <a:gd name="connsiteX406" fmla="*/ 323850 w 895388"/>
                        <a:gd name="connsiteY406" fmla="*/ 966787 h 1512093"/>
                        <a:gd name="connsiteX407" fmla="*/ 350044 w 895388"/>
                        <a:gd name="connsiteY407" fmla="*/ 966787 h 1512093"/>
                        <a:gd name="connsiteX408" fmla="*/ 364332 w 895388"/>
                        <a:gd name="connsiteY408" fmla="*/ 957262 h 1512093"/>
                        <a:gd name="connsiteX409" fmla="*/ 381000 w 895388"/>
                        <a:gd name="connsiteY409" fmla="*/ 973931 h 1512093"/>
                        <a:gd name="connsiteX410" fmla="*/ 390525 w 895388"/>
                        <a:gd name="connsiteY410" fmla="*/ 971550 h 1512093"/>
                        <a:gd name="connsiteX411" fmla="*/ 397669 w 895388"/>
                        <a:gd name="connsiteY411" fmla="*/ 969168 h 1512093"/>
                        <a:gd name="connsiteX412" fmla="*/ 404813 w 895388"/>
                        <a:gd name="connsiteY412" fmla="*/ 971550 h 1512093"/>
                        <a:gd name="connsiteX413" fmla="*/ 414338 w 895388"/>
                        <a:gd name="connsiteY413" fmla="*/ 973931 h 1512093"/>
                        <a:gd name="connsiteX414" fmla="*/ 435769 w 895388"/>
                        <a:gd name="connsiteY414" fmla="*/ 971550 h 1512093"/>
                        <a:gd name="connsiteX415" fmla="*/ 428625 w 895388"/>
                        <a:gd name="connsiteY415" fmla="*/ 966787 h 1512093"/>
                        <a:gd name="connsiteX416" fmla="*/ 421482 w 895388"/>
                        <a:gd name="connsiteY416" fmla="*/ 969168 h 1512093"/>
                        <a:gd name="connsiteX417" fmla="*/ 411957 w 895388"/>
                        <a:gd name="connsiteY417" fmla="*/ 971550 h 1512093"/>
                        <a:gd name="connsiteX418" fmla="*/ 385763 w 895388"/>
                        <a:gd name="connsiteY418" fmla="*/ 962025 h 1512093"/>
                        <a:gd name="connsiteX419" fmla="*/ 390525 w 895388"/>
                        <a:gd name="connsiteY419" fmla="*/ 954881 h 1512093"/>
                        <a:gd name="connsiteX420" fmla="*/ 404813 w 895388"/>
                        <a:gd name="connsiteY420" fmla="*/ 950118 h 1512093"/>
                        <a:gd name="connsiteX421" fmla="*/ 402432 w 895388"/>
                        <a:gd name="connsiteY421" fmla="*/ 933450 h 1512093"/>
                        <a:gd name="connsiteX422" fmla="*/ 407194 w 895388"/>
                        <a:gd name="connsiteY422" fmla="*/ 912018 h 1512093"/>
                        <a:gd name="connsiteX423" fmla="*/ 411957 w 895388"/>
                        <a:gd name="connsiteY423" fmla="*/ 904875 h 1512093"/>
                        <a:gd name="connsiteX424" fmla="*/ 426244 w 895388"/>
                        <a:gd name="connsiteY424" fmla="*/ 895350 h 1512093"/>
                        <a:gd name="connsiteX425" fmla="*/ 423863 w 895388"/>
                        <a:gd name="connsiteY425" fmla="*/ 888206 h 1512093"/>
                        <a:gd name="connsiteX426" fmla="*/ 419100 w 895388"/>
                        <a:gd name="connsiteY426" fmla="*/ 881062 h 1512093"/>
                        <a:gd name="connsiteX427" fmla="*/ 431007 w 895388"/>
                        <a:gd name="connsiteY427" fmla="*/ 862012 h 1512093"/>
                        <a:gd name="connsiteX428" fmla="*/ 435769 w 895388"/>
                        <a:gd name="connsiteY428" fmla="*/ 854868 h 1512093"/>
                        <a:gd name="connsiteX429" fmla="*/ 447675 w 895388"/>
                        <a:gd name="connsiteY429" fmla="*/ 842962 h 1512093"/>
                        <a:gd name="connsiteX430" fmla="*/ 447675 w 895388"/>
                        <a:gd name="connsiteY430" fmla="*/ 809625 h 1512093"/>
                        <a:gd name="connsiteX431" fmla="*/ 442913 w 895388"/>
                        <a:gd name="connsiteY431" fmla="*/ 816768 h 1512093"/>
                        <a:gd name="connsiteX432" fmla="*/ 409575 w 895388"/>
                        <a:gd name="connsiteY432" fmla="*/ 819150 h 1512093"/>
                        <a:gd name="connsiteX433" fmla="*/ 407194 w 895388"/>
                        <a:gd name="connsiteY433" fmla="*/ 826293 h 1512093"/>
                        <a:gd name="connsiteX434" fmla="*/ 400050 w 895388"/>
                        <a:gd name="connsiteY434" fmla="*/ 821531 h 1512093"/>
                        <a:gd name="connsiteX435" fmla="*/ 397669 w 895388"/>
                        <a:gd name="connsiteY435" fmla="*/ 814387 h 1512093"/>
                        <a:gd name="connsiteX436" fmla="*/ 390525 w 895388"/>
                        <a:gd name="connsiteY436" fmla="*/ 800100 h 1512093"/>
                        <a:gd name="connsiteX437" fmla="*/ 388144 w 895388"/>
                        <a:gd name="connsiteY437" fmla="*/ 764381 h 1512093"/>
                        <a:gd name="connsiteX438" fmla="*/ 381000 w 895388"/>
                        <a:gd name="connsiteY438" fmla="*/ 759618 h 1512093"/>
                        <a:gd name="connsiteX439" fmla="*/ 376238 w 895388"/>
                        <a:gd name="connsiteY439" fmla="*/ 752475 h 1512093"/>
                        <a:gd name="connsiteX440" fmla="*/ 378619 w 895388"/>
                        <a:gd name="connsiteY440" fmla="*/ 728662 h 1512093"/>
                        <a:gd name="connsiteX441" fmla="*/ 390525 w 895388"/>
                        <a:gd name="connsiteY441" fmla="*/ 716756 h 1512093"/>
                        <a:gd name="connsiteX442" fmla="*/ 404813 w 895388"/>
                        <a:gd name="connsiteY442" fmla="*/ 702468 h 1512093"/>
                        <a:gd name="connsiteX443" fmla="*/ 409575 w 895388"/>
                        <a:gd name="connsiteY443" fmla="*/ 695325 h 1512093"/>
                        <a:gd name="connsiteX444" fmla="*/ 416719 w 895388"/>
                        <a:gd name="connsiteY444" fmla="*/ 681037 h 1512093"/>
                        <a:gd name="connsiteX445" fmla="*/ 423863 w 895388"/>
                        <a:gd name="connsiteY445" fmla="*/ 678656 h 1512093"/>
                        <a:gd name="connsiteX446" fmla="*/ 461963 w 895388"/>
                        <a:gd name="connsiteY446" fmla="*/ 676275 h 1512093"/>
                        <a:gd name="connsiteX447" fmla="*/ 454819 w 895388"/>
                        <a:gd name="connsiteY447" fmla="*/ 671512 h 1512093"/>
                        <a:gd name="connsiteX448" fmla="*/ 440532 w 895388"/>
                        <a:gd name="connsiteY448" fmla="*/ 666750 h 1512093"/>
                        <a:gd name="connsiteX449" fmla="*/ 431007 w 895388"/>
                        <a:gd name="connsiteY449" fmla="*/ 669131 h 1512093"/>
                        <a:gd name="connsiteX450" fmla="*/ 411957 w 895388"/>
                        <a:gd name="connsiteY450" fmla="*/ 661987 h 1512093"/>
                        <a:gd name="connsiteX451" fmla="*/ 407194 w 895388"/>
                        <a:gd name="connsiteY451" fmla="*/ 654843 h 1512093"/>
                        <a:gd name="connsiteX452" fmla="*/ 392907 w 895388"/>
                        <a:gd name="connsiteY452" fmla="*/ 659606 h 1512093"/>
                        <a:gd name="connsiteX453" fmla="*/ 385763 w 895388"/>
                        <a:gd name="connsiteY453" fmla="*/ 673893 h 1512093"/>
                        <a:gd name="connsiteX454" fmla="*/ 371475 w 895388"/>
                        <a:gd name="connsiteY454" fmla="*/ 678656 h 1512093"/>
                        <a:gd name="connsiteX455" fmla="*/ 357188 w 895388"/>
                        <a:gd name="connsiteY455" fmla="*/ 695325 h 1512093"/>
                        <a:gd name="connsiteX456" fmla="*/ 342900 w 895388"/>
                        <a:gd name="connsiteY456" fmla="*/ 690562 h 1512093"/>
                        <a:gd name="connsiteX457" fmla="*/ 323850 w 895388"/>
                        <a:gd name="connsiteY457" fmla="*/ 673893 h 1512093"/>
                        <a:gd name="connsiteX458" fmla="*/ 316707 w 895388"/>
                        <a:gd name="connsiteY458" fmla="*/ 650081 h 1512093"/>
                        <a:gd name="connsiteX459" fmla="*/ 311944 w 895388"/>
                        <a:gd name="connsiteY459" fmla="*/ 657225 h 1512093"/>
                        <a:gd name="connsiteX460" fmla="*/ 309563 w 895388"/>
                        <a:gd name="connsiteY460" fmla="*/ 664368 h 1512093"/>
                        <a:gd name="connsiteX461" fmla="*/ 292894 w 895388"/>
                        <a:gd name="connsiteY461" fmla="*/ 671512 h 1512093"/>
                        <a:gd name="connsiteX462" fmla="*/ 285750 w 895388"/>
                        <a:gd name="connsiteY462" fmla="*/ 676275 h 1512093"/>
                        <a:gd name="connsiteX463" fmla="*/ 269082 w 895388"/>
                        <a:gd name="connsiteY463" fmla="*/ 666750 h 1512093"/>
                        <a:gd name="connsiteX464" fmla="*/ 266700 w 895388"/>
                        <a:gd name="connsiteY464" fmla="*/ 659606 h 1512093"/>
                        <a:gd name="connsiteX465" fmla="*/ 257175 w 895388"/>
                        <a:gd name="connsiteY465" fmla="*/ 657225 h 1512093"/>
                        <a:gd name="connsiteX466" fmla="*/ 254794 w 895388"/>
                        <a:gd name="connsiteY466" fmla="*/ 666750 h 1512093"/>
                        <a:gd name="connsiteX467" fmla="*/ 252413 w 895388"/>
                        <a:gd name="connsiteY467" fmla="*/ 681037 h 1512093"/>
                        <a:gd name="connsiteX468" fmla="*/ 254794 w 895388"/>
                        <a:gd name="connsiteY468" fmla="*/ 690562 h 1512093"/>
                        <a:gd name="connsiteX469" fmla="*/ 254794 w 895388"/>
                        <a:gd name="connsiteY469" fmla="*/ 695325 h 1512093"/>
                        <a:gd name="connsiteX470" fmla="*/ 245269 w 895388"/>
                        <a:gd name="connsiteY470" fmla="*/ 692943 h 1512093"/>
                        <a:gd name="connsiteX471" fmla="*/ 250032 w 895388"/>
                        <a:gd name="connsiteY471" fmla="*/ 676275 h 1512093"/>
                        <a:gd name="connsiteX472" fmla="*/ 233363 w 895388"/>
                        <a:gd name="connsiteY472" fmla="*/ 654843 h 1512093"/>
                        <a:gd name="connsiteX473" fmla="*/ 235744 w 895388"/>
                        <a:gd name="connsiteY473" fmla="*/ 633412 h 1512093"/>
                        <a:gd name="connsiteX474" fmla="*/ 259557 w 895388"/>
                        <a:gd name="connsiteY474" fmla="*/ 619125 h 1512093"/>
                        <a:gd name="connsiteX475" fmla="*/ 266700 w 895388"/>
                        <a:gd name="connsiteY475" fmla="*/ 614362 h 1512093"/>
                        <a:gd name="connsiteX476" fmla="*/ 276225 w 895388"/>
                        <a:gd name="connsiteY476" fmla="*/ 600075 h 1512093"/>
                        <a:gd name="connsiteX477" fmla="*/ 280988 w 895388"/>
                        <a:gd name="connsiteY477" fmla="*/ 590550 h 1512093"/>
                        <a:gd name="connsiteX478" fmla="*/ 295275 w 895388"/>
                        <a:gd name="connsiteY478" fmla="*/ 576262 h 1512093"/>
                        <a:gd name="connsiteX479" fmla="*/ 297657 w 895388"/>
                        <a:gd name="connsiteY479" fmla="*/ 569118 h 1512093"/>
                        <a:gd name="connsiteX480" fmla="*/ 316707 w 895388"/>
                        <a:gd name="connsiteY480" fmla="*/ 561975 h 1512093"/>
                        <a:gd name="connsiteX481" fmla="*/ 309563 w 895388"/>
                        <a:gd name="connsiteY481" fmla="*/ 531018 h 1512093"/>
                        <a:gd name="connsiteX482" fmla="*/ 302419 w 895388"/>
                        <a:gd name="connsiteY482" fmla="*/ 526256 h 1512093"/>
                        <a:gd name="connsiteX483" fmla="*/ 292894 w 895388"/>
                        <a:gd name="connsiteY483" fmla="*/ 511968 h 1512093"/>
                        <a:gd name="connsiteX484" fmla="*/ 288132 w 895388"/>
                        <a:gd name="connsiteY484" fmla="*/ 497681 h 1512093"/>
                        <a:gd name="connsiteX485" fmla="*/ 297657 w 895388"/>
                        <a:gd name="connsiteY485" fmla="*/ 481012 h 1512093"/>
                        <a:gd name="connsiteX486" fmla="*/ 311944 w 895388"/>
                        <a:gd name="connsiteY486" fmla="*/ 466725 h 1512093"/>
                        <a:gd name="connsiteX487" fmla="*/ 328613 w 895388"/>
                        <a:gd name="connsiteY487" fmla="*/ 469106 h 1512093"/>
                        <a:gd name="connsiteX488" fmla="*/ 335757 w 895388"/>
                        <a:gd name="connsiteY488" fmla="*/ 471487 h 1512093"/>
                        <a:gd name="connsiteX489" fmla="*/ 333375 w 895388"/>
                        <a:gd name="connsiteY489" fmla="*/ 476250 h 1512093"/>
                        <a:gd name="connsiteX490" fmla="*/ 326232 w 895388"/>
                        <a:gd name="connsiteY490" fmla="*/ 471487 h 1512093"/>
                        <a:gd name="connsiteX491" fmla="*/ 319088 w 895388"/>
                        <a:gd name="connsiteY491" fmla="*/ 469106 h 1512093"/>
                        <a:gd name="connsiteX492" fmla="*/ 314325 w 895388"/>
                        <a:gd name="connsiteY492" fmla="*/ 461962 h 1512093"/>
                        <a:gd name="connsiteX493" fmla="*/ 316707 w 895388"/>
                        <a:gd name="connsiteY493" fmla="*/ 445293 h 1512093"/>
                        <a:gd name="connsiteX494" fmla="*/ 307182 w 895388"/>
                        <a:gd name="connsiteY494" fmla="*/ 459581 h 1512093"/>
                        <a:gd name="connsiteX495" fmla="*/ 302419 w 895388"/>
                        <a:gd name="connsiteY495" fmla="*/ 466725 h 1512093"/>
                        <a:gd name="connsiteX496" fmla="*/ 288132 w 895388"/>
                        <a:gd name="connsiteY496" fmla="*/ 471487 h 1512093"/>
                        <a:gd name="connsiteX497" fmla="*/ 280988 w 895388"/>
                        <a:gd name="connsiteY497" fmla="*/ 466725 h 1512093"/>
                        <a:gd name="connsiteX498" fmla="*/ 266700 w 895388"/>
                        <a:gd name="connsiteY498" fmla="*/ 461962 h 1512093"/>
                        <a:gd name="connsiteX499" fmla="*/ 264319 w 895388"/>
                        <a:gd name="connsiteY499" fmla="*/ 454818 h 1512093"/>
                        <a:gd name="connsiteX500" fmla="*/ 266700 w 895388"/>
                        <a:gd name="connsiteY500" fmla="*/ 447675 h 1512093"/>
                        <a:gd name="connsiteX501" fmla="*/ 285750 w 895388"/>
                        <a:gd name="connsiteY501" fmla="*/ 426243 h 1512093"/>
                        <a:gd name="connsiteX502" fmla="*/ 300038 w 895388"/>
                        <a:gd name="connsiteY502" fmla="*/ 421481 h 1512093"/>
                        <a:gd name="connsiteX503" fmla="*/ 292894 w 895388"/>
                        <a:gd name="connsiteY503" fmla="*/ 423862 h 1512093"/>
                        <a:gd name="connsiteX504" fmla="*/ 285750 w 895388"/>
                        <a:gd name="connsiteY504" fmla="*/ 428625 h 1512093"/>
                        <a:gd name="connsiteX505" fmla="*/ 271463 w 895388"/>
                        <a:gd name="connsiteY505" fmla="*/ 433387 h 1512093"/>
                        <a:gd name="connsiteX506" fmla="*/ 257175 w 895388"/>
                        <a:gd name="connsiteY506" fmla="*/ 442912 h 1512093"/>
                        <a:gd name="connsiteX507" fmla="*/ 250032 w 895388"/>
                        <a:gd name="connsiteY507" fmla="*/ 447675 h 1512093"/>
                        <a:gd name="connsiteX508" fmla="*/ 245269 w 895388"/>
                        <a:gd name="connsiteY508" fmla="*/ 440531 h 1512093"/>
                        <a:gd name="connsiteX509" fmla="*/ 240507 w 895388"/>
                        <a:gd name="connsiteY509" fmla="*/ 426243 h 1512093"/>
                        <a:gd name="connsiteX510" fmla="*/ 247650 w 895388"/>
                        <a:gd name="connsiteY510" fmla="*/ 419100 h 1512093"/>
                        <a:gd name="connsiteX511" fmla="*/ 252413 w 895388"/>
                        <a:gd name="connsiteY511" fmla="*/ 404812 h 1512093"/>
                        <a:gd name="connsiteX512" fmla="*/ 257175 w 895388"/>
                        <a:gd name="connsiteY512" fmla="*/ 397668 h 1512093"/>
                        <a:gd name="connsiteX513" fmla="*/ 259557 w 895388"/>
                        <a:gd name="connsiteY513" fmla="*/ 378618 h 1512093"/>
                        <a:gd name="connsiteX514" fmla="*/ 307182 w 895388"/>
                        <a:gd name="connsiteY514" fmla="*/ 373856 h 1512093"/>
                        <a:gd name="connsiteX515" fmla="*/ 309563 w 895388"/>
                        <a:gd name="connsiteY515" fmla="*/ 359568 h 1512093"/>
                        <a:gd name="connsiteX516" fmla="*/ 302419 w 895388"/>
                        <a:gd name="connsiteY516" fmla="*/ 354806 h 1512093"/>
                        <a:gd name="connsiteX517" fmla="*/ 288132 w 895388"/>
                        <a:gd name="connsiteY517" fmla="*/ 350043 h 1512093"/>
                        <a:gd name="connsiteX518" fmla="*/ 292894 w 895388"/>
                        <a:gd name="connsiteY518" fmla="*/ 335756 h 1512093"/>
                        <a:gd name="connsiteX519" fmla="*/ 300038 w 895388"/>
                        <a:gd name="connsiteY519" fmla="*/ 328612 h 1512093"/>
                        <a:gd name="connsiteX520" fmla="*/ 304800 w 895388"/>
                        <a:gd name="connsiteY520" fmla="*/ 321468 h 1512093"/>
                        <a:gd name="connsiteX521" fmla="*/ 311944 w 895388"/>
                        <a:gd name="connsiteY521" fmla="*/ 316706 h 1512093"/>
                        <a:gd name="connsiteX522" fmla="*/ 321469 w 895388"/>
                        <a:gd name="connsiteY522" fmla="*/ 302418 h 1512093"/>
                        <a:gd name="connsiteX523" fmla="*/ 292894 w 895388"/>
                        <a:gd name="connsiteY523" fmla="*/ 316706 h 1512093"/>
                        <a:gd name="connsiteX524" fmla="*/ 285750 w 895388"/>
                        <a:gd name="connsiteY524" fmla="*/ 319087 h 1512093"/>
                        <a:gd name="connsiteX525" fmla="*/ 278607 w 895388"/>
                        <a:gd name="connsiteY525" fmla="*/ 323850 h 1512093"/>
                        <a:gd name="connsiteX526" fmla="*/ 269082 w 895388"/>
                        <a:gd name="connsiteY526" fmla="*/ 326231 h 1512093"/>
                        <a:gd name="connsiteX527" fmla="*/ 261938 w 895388"/>
                        <a:gd name="connsiteY527" fmla="*/ 328612 h 1512093"/>
                        <a:gd name="connsiteX528" fmla="*/ 259557 w 895388"/>
                        <a:gd name="connsiteY528" fmla="*/ 311943 h 1512093"/>
                        <a:gd name="connsiteX529" fmla="*/ 245269 w 895388"/>
                        <a:gd name="connsiteY529" fmla="*/ 307181 h 1512093"/>
                        <a:gd name="connsiteX530" fmla="*/ 250032 w 895388"/>
                        <a:gd name="connsiteY530" fmla="*/ 300037 h 1512093"/>
                        <a:gd name="connsiteX531" fmla="*/ 259557 w 895388"/>
                        <a:gd name="connsiteY531" fmla="*/ 278606 h 1512093"/>
                        <a:gd name="connsiteX532" fmla="*/ 266700 w 895388"/>
                        <a:gd name="connsiteY532" fmla="*/ 276225 h 1512093"/>
                        <a:gd name="connsiteX533" fmla="*/ 290513 w 895388"/>
                        <a:gd name="connsiteY533" fmla="*/ 259556 h 1512093"/>
                        <a:gd name="connsiteX534" fmla="*/ 297657 w 895388"/>
                        <a:gd name="connsiteY534" fmla="*/ 254793 h 1512093"/>
                        <a:gd name="connsiteX535" fmla="*/ 304800 w 895388"/>
                        <a:gd name="connsiteY535" fmla="*/ 247650 h 1512093"/>
                        <a:gd name="connsiteX536" fmla="*/ 302419 w 895388"/>
                        <a:gd name="connsiteY536" fmla="*/ 240506 h 1512093"/>
                        <a:gd name="connsiteX537" fmla="*/ 288132 w 895388"/>
                        <a:gd name="connsiteY537" fmla="*/ 250031 h 1512093"/>
                        <a:gd name="connsiteX538" fmla="*/ 271463 w 895388"/>
                        <a:gd name="connsiteY538" fmla="*/ 254793 h 1512093"/>
                        <a:gd name="connsiteX539" fmla="*/ 269082 w 895388"/>
                        <a:gd name="connsiteY539" fmla="*/ 247650 h 1512093"/>
                        <a:gd name="connsiteX540" fmla="*/ 283369 w 895388"/>
                        <a:gd name="connsiteY540" fmla="*/ 223837 h 1512093"/>
                        <a:gd name="connsiteX541" fmla="*/ 288132 w 895388"/>
                        <a:gd name="connsiteY541" fmla="*/ 216693 h 1512093"/>
                        <a:gd name="connsiteX542" fmla="*/ 292894 w 895388"/>
                        <a:gd name="connsiteY542" fmla="*/ 209550 h 1512093"/>
                        <a:gd name="connsiteX543" fmla="*/ 307182 w 895388"/>
                        <a:gd name="connsiteY543" fmla="*/ 200025 h 1512093"/>
                        <a:gd name="connsiteX544" fmla="*/ 302419 w 895388"/>
                        <a:gd name="connsiteY544" fmla="*/ 207168 h 1512093"/>
                        <a:gd name="connsiteX545" fmla="*/ 288132 w 895388"/>
                        <a:gd name="connsiteY545" fmla="*/ 219075 h 1512093"/>
                        <a:gd name="connsiteX546" fmla="*/ 271463 w 895388"/>
                        <a:gd name="connsiteY546" fmla="*/ 202406 h 1512093"/>
                        <a:gd name="connsiteX547" fmla="*/ 266700 w 895388"/>
                        <a:gd name="connsiteY547" fmla="*/ 188118 h 1512093"/>
                        <a:gd name="connsiteX548" fmla="*/ 264319 w 895388"/>
                        <a:gd name="connsiteY548" fmla="*/ 180975 h 1512093"/>
                        <a:gd name="connsiteX549" fmla="*/ 266700 w 895388"/>
                        <a:gd name="connsiteY549" fmla="*/ 164306 h 1512093"/>
                        <a:gd name="connsiteX550" fmla="*/ 292894 w 895388"/>
                        <a:gd name="connsiteY550" fmla="*/ 169068 h 1512093"/>
                        <a:gd name="connsiteX551" fmla="*/ 302419 w 895388"/>
                        <a:gd name="connsiteY551" fmla="*/ 166687 h 1512093"/>
                        <a:gd name="connsiteX552" fmla="*/ 292894 w 895388"/>
                        <a:gd name="connsiteY552" fmla="*/ 161925 h 1512093"/>
                        <a:gd name="connsiteX553" fmla="*/ 285750 w 895388"/>
                        <a:gd name="connsiteY553" fmla="*/ 157162 h 1512093"/>
                        <a:gd name="connsiteX554" fmla="*/ 285750 w 895388"/>
                        <a:gd name="connsiteY554" fmla="*/ 130968 h 1512093"/>
                        <a:gd name="connsiteX555" fmla="*/ 300038 w 895388"/>
                        <a:gd name="connsiteY555" fmla="*/ 123825 h 1512093"/>
                        <a:gd name="connsiteX556" fmla="*/ 311944 w 895388"/>
                        <a:gd name="connsiteY556" fmla="*/ 133350 h 1512093"/>
                        <a:gd name="connsiteX557" fmla="*/ 316707 w 895388"/>
                        <a:gd name="connsiteY557" fmla="*/ 119062 h 1512093"/>
                        <a:gd name="connsiteX558" fmla="*/ 326232 w 895388"/>
                        <a:gd name="connsiteY558" fmla="*/ 116681 h 1512093"/>
                        <a:gd name="connsiteX559" fmla="*/ 345282 w 895388"/>
                        <a:gd name="connsiteY559" fmla="*/ 121443 h 1512093"/>
                        <a:gd name="connsiteX560" fmla="*/ 352425 w 895388"/>
                        <a:gd name="connsiteY560" fmla="*/ 123825 h 1512093"/>
                        <a:gd name="connsiteX561" fmla="*/ 352425 w 895388"/>
                        <a:gd name="connsiteY561" fmla="*/ 104775 h 1512093"/>
                        <a:gd name="connsiteX562" fmla="*/ 345282 w 895388"/>
                        <a:gd name="connsiteY562" fmla="*/ 100012 h 1512093"/>
                        <a:gd name="connsiteX563" fmla="*/ 338138 w 895388"/>
                        <a:gd name="connsiteY563" fmla="*/ 73818 h 1512093"/>
                        <a:gd name="connsiteX564" fmla="*/ 347663 w 895388"/>
                        <a:gd name="connsiteY564" fmla="*/ 59531 h 1512093"/>
                        <a:gd name="connsiteX565" fmla="*/ 350044 w 895388"/>
                        <a:gd name="connsiteY565" fmla="*/ 52387 h 1512093"/>
                        <a:gd name="connsiteX566" fmla="*/ 347663 w 895388"/>
                        <a:gd name="connsiteY566" fmla="*/ 40481 h 1512093"/>
                        <a:gd name="connsiteX567" fmla="*/ 352425 w 895388"/>
                        <a:gd name="connsiteY567" fmla="*/ 47625 h 1512093"/>
                        <a:gd name="connsiteX568" fmla="*/ 361950 w 895388"/>
                        <a:gd name="connsiteY568" fmla="*/ 50006 h 1512093"/>
                        <a:gd name="connsiteX569" fmla="*/ 369094 w 895388"/>
                        <a:gd name="connsiteY569" fmla="*/ 52387 h 1512093"/>
                        <a:gd name="connsiteX570" fmla="*/ 381000 w 895388"/>
                        <a:gd name="connsiteY570" fmla="*/ 42862 h 1512093"/>
                        <a:gd name="connsiteX571" fmla="*/ 376238 w 895388"/>
                        <a:gd name="connsiteY571" fmla="*/ 35718 h 1512093"/>
                        <a:gd name="connsiteX572" fmla="*/ 378619 w 895388"/>
                        <a:gd name="connsiteY572" fmla="*/ 54768 h 1512093"/>
                        <a:gd name="connsiteX0" fmla="*/ 378619 w 895388"/>
                        <a:gd name="connsiteY0" fmla="*/ 54768 h 1512093"/>
                        <a:gd name="connsiteX1" fmla="*/ 376238 w 895388"/>
                        <a:gd name="connsiteY1" fmla="*/ 42862 h 1512093"/>
                        <a:gd name="connsiteX2" fmla="*/ 371475 w 895388"/>
                        <a:gd name="connsiteY2" fmla="*/ 35718 h 1512093"/>
                        <a:gd name="connsiteX3" fmla="*/ 373857 w 895388"/>
                        <a:gd name="connsiteY3" fmla="*/ 14287 h 1512093"/>
                        <a:gd name="connsiteX4" fmla="*/ 376238 w 895388"/>
                        <a:gd name="connsiteY4" fmla="*/ 4762 h 1512093"/>
                        <a:gd name="connsiteX5" fmla="*/ 383382 w 895388"/>
                        <a:gd name="connsiteY5" fmla="*/ 2381 h 1512093"/>
                        <a:gd name="connsiteX6" fmla="*/ 407194 w 895388"/>
                        <a:gd name="connsiteY6" fmla="*/ 0 h 1512093"/>
                        <a:gd name="connsiteX7" fmla="*/ 414338 w 895388"/>
                        <a:gd name="connsiteY7" fmla="*/ 2381 h 1512093"/>
                        <a:gd name="connsiteX8" fmla="*/ 423863 w 895388"/>
                        <a:gd name="connsiteY8" fmla="*/ 16668 h 1512093"/>
                        <a:gd name="connsiteX9" fmla="*/ 421482 w 895388"/>
                        <a:gd name="connsiteY9" fmla="*/ 23812 h 1512093"/>
                        <a:gd name="connsiteX10" fmla="*/ 419100 w 895388"/>
                        <a:gd name="connsiteY10" fmla="*/ 33337 h 1512093"/>
                        <a:gd name="connsiteX11" fmla="*/ 426244 w 895388"/>
                        <a:gd name="connsiteY11" fmla="*/ 30956 h 1512093"/>
                        <a:gd name="connsiteX12" fmla="*/ 440532 w 895388"/>
                        <a:gd name="connsiteY12" fmla="*/ 23812 h 1512093"/>
                        <a:gd name="connsiteX13" fmla="*/ 447675 w 895388"/>
                        <a:gd name="connsiteY13" fmla="*/ 26193 h 1512093"/>
                        <a:gd name="connsiteX14" fmla="*/ 454819 w 895388"/>
                        <a:gd name="connsiteY14" fmla="*/ 30956 h 1512093"/>
                        <a:gd name="connsiteX15" fmla="*/ 459582 w 895388"/>
                        <a:gd name="connsiteY15" fmla="*/ 38100 h 1512093"/>
                        <a:gd name="connsiteX16" fmla="*/ 471488 w 895388"/>
                        <a:gd name="connsiteY16" fmla="*/ 35718 h 1512093"/>
                        <a:gd name="connsiteX17" fmla="*/ 502444 w 895388"/>
                        <a:gd name="connsiteY17" fmla="*/ 30956 h 1512093"/>
                        <a:gd name="connsiteX18" fmla="*/ 519113 w 895388"/>
                        <a:gd name="connsiteY18" fmla="*/ 19050 h 1512093"/>
                        <a:gd name="connsiteX19" fmla="*/ 526257 w 895388"/>
                        <a:gd name="connsiteY19" fmla="*/ 28575 h 1512093"/>
                        <a:gd name="connsiteX20" fmla="*/ 542925 w 895388"/>
                        <a:gd name="connsiteY20" fmla="*/ 21431 h 1512093"/>
                        <a:gd name="connsiteX21" fmla="*/ 545307 w 895388"/>
                        <a:gd name="connsiteY21" fmla="*/ 28575 h 1512093"/>
                        <a:gd name="connsiteX22" fmla="*/ 569119 w 895388"/>
                        <a:gd name="connsiteY22" fmla="*/ 28575 h 1512093"/>
                        <a:gd name="connsiteX23" fmla="*/ 573882 w 895388"/>
                        <a:gd name="connsiteY23" fmla="*/ 45243 h 1512093"/>
                        <a:gd name="connsiteX24" fmla="*/ 564357 w 895388"/>
                        <a:gd name="connsiteY24" fmla="*/ 61912 h 1512093"/>
                        <a:gd name="connsiteX25" fmla="*/ 557213 w 895388"/>
                        <a:gd name="connsiteY25" fmla="*/ 76200 h 1512093"/>
                        <a:gd name="connsiteX26" fmla="*/ 550069 w 895388"/>
                        <a:gd name="connsiteY26" fmla="*/ 80962 h 1512093"/>
                        <a:gd name="connsiteX27" fmla="*/ 542925 w 895388"/>
                        <a:gd name="connsiteY27" fmla="*/ 88106 h 1512093"/>
                        <a:gd name="connsiteX28" fmla="*/ 519113 w 895388"/>
                        <a:gd name="connsiteY28" fmla="*/ 95250 h 1512093"/>
                        <a:gd name="connsiteX29" fmla="*/ 504825 w 895388"/>
                        <a:gd name="connsiteY29" fmla="*/ 100012 h 1512093"/>
                        <a:gd name="connsiteX30" fmla="*/ 483394 w 895388"/>
                        <a:gd name="connsiteY30" fmla="*/ 109537 h 1512093"/>
                        <a:gd name="connsiteX31" fmla="*/ 476250 w 895388"/>
                        <a:gd name="connsiteY31" fmla="*/ 111918 h 1512093"/>
                        <a:gd name="connsiteX32" fmla="*/ 464344 w 895388"/>
                        <a:gd name="connsiteY32" fmla="*/ 123825 h 1512093"/>
                        <a:gd name="connsiteX33" fmla="*/ 461963 w 895388"/>
                        <a:gd name="connsiteY33" fmla="*/ 130968 h 1512093"/>
                        <a:gd name="connsiteX34" fmla="*/ 454819 w 895388"/>
                        <a:gd name="connsiteY34" fmla="*/ 135731 h 1512093"/>
                        <a:gd name="connsiteX35" fmla="*/ 438150 w 895388"/>
                        <a:gd name="connsiteY35" fmla="*/ 133350 h 1512093"/>
                        <a:gd name="connsiteX36" fmla="*/ 431007 w 895388"/>
                        <a:gd name="connsiteY36" fmla="*/ 126206 h 1512093"/>
                        <a:gd name="connsiteX37" fmla="*/ 428625 w 895388"/>
                        <a:gd name="connsiteY37" fmla="*/ 133350 h 1512093"/>
                        <a:gd name="connsiteX38" fmla="*/ 435769 w 895388"/>
                        <a:gd name="connsiteY38" fmla="*/ 138112 h 1512093"/>
                        <a:gd name="connsiteX39" fmla="*/ 442913 w 895388"/>
                        <a:gd name="connsiteY39" fmla="*/ 140493 h 1512093"/>
                        <a:gd name="connsiteX40" fmla="*/ 447675 w 895388"/>
                        <a:gd name="connsiteY40" fmla="*/ 154781 h 1512093"/>
                        <a:gd name="connsiteX41" fmla="*/ 431007 w 895388"/>
                        <a:gd name="connsiteY41" fmla="*/ 171450 h 1512093"/>
                        <a:gd name="connsiteX42" fmla="*/ 421482 w 895388"/>
                        <a:gd name="connsiteY42" fmla="*/ 176212 h 1512093"/>
                        <a:gd name="connsiteX43" fmla="*/ 419100 w 895388"/>
                        <a:gd name="connsiteY43" fmla="*/ 192881 h 1512093"/>
                        <a:gd name="connsiteX44" fmla="*/ 426244 w 895388"/>
                        <a:gd name="connsiteY44" fmla="*/ 195262 h 1512093"/>
                        <a:gd name="connsiteX45" fmla="*/ 431007 w 895388"/>
                        <a:gd name="connsiteY45" fmla="*/ 202406 h 1512093"/>
                        <a:gd name="connsiteX46" fmla="*/ 457200 w 895388"/>
                        <a:gd name="connsiteY46" fmla="*/ 197643 h 1512093"/>
                        <a:gd name="connsiteX47" fmla="*/ 478632 w 895388"/>
                        <a:gd name="connsiteY47" fmla="*/ 195262 h 1512093"/>
                        <a:gd name="connsiteX48" fmla="*/ 488157 w 895388"/>
                        <a:gd name="connsiteY48" fmla="*/ 183356 h 1512093"/>
                        <a:gd name="connsiteX49" fmla="*/ 497682 w 895388"/>
                        <a:gd name="connsiteY49" fmla="*/ 176212 h 1512093"/>
                        <a:gd name="connsiteX50" fmla="*/ 511969 w 895388"/>
                        <a:gd name="connsiteY50" fmla="*/ 178593 h 1512093"/>
                        <a:gd name="connsiteX51" fmla="*/ 526257 w 895388"/>
                        <a:gd name="connsiteY51" fmla="*/ 188118 h 1512093"/>
                        <a:gd name="connsiteX52" fmla="*/ 531019 w 895388"/>
                        <a:gd name="connsiteY52" fmla="*/ 195262 h 1512093"/>
                        <a:gd name="connsiteX53" fmla="*/ 545307 w 895388"/>
                        <a:gd name="connsiteY53" fmla="*/ 202406 h 1512093"/>
                        <a:gd name="connsiteX54" fmla="*/ 552450 w 895388"/>
                        <a:gd name="connsiteY54" fmla="*/ 197643 h 1512093"/>
                        <a:gd name="connsiteX55" fmla="*/ 557213 w 895388"/>
                        <a:gd name="connsiteY55" fmla="*/ 190500 h 1512093"/>
                        <a:gd name="connsiteX56" fmla="*/ 564357 w 895388"/>
                        <a:gd name="connsiteY56" fmla="*/ 192881 h 1512093"/>
                        <a:gd name="connsiteX57" fmla="*/ 569119 w 895388"/>
                        <a:gd name="connsiteY57" fmla="*/ 200025 h 1512093"/>
                        <a:gd name="connsiteX58" fmla="*/ 576263 w 895388"/>
                        <a:gd name="connsiteY58" fmla="*/ 202406 h 1512093"/>
                        <a:gd name="connsiteX59" fmla="*/ 595313 w 895388"/>
                        <a:gd name="connsiteY59" fmla="*/ 207168 h 1512093"/>
                        <a:gd name="connsiteX60" fmla="*/ 633413 w 895388"/>
                        <a:gd name="connsiteY60" fmla="*/ 214312 h 1512093"/>
                        <a:gd name="connsiteX61" fmla="*/ 638175 w 895388"/>
                        <a:gd name="connsiteY61" fmla="*/ 207168 h 1512093"/>
                        <a:gd name="connsiteX62" fmla="*/ 631032 w 895388"/>
                        <a:gd name="connsiteY62" fmla="*/ 202406 h 1512093"/>
                        <a:gd name="connsiteX63" fmla="*/ 633413 w 895388"/>
                        <a:gd name="connsiteY63" fmla="*/ 216693 h 1512093"/>
                        <a:gd name="connsiteX64" fmla="*/ 647700 w 895388"/>
                        <a:gd name="connsiteY64" fmla="*/ 221456 h 1512093"/>
                        <a:gd name="connsiteX65" fmla="*/ 652463 w 895388"/>
                        <a:gd name="connsiteY65" fmla="*/ 228600 h 1512093"/>
                        <a:gd name="connsiteX66" fmla="*/ 657225 w 895388"/>
                        <a:gd name="connsiteY66" fmla="*/ 242887 h 1512093"/>
                        <a:gd name="connsiteX67" fmla="*/ 647700 w 895388"/>
                        <a:gd name="connsiteY67" fmla="*/ 271462 h 1512093"/>
                        <a:gd name="connsiteX68" fmla="*/ 638175 w 895388"/>
                        <a:gd name="connsiteY68" fmla="*/ 273843 h 1512093"/>
                        <a:gd name="connsiteX69" fmla="*/ 626269 w 895388"/>
                        <a:gd name="connsiteY69" fmla="*/ 292893 h 1512093"/>
                        <a:gd name="connsiteX70" fmla="*/ 621507 w 895388"/>
                        <a:gd name="connsiteY70" fmla="*/ 300037 h 1512093"/>
                        <a:gd name="connsiteX71" fmla="*/ 616744 w 895388"/>
                        <a:gd name="connsiteY71" fmla="*/ 314325 h 1512093"/>
                        <a:gd name="connsiteX72" fmla="*/ 614363 w 895388"/>
                        <a:gd name="connsiteY72" fmla="*/ 321468 h 1512093"/>
                        <a:gd name="connsiteX73" fmla="*/ 604838 w 895388"/>
                        <a:gd name="connsiteY73" fmla="*/ 335756 h 1512093"/>
                        <a:gd name="connsiteX74" fmla="*/ 602457 w 895388"/>
                        <a:gd name="connsiteY74" fmla="*/ 342900 h 1512093"/>
                        <a:gd name="connsiteX75" fmla="*/ 600075 w 895388"/>
                        <a:gd name="connsiteY75" fmla="*/ 352425 h 1512093"/>
                        <a:gd name="connsiteX76" fmla="*/ 583407 w 895388"/>
                        <a:gd name="connsiteY76" fmla="*/ 354806 h 1512093"/>
                        <a:gd name="connsiteX77" fmla="*/ 566738 w 895388"/>
                        <a:gd name="connsiteY77" fmla="*/ 369093 h 1512093"/>
                        <a:gd name="connsiteX78" fmla="*/ 564357 w 895388"/>
                        <a:gd name="connsiteY78" fmla="*/ 378618 h 1512093"/>
                        <a:gd name="connsiteX79" fmla="*/ 559594 w 895388"/>
                        <a:gd name="connsiteY79" fmla="*/ 392906 h 1512093"/>
                        <a:gd name="connsiteX80" fmla="*/ 550069 w 895388"/>
                        <a:gd name="connsiteY80" fmla="*/ 404812 h 1512093"/>
                        <a:gd name="connsiteX81" fmla="*/ 542925 w 895388"/>
                        <a:gd name="connsiteY81" fmla="*/ 407193 h 1512093"/>
                        <a:gd name="connsiteX82" fmla="*/ 495300 w 895388"/>
                        <a:gd name="connsiteY82" fmla="*/ 409575 h 1512093"/>
                        <a:gd name="connsiteX83" fmla="*/ 478632 w 895388"/>
                        <a:gd name="connsiteY83" fmla="*/ 419100 h 1512093"/>
                        <a:gd name="connsiteX84" fmla="*/ 476250 w 895388"/>
                        <a:gd name="connsiteY84" fmla="*/ 426243 h 1512093"/>
                        <a:gd name="connsiteX85" fmla="*/ 478632 w 895388"/>
                        <a:gd name="connsiteY85" fmla="*/ 433387 h 1512093"/>
                        <a:gd name="connsiteX86" fmla="*/ 500063 w 895388"/>
                        <a:gd name="connsiteY86" fmla="*/ 423862 h 1512093"/>
                        <a:gd name="connsiteX87" fmla="*/ 514350 w 895388"/>
                        <a:gd name="connsiteY87" fmla="*/ 416718 h 1512093"/>
                        <a:gd name="connsiteX88" fmla="*/ 519113 w 895388"/>
                        <a:gd name="connsiteY88" fmla="*/ 423862 h 1512093"/>
                        <a:gd name="connsiteX89" fmla="*/ 526257 w 895388"/>
                        <a:gd name="connsiteY89" fmla="*/ 431006 h 1512093"/>
                        <a:gd name="connsiteX90" fmla="*/ 528638 w 895388"/>
                        <a:gd name="connsiteY90" fmla="*/ 438150 h 1512093"/>
                        <a:gd name="connsiteX91" fmla="*/ 535782 w 895388"/>
                        <a:gd name="connsiteY91" fmla="*/ 445293 h 1512093"/>
                        <a:gd name="connsiteX92" fmla="*/ 540544 w 895388"/>
                        <a:gd name="connsiteY92" fmla="*/ 452437 h 1512093"/>
                        <a:gd name="connsiteX93" fmla="*/ 519113 w 895388"/>
                        <a:gd name="connsiteY93" fmla="*/ 447675 h 1512093"/>
                        <a:gd name="connsiteX94" fmla="*/ 502444 w 895388"/>
                        <a:gd name="connsiteY94" fmla="*/ 450056 h 1512093"/>
                        <a:gd name="connsiteX95" fmla="*/ 488157 w 895388"/>
                        <a:gd name="connsiteY95" fmla="*/ 461962 h 1512093"/>
                        <a:gd name="connsiteX96" fmla="*/ 473869 w 895388"/>
                        <a:gd name="connsiteY96" fmla="*/ 469106 h 1512093"/>
                        <a:gd name="connsiteX97" fmla="*/ 466725 w 895388"/>
                        <a:gd name="connsiteY97" fmla="*/ 476250 h 1512093"/>
                        <a:gd name="connsiteX98" fmla="*/ 461963 w 895388"/>
                        <a:gd name="connsiteY98" fmla="*/ 483393 h 1512093"/>
                        <a:gd name="connsiteX99" fmla="*/ 447675 w 895388"/>
                        <a:gd name="connsiteY99" fmla="*/ 476250 h 1512093"/>
                        <a:gd name="connsiteX100" fmla="*/ 433388 w 895388"/>
                        <a:gd name="connsiteY100" fmla="*/ 471487 h 1512093"/>
                        <a:gd name="connsiteX101" fmla="*/ 426244 w 895388"/>
                        <a:gd name="connsiteY101" fmla="*/ 469106 h 1512093"/>
                        <a:gd name="connsiteX102" fmla="*/ 423863 w 895388"/>
                        <a:gd name="connsiteY102" fmla="*/ 485775 h 1512093"/>
                        <a:gd name="connsiteX103" fmla="*/ 431007 w 895388"/>
                        <a:gd name="connsiteY103" fmla="*/ 488156 h 1512093"/>
                        <a:gd name="connsiteX104" fmla="*/ 457200 w 895388"/>
                        <a:gd name="connsiteY104" fmla="*/ 488156 h 1512093"/>
                        <a:gd name="connsiteX105" fmla="*/ 471488 w 895388"/>
                        <a:gd name="connsiteY105" fmla="*/ 497681 h 1512093"/>
                        <a:gd name="connsiteX106" fmla="*/ 478632 w 895388"/>
                        <a:gd name="connsiteY106" fmla="*/ 500062 h 1512093"/>
                        <a:gd name="connsiteX107" fmla="*/ 502444 w 895388"/>
                        <a:gd name="connsiteY107" fmla="*/ 497681 h 1512093"/>
                        <a:gd name="connsiteX108" fmla="*/ 504825 w 895388"/>
                        <a:gd name="connsiteY108" fmla="*/ 490537 h 1512093"/>
                        <a:gd name="connsiteX109" fmla="*/ 519113 w 895388"/>
                        <a:gd name="connsiteY109" fmla="*/ 481012 h 1512093"/>
                        <a:gd name="connsiteX110" fmla="*/ 526257 w 895388"/>
                        <a:gd name="connsiteY110" fmla="*/ 495300 h 1512093"/>
                        <a:gd name="connsiteX111" fmla="*/ 533400 w 895388"/>
                        <a:gd name="connsiteY111" fmla="*/ 500062 h 1512093"/>
                        <a:gd name="connsiteX112" fmla="*/ 540544 w 895388"/>
                        <a:gd name="connsiteY112" fmla="*/ 507206 h 1512093"/>
                        <a:gd name="connsiteX113" fmla="*/ 554832 w 895388"/>
                        <a:gd name="connsiteY113" fmla="*/ 516731 h 1512093"/>
                        <a:gd name="connsiteX114" fmla="*/ 569119 w 895388"/>
                        <a:gd name="connsiteY114" fmla="*/ 528637 h 1512093"/>
                        <a:gd name="connsiteX115" fmla="*/ 578644 w 895388"/>
                        <a:gd name="connsiteY115" fmla="*/ 542925 h 1512093"/>
                        <a:gd name="connsiteX116" fmla="*/ 583407 w 895388"/>
                        <a:gd name="connsiteY116" fmla="*/ 557212 h 1512093"/>
                        <a:gd name="connsiteX117" fmla="*/ 588169 w 895388"/>
                        <a:gd name="connsiteY117" fmla="*/ 564356 h 1512093"/>
                        <a:gd name="connsiteX118" fmla="*/ 590550 w 895388"/>
                        <a:gd name="connsiteY118" fmla="*/ 571500 h 1512093"/>
                        <a:gd name="connsiteX119" fmla="*/ 597694 w 895388"/>
                        <a:gd name="connsiteY119" fmla="*/ 573881 h 1512093"/>
                        <a:gd name="connsiteX120" fmla="*/ 609600 w 895388"/>
                        <a:gd name="connsiteY120" fmla="*/ 595312 h 1512093"/>
                        <a:gd name="connsiteX121" fmla="*/ 616744 w 895388"/>
                        <a:gd name="connsiteY121" fmla="*/ 600075 h 1512093"/>
                        <a:gd name="connsiteX122" fmla="*/ 614363 w 895388"/>
                        <a:gd name="connsiteY122" fmla="*/ 614362 h 1512093"/>
                        <a:gd name="connsiteX123" fmla="*/ 604838 w 895388"/>
                        <a:gd name="connsiteY123" fmla="*/ 635793 h 1512093"/>
                        <a:gd name="connsiteX124" fmla="*/ 611982 w 895388"/>
                        <a:gd name="connsiteY124" fmla="*/ 676275 h 1512093"/>
                        <a:gd name="connsiteX125" fmla="*/ 619125 w 895388"/>
                        <a:gd name="connsiteY125" fmla="*/ 681037 h 1512093"/>
                        <a:gd name="connsiteX126" fmla="*/ 616744 w 895388"/>
                        <a:gd name="connsiteY126" fmla="*/ 738187 h 1512093"/>
                        <a:gd name="connsiteX127" fmla="*/ 623888 w 895388"/>
                        <a:gd name="connsiteY127" fmla="*/ 759618 h 1512093"/>
                        <a:gd name="connsiteX128" fmla="*/ 631032 w 895388"/>
                        <a:gd name="connsiteY128" fmla="*/ 762000 h 1512093"/>
                        <a:gd name="connsiteX129" fmla="*/ 640557 w 895388"/>
                        <a:gd name="connsiteY129" fmla="*/ 776287 h 1512093"/>
                        <a:gd name="connsiteX130" fmla="*/ 647700 w 895388"/>
                        <a:gd name="connsiteY130" fmla="*/ 778668 h 1512093"/>
                        <a:gd name="connsiteX131" fmla="*/ 661988 w 895388"/>
                        <a:gd name="connsiteY131" fmla="*/ 788193 h 1512093"/>
                        <a:gd name="connsiteX132" fmla="*/ 683419 w 895388"/>
                        <a:gd name="connsiteY132" fmla="*/ 804862 h 1512093"/>
                        <a:gd name="connsiteX133" fmla="*/ 690563 w 895388"/>
                        <a:gd name="connsiteY133" fmla="*/ 809625 h 1512093"/>
                        <a:gd name="connsiteX134" fmla="*/ 697707 w 895388"/>
                        <a:gd name="connsiteY134" fmla="*/ 814387 h 1512093"/>
                        <a:gd name="connsiteX135" fmla="*/ 700088 w 895388"/>
                        <a:gd name="connsiteY135" fmla="*/ 821531 h 1512093"/>
                        <a:gd name="connsiteX136" fmla="*/ 695325 w 895388"/>
                        <a:gd name="connsiteY136" fmla="*/ 840581 h 1512093"/>
                        <a:gd name="connsiteX137" fmla="*/ 697707 w 895388"/>
                        <a:gd name="connsiteY137" fmla="*/ 847725 h 1512093"/>
                        <a:gd name="connsiteX138" fmla="*/ 709613 w 895388"/>
                        <a:gd name="connsiteY138" fmla="*/ 862012 h 1512093"/>
                        <a:gd name="connsiteX139" fmla="*/ 711994 w 895388"/>
                        <a:gd name="connsiteY139" fmla="*/ 869156 h 1512093"/>
                        <a:gd name="connsiteX140" fmla="*/ 726282 w 895388"/>
                        <a:gd name="connsiteY140" fmla="*/ 878681 h 1512093"/>
                        <a:gd name="connsiteX141" fmla="*/ 716757 w 895388"/>
                        <a:gd name="connsiteY141" fmla="*/ 890587 h 1512093"/>
                        <a:gd name="connsiteX142" fmla="*/ 714375 w 895388"/>
                        <a:gd name="connsiteY142" fmla="*/ 897731 h 1512093"/>
                        <a:gd name="connsiteX143" fmla="*/ 716757 w 895388"/>
                        <a:gd name="connsiteY143" fmla="*/ 916781 h 1512093"/>
                        <a:gd name="connsiteX144" fmla="*/ 735336 w 895388"/>
                        <a:gd name="connsiteY144" fmla="*/ 952193 h 1512093"/>
                        <a:gd name="connsiteX145" fmla="*/ 702469 w 895388"/>
                        <a:gd name="connsiteY145" fmla="*/ 935831 h 1512093"/>
                        <a:gd name="connsiteX146" fmla="*/ 688182 w 895388"/>
                        <a:gd name="connsiteY146" fmla="*/ 940593 h 1512093"/>
                        <a:gd name="connsiteX147" fmla="*/ 681038 w 895388"/>
                        <a:gd name="connsiteY147" fmla="*/ 942975 h 1512093"/>
                        <a:gd name="connsiteX148" fmla="*/ 673894 w 895388"/>
                        <a:gd name="connsiteY148" fmla="*/ 945356 h 1512093"/>
                        <a:gd name="connsiteX149" fmla="*/ 664369 w 895388"/>
                        <a:gd name="connsiteY149" fmla="*/ 950118 h 1512093"/>
                        <a:gd name="connsiteX150" fmla="*/ 678657 w 895388"/>
                        <a:gd name="connsiteY150" fmla="*/ 954881 h 1512093"/>
                        <a:gd name="connsiteX151" fmla="*/ 685800 w 895388"/>
                        <a:gd name="connsiteY151" fmla="*/ 957262 h 1512093"/>
                        <a:gd name="connsiteX152" fmla="*/ 707232 w 895388"/>
                        <a:gd name="connsiteY152" fmla="*/ 962025 h 1512093"/>
                        <a:gd name="connsiteX153" fmla="*/ 711994 w 895388"/>
                        <a:gd name="connsiteY153" fmla="*/ 969168 h 1512093"/>
                        <a:gd name="connsiteX154" fmla="*/ 721519 w 895388"/>
                        <a:gd name="connsiteY154" fmla="*/ 978693 h 1512093"/>
                        <a:gd name="connsiteX155" fmla="*/ 731044 w 895388"/>
                        <a:gd name="connsiteY155" fmla="*/ 976312 h 1512093"/>
                        <a:gd name="connsiteX156" fmla="*/ 740569 w 895388"/>
                        <a:gd name="connsiteY156" fmla="*/ 976312 h 1512093"/>
                        <a:gd name="connsiteX157" fmla="*/ 742950 w 895388"/>
                        <a:gd name="connsiteY157" fmla="*/ 995362 h 1512093"/>
                        <a:gd name="connsiteX158" fmla="*/ 747713 w 895388"/>
                        <a:gd name="connsiteY158" fmla="*/ 1002506 h 1512093"/>
                        <a:gd name="connsiteX159" fmla="*/ 754857 w 895388"/>
                        <a:gd name="connsiteY159" fmla="*/ 1016793 h 1512093"/>
                        <a:gd name="connsiteX160" fmla="*/ 757238 w 895388"/>
                        <a:gd name="connsiteY160" fmla="*/ 1042987 h 1512093"/>
                        <a:gd name="connsiteX161" fmla="*/ 762000 w 895388"/>
                        <a:gd name="connsiteY161" fmla="*/ 1057275 h 1512093"/>
                        <a:gd name="connsiteX162" fmla="*/ 757238 w 895388"/>
                        <a:gd name="connsiteY162" fmla="*/ 1064418 h 1512093"/>
                        <a:gd name="connsiteX163" fmla="*/ 742950 w 895388"/>
                        <a:gd name="connsiteY163" fmla="*/ 1069181 h 1512093"/>
                        <a:gd name="connsiteX164" fmla="*/ 735807 w 895388"/>
                        <a:gd name="connsiteY164" fmla="*/ 1083468 h 1512093"/>
                        <a:gd name="connsiteX165" fmla="*/ 733425 w 895388"/>
                        <a:gd name="connsiteY165" fmla="*/ 1092993 h 1512093"/>
                        <a:gd name="connsiteX166" fmla="*/ 723900 w 895388"/>
                        <a:gd name="connsiteY166" fmla="*/ 1095375 h 1512093"/>
                        <a:gd name="connsiteX167" fmla="*/ 726282 w 895388"/>
                        <a:gd name="connsiteY167" fmla="*/ 1112043 h 1512093"/>
                        <a:gd name="connsiteX168" fmla="*/ 740569 w 895388"/>
                        <a:gd name="connsiteY168" fmla="*/ 1119187 h 1512093"/>
                        <a:gd name="connsiteX169" fmla="*/ 750094 w 895388"/>
                        <a:gd name="connsiteY169" fmla="*/ 1116806 h 1512093"/>
                        <a:gd name="connsiteX170" fmla="*/ 764382 w 895388"/>
                        <a:gd name="connsiteY170" fmla="*/ 1107281 h 1512093"/>
                        <a:gd name="connsiteX171" fmla="*/ 771525 w 895388"/>
                        <a:gd name="connsiteY171" fmla="*/ 1100137 h 1512093"/>
                        <a:gd name="connsiteX172" fmla="*/ 778669 w 895388"/>
                        <a:gd name="connsiteY172" fmla="*/ 1097756 h 1512093"/>
                        <a:gd name="connsiteX173" fmla="*/ 831057 w 895388"/>
                        <a:gd name="connsiteY173" fmla="*/ 1100137 h 1512093"/>
                        <a:gd name="connsiteX174" fmla="*/ 838200 w 895388"/>
                        <a:gd name="connsiteY174" fmla="*/ 1104900 h 1512093"/>
                        <a:gd name="connsiteX175" fmla="*/ 845344 w 895388"/>
                        <a:gd name="connsiteY175" fmla="*/ 1107281 h 1512093"/>
                        <a:gd name="connsiteX176" fmla="*/ 852488 w 895388"/>
                        <a:gd name="connsiteY176" fmla="*/ 1112043 h 1512093"/>
                        <a:gd name="connsiteX177" fmla="*/ 859632 w 895388"/>
                        <a:gd name="connsiteY177" fmla="*/ 1114425 h 1512093"/>
                        <a:gd name="connsiteX178" fmla="*/ 873919 w 895388"/>
                        <a:gd name="connsiteY178" fmla="*/ 1123950 h 1512093"/>
                        <a:gd name="connsiteX179" fmla="*/ 890588 w 895388"/>
                        <a:gd name="connsiteY179" fmla="*/ 1145381 h 1512093"/>
                        <a:gd name="connsiteX180" fmla="*/ 895350 w 895388"/>
                        <a:gd name="connsiteY180" fmla="*/ 1159668 h 1512093"/>
                        <a:gd name="connsiteX181" fmla="*/ 892969 w 895388"/>
                        <a:gd name="connsiteY181" fmla="*/ 1185862 h 1512093"/>
                        <a:gd name="connsiteX182" fmla="*/ 888207 w 895388"/>
                        <a:gd name="connsiteY182" fmla="*/ 1202531 h 1512093"/>
                        <a:gd name="connsiteX183" fmla="*/ 885825 w 895388"/>
                        <a:gd name="connsiteY183" fmla="*/ 1214437 h 1512093"/>
                        <a:gd name="connsiteX184" fmla="*/ 871538 w 895388"/>
                        <a:gd name="connsiteY184" fmla="*/ 1228725 h 1512093"/>
                        <a:gd name="connsiteX185" fmla="*/ 869157 w 895388"/>
                        <a:gd name="connsiteY185" fmla="*/ 1245393 h 1512093"/>
                        <a:gd name="connsiteX186" fmla="*/ 862013 w 895388"/>
                        <a:gd name="connsiteY186" fmla="*/ 1262062 h 1512093"/>
                        <a:gd name="connsiteX187" fmla="*/ 852488 w 895388"/>
                        <a:gd name="connsiteY187" fmla="*/ 1273968 h 1512093"/>
                        <a:gd name="connsiteX188" fmla="*/ 838200 w 895388"/>
                        <a:gd name="connsiteY188" fmla="*/ 1276350 h 1512093"/>
                        <a:gd name="connsiteX189" fmla="*/ 831057 w 895388"/>
                        <a:gd name="connsiteY189" fmla="*/ 1278731 h 1512093"/>
                        <a:gd name="connsiteX190" fmla="*/ 821532 w 895388"/>
                        <a:gd name="connsiteY190" fmla="*/ 1276350 h 1512093"/>
                        <a:gd name="connsiteX191" fmla="*/ 814388 w 895388"/>
                        <a:gd name="connsiteY191" fmla="*/ 1273968 h 1512093"/>
                        <a:gd name="connsiteX192" fmla="*/ 823913 w 895388"/>
                        <a:gd name="connsiteY192" fmla="*/ 1285875 h 1512093"/>
                        <a:gd name="connsiteX193" fmla="*/ 826294 w 895388"/>
                        <a:gd name="connsiteY193" fmla="*/ 1293018 h 1512093"/>
                        <a:gd name="connsiteX194" fmla="*/ 812007 w 895388"/>
                        <a:gd name="connsiteY194" fmla="*/ 1295400 h 1512093"/>
                        <a:gd name="connsiteX195" fmla="*/ 797719 w 895388"/>
                        <a:gd name="connsiteY195" fmla="*/ 1300162 h 1512093"/>
                        <a:gd name="connsiteX196" fmla="*/ 778669 w 895388"/>
                        <a:gd name="connsiteY196" fmla="*/ 1304925 h 1512093"/>
                        <a:gd name="connsiteX197" fmla="*/ 773907 w 895388"/>
                        <a:gd name="connsiteY197" fmla="*/ 1312068 h 1512093"/>
                        <a:gd name="connsiteX198" fmla="*/ 759619 w 895388"/>
                        <a:gd name="connsiteY198" fmla="*/ 1316831 h 1512093"/>
                        <a:gd name="connsiteX199" fmla="*/ 781050 w 895388"/>
                        <a:gd name="connsiteY199" fmla="*/ 1319212 h 1512093"/>
                        <a:gd name="connsiteX200" fmla="*/ 783432 w 895388"/>
                        <a:gd name="connsiteY200" fmla="*/ 1326356 h 1512093"/>
                        <a:gd name="connsiteX201" fmla="*/ 781050 w 895388"/>
                        <a:gd name="connsiteY201" fmla="*/ 1340643 h 1512093"/>
                        <a:gd name="connsiteX202" fmla="*/ 771525 w 895388"/>
                        <a:gd name="connsiteY202" fmla="*/ 1343025 h 1512093"/>
                        <a:gd name="connsiteX203" fmla="*/ 759619 w 895388"/>
                        <a:gd name="connsiteY203" fmla="*/ 1347787 h 1512093"/>
                        <a:gd name="connsiteX204" fmla="*/ 721519 w 895388"/>
                        <a:gd name="connsiteY204" fmla="*/ 1352550 h 1512093"/>
                        <a:gd name="connsiteX205" fmla="*/ 735807 w 895388"/>
                        <a:gd name="connsiteY205" fmla="*/ 1359693 h 1512093"/>
                        <a:gd name="connsiteX206" fmla="*/ 742950 w 895388"/>
                        <a:gd name="connsiteY206" fmla="*/ 1357312 h 1512093"/>
                        <a:gd name="connsiteX207" fmla="*/ 752475 w 895388"/>
                        <a:gd name="connsiteY207" fmla="*/ 1359693 h 1512093"/>
                        <a:gd name="connsiteX208" fmla="*/ 769144 w 895388"/>
                        <a:gd name="connsiteY208" fmla="*/ 1378743 h 1512093"/>
                        <a:gd name="connsiteX209" fmla="*/ 802482 w 895388"/>
                        <a:gd name="connsiteY209" fmla="*/ 1385887 h 1512093"/>
                        <a:gd name="connsiteX210" fmla="*/ 823913 w 895388"/>
                        <a:gd name="connsiteY210" fmla="*/ 1383506 h 1512093"/>
                        <a:gd name="connsiteX211" fmla="*/ 814388 w 895388"/>
                        <a:gd name="connsiteY211" fmla="*/ 1423987 h 1512093"/>
                        <a:gd name="connsiteX212" fmla="*/ 797719 w 895388"/>
                        <a:gd name="connsiteY212" fmla="*/ 1428750 h 1512093"/>
                        <a:gd name="connsiteX213" fmla="*/ 792957 w 895388"/>
                        <a:gd name="connsiteY213" fmla="*/ 1435893 h 1512093"/>
                        <a:gd name="connsiteX214" fmla="*/ 778669 w 895388"/>
                        <a:gd name="connsiteY214" fmla="*/ 1443037 h 1512093"/>
                        <a:gd name="connsiteX215" fmla="*/ 771525 w 895388"/>
                        <a:gd name="connsiteY215" fmla="*/ 1447800 h 1512093"/>
                        <a:gd name="connsiteX216" fmla="*/ 769144 w 895388"/>
                        <a:gd name="connsiteY216" fmla="*/ 1454943 h 1512093"/>
                        <a:gd name="connsiteX217" fmla="*/ 762000 w 895388"/>
                        <a:gd name="connsiteY217" fmla="*/ 1457325 h 1512093"/>
                        <a:gd name="connsiteX218" fmla="*/ 731044 w 895388"/>
                        <a:gd name="connsiteY218" fmla="*/ 1459706 h 1512093"/>
                        <a:gd name="connsiteX219" fmla="*/ 723900 w 895388"/>
                        <a:gd name="connsiteY219" fmla="*/ 1462087 h 1512093"/>
                        <a:gd name="connsiteX220" fmla="*/ 709613 w 895388"/>
                        <a:gd name="connsiteY220" fmla="*/ 1469231 h 1512093"/>
                        <a:gd name="connsiteX221" fmla="*/ 690563 w 895388"/>
                        <a:gd name="connsiteY221" fmla="*/ 1471612 h 1512093"/>
                        <a:gd name="connsiteX222" fmla="*/ 685800 w 895388"/>
                        <a:gd name="connsiteY222" fmla="*/ 1478756 h 1512093"/>
                        <a:gd name="connsiteX223" fmla="*/ 673894 w 895388"/>
                        <a:gd name="connsiteY223" fmla="*/ 1476375 h 1512093"/>
                        <a:gd name="connsiteX224" fmla="*/ 659607 w 895388"/>
                        <a:gd name="connsiteY224" fmla="*/ 1466850 h 1512093"/>
                        <a:gd name="connsiteX225" fmla="*/ 652463 w 895388"/>
                        <a:gd name="connsiteY225" fmla="*/ 1462087 h 1512093"/>
                        <a:gd name="connsiteX226" fmla="*/ 628650 w 895388"/>
                        <a:gd name="connsiteY226" fmla="*/ 1454943 h 1512093"/>
                        <a:gd name="connsiteX227" fmla="*/ 583407 w 895388"/>
                        <a:gd name="connsiteY227" fmla="*/ 1457325 h 1512093"/>
                        <a:gd name="connsiteX228" fmla="*/ 573882 w 895388"/>
                        <a:gd name="connsiteY228" fmla="*/ 1459706 h 1512093"/>
                        <a:gd name="connsiteX229" fmla="*/ 566738 w 895388"/>
                        <a:gd name="connsiteY229" fmla="*/ 1466850 h 1512093"/>
                        <a:gd name="connsiteX230" fmla="*/ 547688 w 895388"/>
                        <a:gd name="connsiteY230" fmla="*/ 1450181 h 1512093"/>
                        <a:gd name="connsiteX231" fmla="*/ 533400 w 895388"/>
                        <a:gd name="connsiteY231" fmla="*/ 1445418 h 1512093"/>
                        <a:gd name="connsiteX232" fmla="*/ 509588 w 895388"/>
                        <a:gd name="connsiteY232" fmla="*/ 1447800 h 1512093"/>
                        <a:gd name="connsiteX233" fmla="*/ 495300 w 895388"/>
                        <a:gd name="connsiteY233" fmla="*/ 1452562 h 1512093"/>
                        <a:gd name="connsiteX234" fmla="*/ 483394 w 895388"/>
                        <a:gd name="connsiteY234" fmla="*/ 1462087 h 1512093"/>
                        <a:gd name="connsiteX235" fmla="*/ 473869 w 895388"/>
                        <a:gd name="connsiteY235" fmla="*/ 1452562 h 1512093"/>
                        <a:gd name="connsiteX236" fmla="*/ 469107 w 895388"/>
                        <a:gd name="connsiteY236" fmla="*/ 1445418 h 1512093"/>
                        <a:gd name="connsiteX237" fmla="*/ 454819 w 895388"/>
                        <a:gd name="connsiteY237" fmla="*/ 1447800 h 1512093"/>
                        <a:gd name="connsiteX238" fmla="*/ 440532 w 895388"/>
                        <a:gd name="connsiteY238" fmla="*/ 1457325 h 1512093"/>
                        <a:gd name="connsiteX239" fmla="*/ 435769 w 895388"/>
                        <a:gd name="connsiteY239" fmla="*/ 1466850 h 1512093"/>
                        <a:gd name="connsiteX240" fmla="*/ 428625 w 895388"/>
                        <a:gd name="connsiteY240" fmla="*/ 1469231 h 1512093"/>
                        <a:gd name="connsiteX241" fmla="*/ 411957 w 895388"/>
                        <a:gd name="connsiteY241" fmla="*/ 1471612 h 1512093"/>
                        <a:gd name="connsiteX242" fmla="*/ 414338 w 895388"/>
                        <a:gd name="connsiteY242" fmla="*/ 1464468 h 1512093"/>
                        <a:gd name="connsiteX243" fmla="*/ 421482 w 895388"/>
                        <a:gd name="connsiteY243" fmla="*/ 1459706 h 1512093"/>
                        <a:gd name="connsiteX244" fmla="*/ 404813 w 895388"/>
                        <a:gd name="connsiteY244" fmla="*/ 1462087 h 1512093"/>
                        <a:gd name="connsiteX245" fmla="*/ 385763 w 895388"/>
                        <a:gd name="connsiteY245" fmla="*/ 1464468 h 1512093"/>
                        <a:gd name="connsiteX246" fmla="*/ 383382 w 895388"/>
                        <a:gd name="connsiteY246" fmla="*/ 1471612 h 1512093"/>
                        <a:gd name="connsiteX247" fmla="*/ 378619 w 895388"/>
                        <a:gd name="connsiteY247" fmla="*/ 1464468 h 1512093"/>
                        <a:gd name="connsiteX248" fmla="*/ 371475 w 895388"/>
                        <a:gd name="connsiteY248" fmla="*/ 1457325 h 1512093"/>
                        <a:gd name="connsiteX249" fmla="*/ 366713 w 895388"/>
                        <a:gd name="connsiteY249" fmla="*/ 1450181 h 1512093"/>
                        <a:gd name="connsiteX250" fmla="*/ 352425 w 895388"/>
                        <a:gd name="connsiteY250" fmla="*/ 1443037 h 1512093"/>
                        <a:gd name="connsiteX251" fmla="*/ 345282 w 895388"/>
                        <a:gd name="connsiteY251" fmla="*/ 1438275 h 1512093"/>
                        <a:gd name="connsiteX252" fmla="*/ 328613 w 895388"/>
                        <a:gd name="connsiteY252" fmla="*/ 1435893 h 1512093"/>
                        <a:gd name="connsiteX253" fmla="*/ 321469 w 895388"/>
                        <a:gd name="connsiteY253" fmla="*/ 1433512 h 1512093"/>
                        <a:gd name="connsiteX254" fmla="*/ 271463 w 895388"/>
                        <a:gd name="connsiteY254" fmla="*/ 1440656 h 1512093"/>
                        <a:gd name="connsiteX255" fmla="*/ 264319 w 895388"/>
                        <a:gd name="connsiteY255" fmla="*/ 1445418 h 1512093"/>
                        <a:gd name="connsiteX256" fmla="*/ 257175 w 895388"/>
                        <a:gd name="connsiteY256" fmla="*/ 1459706 h 1512093"/>
                        <a:gd name="connsiteX257" fmla="*/ 252413 w 895388"/>
                        <a:gd name="connsiteY257" fmla="*/ 1466850 h 1512093"/>
                        <a:gd name="connsiteX258" fmla="*/ 250032 w 895388"/>
                        <a:gd name="connsiteY258" fmla="*/ 1473993 h 1512093"/>
                        <a:gd name="connsiteX259" fmla="*/ 242888 w 895388"/>
                        <a:gd name="connsiteY259" fmla="*/ 1476375 h 1512093"/>
                        <a:gd name="connsiteX260" fmla="*/ 240507 w 895388"/>
                        <a:gd name="connsiteY260" fmla="*/ 1485900 h 1512093"/>
                        <a:gd name="connsiteX261" fmla="*/ 228600 w 895388"/>
                        <a:gd name="connsiteY261" fmla="*/ 1504950 h 1512093"/>
                        <a:gd name="connsiteX262" fmla="*/ 221457 w 895388"/>
                        <a:gd name="connsiteY262" fmla="*/ 1507331 h 1512093"/>
                        <a:gd name="connsiteX263" fmla="*/ 209550 w 895388"/>
                        <a:gd name="connsiteY263" fmla="*/ 1504950 h 1512093"/>
                        <a:gd name="connsiteX264" fmla="*/ 204788 w 895388"/>
                        <a:gd name="connsiteY264" fmla="*/ 1497806 h 1512093"/>
                        <a:gd name="connsiteX265" fmla="*/ 197644 w 895388"/>
                        <a:gd name="connsiteY265" fmla="*/ 1490662 h 1512093"/>
                        <a:gd name="connsiteX266" fmla="*/ 188119 w 895388"/>
                        <a:gd name="connsiteY266" fmla="*/ 1488281 h 1512093"/>
                        <a:gd name="connsiteX267" fmla="*/ 185738 w 895388"/>
                        <a:gd name="connsiteY267" fmla="*/ 1478756 h 1512093"/>
                        <a:gd name="connsiteX268" fmla="*/ 183357 w 895388"/>
                        <a:gd name="connsiteY268" fmla="*/ 1471612 h 1512093"/>
                        <a:gd name="connsiteX269" fmla="*/ 161925 w 895388"/>
                        <a:gd name="connsiteY269" fmla="*/ 1464468 h 1512093"/>
                        <a:gd name="connsiteX270" fmla="*/ 154782 w 895388"/>
                        <a:gd name="connsiteY270" fmla="*/ 1462087 h 1512093"/>
                        <a:gd name="connsiteX271" fmla="*/ 140494 w 895388"/>
                        <a:gd name="connsiteY271" fmla="*/ 1464468 h 1512093"/>
                        <a:gd name="connsiteX272" fmla="*/ 133350 w 895388"/>
                        <a:gd name="connsiteY272" fmla="*/ 1469231 h 1512093"/>
                        <a:gd name="connsiteX273" fmla="*/ 126207 w 895388"/>
                        <a:gd name="connsiteY273" fmla="*/ 1464468 h 1512093"/>
                        <a:gd name="connsiteX274" fmla="*/ 116682 w 895388"/>
                        <a:gd name="connsiteY274" fmla="*/ 1457325 h 1512093"/>
                        <a:gd name="connsiteX275" fmla="*/ 90488 w 895388"/>
                        <a:gd name="connsiteY275" fmla="*/ 1469231 h 1512093"/>
                        <a:gd name="connsiteX276" fmla="*/ 83344 w 895388"/>
                        <a:gd name="connsiteY276" fmla="*/ 1473993 h 1512093"/>
                        <a:gd name="connsiteX277" fmla="*/ 80963 w 895388"/>
                        <a:gd name="connsiteY277" fmla="*/ 1481137 h 1512093"/>
                        <a:gd name="connsiteX278" fmla="*/ 73819 w 895388"/>
                        <a:gd name="connsiteY278" fmla="*/ 1485900 h 1512093"/>
                        <a:gd name="connsiteX279" fmla="*/ 59532 w 895388"/>
                        <a:gd name="connsiteY279" fmla="*/ 1495425 h 1512093"/>
                        <a:gd name="connsiteX280" fmla="*/ 52388 w 895388"/>
                        <a:gd name="connsiteY280" fmla="*/ 1502568 h 1512093"/>
                        <a:gd name="connsiteX281" fmla="*/ 38100 w 895388"/>
                        <a:gd name="connsiteY281" fmla="*/ 1512093 h 1512093"/>
                        <a:gd name="connsiteX282" fmla="*/ 30957 w 895388"/>
                        <a:gd name="connsiteY282" fmla="*/ 1504950 h 1512093"/>
                        <a:gd name="connsiteX283" fmla="*/ 33338 w 895388"/>
                        <a:gd name="connsiteY283" fmla="*/ 1488281 h 1512093"/>
                        <a:gd name="connsiteX284" fmla="*/ 30957 w 895388"/>
                        <a:gd name="connsiteY284" fmla="*/ 1476375 h 1512093"/>
                        <a:gd name="connsiteX285" fmla="*/ 21432 w 895388"/>
                        <a:gd name="connsiteY285" fmla="*/ 1478756 h 1512093"/>
                        <a:gd name="connsiteX286" fmla="*/ 16669 w 895388"/>
                        <a:gd name="connsiteY286" fmla="*/ 1485900 h 1512093"/>
                        <a:gd name="connsiteX287" fmla="*/ 0 w 895388"/>
                        <a:gd name="connsiteY287" fmla="*/ 1483518 h 1512093"/>
                        <a:gd name="connsiteX288" fmla="*/ 2382 w 895388"/>
                        <a:gd name="connsiteY288" fmla="*/ 1476375 h 1512093"/>
                        <a:gd name="connsiteX289" fmla="*/ 28575 w 895388"/>
                        <a:gd name="connsiteY289" fmla="*/ 1476375 h 1512093"/>
                        <a:gd name="connsiteX290" fmla="*/ 35719 w 895388"/>
                        <a:gd name="connsiteY290" fmla="*/ 1478756 h 1512093"/>
                        <a:gd name="connsiteX291" fmla="*/ 45244 w 895388"/>
                        <a:gd name="connsiteY291" fmla="*/ 1464468 h 1512093"/>
                        <a:gd name="connsiteX292" fmla="*/ 52388 w 895388"/>
                        <a:gd name="connsiteY292" fmla="*/ 1459706 h 1512093"/>
                        <a:gd name="connsiteX293" fmla="*/ 69057 w 895388"/>
                        <a:gd name="connsiteY293" fmla="*/ 1454943 h 1512093"/>
                        <a:gd name="connsiteX294" fmla="*/ 76200 w 895388"/>
                        <a:gd name="connsiteY294" fmla="*/ 1452562 h 1512093"/>
                        <a:gd name="connsiteX295" fmla="*/ 85725 w 895388"/>
                        <a:gd name="connsiteY295" fmla="*/ 1433512 h 1512093"/>
                        <a:gd name="connsiteX296" fmla="*/ 90488 w 895388"/>
                        <a:gd name="connsiteY296" fmla="*/ 1423987 h 1512093"/>
                        <a:gd name="connsiteX297" fmla="*/ 97632 w 895388"/>
                        <a:gd name="connsiteY297" fmla="*/ 1421606 h 1512093"/>
                        <a:gd name="connsiteX298" fmla="*/ 109538 w 895388"/>
                        <a:gd name="connsiteY298" fmla="*/ 1419225 h 1512093"/>
                        <a:gd name="connsiteX299" fmla="*/ 126207 w 895388"/>
                        <a:gd name="connsiteY299" fmla="*/ 1412081 h 1512093"/>
                        <a:gd name="connsiteX300" fmla="*/ 135732 w 895388"/>
                        <a:gd name="connsiteY300" fmla="*/ 1409700 h 1512093"/>
                        <a:gd name="connsiteX301" fmla="*/ 142875 w 895388"/>
                        <a:gd name="connsiteY301" fmla="*/ 1407318 h 1512093"/>
                        <a:gd name="connsiteX302" fmla="*/ 147638 w 895388"/>
                        <a:gd name="connsiteY302" fmla="*/ 1400175 h 1512093"/>
                        <a:gd name="connsiteX303" fmla="*/ 152400 w 895388"/>
                        <a:gd name="connsiteY303" fmla="*/ 1383506 h 1512093"/>
                        <a:gd name="connsiteX304" fmla="*/ 154782 w 895388"/>
                        <a:gd name="connsiteY304" fmla="*/ 1362075 h 1512093"/>
                        <a:gd name="connsiteX305" fmla="*/ 157163 w 895388"/>
                        <a:gd name="connsiteY305" fmla="*/ 1354931 h 1512093"/>
                        <a:gd name="connsiteX306" fmla="*/ 159544 w 895388"/>
                        <a:gd name="connsiteY306" fmla="*/ 1345406 h 1512093"/>
                        <a:gd name="connsiteX307" fmla="*/ 166688 w 895388"/>
                        <a:gd name="connsiteY307" fmla="*/ 1347787 h 1512093"/>
                        <a:gd name="connsiteX308" fmla="*/ 173832 w 895388"/>
                        <a:gd name="connsiteY308" fmla="*/ 1352550 h 1512093"/>
                        <a:gd name="connsiteX309" fmla="*/ 190500 w 895388"/>
                        <a:gd name="connsiteY309" fmla="*/ 1350168 h 1512093"/>
                        <a:gd name="connsiteX310" fmla="*/ 195263 w 895388"/>
                        <a:gd name="connsiteY310" fmla="*/ 1335881 h 1512093"/>
                        <a:gd name="connsiteX311" fmla="*/ 197644 w 895388"/>
                        <a:gd name="connsiteY311" fmla="*/ 1326356 h 1512093"/>
                        <a:gd name="connsiteX312" fmla="*/ 204788 w 895388"/>
                        <a:gd name="connsiteY312" fmla="*/ 1321593 h 1512093"/>
                        <a:gd name="connsiteX313" fmla="*/ 219075 w 895388"/>
                        <a:gd name="connsiteY313" fmla="*/ 1326356 h 1512093"/>
                        <a:gd name="connsiteX314" fmla="*/ 276225 w 895388"/>
                        <a:gd name="connsiteY314" fmla="*/ 1331118 h 1512093"/>
                        <a:gd name="connsiteX315" fmla="*/ 290513 w 895388"/>
                        <a:gd name="connsiteY315" fmla="*/ 1343025 h 1512093"/>
                        <a:gd name="connsiteX316" fmla="*/ 297657 w 895388"/>
                        <a:gd name="connsiteY316" fmla="*/ 1345406 h 1512093"/>
                        <a:gd name="connsiteX317" fmla="*/ 328613 w 895388"/>
                        <a:gd name="connsiteY317" fmla="*/ 1343025 h 1512093"/>
                        <a:gd name="connsiteX318" fmla="*/ 342900 w 895388"/>
                        <a:gd name="connsiteY318" fmla="*/ 1333500 h 1512093"/>
                        <a:gd name="connsiteX319" fmla="*/ 345282 w 895388"/>
                        <a:gd name="connsiteY319" fmla="*/ 1316831 h 1512093"/>
                        <a:gd name="connsiteX320" fmla="*/ 347663 w 895388"/>
                        <a:gd name="connsiteY320" fmla="*/ 1323975 h 1512093"/>
                        <a:gd name="connsiteX321" fmla="*/ 357188 w 895388"/>
                        <a:gd name="connsiteY321" fmla="*/ 1321593 h 1512093"/>
                        <a:gd name="connsiteX322" fmla="*/ 359569 w 895388"/>
                        <a:gd name="connsiteY322" fmla="*/ 1307306 h 1512093"/>
                        <a:gd name="connsiteX323" fmla="*/ 373857 w 895388"/>
                        <a:gd name="connsiteY323" fmla="*/ 1297781 h 1512093"/>
                        <a:gd name="connsiteX324" fmla="*/ 395288 w 895388"/>
                        <a:gd name="connsiteY324" fmla="*/ 1283493 h 1512093"/>
                        <a:gd name="connsiteX325" fmla="*/ 409575 w 895388"/>
                        <a:gd name="connsiteY325" fmla="*/ 1273968 h 1512093"/>
                        <a:gd name="connsiteX326" fmla="*/ 416719 w 895388"/>
                        <a:gd name="connsiteY326" fmla="*/ 1269206 h 1512093"/>
                        <a:gd name="connsiteX327" fmla="*/ 419100 w 895388"/>
                        <a:gd name="connsiteY327" fmla="*/ 1262062 h 1512093"/>
                        <a:gd name="connsiteX328" fmla="*/ 404813 w 895388"/>
                        <a:gd name="connsiteY328" fmla="*/ 1264443 h 1512093"/>
                        <a:gd name="connsiteX329" fmla="*/ 400050 w 895388"/>
                        <a:gd name="connsiteY329" fmla="*/ 1271587 h 1512093"/>
                        <a:gd name="connsiteX330" fmla="*/ 395288 w 895388"/>
                        <a:gd name="connsiteY330" fmla="*/ 1281112 h 1512093"/>
                        <a:gd name="connsiteX331" fmla="*/ 388144 w 895388"/>
                        <a:gd name="connsiteY331" fmla="*/ 1283493 h 1512093"/>
                        <a:gd name="connsiteX332" fmla="*/ 357188 w 895388"/>
                        <a:gd name="connsiteY332" fmla="*/ 1290637 h 1512093"/>
                        <a:gd name="connsiteX333" fmla="*/ 345282 w 895388"/>
                        <a:gd name="connsiteY333" fmla="*/ 1281112 h 1512093"/>
                        <a:gd name="connsiteX334" fmla="*/ 338138 w 895388"/>
                        <a:gd name="connsiteY334" fmla="*/ 1288256 h 1512093"/>
                        <a:gd name="connsiteX335" fmla="*/ 330994 w 895388"/>
                        <a:gd name="connsiteY335" fmla="*/ 1293018 h 1512093"/>
                        <a:gd name="connsiteX336" fmla="*/ 304800 w 895388"/>
                        <a:gd name="connsiteY336" fmla="*/ 1300162 h 1512093"/>
                        <a:gd name="connsiteX337" fmla="*/ 297657 w 895388"/>
                        <a:gd name="connsiteY337" fmla="*/ 1302543 h 1512093"/>
                        <a:gd name="connsiteX338" fmla="*/ 280988 w 895388"/>
                        <a:gd name="connsiteY338" fmla="*/ 1300162 h 1512093"/>
                        <a:gd name="connsiteX339" fmla="*/ 271463 w 895388"/>
                        <a:gd name="connsiteY339" fmla="*/ 1288256 h 1512093"/>
                        <a:gd name="connsiteX340" fmla="*/ 266700 w 895388"/>
                        <a:gd name="connsiteY340" fmla="*/ 1281112 h 1512093"/>
                        <a:gd name="connsiteX341" fmla="*/ 259557 w 895388"/>
                        <a:gd name="connsiteY341" fmla="*/ 1262062 h 1512093"/>
                        <a:gd name="connsiteX342" fmla="*/ 250032 w 895388"/>
                        <a:gd name="connsiteY342" fmla="*/ 1259681 h 1512093"/>
                        <a:gd name="connsiteX343" fmla="*/ 242888 w 895388"/>
                        <a:gd name="connsiteY343" fmla="*/ 1254918 h 1512093"/>
                        <a:gd name="connsiteX344" fmla="*/ 228600 w 895388"/>
                        <a:gd name="connsiteY344" fmla="*/ 1250156 h 1512093"/>
                        <a:gd name="connsiteX345" fmla="*/ 216694 w 895388"/>
                        <a:gd name="connsiteY345" fmla="*/ 1262062 h 1512093"/>
                        <a:gd name="connsiteX346" fmla="*/ 211932 w 895388"/>
                        <a:gd name="connsiteY346" fmla="*/ 1254918 h 1512093"/>
                        <a:gd name="connsiteX347" fmla="*/ 207169 w 895388"/>
                        <a:gd name="connsiteY347" fmla="*/ 1228725 h 1512093"/>
                        <a:gd name="connsiteX348" fmla="*/ 200025 w 895388"/>
                        <a:gd name="connsiteY348" fmla="*/ 1221581 h 1512093"/>
                        <a:gd name="connsiteX349" fmla="*/ 192882 w 895388"/>
                        <a:gd name="connsiteY349" fmla="*/ 1219200 h 1512093"/>
                        <a:gd name="connsiteX350" fmla="*/ 183357 w 895388"/>
                        <a:gd name="connsiteY350" fmla="*/ 1221581 h 1512093"/>
                        <a:gd name="connsiteX351" fmla="*/ 171450 w 895388"/>
                        <a:gd name="connsiteY351" fmla="*/ 1223962 h 1512093"/>
                        <a:gd name="connsiteX352" fmla="*/ 164307 w 895388"/>
                        <a:gd name="connsiteY352" fmla="*/ 1226343 h 1512093"/>
                        <a:gd name="connsiteX353" fmla="*/ 154782 w 895388"/>
                        <a:gd name="connsiteY353" fmla="*/ 1223962 h 1512093"/>
                        <a:gd name="connsiteX354" fmla="*/ 147638 w 895388"/>
                        <a:gd name="connsiteY354" fmla="*/ 1219200 h 1512093"/>
                        <a:gd name="connsiteX355" fmla="*/ 145257 w 895388"/>
                        <a:gd name="connsiteY355" fmla="*/ 1226343 h 1512093"/>
                        <a:gd name="connsiteX356" fmla="*/ 140494 w 895388"/>
                        <a:gd name="connsiteY356" fmla="*/ 1233487 h 1512093"/>
                        <a:gd name="connsiteX357" fmla="*/ 126207 w 895388"/>
                        <a:gd name="connsiteY357" fmla="*/ 1219200 h 1512093"/>
                        <a:gd name="connsiteX358" fmla="*/ 119063 w 895388"/>
                        <a:gd name="connsiteY358" fmla="*/ 1214437 h 1512093"/>
                        <a:gd name="connsiteX359" fmla="*/ 104775 w 895388"/>
                        <a:gd name="connsiteY359" fmla="*/ 1209675 h 1512093"/>
                        <a:gd name="connsiteX360" fmla="*/ 116682 w 895388"/>
                        <a:gd name="connsiteY360" fmla="*/ 1197768 h 1512093"/>
                        <a:gd name="connsiteX361" fmla="*/ 114300 w 895388"/>
                        <a:gd name="connsiteY361" fmla="*/ 1183481 h 1512093"/>
                        <a:gd name="connsiteX362" fmla="*/ 130969 w 895388"/>
                        <a:gd name="connsiteY362" fmla="*/ 1173956 h 1512093"/>
                        <a:gd name="connsiteX363" fmla="*/ 145257 w 895388"/>
                        <a:gd name="connsiteY363" fmla="*/ 1169193 h 1512093"/>
                        <a:gd name="connsiteX364" fmla="*/ 164307 w 895388"/>
                        <a:gd name="connsiteY364" fmla="*/ 1166812 h 1512093"/>
                        <a:gd name="connsiteX365" fmla="*/ 176213 w 895388"/>
                        <a:gd name="connsiteY365" fmla="*/ 1154906 h 1512093"/>
                        <a:gd name="connsiteX366" fmla="*/ 200025 w 895388"/>
                        <a:gd name="connsiteY366" fmla="*/ 1152525 h 1512093"/>
                        <a:gd name="connsiteX367" fmla="*/ 216694 w 895388"/>
                        <a:gd name="connsiteY367" fmla="*/ 1150143 h 1512093"/>
                        <a:gd name="connsiteX368" fmla="*/ 223838 w 895388"/>
                        <a:gd name="connsiteY368" fmla="*/ 1145381 h 1512093"/>
                        <a:gd name="connsiteX369" fmla="*/ 230982 w 895388"/>
                        <a:gd name="connsiteY369" fmla="*/ 1143000 h 1512093"/>
                        <a:gd name="connsiteX370" fmla="*/ 242888 w 895388"/>
                        <a:gd name="connsiteY370" fmla="*/ 1133475 h 1512093"/>
                        <a:gd name="connsiteX371" fmla="*/ 245269 w 895388"/>
                        <a:gd name="connsiteY371" fmla="*/ 1114425 h 1512093"/>
                        <a:gd name="connsiteX372" fmla="*/ 257175 w 895388"/>
                        <a:gd name="connsiteY372" fmla="*/ 1100137 h 1512093"/>
                        <a:gd name="connsiteX373" fmla="*/ 269082 w 895388"/>
                        <a:gd name="connsiteY373" fmla="*/ 1078706 h 1512093"/>
                        <a:gd name="connsiteX374" fmla="*/ 264319 w 895388"/>
                        <a:gd name="connsiteY374" fmla="*/ 1064418 h 1512093"/>
                        <a:gd name="connsiteX375" fmla="*/ 261938 w 895388"/>
                        <a:gd name="connsiteY375" fmla="*/ 1057275 h 1512093"/>
                        <a:gd name="connsiteX376" fmla="*/ 264319 w 895388"/>
                        <a:gd name="connsiteY376" fmla="*/ 1045368 h 1512093"/>
                        <a:gd name="connsiteX377" fmla="*/ 271463 w 895388"/>
                        <a:gd name="connsiteY377" fmla="*/ 1042987 h 1512093"/>
                        <a:gd name="connsiteX378" fmla="*/ 278607 w 895388"/>
                        <a:gd name="connsiteY378" fmla="*/ 1038225 h 1512093"/>
                        <a:gd name="connsiteX379" fmla="*/ 280988 w 895388"/>
                        <a:gd name="connsiteY379" fmla="*/ 1031081 h 1512093"/>
                        <a:gd name="connsiteX380" fmla="*/ 266700 w 895388"/>
                        <a:gd name="connsiteY380" fmla="*/ 1026318 h 1512093"/>
                        <a:gd name="connsiteX381" fmla="*/ 259557 w 895388"/>
                        <a:gd name="connsiteY381" fmla="*/ 1019175 h 1512093"/>
                        <a:gd name="connsiteX382" fmla="*/ 245269 w 895388"/>
                        <a:gd name="connsiteY382" fmla="*/ 1023937 h 1512093"/>
                        <a:gd name="connsiteX383" fmla="*/ 223838 w 895388"/>
                        <a:gd name="connsiteY383" fmla="*/ 1026318 h 1512093"/>
                        <a:gd name="connsiteX384" fmla="*/ 216694 w 895388"/>
                        <a:gd name="connsiteY384" fmla="*/ 1028700 h 1512093"/>
                        <a:gd name="connsiteX385" fmla="*/ 209550 w 895388"/>
                        <a:gd name="connsiteY385" fmla="*/ 1033462 h 1512093"/>
                        <a:gd name="connsiteX386" fmla="*/ 202407 w 895388"/>
                        <a:gd name="connsiteY386" fmla="*/ 1028700 h 1512093"/>
                        <a:gd name="connsiteX387" fmla="*/ 209550 w 895388"/>
                        <a:gd name="connsiteY387" fmla="*/ 1021556 h 1512093"/>
                        <a:gd name="connsiteX388" fmla="*/ 214313 w 895388"/>
                        <a:gd name="connsiteY388" fmla="*/ 1014412 h 1512093"/>
                        <a:gd name="connsiteX389" fmla="*/ 233363 w 895388"/>
                        <a:gd name="connsiteY389" fmla="*/ 1012031 h 1512093"/>
                        <a:gd name="connsiteX390" fmla="*/ 242888 w 895388"/>
                        <a:gd name="connsiteY390" fmla="*/ 995362 h 1512093"/>
                        <a:gd name="connsiteX391" fmla="*/ 264319 w 895388"/>
                        <a:gd name="connsiteY391" fmla="*/ 976312 h 1512093"/>
                        <a:gd name="connsiteX392" fmla="*/ 269082 w 895388"/>
                        <a:gd name="connsiteY392" fmla="*/ 969168 h 1512093"/>
                        <a:gd name="connsiteX393" fmla="*/ 242888 w 895388"/>
                        <a:gd name="connsiteY393" fmla="*/ 966787 h 1512093"/>
                        <a:gd name="connsiteX394" fmla="*/ 235744 w 895388"/>
                        <a:gd name="connsiteY394" fmla="*/ 964406 h 1512093"/>
                        <a:gd name="connsiteX395" fmla="*/ 235744 w 895388"/>
                        <a:gd name="connsiteY395" fmla="*/ 935831 h 1512093"/>
                        <a:gd name="connsiteX396" fmla="*/ 245269 w 895388"/>
                        <a:gd name="connsiteY396" fmla="*/ 921543 h 1512093"/>
                        <a:gd name="connsiteX397" fmla="*/ 271463 w 895388"/>
                        <a:gd name="connsiteY397" fmla="*/ 923925 h 1512093"/>
                        <a:gd name="connsiteX398" fmla="*/ 276225 w 895388"/>
                        <a:gd name="connsiteY398" fmla="*/ 931068 h 1512093"/>
                        <a:gd name="connsiteX399" fmla="*/ 283369 w 895388"/>
                        <a:gd name="connsiteY399" fmla="*/ 945356 h 1512093"/>
                        <a:gd name="connsiteX400" fmla="*/ 280988 w 895388"/>
                        <a:gd name="connsiteY400" fmla="*/ 962025 h 1512093"/>
                        <a:gd name="connsiteX401" fmla="*/ 266700 w 895388"/>
                        <a:gd name="connsiteY401" fmla="*/ 971550 h 1512093"/>
                        <a:gd name="connsiteX402" fmla="*/ 273844 w 895388"/>
                        <a:gd name="connsiteY402" fmla="*/ 973931 h 1512093"/>
                        <a:gd name="connsiteX403" fmla="*/ 288132 w 895388"/>
                        <a:gd name="connsiteY403" fmla="*/ 969168 h 1512093"/>
                        <a:gd name="connsiteX404" fmla="*/ 292894 w 895388"/>
                        <a:gd name="connsiteY404" fmla="*/ 962025 h 1512093"/>
                        <a:gd name="connsiteX405" fmla="*/ 319088 w 895388"/>
                        <a:gd name="connsiteY405" fmla="*/ 959643 h 1512093"/>
                        <a:gd name="connsiteX406" fmla="*/ 323850 w 895388"/>
                        <a:gd name="connsiteY406" fmla="*/ 966787 h 1512093"/>
                        <a:gd name="connsiteX407" fmla="*/ 350044 w 895388"/>
                        <a:gd name="connsiteY407" fmla="*/ 966787 h 1512093"/>
                        <a:gd name="connsiteX408" fmla="*/ 364332 w 895388"/>
                        <a:gd name="connsiteY408" fmla="*/ 957262 h 1512093"/>
                        <a:gd name="connsiteX409" fmla="*/ 381000 w 895388"/>
                        <a:gd name="connsiteY409" fmla="*/ 973931 h 1512093"/>
                        <a:gd name="connsiteX410" fmla="*/ 390525 w 895388"/>
                        <a:gd name="connsiteY410" fmla="*/ 971550 h 1512093"/>
                        <a:gd name="connsiteX411" fmla="*/ 397669 w 895388"/>
                        <a:gd name="connsiteY411" fmla="*/ 969168 h 1512093"/>
                        <a:gd name="connsiteX412" fmla="*/ 404813 w 895388"/>
                        <a:gd name="connsiteY412" fmla="*/ 971550 h 1512093"/>
                        <a:gd name="connsiteX413" fmla="*/ 414338 w 895388"/>
                        <a:gd name="connsiteY413" fmla="*/ 973931 h 1512093"/>
                        <a:gd name="connsiteX414" fmla="*/ 435769 w 895388"/>
                        <a:gd name="connsiteY414" fmla="*/ 971550 h 1512093"/>
                        <a:gd name="connsiteX415" fmla="*/ 428625 w 895388"/>
                        <a:gd name="connsiteY415" fmla="*/ 966787 h 1512093"/>
                        <a:gd name="connsiteX416" fmla="*/ 421482 w 895388"/>
                        <a:gd name="connsiteY416" fmla="*/ 969168 h 1512093"/>
                        <a:gd name="connsiteX417" fmla="*/ 411957 w 895388"/>
                        <a:gd name="connsiteY417" fmla="*/ 971550 h 1512093"/>
                        <a:gd name="connsiteX418" fmla="*/ 385763 w 895388"/>
                        <a:gd name="connsiteY418" fmla="*/ 962025 h 1512093"/>
                        <a:gd name="connsiteX419" fmla="*/ 390525 w 895388"/>
                        <a:gd name="connsiteY419" fmla="*/ 954881 h 1512093"/>
                        <a:gd name="connsiteX420" fmla="*/ 404813 w 895388"/>
                        <a:gd name="connsiteY420" fmla="*/ 950118 h 1512093"/>
                        <a:gd name="connsiteX421" fmla="*/ 402432 w 895388"/>
                        <a:gd name="connsiteY421" fmla="*/ 933450 h 1512093"/>
                        <a:gd name="connsiteX422" fmla="*/ 407194 w 895388"/>
                        <a:gd name="connsiteY422" fmla="*/ 912018 h 1512093"/>
                        <a:gd name="connsiteX423" fmla="*/ 411957 w 895388"/>
                        <a:gd name="connsiteY423" fmla="*/ 904875 h 1512093"/>
                        <a:gd name="connsiteX424" fmla="*/ 426244 w 895388"/>
                        <a:gd name="connsiteY424" fmla="*/ 895350 h 1512093"/>
                        <a:gd name="connsiteX425" fmla="*/ 423863 w 895388"/>
                        <a:gd name="connsiteY425" fmla="*/ 888206 h 1512093"/>
                        <a:gd name="connsiteX426" fmla="*/ 419100 w 895388"/>
                        <a:gd name="connsiteY426" fmla="*/ 881062 h 1512093"/>
                        <a:gd name="connsiteX427" fmla="*/ 431007 w 895388"/>
                        <a:gd name="connsiteY427" fmla="*/ 862012 h 1512093"/>
                        <a:gd name="connsiteX428" fmla="*/ 435769 w 895388"/>
                        <a:gd name="connsiteY428" fmla="*/ 854868 h 1512093"/>
                        <a:gd name="connsiteX429" fmla="*/ 447675 w 895388"/>
                        <a:gd name="connsiteY429" fmla="*/ 842962 h 1512093"/>
                        <a:gd name="connsiteX430" fmla="*/ 447675 w 895388"/>
                        <a:gd name="connsiteY430" fmla="*/ 809625 h 1512093"/>
                        <a:gd name="connsiteX431" fmla="*/ 442913 w 895388"/>
                        <a:gd name="connsiteY431" fmla="*/ 816768 h 1512093"/>
                        <a:gd name="connsiteX432" fmla="*/ 409575 w 895388"/>
                        <a:gd name="connsiteY432" fmla="*/ 819150 h 1512093"/>
                        <a:gd name="connsiteX433" fmla="*/ 407194 w 895388"/>
                        <a:gd name="connsiteY433" fmla="*/ 826293 h 1512093"/>
                        <a:gd name="connsiteX434" fmla="*/ 400050 w 895388"/>
                        <a:gd name="connsiteY434" fmla="*/ 821531 h 1512093"/>
                        <a:gd name="connsiteX435" fmla="*/ 397669 w 895388"/>
                        <a:gd name="connsiteY435" fmla="*/ 814387 h 1512093"/>
                        <a:gd name="connsiteX436" fmla="*/ 390525 w 895388"/>
                        <a:gd name="connsiteY436" fmla="*/ 800100 h 1512093"/>
                        <a:gd name="connsiteX437" fmla="*/ 388144 w 895388"/>
                        <a:gd name="connsiteY437" fmla="*/ 764381 h 1512093"/>
                        <a:gd name="connsiteX438" fmla="*/ 381000 w 895388"/>
                        <a:gd name="connsiteY438" fmla="*/ 759618 h 1512093"/>
                        <a:gd name="connsiteX439" fmla="*/ 376238 w 895388"/>
                        <a:gd name="connsiteY439" fmla="*/ 752475 h 1512093"/>
                        <a:gd name="connsiteX440" fmla="*/ 378619 w 895388"/>
                        <a:gd name="connsiteY440" fmla="*/ 728662 h 1512093"/>
                        <a:gd name="connsiteX441" fmla="*/ 390525 w 895388"/>
                        <a:gd name="connsiteY441" fmla="*/ 716756 h 1512093"/>
                        <a:gd name="connsiteX442" fmla="*/ 404813 w 895388"/>
                        <a:gd name="connsiteY442" fmla="*/ 702468 h 1512093"/>
                        <a:gd name="connsiteX443" fmla="*/ 409575 w 895388"/>
                        <a:gd name="connsiteY443" fmla="*/ 695325 h 1512093"/>
                        <a:gd name="connsiteX444" fmla="*/ 416719 w 895388"/>
                        <a:gd name="connsiteY444" fmla="*/ 681037 h 1512093"/>
                        <a:gd name="connsiteX445" fmla="*/ 423863 w 895388"/>
                        <a:gd name="connsiteY445" fmla="*/ 678656 h 1512093"/>
                        <a:gd name="connsiteX446" fmla="*/ 461963 w 895388"/>
                        <a:gd name="connsiteY446" fmla="*/ 676275 h 1512093"/>
                        <a:gd name="connsiteX447" fmla="*/ 454819 w 895388"/>
                        <a:gd name="connsiteY447" fmla="*/ 671512 h 1512093"/>
                        <a:gd name="connsiteX448" fmla="*/ 440532 w 895388"/>
                        <a:gd name="connsiteY448" fmla="*/ 666750 h 1512093"/>
                        <a:gd name="connsiteX449" fmla="*/ 431007 w 895388"/>
                        <a:gd name="connsiteY449" fmla="*/ 669131 h 1512093"/>
                        <a:gd name="connsiteX450" fmla="*/ 411957 w 895388"/>
                        <a:gd name="connsiteY450" fmla="*/ 661987 h 1512093"/>
                        <a:gd name="connsiteX451" fmla="*/ 407194 w 895388"/>
                        <a:gd name="connsiteY451" fmla="*/ 654843 h 1512093"/>
                        <a:gd name="connsiteX452" fmla="*/ 392907 w 895388"/>
                        <a:gd name="connsiteY452" fmla="*/ 659606 h 1512093"/>
                        <a:gd name="connsiteX453" fmla="*/ 385763 w 895388"/>
                        <a:gd name="connsiteY453" fmla="*/ 673893 h 1512093"/>
                        <a:gd name="connsiteX454" fmla="*/ 371475 w 895388"/>
                        <a:gd name="connsiteY454" fmla="*/ 678656 h 1512093"/>
                        <a:gd name="connsiteX455" fmla="*/ 357188 w 895388"/>
                        <a:gd name="connsiteY455" fmla="*/ 695325 h 1512093"/>
                        <a:gd name="connsiteX456" fmla="*/ 342900 w 895388"/>
                        <a:gd name="connsiteY456" fmla="*/ 690562 h 1512093"/>
                        <a:gd name="connsiteX457" fmla="*/ 323850 w 895388"/>
                        <a:gd name="connsiteY457" fmla="*/ 673893 h 1512093"/>
                        <a:gd name="connsiteX458" fmla="*/ 316707 w 895388"/>
                        <a:gd name="connsiteY458" fmla="*/ 650081 h 1512093"/>
                        <a:gd name="connsiteX459" fmla="*/ 311944 w 895388"/>
                        <a:gd name="connsiteY459" fmla="*/ 657225 h 1512093"/>
                        <a:gd name="connsiteX460" fmla="*/ 309563 w 895388"/>
                        <a:gd name="connsiteY460" fmla="*/ 664368 h 1512093"/>
                        <a:gd name="connsiteX461" fmla="*/ 292894 w 895388"/>
                        <a:gd name="connsiteY461" fmla="*/ 671512 h 1512093"/>
                        <a:gd name="connsiteX462" fmla="*/ 285750 w 895388"/>
                        <a:gd name="connsiteY462" fmla="*/ 676275 h 1512093"/>
                        <a:gd name="connsiteX463" fmla="*/ 269082 w 895388"/>
                        <a:gd name="connsiteY463" fmla="*/ 666750 h 1512093"/>
                        <a:gd name="connsiteX464" fmla="*/ 266700 w 895388"/>
                        <a:gd name="connsiteY464" fmla="*/ 659606 h 1512093"/>
                        <a:gd name="connsiteX465" fmla="*/ 257175 w 895388"/>
                        <a:gd name="connsiteY465" fmla="*/ 657225 h 1512093"/>
                        <a:gd name="connsiteX466" fmla="*/ 254794 w 895388"/>
                        <a:gd name="connsiteY466" fmla="*/ 666750 h 1512093"/>
                        <a:gd name="connsiteX467" fmla="*/ 252413 w 895388"/>
                        <a:gd name="connsiteY467" fmla="*/ 681037 h 1512093"/>
                        <a:gd name="connsiteX468" fmla="*/ 254794 w 895388"/>
                        <a:gd name="connsiteY468" fmla="*/ 690562 h 1512093"/>
                        <a:gd name="connsiteX469" fmla="*/ 254794 w 895388"/>
                        <a:gd name="connsiteY469" fmla="*/ 695325 h 1512093"/>
                        <a:gd name="connsiteX470" fmla="*/ 245269 w 895388"/>
                        <a:gd name="connsiteY470" fmla="*/ 692943 h 1512093"/>
                        <a:gd name="connsiteX471" fmla="*/ 250032 w 895388"/>
                        <a:gd name="connsiteY471" fmla="*/ 676275 h 1512093"/>
                        <a:gd name="connsiteX472" fmla="*/ 233363 w 895388"/>
                        <a:gd name="connsiteY472" fmla="*/ 654843 h 1512093"/>
                        <a:gd name="connsiteX473" fmla="*/ 235744 w 895388"/>
                        <a:gd name="connsiteY473" fmla="*/ 633412 h 1512093"/>
                        <a:gd name="connsiteX474" fmla="*/ 259557 w 895388"/>
                        <a:gd name="connsiteY474" fmla="*/ 619125 h 1512093"/>
                        <a:gd name="connsiteX475" fmla="*/ 266700 w 895388"/>
                        <a:gd name="connsiteY475" fmla="*/ 614362 h 1512093"/>
                        <a:gd name="connsiteX476" fmla="*/ 276225 w 895388"/>
                        <a:gd name="connsiteY476" fmla="*/ 600075 h 1512093"/>
                        <a:gd name="connsiteX477" fmla="*/ 280988 w 895388"/>
                        <a:gd name="connsiteY477" fmla="*/ 590550 h 1512093"/>
                        <a:gd name="connsiteX478" fmla="*/ 295275 w 895388"/>
                        <a:gd name="connsiteY478" fmla="*/ 576262 h 1512093"/>
                        <a:gd name="connsiteX479" fmla="*/ 297657 w 895388"/>
                        <a:gd name="connsiteY479" fmla="*/ 569118 h 1512093"/>
                        <a:gd name="connsiteX480" fmla="*/ 316707 w 895388"/>
                        <a:gd name="connsiteY480" fmla="*/ 561975 h 1512093"/>
                        <a:gd name="connsiteX481" fmla="*/ 309563 w 895388"/>
                        <a:gd name="connsiteY481" fmla="*/ 531018 h 1512093"/>
                        <a:gd name="connsiteX482" fmla="*/ 302419 w 895388"/>
                        <a:gd name="connsiteY482" fmla="*/ 526256 h 1512093"/>
                        <a:gd name="connsiteX483" fmla="*/ 292894 w 895388"/>
                        <a:gd name="connsiteY483" fmla="*/ 511968 h 1512093"/>
                        <a:gd name="connsiteX484" fmla="*/ 288132 w 895388"/>
                        <a:gd name="connsiteY484" fmla="*/ 497681 h 1512093"/>
                        <a:gd name="connsiteX485" fmla="*/ 297657 w 895388"/>
                        <a:gd name="connsiteY485" fmla="*/ 481012 h 1512093"/>
                        <a:gd name="connsiteX486" fmla="*/ 311944 w 895388"/>
                        <a:gd name="connsiteY486" fmla="*/ 466725 h 1512093"/>
                        <a:gd name="connsiteX487" fmla="*/ 328613 w 895388"/>
                        <a:gd name="connsiteY487" fmla="*/ 469106 h 1512093"/>
                        <a:gd name="connsiteX488" fmla="*/ 335757 w 895388"/>
                        <a:gd name="connsiteY488" fmla="*/ 471487 h 1512093"/>
                        <a:gd name="connsiteX489" fmla="*/ 333375 w 895388"/>
                        <a:gd name="connsiteY489" fmla="*/ 476250 h 1512093"/>
                        <a:gd name="connsiteX490" fmla="*/ 326232 w 895388"/>
                        <a:gd name="connsiteY490" fmla="*/ 471487 h 1512093"/>
                        <a:gd name="connsiteX491" fmla="*/ 319088 w 895388"/>
                        <a:gd name="connsiteY491" fmla="*/ 469106 h 1512093"/>
                        <a:gd name="connsiteX492" fmla="*/ 314325 w 895388"/>
                        <a:gd name="connsiteY492" fmla="*/ 461962 h 1512093"/>
                        <a:gd name="connsiteX493" fmla="*/ 316707 w 895388"/>
                        <a:gd name="connsiteY493" fmla="*/ 445293 h 1512093"/>
                        <a:gd name="connsiteX494" fmla="*/ 307182 w 895388"/>
                        <a:gd name="connsiteY494" fmla="*/ 459581 h 1512093"/>
                        <a:gd name="connsiteX495" fmla="*/ 302419 w 895388"/>
                        <a:gd name="connsiteY495" fmla="*/ 466725 h 1512093"/>
                        <a:gd name="connsiteX496" fmla="*/ 288132 w 895388"/>
                        <a:gd name="connsiteY496" fmla="*/ 471487 h 1512093"/>
                        <a:gd name="connsiteX497" fmla="*/ 280988 w 895388"/>
                        <a:gd name="connsiteY497" fmla="*/ 466725 h 1512093"/>
                        <a:gd name="connsiteX498" fmla="*/ 266700 w 895388"/>
                        <a:gd name="connsiteY498" fmla="*/ 461962 h 1512093"/>
                        <a:gd name="connsiteX499" fmla="*/ 264319 w 895388"/>
                        <a:gd name="connsiteY499" fmla="*/ 454818 h 1512093"/>
                        <a:gd name="connsiteX500" fmla="*/ 266700 w 895388"/>
                        <a:gd name="connsiteY500" fmla="*/ 447675 h 1512093"/>
                        <a:gd name="connsiteX501" fmla="*/ 285750 w 895388"/>
                        <a:gd name="connsiteY501" fmla="*/ 426243 h 1512093"/>
                        <a:gd name="connsiteX502" fmla="*/ 300038 w 895388"/>
                        <a:gd name="connsiteY502" fmla="*/ 421481 h 1512093"/>
                        <a:gd name="connsiteX503" fmla="*/ 292894 w 895388"/>
                        <a:gd name="connsiteY503" fmla="*/ 423862 h 1512093"/>
                        <a:gd name="connsiteX504" fmla="*/ 285750 w 895388"/>
                        <a:gd name="connsiteY504" fmla="*/ 428625 h 1512093"/>
                        <a:gd name="connsiteX505" fmla="*/ 271463 w 895388"/>
                        <a:gd name="connsiteY505" fmla="*/ 433387 h 1512093"/>
                        <a:gd name="connsiteX506" fmla="*/ 257175 w 895388"/>
                        <a:gd name="connsiteY506" fmla="*/ 442912 h 1512093"/>
                        <a:gd name="connsiteX507" fmla="*/ 250032 w 895388"/>
                        <a:gd name="connsiteY507" fmla="*/ 447675 h 1512093"/>
                        <a:gd name="connsiteX508" fmla="*/ 245269 w 895388"/>
                        <a:gd name="connsiteY508" fmla="*/ 440531 h 1512093"/>
                        <a:gd name="connsiteX509" fmla="*/ 240507 w 895388"/>
                        <a:gd name="connsiteY509" fmla="*/ 426243 h 1512093"/>
                        <a:gd name="connsiteX510" fmla="*/ 247650 w 895388"/>
                        <a:gd name="connsiteY510" fmla="*/ 419100 h 1512093"/>
                        <a:gd name="connsiteX511" fmla="*/ 252413 w 895388"/>
                        <a:gd name="connsiteY511" fmla="*/ 404812 h 1512093"/>
                        <a:gd name="connsiteX512" fmla="*/ 257175 w 895388"/>
                        <a:gd name="connsiteY512" fmla="*/ 397668 h 1512093"/>
                        <a:gd name="connsiteX513" fmla="*/ 259557 w 895388"/>
                        <a:gd name="connsiteY513" fmla="*/ 378618 h 1512093"/>
                        <a:gd name="connsiteX514" fmla="*/ 307182 w 895388"/>
                        <a:gd name="connsiteY514" fmla="*/ 373856 h 1512093"/>
                        <a:gd name="connsiteX515" fmla="*/ 309563 w 895388"/>
                        <a:gd name="connsiteY515" fmla="*/ 359568 h 1512093"/>
                        <a:gd name="connsiteX516" fmla="*/ 302419 w 895388"/>
                        <a:gd name="connsiteY516" fmla="*/ 354806 h 1512093"/>
                        <a:gd name="connsiteX517" fmla="*/ 288132 w 895388"/>
                        <a:gd name="connsiteY517" fmla="*/ 350043 h 1512093"/>
                        <a:gd name="connsiteX518" fmla="*/ 292894 w 895388"/>
                        <a:gd name="connsiteY518" fmla="*/ 335756 h 1512093"/>
                        <a:gd name="connsiteX519" fmla="*/ 300038 w 895388"/>
                        <a:gd name="connsiteY519" fmla="*/ 328612 h 1512093"/>
                        <a:gd name="connsiteX520" fmla="*/ 304800 w 895388"/>
                        <a:gd name="connsiteY520" fmla="*/ 321468 h 1512093"/>
                        <a:gd name="connsiteX521" fmla="*/ 311944 w 895388"/>
                        <a:gd name="connsiteY521" fmla="*/ 316706 h 1512093"/>
                        <a:gd name="connsiteX522" fmla="*/ 321469 w 895388"/>
                        <a:gd name="connsiteY522" fmla="*/ 302418 h 1512093"/>
                        <a:gd name="connsiteX523" fmla="*/ 292894 w 895388"/>
                        <a:gd name="connsiteY523" fmla="*/ 316706 h 1512093"/>
                        <a:gd name="connsiteX524" fmla="*/ 285750 w 895388"/>
                        <a:gd name="connsiteY524" fmla="*/ 319087 h 1512093"/>
                        <a:gd name="connsiteX525" fmla="*/ 278607 w 895388"/>
                        <a:gd name="connsiteY525" fmla="*/ 323850 h 1512093"/>
                        <a:gd name="connsiteX526" fmla="*/ 269082 w 895388"/>
                        <a:gd name="connsiteY526" fmla="*/ 326231 h 1512093"/>
                        <a:gd name="connsiteX527" fmla="*/ 261938 w 895388"/>
                        <a:gd name="connsiteY527" fmla="*/ 328612 h 1512093"/>
                        <a:gd name="connsiteX528" fmla="*/ 259557 w 895388"/>
                        <a:gd name="connsiteY528" fmla="*/ 311943 h 1512093"/>
                        <a:gd name="connsiteX529" fmla="*/ 245269 w 895388"/>
                        <a:gd name="connsiteY529" fmla="*/ 307181 h 1512093"/>
                        <a:gd name="connsiteX530" fmla="*/ 250032 w 895388"/>
                        <a:gd name="connsiteY530" fmla="*/ 300037 h 1512093"/>
                        <a:gd name="connsiteX531" fmla="*/ 259557 w 895388"/>
                        <a:gd name="connsiteY531" fmla="*/ 278606 h 1512093"/>
                        <a:gd name="connsiteX532" fmla="*/ 266700 w 895388"/>
                        <a:gd name="connsiteY532" fmla="*/ 276225 h 1512093"/>
                        <a:gd name="connsiteX533" fmla="*/ 290513 w 895388"/>
                        <a:gd name="connsiteY533" fmla="*/ 259556 h 1512093"/>
                        <a:gd name="connsiteX534" fmla="*/ 297657 w 895388"/>
                        <a:gd name="connsiteY534" fmla="*/ 254793 h 1512093"/>
                        <a:gd name="connsiteX535" fmla="*/ 304800 w 895388"/>
                        <a:gd name="connsiteY535" fmla="*/ 247650 h 1512093"/>
                        <a:gd name="connsiteX536" fmla="*/ 302419 w 895388"/>
                        <a:gd name="connsiteY536" fmla="*/ 240506 h 1512093"/>
                        <a:gd name="connsiteX537" fmla="*/ 288132 w 895388"/>
                        <a:gd name="connsiteY537" fmla="*/ 250031 h 1512093"/>
                        <a:gd name="connsiteX538" fmla="*/ 271463 w 895388"/>
                        <a:gd name="connsiteY538" fmla="*/ 254793 h 1512093"/>
                        <a:gd name="connsiteX539" fmla="*/ 269082 w 895388"/>
                        <a:gd name="connsiteY539" fmla="*/ 247650 h 1512093"/>
                        <a:gd name="connsiteX540" fmla="*/ 283369 w 895388"/>
                        <a:gd name="connsiteY540" fmla="*/ 223837 h 1512093"/>
                        <a:gd name="connsiteX541" fmla="*/ 288132 w 895388"/>
                        <a:gd name="connsiteY541" fmla="*/ 216693 h 1512093"/>
                        <a:gd name="connsiteX542" fmla="*/ 292894 w 895388"/>
                        <a:gd name="connsiteY542" fmla="*/ 209550 h 1512093"/>
                        <a:gd name="connsiteX543" fmla="*/ 307182 w 895388"/>
                        <a:gd name="connsiteY543" fmla="*/ 200025 h 1512093"/>
                        <a:gd name="connsiteX544" fmla="*/ 302419 w 895388"/>
                        <a:gd name="connsiteY544" fmla="*/ 207168 h 1512093"/>
                        <a:gd name="connsiteX545" fmla="*/ 288132 w 895388"/>
                        <a:gd name="connsiteY545" fmla="*/ 219075 h 1512093"/>
                        <a:gd name="connsiteX546" fmla="*/ 271463 w 895388"/>
                        <a:gd name="connsiteY546" fmla="*/ 202406 h 1512093"/>
                        <a:gd name="connsiteX547" fmla="*/ 266700 w 895388"/>
                        <a:gd name="connsiteY547" fmla="*/ 188118 h 1512093"/>
                        <a:gd name="connsiteX548" fmla="*/ 264319 w 895388"/>
                        <a:gd name="connsiteY548" fmla="*/ 180975 h 1512093"/>
                        <a:gd name="connsiteX549" fmla="*/ 266700 w 895388"/>
                        <a:gd name="connsiteY549" fmla="*/ 164306 h 1512093"/>
                        <a:gd name="connsiteX550" fmla="*/ 292894 w 895388"/>
                        <a:gd name="connsiteY550" fmla="*/ 169068 h 1512093"/>
                        <a:gd name="connsiteX551" fmla="*/ 302419 w 895388"/>
                        <a:gd name="connsiteY551" fmla="*/ 166687 h 1512093"/>
                        <a:gd name="connsiteX552" fmla="*/ 292894 w 895388"/>
                        <a:gd name="connsiteY552" fmla="*/ 161925 h 1512093"/>
                        <a:gd name="connsiteX553" fmla="*/ 285750 w 895388"/>
                        <a:gd name="connsiteY553" fmla="*/ 157162 h 1512093"/>
                        <a:gd name="connsiteX554" fmla="*/ 285750 w 895388"/>
                        <a:gd name="connsiteY554" fmla="*/ 130968 h 1512093"/>
                        <a:gd name="connsiteX555" fmla="*/ 300038 w 895388"/>
                        <a:gd name="connsiteY555" fmla="*/ 123825 h 1512093"/>
                        <a:gd name="connsiteX556" fmla="*/ 311944 w 895388"/>
                        <a:gd name="connsiteY556" fmla="*/ 133350 h 1512093"/>
                        <a:gd name="connsiteX557" fmla="*/ 316707 w 895388"/>
                        <a:gd name="connsiteY557" fmla="*/ 119062 h 1512093"/>
                        <a:gd name="connsiteX558" fmla="*/ 326232 w 895388"/>
                        <a:gd name="connsiteY558" fmla="*/ 116681 h 1512093"/>
                        <a:gd name="connsiteX559" fmla="*/ 345282 w 895388"/>
                        <a:gd name="connsiteY559" fmla="*/ 121443 h 1512093"/>
                        <a:gd name="connsiteX560" fmla="*/ 352425 w 895388"/>
                        <a:gd name="connsiteY560" fmla="*/ 123825 h 1512093"/>
                        <a:gd name="connsiteX561" fmla="*/ 352425 w 895388"/>
                        <a:gd name="connsiteY561" fmla="*/ 104775 h 1512093"/>
                        <a:gd name="connsiteX562" fmla="*/ 345282 w 895388"/>
                        <a:gd name="connsiteY562" fmla="*/ 100012 h 1512093"/>
                        <a:gd name="connsiteX563" fmla="*/ 338138 w 895388"/>
                        <a:gd name="connsiteY563" fmla="*/ 73818 h 1512093"/>
                        <a:gd name="connsiteX564" fmla="*/ 347663 w 895388"/>
                        <a:gd name="connsiteY564" fmla="*/ 59531 h 1512093"/>
                        <a:gd name="connsiteX565" fmla="*/ 350044 w 895388"/>
                        <a:gd name="connsiteY565" fmla="*/ 52387 h 1512093"/>
                        <a:gd name="connsiteX566" fmla="*/ 347663 w 895388"/>
                        <a:gd name="connsiteY566" fmla="*/ 40481 h 1512093"/>
                        <a:gd name="connsiteX567" fmla="*/ 352425 w 895388"/>
                        <a:gd name="connsiteY567" fmla="*/ 47625 h 1512093"/>
                        <a:gd name="connsiteX568" fmla="*/ 361950 w 895388"/>
                        <a:gd name="connsiteY568" fmla="*/ 50006 h 1512093"/>
                        <a:gd name="connsiteX569" fmla="*/ 369094 w 895388"/>
                        <a:gd name="connsiteY569" fmla="*/ 52387 h 1512093"/>
                        <a:gd name="connsiteX570" fmla="*/ 381000 w 895388"/>
                        <a:gd name="connsiteY570" fmla="*/ 42862 h 1512093"/>
                        <a:gd name="connsiteX571" fmla="*/ 376238 w 895388"/>
                        <a:gd name="connsiteY571" fmla="*/ 35718 h 1512093"/>
                        <a:gd name="connsiteX572" fmla="*/ 378619 w 895388"/>
                        <a:gd name="connsiteY572" fmla="*/ 54768 h 1512093"/>
                        <a:gd name="connsiteX0" fmla="*/ 378619 w 895388"/>
                        <a:gd name="connsiteY0" fmla="*/ 54768 h 1512093"/>
                        <a:gd name="connsiteX1" fmla="*/ 376238 w 895388"/>
                        <a:gd name="connsiteY1" fmla="*/ 42862 h 1512093"/>
                        <a:gd name="connsiteX2" fmla="*/ 371475 w 895388"/>
                        <a:gd name="connsiteY2" fmla="*/ 35718 h 1512093"/>
                        <a:gd name="connsiteX3" fmla="*/ 373857 w 895388"/>
                        <a:gd name="connsiteY3" fmla="*/ 14287 h 1512093"/>
                        <a:gd name="connsiteX4" fmla="*/ 376238 w 895388"/>
                        <a:gd name="connsiteY4" fmla="*/ 4762 h 1512093"/>
                        <a:gd name="connsiteX5" fmla="*/ 383382 w 895388"/>
                        <a:gd name="connsiteY5" fmla="*/ 2381 h 1512093"/>
                        <a:gd name="connsiteX6" fmla="*/ 407194 w 895388"/>
                        <a:gd name="connsiteY6" fmla="*/ 0 h 1512093"/>
                        <a:gd name="connsiteX7" fmla="*/ 414338 w 895388"/>
                        <a:gd name="connsiteY7" fmla="*/ 2381 h 1512093"/>
                        <a:gd name="connsiteX8" fmla="*/ 423863 w 895388"/>
                        <a:gd name="connsiteY8" fmla="*/ 16668 h 1512093"/>
                        <a:gd name="connsiteX9" fmla="*/ 421482 w 895388"/>
                        <a:gd name="connsiteY9" fmla="*/ 23812 h 1512093"/>
                        <a:gd name="connsiteX10" fmla="*/ 419100 w 895388"/>
                        <a:gd name="connsiteY10" fmla="*/ 33337 h 1512093"/>
                        <a:gd name="connsiteX11" fmla="*/ 426244 w 895388"/>
                        <a:gd name="connsiteY11" fmla="*/ 30956 h 1512093"/>
                        <a:gd name="connsiteX12" fmla="*/ 440532 w 895388"/>
                        <a:gd name="connsiteY12" fmla="*/ 23812 h 1512093"/>
                        <a:gd name="connsiteX13" fmla="*/ 447675 w 895388"/>
                        <a:gd name="connsiteY13" fmla="*/ 26193 h 1512093"/>
                        <a:gd name="connsiteX14" fmla="*/ 454819 w 895388"/>
                        <a:gd name="connsiteY14" fmla="*/ 30956 h 1512093"/>
                        <a:gd name="connsiteX15" fmla="*/ 459582 w 895388"/>
                        <a:gd name="connsiteY15" fmla="*/ 38100 h 1512093"/>
                        <a:gd name="connsiteX16" fmla="*/ 471488 w 895388"/>
                        <a:gd name="connsiteY16" fmla="*/ 35718 h 1512093"/>
                        <a:gd name="connsiteX17" fmla="*/ 502444 w 895388"/>
                        <a:gd name="connsiteY17" fmla="*/ 30956 h 1512093"/>
                        <a:gd name="connsiteX18" fmla="*/ 519113 w 895388"/>
                        <a:gd name="connsiteY18" fmla="*/ 19050 h 1512093"/>
                        <a:gd name="connsiteX19" fmla="*/ 526257 w 895388"/>
                        <a:gd name="connsiteY19" fmla="*/ 28575 h 1512093"/>
                        <a:gd name="connsiteX20" fmla="*/ 542925 w 895388"/>
                        <a:gd name="connsiteY20" fmla="*/ 21431 h 1512093"/>
                        <a:gd name="connsiteX21" fmla="*/ 545307 w 895388"/>
                        <a:gd name="connsiteY21" fmla="*/ 28575 h 1512093"/>
                        <a:gd name="connsiteX22" fmla="*/ 569119 w 895388"/>
                        <a:gd name="connsiteY22" fmla="*/ 28575 h 1512093"/>
                        <a:gd name="connsiteX23" fmla="*/ 573882 w 895388"/>
                        <a:gd name="connsiteY23" fmla="*/ 45243 h 1512093"/>
                        <a:gd name="connsiteX24" fmla="*/ 564357 w 895388"/>
                        <a:gd name="connsiteY24" fmla="*/ 61912 h 1512093"/>
                        <a:gd name="connsiteX25" fmla="*/ 557213 w 895388"/>
                        <a:gd name="connsiteY25" fmla="*/ 76200 h 1512093"/>
                        <a:gd name="connsiteX26" fmla="*/ 550069 w 895388"/>
                        <a:gd name="connsiteY26" fmla="*/ 80962 h 1512093"/>
                        <a:gd name="connsiteX27" fmla="*/ 542925 w 895388"/>
                        <a:gd name="connsiteY27" fmla="*/ 88106 h 1512093"/>
                        <a:gd name="connsiteX28" fmla="*/ 519113 w 895388"/>
                        <a:gd name="connsiteY28" fmla="*/ 95250 h 1512093"/>
                        <a:gd name="connsiteX29" fmla="*/ 504825 w 895388"/>
                        <a:gd name="connsiteY29" fmla="*/ 100012 h 1512093"/>
                        <a:gd name="connsiteX30" fmla="*/ 483394 w 895388"/>
                        <a:gd name="connsiteY30" fmla="*/ 109537 h 1512093"/>
                        <a:gd name="connsiteX31" fmla="*/ 476250 w 895388"/>
                        <a:gd name="connsiteY31" fmla="*/ 111918 h 1512093"/>
                        <a:gd name="connsiteX32" fmla="*/ 464344 w 895388"/>
                        <a:gd name="connsiteY32" fmla="*/ 123825 h 1512093"/>
                        <a:gd name="connsiteX33" fmla="*/ 461963 w 895388"/>
                        <a:gd name="connsiteY33" fmla="*/ 130968 h 1512093"/>
                        <a:gd name="connsiteX34" fmla="*/ 454819 w 895388"/>
                        <a:gd name="connsiteY34" fmla="*/ 135731 h 1512093"/>
                        <a:gd name="connsiteX35" fmla="*/ 438150 w 895388"/>
                        <a:gd name="connsiteY35" fmla="*/ 133350 h 1512093"/>
                        <a:gd name="connsiteX36" fmla="*/ 431007 w 895388"/>
                        <a:gd name="connsiteY36" fmla="*/ 126206 h 1512093"/>
                        <a:gd name="connsiteX37" fmla="*/ 428625 w 895388"/>
                        <a:gd name="connsiteY37" fmla="*/ 133350 h 1512093"/>
                        <a:gd name="connsiteX38" fmla="*/ 435769 w 895388"/>
                        <a:gd name="connsiteY38" fmla="*/ 138112 h 1512093"/>
                        <a:gd name="connsiteX39" fmla="*/ 442913 w 895388"/>
                        <a:gd name="connsiteY39" fmla="*/ 140493 h 1512093"/>
                        <a:gd name="connsiteX40" fmla="*/ 447675 w 895388"/>
                        <a:gd name="connsiteY40" fmla="*/ 154781 h 1512093"/>
                        <a:gd name="connsiteX41" fmla="*/ 431007 w 895388"/>
                        <a:gd name="connsiteY41" fmla="*/ 171450 h 1512093"/>
                        <a:gd name="connsiteX42" fmla="*/ 421482 w 895388"/>
                        <a:gd name="connsiteY42" fmla="*/ 176212 h 1512093"/>
                        <a:gd name="connsiteX43" fmla="*/ 419100 w 895388"/>
                        <a:gd name="connsiteY43" fmla="*/ 192881 h 1512093"/>
                        <a:gd name="connsiteX44" fmla="*/ 426244 w 895388"/>
                        <a:gd name="connsiteY44" fmla="*/ 195262 h 1512093"/>
                        <a:gd name="connsiteX45" fmla="*/ 431007 w 895388"/>
                        <a:gd name="connsiteY45" fmla="*/ 202406 h 1512093"/>
                        <a:gd name="connsiteX46" fmla="*/ 457200 w 895388"/>
                        <a:gd name="connsiteY46" fmla="*/ 197643 h 1512093"/>
                        <a:gd name="connsiteX47" fmla="*/ 478632 w 895388"/>
                        <a:gd name="connsiteY47" fmla="*/ 195262 h 1512093"/>
                        <a:gd name="connsiteX48" fmla="*/ 488157 w 895388"/>
                        <a:gd name="connsiteY48" fmla="*/ 183356 h 1512093"/>
                        <a:gd name="connsiteX49" fmla="*/ 497682 w 895388"/>
                        <a:gd name="connsiteY49" fmla="*/ 176212 h 1512093"/>
                        <a:gd name="connsiteX50" fmla="*/ 511969 w 895388"/>
                        <a:gd name="connsiteY50" fmla="*/ 178593 h 1512093"/>
                        <a:gd name="connsiteX51" fmla="*/ 526257 w 895388"/>
                        <a:gd name="connsiteY51" fmla="*/ 188118 h 1512093"/>
                        <a:gd name="connsiteX52" fmla="*/ 531019 w 895388"/>
                        <a:gd name="connsiteY52" fmla="*/ 195262 h 1512093"/>
                        <a:gd name="connsiteX53" fmla="*/ 545307 w 895388"/>
                        <a:gd name="connsiteY53" fmla="*/ 202406 h 1512093"/>
                        <a:gd name="connsiteX54" fmla="*/ 552450 w 895388"/>
                        <a:gd name="connsiteY54" fmla="*/ 197643 h 1512093"/>
                        <a:gd name="connsiteX55" fmla="*/ 557213 w 895388"/>
                        <a:gd name="connsiteY55" fmla="*/ 190500 h 1512093"/>
                        <a:gd name="connsiteX56" fmla="*/ 564357 w 895388"/>
                        <a:gd name="connsiteY56" fmla="*/ 192881 h 1512093"/>
                        <a:gd name="connsiteX57" fmla="*/ 569119 w 895388"/>
                        <a:gd name="connsiteY57" fmla="*/ 200025 h 1512093"/>
                        <a:gd name="connsiteX58" fmla="*/ 576263 w 895388"/>
                        <a:gd name="connsiteY58" fmla="*/ 202406 h 1512093"/>
                        <a:gd name="connsiteX59" fmla="*/ 595313 w 895388"/>
                        <a:gd name="connsiteY59" fmla="*/ 207168 h 1512093"/>
                        <a:gd name="connsiteX60" fmla="*/ 633413 w 895388"/>
                        <a:gd name="connsiteY60" fmla="*/ 214312 h 1512093"/>
                        <a:gd name="connsiteX61" fmla="*/ 638175 w 895388"/>
                        <a:gd name="connsiteY61" fmla="*/ 207168 h 1512093"/>
                        <a:gd name="connsiteX62" fmla="*/ 631032 w 895388"/>
                        <a:gd name="connsiteY62" fmla="*/ 202406 h 1512093"/>
                        <a:gd name="connsiteX63" fmla="*/ 633413 w 895388"/>
                        <a:gd name="connsiteY63" fmla="*/ 216693 h 1512093"/>
                        <a:gd name="connsiteX64" fmla="*/ 647700 w 895388"/>
                        <a:gd name="connsiteY64" fmla="*/ 221456 h 1512093"/>
                        <a:gd name="connsiteX65" fmla="*/ 652463 w 895388"/>
                        <a:gd name="connsiteY65" fmla="*/ 228600 h 1512093"/>
                        <a:gd name="connsiteX66" fmla="*/ 657225 w 895388"/>
                        <a:gd name="connsiteY66" fmla="*/ 242887 h 1512093"/>
                        <a:gd name="connsiteX67" fmla="*/ 647700 w 895388"/>
                        <a:gd name="connsiteY67" fmla="*/ 271462 h 1512093"/>
                        <a:gd name="connsiteX68" fmla="*/ 638175 w 895388"/>
                        <a:gd name="connsiteY68" fmla="*/ 273843 h 1512093"/>
                        <a:gd name="connsiteX69" fmla="*/ 626269 w 895388"/>
                        <a:gd name="connsiteY69" fmla="*/ 292893 h 1512093"/>
                        <a:gd name="connsiteX70" fmla="*/ 621507 w 895388"/>
                        <a:gd name="connsiteY70" fmla="*/ 300037 h 1512093"/>
                        <a:gd name="connsiteX71" fmla="*/ 616744 w 895388"/>
                        <a:gd name="connsiteY71" fmla="*/ 314325 h 1512093"/>
                        <a:gd name="connsiteX72" fmla="*/ 614363 w 895388"/>
                        <a:gd name="connsiteY72" fmla="*/ 321468 h 1512093"/>
                        <a:gd name="connsiteX73" fmla="*/ 604838 w 895388"/>
                        <a:gd name="connsiteY73" fmla="*/ 335756 h 1512093"/>
                        <a:gd name="connsiteX74" fmla="*/ 602457 w 895388"/>
                        <a:gd name="connsiteY74" fmla="*/ 342900 h 1512093"/>
                        <a:gd name="connsiteX75" fmla="*/ 600075 w 895388"/>
                        <a:gd name="connsiteY75" fmla="*/ 352425 h 1512093"/>
                        <a:gd name="connsiteX76" fmla="*/ 583407 w 895388"/>
                        <a:gd name="connsiteY76" fmla="*/ 354806 h 1512093"/>
                        <a:gd name="connsiteX77" fmla="*/ 566738 w 895388"/>
                        <a:gd name="connsiteY77" fmla="*/ 369093 h 1512093"/>
                        <a:gd name="connsiteX78" fmla="*/ 564357 w 895388"/>
                        <a:gd name="connsiteY78" fmla="*/ 378618 h 1512093"/>
                        <a:gd name="connsiteX79" fmla="*/ 559594 w 895388"/>
                        <a:gd name="connsiteY79" fmla="*/ 392906 h 1512093"/>
                        <a:gd name="connsiteX80" fmla="*/ 550069 w 895388"/>
                        <a:gd name="connsiteY80" fmla="*/ 404812 h 1512093"/>
                        <a:gd name="connsiteX81" fmla="*/ 542925 w 895388"/>
                        <a:gd name="connsiteY81" fmla="*/ 407193 h 1512093"/>
                        <a:gd name="connsiteX82" fmla="*/ 495300 w 895388"/>
                        <a:gd name="connsiteY82" fmla="*/ 409575 h 1512093"/>
                        <a:gd name="connsiteX83" fmla="*/ 478632 w 895388"/>
                        <a:gd name="connsiteY83" fmla="*/ 419100 h 1512093"/>
                        <a:gd name="connsiteX84" fmla="*/ 476250 w 895388"/>
                        <a:gd name="connsiteY84" fmla="*/ 426243 h 1512093"/>
                        <a:gd name="connsiteX85" fmla="*/ 478632 w 895388"/>
                        <a:gd name="connsiteY85" fmla="*/ 433387 h 1512093"/>
                        <a:gd name="connsiteX86" fmla="*/ 500063 w 895388"/>
                        <a:gd name="connsiteY86" fmla="*/ 423862 h 1512093"/>
                        <a:gd name="connsiteX87" fmla="*/ 514350 w 895388"/>
                        <a:gd name="connsiteY87" fmla="*/ 416718 h 1512093"/>
                        <a:gd name="connsiteX88" fmla="*/ 519113 w 895388"/>
                        <a:gd name="connsiteY88" fmla="*/ 423862 h 1512093"/>
                        <a:gd name="connsiteX89" fmla="*/ 526257 w 895388"/>
                        <a:gd name="connsiteY89" fmla="*/ 431006 h 1512093"/>
                        <a:gd name="connsiteX90" fmla="*/ 528638 w 895388"/>
                        <a:gd name="connsiteY90" fmla="*/ 438150 h 1512093"/>
                        <a:gd name="connsiteX91" fmla="*/ 535782 w 895388"/>
                        <a:gd name="connsiteY91" fmla="*/ 445293 h 1512093"/>
                        <a:gd name="connsiteX92" fmla="*/ 540544 w 895388"/>
                        <a:gd name="connsiteY92" fmla="*/ 452437 h 1512093"/>
                        <a:gd name="connsiteX93" fmla="*/ 519113 w 895388"/>
                        <a:gd name="connsiteY93" fmla="*/ 447675 h 1512093"/>
                        <a:gd name="connsiteX94" fmla="*/ 502444 w 895388"/>
                        <a:gd name="connsiteY94" fmla="*/ 450056 h 1512093"/>
                        <a:gd name="connsiteX95" fmla="*/ 488157 w 895388"/>
                        <a:gd name="connsiteY95" fmla="*/ 461962 h 1512093"/>
                        <a:gd name="connsiteX96" fmla="*/ 473869 w 895388"/>
                        <a:gd name="connsiteY96" fmla="*/ 469106 h 1512093"/>
                        <a:gd name="connsiteX97" fmla="*/ 466725 w 895388"/>
                        <a:gd name="connsiteY97" fmla="*/ 476250 h 1512093"/>
                        <a:gd name="connsiteX98" fmla="*/ 461963 w 895388"/>
                        <a:gd name="connsiteY98" fmla="*/ 483393 h 1512093"/>
                        <a:gd name="connsiteX99" fmla="*/ 447675 w 895388"/>
                        <a:gd name="connsiteY99" fmla="*/ 476250 h 1512093"/>
                        <a:gd name="connsiteX100" fmla="*/ 433388 w 895388"/>
                        <a:gd name="connsiteY100" fmla="*/ 471487 h 1512093"/>
                        <a:gd name="connsiteX101" fmla="*/ 426244 w 895388"/>
                        <a:gd name="connsiteY101" fmla="*/ 469106 h 1512093"/>
                        <a:gd name="connsiteX102" fmla="*/ 423863 w 895388"/>
                        <a:gd name="connsiteY102" fmla="*/ 485775 h 1512093"/>
                        <a:gd name="connsiteX103" fmla="*/ 431007 w 895388"/>
                        <a:gd name="connsiteY103" fmla="*/ 488156 h 1512093"/>
                        <a:gd name="connsiteX104" fmla="*/ 457200 w 895388"/>
                        <a:gd name="connsiteY104" fmla="*/ 488156 h 1512093"/>
                        <a:gd name="connsiteX105" fmla="*/ 471488 w 895388"/>
                        <a:gd name="connsiteY105" fmla="*/ 497681 h 1512093"/>
                        <a:gd name="connsiteX106" fmla="*/ 478632 w 895388"/>
                        <a:gd name="connsiteY106" fmla="*/ 500062 h 1512093"/>
                        <a:gd name="connsiteX107" fmla="*/ 502444 w 895388"/>
                        <a:gd name="connsiteY107" fmla="*/ 497681 h 1512093"/>
                        <a:gd name="connsiteX108" fmla="*/ 504825 w 895388"/>
                        <a:gd name="connsiteY108" fmla="*/ 490537 h 1512093"/>
                        <a:gd name="connsiteX109" fmla="*/ 519113 w 895388"/>
                        <a:gd name="connsiteY109" fmla="*/ 481012 h 1512093"/>
                        <a:gd name="connsiteX110" fmla="*/ 526257 w 895388"/>
                        <a:gd name="connsiteY110" fmla="*/ 495300 h 1512093"/>
                        <a:gd name="connsiteX111" fmla="*/ 533400 w 895388"/>
                        <a:gd name="connsiteY111" fmla="*/ 500062 h 1512093"/>
                        <a:gd name="connsiteX112" fmla="*/ 540544 w 895388"/>
                        <a:gd name="connsiteY112" fmla="*/ 507206 h 1512093"/>
                        <a:gd name="connsiteX113" fmla="*/ 554832 w 895388"/>
                        <a:gd name="connsiteY113" fmla="*/ 516731 h 1512093"/>
                        <a:gd name="connsiteX114" fmla="*/ 569119 w 895388"/>
                        <a:gd name="connsiteY114" fmla="*/ 528637 h 1512093"/>
                        <a:gd name="connsiteX115" fmla="*/ 578644 w 895388"/>
                        <a:gd name="connsiteY115" fmla="*/ 542925 h 1512093"/>
                        <a:gd name="connsiteX116" fmla="*/ 583407 w 895388"/>
                        <a:gd name="connsiteY116" fmla="*/ 557212 h 1512093"/>
                        <a:gd name="connsiteX117" fmla="*/ 588169 w 895388"/>
                        <a:gd name="connsiteY117" fmla="*/ 564356 h 1512093"/>
                        <a:gd name="connsiteX118" fmla="*/ 590550 w 895388"/>
                        <a:gd name="connsiteY118" fmla="*/ 571500 h 1512093"/>
                        <a:gd name="connsiteX119" fmla="*/ 597694 w 895388"/>
                        <a:gd name="connsiteY119" fmla="*/ 573881 h 1512093"/>
                        <a:gd name="connsiteX120" fmla="*/ 609600 w 895388"/>
                        <a:gd name="connsiteY120" fmla="*/ 595312 h 1512093"/>
                        <a:gd name="connsiteX121" fmla="*/ 616744 w 895388"/>
                        <a:gd name="connsiteY121" fmla="*/ 600075 h 1512093"/>
                        <a:gd name="connsiteX122" fmla="*/ 614363 w 895388"/>
                        <a:gd name="connsiteY122" fmla="*/ 614362 h 1512093"/>
                        <a:gd name="connsiteX123" fmla="*/ 604838 w 895388"/>
                        <a:gd name="connsiteY123" fmla="*/ 635793 h 1512093"/>
                        <a:gd name="connsiteX124" fmla="*/ 611982 w 895388"/>
                        <a:gd name="connsiteY124" fmla="*/ 676275 h 1512093"/>
                        <a:gd name="connsiteX125" fmla="*/ 619125 w 895388"/>
                        <a:gd name="connsiteY125" fmla="*/ 681037 h 1512093"/>
                        <a:gd name="connsiteX126" fmla="*/ 616744 w 895388"/>
                        <a:gd name="connsiteY126" fmla="*/ 738187 h 1512093"/>
                        <a:gd name="connsiteX127" fmla="*/ 623888 w 895388"/>
                        <a:gd name="connsiteY127" fmla="*/ 759618 h 1512093"/>
                        <a:gd name="connsiteX128" fmla="*/ 631032 w 895388"/>
                        <a:gd name="connsiteY128" fmla="*/ 762000 h 1512093"/>
                        <a:gd name="connsiteX129" fmla="*/ 640557 w 895388"/>
                        <a:gd name="connsiteY129" fmla="*/ 776287 h 1512093"/>
                        <a:gd name="connsiteX130" fmla="*/ 647700 w 895388"/>
                        <a:gd name="connsiteY130" fmla="*/ 778668 h 1512093"/>
                        <a:gd name="connsiteX131" fmla="*/ 661988 w 895388"/>
                        <a:gd name="connsiteY131" fmla="*/ 788193 h 1512093"/>
                        <a:gd name="connsiteX132" fmla="*/ 683419 w 895388"/>
                        <a:gd name="connsiteY132" fmla="*/ 804862 h 1512093"/>
                        <a:gd name="connsiteX133" fmla="*/ 690563 w 895388"/>
                        <a:gd name="connsiteY133" fmla="*/ 809625 h 1512093"/>
                        <a:gd name="connsiteX134" fmla="*/ 697707 w 895388"/>
                        <a:gd name="connsiteY134" fmla="*/ 814387 h 1512093"/>
                        <a:gd name="connsiteX135" fmla="*/ 700088 w 895388"/>
                        <a:gd name="connsiteY135" fmla="*/ 821531 h 1512093"/>
                        <a:gd name="connsiteX136" fmla="*/ 695325 w 895388"/>
                        <a:gd name="connsiteY136" fmla="*/ 840581 h 1512093"/>
                        <a:gd name="connsiteX137" fmla="*/ 697707 w 895388"/>
                        <a:gd name="connsiteY137" fmla="*/ 847725 h 1512093"/>
                        <a:gd name="connsiteX138" fmla="*/ 709613 w 895388"/>
                        <a:gd name="connsiteY138" fmla="*/ 862012 h 1512093"/>
                        <a:gd name="connsiteX139" fmla="*/ 711994 w 895388"/>
                        <a:gd name="connsiteY139" fmla="*/ 869156 h 1512093"/>
                        <a:gd name="connsiteX140" fmla="*/ 726282 w 895388"/>
                        <a:gd name="connsiteY140" fmla="*/ 878681 h 1512093"/>
                        <a:gd name="connsiteX141" fmla="*/ 716757 w 895388"/>
                        <a:gd name="connsiteY141" fmla="*/ 890587 h 1512093"/>
                        <a:gd name="connsiteX142" fmla="*/ 714375 w 895388"/>
                        <a:gd name="connsiteY142" fmla="*/ 897731 h 1512093"/>
                        <a:gd name="connsiteX143" fmla="*/ 716757 w 895388"/>
                        <a:gd name="connsiteY143" fmla="*/ 916781 h 1512093"/>
                        <a:gd name="connsiteX144" fmla="*/ 735336 w 895388"/>
                        <a:gd name="connsiteY144" fmla="*/ 952193 h 1512093"/>
                        <a:gd name="connsiteX145" fmla="*/ 702469 w 895388"/>
                        <a:gd name="connsiteY145" fmla="*/ 935831 h 1512093"/>
                        <a:gd name="connsiteX146" fmla="*/ 688182 w 895388"/>
                        <a:gd name="connsiteY146" fmla="*/ 940593 h 1512093"/>
                        <a:gd name="connsiteX147" fmla="*/ 681038 w 895388"/>
                        <a:gd name="connsiteY147" fmla="*/ 942975 h 1512093"/>
                        <a:gd name="connsiteX148" fmla="*/ 673894 w 895388"/>
                        <a:gd name="connsiteY148" fmla="*/ 945356 h 1512093"/>
                        <a:gd name="connsiteX149" fmla="*/ 664369 w 895388"/>
                        <a:gd name="connsiteY149" fmla="*/ 950118 h 1512093"/>
                        <a:gd name="connsiteX150" fmla="*/ 678657 w 895388"/>
                        <a:gd name="connsiteY150" fmla="*/ 954881 h 1512093"/>
                        <a:gd name="connsiteX151" fmla="*/ 685800 w 895388"/>
                        <a:gd name="connsiteY151" fmla="*/ 957262 h 1512093"/>
                        <a:gd name="connsiteX152" fmla="*/ 707232 w 895388"/>
                        <a:gd name="connsiteY152" fmla="*/ 962025 h 1512093"/>
                        <a:gd name="connsiteX153" fmla="*/ 711994 w 895388"/>
                        <a:gd name="connsiteY153" fmla="*/ 969168 h 1512093"/>
                        <a:gd name="connsiteX154" fmla="*/ 721519 w 895388"/>
                        <a:gd name="connsiteY154" fmla="*/ 978693 h 1512093"/>
                        <a:gd name="connsiteX155" fmla="*/ 731044 w 895388"/>
                        <a:gd name="connsiteY155" fmla="*/ 976312 h 1512093"/>
                        <a:gd name="connsiteX156" fmla="*/ 740569 w 895388"/>
                        <a:gd name="connsiteY156" fmla="*/ 976312 h 1512093"/>
                        <a:gd name="connsiteX157" fmla="*/ 742950 w 895388"/>
                        <a:gd name="connsiteY157" fmla="*/ 995362 h 1512093"/>
                        <a:gd name="connsiteX158" fmla="*/ 747713 w 895388"/>
                        <a:gd name="connsiteY158" fmla="*/ 1002506 h 1512093"/>
                        <a:gd name="connsiteX159" fmla="*/ 754857 w 895388"/>
                        <a:gd name="connsiteY159" fmla="*/ 1016793 h 1512093"/>
                        <a:gd name="connsiteX160" fmla="*/ 757238 w 895388"/>
                        <a:gd name="connsiteY160" fmla="*/ 1042987 h 1512093"/>
                        <a:gd name="connsiteX161" fmla="*/ 762000 w 895388"/>
                        <a:gd name="connsiteY161" fmla="*/ 1057275 h 1512093"/>
                        <a:gd name="connsiteX162" fmla="*/ 757238 w 895388"/>
                        <a:gd name="connsiteY162" fmla="*/ 1064418 h 1512093"/>
                        <a:gd name="connsiteX163" fmla="*/ 742950 w 895388"/>
                        <a:gd name="connsiteY163" fmla="*/ 1069181 h 1512093"/>
                        <a:gd name="connsiteX164" fmla="*/ 735807 w 895388"/>
                        <a:gd name="connsiteY164" fmla="*/ 1083468 h 1512093"/>
                        <a:gd name="connsiteX165" fmla="*/ 733425 w 895388"/>
                        <a:gd name="connsiteY165" fmla="*/ 1092993 h 1512093"/>
                        <a:gd name="connsiteX166" fmla="*/ 723900 w 895388"/>
                        <a:gd name="connsiteY166" fmla="*/ 1095375 h 1512093"/>
                        <a:gd name="connsiteX167" fmla="*/ 726282 w 895388"/>
                        <a:gd name="connsiteY167" fmla="*/ 1112043 h 1512093"/>
                        <a:gd name="connsiteX168" fmla="*/ 740569 w 895388"/>
                        <a:gd name="connsiteY168" fmla="*/ 1119187 h 1512093"/>
                        <a:gd name="connsiteX169" fmla="*/ 750094 w 895388"/>
                        <a:gd name="connsiteY169" fmla="*/ 1116806 h 1512093"/>
                        <a:gd name="connsiteX170" fmla="*/ 764382 w 895388"/>
                        <a:gd name="connsiteY170" fmla="*/ 1107281 h 1512093"/>
                        <a:gd name="connsiteX171" fmla="*/ 771525 w 895388"/>
                        <a:gd name="connsiteY171" fmla="*/ 1100137 h 1512093"/>
                        <a:gd name="connsiteX172" fmla="*/ 778669 w 895388"/>
                        <a:gd name="connsiteY172" fmla="*/ 1097756 h 1512093"/>
                        <a:gd name="connsiteX173" fmla="*/ 831057 w 895388"/>
                        <a:gd name="connsiteY173" fmla="*/ 1100137 h 1512093"/>
                        <a:gd name="connsiteX174" fmla="*/ 838200 w 895388"/>
                        <a:gd name="connsiteY174" fmla="*/ 1104900 h 1512093"/>
                        <a:gd name="connsiteX175" fmla="*/ 845344 w 895388"/>
                        <a:gd name="connsiteY175" fmla="*/ 1107281 h 1512093"/>
                        <a:gd name="connsiteX176" fmla="*/ 852488 w 895388"/>
                        <a:gd name="connsiteY176" fmla="*/ 1112043 h 1512093"/>
                        <a:gd name="connsiteX177" fmla="*/ 859632 w 895388"/>
                        <a:gd name="connsiteY177" fmla="*/ 1114425 h 1512093"/>
                        <a:gd name="connsiteX178" fmla="*/ 873919 w 895388"/>
                        <a:gd name="connsiteY178" fmla="*/ 1123950 h 1512093"/>
                        <a:gd name="connsiteX179" fmla="*/ 890588 w 895388"/>
                        <a:gd name="connsiteY179" fmla="*/ 1145381 h 1512093"/>
                        <a:gd name="connsiteX180" fmla="*/ 895350 w 895388"/>
                        <a:gd name="connsiteY180" fmla="*/ 1159668 h 1512093"/>
                        <a:gd name="connsiteX181" fmla="*/ 892969 w 895388"/>
                        <a:gd name="connsiteY181" fmla="*/ 1185862 h 1512093"/>
                        <a:gd name="connsiteX182" fmla="*/ 888207 w 895388"/>
                        <a:gd name="connsiteY182" fmla="*/ 1202531 h 1512093"/>
                        <a:gd name="connsiteX183" fmla="*/ 885825 w 895388"/>
                        <a:gd name="connsiteY183" fmla="*/ 1214437 h 1512093"/>
                        <a:gd name="connsiteX184" fmla="*/ 871538 w 895388"/>
                        <a:gd name="connsiteY184" fmla="*/ 1228725 h 1512093"/>
                        <a:gd name="connsiteX185" fmla="*/ 869157 w 895388"/>
                        <a:gd name="connsiteY185" fmla="*/ 1245393 h 1512093"/>
                        <a:gd name="connsiteX186" fmla="*/ 862013 w 895388"/>
                        <a:gd name="connsiteY186" fmla="*/ 1262062 h 1512093"/>
                        <a:gd name="connsiteX187" fmla="*/ 852488 w 895388"/>
                        <a:gd name="connsiteY187" fmla="*/ 1273968 h 1512093"/>
                        <a:gd name="connsiteX188" fmla="*/ 838200 w 895388"/>
                        <a:gd name="connsiteY188" fmla="*/ 1276350 h 1512093"/>
                        <a:gd name="connsiteX189" fmla="*/ 831057 w 895388"/>
                        <a:gd name="connsiteY189" fmla="*/ 1278731 h 1512093"/>
                        <a:gd name="connsiteX190" fmla="*/ 821532 w 895388"/>
                        <a:gd name="connsiteY190" fmla="*/ 1276350 h 1512093"/>
                        <a:gd name="connsiteX191" fmla="*/ 814388 w 895388"/>
                        <a:gd name="connsiteY191" fmla="*/ 1273968 h 1512093"/>
                        <a:gd name="connsiteX192" fmla="*/ 823913 w 895388"/>
                        <a:gd name="connsiteY192" fmla="*/ 1285875 h 1512093"/>
                        <a:gd name="connsiteX193" fmla="*/ 826294 w 895388"/>
                        <a:gd name="connsiteY193" fmla="*/ 1293018 h 1512093"/>
                        <a:gd name="connsiteX194" fmla="*/ 812007 w 895388"/>
                        <a:gd name="connsiteY194" fmla="*/ 1295400 h 1512093"/>
                        <a:gd name="connsiteX195" fmla="*/ 797719 w 895388"/>
                        <a:gd name="connsiteY195" fmla="*/ 1300162 h 1512093"/>
                        <a:gd name="connsiteX196" fmla="*/ 778669 w 895388"/>
                        <a:gd name="connsiteY196" fmla="*/ 1304925 h 1512093"/>
                        <a:gd name="connsiteX197" fmla="*/ 773907 w 895388"/>
                        <a:gd name="connsiteY197" fmla="*/ 1312068 h 1512093"/>
                        <a:gd name="connsiteX198" fmla="*/ 759619 w 895388"/>
                        <a:gd name="connsiteY198" fmla="*/ 1316831 h 1512093"/>
                        <a:gd name="connsiteX199" fmla="*/ 781050 w 895388"/>
                        <a:gd name="connsiteY199" fmla="*/ 1319212 h 1512093"/>
                        <a:gd name="connsiteX200" fmla="*/ 783432 w 895388"/>
                        <a:gd name="connsiteY200" fmla="*/ 1326356 h 1512093"/>
                        <a:gd name="connsiteX201" fmla="*/ 781050 w 895388"/>
                        <a:gd name="connsiteY201" fmla="*/ 1340643 h 1512093"/>
                        <a:gd name="connsiteX202" fmla="*/ 771525 w 895388"/>
                        <a:gd name="connsiteY202" fmla="*/ 1343025 h 1512093"/>
                        <a:gd name="connsiteX203" fmla="*/ 759619 w 895388"/>
                        <a:gd name="connsiteY203" fmla="*/ 1347787 h 1512093"/>
                        <a:gd name="connsiteX204" fmla="*/ 721519 w 895388"/>
                        <a:gd name="connsiteY204" fmla="*/ 1352550 h 1512093"/>
                        <a:gd name="connsiteX205" fmla="*/ 735807 w 895388"/>
                        <a:gd name="connsiteY205" fmla="*/ 1359693 h 1512093"/>
                        <a:gd name="connsiteX206" fmla="*/ 742950 w 895388"/>
                        <a:gd name="connsiteY206" fmla="*/ 1357312 h 1512093"/>
                        <a:gd name="connsiteX207" fmla="*/ 752475 w 895388"/>
                        <a:gd name="connsiteY207" fmla="*/ 1359693 h 1512093"/>
                        <a:gd name="connsiteX208" fmla="*/ 769144 w 895388"/>
                        <a:gd name="connsiteY208" fmla="*/ 1378743 h 1512093"/>
                        <a:gd name="connsiteX209" fmla="*/ 802482 w 895388"/>
                        <a:gd name="connsiteY209" fmla="*/ 1385887 h 1512093"/>
                        <a:gd name="connsiteX210" fmla="*/ 823913 w 895388"/>
                        <a:gd name="connsiteY210" fmla="*/ 1383506 h 1512093"/>
                        <a:gd name="connsiteX211" fmla="*/ 814388 w 895388"/>
                        <a:gd name="connsiteY211" fmla="*/ 1423987 h 1512093"/>
                        <a:gd name="connsiteX212" fmla="*/ 797719 w 895388"/>
                        <a:gd name="connsiteY212" fmla="*/ 1428750 h 1512093"/>
                        <a:gd name="connsiteX213" fmla="*/ 792957 w 895388"/>
                        <a:gd name="connsiteY213" fmla="*/ 1435893 h 1512093"/>
                        <a:gd name="connsiteX214" fmla="*/ 778669 w 895388"/>
                        <a:gd name="connsiteY214" fmla="*/ 1443037 h 1512093"/>
                        <a:gd name="connsiteX215" fmla="*/ 771525 w 895388"/>
                        <a:gd name="connsiteY215" fmla="*/ 1447800 h 1512093"/>
                        <a:gd name="connsiteX216" fmla="*/ 769144 w 895388"/>
                        <a:gd name="connsiteY216" fmla="*/ 1454943 h 1512093"/>
                        <a:gd name="connsiteX217" fmla="*/ 762000 w 895388"/>
                        <a:gd name="connsiteY217" fmla="*/ 1457325 h 1512093"/>
                        <a:gd name="connsiteX218" fmla="*/ 731044 w 895388"/>
                        <a:gd name="connsiteY218" fmla="*/ 1459706 h 1512093"/>
                        <a:gd name="connsiteX219" fmla="*/ 723900 w 895388"/>
                        <a:gd name="connsiteY219" fmla="*/ 1462087 h 1512093"/>
                        <a:gd name="connsiteX220" fmla="*/ 709613 w 895388"/>
                        <a:gd name="connsiteY220" fmla="*/ 1469231 h 1512093"/>
                        <a:gd name="connsiteX221" fmla="*/ 690563 w 895388"/>
                        <a:gd name="connsiteY221" fmla="*/ 1471612 h 1512093"/>
                        <a:gd name="connsiteX222" fmla="*/ 685800 w 895388"/>
                        <a:gd name="connsiteY222" fmla="*/ 1478756 h 1512093"/>
                        <a:gd name="connsiteX223" fmla="*/ 673894 w 895388"/>
                        <a:gd name="connsiteY223" fmla="*/ 1476375 h 1512093"/>
                        <a:gd name="connsiteX224" fmla="*/ 659607 w 895388"/>
                        <a:gd name="connsiteY224" fmla="*/ 1466850 h 1512093"/>
                        <a:gd name="connsiteX225" fmla="*/ 652463 w 895388"/>
                        <a:gd name="connsiteY225" fmla="*/ 1462087 h 1512093"/>
                        <a:gd name="connsiteX226" fmla="*/ 628650 w 895388"/>
                        <a:gd name="connsiteY226" fmla="*/ 1454943 h 1512093"/>
                        <a:gd name="connsiteX227" fmla="*/ 583407 w 895388"/>
                        <a:gd name="connsiteY227" fmla="*/ 1457325 h 1512093"/>
                        <a:gd name="connsiteX228" fmla="*/ 573882 w 895388"/>
                        <a:gd name="connsiteY228" fmla="*/ 1459706 h 1512093"/>
                        <a:gd name="connsiteX229" fmla="*/ 566738 w 895388"/>
                        <a:gd name="connsiteY229" fmla="*/ 1466850 h 1512093"/>
                        <a:gd name="connsiteX230" fmla="*/ 547688 w 895388"/>
                        <a:gd name="connsiteY230" fmla="*/ 1450181 h 1512093"/>
                        <a:gd name="connsiteX231" fmla="*/ 533400 w 895388"/>
                        <a:gd name="connsiteY231" fmla="*/ 1445418 h 1512093"/>
                        <a:gd name="connsiteX232" fmla="*/ 509588 w 895388"/>
                        <a:gd name="connsiteY232" fmla="*/ 1447800 h 1512093"/>
                        <a:gd name="connsiteX233" fmla="*/ 495300 w 895388"/>
                        <a:gd name="connsiteY233" fmla="*/ 1452562 h 1512093"/>
                        <a:gd name="connsiteX234" fmla="*/ 483394 w 895388"/>
                        <a:gd name="connsiteY234" fmla="*/ 1462087 h 1512093"/>
                        <a:gd name="connsiteX235" fmla="*/ 473869 w 895388"/>
                        <a:gd name="connsiteY235" fmla="*/ 1452562 h 1512093"/>
                        <a:gd name="connsiteX236" fmla="*/ 469107 w 895388"/>
                        <a:gd name="connsiteY236" fmla="*/ 1445418 h 1512093"/>
                        <a:gd name="connsiteX237" fmla="*/ 454819 w 895388"/>
                        <a:gd name="connsiteY237" fmla="*/ 1447800 h 1512093"/>
                        <a:gd name="connsiteX238" fmla="*/ 440532 w 895388"/>
                        <a:gd name="connsiteY238" fmla="*/ 1457325 h 1512093"/>
                        <a:gd name="connsiteX239" fmla="*/ 435769 w 895388"/>
                        <a:gd name="connsiteY239" fmla="*/ 1466850 h 1512093"/>
                        <a:gd name="connsiteX240" fmla="*/ 428625 w 895388"/>
                        <a:gd name="connsiteY240" fmla="*/ 1469231 h 1512093"/>
                        <a:gd name="connsiteX241" fmla="*/ 411957 w 895388"/>
                        <a:gd name="connsiteY241" fmla="*/ 1471612 h 1512093"/>
                        <a:gd name="connsiteX242" fmla="*/ 414338 w 895388"/>
                        <a:gd name="connsiteY242" fmla="*/ 1464468 h 1512093"/>
                        <a:gd name="connsiteX243" fmla="*/ 421482 w 895388"/>
                        <a:gd name="connsiteY243" fmla="*/ 1459706 h 1512093"/>
                        <a:gd name="connsiteX244" fmla="*/ 404813 w 895388"/>
                        <a:gd name="connsiteY244" fmla="*/ 1462087 h 1512093"/>
                        <a:gd name="connsiteX245" fmla="*/ 385763 w 895388"/>
                        <a:gd name="connsiteY245" fmla="*/ 1464468 h 1512093"/>
                        <a:gd name="connsiteX246" fmla="*/ 383382 w 895388"/>
                        <a:gd name="connsiteY246" fmla="*/ 1471612 h 1512093"/>
                        <a:gd name="connsiteX247" fmla="*/ 378619 w 895388"/>
                        <a:gd name="connsiteY247" fmla="*/ 1464468 h 1512093"/>
                        <a:gd name="connsiteX248" fmla="*/ 371475 w 895388"/>
                        <a:gd name="connsiteY248" fmla="*/ 1457325 h 1512093"/>
                        <a:gd name="connsiteX249" fmla="*/ 366713 w 895388"/>
                        <a:gd name="connsiteY249" fmla="*/ 1450181 h 1512093"/>
                        <a:gd name="connsiteX250" fmla="*/ 352425 w 895388"/>
                        <a:gd name="connsiteY250" fmla="*/ 1443037 h 1512093"/>
                        <a:gd name="connsiteX251" fmla="*/ 345282 w 895388"/>
                        <a:gd name="connsiteY251" fmla="*/ 1438275 h 1512093"/>
                        <a:gd name="connsiteX252" fmla="*/ 328613 w 895388"/>
                        <a:gd name="connsiteY252" fmla="*/ 1435893 h 1512093"/>
                        <a:gd name="connsiteX253" fmla="*/ 321469 w 895388"/>
                        <a:gd name="connsiteY253" fmla="*/ 1433512 h 1512093"/>
                        <a:gd name="connsiteX254" fmla="*/ 271463 w 895388"/>
                        <a:gd name="connsiteY254" fmla="*/ 1440656 h 1512093"/>
                        <a:gd name="connsiteX255" fmla="*/ 264319 w 895388"/>
                        <a:gd name="connsiteY255" fmla="*/ 1445418 h 1512093"/>
                        <a:gd name="connsiteX256" fmla="*/ 257175 w 895388"/>
                        <a:gd name="connsiteY256" fmla="*/ 1459706 h 1512093"/>
                        <a:gd name="connsiteX257" fmla="*/ 252413 w 895388"/>
                        <a:gd name="connsiteY257" fmla="*/ 1466850 h 1512093"/>
                        <a:gd name="connsiteX258" fmla="*/ 250032 w 895388"/>
                        <a:gd name="connsiteY258" fmla="*/ 1473993 h 1512093"/>
                        <a:gd name="connsiteX259" fmla="*/ 242888 w 895388"/>
                        <a:gd name="connsiteY259" fmla="*/ 1476375 h 1512093"/>
                        <a:gd name="connsiteX260" fmla="*/ 240507 w 895388"/>
                        <a:gd name="connsiteY260" fmla="*/ 1485900 h 1512093"/>
                        <a:gd name="connsiteX261" fmla="*/ 228600 w 895388"/>
                        <a:gd name="connsiteY261" fmla="*/ 1504950 h 1512093"/>
                        <a:gd name="connsiteX262" fmla="*/ 221457 w 895388"/>
                        <a:gd name="connsiteY262" fmla="*/ 1507331 h 1512093"/>
                        <a:gd name="connsiteX263" fmla="*/ 209550 w 895388"/>
                        <a:gd name="connsiteY263" fmla="*/ 1504950 h 1512093"/>
                        <a:gd name="connsiteX264" fmla="*/ 204788 w 895388"/>
                        <a:gd name="connsiteY264" fmla="*/ 1497806 h 1512093"/>
                        <a:gd name="connsiteX265" fmla="*/ 197644 w 895388"/>
                        <a:gd name="connsiteY265" fmla="*/ 1490662 h 1512093"/>
                        <a:gd name="connsiteX266" fmla="*/ 188119 w 895388"/>
                        <a:gd name="connsiteY266" fmla="*/ 1488281 h 1512093"/>
                        <a:gd name="connsiteX267" fmla="*/ 185738 w 895388"/>
                        <a:gd name="connsiteY267" fmla="*/ 1478756 h 1512093"/>
                        <a:gd name="connsiteX268" fmla="*/ 183357 w 895388"/>
                        <a:gd name="connsiteY268" fmla="*/ 1471612 h 1512093"/>
                        <a:gd name="connsiteX269" fmla="*/ 161925 w 895388"/>
                        <a:gd name="connsiteY269" fmla="*/ 1464468 h 1512093"/>
                        <a:gd name="connsiteX270" fmla="*/ 154782 w 895388"/>
                        <a:gd name="connsiteY270" fmla="*/ 1462087 h 1512093"/>
                        <a:gd name="connsiteX271" fmla="*/ 140494 w 895388"/>
                        <a:gd name="connsiteY271" fmla="*/ 1464468 h 1512093"/>
                        <a:gd name="connsiteX272" fmla="*/ 133350 w 895388"/>
                        <a:gd name="connsiteY272" fmla="*/ 1469231 h 1512093"/>
                        <a:gd name="connsiteX273" fmla="*/ 126207 w 895388"/>
                        <a:gd name="connsiteY273" fmla="*/ 1464468 h 1512093"/>
                        <a:gd name="connsiteX274" fmla="*/ 116682 w 895388"/>
                        <a:gd name="connsiteY274" fmla="*/ 1457325 h 1512093"/>
                        <a:gd name="connsiteX275" fmla="*/ 90488 w 895388"/>
                        <a:gd name="connsiteY275" fmla="*/ 1469231 h 1512093"/>
                        <a:gd name="connsiteX276" fmla="*/ 83344 w 895388"/>
                        <a:gd name="connsiteY276" fmla="*/ 1473993 h 1512093"/>
                        <a:gd name="connsiteX277" fmla="*/ 80963 w 895388"/>
                        <a:gd name="connsiteY277" fmla="*/ 1481137 h 1512093"/>
                        <a:gd name="connsiteX278" fmla="*/ 73819 w 895388"/>
                        <a:gd name="connsiteY278" fmla="*/ 1485900 h 1512093"/>
                        <a:gd name="connsiteX279" fmla="*/ 59532 w 895388"/>
                        <a:gd name="connsiteY279" fmla="*/ 1495425 h 1512093"/>
                        <a:gd name="connsiteX280" fmla="*/ 52388 w 895388"/>
                        <a:gd name="connsiteY280" fmla="*/ 1502568 h 1512093"/>
                        <a:gd name="connsiteX281" fmla="*/ 38100 w 895388"/>
                        <a:gd name="connsiteY281" fmla="*/ 1512093 h 1512093"/>
                        <a:gd name="connsiteX282" fmla="*/ 30957 w 895388"/>
                        <a:gd name="connsiteY282" fmla="*/ 1504950 h 1512093"/>
                        <a:gd name="connsiteX283" fmla="*/ 33338 w 895388"/>
                        <a:gd name="connsiteY283" fmla="*/ 1488281 h 1512093"/>
                        <a:gd name="connsiteX284" fmla="*/ 30957 w 895388"/>
                        <a:gd name="connsiteY284" fmla="*/ 1476375 h 1512093"/>
                        <a:gd name="connsiteX285" fmla="*/ 21432 w 895388"/>
                        <a:gd name="connsiteY285" fmla="*/ 1478756 h 1512093"/>
                        <a:gd name="connsiteX286" fmla="*/ 16669 w 895388"/>
                        <a:gd name="connsiteY286" fmla="*/ 1485900 h 1512093"/>
                        <a:gd name="connsiteX287" fmla="*/ 0 w 895388"/>
                        <a:gd name="connsiteY287" fmla="*/ 1483518 h 1512093"/>
                        <a:gd name="connsiteX288" fmla="*/ 2382 w 895388"/>
                        <a:gd name="connsiteY288" fmla="*/ 1476375 h 1512093"/>
                        <a:gd name="connsiteX289" fmla="*/ 28575 w 895388"/>
                        <a:gd name="connsiteY289" fmla="*/ 1476375 h 1512093"/>
                        <a:gd name="connsiteX290" fmla="*/ 35719 w 895388"/>
                        <a:gd name="connsiteY290" fmla="*/ 1478756 h 1512093"/>
                        <a:gd name="connsiteX291" fmla="*/ 45244 w 895388"/>
                        <a:gd name="connsiteY291" fmla="*/ 1464468 h 1512093"/>
                        <a:gd name="connsiteX292" fmla="*/ 52388 w 895388"/>
                        <a:gd name="connsiteY292" fmla="*/ 1459706 h 1512093"/>
                        <a:gd name="connsiteX293" fmla="*/ 69057 w 895388"/>
                        <a:gd name="connsiteY293" fmla="*/ 1454943 h 1512093"/>
                        <a:gd name="connsiteX294" fmla="*/ 76200 w 895388"/>
                        <a:gd name="connsiteY294" fmla="*/ 1452562 h 1512093"/>
                        <a:gd name="connsiteX295" fmla="*/ 85725 w 895388"/>
                        <a:gd name="connsiteY295" fmla="*/ 1433512 h 1512093"/>
                        <a:gd name="connsiteX296" fmla="*/ 90488 w 895388"/>
                        <a:gd name="connsiteY296" fmla="*/ 1423987 h 1512093"/>
                        <a:gd name="connsiteX297" fmla="*/ 97632 w 895388"/>
                        <a:gd name="connsiteY297" fmla="*/ 1421606 h 1512093"/>
                        <a:gd name="connsiteX298" fmla="*/ 109538 w 895388"/>
                        <a:gd name="connsiteY298" fmla="*/ 1419225 h 1512093"/>
                        <a:gd name="connsiteX299" fmla="*/ 126207 w 895388"/>
                        <a:gd name="connsiteY299" fmla="*/ 1412081 h 1512093"/>
                        <a:gd name="connsiteX300" fmla="*/ 135732 w 895388"/>
                        <a:gd name="connsiteY300" fmla="*/ 1409700 h 1512093"/>
                        <a:gd name="connsiteX301" fmla="*/ 142875 w 895388"/>
                        <a:gd name="connsiteY301" fmla="*/ 1407318 h 1512093"/>
                        <a:gd name="connsiteX302" fmla="*/ 147638 w 895388"/>
                        <a:gd name="connsiteY302" fmla="*/ 1400175 h 1512093"/>
                        <a:gd name="connsiteX303" fmla="*/ 152400 w 895388"/>
                        <a:gd name="connsiteY303" fmla="*/ 1383506 h 1512093"/>
                        <a:gd name="connsiteX304" fmla="*/ 154782 w 895388"/>
                        <a:gd name="connsiteY304" fmla="*/ 1362075 h 1512093"/>
                        <a:gd name="connsiteX305" fmla="*/ 157163 w 895388"/>
                        <a:gd name="connsiteY305" fmla="*/ 1354931 h 1512093"/>
                        <a:gd name="connsiteX306" fmla="*/ 159544 w 895388"/>
                        <a:gd name="connsiteY306" fmla="*/ 1345406 h 1512093"/>
                        <a:gd name="connsiteX307" fmla="*/ 166688 w 895388"/>
                        <a:gd name="connsiteY307" fmla="*/ 1347787 h 1512093"/>
                        <a:gd name="connsiteX308" fmla="*/ 173832 w 895388"/>
                        <a:gd name="connsiteY308" fmla="*/ 1352550 h 1512093"/>
                        <a:gd name="connsiteX309" fmla="*/ 190500 w 895388"/>
                        <a:gd name="connsiteY309" fmla="*/ 1350168 h 1512093"/>
                        <a:gd name="connsiteX310" fmla="*/ 195263 w 895388"/>
                        <a:gd name="connsiteY310" fmla="*/ 1335881 h 1512093"/>
                        <a:gd name="connsiteX311" fmla="*/ 197644 w 895388"/>
                        <a:gd name="connsiteY311" fmla="*/ 1326356 h 1512093"/>
                        <a:gd name="connsiteX312" fmla="*/ 204788 w 895388"/>
                        <a:gd name="connsiteY312" fmla="*/ 1321593 h 1512093"/>
                        <a:gd name="connsiteX313" fmla="*/ 219075 w 895388"/>
                        <a:gd name="connsiteY313" fmla="*/ 1326356 h 1512093"/>
                        <a:gd name="connsiteX314" fmla="*/ 276225 w 895388"/>
                        <a:gd name="connsiteY314" fmla="*/ 1331118 h 1512093"/>
                        <a:gd name="connsiteX315" fmla="*/ 290513 w 895388"/>
                        <a:gd name="connsiteY315" fmla="*/ 1343025 h 1512093"/>
                        <a:gd name="connsiteX316" fmla="*/ 297657 w 895388"/>
                        <a:gd name="connsiteY316" fmla="*/ 1345406 h 1512093"/>
                        <a:gd name="connsiteX317" fmla="*/ 328613 w 895388"/>
                        <a:gd name="connsiteY317" fmla="*/ 1343025 h 1512093"/>
                        <a:gd name="connsiteX318" fmla="*/ 342900 w 895388"/>
                        <a:gd name="connsiteY318" fmla="*/ 1333500 h 1512093"/>
                        <a:gd name="connsiteX319" fmla="*/ 345282 w 895388"/>
                        <a:gd name="connsiteY319" fmla="*/ 1316831 h 1512093"/>
                        <a:gd name="connsiteX320" fmla="*/ 347663 w 895388"/>
                        <a:gd name="connsiteY320" fmla="*/ 1323975 h 1512093"/>
                        <a:gd name="connsiteX321" fmla="*/ 357188 w 895388"/>
                        <a:gd name="connsiteY321" fmla="*/ 1321593 h 1512093"/>
                        <a:gd name="connsiteX322" fmla="*/ 359569 w 895388"/>
                        <a:gd name="connsiteY322" fmla="*/ 1307306 h 1512093"/>
                        <a:gd name="connsiteX323" fmla="*/ 373857 w 895388"/>
                        <a:gd name="connsiteY323" fmla="*/ 1297781 h 1512093"/>
                        <a:gd name="connsiteX324" fmla="*/ 395288 w 895388"/>
                        <a:gd name="connsiteY324" fmla="*/ 1283493 h 1512093"/>
                        <a:gd name="connsiteX325" fmla="*/ 409575 w 895388"/>
                        <a:gd name="connsiteY325" fmla="*/ 1273968 h 1512093"/>
                        <a:gd name="connsiteX326" fmla="*/ 416719 w 895388"/>
                        <a:gd name="connsiteY326" fmla="*/ 1269206 h 1512093"/>
                        <a:gd name="connsiteX327" fmla="*/ 419100 w 895388"/>
                        <a:gd name="connsiteY327" fmla="*/ 1262062 h 1512093"/>
                        <a:gd name="connsiteX328" fmla="*/ 404813 w 895388"/>
                        <a:gd name="connsiteY328" fmla="*/ 1264443 h 1512093"/>
                        <a:gd name="connsiteX329" fmla="*/ 400050 w 895388"/>
                        <a:gd name="connsiteY329" fmla="*/ 1271587 h 1512093"/>
                        <a:gd name="connsiteX330" fmla="*/ 395288 w 895388"/>
                        <a:gd name="connsiteY330" fmla="*/ 1281112 h 1512093"/>
                        <a:gd name="connsiteX331" fmla="*/ 388144 w 895388"/>
                        <a:gd name="connsiteY331" fmla="*/ 1283493 h 1512093"/>
                        <a:gd name="connsiteX332" fmla="*/ 357188 w 895388"/>
                        <a:gd name="connsiteY332" fmla="*/ 1290637 h 1512093"/>
                        <a:gd name="connsiteX333" fmla="*/ 345282 w 895388"/>
                        <a:gd name="connsiteY333" fmla="*/ 1281112 h 1512093"/>
                        <a:gd name="connsiteX334" fmla="*/ 338138 w 895388"/>
                        <a:gd name="connsiteY334" fmla="*/ 1288256 h 1512093"/>
                        <a:gd name="connsiteX335" fmla="*/ 330994 w 895388"/>
                        <a:gd name="connsiteY335" fmla="*/ 1293018 h 1512093"/>
                        <a:gd name="connsiteX336" fmla="*/ 304800 w 895388"/>
                        <a:gd name="connsiteY336" fmla="*/ 1300162 h 1512093"/>
                        <a:gd name="connsiteX337" fmla="*/ 297657 w 895388"/>
                        <a:gd name="connsiteY337" fmla="*/ 1302543 h 1512093"/>
                        <a:gd name="connsiteX338" fmla="*/ 280988 w 895388"/>
                        <a:gd name="connsiteY338" fmla="*/ 1300162 h 1512093"/>
                        <a:gd name="connsiteX339" fmla="*/ 271463 w 895388"/>
                        <a:gd name="connsiteY339" fmla="*/ 1288256 h 1512093"/>
                        <a:gd name="connsiteX340" fmla="*/ 266700 w 895388"/>
                        <a:gd name="connsiteY340" fmla="*/ 1281112 h 1512093"/>
                        <a:gd name="connsiteX341" fmla="*/ 259557 w 895388"/>
                        <a:gd name="connsiteY341" fmla="*/ 1262062 h 1512093"/>
                        <a:gd name="connsiteX342" fmla="*/ 250032 w 895388"/>
                        <a:gd name="connsiteY342" fmla="*/ 1259681 h 1512093"/>
                        <a:gd name="connsiteX343" fmla="*/ 242888 w 895388"/>
                        <a:gd name="connsiteY343" fmla="*/ 1254918 h 1512093"/>
                        <a:gd name="connsiteX344" fmla="*/ 228600 w 895388"/>
                        <a:gd name="connsiteY344" fmla="*/ 1250156 h 1512093"/>
                        <a:gd name="connsiteX345" fmla="*/ 216694 w 895388"/>
                        <a:gd name="connsiteY345" fmla="*/ 1262062 h 1512093"/>
                        <a:gd name="connsiteX346" fmla="*/ 211932 w 895388"/>
                        <a:gd name="connsiteY346" fmla="*/ 1254918 h 1512093"/>
                        <a:gd name="connsiteX347" fmla="*/ 207169 w 895388"/>
                        <a:gd name="connsiteY347" fmla="*/ 1228725 h 1512093"/>
                        <a:gd name="connsiteX348" fmla="*/ 200025 w 895388"/>
                        <a:gd name="connsiteY348" fmla="*/ 1221581 h 1512093"/>
                        <a:gd name="connsiteX349" fmla="*/ 192882 w 895388"/>
                        <a:gd name="connsiteY349" fmla="*/ 1219200 h 1512093"/>
                        <a:gd name="connsiteX350" fmla="*/ 183357 w 895388"/>
                        <a:gd name="connsiteY350" fmla="*/ 1221581 h 1512093"/>
                        <a:gd name="connsiteX351" fmla="*/ 171450 w 895388"/>
                        <a:gd name="connsiteY351" fmla="*/ 1223962 h 1512093"/>
                        <a:gd name="connsiteX352" fmla="*/ 164307 w 895388"/>
                        <a:gd name="connsiteY352" fmla="*/ 1226343 h 1512093"/>
                        <a:gd name="connsiteX353" fmla="*/ 154782 w 895388"/>
                        <a:gd name="connsiteY353" fmla="*/ 1223962 h 1512093"/>
                        <a:gd name="connsiteX354" fmla="*/ 147638 w 895388"/>
                        <a:gd name="connsiteY354" fmla="*/ 1219200 h 1512093"/>
                        <a:gd name="connsiteX355" fmla="*/ 145257 w 895388"/>
                        <a:gd name="connsiteY355" fmla="*/ 1226343 h 1512093"/>
                        <a:gd name="connsiteX356" fmla="*/ 140494 w 895388"/>
                        <a:gd name="connsiteY356" fmla="*/ 1233487 h 1512093"/>
                        <a:gd name="connsiteX357" fmla="*/ 126207 w 895388"/>
                        <a:gd name="connsiteY357" fmla="*/ 1219200 h 1512093"/>
                        <a:gd name="connsiteX358" fmla="*/ 119063 w 895388"/>
                        <a:gd name="connsiteY358" fmla="*/ 1214437 h 1512093"/>
                        <a:gd name="connsiteX359" fmla="*/ 104775 w 895388"/>
                        <a:gd name="connsiteY359" fmla="*/ 1209675 h 1512093"/>
                        <a:gd name="connsiteX360" fmla="*/ 116682 w 895388"/>
                        <a:gd name="connsiteY360" fmla="*/ 1197768 h 1512093"/>
                        <a:gd name="connsiteX361" fmla="*/ 114300 w 895388"/>
                        <a:gd name="connsiteY361" fmla="*/ 1183481 h 1512093"/>
                        <a:gd name="connsiteX362" fmla="*/ 130969 w 895388"/>
                        <a:gd name="connsiteY362" fmla="*/ 1173956 h 1512093"/>
                        <a:gd name="connsiteX363" fmla="*/ 145257 w 895388"/>
                        <a:gd name="connsiteY363" fmla="*/ 1169193 h 1512093"/>
                        <a:gd name="connsiteX364" fmla="*/ 164307 w 895388"/>
                        <a:gd name="connsiteY364" fmla="*/ 1166812 h 1512093"/>
                        <a:gd name="connsiteX365" fmla="*/ 176213 w 895388"/>
                        <a:gd name="connsiteY365" fmla="*/ 1154906 h 1512093"/>
                        <a:gd name="connsiteX366" fmla="*/ 200025 w 895388"/>
                        <a:gd name="connsiteY366" fmla="*/ 1152525 h 1512093"/>
                        <a:gd name="connsiteX367" fmla="*/ 216694 w 895388"/>
                        <a:gd name="connsiteY367" fmla="*/ 1150143 h 1512093"/>
                        <a:gd name="connsiteX368" fmla="*/ 223838 w 895388"/>
                        <a:gd name="connsiteY368" fmla="*/ 1145381 h 1512093"/>
                        <a:gd name="connsiteX369" fmla="*/ 230982 w 895388"/>
                        <a:gd name="connsiteY369" fmla="*/ 1143000 h 1512093"/>
                        <a:gd name="connsiteX370" fmla="*/ 242888 w 895388"/>
                        <a:gd name="connsiteY370" fmla="*/ 1133475 h 1512093"/>
                        <a:gd name="connsiteX371" fmla="*/ 245269 w 895388"/>
                        <a:gd name="connsiteY371" fmla="*/ 1114425 h 1512093"/>
                        <a:gd name="connsiteX372" fmla="*/ 257175 w 895388"/>
                        <a:gd name="connsiteY372" fmla="*/ 1100137 h 1512093"/>
                        <a:gd name="connsiteX373" fmla="*/ 269082 w 895388"/>
                        <a:gd name="connsiteY373" fmla="*/ 1078706 h 1512093"/>
                        <a:gd name="connsiteX374" fmla="*/ 264319 w 895388"/>
                        <a:gd name="connsiteY374" fmla="*/ 1064418 h 1512093"/>
                        <a:gd name="connsiteX375" fmla="*/ 261938 w 895388"/>
                        <a:gd name="connsiteY375" fmla="*/ 1057275 h 1512093"/>
                        <a:gd name="connsiteX376" fmla="*/ 264319 w 895388"/>
                        <a:gd name="connsiteY376" fmla="*/ 1045368 h 1512093"/>
                        <a:gd name="connsiteX377" fmla="*/ 271463 w 895388"/>
                        <a:gd name="connsiteY377" fmla="*/ 1042987 h 1512093"/>
                        <a:gd name="connsiteX378" fmla="*/ 278607 w 895388"/>
                        <a:gd name="connsiteY378" fmla="*/ 1038225 h 1512093"/>
                        <a:gd name="connsiteX379" fmla="*/ 280988 w 895388"/>
                        <a:gd name="connsiteY379" fmla="*/ 1031081 h 1512093"/>
                        <a:gd name="connsiteX380" fmla="*/ 266700 w 895388"/>
                        <a:gd name="connsiteY380" fmla="*/ 1026318 h 1512093"/>
                        <a:gd name="connsiteX381" fmla="*/ 259557 w 895388"/>
                        <a:gd name="connsiteY381" fmla="*/ 1019175 h 1512093"/>
                        <a:gd name="connsiteX382" fmla="*/ 245269 w 895388"/>
                        <a:gd name="connsiteY382" fmla="*/ 1023937 h 1512093"/>
                        <a:gd name="connsiteX383" fmla="*/ 223838 w 895388"/>
                        <a:gd name="connsiteY383" fmla="*/ 1026318 h 1512093"/>
                        <a:gd name="connsiteX384" fmla="*/ 216694 w 895388"/>
                        <a:gd name="connsiteY384" fmla="*/ 1028700 h 1512093"/>
                        <a:gd name="connsiteX385" fmla="*/ 209550 w 895388"/>
                        <a:gd name="connsiteY385" fmla="*/ 1033462 h 1512093"/>
                        <a:gd name="connsiteX386" fmla="*/ 202407 w 895388"/>
                        <a:gd name="connsiteY386" fmla="*/ 1028700 h 1512093"/>
                        <a:gd name="connsiteX387" fmla="*/ 209550 w 895388"/>
                        <a:gd name="connsiteY387" fmla="*/ 1021556 h 1512093"/>
                        <a:gd name="connsiteX388" fmla="*/ 214313 w 895388"/>
                        <a:gd name="connsiteY388" fmla="*/ 1014412 h 1512093"/>
                        <a:gd name="connsiteX389" fmla="*/ 233363 w 895388"/>
                        <a:gd name="connsiteY389" fmla="*/ 1012031 h 1512093"/>
                        <a:gd name="connsiteX390" fmla="*/ 242888 w 895388"/>
                        <a:gd name="connsiteY390" fmla="*/ 995362 h 1512093"/>
                        <a:gd name="connsiteX391" fmla="*/ 264319 w 895388"/>
                        <a:gd name="connsiteY391" fmla="*/ 976312 h 1512093"/>
                        <a:gd name="connsiteX392" fmla="*/ 269082 w 895388"/>
                        <a:gd name="connsiteY392" fmla="*/ 969168 h 1512093"/>
                        <a:gd name="connsiteX393" fmla="*/ 242888 w 895388"/>
                        <a:gd name="connsiteY393" fmla="*/ 966787 h 1512093"/>
                        <a:gd name="connsiteX394" fmla="*/ 235744 w 895388"/>
                        <a:gd name="connsiteY394" fmla="*/ 964406 h 1512093"/>
                        <a:gd name="connsiteX395" fmla="*/ 235744 w 895388"/>
                        <a:gd name="connsiteY395" fmla="*/ 935831 h 1512093"/>
                        <a:gd name="connsiteX396" fmla="*/ 245269 w 895388"/>
                        <a:gd name="connsiteY396" fmla="*/ 921543 h 1512093"/>
                        <a:gd name="connsiteX397" fmla="*/ 271463 w 895388"/>
                        <a:gd name="connsiteY397" fmla="*/ 923925 h 1512093"/>
                        <a:gd name="connsiteX398" fmla="*/ 276225 w 895388"/>
                        <a:gd name="connsiteY398" fmla="*/ 931068 h 1512093"/>
                        <a:gd name="connsiteX399" fmla="*/ 283369 w 895388"/>
                        <a:gd name="connsiteY399" fmla="*/ 945356 h 1512093"/>
                        <a:gd name="connsiteX400" fmla="*/ 280988 w 895388"/>
                        <a:gd name="connsiteY400" fmla="*/ 962025 h 1512093"/>
                        <a:gd name="connsiteX401" fmla="*/ 266700 w 895388"/>
                        <a:gd name="connsiteY401" fmla="*/ 971550 h 1512093"/>
                        <a:gd name="connsiteX402" fmla="*/ 273844 w 895388"/>
                        <a:gd name="connsiteY402" fmla="*/ 973931 h 1512093"/>
                        <a:gd name="connsiteX403" fmla="*/ 288132 w 895388"/>
                        <a:gd name="connsiteY403" fmla="*/ 969168 h 1512093"/>
                        <a:gd name="connsiteX404" fmla="*/ 292894 w 895388"/>
                        <a:gd name="connsiteY404" fmla="*/ 962025 h 1512093"/>
                        <a:gd name="connsiteX405" fmla="*/ 319088 w 895388"/>
                        <a:gd name="connsiteY405" fmla="*/ 959643 h 1512093"/>
                        <a:gd name="connsiteX406" fmla="*/ 323850 w 895388"/>
                        <a:gd name="connsiteY406" fmla="*/ 966787 h 1512093"/>
                        <a:gd name="connsiteX407" fmla="*/ 350044 w 895388"/>
                        <a:gd name="connsiteY407" fmla="*/ 966787 h 1512093"/>
                        <a:gd name="connsiteX408" fmla="*/ 364332 w 895388"/>
                        <a:gd name="connsiteY408" fmla="*/ 957262 h 1512093"/>
                        <a:gd name="connsiteX409" fmla="*/ 381000 w 895388"/>
                        <a:gd name="connsiteY409" fmla="*/ 973931 h 1512093"/>
                        <a:gd name="connsiteX410" fmla="*/ 390525 w 895388"/>
                        <a:gd name="connsiteY410" fmla="*/ 971550 h 1512093"/>
                        <a:gd name="connsiteX411" fmla="*/ 397669 w 895388"/>
                        <a:gd name="connsiteY411" fmla="*/ 969168 h 1512093"/>
                        <a:gd name="connsiteX412" fmla="*/ 404813 w 895388"/>
                        <a:gd name="connsiteY412" fmla="*/ 971550 h 1512093"/>
                        <a:gd name="connsiteX413" fmla="*/ 414338 w 895388"/>
                        <a:gd name="connsiteY413" fmla="*/ 973931 h 1512093"/>
                        <a:gd name="connsiteX414" fmla="*/ 435769 w 895388"/>
                        <a:gd name="connsiteY414" fmla="*/ 971550 h 1512093"/>
                        <a:gd name="connsiteX415" fmla="*/ 428625 w 895388"/>
                        <a:gd name="connsiteY415" fmla="*/ 966787 h 1512093"/>
                        <a:gd name="connsiteX416" fmla="*/ 421482 w 895388"/>
                        <a:gd name="connsiteY416" fmla="*/ 969168 h 1512093"/>
                        <a:gd name="connsiteX417" fmla="*/ 411957 w 895388"/>
                        <a:gd name="connsiteY417" fmla="*/ 971550 h 1512093"/>
                        <a:gd name="connsiteX418" fmla="*/ 385763 w 895388"/>
                        <a:gd name="connsiteY418" fmla="*/ 962025 h 1512093"/>
                        <a:gd name="connsiteX419" fmla="*/ 390525 w 895388"/>
                        <a:gd name="connsiteY419" fmla="*/ 954881 h 1512093"/>
                        <a:gd name="connsiteX420" fmla="*/ 404813 w 895388"/>
                        <a:gd name="connsiteY420" fmla="*/ 950118 h 1512093"/>
                        <a:gd name="connsiteX421" fmla="*/ 402432 w 895388"/>
                        <a:gd name="connsiteY421" fmla="*/ 933450 h 1512093"/>
                        <a:gd name="connsiteX422" fmla="*/ 407194 w 895388"/>
                        <a:gd name="connsiteY422" fmla="*/ 912018 h 1512093"/>
                        <a:gd name="connsiteX423" fmla="*/ 411957 w 895388"/>
                        <a:gd name="connsiteY423" fmla="*/ 904875 h 1512093"/>
                        <a:gd name="connsiteX424" fmla="*/ 426244 w 895388"/>
                        <a:gd name="connsiteY424" fmla="*/ 895350 h 1512093"/>
                        <a:gd name="connsiteX425" fmla="*/ 423863 w 895388"/>
                        <a:gd name="connsiteY425" fmla="*/ 888206 h 1512093"/>
                        <a:gd name="connsiteX426" fmla="*/ 419100 w 895388"/>
                        <a:gd name="connsiteY426" fmla="*/ 881062 h 1512093"/>
                        <a:gd name="connsiteX427" fmla="*/ 431007 w 895388"/>
                        <a:gd name="connsiteY427" fmla="*/ 862012 h 1512093"/>
                        <a:gd name="connsiteX428" fmla="*/ 435769 w 895388"/>
                        <a:gd name="connsiteY428" fmla="*/ 854868 h 1512093"/>
                        <a:gd name="connsiteX429" fmla="*/ 447675 w 895388"/>
                        <a:gd name="connsiteY429" fmla="*/ 842962 h 1512093"/>
                        <a:gd name="connsiteX430" fmla="*/ 447675 w 895388"/>
                        <a:gd name="connsiteY430" fmla="*/ 809625 h 1512093"/>
                        <a:gd name="connsiteX431" fmla="*/ 442913 w 895388"/>
                        <a:gd name="connsiteY431" fmla="*/ 816768 h 1512093"/>
                        <a:gd name="connsiteX432" fmla="*/ 409575 w 895388"/>
                        <a:gd name="connsiteY432" fmla="*/ 819150 h 1512093"/>
                        <a:gd name="connsiteX433" fmla="*/ 407194 w 895388"/>
                        <a:gd name="connsiteY433" fmla="*/ 826293 h 1512093"/>
                        <a:gd name="connsiteX434" fmla="*/ 400050 w 895388"/>
                        <a:gd name="connsiteY434" fmla="*/ 821531 h 1512093"/>
                        <a:gd name="connsiteX435" fmla="*/ 397669 w 895388"/>
                        <a:gd name="connsiteY435" fmla="*/ 814387 h 1512093"/>
                        <a:gd name="connsiteX436" fmla="*/ 390525 w 895388"/>
                        <a:gd name="connsiteY436" fmla="*/ 800100 h 1512093"/>
                        <a:gd name="connsiteX437" fmla="*/ 388144 w 895388"/>
                        <a:gd name="connsiteY437" fmla="*/ 764381 h 1512093"/>
                        <a:gd name="connsiteX438" fmla="*/ 381000 w 895388"/>
                        <a:gd name="connsiteY438" fmla="*/ 759618 h 1512093"/>
                        <a:gd name="connsiteX439" fmla="*/ 376238 w 895388"/>
                        <a:gd name="connsiteY439" fmla="*/ 752475 h 1512093"/>
                        <a:gd name="connsiteX440" fmla="*/ 378619 w 895388"/>
                        <a:gd name="connsiteY440" fmla="*/ 728662 h 1512093"/>
                        <a:gd name="connsiteX441" fmla="*/ 390525 w 895388"/>
                        <a:gd name="connsiteY441" fmla="*/ 716756 h 1512093"/>
                        <a:gd name="connsiteX442" fmla="*/ 404813 w 895388"/>
                        <a:gd name="connsiteY442" fmla="*/ 702468 h 1512093"/>
                        <a:gd name="connsiteX443" fmla="*/ 409575 w 895388"/>
                        <a:gd name="connsiteY443" fmla="*/ 695325 h 1512093"/>
                        <a:gd name="connsiteX444" fmla="*/ 416719 w 895388"/>
                        <a:gd name="connsiteY444" fmla="*/ 681037 h 1512093"/>
                        <a:gd name="connsiteX445" fmla="*/ 423863 w 895388"/>
                        <a:gd name="connsiteY445" fmla="*/ 678656 h 1512093"/>
                        <a:gd name="connsiteX446" fmla="*/ 461963 w 895388"/>
                        <a:gd name="connsiteY446" fmla="*/ 676275 h 1512093"/>
                        <a:gd name="connsiteX447" fmla="*/ 454819 w 895388"/>
                        <a:gd name="connsiteY447" fmla="*/ 671512 h 1512093"/>
                        <a:gd name="connsiteX448" fmla="*/ 440532 w 895388"/>
                        <a:gd name="connsiteY448" fmla="*/ 666750 h 1512093"/>
                        <a:gd name="connsiteX449" fmla="*/ 431007 w 895388"/>
                        <a:gd name="connsiteY449" fmla="*/ 669131 h 1512093"/>
                        <a:gd name="connsiteX450" fmla="*/ 411957 w 895388"/>
                        <a:gd name="connsiteY450" fmla="*/ 661987 h 1512093"/>
                        <a:gd name="connsiteX451" fmla="*/ 407194 w 895388"/>
                        <a:gd name="connsiteY451" fmla="*/ 654843 h 1512093"/>
                        <a:gd name="connsiteX452" fmla="*/ 392907 w 895388"/>
                        <a:gd name="connsiteY452" fmla="*/ 659606 h 1512093"/>
                        <a:gd name="connsiteX453" fmla="*/ 385763 w 895388"/>
                        <a:gd name="connsiteY453" fmla="*/ 673893 h 1512093"/>
                        <a:gd name="connsiteX454" fmla="*/ 371475 w 895388"/>
                        <a:gd name="connsiteY454" fmla="*/ 678656 h 1512093"/>
                        <a:gd name="connsiteX455" fmla="*/ 357188 w 895388"/>
                        <a:gd name="connsiteY455" fmla="*/ 695325 h 1512093"/>
                        <a:gd name="connsiteX456" fmla="*/ 342900 w 895388"/>
                        <a:gd name="connsiteY456" fmla="*/ 690562 h 1512093"/>
                        <a:gd name="connsiteX457" fmla="*/ 323850 w 895388"/>
                        <a:gd name="connsiteY457" fmla="*/ 673893 h 1512093"/>
                        <a:gd name="connsiteX458" fmla="*/ 316707 w 895388"/>
                        <a:gd name="connsiteY458" fmla="*/ 650081 h 1512093"/>
                        <a:gd name="connsiteX459" fmla="*/ 311944 w 895388"/>
                        <a:gd name="connsiteY459" fmla="*/ 657225 h 1512093"/>
                        <a:gd name="connsiteX460" fmla="*/ 309563 w 895388"/>
                        <a:gd name="connsiteY460" fmla="*/ 664368 h 1512093"/>
                        <a:gd name="connsiteX461" fmla="*/ 292894 w 895388"/>
                        <a:gd name="connsiteY461" fmla="*/ 671512 h 1512093"/>
                        <a:gd name="connsiteX462" fmla="*/ 285750 w 895388"/>
                        <a:gd name="connsiteY462" fmla="*/ 676275 h 1512093"/>
                        <a:gd name="connsiteX463" fmla="*/ 269082 w 895388"/>
                        <a:gd name="connsiteY463" fmla="*/ 666750 h 1512093"/>
                        <a:gd name="connsiteX464" fmla="*/ 266700 w 895388"/>
                        <a:gd name="connsiteY464" fmla="*/ 659606 h 1512093"/>
                        <a:gd name="connsiteX465" fmla="*/ 257175 w 895388"/>
                        <a:gd name="connsiteY465" fmla="*/ 657225 h 1512093"/>
                        <a:gd name="connsiteX466" fmla="*/ 254794 w 895388"/>
                        <a:gd name="connsiteY466" fmla="*/ 666750 h 1512093"/>
                        <a:gd name="connsiteX467" fmla="*/ 252413 w 895388"/>
                        <a:gd name="connsiteY467" fmla="*/ 681037 h 1512093"/>
                        <a:gd name="connsiteX468" fmla="*/ 254794 w 895388"/>
                        <a:gd name="connsiteY468" fmla="*/ 690562 h 1512093"/>
                        <a:gd name="connsiteX469" fmla="*/ 254794 w 895388"/>
                        <a:gd name="connsiteY469" fmla="*/ 695325 h 1512093"/>
                        <a:gd name="connsiteX470" fmla="*/ 245269 w 895388"/>
                        <a:gd name="connsiteY470" fmla="*/ 692943 h 1512093"/>
                        <a:gd name="connsiteX471" fmla="*/ 250032 w 895388"/>
                        <a:gd name="connsiteY471" fmla="*/ 676275 h 1512093"/>
                        <a:gd name="connsiteX472" fmla="*/ 233363 w 895388"/>
                        <a:gd name="connsiteY472" fmla="*/ 654843 h 1512093"/>
                        <a:gd name="connsiteX473" fmla="*/ 235744 w 895388"/>
                        <a:gd name="connsiteY473" fmla="*/ 633412 h 1512093"/>
                        <a:gd name="connsiteX474" fmla="*/ 259557 w 895388"/>
                        <a:gd name="connsiteY474" fmla="*/ 619125 h 1512093"/>
                        <a:gd name="connsiteX475" fmla="*/ 266700 w 895388"/>
                        <a:gd name="connsiteY475" fmla="*/ 614362 h 1512093"/>
                        <a:gd name="connsiteX476" fmla="*/ 276225 w 895388"/>
                        <a:gd name="connsiteY476" fmla="*/ 600075 h 1512093"/>
                        <a:gd name="connsiteX477" fmla="*/ 280988 w 895388"/>
                        <a:gd name="connsiteY477" fmla="*/ 590550 h 1512093"/>
                        <a:gd name="connsiteX478" fmla="*/ 295275 w 895388"/>
                        <a:gd name="connsiteY478" fmla="*/ 576262 h 1512093"/>
                        <a:gd name="connsiteX479" fmla="*/ 297657 w 895388"/>
                        <a:gd name="connsiteY479" fmla="*/ 569118 h 1512093"/>
                        <a:gd name="connsiteX480" fmla="*/ 316707 w 895388"/>
                        <a:gd name="connsiteY480" fmla="*/ 561975 h 1512093"/>
                        <a:gd name="connsiteX481" fmla="*/ 309563 w 895388"/>
                        <a:gd name="connsiteY481" fmla="*/ 531018 h 1512093"/>
                        <a:gd name="connsiteX482" fmla="*/ 302419 w 895388"/>
                        <a:gd name="connsiteY482" fmla="*/ 526256 h 1512093"/>
                        <a:gd name="connsiteX483" fmla="*/ 292894 w 895388"/>
                        <a:gd name="connsiteY483" fmla="*/ 511968 h 1512093"/>
                        <a:gd name="connsiteX484" fmla="*/ 288132 w 895388"/>
                        <a:gd name="connsiteY484" fmla="*/ 497681 h 1512093"/>
                        <a:gd name="connsiteX485" fmla="*/ 297657 w 895388"/>
                        <a:gd name="connsiteY485" fmla="*/ 481012 h 1512093"/>
                        <a:gd name="connsiteX486" fmla="*/ 311944 w 895388"/>
                        <a:gd name="connsiteY486" fmla="*/ 466725 h 1512093"/>
                        <a:gd name="connsiteX487" fmla="*/ 328613 w 895388"/>
                        <a:gd name="connsiteY487" fmla="*/ 469106 h 1512093"/>
                        <a:gd name="connsiteX488" fmla="*/ 335757 w 895388"/>
                        <a:gd name="connsiteY488" fmla="*/ 471487 h 1512093"/>
                        <a:gd name="connsiteX489" fmla="*/ 333375 w 895388"/>
                        <a:gd name="connsiteY489" fmla="*/ 476250 h 1512093"/>
                        <a:gd name="connsiteX490" fmla="*/ 326232 w 895388"/>
                        <a:gd name="connsiteY490" fmla="*/ 471487 h 1512093"/>
                        <a:gd name="connsiteX491" fmla="*/ 319088 w 895388"/>
                        <a:gd name="connsiteY491" fmla="*/ 469106 h 1512093"/>
                        <a:gd name="connsiteX492" fmla="*/ 314325 w 895388"/>
                        <a:gd name="connsiteY492" fmla="*/ 461962 h 1512093"/>
                        <a:gd name="connsiteX493" fmla="*/ 316707 w 895388"/>
                        <a:gd name="connsiteY493" fmla="*/ 445293 h 1512093"/>
                        <a:gd name="connsiteX494" fmla="*/ 307182 w 895388"/>
                        <a:gd name="connsiteY494" fmla="*/ 459581 h 1512093"/>
                        <a:gd name="connsiteX495" fmla="*/ 302419 w 895388"/>
                        <a:gd name="connsiteY495" fmla="*/ 466725 h 1512093"/>
                        <a:gd name="connsiteX496" fmla="*/ 288132 w 895388"/>
                        <a:gd name="connsiteY496" fmla="*/ 471487 h 1512093"/>
                        <a:gd name="connsiteX497" fmla="*/ 280988 w 895388"/>
                        <a:gd name="connsiteY497" fmla="*/ 466725 h 1512093"/>
                        <a:gd name="connsiteX498" fmla="*/ 266700 w 895388"/>
                        <a:gd name="connsiteY498" fmla="*/ 461962 h 1512093"/>
                        <a:gd name="connsiteX499" fmla="*/ 264319 w 895388"/>
                        <a:gd name="connsiteY499" fmla="*/ 454818 h 1512093"/>
                        <a:gd name="connsiteX500" fmla="*/ 266700 w 895388"/>
                        <a:gd name="connsiteY500" fmla="*/ 447675 h 1512093"/>
                        <a:gd name="connsiteX501" fmla="*/ 285750 w 895388"/>
                        <a:gd name="connsiteY501" fmla="*/ 426243 h 1512093"/>
                        <a:gd name="connsiteX502" fmla="*/ 300038 w 895388"/>
                        <a:gd name="connsiteY502" fmla="*/ 421481 h 1512093"/>
                        <a:gd name="connsiteX503" fmla="*/ 292894 w 895388"/>
                        <a:gd name="connsiteY503" fmla="*/ 423862 h 1512093"/>
                        <a:gd name="connsiteX504" fmla="*/ 285750 w 895388"/>
                        <a:gd name="connsiteY504" fmla="*/ 428625 h 1512093"/>
                        <a:gd name="connsiteX505" fmla="*/ 271463 w 895388"/>
                        <a:gd name="connsiteY505" fmla="*/ 433387 h 1512093"/>
                        <a:gd name="connsiteX506" fmla="*/ 257175 w 895388"/>
                        <a:gd name="connsiteY506" fmla="*/ 442912 h 1512093"/>
                        <a:gd name="connsiteX507" fmla="*/ 250032 w 895388"/>
                        <a:gd name="connsiteY507" fmla="*/ 447675 h 1512093"/>
                        <a:gd name="connsiteX508" fmla="*/ 245269 w 895388"/>
                        <a:gd name="connsiteY508" fmla="*/ 440531 h 1512093"/>
                        <a:gd name="connsiteX509" fmla="*/ 240507 w 895388"/>
                        <a:gd name="connsiteY509" fmla="*/ 426243 h 1512093"/>
                        <a:gd name="connsiteX510" fmla="*/ 247650 w 895388"/>
                        <a:gd name="connsiteY510" fmla="*/ 419100 h 1512093"/>
                        <a:gd name="connsiteX511" fmla="*/ 252413 w 895388"/>
                        <a:gd name="connsiteY511" fmla="*/ 404812 h 1512093"/>
                        <a:gd name="connsiteX512" fmla="*/ 257175 w 895388"/>
                        <a:gd name="connsiteY512" fmla="*/ 397668 h 1512093"/>
                        <a:gd name="connsiteX513" fmla="*/ 259557 w 895388"/>
                        <a:gd name="connsiteY513" fmla="*/ 378618 h 1512093"/>
                        <a:gd name="connsiteX514" fmla="*/ 307182 w 895388"/>
                        <a:gd name="connsiteY514" fmla="*/ 373856 h 1512093"/>
                        <a:gd name="connsiteX515" fmla="*/ 309563 w 895388"/>
                        <a:gd name="connsiteY515" fmla="*/ 359568 h 1512093"/>
                        <a:gd name="connsiteX516" fmla="*/ 302419 w 895388"/>
                        <a:gd name="connsiteY516" fmla="*/ 354806 h 1512093"/>
                        <a:gd name="connsiteX517" fmla="*/ 288132 w 895388"/>
                        <a:gd name="connsiteY517" fmla="*/ 350043 h 1512093"/>
                        <a:gd name="connsiteX518" fmla="*/ 292894 w 895388"/>
                        <a:gd name="connsiteY518" fmla="*/ 335756 h 1512093"/>
                        <a:gd name="connsiteX519" fmla="*/ 300038 w 895388"/>
                        <a:gd name="connsiteY519" fmla="*/ 328612 h 1512093"/>
                        <a:gd name="connsiteX520" fmla="*/ 304800 w 895388"/>
                        <a:gd name="connsiteY520" fmla="*/ 321468 h 1512093"/>
                        <a:gd name="connsiteX521" fmla="*/ 311944 w 895388"/>
                        <a:gd name="connsiteY521" fmla="*/ 316706 h 1512093"/>
                        <a:gd name="connsiteX522" fmla="*/ 321469 w 895388"/>
                        <a:gd name="connsiteY522" fmla="*/ 302418 h 1512093"/>
                        <a:gd name="connsiteX523" fmla="*/ 292894 w 895388"/>
                        <a:gd name="connsiteY523" fmla="*/ 316706 h 1512093"/>
                        <a:gd name="connsiteX524" fmla="*/ 285750 w 895388"/>
                        <a:gd name="connsiteY524" fmla="*/ 319087 h 1512093"/>
                        <a:gd name="connsiteX525" fmla="*/ 278607 w 895388"/>
                        <a:gd name="connsiteY525" fmla="*/ 323850 h 1512093"/>
                        <a:gd name="connsiteX526" fmla="*/ 269082 w 895388"/>
                        <a:gd name="connsiteY526" fmla="*/ 326231 h 1512093"/>
                        <a:gd name="connsiteX527" fmla="*/ 261938 w 895388"/>
                        <a:gd name="connsiteY527" fmla="*/ 328612 h 1512093"/>
                        <a:gd name="connsiteX528" fmla="*/ 259557 w 895388"/>
                        <a:gd name="connsiteY528" fmla="*/ 311943 h 1512093"/>
                        <a:gd name="connsiteX529" fmla="*/ 245269 w 895388"/>
                        <a:gd name="connsiteY529" fmla="*/ 307181 h 1512093"/>
                        <a:gd name="connsiteX530" fmla="*/ 250032 w 895388"/>
                        <a:gd name="connsiteY530" fmla="*/ 300037 h 1512093"/>
                        <a:gd name="connsiteX531" fmla="*/ 259557 w 895388"/>
                        <a:gd name="connsiteY531" fmla="*/ 278606 h 1512093"/>
                        <a:gd name="connsiteX532" fmla="*/ 266700 w 895388"/>
                        <a:gd name="connsiteY532" fmla="*/ 276225 h 1512093"/>
                        <a:gd name="connsiteX533" fmla="*/ 290513 w 895388"/>
                        <a:gd name="connsiteY533" fmla="*/ 259556 h 1512093"/>
                        <a:gd name="connsiteX534" fmla="*/ 297657 w 895388"/>
                        <a:gd name="connsiteY534" fmla="*/ 254793 h 1512093"/>
                        <a:gd name="connsiteX535" fmla="*/ 304800 w 895388"/>
                        <a:gd name="connsiteY535" fmla="*/ 247650 h 1512093"/>
                        <a:gd name="connsiteX536" fmla="*/ 302419 w 895388"/>
                        <a:gd name="connsiteY536" fmla="*/ 240506 h 1512093"/>
                        <a:gd name="connsiteX537" fmla="*/ 288132 w 895388"/>
                        <a:gd name="connsiteY537" fmla="*/ 250031 h 1512093"/>
                        <a:gd name="connsiteX538" fmla="*/ 271463 w 895388"/>
                        <a:gd name="connsiteY538" fmla="*/ 254793 h 1512093"/>
                        <a:gd name="connsiteX539" fmla="*/ 269082 w 895388"/>
                        <a:gd name="connsiteY539" fmla="*/ 247650 h 1512093"/>
                        <a:gd name="connsiteX540" fmla="*/ 283369 w 895388"/>
                        <a:gd name="connsiteY540" fmla="*/ 223837 h 1512093"/>
                        <a:gd name="connsiteX541" fmla="*/ 288132 w 895388"/>
                        <a:gd name="connsiteY541" fmla="*/ 216693 h 1512093"/>
                        <a:gd name="connsiteX542" fmla="*/ 292894 w 895388"/>
                        <a:gd name="connsiteY542" fmla="*/ 209550 h 1512093"/>
                        <a:gd name="connsiteX543" fmla="*/ 307182 w 895388"/>
                        <a:gd name="connsiteY543" fmla="*/ 200025 h 1512093"/>
                        <a:gd name="connsiteX544" fmla="*/ 302419 w 895388"/>
                        <a:gd name="connsiteY544" fmla="*/ 207168 h 1512093"/>
                        <a:gd name="connsiteX545" fmla="*/ 288132 w 895388"/>
                        <a:gd name="connsiteY545" fmla="*/ 219075 h 1512093"/>
                        <a:gd name="connsiteX546" fmla="*/ 271463 w 895388"/>
                        <a:gd name="connsiteY546" fmla="*/ 202406 h 1512093"/>
                        <a:gd name="connsiteX547" fmla="*/ 266700 w 895388"/>
                        <a:gd name="connsiteY547" fmla="*/ 188118 h 1512093"/>
                        <a:gd name="connsiteX548" fmla="*/ 264319 w 895388"/>
                        <a:gd name="connsiteY548" fmla="*/ 180975 h 1512093"/>
                        <a:gd name="connsiteX549" fmla="*/ 266700 w 895388"/>
                        <a:gd name="connsiteY549" fmla="*/ 164306 h 1512093"/>
                        <a:gd name="connsiteX550" fmla="*/ 292894 w 895388"/>
                        <a:gd name="connsiteY550" fmla="*/ 169068 h 1512093"/>
                        <a:gd name="connsiteX551" fmla="*/ 302419 w 895388"/>
                        <a:gd name="connsiteY551" fmla="*/ 166687 h 1512093"/>
                        <a:gd name="connsiteX552" fmla="*/ 292894 w 895388"/>
                        <a:gd name="connsiteY552" fmla="*/ 161925 h 1512093"/>
                        <a:gd name="connsiteX553" fmla="*/ 285750 w 895388"/>
                        <a:gd name="connsiteY553" fmla="*/ 157162 h 1512093"/>
                        <a:gd name="connsiteX554" fmla="*/ 285750 w 895388"/>
                        <a:gd name="connsiteY554" fmla="*/ 130968 h 1512093"/>
                        <a:gd name="connsiteX555" fmla="*/ 300038 w 895388"/>
                        <a:gd name="connsiteY555" fmla="*/ 123825 h 1512093"/>
                        <a:gd name="connsiteX556" fmla="*/ 311944 w 895388"/>
                        <a:gd name="connsiteY556" fmla="*/ 133350 h 1512093"/>
                        <a:gd name="connsiteX557" fmla="*/ 316707 w 895388"/>
                        <a:gd name="connsiteY557" fmla="*/ 119062 h 1512093"/>
                        <a:gd name="connsiteX558" fmla="*/ 326232 w 895388"/>
                        <a:gd name="connsiteY558" fmla="*/ 116681 h 1512093"/>
                        <a:gd name="connsiteX559" fmla="*/ 345282 w 895388"/>
                        <a:gd name="connsiteY559" fmla="*/ 121443 h 1512093"/>
                        <a:gd name="connsiteX560" fmla="*/ 352425 w 895388"/>
                        <a:gd name="connsiteY560" fmla="*/ 123825 h 1512093"/>
                        <a:gd name="connsiteX561" fmla="*/ 352425 w 895388"/>
                        <a:gd name="connsiteY561" fmla="*/ 104775 h 1512093"/>
                        <a:gd name="connsiteX562" fmla="*/ 345282 w 895388"/>
                        <a:gd name="connsiteY562" fmla="*/ 100012 h 1512093"/>
                        <a:gd name="connsiteX563" fmla="*/ 338138 w 895388"/>
                        <a:gd name="connsiteY563" fmla="*/ 73818 h 1512093"/>
                        <a:gd name="connsiteX564" fmla="*/ 347663 w 895388"/>
                        <a:gd name="connsiteY564" fmla="*/ 59531 h 1512093"/>
                        <a:gd name="connsiteX565" fmla="*/ 350044 w 895388"/>
                        <a:gd name="connsiteY565" fmla="*/ 52387 h 1512093"/>
                        <a:gd name="connsiteX566" fmla="*/ 347663 w 895388"/>
                        <a:gd name="connsiteY566" fmla="*/ 40481 h 1512093"/>
                        <a:gd name="connsiteX567" fmla="*/ 352425 w 895388"/>
                        <a:gd name="connsiteY567" fmla="*/ 47625 h 1512093"/>
                        <a:gd name="connsiteX568" fmla="*/ 361950 w 895388"/>
                        <a:gd name="connsiteY568" fmla="*/ 50006 h 1512093"/>
                        <a:gd name="connsiteX569" fmla="*/ 369094 w 895388"/>
                        <a:gd name="connsiteY569" fmla="*/ 52387 h 1512093"/>
                        <a:gd name="connsiteX570" fmla="*/ 381000 w 895388"/>
                        <a:gd name="connsiteY570" fmla="*/ 42862 h 1512093"/>
                        <a:gd name="connsiteX571" fmla="*/ 376238 w 895388"/>
                        <a:gd name="connsiteY571" fmla="*/ 35718 h 1512093"/>
                        <a:gd name="connsiteX572" fmla="*/ 378619 w 895388"/>
                        <a:gd name="connsiteY572" fmla="*/ 54768 h 1512093"/>
                        <a:gd name="connsiteX0" fmla="*/ 378619 w 895388"/>
                        <a:gd name="connsiteY0" fmla="*/ 54768 h 1512093"/>
                        <a:gd name="connsiteX1" fmla="*/ 376238 w 895388"/>
                        <a:gd name="connsiteY1" fmla="*/ 42862 h 1512093"/>
                        <a:gd name="connsiteX2" fmla="*/ 371475 w 895388"/>
                        <a:gd name="connsiteY2" fmla="*/ 35718 h 1512093"/>
                        <a:gd name="connsiteX3" fmla="*/ 373857 w 895388"/>
                        <a:gd name="connsiteY3" fmla="*/ 14287 h 1512093"/>
                        <a:gd name="connsiteX4" fmla="*/ 376238 w 895388"/>
                        <a:gd name="connsiteY4" fmla="*/ 4762 h 1512093"/>
                        <a:gd name="connsiteX5" fmla="*/ 383382 w 895388"/>
                        <a:gd name="connsiteY5" fmla="*/ 2381 h 1512093"/>
                        <a:gd name="connsiteX6" fmla="*/ 407194 w 895388"/>
                        <a:gd name="connsiteY6" fmla="*/ 0 h 1512093"/>
                        <a:gd name="connsiteX7" fmla="*/ 414338 w 895388"/>
                        <a:gd name="connsiteY7" fmla="*/ 2381 h 1512093"/>
                        <a:gd name="connsiteX8" fmla="*/ 423863 w 895388"/>
                        <a:gd name="connsiteY8" fmla="*/ 16668 h 1512093"/>
                        <a:gd name="connsiteX9" fmla="*/ 421482 w 895388"/>
                        <a:gd name="connsiteY9" fmla="*/ 23812 h 1512093"/>
                        <a:gd name="connsiteX10" fmla="*/ 419100 w 895388"/>
                        <a:gd name="connsiteY10" fmla="*/ 33337 h 1512093"/>
                        <a:gd name="connsiteX11" fmla="*/ 426244 w 895388"/>
                        <a:gd name="connsiteY11" fmla="*/ 30956 h 1512093"/>
                        <a:gd name="connsiteX12" fmla="*/ 440532 w 895388"/>
                        <a:gd name="connsiteY12" fmla="*/ 23812 h 1512093"/>
                        <a:gd name="connsiteX13" fmla="*/ 447675 w 895388"/>
                        <a:gd name="connsiteY13" fmla="*/ 26193 h 1512093"/>
                        <a:gd name="connsiteX14" fmla="*/ 454819 w 895388"/>
                        <a:gd name="connsiteY14" fmla="*/ 30956 h 1512093"/>
                        <a:gd name="connsiteX15" fmla="*/ 459582 w 895388"/>
                        <a:gd name="connsiteY15" fmla="*/ 38100 h 1512093"/>
                        <a:gd name="connsiteX16" fmla="*/ 471488 w 895388"/>
                        <a:gd name="connsiteY16" fmla="*/ 35718 h 1512093"/>
                        <a:gd name="connsiteX17" fmla="*/ 502444 w 895388"/>
                        <a:gd name="connsiteY17" fmla="*/ 30956 h 1512093"/>
                        <a:gd name="connsiteX18" fmla="*/ 519113 w 895388"/>
                        <a:gd name="connsiteY18" fmla="*/ 19050 h 1512093"/>
                        <a:gd name="connsiteX19" fmla="*/ 526257 w 895388"/>
                        <a:gd name="connsiteY19" fmla="*/ 28575 h 1512093"/>
                        <a:gd name="connsiteX20" fmla="*/ 542925 w 895388"/>
                        <a:gd name="connsiteY20" fmla="*/ 21431 h 1512093"/>
                        <a:gd name="connsiteX21" fmla="*/ 545307 w 895388"/>
                        <a:gd name="connsiteY21" fmla="*/ 28575 h 1512093"/>
                        <a:gd name="connsiteX22" fmla="*/ 569119 w 895388"/>
                        <a:gd name="connsiteY22" fmla="*/ 28575 h 1512093"/>
                        <a:gd name="connsiteX23" fmla="*/ 573882 w 895388"/>
                        <a:gd name="connsiteY23" fmla="*/ 45243 h 1512093"/>
                        <a:gd name="connsiteX24" fmla="*/ 564357 w 895388"/>
                        <a:gd name="connsiteY24" fmla="*/ 61912 h 1512093"/>
                        <a:gd name="connsiteX25" fmla="*/ 557213 w 895388"/>
                        <a:gd name="connsiteY25" fmla="*/ 76200 h 1512093"/>
                        <a:gd name="connsiteX26" fmla="*/ 550069 w 895388"/>
                        <a:gd name="connsiteY26" fmla="*/ 80962 h 1512093"/>
                        <a:gd name="connsiteX27" fmla="*/ 542925 w 895388"/>
                        <a:gd name="connsiteY27" fmla="*/ 88106 h 1512093"/>
                        <a:gd name="connsiteX28" fmla="*/ 519113 w 895388"/>
                        <a:gd name="connsiteY28" fmla="*/ 95250 h 1512093"/>
                        <a:gd name="connsiteX29" fmla="*/ 504825 w 895388"/>
                        <a:gd name="connsiteY29" fmla="*/ 100012 h 1512093"/>
                        <a:gd name="connsiteX30" fmla="*/ 483394 w 895388"/>
                        <a:gd name="connsiteY30" fmla="*/ 109537 h 1512093"/>
                        <a:gd name="connsiteX31" fmla="*/ 476250 w 895388"/>
                        <a:gd name="connsiteY31" fmla="*/ 111918 h 1512093"/>
                        <a:gd name="connsiteX32" fmla="*/ 464344 w 895388"/>
                        <a:gd name="connsiteY32" fmla="*/ 123825 h 1512093"/>
                        <a:gd name="connsiteX33" fmla="*/ 461963 w 895388"/>
                        <a:gd name="connsiteY33" fmla="*/ 130968 h 1512093"/>
                        <a:gd name="connsiteX34" fmla="*/ 454819 w 895388"/>
                        <a:gd name="connsiteY34" fmla="*/ 135731 h 1512093"/>
                        <a:gd name="connsiteX35" fmla="*/ 438150 w 895388"/>
                        <a:gd name="connsiteY35" fmla="*/ 133350 h 1512093"/>
                        <a:gd name="connsiteX36" fmla="*/ 431007 w 895388"/>
                        <a:gd name="connsiteY36" fmla="*/ 126206 h 1512093"/>
                        <a:gd name="connsiteX37" fmla="*/ 428625 w 895388"/>
                        <a:gd name="connsiteY37" fmla="*/ 133350 h 1512093"/>
                        <a:gd name="connsiteX38" fmla="*/ 435769 w 895388"/>
                        <a:gd name="connsiteY38" fmla="*/ 138112 h 1512093"/>
                        <a:gd name="connsiteX39" fmla="*/ 442913 w 895388"/>
                        <a:gd name="connsiteY39" fmla="*/ 140493 h 1512093"/>
                        <a:gd name="connsiteX40" fmla="*/ 447675 w 895388"/>
                        <a:gd name="connsiteY40" fmla="*/ 154781 h 1512093"/>
                        <a:gd name="connsiteX41" fmla="*/ 431007 w 895388"/>
                        <a:gd name="connsiteY41" fmla="*/ 171450 h 1512093"/>
                        <a:gd name="connsiteX42" fmla="*/ 421482 w 895388"/>
                        <a:gd name="connsiteY42" fmla="*/ 176212 h 1512093"/>
                        <a:gd name="connsiteX43" fmla="*/ 419100 w 895388"/>
                        <a:gd name="connsiteY43" fmla="*/ 192881 h 1512093"/>
                        <a:gd name="connsiteX44" fmla="*/ 426244 w 895388"/>
                        <a:gd name="connsiteY44" fmla="*/ 195262 h 1512093"/>
                        <a:gd name="connsiteX45" fmla="*/ 431007 w 895388"/>
                        <a:gd name="connsiteY45" fmla="*/ 202406 h 1512093"/>
                        <a:gd name="connsiteX46" fmla="*/ 457200 w 895388"/>
                        <a:gd name="connsiteY46" fmla="*/ 197643 h 1512093"/>
                        <a:gd name="connsiteX47" fmla="*/ 478632 w 895388"/>
                        <a:gd name="connsiteY47" fmla="*/ 195262 h 1512093"/>
                        <a:gd name="connsiteX48" fmla="*/ 488157 w 895388"/>
                        <a:gd name="connsiteY48" fmla="*/ 183356 h 1512093"/>
                        <a:gd name="connsiteX49" fmla="*/ 497682 w 895388"/>
                        <a:gd name="connsiteY49" fmla="*/ 176212 h 1512093"/>
                        <a:gd name="connsiteX50" fmla="*/ 511969 w 895388"/>
                        <a:gd name="connsiteY50" fmla="*/ 178593 h 1512093"/>
                        <a:gd name="connsiteX51" fmla="*/ 526257 w 895388"/>
                        <a:gd name="connsiteY51" fmla="*/ 188118 h 1512093"/>
                        <a:gd name="connsiteX52" fmla="*/ 531019 w 895388"/>
                        <a:gd name="connsiteY52" fmla="*/ 195262 h 1512093"/>
                        <a:gd name="connsiteX53" fmla="*/ 545307 w 895388"/>
                        <a:gd name="connsiteY53" fmla="*/ 202406 h 1512093"/>
                        <a:gd name="connsiteX54" fmla="*/ 552450 w 895388"/>
                        <a:gd name="connsiteY54" fmla="*/ 197643 h 1512093"/>
                        <a:gd name="connsiteX55" fmla="*/ 557213 w 895388"/>
                        <a:gd name="connsiteY55" fmla="*/ 190500 h 1512093"/>
                        <a:gd name="connsiteX56" fmla="*/ 564357 w 895388"/>
                        <a:gd name="connsiteY56" fmla="*/ 192881 h 1512093"/>
                        <a:gd name="connsiteX57" fmla="*/ 569119 w 895388"/>
                        <a:gd name="connsiteY57" fmla="*/ 200025 h 1512093"/>
                        <a:gd name="connsiteX58" fmla="*/ 576263 w 895388"/>
                        <a:gd name="connsiteY58" fmla="*/ 202406 h 1512093"/>
                        <a:gd name="connsiteX59" fmla="*/ 595313 w 895388"/>
                        <a:gd name="connsiteY59" fmla="*/ 207168 h 1512093"/>
                        <a:gd name="connsiteX60" fmla="*/ 633413 w 895388"/>
                        <a:gd name="connsiteY60" fmla="*/ 214312 h 1512093"/>
                        <a:gd name="connsiteX61" fmla="*/ 638175 w 895388"/>
                        <a:gd name="connsiteY61" fmla="*/ 207168 h 1512093"/>
                        <a:gd name="connsiteX62" fmla="*/ 631032 w 895388"/>
                        <a:gd name="connsiteY62" fmla="*/ 202406 h 1512093"/>
                        <a:gd name="connsiteX63" fmla="*/ 633413 w 895388"/>
                        <a:gd name="connsiteY63" fmla="*/ 216693 h 1512093"/>
                        <a:gd name="connsiteX64" fmla="*/ 647700 w 895388"/>
                        <a:gd name="connsiteY64" fmla="*/ 221456 h 1512093"/>
                        <a:gd name="connsiteX65" fmla="*/ 652463 w 895388"/>
                        <a:gd name="connsiteY65" fmla="*/ 228600 h 1512093"/>
                        <a:gd name="connsiteX66" fmla="*/ 657225 w 895388"/>
                        <a:gd name="connsiteY66" fmla="*/ 242887 h 1512093"/>
                        <a:gd name="connsiteX67" fmla="*/ 647700 w 895388"/>
                        <a:gd name="connsiteY67" fmla="*/ 271462 h 1512093"/>
                        <a:gd name="connsiteX68" fmla="*/ 638175 w 895388"/>
                        <a:gd name="connsiteY68" fmla="*/ 273843 h 1512093"/>
                        <a:gd name="connsiteX69" fmla="*/ 626269 w 895388"/>
                        <a:gd name="connsiteY69" fmla="*/ 292893 h 1512093"/>
                        <a:gd name="connsiteX70" fmla="*/ 621507 w 895388"/>
                        <a:gd name="connsiteY70" fmla="*/ 300037 h 1512093"/>
                        <a:gd name="connsiteX71" fmla="*/ 616744 w 895388"/>
                        <a:gd name="connsiteY71" fmla="*/ 314325 h 1512093"/>
                        <a:gd name="connsiteX72" fmla="*/ 614363 w 895388"/>
                        <a:gd name="connsiteY72" fmla="*/ 321468 h 1512093"/>
                        <a:gd name="connsiteX73" fmla="*/ 604838 w 895388"/>
                        <a:gd name="connsiteY73" fmla="*/ 335756 h 1512093"/>
                        <a:gd name="connsiteX74" fmla="*/ 602457 w 895388"/>
                        <a:gd name="connsiteY74" fmla="*/ 342900 h 1512093"/>
                        <a:gd name="connsiteX75" fmla="*/ 600075 w 895388"/>
                        <a:gd name="connsiteY75" fmla="*/ 352425 h 1512093"/>
                        <a:gd name="connsiteX76" fmla="*/ 583407 w 895388"/>
                        <a:gd name="connsiteY76" fmla="*/ 354806 h 1512093"/>
                        <a:gd name="connsiteX77" fmla="*/ 566738 w 895388"/>
                        <a:gd name="connsiteY77" fmla="*/ 369093 h 1512093"/>
                        <a:gd name="connsiteX78" fmla="*/ 564357 w 895388"/>
                        <a:gd name="connsiteY78" fmla="*/ 378618 h 1512093"/>
                        <a:gd name="connsiteX79" fmla="*/ 559594 w 895388"/>
                        <a:gd name="connsiteY79" fmla="*/ 392906 h 1512093"/>
                        <a:gd name="connsiteX80" fmla="*/ 550069 w 895388"/>
                        <a:gd name="connsiteY80" fmla="*/ 404812 h 1512093"/>
                        <a:gd name="connsiteX81" fmla="*/ 542925 w 895388"/>
                        <a:gd name="connsiteY81" fmla="*/ 407193 h 1512093"/>
                        <a:gd name="connsiteX82" fmla="*/ 495300 w 895388"/>
                        <a:gd name="connsiteY82" fmla="*/ 409575 h 1512093"/>
                        <a:gd name="connsiteX83" fmla="*/ 478632 w 895388"/>
                        <a:gd name="connsiteY83" fmla="*/ 419100 h 1512093"/>
                        <a:gd name="connsiteX84" fmla="*/ 476250 w 895388"/>
                        <a:gd name="connsiteY84" fmla="*/ 426243 h 1512093"/>
                        <a:gd name="connsiteX85" fmla="*/ 478632 w 895388"/>
                        <a:gd name="connsiteY85" fmla="*/ 433387 h 1512093"/>
                        <a:gd name="connsiteX86" fmla="*/ 500063 w 895388"/>
                        <a:gd name="connsiteY86" fmla="*/ 423862 h 1512093"/>
                        <a:gd name="connsiteX87" fmla="*/ 514350 w 895388"/>
                        <a:gd name="connsiteY87" fmla="*/ 416718 h 1512093"/>
                        <a:gd name="connsiteX88" fmla="*/ 519113 w 895388"/>
                        <a:gd name="connsiteY88" fmla="*/ 423862 h 1512093"/>
                        <a:gd name="connsiteX89" fmla="*/ 526257 w 895388"/>
                        <a:gd name="connsiteY89" fmla="*/ 431006 h 1512093"/>
                        <a:gd name="connsiteX90" fmla="*/ 528638 w 895388"/>
                        <a:gd name="connsiteY90" fmla="*/ 438150 h 1512093"/>
                        <a:gd name="connsiteX91" fmla="*/ 535782 w 895388"/>
                        <a:gd name="connsiteY91" fmla="*/ 445293 h 1512093"/>
                        <a:gd name="connsiteX92" fmla="*/ 540544 w 895388"/>
                        <a:gd name="connsiteY92" fmla="*/ 452437 h 1512093"/>
                        <a:gd name="connsiteX93" fmla="*/ 519113 w 895388"/>
                        <a:gd name="connsiteY93" fmla="*/ 447675 h 1512093"/>
                        <a:gd name="connsiteX94" fmla="*/ 502444 w 895388"/>
                        <a:gd name="connsiteY94" fmla="*/ 450056 h 1512093"/>
                        <a:gd name="connsiteX95" fmla="*/ 488157 w 895388"/>
                        <a:gd name="connsiteY95" fmla="*/ 461962 h 1512093"/>
                        <a:gd name="connsiteX96" fmla="*/ 473869 w 895388"/>
                        <a:gd name="connsiteY96" fmla="*/ 469106 h 1512093"/>
                        <a:gd name="connsiteX97" fmla="*/ 466725 w 895388"/>
                        <a:gd name="connsiteY97" fmla="*/ 476250 h 1512093"/>
                        <a:gd name="connsiteX98" fmla="*/ 461963 w 895388"/>
                        <a:gd name="connsiteY98" fmla="*/ 483393 h 1512093"/>
                        <a:gd name="connsiteX99" fmla="*/ 447675 w 895388"/>
                        <a:gd name="connsiteY99" fmla="*/ 476250 h 1512093"/>
                        <a:gd name="connsiteX100" fmla="*/ 433388 w 895388"/>
                        <a:gd name="connsiteY100" fmla="*/ 471487 h 1512093"/>
                        <a:gd name="connsiteX101" fmla="*/ 426244 w 895388"/>
                        <a:gd name="connsiteY101" fmla="*/ 469106 h 1512093"/>
                        <a:gd name="connsiteX102" fmla="*/ 423863 w 895388"/>
                        <a:gd name="connsiteY102" fmla="*/ 485775 h 1512093"/>
                        <a:gd name="connsiteX103" fmla="*/ 431007 w 895388"/>
                        <a:gd name="connsiteY103" fmla="*/ 488156 h 1512093"/>
                        <a:gd name="connsiteX104" fmla="*/ 457200 w 895388"/>
                        <a:gd name="connsiteY104" fmla="*/ 488156 h 1512093"/>
                        <a:gd name="connsiteX105" fmla="*/ 471488 w 895388"/>
                        <a:gd name="connsiteY105" fmla="*/ 497681 h 1512093"/>
                        <a:gd name="connsiteX106" fmla="*/ 478632 w 895388"/>
                        <a:gd name="connsiteY106" fmla="*/ 500062 h 1512093"/>
                        <a:gd name="connsiteX107" fmla="*/ 502444 w 895388"/>
                        <a:gd name="connsiteY107" fmla="*/ 497681 h 1512093"/>
                        <a:gd name="connsiteX108" fmla="*/ 504825 w 895388"/>
                        <a:gd name="connsiteY108" fmla="*/ 490537 h 1512093"/>
                        <a:gd name="connsiteX109" fmla="*/ 519113 w 895388"/>
                        <a:gd name="connsiteY109" fmla="*/ 481012 h 1512093"/>
                        <a:gd name="connsiteX110" fmla="*/ 526257 w 895388"/>
                        <a:gd name="connsiteY110" fmla="*/ 495300 h 1512093"/>
                        <a:gd name="connsiteX111" fmla="*/ 533400 w 895388"/>
                        <a:gd name="connsiteY111" fmla="*/ 500062 h 1512093"/>
                        <a:gd name="connsiteX112" fmla="*/ 540544 w 895388"/>
                        <a:gd name="connsiteY112" fmla="*/ 507206 h 1512093"/>
                        <a:gd name="connsiteX113" fmla="*/ 554832 w 895388"/>
                        <a:gd name="connsiteY113" fmla="*/ 516731 h 1512093"/>
                        <a:gd name="connsiteX114" fmla="*/ 569119 w 895388"/>
                        <a:gd name="connsiteY114" fmla="*/ 528637 h 1512093"/>
                        <a:gd name="connsiteX115" fmla="*/ 578644 w 895388"/>
                        <a:gd name="connsiteY115" fmla="*/ 542925 h 1512093"/>
                        <a:gd name="connsiteX116" fmla="*/ 583407 w 895388"/>
                        <a:gd name="connsiteY116" fmla="*/ 557212 h 1512093"/>
                        <a:gd name="connsiteX117" fmla="*/ 588169 w 895388"/>
                        <a:gd name="connsiteY117" fmla="*/ 564356 h 1512093"/>
                        <a:gd name="connsiteX118" fmla="*/ 590550 w 895388"/>
                        <a:gd name="connsiteY118" fmla="*/ 571500 h 1512093"/>
                        <a:gd name="connsiteX119" fmla="*/ 597694 w 895388"/>
                        <a:gd name="connsiteY119" fmla="*/ 573881 h 1512093"/>
                        <a:gd name="connsiteX120" fmla="*/ 609600 w 895388"/>
                        <a:gd name="connsiteY120" fmla="*/ 595312 h 1512093"/>
                        <a:gd name="connsiteX121" fmla="*/ 616744 w 895388"/>
                        <a:gd name="connsiteY121" fmla="*/ 600075 h 1512093"/>
                        <a:gd name="connsiteX122" fmla="*/ 614363 w 895388"/>
                        <a:gd name="connsiteY122" fmla="*/ 614362 h 1512093"/>
                        <a:gd name="connsiteX123" fmla="*/ 604838 w 895388"/>
                        <a:gd name="connsiteY123" fmla="*/ 635793 h 1512093"/>
                        <a:gd name="connsiteX124" fmla="*/ 611982 w 895388"/>
                        <a:gd name="connsiteY124" fmla="*/ 676275 h 1512093"/>
                        <a:gd name="connsiteX125" fmla="*/ 619125 w 895388"/>
                        <a:gd name="connsiteY125" fmla="*/ 681037 h 1512093"/>
                        <a:gd name="connsiteX126" fmla="*/ 616744 w 895388"/>
                        <a:gd name="connsiteY126" fmla="*/ 738187 h 1512093"/>
                        <a:gd name="connsiteX127" fmla="*/ 623888 w 895388"/>
                        <a:gd name="connsiteY127" fmla="*/ 759618 h 1512093"/>
                        <a:gd name="connsiteX128" fmla="*/ 631032 w 895388"/>
                        <a:gd name="connsiteY128" fmla="*/ 762000 h 1512093"/>
                        <a:gd name="connsiteX129" fmla="*/ 640557 w 895388"/>
                        <a:gd name="connsiteY129" fmla="*/ 776287 h 1512093"/>
                        <a:gd name="connsiteX130" fmla="*/ 647700 w 895388"/>
                        <a:gd name="connsiteY130" fmla="*/ 778668 h 1512093"/>
                        <a:gd name="connsiteX131" fmla="*/ 661988 w 895388"/>
                        <a:gd name="connsiteY131" fmla="*/ 788193 h 1512093"/>
                        <a:gd name="connsiteX132" fmla="*/ 683419 w 895388"/>
                        <a:gd name="connsiteY132" fmla="*/ 804862 h 1512093"/>
                        <a:gd name="connsiteX133" fmla="*/ 690563 w 895388"/>
                        <a:gd name="connsiteY133" fmla="*/ 809625 h 1512093"/>
                        <a:gd name="connsiteX134" fmla="*/ 697707 w 895388"/>
                        <a:gd name="connsiteY134" fmla="*/ 814387 h 1512093"/>
                        <a:gd name="connsiteX135" fmla="*/ 700088 w 895388"/>
                        <a:gd name="connsiteY135" fmla="*/ 821531 h 1512093"/>
                        <a:gd name="connsiteX136" fmla="*/ 695325 w 895388"/>
                        <a:gd name="connsiteY136" fmla="*/ 840581 h 1512093"/>
                        <a:gd name="connsiteX137" fmla="*/ 697707 w 895388"/>
                        <a:gd name="connsiteY137" fmla="*/ 847725 h 1512093"/>
                        <a:gd name="connsiteX138" fmla="*/ 709613 w 895388"/>
                        <a:gd name="connsiteY138" fmla="*/ 862012 h 1512093"/>
                        <a:gd name="connsiteX139" fmla="*/ 711994 w 895388"/>
                        <a:gd name="connsiteY139" fmla="*/ 869156 h 1512093"/>
                        <a:gd name="connsiteX140" fmla="*/ 726282 w 895388"/>
                        <a:gd name="connsiteY140" fmla="*/ 878681 h 1512093"/>
                        <a:gd name="connsiteX141" fmla="*/ 716757 w 895388"/>
                        <a:gd name="connsiteY141" fmla="*/ 890587 h 1512093"/>
                        <a:gd name="connsiteX142" fmla="*/ 714375 w 895388"/>
                        <a:gd name="connsiteY142" fmla="*/ 897731 h 1512093"/>
                        <a:gd name="connsiteX143" fmla="*/ 716757 w 895388"/>
                        <a:gd name="connsiteY143" fmla="*/ 916781 h 1512093"/>
                        <a:gd name="connsiteX144" fmla="*/ 735336 w 895388"/>
                        <a:gd name="connsiteY144" fmla="*/ 952193 h 1512093"/>
                        <a:gd name="connsiteX145" fmla="*/ 708505 w 895388"/>
                        <a:gd name="connsiteY145" fmla="*/ 953938 h 1512093"/>
                        <a:gd name="connsiteX146" fmla="*/ 688182 w 895388"/>
                        <a:gd name="connsiteY146" fmla="*/ 940593 h 1512093"/>
                        <a:gd name="connsiteX147" fmla="*/ 681038 w 895388"/>
                        <a:gd name="connsiteY147" fmla="*/ 942975 h 1512093"/>
                        <a:gd name="connsiteX148" fmla="*/ 673894 w 895388"/>
                        <a:gd name="connsiteY148" fmla="*/ 945356 h 1512093"/>
                        <a:gd name="connsiteX149" fmla="*/ 664369 w 895388"/>
                        <a:gd name="connsiteY149" fmla="*/ 950118 h 1512093"/>
                        <a:gd name="connsiteX150" fmla="*/ 678657 w 895388"/>
                        <a:gd name="connsiteY150" fmla="*/ 954881 h 1512093"/>
                        <a:gd name="connsiteX151" fmla="*/ 685800 w 895388"/>
                        <a:gd name="connsiteY151" fmla="*/ 957262 h 1512093"/>
                        <a:gd name="connsiteX152" fmla="*/ 707232 w 895388"/>
                        <a:gd name="connsiteY152" fmla="*/ 962025 h 1512093"/>
                        <a:gd name="connsiteX153" fmla="*/ 711994 w 895388"/>
                        <a:gd name="connsiteY153" fmla="*/ 969168 h 1512093"/>
                        <a:gd name="connsiteX154" fmla="*/ 721519 w 895388"/>
                        <a:gd name="connsiteY154" fmla="*/ 978693 h 1512093"/>
                        <a:gd name="connsiteX155" fmla="*/ 731044 w 895388"/>
                        <a:gd name="connsiteY155" fmla="*/ 976312 h 1512093"/>
                        <a:gd name="connsiteX156" fmla="*/ 740569 w 895388"/>
                        <a:gd name="connsiteY156" fmla="*/ 976312 h 1512093"/>
                        <a:gd name="connsiteX157" fmla="*/ 742950 w 895388"/>
                        <a:gd name="connsiteY157" fmla="*/ 995362 h 1512093"/>
                        <a:gd name="connsiteX158" fmla="*/ 747713 w 895388"/>
                        <a:gd name="connsiteY158" fmla="*/ 1002506 h 1512093"/>
                        <a:gd name="connsiteX159" fmla="*/ 754857 w 895388"/>
                        <a:gd name="connsiteY159" fmla="*/ 1016793 h 1512093"/>
                        <a:gd name="connsiteX160" fmla="*/ 757238 w 895388"/>
                        <a:gd name="connsiteY160" fmla="*/ 1042987 h 1512093"/>
                        <a:gd name="connsiteX161" fmla="*/ 762000 w 895388"/>
                        <a:gd name="connsiteY161" fmla="*/ 1057275 h 1512093"/>
                        <a:gd name="connsiteX162" fmla="*/ 757238 w 895388"/>
                        <a:gd name="connsiteY162" fmla="*/ 1064418 h 1512093"/>
                        <a:gd name="connsiteX163" fmla="*/ 742950 w 895388"/>
                        <a:gd name="connsiteY163" fmla="*/ 1069181 h 1512093"/>
                        <a:gd name="connsiteX164" fmla="*/ 735807 w 895388"/>
                        <a:gd name="connsiteY164" fmla="*/ 1083468 h 1512093"/>
                        <a:gd name="connsiteX165" fmla="*/ 733425 w 895388"/>
                        <a:gd name="connsiteY165" fmla="*/ 1092993 h 1512093"/>
                        <a:gd name="connsiteX166" fmla="*/ 723900 w 895388"/>
                        <a:gd name="connsiteY166" fmla="*/ 1095375 h 1512093"/>
                        <a:gd name="connsiteX167" fmla="*/ 726282 w 895388"/>
                        <a:gd name="connsiteY167" fmla="*/ 1112043 h 1512093"/>
                        <a:gd name="connsiteX168" fmla="*/ 740569 w 895388"/>
                        <a:gd name="connsiteY168" fmla="*/ 1119187 h 1512093"/>
                        <a:gd name="connsiteX169" fmla="*/ 750094 w 895388"/>
                        <a:gd name="connsiteY169" fmla="*/ 1116806 h 1512093"/>
                        <a:gd name="connsiteX170" fmla="*/ 764382 w 895388"/>
                        <a:gd name="connsiteY170" fmla="*/ 1107281 h 1512093"/>
                        <a:gd name="connsiteX171" fmla="*/ 771525 w 895388"/>
                        <a:gd name="connsiteY171" fmla="*/ 1100137 h 1512093"/>
                        <a:gd name="connsiteX172" fmla="*/ 778669 w 895388"/>
                        <a:gd name="connsiteY172" fmla="*/ 1097756 h 1512093"/>
                        <a:gd name="connsiteX173" fmla="*/ 831057 w 895388"/>
                        <a:gd name="connsiteY173" fmla="*/ 1100137 h 1512093"/>
                        <a:gd name="connsiteX174" fmla="*/ 838200 w 895388"/>
                        <a:gd name="connsiteY174" fmla="*/ 1104900 h 1512093"/>
                        <a:gd name="connsiteX175" fmla="*/ 845344 w 895388"/>
                        <a:gd name="connsiteY175" fmla="*/ 1107281 h 1512093"/>
                        <a:gd name="connsiteX176" fmla="*/ 852488 w 895388"/>
                        <a:gd name="connsiteY176" fmla="*/ 1112043 h 1512093"/>
                        <a:gd name="connsiteX177" fmla="*/ 859632 w 895388"/>
                        <a:gd name="connsiteY177" fmla="*/ 1114425 h 1512093"/>
                        <a:gd name="connsiteX178" fmla="*/ 873919 w 895388"/>
                        <a:gd name="connsiteY178" fmla="*/ 1123950 h 1512093"/>
                        <a:gd name="connsiteX179" fmla="*/ 890588 w 895388"/>
                        <a:gd name="connsiteY179" fmla="*/ 1145381 h 1512093"/>
                        <a:gd name="connsiteX180" fmla="*/ 895350 w 895388"/>
                        <a:gd name="connsiteY180" fmla="*/ 1159668 h 1512093"/>
                        <a:gd name="connsiteX181" fmla="*/ 892969 w 895388"/>
                        <a:gd name="connsiteY181" fmla="*/ 1185862 h 1512093"/>
                        <a:gd name="connsiteX182" fmla="*/ 888207 w 895388"/>
                        <a:gd name="connsiteY182" fmla="*/ 1202531 h 1512093"/>
                        <a:gd name="connsiteX183" fmla="*/ 885825 w 895388"/>
                        <a:gd name="connsiteY183" fmla="*/ 1214437 h 1512093"/>
                        <a:gd name="connsiteX184" fmla="*/ 871538 w 895388"/>
                        <a:gd name="connsiteY184" fmla="*/ 1228725 h 1512093"/>
                        <a:gd name="connsiteX185" fmla="*/ 869157 w 895388"/>
                        <a:gd name="connsiteY185" fmla="*/ 1245393 h 1512093"/>
                        <a:gd name="connsiteX186" fmla="*/ 862013 w 895388"/>
                        <a:gd name="connsiteY186" fmla="*/ 1262062 h 1512093"/>
                        <a:gd name="connsiteX187" fmla="*/ 852488 w 895388"/>
                        <a:gd name="connsiteY187" fmla="*/ 1273968 h 1512093"/>
                        <a:gd name="connsiteX188" fmla="*/ 838200 w 895388"/>
                        <a:gd name="connsiteY188" fmla="*/ 1276350 h 1512093"/>
                        <a:gd name="connsiteX189" fmla="*/ 831057 w 895388"/>
                        <a:gd name="connsiteY189" fmla="*/ 1278731 h 1512093"/>
                        <a:gd name="connsiteX190" fmla="*/ 821532 w 895388"/>
                        <a:gd name="connsiteY190" fmla="*/ 1276350 h 1512093"/>
                        <a:gd name="connsiteX191" fmla="*/ 814388 w 895388"/>
                        <a:gd name="connsiteY191" fmla="*/ 1273968 h 1512093"/>
                        <a:gd name="connsiteX192" fmla="*/ 823913 w 895388"/>
                        <a:gd name="connsiteY192" fmla="*/ 1285875 h 1512093"/>
                        <a:gd name="connsiteX193" fmla="*/ 826294 w 895388"/>
                        <a:gd name="connsiteY193" fmla="*/ 1293018 h 1512093"/>
                        <a:gd name="connsiteX194" fmla="*/ 812007 w 895388"/>
                        <a:gd name="connsiteY194" fmla="*/ 1295400 h 1512093"/>
                        <a:gd name="connsiteX195" fmla="*/ 797719 w 895388"/>
                        <a:gd name="connsiteY195" fmla="*/ 1300162 h 1512093"/>
                        <a:gd name="connsiteX196" fmla="*/ 778669 w 895388"/>
                        <a:gd name="connsiteY196" fmla="*/ 1304925 h 1512093"/>
                        <a:gd name="connsiteX197" fmla="*/ 773907 w 895388"/>
                        <a:gd name="connsiteY197" fmla="*/ 1312068 h 1512093"/>
                        <a:gd name="connsiteX198" fmla="*/ 759619 w 895388"/>
                        <a:gd name="connsiteY198" fmla="*/ 1316831 h 1512093"/>
                        <a:gd name="connsiteX199" fmla="*/ 781050 w 895388"/>
                        <a:gd name="connsiteY199" fmla="*/ 1319212 h 1512093"/>
                        <a:gd name="connsiteX200" fmla="*/ 783432 w 895388"/>
                        <a:gd name="connsiteY200" fmla="*/ 1326356 h 1512093"/>
                        <a:gd name="connsiteX201" fmla="*/ 781050 w 895388"/>
                        <a:gd name="connsiteY201" fmla="*/ 1340643 h 1512093"/>
                        <a:gd name="connsiteX202" fmla="*/ 771525 w 895388"/>
                        <a:gd name="connsiteY202" fmla="*/ 1343025 h 1512093"/>
                        <a:gd name="connsiteX203" fmla="*/ 759619 w 895388"/>
                        <a:gd name="connsiteY203" fmla="*/ 1347787 h 1512093"/>
                        <a:gd name="connsiteX204" fmla="*/ 721519 w 895388"/>
                        <a:gd name="connsiteY204" fmla="*/ 1352550 h 1512093"/>
                        <a:gd name="connsiteX205" fmla="*/ 735807 w 895388"/>
                        <a:gd name="connsiteY205" fmla="*/ 1359693 h 1512093"/>
                        <a:gd name="connsiteX206" fmla="*/ 742950 w 895388"/>
                        <a:gd name="connsiteY206" fmla="*/ 1357312 h 1512093"/>
                        <a:gd name="connsiteX207" fmla="*/ 752475 w 895388"/>
                        <a:gd name="connsiteY207" fmla="*/ 1359693 h 1512093"/>
                        <a:gd name="connsiteX208" fmla="*/ 769144 w 895388"/>
                        <a:gd name="connsiteY208" fmla="*/ 1378743 h 1512093"/>
                        <a:gd name="connsiteX209" fmla="*/ 802482 w 895388"/>
                        <a:gd name="connsiteY209" fmla="*/ 1385887 h 1512093"/>
                        <a:gd name="connsiteX210" fmla="*/ 823913 w 895388"/>
                        <a:gd name="connsiteY210" fmla="*/ 1383506 h 1512093"/>
                        <a:gd name="connsiteX211" fmla="*/ 814388 w 895388"/>
                        <a:gd name="connsiteY211" fmla="*/ 1423987 h 1512093"/>
                        <a:gd name="connsiteX212" fmla="*/ 797719 w 895388"/>
                        <a:gd name="connsiteY212" fmla="*/ 1428750 h 1512093"/>
                        <a:gd name="connsiteX213" fmla="*/ 792957 w 895388"/>
                        <a:gd name="connsiteY213" fmla="*/ 1435893 h 1512093"/>
                        <a:gd name="connsiteX214" fmla="*/ 778669 w 895388"/>
                        <a:gd name="connsiteY214" fmla="*/ 1443037 h 1512093"/>
                        <a:gd name="connsiteX215" fmla="*/ 771525 w 895388"/>
                        <a:gd name="connsiteY215" fmla="*/ 1447800 h 1512093"/>
                        <a:gd name="connsiteX216" fmla="*/ 769144 w 895388"/>
                        <a:gd name="connsiteY216" fmla="*/ 1454943 h 1512093"/>
                        <a:gd name="connsiteX217" fmla="*/ 762000 w 895388"/>
                        <a:gd name="connsiteY217" fmla="*/ 1457325 h 1512093"/>
                        <a:gd name="connsiteX218" fmla="*/ 731044 w 895388"/>
                        <a:gd name="connsiteY218" fmla="*/ 1459706 h 1512093"/>
                        <a:gd name="connsiteX219" fmla="*/ 723900 w 895388"/>
                        <a:gd name="connsiteY219" fmla="*/ 1462087 h 1512093"/>
                        <a:gd name="connsiteX220" fmla="*/ 709613 w 895388"/>
                        <a:gd name="connsiteY220" fmla="*/ 1469231 h 1512093"/>
                        <a:gd name="connsiteX221" fmla="*/ 690563 w 895388"/>
                        <a:gd name="connsiteY221" fmla="*/ 1471612 h 1512093"/>
                        <a:gd name="connsiteX222" fmla="*/ 685800 w 895388"/>
                        <a:gd name="connsiteY222" fmla="*/ 1478756 h 1512093"/>
                        <a:gd name="connsiteX223" fmla="*/ 673894 w 895388"/>
                        <a:gd name="connsiteY223" fmla="*/ 1476375 h 1512093"/>
                        <a:gd name="connsiteX224" fmla="*/ 659607 w 895388"/>
                        <a:gd name="connsiteY224" fmla="*/ 1466850 h 1512093"/>
                        <a:gd name="connsiteX225" fmla="*/ 652463 w 895388"/>
                        <a:gd name="connsiteY225" fmla="*/ 1462087 h 1512093"/>
                        <a:gd name="connsiteX226" fmla="*/ 628650 w 895388"/>
                        <a:gd name="connsiteY226" fmla="*/ 1454943 h 1512093"/>
                        <a:gd name="connsiteX227" fmla="*/ 583407 w 895388"/>
                        <a:gd name="connsiteY227" fmla="*/ 1457325 h 1512093"/>
                        <a:gd name="connsiteX228" fmla="*/ 573882 w 895388"/>
                        <a:gd name="connsiteY228" fmla="*/ 1459706 h 1512093"/>
                        <a:gd name="connsiteX229" fmla="*/ 566738 w 895388"/>
                        <a:gd name="connsiteY229" fmla="*/ 1466850 h 1512093"/>
                        <a:gd name="connsiteX230" fmla="*/ 547688 w 895388"/>
                        <a:gd name="connsiteY230" fmla="*/ 1450181 h 1512093"/>
                        <a:gd name="connsiteX231" fmla="*/ 533400 w 895388"/>
                        <a:gd name="connsiteY231" fmla="*/ 1445418 h 1512093"/>
                        <a:gd name="connsiteX232" fmla="*/ 509588 w 895388"/>
                        <a:gd name="connsiteY232" fmla="*/ 1447800 h 1512093"/>
                        <a:gd name="connsiteX233" fmla="*/ 495300 w 895388"/>
                        <a:gd name="connsiteY233" fmla="*/ 1452562 h 1512093"/>
                        <a:gd name="connsiteX234" fmla="*/ 483394 w 895388"/>
                        <a:gd name="connsiteY234" fmla="*/ 1462087 h 1512093"/>
                        <a:gd name="connsiteX235" fmla="*/ 473869 w 895388"/>
                        <a:gd name="connsiteY235" fmla="*/ 1452562 h 1512093"/>
                        <a:gd name="connsiteX236" fmla="*/ 469107 w 895388"/>
                        <a:gd name="connsiteY236" fmla="*/ 1445418 h 1512093"/>
                        <a:gd name="connsiteX237" fmla="*/ 454819 w 895388"/>
                        <a:gd name="connsiteY237" fmla="*/ 1447800 h 1512093"/>
                        <a:gd name="connsiteX238" fmla="*/ 440532 w 895388"/>
                        <a:gd name="connsiteY238" fmla="*/ 1457325 h 1512093"/>
                        <a:gd name="connsiteX239" fmla="*/ 435769 w 895388"/>
                        <a:gd name="connsiteY239" fmla="*/ 1466850 h 1512093"/>
                        <a:gd name="connsiteX240" fmla="*/ 428625 w 895388"/>
                        <a:gd name="connsiteY240" fmla="*/ 1469231 h 1512093"/>
                        <a:gd name="connsiteX241" fmla="*/ 411957 w 895388"/>
                        <a:gd name="connsiteY241" fmla="*/ 1471612 h 1512093"/>
                        <a:gd name="connsiteX242" fmla="*/ 414338 w 895388"/>
                        <a:gd name="connsiteY242" fmla="*/ 1464468 h 1512093"/>
                        <a:gd name="connsiteX243" fmla="*/ 421482 w 895388"/>
                        <a:gd name="connsiteY243" fmla="*/ 1459706 h 1512093"/>
                        <a:gd name="connsiteX244" fmla="*/ 404813 w 895388"/>
                        <a:gd name="connsiteY244" fmla="*/ 1462087 h 1512093"/>
                        <a:gd name="connsiteX245" fmla="*/ 385763 w 895388"/>
                        <a:gd name="connsiteY245" fmla="*/ 1464468 h 1512093"/>
                        <a:gd name="connsiteX246" fmla="*/ 383382 w 895388"/>
                        <a:gd name="connsiteY246" fmla="*/ 1471612 h 1512093"/>
                        <a:gd name="connsiteX247" fmla="*/ 378619 w 895388"/>
                        <a:gd name="connsiteY247" fmla="*/ 1464468 h 1512093"/>
                        <a:gd name="connsiteX248" fmla="*/ 371475 w 895388"/>
                        <a:gd name="connsiteY248" fmla="*/ 1457325 h 1512093"/>
                        <a:gd name="connsiteX249" fmla="*/ 366713 w 895388"/>
                        <a:gd name="connsiteY249" fmla="*/ 1450181 h 1512093"/>
                        <a:gd name="connsiteX250" fmla="*/ 352425 w 895388"/>
                        <a:gd name="connsiteY250" fmla="*/ 1443037 h 1512093"/>
                        <a:gd name="connsiteX251" fmla="*/ 345282 w 895388"/>
                        <a:gd name="connsiteY251" fmla="*/ 1438275 h 1512093"/>
                        <a:gd name="connsiteX252" fmla="*/ 328613 w 895388"/>
                        <a:gd name="connsiteY252" fmla="*/ 1435893 h 1512093"/>
                        <a:gd name="connsiteX253" fmla="*/ 321469 w 895388"/>
                        <a:gd name="connsiteY253" fmla="*/ 1433512 h 1512093"/>
                        <a:gd name="connsiteX254" fmla="*/ 271463 w 895388"/>
                        <a:gd name="connsiteY254" fmla="*/ 1440656 h 1512093"/>
                        <a:gd name="connsiteX255" fmla="*/ 264319 w 895388"/>
                        <a:gd name="connsiteY255" fmla="*/ 1445418 h 1512093"/>
                        <a:gd name="connsiteX256" fmla="*/ 257175 w 895388"/>
                        <a:gd name="connsiteY256" fmla="*/ 1459706 h 1512093"/>
                        <a:gd name="connsiteX257" fmla="*/ 252413 w 895388"/>
                        <a:gd name="connsiteY257" fmla="*/ 1466850 h 1512093"/>
                        <a:gd name="connsiteX258" fmla="*/ 250032 w 895388"/>
                        <a:gd name="connsiteY258" fmla="*/ 1473993 h 1512093"/>
                        <a:gd name="connsiteX259" fmla="*/ 242888 w 895388"/>
                        <a:gd name="connsiteY259" fmla="*/ 1476375 h 1512093"/>
                        <a:gd name="connsiteX260" fmla="*/ 240507 w 895388"/>
                        <a:gd name="connsiteY260" fmla="*/ 1485900 h 1512093"/>
                        <a:gd name="connsiteX261" fmla="*/ 228600 w 895388"/>
                        <a:gd name="connsiteY261" fmla="*/ 1504950 h 1512093"/>
                        <a:gd name="connsiteX262" fmla="*/ 221457 w 895388"/>
                        <a:gd name="connsiteY262" fmla="*/ 1507331 h 1512093"/>
                        <a:gd name="connsiteX263" fmla="*/ 209550 w 895388"/>
                        <a:gd name="connsiteY263" fmla="*/ 1504950 h 1512093"/>
                        <a:gd name="connsiteX264" fmla="*/ 204788 w 895388"/>
                        <a:gd name="connsiteY264" fmla="*/ 1497806 h 1512093"/>
                        <a:gd name="connsiteX265" fmla="*/ 197644 w 895388"/>
                        <a:gd name="connsiteY265" fmla="*/ 1490662 h 1512093"/>
                        <a:gd name="connsiteX266" fmla="*/ 188119 w 895388"/>
                        <a:gd name="connsiteY266" fmla="*/ 1488281 h 1512093"/>
                        <a:gd name="connsiteX267" fmla="*/ 185738 w 895388"/>
                        <a:gd name="connsiteY267" fmla="*/ 1478756 h 1512093"/>
                        <a:gd name="connsiteX268" fmla="*/ 183357 w 895388"/>
                        <a:gd name="connsiteY268" fmla="*/ 1471612 h 1512093"/>
                        <a:gd name="connsiteX269" fmla="*/ 161925 w 895388"/>
                        <a:gd name="connsiteY269" fmla="*/ 1464468 h 1512093"/>
                        <a:gd name="connsiteX270" fmla="*/ 154782 w 895388"/>
                        <a:gd name="connsiteY270" fmla="*/ 1462087 h 1512093"/>
                        <a:gd name="connsiteX271" fmla="*/ 140494 w 895388"/>
                        <a:gd name="connsiteY271" fmla="*/ 1464468 h 1512093"/>
                        <a:gd name="connsiteX272" fmla="*/ 133350 w 895388"/>
                        <a:gd name="connsiteY272" fmla="*/ 1469231 h 1512093"/>
                        <a:gd name="connsiteX273" fmla="*/ 126207 w 895388"/>
                        <a:gd name="connsiteY273" fmla="*/ 1464468 h 1512093"/>
                        <a:gd name="connsiteX274" fmla="*/ 116682 w 895388"/>
                        <a:gd name="connsiteY274" fmla="*/ 1457325 h 1512093"/>
                        <a:gd name="connsiteX275" fmla="*/ 90488 w 895388"/>
                        <a:gd name="connsiteY275" fmla="*/ 1469231 h 1512093"/>
                        <a:gd name="connsiteX276" fmla="*/ 83344 w 895388"/>
                        <a:gd name="connsiteY276" fmla="*/ 1473993 h 1512093"/>
                        <a:gd name="connsiteX277" fmla="*/ 80963 w 895388"/>
                        <a:gd name="connsiteY277" fmla="*/ 1481137 h 1512093"/>
                        <a:gd name="connsiteX278" fmla="*/ 73819 w 895388"/>
                        <a:gd name="connsiteY278" fmla="*/ 1485900 h 1512093"/>
                        <a:gd name="connsiteX279" fmla="*/ 59532 w 895388"/>
                        <a:gd name="connsiteY279" fmla="*/ 1495425 h 1512093"/>
                        <a:gd name="connsiteX280" fmla="*/ 52388 w 895388"/>
                        <a:gd name="connsiteY280" fmla="*/ 1502568 h 1512093"/>
                        <a:gd name="connsiteX281" fmla="*/ 38100 w 895388"/>
                        <a:gd name="connsiteY281" fmla="*/ 1512093 h 1512093"/>
                        <a:gd name="connsiteX282" fmla="*/ 30957 w 895388"/>
                        <a:gd name="connsiteY282" fmla="*/ 1504950 h 1512093"/>
                        <a:gd name="connsiteX283" fmla="*/ 33338 w 895388"/>
                        <a:gd name="connsiteY283" fmla="*/ 1488281 h 1512093"/>
                        <a:gd name="connsiteX284" fmla="*/ 30957 w 895388"/>
                        <a:gd name="connsiteY284" fmla="*/ 1476375 h 1512093"/>
                        <a:gd name="connsiteX285" fmla="*/ 21432 w 895388"/>
                        <a:gd name="connsiteY285" fmla="*/ 1478756 h 1512093"/>
                        <a:gd name="connsiteX286" fmla="*/ 16669 w 895388"/>
                        <a:gd name="connsiteY286" fmla="*/ 1485900 h 1512093"/>
                        <a:gd name="connsiteX287" fmla="*/ 0 w 895388"/>
                        <a:gd name="connsiteY287" fmla="*/ 1483518 h 1512093"/>
                        <a:gd name="connsiteX288" fmla="*/ 2382 w 895388"/>
                        <a:gd name="connsiteY288" fmla="*/ 1476375 h 1512093"/>
                        <a:gd name="connsiteX289" fmla="*/ 28575 w 895388"/>
                        <a:gd name="connsiteY289" fmla="*/ 1476375 h 1512093"/>
                        <a:gd name="connsiteX290" fmla="*/ 35719 w 895388"/>
                        <a:gd name="connsiteY290" fmla="*/ 1478756 h 1512093"/>
                        <a:gd name="connsiteX291" fmla="*/ 45244 w 895388"/>
                        <a:gd name="connsiteY291" fmla="*/ 1464468 h 1512093"/>
                        <a:gd name="connsiteX292" fmla="*/ 52388 w 895388"/>
                        <a:gd name="connsiteY292" fmla="*/ 1459706 h 1512093"/>
                        <a:gd name="connsiteX293" fmla="*/ 69057 w 895388"/>
                        <a:gd name="connsiteY293" fmla="*/ 1454943 h 1512093"/>
                        <a:gd name="connsiteX294" fmla="*/ 76200 w 895388"/>
                        <a:gd name="connsiteY294" fmla="*/ 1452562 h 1512093"/>
                        <a:gd name="connsiteX295" fmla="*/ 85725 w 895388"/>
                        <a:gd name="connsiteY295" fmla="*/ 1433512 h 1512093"/>
                        <a:gd name="connsiteX296" fmla="*/ 90488 w 895388"/>
                        <a:gd name="connsiteY296" fmla="*/ 1423987 h 1512093"/>
                        <a:gd name="connsiteX297" fmla="*/ 97632 w 895388"/>
                        <a:gd name="connsiteY297" fmla="*/ 1421606 h 1512093"/>
                        <a:gd name="connsiteX298" fmla="*/ 109538 w 895388"/>
                        <a:gd name="connsiteY298" fmla="*/ 1419225 h 1512093"/>
                        <a:gd name="connsiteX299" fmla="*/ 126207 w 895388"/>
                        <a:gd name="connsiteY299" fmla="*/ 1412081 h 1512093"/>
                        <a:gd name="connsiteX300" fmla="*/ 135732 w 895388"/>
                        <a:gd name="connsiteY300" fmla="*/ 1409700 h 1512093"/>
                        <a:gd name="connsiteX301" fmla="*/ 142875 w 895388"/>
                        <a:gd name="connsiteY301" fmla="*/ 1407318 h 1512093"/>
                        <a:gd name="connsiteX302" fmla="*/ 147638 w 895388"/>
                        <a:gd name="connsiteY302" fmla="*/ 1400175 h 1512093"/>
                        <a:gd name="connsiteX303" fmla="*/ 152400 w 895388"/>
                        <a:gd name="connsiteY303" fmla="*/ 1383506 h 1512093"/>
                        <a:gd name="connsiteX304" fmla="*/ 154782 w 895388"/>
                        <a:gd name="connsiteY304" fmla="*/ 1362075 h 1512093"/>
                        <a:gd name="connsiteX305" fmla="*/ 157163 w 895388"/>
                        <a:gd name="connsiteY305" fmla="*/ 1354931 h 1512093"/>
                        <a:gd name="connsiteX306" fmla="*/ 159544 w 895388"/>
                        <a:gd name="connsiteY306" fmla="*/ 1345406 h 1512093"/>
                        <a:gd name="connsiteX307" fmla="*/ 166688 w 895388"/>
                        <a:gd name="connsiteY307" fmla="*/ 1347787 h 1512093"/>
                        <a:gd name="connsiteX308" fmla="*/ 173832 w 895388"/>
                        <a:gd name="connsiteY308" fmla="*/ 1352550 h 1512093"/>
                        <a:gd name="connsiteX309" fmla="*/ 190500 w 895388"/>
                        <a:gd name="connsiteY309" fmla="*/ 1350168 h 1512093"/>
                        <a:gd name="connsiteX310" fmla="*/ 195263 w 895388"/>
                        <a:gd name="connsiteY310" fmla="*/ 1335881 h 1512093"/>
                        <a:gd name="connsiteX311" fmla="*/ 197644 w 895388"/>
                        <a:gd name="connsiteY311" fmla="*/ 1326356 h 1512093"/>
                        <a:gd name="connsiteX312" fmla="*/ 204788 w 895388"/>
                        <a:gd name="connsiteY312" fmla="*/ 1321593 h 1512093"/>
                        <a:gd name="connsiteX313" fmla="*/ 219075 w 895388"/>
                        <a:gd name="connsiteY313" fmla="*/ 1326356 h 1512093"/>
                        <a:gd name="connsiteX314" fmla="*/ 276225 w 895388"/>
                        <a:gd name="connsiteY314" fmla="*/ 1331118 h 1512093"/>
                        <a:gd name="connsiteX315" fmla="*/ 290513 w 895388"/>
                        <a:gd name="connsiteY315" fmla="*/ 1343025 h 1512093"/>
                        <a:gd name="connsiteX316" fmla="*/ 297657 w 895388"/>
                        <a:gd name="connsiteY316" fmla="*/ 1345406 h 1512093"/>
                        <a:gd name="connsiteX317" fmla="*/ 328613 w 895388"/>
                        <a:gd name="connsiteY317" fmla="*/ 1343025 h 1512093"/>
                        <a:gd name="connsiteX318" fmla="*/ 342900 w 895388"/>
                        <a:gd name="connsiteY318" fmla="*/ 1333500 h 1512093"/>
                        <a:gd name="connsiteX319" fmla="*/ 345282 w 895388"/>
                        <a:gd name="connsiteY319" fmla="*/ 1316831 h 1512093"/>
                        <a:gd name="connsiteX320" fmla="*/ 347663 w 895388"/>
                        <a:gd name="connsiteY320" fmla="*/ 1323975 h 1512093"/>
                        <a:gd name="connsiteX321" fmla="*/ 357188 w 895388"/>
                        <a:gd name="connsiteY321" fmla="*/ 1321593 h 1512093"/>
                        <a:gd name="connsiteX322" fmla="*/ 359569 w 895388"/>
                        <a:gd name="connsiteY322" fmla="*/ 1307306 h 1512093"/>
                        <a:gd name="connsiteX323" fmla="*/ 373857 w 895388"/>
                        <a:gd name="connsiteY323" fmla="*/ 1297781 h 1512093"/>
                        <a:gd name="connsiteX324" fmla="*/ 395288 w 895388"/>
                        <a:gd name="connsiteY324" fmla="*/ 1283493 h 1512093"/>
                        <a:gd name="connsiteX325" fmla="*/ 409575 w 895388"/>
                        <a:gd name="connsiteY325" fmla="*/ 1273968 h 1512093"/>
                        <a:gd name="connsiteX326" fmla="*/ 416719 w 895388"/>
                        <a:gd name="connsiteY326" fmla="*/ 1269206 h 1512093"/>
                        <a:gd name="connsiteX327" fmla="*/ 419100 w 895388"/>
                        <a:gd name="connsiteY327" fmla="*/ 1262062 h 1512093"/>
                        <a:gd name="connsiteX328" fmla="*/ 404813 w 895388"/>
                        <a:gd name="connsiteY328" fmla="*/ 1264443 h 1512093"/>
                        <a:gd name="connsiteX329" fmla="*/ 400050 w 895388"/>
                        <a:gd name="connsiteY329" fmla="*/ 1271587 h 1512093"/>
                        <a:gd name="connsiteX330" fmla="*/ 395288 w 895388"/>
                        <a:gd name="connsiteY330" fmla="*/ 1281112 h 1512093"/>
                        <a:gd name="connsiteX331" fmla="*/ 388144 w 895388"/>
                        <a:gd name="connsiteY331" fmla="*/ 1283493 h 1512093"/>
                        <a:gd name="connsiteX332" fmla="*/ 357188 w 895388"/>
                        <a:gd name="connsiteY332" fmla="*/ 1290637 h 1512093"/>
                        <a:gd name="connsiteX333" fmla="*/ 345282 w 895388"/>
                        <a:gd name="connsiteY333" fmla="*/ 1281112 h 1512093"/>
                        <a:gd name="connsiteX334" fmla="*/ 338138 w 895388"/>
                        <a:gd name="connsiteY334" fmla="*/ 1288256 h 1512093"/>
                        <a:gd name="connsiteX335" fmla="*/ 330994 w 895388"/>
                        <a:gd name="connsiteY335" fmla="*/ 1293018 h 1512093"/>
                        <a:gd name="connsiteX336" fmla="*/ 304800 w 895388"/>
                        <a:gd name="connsiteY336" fmla="*/ 1300162 h 1512093"/>
                        <a:gd name="connsiteX337" fmla="*/ 297657 w 895388"/>
                        <a:gd name="connsiteY337" fmla="*/ 1302543 h 1512093"/>
                        <a:gd name="connsiteX338" fmla="*/ 280988 w 895388"/>
                        <a:gd name="connsiteY338" fmla="*/ 1300162 h 1512093"/>
                        <a:gd name="connsiteX339" fmla="*/ 271463 w 895388"/>
                        <a:gd name="connsiteY339" fmla="*/ 1288256 h 1512093"/>
                        <a:gd name="connsiteX340" fmla="*/ 266700 w 895388"/>
                        <a:gd name="connsiteY340" fmla="*/ 1281112 h 1512093"/>
                        <a:gd name="connsiteX341" fmla="*/ 259557 w 895388"/>
                        <a:gd name="connsiteY341" fmla="*/ 1262062 h 1512093"/>
                        <a:gd name="connsiteX342" fmla="*/ 250032 w 895388"/>
                        <a:gd name="connsiteY342" fmla="*/ 1259681 h 1512093"/>
                        <a:gd name="connsiteX343" fmla="*/ 242888 w 895388"/>
                        <a:gd name="connsiteY343" fmla="*/ 1254918 h 1512093"/>
                        <a:gd name="connsiteX344" fmla="*/ 228600 w 895388"/>
                        <a:gd name="connsiteY344" fmla="*/ 1250156 h 1512093"/>
                        <a:gd name="connsiteX345" fmla="*/ 216694 w 895388"/>
                        <a:gd name="connsiteY345" fmla="*/ 1262062 h 1512093"/>
                        <a:gd name="connsiteX346" fmla="*/ 211932 w 895388"/>
                        <a:gd name="connsiteY346" fmla="*/ 1254918 h 1512093"/>
                        <a:gd name="connsiteX347" fmla="*/ 207169 w 895388"/>
                        <a:gd name="connsiteY347" fmla="*/ 1228725 h 1512093"/>
                        <a:gd name="connsiteX348" fmla="*/ 200025 w 895388"/>
                        <a:gd name="connsiteY348" fmla="*/ 1221581 h 1512093"/>
                        <a:gd name="connsiteX349" fmla="*/ 192882 w 895388"/>
                        <a:gd name="connsiteY349" fmla="*/ 1219200 h 1512093"/>
                        <a:gd name="connsiteX350" fmla="*/ 183357 w 895388"/>
                        <a:gd name="connsiteY350" fmla="*/ 1221581 h 1512093"/>
                        <a:gd name="connsiteX351" fmla="*/ 171450 w 895388"/>
                        <a:gd name="connsiteY351" fmla="*/ 1223962 h 1512093"/>
                        <a:gd name="connsiteX352" fmla="*/ 164307 w 895388"/>
                        <a:gd name="connsiteY352" fmla="*/ 1226343 h 1512093"/>
                        <a:gd name="connsiteX353" fmla="*/ 154782 w 895388"/>
                        <a:gd name="connsiteY353" fmla="*/ 1223962 h 1512093"/>
                        <a:gd name="connsiteX354" fmla="*/ 147638 w 895388"/>
                        <a:gd name="connsiteY354" fmla="*/ 1219200 h 1512093"/>
                        <a:gd name="connsiteX355" fmla="*/ 145257 w 895388"/>
                        <a:gd name="connsiteY355" fmla="*/ 1226343 h 1512093"/>
                        <a:gd name="connsiteX356" fmla="*/ 140494 w 895388"/>
                        <a:gd name="connsiteY356" fmla="*/ 1233487 h 1512093"/>
                        <a:gd name="connsiteX357" fmla="*/ 126207 w 895388"/>
                        <a:gd name="connsiteY357" fmla="*/ 1219200 h 1512093"/>
                        <a:gd name="connsiteX358" fmla="*/ 119063 w 895388"/>
                        <a:gd name="connsiteY358" fmla="*/ 1214437 h 1512093"/>
                        <a:gd name="connsiteX359" fmla="*/ 104775 w 895388"/>
                        <a:gd name="connsiteY359" fmla="*/ 1209675 h 1512093"/>
                        <a:gd name="connsiteX360" fmla="*/ 116682 w 895388"/>
                        <a:gd name="connsiteY360" fmla="*/ 1197768 h 1512093"/>
                        <a:gd name="connsiteX361" fmla="*/ 114300 w 895388"/>
                        <a:gd name="connsiteY361" fmla="*/ 1183481 h 1512093"/>
                        <a:gd name="connsiteX362" fmla="*/ 130969 w 895388"/>
                        <a:gd name="connsiteY362" fmla="*/ 1173956 h 1512093"/>
                        <a:gd name="connsiteX363" fmla="*/ 145257 w 895388"/>
                        <a:gd name="connsiteY363" fmla="*/ 1169193 h 1512093"/>
                        <a:gd name="connsiteX364" fmla="*/ 164307 w 895388"/>
                        <a:gd name="connsiteY364" fmla="*/ 1166812 h 1512093"/>
                        <a:gd name="connsiteX365" fmla="*/ 176213 w 895388"/>
                        <a:gd name="connsiteY365" fmla="*/ 1154906 h 1512093"/>
                        <a:gd name="connsiteX366" fmla="*/ 200025 w 895388"/>
                        <a:gd name="connsiteY366" fmla="*/ 1152525 h 1512093"/>
                        <a:gd name="connsiteX367" fmla="*/ 216694 w 895388"/>
                        <a:gd name="connsiteY367" fmla="*/ 1150143 h 1512093"/>
                        <a:gd name="connsiteX368" fmla="*/ 223838 w 895388"/>
                        <a:gd name="connsiteY368" fmla="*/ 1145381 h 1512093"/>
                        <a:gd name="connsiteX369" fmla="*/ 230982 w 895388"/>
                        <a:gd name="connsiteY369" fmla="*/ 1143000 h 1512093"/>
                        <a:gd name="connsiteX370" fmla="*/ 242888 w 895388"/>
                        <a:gd name="connsiteY370" fmla="*/ 1133475 h 1512093"/>
                        <a:gd name="connsiteX371" fmla="*/ 245269 w 895388"/>
                        <a:gd name="connsiteY371" fmla="*/ 1114425 h 1512093"/>
                        <a:gd name="connsiteX372" fmla="*/ 257175 w 895388"/>
                        <a:gd name="connsiteY372" fmla="*/ 1100137 h 1512093"/>
                        <a:gd name="connsiteX373" fmla="*/ 269082 w 895388"/>
                        <a:gd name="connsiteY373" fmla="*/ 1078706 h 1512093"/>
                        <a:gd name="connsiteX374" fmla="*/ 264319 w 895388"/>
                        <a:gd name="connsiteY374" fmla="*/ 1064418 h 1512093"/>
                        <a:gd name="connsiteX375" fmla="*/ 261938 w 895388"/>
                        <a:gd name="connsiteY375" fmla="*/ 1057275 h 1512093"/>
                        <a:gd name="connsiteX376" fmla="*/ 264319 w 895388"/>
                        <a:gd name="connsiteY376" fmla="*/ 1045368 h 1512093"/>
                        <a:gd name="connsiteX377" fmla="*/ 271463 w 895388"/>
                        <a:gd name="connsiteY377" fmla="*/ 1042987 h 1512093"/>
                        <a:gd name="connsiteX378" fmla="*/ 278607 w 895388"/>
                        <a:gd name="connsiteY378" fmla="*/ 1038225 h 1512093"/>
                        <a:gd name="connsiteX379" fmla="*/ 280988 w 895388"/>
                        <a:gd name="connsiteY379" fmla="*/ 1031081 h 1512093"/>
                        <a:gd name="connsiteX380" fmla="*/ 266700 w 895388"/>
                        <a:gd name="connsiteY380" fmla="*/ 1026318 h 1512093"/>
                        <a:gd name="connsiteX381" fmla="*/ 259557 w 895388"/>
                        <a:gd name="connsiteY381" fmla="*/ 1019175 h 1512093"/>
                        <a:gd name="connsiteX382" fmla="*/ 245269 w 895388"/>
                        <a:gd name="connsiteY382" fmla="*/ 1023937 h 1512093"/>
                        <a:gd name="connsiteX383" fmla="*/ 223838 w 895388"/>
                        <a:gd name="connsiteY383" fmla="*/ 1026318 h 1512093"/>
                        <a:gd name="connsiteX384" fmla="*/ 216694 w 895388"/>
                        <a:gd name="connsiteY384" fmla="*/ 1028700 h 1512093"/>
                        <a:gd name="connsiteX385" fmla="*/ 209550 w 895388"/>
                        <a:gd name="connsiteY385" fmla="*/ 1033462 h 1512093"/>
                        <a:gd name="connsiteX386" fmla="*/ 202407 w 895388"/>
                        <a:gd name="connsiteY386" fmla="*/ 1028700 h 1512093"/>
                        <a:gd name="connsiteX387" fmla="*/ 209550 w 895388"/>
                        <a:gd name="connsiteY387" fmla="*/ 1021556 h 1512093"/>
                        <a:gd name="connsiteX388" fmla="*/ 214313 w 895388"/>
                        <a:gd name="connsiteY388" fmla="*/ 1014412 h 1512093"/>
                        <a:gd name="connsiteX389" fmla="*/ 233363 w 895388"/>
                        <a:gd name="connsiteY389" fmla="*/ 1012031 h 1512093"/>
                        <a:gd name="connsiteX390" fmla="*/ 242888 w 895388"/>
                        <a:gd name="connsiteY390" fmla="*/ 995362 h 1512093"/>
                        <a:gd name="connsiteX391" fmla="*/ 264319 w 895388"/>
                        <a:gd name="connsiteY391" fmla="*/ 976312 h 1512093"/>
                        <a:gd name="connsiteX392" fmla="*/ 269082 w 895388"/>
                        <a:gd name="connsiteY392" fmla="*/ 969168 h 1512093"/>
                        <a:gd name="connsiteX393" fmla="*/ 242888 w 895388"/>
                        <a:gd name="connsiteY393" fmla="*/ 966787 h 1512093"/>
                        <a:gd name="connsiteX394" fmla="*/ 235744 w 895388"/>
                        <a:gd name="connsiteY394" fmla="*/ 964406 h 1512093"/>
                        <a:gd name="connsiteX395" fmla="*/ 235744 w 895388"/>
                        <a:gd name="connsiteY395" fmla="*/ 935831 h 1512093"/>
                        <a:gd name="connsiteX396" fmla="*/ 245269 w 895388"/>
                        <a:gd name="connsiteY396" fmla="*/ 921543 h 1512093"/>
                        <a:gd name="connsiteX397" fmla="*/ 271463 w 895388"/>
                        <a:gd name="connsiteY397" fmla="*/ 923925 h 1512093"/>
                        <a:gd name="connsiteX398" fmla="*/ 276225 w 895388"/>
                        <a:gd name="connsiteY398" fmla="*/ 931068 h 1512093"/>
                        <a:gd name="connsiteX399" fmla="*/ 283369 w 895388"/>
                        <a:gd name="connsiteY399" fmla="*/ 945356 h 1512093"/>
                        <a:gd name="connsiteX400" fmla="*/ 280988 w 895388"/>
                        <a:gd name="connsiteY400" fmla="*/ 962025 h 1512093"/>
                        <a:gd name="connsiteX401" fmla="*/ 266700 w 895388"/>
                        <a:gd name="connsiteY401" fmla="*/ 971550 h 1512093"/>
                        <a:gd name="connsiteX402" fmla="*/ 273844 w 895388"/>
                        <a:gd name="connsiteY402" fmla="*/ 973931 h 1512093"/>
                        <a:gd name="connsiteX403" fmla="*/ 288132 w 895388"/>
                        <a:gd name="connsiteY403" fmla="*/ 969168 h 1512093"/>
                        <a:gd name="connsiteX404" fmla="*/ 292894 w 895388"/>
                        <a:gd name="connsiteY404" fmla="*/ 962025 h 1512093"/>
                        <a:gd name="connsiteX405" fmla="*/ 319088 w 895388"/>
                        <a:gd name="connsiteY405" fmla="*/ 959643 h 1512093"/>
                        <a:gd name="connsiteX406" fmla="*/ 323850 w 895388"/>
                        <a:gd name="connsiteY406" fmla="*/ 966787 h 1512093"/>
                        <a:gd name="connsiteX407" fmla="*/ 350044 w 895388"/>
                        <a:gd name="connsiteY407" fmla="*/ 966787 h 1512093"/>
                        <a:gd name="connsiteX408" fmla="*/ 364332 w 895388"/>
                        <a:gd name="connsiteY408" fmla="*/ 957262 h 1512093"/>
                        <a:gd name="connsiteX409" fmla="*/ 381000 w 895388"/>
                        <a:gd name="connsiteY409" fmla="*/ 973931 h 1512093"/>
                        <a:gd name="connsiteX410" fmla="*/ 390525 w 895388"/>
                        <a:gd name="connsiteY410" fmla="*/ 971550 h 1512093"/>
                        <a:gd name="connsiteX411" fmla="*/ 397669 w 895388"/>
                        <a:gd name="connsiteY411" fmla="*/ 969168 h 1512093"/>
                        <a:gd name="connsiteX412" fmla="*/ 404813 w 895388"/>
                        <a:gd name="connsiteY412" fmla="*/ 971550 h 1512093"/>
                        <a:gd name="connsiteX413" fmla="*/ 414338 w 895388"/>
                        <a:gd name="connsiteY413" fmla="*/ 973931 h 1512093"/>
                        <a:gd name="connsiteX414" fmla="*/ 435769 w 895388"/>
                        <a:gd name="connsiteY414" fmla="*/ 971550 h 1512093"/>
                        <a:gd name="connsiteX415" fmla="*/ 428625 w 895388"/>
                        <a:gd name="connsiteY415" fmla="*/ 966787 h 1512093"/>
                        <a:gd name="connsiteX416" fmla="*/ 421482 w 895388"/>
                        <a:gd name="connsiteY416" fmla="*/ 969168 h 1512093"/>
                        <a:gd name="connsiteX417" fmla="*/ 411957 w 895388"/>
                        <a:gd name="connsiteY417" fmla="*/ 971550 h 1512093"/>
                        <a:gd name="connsiteX418" fmla="*/ 385763 w 895388"/>
                        <a:gd name="connsiteY418" fmla="*/ 962025 h 1512093"/>
                        <a:gd name="connsiteX419" fmla="*/ 390525 w 895388"/>
                        <a:gd name="connsiteY419" fmla="*/ 954881 h 1512093"/>
                        <a:gd name="connsiteX420" fmla="*/ 404813 w 895388"/>
                        <a:gd name="connsiteY420" fmla="*/ 950118 h 1512093"/>
                        <a:gd name="connsiteX421" fmla="*/ 402432 w 895388"/>
                        <a:gd name="connsiteY421" fmla="*/ 933450 h 1512093"/>
                        <a:gd name="connsiteX422" fmla="*/ 407194 w 895388"/>
                        <a:gd name="connsiteY422" fmla="*/ 912018 h 1512093"/>
                        <a:gd name="connsiteX423" fmla="*/ 411957 w 895388"/>
                        <a:gd name="connsiteY423" fmla="*/ 904875 h 1512093"/>
                        <a:gd name="connsiteX424" fmla="*/ 426244 w 895388"/>
                        <a:gd name="connsiteY424" fmla="*/ 895350 h 1512093"/>
                        <a:gd name="connsiteX425" fmla="*/ 423863 w 895388"/>
                        <a:gd name="connsiteY425" fmla="*/ 888206 h 1512093"/>
                        <a:gd name="connsiteX426" fmla="*/ 419100 w 895388"/>
                        <a:gd name="connsiteY426" fmla="*/ 881062 h 1512093"/>
                        <a:gd name="connsiteX427" fmla="*/ 431007 w 895388"/>
                        <a:gd name="connsiteY427" fmla="*/ 862012 h 1512093"/>
                        <a:gd name="connsiteX428" fmla="*/ 435769 w 895388"/>
                        <a:gd name="connsiteY428" fmla="*/ 854868 h 1512093"/>
                        <a:gd name="connsiteX429" fmla="*/ 447675 w 895388"/>
                        <a:gd name="connsiteY429" fmla="*/ 842962 h 1512093"/>
                        <a:gd name="connsiteX430" fmla="*/ 447675 w 895388"/>
                        <a:gd name="connsiteY430" fmla="*/ 809625 h 1512093"/>
                        <a:gd name="connsiteX431" fmla="*/ 442913 w 895388"/>
                        <a:gd name="connsiteY431" fmla="*/ 816768 h 1512093"/>
                        <a:gd name="connsiteX432" fmla="*/ 409575 w 895388"/>
                        <a:gd name="connsiteY432" fmla="*/ 819150 h 1512093"/>
                        <a:gd name="connsiteX433" fmla="*/ 407194 w 895388"/>
                        <a:gd name="connsiteY433" fmla="*/ 826293 h 1512093"/>
                        <a:gd name="connsiteX434" fmla="*/ 400050 w 895388"/>
                        <a:gd name="connsiteY434" fmla="*/ 821531 h 1512093"/>
                        <a:gd name="connsiteX435" fmla="*/ 397669 w 895388"/>
                        <a:gd name="connsiteY435" fmla="*/ 814387 h 1512093"/>
                        <a:gd name="connsiteX436" fmla="*/ 390525 w 895388"/>
                        <a:gd name="connsiteY436" fmla="*/ 800100 h 1512093"/>
                        <a:gd name="connsiteX437" fmla="*/ 388144 w 895388"/>
                        <a:gd name="connsiteY437" fmla="*/ 764381 h 1512093"/>
                        <a:gd name="connsiteX438" fmla="*/ 381000 w 895388"/>
                        <a:gd name="connsiteY438" fmla="*/ 759618 h 1512093"/>
                        <a:gd name="connsiteX439" fmla="*/ 376238 w 895388"/>
                        <a:gd name="connsiteY439" fmla="*/ 752475 h 1512093"/>
                        <a:gd name="connsiteX440" fmla="*/ 378619 w 895388"/>
                        <a:gd name="connsiteY440" fmla="*/ 728662 h 1512093"/>
                        <a:gd name="connsiteX441" fmla="*/ 390525 w 895388"/>
                        <a:gd name="connsiteY441" fmla="*/ 716756 h 1512093"/>
                        <a:gd name="connsiteX442" fmla="*/ 404813 w 895388"/>
                        <a:gd name="connsiteY442" fmla="*/ 702468 h 1512093"/>
                        <a:gd name="connsiteX443" fmla="*/ 409575 w 895388"/>
                        <a:gd name="connsiteY443" fmla="*/ 695325 h 1512093"/>
                        <a:gd name="connsiteX444" fmla="*/ 416719 w 895388"/>
                        <a:gd name="connsiteY444" fmla="*/ 681037 h 1512093"/>
                        <a:gd name="connsiteX445" fmla="*/ 423863 w 895388"/>
                        <a:gd name="connsiteY445" fmla="*/ 678656 h 1512093"/>
                        <a:gd name="connsiteX446" fmla="*/ 461963 w 895388"/>
                        <a:gd name="connsiteY446" fmla="*/ 676275 h 1512093"/>
                        <a:gd name="connsiteX447" fmla="*/ 454819 w 895388"/>
                        <a:gd name="connsiteY447" fmla="*/ 671512 h 1512093"/>
                        <a:gd name="connsiteX448" fmla="*/ 440532 w 895388"/>
                        <a:gd name="connsiteY448" fmla="*/ 666750 h 1512093"/>
                        <a:gd name="connsiteX449" fmla="*/ 431007 w 895388"/>
                        <a:gd name="connsiteY449" fmla="*/ 669131 h 1512093"/>
                        <a:gd name="connsiteX450" fmla="*/ 411957 w 895388"/>
                        <a:gd name="connsiteY450" fmla="*/ 661987 h 1512093"/>
                        <a:gd name="connsiteX451" fmla="*/ 407194 w 895388"/>
                        <a:gd name="connsiteY451" fmla="*/ 654843 h 1512093"/>
                        <a:gd name="connsiteX452" fmla="*/ 392907 w 895388"/>
                        <a:gd name="connsiteY452" fmla="*/ 659606 h 1512093"/>
                        <a:gd name="connsiteX453" fmla="*/ 385763 w 895388"/>
                        <a:gd name="connsiteY453" fmla="*/ 673893 h 1512093"/>
                        <a:gd name="connsiteX454" fmla="*/ 371475 w 895388"/>
                        <a:gd name="connsiteY454" fmla="*/ 678656 h 1512093"/>
                        <a:gd name="connsiteX455" fmla="*/ 357188 w 895388"/>
                        <a:gd name="connsiteY455" fmla="*/ 695325 h 1512093"/>
                        <a:gd name="connsiteX456" fmla="*/ 342900 w 895388"/>
                        <a:gd name="connsiteY456" fmla="*/ 690562 h 1512093"/>
                        <a:gd name="connsiteX457" fmla="*/ 323850 w 895388"/>
                        <a:gd name="connsiteY457" fmla="*/ 673893 h 1512093"/>
                        <a:gd name="connsiteX458" fmla="*/ 316707 w 895388"/>
                        <a:gd name="connsiteY458" fmla="*/ 650081 h 1512093"/>
                        <a:gd name="connsiteX459" fmla="*/ 311944 w 895388"/>
                        <a:gd name="connsiteY459" fmla="*/ 657225 h 1512093"/>
                        <a:gd name="connsiteX460" fmla="*/ 309563 w 895388"/>
                        <a:gd name="connsiteY460" fmla="*/ 664368 h 1512093"/>
                        <a:gd name="connsiteX461" fmla="*/ 292894 w 895388"/>
                        <a:gd name="connsiteY461" fmla="*/ 671512 h 1512093"/>
                        <a:gd name="connsiteX462" fmla="*/ 285750 w 895388"/>
                        <a:gd name="connsiteY462" fmla="*/ 676275 h 1512093"/>
                        <a:gd name="connsiteX463" fmla="*/ 269082 w 895388"/>
                        <a:gd name="connsiteY463" fmla="*/ 666750 h 1512093"/>
                        <a:gd name="connsiteX464" fmla="*/ 266700 w 895388"/>
                        <a:gd name="connsiteY464" fmla="*/ 659606 h 1512093"/>
                        <a:gd name="connsiteX465" fmla="*/ 257175 w 895388"/>
                        <a:gd name="connsiteY465" fmla="*/ 657225 h 1512093"/>
                        <a:gd name="connsiteX466" fmla="*/ 254794 w 895388"/>
                        <a:gd name="connsiteY466" fmla="*/ 666750 h 1512093"/>
                        <a:gd name="connsiteX467" fmla="*/ 252413 w 895388"/>
                        <a:gd name="connsiteY467" fmla="*/ 681037 h 1512093"/>
                        <a:gd name="connsiteX468" fmla="*/ 254794 w 895388"/>
                        <a:gd name="connsiteY468" fmla="*/ 690562 h 1512093"/>
                        <a:gd name="connsiteX469" fmla="*/ 254794 w 895388"/>
                        <a:gd name="connsiteY469" fmla="*/ 695325 h 1512093"/>
                        <a:gd name="connsiteX470" fmla="*/ 245269 w 895388"/>
                        <a:gd name="connsiteY470" fmla="*/ 692943 h 1512093"/>
                        <a:gd name="connsiteX471" fmla="*/ 250032 w 895388"/>
                        <a:gd name="connsiteY471" fmla="*/ 676275 h 1512093"/>
                        <a:gd name="connsiteX472" fmla="*/ 233363 w 895388"/>
                        <a:gd name="connsiteY472" fmla="*/ 654843 h 1512093"/>
                        <a:gd name="connsiteX473" fmla="*/ 235744 w 895388"/>
                        <a:gd name="connsiteY473" fmla="*/ 633412 h 1512093"/>
                        <a:gd name="connsiteX474" fmla="*/ 259557 w 895388"/>
                        <a:gd name="connsiteY474" fmla="*/ 619125 h 1512093"/>
                        <a:gd name="connsiteX475" fmla="*/ 266700 w 895388"/>
                        <a:gd name="connsiteY475" fmla="*/ 614362 h 1512093"/>
                        <a:gd name="connsiteX476" fmla="*/ 276225 w 895388"/>
                        <a:gd name="connsiteY476" fmla="*/ 600075 h 1512093"/>
                        <a:gd name="connsiteX477" fmla="*/ 280988 w 895388"/>
                        <a:gd name="connsiteY477" fmla="*/ 590550 h 1512093"/>
                        <a:gd name="connsiteX478" fmla="*/ 295275 w 895388"/>
                        <a:gd name="connsiteY478" fmla="*/ 576262 h 1512093"/>
                        <a:gd name="connsiteX479" fmla="*/ 297657 w 895388"/>
                        <a:gd name="connsiteY479" fmla="*/ 569118 h 1512093"/>
                        <a:gd name="connsiteX480" fmla="*/ 316707 w 895388"/>
                        <a:gd name="connsiteY480" fmla="*/ 561975 h 1512093"/>
                        <a:gd name="connsiteX481" fmla="*/ 309563 w 895388"/>
                        <a:gd name="connsiteY481" fmla="*/ 531018 h 1512093"/>
                        <a:gd name="connsiteX482" fmla="*/ 302419 w 895388"/>
                        <a:gd name="connsiteY482" fmla="*/ 526256 h 1512093"/>
                        <a:gd name="connsiteX483" fmla="*/ 292894 w 895388"/>
                        <a:gd name="connsiteY483" fmla="*/ 511968 h 1512093"/>
                        <a:gd name="connsiteX484" fmla="*/ 288132 w 895388"/>
                        <a:gd name="connsiteY484" fmla="*/ 497681 h 1512093"/>
                        <a:gd name="connsiteX485" fmla="*/ 297657 w 895388"/>
                        <a:gd name="connsiteY485" fmla="*/ 481012 h 1512093"/>
                        <a:gd name="connsiteX486" fmla="*/ 311944 w 895388"/>
                        <a:gd name="connsiteY486" fmla="*/ 466725 h 1512093"/>
                        <a:gd name="connsiteX487" fmla="*/ 328613 w 895388"/>
                        <a:gd name="connsiteY487" fmla="*/ 469106 h 1512093"/>
                        <a:gd name="connsiteX488" fmla="*/ 335757 w 895388"/>
                        <a:gd name="connsiteY488" fmla="*/ 471487 h 1512093"/>
                        <a:gd name="connsiteX489" fmla="*/ 333375 w 895388"/>
                        <a:gd name="connsiteY489" fmla="*/ 476250 h 1512093"/>
                        <a:gd name="connsiteX490" fmla="*/ 326232 w 895388"/>
                        <a:gd name="connsiteY490" fmla="*/ 471487 h 1512093"/>
                        <a:gd name="connsiteX491" fmla="*/ 319088 w 895388"/>
                        <a:gd name="connsiteY491" fmla="*/ 469106 h 1512093"/>
                        <a:gd name="connsiteX492" fmla="*/ 314325 w 895388"/>
                        <a:gd name="connsiteY492" fmla="*/ 461962 h 1512093"/>
                        <a:gd name="connsiteX493" fmla="*/ 316707 w 895388"/>
                        <a:gd name="connsiteY493" fmla="*/ 445293 h 1512093"/>
                        <a:gd name="connsiteX494" fmla="*/ 307182 w 895388"/>
                        <a:gd name="connsiteY494" fmla="*/ 459581 h 1512093"/>
                        <a:gd name="connsiteX495" fmla="*/ 302419 w 895388"/>
                        <a:gd name="connsiteY495" fmla="*/ 466725 h 1512093"/>
                        <a:gd name="connsiteX496" fmla="*/ 288132 w 895388"/>
                        <a:gd name="connsiteY496" fmla="*/ 471487 h 1512093"/>
                        <a:gd name="connsiteX497" fmla="*/ 280988 w 895388"/>
                        <a:gd name="connsiteY497" fmla="*/ 466725 h 1512093"/>
                        <a:gd name="connsiteX498" fmla="*/ 266700 w 895388"/>
                        <a:gd name="connsiteY498" fmla="*/ 461962 h 1512093"/>
                        <a:gd name="connsiteX499" fmla="*/ 264319 w 895388"/>
                        <a:gd name="connsiteY499" fmla="*/ 454818 h 1512093"/>
                        <a:gd name="connsiteX500" fmla="*/ 266700 w 895388"/>
                        <a:gd name="connsiteY500" fmla="*/ 447675 h 1512093"/>
                        <a:gd name="connsiteX501" fmla="*/ 285750 w 895388"/>
                        <a:gd name="connsiteY501" fmla="*/ 426243 h 1512093"/>
                        <a:gd name="connsiteX502" fmla="*/ 300038 w 895388"/>
                        <a:gd name="connsiteY502" fmla="*/ 421481 h 1512093"/>
                        <a:gd name="connsiteX503" fmla="*/ 292894 w 895388"/>
                        <a:gd name="connsiteY503" fmla="*/ 423862 h 1512093"/>
                        <a:gd name="connsiteX504" fmla="*/ 285750 w 895388"/>
                        <a:gd name="connsiteY504" fmla="*/ 428625 h 1512093"/>
                        <a:gd name="connsiteX505" fmla="*/ 271463 w 895388"/>
                        <a:gd name="connsiteY505" fmla="*/ 433387 h 1512093"/>
                        <a:gd name="connsiteX506" fmla="*/ 257175 w 895388"/>
                        <a:gd name="connsiteY506" fmla="*/ 442912 h 1512093"/>
                        <a:gd name="connsiteX507" fmla="*/ 250032 w 895388"/>
                        <a:gd name="connsiteY507" fmla="*/ 447675 h 1512093"/>
                        <a:gd name="connsiteX508" fmla="*/ 245269 w 895388"/>
                        <a:gd name="connsiteY508" fmla="*/ 440531 h 1512093"/>
                        <a:gd name="connsiteX509" fmla="*/ 240507 w 895388"/>
                        <a:gd name="connsiteY509" fmla="*/ 426243 h 1512093"/>
                        <a:gd name="connsiteX510" fmla="*/ 247650 w 895388"/>
                        <a:gd name="connsiteY510" fmla="*/ 419100 h 1512093"/>
                        <a:gd name="connsiteX511" fmla="*/ 252413 w 895388"/>
                        <a:gd name="connsiteY511" fmla="*/ 404812 h 1512093"/>
                        <a:gd name="connsiteX512" fmla="*/ 257175 w 895388"/>
                        <a:gd name="connsiteY512" fmla="*/ 397668 h 1512093"/>
                        <a:gd name="connsiteX513" fmla="*/ 259557 w 895388"/>
                        <a:gd name="connsiteY513" fmla="*/ 378618 h 1512093"/>
                        <a:gd name="connsiteX514" fmla="*/ 307182 w 895388"/>
                        <a:gd name="connsiteY514" fmla="*/ 373856 h 1512093"/>
                        <a:gd name="connsiteX515" fmla="*/ 309563 w 895388"/>
                        <a:gd name="connsiteY515" fmla="*/ 359568 h 1512093"/>
                        <a:gd name="connsiteX516" fmla="*/ 302419 w 895388"/>
                        <a:gd name="connsiteY516" fmla="*/ 354806 h 1512093"/>
                        <a:gd name="connsiteX517" fmla="*/ 288132 w 895388"/>
                        <a:gd name="connsiteY517" fmla="*/ 350043 h 1512093"/>
                        <a:gd name="connsiteX518" fmla="*/ 292894 w 895388"/>
                        <a:gd name="connsiteY518" fmla="*/ 335756 h 1512093"/>
                        <a:gd name="connsiteX519" fmla="*/ 300038 w 895388"/>
                        <a:gd name="connsiteY519" fmla="*/ 328612 h 1512093"/>
                        <a:gd name="connsiteX520" fmla="*/ 304800 w 895388"/>
                        <a:gd name="connsiteY520" fmla="*/ 321468 h 1512093"/>
                        <a:gd name="connsiteX521" fmla="*/ 311944 w 895388"/>
                        <a:gd name="connsiteY521" fmla="*/ 316706 h 1512093"/>
                        <a:gd name="connsiteX522" fmla="*/ 321469 w 895388"/>
                        <a:gd name="connsiteY522" fmla="*/ 302418 h 1512093"/>
                        <a:gd name="connsiteX523" fmla="*/ 292894 w 895388"/>
                        <a:gd name="connsiteY523" fmla="*/ 316706 h 1512093"/>
                        <a:gd name="connsiteX524" fmla="*/ 285750 w 895388"/>
                        <a:gd name="connsiteY524" fmla="*/ 319087 h 1512093"/>
                        <a:gd name="connsiteX525" fmla="*/ 278607 w 895388"/>
                        <a:gd name="connsiteY525" fmla="*/ 323850 h 1512093"/>
                        <a:gd name="connsiteX526" fmla="*/ 269082 w 895388"/>
                        <a:gd name="connsiteY526" fmla="*/ 326231 h 1512093"/>
                        <a:gd name="connsiteX527" fmla="*/ 261938 w 895388"/>
                        <a:gd name="connsiteY527" fmla="*/ 328612 h 1512093"/>
                        <a:gd name="connsiteX528" fmla="*/ 259557 w 895388"/>
                        <a:gd name="connsiteY528" fmla="*/ 311943 h 1512093"/>
                        <a:gd name="connsiteX529" fmla="*/ 245269 w 895388"/>
                        <a:gd name="connsiteY529" fmla="*/ 307181 h 1512093"/>
                        <a:gd name="connsiteX530" fmla="*/ 250032 w 895388"/>
                        <a:gd name="connsiteY530" fmla="*/ 300037 h 1512093"/>
                        <a:gd name="connsiteX531" fmla="*/ 259557 w 895388"/>
                        <a:gd name="connsiteY531" fmla="*/ 278606 h 1512093"/>
                        <a:gd name="connsiteX532" fmla="*/ 266700 w 895388"/>
                        <a:gd name="connsiteY532" fmla="*/ 276225 h 1512093"/>
                        <a:gd name="connsiteX533" fmla="*/ 290513 w 895388"/>
                        <a:gd name="connsiteY533" fmla="*/ 259556 h 1512093"/>
                        <a:gd name="connsiteX534" fmla="*/ 297657 w 895388"/>
                        <a:gd name="connsiteY534" fmla="*/ 254793 h 1512093"/>
                        <a:gd name="connsiteX535" fmla="*/ 304800 w 895388"/>
                        <a:gd name="connsiteY535" fmla="*/ 247650 h 1512093"/>
                        <a:gd name="connsiteX536" fmla="*/ 302419 w 895388"/>
                        <a:gd name="connsiteY536" fmla="*/ 240506 h 1512093"/>
                        <a:gd name="connsiteX537" fmla="*/ 288132 w 895388"/>
                        <a:gd name="connsiteY537" fmla="*/ 250031 h 1512093"/>
                        <a:gd name="connsiteX538" fmla="*/ 271463 w 895388"/>
                        <a:gd name="connsiteY538" fmla="*/ 254793 h 1512093"/>
                        <a:gd name="connsiteX539" fmla="*/ 269082 w 895388"/>
                        <a:gd name="connsiteY539" fmla="*/ 247650 h 1512093"/>
                        <a:gd name="connsiteX540" fmla="*/ 283369 w 895388"/>
                        <a:gd name="connsiteY540" fmla="*/ 223837 h 1512093"/>
                        <a:gd name="connsiteX541" fmla="*/ 288132 w 895388"/>
                        <a:gd name="connsiteY541" fmla="*/ 216693 h 1512093"/>
                        <a:gd name="connsiteX542" fmla="*/ 292894 w 895388"/>
                        <a:gd name="connsiteY542" fmla="*/ 209550 h 1512093"/>
                        <a:gd name="connsiteX543" fmla="*/ 307182 w 895388"/>
                        <a:gd name="connsiteY543" fmla="*/ 200025 h 1512093"/>
                        <a:gd name="connsiteX544" fmla="*/ 302419 w 895388"/>
                        <a:gd name="connsiteY544" fmla="*/ 207168 h 1512093"/>
                        <a:gd name="connsiteX545" fmla="*/ 288132 w 895388"/>
                        <a:gd name="connsiteY545" fmla="*/ 219075 h 1512093"/>
                        <a:gd name="connsiteX546" fmla="*/ 271463 w 895388"/>
                        <a:gd name="connsiteY546" fmla="*/ 202406 h 1512093"/>
                        <a:gd name="connsiteX547" fmla="*/ 266700 w 895388"/>
                        <a:gd name="connsiteY547" fmla="*/ 188118 h 1512093"/>
                        <a:gd name="connsiteX548" fmla="*/ 264319 w 895388"/>
                        <a:gd name="connsiteY548" fmla="*/ 180975 h 1512093"/>
                        <a:gd name="connsiteX549" fmla="*/ 266700 w 895388"/>
                        <a:gd name="connsiteY549" fmla="*/ 164306 h 1512093"/>
                        <a:gd name="connsiteX550" fmla="*/ 292894 w 895388"/>
                        <a:gd name="connsiteY550" fmla="*/ 169068 h 1512093"/>
                        <a:gd name="connsiteX551" fmla="*/ 302419 w 895388"/>
                        <a:gd name="connsiteY551" fmla="*/ 166687 h 1512093"/>
                        <a:gd name="connsiteX552" fmla="*/ 292894 w 895388"/>
                        <a:gd name="connsiteY552" fmla="*/ 161925 h 1512093"/>
                        <a:gd name="connsiteX553" fmla="*/ 285750 w 895388"/>
                        <a:gd name="connsiteY553" fmla="*/ 157162 h 1512093"/>
                        <a:gd name="connsiteX554" fmla="*/ 285750 w 895388"/>
                        <a:gd name="connsiteY554" fmla="*/ 130968 h 1512093"/>
                        <a:gd name="connsiteX555" fmla="*/ 300038 w 895388"/>
                        <a:gd name="connsiteY555" fmla="*/ 123825 h 1512093"/>
                        <a:gd name="connsiteX556" fmla="*/ 311944 w 895388"/>
                        <a:gd name="connsiteY556" fmla="*/ 133350 h 1512093"/>
                        <a:gd name="connsiteX557" fmla="*/ 316707 w 895388"/>
                        <a:gd name="connsiteY557" fmla="*/ 119062 h 1512093"/>
                        <a:gd name="connsiteX558" fmla="*/ 326232 w 895388"/>
                        <a:gd name="connsiteY558" fmla="*/ 116681 h 1512093"/>
                        <a:gd name="connsiteX559" fmla="*/ 345282 w 895388"/>
                        <a:gd name="connsiteY559" fmla="*/ 121443 h 1512093"/>
                        <a:gd name="connsiteX560" fmla="*/ 352425 w 895388"/>
                        <a:gd name="connsiteY560" fmla="*/ 123825 h 1512093"/>
                        <a:gd name="connsiteX561" fmla="*/ 352425 w 895388"/>
                        <a:gd name="connsiteY561" fmla="*/ 104775 h 1512093"/>
                        <a:gd name="connsiteX562" fmla="*/ 345282 w 895388"/>
                        <a:gd name="connsiteY562" fmla="*/ 100012 h 1512093"/>
                        <a:gd name="connsiteX563" fmla="*/ 338138 w 895388"/>
                        <a:gd name="connsiteY563" fmla="*/ 73818 h 1512093"/>
                        <a:gd name="connsiteX564" fmla="*/ 347663 w 895388"/>
                        <a:gd name="connsiteY564" fmla="*/ 59531 h 1512093"/>
                        <a:gd name="connsiteX565" fmla="*/ 350044 w 895388"/>
                        <a:gd name="connsiteY565" fmla="*/ 52387 h 1512093"/>
                        <a:gd name="connsiteX566" fmla="*/ 347663 w 895388"/>
                        <a:gd name="connsiteY566" fmla="*/ 40481 h 1512093"/>
                        <a:gd name="connsiteX567" fmla="*/ 352425 w 895388"/>
                        <a:gd name="connsiteY567" fmla="*/ 47625 h 1512093"/>
                        <a:gd name="connsiteX568" fmla="*/ 361950 w 895388"/>
                        <a:gd name="connsiteY568" fmla="*/ 50006 h 1512093"/>
                        <a:gd name="connsiteX569" fmla="*/ 369094 w 895388"/>
                        <a:gd name="connsiteY569" fmla="*/ 52387 h 1512093"/>
                        <a:gd name="connsiteX570" fmla="*/ 381000 w 895388"/>
                        <a:gd name="connsiteY570" fmla="*/ 42862 h 1512093"/>
                        <a:gd name="connsiteX571" fmla="*/ 376238 w 895388"/>
                        <a:gd name="connsiteY571" fmla="*/ 35718 h 1512093"/>
                        <a:gd name="connsiteX572" fmla="*/ 378619 w 895388"/>
                        <a:gd name="connsiteY572" fmla="*/ 54768 h 1512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Lst>
                      <a:rect l="l" t="t" r="r" b="b"/>
                      <a:pathLst>
                        <a:path w="895388" h="1512093">
                          <a:moveTo>
                            <a:pt x="378619" y="54768"/>
                          </a:moveTo>
                          <a:cubicBezTo>
                            <a:pt x="378619" y="55959"/>
                            <a:pt x="377659" y="46652"/>
                            <a:pt x="376238" y="42862"/>
                          </a:cubicBezTo>
                          <a:cubicBezTo>
                            <a:pt x="375233" y="40182"/>
                            <a:pt x="371713" y="38570"/>
                            <a:pt x="371475" y="35718"/>
                          </a:cubicBezTo>
                          <a:cubicBezTo>
                            <a:pt x="370878" y="28555"/>
                            <a:pt x="372764" y="21391"/>
                            <a:pt x="373857" y="14287"/>
                          </a:cubicBezTo>
                          <a:cubicBezTo>
                            <a:pt x="374355" y="11052"/>
                            <a:pt x="374194" y="7318"/>
                            <a:pt x="376238" y="4762"/>
                          </a:cubicBezTo>
                          <a:cubicBezTo>
                            <a:pt x="377806" y="2802"/>
                            <a:pt x="380901" y="2763"/>
                            <a:pt x="383382" y="2381"/>
                          </a:cubicBezTo>
                          <a:cubicBezTo>
                            <a:pt x="391266" y="1168"/>
                            <a:pt x="399257" y="794"/>
                            <a:pt x="407194" y="0"/>
                          </a:cubicBezTo>
                          <a:cubicBezTo>
                            <a:pt x="409575" y="794"/>
                            <a:pt x="412563" y="606"/>
                            <a:pt x="414338" y="2381"/>
                          </a:cubicBezTo>
                          <a:cubicBezTo>
                            <a:pt x="418385" y="6428"/>
                            <a:pt x="423863" y="16668"/>
                            <a:pt x="423863" y="16668"/>
                          </a:cubicBezTo>
                          <a:cubicBezTo>
                            <a:pt x="423069" y="19049"/>
                            <a:pt x="422701" y="21618"/>
                            <a:pt x="421482" y="23812"/>
                          </a:cubicBezTo>
                          <a:cubicBezTo>
                            <a:pt x="409880" y="44697"/>
                            <a:pt x="407440" y="39168"/>
                            <a:pt x="419100" y="33337"/>
                          </a:cubicBezTo>
                          <a:cubicBezTo>
                            <a:pt x="421345" y="32214"/>
                            <a:pt x="423863" y="31750"/>
                            <a:pt x="426244" y="30956"/>
                          </a:cubicBezTo>
                          <a:cubicBezTo>
                            <a:pt x="429857" y="28547"/>
                            <a:pt x="435601" y="23812"/>
                            <a:pt x="440532" y="23812"/>
                          </a:cubicBezTo>
                          <a:cubicBezTo>
                            <a:pt x="443042" y="23812"/>
                            <a:pt x="445294" y="25399"/>
                            <a:pt x="447675" y="26193"/>
                          </a:cubicBezTo>
                          <a:cubicBezTo>
                            <a:pt x="450056" y="27781"/>
                            <a:pt x="452795" y="28932"/>
                            <a:pt x="454819" y="30956"/>
                          </a:cubicBezTo>
                          <a:cubicBezTo>
                            <a:pt x="456843" y="32980"/>
                            <a:pt x="456830" y="37314"/>
                            <a:pt x="459582" y="38100"/>
                          </a:cubicBezTo>
                          <a:cubicBezTo>
                            <a:pt x="463474" y="39212"/>
                            <a:pt x="467537" y="36596"/>
                            <a:pt x="471488" y="35718"/>
                          </a:cubicBezTo>
                          <a:cubicBezTo>
                            <a:pt x="492101" y="31137"/>
                            <a:pt x="468722" y="34703"/>
                            <a:pt x="502444" y="30956"/>
                          </a:cubicBezTo>
                          <a:cubicBezTo>
                            <a:pt x="513361" y="14579"/>
                            <a:pt x="506539" y="14857"/>
                            <a:pt x="519113" y="19050"/>
                          </a:cubicBezTo>
                          <a:cubicBezTo>
                            <a:pt x="521494" y="22225"/>
                            <a:pt x="522609" y="27012"/>
                            <a:pt x="526257" y="28575"/>
                          </a:cubicBezTo>
                          <a:cubicBezTo>
                            <a:pt x="530936" y="30580"/>
                            <a:pt x="539723" y="23565"/>
                            <a:pt x="542925" y="21431"/>
                          </a:cubicBezTo>
                          <a:cubicBezTo>
                            <a:pt x="543719" y="23812"/>
                            <a:pt x="543532" y="26800"/>
                            <a:pt x="545307" y="28575"/>
                          </a:cubicBezTo>
                          <a:cubicBezTo>
                            <a:pt x="550502" y="33770"/>
                            <a:pt x="566230" y="28988"/>
                            <a:pt x="569119" y="28575"/>
                          </a:cubicBezTo>
                          <a:cubicBezTo>
                            <a:pt x="579787" y="32130"/>
                            <a:pt x="578708" y="29157"/>
                            <a:pt x="573882" y="45243"/>
                          </a:cubicBezTo>
                          <a:cubicBezTo>
                            <a:pt x="570753" y="55672"/>
                            <a:pt x="568739" y="53149"/>
                            <a:pt x="564357" y="61912"/>
                          </a:cubicBezTo>
                          <a:cubicBezTo>
                            <a:pt x="560485" y="69655"/>
                            <a:pt x="564033" y="69380"/>
                            <a:pt x="557213" y="76200"/>
                          </a:cubicBezTo>
                          <a:cubicBezTo>
                            <a:pt x="555189" y="78224"/>
                            <a:pt x="552268" y="79130"/>
                            <a:pt x="550069" y="80962"/>
                          </a:cubicBezTo>
                          <a:cubicBezTo>
                            <a:pt x="547482" y="83118"/>
                            <a:pt x="545869" y="86471"/>
                            <a:pt x="542925" y="88106"/>
                          </a:cubicBezTo>
                          <a:cubicBezTo>
                            <a:pt x="536345" y="91762"/>
                            <a:pt x="526459" y="93046"/>
                            <a:pt x="519113" y="95250"/>
                          </a:cubicBezTo>
                          <a:cubicBezTo>
                            <a:pt x="514305" y="96693"/>
                            <a:pt x="504825" y="100012"/>
                            <a:pt x="504825" y="100012"/>
                          </a:cubicBezTo>
                          <a:cubicBezTo>
                            <a:pt x="493505" y="107560"/>
                            <a:pt x="500397" y="103870"/>
                            <a:pt x="483394" y="109537"/>
                          </a:cubicBezTo>
                          <a:lnTo>
                            <a:pt x="476250" y="111918"/>
                          </a:lnTo>
                          <a:cubicBezTo>
                            <a:pt x="469107" y="116681"/>
                            <a:pt x="468313" y="115888"/>
                            <a:pt x="464344" y="123825"/>
                          </a:cubicBezTo>
                          <a:cubicBezTo>
                            <a:pt x="463222" y="126070"/>
                            <a:pt x="463531" y="129008"/>
                            <a:pt x="461963" y="130968"/>
                          </a:cubicBezTo>
                          <a:cubicBezTo>
                            <a:pt x="460175" y="133203"/>
                            <a:pt x="457200" y="134143"/>
                            <a:pt x="454819" y="135731"/>
                          </a:cubicBezTo>
                          <a:cubicBezTo>
                            <a:pt x="449263" y="134937"/>
                            <a:pt x="443361" y="135435"/>
                            <a:pt x="438150" y="133350"/>
                          </a:cubicBezTo>
                          <a:cubicBezTo>
                            <a:pt x="435023" y="132099"/>
                            <a:pt x="434374" y="126206"/>
                            <a:pt x="431007" y="126206"/>
                          </a:cubicBezTo>
                          <a:cubicBezTo>
                            <a:pt x="428497" y="126206"/>
                            <a:pt x="429419" y="130969"/>
                            <a:pt x="428625" y="133350"/>
                          </a:cubicBezTo>
                          <a:cubicBezTo>
                            <a:pt x="431006" y="134937"/>
                            <a:pt x="433209" y="136832"/>
                            <a:pt x="435769" y="138112"/>
                          </a:cubicBezTo>
                          <a:cubicBezTo>
                            <a:pt x="438014" y="139234"/>
                            <a:pt x="441454" y="138450"/>
                            <a:pt x="442913" y="140493"/>
                          </a:cubicBezTo>
                          <a:cubicBezTo>
                            <a:pt x="445831" y="144578"/>
                            <a:pt x="447675" y="154781"/>
                            <a:pt x="447675" y="154781"/>
                          </a:cubicBezTo>
                          <a:cubicBezTo>
                            <a:pt x="434212" y="174975"/>
                            <a:pt x="444696" y="165583"/>
                            <a:pt x="431007" y="171450"/>
                          </a:cubicBezTo>
                          <a:cubicBezTo>
                            <a:pt x="427744" y="172848"/>
                            <a:pt x="424657" y="174625"/>
                            <a:pt x="421482" y="176212"/>
                          </a:cubicBezTo>
                          <a:cubicBezTo>
                            <a:pt x="418900" y="181375"/>
                            <a:pt x="413260" y="187041"/>
                            <a:pt x="419100" y="192881"/>
                          </a:cubicBezTo>
                          <a:cubicBezTo>
                            <a:pt x="420875" y="194656"/>
                            <a:pt x="423863" y="194468"/>
                            <a:pt x="426244" y="195262"/>
                          </a:cubicBezTo>
                          <a:cubicBezTo>
                            <a:pt x="427832" y="197643"/>
                            <a:pt x="428201" y="201845"/>
                            <a:pt x="431007" y="202406"/>
                          </a:cubicBezTo>
                          <a:cubicBezTo>
                            <a:pt x="448780" y="205961"/>
                            <a:pt x="445464" y="199599"/>
                            <a:pt x="457200" y="197643"/>
                          </a:cubicBezTo>
                          <a:cubicBezTo>
                            <a:pt x="464290" y="196461"/>
                            <a:pt x="471488" y="196056"/>
                            <a:pt x="478632" y="195262"/>
                          </a:cubicBezTo>
                          <a:cubicBezTo>
                            <a:pt x="500506" y="180679"/>
                            <a:pt x="473780" y="200608"/>
                            <a:pt x="488157" y="183356"/>
                          </a:cubicBezTo>
                          <a:cubicBezTo>
                            <a:pt x="490698" y="180307"/>
                            <a:pt x="494507" y="178593"/>
                            <a:pt x="497682" y="176212"/>
                          </a:cubicBezTo>
                          <a:cubicBezTo>
                            <a:pt x="502444" y="177006"/>
                            <a:pt x="507512" y="176736"/>
                            <a:pt x="511969" y="178593"/>
                          </a:cubicBezTo>
                          <a:cubicBezTo>
                            <a:pt x="517253" y="180794"/>
                            <a:pt x="526257" y="188118"/>
                            <a:pt x="526257" y="188118"/>
                          </a:cubicBezTo>
                          <a:cubicBezTo>
                            <a:pt x="527844" y="190499"/>
                            <a:pt x="528995" y="193238"/>
                            <a:pt x="531019" y="195262"/>
                          </a:cubicBezTo>
                          <a:cubicBezTo>
                            <a:pt x="535636" y="199879"/>
                            <a:pt x="539496" y="200469"/>
                            <a:pt x="545307" y="202406"/>
                          </a:cubicBezTo>
                          <a:cubicBezTo>
                            <a:pt x="547688" y="200818"/>
                            <a:pt x="550426" y="199667"/>
                            <a:pt x="552450" y="197643"/>
                          </a:cubicBezTo>
                          <a:cubicBezTo>
                            <a:pt x="554474" y="195619"/>
                            <a:pt x="554556" y="191563"/>
                            <a:pt x="557213" y="190500"/>
                          </a:cubicBezTo>
                          <a:cubicBezTo>
                            <a:pt x="559544" y="189568"/>
                            <a:pt x="561976" y="192087"/>
                            <a:pt x="564357" y="192881"/>
                          </a:cubicBezTo>
                          <a:cubicBezTo>
                            <a:pt x="565944" y="195262"/>
                            <a:pt x="566884" y="198237"/>
                            <a:pt x="569119" y="200025"/>
                          </a:cubicBezTo>
                          <a:cubicBezTo>
                            <a:pt x="571079" y="201593"/>
                            <a:pt x="573828" y="201797"/>
                            <a:pt x="576263" y="202406"/>
                          </a:cubicBezTo>
                          <a:lnTo>
                            <a:pt x="595313" y="207168"/>
                          </a:lnTo>
                          <a:cubicBezTo>
                            <a:pt x="616237" y="221118"/>
                            <a:pt x="603905" y="217262"/>
                            <a:pt x="633413" y="214312"/>
                          </a:cubicBezTo>
                          <a:cubicBezTo>
                            <a:pt x="635000" y="211931"/>
                            <a:pt x="638736" y="209974"/>
                            <a:pt x="638175" y="207168"/>
                          </a:cubicBezTo>
                          <a:cubicBezTo>
                            <a:pt x="637614" y="204362"/>
                            <a:pt x="632312" y="199846"/>
                            <a:pt x="631032" y="202406"/>
                          </a:cubicBezTo>
                          <a:cubicBezTo>
                            <a:pt x="628873" y="206724"/>
                            <a:pt x="630234" y="213059"/>
                            <a:pt x="633413" y="216693"/>
                          </a:cubicBezTo>
                          <a:cubicBezTo>
                            <a:pt x="636719" y="220471"/>
                            <a:pt x="647700" y="221456"/>
                            <a:pt x="647700" y="221456"/>
                          </a:cubicBezTo>
                          <a:cubicBezTo>
                            <a:pt x="649288" y="223837"/>
                            <a:pt x="651301" y="225985"/>
                            <a:pt x="652463" y="228600"/>
                          </a:cubicBezTo>
                          <a:cubicBezTo>
                            <a:pt x="654502" y="233187"/>
                            <a:pt x="657225" y="242887"/>
                            <a:pt x="657225" y="242887"/>
                          </a:cubicBezTo>
                          <a:cubicBezTo>
                            <a:pt x="655515" y="259993"/>
                            <a:pt x="661139" y="265703"/>
                            <a:pt x="647700" y="271462"/>
                          </a:cubicBezTo>
                          <a:cubicBezTo>
                            <a:pt x="644692" y="272751"/>
                            <a:pt x="641350" y="273049"/>
                            <a:pt x="638175" y="273843"/>
                          </a:cubicBezTo>
                          <a:cubicBezTo>
                            <a:pt x="621042" y="285267"/>
                            <a:pt x="642135" y="269091"/>
                            <a:pt x="626269" y="292893"/>
                          </a:cubicBezTo>
                          <a:cubicBezTo>
                            <a:pt x="624682" y="295274"/>
                            <a:pt x="622669" y="297422"/>
                            <a:pt x="621507" y="300037"/>
                          </a:cubicBezTo>
                          <a:cubicBezTo>
                            <a:pt x="619468" y="304625"/>
                            <a:pt x="618332" y="309562"/>
                            <a:pt x="616744" y="314325"/>
                          </a:cubicBezTo>
                          <a:cubicBezTo>
                            <a:pt x="615950" y="316706"/>
                            <a:pt x="615755" y="319380"/>
                            <a:pt x="614363" y="321468"/>
                          </a:cubicBezTo>
                          <a:cubicBezTo>
                            <a:pt x="611188" y="326231"/>
                            <a:pt x="606648" y="330326"/>
                            <a:pt x="604838" y="335756"/>
                          </a:cubicBezTo>
                          <a:cubicBezTo>
                            <a:pt x="604044" y="338137"/>
                            <a:pt x="603147" y="340486"/>
                            <a:pt x="602457" y="342900"/>
                          </a:cubicBezTo>
                          <a:cubicBezTo>
                            <a:pt x="601558" y="346047"/>
                            <a:pt x="602850" y="350690"/>
                            <a:pt x="600075" y="352425"/>
                          </a:cubicBezTo>
                          <a:cubicBezTo>
                            <a:pt x="595316" y="355400"/>
                            <a:pt x="588963" y="354012"/>
                            <a:pt x="583407" y="354806"/>
                          </a:cubicBezTo>
                          <a:cubicBezTo>
                            <a:pt x="579985" y="357372"/>
                            <a:pt x="569224" y="364742"/>
                            <a:pt x="566738" y="369093"/>
                          </a:cubicBezTo>
                          <a:cubicBezTo>
                            <a:pt x="565114" y="371934"/>
                            <a:pt x="565297" y="375483"/>
                            <a:pt x="564357" y="378618"/>
                          </a:cubicBezTo>
                          <a:cubicBezTo>
                            <a:pt x="562914" y="383427"/>
                            <a:pt x="561182" y="388143"/>
                            <a:pt x="559594" y="392906"/>
                          </a:cubicBezTo>
                          <a:cubicBezTo>
                            <a:pt x="556847" y="401146"/>
                            <a:pt x="558687" y="400504"/>
                            <a:pt x="550069" y="404812"/>
                          </a:cubicBezTo>
                          <a:cubicBezTo>
                            <a:pt x="547824" y="405934"/>
                            <a:pt x="545426" y="406976"/>
                            <a:pt x="542925" y="407193"/>
                          </a:cubicBezTo>
                          <a:cubicBezTo>
                            <a:pt x="527090" y="408570"/>
                            <a:pt x="511175" y="408781"/>
                            <a:pt x="495300" y="409575"/>
                          </a:cubicBezTo>
                          <a:cubicBezTo>
                            <a:pt x="492952" y="410749"/>
                            <a:pt x="480878" y="416292"/>
                            <a:pt x="478632" y="419100"/>
                          </a:cubicBezTo>
                          <a:cubicBezTo>
                            <a:pt x="477064" y="421060"/>
                            <a:pt x="477044" y="423862"/>
                            <a:pt x="476250" y="426243"/>
                          </a:cubicBezTo>
                          <a:cubicBezTo>
                            <a:pt x="477044" y="428624"/>
                            <a:pt x="476218" y="432697"/>
                            <a:pt x="478632" y="433387"/>
                          </a:cubicBezTo>
                          <a:cubicBezTo>
                            <a:pt x="491377" y="437029"/>
                            <a:pt x="492898" y="429833"/>
                            <a:pt x="500063" y="423862"/>
                          </a:cubicBezTo>
                          <a:cubicBezTo>
                            <a:pt x="506216" y="418735"/>
                            <a:pt x="507193" y="419105"/>
                            <a:pt x="514350" y="416718"/>
                          </a:cubicBezTo>
                          <a:cubicBezTo>
                            <a:pt x="515938" y="419099"/>
                            <a:pt x="517281" y="421663"/>
                            <a:pt x="519113" y="423862"/>
                          </a:cubicBezTo>
                          <a:cubicBezTo>
                            <a:pt x="521269" y="426449"/>
                            <a:pt x="524389" y="428204"/>
                            <a:pt x="526257" y="431006"/>
                          </a:cubicBezTo>
                          <a:cubicBezTo>
                            <a:pt x="527649" y="433095"/>
                            <a:pt x="527246" y="436061"/>
                            <a:pt x="528638" y="438150"/>
                          </a:cubicBezTo>
                          <a:cubicBezTo>
                            <a:pt x="530506" y="440952"/>
                            <a:pt x="533626" y="442706"/>
                            <a:pt x="535782" y="445293"/>
                          </a:cubicBezTo>
                          <a:cubicBezTo>
                            <a:pt x="537614" y="447492"/>
                            <a:pt x="543104" y="451157"/>
                            <a:pt x="540544" y="452437"/>
                          </a:cubicBezTo>
                          <a:cubicBezTo>
                            <a:pt x="537192" y="454113"/>
                            <a:pt x="523865" y="449259"/>
                            <a:pt x="519113" y="447675"/>
                          </a:cubicBezTo>
                          <a:cubicBezTo>
                            <a:pt x="513557" y="448469"/>
                            <a:pt x="507820" y="448443"/>
                            <a:pt x="502444" y="450056"/>
                          </a:cubicBezTo>
                          <a:cubicBezTo>
                            <a:pt x="496899" y="451719"/>
                            <a:pt x="492146" y="458638"/>
                            <a:pt x="488157" y="461962"/>
                          </a:cubicBezTo>
                          <a:cubicBezTo>
                            <a:pt x="482002" y="467092"/>
                            <a:pt x="481029" y="466720"/>
                            <a:pt x="473869" y="469106"/>
                          </a:cubicBezTo>
                          <a:cubicBezTo>
                            <a:pt x="471488" y="471487"/>
                            <a:pt x="468881" y="473663"/>
                            <a:pt x="466725" y="476250"/>
                          </a:cubicBezTo>
                          <a:cubicBezTo>
                            <a:pt x="464893" y="478448"/>
                            <a:pt x="464620" y="482330"/>
                            <a:pt x="461963" y="483393"/>
                          </a:cubicBezTo>
                          <a:cubicBezTo>
                            <a:pt x="458535" y="484764"/>
                            <a:pt x="449575" y="477095"/>
                            <a:pt x="447675" y="476250"/>
                          </a:cubicBezTo>
                          <a:cubicBezTo>
                            <a:pt x="443088" y="474211"/>
                            <a:pt x="438150" y="473075"/>
                            <a:pt x="433388" y="471487"/>
                          </a:cubicBezTo>
                          <a:lnTo>
                            <a:pt x="426244" y="469106"/>
                          </a:lnTo>
                          <a:cubicBezTo>
                            <a:pt x="422356" y="474939"/>
                            <a:pt x="417713" y="478087"/>
                            <a:pt x="423863" y="485775"/>
                          </a:cubicBezTo>
                          <a:cubicBezTo>
                            <a:pt x="425431" y="487735"/>
                            <a:pt x="428626" y="487362"/>
                            <a:pt x="431007" y="488156"/>
                          </a:cubicBezTo>
                          <a:cubicBezTo>
                            <a:pt x="441435" y="486071"/>
                            <a:pt x="446332" y="483628"/>
                            <a:pt x="457200" y="488156"/>
                          </a:cubicBezTo>
                          <a:cubicBezTo>
                            <a:pt x="462484" y="490357"/>
                            <a:pt x="466725" y="494506"/>
                            <a:pt x="471488" y="497681"/>
                          </a:cubicBezTo>
                          <a:cubicBezTo>
                            <a:pt x="473577" y="499073"/>
                            <a:pt x="476251" y="499268"/>
                            <a:pt x="478632" y="500062"/>
                          </a:cubicBezTo>
                          <a:cubicBezTo>
                            <a:pt x="486569" y="499268"/>
                            <a:pt x="494947" y="500407"/>
                            <a:pt x="502444" y="497681"/>
                          </a:cubicBezTo>
                          <a:cubicBezTo>
                            <a:pt x="504803" y="496823"/>
                            <a:pt x="503433" y="492626"/>
                            <a:pt x="504825" y="490537"/>
                          </a:cubicBezTo>
                          <a:cubicBezTo>
                            <a:pt x="509921" y="482892"/>
                            <a:pt x="511623" y="483508"/>
                            <a:pt x="519113" y="481012"/>
                          </a:cubicBezTo>
                          <a:cubicBezTo>
                            <a:pt x="521050" y="486824"/>
                            <a:pt x="521640" y="490683"/>
                            <a:pt x="526257" y="495300"/>
                          </a:cubicBezTo>
                          <a:cubicBezTo>
                            <a:pt x="528280" y="497323"/>
                            <a:pt x="531202" y="498230"/>
                            <a:pt x="533400" y="500062"/>
                          </a:cubicBezTo>
                          <a:cubicBezTo>
                            <a:pt x="535987" y="502218"/>
                            <a:pt x="537886" y="505138"/>
                            <a:pt x="540544" y="507206"/>
                          </a:cubicBezTo>
                          <a:cubicBezTo>
                            <a:pt x="545062" y="510720"/>
                            <a:pt x="550785" y="512683"/>
                            <a:pt x="554832" y="516731"/>
                          </a:cubicBezTo>
                          <a:cubicBezTo>
                            <a:pt x="563999" y="525899"/>
                            <a:pt x="559173" y="522007"/>
                            <a:pt x="569119" y="528637"/>
                          </a:cubicBezTo>
                          <a:cubicBezTo>
                            <a:pt x="572294" y="533400"/>
                            <a:pt x="576834" y="537495"/>
                            <a:pt x="578644" y="542925"/>
                          </a:cubicBezTo>
                          <a:cubicBezTo>
                            <a:pt x="580232" y="547687"/>
                            <a:pt x="580623" y="553035"/>
                            <a:pt x="583407" y="557212"/>
                          </a:cubicBezTo>
                          <a:cubicBezTo>
                            <a:pt x="584994" y="559593"/>
                            <a:pt x="586889" y="561796"/>
                            <a:pt x="588169" y="564356"/>
                          </a:cubicBezTo>
                          <a:cubicBezTo>
                            <a:pt x="589291" y="566601"/>
                            <a:pt x="588775" y="569725"/>
                            <a:pt x="590550" y="571500"/>
                          </a:cubicBezTo>
                          <a:cubicBezTo>
                            <a:pt x="592325" y="573275"/>
                            <a:pt x="595313" y="573087"/>
                            <a:pt x="597694" y="573881"/>
                          </a:cubicBezTo>
                          <a:cubicBezTo>
                            <a:pt x="600175" y="581326"/>
                            <a:pt x="602581" y="590632"/>
                            <a:pt x="609600" y="595312"/>
                          </a:cubicBezTo>
                          <a:lnTo>
                            <a:pt x="616744" y="600075"/>
                          </a:lnTo>
                          <a:cubicBezTo>
                            <a:pt x="620801" y="612246"/>
                            <a:pt x="619638" y="602493"/>
                            <a:pt x="614363" y="614362"/>
                          </a:cubicBezTo>
                          <a:cubicBezTo>
                            <a:pt x="603030" y="639863"/>
                            <a:pt x="615614" y="619629"/>
                            <a:pt x="604838" y="635793"/>
                          </a:cubicBezTo>
                          <a:cubicBezTo>
                            <a:pt x="618436" y="656192"/>
                            <a:pt x="599056" y="624570"/>
                            <a:pt x="611982" y="676275"/>
                          </a:cubicBezTo>
                          <a:cubicBezTo>
                            <a:pt x="612676" y="679051"/>
                            <a:pt x="616744" y="679450"/>
                            <a:pt x="619125" y="681037"/>
                          </a:cubicBezTo>
                          <a:cubicBezTo>
                            <a:pt x="618331" y="700087"/>
                            <a:pt x="616744" y="719120"/>
                            <a:pt x="616744" y="738187"/>
                          </a:cubicBezTo>
                          <a:cubicBezTo>
                            <a:pt x="616744" y="744231"/>
                            <a:pt x="618136" y="755017"/>
                            <a:pt x="623888" y="759618"/>
                          </a:cubicBezTo>
                          <a:cubicBezTo>
                            <a:pt x="625848" y="761186"/>
                            <a:pt x="628651" y="761206"/>
                            <a:pt x="631032" y="762000"/>
                          </a:cubicBezTo>
                          <a:cubicBezTo>
                            <a:pt x="633528" y="769489"/>
                            <a:pt x="632912" y="771190"/>
                            <a:pt x="640557" y="776287"/>
                          </a:cubicBezTo>
                          <a:cubicBezTo>
                            <a:pt x="642645" y="777679"/>
                            <a:pt x="645319" y="777874"/>
                            <a:pt x="647700" y="778668"/>
                          </a:cubicBezTo>
                          <a:cubicBezTo>
                            <a:pt x="652463" y="781843"/>
                            <a:pt x="657941" y="784146"/>
                            <a:pt x="661988" y="788193"/>
                          </a:cubicBezTo>
                          <a:cubicBezTo>
                            <a:pt x="673179" y="799384"/>
                            <a:pt x="666330" y="793468"/>
                            <a:pt x="683419" y="804862"/>
                          </a:cubicBezTo>
                          <a:lnTo>
                            <a:pt x="690563" y="809625"/>
                          </a:lnTo>
                          <a:lnTo>
                            <a:pt x="697707" y="814387"/>
                          </a:lnTo>
                          <a:cubicBezTo>
                            <a:pt x="698501" y="816768"/>
                            <a:pt x="700088" y="819021"/>
                            <a:pt x="700088" y="821531"/>
                          </a:cubicBezTo>
                          <a:cubicBezTo>
                            <a:pt x="700088" y="827281"/>
                            <a:pt x="697205" y="834942"/>
                            <a:pt x="695325" y="840581"/>
                          </a:cubicBezTo>
                          <a:cubicBezTo>
                            <a:pt x="696119" y="842962"/>
                            <a:pt x="696584" y="845480"/>
                            <a:pt x="697707" y="847725"/>
                          </a:cubicBezTo>
                          <a:cubicBezTo>
                            <a:pt x="701022" y="854356"/>
                            <a:pt x="704346" y="856745"/>
                            <a:pt x="709613" y="862012"/>
                          </a:cubicBezTo>
                          <a:cubicBezTo>
                            <a:pt x="710407" y="864393"/>
                            <a:pt x="710219" y="867381"/>
                            <a:pt x="711994" y="869156"/>
                          </a:cubicBezTo>
                          <a:cubicBezTo>
                            <a:pt x="716041" y="873203"/>
                            <a:pt x="726282" y="878681"/>
                            <a:pt x="726282" y="878681"/>
                          </a:cubicBezTo>
                          <a:cubicBezTo>
                            <a:pt x="720294" y="896639"/>
                            <a:pt x="729067" y="875200"/>
                            <a:pt x="716757" y="890587"/>
                          </a:cubicBezTo>
                          <a:cubicBezTo>
                            <a:pt x="715189" y="892547"/>
                            <a:pt x="715169" y="895350"/>
                            <a:pt x="714375" y="897731"/>
                          </a:cubicBezTo>
                          <a:cubicBezTo>
                            <a:pt x="715169" y="904081"/>
                            <a:pt x="713264" y="907704"/>
                            <a:pt x="716757" y="916781"/>
                          </a:cubicBezTo>
                          <a:cubicBezTo>
                            <a:pt x="720250" y="925858"/>
                            <a:pt x="736711" y="946000"/>
                            <a:pt x="735336" y="952193"/>
                          </a:cubicBezTo>
                          <a:cubicBezTo>
                            <a:pt x="733961" y="958386"/>
                            <a:pt x="716364" y="955871"/>
                            <a:pt x="708505" y="953938"/>
                          </a:cubicBezTo>
                          <a:cubicBezTo>
                            <a:pt x="700646" y="952005"/>
                            <a:pt x="692760" y="942420"/>
                            <a:pt x="688182" y="940593"/>
                          </a:cubicBezTo>
                          <a:cubicBezTo>
                            <a:pt x="683604" y="938766"/>
                            <a:pt x="683419" y="942181"/>
                            <a:pt x="681038" y="942975"/>
                          </a:cubicBezTo>
                          <a:cubicBezTo>
                            <a:pt x="678657" y="943769"/>
                            <a:pt x="676139" y="944234"/>
                            <a:pt x="673894" y="945356"/>
                          </a:cubicBezTo>
                          <a:lnTo>
                            <a:pt x="664369" y="950118"/>
                          </a:lnTo>
                          <a:lnTo>
                            <a:pt x="678657" y="954881"/>
                          </a:lnTo>
                          <a:cubicBezTo>
                            <a:pt x="681038" y="955675"/>
                            <a:pt x="683339" y="956770"/>
                            <a:pt x="685800" y="957262"/>
                          </a:cubicBezTo>
                          <a:cubicBezTo>
                            <a:pt x="700916" y="960285"/>
                            <a:pt x="693780" y="958661"/>
                            <a:pt x="707232" y="962025"/>
                          </a:cubicBezTo>
                          <a:cubicBezTo>
                            <a:pt x="708819" y="964406"/>
                            <a:pt x="709759" y="967380"/>
                            <a:pt x="711994" y="969168"/>
                          </a:cubicBezTo>
                          <a:cubicBezTo>
                            <a:pt x="723539" y="978404"/>
                            <a:pt x="716324" y="963109"/>
                            <a:pt x="721519" y="978693"/>
                          </a:cubicBezTo>
                          <a:cubicBezTo>
                            <a:pt x="724694" y="977899"/>
                            <a:pt x="728321" y="978127"/>
                            <a:pt x="731044" y="976312"/>
                          </a:cubicBezTo>
                          <a:cubicBezTo>
                            <a:pt x="739837" y="970450"/>
                            <a:pt x="731778" y="963123"/>
                            <a:pt x="740569" y="976312"/>
                          </a:cubicBezTo>
                          <a:cubicBezTo>
                            <a:pt x="741363" y="982662"/>
                            <a:pt x="741266" y="989188"/>
                            <a:pt x="742950" y="995362"/>
                          </a:cubicBezTo>
                          <a:cubicBezTo>
                            <a:pt x="743703" y="998123"/>
                            <a:pt x="746433" y="999946"/>
                            <a:pt x="747713" y="1002506"/>
                          </a:cubicBezTo>
                          <a:cubicBezTo>
                            <a:pt x="757569" y="1022218"/>
                            <a:pt x="741211" y="996328"/>
                            <a:pt x="754857" y="1016793"/>
                          </a:cubicBezTo>
                          <a:cubicBezTo>
                            <a:pt x="755651" y="1025524"/>
                            <a:pt x="755715" y="1034353"/>
                            <a:pt x="757238" y="1042987"/>
                          </a:cubicBezTo>
                          <a:cubicBezTo>
                            <a:pt x="758110" y="1047931"/>
                            <a:pt x="762000" y="1057275"/>
                            <a:pt x="762000" y="1057275"/>
                          </a:cubicBezTo>
                          <a:cubicBezTo>
                            <a:pt x="760413" y="1059656"/>
                            <a:pt x="759665" y="1062901"/>
                            <a:pt x="757238" y="1064418"/>
                          </a:cubicBezTo>
                          <a:cubicBezTo>
                            <a:pt x="752981" y="1067079"/>
                            <a:pt x="742950" y="1069181"/>
                            <a:pt x="742950" y="1069181"/>
                          </a:cubicBezTo>
                          <a:cubicBezTo>
                            <a:pt x="737732" y="1077009"/>
                            <a:pt x="738272" y="1074842"/>
                            <a:pt x="735807" y="1083468"/>
                          </a:cubicBezTo>
                          <a:cubicBezTo>
                            <a:pt x="734908" y="1086615"/>
                            <a:pt x="735739" y="1090679"/>
                            <a:pt x="733425" y="1092993"/>
                          </a:cubicBezTo>
                          <a:cubicBezTo>
                            <a:pt x="731111" y="1095307"/>
                            <a:pt x="727075" y="1094581"/>
                            <a:pt x="723900" y="1095375"/>
                          </a:cubicBezTo>
                          <a:cubicBezTo>
                            <a:pt x="724694" y="1100931"/>
                            <a:pt x="724003" y="1106914"/>
                            <a:pt x="726282" y="1112043"/>
                          </a:cubicBezTo>
                          <a:cubicBezTo>
                            <a:pt x="727888" y="1115657"/>
                            <a:pt x="737398" y="1118130"/>
                            <a:pt x="740569" y="1119187"/>
                          </a:cubicBezTo>
                          <a:cubicBezTo>
                            <a:pt x="743744" y="1118393"/>
                            <a:pt x="747167" y="1118270"/>
                            <a:pt x="750094" y="1116806"/>
                          </a:cubicBezTo>
                          <a:cubicBezTo>
                            <a:pt x="755214" y="1114246"/>
                            <a:pt x="760335" y="1111329"/>
                            <a:pt x="764382" y="1107281"/>
                          </a:cubicBezTo>
                          <a:cubicBezTo>
                            <a:pt x="766763" y="1104900"/>
                            <a:pt x="768723" y="1102005"/>
                            <a:pt x="771525" y="1100137"/>
                          </a:cubicBezTo>
                          <a:cubicBezTo>
                            <a:pt x="773614" y="1098745"/>
                            <a:pt x="776288" y="1098550"/>
                            <a:pt x="778669" y="1097756"/>
                          </a:cubicBezTo>
                          <a:cubicBezTo>
                            <a:pt x="796132" y="1098550"/>
                            <a:pt x="813701" y="1098054"/>
                            <a:pt x="831057" y="1100137"/>
                          </a:cubicBezTo>
                          <a:cubicBezTo>
                            <a:pt x="833898" y="1100478"/>
                            <a:pt x="835640" y="1103620"/>
                            <a:pt x="838200" y="1104900"/>
                          </a:cubicBezTo>
                          <a:cubicBezTo>
                            <a:pt x="840445" y="1106023"/>
                            <a:pt x="843099" y="1106159"/>
                            <a:pt x="845344" y="1107281"/>
                          </a:cubicBezTo>
                          <a:cubicBezTo>
                            <a:pt x="847904" y="1108561"/>
                            <a:pt x="849928" y="1110763"/>
                            <a:pt x="852488" y="1112043"/>
                          </a:cubicBezTo>
                          <a:cubicBezTo>
                            <a:pt x="854733" y="1113166"/>
                            <a:pt x="857438" y="1113206"/>
                            <a:pt x="859632" y="1114425"/>
                          </a:cubicBezTo>
                          <a:cubicBezTo>
                            <a:pt x="864635" y="1117205"/>
                            <a:pt x="873919" y="1123950"/>
                            <a:pt x="873919" y="1123950"/>
                          </a:cubicBezTo>
                          <a:cubicBezTo>
                            <a:pt x="885312" y="1141039"/>
                            <a:pt x="879397" y="1134190"/>
                            <a:pt x="890588" y="1145381"/>
                          </a:cubicBezTo>
                          <a:cubicBezTo>
                            <a:pt x="892175" y="1150143"/>
                            <a:pt x="895804" y="1154669"/>
                            <a:pt x="895350" y="1159668"/>
                          </a:cubicBezTo>
                          <a:cubicBezTo>
                            <a:pt x="894556" y="1168399"/>
                            <a:pt x="894128" y="1177172"/>
                            <a:pt x="892969" y="1185862"/>
                          </a:cubicBezTo>
                          <a:cubicBezTo>
                            <a:pt x="891697" y="1195400"/>
                            <a:pt x="890305" y="1194140"/>
                            <a:pt x="888207" y="1202531"/>
                          </a:cubicBezTo>
                          <a:cubicBezTo>
                            <a:pt x="887225" y="1206457"/>
                            <a:pt x="887998" y="1211022"/>
                            <a:pt x="885825" y="1214437"/>
                          </a:cubicBezTo>
                          <a:cubicBezTo>
                            <a:pt x="882209" y="1220119"/>
                            <a:pt x="871538" y="1228725"/>
                            <a:pt x="871538" y="1228725"/>
                          </a:cubicBezTo>
                          <a:cubicBezTo>
                            <a:pt x="870744" y="1234281"/>
                            <a:pt x="870258" y="1239890"/>
                            <a:pt x="869157" y="1245393"/>
                          </a:cubicBezTo>
                          <a:cubicBezTo>
                            <a:pt x="867762" y="1252370"/>
                            <a:pt x="864915" y="1255290"/>
                            <a:pt x="862013" y="1262062"/>
                          </a:cubicBezTo>
                          <a:cubicBezTo>
                            <a:pt x="858981" y="1269138"/>
                            <a:pt x="861431" y="1270987"/>
                            <a:pt x="852488" y="1273968"/>
                          </a:cubicBezTo>
                          <a:cubicBezTo>
                            <a:pt x="847907" y="1275495"/>
                            <a:pt x="842913" y="1275302"/>
                            <a:pt x="838200" y="1276350"/>
                          </a:cubicBezTo>
                          <a:cubicBezTo>
                            <a:pt x="835750" y="1276895"/>
                            <a:pt x="833438" y="1277937"/>
                            <a:pt x="831057" y="1278731"/>
                          </a:cubicBezTo>
                          <a:cubicBezTo>
                            <a:pt x="827882" y="1277937"/>
                            <a:pt x="824679" y="1277249"/>
                            <a:pt x="821532" y="1276350"/>
                          </a:cubicBezTo>
                          <a:cubicBezTo>
                            <a:pt x="819118" y="1275660"/>
                            <a:pt x="816163" y="1272193"/>
                            <a:pt x="814388" y="1273968"/>
                          </a:cubicBezTo>
                          <a:cubicBezTo>
                            <a:pt x="809786" y="1278569"/>
                            <a:pt x="823674" y="1285716"/>
                            <a:pt x="823913" y="1285875"/>
                          </a:cubicBezTo>
                          <a:cubicBezTo>
                            <a:pt x="824707" y="1288256"/>
                            <a:pt x="828254" y="1291450"/>
                            <a:pt x="826294" y="1293018"/>
                          </a:cubicBezTo>
                          <a:cubicBezTo>
                            <a:pt x="822524" y="1296034"/>
                            <a:pt x="816691" y="1294229"/>
                            <a:pt x="812007" y="1295400"/>
                          </a:cubicBezTo>
                          <a:cubicBezTo>
                            <a:pt x="807137" y="1296618"/>
                            <a:pt x="802589" y="1298944"/>
                            <a:pt x="797719" y="1300162"/>
                          </a:cubicBezTo>
                          <a:lnTo>
                            <a:pt x="778669" y="1304925"/>
                          </a:lnTo>
                          <a:cubicBezTo>
                            <a:pt x="777082" y="1307306"/>
                            <a:pt x="776334" y="1310551"/>
                            <a:pt x="773907" y="1312068"/>
                          </a:cubicBezTo>
                          <a:cubicBezTo>
                            <a:pt x="769650" y="1314729"/>
                            <a:pt x="759619" y="1316831"/>
                            <a:pt x="759619" y="1316831"/>
                          </a:cubicBezTo>
                          <a:cubicBezTo>
                            <a:pt x="766763" y="1317625"/>
                            <a:pt x="774376" y="1316543"/>
                            <a:pt x="781050" y="1319212"/>
                          </a:cubicBezTo>
                          <a:cubicBezTo>
                            <a:pt x="783381" y="1320144"/>
                            <a:pt x="783432" y="1323846"/>
                            <a:pt x="783432" y="1326356"/>
                          </a:cubicBezTo>
                          <a:cubicBezTo>
                            <a:pt x="783432" y="1331184"/>
                            <a:pt x="783856" y="1336714"/>
                            <a:pt x="781050" y="1340643"/>
                          </a:cubicBezTo>
                          <a:cubicBezTo>
                            <a:pt x="779148" y="1343306"/>
                            <a:pt x="774630" y="1341990"/>
                            <a:pt x="771525" y="1343025"/>
                          </a:cubicBezTo>
                          <a:cubicBezTo>
                            <a:pt x="767470" y="1344377"/>
                            <a:pt x="763674" y="1346435"/>
                            <a:pt x="759619" y="1347787"/>
                          </a:cubicBezTo>
                          <a:cubicBezTo>
                            <a:pt x="747088" y="1351964"/>
                            <a:pt x="735052" y="1351422"/>
                            <a:pt x="721519" y="1352550"/>
                          </a:cubicBezTo>
                          <a:cubicBezTo>
                            <a:pt x="725131" y="1354958"/>
                            <a:pt x="730877" y="1359693"/>
                            <a:pt x="735807" y="1359693"/>
                          </a:cubicBezTo>
                          <a:cubicBezTo>
                            <a:pt x="738317" y="1359693"/>
                            <a:pt x="740569" y="1358106"/>
                            <a:pt x="742950" y="1357312"/>
                          </a:cubicBezTo>
                          <a:cubicBezTo>
                            <a:pt x="746125" y="1358106"/>
                            <a:pt x="750012" y="1357538"/>
                            <a:pt x="752475" y="1359693"/>
                          </a:cubicBezTo>
                          <a:cubicBezTo>
                            <a:pt x="767432" y="1372781"/>
                            <a:pt x="755315" y="1372597"/>
                            <a:pt x="769144" y="1378743"/>
                          </a:cubicBezTo>
                          <a:cubicBezTo>
                            <a:pt x="782424" y="1384645"/>
                            <a:pt x="787474" y="1384011"/>
                            <a:pt x="802482" y="1385887"/>
                          </a:cubicBezTo>
                          <a:cubicBezTo>
                            <a:pt x="809626" y="1385093"/>
                            <a:pt x="820347" y="1377265"/>
                            <a:pt x="823913" y="1383506"/>
                          </a:cubicBezTo>
                          <a:cubicBezTo>
                            <a:pt x="835214" y="1403283"/>
                            <a:pt x="828134" y="1417115"/>
                            <a:pt x="814388" y="1423987"/>
                          </a:cubicBezTo>
                          <a:cubicBezTo>
                            <a:pt x="810975" y="1425693"/>
                            <a:pt x="800766" y="1427988"/>
                            <a:pt x="797719" y="1428750"/>
                          </a:cubicBezTo>
                          <a:cubicBezTo>
                            <a:pt x="796132" y="1431131"/>
                            <a:pt x="794980" y="1433870"/>
                            <a:pt x="792957" y="1435893"/>
                          </a:cubicBezTo>
                          <a:cubicBezTo>
                            <a:pt x="788340" y="1440510"/>
                            <a:pt x="784481" y="1441100"/>
                            <a:pt x="778669" y="1443037"/>
                          </a:cubicBezTo>
                          <a:cubicBezTo>
                            <a:pt x="776288" y="1444625"/>
                            <a:pt x="773313" y="1445565"/>
                            <a:pt x="771525" y="1447800"/>
                          </a:cubicBezTo>
                          <a:cubicBezTo>
                            <a:pt x="769957" y="1449760"/>
                            <a:pt x="770919" y="1453168"/>
                            <a:pt x="769144" y="1454943"/>
                          </a:cubicBezTo>
                          <a:cubicBezTo>
                            <a:pt x="767369" y="1456718"/>
                            <a:pt x="764491" y="1457014"/>
                            <a:pt x="762000" y="1457325"/>
                          </a:cubicBezTo>
                          <a:cubicBezTo>
                            <a:pt x="751731" y="1458609"/>
                            <a:pt x="741363" y="1458912"/>
                            <a:pt x="731044" y="1459706"/>
                          </a:cubicBezTo>
                          <a:cubicBezTo>
                            <a:pt x="728663" y="1460500"/>
                            <a:pt x="726145" y="1460964"/>
                            <a:pt x="723900" y="1462087"/>
                          </a:cubicBezTo>
                          <a:cubicBezTo>
                            <a:pt x="715182" y="1466447"/>
                            <a:pt x="719022" y="1467520"/>
                            <a:pt x="709613" y="1469231"/>
                          </a:cubicBezTo>
                          <a:cubicBezTo>
                            <a:pt x="703317" y="1470376"/>
                            <a:pt x="696913" y="1470818"/>
                            <a:pt x="690563" y="1471612"/>
                          </a:cubicBezTo>
                          <a:cubicBezTo>
                            <a:pt x="688975" y="1473993"/>
                            <a:pt x="688552" y="1477970"/>
                            <a:pt x="685800" y="1478756"/>
                          </a:cubicBezTo>
                          <a:cubicBezTo>
                            <a:pt x="681908" y="1479868"/>
                            <a:pt x="677578" y="1478050"/>
                            <a:pt x="673894" y="1476375"/>
                          </a:cubicBezTo>
                          <a:cubicBezTo>
                            <a:pt x="668683" y="1474007"/>
                            <a:pt x="664369" y="1470025"/>
                            <a:pt x="659607" y="1466850"/>
                          </a:cubicBezTo>
                          <a:cubicBezTo>
                            <a:pt x="657226" y="1465262"/>
                            <a:pt x="655178" y="1462992"/>
                            <a:pt x="652463" y="1462087"/>
                          </a:cubicBezTo>
                          <a:cubicBezTo>
                            <a:pt x="635070" y="1456290"/>
                            <a:pt x="643045" y="1458543"/>
                            <a:pt x="628650" y="1454943"/>
                          </a:cubicBezTo>
                          <a:cubicBezTo>
                            <a:pt x="613569" y="1455737"/>
                            <a:pt x="598452" y="1456017"/>
                            <a:pt x="583407" y="1457325"/>
                          </a:cubicBezTo>
                          <a:cubicBezTo>
                            <a:pt x="580147" y="1457609"/>
                            <a:pt x="576724" y="1458082"/>
                            <a:pt x="573882" y="1459706"/>
                          </a:cubicBezTo>
                          <a:cubicBezTo>
                            <a:pt x="570958" y="1461377"/>
                            <a:pt x="569119" y="1464469"/>
                            <a:pt x="566738" y="1466850"/>
                          </a:cubicBezTo>
                          <a:cubicBezTo>
                            <a:pt x="561182" y="1458516"/>
                            <a:pt x="559593" y="1454150"/>
                            <a:pt x="547688" y="1450181"/>
                          </a:cubicBezTo>
                          <a:lnTo>
                            <a:pt x="533400" y="1445418"/>
                          </a:lnTo>
                          <a:cubicBezTo>
                            <a:pt x="525463" y="1446212"/>
                            <a:pt x="517428" y="1446330"/>
                            <a:pt x="509588" y="1447800"/>
                          </a:cubicBezTo>
                          <a:cubicBezTo>
                            <a:pt x="504654" y="1448725"/>
                            <a:pt x="495300" y="1452562"/>
                            <a:pt x="495300" y="1452562"/>
                          </a:cubicBezTo>
                          <a:cubicBezTo>
                            <a:pt x="489633" y="1469565"/>
                            <a:pt x="494715" y="1469635"/>
                            <a:pt x="483394" y="1462087"/>
                          </a:cubicBezTo>
                          <a:cubicBezTo>
                            <a:pt x="478199" y="1446500"/>
                            <a:pt x="485415" y="1461799"/>
                            <a:pt x="473869" y="1452562"/>
                          </a:cubicBezTo>
                          <a:cubicBezTo>
                            <a:pt x="471634" y="1450774"/>
                            <a:pt x="470694" y="1447799"/>
                            <a:pt x="469107" y="1445418"/>
                          </a:cubicBezTo>
                          <a:cubicBezTo>
                            <a:pt x="464344" y="1446212"/>
                            <a:pt x="459276" y="1445943"/>
                            <a:pt x="454819" y="1447800"/>
                          </a:cubicBezTo>
                          <a:cubicBezTo>
                            <a:pt x="449536" y="1450002"/>
                            <a:pt x="440532" y="1457325"/>
                            <a:pt x="440532" y="1457325"/>
                          </a:cubicBezTo>
                          <a:cubicBezTo>
                            <a:pt x="438944" y="1460500"/>
                            <a:pt x="438279" y="1464340"/>
                            <a:pt x="435769" y="1466850"/>
                          </a:cubicBezTo>
                          <a:cubicBezTo>
                            <a:pt x="433994" y="1468625"/>
                            <a:pt x="431086" y="1468739"/>
                            <a:pt x="428625" y="1469231"/>
                          </a:cubicBezTo>
                          <a:cubicBezTo>
                            <a:pt x="423122" y="1470332"/>
                            <a:pt x="417513" y="1470818"/>
                            <a:pt x="411957" y="1471612"/>
                          </a:cubicBezTo>
                          <a:cubicBezTo>
                            <a:pt x="412751" y="1469231"/>
                            <a:pt x="412770" y="1466428"/>
                            <a:pt x="414338" y="1464468"/>
                          </a:cubicBezTo>
                          <a:cubicBezTo>
                            <a:pt x="416126" y="1462233"/>
                            <a:pt x="424258" y="1460400"/>
                            <a:pt x="421482" y="1459706"/>
                          </a:cubicBezTo>
                          <a:cubicBezTo>
                            <a:pt x="416037" y="1458345"/>
                            <a:pt x="410377" y="1461345"/>
                            <a:pt x="404813" y="1462087"/>
                          </a:cubicBezTo>
                          <a:lnTo>
                            <a:pt x="385763" y="1464468"/>
                          </a:lnTo>
                          <a:cubicBezTo>
                            <a:pt x="384969" y="1466849"/>
                            <a:pt x="385892" y="1471612"/>
                            <a:pt x="383382" y="1471612"/>
                          </a:cubicBezTo>
                          <a:cubicBezTo>
                            <a:pt x="380520" y="1471612"/>
                            <a:pt x="380451" y="1466667"/>
                            <a:pt x="378619" y="1464468"/>
                          </a:cubicBezTo>
                          <a:cubicBezTo>
                            <a:pt x="376463" y="1461881"/>
                            <a:pt x="373631" y="1459912"/>
                            <a:pt x="371475" y="1457325"/>
                          </a:cubicBezTo>
                          <a:cubicBezTo>
                            <a:pt x="369643" y="1455126"/>
                            <a:pt x="368737" y="1452205"/>
                            <a:pt x="366713" y="1450181"/>
                          </a:cubicBezTo>
                          <a:cubicBezTo>
                            <a:pt x="362096" y="1445564"/>
                            <a:pt x="358236" y="1444974"/>
                            <a:pt x="352425" y="1443037"/>
                          </a:cubicBezTo>
                          <a:cubicBezTo>
                            <a:pt x="350044" y="1441450"/>
                            <a:pt x="348023" y="1439097"/>
                            <a:pt x="345282" y="1438275"/>
                          </a:cubicBezTo>
                          <a:cubicBezTo>
                            <a:pt x="339906" y="1436662"/>
                            <a:pt x="334117" y="1436994"/>
                            <a:pt x="328613" y="1435893"/>
                          </a:cubicBezTo>
                          <a:cubicBezTo>
                            <a:pt x="326152" y="1435401"/>
                            <a:pt x="323850" y="1434306"/>
                            <a:pt x="321469" y="1433512"/>
                          </a:cubicBezTo>
                          <a:cubicBezTo>
                            <a:pt x="288903" y="1435427"/>
                            <a:pt x="290068" y="1430025"/>
                            <a:pt x="271463" y="1440656"/>
                          </a:cubicBezTo>
                          <a:cubicBezTo>
                            <a:pt x="268978" y="1442076"/>
                            <a:pt x="266700" y="1443831"/>
                            <a:pt x="264319" y="1445418"/>
                          </a:cubicBezTo>
                          <a:cubicBezTo>
                            <a:pt x="250672" y="1465891"/>
                            <a:pt x="267034" y="1439988"/>
                            <a:pt x="257175" y="1459706"/>
                          </a:cubicBezTo>
                          <a:cubicBezTo>
                            <a:pt x="255895" y="1462266"/>
                            <a:pt x="253693" y="1464290"/>
                            <a:pt x="252413" y="1466850"/>
                          </a:cubicBezTo>
                          <a:cubicBezTo>
                            <a:pt x="251291" y="1469095"/>
                            <a:pt x="251807" y="1472218"/>
                            <a:pt x="250032" y="1473993"/>
                          </a:cubicBezTo>
                          <a:cubicBezTo>
                            <a:pt x="248257" y="1475768"/>
                            <a:pt x="245269" y="1475581"/>
                            <a:pt x="242888" y="1476375"/>
                          </a:cubicBezTo>
                          <a:cubicBezTo>
                            <a:pt x="242094" y="1479550"/>
                            <a:pt x="241447" y="1482765"/>
                            <a:pt x="240507" y="1485900"/>
                          </a:cubicBezTo>
                          <a:cubicBezTo>
                            <a:pt x="236674" y="1498675"/>
                            <a:pt x="238874" y="1499812"/>
                            <a:pt x="228600" y="1504950"/>
                          </a:cubicBezTo>
                          <a:cubicBezTo>
                            <a:pt x="226355" y="1506072"/>
                            <a:pt x="223838" y="1506537"/>
                            <a:pt x="221457" y="1507331"/>
                          </a:cubicBezTo>
                          <a:cubicBezTo>
                            <a:pt x="217488" y="1506537"/>
                            <a:pt x="213064" y="1506958"/>
                            <a:pt x="209550" y="1504950"/>
                          </a:cubicBezTo>
                          <a:cubicBezTo>
                            <a:pt x="207065" y="1503530"/>
                            <a:pt x="206620" y="1500005"/>
                            <a:pt x="204788" y="1497806"/>
                          </a:cubicBezTo>
                          <a:cubicBezTo>
                            <a:pt x="202632" y="1495219"/>
                            <a:pt x="200025" y="1493043"/>
                            <a:pt x="197644" y="1490662"/>
                          </a:cubicBezTo>
                          <a:cubicBezTo>
                            <a:pt x="190580" y="1469467"/>
                            <a:pt x="201659" y="1495050"/>
                            <a:pt x="188119" y="1488281"/>
                          </a:cubicBezTo>
                          <a:cubicBezTo>
                            <a:pt x="185192" y="1486818"/>
                            <a:pt x="186637" y="1481903"/>
                            <a:pt x="185738" y="1478756"/>
                          </a:cubicBezTo>
                          <a:cubicBezTo>
                            <a:pt x="185048" y="1476342"/>
                            <a:pt x="184925" y="1473572"/>
                            <a:pt x="183357" y="1471612"/>
                          </a:cubicBezTo>
                          <a:cubicBezTo>
                            <a:pt x="177983" y="1464895"/>
                            <a:pt x="169271" y="1466101"/>
                            <a:pt x="161925" y="1464468"/>
                          </a:cubicBezTo>
                          <a:cubicBezTo>
                            <a:pt x="159475" y="1463923"/>
                            <a:pt x="157163" y="1462881"/>
                            <a:pt x="154782" y="1462087"/>
                          </a:cubicBezTo>
                          <a:cubicBezTo>
                            <a:pt x="150019" y="1462881"/>
                            <a:pt x="145075" y="1462941"/>
                            <a:pt x="140494" y="1464468"/>
                          </a:cubicBezTo>
                          <a:cubicBezTo>
                            <a:pt x="137779" y="1465373"/>
                            <a:pt x="136212" y="1469231"/>
                            <a:pt x="133350" y="1469231"/>
                          </a:cubicBezTo>
                          <a:cubicBezTo>
                            <a:pt x="130488" y="1469231"/>
                            <a:pt x="128536" y="1466131"/>
                            <a:pt x="126207" y="1464468"/>
                          </a:cubicBezTo>
                          <a:cubicBezTo>
                            <a:pt x="122978" y="1462161"/>
                            <a:pt x="119857" y="1459706"/>
                            <a:pt x="116682" y="1457325"/>
                          </a:cubicBezTo>
                          <a:cubicBezTo>
                            <a:pt x="99161" y="1460829"/>
                            <a:pt x="108144" y="1457460"/>
                            <a:pt x="90488" y="1469231"/>
                          </a:cubicBezTo>
                          <a:lnTo>
                            <a:pt x="83344" y="1473993"/>
                          </a:lnTo>
                          <a:cubicBezTo>
                            <a:pt x="82550" y="1476374"/>
                            <a:pt x="82531" y="1479177"/>
                            <a:pt x="80963" y="1481137"/>
                          </a:cubicBezTo>
                          <a:cubicBezTo>
                            <a:pt x="79175" y="1483372"/>
                            <a:pt x="76018" y="1484068"/>
                            <a:pt x="73819" y="1485900"/>
                          </a:cubicBezTo>
                          <a:cubicBezTo>
                            <a:pt x="61928" y="1495809"/>
                            <a:pt x="72085" y="1491239"/>
                            <a:pt x="59532" y="1495425"/>
                          </a:cubicBezTo>
                          <a:cubicBezTo>
                            <a:pt x="57151" y="1497806"/>
                            <a:pt x="55046" y="1500501"/>
                            <a:pt x="52388" y="1502568"/>
                          </a:cubicBezTo>
                          <a:cubicBezTo>
                            <a:pt x="47870" y="1506082"/>
                            <a:pt x="38100" y="1512093"/>
                            <a:pt x="38100" y="1512093"/>
                          </a:cubicBezTo>
                          <a:cubicBezTo>
                            <a:pt x="35719" y="1509712"/>
                            <a:pt x="31617" y="1508252"/>
                            <a:pt x="30957" y="1504950"/>
                          </a:cubicBezTo>
                          <a:cubicBezTo>
                            <a:pt x="29856" y="1499446"/>
                            <a:pt x="33338" y="1493894"/>
                            <a:pt x="33338" y="1488281"/>
                          </a:cubicBezTo>
                          <a:cubicBezTo>
                            <a:pt x="33338" y="1484234"/>
                            <a:pt x="31751" y="1480344"/>
                            <a:pt x="30957" y="1476375"/>
                          </a:cubicBezTo>
                          <a:cubicBezTo>
                            <a:pt x="27782" y="1477169"/>
                            <a:pt x="24155" y="1476941"/>
                            <a:pt x="21432" y="1478756"/>
                          </a:cubicBezTo>
                          <a:cubicBezTo>
                            <a:pt x="19051" y="1480344"/>
                            <a:pt x="19463" y="1485279"/>
                            <a:pt x="16669" y="1485900"/>
                          </a:cubicBezTo>
                          <a:cubicBezTo>
                            <a:pt x="11190" y="1487117"/>
                            <a:pt x="5556" y="1484312"/>
                            <a:pt x="0" y="1483518"/>
                          </a:cubicBezTo>
                          <a:cubicBezTo>
                            <a:pt x="794" y="1481137"/>
                            <a:pt x="607" y="1478150"/>
                            <a:pt x="2382" y="1476375"/>
                          </a:cubicBezTo>
                          <a:cubicBezTo>
                            <a:pt x="7767" y="1470990"/>
                            <a:pt x="26995" y="1476177"/>
                            <a:pt x="28575" y="1476375"/>
                          </a:cubicBezTo>
                          <a:cubicBezTo>
                            <a:pt x="30956" y="1477169"/>
                            <a:pt x="33338" y="1479550"/>
                            <a:pt x="35719" y="1478756"/>
                          </a:cubicBezTo>
                          <a:cubicBezTo>
                            <a:pt x="46980" y="1475002"/>
                            <a:pt x="40052" y="1470957"/>
                            <a:pt x="45244" y="1464468"/>
                          </a:cubicBezTo>
                          <a:cubicBezTo>
                            <a:pt x="47032" y="1462233"/>
                            <a:pt x="49828" y="1460986"/>
                            <a:pt x="52388" y="1459706"/>
                          </a:cubicBezTo>
                          <a:cubicBezTo>
                            <a:pt x="56191" y="1457805"/>
                            <a:pt x="65502" y="1455959"/>
                            <a:pt x="69057" y="1454943"/>
                          </a:cubicBezTo>
                          <a:cubicBezTo>
                            <a:pt x="71470" y="1454253"/>
                            <a:pt x="73819" y="1453356"/>
                            <a:pt x="76200" y="1452562"/>
                          </a:cubicBezTo>
                          <a:cubicBezTo>
                            <a:pt x="80379" y="1435850"/>
                            <a:pt x="75606" y="1449702"/>
                            <a:pt x="85725" y="1433512"/>
                          </a:cubicBezTo>
                          <a:cubicBezTo>
                            <a:pt x="87606" y="1430502"/>
                            <a:pt x="87978" y="1426497"/>
                            <a:pt x="90488" y="1423987"/>
                          </a:cubicBezTo>
                          <a:cubicBezTo>
                            <a:pt x="92263" y="1422212"/>
                            <a:pt x="95197" y="1422215"/>
                            <a:pt x="97632" y="1421606"/>
                          </a:cubicBezTo>
                          <a:cubicBezTo>
                            <a:pt x="101558" y="1420624"/>
                            <a:pt x="105612" y="1420207"/>
                            <a:pt x="109538" y="1419225"/>
                          </a:cubicBezTo>
                          <a:cubicBezTo>
                            <a:pt x="121360" y="1416269"/>
                            <a:pt x="112584" y="1417189"/>
                            <a:pt x="126207" y="1412081"/>
                          </a:cubicBezTo>
                          <a:cubicBezTo>
                            <a:pt x="129271" y="1410932"/>
                            <a:pt x="132585" y="1410599"/>
                            <a:pt x="135732" y="1409700"/>
                          </a:cubicBezTo>
                          <a:cubicBezTo>
                            <a:pt x="138145" y="1409010"/>
                            <a:pt x="140494" y="1408112"/>
                            <a:pt x="142875" y="1407318"/>
                          </a:cubicBezTo>
                          <a:cubicBezTo>
                            <a:pt x="144463" y="1404937"/>
                            <a:pt x="146358" y="1402735"/>
                            <a:pt x="147638" y="1400175"/>
                          </a:cubicBezTo>
                          <a:cubicBezTo>
                            <a:pt x="149345" y="1396760"/>
                            <a:pt x="151638" y="1386556"/>
                            <a:pt x="152400" y="1383506"/>
                          </a:cubicBezTo>
                          <a:cubicBezTo>
                            <a:pt x="153194" y="1376362"/>
                            <a:pt x="153600" y="1369165"/>
                            <a:pt x="154782" y="1362075"/>
                          </a:cubicBezTo>
                          <a:cubicBezTo>
                            <a:pt x="155195" y="1359599"/>
                            <a:pt x="156473" y="1357345"/>
                            <a:pt x="157163" y="1354931"/>
                          </a:cubicBezTo>
                          <a:cubicBezTo>
                            <a:pt x="158062" y="1351784"/>
                            <a:pt x="158750" y="1348581"/>
                            <a:pt x="159544" y="1345406"/>
                          </a:cubicBezTo>
                          <a:cubicBezTo>
                            <a:pt x="161925" y="1346200"/>
                            <a:pt x="164443" y="1346664"/>
                            <a:pt x="166688" y="1347787"/>
                          </a:cubicBezTo>
                          <a:cubicBezTo>
                            <a:pt x="169248" y="1349067"/>
                            <a:pt x="170984" y="1352265"/>
                            <a:pt x="173832" y="1352550"/>
                          </a:cubicBezTo>
                          <a:cubicBezTo>
                            <a:pt x="179417" y="1353108"/>
                            <a:pt x="184944" y="1350962"/>
                            <a:pt x="190500" y="1350168"/>
                          </a:cubicBezTo>
                          <a:cubicBezTo>
                            <a:pt x="192088" y="1345406"/>
                            <a:pt x="194046" y="1340751"/>
                            <a:pt x="195263" y="1335881"/>
                          </a:cubicBezTo>
                          <a:cubicBezTo>
                            <a:pt x="196057" y="1332706"/>
                            <a:pt x="195829" y="1329079"/>
                            <a:pt x="197644" y="1326356"/>
                          </a:cubicBezTo>
                          <a:cubicBezTo>
                            <a:pt x="199232" y="1323975"/>
                            <a:pt x="202407" y="1323181"/>
                            <a:pt x="204788" y="1321593"/>
                          </a:cubicBezTo>
                          <a:lnTo>
                            <a:pt x="219075" y="1326356"/>
                          </a:lnTo>
                          <a:cubicBezTo>
                            <a:pt x="242045" y="1334013"/>
                            <a:pt x="223745" y="1328619"/>
                            <a:pt x="276225" y="1331118"/>
                          </a:cubicBezTo>
                          <a:cubicBezTo>
                            <a:pt x="281491" y="1336384"/>
                            <a:pt x="283883" y="1339710"/>
                            <a:pt x="290513" y="1343025"/>
                          </a:cubicBezTo>
                          <a:cubicBezTo>
                            <a:pt x="292758" y="1344148"/>
                            <a:pt x="295276" y="1344612"/>
                            <a:pt x="297657" y="1345406"/>
                          </a:cubicBezTo>
                          <a:cubicBezTo>
                            <a:pt x="307976" y="1344612"/>
                            <a:pt x="318605" y="1345659"/>
                            <a:pt x="328613" y="1343025"/>
                          </a:cubicBezTo>
                          <a:cubicBezTo>
                            <a:pt x="334148" y="1341568"/>
                            <a:pt x="342900" y="1333500"/>
                            <a:pt x="342900" y="1333500"/>
                          </a:cubicBezTo>
                          <a:cubicBezTo>
                            <a:pt x="343694" y="1327944"/>
                            <a:pt x="342772" y="1321851"/>
                            <a:pt x="345282" y="1316831"/>
                          </a:cubicBezTo>
                          <a:cubicBezTo>
                            <a:pt x="346405" y="1314586"/>
                            <a:pt x="345332" y="1323043"/>
                            <a:pt x="347663" y="1323975"/>
                          </a:cubicBezTo>
                          <a:cubicBezTo>
                            <a:pt x="350702" y="1325190"/>
                            <a:pt x="354013" y="1322387"/>
                            <a:pt x="357188" y="1321593"/>
                          </a:cubicBezTo>
                          <a:cubicBezTo>
                            <a:pt x="357982" y="1316831"/>
                            <a:pt x="356800" y="1311261"/>
                            <a:pt x="359569" y="1307306"/>
                          </a:cubicBezTo>
                          <a:cubicBezTo>
                            <a:pt x="362852" y="1302617"/>
                            <a:pt x="369094" y="1300956"/>
                            <a:pt x="373857" y="1297781"/>
                          </a:cubicBezTo>
                          <a:lnTo>
                            <a:pt x="395288" y="1283493"/>
                          </a:lnTo>
                          <a:lnTo>
                            <a:pt x="409575" y="1273968"/>
                          </a:lnTo>
                          <a:lnTo>
                            <a:pt x="416719" y="1269206"/>
                          </a:lnTo>
                          <a:cubicBezTo>
                            <a:pt x="417513" y="1266825"/>
                            <a:pt x="420222" y="1264307"/>
                            <a:pt x="419100" y="1262062"/>
                          </a:cubicBezTo>
                          <a:cubicBezTo>
                            <a:pt x="415404" y="1254669"/>
                            <a:pt x="407019" y="1262972"/>
                            <a:pt x="404813" y="1264443"/>
                          </a:cubicBezTo>
                          <a:cubicBezTo>
                            <a:pt x="403225" y="1266824"/>
                            <a:pt x="401470" y="1269102"/>
                            <a:pt x="400050" y="1271587"/>
                          </a:cubicBezTo>
                          <a:cubicBezTo>
                            <a:pt x="398289" y="1274669"/>
                            <a:pt x="397798" y="1278602"/>
                            <a:pt x="395288" y="1281112"/>
                          </a:cubicBezTo>
                          <a:cubicBezTo>
                            <a:pt x="393513" y="1282887"/>
                            <a:pt x="390525" y="1282699"/>
                            <a:pt x="388144" y="1283493"/>
                          </a:cubicBezTo>
                          <a:cubicBezTo>
                            <a:pt x="369187" y="1296131"/>
                            <a:pt x="379523" y="1293827"/>
                            <a:pt x="357188" y="1290637"/>
                          </a:cubicBezTo>
                          <a:cubicBezTo>
                            <a:pt x="355121" y="1287537"/>
                            <a:pt x="351555" y="1279021"/>
                            <a:pt x="345282" y="1281112"/>
                          </a:cubicBezTo>
                          <a:cubicBezTo>
                            <a:pt x="342087" y="1282177"/>
                            <a:pt x="340725" y="1286100"/>
                            <a:pt x="338138" y="1288256"/>
                          </a:cubicBezTo>
                          <a:cubicBezTo>
                            <a:pt x="335939" y="1290088"/>
                            <a:pt x="333609" y="1291856"/>
                            <a:pt x="330994" y="1293018"/>
                          </a:cubicBezTo>
                          <a:cubicBezTo>
                            <a:pt x="317853" y="1298859"/>
                            <a:pt x="317610" y="1296960"/>
                            <a:pt x="304800" y="1300162"/>
                          </a:cubicBezTo>
                          <a:cubicBezTo>
                            <a:pt x="302365" y="1300771"/>
                            <a:pt x="300038" y="1301749"/>
                            <a:pt x="297657" y="1302543"/>
                          </a:cubicBezTo>
                          <a:cubicBezTo>
                            <a:pt x="292101" y="1301749"/>
                            <a:pt x="286364" y="1301775"/>
                            <a:pt x="280988" y="1300162"/>
                          </a:cubicBezTo>
                          <a:cubicBezTo>
                            <a:pt x="271542" y="1297328"/>
                            <a:pt x="274936" y="1295203"/>
                            <a:pt x="271463" y="1288256"/>
                          </a:cubicBezTo>
                          <a:cubicBezTo>
                            <a:pt x="270183" y="1285696"/>
                            <a:pt x="268288" y="1283493"/>
                            <a:pt x="266700" y="1281112"/>
                          </a:cubicBezTo>
                          <a:cubicBezTo>
                            <a:pt x="265573" y="1276603"/>
                            <a:pt x="263489" y="1265339"/>
                            <a:pt x="259557" y="1262062"/>
                          </a:cubicBezTo>
                          <a:cubicBezTo>
                            <a:pt x="257043" y="1259967"/>
                            <a:pt x="253207" y="1260475"/>
                            <a:pt x="250032" y="1259681"/>
                          </a:cubicBezTo>
                          <a:cubicBezTo>
                            <a:pt x="247651" y="1258093"/>
                            <a:pt x="245721" y="1255323"/>
                            <a:pt x="242888" y="1254918"/>
                          </a:cubicBezTo>
                          <a:cubicBezTo>
                            <a:pt x="227025" y="1252652"/>
                            <a:pt x="238293" y="1264695"/>
                            <a:pt x="228600" y="1250156"/>
                          </a:cubicBezTo>
                          <a:cubicBezTo>
                            <a:pt x="227106" y="1252398"/>
                            <a:pt x="221364" y="1262996"/>
                            <a:pt x="216694" y="1262062"/>
                          </a:cubicBezTo>
                          <a:cubicBezTo>
                            <a:pt x="213888" y="1261501"/>
                            <a:pt x="213519" y="1257299"/>
                            <a:pt x="211932" y="1254918"/>
                          </a:cubicBezTo>
                          <a:cubicBezTo>
                            <a:pt x="211831" y="1254114"/>
                            <a:pt x="210557" y="1233807"/>
                            <a:pt x="207169" y="1228725"/>
                          </a:cubicBezTo>
                          <a:cubicBezTo>
                            <a:pt x="205301" y="1225923"/>
                            <a:pt x="202827" y="1223449"/>
                            <a:pt x="200025" y="1221581"/>
                          </a:cubicBezTo>
                          <a:cubicBezTo>
                            <a:pt x="197937" y="1220189"/>
                            <a:pt x="195263" y="1219994"/>
                            <a:pt x="192882" y="1219200"/>
                          </a:cubicBezTo>
                          <a:cubicBezTo>
                            <a:pt x="189707" y="1219994"/>
                            <a:pt x="186552" y="1220871"/>
                            <a:pt x="183357" y="1221581"/>
                          </a:cubicBezTo>
                          <a:cubicBezTo>
                            <a:pt x="179406" y="1222459"/>
                            <a:pt x="175377" y="1222980"/>
                            <a:pt x="171450" y="1223962"/>
                          </a:cubicBezTo>
                          <a:cubicBezTo>
                            <a:pt x="169015" y="1224571"/>
                            <a:pt x="166688" y="1225549"/>
                            <a:pt x="164307" y="1226343"/>
                          </a:cubicBezTo>
                          <a:cubicBezTo>
                            <a:pt x="161132" y="1225549"/>
                            <a:pt x="157790" y="1225251"/>
                            <a:pt x="154782" y="1223962"/>
                          </a:cubicBezTo>
                          <a:cubicBezTo>
                            <a:pt x="152151" y="1222835"/>
                            <a:pt x="150414" y="1218506"/>
                            <a:pt x="147638" y="1219200"/>
                          </a:cubicBezTo>
                          <a:cubicBezTo>
                            <a:pt x="145203" y="1219809"/>
                            <a:pt x="146379" y="1224098"/>
                            <a:pt x="145257" y="1226343"/>
                          </a:cubicBezTo>
                          <a:cubicBezTo>
                            <a:pt x="143977" y="1228903"/>
                            <a:pt x="142082" y="1231106"/>
                            <a:pt x="140494" y="1233487"/>
                          </a:cubicBezTo>
                          <a:cubicBezTo>
                            <a:pt x="117962" y="1228981"/>
                            <a:pt x="136039" y="1236406"/>
                            <a:pt x="126207" y="1219200"/>
                          </a:cubicBezTo>
                          <a:cubicBezTo>
                            <a:pt x="124787" y="1216715"/>
                            <a:pt x="121678" y="1215599"/>
                            <a:pt x="119063" y="1214437"/>
                          </a:cubicBezTo>
                          <a:cubicBezTo>
                            <a:pt x="114475" y="1212398"/>
                            <a:pt x="104775" y="1209675"/>
                            <a:pt x="104775" y="1209675"/>
                          </a:cubicBezTo>
                          <a:cubicBezTo>
                            <a:pt x="108585" y="1207135"/>
                            <a:pt x="116047" y="1203483"/>
                            <a:pt x="116682" y="1197768"/>
                          </a:cubicBezTo>
                          <a:cubicBezTo>
                            <a:pt x="117215" y="1192969"/>
                            <a:pt x="115094" y="1188243"/>
                            <a:pt x="114300" y="1183481"/>
                          </a:cubicBezTo>
                          <a:cubicBezTo>
                            <a:pt x="120746" y="1179183"/>
                            <a:pt x="123413" y="1176978"/>
                            <a:pt x="130969" y="1173956"/>
                          </a:cubicBezTo>
                          <a:cubicBezTo>
                            <a:pt x="135630" y="1172092"/>
                            <a:pt x="140275" y="1169816"/>
                            <a:pt x="145257" y="1169193"/>
                          </a:cubicBezTo>
                          <a:lnTo>
                            <a:pt x="164307" y="1166812"/>
                          </a:lnTo>
                          <a:cubicBezTo>
                            <a:pt x="167386" y="1162193"/>
                            <a:pt x="169958" y="1156349"/>
                            <a:pt x="176213" y="1154906"/>
                          </a:cubicBezTo>
                          <a:cubicBezTo>
                            <a:pt x="183986" y="1153112"/>
                            <a:pt x="192103" y="1153457"/>
                            <a:pt x="200025" y="1152525"/>
                          </a:cubicBezTo>
                          <a:cubicBezTo>
                            <a:pt x="205599" y="1151869"/>
                            <a:pt x="211138" y="1150937"/>
                            <a:pt x="216694" y="1150143"/>
                          </a:cubicBezTo>
                          <a:cubicBezTo>
                            <a:pt x="219075" y="1148556"/>
                            <a:pt x="221278" y="1146661"/>
                            <a:pt x="223838" y="1145381"/>
                          </a:cubicBezTo>
                          <a:cubicBezTo>
                            <a:pt x="226083" y="1144259"/>
                            <a:pt x="229022" y="1144568"/>
                            <a:pt x="230982" y="1143000"/>
                          </a:cubicBezTo>
                          <a:cubicBezTo>
                            <a:pt x="246369" y="1130690"/>
                            <a:pt x="224931" y="1139460"/>
                            <a:pt x="242888" y="1133475"/>
                          </a:cubicBezTo>
                          <a:cubicBezTo>
                            <a:pt x="243682" y="1127125"/>
                            <a:pt x="243585" y="1120599"/>
                            <a:pt x="245269" y="1114425"/>
                          </a:cubicBezTo>
                          <a:cubicBezTo>
                            <a:pt x="246800" y="1108811"/>
                            <a:pt x="254009" y="1104208"/>
                            <a:pt x="257175" y="1100137"/>
                          </a:cubicBezTo>
                          <a:cubicBezTo>
                            <a:pt x="266728" y="1087855"/>
                            <a:pt x="265488" y="1089485"/>
                            <a:pt x="269082" y="1078706"/>
                          </a:cubicBezTo>
                          <a:lnTo>
                            <a:pt x="264319" y="1064418"/>
                          </a:lnTo>
                          <a:lnTo>
                            <a:pt x="261938" y="1057275"/>
                          </a:lnTo>
                          <a:cubicBezTo>
                            <a:pt x="262732" y="1053306"/>
                            <a:pt x="262074" y="1048736"/>
                            <a:pt x="264319" y="1045368"/>
                          </a:cubicBezTo>
                          <a:cubicBezTo>
                            <a:pt x="265711" y="1043279"/>
                            <a:pt x="269218" y="1044109"/>
                            <a:pt x="271463" y="1042987"/>
                          </a:cubicBezTo>
                          <a:cubicBezTo>
                            <a:pt x="274023" y="1041707"/>
                            <a:pt x="276226" y="1039812"/>
                            <a:pt x="278607" y="1038225"/>
                          </a:cubicBezTo>
                          <a:cubicBezTo>
                            <a:pt x="279401" y="1035844"/>
                            <a:pt x="282763" y="1032856"/>
                            <a:pt x="280988" y="1031081"/>
                          </a:cubicBezTo>
                          <a:cubicBezTo>
                            <a:pt x="277438" y="1027531"/>
                            <a:pt x="266700" y="1026318"/>
                            <a:pt x="266700" y="1026318"/>
                          </a:cubicBezTo>
                          <a:cubicBezTo>
                            <a:pt x="264319" y="1023937"/>
                            <a:pt x="262904" y="1019547"/>
                            <a:pt x="259557" y="1019175"/>
                          </a:cubicBezTo>
                          <a:cubicBezTo>
                            <a:pt x="254567" y="1018621"/>
                            <a:pt x="250259" y="1023383"/>
                            <a:pt x="245269" y="1023937"/>
                          </a:cubicBezTo>
                          <a:lnTo>
                            <a:pt x="223838" y="1026318"/>
                          </a:lnTo>
                          <a:cubicBezTo>
                            <a:pt x="221457" y="1027112"/>
                            <a:pt x="218939" y="1027577"/>
                            <a:pt x="216694" y="1028700"/>
                          </a:cubicBezTo>
                          <a:cubicBezTo>
                            <a:pt x="214134" y="1029980"/>
                            <a:pt x="212412" y="1033462"/>
                            <a:pt x="209550" y="1033462"/>
                          </a:cubicBezTo>
                          <a:cubicBezTo>
                            <a:pt x="206688" y="1033462"/>
                            <a:pt x="204788" y="1030287"/>
                            <a:pt x="202407" y="1028700"/>
                          </a:cubicBezTo>
                          <a:cubicBezTo>
                            <a:pt x="204788" y="1026319"/>
                            <a:pt x="207394" y="1024143"/>
                            <a:pt x="209550" y="1021556"/>
                          </a:cubicBezTo>
                          <a:cubicBezTo>
                            <a:pt x="211382" y="1019357"/>
                            <a:pt x="211656" y="1015475"/>
                            <a:pt x="214313" y="1014412"/>
                          </a:cubicBezTo>
                          <a:cubicBezTo>
                            <a:pt x="220255" y="1012035"/>
                            <a:pt x="227013" y="1012825"/>
                            <a:pt x="233363" y="1012031"/>
                          </a:cubicBezTo>
                          <a:cubicBezTo>
                            <a:pt x="235828" y="1007100"/>
                            <a:pt x="239040" y="999691"/>
                            <a:pt x="242888" y="995362"/>
                          </a:cubicBezTo>
                          <a:cubicBezTo>
                            <a:pt x="254750" y="982017"/>
                            <a:pt x="253462" y="983551"/>
                            <a:pt x="264319" y="976312"/>
                          </a:cubicBezTo>
                          <a:cubicBezTo>
                            <a:pt x="265907" y="973931"/>
                            <a:pt x="271697" y="970330"/>
                            <a:pt x="269082" y="969168"/>
                          </a:cubicBezTo>
                          <a:cubicBezTo>
                            <a:pt x="261070" y="965607"/>
                            <a:pt x="251567" y="968027"/>
                            <a:pt x="242888" y="966787"/>
                          </a:cubicBezTo>
                          <a:cubicBezTo>
                            <a:pt x="240403" y="966432"/>
                            <a:pt x="238125" y="965200"/>
                            <a:pt x="235744" y="964406"/>
                          </a:cubicBezTo>
                          <a:cubicBezTo>
                            <a:pt x="232019" y="953229"/>
                            <a:pt x="230428" y="951781"/>
                            <a:pt x="235744" y="935831"/>
                          </a:cubicBezTo>
                          <a:cubicBezTo>
                            <a:pt x="237554" y="930401"/>
                            <a:pt x="245269" y="921543"/>
                            <a:pt x="245269" y="921543"/>
                          </a:cubicBezTo>
                          <a:cubicBezTo>
                            <a:pt x="254000" y="922337"/>
                            <a:pt x="263083" y="921347"/>
                            <a:pt x="271463" y="923925"/>
                          </a:cubicBezTo>
                          <a:cubicBezTo>
                            <a:pt x="274198" y="924767"/>
                            <a:pt x="274945" y="928509"/>
                            <a:pt x="276225" y="931068"/>
                          </a:cubicBezTo>
                          <a:cubicBezTo>
                            <a:pt x="286087" y="950790"/>
                            <a:pt x="269719" y="924878"/>
                            <a:pt x="283369" y="945356"/>
                          </a:cubicBezTo>
                          <a:cubicBezTo>
                            <a:pt x="282575" y="950912"/>
                            <a:pt x="284001" y="957290"/>
                            <a:pt x="280988" y="962025"/>
                          </a:cubicBezTo>
                          <a:cubicBezTo>
                            <a:pt x="277915" y="966854"/>
                            <a:pt x="266700" y="971550"/>
                            <a:pt x="266700" y="971550"/>
                          </a:cubicBezTo>
                          <a:cubicBezTo>
                            <a:pt x="269081" y="972344"/>
                            <a:pt x="271349" y="974208"/>
                            <a:pt x="273844" y="973931"/>
                          </a:cubicBezTo>
                          <a:cubicBezTo>
                            <a:pt x="278834" y="973376"/>
                            <a:pt x="288132" y="969168"/>
                            <a:pt x="288132" y="969168"/>
                          </a:cubicBezTo>
                          <a:cubicBezTo>
                            <a:pt x="289719" y="966787"/>
                            <a:pt x="290088" y="962586"/>
                            <a:pt x="292894" y="962025"/>
                          </a:cubicBezTo>
                          <a:cubicBezTo>
                            <a:pt x="330025" y="954599"/>
                            <a:pt x="299803" y="972501"/>
                            <a:pt x="319088" y="959643"/>
                          </a:cubicBezTo>
                          <a:cubicBezTo>
                            <a:pt x="320675" y="962024"/>
                            <a:pt x="321615" y="964999"/>
                            <a:pt x="323850" y="966787"/>
                          </a:cubicBezTo>
                          <a:cubicBezTo>
                            <a:pt x="330397" y="972025"/>
                            <a:pt x="345503" y="967355"/>
                            <a:pt x="350044" y="966787"/>
                          </a:cubicBezTo>
                          <a:cubicBezTo>
                            <a:pt x="354807" y="963612"/>
                            <a:pt x="361157" y="952499"/>
                            <a:pt x="364332" y="957262"/>
                          </a:cubicBezTo>
                          <a:cubicBezTo>
                            <a:pt x="375249" y="973638"/>
                            <a:pt x="368427" y="969740"/>
                            <a:pt x="381000" y="973931"/>
                          </a:cubicBezTo>
                          <a:cubicBezTo>
                            <a:pt x="384175" y="973137"/>
                            <a:pt x="387378" y="972449"/>
                            <a:pt x="390525" y="971550"/>
                          </a:cubicBezTo>
                          <a:cubicBezTo>
                            <a:pt x="392939" y="970860"/>
                            <a:pt x="395159" y="969168"/>
                            <a:pt x="397669" y="969168"/>
                          </a:cubicBezTo>
                          <a:cubicBezTo>
                            <a:pt x="400179" y="969168"/>
                            <a:pt x="402399" y="970860"/>
                            <a:pt x="404813" y="971550"/>
                          </a:cubicBezTo>
                          <a:cubicBezTo>
                            <a:pt x="407960" y="972449"/>
                            <a:pt x="411163" y="973137"/>
                            <a:pt x="414338" y="973931"/>
                          </a:cubicBezTo>
                          <a:cubicBezTo>
                            <a:pt x="421482" y="973137"/>
                            <a:pt x="429340" y="974765"/>
                            <a:pt x="435769" y="971550"/>
                          </a:cubicBezTo>
                          <a:cubicBezTo>
                            <a:pt x="438329" y="970270"/>
                            <a:pt x="431448" y="967258"/>
                            <a:pt x="428625" y="966787"/>
                          </a:cubicBezTo>
                          <a:cubicBezTo>
                            <a:pt x="426149" y="966374"/>
                            <a:pt x="423895" y="968478"/>
                            <a:pt x="421482" y="969168"/>
                          </a:cubicBezTo>
                          <a:cubicBezTo>
                            <a:pt x="418335" y="970067"/>
                            <a:pt x="415132" y="970756"/>
                            <a:pt x="411957" y="971550"/>
                          </a:cubicBezTo>
                          <a:cubicBezTo>
                            <a:pt x="408642" y="971218"/>
                            <a:pt x="383432" y="976012"/>
                            <a:pt x="385763" y="962025"/>
                          </a:cubicBezTo>
                          <a:cubicBezTo>
                            <a:pt x="386233" y="959202"/>
                            <a:pt x="388098" y="956398"/>
                            <a:pt x="390525" y="954881"/>
                          </a:cubicBezTo>
                          <a:cubicBezTo>
                            <a:pt x="394782" y="952220"/>
                            <a:pt x="404813" y="950118"/>
                            <a:pt x="404813" y="950118"/>
                          </a:cubicBezTo>
                          <a:cubicBezTo>
                            <a:pt x="404019" y="944562"/>
                            <a:pt x="402432" y="939062"/>
                            <a:pt x="402432" y="933450"/>
                          </a:cubicBezTo>
                          <a:cubicBezTo>
                            <a:pt x="402432" y="929794"/>
                            <a:pt x="404739" y="916928"/>
                            <a:pt x="407194" y="912018"/>
                          </a:cubicBezTo>
                          <a:cubicBezTo>
                            <a:pt x="408474" y="909458"/>
                            <a:pt x="409803" y="906759"/>
                            <a:pt x="411957" y="904875"/>
                          </a:cubicBezTo>
                          <a:cubicBezTo>
                            <a:pt x="416265" y="901106"/>
                            <a:pt x="426244" y="895350"/>
                            <a:pt x="426244" y="895350"/>
                          </a:cubicBezTo>
                          <a:cubicBezTo>
                            <a:pt x="425450" y="892969"/>
                            <a:pt x="424986" y="890451"/>
                            <a:pt x="423863" y="888206"/>
                          </a:cubicBezTo>
                          <a:cubicBezTo>
                            <a:pt x="422583" y="885646"/>
                            <a:pt x="419100" y="883924"/>
                            <a:pt x="419100" y="881062"/>
                          </a:cubicBezTo>
                          <a:cubicBezTo>
                            <a:pt x="419100" y="867839"/>
                            <a:pt x="422918" y="867405"/>
                            <a:pt x="431007" y="862012"/>
                          </a:cubicBezTo>
                          <a:cubicBezTo>
                            <a:pt x="432594" y="859631"/>
                            <a:pt x="433745" y="856892"/>
                            <a:pt x="435769" y="854868"/>
                          </a:cubicBezTo>
                          <a:cubicBezTo>
                            <a:pt x="451644" y="838993"/>
                            <a:pt x="434976" y="862013"/>
                            <a:pt x="447675" y="842962"/>
                          </a:cubicBezTo>
                          <a:cubicBezTo>
                            <a:pt x="449252" y="833505"/>
                            <a:pt x="453118" y="818697"/>
                            <a:pt x="447675" y="809625"/>
                          </a:cubicBezTo>
                          <a:cubicBezTo>
                            <a:pt x="446203" y="807171"/>
                            <a:pt x="445689" y="816074"/>
                            <a:pt x="442913" y="816768"/>
                          </a:cubicBezTo>
                          <a:cubicBezTo>
                            <a:pt x="432105" y="819470"/>
                            <a:pt x="420688" y="818356"/>
                            <a:pt x="409575" y="819150"/>
                          </a:cubicBezTo>
                          <a:cubicBezTo>
                            <a:pt x="408781" y="821531"/>
                            <a:pt x="409629" y="825684"/>
                            <a:pt x="407194" y="826293"/>
                          </a:cubicBezTo>
                          <a:cubicBezTo>
                            <a:pt x="404418" y="826987"/>
                            <a:pt x="401838" y="823766"/>
                            <a:pt x="400050" y="821531"/>
                          </a:cubicBezTo>
                          <a:cubicBezTo>
                            <a:pt x="398482" y="819571"/>
                            <a:pt x="398791" y="816632"/>
                            <a:pt x="397669" y="814387"/>
                          </a:cubicBezTo>
                          <a:cubicBezTo>
                            <a:pt x="388433" y="795912"/>
                            <a:pt x="396515" y="818064"/>
                            <a:pt x="390525" y="800100"/>
                          </a:cubicBezTo>
                          <a:cubicBezTo>
                            <a:pt x="389731" y="788194"/>
                            <a:pt x="390877" y="775997"/>
                            <a:pt x="388144" y="764381"/>
                          </a:cubicBezTo>
                          <a:cubicBezTo>
                            <a:pt x="387488" y="761595"/>
                            <a:pt x="383024" y="761642"/>
                            <a:pt x="381000" y="759618"/>
                          </a:cubicBezTo>
                          <a:cubicBezTo>
                            <a:pt x="378977" y="757595"/>
                            <a:pt x="377825" y="754856"/>
                            <a:pt x="376238" y="752475"/>
                          </a:cubicBezTo>
                          <a:cubicBezTo>
                            <a:pt x="377032" y="744537"/>
                            <a:pt x="376825" y="736435"/>
                            <a:pt x="378619" y="728662"/>
                          </a:cubicBezTo>
                          <a:cubicBezTo>
                            <a:pt x="380360" y="721117"/>
                            <a:pt x="385609" y="721126"/>
                            <a:pt x="390525" y="716756"/>
                          </a:cubicBezTo>
                          <a:cubicBezTo>
                            <a:pt x="395559" y="712281"/>
                            <a:pt x="401077" y="708072"/>
                            <a:pt x="404813" y="702468"/>
                          </a:cubicBezTo>
                          <a:cubicBezTo>
                            <a:pt x="406400" y="700087"/>
                            <a:pt x="408295" y="697884"/>
                            <a:pt x="409575" y="695325"/>
                          </a:cubicBezTo>
                          <a:cubicBezTo>
                            <a:pt x="412450" y="689576"/>
                            <a:pt x="411035" y="685584"/>
                            <a:pt x="416719" y="681037"/>
                          </a:cubicBezTo>
                          <a:cubicBezTo>
                            <a:pt x="418679" y="679469"/>
                            <a:pt x="421367" y="678919"/>
                            <a:pt x="423863" y="678656"/>
                          </a:cubicBezTo>
                          <a:cubicBezTo>
                            <a:pt x="436518" y="677324"/>
                            <a:pt x="449263" y="677069"/>
                            <a:pt x="461963" y="676275"/>
                          </a:cubicBezTo>
                          <a:cubicBezTo>
                            <a:pt x="459582" y="674687"/>
                            <a:pt x="457434" y="672674"/>
                            <a:pt x="454819" y="671512"/>
                          </a:cubicBezTo>
                          <a:cubicBezTo>
                            <a:pt x="450232" y="669473"/>
                            <a:pt x="440532" y="666750"/>
                            <a:pt x="440532" y="666750"/>
                          </a:cubicBezTo>
                          <a:cubicBezTo>
                            <a:pt x="437357" y="667544"/>
                            <a:pt x="434280" y="669131"/>
                            <a:pt x="431007" y="669131"/>
                          </a:cubicBezTo>
                          <a:cubicBezTo>
                            <a:pt x="420706" y="669131"/>
                            <a:pt x="419348" y="666915"/>
                            <a:pt x="411957" y="661987"/>
                          </a:cubicBezTo>
                          <a:cubicBezTo>
                            <a:pt x="410369" y="659606"/>
                            <a:pt x="410034" y="655198"/>
                            <a:pt x="407194" y="654843"/>
                          </a:cubicBezTo>
                          <a:cubicBezTo>
                            <a:pt x="402213" y="654220"/>
                            <a:pt x="392907" y="659606"/>
                            <a:pt x="392907" y="659606"/>
                          </a:cubicBezTo>
                          <a:cubicBezTo>
                            <a:pt x="391610" y="663497"/>
                            <a:pt x="389649" y="671464"/>
                            <a:pt x="385763" y="673893"/>
                          </a:cubicBezTo>
                          <a:cubicBezTo>
                            <a:pt x="381506" y="676554"/>
                            <a:pt x="371475" y="678656"/>
                            <a:pt x="371475" y="678656"/>
                          </a:cubicBezTo>
                          <a:cubicBezTo>
                            <a:pt x="369971" y="681163"/>
                            <a:pt x="363785" y="695325"/>
                            <a:pt x="357188" y="695325"/>
                          </a:cubicBezTo>
                          <a:cubicBezTo>
                            <a:pt x="352168" y="695325"/>
                            <a:pt x="342900" y="690562"/>
                            <a:pt x="342900" y="690562"/>
                          </a:cubicBezTo>
                          <a:cubicBezTo>
                            <a:pt x="326232" y="679449"/>
                            <a:pt x="331788" y="685799"/>
                            <a:pt x="323850" y="673893"/>
                          </a:cubicBezTo>
                          <a:cubicBezTo>
                            <a:pt x="318053" y="656501"/>
                            <a:pt x="320305" y="664476"/>
                            <a:pt x="316707" y="650081"/>
                          </a:cubicBezTo>
                          <a:cubicBezTo>
                            <a:pt x="315119" y="652462"/>
                            <a:pt x="313224" y="654665"/>
                            <a:pt x="311944" y="657225"/>
                          </a:cubicBezTo>
                          <a:cubicBezTo>
                            <a:pt x="310822" y="659470"/>
                            <a:pt x="311338" y="662593"/>
                            <a:pt x="309563" y="664368"/>
                          </a:cubicBezTo>
                          <a:cubicBezTo>
                            <a:pt x="306619" y="667312"/>
                            <a:pt x="297165" y="670089"/>
                            <a:pt x="292894" y="671512"/>
                          </a:cubicBezTo>
                          <a:cubicBezTo>
                            <a:pt x="290513" y="673100"/>
                            <a:pt x="288590" y="675920"/>
                            <a:pt x="285750" y="676275"/>
                          </a:cubicBezTo>
                          <a:cubicBezTo>
                            <a:pt x="275620" y="677541"/>
                            <a:pt x="272849" y="674284"/>
                            <a:pt x="269082" y="666750"/>
                          </a:cubicBezTo>
                          <a:cubicBezTo>
                            <a:pt x="267959" y="664505"/>
                            <a:pt x="268660" y="661174"/>
                            <a:pt x="266700" y="659606"/>
                          </a:cubicBezTo>
                          <a:cubicBezTo>
                            <a:pt x="264144" y="657562"/>
                            <a:pt x="260350" y="658019"/>
                            <a:pt x="257175" y="657225"/>
                          </a:cubicBezTo>
                          <a:cubicBezTo>
                            <a:pt x="237611" y="662116"/>
                            <a:pt x="252305" y="655550"/>
                            <a:pt x="254794" y="666750"/>
                          </a:cubicBezTo>
                          <a:cubicBezTo>
                            <a:pt x="255841" y="671463"/>
                            <a:pt x="253207" y="676275"/>
                            <a:pt x="252413" y="681037"/>
                          </a:cubicBezTo>
                          <a:cubicBezTo>
                            <a:pt x="253207" y="684212"/>
                            <a:pt x="252750" y="688006"/>
                            <a:pt x="254794" y="690562"/>
                          </a:cubicBezTo>
                          <a:cubicBezTo>
                            <a:pt x="258805" y="695575"/>
                            <a:pt x="269834" y="690310"/>
                            <a:pt x="254794" y="695325"/>
                          </a:cubicBezTo>
                          <a:cubicBezTo>
                            <a:pt x="251619" y="694531"/>
                            <a:pt x="246953" y="695749"/>
                            <a:pt x="245269" y="692943"/>
                          </a:cubicBezTo>
                          <a:cubicBezTo>
                            <a:pt x="244627" y="691873"/>
                            <a:pt x="249400" y="678171"/>
                            <a:pt x="250032" y="676275"/>
                          </a:cubicBezTo>
                          <a:cubicBezTo>
                            <a:pt x="233969" y="660212"/>
                            <a:pt x="237874" y="668377"/>
                            <a:pt x="233363" y="654843"/>
                          </a:cubicBezTo>
                          <a:cubicBezTo>
                            <a:pt x="234157" y="647699"/>
                            <a:pt x="232336" y="639740"/>
                            <a:pt x="235744" y="633412"/>
                          </a:cubicBezTo>
                          <a:cubicBezTo>
                            <a:pt x="238334" y="628602"/>
                            <a:pt x="253998" y="622302"/>
                            <a:pt x="259557" y="619125"/>
                          </a:cubicBezTo>
                          <a:cubicBezTo>
                            <a:pt x="262042" y="617705"/>
                            <a:pt x="264319" y="615950"/>
                            <a:pt x="266700" y="614362"/>
                          </a:cubicBezTo>
                          <a:cubicBezTo>
                            <a:pt x="269875" y="609600"/>
                            <a:pt x="273665" y="605194"/>
                            <a:pt x="276225" y="600075"/>
                          </a:cubicBezTo>
                          <a:cubicBezTo>
                            <a:pt x="277813" y="596900"/>
                            <a:pt x="278770" y="593322"/>
                            <a:pt x="280988" y="590550"/>
                          </a:cubicBezTo>
                          <a:cubicBezTo>
                            <a:pt x="285195" y="585291"/>
                            <a:pt x="295275" y="576262"/>
                            <a:pt x="295275" y="576262"/>
                          </a:cubicBezTo>
                          <a:cubicBezTo>
                            <a:pt x="296069" y="573881"/>
                            <a:pt x="296089" y="571078"/>
                            <a:pt x="297657" y="569118"/>
                          </a:cubicBezTo>
                          <a:cubicBezTo>
                            <a:pt x="302329" y="563278"/>
                            <a:pt x="310253" y="563266"/>
                            <a:pt x="316707" y="561975"/>
                          </a:cubicBezTo>
                          <a:cubicBezTo>
                            <a:pt x="315464" y="549547"/>
                            <a:pt x="318239" y="539694"/>
                            <a:pt x="309563" y="531018"/>
                          </a:cubicBezTo>
                          <a:cubicBezTo>
                            <a:pt x="307539" y="528994"/>
                            <a:pt x="304800" y="527843"/>
                            <a:pt x="302419" y="526256"/>
                          </a:cubicBezTo>
                          <a:cubicBezTo>
                            <a:pt x="299244" y="521493"/>
                            <a:pt x="294704" y="517398"/>
                            <a:pt x="292894" y="511968"/>
                          </a:cubicBezTo>
                          <a:lnTo>
                            <a:pt x="288132" y="497681"/>
                          </a:lnTo>
                          <a:cubicBezTo>
                            <a:pt x="292845" y="469400"/>
                            <a:pt x="284935" y="490907"/>
                            <a:pt x="297657" y="481012"/>
                          </a:cubicBezTo>
                          <a:cubicBezTo>
                            <a:pt x="302973" y="476877"/>
                            <a:pt x="311944" y="466725"/>
                            <a:pt x="311944" y="466725"/>
                          </a:cubicBezTo>
                          <a:cubicBezTo>
                            <a:pt x="317500" y="467519"/>
                            <a:pt x="323109" y="468005"/>
                            <a:pt x="328613" y="469106"/>
                          </a:cubicBezTo>
                          <a:cubicBezTo>
                            <a:pt x="331074" y="469598"/>
                            <a:pt x="333797" y="469919"/>
                            <a:pt x="335757" y="471487"/>
                          </a:cubicBezTo>
                          <a:cubicBezTo>
                            <a:pt x="351144" y="483797"/>
                            <a:pt x="335136" y="476837"/>
                            <a:pt x="333375" y="476250"/>
                          </a:cubicBezTo>
                          <a:cubicBezTo>
                            <a:pt x="330994" y="474662"/>
                            <a:pt x="328792" y="472767"/>
                            <a:pt x="326232" y="471487"/>
                          </a:cubicBezTo>
                          <a:cubicBezTo>
                            <a:pt x="323987" y="470364"/>
                            <a:pt x="321048" y="470674"/>
                            <a:pt x="319088" y="469106"/>
                          </a:cubicBezTo>
                          <a:cubicBezTo>
                            <a:pt x="316853" y="467318"/>
                            <a:pt x="315913" y="464343"/>
                            <a:pt x="314325" y="461962"/>
                          </a:cubicBezTo>
                          <a:cubicBezTo>
                            <a:pt x="315119" y="456406"/>
                            <a:pt x="319820" y="440623"/>
                            <a:pt x="316707" y="445293"/>
                          </a:cubicBezTo>
                          <a:lnTo>
                            <a:pt x="307182" y="459581"/>
                          </a:lnTo>
                          <a:cubicBezTo>
                            <a:pt x="305594" y="461962"/>
                            <a:pt x="305134" y="465820"/>
                            <a:pt x="302419" y="466725"/>
                          </a:cubicBezTo>
                          <a:lnTo>
                            <a:pt x="288132" y="471487"/>
                          </a:lnTo>
                          <a:cubicBezTo>
                            <a:pt x="285751" y="469900"/>
                            <a:pt x="283603" y="467887"/>
                            <a:pt x="280988" y="466725"/>
                          </a:cubicBezTo>
                          <a:cubicBezTo>
                            <a:pt x="276400" y="464686"/>
                            <a:pt x="266700" y="461962"/>
                            <a:pt x="266700" y="461962"/>
                          </a:cubicBezTo>
                          <a:cubicBezTo>
                            <a:pt x="265906" y="459581"/>
                            <a:pt x="264319" y="457328"/>
                            <a:pt x="264319" y="454818"/>
                          </a:cubicBezTo>
                          <a:cubicBezTo>
                            <a:pt x="264319" y="452308"/>
                            <a:pt x="265578" y="449920"/>
                            <a:pt x="266700" y="447675"/>
                          </a:cubicBezTo>
                          <a:cubicBezTo>
                            <a:pt x="269876" y="441323"/>
                            <a:pt x="281965" y="427504"/>
                            <a:pt x="285750" y="426243"/>
                          </a:cubicBezTo>
                          <a:lnTo>
                            <a:pt x="300038" y="421481"/>
                          </a:lnTo>
                          <a:lnTo>
                            <a:pt x="292894" y="423862"/>
                          </a:lnTo>
                          <a:cubicBezTo>
                            <a:pt x="290513" y="425450"/>
                            <a:pt x="288365" y="427463"/>
                            <a:pt x="285750" y="428625"/>
                          </a:cubicBezTo>
                          <a:cubicBezTo>
                            <a:pt x="281163" y="430664"/>
                            <a:pt x="271463" y="433387"/>
                            <a:pt x="271463" y="433387"/>
                          </a:cubicBezTo>
                          <a:lnTo>
                            <a:pt x="257175" y="442912"/>
                          </a:lnTo>
                          <a:lnTo>
                            <a:pt x="250032" y="447675"/>
                          </a:lnTo>
                          <a:cubicBezTo>
                            <a:pt x="248444" y="445294"/>
                            <a:pt x="246431" y="443146"/>
                            <a:pt x="245269" y="440531"/>
                          </a:cubicBezTo>
                          <a:cubicBezTo>
                            <a:pt x="243230" y="435943"/>
                            <a:pt x="240507" y="426243"/>
                            <a:pt x="240507" y="426243"/>
                          </a:cubicBezTo>
                          <a:cubicBezTo>
                            <a:pt x="242888" y="423862"/>
                            <a:pt x="246015" y="422044"/>
                            <a:pt x="247650" y="419100"/>
                          </a:cubicBezTo>
                          <a:cubicBezTo>
                            <a:pt x="250088" y="414711"/>
                            <a:pt x="249628" y="408989"/>
                            <a:pt x="252413" y="404812"/>
                          </a:cubicBezTo>
                          <a:lnTo>
                            <a:pt x="257175" y="397668"/>
                          </a:lnTo>
                          <a:cubicBezTo>
                            <a:pt x="257969" y="391318"/>
                            <a:pt x="253779" y="381369"/>
                            <a:pt x="259557" y="378618"/>
                          </a:cubicBezTo>
                          <a:cubicBezTo>
                            <a:pt x="273961" y="371759"/>
                            <a:pt x="307182" y="373856"/>
                            <a:pt x="307182" y="373856"/>
                          </a:cubicBezTo>
                          <a:cubicBezTo>
                            <a:pt x="310952" y="368201"/>
                            <a:pt x="314940" y="366289"/>
                            <a:pt x="309563" y="359568"/>
                          </a:cubicBezTo>
                          <a:cubicBezTo>
                            <a:pt x="307775" y="357333"/>
                            <a:pt x="305034" y="355968"/>
                            <a:pt x="302419" y="354806"/>
                          </a:cubicBezTo>
                          <a:cubicBezTo>
                            <a:pt x="297832" y="352767"/>
                            <a:pt x="288132" y="350043"/>
                            <a:pt x="288132" y="350043"/>
                          </a:cubicBezTo>
                          <a:cubicBezTo>
                            <a:pt x="289719" y="345281"/>
                            <a:pt x="289344" y="339306"/>
                            <a:pt x="292894" y="335756"/>
                          </a:cubicBezTo>
                          <a:cubicBezTo>
                            <a:pt x="295275" y="333375"/>
                            <a:pt x="297882" y="331199"/>
                            <a:pt x="300038" y="328612"/>
                          </a:cubicBezTo>
                          <a:cubicBezTo>
                            <a:pt x="301870" y="326413"/>
                            <a:pt x="302776" y="323492"/>
                            <a:pt x="304800" y="321468"/>
                          </a:cubicBezTo>
                          <a:cubicBezTo>
                            <a:pt x="306824" y="319444"/>
                            <a:pt x="309563" y="318293"/>
                            <a:pt x="311944" y="316706"/>
                          </a:cubicBezTo>
                          <a:cubicBezTo>
                            <a:pt x="315119" y="311943"/>
                            <a:pt x="326232" y="299243"/>
                            <a:pt x="321469" y="302418"/>
                          </a:cubicBezTo>
                          <a:cubicBezTo>
                            <a:pt x="303006" y="314727"/>
                            <a:pt x="312611" y="310134"/>
                            <a:pt x="292894" y="316706"/>
                          </a:cubicBezTo>
                          <a:lnTo>
                            <a:pt x="285750" y="319087"/>
                          </a:lnTo>
                          <a:cubicBezTo>
                            <a:pt x="283369" y="320675"/>
                            <a:pt x="281237" y="322723"/>
                            <a:pt x="278607" y="323850"/>
                          </a:cubicBezTo>
                          <a:cubicBezTo>
                            <a:pt x="275599" y="325139"/>
                            <a:pt x="272229" y="325332"/>
                            <a:pt x="269082" y="326231"/>
                          </a:cubicBezTo>
                          <a:cubicBezTo>
                            <a:pt x="266668" y="326921"/>
                            <a:pt x="264319" y="327818"/>
                            <a:pt x="261938" y="328612"/>
                          </a:cubicBezTo>
                          <a:cubicBezTo>
                            <a:pt x="261144" y="323056"/>
                            <a:pt x="263003" y="316373"/>
                            <a:pt x="259557" y="311943"/>
                          </a:cubicBezTo>
                          <a:cubicBezTo>
                            <a:pt x="256475" y="307980"/>
                            <a:pt x="245269" y="307181"/>
                            <a:pt x="245269" y="307181"/>
                          </a:cubicBezTo>
                          <a:cubicBezTo>
                            <a:pt x="246857" y="304800"/>
                            <a:pt x="248870" y="302652"/>
                            <a:pt x="250032" y="300037"/>
                          </a:cubicBezTo>
                          <a:cubicBezTo>
                            <a:pt x="252241" y="295066"/>
                            <a:pt x="253981" y="283067"/>
                            <a:pt x="259557" y="278606"/>
                          </a:cubicBezTo>
                          <a:cubicBezTo>
                            <a:pt x="261517" y="277038"/>
                            <a:pt x="264319" y="277019"/>
                            <a:pt x="266700" y="276225"/>
                          </a:cubicBezTo>
                          <a:cubicBezTo>
                            <a:pt x="280808" y="265644"/>
                            <a:pt x="272918" y="271286"/>
                            <a:pt x="290513" y="259556"/>
                          </a:cubicBezTo>
                          <a:cubicBezTo>
                            <a:pt x="292894" y="257968"/>
                            <a:pt x="295633" y="256817"/>
                            <a:pt x="297657" y="254793"/>
                          </a:cubicBezTo>
                          <a:lnTo>
                            <a:pt x="304800" y="247650"/>
                          </a:lnTo>
                          <a:cubicBezTo>
                            <a:pt x="304006" y="245269"/>
                            <a:pt x="304904" y="240151"/>
                            <a:pt x="302419" y="240506"/>
                          </a:cubicBezTo>
                          <a:cubicBezTo>
                            <a:pt x="296753" y="241315"/>
                            <a:pt x="293685" y="248643"/>
                            <a:pt x="288132" y="250031"/>
                          </a:cubicBezTo>
                          <a:cubicBezTo>
                            <a:pt x="276172" y="253021"/>
                            <a:pt x="281712" y="251377"/>
                            <a:pt x="271463" y="254793"/>
                          </a:cubicBezTo>
                          <a:cubicBezTo>
                            <a:pt x="270669" y="252412"/>
                            <a:pt x="268727" y="250135"/>
                            <a:pt x="269082" y="247650"/>
                          </a:cubicBezTo>
                          <a:cubicBezTo>
                            <a:pt x="269748" y="242989"/>
                            <a:pt x="282608" y="224979"/>
                            <a:pt x="283369" y="223837"/>
                          </a:cubicBezTo>
                          <a:lnTo>
                            <a:pt x="288132" y="216693"/>
                          </a:lnTo>
                          <a:cubicBezTo>
                            <a:pt x="289719" y="214312"/>
                            <a:pt x="290513" y="211137"/>
                            <a:pt x="292894" y="209550"/>
                          </a:cubicBezTo>
                          <a:lnTo>
                            <a:pt x="307182" y="200025"/>
                          </a:lnTo>
                          <a:cubicBezTo>
                            <a:pt x="305594" y="202406"/>
                            <a:pt x="304251" y="204970"/>
                            <a:pt x="302419" y="207168"/>
                          </a:cubicBezTo>
                          <a:cubicBezTo>
                            <a:pt x="296689" y="214043"/>
                            <a:pt x="295156" y="214391"/>
                            <a:pt x="288132" y="219075"/>
                          </a:cubicBezTo>
                          <a:cubicBezTo>
                            <a:pt x="277215" y="202698"/>
                            <a:pt x="284037" y="206597"/>
                            <a:pt x="271463" y="202406"/>
                          </a:cubicBezTo>
                          <a:lnTo>
                            <a:pt x="266700" y="188118"/>
                          </a:lnTo>
                          <a:lnTo>
                            <a:pt x="264319" y="180975"/>
                          </a:lnTo>
                          <a:cubicBezTo>
                            <a:pt x="265113" y="175419"/>
                            <a:pt x="262030" y="167419"/>
                            <a:pt x="266700" y="164306"/>
                          </a:cubicBezTo>
                          <a:cubicBezTo>
                            <a:pt x="271187" y="161315"/>
                            <a:pt x="286368" y="166893"/>
                            <a:pt x="292894" y="169068"/>
                          </a:cubicBezTo>
                          <a:cubicBezTo>
                            <a:pt x="296069" y="168274"/>
                            <a:pt x="302419" y="169960"/>
                            <a:pt x="302419" y="166687"/>
                          </a:cubicBezTo>
                          <a:cubicBezTo>
                            <a:pt x="302419" y="163137"/>
                            <a:pt x="295976" y="163686"/>
                            <a:pt x="292894" y="161925"/>
                          </a:cubicBezTo>
                          <a:cubicBezTo>
                            <a:pt x="290409" y="160505"/>
                            <a:pt x="288131" y="158750"/>
                            <a:pt x="285750" y="157162"/>
                          </a:cubicBezTo>
                          <a:cubicBezTo>
                            <a:pt x="282402" y="147116"/>
                            <a:pt x="280365" y="144430"/>
                            <a:pt x="285750" y="130968"/>
                          </a:cubicBezTo>
                          <a:cubicBezTo>
                            <a:pt x="287170" y="127418"/>
                            <a:pt x="297031" y="124827"/>
                            <a:pt x="300038" y="123825"/>
                          </a:cubicBezTo>
                          <a:cubicBezTo>
                            <a:pt x="300198" y="124065"/>
                            <a:pt x="307343" y="137950"/>
                            <a:pt x="311944" y="133350"/>
                          </a:cubicBezTo>
                          <a:cubicBezTo>
                            <a:pt x="315494" y="129800"/>
                            <a:pt x="311837" y="120279"/>
                            <a:pt x="316707" y="119062"/>
                          </a:cubicBezTo>
                          <a:lnTo>
                            <a:pt x="326232" y="116681"/>
                          </a:lnTo>
                          <a:cubicBezTo>
                            <a:pt x="342569" y="122127"/>
                            <a:pt x="322280" y="115692"/>
                            <a:pt x="345282" y="121443"/>
                          </a:cubicBezTo>
                          <a:cubicBezTo>
                            <a:pt x="347717" y="122052"/>
                            <a:pt x="350044" y="123031"/>
                            <a:pt x="352425" y="123825"/>
                          </a:cubicBezTo>
                          <a:cubicBezTo>
                            <a:pt x="354868" y="116499"/>
                            <a:pt x="357265" y="113246"/>
                            <a:pt x="352425" y="104775"/>
                          </a:cubicBezTo>
                          <a:cubicBezTo>
                            <a:pt x="351005" y="102290"/>
                            <a:pt x="347663" y="101600"/>
                            <a:pt x="345282" y="100012"/>
                          </a:cubicBezTo>
                          <a:cubicBezTo>
                            <a:pt x="337262" y="87982"/>
                            <a:pt x="331983" y="87360"/>
                            <a:pt x="338138" y="73818"/>
                          </a:cubicBezTo>
                          <a:cubicBezTo>
                            <a:pt x="340506" y="68607"/>
                            <a:pt x="347663" y="59531"/>
                            <a:pt x="347663" y="59531"/>
                          </a:cubicBezTo>
                          <a:cubicBezTo>
                            <a:pt x="348457" y="57150"/>
                            <a:pt x="350044" y="54897"/>
                            <a:pt x="350044" y="52387"/>
                          </a:cubicBezTo>
                          <a:cubicBezTo>
                            <a:pt x="350044" y="48340"/>
                            <a:pt x="345853" y="44101"/>
                            <a:pt x="347663" y="40481"/>
                          </a:cubicBezTo>
                          <a:cubicBezTo>
                            <a:pt x="348943" y="37921"/>
                            <a:pt x="350044" y="46037"/>
                            <a:pt x="352425" y="47625"/>
                          </a:cubicBezTo>
                          <a:cubicBezTo>
                            <a:pt x="355148" y="49440"/>
                            <a:pt x="358803" y="49107"/>
                            <a:pt x="361950" y="50006"/>
                          </a:cubicBezTo>
                          <a:cubicBezTo>
                            <a:pt x="364364" y="50696"/>
                            <a:pt x="366713" y="51593"/>
                            <a:pt x="369094" y="52387"/>
                          </a:cubicBezTo>
                          <a:cubicBezTo>
                            <a:pt x="373555" y="50900"/>
                            <a:pt x="381000" y="50044"/>
                            <a:pt x="381000" y="42862"/>
                          </a:cubicBezTo>
                          <a:cubicBezTo>
                            <a:pt x="381000" y="40000"/>
                            <a:pt x="377518" y="38278"/>
                            <a:pt x="376238" y="35718"/>
                          </a:cubicBezTo>
                          <a:cubicBezTo>
                            <a:pt x="375116" y="33473"/>
                            <a:pt x="378619" y="53577"/>
                            <a:pt x="378619" y="54768"/>
                          </a:cubicBezTo>
                          <a:close/>
                        </a:path>
                      </a:pathLst>
                    </a:custGeom>
                    <a:solidFill>
                      <a:schemeClr val="bg1">
                        <a:lumMod val="85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58" name="Freeform: Shape 757">
                      <a:extLst>
                        <a:ext uri="{FF2B5EF4-FFF2-40B4-BE49-F238E27FC236}">
                          <a16:creationId xmlns:a16="http://schemas.microsoft.com/office/drawing/2014/main" id="{01720089-CDEA-4C33-BAFE-DEADB3B97DA9}"/>
                        </a:ext>
                      </a:extLst>
                    </p:cNvPr>
                    <p:cNvSpPr/>
                    <p:nvPr/>
                  </p:nvSpPr>
                  <p:spPr>
                    <a:xfrm>
                      <a:off x="2983545" y="4324262"/>
                      <a:ext cx="33499" cy="26282"/>
                    </a:xfrm>
                    <a:custGeom>
                      <a:avLst/>
                      <a:gdLst>
                        <a:gd name="connsiteX0" fmla="*/ 161 w 33499"/>
                        <a:gd name="connsiteY0" fmla="*/ 21519 h 26282"/>
                        <a:gd name="connsiteX1" fmla="*/ 12068 w 33499"/>
                        <a:gd name="connsiteY1" fmla="*/ 26282 h 26282"/>
                        <a:gd name="connsiteX2" fmla="*/ 33499 w 33499"/>
                        <a:gd name="connsiteY2" fmla="*/ 16757 h 26282"/>
                        <a:gd name="connsiteX3" fmla="*/ 31118 w 33499"/>
                        <a:gd name="connsiteY3" fmla="*/ 2469 h 26282"/>
                        <a:gd name="connsiteX4" fmla="*/ 14449 w 33499"/>
                        <a:gd name="connsiteY4" fmla="*/ 2469 h 26282"/>
                        <a:gd name="connsiteX5" fmla="*/ 4924 w 33499"/>
                        <a:gd name="connsiteY5" fmla="*/ 16757 h 26282"/>
                        <a:gd name="connsiteX6" fmla="*/ 161 w 33499"/>
                        <a:gd name="connsiteY6" fmla="*/ 21519 h 26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499" h="26282">
                          <a:moveTo>
                            <a:pt x="161" y="21519"/>
                          </a:moveTo>
                          <a:cubicBezTo>
                            <a:pt x="1352" y="23106"/>
                            <a:pt x="7793" y="26282"/>
                            <a:pt x="12068" y="26282"/>
                          </a:cubicBezTo>
                          <a:cubicBezTo>
                            <a:pt x="20567" y="26282"/>
                            <a:pt x="27026" y="21072"/>
                            <a:pt x="33499" y="16757"/>
                          </a:cubicBezTo>
                          <a:cubicBezTo>
                            <a:pt x="32705" y="11994"/>
                            <a:pt x="33514" y="6661"/>
                            <a:pt x="31118" y="2469"/>
                          </a:cubicBezTo>
                          <a:cubicBezTo>
                            <a:pt x="28129" y="-2762"/>
                            <a:pt x="16944" y="1845"/>
                            <a:pt x="14449" y="2469"/>
                          </a:cubicBezTo>
                          <a:cubicBezTo>
                            <a:pt x="7071" y="9847"/>
                            <a:pt x="7221" y="7567"/>
                            <a:pt x="4924" y="16757"/>
                          </a:cubicBezTo>
                          <a:cubicBezTo>
                            <a:pt x="4732" y="17527"/>
                            <a:pt x="-1030" y="19932"/>
                            <a:pt x="161" y="21519"/>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59" name="Freeform: Shape 758">
                      <a:extLst>
                        <a:ext uri="{FF2B5EF4-FFF2-40B4-BE49-F238E27FC236}">
                          <a16:creationId xmlns:a16="http://schemas.microsoft.com/office/drawing/2014/main" id="{2449E41A-CEDE-448C-AB36-9E003A666B36}"/>
                        </a:ext>
                      </a:extLst>
                    </p:cNvPr>
                    <p:cNvSpPr/>
                    <p:nvPr/>
                  </p:nvSpPr>
                  <p:spPr>
                    <a:xfrm>
                      <a:off x="2740819" y="3613870"/>
                      <a:ext cx="45244" cy="55636"/>
                    </a:xfrm>
                    <a:custGeom>
                      <a:avLst/>
                      <a:gdLst>
                        <a:gd name="connsiteX0" fmla="*/ 16669 w 45244"/>
                        <a:gd name="connsiteY0" fmla="*/ 55636 h 55636"/>
                        <a:gd name="connsiteX1" fmla="*/ 21431 w 45244"/>
                        <a:gd name="connsiteY1" fmla="*/ 43730 h 55636"/>
                        <a:gd name="connsiteX2" fmla="*/ 28575 w 45244"/>
                        <a:gd name="connsiteY2" fmla="*/ 41349 h 55636"/>
                        <a:gd name="connsiteX3" fmla="*/ 38100 w 45244"/>
                        <a:gd name="connsiteY3" fmla="*/ 38968 h 55636"/>
                        <a:gd name="connsiteX4" fmla="*/ 40481 w 45244"/>
                        <a:gd name="connsiteY4" fmla="*/ 19918 h 55636"/>
                        <a:gd name="connsiteX5" fmla="*/ 45244 w 45244"/>
                        <a:gd name="connsiteY5" fmla="*/ 12774 h 55636"/>
                        <a:gd name="connsiteX6" fmla="*/ 35719 w 45244"/>
                        <a:gd name="connsiteY6" fmla="*/ 868 h 55636"/>
                        <a:gd name="connsiteX7" fmla="*/ 21431 w 45244"/>
                        <a:gd name="connsiteY7" fmla="*/ 15155 h 55636"/>
                        <a:gd name="connsiteX8" fmla="*/ 7144 w 45244"/>
                        <a:gd name="connsiteY8" fmla="*/ 24680 h 55636"/>
                        <a:gd name="connsiteX9" fmla="*/ 4762 w 45244"/>
                        <a:gd name="connsiteY9" fmla="*/ 31824 h 55636"/>
                        <a:gd name="connsiteX10" fmla="*/ 0 w 45244"/>
                        <a:gd name="connsiteY10" fmla="*/ 50874 h 55636"/>
                        <a:gd name="connsiteX11" fmla="*/ 16669 w 45244"/>
                        <a:gd name="connsiteY11" fmla="*/ 55636 h 55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5244" h="55636">
                          <a:moveTo>
                            <a:pt x="16669" y="55636"/>
                          </a:moveTo>
                          <a:cubicBezTo>
                            <a:pt x="18256" y="51667"/>
                            <a:pt x="18695" y="47014"/>
                            <a:pt x="21431" y="43730"/>
                          </a:cubicBezTo>
                          <a:cubicBezTo>
                            <a:pt x="23038" y="41802"/>
                            <a:pt x="26161" y="42039"/>
                            <a:pt x="28575" y="41349"/>
                          </a:cubicBezTo>
                          <a:cubicBezTo>
                            <a:pt x="31722" y="40450"/>
                            <a:pt x="34925" y="39762"/>
                            <a:pt x="38100" y="38968"/>
                          </a:cubicBezTo>
                          <a:cubicBezTo>
                            <a:pt x="49269" y="22212"/>
                            <a:pt x="37537" y="43460"/>
                            <a:pt x="40481" y="19918"/>
                          </a:cubicBezTo>
                          <a:cubicBezTo>
                            <a:pt x="40836" y="17078"/>
                            <a:pt x="43656" y="15155"/>
                            <a:pt x="45244" y="12774"/>
                          </a:cubicBezTo>
                          <a:cubicBezTo>
                            <a:pt x="44861" y="11244"/>
                            <a:pt x="43967" y="-3714"/>
                            <a:pt x="35719" y="868"/>
                          </a:cubicBezTo>
                          <a:cubicBezTo>
                            <a:pt x="29831" y="4139"/>
                            <a:pt x="27035" y="11419"/>
                            <a:pt x="21431" y="15155"/>
                          </a:cubicBezTo>
                          <a:lnTo>
                            <a:pt x="7144" y="24680"/>
                          </a:lnTo>
                          <a:cubicBezTo>
                            <a:pt x="6350" y="27061"/>
                            <a:pt x="5371" y="29389"/>
                            <a:pt x="4762" y="31824"/>
                          </a:cubicBezTo>
                          <a:cubicBezTo>
                            <a:pt x="-989" y="54827"/>
                            <a:pt x="5446" y="34535"/>
                            <a:pt x="0" y="50874"/>
                          </a:cubicBezTo>
                          <a:lnTo>
                            <a:pt x="16669" y="55636"/>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60" name="Freeform: Shape 759">
                      <a:extLst>
                        <a:ext uri="{FF2B5EF4-FFF2-40B4-BE49-F238E27FC236}">
                          <a16:creationId xmlns:a16="http://schemas.microsoft.com/office/drawing/2014/main" id="{AD819D54-31A3-402D-974E-14AE6B3FB523}"/>
                        </a:ext>
                      </a:extLst>
                    </p:cNvPr>
                    <p:cNvSpPr/>
                    <p:nvPr/>
                  </p:nvSpPr>
                  <p:spPr>
                    <a:xfrm>
                      <a:off x="2730659" y="3375071"/>
                      <a:ext cx="28800" cy="36000"/>
                    </a:xfrm>
                    <a:custGeom>
                      <a:avLst/>
                      <a:gdLst>
                        <a:gd name="connsiteX0" fmla="*/ 1336 w 13544"/>
                        <a:gd name="connsiteY0" fmla="*/ 19050 h 19550"/>
                        <a:gd name="connsiteX1" fmla="*/ 13242 w 13544"/>
                        <a:gd name="connsiteY1" fmla="*/ 14287 h 19550"/>
                        <a:gd name="connsiteX2" fmla="*/ 8480 w 13544"/>
                        <a:gd name="connsiteY2" fmla="*/ 0 h 19550"/>
                        <a:gd name="connsiteX3" fmla="*/ 1336 w 13544"/>
                        <a:gd name="connsiteY3" fmla="*/ 4762 h 19550"/>
                        <a:gd name="connsiteX4" fmla="*/ 1336 w 13544"/>
                        <a:gd name="connsiteY4" fmla="*/ 19050 h 195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44" h="19550">
                          <a:moveTo>
                            <a:pt x="1336" y="19050"/>
                          </a:moveTo>
                          <a:cubicBezTo>
                            <a:pt x="3320" y="20638"/>
                            <a:pt x="11741" y="18289"/>
                            <a:pt x="13242" y="14287"/>
                          </a:cubicBezTo>
                          <a:cubicBezTo>
                            <a:pt x="15005" y="9587"/>
                            <a:pt x="8480" y="0"/>
                            <a:pt x="8480" y="0"/>
                          </a:cubicBezTo>
                          <a:cubicBezTo>
                            <a:pt x="6099" y="1587"/>
                            <a:pt x="3124" y="2527"/>
                            <a:pt x="1336" y="4762"/>
                          </a:cubicBezTo>
                          <a:cubicBezTo>
                            <a:pt x="-232" y="6722"/>
                            <a:pt x="-648" y="17462"/>
                            <a:pt x="1336" y="1905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61" name="Freeform: Shape 760">
                      <a:extLst>
                        <a:ext uri="{FF2B5EF4-FFF2-40B4-BE49-F238E27FC236}">
                          <a16:creationId xmlns:a16="http://schemas.microsoft.com/office/drawing/2014/main" id="{3FFD093A-FA2F-4E80-8E86-AC20FD2A6DD0}"/>
                        </a:ext>
                      </a:extLst>
                    </p:cNvPr>
                    <p:cNvSpPr/>
                    <p:nvPr/>
                  </p:nvSpPr>
                  <p:spPr>
                    <a:xfrm>
                      <a:off x="3034814" y="2783638"/>
                      <a:ext cx="53667" cy="61956"/>
                    </a:xfrm>
                    <a:custGeom>
                      <a:avLst/>
                      <a:gdLst>
                        <a:gd name="connsiteX0" fmla="*/ 27474 w 53667"/>
                        <a:gd name="connsiteY0" fmla="*/ 43 h 61956"/>
                        <a:gd name="connsiteX1" fmla="*/ 44142 w 53667"/>
                        <a:gd name="connsiteY1" fmla="*/ 16712 h 61956"/>
                        <a:gd name="connsiteX2" fmla="*/ 53667 w 53667"/>
                        <a:gd name="connsiteY2" fmla="*/ 33381 h 61956"/>
                        <a:gd name="connsiteX3" fmla="*/ 48905 w 53667"/>
                        <a:gd name="connsiteY3" fmla="*/ 42906 h 61956"/>
                        <a:gd name="connsiteX4" fmla="*/ 41761 w 53667"/>
                        <a:gd name="connsiteY4" fmla="*/ 45287 h 61956"/>
                        <a:gd name="connsiteX5" fmla="*/ 34617 w 53667"/>
                        <a:gd name="connsiteY5" fmla="*/ 50050 h 61956"/>
                        <a:gd name="connsiteX6" fmla="*/ 32236 w 53667"/>
                        <a:gd name="connsiteY6" fmla="*/ 57193 h 61956"/>
                        <a:gd name="connsiteX7" fmla="*/ 17949 w 53667"/>
                        <a:gd name="connsiteY7" fmla="*/ 61956 h 61956"/>
                        <a:gd name="connsiteX8" fmla="*/ 1280 w 53667"/>
                        <a:gd name="connsiteY8" fmla="*/ 59575 h 61956"/>
                        <a:gd name="connsiteX9" fmla="*/ 3661 w 53667"/>
                        <a:gd name="connsiteY9" fmla="*/ 45287 h 61956"/>
                        <a:gd name="connsiteX10" fmla="*/ 17949 w 53667"/>
                        <a:gd name="connsiteY10" fmla="*/ 38143 h 61956"/>
                        <a:gd name="connsiteX11" fmla="*/ 13186 w 53667"/>
                        <a:gd name="connsiteY11" fmla="*/ 31000 h 61956"/>
                        <a:gd name="connsiteX12" fmla="*/ 15567 w 53667"/>
                        <a:gd name="connsiteY12" fmla="*/ 21475 h 61956"/>
                        <a:gd name="connsiteX13" fmla="*/ 27474 w 53667"/>
                        <a:gd name="connsiteY13" fmla="*/ 43 h 61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3667" h="61956">
                          <a:moveTo>
                            <a:pt x="27474" y="43"/>
                          </a:moveTo>
                          <a:cubicBezTo>
                            <a:pt x="32236" y="-751"/>
                            <a:pt x="41729" y="9474"/>
                            <a:pt x="44142" y="16712"/>
                          </a:cubicBezTo>
                          <a:cubicBezTo>
                            <a:pt x="50079" y="34523"/>
                            <a:pt x="40310" y="28929"/>
                            <a:pt x="53667" y="33381"/>
                          </a:cubicBezTo>
                          <a:cubicBezTo>
                            <a:pt x="52080" y="36556"/>
                            <a:pt x="51415" y="40396"/>
                            <a:pt x="48905" y="42906"/>
                          </a:cubicBezTo>
                          <a:cubicBezTo>
                            <a:pt x="47130" y="44681"/>
                            <a:pt x="44006" y="44164"/>
                            <a:pt x="41761" y="45287"/>
                          </a:cubicBezTo>
                          <a:cubicBezTo>
                            <a:pt x="39201" y="46567"/>
                            <a:pt x="36998" y="48462"/>
                            <a:pt x="34617" y="50050"/>
                          </a:cubicBezTo>
                          <a:cubicBezTo>
                            <a:pt x="33823" y="52431"/>
                            <a:pt x="34278" y="55734"/>
                            <a:pt x="32236" y="57193"/>
                          </a:cubicBezTo>
                          <a:cubicBezTo>
                            <a:pt x="28151" y="60111"/>
                            <a:pt x="17949" y="61956"/>
                            <a:pt x="17949" y="61956"/>
                          </a:cubicBezTo>
                          <a:lnTo>
                            <a:pt x="1280" y="59575"/>
                          </a:lnTo>
                          <a:cubicBezTo>
                            <a:pt x="-1862" y="55909"/>
                            <a:pt x="1502" y="49606"/>
                            <a:pt x="3661" y="45287"/>
                          </a:cubicBezTo>
                          <a:cubicBezTo>
                            <a:pt x="5507" y="41596"/>
                            <a:pt x="14569" y="39270"/>
                            <a:pt x="17949" y="38143"/>
                          </a:cubicBezTo>
                          <a:cubicBezTo>
                            <a:pt x="16361" y="35762"/>
                            <a:pt x="13591" y="33833"/>
                            <a:pt x="13186" y="31000"/>
                          </a:cubicBezTo>
                          <a:cubicBezTo>
                            <a:pt x="12723" y="27760"/>
                            <a:pt x="15029" y="24703"/>
                            <a:pt x="15567" y="21475"/>
                          </a:cubicBezTo>
                          <a:cubicBezTo>
                            <a:pt x="15828" y="19909"/>
                            <a:pt x="22712" y="837"/>
                            <a:pt x="27474" y="4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62" name="Freeform: Shape 761">
                      <a:extLst>
                        <a:ext uri="{FF2B5EF4-FFF2-40B4-BE49-F238E27FC236}">
                          <a16:creationId xmlns:a16="http://schemas.microsoft.com/office/drawing/2014/main" id="{9386A5B7-1D96-432F-900C-FC44819836A8}"/>
                        </a:ext>
                      </a:extLst>
                    </p:cNvPr>
                    <p:cNvSpPr/>
                    <p:nvPr/>
                  </p:nvSpPr>
                  <p:spPr>
                    <a:xfrm>
                      <a:off x="3117006" y="2778785"/>
                      <a:ext cx="38506" cy="26810"/>
                    </a:xfrm>
                    <a:custGeom>
                      <a:avLst/>
                      <a:gdLst>
                        <a:gd name="connsiteX0" fmla="*/ 50 w 38506"/>
                        <a:gd name="connsiteY0" fmla="*/ 26328 h 26810"/>
                        <a:gd name="connsiteX1" fmla="*/ 11957 w 38506"/>
                        <a:gd name="connsiteY1" fmla="*/ 19184 h 26810"/>
                        <a:gd name="connsiteX2" fmla="*/ 19100 w 38506"/>
                        <a:gd name="connsiteY2" fmla="*/ 14421 h 26810"/>
                        <a:gd name="connsiteX3" fmla="*/ 31007 w 38506"/>
                        <a:gd name="connsiteY3" fmla="*/ 12040 h 26810"/>
                        <a:gd name="connsiteX4" fmla="*/ 38150 w 38506"/>
                        <a:gd name="connsiteY4" fmla="*/ 7278 h 26810"/>
                        <a:gd name="connsiteX5" fmla="*/ 35769 w 38506"/>
                        <a:gd name="connsiteY5" fmla="*/ 134 h 26810"/>
                        <a:gd name="connsiteX6" fmla="*/ 16719 w 38506"/>
                        <a:gd name="connsiteY6" fmla="*/ 4896 h 26810"/>
                        <a:gd name="connsiteX7" fmla="*/ 50 w 38506"/>
                        <a:gd name="connsiteY7" fmla="*/ 26328 h 26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506" h="26810">
                          <a:moveTo>
                            <a:pt x="50" y="26328"/>
                          </a:moveTo>
                          <a:cubicBezTo>
                            <a:pt x="-744" y="28709"/>
                            <a:pt x="8032" y="21637"/>
                            <a:pt x="11957" y="19184"/>
                          </a:cubicBezTo>
                          <a:cubicBezTo>
                            <a:pt x="14384" y="17667"/>
                            <a:pt x="16420" y="15426"/>
                            <a:pt x="19100" y="14421"/>
                          </a:cubicBezTo>
                          <a:cubicBezTo>
                            <a:pt x="22890" y="13000"/>
                            <a:pt x="27038" y="12834"/>
                            <a:pt x="31007" y="12040"/>
                          </a:cubicBezTo>
                          <a:cubicBezTo>
                            <a:pt x="33388" y="10453"/>
                            <a:pt x="37087" y="9935"/>
                            <a:pt x="38150" y="7278"/>
                          </a:cubicBezTo>
                          <a:cubicBezTo>
                            <a:pt x="39082" y="4947"/>
                            <a:pt x="38150" y="928"/>
                            <a:pt x="35769" y="134"/>
                          </a:cubicBezTo>
                          <a:cubicBezTo>
                            <a:pt x="32896" y="-824"/>
                            <a:pt x="20574" y="3611"/>
                            <a:pt x="16719" y="4896"/>
                          </a:cubicBezTo>
                          <a:cubicBezTo>
                            <a:pt x="10712" y="13908"/>
                            <a:pt x="844" y="23947"/>
                            <a:pt x="50" y="26328"/>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63" name="Freeform: Shape 762">
                      <a:extLst>
                        <a:ext uri="{FF2B5EF4-FFF2-40B4-BE49-F238E27FC236}">
                          <a16:creationId xmlns:a16="http://schemas.microsoft.com/office/drawing/2014/main" id="{822C9A00-0E98-46FA-9F6D-664BE54E64C5}"/>
                        </a:ext>
                      </a:extLst>
                    </p:cNvPr>
                    <p:cNvSpPr/>
                    <p:nvPr/>
                  </p:nvSpPr>
                  <p:spPr>
                    <a:xfrm>
                      <a:off x="3069408" y="2862206"/>
                      <a:ext cx="9996" cy="16896"/>
                    </a:xfrm>
                    <a:custGeom>
                      <a:avLst/>
                      <a:gdLst>
                        <a:gd name="connsiteX0" fmla="*/ 9548 w 9996"/>
                        <a:gd name="connsiteY0" fmla="*/ 57 h 16896"/>
                        <a:gd name="connsiteX1" fmla="*/ 23 w 9996"/>
                        <a:gd name="connsiteY1" fmla="*/ 11963 h 16896"/>
                        <a:gd name="connsiteX2" fmla="*/ 7167 w 9996"/>
                        <a:gd name="connsiteY2" fmla="*/ 16725 h 16896"/>
                        <a:gd name="connsiteX3" fmla="*/ 9548 w 9996"/>
                        <a:gd name="connsiteY3" fmla="*/ 57 h 16896"/>
                      </a:gdLst>
                      <a:ahLst/>
                      <a:cxnLst>
                        <a:cxn ang="0">
                          <a:pos x="connsiteX0" y="connsiteY0"/>
                        </a:cxn>
                        <a:cxn ang="0">
                          <a:pos x="connsiteX1" y="connsiteY1"/>
                        </a:cxn>
                        <a:cxn ang="0">
                          <a:pos x="connsiteX2" y="connsiteY2"/>
                        </a:cxn>
                        <a:cxn ang="0">
                          <a:pos x="connsiteX3" y="connsiteY3"/>
                        </a:cxn>
                      </a:cxnLst>
                      <a:rect l="l" t="t" r="r" b="b"/>
                      <a:pathLst>
                        <a:path w="9996" h="16896">
                          <a:moveTo>
                            <a:pt x="9548" y="57"/>
                          </a:moveTo>
                          <a:cubicBezTo>
                            <a:pt x="8358" y="-737"/>
                            <a:pt x="742" y="6932"/>
                            <a:pt x="23" y="11963"/>
                          </a:cubicBezTo>
                          <a:cubicBezTo>
                            <a:pt x="-382" y="14796"/>
                            <a:pt x="4452" y="17630"/>
                            <a:pt x="7167" y="16725"/>
                          </a:cubicBezTo>
                          <a:cubicBezTo>
                            <a:pt x="9426" y="15972"/>
                            <a:pt x="10738" y="851"/>
                            <a:pt x="9548" y="57"/>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64" name="Freeform: Shape 763">
                      <a:extLst>
                        <a:ext uri="{FF2B5EF4-FFF2-40B4-BE49-F238E27FC236}">
                          <a16:creationId xmlns:a16="http://schemas.microsoft.com/office/drawing/2014/main" id="{8C39C0FB-35BB-41BE-A5F6-940405CE285B}"/>
                        </a:ext>
                      </a:extLst>
                    </p:cNvPr>
                    <p:cNvSpPr/>
                    <p:nvPr/>
                  </p:nvSpPr>
                  <p:spPr>
                    <a:xfrm>
                      <a:off x="3086100" y="2833688"/>
                      <a:ext cx="14288" cy="21431"/>
                    </a:xfrm>
                    <a:custGeom>
                      <a:avLst/>
                      <a:gdLst>
                        <a:gd name="connsiteX0" fmla="*/ 9525 w 14288"/>
                        <a:gd name="connsiteY0" fmla="*/ 21431 h 21431"/>
                        <a:gd name="connsiteX1" fmla="*/ 14288 w 14288"/>
                        <a:gd name="connsiteY1" fmla="*/ 9525 h 21431"/>
                        <a:gd name="connsiteX2" fmla="*/ 0 w 14288"/>
                        <a:gd name="connsiteY2" fmla="*/ 0 h 21431"/>
                        <a:gd name="connsiteX3" fmla="*/ 9525 w 14288"/>
                        <a:gd name="connsiteY3" fmla="*/ 21431 h 21431"/>
                      </a:gdLst>
                      <a:ahLst/>
                      <a:cxnLst>
                        <a:cxn ang="0">
                          <a:pos x="connsiteX0" y="connsiteY0"/>
                        </a:cxn>
                        <a:cxn ang="0">
                          <a:pos x="connsiteX1" y="connsiteY1"/>
                        </a:cxn>
                        <a:cxn ang="0">
                          <a:pos x="connsiteX2" y="connsiteY2"/>
                        </a:cxn>
                        <a:cxn ang="0">
                          <a:pos x="connsiteX3" y="connsiteY3"/>
                        </a:cxn>
                      </a:cxnLst>
                      <a:rect l="l" t="t" r="r" b="b"/>
                      <a:pathLst>
                        <a:path w="14288" h="21431">
                          <a:moveTo>
                            <a:pt x="9525" y="21431"/>
                          </a:moveTo>
                          <a:cubicBezTo>
                            <a:pt x="11113" y="17462"/>
                            <a:pt x="14288" y="13799"/>
                            <a:pt x="14288" y="9525"/>
                          </a:cubicBezTo>
                          <a:cubicBezTo>
                            <a:pt x="14288" y="1302"/>
                            <a:pt x="4779" y="1195"/>
                            <a:pt x="0" y="0"/>
                          </a:cubicBezTo>
                          <a:lnTo>
                            <a:pt x="9525" y="21431"/>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65" name="Freeform: Shape 764">
                      <a:extLst>
                        <a:ext uri="{FF2B5EF4-FFF2-40B4-BE49-F238E27FC236}">
                          <a16:creationId xmlns:a16="http://schemas.microsoft.com/office/drawing/2014/main" id="{CB0CED6D-A541-463B-BCEA-6D6318B8E32A}"/>
                        </a:ext>
                      </a:extLst>
                    </p:cNvPr>
                    <p:cNvSpPr/>
                    <p:nvPr/>
                  </p:nvSpPr>
                  <p:spPr>
                    <a:xfrm>
                      <a:off x="2955131" y="3017044"/>
                      <a:ext cx="4763" cy="0"/>
                    </a:xfrm>
                    <a:custGeom>
                      <a:avLst/>
                      <a:gdLst>
                        <a:gd name="connsiteX0" fmla="*/ 4763 w 4763"/>
                        <a:gd name="connsiteY0" fmla="*/ 0 h 0"/>
                        <a:gd name="connsiteX1" fmla="*/ 0 w 4763"/>
                        <a:gd name="connsiteY1" fmla="*/ 0 h 0"/>
                      </a:gdLst>
                      <a:ahLst/>
                      <a:cxnLst>
                        <a:cxn ang="0">
                          <a:pos x="connsiteX0" y="connsiteY0"/>
                        </a:cxn>
                        <a:cxn ang="0">
                          <a:pos x="connsiteX1" y="connsiteY1"/>
                        </a:cxn>
                      </a:cxnLst>
                      <a:rect l="l" t="t" r="r" b="b"/>
                      <a:pathLst>
                        <a:path w="4763">
                          <a:moveTo>
                            <a:pt x="4763" y="0"/>
                          </a:moveTo>
                          <a:lnTo>
                            <a:pt x="0" y="0"/>
                          </a:lnTo>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66" name="Freeform: Shape 765">
                      <a:extLst>
                        <a:ext uri="{FF2B5EF4-FFF2-40B4-BE49-F238E27FC236}">
                          <a16:creationId xmlns:a16="http://schemas.microsoft.com/office/drawing/2014/main" id="{7F2C7BEF-1BCA-407B-B0BC-141ECDB4C9B0}"/>
                        </a:ext>
                      </a:extLst>
                    </p:cNvPr>
                    <p:cNvSpPr/>
                    <p:nvPr/>
                  </p:nvSpPr>
                  <p:spPr>
                    <a:xfrm>
                      <a:off x="2659576" y="2855119"/>
                      <a:ext cx="107437" cy="109537"/>
                    </a:xfrm>
                    <a:custGeom>
                      <a:avLst/>
                      <a:gdLst>
                        <a:gd name="connsiteX0" fmla="*/ 19330 w 107437"/>
                        <a:gd name="connsiteY0" fmla="*/ 28575 h 109537"/>
                        <a:gd name="connsiteX1" fmla="*/ 31237 w 107437"/>
                        <a:gd name="connsiteY1" fmla="*/ 33337 h 109537"/>
                        <a:gd name="connsiteX2" fmla="*/ 38380 w 107437"/>
                        <a:gd name="connsiteY2" fmla="*/ 38100 h 109537"/>
                        <a:gd name="connsiteX3" fmla="*/ 43143 w 107437"/>
                        <a:gd name="connsiteY3" fmla="*/ 30956 h 109537"/>
                        <a:gd name="connsiteX4" fmla="*/ 57430 w 107437"/>
                        <a:gd name="connsiteY4" fmla="*/ 16669 h 109537"/>
                        <a:gd name="connsiteX5" fmla="*/ 62193 w 107437"/>
                        <a:gd name="connsiteY5" fmla="*/ 9525 h 109537"/>
                        <a:gd name="connsiteX6" fmla="*/ 69337 w 107437"/>
                        <a:gd name="connsiteY6" fmla="*/ 4762 h 109537"/>
                        <a:gd name="connsiteX7" fmla="*/ 81243 w 107437"/>
                        <a:gd name="connsiteY7" fmla="*/ 7144 h 109537"/>
                        <a:gd name="connsiteX8" fmla="*/ 95530 w 107437"/>
                        <a:gd name="connsiteY8" fmla="*/ 0 h 109537"/>
                        <a:gd name="connsiteX9" fmla="*/ 105055 w 107437"/>
                        <a:gd name="connsiteY9" fmla="*/ 2381 h 109537"/>
                        <a:gd name="connsiteX10" fmla="*/ 97912 w 107437"/>
                        <a:gd name="connsiteY10" fmla="*/ 21431 h 109537"/>
                        <a:gd name="connsiteX11" fmla="*/ 102674 w 107437"/>
                        <a:gd name="connsiteY11" fmla="*/ 45244 h 109537"/>
                        <a:gd name="connsiteX12" fmla="*/ 107437 w 107437"/>
                        <a:gd name="connsiteY12" fmla="*/ 52387 h 109537"/>
                        <a:gd name="connsiteX13" fmla="*/ 100293 w 107437"/>
                        <a:gd name="connsiteY13" fmla="*/ 54769 h 109537"/>
                        <a:gd name="connsiteX14" fmla="*/ 86005 w 107437"/>
                        <a:gd name="connsiteY14" fmla="*/ 50006 h 109537"/>
                        <a:gd name="connsiteX15" fmla="*/ 83624 w 107437"/>
                        <a:gd name="connsiteY15" fmla="*/ 57150 h 109537"/>
                        <a:gd name="connsiteX16" fmla="*/ 81243 w 107437"/>
                        <a:gd name="connsiteY16" fmla="*/ 76200 h 109537"/>
                        <a:gd name="connsiteX17" fmla="*/ 66955 w 107437"/>
                        <a:gd name="connsiteY17" fmla="*/ 71437 h 109537"/>
                        <a:gd name="connsiteX18" fmla="*/ 59812 w 107437"/>
                        <a:gd name="connsiteY18" fmla="*/ 69056 h 109537"/>
                        <a:gd name="connsiteX19" fmla="*/ 66955 w 107437"/>
                        <a:gd name="connsiteY19" fmla="*/ 71437 h 109537"/>
                        <a:gd name="connsiteX20" fmla="*/ 64574 w 107437"/>
                        <a:gd name="connsiteY20" fmla="*/ 85725 h 109537"/>
                        <a:gd name="connsiteX21" fmla="*/ 40762 w 107437"/>
                        <a:gd name="connsiteY21" fmla="*/ 88106 h 109537"/>
                        <a:gd name="connsiteX22" fmla="*/ 38380 w 107437"/>
                        <a:gd name="connsiteY22" fmla="*/ 102394 h 109537"/>
                        <a:gd name="connsiteX23" fmla="*/ 31237 w 107437"/>
                        <a:gd name="connsiteY23" fmla="*/ 104775 h 109537"/>
                        <a:gd name="connsiteX24" fmla="*/ 14568 w 107437"/>
                        <a:gd name="connsiteY24" fmla="*/ 109537 h 109537"/>
                        <a:gd name="connsiteX25" fmla="*/ 280 w 107437"/>
                        <a:gd name="connsiteY25" fmla="*/ 102394 h 109537"/>
                        <a:gd name="connsiteX26" fmla="*/ 2662 w 107437"/>
                        <a:gd name="connsiteY26" fmla="*/ 95250 h 109537"/>
                        <a:gd name="connsiteX27" fmla="*/ 16949 w 107437"/>
                        <a:gd name="connsiteY27" fmla="*/ 85725 h 109537"/>
                        <a:gd name="connsiteX28" fmla="*/ 14568 w 107437"/>
                        <a:gd name="connsiteY28" fmla="*/ 73819 h 109537"/>
                        <a:gd name="connsiteX29" fmla="*/ 7424 w 107437"/>
                        <a:gd name="connsiteY29" fmla="*/ 71437 h 109537"/>
                        <a:gd name="connsiteX30" fmla="*/ 5043 w 107437"/>
                        <a:gd name="connsiteY30" fmla="*/ 64294 h 109537"/>
                        <a:gd name="connsiteX31" fmla="*/ 280 w 107437"/>
                        <a:gd name="connsiteY31" fmla="*/ 57150 h 109537"/>
                        <a:gd name="connsiteX32" fmla="*/ 19330 w 107437"/>
                        <a:gd name="connsiteY32" fmla="*/ 28575 h 109537"/>
                        <a:gd name="connsiteX0" fmla="*/ 19330 w 107437"/>
                        <a:gd name="connsiteY0" fmla="*/ 28575 h 109537"/>
                        <a:gd name="connsiteX1" fmla="*/ 31237 w 107437"/>
                        <a:gd name="connsiteY1" fmla="*/ 33337 h 109537"/>
                        <a:gd name="connsiteX2" fmla="*/ 38380 w 107437"/>
                        <a:gd name="connsiteY2" fmla="*/ 38100 h 109537"/>
                        <a:gd name="connsiteX3" fmla="*/ 43143 w 107437"/>
                        <a:gd name="connsiteY3" fmla="*/ 30956 h 109537"/>
                        <a:gd name="connsiteX4" fmla="*/ 57430 w 107437"/>
                        <a:gd name="connsiteY4" fmla="*/ 16669 h 109537"/>
                        <a:gd name="connsiteX5" fmla="*/ 62193 w 107437"/>
                        <a:gd name="connsiteY5" fmla="*/ 9525 h 109537"/>
                        <a:gd name="connsiteX6" fmla="*/ 69337 w 107437"/>
                        <a:gd name="connsiteY6" fmla="*/ 4762 h 109537"/>
                        <a:gd name="connsiteX7" fmla="*/ 81243 w 107437"/>
                        <a:gd name="connsiteY7" fmla="*/ 7144 h 109537"/>
                        <a:gd name="connsiteX8" fmla="*/ 95530 w 107437"/>
                        <a:gd name="connsiteY8" fmla="*/ 0 h 109537"/>
                        <a:gd name="connsiteX9" fmla="*/ 105055 w 107437"/>
                        <a:gd name="connsiteY9" fmla="*/ 2381 h 109537"/>
                        <a:gd name="connsiteX10" fmla="*/ 97912 w 107437"/>
                        <a:gd name="connsiteY10" fmla="*/ 21431 h 109537"/>
                        <a:gd name="connsiteX11" fmla="*/ 102674 w 107437"/>
                        <a:gd name="connsiteY11" fmla="*/ 45244 h 109537"/>
                        <a:gd name="connsiteX12" fmla="*/ 107437 w 107437"/>
                        <a:gd name="connsiteY12" fmla="*/ 52387 h 109537"/>
                        <a:gd name="connsiteX13" fmla="*/ 100293 w 107437"/>
                        <a:gd name="connsiteY13" fmla="*/ 54769 h 109537"/>
                        <a:gd name="connsiteX14" fmla="*/ 86005 w 107437"/>
                        <a:gd name="connsiteY14" fmla="*/ 50006 h 109537"/>
                        <a:gd name="connsiteX15" fmla="*/ 83624 w 107437"/>
                        <a:gd name="connsiteY15" fmla="*/ 57150 h 109537"/>
                        <a:gd name="connsiteX16" fmla="*/ 81243 w 107437"/>
                        <a:gd name="connsiteY16" fmla="*/ 76200 h 109537"/>
                        <a:gd name="connsiteX17" fmla="*/ 66955 w 107437"/>
                        <a:gd name="connsiteY17" fmla="*/ 71437 h 109537"/>
                        <a:gd name="connsiteX18" fmla="*/ 59812 w 107437"/>
                        <a:gd name="connsiteY18" fmla="*/ 69056 h 109537"/>
                        <a:gd name="connsiteX19" fmla="*/ 64574 w 107437"/>
                        <a:gd name="connsiteY19" fmla="*/ 85725 h 109537"/>
                        <a:gd name="connsiteX20" fmla="*/ 40762 w 107437"/>
                        <a:gd name="connsiteY20" fmla="*/ 88106 h 109537"/>
                        <a:gd name="connsiteX21" fmla="*/ 38380 w 107437"/>
                        <a:gd name="connsiteY21" fmla="*/ 102394 h 109537"/>
                        <a:gd name="connsiteX22" fmla="*/ 31237 w 107437"/>
                        <a:gd name="connsiteY22" fmla="*/ 104775 h 109537"/>
                        <a:gd name="connsiteX23" fmla="*/ 14568 w 107437"/>
                        <a:gd name="connsiteY23" fmla="*/ 109537 h 109537"/>
                        <a:gd name="connsiteX24" fmla="*/ 280 w 107437"/>
                        <a:gd name="connsiteY24" fmla="*/ 102394 h 109537"/>
                        <a:gd name="connsiteX25" fmla="*/ 2662 w 107437"/>
                        <a:gd name="connsiteY25" fmla="*/ 95250 h 109537"/>
                        <a:gd name="connsiteX26" fmla="*/ 16949 w 107437"/>
                        <a:gd name="connsiteY26" fmla="*/ 85725 h 109537"/>
                        <a:gd name="connsiteX27" fmla="*/ 14568 w 107437"/>
                        <a:gd name="connsiteY27" fmla="*/ 73819 h 109537"/>
                        <a:gd name="connsiteX28" fmla="*/ 7424 w 107437"/>
                        <a:gd name="connsiteY28" fmla="*/ 71437 h 109537"/>
                        <a:gd name="connsiteX29" fmla="*/ 5043 w 107437"/>
                        <a:gd name="connsiteY29" fmla="*/ 64294 h 109537"/>
                        <a:gd name="connsiteX30" fmla="*/ 280 w 107437"/>
                        <a:gd name="connsiteY30" fmla="*/ 57150 h 109537"/>
                        <a:gd name="connsiteX31" fmla="*/ 19330 w 107437"/>
                        <a:gd name="connsiteY31" fmla="*/ 28575 h 10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07437" h="109537">
                          <a:moveTo>
                            <a:pt x="19330" y="28575"/>
                          </a:moveTo>
                          <a:cubicBezTo>
                            <a:pt x="24490" y="24606"/>
                            <a:pt x="27414" y="31425"/>
                            <a:pt x="31237" y="33337"/>
                          </a:cubicBezTo>
                          <a:cubicBezTo>
                            <a:pt x="33797" y="34617"/>
                            <a:pt x="35574" y="38661"/>
                            <a:pt x="38380" y="38100"/>
                          </a:cubicBezTo>
                          <a:cubicBezTo>
                            <a:pt x="41186" y="37539"/>
                            <a:pt x="41555" y="33337"/>
                            <a:pt x="43143" y="30956"/>
                          </a:cubicBezTo>
                          <a:cubicBezTo>
                            <a:pt x="47649" y="8424"/>
                            <a:pt x="40224" y="26501"/>
                            <a:pt x="57430" y="16669"/>
                          </a:cubicBezTo>
                          <a:cubicBezTo>
                            <a:pt x="59915" y="15249"/>
                            <a:pt x="60169" y="11549"/>
                            <a:pt x="62193" y="9525"/>
                          </a:cubicBezTo>
                          <a:cubicBezTo>
                            <a:pt x="64217" y="7501"/>
                            <a:pt x="66956" y="6350"/>
                            <a:pt x="69337" y="4762"/>
                          </a:cubicBezTo>
                          <a:cubicBezTo>
                            <a:pt x="73306" y="5556"/>
                            <a:pt x="77196" y="7144"/>
                            <a:pt x="81243" y="7144"/>
                          </a:cubicBezTo>
                          <a:cubicBezTo>
                            <a:pt x="86171" y="7144"/>
                            <a:pt x="91919" y="2407"/>
                            <a:pt x="95530" y="0"/>
                          </a:cubicBezTo>
                          <a:cubicBezTo>
                            <a:pt x="98705" y="794"/>
                            <a:pt x="103591" y="-546"/>
                            <a:pt x="105055" y="2381"/>
                          </a:cubicBezTo>
                          <a:cubicBezTo>
                            <a:pt x="107997" y="8265"/>
                            <a:pt x="100758" y="17162"/>
                            <a:pt x="97912" y="21431"/>
                          </a:cubicBezTo>
                          <a:cubicBezTo>
                            <a:pt x="98789" y="27569"/>
                            <a:pt x="99350" y="38596"/>
                            <a:pt x="102674" y="45244"/>
                          </a:cubicBezTo>
                          <a:cubicBezTo>
                            <a:pt x="103954" y="47804"/>
                            <a:pt x="105849" y="50006"/>
                            <a:pt x="107437" y="52387"/>
                          </a:cubicBezTo>
                          <a:cubicBezTo>
                            <a:pt x="105056" y="53181"/>
                            <a:pt x="102788" y="55046"/>
                            <a:pt x="100293" y="54769"/>
                          </a:cubicBezTo>
                          <a:cubicBezTo>
                            <a:pt x="95303" y="54215"/>
                            <a:pt x="86005" y="50006"/>
                            <a:pt x="86005" y="50006"/>
                          </a:cubicBezTo>
                          <a:cubicBezTo>
                            <a:pt x="85211" y="52387"/>
                            <a:pt x="84073" y="54680"/>
                            <a:pt x="83624" y="57150"/>
                          </a:cubicBezTo>
                          <a:cubicBezTo>
                            <a:pt x="82479" y="63446"/>
                            <a:pt x="86102" y="72035"/>
                            <a:pt x="81243" y="76200"/>
                          </a:cubicBezTo>
                          <a:cubicBezTo>
                            <a:pt x="77431" y="79467"/>
                            <a:pt x="71718" y="73025"/>
                            <a:pt x="66955" y="71437"/>
                          </a:cubicBezTo>
                          <a:lnTo>
                            <a:pt x="59812" y="69056"/>
                          </a:lnTo>
                          <a:lnTo>
                            <a:pt x="64574" y="85725"/>
                          </a:lnTo>
                          <a:cubicBezTo>
                            <a:pt x="45100" y="92680"/>
                            <a:pt x="21042" y="74961"/>
                            <a:pt x="40762" y="88106"/>
                          </a:cubicBezTo>
                          <a:cubicBezTo>
                            <a:pt x="39968" y="92869"/>
                            <a:pt x="40776" y="98202"/>
                            <a:pt x="38380" y="102394"/>
                          </a:cubicBezTo>
                          <a:cubicBezTo>
                            <a:pt x="37135" y="104573"/>
                            <a:pt x="33650" y="104086"/>
                            <a:pt x="31237" y="104775"/>
                          </a:cubicBezTo>
                          <a:cubicBezTo>
                            <a:pt x="10299" y="110757"/>
                            <a:pt x="31703" y="103826"/>
                            <a:pt x="14568" y="109537"/>
                          </a:cubicBezTo>
                          <a:cubicBezTo>
                            <a:pt x="11561" y="108535"/>
                            <a:pt x="1700" y="105944"/>
                            <a:pt x="280" y="102394"/>
                          </a:cubicBezTo>
                          <a:cubicBezTo>
                            <a:pt x="-652" y="100063"/>
                            <a:pt x="887" y="97025"/>
                            <a:pt x="2662" y="95250"/>
                          </a:cubicBezTo>
                          <a:cubicBezTo>
                            <a:pt x="6709" y="91203"/>
                            <a:pt x="16949" y="85725"/>
                            <a:pt x="16949" y="85725"/>
                          </a:cubicBezTo>
                          <a:cubicBezTo>
                            <a:pt x="16155" y="81756"/>
                            <a:pt x="16813" y="77187"/>
                            <a:pt x="14568" y="73819"/>
                          </a:cubicBezTo>
                          <a:cubicBezTo>
                            <a:pt x="13176" y="71730"/>
                            <a:pt x="9199" y="73212"/>
                            <a:pt x="7424" y="71437"/>
                          </a:cubicBezTo>
                          <a:cubicBezTo>
                            <a:pt x="5649" y="69662"/>
                            <a:pt x="6165" y="66539"/>
                            <a:pt x="5043" y="64294"/>
                          </a:cubicBezTo>
                          <a:cubicBezTo>
                            <a:pt x="3763" y="61734"/>
                            <a:pt x="1868" y="59531"/>
                            <a:pt x="280" y="57150"/>
                          </a:cubicBezTo>
                          <a:cubicBezTo>
                            <a:pt x="2801" y="36986"/>
                            <a:pt x="14170" y="32544"/>
                            <a:pt x="19330" y="28575"/>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67" name="Freeform: Shape 766">
                      <a:extLst>
                        <a:ext uri="{FF2B5EF4-FFF2-40B4-BE49-F238E27FC236}">
                          <a16:creationId xmlns:a16="http://schemas.microsoft.com/office/drawing/2014/main" id="{98189DAB-1865-4559-9833-CAE0C2BF2835}"/>
                        </a:ext>
                      </a:extLst>
                    </p:cNvPr>
                    <p:cNvSpPr/>
                    <p:nvPr/>
                  </p:nvSpPr>
                  <p:spPr>
                    <a:xfrm>
                      <a:off x="2671763" y="2988941"/>
                      <a:ext cx="76896" cy="117540"/>
                    </a:xfrm>
                    <a:custGeom>
                      <a:avLst/>
                      <a:gdLst>
                        <a:gd name="connsiteX0" fmla="*/ 47625 w 76896"/>
                        <a:gd name="connsiteY0" fmla="*/ 1909 h 117540"/>
                        <a:gd name="connsiteX1" fmla="*/ 61912 w 76896"/>
                        <a:gd name="connsiteY1" fmla="*/ 63822 h 117540"/>
                        <a:gd name="connsiteX2" fmla="*/ 54768 w 76896"/>
                        <a:gd name="connsiteY2" fmla="*/ 66203 h 117540"/>
                        <a:gd name="connsiteX3" fmla="*/ 52387 w 76896"/>
                        <a:gd name="connsiteY3" fmla="*/ 82872 h 117540"/>
                        <a:gd name="connsiteX4" fmla="*/ 66675 w 76896"/>
                        <a:gd name="connsiteY4" fmla="*/ 85253 h 117540"/>
                        <a:gd name="connsiteX5" fmla="*/ 76200 w 76896"/>
                        <a:gd name="connsiteY5" fmla="*/ 99540 h 117540"/>
                        <a:gd name="connsiteX6" fmla="*/ 73818 w 76896"/>
                        <a:gd name="connsiteY6" fmla="*/ 109065 h 117540"/>
                        <a:gd name="connsiteX7" fmla="*/ 76200 w 76896"/>
                        <a:gd name="connsiteY7" fmla="*/ 116209 h 117540"/>
                        <a:gd name="connsiteX8" fmla="*/ 59531 w 76896"/>
                        <a:gd name="connsiteY8" fmla="*/ 106684 h 117540"/>
                        <a:gd name="connsiteX9" fmla="*/ 61912 w 76896"/>
                        <a:gd name="connsiteY9" fmla="*/ 94778 h 117540"/>
                        <a:gd name="connsiteX10" fmla="*/ 47625 w 76896"/>
                        <a:gd name="connsiteY10" fmla="*/ 92397 h 117540"/>
                        <a:gd name="connsiteX11" fmla="*/ 42862 w 76896"/>
                        <a:gd name="connsiteY11" fmla="*/ 85253 h 117540"/>
                        <a:gd name="connsiteX12" fmla="*/ 50006 w 76896"/>
                        <a:gd name="connsiteY12" fmla="*/ 80490 h 117540"/>
                        <a:gd name="connsiteX13" fmla="*/ 38100 w 76896"/>
                        <a:gd name="connsiteY13" fmla="*/ 70965 h 117540"/>
                        <a:gd name="connsiteX14" fmla="*/ 30956 w 76896"/>
                        <a:gd name="connsiteY14" fmla="*/ 66203 h 117540"/>
                        <a:gd name="connsiteX15" fmla="*/ 23812 w 76896"/>
                        <a:gd name="connsiteY15" fmla="*/ 59059 h 117540"/>
                        <a:gd name="connsiteX16" fmla="*/ 16668 w 76896"/>
                        <a:gd name="connsiteY16" fmla="*/ 56678 h 117540"/>
                        <a:gd name="connsiteX17" fmla="*/ 9525 w 76896"/>
                        <a:gd name="connsiteY17" fmla="*/ 51915 h 117540"/>
                        <a:gd name="connsiteX18" fmla="*/ 2381 w 76896"/>
                        <a:gd name="connsiteY18" fmla="*/ 30484 h 117540"/>
                        <a:gd name="connsiteX19" fmla="*/ 0 w 76896"/>
                        <a:gd name="connsiteY19" fmla="*/ 23340 h 117540"/>
                        <a:gd name="connsiteX20" fmla="*/ 4762 w 76896"/>
                        <a:gd name="connsiteY20" fmla="*/ 16197 h 117540"/>
                        <a:gd name="connsiteX21" fmla="*/ 26193 w 76896"/>
                        <a:gd name="connsiteY21" fmla="*/ 16197 h 117540"/>
                        <a:gd name="connsiteX22" fmla="*/ 40481 w 76896"/>
                        <a:gd name="connsiteY22" fmla="*/ 23340 h 117540"/>
                        <a:gd name="connsiteX23" fmla="*/ 45243 w 76896"/>
                        <a:gd name="connsiteY23" fmla="*/ 16197 h 117540"/>
                        <a:gd name="connsiteX24" fmla="*/ 47625 w 76896"/>
                        <a:gd name="connsiteY24" fmla="*/ 1909 h 117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76896" h="117540">
                          <a:moveTo>
                            <a:pt x="47625" y="1909"/>
                          </a:moveTo>
                          <a:cubicBezTo>
                            <a:pt x="50403" y="9846"/>
                            <a:pt x="71117" y="22397"/>
                            <a:pt x="61912" y="63822"/>
                          </a:cubicBezTo>
                          <a:cubicBezTo>
                            <a:pt x="61367" y="66272"/>
                            <a:pt x="57149" y="65409"/>
                            <a:pt x="54768" y="66203"/>
                          </a:cubicBezTo>
                          <a:cubicBezTo>
                            <a:pt x="45702" y="79802"/>
                            <a:pt x="39001" y="79897"/>
                            <a:pt x="52387" y="82872"/>
                          </a:cubicBezTo>
                          <a:cubicBezTo>
                            <a:pt x="57100" y="83919"/>
                            <a:pt x="61912" y="84459"/>
                            <a:pt x="66675" y="85253"/>
                          </a:cubicBezTo>
                          <a:cubicBezTo>
                            <a:pt x="70967" y="89546"/>
                            <a:pt x="76200" y="92650"/>
                            <a:pt x="76200" y="99540"/>
                          </a:cubicBezTo>
                          <a:cubicBezTo>
                            <a:pt x="76200" y="102813"/>
                            <a:pt x="74612" y="105890"/>
                            <a:pt x="73818" y="109065"/>
                          </a:cubicBezTo>
                          <a:cubicBezTo>
                            <a:pt x="74612" y="111446"/>
                            <a:pt x="78445" y="115086"/>
                            <a:pt x="76200" y="116209"/>
                          </a:cubicBezTo>
                          <a:cubicBezTo>
                            <a:pt x="66636" y="120992"/>
                            <a:pt x="62897" y="111734"/>
                            <a:pt x="59531" y="106684"/>
                          </a:cubicBezTo>
                          <a:cubicBezTo>
                            <a:pt x="60325" y="102715"/>
                            <a:pt x="64503" y="97887"/>
                            <a:pt x="61912" y="94778"/>
                          </a:cubicBezTo>
                          <a:cubicBezTo>
                            <a:pt x="58821" y="91069"/>
                            <a:pt x="51943" y="94556"/>
                            <a:pt x="47625" y="92397"/>
                          </a:cubicBezTo>
                          <a:cubicBezTo>
                            <a:pt x="45065" y="91117"/>
                            <a:pt x="44450" y="87634"/>
                            <a:pt x="42862" y="85253"/>
                          </a:cubicBezTo>
                          <a:cubicBezTo>
                            <a:pt x="45243" y="83665"/>
                            <a:pt x="48943" y="83147"/>
                            <a:pt x="50006" y="80490"/>
                          </a:cubicBezTo>
                          <a:cubicBezTo>
                            <a:pt x="53422" y="71951"/>
                            <a:pt x="41151" y="71728"/>
                            <a:pt x="38100" y="70965"/>
                          </a:cubicBezTo>
                          <a:cubicBezTo>
                            <a:pt x="35719" y="69378"/>
                            <a:pt x="33155" y="68035"/>
                            <a:pt x="30956" y="66203"/>
                          </a:cubicBezTo>
                          <a:cubicBezTo>
                            <a:pt x="28369" y="64047"/>
                            <a:pt x="26614" y="60927"/>
                            <a:pt x="23812" y="59059"/>
                          </a:cubicBezTo>
                          <a:cubicBezTo>
                            <a:pt x="21723" y="57667"/>
                            <a:pt x="19049" y="57472"/>
                            <a:pt x="16668" y="56678"/>
                          </a:cubicBezTo>
                          <a:cubicBezTo>
                            <a:pt x="14287" y="55090"/>
                            <a:pt x="11549" y="53939"/>
                            <a:pt x="9525" y="51915"/>
                          </a:cubicBezTo>
                          <a:cubicBezTo>
                            <a:pt x="2421" y="44811"/>
                            <a:pt x="4662" y="40751"/>
                            <a:pt x="2381" y="30484"/>
                          </a:cubicBezTo>
                          <a:cubicBezTo>
                            <a:pt x="1837" y="28034"/>
                            <a:pt x="794" y="25721"/>
                            <a:pt x="0" y="23340"/>
                          </a:cubicBezTo>
                          <a:cubicBezTo>
                            <a:pt x="1587" y="20959"/>
                            <a:pt x="2527" y="17985"/>
                            <a:pt x="4762" y="16197"/>
                          </a:cubicBezTo>
                          <a:cubicBezTo>
                            <a:pt x="10828" y="11344"/>
                            <a:pt x="20313" y="15217"/>
                            <a:pt x="26193" y="16197"/>
                          </a:cubicBezTo>
                          <a:cubicBezTo>
                            <a:pt x="27698" y="17200"/>
                            <a:pt x="37400" y="24572"/>
                            <a:pt x="40481" y="23340"/>
                          </a:cubicBezTo>
                          <a:cubicBezTo>
                            <a:pt x="43138" y="22277"/>
                            <a:pt x="44457" y="18949"/>
                            <a:pt x="45243" y="16197"/>
                          </a:cubicBezTo>
                          <a:cubicBezTo>
                            <a:pt x="46115" y="13144"/>
                            <a:pt x="44847" y="-6028"/>
                            <a:pt x="47625" y="1909"/>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68" name="Freeform: Shape 767">
                      <a:extLst>
                        <a:ext uri="{FF2B5EF4-FFF2-40B4-BE49-F238E27FC236}">
                          <a16:creationId xmlns:a16="http://schemas.microsoft.com/office/drawing/2014/main" id="{52FDB126-8D20-4126-9E81-5420175505BA}"/>
                        </a:ext>
                      </a:extLst>
                    </p:cNvPr>
                    <p:cNvSpPr/>
                    <p:nvPr/>
                  </p:nvSpPr>
                  <p:spPr>
                    <a:xfrm>
                      <a:off x="2578383" y="2974118"/>
                      <a:ext cx="60042" cy="124835"/>
                    </a:xfrm>
                    <a:custGeom>
                      <a:avLst/>
                      <a:gdLst>
                        <a:gd name="connsiteX0" fmla="*/ 31467 w 60042"/>
                        <a:gd name="connsiteY0" fmla="*/ 4826 h 124835"/>
                        <a:gd name="connsiteX1" fmla="*/ 55280 w 60042"/>
                        <a:gd name="connsiteY1" fmla="*/ 2445 h 124835"/>
                        <a:gd name="connsiteX2" fmla="*/ 60042 w 60042"/>
                        <a:gd name="connsiteY2" fmla="*/ 9588 h 124835"/>
                        <a:gd name="connsiteX3" fmla="*/ 57661 w 60042"/>
                        <a:gd name="connsiteY3" fmla="*/ 19113 h 124835"/>
                        <a:gd name="connsiteX4" fmla="*/ 52898 w 60042"/>
                        <a:gd name="connsiteY4" fmla="*/ 28638 h 124835"/>
                        <a:gd name="connsiteX5" fmla="*/ 45755 w 60042"/>
                        <a:gd name="connsiteY5" fmla="*/ 52451 h 124835"/>
                        <a:gd name="connsiteX6" fmla="*/ 43373 w 60042"/>
                        <a:gd name="connsiteY6" fmla="*/ 59595 h 124835"/>
                        <a:gd name="connsiteX7" fmla="*/ 38611 w 60042"/>
                        <a:gd name="connsiteY7" fmla="*/ 71501 h 124835"/>
                        <a:gd name="connsiteX8" fmla="*/ 36230 w 60042"/>
                        <a:gd name="connsiteY8" fmla="*/ 78645 h 124835"/>
                        <a:gd name="connsiteX9" fmla="*/ 36230 w 60042"/>
                        <a:gd name="connsiteY9" fmla="*/ 102457 h 124835"/>
                        <a:gd name="connsiteX10" fmla="*/ 21942 w 60042"/>
                        <a:gd name="connsiteY10" fmla="*/ 107220 h 124835"/>
                        <a:gd name="connsiteX11" fmla="*/ 511 w 60042"/>
                        <a:gd name="connsiteY11" fmla="*/ 119126 h 124835"/>
                        <a:gd name="connsiteX12" fmla="*/ 7655 w 60042"/>
                        <a:gd name="connsiteY12" fmla="*/ 114363 h 124835"/>
                        <a:gd name="connsiteX13" fmla="*/ 26705 w 60042"/>
                        <a:gd name="connsiteY13" fmla="*/ 109601 h 124835"/>
                        <a:gd name="connsiteX14" fmla="*/ 26705 w 60042"/>
                        <a:gd name="connsiteY14" fmla="*/ 88170 h 124835"/>
                        <a:gd name="connsiteX15" fmla="*/ 24323 w 60042"/>
                        <a:gd name="connsiteY15" fmla="*/ 81026 h 124835"/>
                        <a:gd name="connsiteX16" fmla="*/ 17180 w 60042"/>
                        <a:gd name="connsiteY16" fmla="*/ 73882 h 124835"/>
                        <a:gd name="connsiteX17" fmla="*/ 38611 w 60042"/>
                        <a:gd name="connsiteY17" fmla="*/ 61976 h 124835"/>
                        <a:gd name="connsiteX18" fmla="*/ 36230 w 60042"/>
                        <a:gd name="connsiteY18" fmla="*/ 54832 h 124835"/>
                        <a:gd name="connsiteX19" fmla="*/ 29086 w 60042"/>
                        <a:gd name="connsiteY19" fmla="*/ 47688 h 124835"/>
                        <a:gd name="connsiteX20" fmla="*/ 38611 w 60042"/>
                        <a:gd name="connsiteY20" fmla="*/ 33401 h 124835"/>
                        <a:gd name="connsiteX21" fmla="*/ 40992 w 60042"/>
                        <a:gd name="connsiteY21" fmla="*/ 26257 h 124835"/>
                        <a:gd name="connsiteX22" fmla="*/ 29086 w 60042"/>
                        <a:gd name="connsiteY22" fmla="*/ 16732 h 124835"/>
                        <a:gd name="connsiteX23" fmla="*/ 31467 w 60042"/>
                        <a:gd name="connsiteY23" fmla="*/ 4826 h 124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60042" h="124835">
                          <a:moveTo>
                            <a:pt x="31467" y="4826"/>
                          </a:moveTo>
                          <a:cubicBezTo>
                            <a:pt x="35833" y="2445"/>
                            <a:pt x="45336" y="-3237"/>
                            <a:pt x="55280" y="2445"/>
                          </a:cubicBezTo>
                          <a:cubicBezTo>
                            <a:pt x="57765" y="3865"/>
                            <a:pt x="58455" y="7207"/>
                            <a:pt x="60042" y="9588"/>
                          </a:cubicBezTo>
                          <a:cubicBezTo>
                            <a:pt x="59248" y="12763"/>
                            <a:pt x="59705" y="16557"/>
                            <a:pt x="57661" y="19113"/>
                          </a:cubicBezTo>
                          <a:cubicBezTo>
                            <a:pt x="50190" y="28452"/>
                            <a:pt x="47669" y="12952"/>
                            <a:pt x="52898" y="28638"/>
                          </a:cubicBezTo>
                          <a:cubicBezTo>
                            <a:pt x="49301" y="43027"/>
                            <a:pt x="51549" y="35068"/>
                            <a:pt x="45755" y="52451"/>
                          </a:cubicBezTo>
                          <a:lnTo>
                            <a:pt x="43373" y="59595"/>
                          </a:lnTo>
                          <a:cubicBezTo>
                            <a:pt x="48146" y="78682"/>
                            <a:pt x="47493" y="62619"/>
                            <a:pt x="38611" y="71501"/>
                          </a:cubicBezTo>
                          <a:cubicBezTo>
                            <a:pt x="36836" y="73276"/>
                            <a:pt x="37024" y="76264"/>
                            <a:pt x="36230" y="78645"/>
                          </a:cubicBezTo>
                          <a:cubicBezTo>
                            <a:pt x="38754" y="86218"/>
                            <a:pt x="42614" y="94249"/>
                            <a:pt x="36230" y="102457"/>
                          </a:cubicBezTo>
                          <a:cubicBezTo>
                            <a:pt x="33148" y="106420"/>
                            <a:pt x="21942" y="107220"/>
                            <a:pt x="21942" y="107220"/>
                          </a:cubicBezTo>
                          <a:cubicBezTo>
                            <a:pt x="19804" y="120052"/>
                            <a:pt x="22636" y="132402"/>
                            <a:pt x="511" y="119126"/>
                          </a:cubicBezTo>
                          <a:cubicBezTo>
                            <a:pt x="-1943" y="117653"/>
                            <a:pt x="5095" y="115643"/>
                            <a:pt x="7655" y="114363"/>
                          </a:cubicBezTo>
                          <a:cubicBezTo>
                            <a:pt x="12536" y="111922"/>
                            <a:pt x="22177" y="110506"/>
                            <a:pt x="26705" y="109601"/>
                          </a:cubicBezTo>
                          <a:cubicBezTo>
                            <a:pt x="21037" y="92598"/>
                            <a:pt x="19157" y="99490"/>
                            <a:pt x="26705" y="88170"/>
                          </a:cubicBezTo>
                          <a:cubicBezTo>
                            <a:pt x="25911" y="85789"/>
                            <a:pt x="25715" y="83115"/>
                            <a:pt x="24323" y="81026"/>
                          </a:cubicBezTo>
                          <a:cubicBezTo>
                            <a:pt x="22455" y="78224"/>
                            <a:pt x="15853" y="76977"/>
                            <a:pt x="17180" y="73882"/>
                          </a:cubicBezTo>
                          <a:cubicBezTo>
                            <a:pt x="19910" y="67513"/>
                            <a:pt x="32021" y="64172"/>
                            <a:pt x="38611" y="61976"/>
                          </a:cubicBezTo>
                          <a:cubicBezTo>
                            <a:pt x="37817" y="59595"/>
                            <a:pt x="37622" y="56921"/>
                            <a:pt x="36230" y="54832"/>
                          </a:cubicBezTo>
                          <a:cubicBezTo>
                            <a:pt x="34362" y="52030"/>
                            <a:pt x="28714" y="51035"/>
                            <a:pt x="29086" y="47688"/>
                          </a:cubicBezTo>
                          <a:cubicBezTo>
                            <a:pt x="29718" y="41999"/>
                            <a:pt x="38611" y="33401"/>
                            <a:pt x="38611" y="33401"/>
                          </a:cubicBezTo>
                          <a:cubicBezTo>
                            <a:pt x="39405" y="31020"/>
                            <a:pt x="41405" y="28733"/>
                            <a:pt x="40992" y="26257"/>
                          </a:cubicBezTo>
                          <a:cubicBezTo>
                            <a:pt x="39725" y="18653"/>
                            <a:pt x="34659" y="18589"/>
                            <a:pt x="29086" y="16732"/>
                          </a:cubicBezTo>
                          <a:cubicBezTo>
                            <a:pt x="34471" y="8654"/>
                            <a:pt x="27101" y="7207"/>
                            <a:pt x="31467" y="4826"/>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69" name="Freeform: Shape 768">
                      <a:extLst>
                        <a:ext uri="{FF2B5EF4-FFF2-40B4-BE49-F238E27FC236}">
                          <a16:creationId xmlns:a16="http://schemas.microsoft.com/office/drawing/2014/main" id="{61FAF42A-A0B4-4F62-9191-FC4FB02AD6FC}"/>
                        </a:ext>
                      </a:extLst>
                    </p:cNvPr>
                    <p:cNvSpPr/>
                    <p:nvPr/>
                  </p:nvSpPr>
                  <p:spPr>
                    <a:xfrm>
                      <a:off x="2682691" y="3106317"/>
                      <a:ext cx="15265" cy="23471"/>
                    </a:xfrm>
                    <a:custGeom>
                      <a:avLst/>
                      <a:gdLst>
                        <a:gd name="connsiteX0" fmla="*/ 978 w 15265"/>
                        <a:gd name="connsiteY0" fmla="*/ 1214 h 23471"/>
                        <a:gd name="connsiteX1" fmla="*/ 3359 w 15265"/>
                        <a:gd name="connsiteY1" fmla="*/ 22646 h 23471"/>
                        <a:gd name="connsiteX2" fmla="*/ 10503 w 15265"/>
                        <a:gd name="connsiteY2" fmla="*/ 20264 h 23471"/>
                        <a:gd name="connsiteX3" fmla="*/ 15265 w 15265"/>
                        <a:gd name="connsiteY3" fmla="*/ 10739 h 23471"/>
                        <a:gd name="connsiteX4" fmla="*/ 978 w 15265"/>
                        <a:gd name="connsiteY4" fmla="*/ 1214 h 234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5" h="23471">
                          <a:moveTo>
                            <a:pt x="978" y="1214"/>
                          </a:moveTo>
                          <a:cubicBezTo>
                            <a:pt x="-1006" y="3199"/>
                            <a:pt x="144" y="16217"/>
                            <a:pt x="3359" y="22646"/>
                          </a:cubicBezTo>
                          <a:cubicBezTo>
                            <a:pt x="4482" y="24891"/>
                            <a:pt x="8728" y="22039"/>
                            <a:pt x="10503" y="20264"/>
                          </a:cubicBezTo>
                          <a:cubicBezTo>
                            <a:pt x="13013" y="17754"/>
                            <a:pt x="13678" y="13914"/>
                            <a:pt x="15265" y="10739"/>
                          </a:cubicBezTo>
                          <a:cubicBezTo>
                            <a:pt x="12114" y="-1866"/>
                            <a:pt x="2962" y="-771"/>
                            <a:pt x="978" y="121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70" name="Freeform: Shape 769">
                      <a:extLst>
                        <a:ext uri="{FF2B5EF4-FFF2-40B4-BE49-F238E27FC236}">
                          <a16:creationId xmlns:a16="http://schemas.microsoft.com/office/drawing/2014/main" id="{772E6062-0A92-4672-8422-4053C585E763}"/>
                        </a:ext>
                      </a:extLst>
                    </p:cNvPr>
                    <p:cNvSpPr/>
                    <p:nvPr/>
                  </p:nvSpPr>
                  <p:spPr>
                    <a:xfrm>
                      <a:off x="2947936" y="3009599"/>
                      <a:ext cx="28910" cy="21764"/>
                    </a:xfrm>
                    <a:custGeom>
                      <a:avLst/>
                      <a:gdLst>
                        <a:gd name="connsiteX0" fmla="*/ 52 w 28910"/>
                        <a:gd name="connsiteY0" fmla="*/ 16970 h 21764"/>
                        <a:gd name="connsiteX1" fmla="*/ 11958 w 28910"/>
                        <a:gd name="connsiteY1" fmla="*/ 21732 h 21764"/>
                        <a:gd name="connsiteX2" fmla="*/ 26245 w 28910"/>
                        <a:gd name="connsiteY2" fmla="*/ 14589 h 21764"/>
                        <a:gd name="connsiteX3" fmla="*/ 26245 w 28910"/>
                        <a:gd name="connsiteY3" fmla="*/ 301 h 21764"/>
                        <a:gd name="connsiteX4" fmla="*/ 16720 w 28910"/>
                        <a:gd name="connsiteY4" fmla="*/ 2682 h 21764"/>
                        <a:gd name="connsiteX5" fmla="*/ 52 w 28910"/>
                        <a:gd name="connsiteY5" fmla="*/ 16970 h 217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910" h="21764">
                          <a:moveTo>
                            <a:pt x="52" y="16970"/>
                          </a:moveTo>
                          <a:cubicBezTo>
                            <a:pt x="-742" y="20145"/>
                            <a:pt x="7717" y="21202"/>
                            <a:pt x="11958" y="21732"/>
                          </a:cubicBezTo>
                          <a:cubicBezTo>
                            <a:pt x="16110" y="22251"/>
                            <a:pt x="23520" y="16406"/>
                            <a:pt x="26245" y="14589"/>
                          </a:cubicBezTo>
                          <a:cubicBezTo>
                            <a:pt x="26993" y="12347"/>
                            <a:pt x="31849" y="2543"/>
                            <a:pt x="26245" y="301"/>
                          </a:cubicBezTo>
                          <a:cubicBezTo>
                            <a:pt x="23206" y="-914"/>
                            <a:pt x="19895" y="1888"/>
                            <a:pt x="16720" y="2682"/>
                          </a:cubicBezTo>
                          <a:cubicBezTo>
                            <a:pt x="11707" y="17723"/>
                            <a:pt x="846" y="13795"/>
                            <a:pt x="52" y="1697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71" name="Freeform: Shape 770">
                      <a:extLst>
                        <a:ext uri="{FF2B5EF4-FFF2-40B4-BE49-F238E27FC236}">
                          <a16:creationId xmlns:a16="http://schemas.microsoft.com/office/drawing/2014/main" id="{7EA4197E-B920-440D-B527-1EB3EBA6FA1F}"/>
                        </a:ext>
                      </a:extLst>
                    </p:cNvPr>
                    <p:cNvSpPr/>
                    <p:nvPr/>
                  </p:nvSpPr>
                  <p:spPr>
                    <a:xfrm>
                      <a:off x="2604582" y="3159425"/>
                      <a:ext cx="62418" cy="38594"/>
                    </a:xfrm>
                    <a:custGeom>
                      <a:avLst/>
                      <a:gdLst>
                        <a:gd name="connsiteX0" fmla="*/ 60037 w 62418"/>
                        <a:gd name="connsiteY0" fmla="*/ 494 h 38594"/>
                        <a:gd name="connsiteX1" fmla="*/ 48131 w 62418"/>
                        <a:gd name="connsiteY1" fmla="*/ 5256 h 38594"/>
                        <a:gd name="connsiteX2" fmla="*/ 33843 w 62418"/>
                        <a:gd name="connsiteY2" fmla="*/ 14781 h 38594"/>
                        <a:gd name="connsiteX3" fmla="*/ 26699 w 62418"/>
                        <a:gd name="connsiteY3" fmla="*/ 19544 h 38594"/>
                        <a:gd name="connsiteX4" fmla="*/ 17174 w 62418"/>
                        <a:gd name="connsiteY4" fmla="*/ 21925 h 38594"/>
                        <a:gd name="connsiteX5" fmla="*/ 10031 w 62418"/>
                        <a:gd name="connsiteY5" fmla="*/ 24306 h 38594"/>
                        <a:gd name="connsiteX6" fmla="*/ 506 w 62418"/>
                        <a:gd name="connsiteY6" fmla="*/ 36213 h 38594"/>
                        <a:gd name="connsiteX7" fmla="*/ 7649 w 62418"/>
                        <a:gd name="connsiteY7" fmla="*/ 38594 h 38594"/>
                        <a:gd name="connsiteX8" fmla="*/ 14793 w 62418"/>
                        <a:gd name="connsiteY8" fmla="*/ 36213 h 38594"/>
                        <a:gd name="connsiteX9" fmla="*/ 24318 w 62418"/>
                        <a:gd name="connsiteY9" fmla="*/ 33831 h 38594"/>
                        <a:gd name="connsiteX10" fmla="*/ 31462 w 62418"/>
                        <a:gd name="connsiteY10" fmla="*/ 29069 h 38594"/>
                        <a:gd name="connsiteX11" fmla="*/ 36224 w 62418"/>
                        <a:gd name="connsiteY11" fmla="*/ 21925 h 38594"/>
                        <a:gd name="connsiteX12" fmla="*/ 43368 w 62418"/>
                        <a:gd name="connsiteY12" fmla="*/ 19544 h 38594"/>
                        <a:gd name="connsiteX13" fmla="*/ 62418 w 62418"/>
                        <a:gd name="connsiteY13" fmla="*/ 17163 h 38594"/>
                        <a:gd name="connsiteX14" fmla="*/ 60037 w 62418"/>
                        <a:gd name="connsiteY14" fmla="*/ 494 h 3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2418" h="38594">
                          <a:moveTo>
                            <a:pt x="60037" y="494"/>
                          </a:moveTo>
                          <a:cubicBezTo>
                            <a:pt x="57656" y="-1490"/>
                            <a:pt x="51756" y="2991"/>
                            <a:pt x="48131" y="5256"/>
                          </a:cubicBezTo>
                          <a:cubicBezTo>
                            <a:pt x="27746" y="17996"/>
                            <a:pt x="52728" y="8487"/>
                            <a:pt x="33843" y="14781"/>
                          </a:cubicBezTo>
                          <a:cubicBezTo>
                            <a:pt x="31462" y="16369"/>
                            <a:pt x="29330" y="18417"/>
                            <a:pt x="26699" y="19544"/>
                          </a:cubicBezTo>
                          <a:cubicBezTo>
                            <a:pt x="23691" y="20833"/>
                            <a:pt x="20321" y="21026"/>
                            <a:pt x="17174" y="21925"/>
                          </a:cubicBezTo>
                          <a:cubicBezTo>
                            <a:pt x="14761" y="22614"/>
                            <a:pt x="12412" y="23512"/>
                            <a:pt x="10031" y="24306"/>
                          </a:cubicBezTo>
                          <a:cubicBezTo>
                            <a:pt x="7824" y="25778"/>
                            <a:pt x="-2369" y="30462"/>
                            <a:pt x="506" y="36213"/>
                          </a:cubicBezTo>
                          <a:cubicBezTo>
                            <a:pt x="1628" y="38458"/>
                            <a:pt x="5268" y="37800"/>
                            <a:pt x="7649" y="38594"/>
                          </a:cubicBezTo>
                          <a:cubicBezTo>
                            <a:pt x="10030" y="37800"/>
                            <a:pt x="12379" y="36903"/>
                            <a:pt x="14793" y="36213"/>
                          </a:cubicBezTo>
                          <a:cubicBezTo>
                            <a:pt x="17940" y="35314"/>
                            <a:pt x="21310" y="35120"/>
                            <a:pt x="24318" y="33831"/>
                          </a:cubicBezTo>
                          <a:cubicBezTo>
                            <a:pt x="26948" y="32704"/>
                            <a:pt x="29081" y="30656"/>
                            <a:pt x="31462" y="29069"/>
                          </a:cubicBezTo>
                          <a:cubicBezTo>
                            <a:pt x="33049" y="26688"/>
                            <a:pt x="33989" y="23713"/>
                            <a:pt x="36224" y="21925"/>
                          </a:cubicBezTo>
                          <a:cubicBezTo>
                            <a:pt x="38184" y="20357"/>
                            <a:pt x="40898" y="19993"/>
                            <a:pt x="43368" y="19544"/>
                          </a:cubicBezTo>
                          <a:cubicBezTo>
                            <a:pt x="49664" y="18399"/>
                            <a:pt x="56068" y="17957"/>
                            <a:pt x="62418" y="17163"/>
                          </a:cubicBezTo>
                          <a:cubicBezTo>
                            <a:pt x="59844" y="6868"/>
                            <a:pt x="62418" y="2478"/>
                            <a:pt x="60037" y="49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72" name="Freeform: Shape 771">
                      <a:extLst>
                        <a:ext uri="{FF2B5EF4-FFF2-40B4-BE49-F238E27FC236}">
                          <a16:creationId xmlns:a16="http://schemas.microsoft.com/office/drawing/2014/main" id="{470CE85A-DF27-4D43-941B-F806F588F63B}"/>
                        </a:ext>
                      </a:extLst>
                    </p:cNvPr>
                    <p:cNvSpPr/>
                    <p:nvPr/>
                  </p:nvSpPr>
                  <p:spPr>
                    <a:xfrm rot="20952696">
                      <a:off x="2673829" y="3311355"/>
                      <a:ext cx="86540" cy="100731"/>
                    </a:xfrm>
                    <a:custGeom>
                      <a:avLst/>
                      <a:gdLst>
                        <a:gd name="connsiteX0" fmla="*/ 50821 w 86540"/>
                        <a:gd name="connsiteY0" fmla="*/ 4763 h 78649"/>
                        <a:gd name="connsiteX1" fmla="*/ 36534 w 86540"/>
                        <a:gd name="connsiteY1" fmla="*/ 21431 h 78649"/>
                        <a:gd name="connsiteX2" fmla="*/ 22246 w 86540"/>
                        <a:gd name="connsiteY2" fmla="*/ 30956 h 78649"/>
                        <a:gd name="connsiteX3" fmla="*/ 7959 w 86540"/>
                        <a:gd name="connsiteY3" fmla="*/ 52388 h 78649"/>
                        <a:gd name="connsiteX4" fmla="*/ 3196 w 86540"/>
                        <a:gd name="connsiteY4" fmla="*/ 59531 h 78649"/>
                        <a:gd name="connsiteX5" fmla="*/ 3196 w 86540"/>
                        <a:gd name="connsiteY5" fmla="*/ 78581 h 78649"/>
                        <a:gd name="connsiteX6" fmla="*/ 19865 w 86540"/>
                        <a:gd name="connsiteY6" fmla="*/ 69056 h 78649"/>
                        <a:gd name="connsiteX7" fmla="*/ 27009 w 86540"/>
                        <a:gd name="connsiteY7" fmla="*/ 50006 h 78649"/>
                        <a:gd name="connsiteX8" fmla="*/ 55584 w 86540"/>
                        <a:gd name="connsiteY8" fmla="*/ 42863 h 78649"/>
                        <a:gd name="connsiteX9" fmla="*/ 62727 w 86540"/>
                        <a:gd name="connsiteY9" fmla="*/ 38100 h 78649"/>
                        <a:gd name="connsiteX10" fmla="*/ 72252 w 86540"/>
                        <a:gd name="connsiteY10" fmla="*/ 50006 h 78649"/>
                        <a:gd name="connsiteX11" fmla="*/ 77015 w 86540"/>
                        <a:gd name="connsiteY11" fmla="*/ 35719 h 78649"/>
                        <a:gd name="connsiteX12" fmla="*/ 86540 w 86540"/>
                        <a:gd name="connsiteY12" fmla="*/ 21431 h 78649"/>
                        <a:gd name="connsiteX13" fmla="*/ 77015 w 86540"/>
                        <a:gd name="connsiteY13" fmla="*/ 9525 h 78649"/>
                        <a:gd name="connsiteX14" fmla="*/ 74634 w 86540"/>
                        <a:gd name="connsiteY14" fmla="*/ 0 h 78649"/>
                        <a:gd name="connsiteX15" fmla="*/ 60346 w 86540"/>
                        <a:gd name="connsiteY15" fmla="*/ 2381 h 78649"/>
                        <a:gd name="connsiteX16" fmla="*/ 48440 w 86540"/>
                        <a:gd name="connsiteY16" fmla="*/ 16669 h 78649"/>
                        <a:gd name="connsiteX17" fmla="*/ 41296 w 86540"/>
                        <a:gd name="connsiteY17" fmla="*/ 21431 h 78649"/>
                        <a:gd name="connsiteX18" fmla="*/ 50821 w 86540"/>
                        <a:gd name="connsiteY18" fmla="*/ 4763 h 78649"/>
                        <a:gd name="connsiteX0" fmla="*/ 50821 w 86540"/>
                        <a:gd name="connsiteY0" fmla="*/ 4763 h 78649"/>
                        <a:gd name="connsiteX1" fmla="*/ 36534 w 86540"/>
                        <a:gd name="connsiteY1" fmla="*/ 21431 h 78649"/>
                        <a:gd name="connsiteX2" fmla="*/ 22246 w 86540"/>
                        <a:gd name="connsiteY2" fmla="*/ 30956 h 78649"/>
                        <a:gd name="connsiteX3" fmla="*/ 7959 w 86540"/>
                        <a:gd name="connsiteY3" fmla="*/ 52388 h 78649"/>
                        <a:gd name="connsiteX4" fmla="*/ 3196 w 86540"/>
                        <a:gd name="connsiteY4" fmla="*/ 59531 h 78649"/>
                        <a:gd name="connsiteX5" fmla="*/ 3196 w 86540"/>
                        <a:gd name="connsiteY5" fmla="*/ 78581 h 78649"/>
                        <a:gd name="connsiteX6" fmla="*/ 19865 w 86540"/>
                        <a:gd name="connsiteY6" fmla="*/ 69056 h 78649"/>
                        <a:gd name="connsiteX7" fmla="*/ 27009 w 86540"/>
                        <a:gd name="connsiteY7" fmla="*/ 50006 h 78649"/>
                        <a:gd name="connsiteX8" fmla="*/ 55584 w 86540"/>
                        <a:gd name="connsiteY8" fmla="*/ 42863 h 78649"/>
                        <a:gd name="connsiteX9" fmla="*/ 62727 w 86540"/>
                        <a:gd name="connsiteY9" fmla="*/ 38100 h 78649"/>
                        <a:gd name="connsiteX10" fmla="*/ 77015 w 86540"/>
                        <a:gd name="connsiteY10" fmla="*/ 35719 h 78649"/>
                        <a:gd name="connsiteX11" fmla="*/ 86540 w 86540"/>
                        <a:gd name="connsiteY11" fmla="*/ 21431 h 78649"/>
                        <a:gd name="connsiteX12" fmla="*/ 77015 w 86540"/>
                        <a:gd name="connsiteY12" fmla="*/ 9525 h 78649"/>
                        <a:gd name="connsiteX13" fmla="*/ 74634 w 86540"/>
                        <a:gd name="connsiteY13" fmla="*/ 0 h 78649"/>
                        <a:gd name="connsiteX14" fmla="*/ 60346 w 86540"/>
                        <a:gd name="connsiteY14" fmla="*/ 2381 h 78649"/>
                        <a:gd name="connsiteX15" fmla="*/ 48440 w 86540"/>
                        <a:gd name="connsiteY15" fmla="*/ 16669 h 78649"/>
                        <a:gd name="connsiteX16" fmla="*/ 41296 w 86540"/>
                        <a:gd name="connsiteY16" fmla="*/ 21431 h 78649"/>
                        <a:gd name="connsiteX17" fmla="*/ 50821 w 86540"/>
                        <a:gd name="connsiteY17" fmla="*/ 4763 h 786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540" h="78649">
                          <a:moveTo>
                            <a:pt x="50821" y="4763"/>
                          </a:moveTo>
                          <a:cubicBezTo>
                            <a:pt x="50027" y="4763"/>
                            <a:pt x="50585" y="13001"/>
                            <a:pt x="36534" y="21431"/>
                          </a:cubicBezTo>
                          <a:cubicBezTo>
                            <a:pt x="31626" y="24376"/>
                            <a:pt x="22246" y="30956"/>
                            <a:pt x="22246" y="30956"/>
                          </a:cubicBezTo>
                          <a:lnTo>
                            <a:pt x="7959" y="52388"/>
                          </a:lnTo>
                          <a:lnTo>
                            <a:pt x="3196" y="59531"/>
                          </a:lnTo>
                          <a:cubicBezTo>
                            <a:pt x="1713" y="63980"/>
                            <a:pt x="-3189" y="74750"/>
                            <a:pt x="3196" y="78581"/>
                          </a:cubicBezTo>
                          <a:cubicBezTo>
                            <a:pt x="4787" y="79536"/>
                            <a:pt x="18229" y="70147"/>
                            <a:pt x="19865" y="69056"/>
                          </a:cubicBezTo>
                          <a:cubicBezTo>
                            <a:pt x="20826" y="64252"/>
                            <a:pt x="21402" y="53510"/>
                            <a:pt x="27009" y="50006"/>
                          </a:cubicBezTo>
                          <a:cubicBezTo>
                            <a:pt x="33870" y="45718"/>
                            <a:pt x="47893" y="44145"/>
                            <a:pt x="55584" y="42863"/>
                          </a:cubicBezTo>
                          <a:cubicBezTo>
                            <a:pt x="57965" y="41275"/>
                            <a:pt x="59155" y="39291"/>
                            <a:pt x="62727" y="38100"/>
                          </a:cubicBezTo>
                          <a:cubicBezTo>
                            <a:pt x="66299" y="36909"/>
                            <a:pt x="73046" y="38497"/>
                            <a:pt x="77015" y="35719"/>
                          </a:cubicBezTo>
                          <a:cubicBezTo>
                            <a:pt x="80984" y="32941"/>
                            <a:pt x="83365" y="26194"/>
                            <a:pt x="86540" y="21431"/>
                          </a:cubicBezTo>
                          <a:cubicBezTo>
                            <a:pt x="78756" y="-1921"/>
                            <a:pt x="91376" y="31068"/>
                            <a:pt x="77015" y="9525"/>
                          </a:cubicBezTo>
                          <a:cubicBezTo>
                            <a:pt x="75200" y="6802"/>
                            <a:pt x="75428" y="3175"/>
                            <a:pt x="74634" y="0"/>
                          </a:cubicBezTo>
                          <a:cubicBezTo>
                            <a:pt x="69871" y="794"/>
                            <a:pt x="64758" y="420"/>
                            <a:pt x="60346" y="2381"/>
                          </a:cubicBezTo>
                          <a:cubicBezTo>
                            <a:pt x="53322" y="5503"/>
                            <a:pt x="53248" y="11861"/>
                            <a:pt x="48440" y="16669"/>
                          </a:cubicBezTo>
                          <a:cubicBezTo>
                            <a:pt x="46416" y="18693"/>
                            <a:pt x="43531" y="19643"/>
                            <a:pt x="41296" y="21431"/>
                          </a:cubicBezTo>
                          <a:cubicBezTo>
                            <a:pt x="39543" y="22833"/>
                            <a:pt x="51615" y="4763"/>
                            <a:pt x="50821" y="476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73" name="Freeform: Shape 772">
                      <a:extLst>
                        <a:ext uri="{FF2B5EF4-FFF2-40B4-BE49-F238E27FC236}">
                          <a16:creationId xmlns:a16="http://schemas.microsoft.com/office/drawing/2014/main" id="{4AB5F16C-8A2F-49F4-9A8F-224C7431342A}"/>
                        </a:ext>
                      </a:extLst>
                    </p:cNvPr>
                    <p:cNvSpPr/>
                    <p:nvPr/>
                  </p:nvSpPr>
                  <p:spPr>
                    <a:xfrm>
                      <a:off x="2683669" y="3164669"/>
                      <a:ext cx="41758" cy="43795"/>
                    </a:xfrm>
                    <a:custGeom>
                      <a:avLst/>
                      <a:gdLst>
                        <a:gd name="connsiteX0" fmla="*/ 40481 w 41758"/>
                        <a:gd name="connsiteY0" fmla="*/ 2394 h 43795"/>
                        <a:gd name="connsiteX1" fmla="*/ 16669 w 41758"/>
                        <a:gd name="connsiteY1" fmla="*/ 4775 h 43795"/>
                        <a:gd name="connsiteX2" fmla="*/ 11906 w 41758"/>
                        <a:gd name="connsiteY2" fmla="*/ 14300 h 43795"/>
                        <a:gd name="connsiteX3" fmla="*/ 21431 w 41758"/>
                        <a:gd name="connsiteY3" fmla="*/ 16681 h 43795"/>
                        <a:gd name="connsiteX4" fmla="*/ 14287 w 41758"/>
                        <a:gd name="connsiteY4" fmla="*/ 19062 h 43795"/>
                        <a:gd name="connsiteX5" fmla="*/ 0 w 41758"/>
                        <a:gd name="connsiteY5" fmla="*/ 30969 h 43795"/>
                        <a:gd name="connsiteX6" fmla="*/ 2381 w 41758"/>
                        <a:gd name="connsiteY6" fmla="*/ 42875 h 43795"/>
                        <a:gd name="connsiteX7" fmla="*/ 16669 w 41758"/>
                        <a:gd name="connsiteY7" fmla="*/ 40494 h 43795"/>
                        <a:gd name="connsiteX8" fmla="*/ 28575 w 41758"/>
                        <a:gd name="connsiteY8" fmla="*/ 23825 h 43795"/>
                        <a:gd name="connsiteX9" fmla="*/ 30956 w 41758"/>
                        <a:gd name="connsiteY9" fmla="*/ 16681 h 43795"/>
                        <a:gd name="connsiteX10" fmla="*/ 38100 w 41758"/>
                        <a:gd name="connsiteY10" fmla="*/ 14300 h 43795"/>
                        <a:gd name="connsiteX11" fmla="*/ 40481 w 41758"/>
                        <a:gd name="connsiteY11" fmla="*/ 2394 h 437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1758" h="43795">
                          <a:moveTo>
                            <a:pt x="40481" y="2394"/>
                          </a:moveTo>
                          <a:cubicBezTo>
                            <a:pt x="36909" y="806"/>
                            <a:pt x="24580" y="-3136"/>
                            <a:pt x="16669" y="4775"/>
                          </a:cubicBezTo>
                          <a:cubicBezTo>
                            <a:pt x="14159" y="7285"/>
                            <a:pt x="13494" y="11125"/>
                            <a:pt x="11906" y="14300"/>
                          </a:cubicBezTo>
                          <a:cubicBezTo>
                            <a:pt x="15081" y="15094"/>
                            <a:pt x="19967" y="13754"/>
                            <a:pt x="21431" y="16681"/>
                          </a:cubicBezTo>
                          <a:cubicBezTo>
                            <a:pt x="22554" y="18926"/>
                            <a:pt x="16532" y="17939"/>
                            <a:pt x="14287" y="19062"/>
                          </a:cubicBezTo>
                          <a:cubicBezTo>
                            <a:pt x="7659" y="22376"/>
                            <a:pt x="5264" y="25705"/>
                            <a:pt x="0" y="30969"/>
                          </a:cubicBezTo>
                          <a:cubicBezTo>
                            <a:pt x="794" y="34938"/>
                            <a:pt x="-1133" y="40867"/>
                            <a:pt x="2381" y="42875"/>
                          </a:cubicBezTo>
                          <a:cubicBezTo>
                            <a:pt x="6573" y="45271"/>
                            <a:pt x="12257" y="42455"/>
                            <a:pt x="16669" y="40494"/>
                          </a:cubicBezTo>
                          <a:cubicBezTo>
                            <a:pt x="22432" y="37933"/>
                            <a:pt x="26406" y="28885"/>
                            <a:pt x="28575" y="23825"/>
                          </a:cubicBezTo>
                          <a:cubicBezTo>
                            <a:pt x="29564" y="21518"/>
                            <a:pt x="29181" y="18456"/>
                            <a:pt x="30956" y="16681"/>
                          </a:cubicBezTo>
                          <a:cubicBezTo>
                            <a:pt x="32731" y="14906"/>
                            <a:pt x="35855" y="15422"/>
                            <a:pt x="38100" y="14300"/>
                          </a:cubicBezTo>
                          <a:cubicBezTo>
                            <a:pt x="39104" y="13798"/>
                            <a:pt x="44053" y="3982"/>
                            <a:pt x="40481" y="239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74" name="Freeform: Shape 773">
                      <a:extLst>
                        <a:ext uri="{FF2B5EF4-FFF2-40B4-BE49-F238E27FC236}">
                          <a16:creationId xmlns:a16="http://schemas.microsoft.com/office/drawing/2014/main" id="{37A5BF28-F1BB-441F-87B5-40F21FE8EF0A}"/>
                        </a:ext>
                      </a:extLst>
                    </p:cNvPr>
                    <p:cNvSpPr/>
                    <p:nvPr/>
                  </p:nvSpPr>
                  <p:spPr>
                    <a:xfrm>
                      <a:off x="2620652" y="3270351"/>
                      <a:ext cx="104775" cy="90487"/>
                    </a:xfrm>
                    <a:custGeom>
                      <a:avLst/>
                      <a:gdLst>
                        <a:gd name="connsiteX0" fmla="*/ 21431 w 104775"/>
                        <a:gd name="connsiteY0" fmla="*/ 38100 h 90487"/>
                        <a:gd name="connsiteX1" fmla="*/ 7144 w 104775"/>
                        <a:gd name="connsiteY1" fmla="*/ 42862 h 90487"/>
                        <a:gd name="connsiteX2" fmla="*/ 0 w 104775"/>
                        <a:gd name="connsiteY2" fmla="*/ 61912 h 90487"/>
                        <a:gd name="connsiteX3" fmla="*/ 7144 w 104775"/>
                        <a:gd name="connsiteY3" fmla="*/ 66675 h 90487"/>
                        <a:gd name="connsiteX4" fmla="*/ 14288 w 104775"/>
                        <a:gd name="connsiteY4" fmla="*/ 61912 h 90487"/>
                        <a:gd name="connsiteX5" fmla="*/ 23813 w 104775"/>
                        <a:gd name="connsiteY5" fmla="*/ 90487 h 90487"/>
                        <a:gd name="connsiteX6" fmla="*/ 35719 w 104775"/>
                        <a:gd name="connsiteY6" fmla="*/ 88106 h 90487"/>
                        <a:gd name="connsiteX7" fmla="*/ 42863 w 104775"/>
                        <a:gd name="connsiteY7" fmla="*/ 85725 h 90487"/>
                        <a:gd name="connsiteX8" fmla="*/ 52388 w 104775"/>
                        <a:gd name="connsiteY8" fmla="*/ 71437 h 90487"/>
                        <a:gd name="connsiteX9" fmla="*/ 54769 w 104775"/>
                        <a:gd name="connsiteY9" fmla="*/ 64294 h 90487"/>
                        <a:gd name="connsiteX10" fmla="*/ 69056 w 104775"/>
                        <a:gd name="connsiteY10" fmla="*/ 50006 h 90487"/>
                        <a:gd name="connsiteX11" fmla="*/ 71438 w 104775"/>
                        <a:gd name="connsiteY11" fmla="*/ 42862 h 90487"/>
                        <a:gd name="connsiteX12" fmla="*/ 88106 w 104775"/>
                        <a:gd name="connsiteY12" fmla="*/ 38100 h 90487"/>
                        <a:gd name="connsiteX13" fmla="*/ 100013 w 104775"/>
                        <a:gd name="connsiteY13" fmla="*/ 16669 h 90487"/>
                        <a:gd name="connsiteX14" fmla="*/ 102394 w 104775"/>
                        <a:gd name="connsiteY14" fmla="*/ 9525 h 90487"/>
                        <a:gd name="connsiteX15" fmla="*/ 104775 w 104775"/>
                        <a:gd name="connsiteY15" fmla="*/ 2381 h 90487"/>
                        <a:gd name="connsiteX16" fmla="*/ 97631 w 104775"/>
                        <a:gd name="connsiteY16" fmla="*/ 0 h 90487"/>
                        <a:gd name="connsiteX17" fmla="*/ 76200 w 104775"/>
                        <a:gd name="connsiteY17" fmla="*/ 11906 h 90487"/>
                        <a:gd name="connsiteX18" fmla="*/ 69056 w 104775"/>
                        <a:gd name="connsiteY18" fmla="*/ 14287 h 90487"/>
                        <a:gd name="connsiteX19" fmla="*/ 47625 w 104775"/>
                        <a:gd name="connsiteY19" fmla="*/ 30956 h 90487"/>
                        <a:gd name="connsiteX20" fmla="*/ 33338 w 104775"/>
                        <a:gd name="connsiteY20" fmla="*/ 35719 h 90487"/>
                        <a:gd name="connsiteX21" fmla="*/ 21431 w 104775"/>
                        <a:gd name="connsiteY21" fmla="*/ 38100 h 90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4775" h="90487">
                          <a:moveTo>
                            <a:pt x="21431" y="38100"/>
                          </a:moveTo>
                          <a:cubicBezTo>
                            <a:pt x="16669" y="39687"/>
                            <a:pt x="11401" y="40201"/>
                            <a:pt x="7144" y="42862"/>
                          </a:cubicBezTo>
                          <a:cubicBezTo>
                            <a:pt x="1537" y="46366"/>
                            <a:pt x="961" y="57108"/>
                            <a:pt x="0" y="61912"/>
                          </a:cubicBezTo>
                          <a:cubicBezTo>
                            <a:pt x="2381" y="63500"/>
                            <a:pt x="4282" y="66675"/>
                            <a:pt x="7144" y="66675"/>
                          </a:cubicBezTo>
                          <a:cubicBezTo>
                            <a:pt x="10006" y="66675"/>
                            <a:pt x="13126" y="59297"/>
                            <a:pt x="14288" y="61912"/>
                          </a:cubicBezTo>
                          <a:cubicBezTo>
                            <a:pt x="28805" y="94575"/>
                            <a:pt x="4942" y="84198"/>
                            <a:pt x="23813" y="90487"/>
                          </a:cubicBezTo>
                          <a:cubicBezTo>
                            <a:pt x="27782" y="89693"/>
                            <a:pt x="31793" y="89088"/>
                            <a:pt x="35719" y="88106"/>
                          </a:cubicBezTo>
                          <a:cubicBezTo>
                            <a:pt x="38154" y="87497"/>
                            <a:pt x="41088" y="87500"/>
                            <a:pt x="42863" y="85725"/>
                          </a:cubicBezTo>
                          <a:cubicBezTo>
                            <a:pt x="46910" y="81678"/>
                            <a:pt x="52388" y="71437"/>
                            <a:pt x="52388" y="71437"/>
                          </a:cubicBezTo>
                          <a:cubicBezTo>
                            <a:pt x="53182" y="69056"/>
                            <a:pt x="53228" y="66275"/>
                            <a:pt x="54769" y="64294"/>
                          </a:cubicBezTo>
                          <a:cubicBezTo>
                            <a:pt x="58904" y="58977"/>
                            <a:pt x="69056" y="50006"/>
                            <a:pt x="69056" y="50006"/>
                          </a:cubicBezTo>
                          <a:cubicBezTo>
                            <a:pt x="69850" y="47625"/>
                            <a:pt x="69663" y="44637"/>
                            <a:pt x="71438" y="42862"/>
                          </a:cubicBezTo>
                          <a:cubicBezTo>
                            <a:pt x="72577" y="41723"/>
                            <a:pt x="88024" y="38121"/>
                            <a:pt x="88106" y="38100"/>
                          </a:cubicBezTo>
                          <a:cubicBezTo>
                            <a:pt x="98799" y="27407"/>
                            <a:pt x="94186" y="34150"/>
                            <a:pt x="100013" y="16669"/>
                          </a:cubicBezTo>
                          <a:lnTo>
                            <a:pt x="102394" y="9525"/>
                          </a:lnTo>
                          <a:lnTo>
                            <a:pt x="104775" y="2381"/>
                          </a:lnTo>
                          <a:cubicBezTo>
                            <a:pt x="102394" y="1587"/>
                            <a:pt x="100141" y="0"/>
                            <a:pt x="97631" y="0"/>
                          </a:cubicBezTo>
                          <a:cubicBezTo>
                            <a:pt x="90451" y="0"/>
                            <a:pt x="80277" y="10547"/>
                            <a:pt x="76200" y="11906"/>
                          </a:cubicBezTo>
                          <a:lnTo>
                            <a:pt x="69056" y="14287"/>
                          </a:lnTo>
                          <a:cubicBezTo>
                            <a:pt x="62891" y="20453"/>
                            <a:pt x="56173" y="28106"/>
                            <a:pt x="47625" y="30956"/>
                          </a:cubicBezTo>
                          <a:cubicBezTo>
                            <a:pt x="42863" y="32544"/>
                            <a:pt x="38208" y="34502"/>
                            <a:pt x="33338" y="35719"/>
                          </a:cubicBezTo>
                          <a:lnTo>
                            <a:pt x="21431" y="38100"/>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75" name="Freeform: Shape 774">
                      <a:extLst>
                        <a:ext uri="{FF2B5EF4-FFF2-40B4-BE49-F238E27FC236}">
                          <a16:creationId xmlns:a16="http://schemas.microsoft.com/office/drawing/2014/main" id="{FB00C91B-A9A4-4747-8326-43BD1796D77F}"/>
                        </a:ext>
                      </a:extLst>
                    </p:cNvPr>
                    <p:cNvSpPr/>
                    <p:nvPr/>
                  </p:nvSpPr>
                  <p:spPr>
                    <a:xfrm>
                      <a:off x="2664619" y="3226541"/>
                      <a:ext cx="29019" cy="21484"/>
                    </a:xfrm>
                    <a:custGeom>
                      <a:avLst/>
                      <a:gdLst>
                        <a:gd name="connsiteX0" fmla="*/ 28575 w 29019"/>
                        <a:gd name="connsiteY0" fmla="*/ 53 h 21484"/>
                        <a:gd name="connsiteX1" fmla="*/ 16669 w 29019"/>
                        <a:gd name="connsiteY1" fmla="*/ 9578 h 21484"/>
                        <a:gd name="connsiteX2" fmla="*/ 0 w 29019"/>
                        <a:gd name="connsiteY2" fmla="*/ 19103 h 21484"/>
                        <a:gd name="connsiteX3" fmla="*/ 7144 w 29019"/>
                        <a:gd name="connsiteY3" fmla="*/ 21484 h 21484"/>
                        <a:gd name="connsiteX4" fmla="*/ 21431 w 29019"/>
                        <a:gd name="connsiteY4" fmla="*/ 14340 h 21484"/>
                        <a:gd name="connsiteX5" fmla="*/ 28575 w 29019"/>
                        <a:gd name="connsiteY5" fmla="*/ 53 h 214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9019" h="21484">
                          <a:moveTo>
                            <a:pt x="28575" y="53"/>
                          </a:moveTo>
                          <a:cubicBezTo>
                            <a:pt x="27781" y="-741"/>
                            <a:pt x="21296" y="7475"/>
                            <a:pt x="16669" y="9578"/>
                          </a:cubicBezTo>
                          <a:cubicBezTo>
                            <a:pt x="-1991" y="18059"/>
                            <a:pt x="4893" y="4421"/>
                            <a:pt x="0" y="19103"/>
                          </a:cubicBezTo>
                          <a:cubicBezTo>
                            <a:pt x="2381" y="19897"/>
                            <a:pt x="4634" y="21484"/>
                            <a:pt x="7144" y="21484"/>
                          </a:cubicBezTo>
                          <a:cubicBezTo>
                            <a:pt x="13129" y="21484"/>
                            <a:pt x="16615" y="16748"/>
                            <a:pt x="21431" y="14340"/>
                          </a:cubicBezTo>
                          <a:cubicBezTo>
                            <a:pt x="30081" y="10015"/>
                            <a:pt x="29369" y="847"/>
                            <a:pt x="28575" y="5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76" name="Freeform: Shape 775">
                      <a:extLst>
                        <a:ext uri="{FF2B5EF4-FFF2-40B4-BE49-F238E27FC236}">
                          <a16:creationId xmlns:a16="http://schemas.microsoft.com/office/drawing/2014/main" id="{6121B582-D41F-426D-B88F-ED8558D78DF3}"/>
                        </a:ext>
                      </a:extLst>
                    </p:cNvPr>
                    <p:cNvSpPr/>
                    <p:nvPr/>
                  </p:nvSpPr>
                  <p:spPr>
                    <a:xfrm>
                      <a:off x="2785979" y="3548063"/>
                      <a:ext cx="14371" cy="14655"/>
                    </a:xfrm>
                    <a:custGeom>
                      <a:avLst/>
                      <a:gdLst>
                        <a:gd name="connsiteX0" fmla="*/ 4846 w 14371"/>
                        <a:gd name="connsiteY0" fmla="*/ 0 h 14655"/>
                        <a:gd name="connsiteX1" fmla="*/ 84 w 14371"/>
                        <a:gd name="connsiteY1" fmla="*/ 11906 h 14655"/>
                        <a:gd name="connsiteX2" fmla="*/ 14371 w 14371"/>
                        <a:gd name="connsiteY2" fmla="*/ 11906 h 14655"/>
                        <a:gd name="connsiteX3" fmla="*/ 4846 w 14371"/>
                        <a:gd name="connsiteY3" fmla="*/ 0 h 14655"/>
                      </a:gdLst>
                      <a:ahLst/>
                      <a:cxnLst>
                        <a:cxn ang="0">
                          <a:pos x="connsiteX0" y="connsiteY0"/>
                        </a:cxn>
                        <a:cxn ang="0">
                          <a:pos x="connsiteX1" y="connsiteY1"/>
                        </a:cxn>
                        <a:cxn ang="0">
                          <a:pos x="connsiteX2" y="connsiteY2"/>
                        </a:cxn>
                        <a:cxn ang="0">
                          <a:pos x="connsiteX3" y="connsiteY3"/>
                        </a:cxn>
                      </a:cxnLst>
                      <a:rect l="l" t="t" r="r" b="b"/>
                      <a:pathLst>
                        <a:path w="14371" h="14655">
                          <a:moveTo>
                            <a:pt x="4846" y="0"/>
                          </a:moveTo>
                          <a:cubicBezTo>
                            <a:pt x="3259" y="3969"/>
                            <a:pt x="-619" y="7690"/>
                            <a:pt x="84" y="11906"/>
                          </a:cubicBezTo>
                          <a:cubicBezTo>
                            <a:pt x="1086" y="17921"/>
                            <a:pt x="13369" y="12240"/>
                            <a:pt x="14371" y="11906"/>
                          </a:cubicBezTo>
                          <a:lnTo>
                            <a:pt x="4846" y="0"/>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77" name="Freeform: Shape 776">
                      <a:extLst>
                        <a:ext uri="{FF2B5EF4-FFF2-40B4-BE49-F238E27FC236}">
                          <a16:creationId xmlns:a16="http://schemas.microsoft.com/office/drawing/2014/main" id="{C176F68E-5A0E-4A71-895D-71AE1F8D39E3}"/>
                        </a:ext>
                      </a:extLst>
                    </p:cNvPr>
                    <p:cNvSpPr/>
                    <p:nvPr/>
                  </p:nvSpPr>
                  <p:spPr>
                    <a:xfrm>
                      <a:off x="3302794" y="2528827"/>
                      <a:ext cx="28575" cy="37667"/>
                    </a:xfrm>
                    <a:custGeom>
                      <a:avLst/>
                      <a:gdLst>
                        <a:gd name="connsiteX0" fmla="*/ 23812 w 28575"/>
                        <a:gd name="connsiteY0" fmla="*/ 61 h 37667"/>
                        <a:gd name="connsiteX1" fmla="*/ 14287 w 28575"/>
                        <a:gd name="connsiteY1" fmla="*/ 19111 h 37667"/>
                        <a:gd name="connsiteX2" fmla="*/ 0 w 28575"/>
                        <a:gd name="connsiteY2" fmla="*/ 28636 h 37667"/>
                        <a:gd name="connsiteX3" fmla="*/ 4762 w 28575"/>
                        <a:gd name="connsiteY3" fmla="*/ 35779 h 37667"/>
                        <a:gd name="connsiteX4" fmla="*/ 28575 w 28575"/>
                        <a:gd name="connsiteY4" fmla="*/ 26254 h 37667"/>
                        <a:gd name="connsiteX5" fmla="*/ 23812 w 28575"/>
                        <a:gd name="connsiteY5" fmla="*/ 61 h 37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8575" h="37667">
                          <a:moveTo>
                            <a:pt x="23812" y="61"/>
                          </a:moveTo>
                          <a:cubicBezTo>
                            <a:pt x="21431" y="-1129"/>
                            <a:pt x="18678" y="15269"/>
                            <a:pt x="14287" y="19111"/>
                          </a:cubicBezTo>
                          <a:cubicBezTo>
                            <a:pt x="9980" y="22880"/>
                            <a:pt x="0" y="28636"/>
                            <a:pt x="0" y="28636"/>
                          </a:cubicBezTo>
                          <a:cubicBezTo>
                            <a:pt x="1587" y="31017"/>
                            <a:pt x="1947" y="35267"/>
                            <a:pt x="4762" y="35779"/>
                          </a:cubicBezTo>
                          <a:cubicBezTo>
                            <a:pt x="26487" y="39728"/>
                            <a:pt x="24690" y="37910"/>
                            <a:pt x="28575" y="26254"/>
                          </a:cubicBezTo>
                          <a:cubicBezTo>
                            <a:pt x="24688" y="14593"/>
                            <a:pt x="26193" y="1251"/>
                            <a:pt x="23812" y="61"/>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78" name="Freeform: Shape 777">
                      <a:extLst>
                        <a:ext uri="{FF2B5EF4-FFF2-40B4-BE49-F238E27FC236}">
                          <a16:creationId xmlns:a16="http://schemas.microsoft.com/office/drawing/2014/main" id="{89332354-0E40-4895-83F6-1C0C16880CB4}"/>
                        </a:ext>
                      </a:extLst>
                    </p:cNvPr>
                    <p:cNvSpPr/>
                    <p:nvPr/>
                  </p:nvSpPr>
                  <p:spPr>
                    <a:xfrm>
                      <a:off x="3248025" y="2590800"/>
                      <a:ext cx="66675" cy="107156"/>
                    </a:xfrm>
                    <a:custGeom>
                      <a:avLst/>
                      <a:gdLst>
                        <a:gd name="connsiteX0" fmla="*/ 23813 w 66675"/>
                        <a:gd name="connsiteY0" fmla="*/ 23813 h 107156"/>
                        <a:gd name="connsiteX1" fmla="*/ 11906 w 66675"/>
                        <a:gd name="connsiteY1" fmla="*/ 28575 h 107156"/>
                        <a:gd name="connsiteX2" fmla="*/ 0 w 66675"/>
                        <a:gd name="connsiteY2" fmla="*/ 30956 h 107156"/>
                        <a:gd name="connsiteX3" fmla="*/ 9525 w 66675"/>
                        <a:gd name="connsiteY3" fmla="*/ 40481 h 107156"/>
                        <a:gd name="connsiteX4" fmla="*/ 16669 w 66675"/>
                        <a:gd name="connsiteY4" fmla="*/ 45244 h 107156"/>
                        <a:gd name="connsiteX5" fmla="*/ 23813 w 66675"/>
                        <a:gd name="connsiteY5" fmla="*/ 47625 h 107156"/>
                        <a:gd name="connsiteX6" fmla="*/ 26194 w 66675"/>
                        <a:gd name="connsiteY6" fmla="*/ 54769 h 107156"/>
                        <a:gd name="connsiteX7" fmla="*/ 23813 w 66675"/>
                        <a:gd name="connsiteY7" fmla="*/ 76200 h 107156"/>
                        <a:gd name="connsiteX8" fmla="*/ 21431 w 66675"/>
                        <a:gd name="connsiteY8" fmla="*/ 83344 h 107156"/>
                        <a:gd name="connsiteX9" fmla="*/ 14288 w 66675"/>
                        <a:gd name="connsiteY9" fmla="*/ 88106 h 107156"/>
                        <a:gd name="connsiteX10" fmla="*/ 9525 w 66675"/>
                        <a:gd name="connsiteY10" fmla="*/ 95250 h 107156"/>
                        <a:gd name="connsiteX11" fmla="*/ 19050 w 66675"/>
                        <a:gd name="connsiteY11" fmla="*/ 107156 h 107156"/>
                        <a:gd name="connsiteX12" fmla="*/ 21431 w 66675"/>
                        <a:gd name="connsiteY12" fmla="*/ 100013 h 107156"/>
                        <a:gd name="connsiteX13" fmla="*/ 23813 w 66675"/>
                        <a:gd name="connsiteY13" fmla="*/ 73819 h 107156"/>
                        <a:gd name="connsiteX14" fmla="*/ 33338 w 66675"/>
                        <a:gd name="connsiteY14" fmla="*/ 71438 h 107156"/>
                        <a:gd name="connsiteX15" fmla="*/ 45244 w 66675"/>
                        <a:gd name="connsiteY15" fmla="*/ 59531 h 107156"/>
                        <a:gd name="connsiteX16" fmla="*/ 40481 w 66675"/>
                        <a:gd name="connsiteY16" fmla="*/ 45244 h 107156"/>
                        <a:gd name="connsiteX17" fmla="*/ 42863 w 66675"/>
                        <a:gd name="connsiteY17" fmla="*/ 33338 h 107156"/>
                        <a:gd name="connsiteX18" fmla="*/ 45244 w 66675"/>
                        <a:gd name="connsiteY18" fmla="*/ 26194 h 107156"/>
                        <a:gd name="connsiteX19" fmla="*/ 52388 w 66675"/>
                        <a:gd name="connsiteY19" fmla="*/ 23813 h 107156"/>
                        <a:gd name="connsiteX20" fmla="*/ 66675 w 66675"/>
                        <a:gd name="connsiteY20" fmla="*/ 11906 h 107156"/>
                        <a:gd name="connsiteX21" fmla="*/ 59531 w 66675"/>
                        <a:gd name="connsiteY21" fmla="*/ 9525 h 107156"/>
                        <a:gd name="connsiteX22" fmla="*/ 45244 w 66675"/>
                        <a:gd name="connsiteY22" fmla="*/ 0 h 107156"/>
                        <a:gd name="connsiteX23" fmla="*/ 35719 w 66675"/>
                        <a:gd name="connsiteY23" fmla="*/ 2381 h 107156"/>
                        <a:gd name="connsiteX24" fmla="*/ 21431 w 66675"/>
                        <a:gd name="connsiteY24" fmla="*/ 11906 h 107156"/>
                        <a:gd name="connsiteX25" fmla="*/ 11906 w 66675"/>
                        <a:gd name="connsiteY25" fmla="*/ 21431 h 107156"/>
                        <a:gd name="connsiteX26" fmla="*/ 23813 w 66675"/>
                        <a:gd name="connsiteY26" fmla="*/ 23813 h 1071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66675" h="107156">
                          <a:moveTo>
                            <a:pt x="23813" y="23813"/>
                          </a:moveTo>
                          <a:cubicBezTo>
                            <a:pt x="23813" y="25004"/>
                            <a:pt x="16000" y="27347"/>
                            <a:pt x="11906" y="28575"/>
                          </a:cubicBezTo>
                          <a:cubicBezTo>
                            <a:pt x="8029" y="29738"/>
                            <a:pt x="2862" y="28094"/>
                            <a:pt x="0" y="30956"/>
                          </a:cubicBezTo>
                          <a:lnTo>
                            <a:pt x="9525" y="40481"/>
                          </a:lnTo>
                          <a:cubicBezTo>
                            <a:pt x="11906" y="42069"/>
                            <a:pt x="14109" y="43964"/>
                            <a:pt x="16669" y="45244"/>
                          </a:cubicBezTo>
                          <a:cubicBezTo>
                            <a:pt x="18914" y="46367"/>
                            <a:pt x="22038" y="45850"/>
                            <a:pt x="23813" y="47625"/>
                          </a:cubicBezTo>
                          <a:cubicBezTo>
                            <a:pt x="25588" y="49400"/>
                            <a:pt x="25400" y="52388"/>
                            <a:pt x="26194" y="54769"/>
                          </a:cubicBezTo>
                          <a:cubicBezTo>
                            <a:pt x="25400" y="61913"/>
                            <a:pt x="24995" y="69110"/>
                            <a:pt x="23813" y="76200"/>
                          </a:cubicBezTo>
                          <a:cubicBezTo>
                            <a:pt x="23400" y="78676"/>
                            <a:pt x="22999" y="81384"/>
                            <a:pt x="21431" y="83344"/>
                          </a:cubicBezTo>
                          <a:cubicBezTo>
                            <a:pt x="19643" y="85579"/>
                            <a:pt x="16669" y="86519"/>
                            <a:pt x="14288" y="88106"/>
                          </a:cubicBezTo>
                          <a:cubicBezTo>
                            <a:pt x="12700" y="90487"/>
                            <a:pt x="9996" y="92427"/>
                            <a:pt x="9525" y="95250"/>
                          </a:cubicBezTo>
                          <a:cubicBezTo>
                            <a:pt x="8374" y="102152"/>
                            <a:pt x="14876" y="104373"/>
                            <a:pt x="19050" y="107156"/>
                          </a:cubicBezTo>
                          <a:cubicBezTo>
                            <a:pt x="19844" y="104775"/>
                            <a:pt x="21076" y="102498"/>
                            <a:pt x="21431" y="100013"/>
                          </a:cubicBezTo>
                          <a:cubicBezTo>
                            <a:pt x="22671" y="91334"/>
                            <a:pt x="20441" y="81912"/>
                            <a:pt x="23813" y="73819"/>
                          </a:cubicBezTo>
                          <a:cubicBezTo>
                            <a:pt x="25072" y="70798"/>
                            <a:pt x="30163" y="72232"/>
                            <a:pt x="33338" y="71438"/>
                          </a:cubicBezTo>
                          <a:cubicBezTo>
                            <a:pt x="36512" y="69321"/>
                            <a:pt x="45244" y="64822"/>
                            <a:pt x="45244" y="59531"/>
                          </a:cubicBezTo>
                          <a:cubicBezTo>
                            <a:pt x="45244" y="54511"/>
                            <a:pt x="40481" y="45244"/>
                            <a:pt x="40481" y="45244"/>
                          </a:cubicBezTo>
                          <a:cubicBezTo>
                            <a:pt x="41275" y="41275"/>
                            <a:pt x="41881" y="37264"/>
                            <a:pt x="42863" y="33338"/>
                          </a:cubicBezTo>
                          <a:cubicBezTo>
                            <a:pt x="43472" y="30903"/>
                            <a:pt x="43469" y="27969"/>
                            <a:pt x="45244" y="26194"/>
                          </a:cubicBezTo>
                          <a:cubicBezTo>
                            <a:pt x="47019" y="24419"/>
                            <a:pt x="50007" y="24607"/>
                            <a:pt x="52388" y="23813"/>
                          </a:cubicBezTo>
                          <a:cubicBezTo>
                            <a:pt x="54543" y="22376"/>
                            <a:pt x="66675" y="14961"/>
                            <a:pt x="66675" y="11906"/>
                          </a:cubicBezTo>
                          <a:cubicBezTo>
                            <a:pt x="66675" y="9396"/>
                            <a:pt x="61912" y="10319"/>
                            <a:pt x="59531" y="9525"/>
                          </a:cubicBezTo>
                          <a:cubicBezTo>
                            <a:pt x="55235" y="5229"/>
                            <a:pt x="52137" y="0"/>
                            <a:pt x="45244" y="0"/>
                          </a:cubicBezTo>
                          <a:cubicBezTo>
                            <a:pt x="41971" y="0"/>
                            <a:pt x="38894" y="1587"/>
                            <a:pt x="35719" y="2381"/>
                          </a:cubicBezTo>
                          <a:cubicBezTo>
                            <a:pt x="30956" y="5556"/>
                            <a:pt x="23241" y="6476"/>
                            <a:pt x="21431" y="11906"/>
                          </a:cubicBezTo>
                          <a:cubicBezTo>
                            <a:pt x="18256" y="21431"/>
                            <a:pt x="21431" y="18256"/>
                            <a:pt x="11906" y="21431"/>
                          </a:cubicBezTo>
                          <a:cubicBezTo>
                            <a:pt x="2895" y="27440"/>
                            <a:pt x="23813" y="22622"/>
                            <a:pt x="23813" y="2381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79" name="Freeform: Shape 778">
                      <a:extLst>
                        <a:ext uri="{FF2B5EF4-FFF2-40B4-BE49-F238E27FC236}">
                          <a16:creationId xmlns:a16="http://schemas.microsoft.com/office/drawing/2014/main" id="{513AEED5-E890-4D3A-B772-B0E4BD68485A}"/>
                        </a:ext>
                      </a:extLst>
                    </p:cNvPr>
                    <p:cNvSpPr/>
                    <p:nvPr/>
                  </p:nvSpPr>
                  <p:spPr>
                    <a:xfrm>
                      <a:off x="2700289" y="3181350"/>
                      <a:ext cx="57199" cy="50006"/>
                    </a:xfrm>
                    <a:custGeom>
                      <a:avLst/>
                      <a:gdLst>
                        <a:gd name="connsiteX0" fmla="*/ 26242 w 57199"/>
                        <a:gd name="connsiteY0" fmla="*/ 0 h 50006"/>
                        <a:gd name="connsiteX1" fmla="*/ 38149 w 57199"/>
                        <a:gd name="connsiteY1" fmla="*/ 9525 h 50006"/>
                        <a:gd name="connsiteX2" fmla="*/ 50055 w 57199"/>
                        <a:gd name="connsiteY2" fmla="*/ 19050 h 50006"/>
                        <a:gd name="connsiteX3" fmla="*/ 54817 w 57199"/>
                        <a:gd name="connsiteY3" fmla="*/ 33338 h 50006"/>
                        <a:gd name="connsiteX4" fmla="*/ 57199 w 57199"/>
                        <a:gd name="connsiteY4" fmla="*/ 40481 h 50006"/>
                        <a:gd name="connsiteX5" fmla="*/ 35767 w 57199"/>
                        <a:gd name="connsiteY5" fmla="*/ 42863 h 50006"/>
                        <a:gd name="connsiteX6" fmla="*/ 28624 w 57199"/>
                        <a:gd name="connsiteY6" fmla="*/ 35719 h 50006"/>
                        <a:gd name="connsiteX7" fmla="*/ 26242 w 57199"/>
                        <a:gd name="connsiteY7" fmla="*/ 42863 h 50006"/>
                        <a:gd name="connsiteX8" fmla="*/ 11955 w 57199"/>
                        <a:gd name="connsiteY8" fmla="*/ 50006 h 50006"/>
                        <a:gd name="connsiteX9" fmla="*/ 4811 w 57199"/>
                        <a:gd name="connsiteY9" fmla="*/ 47625 h 50006"/>
                        <a:gd name="connsiteX10" fmla="*/ 49 w 57199"/>
                        <a:gd name="connsiteY10" fmla="*/ 40481 h 50006"/>
                        <a:gd name="connsiteX11" fmla="*/ 14336 w 57199"/>
                        <a:gd name="connsiteY11" fmla="*/ 30956 h 50006"/>
                        <a:gd name="connsiteX12" fmla="*/ 19099 w 57199"/>
                        <a:gd name="connsiteY12" fmla="*/ 23813 h 50006"/>
                        <a:gd name="connsiteX13" fmla="*/ 14336 w 57199"/>
                        <a:gd name="connsiteY13" fmla="*/ 16669 h 50006"/>
                        <a:gd name="connsiteX14" fmla="*/ 11955 w 57199"/>
                        <a:gd name="connsiteY14" fmla="*/ 9525 h 50006"/>
                        <a:gd name="connsiteX15" fmla="*/ 26242 w 57199"/>
                        <a:gd name="connsiteY15" fmla="*/ 0 h 5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7199" h="50006">
                          <a:moveTo>
                            <a:pt x="26242" y="0"/>
                          </a:moveTo>
                          <a:cubicBezTo>
                            <a:pt x="30211" y="3175"/>
                            <a:pt x="34555" y="5931"/>
                            <a:pt x="38149" y="9525"/>
                          </a:cubicBezTo>
                          <a:cubicBezTo>
                            <a:pt x="48921" y="20297"/>
                            <a:pt x="36146" y="14414"/>
                            <a:pt x="50055" y="19050"/>
                          </a:cubicBezTo>
                          <a:lnTo>
                            <a:pt x="54817" y="33338"/>
                          </a:lnTo>
                          <a:lnTo>
                            <a:pt x="57199" y="40481"/>
                          </a:lnTo>
                          <a:cubicBezTo>
                            <a:pt x="40530" y="46038"/>
                            <a:pt x="47674" y="46831"/>
                            <a:pt x="35767" y="42863"/>
                          </a:cubicBezTo>
                          <a:cubicBezTo>
                            <a:pt x="33386" y="40482"/>
                            <a:pt x="31991" y="35719"/>
                            <a:pt x="28624" y="35719"/>
                          </a:cubicBezTo>
                          <a:cubicBezTo>
                            <a:pt x="26114" y="35719"/>
                            <a:pt x="27810" y="40903"/>
                            <a:pt x="26242" y="42863"/>
                          </a:cubicBezTo>
                          <a:cubicBezTo>
                            <a:pt x="22885" y="47060"/>
                            <a:pt x="16661" y="48438"/>
                            <a:pt x="11955" y="50006"/>
                          </a:cubicBezTo>
                          <a:cubicBezTo>
                            <a:pt x="9574" y="49212"/>
                            <a:pt x="6771" y="49193"/>
                            <a:pt x="4811" y="47625"/>
                          </a:cubicBezTo>
                          <a:cubicBezTo>
                            <a:pt x="2576" y="45837"/>
                            <a:pt x="-421" y="43304"/>
                            <a:pt x="49" y="40481"/>
                          </a:cubicBezTo>
                          <a:cubicBezTo>
                            <a:pt x="1098" y="34187"/>
                            <a:pt x="9864" y="32447"/>
                            <a:pt x="14336" y="30956"/>
                          </a:cubicBezTo>
                          <a:cubicBezTo>
                            <a:pt x="15924" y="28575"/>
                            <a:pt x="19099" y="26675"/>
                            <a:pt x="19099" y="23813"/>
                          </a:cubicBezTo>
                          <a:cubicBezTo>
                            <a:pt x="19099" y="20951"/>
                            <a:pt x="15616" y="19229"/>
                            <a:pt x="14336" y="16669"/>
                          </a:cubicBezTo>
                          <a:cubicBezTo>
                            <a:pt x="13213" y="14424"/>
                            <a:pt x="12749" y="11906"/>
                            <a:pt x="11955" y="9525"/>
                          </a:cubicBezTo>
                          <a:lnTo>
                            <a:pt x="26242" y="0"/>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80" name="Freeform: Shape 779">
                      <a:extLst>
                        <a:ext uri="{FF2B5EF4-FFF2-40B4-BE49-F238E27FC236}">
                          <a16:creationId xmlns:a16="http://schemas.microsoft.com/office/drawing/2014/main" id="{EAEBE575-E1E0-4E97-9E96-3FAF86C64034}"/>
                        </a:ext>
                      </a:extLst>
                    </p:cNvPr>
                    <p:cNvSpPr/>
                    <p:nvPr/>
                  </p:nvSpPr>
                  <p:spPr>
                    <a:xfrm>
                      <a:off x="3252607" y="2566988"/>
                      <a:ext cx="53104" cy="28201"/>
                    </a:xfrm>
                    <a:custGeom>
                      <a:avLst/>
                      <a:gdLst>
                        <a:gd name="connsiteX0" fmla="*/ 52568 w 53104"/>
                        <a:gd name="connsiteY0" fmla="*/ 26193 h 28201"/>
                        <a:gd name="connsiteX1" fmla="*/ 43043 w 53104"/>
                        <a:gd name="connsiteY1" fmla="*/ 7143 h 28201"/>
                        <a:gd name="connsiteX2" fmla="*/ 28756 w 53104"/>
                        <a:gd name="connsiteY2" fmla="*/ 4762 h 28201"/>
                        <a:gd name="connsiteX3" fmla="*/ 9706 w 53104"/>
                        <a:gd name="connsiteY3" fmla="*/ 0 h 28201"/>
                        <a:gd name="connsiteX4" fmla="*/ 2562 w 53104"/>
                        <a:gd name="connsiteY4" fmla="*/ 7143 h 28201"/>
                        <a:gd name="connsiteX5" fmla="*/ 7324 w 53104"/>
                        <a:gd name="connsiteY5" fmla="*/ 19050 h 28201"/>
                        <a:gd name="connsiteX6" fmla="*/ 19231 w 53104"/>
                        <a:gd name="connsiteY6" fmla="*/ 21431 h 28201"/>
                        <a:gd name="connsiteX7" fmla="*/ 26374 w 53104"/>
                        <a:gd name="connsiteY7" fmla="*/ 23812 h 28201"/>
                        <a:gd name="connsiteX8" fmla="*/ 52568 w 53104"/>
                        <a:gd name="connsiteY8" fmla="*/ 26193 h 28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3104" h="28201">
                          <a:moveTo>
                            <a:pt x="52568" y="26193"/>
                          </a:moveTo>
                          <a:cubicBezTo>
                            <a:pt x="55346" y="23415"/>
                            <a:pt x="46611" y="8927"/>
                            <a:pt x="43043" y="7143"/>
                          </a:cubicBezTo>
                          <a:cubicBezTo>
                            <a:pt x="38725" y="4984"/>
                            <a:pt x="33506" y="5626"/>
                            <a:pt x="28756" y="4762"/>
                          </a:cubicBezTo>
                          <a:cubicBezTo>
                            <a:pt x="16111" y="2463"/>
                            <a:pt x="19621" y="3305"/>
                            <a:pt x="9706" y="0"/>
                          </a:cubicBezTo>
                          <a:cubicBezTo>
                            <a:pt x="7325" y="2381"/>
                            <a:pt x="4430" y="4341"/>
                            <a:pt x="2562" y="7143"/>
                          </a:cubicBezTo>
                          <a:cubicBezTo>
                            <a:pt x="-2093" y="14126"/>
                            <a:pt x="-346" y="16174"/>
                            <a:pt x="7324" y="19050"/>
                          </a:cubicBezTo>
                          <a:cubicBezTo>
                            <a:pt x="11114" y="20471"/>
                            <a:pt x="15304" y="20449"/>
                            <a:pt x="19231" y="21431"/>
                          </a:cubicBezTo>
                          <a:cubicBezTo>
                            <a:pt x="21666" y="22040"/>
                            <a:pt x="23993" y="23018"/>
                            <a:pt x="26374" y="23812"/>
                          </a:cubicBezTo>
                          <a:cubicBezTo>
                            <a:pt x="34839" y="29456"/>
                            <a:pt x="49790" y="28971"/>
                            <a:pt x="52568" y="2619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sp>
                <p:nvSpPr>
                  <p:cNvPr id="755" name="Forma libre: forma 46">
                    <a:extLst>
                      <a:ext uri="{FF2B5EF4-FFF2-40B4-BE49-F238E27FC236}">
                        <a16:creationId xmlns:a16="http://schemas.microsoft.com/office/drawing/2014/main" id="{60C3A8EF-56BE-411E-B44E-283FD5E00970}"/>
                      </a:ext>
                    </a:extLst>
                  </p:cNvPr>
                  <p:cNvSpPr/>
                  <p:nvPr/>
                </p:nvSpPr>
                <p:spPr>
                  <a:xfrm>
                    <a:off x="2798676" y="4512408"/>
                    <a:ext cx="26782" cy="27140"/>
                  </a:xfrm>
                  <a:custGeom>
                    <a:avLst/>
                    <a:gdLst>
                      <a:gd name="connsiteX0" fmla="*/ 22956 w 26782"/>
                      <a:gd name="connsiteY0" fmla="*/ 290 h 27140"/>
                      <a:gd name="connsiteX1" fmla="*/ 13391 w 26782"/>
                      <a:gd name="connsiteY1" fmla="*/ 2203 h 27140"/>
                      <a:gd name="connsiteX2" fmla="*/ 7652 w 26782"/>
                      <a:gd name="connsiteY2" fmla="*/ 4116 h 27140"/>
                      <a:gd name="connsiteX3" fmla="*/ 0 w 26782"/>
                      <a:gd name="connsiteY3" fmla="*/ 21333 h 27140"/>
                      <a:gd name="connsiteX4" fmla="*/ 3826 w 26782"/>
                      <a:gd name="connsiteY4" fmla="*/ 27071 h 27140"/>
                      <a:gd name="connsiteX5" fmla="*/ 26782 w 26782"/>
                      <a:gd name="connsiteY5" fmla="*/ 17507 h 27140"/>
                      <a:gd name="connsiteX6" fmla="*/ 19130 w 26782"/>
                      <a:gd name="connsiteY6" fmla="*/ 290 h 27140"/>
                      <a:gd name="connsiteX7" fmla="*/ 22956 w 26782"/>
                      <a:gd name="connsiteY7" fmla="*/ 290 h 271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782" h="27140">
                        <a:moveTo>
                          <a:pt x="22956" y="290"/>
                        </a:moveTo>
                        <a:cubicBezTo>
                          <a:pt x="21999" y="609"/>
                          <a:pt x="16545" y="1414"/>
                          <a:pt x="13391" y="2203"/>
                        </a:cubicBezTo>
                        <a:cubicBezTo>
                          <a:pt x="11435" y="2692"/>
                          <a:pt x="9078" y="2690"/>
                          <a:pt x="7652" y="4116"/>
                        </a:cubicBezTo>
                        <a:cubicBezTo>
                          <a:pt x="5865" y="5903"/>
                          <a:pt x="581" y="19881"/>
                          <a:pt x="0" y="21333"/>
                        </a:cubicBezTo>
                        <a:cubicBezTo>
                          <a:pt x="1275" y="23246"/>
                          <a:pt x="1541" y="26817"/>
                          <a:pt x="3826" y="27071"/>
                        </a:cubicBezTo>
                        <a:cubicBezTo>
                          <a:pt x="11326" y="27904"/>
                          <a:pt x="20818" y="21085"/>
                          <a:pt x="26782" y="17507"/>
                        </a:cubicBezTo>
                        <a:cubicBezTo>
                          <a:pt x="24888" y="11824"/>
                          <a:pt x="23677" y="4837"/>
                          <a:pt x="19130" y="290"/>
                        </a:cubicBezTo>
                        <a:cubicBezTo>
                          <a:pt x="18679" y="-161"/>
                          <a:pt x="23913" y="-29"/>
                          <a:pt x="22956" y="29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756" name="Forma libre: forma 47">
                    <a:extLst>
                      <a:ext uri="{FF2B5EF4-FFF2-40B4-BE49-F238E27FC236}">
                        <a16:creationId xmlns:a16="http://schemas.microsoft.com/office/drawing/2014/main" id="{16B2C338-DF5B-45AB-A291-2FF8BB5C62A0}"/>
                      </a:ext>
                    </a:extLst>
                  </p:cNvPr>
                  <p:cNvSpPr/>
                  <p:nvPr/>
                </p:nvSpPr>
                <p:spPr>
                  <a:xfrm>
                    <a:off x="2847584" y="4573506"/>
                    <a:ext cx="35534" cy="14516"/>
                  </a:xfrm>
                  <a:custGeom>
                    <a:avLst/>
                    <a:gdLst>
                      <a:gd name="connsiteX0" fmla="*/ 16133 w 35534"/>
                      <a:gd name="connsiteY0" fmla="*/ 407 h 14516"/>
                      <a:gd name="connsiteX1" fmla="*/ 829 w 35534"/>
                      <a:gd name="connsiteY1" fmla="*/ 2320 h 14516"/>
                      <a:gd name="connsiteX2" fmla="*/ 4655 w 35534"/>
                      <a:gd name="connsiteY2" fmla="*/ 11885 h 14516"/>
                      <a:gd name="connsiteX3" fmla="*/ 18046 w 35534"/>
                      <a:gd name="connsiteY3" fmla="*/ 13798 h 14516"/>
                      <a:gd name="connsiteX4" fmla="*/ 35263 w 35534"/>
                      <a:gd name="connsiteY4" fmla="*/ 11885 h 14516"/>
                      <a:gd name="connsiteX5" fmla="*/ 16133 w 35534"/>
                      <a:gd name="connsiteY5" fmla="*/ 2320 h 14516"/>
                      <a:gd name="connsiteX6" fmla="*/ 16133 w 35534"/>
                      <a:gd name="connsiteY6" fmla="*/ 407 h 145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534" h="14516">
                        <a:moveTo>
                          <a:pt x="16133" y="407"/>
                        </a:moveTo>
                        <a:cubicBezTo>
                          <a:pt x="13582" y="407"/>
                          <a:pt x="4464" y="-1315"/>
                          <a:pt x="829" y="2320"/>
                        </a:cubicBezTo>
                        <a:cubicBezTo>
                          <a:pt x="-1599" y="4748"/>
                          <a:pt x="1798" y="9980"/>
                          <a:pt x="4655" y="11885"/>
                        </a:cubicBezTo>
                        <a:cubicBezTo>
                          <a:pt x="8407" y="14386"/>
                          <a:pt x="13582" y="13160"/>
                          <a:pt x="18046" y="13798"/>
                        </a:cubicBezTo>
                        <a:cubicBezTo>
                          <a:pt x="23785" y="13160"/>
                          <a:pt x="32292" y="16836"/>
                          <a:pt x="35263" y="11885"/>
                        </a:cubicBezTo>
                        <a:cubicBezTo>
                          <a:pt x="38027" y="7278"/>
                          <a:pt x="18852" y="2773"/>
                          <a:pt x="16133" y="2320"/>
                        </a:cubicBezTo>
                        <a:cubicBezTo>
                          <a:pt x="14875" y="2110"/>
                          <a:pt x="18684" y="407"/>
                          <a:pt x="16133" y="407"/>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grpSp>
            <p:sp>
              <p:nvSpPr>
                <p:cNvPr id="753" name="Freeform: Shape 752">
                  <a:extLst>
                    <a:ext uri="{FF2B5EF4-FFF2-40B4-BE49-F238E27FC236}">
                      <a16:creationId xmlns:a16="http://schemas.microsoft.com/office/drawing/2014/main" id="{7977849C-D290-406D-BB42-EFD5A0960324}"/>
                    </a:ext>
                  </a:extLst>
                </p:cNvPr>
                <p:cNvSpPr/>
                <p:nvPr/>
              </p:nvSpPr>
              <p:spPr>
                <a:xfrm>
                  <a:off x="2409825" y="3414471"/>
                  <a:ext cx="276225" cy="226526"/>
                </a:xfrm>
                <a:custGeom>
                  <a:avLst/>
                  <a:gdLst>
                    <a:gd name="connsiteX0" fmla="*/ 100013 w 276225"/>
                    <a:gd name="connsiteY0" fmla="*/ 16910 h 226526"/>
                    <a:gd name="connsiteX1" fmla="*/ 95250 w 276225"/>
                    <a:gd name="connsiteY1" fmla="*/ 28817 h 226526"/>
                    <a:gd name="connsiteX2" fmla="*/ 90488 w 276225"/>
                    <a:gd name="connsiteY2" fmla="*/ 35960 h 226526"/>
                    <a:gd name="connsiteX3" fmla="*/ 88106 w 276225"/>
                    <a:gd name="connsiteY3" fmla="*/ 45485 h 226526"/>
                    <a:gd name="connsiteX4" fmla="*/ 66675 w 276225"/>
                    <a:gd name="connsiteY4" fmla="*/ 57392 h 226526"/>
                    <a:gd name="connsiteX5" fmla="*/ 35719 w 276225"/>
                    <a:gd name="connsiteY5" fmla="*/ 55010 h 226526"/>
                    <a:gd name="connsiteX6" fmla="*/ 33338 w 276225"/>
                    <a:gd name="connsiteY6" fmla="*/ 62154 h 226526"/>
                    <a:gd name="connsiteX7" fmla="*/ 47625 w 276225"/>
                    <a:gd name="connsiteY7" fmla="*/ 69298 h 226526"/>
                    <a:gd name="connsiteX8" fmla="*/ 40481 w 276225"/>
                    <a:gd name="connsiteY8" fmla="*/ 83585 h 226526"/>
                    <a:gd name="connsiteX9" fmla="*/ 26194 w 276225"/>
                    <a:gd name="connsiteY9" fmla="*/ 88348 h 226526"/>
                    <a:gd name="connsiteX10" fmla="*/ 19050 w 276225"/>
                    <a:gd name="connsiteY10" fmla="*/ 90729 h 226526"/>
                    <a:gd name="connsiteX11" fmla="*/ 11906 w 276225"/>
                    <a:gd name="connsiteY11" fmla="*/ 95492 h 226526"/>
                    <a:gd name="connsiteX12" fmla="*/ 4763 w 276225"/>
                    <a:gd name="connsiteY12" fmla="*/ 97873 h 226526"/>
                    <a:gd name="connsiteX13" fmla="*/ 0 w 276225"/>
                    <a:gd name="connsiteY13" fmla="*/ 105017 h 226526"/>
                    <a:gd name="connsiteX14" fmla="*/ 2381 w 276225"/>
                    <a:gd name="connsiteY14" fmla="*/ 121685 h 226526"/>
                    <a:gd name="connsiteX15" fmla="*/ 16669 w 276225"/>
                    <a:gd name="connsiteY15" fmla="*/ 131210 h 226526"/>
                    <a:gd name="connsiteX16" fmla="*/ 21431 w 276225"/>
                    <a:gd name="connsiteY16" fmla="*/ 138354 h 226526"/>
                    <a:gd name="connsiteX17" fmla="*/ 16669 w 276225"/>
                    <a:gd name="connsiteY17" fmla="*/ 145498 h 226526"/>
                    <a:gd name="connsiteX18" fmla="*/ 26194 w 276225"/>
                    <a:gd name="connsiteY18" fmla="*/ 159785 h 226526"/>
                    <a:gd name="connsiteX19" fmla="*/ 33338 w 276225"/>
                    <a:gd name="connsiteY19" fmla="*/ 166929 h 226526"/>
                    <a:gd name="connsiteX20" fmla="*/ 47625 w 276225"/>
                    <a:gd name="connsiteY20" fmla="*/ 171692 h 226526"/>
                    <a:gd name="connsiteX21" fmla="*/ 54769 w 276225"/>
                    <a:gd name="connsiteY21" fmla="*/ 174073 h 226526"/>
                    <a:gd name="connsiteX22" fmla="*/ 69056 w 276225"/>
                    <a:gd name="connsiteY22" fmla="*/ 181217 h 226526"/>
                    <a:gd name="connsiteX23" fmla="*/ 73819 w 276225"/>
                    <a:gd name="connsiteY23" fmla="*/ 174073 h 226526"/>
                    <a:gd name="connsiteX24" fmla="*/ 88106 w 276225"/>
                    <a:gd name="connsiteY24" fmla="*/ 171692 h 226526"/>
                    <a:gd name="connsiteX25" fmla="*/ 85725 w 276225"/>
                    <a:gd name="connsiteY25" fmla="*/ 159785 h 226526"/>
                    <a:gd name="connsiteX26" fmla="*/ 88106 w 276225"/>
                    <a:gd name="connsiteY26" fmla="*/ 147879 h 226526"/>
                    <a:gd name="connsiteX27" fmla="*/ 92869 w 276225"/>
                    <a:gd name="connsiteY27" fmla="*/ 133592 h 226526"/>
                    <a:gd name="connsiteX28" fmla="*/ 104775 w 276225"/>
                    <a:gd name="connsiteY28" fmla="*/ 135973 h 226526"/>
                    <a:gd name="connsiteX29" fmla="*/ 107156 w 276225"/>
                    <a:gd name="connsiteY29" fmla="*/ 143117 h 226526"/>
                    <a:gd name="connsiteX30" fmla="*/ 114300 w 276225"/>
                    <a:gd name="connsiteY30" fmla="*/ 145498 h 226526"/>
                    <a:gd name="connsiteX31" fmla="*/ 116681 w 276225"/>
                    <a:gd name="connsiteY31" fmla="*/ 152642 h 226526"/>
                    <a:gd name="connsiteX32" fmla="*/ 119063 w 276225"/>
                    <a:gd name="connsiteY32" fmla="*/ 176454 h 226526"/>
                    <a:gd name="connsiteX33" fmla="*/ 126206 w 276225"/>
                    <a:gd name="connsiteY33" fmla="*/ 178835 h 226526"/>
                    <a:gd name="connsiteX34" fmla="*/ 133350 w 276225"/>
                    <a:gd name="connsiteY34" fmla="*/ 200267 h 226526"/>
                    <a:gd name="connsiteX35" fmla="*/ 135731 w 276225"/>
                    <a:gd name="connsiteY35" fmla="*/ 207410 h 226526"/>
                    <a:gd name="connsiteX36" fmla="*/ 138113 w 276225"/>
                    <a:gd name="connsiteY36" fmla="*/ 214554 h 226526"/>
                    <a:gd name="connsiteX37" fmla="*/ 145256 w 276225"/>
                    <a:gd name="connsiteY37" fmla="*/ 207410 h 226526"/>
                    <a:gd name="connsiteX38" fmla="*/ 161925 w 276225"/>
                    <a:gd name="connsiteY38" fmla="*/ 197885 h 226526"/>
                    <a:gd name="connsiteX39" fmla="*/ 169069 w 276225"/>
                    <a:gd name="connsiteY39" fmla="*/ 200267 h 226526"/>
                    <a:gd name="connsiteX40" fmla="*/ 173831 w 276225"/>
                    <a:gd name="connsiteY40" fmla="*/ 214554 h 226526"/>
                    <a:gd name="connsiteX41" fmla="*/ 171450 w 276225"/>
                    <a:gd name="connsiteY41" fmla="*/ 221698 h 226526"/>
                    <a:gd name="connsiteX42" fmla="*/ 190500 w 276225"/>
                    <a:gd name="connsiteY42" fmla="*/ 224079 h 226526"/>
                    <a:gd name="connsiteX43" fmla="*/ 204788 w 276225"/>
                    <a:gd name="connsiteY43" fmla="*/ 216935 h 226526"/>
                    <a:gd name="connsiteX44" fmla="*/ 211931 w 276225"/>
                    <a:gd name="connsiteY44" fmla="*/ 212173 h 226526"/>
                    <a:gd name="connsiteX45" fmla="*/ 211931 w 276225"/>
                    <a:gd name="connsiteY45" fmla="*/ 197885 h 226526"/>
                    <a:gd name="connsiteX46" fmla="*/ 214313 w 276225"/>
                    <a:gd name="connsiteY46" fmla="*/ 188360 h 226526"/>
                    <a:gd name="connsiteX47" fmla="*/ 226219 w 276225"/>
                    <a:gd name="connsiteY47" fmla="*/ 197885 h 226526"/>
                    <a:gd name="connsiteX48" fmla="*/ 233363 w 276225"/>
                    <a:gd name="connsiteY48" fmla="*/ 200267 h 226526"/>
                    <a:gd name="connsiteX49" fmla="*/ 247650 w 276225"/>
                    <a:gd name="connsiteY49" fmla="*/ 197885 h 226526"/>
                    <a:gd name="connsiteX50" fmla="*/ 254794 w 276225"/>
                    <a:gd name="connsiteY50" fmla="*/ 190742 h 226526"/>
                    <a:gd name="connsiteX51" fmla="*/ 261938 w 276225"/>
                    <a:gd name="connsiteY51" fmla="*/ 188360 h 226526"/>
                    <a:gd name="connsiteX52" fmla="*/ 269081 w 276225"/>
                    <a:gd name="connsiteY52" fmla="*/ 174073 h 226526"/>
                    <a:gd name="connsiteX53" fmla="*/ 266700 w 276225"/>
                    <a:gd name="connsiteY53" fmla="*/ 166929 h 226526"/>
                    <a:gd name="connsiteX54" fmla="*/ 259556 w 276225"/>
                    <a:gd name="connsiteY54" fmla="*/ 164548 h 226526"/>
                    <a:gd name="connsiteX55" fmla="*/ 252413 w 276225"/>
                    <a:gd name="connsiteY55" fmla="*/ 145498 h 226526"/>
                    <a:gd name="connsiteX56" fmla="*/ 259556 w 276225"/>
                    <a:gd name="connsiteY56" fmla="*/ 143117 h 226526"/>
                    <a:gd name="connsiteX57" fmla="*/ 271463 w 276225"/>
                    <a:gd name="connsiteY57" fmla="*/ 155023 h 226526"/>
                    <a:gd name="connsiteX58" fmla="*/ 276225 w 276225"/>
                    <a:gd name="connsiteY58" fmla="*/ 147879 h 226526"/>
                    <a:gd name="connsiteX59" fmla="*/ 271463 w 276225"/>
                    <a:gd name="connsiteY59" fmla="*/ 133592 h 226526"/>
                    <a:gd name="connsiteX60" fmla="*/ 261938 w 276225"/>
                    <a:gd name="connsiteY60" fmla="*/ 119304 h 226526"/>
                    <a:gd name="connsiteX61" fmla="*/ 230981 w 276225"/>
                    <a:gd name="connsiteY61" fmla="*/ 121685 h 226526"/>
                    <a:gd name="connsiteX62" fmla="*/ 238125 w 276225"/>
                    <a:gd name="connsiteY62" fmla="*/ 116923 h 226526"/>
                    <a:gd name="connsiteX63" fmla="*/ 245269 w 276225"/>
                    <a:gd name="connsiteY63" fmla="*/ 114542 h 226526"/>
                    <a:gd name="connsiteX64" fmla="*/ 252413 w 276225"/>
                    <a:gd name="connsiteY64" fmla="*/ 109779 h 226526"/>
                    <a:gd name="connsiteX65" fmla="*/ 250031 w 276225"/>
                    <a:gd name="connsiteY65" fmla="*/ 97873 h 226526"/>
                    <a:gd name="connsiteX66" fmla="*/ 242888 w 276225"/>
                    <a:gd name="connsiteY66" fmla="*/ 76442 h 226526"/>
                    <a:gd name="connsiteX67" fmla="*/ 240506 w 276225"/>
                    <a:gd name="connsiteY67" fmla="*/ 62154 h 226526"/>
                    <a:gd name="connsiteX68" fmla="*/ 235744 w 276225"/>
                    <a:gd name="connsiteY68" fmla="*/ 55010 h 226526"/>
                    <a:gd name="connsiteX69" fmla="*/ 233363 w 276225"/>
                    <a:gd name="connsiteY69" fmla="*/ 45485 h 226526"/>
                    <a:gd name="connsiteX70" fmla="*/ 235744 w 276225"/>
                    <a:gd name="connsiteY70" fmla="*/ 35960 h 226526"/>
                    <a:gd name="connsiteX71" fmla="*/ 240506 w 276225"/>
                    <a:gd name="connsiteY71" fmla="*/ 28817 h 226526"/>
                    <a:gd name="connsiteX72" fmla="*/ 223838 w 276225"/>
                    <a:gd name="connsiteY72" fmla="*/ 16910 h 226526"/>
                    <a:gd name="connsiteX73" fmla="*/ 207169 w 276225"/>
                    <a:gd name="connsiteY73" fmla="*/ 14529 h 226526"/>
                    <a:gd name="connsiteX74" fmla="*/ 200025 w 276225"/>
                    <a:gd name="connsiteY74" fmla="*/ 9767 h 226526"/>
                    <a:gd name="connsiteX75" fmla="*/ 159544 w 276225"/>
                    <a:gd name="connsiteY75" fmla="*/ 5004 h 226526"/>
                    <a:gd name="connsiteX76" fmla="*/ 152400 w 276225"/>
                    <a:gd name="connsiteY76" fmla="*/ 7385 h 226526"/>
                    <a:gd name="connsiteX77" fmla="*/ 150019 w 276225"/>
                    <a:gd name="connsiteY77" fmla="*/ 14529 h 226526"/>
                    <a:gd name="connsiteX78" fmla="*/ 140494 w 276225"/>
                    <a:gd name="connsiteY78" fmla="*/ 26435 h 226526"/>
                    <a:gd name="connsiteX79" fmla="*/ 128588 w 276225"/>
                    <a:gd name="connsiteY79" fmla="*/ 24054 h 226526"/>
                    <a:gd name="connsiteX80" fmla="*/ 121444 w 276225"/>
                    <a:gd name="connsiteY80" fmla="*/ 19292 h 226526"/>
                    <a:gd name="connsiteX81" fmla="*/ 114300 w 276225"/>
                    <a:gd name="connsiteY81" fmla="*/ 16910 h 226526"/>
                    <a:gd name="connsiteX82" fmla="*/ 107156 w 276225"/>
                    <a:gd name="connsiteY82" fmla="*/ 19292 h 226526"/>
                    <a:gd name="connsiteX83" fmla="*/ 100013 w 276225"/>
                    <a:gd name="connsiteY83" fmla="*/ 16910 h 226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276225" h="226526">
                      <a:moveTo>
                        <a:pt x="100013" y="16910"/>
                      </a:moveTo>
                      <a:cubicBezTo>
                        <a:pt x="98029" y="18498"/>
                        <a:pt x="97162" y="24994"/>
                        <a:pt x="95250" y="28817"/>
                      </a:cubicBezTo>
                      <a:cubicBezTo>
                        <a:pt x="93970" y="31376"/>
                        <a:pt x="91615" y="33330"/>
                        <a:pt x="90488" y="35960"/>
                      </a:cubicBezTo>
                      <a:cubicBezTo>
                        <a:pt x="89199" y="38968"/>
                        <a:pt x="90261" y="43022"/>
                        <a:pt x="88106" y="45485"/>
                      </a:cubicBezTo>
                      <a:cubicBezTo>
                        <a:pt x="81364" y="53190"/>
                        <a:pt x="75024" y="54608"/>
                        <a:pt x="66675" y="57392"/>
                      </a:cubicBezTo>
                      <a:cubicBezTo>
                        <a:pt x="56356" y="56598"/>
                        <a:pt x="45964" y="53547"/>
                        <a:pt x="35719" y="55010"/>
                      </a:cubicBezTo>
                      <a:cubicBezTo>
                        <a:pt x="33234" y="55365"/>
                        <a:pt x="32406" y="59823"/>
                        <a:pt x="33338" y="62154"/>
                      </a:cubicBezTo>
                      <a:cubicBezTo>
                        <a:pt x="34759" y="65706"/>
                        <a:pt x="44617" y="68295"/>
                        <a:pt x="47625" y="69298"/>
                      </a:cubicBezTo>
                      <a:cubicBezTo>
                        <a:pt x="46327" y="73192"/>
                        <a:pt x="44370" y="81154"/>
                        <a:pt x="40481" y="83585"/>
                      </a:cubicBezTo>
                      <a:cubicBezTo>
                        <a:pt x="36224" y="86246"/>
                        <a:pt x="30956" y="86760"/>
                        <a:pt x="26194" y="88348"/>
                      </a:cubicBezTo>
                      <a:lnTo>
                        <a:pt x="19050" y="90729"/>
                      </a:lnTo>
                      <a:cubicBezTo>
                        <a:pt x="16669" y="92317"/>
                        <a:pt x="14466" y="94212"/>
                        <a:pt x="11906" y="95492"/>
                      </a:cubicBezTo>
                      <a:cubicBezTo>
                        <a:pt x="9661" y="96614"/>
                        <a:pt x="6723" y="96305"/>
                        <a:pt x="4763" y="97873"/>
                      </a:cubicBezTo>
                      <a:cubicBezTo>
                        <a:pt x="2528" y="99661"/>
                        <a:pt x="1588" y="102636"/>
                        <a:pt x="0" y="105017"/>
                      </a:cubicBezTo>
                      <a:cubicBezTo>
                        <a:pt x="794" y="110573"/>
                        <a:pt x="-632" y="116950"/>
                        <a:pt x="2381" y="121685"/>
                      </a:cubicBezTo>
                      <a:cubicBezTo>
                        <a:pt x="5454" y="126514"/>
                        <a:pt x="16669" y="131210"/>
                        <a:pt x="16669" y="131210"/>
                      </a:cubicBezTo>
                      <a:cubicBezTo>
                        <a:pt x="18256" y="133591"/>
                        <a:pt x="21431" y="135492"/>
                        <a:pt x="21431" y="138354"/>
                      </a:cubicBezTo>
                      <a:cubicBezTo>
                        <a:pt x="21431" y="141216"/>
                        <a:pt x="17024" y="142658"/>
                        <a:pt x="16669" y="145498"/>
                      </a:cubicBezTo>
                      <a:cubicBezTo>
                        <a:pt x="15060" y="158371"/>
                        <a:pt x="17990" y="157051"/>
                        <a:pt x="26194" y="159785"/>
                      </a:cubicBezTo>
                      <a:cubicBezTo>
                        <a:pt x="28575" y="162166"/>
                        <a:pt x="30394" y="165293"/>
                        <a:pt x="33338" y="166929"/>
                      </a:cubicBezTo>
                      <a:cubicBezTo>
                        <a:pt x="37726" y="169367"/>
                        <a:pt x="42863" y="170104"/>
                        <a:pt x="47625" y="171692"/>
                      </a:cubicBezTo>
                      <a:cubicBezTo>
                        <a:pt x="50006" y="172486"/>
                        <a:pt x="52680" y="172681"/>
                        <a:pt x="54769" y="174073"/>
                      </a:cubicBezTo>
                      <a:cubicBezTo>
                        <a:pt x="64001" y="180227"/>
                        <a:pt x="59198" y="177930"/>
                        <a:pt x="69056" y="181217"/>
                      </a:cubicBezTo>
                      <a:cubicBezTo>
                        <a:pt x="70644" y="178836"/>
                        <a:pt x="71259" y="175353"/>
                        <a:pt x="73819" y="174073"/>
                      </a:cubicBezTo>
                      <a:cubicBezTo>
                        <a:pt x="78137" y="171914"/>
                        <a:pt x="85015" y="175401"/>
                        <a:pt x="88106" y="171692"/>
                      </a:cubicBezTo>
                      <a:cubicBezTo>
                        <a:pt x="90697" y="168582"/>
                        <a:pt x="86519" y="163754"/>
                        <a:pt x="85725" y="159785"/>
                      </a:cubicBezTo>
                      <a:cubicBezTo>
                        <a:pt x="86519" y="155816"/>
                        <a:pt x="87041" y="151784"/>
                        <a:pt x="88106" y="147879"/>
                      </a:cubicBezTo>
                      <a:cubicBezTo>
                        <a:pt x="89427" y="143036"/>
                        <a:pt x="92869" y="133592"/>
                        <a:pt x="92869" y="133592"/>
                      </a:cubicBezTo>
                      <a:cubicBezTo>
                        <a:pt x="96838" y="134386"/>
                        <a:pt x="101408" y="133728"/>
                        <a:pt x="104775" y="135973"/>
                      </a:cubicBezTo>
                      <a:cubicBezTo>
                        <a:pt x="106864" y="137365"/>
                        <a:pt x="105381" y="141342"/>
                        <a:pt x="107156" y="143117"/>
                      </a:cubicBezTo>
                      <a:cubicBezTo>
                        <a:pt x="108931" y="144892"/>
                        <a:pt x="111919" y="144704"/>
                        <a:pt x="114300" y="145498"/>
                      </a:cubicBezTo>
                      <a:cubicBezTo>
                        <a:pt x="115094" y="147879"/>
                        <a:pt x="116299" y="150161"/>
                        <a:pt x="116681" y="152642"/>
                      </a:cubicBezTo>
                      <a:cubicBezTo>
                        <a:pt x="117894" y="160526"/>
                        <a:pt x="116337" y="168957"/>
                        <a:pt x="119063" y="176454"/>
                      </a:cubicBezTo>
                      <a:cubicBezTo>
                        <a:pt x="119921" y="178813"/>
                        <a:pt x="123825" y="178041"/>
                        <a:pt x="126206" y="178835"/>
                      </a:cubicBezTo>
                      <a:lnTo>
                        <a:pt x="133350" y="200267"/>
                      </a:lnTo>
                      <a:lnTo>
                        <a:pt x="135731" y="207410"/>
                      </a:lnTo>
                      <a:lnTo>
                        <a:pt x="138113" y="214554"/>
                      </a:lnTo>
                      <a:cubicBezTo>
                        <a:pt x="140494" y="212173"/>
                        <a:pt x="142244" y="208916"/>
                        <a:pt x="145256" y="207410"/>
                      </a:cubicBezTo>
                      <a:cubicBezTo>
                        <a:pt x="164383" y="197847"/>
                        <a:pt x="151797" y="213079"/>
                        <a:pt x="161925" y="197885"/>
                      </a:cubicBezTo>
                      <a:cubicBezTo>
                        <a:pt x="164306" y="198679"/>
                        <a:pt x="167610" y="198224"/>
                        <a:pt x="169069" y="200267"/>
                      </a:cubicBezTo>
                      <a:cubicBezTo>
                        <a:pt x="171987" y="204352"/>
                        <a:pt x="173831" y="214554"/>
                        <a:pt x="173831" y="214554"/>
                      </a:cubicBezTo>
                      <a:cubicBezTo>
                        <a:pt x="173037" y="216935"/>
                        <a:pt x="170159" y="219546"/>
                        <a:pt x="171450" y="221698"/>
                      </a:cubicBezTo>
                      <a:cubicBezTo>
                        <a:pt x="176322" y="229818"/>
                        <a:pt x="184520" y="225574"/>
                        <a:pt x="190500" y="224079"/>
                      </a:cubicBezTo>
                      <a:cubicBezTo>
                        <a:pt x="210978" y="210429"/>
                        <a:pt x="185066" y="226797"/>
                        <a:pt x="204788" y="216935"/>
                      </a:cubicBezTo>
                      <a:cubicBezTo>
                        <a:pt x="207347" y="215655"/>
                        <a:pt x="209550" y="213760"/>
                        <a:pt x="211931" y="212173"/>
                      </a:cubicBezTo>
                      <a:cubicBezTo>
                        <a:pt x="218283" y="193122"/>
                        <a:pt x="211931" y="216936"/>
                        <a:pt x="211931" y="197885"/>
                      </a:cubicBezTo>
                      <a:cubicBezTo>
                        <a:pt x="211931" y="194612"/>
                        <a:pt x="213519" y="191535"/>
                        <a:pt x="214313" y="188360"/>
                      </a:cubicBezTo>
                      <a:cubicBezTo>
                        <a:pt x="232269" y="194348"/>
                        <a:pt x="210830" y="185575"/>
                        <a:pt x="226219" y="197885"/>
                      </a:cubicBezTo>
                      <a:cubicBezTo>
                        <a:pt x="228179" y="199453"/>
                        <a:pt x="230982" y="199473"/>
                        <a:pt x="233363" y="200267"/>
                      </a:cubicBezTo>
                      <a:cubicBezTo>
                        <a:pt x="238125" y="199473"/>
                        <a:pt x="243238" y="199846"/>
                        <a:pt x="247650" y="197885"/>
                      </a:cubicBezTo>
                      <a:cubicBezTo>
                        <a:pt x="250727" y="196517"/>
                        <a:pt x="251992" y="192610"/>
                        <a:pt x="254794" y="190742"/>
                      </a:cubicBezTo>
                      <a:cubicBezTo>
                        <a:pt x="256883" y="189350"/>
                        <a:pt x="259557" y="189154"/>
                        <a:pt x="261938" y="188360"/>
                      </a:cubicBezTo>
                      <a:cubicBezTo>
                        <a:pt x="264346" y="184747"/>
                        <a:pt x="269081" y="179003"/>
                        <a:pt x="269081" y="174073"/>
                      </a:cubicBezTo>
                      <a:cubicBezTo>
                        <a:pt x="269081" y="171563"/>
                        <a:pt x="268475" y="168704"/>
                        <a:pt x="266700" y="166929"/>
                      </a:cubicBezTo>
                      <a:cubicBezTo>
                        <a:pt x="264925" y="165154"/>
                        <a:pt x="261937" y="165342"/>
                        <a:pt x="259556" y="164548"/>
                      </a:cubicBezTo>
                      <a:cubicBezTo>
                        <a:pt x="256248" y="159585"/>
                        <a:pt x="250125" y="152363"/>
                        <a:pt x="252413" y="145498"/>
                      </a:cubicBezTo>
                      <a:cubicBezTo>
                        <a:pt x="253207" y="143117"/>
                        <a:pt x="257175" y="143911"/>
                        <a:pt x="259556" y="143117"/>
                      </a:cubicBezTo>
                      <a:cubicBezTo>
                        <a:pt x="265113" y="159785"/>
                        <a:pt x="259557" y="158991"/>
                        <a:pt x="271463" y="155023"/>
                      </a:cubicBezTo>
                      <a:cubicBezTo>
                        <a:pt x="273050" y="152642"/>
                        <a:pt x="276225" y="150741"/>
                        <a:pt x="276225" y="147879"/>
                      </a:cubicBezTo>
                      <a:cubicBezTo>
                        <a:pt x="276225" y="142859"/>
                        <a:pt x="273050" y="138354"/>
                        <a:pt x="271463" y="133592"/>
                      </a:cubicBezTo>
                      <a:cubicBezTo>
                        <a:pt x="268017" y="123255"/>
                        <a:pt x="270854" y="128221"/>
                        <a:pt x="261938" y="119304"/>
                      </a:cubicBezTo>
                      <a:cubicBezTo>
                        <a:pt x="251619" y="120098"/>
                        <a:pt x="241279" y="122715"/>
                        <a:pt x="230981" y="121685"/>
                      </a:cubicBezTo>
                      <a:cubicBezTo>
                        <a:pt x="228133" y="121400"/>
                        <a:pt x="235565" y="118203"/>
                        <a:pt x="238125" y="116923"/>
                      </a:cubicBezTo>
                      <a:cubicBezTo>
                        <a:pt x="240370" y="115801"/>
                        <a:pt x="242888" y="115336"/>
                        <a:pt x="245269" y="114542"/>
                      </a:cubicBezTo>
                      <a:cubicBezTo>
                        <a:pt x="247650" y="112954"/>
                        <a:pt x="251627" y="112531"/>
                        <a:pt x="252413" y="109779"/>
                      </a:cubicBezTo>
                      <a:cubicBezTo>
                        <a:pt x="253525" y="105887"/>
                        <a:pt x="250755" y="101855"/>
                        <a:pt x="250031" y="97873"/>
                      </a:cubicBezTo>
                      <a:cubicBezTo>
                        <a:pt x="246822" y="80226"/>
                        <a:pt x="250540" y="87920"/>
                        <a:pt x="242888" y="76442"/>
                      </a:cubicBezTo>
                      <a:cubicBezTo>
                        <a:pt x="242094" y="71679"/>
                        <a:pt x="242033" y="66735"/>
                        <a:pt x="240506" y="62154"/>
                      </a:cubicBezTo>
                      <a:cubicBezTo>
                        <a:pt x="239601" y="59439"/>
                        <a:pt x="236871" y="57641"/>
                        <a:pt x="235744" y="55010"/>
                      </a:cubicBezTo>
                      <a:cubicBezTo>
                        <a:pt x="234455" y="52002"/>
                        <a:pt x="234157" y="48660"/>
                        <a:pt x="233363" y="45485"/>
                      </a:cubicBezTo>
                      <a:cubicBezTo>
                        <a:pt x="234157" y="42310"/>
                        <a:pt x="234455" y="38968"/>
                        <a:pt x="235744" y="35960"/>
                      </a:cubicBezTo>
                      <a:cubicBezTo>
                        <a:pt x="236871" y="33330"/>
                        <a:pt x="240101" y="31650"/>
                        <a:pt x="240506" y="28817"/>
                      </a:cubicBezTo>
                      <a:cubicBezTo>
                        <a:pt x="242394" y="15598"/>
                        <a:pt x="233327" y="18370"/>
                        <a:pt x="223838" y="16910"/>
                      </a:cubicBezTo>
                      <a:cubicBezTo>
                        <a:pt x="218291" y="16056"/>
                        <a:pt x="212725" y="15323"/>
                        <a:pt x="207169" y="14529"/>
                      </a:cubicBezTo>
                      <a:cubicBezTo>
                        <a:pt x="204788" y="12942"/>
                        <a:pt x="202585" y="11047"/>
                        <a:pt x="200025" y="9767"/>
                      </a:cubicBezTo>
                      <a:cubicBezTo>
                        <a:pt x="189197" y="4353"/>
                        <a:pt x="164832" y="5382"/>
                        <a:pt x="159544" y="5004"/>
                      </a:cubicBezTo>
                      <a:cubicBezTo>
                        <a:pt x="142061" y="-823"/>
                        <a:pt x="141706" y="-3308"/>
                        <a:pt x="152400" y="7385"/>
                      </a:cubicBezTo>
                      <a:cubicBezTo>
                        <a:pt x="151606" y="9766"/>
                        <a:pt x="151587" y="12569"/>
                        <a:pt x="150019" y="14529"/>
                      </a:cubicBezTo>
                      <a:cubicBezTo>
                        <a:pt x="137709" y="29917"/>
                        <a:pt x="146479" y="8480"/>
                        <a:pt x="140494" y="26435"/>
                      </a:cubicBezTo>
                      <a:cubicBezTo>
                        <a:pt x="136525" y="25641"/>
                        <a:pt x="132378" y="25475"/>
                        <a:pt x="128588" y="24054"/>
                      </a:cubicBezTo>
                      <a:cubicBezTo>
                        <a:pt x="125908" y="23049"/>
                        <a:pt x="124004" y="20572"/>
                        <a:pt x="121444" y="19292"/>
                      </a:cubicBezTo>
                      <a:cubicBezTo>
                        <a:pt x="119199" y="18169"/>
                        <a:pt x="116681" y="17704"/>
                        <a:pt x="114300" y="16910"/>
                      </a:cubicBezTo>
                      <a:cubicBezTo>
                        <a:pt x="111919" y="17704"/>
                        <a:pt x="109401" y="18169"/>
                        <a:pt x="107156" y="19292"/>
                      </a:cubicBezTo>
                      <a:cubicBezTo>
                        <a:pt x="101148" y="22296"/>
                        <a:pt x="101997" y="15322"/>
                        <a:pt x="100013" y="16910"/>
                      </a:cubicBezTo>
                      <a:close/>
                    </a:path>
                  </a:pathLst>
                </a:custGeom>
                <a:solidFill>
                  <a:schemeClr val="bg1">
                    <a:lumMod val="85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sp>
            <p:nvSpPr>
              <p:cNvPr id="751" name="Freeform: Shape 750">
                <a:extLst>
                  <a:ext uri="{FF2B5EF4-FFF2-40B4-BE49-F238E27FC236}">
                    <a16:creationId xmlns:a16="http://schemas.microsoft.com/office/drawing/2014/main" id="{FE86AC4C-18DE-431B-99CD-7FB0A09C0BC6}"/>
                  </a:ext>
                </a:extLst>
              </p:cNvPr>
              <p:cNvSpPr/>
              <p:nvPr/>
            </p:nvSpPr>
            <p:spPr>
              <a:xfrm rot="19288432">
                <a:off x="3338469" y="2525099"/>
                <a:ext cx="9996" cy="16896"/>
              </a:xfrm>
              <a:custGeom>
                <a:avLst/>
                <a:gdLst>
                  <a:gd name="connsiteX0" fmla="*/ 9548 w 9996"/>
                  <a:gd name="connsiteY0" fmla="*/ 57 h 16896"/>
                  <a:gd name="connsiteX1" fmla="*/ 23 w 9996"/>
                  <a:gd name="connsiteY1" fmla="*/ 11963 h 16896"/>
                  <a:gd name="connsiteX2" fmla="*/ 7167 w 9996"/>
                  <a:gd name="connsiteY2" fmla="*/ 16725 h 16896"/>
                  <a:gd name="connsiteX3" fmla="*/ 9548 w 9996"/>
                  <a:gd name="connsiteY3" fmla="*/ 57 h 16896"/>
                </a:gdLst>
                <a:ahLst/>
                <a:cxnLst>
                  <a:cxn ang="0">
                    <a:pos x="connsiteX0" y="connsiteY0"/>
                  </a:cxn>
                  <a:cxn ang="0">
                    <a:pos x="connsiteX1" y="connsiteY1"/>
                  </a:cxn>
                  <a:cxn ang="0">
                    <a:pos x="connsiteX2" y="connsiteY2"/>
                  </a:cxn>
                  <a:cxn ang="0">
                    <a:pos x="connsiteX3" y="connsiteY3"/>
                  </a:cxn>
                </a:cxnLst>
                <a:rect l="l" t="t" r="r" b="b"/>
                <a:pathLst>
                  <a:path w="9996" h="16896">
                    <a:moveTo>
                      <a:pt x="9548" y="57"/>
                    </a:moveTo>
                    <a:cubicBezTo>
                      <a:pt x="8358" y="-737"/>
                      <a:pt x="742" y="6932"/>
                      <a:pt x="23" y="11963"/>
                    </a:cubicBezTo>
                    <a:cubicBezTo>
                      <a:pt x="-382" y="14796"/>
                      <a:pt x="4452" y="17630"/>
                      <a:pt x="7167" y="16725"/>
                    </a:cubicBezTo>
                    <a:cubicBezTo>
                      <a:pt x="9426" y="15972"/>
                      <a:pt x="10738" y="851"/>
                      <a:pt x="9548" y="57"/>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sp>
          <p:nvSpPr>
            <p:cNvPr id="342" name="Rectangle 341">
              <a:extLst>
                <a:ext uri="{FF2B5EF4-FFF2-40B4-BE49-F238E27FC236}">
                  <a16:creationId xmlns:a16="http://schemas.microsoft.com/office/drawing/2014/main" id="{FEBC4524-819A-4A15-A0FD-D8E2E11249DC}"/>
                </a:ext>
              </a:extLst>
            </p:cNvPr>
            <p:cNvSpPr/>
            <p:nvPr/>
          </p:nvSpPr>
          <p:spPr>
            <a:xfrm>
              <a:off x="6634642" y="5213078"/>
              <a:ext cx="72000" cy="72000"/>
            </a:xfrm>
            <a:prstGeom prst="rect">
              <a:avLst/>
            </a:prstGeom>
            <a:solidFill>
              <a:schemeClr val="bg2">
                <a:lumMod val="90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nvGrpSpPr>
            <p:cNvPr id="343" name="Group 342">
              <a:extLst>
                <a:ext uri="{FF2B5EF4-FFF2-40B4-BE49-F238E27FC236}">
                  <a16:creationId xmlns:a16="http://schemas.microsoft.com/office/drawing/2014/main" id="{F4A4A4EA-49F9-4571-8658-6A060651F749}"/>
                </a:ext>
              </a:extLst>
            </p:cNvPr>
            <p:cNvGrpSpPr/>
            <p:nvPr/>
          </p:nvGrpSpPr>
          <p:grpSpPr>
            <a:xfrm>
              <a:off x="8341421" y="5395152"/>
              <a:ext cx="1307691" cy="1307776"/>
              <a:chOff x="5616677" y="5798574"/>
              <a:chExt cx="1307691" cy="1307776"/>
            </a:xfrm>
            <a:solidFill>
              <a:srgbClr val="003399"/>
            </a:solidFill>
          </p:grpSpPr>
          <p:sp>
            <p:nvSpPr>
              <p:cNvPr id="697" name="Freeform: Shape 696">
                <a:extLst>
                  <a:ext uri="{FF2B5EF4-FFF2-40B4-BE49-F238E27FC236}">
                    <a16:creationId xmlns:a16="http://schemas.microsoft.com/office/drawing/2014/main" id="{CFDCC093-C043-4EB2-BA75-2ABFF8632237}"/>
                  </a:ext>
                </a:extLst>
              </p:cNvPr>
              <p:cNvSpPr/>
              <p:nvPr/>
            </p:nvSpPr>
            <p:spPr>
              <a:xfrm>
                <a:off x="5677567" y="5798574"/>
                <a:ext cx="849175" cy="1037303"/>
              </a:xfrm>
              <a:custGeom>
                <a:avLst/>
                <a:gdLst>
                  <a:gd name="connsiteX0" fmla="*/ 32517 w 848702"/>
                  <a:gd name="connsiteY0" fmla="*/ 540774 h 1037303"/>
                  <a:gd name="connsiteX1" fmla="*/ 20227 w 848702"/>
                  <a:gd name="connsiteY1" fmla="*/ 521110 h 1037303"/>
                  <a:gd name="connsiteX2" fmla="*/ 15310 w 848702"/>
                  <a:gd name="connsiteY2" fmla="*/ 516194 h 1037303"/>
                  <a:gd name="connsiteX3" fmla="*/ 7936 w 848702"/>
                  <a:gd name="connsiteY3" fmla="*/ 513736 h 1037303"/>
                  <a:gd name="connsiteX4" fmla="*/ 562 w 848702"/>
                  <a:gd name="connsiteY4" fmla="*/ 508820 h 1037303"/>
                  <a:gd name="connsiteX5" fmla="*/ 12852 w 848702"/>
                  <a:gd name="connsiteY5" fmla="*/ 511278 h 1037303"/>
                  <a:gd name="connsiteX6" fmla="*/ 25143 w 848702"/>
                  <a:gd name="connsiteY6" fmla="*/ 508820 h 1037303"/>
                  <a:gd name="connsiteX7" fmla="*/ 34975 w 848702"/>
                  <a:gd name="connsiteY7" fmla="*/ 494071 h 1037303"/>
                  <a:gd name="connsiteX8" fmla="*/ 42349 w 848702"/>
                  <a:gd name="connsiteY8" fmla="*/ 479323 h 1037303"/>
                  <a:gd name="connsiteX9" fmla="*/ 34975 w 848702"/>
                  <a:gd name="connsiteY9" fmla="*/ 464574 h 1037303"/>
                  <a:gd name="connsiteX10" fmla="*/ 42349 w 848702"/>
                  <a:gd name="connsiteY10" fmla="*/ 467032 h 1037303"/>
                  <a:gd name="connsiteX11" fmla="*/ 39891 w 848702"/>
                  <a:gd name="connsiteY11" fmla="*/ 457200 h 1037303"/>
                  <a:gd name="connsiteX12" fmla="*/ 34975 w 848702"/>
                  <a:gd name="connsiteY12" fmla="*/ 449826 h 1037303"/>
                  <a:gd name="connsiteX13" fmla="*/ 42349 w 848702"/>
                  <a:gd name="connsiteY13" fmla="*/ 444910 h 1037303"/>
                  <a:gd name="connsiteX14" fmla="*/ 47265 w 848702"/>
                  <a:gd name="connsiteY14" fmla="*/ 437536 h 1037303"/>
                  <a:gd name="connsiteX15" fmla="*/ 54639 w 848702"/>
                  <a:gd name="connsiteY15" fmla="*/ 435078 h 1037303"/>
                  <a:gd name="connsiteX16" fmla="*/ 74304 w 848702"/>
                  <a:gd name="connsiteY16" fmla="*/ 430161 h 1037303"/>
                  <a:gd name="connsiteX17" fmla="*/ 76762 w 848702"/>
                  <a:gd name="connsiteY17" fmla="*/ 405581 h 1037303"/>
                  <a:gd name="connsiteX18" fmla="*/ 81678 w 848702"/>
                  <a:gd name="connsiteY18" fmla="*/ 398207 h 1037303"/>
                  <a:gd name="connsiteX19" fmla="*/ 86594 w 848702"/>
                  <a:gd name="connsiteY19" fmla="*/ 371168 h 1037303"/>
                  <a:gd name="connsiteX20" fmla="*/ 91510 w 848702"/>
                  <a:gd name="connsiteY20" fmla="*/ 363794 h 1037303"/>
                  <a:gd name="connsiteX21" fmla="*/ 98885 w 848702"/>
                  <a:gd name="connsiteY21" fmla="*/ 351503 h 1037303"/>
                  <a:gd name="connsiteX22" fmla="*/ 123465 w 848702"/>
                  <a:gd name="connsiteY22" fmla="*/ 344129 h 1037303"/>
                  <a:gd name="connsiteX23" fmla="*/ 116091 w 848702"/>
                  <a:gd name="connsiteY23" fmla="*/ 314632 h 1037303"/>
                  <a:gd name="connsiteX24" fmla="*/ 108717 w 848702"/>
                  <a:gd name="connsiteY24" fmla="*/ 309716 h 1037303"/>
                  <a:gd name="connsiteX25" fmla="*/ 106259 w 848702"/>
                  <a:gd name="connsiteY25" fmla="*/ 302342 h 1037303"/>
                  <a:gd name="connsiteX26" fmla="*/ 103801 w 848702"/>
                  <a:gd name="connsiteY26" fmla="*/ 282678 h 1037303"/>
                  <a:gd name="connsiteX27" fmla="*/ 111175 w 848702"/>
                  <a:gd name="connsiteY27" fmla="*/ 280220 h 1037303"/>
                  <a:gd name="connsiteX28" fmla="*/ 138214 w 848702"/>
                  <a:gd name="connsiteY28" fmla="*/ 282678 h 1037303"/>
                  <a:gd name="connsiteX29" fmla="*/ 150504 w 848702"/>
                  <a:gd name="connsiteY29" fmla="*/ 272845 h 1037303"/>
                  <a:gd name="connsiteX30" fmla="*/ 157878 w 848702"/>
                  <a:gd name="connsiteY30" fmla="*/ 270387 h 1037303"/>
                  <a:gd name="connsiteX31" fmla="*/ 175085 w 848702"/>
                  <a:gd name="connsiteY31" fmla="*/ 265471 h 1037303"/>
                  <a:gd name="connsiteX32" fmla="*/ 192291 w 848702"/>
                  <a:gd name="connsiteY32" fmla="*/ 267929 h 1037303"/>
                  <a:gd name="connsiteX33" fmla="*/ 204581 w 848702"/>
                  <a:gd name="connsiteY33" fmla="*/ 255639 h 1037303"/>
                  <a:gd name="connsiteX34" fmla="*/ 209498 w 848702"/>
                  <a:gd name="connsiteY34" fmla="*/ 250723 h 1037303"/>
                  <a:gd name="connsiteX35" fmla="*/ 219330 w 848702"/>
                  <a:gd name="connsiteY35" fmla="*/ 235974 h 1037303"/>
                  <a:gd name="connsiteX36" fmla="*/ 231620 w 848702"/>
                  <a:gd name="connsiteY36" fmla="*/ 221226 h 1037303"/>
                  <a:gd name="connsiteX37" fmla="*/ 234078 w 848702"/>
                  <a:gd name="connsiteY37" fmla="*/ 208936 h 1037303"/>
                  <a:gd name="connsiteX38" fmla="*/ 263575 w 848702"/>
                  <a:gd name="connsiteY38" fmla="*/ 213852 h 1037303"/>
                  <a:gd name="connsiteX39" fmla="*/ 273407 w 848702"/>
                  <a:gd name="connsiteY39" fmla="*/ 201561 h 1037303"/>
                  <a:gd name="connsiteX40" fmla="*/ 280781 w 848702"/>
                  <a:gd name="connsiteY40" fmla="*/ 199103 h 1037303"/>
                  <a:gd name="connsiteX41" fmla="*/ 297988 w 848702"/>
                  <a:gd name="connsiteY41" fmla="*/ 201561 h 1037303"/>
                  <a:gd name="connsiteX42" fmla="*/ 312736 w 848702"/>
                  <a:gd name="connsiteY42" fmla="*/ 204020 h 1037303"/>
                  <a:gd name="connsiteX43" fmla="*/ 315194 w 848702"/>
                  <a:gd name="connsiteY43" fmla="*/ 196645 h 1037303"/>
                  <a:gd name="connsiteX44" fmla="*/ 329943 w 848702"/>
                  <a:gd name="connsiteY44" fmla="*/ 196645 h 1037303"/>
                  <a:gd name="connsiteX45" fmla="*/ 329943 w 848702"/>
                  <a:gd name="connsiteY45" fmla="*/ 164691 h 1037303"/>
                  <a:gd name="connsiteX46" fmla="*/ 334859 w 848702"/>
                  <a:gd name="connsiteY46" fmla="*/ 159774 h 1037303"/>
                  <a:gd name="connsiteX47" fmla="*/ 347149 w 848702"/>
                  <a:gd name="connsiteY47" fmla="*/ 162232 h 1037303"/>
                  <a:gd name="connsiteX48" fmla="*/ 366814 w 848702"/>
                  <a:gd name="connsiteY48" fmla="*/ 159774 h 1037303"/>
                  <a:gd name="connsiteX49" fmla="*/ 388936 w 848702"/>
                  <a:gd name="connsiteY49" fmla="*/ 157316 h 1037303"/>
                  <a:gd name="connsiteX50" fmla="*/ 396310 w 848702"/>
                  <a:gd name="connsiteY50" fmla="*/ 152400 h 1037303"/>
                  <a:gd name="connsiteX51" fmla="*/ 408601 w 848702"/>
                  <a:gd name="connsiteY51" fmla="*/ 142568 h 1037303"/>
                  <a:gd name="connsiteX52" fmla="*/ 447930 w 848702"/>
                  <a:gd name="connsiteY52" fmla="*/ 140110 h 1037303"/>
                  <a:gd name="connsiteX53" fmla="*/ 462678 w 848702"/>
                  <a:gd name="connsiteY53" fmla="*/ 130278 h 1037303"/>
                  <a:gd name="connsiteX54" fmla="*/ 472510 w 848702"/>
                  <a:gd name="connsiteY54" fmla="*/ 120445 h 1037303"/>
                  <a:gd name="connsiteX55" fmla="*/ 484801 w 848702"/>
                  <a:gd name="connsiteY55" fmla="*/ 110613 h 1037303"/>
                  <a:gd name="connsiteX56" fmla="*/ 492175 w 848702"/>
                  <a:gd name="connsiteY56" fmla="*/ 108155 h 1037303"/>
                  <a:gd name="connsiteX57" fmla="*/ 494633 w 848702"/>
                  <a:gd name="connsiteY57" fmla="*/ 100781 h 1037303"/>
                  <a:gd name="connsiteX58" fmla="*/ 497091 w 848702"/>
                  <a:gd name="connsiteY58" fmla="*/ 90949 h 1037303"/>
                  <a:gd name="connsiteX59" fmla="*/ 504465 w 848702"/>
                  <a:gd name="connsiteY59" fmla="*/ 93407 h 1037303"/>
                  <a:gd name="connsiteX60" fmla="*/ 519214 w 848702"/>
                  <a:gd name="connsiteY60" fmla="*/ 83574 h 1037303"/>
                  <a:gd name="connsiteX61" fmla="*/ 526588 w 848702"/>
                  <a:gd name="connsiteY61" fmla="*/ 78658 h 1037303"/>
                  <a:gd name="connsiteX62" fmla="*/ 533962 w 848702"/>
                  <a:gd name="connsiteY62" fmla="*/ 78658 h 1037303"/>
                  <a:gd name="connsiteX63" fmla="*/ 541336 w 848702"/>
                  <a:gd name="connsiteY63" fmla="*/ 76200 h 1037303"/>
                  <a:gd name="connsiteX64" fmla="*/ 548710 w 848702"/>
                  <a:gd name="connsiteY64" fmla="*/ 81116 h 1037303"/>
                  <a:gd name="connsiteX65" fmla="*/ 556085 w 848702"/>
                  <a:gd name="connsiteY65" fmla="*/ 83574 h 1037303"/>
                  <a:gd name="connsiteX66" fmla="*/ 558543 w 848702"/>
                  <a:gd name="connsiteY66" fmla="*/ 90949 h 1037303"/>
                  <a:gd name="connsiteX67" fmla="*/ 565917 w 848702"/>
                  <a:gd name="connsiteY67" fmla="*/ 88491 h 1037303"/>
                  <a:gd name="connsiteX68" fmla="*/ 578207 w 848702"/>
                  <a:gd name="connsiteY68" fmla="*/ 100781 h 1037303"/>
                  <a:gd name="connsiteX69" fmla="*/ 585581 w 848702"/>
                  <a:gd name="connsiteY69" fmla="*/ 105697 h 1037303"/>
                  <a:gd name="connsiteX70" fmla="*/ 592956 w 848702"/>
                  <a:gd name="connsiteY70" fmla="*/ 103239 h 1037303"/>
                  <a:gd name="connsiteX71" fmla="*/ 607704 w 848702"/>
                  <a:gd name="connsiteY71" fmla="*/ 108155 h 1037303"/>
                  <a:gd name="connsiteX72" fmla="*/ 615078 w 848702"/>
                  <a:gd name="connsiteY72" fmla="*/ 105697 h 1037303"/>
                  <a:gd name="connsiteX73" fmla="*/ 627368 w 848702"/>
                  <a:gd name="connsiteY73" fmla="*/ 110613 h 1037303"/>
                  <a:gd name="connsiteX74" fmla="*/ 654407 w 848702"/>
                  <a:gd name="connsiteY74" fmla="*/ 115529 h 1037303"/>
                  <a:gd name="connsiteX75" fmla="*/ 661781 w 848702"/>
                  <a:gd name="connsiteY75" fmla="*/ 120445 h 1037303"/>
                  <a:gd name="connsiteX76" fmla="*/ 669156 w 848702"/>
                  <a:gd name="connsiteY76" fmla="*/ 117987 h 1037303"/>
                  <a:gd name="connsiteX77" fmla="*/ 678988 w 848702"/>
                  <a:gd name="connsiteY77" fmla="*/ 110613 h 1037303"/>
                  <a:gd name="connsiteX78" fmla="*/ 691278 w 848702"/>
                  <a:gd name="connsiteY78" fmla="*/ 108155 h 1037303"/>
                  <a:gd name="connsiteX79" fmla="*/ 706027 w 848702"/>
                  <a:gd name="connsiteY79" fmla="*/ 100781 h 1037303"/>
                  <a:gd name="connsiteX80" fmla="*/ 718317 w 848702"/>
                  <a:gd name="connsiteY80" fmla="*/ 103239 h 1037303"/>
                  <a:gd name="connsiteX81" fmla="*/ 725691 w 848702"/>
                  <a:gd name="connsiteY81" fmla="*/ 105697 h 1037303"/>
                  <a:gd name="connsiteX82" fmla="*/ 728149 w 848702"/>
                  <a:gd name="connsiteY82" fmla="*/ 98323 h 1037303"/>
                  <a:gd name="connsiteX83" fmla="*/ 742898 w 848702"/>
                  <a:gd name="connsiteY83" fmla="*/ 90949 h 1037303"/>
                  <a:gd name="connsiteX84" fmla="*/ 745356 w 848702"/>
                  <a:gd name="connsiteY84" fmla="*/ 83574 h 1037303"/>
                  <a:gd name="connsiteX85" fmla="*/ 750272 w 848702"/>
                  <a:gd name="connsiteY85" fmla="*/ 88491 h 1037303"/>
                  <a:gd name="connsiteX86" fmla="*/ 757646 w 848702"/>
                  <a:gd name="connsiteY86" fmla="*/ 93407 h 1037303"/>
                  <a:gd name="connsiteX87" fmla="*/ 769936 w 848702"/>
                  <a:gd name="connsiteY87" fmla="*/ 90949 h 1037303"/>
                  <a:gd name="connsiteX88" fmla="*/ 777310 w 848702"/>
                  <a:gd name="connsiteY88" fmla="*/ 73742 h 1037303"/>
                  <a:gd name="connsiteX89" fmla="*/ 782227 w 848702"/>
                  <a:gd name="connsiteY89" fmla="*/ 68826 h 1037303"/>
                  <a:gd name="connsiteX90" fmla="*/ 779768 w 848702"/>
                  <a:gd name="connsiteY90" fmla="*/ 61452 h 1037303"/>
                  <a:gd name="connsiteX91" fmla="*/ 777310 w 848702"/>
                  <a:gd name="connsiteY91" fmla="*/ 51620 h 1037303"/>
                  <a:gd name="connsiteX92" fmla="*/ 772394 w 848702"/>
                  <a:gd name="connsiteY92" fmla="*/ 46703 h 1037303"/>
                  <a:gd name="connsiteX93" fmla="*/ 769936 w 848702"/>
                  <a:gd name="connsiteY93" fmla="*/ 39329 h 1037303"/>
                  <a:gd name="connsiteX94" fmla="*/ 767478 w 848702"/>
                  <a:gd name="connsiteY94" fmla="*/ 27039 h 1037303"/>
                  <a:gd name="connsiteX95" fmla="*/ 760104 w 848702"/>
                  <a:gd name="connsiteY95" fmla="*/ 24581 h 1037303"/>
                  <a:gd name="connsiteX96" fmla="*/ 757646 w 848702"/>
                  <a:gd name="connsiteY96" fmla="*/ 9832 h 1037303"/>
                  <a:gd name="connsiteX97" fmla="*/ 765020 w 848702"/>
                  <a:gd name="connsiteY97" fmla="*/ 4916 h 1037303"/>
                  <a:gd name="connsiteX98" fmla="*/ 779768 w 848702"/>
                  <a:gd name="connsiteY98" fmla="*/ 0 h 1037303"/>
                  <a:gd name="connsiteX99" fmla="*/ 804349 w 848702"/>
                  <a:gd name="connsiteY99" fmla="*/ 2458 h 1037303"/>
                  <a:gd name="connsiteX100" fmla="*/ 819098 w 848702"/>
                  <a:gd name="connsiteY100" fmla="*/ 9832 h 1037303"/>
                  <a:gd name="connsiteX101" fmla="*/ 826472 w 848702"/>
                  <a:gd name="connsiteY101" fmla="*/ 12291 h 1037303"/>
                  <a:gd name="connsiteX102" fmla="*/ 841220 w 848702"/>
                  <a:gd name="connsiteY102" fmla="*/ 27039 h 1037303"/>
                  <a:gd name="connsiteX103" fmla="*/ 843678 w 848702"/>
                  <a:gd name="connsiteY103" fmla="*/ 34413 h 1037303"/>
                  <a:gd name="connsiteX104" fmla="*/ 848594 w 848702"/>
                  <a:gd name="connsiteY104" fmla="*/ 41787 h 1037303"/>
                  <a:gd name="connsiteX105" fmla="*/ 843678 w 848702"/>
                  <a:gd name="connsiteY105" fmla="*/ 71284 h 1037303"/>
                  <a:gd name="connsiteX106" fmla="*/ 828930 w 848702"/>
                  <a:gd name="connsiteY106" fmla="*/ 68826 h 1037303"/>
                  <a:gd name="connsiteX107" fmla="*/ 826472 w 848702"/>
                  <a:gd name="connsiteY107" fmla="*/ 76200 h 1037303"/>
                  <a:gd name="connsiteX108" fmla="*/ 816639 w 848702"/>
                  <a:gd name="connsiteY108" fmla="*/ 78658 h 1037303"/>
                  <a:gd name="connsiteX109" fmla="*/ 811723 w 848702"/>
                  <a:gd name="connsiteY109" fmla="*/ 86032 h 1037303"/>
                  <a:gd name="connsiteX110" fmla="*/ 814181 w 848702"/>
                  <a:gd name="connsiteY110" fmla="*/ 95865 h 1037303"/>
                  <a:gd name="connsiteX111" fmla="*/ 816639 w 848702"/>
                  <a:gd name="connsiteY111" fmla="*/ 103239 h 1037303"/>
                  <a:gd name="connsiteX112" fmla="*/ 821556 w 848702"/>
                  <a:gd name="connsiteY112" fmla="*/ 108155 h 1037303"/>
                  <a:gd name="connsiteX113" fmla="*/ 826472 w 848702"/>
                  <a:gd name="connsiteY113" fmla="*/ 115529 h 1037303"/>
                  <a:gd name="connsiteX114" fmla="*/ 821556 w 848702"/>
                  <a:gd name="connsiteY114" fmla="*/ 125361 h 1037303"/>
                  <a:gd name="connsiteX115" fmla="*/ 816639 w 848702"/>
                  <a:gd name="connsiteY115" fmla="*/ 130278 h 1037303"/>
                  <a:gd name="connsiteX116" fmla="*/ 819098 w 848702"/>
                  <a:gd name="connsiteY116" fmla="*/ 137652 h 1037303"/>
                  <a:gd name="connsiteX117" fmla="*/ 819098 w 848702"/>
                  <a:gd name="connsiteY117" fmla="*/ 152400 h 1037303"/>
                  <a:gd name="connsiteX118" fmla="*/ 799433 w 848702"/>
                  <a:gd name="connsiteY118" fmla="*/ 154858 h 1037303"/>
                  <a:gd name="connsiteX119" fmla="*/ 794517 w 848702"/>
                  <a:gd name="connsiteY119" fmla="*/ 162232 h 1037303"/>
                  <a:gd name="connsiteX120" fmla="*/ 801891 w 848702"/>
                  <a:gd name="connsiteY120" fmla="*/ 167149 h 1037303"/>
                  <a:gd name="connsiteX121" fmla="*/ 796975 w 848702"/>
                  <a:gd name="connsiteY121" fmla="*/ 174523 h 1037303"/>
                  <a:gd name="connsiteX122" fmla="*/ 792059 w 848702"/>
                  <a:gd name="connsiteY122" fmla="*/ 184355 h 1037303"/>
                  <a:gd name="connsiteX123" fmla="*/ 787143 w 848702"/>
                  <a:gd name="connsiteY123" fmla="*/ 176981 h 1037303"/>
                  <a:gd name="connsiteX124" fmla="*/ 772394 w 848702"/>
                  <a:gd name="connsiteY124" fmla="*/ 169607 h 1037303"/>
                  <a:gd name="connsiteX125" fmla="*/ 765020 w 848702"/>
                  <a:gd name="connsiteY125" fmla="*/ 164691 h 1037303"/>
                  <a:gd name="connsiteX126" fmla="*/ 715859 w 848702"/>
                  <a:gd name="connsiteY126" fmla="*/ 159774 h 1037303"/>
                  <a:gd name="connsiteX127" fmla="*/ 701110 w 848702"/>
                  <a:gd name="connsiteY127" fmla="*/ 152400 h 1037303"/>
                  <a:gd name="connsiteX128" fmla="*/ 693736 w 848702"/>
                  <a:gd name="connsiteY128" fmla="*/ 154858 h 1037303"/>
                  <a:gd name="connsiteX129" fmla="*/ 678988 w 848702"/>
                  <a:gd name="connsiteY129" fmla="*/ 157316 h 1037303"/>
                  <a:gd name="connsiteX130" fmla="*/ 669156 w 848702"/>
                  <a:gd name="connsiteY130" fmla="*/ 154858 h 1037303"/>
                  <a:gd name="connsiteX131" fmla="*/ 661781 w 848702"/>
                  <a:gd name="connsiteY131" fmla="*/ 152400 h 1037303"/>
                  <a:gd name="connsiteX132" fmla="*/ 654407 w 848702"/>
                  <a:gd name="connsiteY132" fmla="*/ 159774 h 1037303"/>
                  <a:gd name="connsiteX133" fmla="*/ 637201 w 848702"/>
                  <a:gd name="connsiteY133" fmla="*/ 167149 h 1037303"/>
                  <a:gd name="connsiteX134" fmla="*/ 632285 w 848702"/>
                  <a:gd name="connsiteY134" fmla="*/ 184355 h 1037303"/>
                  <a:gd name="connsiteX135" fmla="*/ 624910 w 848702"/>
                  <a:gd name="connsiteY135" fmla="*/ 186813 h 1037303"/>
                  <a:gd name="connsiteX136" fmla="*/ 602788 w 848702"/>
                  <a:gd name="connsiteY136" fmla="*/ 199103 h 1037303"/>
                  <a:gd name="connsiteX137" fmla="*/ 553627 w 848702"/>
                  <a:gd name="connsiteY137" fmla="*/ 196645 h 1037303"/>
                  <a:gd name="connsiteX138" fmla="*/ 548710 w 848702"/>
                  <a:gd name="connsiteY138" fmla="*/ 201561 h 1037303"/>
                  <a:gd name="connsiteX139" fmla="*/ 543794 w 848702"/>
                  <a:gd name="connsiteY139" fmla="*/ 216310 h 1037303"/>
                  <a:gd name="connsiteX140" fmla="*/ 538878 w 848702"/>
                  <a:gd name="connsiteY140" fmla="*/ 228600 h 1037303"/>
                  <a:gd name="connsiteX141" fmla="*/ 506923 w 848702"/>
                  <a:gd name="connsiteY141" fmla="*/ 238432 h 1037303"/>
                  <a:gd name="connsiteX142" fmla="*/ 497091 w 848702"/>
                  <a:gd name="connsiteY142" fmla="*/ 240891 h 1037303"/>
                  <a:gd name="connsiteX143" fmla="*/ 479885 w 848702"/>
                  <a:gd name="connsiteY143" fmla="*/ 243349 h 1037303"/>
                  <a:gd name="connsiteX144" fmla="*/ 482343 w 848702"/>
                  <a:gd name="connsiteY144" fmla="*/ 258097 h 1037303"/>
                  <a:gd name="connsiteX145" fmla="*/ 487259 w 848702"/>
                  <a:gd name="connsiteY145" fmla="*/ 265471 h 1037303"/>
                  <a:gd name="connsiteX146" fmla="*/ 484801 w 848702"/>
                  <a:gd name="connsiteY146" fmla="*/ 275303 h 1037303"/>
                  <a:gd name="connsiteX147" fmla="*/ 497091 w 848702"/>
                  <a:gd name="connsiteY147" fmla="*/ 287594 h 1037303"/>
                  <a:gd name="connsiteX148" fmla="*/ 570833 w 848702"/>
                  <a:gd name="connsiteY148" fmla="*/ 299884 h 1037303"/>
                  <a:gd name="connsiteX149" fmla="*/ 573291 w 848702"/>
                  <a:gd name="connsiteY149" fmla="*/ 307258 h 1037303"/>
                  <a:gd name="connsiteX150" fmla="*/ 585581 w 848702"/>
                  <a:gd name="connsiteY150" fmla="*/ 317091 h 1037303"/>
                  <a:gd name="connsiteX151" fmla="*/ 595414 w 848702"/>
                  <a:gd name="connsiteY151" fmla="*/ 329381 h 1037303"/>
                  <a:gd name="connsiteX152" fmla="*/ 588039 w 848702"/>
                  <a:gd name="connsiteY152" fmla="*/ 331839 h 1037303"/>
                  <a:gd name="connsiteX153" fmla="*/ 580665 w 848702"/>
                  <a:gd name="connsiteY153" fmla="*/ 326923 h 1037303"/>
                  <a:gd name="connsiteX154" fmla="*/ 570833 w 848702"/>
                  <a:gd name="connsiteY154" fmla="*/ 324465 h 1037303"/>
                  <a:gd name="connsiteX155" fmla="*/ 553627 w 848702"/>
                  <a:gd name="connsiteY155" fmla="*/ 319549 h 1037303"/>
                  <a:gd name="connsiteX156" fmla="*/ 546252 w 848702"/>
                  <a:gd name="connsiteY156" fmla="*/ 314632 h 1037303"/>
                  <a:gd name="connsiteX157" fmla="*/ 538878 w 848702"/>
                  <a:gd name="connsiteY157" fmla="*/ 307258 h 1037303"/>
                  <a:gd name="connsiteX158" fmla="*/ 504465 w 848702"/>
                  <a:gd name="connsiteY158" fmla="*/ 309716 h 1037303"/>
                  <a:gd name="connsiteX159" fmla="*/ 502007 w 848702"/>
                  <a:gd name="connsiteY159" fmla="*/ 322007 h 1037303"/>
                  <a:gd name="connsiteX160" fmla="*/ 502007 w 848702"/>
                  <a:gd name="connsiteY160" fmla="*/ 339213 h 1037303"/>
                  <a:gd name="connsiteX161" fmla="*/ 514298 w 848702"/>
                  <a:gd name="connsiteY161" fmla="*/ 341671 h 1037303"/>
                  <a:gd name="connsiteX162" fmla="*/ 529046 w 848702"/>
                  <a:gd name="connsiteY162" fmla="*/ 349045 h 1037303"/>
                  <a:gd name="connsiteX163" fmla="*/ 536420 w 848702"/>
                  <a:gd name="connsiteY163" fmla="*/ 351503 h 1037303"/>
                  <a:gd name="connsiteX164" fmla="*/ 538878 w 848702"/>
                  <a:gd name="connsiteY164" fmla="*/ 381000 h 1037303"/>
                  <a:gd name="connsiteX165" fmla="*/ 526588 w 848702"/>
                  <a:gd name="connsiteY165" fmla="*/ 378542 h 1037303"/>
                  <a:gd name="connsiteX166" fmla="*/ 521672 w 848702"/>
                  <a:gd name="connsiteY166" fmla="*/ 371168 h 1037303"/>
                  <a:gd name="connsiteX167" fmla="*/ 514298 w 848702"/>
                  <a:gd name="connsiteY167" fmla="*/ 363794 h 1037303"/>
                  <a:gd name="connsiteX168" fmla="*/ 509381 w 848702"/>
                  <a:gd name="connsiteY168" fmla="*/ 356420 h 1037303"/>
                  <a:gd name="connsiteX169" fmla="*/ 489717 w 848702"/>
                  <a:gd name="connsiteY169" fmla="*/ 341671 h 1037303"/>
                  <a:gd name="connsiteX170" fmla="*/ 474968 w 848702"/>
                  <a:gd name="connsiteY170" fmla="*/ 331839 h 1037303"/>
                  <a:gd name="connsiteX171" fmla="*/ 467594 w 848702"/>
                  <a:gd name="connsiteY171" fmla="*/ 329381 h 1037303"/>
                  <a:gd name="connsiteX172" fmla="*/ 460220 w 848702"/>
                  <a:gd name="connsiteY172" fmla="*/ 331839 h 1037303"/>
                  <a:gd name="connsiteX173" fmla="*/ 450388 w 848702"/>
                  <a:gd name="connsiteY173" fmla="*/ 334297 h 1037303"/>
                  <a:gd name="connsiteX174" fmla="*/ 445472 w 848702"/>
                  <a:gd name="connsiteY174" fmla="*/ 341671 h 1037303"/>
                  <a:gd name="connsiteX175" fmla="*/ 447930 w 848702"/>
                  <a:gd name="connsiteY175" fmla="*/ 358878 h 1037303"/>
                  <a:gd name="connsiteX176" fmla="*/ 455304 w 848702"/>
                  <a:gd name="connsiteY176" fmla="*/ 368710 h 1037303"/>
                  <a:gd name="connsiteX177" fmla="*/ 470052 w 848702"/>
                  <a:gd name="connsiteY177" fmla="*/ 378542 h 1037303"/>
                  <a:gd name="connsiteX178" fmla="*/ 487259 w 848702"/>
                  <a:gd name="connsiteY178" fmla="*/ 383458 h 1037303"/>
                  <a:gd name="connsiteX179" fmla="*/ 494633 w 848702"/>
                  <a:gd name="connsiteY179" fmla="*/ 385916 h 1037303"/>
                  <a:gd name="connsiteX180" fmla="*/ 497091 w 848702"/>
                  <a:gd name="connsiteY180" fmla="*/ 393291 h 1037303"/>
                  <a:gd name="connsiteX181" fmla="*/ 477427 w 848702"/>
                  <a:gd name="connsiteY181" fmla="*/ 388374 h 1037303"/>
                  <a:gd name="connsiteX182" fmla="*/ 455304 w 848702"/>
                  <a:gd name="connsiteY182" fmla="*/ 385916 h 1037303"/>
                  <a:gd name="connsiteX183" fmla="*/ 440556 w 848702"/>
                  <a:gd name="connsiteY183" fmla="*/ 371168 h 1037303"/>
                  <a:gd name="connsiteX184" fmla="*/ 435639 w 848702"/>
                  <a:gd name="connsiteY184" fmla="*/ 366252 h 1037303"/>
                  <a:gd name="connsiteX185" fmla="*/ 428265 w 848702"/>
                  <a:gd name="connsiteY185" fmla="*/ 363794 h 1037303"/>
                  <a:gd name="connsiteX186" fmla="*/ 420891 w 848702"/>
                  <a:gd name="connsiteY186" fmla="*/ 351503 h 1037303"/>
                  <a:gd name="connsiteX187" fmla="*/ 413517 w 848702"/>
                  <a:gd name="connsiteY187" fmla="*/ 344129 h 1037303"/>
                  <a:gd name="connsiteX188" fmla="*/ 411059 w 848702"/>
                  <a:gd name="connsiteY188" fmla="*/ 336755 h 1037303"/>
                  <a:gd name="connsiteX189" fmla="*/ 403685 w 848702"/>
                  <a:gd name="connsiteY189" fmla="*/ 331839 h 1037303"/>
                  <a:gd name="connsiteX190" fmla="*/ 361898 w 848702"/>
                  <a:gd name="connsiteY190" fmla="*/ 324465 h 1037303"/>
                  <a:gd name="connsiteX191" fmla="*/ 364356 w 848702"/>
                  <a:gd name="connsiteY191" fmla="*/ 299884 h 1037303"/>
                  <a:gd name="connsiteX192" fmla="*/ 371730 w 848702"/>
                  <a:gd name="connsiteY192" fmla="*/ 297426 h 1037303"/>
                  <a:gd name="connsiteX193" fmla="*/ 376646 w 848702"/>
                  <a:gd name="connsiteY193" fmla="*/ 290052 h 1037303"/>
                  <a:gd name="connsiteX194" fmla="*/ 371730 w 848702"/>
                  <a:gd name="connsiteY194" fmla="*/ 282678 h 1037303"/>
                  <a:gd name="connsiteX195" fmla="*/ 354523 w 848702"/>
                  <a:gd name="connsiteY195" fmla="*/ 275303 h 1037303"/>
                  <a:gd name="connsiteX196" fmla="*/ 356981 w 848702"/>
                  <a:gd name="connsiteY196" fmla="*/ 285136 h 1037303"/>
                  <a:gd name="connsiteX197" fmla="*/ 361898 w 848702"/>
                  <a:gd name="connsiteY197" fmla="*/ 299884 h 1037303"/>
                  <a:gd name="connsiteX198" fmla="*/ 356981 w 848702"/>
                  <a:gd name="connsiteY198" fmla="*/ 304800 h 1037303"/>
                  <a:gd name="connsiteX199" fmla="*/ 347149 w 848702"/>
                  <a:gd name="connsiteY199" fmla="*/ 307258 h 1037303"/>
                  <a:gd name="connsiteX200" fmla="*/ 339775 w 848702"/>
                  <a:gd name="connsiteY200" fmla="*/ 309716 h 1037303"/>
                  <a:gd name="connsiteX201" fmla="*/ 332401 w 848702"/>
                  <a:gd name="connsiteY201" fmla="*/ 314632 h 1037303"/>
                  <a:gd name="connsiteX202" fmla="*/ 334859 w 848702"/>
                  <a:gd name="connsiteY202" fmla="*/ 329381 h 1037303"/>
                  <a:gd name="connsiteX203" fmla="*/ 337317 w 848702"/>
                  <a:gd name="connsiteY203" fmla="*/ 336755 h 1037303"/>
                  <a:gd name="connsiteX204" fmla="*/ 332401 w 848702"/>
                  <a:gd name="connsiteY204" fmla="*/ 381000 h 1037303"/>
                  <a:gd name="connsiteX205" fmla="*/ 334859 w 848702"/>
                  <a:gd name="connsiteY205" fmla="*/ 390832 h 1037303"/>
                  <a:gd name="connsiteX206" fmla="*/ 342233 w 848702"/>
                  <a:gd name="connsiteY206" fmla="*/ 395749 h 1037303"/>
                  <a:gd name="connsiteX207" fmla="*/ 354523 w 848702"/>
                  <a:gd name="connsiteY207" fmla="*/ 408039 h 1037303"/>
                  <a:gd name="connsiteX208" fmla="*/ 364356 w 848702"/>
                  <a:gd name="connsiteY208" fmla="*/ 422787 h 1037303"/>
                  <a:gd name="connsiteX209" fmla="*/ 366814 w 848702"/>
                  <a:gd name="connsiteY209" fmla="*/ 430161 h 1037303"/>
                  <a:gd name="connsiteX210" fmla="*/ 381562 w 848702"/>
                  <a:gd name="connsiteY210" fmla="*/ 439994 h 1037303"/>
                  <a:gd name="connsiteX211" fmla="*/ 398768 w 848702"/>
                  <a:gd name="connsiteY211" fmla="*/ 457200 h 1037303"/>
                  <a:gd name="connsiteX212" fmla="*/ 406143 w 848702"/>
                  <a:gd name="connsiteY212" fmla="*/ 471949 h 1037303"/>
                  <a:gd name="connsiteX213" fmla="*/ 411059 w 848702"/>
                  <a:gd name="connsiteY213" fmla="*/ 479323 h 1037303"/>
                  <a:gd name="connsiteX214" fmla="*/ 418433 w 848702"/>
                  <a:gd name="connsiteY214" fmla="*/ 494071 h 1037303"/>
                  <a:gd name="connsiteX215" fmla="*/ 440556 w 848702"/>
                  <a:gd name="connsiteY215" fmla="*/ 496529 h 1037303"/>
                  <a:gd name="connsiteX216" fmla="*/ 455304 w 848702"/>
                  <a:gd name="connsiteY216" fmla="*/ 508820 h 1037303"/>
                  <a:gd name="connsiteX217" fmla="*/ 457762 w 848702"/>
                  <a:gd name="connsiteY217" fmla="*/ 516194 h 1037303"/>
                  <a:gd name="connsiteX218" fmla="*/ 455304 w 848702"/>
                  <a:gd name="connsiteY218" fmla="*/ 533400 h 1037303"/>
                  <a:gd name="connsiteX219" fmla="*/ 447930 w 848702"/>
                  <a:gd name="connsiteY219" fmla="*/ 538316 h 1037303"/>
                  <a:gd name="connsiteX220" fmla="*/ 445472 w 848702"/>
                  <a:gd name="connsiteY220" fmla="*/ 523568 h 1037303"/>
                  <a:gd name="connsiteX221" fmla="*/ 435639 w 848702"/>
                  <a:gd name="connsiteY221" fmla="*/ 511278 h 1037303"/>
                  <a:gd name="connsiteX222" fmla="*/ 406143 w 848702"/>
                  <a:gd name="connsiteY222" fmla="*/ 513736 h 1037303"/>
                  <a:gd name="connsiteX223" fmla="*/ 391394 w 848702"/>
                  <a:gd name="connsiteY223" fmla="*/ 523568 h 1037303"/>
                  <a:gd name="connsiteX224" fmla="*/ 396310 w 848702"/>
                  <a:gd name="connsiteY224" fmla="*/ 538316 h 1037303"/>
                  <a:gd name="connsiteX225" fmla="*/ 403685 w 848702"/>
                  <a:gd name="connsiteY225" fmla="*/ 543232 h 1037303"/>
                  <a:gd name="connsiteX226" fmla="*/ 413517 w 848702"/>
                  <a:gd name="connsiteY226" fmla="*/ 545691 h 1037303"/>
                  <a:gd name="connsiteX227" fmla="*/ 420891 w 848702"/>
                  <a:gd name="connsiteY227" fmla="*/ 548149 h 1037303"/>
                  <a:gd name="connsiteX228" fmla="*/ 428265 w 848702"/>
                  <a:gd name="connsiteY228" fmla="*/ 557981 h 1037303"/>
                  <a:gd name="connsiteX229" fmla="*/ 435639 w 848702"/>
                  <a:gd name="connsiteY229" fmla="*/ 560439 h 1037303"/>
                  <a:gd name="connsiteX230" fmla="*/ 433181 w 848702"/>
                  <a:gd name="connsiteY230" fmla="*/ 575187 h 1037303"/>
                  <a:gd name="connsiteX231" fmla="*/ 418433 w 848702"/>
                  <a:gd name="connsiteY231" fmla="*/ 580103 h 1037303"/>
                  <a:gd name="connsiteX232" fmla="*/ 411059 w 848702"/>
                  <a:gd name="connsiteY232" fmla="*/ 585020 h 1037303"/>
                  <a:gd name="connsiteX233" fmla="*/ 391394 w 848702"/>
                  <a:gd name="connsiteY233" fmla="*/ 589936 h 1037303"/>
                  <a:gd name="connsiteX234" fmla="*/ 371730 w 848702"/>
                  <a:gd name="connsiteY234" fmla="*/ 594852 h 1037303"/>
                  <a:gd name="connsiteX235" fmla="*/ 369272 w 848702"/>
                  <a:gd name="connsiteY235" fmla="*/ 602226 h 1037303"/>
                  <a:gd name="connsiteX236" fmla="*/ 393852 w 848702"/>
                  <a:gd name="connsiteY236" fmla="*/ 612058 h 1037303"/>
                  <a:gd name="connsiteX237" fmla="*/ 403685 w 848702"/>
                  <a:gd name="connsiteY237" fmla="*/ 614516 h 1037303"/>
                  <a:gd name="connsiteX238" fmla="*/ 411059 w 848702"/>
                  <a:gd name="connsiteY238" fmla="*/ 616974 h 1037303"/>
                  <a:gd name="connsiteX239" fmla="*/ 428265 w 848702"/>
                  <a:gd name="connsiteY239" fmla="*/ 619432 h 1037303"/>
                  <a:gd name="connsiteX240" fmla="*/ 435639 w 848702"/>
                  <a:gd name="connsiteY240" fmla="*/ 634181 h 1037303"/>
                  <a:gd name="connsiteX241" fmla="*/ 443014 w 848702"/>
                  <a:gd name="connsiteY241" fmla="*/ 636639 h 1037303"/>
                  <a:gd name="connsiteX242" fmla="*/ 474968 w 848702"/>
                  <a:gd name="connsiteY242" fmla="*/ 644013 h 1037303"/>
                  <a:gd name="connsiteX243" fmla="*/ 514298 w 848702"/>
                  <a:gd name="connsiteY243" fmla="*/ 648929 h 1037303"/>
                  <a:gd name="connsiteX244" fmla="*/ 516756 w 848702"/>
                  <a:gd name="connsiteY244" fmla="*/ 639097 h 1037303"/>
                  <a:gd name="connsiteX245" fmla="*/ 514298 w 848702"/>
                  <a:gd name="connsiteY245" fmla="*/ 626807 h 1037303"/>
                  <a:gd name="connsiteX246" fmla="*/ 499549 w 848702"/>
                  <a:gd name="connsiteY246" fmla="*/ 621891 h 1037303"/>
                  <a:gd name="connsiteX247" fmla="*/ 494633 w 848702"/>
                  <a:gd name="connsiteY247" fmla="*/ 616974 h 1037303"/>
                  <a:gd name="connsiteX248" fmla="*/ 484801 w 848702"/>
                  <a:gd name="connsiteY248" fmla="*/ 602226 h 1037303"/>
                  <a:gd name="connsiteX249" fmla="*/ 474968 w 848702"/>
                  <a:gd name="connsiteY249" fmla="*/ 599768 h 1037303"/>
                  <a:gd name="connsiteX250" fmla="*/ 467594 w 848702"/>
                  <a:gd name="connsiteY250" fmla="*/ 594852 h 1037303"/>
                  <a:gd name="connsiteX251" fmla="*/ 440556 w 848702"/>
                  <a:gd name="connsiteY251" fmla="*/ 592394 h 1037303"/>
                  <a:gd name="connsiteX252" fmla="*/ 430723 w 848702"/>
                  <a:gd name="connsiteY252" fmla="*/ 589936 h 1037303"/>
                  <a:gd name="connsiteX253" fmla="*/ 423349 w 848702"/>
                  <a:gd name="connsiteY253" fmla="*/ 585020 h 1037303"/>
                  <a:gd name="connsiteX254" fmla="*/ 420891 w 848702"/>
                  <a:gd name="connsiteY254" fmla="*/ 592394 h 1037303"/>
                  <a:gd name="connsiteX255" fmla="*/ 433181 w 848702"/>
                  <a:gd name="connsiteY255" fmla="*/ 589936 h 1037303"/>
                  <a:gd name="connsiteX256" fmla="*/ 435639 w 848702"/>
                  <a:gd name="connsiteY256" fmla="*/ 565355 h 1037303"/>
                  <a:gd name="connsiteX257" fmla="*/ 450388 w 848702"/>
                  <a:gd name="connsiteY257" fmla="*/ 560439 h 1037303"/>
                  <a:gd name="connsiteX258" fmla="*/ 457762 w 848702"/>
                  <a:gd name="connsiteY258" fmla="*/ 557981 h 1037303"/>
                  <a:gd name="connsiteX259" fmla="*/ 472510 w 848702"/>
                  <a:gd name="connsiteY259" fmla="*/ 567813 h 1037303"/>
                  <a:gd name="connsiteX260" fmla="*/ 479885 w 848702"/>
                  <a:gd name="connsiteY260" fmla="*/ 570271 h 1037303"/>
                  <a:gd name="connsiteX261" fmla="*/ 489717 w 848702"/>
                  <a:gd name="connsiteY261" fmla="*/ 582561 h 1037303"/>
                  <a:gd name="connsiteX262" fmla="*/ 499549 w 848702"/>
                  <a:gd name="connsiteY262" fmla="*/ 597310 h 1037303"/>
                  <a:gd name="connsiteX263" fmla="*/ 570833 w 848702"/>
                  <a:gd name="connsiteY263" fmla="*/ 602226 h 1037303"/>
                  <a:gd name="connsiteX264" fmla="*/ 583123 w 848702"/>
                  <a:gd name="connsiteY264" fmla="*/ 604684 h 1037303"/>
                  <a:gd name="connsiteX265" fmla="*/ 585581 w 848702"/>
                  <a:gd name="connsiteY265" fmla="*/ 619432 h 1037303"/>
                  <a:gd name="connsiteX266" fmla="*/ 588039 w 848702"/>
                  <a:gd name="connsiteY266" fmla="*/ 626807 h 1037303"/>
                  <a:gd name="connsiteX267" fmla="*/ 592956 w 848702"/>
                  <a:gd name="connsiteY267" fmla="*/ 631723 h 1037303"/>
                  <a:gd name="connsiteX268" fmla="*/ 607704 w 848702"/>
                  <a:gd name="connsiteY268" fmla="*/ 641555 h 1037303"/>
                  <a:gd name="connsiteX269" fmla="*/ 617536 w 848702"/>
                  <a:gd name="connsiteY269" fmla="*/ 663678 h 1037303"/>
                  <a:gd name="connsiteX270" fmla="*/ 619994 w 848702"/>
                  <a:gd name="connsiteY270" fmla="*/ 671052 h 1037303"/>
                  <a:gd name="connsiteX271" fmla="*/ 629827 w 848702"/>
                  <a:gd name="connsiteY271" fmla="*/ 680884 h 1037303"/>
                  <a:gd name="connsiteX272" fmla="*/ 656865 w 848702"/>
                  <a:gd name="connsiteY272" fmla="*/ 683342 h 1037303"/>
                  <a:gd name="connsiteX273" fmla="*/ 674072 w 848702"/>
                  <a:gd name="connsiteY273" fmla="*/ 695632 h 1037303"/>
                  <a:gd name="connsiteX274" fmla="*/ 671614 w 848702"/>
                  <a:gd name="connsiteY274" fmla="*/ 707923 h 1037303"/>
                  <a:gd name="connsiteX275" fmla="*/ 656865 w 848702"/>
                  <a:gd name="connsiteY275" fmla="*/ 715297 h 1037303"/>
                  <a:gd name="connsiteX276" fmla="*/ 649491 w 848702"/>
                  <a:gd name="connsiteY276" fmla="*/ 710381 h 1037303"/>
                  <a:gd name="connsiteX277" fmla="*/ 642117 w 848702"/>
                  <a:gd name="connsiteY277" fmla="*/ 703007 h 1037303"/>
                  <a:gd name="connsiteX278" fmla="*/ 634743 w 848702"/>
                  <a:gd name="connsiteY278" fmla="*/ 700549 h 1037303"/>
                  <a:gd name="connsiteX279" fmla="*/ 619994 w 848702"/>
                  <a:gd name="connsiteY279" fmla="*/ 693174 h 1037303"/>
                  <a:gd name="connsiteX280" fmla="*/ 612620 w 848702"/>
                  <a:gd name="connsiteY280" fmla="*/ 688258 h 1037303"/>
                  <a:gd name="connsiteX281" fmla="*/ 597872 w 848702"/>
                  <a:gd name="connsiteY281" fmla="*/ 680884 h 1037303"/>
                  <a:gd name="connsiteX282" fmla="*/ 595414 w 848702"/>
                  <a:gd name="connsiteY282" fmla="*/ 671052 h 1037303"/>
                  <a:gd name="connsiteX283" fmla="*/ 575749 w 848702"/>
                  <a:gd name="connsiteY283" fmla="*/ 656303 h 1037303"/>
                  <a:gd name="connsiteX284" fmla="*/ 568375 w 848702"/>
                  <a:gd name="connsiteY284" fmla="*/ 648929 h 1037303"/>
                  <a:gd name="connsiteX285" fmla="*/ 558543 w 848702"/>
                  <a:gd name="connsiteY285" fmla="*/ 646471 h 1037303"/>
                  <a:gd name="connsiteX286" fmla="*/ 551168 w 848702"/>
                  <a:gd name="connsiteY286" fmla="*/ 644013 h 1037303"/>
                  <a:gd name="connsiteX287" fmla="*/ 543794 w 848702"/>
                  <a:gd name="connsiteY287" fmla="*/ 648929 h 1037303"/>
                  <a:gd name="connsiteX288" fmla="*/ 538878 w 848702"/>
                  <a:gd name="connsiteY288" fmla="*/ 656303 h 1037303"/>
                  <a:gd name="connsiteX289" fmla="*/ 533962 w 848702"/>
                  <a:gd name="connsiteY289" fmla="*/ 661220 h 1037303"/>
                  <a:gd name="connsiteX290" fmla="*/ 570833 w 848702"/>
                  <a:gd name="connsiteY290" fmla="*/ 668594 h 1037303"/>
                  <a:gd name="connsiteX291" fmla="*/ 585581 w 848702"/>
                  <a:gd name="connsiteY291" fmla="*/ 673510 h 1037303"/>
                  <a:gd name="connsiteX292" fmla="*/ 590498 w 848702"/>
                  <a:gd name="connsiteY292" fmla="*/ 678426 h 1037303"/>
                  <a:gd name="connsiteX293" fmla="*/ 595414 w 848702"/>
                  <a:gd name="connsiteY293" fmla="*/ 700549 h 1037303"/>
                  <a:gd name="connsiteX294" fmla="*/ 600330 w 848702"/>
                  <a:gd name="connsiteY294" fmla="*/ 739878 h 1037303"/>
                  <a:gd name="connsiteX295" fmla="*/ 607704 w 848702"/>
                  <a:gd name="connsiteY295" fmla="*/ 747252 h 1037303"/>
                  <a:gd name="connsiteX296" fmla="*/ 612620 w 848702"/>
                  <a:gd name="connsiteY296" fmla="*/ 776749 h 1037303"/>
                  <a:gd name="connsiteX297" fmla="*/ 605246 w 848702"/>
                  <a:gd name="connsiteY297" fmla="*/ 781665 h 1037303"/>
                  <a:gd name="connsiteX298" fmla="*/ 597872 w 848702"/>
                  <a:gd name="connsiteY298" fmla="*/ 779207 h 1037303"/>
                  <a:gd name="connsiteX299" fmla="*/ 583123 w 848702"/>
                  <a:gd name="connsiteY299" fmla="*/ 764458 h 1037303"/>
                  <a:gd name="connsiteX300" fmla="*/ 568375 w 848702"/>
                  <a:gd name="connsiteY300" fmla="*/ 759542 h 1037303"/>
                  <a:gd name="connsiteX301" fmla="*/ 551168 w 848702"/>
                  <a:gd name="connsiteY301" fmla="*/ 747252 h 1037303"/>
                  <a:gd name="connsiteX302" fmla="*/ 543794 w 848702"/>
                  <a:gd name="connsiteY302" fmla="*/ 742336 h 1037303"/>
                  <a:gd name="connsiteX303" fmla="*/ 536420 w 848702"/>
                  <a:gd name="connsiteY303" fmla="*/ 739878 h 1037303"/>
                  <a:gd name="connsiteX304" fmla="*/ 529046 w 848702"/>
                  <a:gd name="connsiteY304" fmla="*/ 734961 h 1037303"/>
                  <a:gd name="connsiteX305" fmla="*/ 526588 w 848702"/>
                  <a:gd name="connsiteY305" fmla="*/ 727587 h 1037303"/>
                  <a:gd name="connsiteX306" fmla="*/ 521672 w 848702"/>
                  <a:gd name="connsiteY306" fmla="*/ 720213 h 1037303"/>
                  <a:gd name="connsiteX307" fmla="*/ 511839 w 848702"/>
                  <a:gd name="connsiteY307" fmla="*/ 722671 h 1037303"/>
                  <a:gd name="connsiteX308" fmla="*/ 504465 w 848702"/>
                  <a:gd name="connsiteY308" fmla="*/ 730045 h 1037303"/>
                  <a:gd name="connsiteX309" fmla="*/ 497091 w 848702"/>
                  <a:gd name="connsiteY309" fmla="*/ 734961 h 1037303"/>
                  <a:gd name="connsiteX310" fmla="*/ 492175 w 848702"/>
                  <a:gd name="connsiteY310" fmla="*/ 739878 h 1037303"/>
                  <a:gd name="connsiteX311" fmla="*/ 484801 w 848702"/>
                  <a:gd name="connsiteY311" fmla="*/ 742336 h 1037303"/>
                  <a:gd name="connsiteX312" fmla="*/ 470052 w 848702"/>
                  <a:gd name="connsiteY312" fmla="*/ 749710 h 1037303"/>
                  <a:gd name="connsiteX313" fmla="*/ 472510 w 848702"/>
                  <a:gd name="connsiteY313" fmla="*/ 759542 h 1037303"/>
                  <a:gd name="connsiteX314" fmla="*/ 474968 w 848702"/>
                  <a:gd name="connsiteY314" fmla="*/ 766916 h 1037303"/>
                  <a:gd name="connsiteX315" fmla="*/ 482343 w 848702"/>
                  <a:gd name="connsiteY315" fmla="*/ 791497 h 1037303"/>
                  <a:gd name="connsiteX316" fmla="*/ 492175 w 848702"/>
                  <a:gd name="connsiteY316" fmla="*/ 806245 h 1037303"/>
                  <a:gd name="connsiteX317" fmla="*/ 499549 w 848702"/>
                  <a:gd name="connsiteY317" fmla="*/ 808703 h 1037303"/>
                  <a:gd name="connsiteX318" fmla="*/ 514298 w 848702"/>
                  <a:gd name="connsiteY318" fmla="*/ 806245 h 1037303"/>
                  <a:gd name="connsiteX319" fmla="*/ 516756 w 848702"/>
                  <a:gd name="connsiteY319" fmla="*/ 796413 h 1037303"/>
                  <a:gd name="connsiteX320" fmla="*/ 524130 w 848702"/>
                  <a:gd name="connsiteY320" fmla="*/ 811161 h 1037303"/>
                  <a:gd name="connsiteX321" fmla="*/ 531504 w 848702"/>
                  <a:gd name="connsiteY321" fmla="*/ 816078 h 1037303"/>
                  <a:gd name="connsiteX322" fmla="*/ 538878 w 848702"/>
                  <a:gd name="connsiteY322" fmla="*/ 823452 h 1037303"/>
                  <a:gd name="connsiteX323" fmla="*/ 516756 w 848702"/>
                  <a:gd name="connsiteY323" fmla="*/ 833284 h 1037303"/>
                  <a:gd name="connsiteX324" fmla="*/ 514298 w 848702"/>
                  <a:gd name="connsiteY324" fmla="*/ 845574 h 1037303"/>
                  <a:gd name="connsiteX325" fmla="*/ 509381 w 848702"/>
                  <a:gd name="connsiteY325" fmla="*/ 850491 h 1037303"/>
                  <a:gd name="connsiteX326" fmla="*/ 494633 w 848702"/>
                  <a:gd name="connsiteY326" fmla="*/ 860323 h 1037303"/>
                  <a:gd name="connsiteX327" fmla="*/ 487259 w 848702"/>
                  <a:gd name="connsiteY327" fmla="*/ 857865 h 1037303"/>
                  <a:gd name="connsiteX328" fmla="*/ 487259 w 848702"/>
                  <a:gd name="connsiteY328" fmla="*/ 840658 h 1037303"/>
                  <a:gd name="connsiteX329" fmla="*/ 484801 w 848702"/>
                  <a:gd name="connsiteY329" fmla="*/ 830826 h 1037303"/>
                  <a:gd name="connsiteX330" fmla="*/ 477427 w 848702"/>
                  <a:gd name="connsiteY330" fmla="*/ 828368 h 1037303"/>
                  <a:gd name="connsiteX331" fmla="*/ 470052 w 848702"/>
                  <a:gd name="connsiteY331" fmla="*/ 823452 h 1037303"/>
                  <a:gd name="connsiteX332" fmla="*/ 455304 w 848702"/>
                  <a:gd name="connsiteY332" fmla="*/ 828368 h 1037303"/>
                  <a:gd name="connsiteX333" fmla="*/ 440556 w 848702"/>
                  <a:gd name="connsiteY333" fmla="*/ 823452 h 1037303"/>
                  <a:gd name="connsiteX334" fmla="*/ 420891 w 848702"/>
                  <a:gd name="connsiteY334" fmla="*/ 825910 h 1037303"/>
                  <a:gd name="connsiteX335" fmla="*/ 423349 w 848702"/>
                  <a:gd name="connsiteY335" fmla="*/ 833284 h 1037303"/>
                  <a:gd name="connsiteX336" fmla="*/ 433181 w 848702"/>
                  <a:gd name="connsiteY336" fmla="*/ 848032 h 1037303"/>
                  <a:gd name="connsiteX337" fmla="*/ 447930 w 848702"/>
                  <a:gd name="connsiteY337" fmla="*/ 860323 h 1037303"/>
                  <a:gd name="connsiteX338" fmla="*/ 455304 w 848702"/>
                  <a:gd name="connsiteY338" fmla="*/ 882445 h 1037303"/>
                  <a:gd name="connsiteX339" fmla="*/ 457762 w 848702"/>
                  <a:gd name="connsiteY339" fmla="*/ 889820 h 1037303"/>
                  <a:gd name="connsiteX340" fmla="*/ 462678 w 848702"/>
                  <a:gd name="connsiteY340" fmla="*/ 899652 h 1037303"/>
                  <a:gd name="connsiteX341" fmla="*/ 470052 w 848702"/>
                  <a:gd name="connsiteY341" fmla="*/ 902110 h 1037303"/>
                  <a:gd name="connsiteX342" fmla="*/ 477427 w 848702"/>
                  <a:gd name="connsiteY342" fmla="*/ 907026 h 1037303"/>
                  <a:gd name="connsiteX343" fmla="*/ 482343 w 848702"/>
                  <a:gd name="connsiteY343" fmla="*/ 916858 h 1037303"/>
                  <a:gd name="connsiteX344" fmla="*/ 487259 w 848702"/>
                  <a:gd name="connsiteY344" fmla="*/ 931607 h 1037303"/>
                  <a:gd name="connsiteX345" fmla="*/ 499549 w 848702"/>
                  <a:gd name="connsiteY345" fmla="*/ 946355 h 1037303"/>
                  <a:gd name="connsiteX346" fmla="*/ 502007 w 848702"/>
                  <a:gd name="connsiteY346" fmla="*/ 953729 h 1037303"/>
                  <a:gd name="connsiteX347" fmla="*/ 504465 w 848702"/>
                  <a:gd name="connsiteY347" fmla="*/ 990600 h 1037303"/>
                  <a:gd name="connsiteX348" fmla="*/ 514298 w 848702"/>
                  <a:gd name="connsiteY348" fmla="*/ 1005349 h 1037303"/>
                  <a:gd name="connsiteX349" fmla="*/ 519214 w 848702"/>
                  <a:gd name="connsiteY349" fmla="*/ 1012723 h 1037303"/>
                  <a:gd name="connsiteX350" fmla="*/ 524130 w 848702"/>
                  <a:gd name="connsiteY350" fmla="*/ 1020097 h 1037303"/>
                  <a:gd name="connsiteX351" fmla="*/ 502007 w 848702"/>
                  <a:gd name="connsiteY351" fmla="*/ 1020097 h 1037303"/>
                  <a:gd name="connsiteX352" fmla="*/ 494633 w 848702"/>
                  <a:gd name="connsiteY352" fmla="*/ 1012723 h 1037303"/>
                  <a:gd name="connsiteX353" fmla="*/ 492175 w 848702"/>
                  <a:gd name="connsiteY353" fmla="*/ 1002891 h 1037303"/>
                  <a:gd name="connsiteX354" fmla="*/ 484801 w 848702"/>
                  <a:gd name="connsiteY354" fmla="*/ 1000432 h 1037303"/>
                  <a:gd name="connsiteX355" fmla="*/ 467594 w 848702"/>
                  <a:gd name="connsiteY355" fmla="*/ 990600 h 1037303"/>
                  <a:gd name="connsiteX356" fmla="*/ 465136 w 848702"/>
                  <a:gd name="connsiteY356" fmla="*/ 975852 h 1037303"/>
                  <a:gd name="connsiteX357" fmla="*/ 452846 w 848702"/>
                  <a:gd name="connsiteY357" fmla="*/ 958645 h 1037303"/>
                  <a:gd name="connsiteX358" fmla="*/ 430723 w 848702"/>
                  <a:gd name="connsiteY358" fmla="*/ 966020 h 1037303"/>
                  <a:gd name="connsiteX359" fmla="*/ 425807 w 848702"/>
                  <a:gd name="connsiteY359" fmla="*/ 980768 h 1037303"/>
                  <a:gd name="connsiteX360" fmla="*/ 428265 w 848702"/>
                  <a:gd name="connsiteY360" fmla="*/ 988142 h 1037303"/>
                  <a:gd name="connsiteX361" fmla="*/ 423349 w 848702"/>
                  <a:gd name="connsiteY361" fmla="*/ 1002891 h 1037303"/>
                  <a:gd name="connsiteX362" fmla="*/ 425807 w 848702"/>
                  <a:gd name="connsiteY362" fmla="*/ 1027471 h 1037303"/>
                  <a:gd name="connsiteX363" fmla="*/ 428265 w 848702"/>
                  <a:gd name="connsiteY363" fmla="*/ 1034845 h 1037303"/>
                  <a:gd name="connsiteX364" fmla="*/ 420891 w 848702"/>
                  <a:gd name="connsiteY364" fmla="*/ 1037303 h 1037303"/>
                  <a:gd name="connsiteX365" fmla="*/ 411059 w 848702"/>
                  <a:gd name="connsiteY365" fmla="*/ 1034845 h 1037303"/>
                  <a:gd name="connsiteX366" fmla="*/ 406143 w 848702"/>
                  <a:gd name="connsiteY366" fmla="*/ 1027471 h 1037303"/>
                  <a:gd name="connsiteX367" fmla="*/ 401227 w 848702"/>
                  <a:gd name="connsiteY367" fmla="*/ 1010265 h 1037303"/>
                  <a:gd name="connsiteX368" fmla="*/ 398768 w 848702"/>
                  <a:gd name="connsiteY368" fmla="*/ 1002891 h 1037303"/>
                  <a:gd name="connsiteX369" fmla="*/ 396310 w 848702"/>
                  <a:gd name="connsiteY369" fmla="*/ 985684 h 1037303"/>
                  <a:gd name="connsiteX370" fmla="*/ 388936 w 848702"/>
                  <a:gd name="connsiteY370" fmla="*/ 980768 h 1037303"/>
                  <a:gd name="connsiteX371" fmla="*/ 386478 w 848702"/>
                  <a:gd name="connsiteY371" fmla="*/ 970936 h 1037303"/>
                  <a:gd name="connsiteX372" fmla="*/ 379104 w 848702"/>
                  <a:gd name="connsiteY372" fmla="*/ 966020 h 1037303"/>
                  <a:gd name="connsiteX373" fmla="*/ 374188 w 848702"/>
                  <a:gd name="connsiteY373" fmla="*/ 961103 h 1037303"/>
                  <a:gd name="connsiteX374" fmla="*/ 359439 w 848702"/>
                  <a:gd name="connsiteY374" fmla="*/ 953729 h 1037303"/>
                  <a:gd name="connsiteX375" fmla="*/ 352065 w 848702"/>
                  <a:gd name="connsiteY375" fmla="*/ 946355 h 1037303"/>
                  <a:gd name="connsiteX376" fmla="*/ 347149 w 848702"/>
                  <a:gd name="connsiteY376" fmla="*/ 931607 h 1037303"/>
                  <a:gd name="connsiteX377" fmla="*/ 339775 w 848702"/>
                  <a:gd name="connsiteY377" fmla="*/ 934065 h 1037303"/>
                  <a:gd name="connsiteX378" fmla="*/ 337317 w 848702"/>
                  <a:gd name="connsiteY378" fmla="*/ 941439 h 1037303"/>
                  <a:gd name="connsiteX379" fmla="*/ 322568 w 848702"/>
                  <a:gd name="connsiteY379" fmla="*/ 946355 h 1037303"/>
                  <a:gd name="connsiteX380" fmla="*/ 327485 w 848702"/>
                  <a:gd name="connsiteY380" fmla="*/ 961103 h 1037303"/>
                  <a:gd name="connsiteX381" fmla="*/ 329943 w 848702"/>
                  <a:gd name="connsiteY381" fmla="*/ 968478 h 1037303"/>
                  <a:gd name="connsiteX382" fmla="*/ 327485 w 848702"/>
                  <a:gd name="connsiteY382" fmla="*/ 985684 h 1037303"/>
                  <a:gd name="connsiteX383" fmla="*/ 320110 w 848702"/>
                  <a:gd name="connsiteY383" fmla="*/ 988142 h 1037303"/>
                  <a:gd name="connsiteX384" fmla="*/ 305362 w 848702"/>
                  <a:gd name="connsiteY384" fmla="*/ 983226 h 1037303"/>
                  <a:gd name="connsiteX385" fmla="*/ 288156 w 848702"/>
                  <a:gd name="connsiteY385" fmla="*/ 980768 h 1037303"/>
                  <a:gd name="connsiteX386" fmla="*/ 273407 w 848702"/>
                  <a:gd name="connsiteY386" fmla="*/ 951271 h 1037303"/>
                  <a:gd name="connsiteX387" fmla="*/ 266033 w 848702"/>
                  <a:gd name="connsiteY387" fmla="*/ 943897 h 1037303"/>
                  <a:gd name="connsiteX388" fmla="*/ 275865 w 848702"/>
                  <a:gd name="connsiteY388" fmla="*/ 914400 h 1037303"/>
                  <a:gd name="connsiteX389" fmla="*/ 283239 w 848702"/>
                  <a:gd name="connsiteY389" fmla="*/ 909484 h 1037303"/>
                  <a:gd name="connsiteX390" fmla="*/ 285698 w 848702"/>
                  <a:gd name="connsiteY390" fmla="*/ 894736 h 1037303"/>
                  <a:gd name="connsiteX391" fmla="*/ 288156 w 848702"/>
                  <a:gd name="connsiteY391" fmla="*/ 887361 h 1037303"/>
                  <a:gd name="connsiteX392" fmla="*/ 278323 w 848702"/>
                  <a:gd name="connsiteY392" fmla="*/ 875071 h 1037303"/>
                  <a:gd name="connsiteX393" fmla="*/ 256201 w 848702"/>
                  <a:gd name="connsiteY393" fmla="*/ 855407 h 1037303"/>
                  <a:gd name="connsiteX394" fmla="*/ 248827 w 848702"/>
                  <a:gd name="connsiteY394" fmla="*/ 852949 h 1037303"/>
                  <a:gd name="connsiteX395" fmla="*/ 243910 w 848702"/>
                  <a:gd name="connsiteY395" fmla="*/ 848032 h 1037303"/>
                  <a:gd name="connsiteX396" fmla="*/ 221788 w 848702"/>
                  <a:gd name="connsiteY396" fmla="*/ 843116 h 1037303"/>
                  <a:gd name="connsiteX397" fmla="*/ 214414 w 848702"/>
                  <a:gd name="connsiteY397" fmla="*/ 840658 h 1037303"/>
                  <a:gd name="connsiteX398" fmla="*/ 211956 w 848702"/>
                  <a:gd name="connsiteY398" fmla="*/ 820994 h 1037303"/>
                  <a:gd name="connsiteX399" fmla="*/ 197207 w 848702"/>
                  <a:gd name="connsiteY399" fmla="*/ 816078 h 1037303"/>
                  <a:gd name="connsiteX400" fmla="*/ 189833 w 848702"/>
                  <a:gd name="connsiteY400" fmla="*/ 813620 h 1037303"/>
                  <a:gd name="connsiteX401" fmla="*/ 192291 w 848702"/>
                  <a:gd name="connsiteY401" fmla="*/ 806245 h 1037303"/>
                  <a:gd name="connsiteX402" fmla="*/ 199665 w 848702"/>
                  <a:gd name="connsiteY402" fmla="*/ 786581 h 1037303"/>
                  <a:gd name="connsiteX403" fmla="*/ 209498 w 848702"/>
                  <a:gd name="connsiteY403" fmla="*/ 784123 h 1037303"/>
                  <a:gd name="connsiteX404" fmla="*/ 216872 w 848702"/>
                  <a:gd name="connsiteY404" fmla="*/ 762000 h 1037303"/>
                  <a:gd name="connsiteX405" fmla="*/ 224246 w 848702"/>
                  <a:gd name="connsiteY405" fmla="*/ 747252 h 1037303"/>
                  <a:gd name="connsiteX406" fmla="*/ 231620 w 848702"/>
                  <a:gd name="connsiteY406" fmla="*/ 744794 h 1037303"/>
                  <a:gd name="connsiteX407" fmla="*/ 251285 w 848702"/>
                  <a:gd name="connsiteY407" fmla="*/ 739878 h 1037303"/>
                  <a:gd name="connsiteX408" fmla="*/ 263575 w 848702"/>
                  <a:gd name="connsiteY408" fmla="*/ 730045 h 1037303"/>
                  <a:gd name="connsiteX409" fmla="*/ 270949 w 848702"/>
                  <a:gd name="connsiteY409" fmla="*/ 727587 h 1037303"/>
                  <a:gd name="connsiteX410" fmla="*/ 273407 w 848702"/>
                  <a:gd name="connsiteY410" fmla="*/ 717755 h 1037303"/>
                  <a:gd name="connsiteX411" fmla="*/ 280781 w 848702"/>
                  <a:gd name="connsiteY411" fmla="*/ 715297 h 1037303"/>
                  <a:gd name="connsiteX412" fmla="*/ 285698 w 848702"/>
                  <a:gd name="connsiteY412" fmla="*/ 710381 h 1037303"/>
                  <a:gd name="connsiteX413" fmla="*/ 307820 w 848702"/>
                  <a:gd name="connsiteY413" fmla="*/ 712839 h 1037303"/>
                  <a:gd name="connsiteX414" fmla="*/ 322568 w 848702"/>
                  <a:gd name="connsiteY414" fmla="*/ 720213 h 1037303"/>
                  <a:gd name="connsiteX415" fmla="*/ 361898 w 848702"/>
                  <a:gd name="connsiteY415" fmla="*/ 730045 h 1037303"/>
                  <a:gd name="connsiteX416" fmla="*/ 391394 w 848702"/>
                  <a:gd name="connsiteY416" fmla="*/ 734961 h 1037303"/>
                  <a:gd name="connsiteX417" fmla="*/ 408601 w 848702"/>
                  <a:gd name="connsiteY417" fmla="*/ 749710 h 1037303"/>
                  <a:gd name="connsiteX418" fmla="*/ 425807 w 848702"/>
                  <a:gd name="connsiteY418" fmla="*/ 752168 h 1037303"/>
                  <a:gd name="connsiteX419" fmla="*/ 452846 w 848702"/>
                  <a:gd name="connsiteY419" fmla="*/ 757084 h 1037303"/>
                  <a:gd name="connsiteX420" fmla="*/ 447930 w 848702"/>
                  <a:gd name="connsiteY420" fmla="*/ 749710 h 1037303"/>
                  <a:gd name="connsiteX421" fmla="*/ 440556 w 848702"/>
                  <a:gd name="connsiteY421" fmla="*/ 742336 h 1037303"/>
                  <a:gd name="connsiteX422" fmla="*/ 457762 w 848702"/>
                  <a:gd name="connsiteY422" fmla="*/ 734961 h 1037303"/>
                  <a:gd name="connsiteX423" fmla="*/ 462678 w 848702"/>
                  <a:gd name="connsiteY423" fmla="*/ 727587 h 1037303"/>
                  <a:gd name="connsiteX424" fmla="*/ 477427 w 848702"/>
                  <a:gd name="connsiteY424" fmla="*/ 722671 h 1037303"/>
                  <a:gd name="connsiteX425" fmla="*/ 484801 w 848702"/>
                  <a:gd name="connsiteY425" fmla="*/ 717755 h 1037303"/>
                  <a:gd name="connsiteX426" fmla="*/ 472510 w 848702"/>
                  <a:gd name="connsiteY426" fmla="*/ 707923 h 1037303"/>
                  <a:gd name="connsiteX427" fmla="*/ 462678 w 848702"/>
                  <a:gd name="connsiteY427" fmla="*/ 705465 h 1037303"/>
                  <a:gd name="connsiteX428" fmla="*/ 455304 w 848702"/>
                  <a:gd name="connsiteY428" fmla="*/ 703007 h 1037303"/>
                  <a:gd name="connsiteX429" fmla="*/ 430723 w 848702"/>
                  <a:gd name="connsiteY429" fmla="*/ 700549 h 1037303"/>
                  <a:gd name="connsiteX430" fmla="*/ 393852 w 848702"/>
                  <a:gd name="connsiteY430" fmla="*/ 695632 h 1037303"/>
                  <a:gd name="connsiteX431" fmla="*/ 366814 w 848702"/>
                  <a:gd name="connsiteY431" fmla="*/ 688258 h 1037303"/>
                  <a:gd name="connsiteX432" fmla="*/ 361898 w 848702"/>
                  <a:gd name="connsiteY432" fmla="*/ 695632 h 1037303"/>
                  <a:gd name="connsiteX433" fmla="*/ 359439 w 848702"/>
                  <a:gd name="connsiteY433" fmla="*/ 703007 h 1037303"/>
                  <a:gd name="connsiteX434" fmla="*/ 352065 w 848702"/>
                  <a:gd name="connsiteY434" fmla="*/ 705465 h 1037303"/>
                  <a:gd name="connsiteX435" fmla="*/ 342233 w 848702"/>
                  <a:gd name="connsiteY435" fmla="*/ 703007 h 1037303"/>
                  <a:gd name="connsiteX436" fmla="*/ 337317 w 848702"/>
                  <a:gd name="connsiteY436" fmla="*/ 695632 h 1037303"/>
                  <a:gd name="connsiteX437" fmla="*/ 305362 w 848702"/>
                  <a:gd name="connsiteY437" fmla="*/ 693174 h 1037303"/>
                  <a:gd name="connsiteX438" fmla="*/ 280781 w 848702"/>
                  <a:gd name="connsiteY438" fmla="*/ 695632 h 1037303"/>
                  <a:gd name="connsiteX439" fmla="*/ 273407 w 848702"/>
                  <a:gd name="connsiteY439" fmla="*/ 700549 h 1037303"/>
                  <a:gd name="connsiteX440" fmla="*/ 258659 w 848702"/>
                  <a:gd name="connsiteY440" fmla="*/ 705465 h 1037303"/>
                  <a:gd name="connsiteX441" fmla="*/ 251285 w 848702"/>
                  <a:gd name="connsiteY441" fmla="*/ 707923 h 1037303"/>
                  <a:gd name="connsiteX442" fmla="*/ 243910 w 848702"/>
                  <a:gd name="connsiteY442" fmla="*/ 710381 h 1037303"/>
                  <a:gd name="connsiteX443" fmla="*/ 236536 w 848702"/>
                  <a:gd name="connsiteY443" fmla="*/ 715297 h 1037303"/>
                  <a:gd name="connsiteX444" fmla="*/ 224246 w 848702"/>
                  <a:gd name="connsiteY444" fmla="*/ 705465 h 1037303"/>
                  <a:gd name="connsiteX445" fmla="*/ 219330 w 848702"/>
                  <a:gd name="connsiteY445" fmla="*/ 698091 h 1037303"/>
                  <a:gd name="connsiteX446" fmla="*/ 204581 w 848702"/>
                  <a:gd name="connsiteY446" fmla="*/ 700549 h 1037303"/>
                  <a:gd name="connsiteX447" fmla="*/ 194749 w 848702"/>
                  <a:gd name="connsiteY447" fmla="*/ 722671 h 1037303"/>
                  <a:gd name="connsiteX448" fmla="*/ 180001 w 848702"/>
                  <a:gd name="connsiteY448" fmla="*/ 725129 h 1037303"/>
                  <a:gd name="connsiteX449" fmla="*/ 172627 w 848702"/>
                  <a:gd name="connsiteY449" fmla="*/ 698091 h 1037303"/>
                  <a:gd name="connsiteX450" fmla="*/ 165252 w 848702"/>
                  <a:gd name="connsiteY450" fmla="*/ 695632 h 1037303"/>
                  <a:gd name="connsiteX451" fmla="*/ 162794 w 848702"/>
                  <a:gd name="connsiteY451" fmla="*/ 703007 h 1037303"/>
                  <a:gd name="connsiteX452" fmla="*/ 155420 w 848702"/>
                  <a:gd name="connsiteY452" fmla="*/ 707923 h 1037303"/>
                  <a:gd name="connsiteX453" fmla="*/ 152962 w 848702"/>
                  <a:gd name="connsiteY453" fmla="*/ 683342 h 1037303"/>
                  <a:gd name="connsiteX454" fmla="*/ 148046 w 848702"/>
                  <a:gd name="connsiteY454" fmla="*/ 675968 h 1037303"/>
                  <a:gd name="connsiteX455" fmla="*/ 143130 w 848702"/>
                  <a:gd name="connsiteY455" fmla="*/ 683342 h 1037303"/>
                  <a:gd name="connsiteX456" fmla="*/ 135756 w 848702"/>
                  <a:gd name="connsiteY456" fmla="*/ 678426 h 1037303"/>
                  <a:gd name="connsiteX457" fmla="*/ 123465 w 848702"/>
                  <a:gd name="connsiteY457" fmla="*/ 671052 h 1037303"/>
                  <a:gd name="connsiteX458" fmla="*/ 106259 w 848702"/>
                  <a:gd name="connsiteY458" fmla="*/ 671052 h 1037303"/>
                  <a:gd name="connsiteX459" fmla="*/ 101343 w 848702"/>
                  <a:gd name="connsiteY459" fmla="*/ 663678 h 1037303"/>
                  <a:gd name="connsiteX460" fmla="*/ 108717 w 848702"/>
                  <a:gd name="connsiteY460" fmla="*/ 658761 h 1037303"/>
                  <a:gd name="connsiteX461" fmla="*/ 118549 w 848702"/>
                  <a:gd name="connsiteY461" fmla="*/ 656303 h 1037303"/>
                  <a:gd name="connsiteX462" fmla="*/ 128381 w 848702"/>
                  <a:gd name="connsiteY462" fmla="*/ 641555 h 1037303"/>
                  <a:gd name="connsiteX463" fmla="*/ 143130 w 848702"/>
                  <a:gd name="connsiteY463" fmla="*/ 636639 h 1037303"/>
                  <a:gd name="connsiteX464" fmla="*/ 145588 w 848702"/>
                  <a:gd name="connsiteY464" fmla="*/ 629265 h 1037303"/>
                  <a:gd name="connsiteX465" fmla="*/ 160336 w 848702"/>
                  <a:gd name="connsiteY465" fmla="*/ 634181 h 1037303"/>
                  <a:gd name="connsiteX466" fmla="*/ 162794 w 848702"/>
                  <a:gd name="connsiteY466" fmla="*/ 626807 h 1037303"/>
                  <a:gd name="connsiteX467" fmla="*/ 170168 w 848702"/>
                  <a:gd name="connsiteY467" fmla="*/ 619432 h 1037303"/>
                  <a:gd name="connsiteX468" fmla="*/ 165252 w 848702"/>
                  <a:gd name="connsiteY468" fmla="*/ 612058 h 1037303"/>
                  <a:gd name="connsiteX469" fmla="*/ 148046 w 848702"/>
                  <a:gd name="connsiteY469" fmla="*/ 604684 h 1037303"/>
                  <a:gd name="connsiteX470" fmla="*/ 128381 w 848702"/>
                  <a:gd name="connsiteY470" fmla="*/ 602226 h 1037303"/>
                  <a:gd name="connsiteX471" fmla="*/ 116091 w 848702"/>
                  <a:gd name="connsiteY471" fmla="*/ 592394 h 1037303"/>
                  <a:gd name="connsiteX472" fmla="*/ 113633 w 848702"/>
                  <a:gd name="connsiteY472" fmla="*/ 599768 h 1037303"/>
                  <a:gd name="connsiteX473" fmla="*/ 108717 w 848702"/>
                  <a:gd name="connsiteY473" fmla="*/ 607142 h 1037303"/>
                  <a:gd name="connsiteX474" fmla="*/ 74304 w 848702"/>
                  <a:gd name="connsiteY474" fmla="*/ 592394 h 1037303"/>
                  <a:gd name="connsiteX475" fmla="*/ 66930 w 848702"/>
                  <a:gd name="connsiteY475" fmla="*/ 587478 h 1037303"/>
                  <a:gd name="connsiteX476" fmla="*/ 62014 w 848702"/>
                  <a:gd name="connsiteY476" fmla="*/ 582561 h 1037303"/>
                  <a:gd name="connsiteX477" fmla="*/ 39891 w 848702"/>
                  <a:gd name="connsiteY477" fmla="*/ 565355 h 1037303"/>
                  <a:gd name="connsiteX478" fmla="*/ 34975 w 848702"/>
                  <a:gd name="connsiteY478" fmla="*/ 557981 h 1037303"/>
                  <a:gd name="connsiteX479" fmla="*/ 39891 w 848702"/>
                  <a:gd name="connsiteY479" fmla="*/ 550607 h 1037303"/>
                  <a:gd name="connsiteX480" fmla="*/ 37433 w 848702"/>
                  <a:gd name="connsiteY480" fmla="*/ 535858 h 1037303"/>
                  <a:gd name="connsiteX481" fmla="*/ 32517 w 848702"/>
                  <a:gd name="connsiteY481" fmla="*/ 528484 h 1037303"/>
                  <a:gd name="connsiteX482" fmla="*/ 10394 w 848702"/>
                  <a:gd name="connsiteY482" fmla="*/ 523568 h 1037303"/>
                  <a:gd name="connsiteX483" fmla="*/ 32517 w 848702"/>
                  <a:gd name="connsiteY483" fmla="*/ 540774 h 1037303"/>
                  <a:gd name="connsiteX0" fmla="*/ 32517 w 848702"/>
                  <a:gd name="connsiteY0" fmla="*/ 540774 h 1037303"/>
                  <a:gd name="connsiteX1" fmla="*/ 20227 w 848702"/>
                  <a:gd name="connsiteY1" fmla="*/ 521110 h 1037303"/>
                  <a:gd name="connsiteX2" fmla="*/ 15310 w 848702"/>
                  <a:gd name="connsiteY2" fmla="*/ 516194 h 1037303"/>
                  <a:gd name="connsiteX3" fmla="*/ 7936 w 848702"/>
                  <a:gd name="connsiteY3" fmla="*/ 513736 h 1037303"/>
                  <a:gd name="connsiteX4" fmla="*/ 562 w 848702"/>
                  <a:gd name="connsiteY4" fmla="*/ 508820 h 1037303"/>
                  <a:gd name="connsiteX5" fmla="*/ 12852 w 848702"/>
                  <a:gd name="connsiteY5" fmla="*/ 511278 h 1037303"/>
                  <a:gd name="connsiteX6" fmla="*/ 25143 w 848702"/>
                  <a:gd name="connsiteY6" fmla="*/ 508820 h 1037303"/>
                  <a:gd name="connsiteX7" fmla="*/ 34975 w 848702"/>
                  <a:gd name="connsiteY7" fmla="*/ 494071 h 1037303"/>
                  <a:gd name="connsiteX8" fmla="*/ 42349 w 848702"/>
                  <a:gd name="connsiteY8" fmla="*/ 479323 h 1037303"/>
                  <a:gd name="connsiteX9" fmla="*/ 34975 w 848702"/>
                  <a:gd name="connsiteY9" fmla="*/ 464574 h 1037303"/>
                  <a:gd name="connsiteX10" fmla="*/ 42349 w 848702"/>
                  <a:gd name="connsiteY10" fmla="*/ 467032 h 1037303"/>
                  <a:gd name="connsiteX11" fmla="*/ 39891 w 848702"/>
                  <a:gd name="connsiteY11" fmla="*/ 457200 h 1037303"/>
                  <a:gd name="connsiteX12" fmla="*/ 34975 w 848702"/>
                  <a:gd name="connsiteY12" fmla="*/ 449826 h 1037303"/>
                  <a:gd name="connsiteX13" fmla="*/ 42349 w 848702"/>
                  <a:gd name="connsiteY13" fmla="*/ 444910 h 1037303"/>
                  <a:gd name="connsiteX14" fmla="*/ 47265 w 848702"/>
                  <a:gd name="connsiteY14" fmla="*/ 437536 h 1037303"/>
                  <a:gd name="connsiteX15" fmla="*/ 54639 w 848702"/>
                  <a:gd name="connsiteY15" fmla="*/ 435078 h 1037303"/>
                  <a:gd name="connsiteX16" fmla="*/ 74304 w 848702"/>
                  <a:gd name="connsiteY16" fmla="*/ 430161 h 1037303"/>
                  <a:gd name="connsiteX17" fmla="*/ 76762 w 848702"/>
                  <a:gd name="connsiteY17" fmla="*/ 405581 h 1037303"/>
                  <a:gd name="connsiteX18" fmla="*/ 81678 w 848702"/>
                  <a:gd name="connsiteY18" fmla="*/ 398207 h 1037303"/>
                  <a:gd name="connsiteX19" fmla="*/ 86594 w 848702"/>
                  <a:gd name="connsiteY19" fmla="*/ 371168 h 1037303"/>
                  <a:gd name="connsiteX20" fmla="*/ 91510 w 848702"/>
                  <a:gd name="connsiteY20" fmla="*/ 363794 h 1037303"/>
                  <a:gd name="connsiteX21" fmla="*/ 98885 w 848702"/>
                  <a:gd name="connsiteY21" fmla="*/ 351503 h 1037303"/>
                  <a:gd name="connsiteX22" fmla="*/ 123465 w 848702"/>
                  <a:gd name="connsiteY22" fmla="*/ 344129 h 1037303"/>
                  <a:gd name="connsiteX23" fmla="*/ 116091 w 848702"/>
                  <a:gd name="connsiteY23" fmla="*/ 314632 h 1037303"/>
                  <a:gd name="connsiteX24" fmla="*/ 108717 w 848702"/>
                  <a:gd name="connsiteY24" fmla="*/ 309716 h 1037303"/>
                  <a:gd name="connsiteX25" fmla="*/ 106259 w 848702"/>
                  <a:gd name="connsiteY25" fmla="*/ 302342 h 1037303"/>
                  <a:gd name="connsiteX26" fmla="*/ 103801 w 848702"/>
                  <a:gd name="connsiteY26" fmla="*/ 282678 h 1037303"/>
                  <a:gd name="connsiteX27" fmla="*/ 111175 w 848702"/>
                  <a:gd name="connsiteY27" fmla="*/ 280220 h 1037303"/>
                  <a:gd name="connsiteX28" fmla="*/ 138214 w 848702"/>
                  <a:gd name="connsiteY28" fmla="*/ 282678 h 1037303"/>
                  <a:gd name="connsiteX29" fmla="*/ 150504 w 848702"/>
                  <a:gd name="connsiteY29" fmla="*/ 272845 h 1037303"/>
                  <a:gd name="connsiteX30" fmla="*/ 157878 w 848702"/>
                  <a:gd name="connsiteY30" fmla="*/ 270387 h 1037303"/>
                  <a:gd name="connsiteX31" fmla="*/ 175085 w 848702"/>
                  <a:gd name="connsiteY31" fmla="*/ 265471 h 1037303"/>
                  <a:gd name="connsiteX32" fmla="*/ 192291 w 848702"/>
                  <a:gd name="connsiteY32" fmla="*/ 267929 h 1037303"/>
                  <a:gd name="connsiteX33" fmla="*/ 204581 w 848702"/>
                  <a:gd name="connsiteY33" fmla="*/ 255639 h 1037303"/>
                  <a:gd name="connsiteX34" fmla="*/ 209498 w 848702"/>
                  <a:gd name="connsiteY34" fmla="*/ 250723 h 1037303"/>
                  <a:gd name="connsiteX35" fmla="*/ 219330 w 848702"/>
                  <a:gd name="connsiteY35" fmla="*/ 235974 h 1037303"/>
                  <a:gd name="connsiteX36" fmla="*/ 231620 w 848702"/>
                  <a:gd name="connsiteY36" fmla="*/ 221226 h 1037303"/>
                  <a:gd name="connsiteX37" fmla="*/ 234078 w 848702"/>
                  <a:gd name="connsiteY37" fmla="*/ 208936 h 1037303"/>
                  <a:gd name="connsiteX38" fmla="*/ 263575 w 848702"/>
                  <a:gd name="connsiteY38" fmla="*/ 213852 h 1037303"/>
                  <a:gd name="connsiteX39" fmla="*/ 273407 w 848702"/>
                  <a:gd name="connsiteY39" fmla="*/ 201561 h 1037303"/>
                  <a:gd name="connsiteX40" fmla="*/ 280781 w 848702"/>
                  <a:gd name="connsiteY40" fmla="*/ 199103 h 1037303"/>
                  <a:gd name="connsiteX41" fmla="*/ 297988 w 848702"/>
                  <a:gd name="connsiteY41" fmla="*/ 201561 h 1037303"/>
                  <a:gd name="connsiteX42" fmla="*/ 312736 w 848702"/>
                  <a:gd name="connsiteY42" fmla="*/ 204020 h 1037303"/>
                  <a:gd name="connsiteX43" fmla="*/ 315194 w 848702"/>
                  <a:gd name="connsiteY43" fmla="*/ 196645 h 1037303"/>
                  <a:gd name="connsiteX44" fmla="*/ 329943 w 848702"/>
                  <a:gd name="connsiteY44" fmla="*/ 196645 h 1037303"/>
                  <a:gd name="connsiteX45" fmla="*/ 329943 w 848702"/>
                  <a:gd name="connsiteY45" fmla="*/ 164691 h 1037303"/>
                  <a:gd name="connsiteX46" fmla="*/ 334859 w 848702"/>
                  <a:gd name="connsiteY46" fmla="*/ 159774 h 1037303"/>
                  <a:gd name="connsiteX47" fmla="*/ 347149 w 848702"/>
                  <a:gd name="connsiteY47" fmla="*/ 162232 h 1037303"/>
                  <a:gd name="connsiteX48" fmla="*/ 366814 w 848702"/>
                  <a:gd name="connsiteY48" fmla="*/ 159774 h 1037303"/>
                  <a:gd name="connsiteX49" fmla="*/ 388936 w 848702"/>
                  <a:gd name="connsiteY49" fmla="*/ 157316 h 1037303"/>
                  <a:gd name="connsiteX50" fmla="*/ 396310 w 848702"/>
                  <a:gd name="connsiteY50" fmla="*/ 152400 h 1037303"/>
                  <a:gd name="connsiteX51" fmla="*/ 408601 w 848702"/>
                  <a:gd name="connsiteY51" fmla="*/ 142568 h 1037303"/>
                  <a:gd name="connsiteX52" fmla="*/ 447930 w 848702"/>
                  <a:gd name="connsiteY52" fmla="*/ 140110 h 1037303"/>
                  <a:gd name="connsiteX53" fmla="*/ 462678 w 848702"/>
                  <a:gd name="connsiteY53" fmla="*/ 130278 h 1037303"/>
                  <a:gd name="connsiteX54" fmla="*/ 472510 w 848702"/>
                  <a:gd name="connsiteY54" fmla="*/ 120445 h 1037303"/>
                  <a:gd name="connsiteX55" fmla="*/ 484801 w 848702"/>
                  <a:gd name="connsiteY55" fmla="*/ 110613 h 1037303"/>
                  <a:gd name="connsiteX56" fmla="*/ 492175 w 848702"/>
                  <a:gd name="connsiteY56" fmla="*/ 108155 h 1037303"/>
                  <a:gd name="connsiteX57" fmla="*/ 494633 w 848702"/>
                  <a:gd name="connsiteY57" fmla="*/ 100781 h 1037303"/>
                  <a:gd name="connsiteX58" fmla="*/ 497091 w 848702"/>
                  <a:gd name="connsiteY58" fmla="*/ 90949 h 1037303"/>
                  <a:gd name="connsiteX59" fmla="*/ 504465 w 848702"/>
                  <a:gd name="connsiteY59" fmla="*/ 93407 h 1037303"/>
                  <a:gd name="connsiteX60" fmla="*/ 519214 w 848702"/>
                  <a:gd name="connsiteY60" fmla="*/ 83574 h 1037303"/>
                  <a:gd name="connsiteX61" fmla="*/ 526588 w 848702"/>
                  <a:gd name="connsiteY61" fmla="*/ 78658 h 1037303"/>
                  <a:gd name="connsiteX62" fmla="*/ 533962 w 848702"/>
                  <a:gd name="connsiteY62" fmla="*/ 78658 h 1037303"/>
                  <a:gd name="connsiteX63" fmla="*/ 541336 w 848702"/>
                  <a:gd name="connsiteY63" fmla="*/ 76200 h 1037303"/>
                  <a:gd name="connsiteX64" fmla="*/ 548710 w 848702"/>
                  <a:gd name="connsiteY64" fmla="*/ 81116 h 1037303"/>
                  <a:gd name="connsiteX65" fmla="*/ 556085 w 848702"/>
                  <a:gd name="connsiteY65" fmla="*/ 83574 h 1037303"/>
                  <a:gd name="connsiteX66" fmla="*/ 558543 w 848702"/>
                  <a:gd name="connsiteY66" fmla="*/ 90949 h 1037303"/>
                  <a:gd name="connsiteX67" fmla="*/ 565917 w 848702"/>
                  <a:gd name="connsiteY67" fmla="*/ 88491 h 1037303"/>
                  <a:gd name="connsiteX68" fmla="*/ 578207 w 848702"/>
                  <a:gd name="connsiteY68" fmla="*/ 100781 h 1037303"/>
                  <a:gd name="connsiteX69" fmla="*/ 585581 w 848702"/>
                  <a:gd name="connsiteY69" fmla="*/ 105697 h 1037303"/>
                  <a:gd name="connsiteX70" fmla="*/ 592956 w 848702"/>
                  <a:gd name="connsiteY70" fmla="*/ 103239 h 1037303"/>
                  <a:gd name="connsiteX71" fmla="*/ 607704 w 848702"/>
                  <a:gd name="connsiteY71" fmla="*/ 108155 h 1037303"/>
                  <a:gd name="connsiteX72" fmla="*/ 615078 w 848702"/>
                  <a:gd name="connsiteY72" fmla="*/ 105697 h 1037303"/>
                  <a:gd name="connsiteX73" fmla="*/ 627368 w 848702"/>
                  <a:gd name="connsiteY73" fmla="*/ 110613 h 1037303"/>
                  <a:gd name="connsiteX74" fmla="*/ 654407 w 848702"/>
                  <a:gd name="connsiteY74" fmla="*/ 115529 h 1037303"/>
                  <a:gd name="connsiteX75" fmla="*/ 661781 w 848702"/>
                  <a:gd name="connsiteY75" fmla="*/ 120445 h 1037303"/>
                  <a:gd name="connsiteX76" fmla="*/ 669156 w 848702"/>
                  <a:gd name="connsiteY76" fmla="*/ 117987 h 1037303"/>
                  <a:gd name="connsiteX77" fmla="*/ 678988 w 848702"/>
                  <a:gd name="connsiteY77" fmla="*/ 110613 h 1037303"/>
                  <a:gd name="connsiteX78" fmla="*/ 691278 w 848702"/>
                  <a:gd name="connsiteY78" fmla="*/ 108155 h 1037303"/>
                  <a:gd name="connsiteX79" fmla="*/ 706027 w 848702"/>
                  <a:gd name="connsiteY79" fmla="*/ 100781 h 1037303"/>
                  <a:gd name="connsiteX80" fmla="*/ 718317 w 848702"/>
                  <a:gd name="connsiteY80" fmla="*/ 103239 h 1037303"/>
                  <a:gd name="connsiteX81" fmla="*/ 725691 w 848702"/>
                  <a:gd name="connsiteY81" fmla="*/ 105697 h 1037303"/>
                  <a:gd name="connsiteX82" fmla="*/ 728149 w 848702"/>
                  <a:gd name="connsiteY82" fmla="*/ 98323 h 1037303"/>
                  <a:gd name="connsiteX83" fmla="*/ 742898 w 848702"/>
                  <a:gd name="connsiteY83" fmla="*/ 90949 h 1037303"/>
                  <a:gd name="connsiteX84" fmla="*/ 745356 w 848702"/>
                  <a:gd name="connsiteY84" fmla="*/ 83574 h 1037303"/>
                  <a:gd name="connsiteX85" fmla="*/ 750272 w 848702"/>
                  <a:gd name="connsiteY85" fmla="*/ 88491 h 1037303"/>
                  <a:gd name="connsiteX86" fmla="*/ 757646 w 848702"/>
                  <a:gd name="connsiteY86" fmla="*/ 93407 h 1037303"/>
                  <a:gd name="connsiteX87" fmla="*/ 769936 w 848702"/>
                  <a:gd name="connsiteY87" fmla="*/ 90949 h 1037303"/>
                  <a:gd name="connsiteX88" fmla="*/ 777310 w 848702"/>
                  <a:gd name="connsiteY88" fmla="*/ 73742 h 1037303"/>
                  <a:gd name="connsiteX89" fmla="*/ 782227 w 848702"/>
                  <a:gd name="connsiteY89" fmla="*/ 68826 h 1037303"/>
                  <a:gd name="connsiteX90" fmla="*/ 779768 w 848702"/>
                  <a:gd name="connsiteY90" fmla="*/ 61452 h 1037303"/>
                  <a:gd name="connsiteX91" fmla="*/ 777310 w 848702"/>
                  <a:gd name="connsiteY91" fmla="*/ 51620 h 1037303"/>
                  <a:gd name="connsiteX92" fmla="*/ 772394 w 848702"/>
                  <a:gd name="connsiteY92" fmla="*/ 46703 h 1037303"/>
                  <a:gd name="connsiteX93" fmla="*/ 769936 w 848702"/>
                  <a:gd name="connsiteY93" fmla="*/ 39329 h 1037303"/>
                  <a:gd name="connsiteX94" fmla="*/ 767478 w 848702"/>
                  <a:gd name="connsiteY94" fmla="*/ 27039 h 1037303"/>
                  <a:gd name="connsiteX95" fmla="*/ 760104 w 848702"/>
                  <a:gd name="connsiteY95" fmla="*/ 24581 h 1037303"/>
                  <a:gd name="connsiteX96" fmla="*/ 757646 w 848702"/>
                  <a:gd name="connsiteY96" fmla="*/ 9832 h 1037303"/>
                  <a:gd name="connsiteX97" fmla="*/ 765020 w 848702"/>
                  <a:gd name="connsiteY97" fmla="*/ 4916 h 1037303"/>
                  <a:gd name="connsiteX98" fmla="*/ 779768 w 848702"/>
                  <a:gd name="connsiteY98" fmla="*/ 0 h 1037303"/>
                  <a:gd name="connsiteX99" fmla="*/ 804349 w 848702"/>
                  <a:gd name="connsiteY99" fmla="*/ 2458 h 1037303"/>
                  <a:gd name="connsiteX100" fmla="*/ 819098 w 848702"/>
                  <a:gd name="connsiteY100" fmla="*/ 9832 h 1037303"/>
                  <a:gd name="connsiteX101" fmla="*/ 826472 w 848702"/>
                  <a:gd name="connsiteY101" fmla="*/ 12291 h 1037303"/>
                  <a:gd name="connsiteX102" fmla="*/ 841220 w 848702"/>
                  <a:gd name="connsiteY102" fmla="*/ 27039 h 1037303"/>
                  <a:gd name="connsiteX103" fmla="*/ 843678 w 848702"/>
                  <a:gd name="connsiteY103" fmla="*/ 34413 h 1037303"/>
                  <a:gd name="connsiteX104" fmla="*/ 848594 w 848702"/>
                  <a:gd name="connsiteY104" fmla="*/ 41787 h 1037303"/>
                  <a:gd name="connsiteX105" fmla="*/ 843678 w 848702"/>
                  <a:gd name="connsiteY105" fmla="*/ 71284 h 1037303"/>
                  <a:gd name="connsiteX106" fmla="*/ 828930 w 848702"/>
                  <a:gd name="connsiteY106" fmla="*/ 68826 h 1037303"/>
                  <a:gd name="connsiteX107" fmla="*/ 826472 w 848702"/>
                  <a:gd name="connsiteY107" fmla="*/ 76200 h 1037303"/>
                  <a:gd name="connsiteX108" fmla="*/ 816639 w 848702"/>
                  <a:gd name="connsiteY108" fmla="*/ 78658 h 1037303"/>
                  <a:gd name="connsiteX109" fmla="*/ 811723 w 848702"/>
                  <a:gd name="connsiteY109" fmla="*/ 86032 h 1037303"/>
                  <a:gd name="connsiteX110" fmla="*/ 814181 w 848702"/>
                  <a:gd name="connsiteY110" fmla="*/ 95865 h 1037303"/>
                  <a:gd name="connsiteX111" fmla="*/ 816639 w 848702"/>
                  <a:gd name="connsiteY111" fmla="*/ 103239 h 1037303"/>
                  <a:gd name="connsiteX112" fmla="*/ 821556 w 848702"/>
                  <a:gd name="connsiteY112" fmla="*/ 108155 h 1037303"/>
                  <a:gd name="connsiteX113" fmla="*/ 826472 w 848702"/>
                  <a:gd name="connsiteY113" fmla="*/ 115529 h 1037303"/>
                  <a:gd name="connsiteX114" fmla="*/ 821556 w 848702"/>
                  <a:gd name="connsiteY114" fmla="*/ 125361 h 1037303"/>
                  <a:gd name="connsiteX115" fmla="*/ 816639 w 848702"/>
                  <a:gd name="connsiteY115" fmla="*/ 130278 h 1037303"/>
                  <a:gd name="connsiteX116" fmla="*/ 819098 w 848702"/>
                  <a:gd name="connsiteY116" fmla="*/ 137652 h 1037303"/>
                  <a:gd name="connsiteX117" fmla="*/ 819098 w 848702"/>
                  <a:gd name="connsiteY117" fmla="*/ 152400 h 1037303"/>
                  <a:gd name="connsiteX118" fmla="*/ 799433 w 848702"/>
                  <a:gd name="connsiteY118" fmla="*/ 154858 h 1037303"/>
                  <a:gd name="connsiteX119" fmla="*/ 794517 w 848702"/>
                  <a:gd name="connsiteY119" fmla="*/ 162232 h 1037303"/>
                  <a:gd name="connsiteX120" fmla="*/ 801891 w 848702"/>
                  <a:gd name="connsiteY120" fmla="*/ 167149 h 1037303"/>
                  <a:gd name="connsiteX121" fmla="*/ 796975 w 848702"/>
                  <a:gd name="connsiteY121" fmla="*/ 174523 h 1037303"/>
                  <a:gd name="connsiteX122" fmla="*/ 792059 w 848702"/>
                  <a:gd name="connsiteY122" fmla="*/ 184355 h 1037303"/>
                  <a:gd name="connsiteX123" fmla="*/ 787143 w 848702"/>
                  <a:gd name="connsiteY123" fmla="*/ 176981 h 1037303"/>
                  <a:gd name="connsiteX124" fmla="*/ 772394 w 848702"/>
                  <a:gd name="connsiteY124" fmla="*/ 169607 h 1037303"/>
                  <a:gd name="connsiteX125" fmla="*/ 765020 w 848702"/>
                  <a:gd name="connsiteY125" fmla="*/ 164691 h 1037303"/>
                  <a:gd name="connsiteX126" fmla="*/ 715859 w 848702"/>
                  <a:gd name="connsiteY126" fmla="*/ 159774 h 1037303"/>
                  <a:gd name="connsiteX127" fmla="*/ 701110 w 848702"/>
                  <a:gd name="connsiteY127" fmla="*/ 152400 h 1037303"/>
                  <a:gd name="connsiteX128" fmla="*/ 693736 w 848702"/>
                  <a:gd name="connsiteY128" fmla="*/ 154858 h 1037303"/>
                  <a:gd name="connsiteX129" fmla="*/ 678988 w 848702"/>
                  <a:gd name="connsiteY129" fmla="*/ 157316 h 1037303"/>
                  <a:gd name="connsiteX130" fmla="*/ 669156 w 848702"/>
                  <a:gd name="connsiteY130" fmla="*/ 154858 h 1037303"/>
                  <a:gd name="connsiteX131" fmla="*/ 661781 w 848702"/>
                  <a:gd name="connsiteY131" fmla="*/ 152400 h 1037303"/>
                  <a:gd name="connsiteX132" fmla="*/ 654407 w 848702"/>
                  <a:gd name="connsiteY132" fmla="*/ 159774 h 1037303"/>
                  <a:gd name="connsiteX133" fmla="*/ 637201 w 848702"/>
                  <a:gd name="connsiteY133" fmla="*/ 167149 h 1037303"/>
                  <a:gd name="connsiteX134" fmla="*/ 632285 w 848702"/>
                  <a:gd name="connsiteY134" fmla="*/ 184355 h 1037303"/>
                  <a:gd name="connsiteX135" fmla="*/ 624910 w 848702"/>
                  <a:gd name="connsiteY135" fmla="*/ 186813 h 1037303"/>
                  <a:gd name="connsiteX136" fmla="*/ 602788 w 848702"/>
                  <a:gd name="connsiteY136" fmla="*/ 199103 h 1037303"/>
                  <a:gd name="connsiteX137" fmla="*/ 553627 w 848702"/>
                  <a:gd name="connsiteY137" fmla="*/ 196645 h 1037303"/>
                  <a:gd name="connsiteX138" fmla="*/ 548710 w 848702"/>
                  <a:gd name="connsiteY138" fmla="*/ 201561 h 1037303"/>
                  <a:gd name="connsiteX139" fmla="*/ 543794 w 848702"/>
                  <a:gd name="connsiteY139" fmla="*/ 216310 h 1037303"/>
                  <a:gd name="connsiteX140" fmla="*/ 538878 w 848702"/>
                  <a:gd name="connsiteY140" fmla="*/ 228600 h 1037303"/>
                  <a:gd name="connsiteX141" fmla="*/ 506923 w 848702"/>
                  <a:gd name="connsiteY141" fmla="*/ 238432 h 1037303"/>
                  <a:gd name="connsiteX142" fmla="*/ 497091 w 848702"/>
                  <a:gd name="connsiteY142" fmla="*/ 240891 h 1037303"/>
                  <a:gd name="connsiteX143" fmla="*/ 479885 w 848702"/>
                  <a:gd name="connsiteY143" fmla="*/ 243349 h 1037303"/>
                  <a:gd name="connsiteX144" fmla="*/ 482343 w 848702"/>
                  <a:gd name="connsiteY144" fmla="*/ 258097 h 1037303"/>
                  <a:gd name="connsiteX145" fmla="*/ 487259 w 848702"/>
                  <a:gd name="connsiteY145" fmla="*/ 265471 h 1037303"/>
                  <a:gd name="connsiteX146" fmla="*/ 484801 w 848702"/>
                  <a:gd name="connsiteY146" fmla="*/ 275303 h 1037303"/>
                  <a:gd name="connsiteX147" fmla="*/ 497091 w 848702"/>
                  <a:gd name="connsiteY147" fmla="*/ 287594 h 1037303"/>
                  <a:gd name="connsiteX148" fmla="*/ 570833 w 848702"/>
                  <a:gd name="connsiteY148" fmla="*/ 299884 h 1037303"/>
                  <a:gd name="connsiteX149" fmla="*/ 573291 w 848702"/>
                  <a:gd name="connsiteY149" fmla="*/ 307258 h 1037303"/>
                  <a:gd name="connsiteX150" fmla="*/ 585581 w 848702"/>
                  <a:gd name="connsiteY150" fmla="*/ 317091 h 1037303"/>
                  <a:gd name="connsiteX151" fmla="*/ 595414 w 848702"/>
                  <a:gd name="connsiteY151" fmla="*/ 329381 h 1037303"/>
                  <a:gd name="connsiteX152" fmla="*/ 588039 w 848702"/>
                  <a:gd name="connsiteY152" fmla="*/ 331839 h 1037303"/>
                  <a:gd name="connsiteX153" fmla="*/ 580665 w 848702"/>
                  <a:gd name="connsiteY153" fmla="*/ 326923 h 1037303"/>
                  <a:gd name="connsiteX154" fmla="*/ 570833 w 848702"/>
                  <a:gd name="connsiteY154" fmla="*/ 324465 h 1037303"/>
                  <a:gd name="connsiteX155" fmla="*/ 553627 w 848702"/>
                  <a:gd name="connsiteY155" fmla="*/ 319549 h 1037303"/>
                  <a:gd name="connsiteX156" fmla="*/ 546252 w 848702"/>
                  <a:gd name="connsiteY156" fmla="*/ 314632 h 1037303"/>
                  <a:gd name="connsiteX157" fmla="*/ 538878 w 848702"/>
                  <a:gd name="connsiteY157" fmla="*/ 307258 h 1037303"/>
                  <a:gd name="connsiteX158" fmla="*/ 504465 w 848702"/>
                  <a:gd name="connsiteY158" fmla="*/ 309716 h 1037303"/>
                  <a:gd name="connsiteX159" fmla="*/ 502007 w 848702"/>
                  <a:gd name="connsiteY159" fmla="*/ 322007 h 1037303"/>
                  <a:gd name="connsiteX160" fmla="*/ 502007 w 848702"/>
                  <a:gd name="connsiteY160" fmla="*/ 339213 h 1037303"/>
                  <a:gd name="connsiteX161" fmla="*/ 514298 w 848702"/>
                  <a:gd name="connsiteY161" fmla="*/ 341671 h 1037303"/>
                  <a:gd name="connsiteX162" fmla="*/ 529046 w 848702"/>
                  <a:gd name="connsiteY162" fmla="*/ 349045 h 1037303"/>
                  <a:gd name="connsiteX163" fmla="*/ 536420 w 848702"/>
                  <a:gd name="connsiteY163" fmla="*/ 351503 h 1037303"/>
                  <a:gd name="connsiteX164" fmla="*/ 538878 w 848702"/>
                  <a:gd name="connsiteY164" fmla="*/ 381000 h 1037303"/>
                  <a:gd name="connsiteX165" fmla="*/ 526588 w 848702"/>
                  <a:gd name="connsiteY165" fmla="*/ 378542 h 1037303"/>
                  <a:gd name="connsiteX166" fmla="*/ 521672 w 848702"/>
                  <a:gd name="connsiteY166" fmla="*/ 371168 h 1037303"/>
                  <a:gd name="connsiteX167" fmla="*/ 514298 w 848702"/>
                  <a:gd name="connsiteY167" fmla="*/ 363794 h 1037303"/>
                  <a:gd name="connsiteX168" fmla="*/ 509381 w 848702"/>
                  <a:gd name="connsiteY168" fmla="*/ 356420 h 1037303"/>
                  <a:gd name="connsiteX169" fmla="*/ 489717 w 848702"/>
                  <a:gd name="connsiteY169" fmla="*/ 341671 h 1037303"/>
                  <a:gd name="connsiteX170" fmla="*/ 474968 w 848702"/>
                  <a:gd name="connsiteY170" fmla="*/ 331839 h 1037303"/>
                  <a:gd name="connsiteX171" fmla="*/ 467594 w 848702"/>
                  <a:gd name="connsiteY171" fmla="*/ 329381 h 1037303"/>
                  <a:gd name="connsiteX172" fmla="*/ 460220 w 848702"/>
                  <a:gd name="connsiteY172" fmla="*/ 331839 h 1037303"/>
                  <a:gd name="connsiteX173" fmla="*/ 450388 w 848702"/>
                  <a:gd name="connsiteY173" fmla="*/ 334297 h 1037303"/>
                  <a:gd name="connsiteX174" fmla="*/ 445472 w 848702"/>
                  <a:gd name="connsiteY174" fmla="*/ 341671 h 1037303"/>
                  <a:gd name="connsiteX175" fmla="*/ 447930 w 848702"/>
                  <a:gd name="connsiteY175" fmla="*/ 358878 h 1037303"/>
                  <a:gd name="connsiteX176" fmla="*/ 455304 w 848702"/>
                  <a:gd name="connsiteY176" fmla="*/ 368710 h 1037303"/>
                  <a:gd name="connsiteX177" fmla="*/ 470052 w 848702"/>
                  <a:gd name="connsiteY177" fmla="*/ 378542 h 1037303"/>
                  <a:gd name="connsiteX178" fmla="*/ 487259 w 848702"/>
                  <a:gd name="connsiteY178" fmla="*/ 383458 h 1037303"/>
                  <a:gd name="connsiteX179" fmla="*/ 494633 w 848702"/>
                  <a:gd name="connsiteY179" fmla="*/ 385916 h 1037303"/>
                  <a:gd name="connsiteX180" fmla="*/ 497091 w 848702"/>
                  <a:gd name="connsiteY180" fmla="*/ 393291 h 1037303"/>
                  <a:gd name="connsiteX181" fmla="*/ 477427 w 848702"/>
                  <a:gd name="connsiteY181" fmla="*/ 388374 h 1037303"/>
                  <a:gd name="connsiteX182" fmla="*/ 455304 w 848702"/>
                  <a:gd name="connsiteY182" fmla="*/ 385916 h 1037303"/>
                  <a:gd name="connsiteX183" fmla="*/ 440556 w 848702"/>
                  <a:gd name="connsiteY183" fmla="*/ 371168 h 1037303"/>
                  <a:gd name="connsiteX184" fmla="*/ 435639 w 848702"/>
                  <a:gd name="connsiteY184" fmla="*/ 366252 h 1037303"/>
                  <a:gd name="connsiteX185" fmla="*/ 428265 w 848702"/>
                  <a:gd name="connsiteY185" fmla="*/ 363794 h 1037303"/>
                  <a:gd name="connsiteX186" fmla="*/ 420891 w 848702"/>
                  <a:gd name="connsiteY186" fmla="*/ 351503 h 1037303"/>
                  <a:gd name="connsiteX187" fmla="*/ 413517 w 848702"/>
                  <a:gd name="connsiteY187" fmla="*/ 344129 h 1037303"/>
                  <a:gd name="connsiteX188" fmla="*/ 411059 w 848702"/>
                  <a:gd name="connsiteY188" fmla="*/ 336755 h 1037303"/>
                  <a:gd name="connsiteX189" fmla="*/ 403685 w 848702"/>
                  <a:gd name="connsiteY189" fmla="*/ 331839 h 1037303"/>
                  <a:gd name="connsiteX190" fmla="*/ 361898 w 848702"/>
                  <a:gd name="connsiteY190" fmla="*/ 324465 h 1037303"/>
                  <a:gd name="connsiteX191" fmla="*/ 364356 w 848702"/>
                  <a:gd name="connsiteY191" fmla="*/ 299884 h 1037303"/>
                  <a:gd name="connsiteX192" fmla="*/ 371730 w 848702"/>
                  <a:gd name="connsiteY192" fmla="*/ 297426 h 1037303"/>
                  <a:gd name="connsiteX193" fmla="*/ 376646 w 848702"/>
                  <a:gd name="connsiteY193" fmla="*/ 290052 h 1037303"/>
                  <a:gd name="connsiteX194" fmla="*/ 371730 w 848702"/>
                  <a:gd name="connsiteY194" fmla="*/ 282678 h 1037303"/>
                  <a:gd name="connsiteX195" fmla="*/ 356981 w 848702"/>
                  <a:gd name="connsiteY195" fmla="*/ 285136 h 1037303"/>
                  <a:gd name="connsiteX196" fmla="*/ 361898 w 848702"/>
                  <a:gd name="connsiteY196" fmla="*/ 299884 h 1037303"/>
                  <a:gd name="connsiteX197" fmla="*/ 356981 w 848702"/>
                  <a:gd name="connsiteY197" fmla="*/ 304800 h 1037303"/>
                  <a:gd name="connsiteX198" fmla="*/ 347149 w 848702"/>
                  <a:gd name="connsiteY198" fmla="*/ 307258 h 1037303"/>
                  <a:gd name="connsiteX199" fmla="*/ 339775 w 848702"/>
                  <a:gd name="connsiteY199" fmla="*/ 309716 h 1037303"/>
                  <a:gd name="connsiteX200" fmla="*/ 332401 w 848702"/>
                  <a:gd name="connsiteY200" fmla="*/ 314632 h 1037303"/>
                  <a:gd name="connsiteX201" fmla="*/ 334859 w 848702"/>
                  <a:gd name="connsiteY201" fmla="*/ 329381 h 1037303"/>
                  <a:gd name="connsiteX202" fmla="*/ 337317 w 848702"/>
                  <a:gd name="connsiteY202" fmla="*/ 336755 h 1037303"/>
                  <a:gd name="connsiteX203" fmla="*/ 332401 w 848702"/>
                  <a:gd name="connsiteY203" fmla="*/ 381000 h 1037303"/>
                  <a:gd name="connsiteX204" fmla="*/ 334859 w 848702"/>
                  <a:gd name="connsiteY204" fmla="*/ 390832 h 1037303"/>
                  <a:gd name="connsiteX205" fmla="*/ 342233 w 848702"/>
                  <a:gd name="connsiteY205" fmla="*/ 395749 h 1037303"/>
                  <a:gd name="connsiteX206" fmla="*/ 354523 w 848702"/>
                  <a:gd name="connsiteY206" fmla="*/ 408039 h 1037303"/>
                  <a:gd name="connsiteX207" fmla="*/ 364356 w 848702"/>
                  <a:gd name="connsiteY207" fmla="*/ 422787 h 1037303"/>
                  <a:gd name="connsiteX208" fmla="*/ 366814 w 848702"/>
                  <a:gd name="connsiteY208" fmla="*/ 430161 h 1037303"/>
                  <a:gd name="connsiteX209" fmla="*/ 381562 w 848702"/>
                  <a:gd name="connsiteY209" fmla="*/ 439994 h 1037303"/>
                  <a:gd name="connsiteX210" fmla="*/ 398768 w 848702"/>
                  <a:gd name="connsiteY210" fmla="*/ 457200 h 1037303"/>
                  <a:gd name="connsiteX211" fmla="*/ 406143 w 848702"/>
                  <a:gd name="connsiteY211" fmla="*/ 471949 h 1037303"/>
                  <a:gd name="connsiteX212" fmla="*/ 411059 w 848702"/>
                  <a:gd name="connsiteY212" fmla="*/ 479323 h 1037303"/>
                  <a:gd name="connsiteX213" fmla="*/ 418433 w 848702"/>
                  <a:gd name="connsiteY213" fmla="*/ 494071 h 1037303"/>
                  <a:gd name="connsiteX214" fmla="*/ 440556 w 848702"/>
                  <a:gd name="connsiteY214" fmla="*/ 496529 h 1037303"/>
                  <a:gd name="connsiteX215" fmla="*/ 455304 w 848702"/>
                  <a:gd name="connsiteY215" fmla="*/ 508820 h 1037303"/>
                  <a:gd name="connsiteX216" fmla="*/ 457762 w 848702"/>
                  <a:gd name="connsiteY216" fmla="*/ 516194 h 1037303"/>
                  <a:gd name="connsiteX217" fmla="*/ 455304 w 848702"/>
                  <a:gd name="connsiteY217" fmla="*/ 533400 h 1037303"/>
                  <a:gd name="connsiteX218" fmla="*/ 447930 w 848702"/>
                  <a:gd name="connsiteY218" fmla="*/ 538316 h 1037303"/>
                  <a:gd name="connsiteX219" fmla="*/ 445472 w 848702"/>
                  <a:gd name="connsiteY219" fmla="*/ 523568 h 1037303"/>
                  <a:gd name="connsiteX220" fmla="*/ 435639 w 848702"/>
                  <a:gd name="connsiteY220" fmla="*/ 511278 h 1037303"/>
                  <a:gd name="connsiteX221" fmla="*/ 406143 w 848702"/>
                  <a:gd name="connsiteY221" fmla="*/ 513736 h 1037303"/>
                  <a:gd name="connsiteX222" fmla="*/ 391394 w 848702"/>
                  <a:gd name="connsiteY222" fmla="*/ 523568 h 1037303"/>
                  <a:gd name="connsiteX223" fmla="*/ 396310 w 848702"/>
                  <a:gd name="connsiteY223" fmla="*/ 538316 h 1037303"/>
                  <a:gd name="connsiteX224" fmla="*/ 403685 w 848702"/>
                  <a:gd name="connsiteY224" fmla="*/ 543232 h 1037303"/>
                  <a:gd name="connsiteX225" fmla="*/ 413517 w 848702"/>
                  <a:gd name="connsiteY225" fmla="*/ 545691 h 1037303"/>
                  <a:gd name="connsiteX226" fmla="*/ 420891 w 848702"/>
                  <a:gd name="connsiteY226" fmla="*/ 548149 h 1037303"/>
                  <a:gd name="connsiteX227" fmla="*/ 428265 w 848702"/>
                  <a:gd name="connsiteY227" fmla="*/ 557981 h 1037303"/>
                  <a:gd name="connsiteX228" fmla="*/ 435639 w 848702"/>
                  <a:gd name="connsiteY228" fmla="*/ 560439 h 1037303"/>
                  <a:gd name="connsiteX229" fmla="*/ 433181 w 848702"/>
                  <a:gd name="connsiteY229" fmla="*/ 575187 h 1037303"/>
                  <a:gd name="connsiteX230" fmla="*/ 418433 w 848702"/>
                  <a:gd name="connsiteY230" fmla="*/ 580103 h 1037303"/>
                  <a:gd name="connsiteX231" fmla="*/ 411059 w 848702"/>
                  <a:gd name="connsiteY231" fmla="*/ 585020 h 1037303"/>
                  <a:gd name="connsiteX232" fmla="*/ 391394 w 848702"/>
                  <a:gd name="connsiteY232" fmla="*/ 589936 h 1037303"/>
                  <a:gd name="connsiteX233" fmla="*/ 371730 w 848702"/>
                  <a:gd name="connsiteY233" fmla="*/ 594852 h 1037303"/>
                  <a:gd name="connsiteX234" fmla="*/ 369272 w 848702"/>
                  <a:gd name="connsiteY234" fmla="*/ 602226 h 1037303"/>
                  <a:gd name="connsiteX235" fmla="*/ 393852 w 848702"/>
                  <a:gd name="connsiteY235" fmla="*/ 612058 h 1037303"/>
                  <a:gd name="connsiteX236" fmla="*/ 403685 w 848702"/>
                  <a:gd name="connsiteY236" fmla="*/ 614516 h 1037303"/>
                  <a:gd name="connsiteX237" fmla="*/ 411059 w 848702"/>
                  <a:gd name="connsiteY237" fmla="*/ 616974 h 1037303"/>
                  <a:gd name="connsiteX238" fmla="*/ 428265 w 848702"/>
                  <a:gd name="connsiteY238" fmla="*/ 619432 h 1037303"/>
                  <a:gd name="connsiteX239" fmla="*/ 435639 w 848702"/>
                  <a:gd name="connsiteY239" fmla="*/ 634181 h 1037303"/>
                  <a:gd name="connsiteX240" fmla="*/ 443014 w 848702"/>
                  <a:gd name="connsiteY240" fmla="*/ 636639 h 1037303"/>
                  <a:gd name="connsiteX241" fmla="*/ 474968 w 848702"/>
                  <a:gd name="connsiteY241" fmla="*/ 644013 h 1037303"/>
                  <a:gd name="connsiteX242" fmla="*/ 514298 w 848702"/>
                  <a:gd name="connsiteY242" fmla="*/ 648929 h 1037303"/>
                  <a:gd name="connsiteX243" fmla="*/ 516756 w 848702"/>
                  <a:gd name="connsiteY243" fmla="*/ 639097 h 1037303"/>
                  <a:gd name="connsiteX244" fmla="*/ 514298 w 848702"/>
                  <a:gd name="connsiteY244" fmla="*/ 626807 h 1037303"/>
                  <a:gd name="connsiteX245" fmla="*/ 499549 w 848702"/>
                  <a:gd name="connsiteY245" fmla="*/ 621891 h 1037303"/>
                  <a:gd name="connsiteX246" fmla="*/ 494633 w 848702"/>
                  <a:gd name="connsiteY246" fmla="*/ 616974 h 1037303"/>
                  <a:gd name="connsiteX247" fmla="*/ 484801 w 848702"/>
                  <a:gd name="connsiteY247" fmla="*/ 602226 h 1037303"/>
                  <a:gd name="connsiteX248" fmla="*/ 474968 w 848702"/>
                  <a:gd name="connsiteY248" fmla="*/ 599768 h 1037303"/>
                  <a:gd name="connsiteX249" fmla="*/ 467594 w 848702"/>
                  <a:gd name="connsiteY249" fmla="*/ 594852 h 1037303"/>
                  <a:gd name="connsiteX250" fmla="*/ 440556 w 848702"/>
                  <a:gd name="connsiteY250" fmla="*/ 592394 h 1037303"/>
                  <a:gd name="connsiteX251" fmla="*/ 430723 w 848702"/>
                  <a:gd name="connsiteY251" fmla="*/ 589936 h 1037303"/>
                  <a:gd name="connsiteX252" fmla="*/ 423349 w 848702"/>
                  <a:gd name="connsiteY252" fmla="*/ 585020 h 1037303"/>
                  <a:gd name="connsiteX253" fmla="*/ 420891 w 848702"/>
                  <a:gd name="connsiteY253" fmla="*/ 592394 h 1037303"/>
                  <a:gd name="connsiteX254" fmla="*/ 433181 w 848702"/>
                  <a:gd name="connsiteY254" fmla="*/ 589936 h 1037303"/>
                  <a:gd name="connsiteX255" fmla="*/ 435639 w 848702"/>
                  <a:gd name="connsiteY255" fmla="*/ 565355 h 1037303"/>
                  <a:gd name="connsiteX256" fmla="*/ 450388 w 848702"/>
                  <a:gd name="connsiteY256" fmla="*/ 560439 h 1037303"/>
                  <a:gd name="connsiteX257" fmla="*/ 457762 w 848702"/>
                  <a:gd name="connsiteY257" fmla="*/ 557981 h 1037303"/>
                  <a:gd name="connsiteX258" fmla="*/ 472510 w 848702"/>
                  <a:gd name="connsiteY258" fmla="*/ 567813 h 1037303"/>
                  <a:gd name="connsiteX259" fmla="*/ 479885 w 848702"/>
                  <a:gd name="connsiteY259" fmla="*/ 570271 h 1037303"/>
                  <a:gd name="connsiteX260" fmla="*/ 489717 w 848702"/>
                  <a:gd name="connsiteY260" fmla="*/ 582561 h 1037303"/>
                  <a:gd name="connsiteX261" fmla="*/ 499549 w 848702"/>
                  <a:gd name="connsiteY261" fmla="*/ 597310 h 1037303"/>
                  <a:gd name="connsiteX262" fmla="*/ 570833 w 848702"/>
                  <a:gd name="connsiteY262" fmla="*/ 602226 h 1037303"/>
                  <a:gd name="connsiteX263" fmla="*/ 583123 w 848702"/>
                  <a:gd name="connsiteY263" fmla="*/ 604684 h 1037303"/>
                  <a:gd name="connsiteX264" fmla="*/ 585581 w 848702"/>
                  <a:gd name="connsiteY264" fmla="*/ 619432 h 1037303"/>
                  <a:gd name="connsiteX265" fmla="*/ 588039 w 848702"/>
                  <a:gd name="connsiteY265" fmla="*/ 626807 h 1037303"/>
                  <a:gd name="connsiteX266" fmla="*/ 592956 w 848702"/>
                  <a:gd name="connsiteY266" fmla="*/ 631723 h 1037303"/>
                  <a:gd name="connsiteX267" fmla="*/ 607704 w 848702"/>
                  <a:gd name="connsiteY267" fmla="*/ 641555 h 1037303"/>
                  <a:gd name="connsiteX268" fmla="*/ 617536 w 848702"/>
                  <a:gd name="connsiteY268" fmla="*/ 663678 h 1037303"/>
                  <a:gd name="connsiteX269" fmla="*/ 619994 w 848702"/>
                  <a:gd name="connsiteY269" fmla="*/ 671052 h 1037303"/>
                  <a:gd name="connsiteX270" fmla="*/ 629827 w 848702"/>
                  <a:gd name="connsiteY270" fmla="*/ 680884 h 1037303"/>
                  <a:gd name="connsiteX271" fmla="*/ 656865 w 848702"/>
                  <a:gd name="connsiteY271" fmla="*/ 683342 h 1037303"/>
                  <a:gd name="connsiteX272" fmla="*/ 674072 w 848702"/>
                  <a:gd name="connsiteY272" fmla="*/ 695632 h 1037303"/>
                  <a:gd name="connsiteX273" fmla="*/ 671614 w 848702"/>
                  <a:gd name="connsiteY273" fmla="*/ 707923 h 1037303"/>
                  <a:gd name="connsiteX274" fmla="*/ 656865 w 848702"/>
                  <a:gd name="connsiteY274" fmla="*/ 715297 h 1037303"/>
                  <a:gd name="connsiteX275" fmla="*/ 649491 w 848702"/>
                  <a:gd name="connsiteY275" fmla="*/ 710381 h 1037303"/>
                  <a:gd name="connsiteX276" fmla="*/ 642117 w 848702"/>
                  <a:gd name="connsiteY276" fmla="*/ 703007 h 1037303"/>
                  <a:gd name="connsiteX277" fmla="*/ 634743 w 848702"/>
                  <a:gd name="connsiteY277" fmla="*/ 700549 h 1037303"/>
                  <a:gd name="connsiteX278" fmla="*/ 619994 w 848702"/>
                  <a:gd name="connsiteY278" fmla="*/ 693174 h 1037303"/>
                  <a:gd name="connsiteX279" fmla="*/ 612620 w 848702"/>
                  <a:gd name="connsiteY279" fmla="*/ 688258 h 1037303"/>
                  <a:gd name="connsiteX280" fmla="*/ 597872 w 848702"/>
                  <a:gd name="connsiteY280" fmla="*/ 680884 h 1037303"/>
                  <a:gd name="connsiteX281" fmla="*/ 595414 w 848702"/>
                  <a:gd name="connsiteY281" fmla="*/ 671052 h 1037303"/>
                  <a:gd name="connsiteX282" fmla="*/ 575749 w 848702"/>
                  <a:gd name="connsiteY282" fmla="*/ 656303 h 1037303"/>
                  <a:gd name="connsiteX283" fmla="*/ 568375 w 848702"/>
                  <a:gd name="connsiteY283" fmla="*/ 648929 h 1037303"/>
                  <a:gd name="connsiteX284" fmla="*/ 558543 w 848702"/>
                  <a:gd name="connsiteY284" fmla="*/ 646471 h 1037303"/>
                  <a:gd name="connsiteX285" fmla="*/ 551168 w 848702"/>
                  <a:gd name="connsiteY285" fmla="*/ 644013 h 1037303"/>
                  <a:gd name="connsiteX286" fmla="*/ 543794 w 848702"/>
                  <a:gd name="connsiteY286" fmla="*/ 648929 h 1037303"/>
                  <a:gd name="connsiteX287" fmla="*/ 538878 w 848702"/>
                  <a:gd name="connsiteY287" fmla="*/ 656303 h 1037303"/>
                  <a:gd name="connsiteX288" fmla="*/ 533962 w 848702"/>
                  <a:gd name="connsiteY288" fmla="*/ 661220 h 1037303"/>
                  <a:gd name="connsiteX289" fmla="*/ 570833 w 848702"/>
                  <a:gd name="connsiteY289" fmla="*/ 668594 h 1037303"/>
                  <a:gd name="connsiteX290" fmla="*/ 585581 w 848702"/>
                  <a:gd name="connsiteY290" fmla="*/ 673510 h 1037303"/>
                  <a:gd name="connsiteX291" fmla="*/ 590498 w 848702"/>
                  <a:gd name="connsiteY291" fmla="*/ 678426 h 1037303"/>
                  <a:gd name="connsiteX292" fmla="*/ 595414 w 848702"/>
                  <a:gd name="connsiteY292" fmla="*/ 700549 h 1037303"/>
                  <a:gd name="connsiteX293" fmla="*/ 600330 w 848702"/>
                  <a:gd name="connsiteY293" fmla="*/ 739878 h 1037303"/>
                  <a:gd name="connsiteX294" fmla="*/ 607704 w 848702"/>
                  <a:gd name="connsiteY294" fmla="*/ 747252 h 1037303"/>
                  <a:gd name="connsiteX295" fmla="*/ 612620 w 848702"/>
                  <a:gd name="connsiteY295" fmla="*/ 776749 h 1037303"/>
                  <a:gd name="connsiteX296" fmla="*/ 605246 w 848702"/>
                  <a:gd name="connsiteY296" fmla="*/ 781665 h 1037303"/>
                  <a:gd name="connsiteX297" fmla="*/ 597872 w 848702"/>
                  <a:gd name="connsiteY297" fmla="*/ 779207 h 1037303"/>
                  <a:gd name="connsiteX298" fmla="*/ 583123 w 848702"/>
                  <a:gd name="connsiteY298" fmla="*/ 764458 h 1037303"/>
                  <a:gd name="connsiteX299" fmla="*/ 568375 w 848702"/>
                  <a:gd name="connsiteY299" fmla="*/ 759542 h 1037303"/>
                  <a:gd name="connsiteX300" fmla="*/ 551168 w 848702"/>
                  <a:gd name="connsiteY300" fmla="*/ 747252 h 1037303"/>
                  <a:gd name="connsiteX301" fmla="*/ 543794 w 848702"/>
                  <a:gd name="connsiteY301" fmla="*/ 742336 h 1037303"/>
                  <a:gd name="connsiteX302" fmla="*/ 536420 w 848702"/>
                  <a:gd name="connsiteY302" fmla="*/ 739878 h 1037303"/>
                  <a:gd name="connsiteX303" fmla="*/ 529046 w 848702"/>
                  <a:gd name="connsiteY303" fmla="*/ 734961 h 1037303"/>
                  <a:gd name="connsiteX304" fmla="*/ 526588 w 848702"/>
                  <a:gd name="connsiteY304" fmla="*/ 727587 h 1037303"/>
                  <a:gd name="connsiteX305" fmla="*/ 521672 w 848702"/>
                  <a:gd name="connsiteY305" fmla="*/ 720213 h 1037303"/>
                  <a:gd name="connsiteX306" fmla="*/ 511839 w 848702"/>
                  <a:gd name="connsiteY306" fmla="*/ 722671 h 1037303"/>
                  <a:gd name="connsiteX307" fmla="*/ 504465 w 848702"/>
                  <a:gd name="connsiteY307" fmla="*/ 730045 h 1037303"/>
                  <a:gd name="connsiteX308" fmla="*/ 497091 w 848702"/>
                  <a:gd name="connsiteY308" fmla="*/ 734961 h 1037303"/>
                  <a:gd name="connsiteX309" fmla="*/ 492175 w 848702"/>
                  <a:gd name="connsiteY309" fmla="*/ 739878 h 1037303"/>
                  <a:gd name="connsiteX310" fmla="*/ 484801 w 848702"/>
                  <a:gd name="connsiteY310" fmla="*/ 742336 h 1037303"/>
                  <a:gd name="connsiteX311" fmla="*/ 470052 w 848702"/>
                  <a:gd name="connsiteY311" fmla="*/ 749710 h 1037303"/>
                  <a:gd name="connsiteX312" fmla="*/ 472510 w 848702"/>
                  <a:gd name="connsiteY312" fmla="*/ 759542 h 1037303"/>
                  <a:gd name="connsiteX313" fmla="*/ 474968 w 848702"/>
                  <a:gd name="connsiteY313" fmla="*/ 766916 h 1037303"/>
                  <a:gd name="connsiteX314" fmla="*/ 482343 w 848702"/>
                  <a:gd name="connsiteY314" fmla="*/ 791497 h 1037303"/>
                  <a:gd name="connsiteX315" fmla="*/ 492175 w 848702"/>
                  <a:gd name="connsiteY315" fmla="*/ 806245 h 1037303"/>
                  <a:gd name="connsiteX316" fmla="*/ 499549 w 848702"/>
                  <a:gd name="connsiteY316" fmla="*/ 808703 h 1037303"/>
                  <a:gd name="connsiteX317" fmla="*/ 514298 w 848702"/>
                  <a:gd name="connsiteY317" fmla="*/ 806245 h 1037303"/>
                  <a:gd name="connsiteX318" fmla="*/ 516756 w 848702"/>
                  <a:gd name="connsiteY318" fmla="*/ 796413 h 1037303"/>
                  <a:gd name="connsiteX319" fmla="*/ 524130 w 848702"/>
                  <a:gd name="connsiteY319" fmla="*/ 811161 h 1037303"/>
                  <a:gd name="connsiteX320" fmla="*/ 531504 w 848702"/>
                  <a:gd name="connsiteY320" fmla="*/ 816078 h 1037303"/>
                  <a:gd name="connsiteX321" fmla="*/ 538878 w 848702"/>
                  <a:gd name="connsiteY321" fmla="*/ 823452 h 1037303"/>
                  <a:gd name="connsiteX322" fmla="*/ 516756 w 848702"/>
                  <a:gd name="connsiteY322" fmla="*/ 833284 h 1037303"/>
                  <a:gd name="connsiteX323" fmla="*/ 514298 w 848702"/>
                  <a:gd name="connsiteY323" fmla="*/ 845574 h 1037303"/>
                  <a:gd name="connsiteX324" fmla="*/ 509381 w 848702"/>
                  <a:gd name="connsiteY324" fmla="*/ 850491 h 1037303"/>
                  <a:gd name="connsiteX325" fmla="*/ 494633 w 848702"/>
                  <a:gd name="connsiteY325" fmla="*/ 860323 h 1037303"/>
                  <a:gd name="connsiteX326" fmla="*/ 487259 w 848702"/>
                  <a:gd name="connsiteY326" fmla="*/ 857865 h 1037303"/>
                  <a:gd name="connsiteX327" fmla="*/ 487259 w 848702"/>
                  <a:gd name="connsiteY327" fmla="*/ 840658 h 1037303"/>
                  <a:gd name="connsiteX328" fmla="*/ 484801 w 848702"/>
                  <a:gd name="connsiteY328" fmla="*/ 830826 h 1037303"/>
                  <a:gd name="connsiteX329" fmla="*/ 477427 w 848702"/>
                  <a:gd name="connsiteY329" fmla="*/ 828368 h 1037303"/>
                  <a:gd name="connsiteX330" fmla="*/ 470052 w 848702"/>
                  <a:gd name="connsiteY330" fmla="*/ 823452 h 1037303"/>
                  <a:gd name="connsiteX331" fmla="*/ 455304 w 848702"/>
                  <a:gd name="connsiteY331" fmla="*/ 828368 h 1037303"/>
                  <a:gd name="connsiteX332" fmla="*/ 440556 w 848702"/>
                  <a:gd name="connsiteY332" fmla="*/ 823452 h 1037303"/>
                  <a:gd name="connsiteX333" fmla="*/ 420891 w 848702"/>
                  <a:gd name="connsiteY333" fmla="*/ 825910 h 1037303"/>
                  <a:gd name="connsiteX334" fmla="*/ 423349 w 848702"/>
                  <a:gd name="connsiteY334" fmla="*/ 833284 h 1037303"/>
                  <a:gd name="connsiteX335" fmla="*/ 433181 w 848702"/>
                  <a:gd name="connsiteY335" fmla="*/ 848032 h 1037303"/>
                  <a:gd name="connsiteX336" fmla="*/ 447930 w 848702"/>
                  <a:gd name="connsiteY336" fmla="*/ 860323 h 1037303"/>
                  <a:gd name="connsiteX337" fmla="*/ 455304 w 848702"/>
                  <a:gd name="connsiteY337" fmla="*/ 882445 h 1037303"/>
                  <a:gd name="connsiteX338" fmla="*/ 457762 w 848702"/>
                  <a:gd name="connsiteY338" fmla="*/ 889820 h 1037303"/>
                  <a:gd name="connsiteX339" fmla="*/ 462678 w 848702"/>
                  <a:gd name="connsiteY339" fmla="*/ 899652 h 1037303"/>
                  <a:gd name="connsiteX340" fmla="*/ 470052 w 848702"/>
                  <a:gd name="connsiteY340" fmla="*/ 902110 h 1037303"/>
                  <a:gd name="connsiteX341" fmla="*/ 477427 w 848702"/>
                  <a:gd name="connsiteY341" fmla="*/ 907026 h 1037303"/>
                  <a:gd name="connsiteX342" fmla="*/ 482343 w 848702"/>
                  <a:gd name="connsiteY342" fmla="*/ 916858 h 1037303"/>
                  <a:gd name="connsiteX343" fmla="*/ 487259 w 848702"/>
                  <a:gd name="connsiteY343" fmla="*/ 931607 h 1037303"/>
                  <a:gd name="connsiteX344" fmla="*/ 499549 w 848702"/>
                  <a:gd name="connsiteY344" fmla="*/ 946355 h 1037303"/>
                  <a:gd name="connsiteX345" fmla="*/ 502007 w 848702"/>
                  <a:gd name="connsiteY345" fmla="*/ 953729 h 1037303"/>
                  <a:gd name="connsiteX346" fmla="*/ 504465 w 848702"/>
                  <a:gd name="connsiteY346" fmla="*/ 990600 h 1037303"/>
                  <a:gd name="connsiteX347" fmla="*/ 514298 w 848702"/>
                  <a:gd name="connsiteY347" fmla="*/ 1005349 h 1037303"/>
                  <a:gd name="connsiteX348" fmla="*/ 519214 w 848702"/>
                  <a:gd name="connsiteY348" fmla="*/ 1012723 h 1037303"/>
                  <a:gd name="connsiteX349" fmla="*/ 524130 w 848702"/>
                  <a:gd name="connsiteY349" fmla="*/ 1020097 h 1037303"/>
                  <a:gd name="connsiteX350" fmla="*/ 502007 w 848702"/>
                  <a:gd name="connsiteY350" fmla="*/ 1020097 h 1037303"/>
                  <a:gd name="connsiteX351" fmla="*/ 494633 w 848702"/>
                  <a:gd name="connsiteY351" fmla="*/ 1012723 h 1037303"/>
                  <a:gd name="connsiteX352" fmla="*/ 492175 w 848702"/>
                  <a:gd name="connsiteY352" fmla="*/ 1002891 h 1037303"/>
                  <a:gd name="connsiteX353" fmla="*/ 484801 w 848702"/>
                  <a:gd name="connsiteY353" fmla="*/ 1000432 h 1037303"/>
                  <a:gd name="connsiteX354" fmla="*/ 467594 w 848702"/>
                  <a:gd name="connsiteY354" fmla="*/ 990600 h 1037303"/>
                  <a:gd name="connsiteX355" fmla="*/ 465136 w 848702"/>
                  <a:gd name="connsiteY355" fmla="*/ 975852 h 1037303"/>
                  <a:gd name="connsiteX356" fmla="*/ 452846 w 848702"/>
                  <a:gd name="connsiteY356" fmla="*/ 958645 h 1037303"/>
                  <a:gd name="connsiteX357" fmla="*/ 430723 w 848702"/>
                  <a:gd name="connsiteY357" fmla="*/ 966020 h 1037303"/>
                  <a:gd name="connsiteX358" fmla="*/ 425807 w 848702"/>
                  <a:gd name="connsiteY358" fmla="*/ 980768 h 1037303"/>
                  <a:gd name="connsiteX359" fmla="*/ 428265 w 848702"/>
                  <a:gd name="connsiteY359" fmla="*/ 988142 h 1037303"/>
                  <a:gd name="connsiteX360" fmla="*/ 423349 w 848702"/>
                  <a:gd name="connsiteY360" fmla="*/ 1002891 h 1037303"/>
                  <a:gd name="connsiteX361" fmla="*/ 425807 w 848702"/>
                  <a:gd name="connsiteY361" fmla="*/ 1027471 h 1037303"/>
                  <a:gd name="connsiteX362" fmla="*/ 428265 w 848702"/>
                  <a:gd name="connsiteY362" fmla="*/ 1034845 h 1037303"/>
                  <a:gd name="connsiteX363" fmla="*/ 420891 w 848702"/>
                  <a:gd name="connsiteY363" fmla="*/ 1037303 h 1037303"/>
                  <a:gd name="connsiteX364" fmla="*/ 411059 w 848702"/>
                  <a:gd name="connsiteY364" fmla="*/ 1034845 h 1037303"/>
                  <a:gd name="connsiteX365" fmla="*/ 406143 w 848702"/>
                  <a:gd name="connsiteY365" fmla="*/ 1027471 h 1037303"/>
                  <a:gd name="connsiteX366" fmla="*/ 401227 w 848702"/>
                  <a:gd name="connsiteY366" fmla="*/ 1010265 h 1037303"/>
                  <a:gd name="connsiteX367" fmla="*/ 398768 w 848702"/>
                  <a:gd name="connsiteY367" fmla="*/ 1002891 h 1037303"/>
                  <a:gd name="connsiteX368" fmla="*/ 396310 w 848702"/>
                  <a:gd name="connsiteY368" fmla="*/ 985684 h 1037303"/>
                  <a:gd name="connsiteX369" fmla="*/ 388936 w 848702"/>
                  <a:gd name="connsiteY369" fmla="*/ 980768 h 1037303"/>
                  <a:gd name="connsiteX370" fmla="*/ 386478 w 848702"/>
                  <a:gd name="connsiteY370" fmla="*/ 970936 h 1037303"/>
                  <a:gd name="connsiteX371" fmla="*/ 379104 w 848702"/>
                  <a:gd name="connsiteY371" fmla="*/ 966020 h 1037303"/>
                  <a:gd name="connsiteX372" fmla="*/ 374188 w 848702"/>
                  <a:gd name="connsiteY372" fmla="*/ 961103 h 1037303"/>
                  <a:gd name="connsiteX373" fmla="*/ 359439 w 848702"/>
                  <a:gd name="connsiteY373" fmla="*/ 953729 h 1037303"/>
                  <a:gd name="connsiteX374" fmla="*/ 352065 w 848702"/>
                  <a:gd name="connsiteY374" fmla="*/ 946355 h 1037303"/>
                  <a:gd name="connsiteX375" fmla="*/ 347149 w 848702"/>
                  <a:gd name="connsiteY375" fmla="*/ 931607 h 1037303"/>
                  <a:gd name="connsiteX376" fmla="*/ 339775 w 848702"/>
                  <a:gd name="connsiteY376" fmla="*/ 934065 h 1037303"/>
                  <a:gd name="connsiteX377" fmla="*/ 337317 w 848702"/>
                  <a:gd name="connsiteY377" fmla="*/ 941439 h 1037303"/>
                  <a:gd name="connsiteX378" fmla="*/ 322568 w 848702"/>
                  <a:gd name="connsiteY378" fmla="*/ 946355 h 1037303"/>
                  <a:gd name="connsiteX379" fmla="*/ 327485 w 848702"/>
                  <a:gd name="connsiteY379" fmla="*/ 961103 h 1037303"/>
                  <a:gd name="connsiteX380" fmla="*/ 329943 w 848702"/>
                  <a:gd name="connsiteY380" fmla="*/ 968478 h 1037303"/>
                  <a:gd name="connsiteX381" fmla="*/ 327485 w 848702"/>
                  <a:gd name="connsiteY381" fmla="*/ 985684 h 1037303"/>
                  <a:gd name="connsiteX382" fmla="*/ 320110 w 848702"/>
                  <a:gd name="connsiteY382" fmla="*/ 988142 h 1037303"/>
                  <a:gd name="connsiteX383" fmla="*/ 305362 w 848702"/>
                  <a:gd name="connsiteY383" fmla="*/ 983226 h 1037303"/>
                  <a:gd name="connsiteX384" fmla="*/ 288156 w 848702"/>
                  <a:gd name="connsiteY384" fmla="*/ 980768 h 1037303"/>
                  <a:gd name="connsiteX385" fmla="*/ 273407 w 848702"/>
                  <a:gd name="connsiteY385" fmla="*/ 951271 h 1037303"/>
                  <a:gd name="connsiteX386" fmla="*/ 266033 w 848702"/>
                  <a:gd name="connsiteY386" fmla="*/ 943897 h 1037303"/>
                  <a:gd name="connsiteX387" fmla="*/ 275865 w 848702"/>
                  <a:gd name="connsiteY387" fmla="*/ 914400 h 1037303"/>
                  <a:gd name="connsiteX388" fmla="*/ 283239 w 848702"/>
                  <a:gd name="connsiteY388" fmla="*/ 909484 h 1037303"/>
                  <a:gd name="connsiteX389" fmla="*/ 285698 w 848702"/>
                  <a:gd name="connsiteY389" fmla="*/ 894736 h 1037303"/>
                  <a:gd name="connsiteX390" fmla="*/ 288156 w 848702"/>
                  <a:gd name="connsiteY390" fmla="*/ 887361 h 1037303"/>
                  <a:gd name="connsiteX391" fmla="*/ 278323 w 848702"/>
                  <a:gd name="connsiteY391" fmla="*/ 875071 h 1037303"/>
                  <a:gd name="connsiteX392" fmla="*/ 256201 w 848702"/>
                  <a:gd name="connsiteY392" fmla="*/ 855407 h 1037303"/>
                  <a:gd name="connsiteX393" fmla="*/ 248827 w 848702"/>
                  <a:gd name="connsiteY393" fmla="*/ 852949 h 1037303"/>
                  <a:gd name="connsiteX394" fmla="*/ 243910 w 848702"/>
                  <a:gd name="connsiteY394" fmla="*/ 848032 h 1037303"/>
                  <a:gd name="connsiteX395" fmla="*/ 221788 w 848702"/>
                  <a:gd name="connsiteY395" fmla="*/ 843116 h 1037303"/>
                  <a:gd name="connsiteX396" fmla="*/ 214414 w 848702"/>
                  <a:gd name="connsiteY396" fmla="*/ 840658 h 1037303"/>
                  <a:gd name="connsiteX397" fmla="*/ 211956 w 848702"/>
                  <a:gd name="connsiteY397" fmla="*/ 820994 h 1037303"/>
                  <a:gd name="connsiteX398" fmla="*/ 197207 w 848702"/>
                  <a:gd name="connsiteY398" fmla="*/ 816078 h 1037303"/>
                  <a:gd name="connsiteX399" fmla="*/ 189833 w 848702"/>
                  <a:gd name="connsiteY399" fmla="*/ 813620 h 1037303"/>
                  <a:gd name="connsiteX400" fmla="*/ 192291 w 848702"/>
                  <a:gd name="connsiteY400" fmla="*/ 806245 h 1037303"/>
                  <a:gd name="connsiteX401" fmla="*/ 199665 w 848702"/>
                  <a:gd name="connsiteY401" fmla="*/ 786581 h 1037303"/>
                  <a:gd name="connsiteX402" fmla="*/ 209498 w 848702"/>
                  <a:gd name="connsiteY402" fmla="*/ 784123 h 1037303"/>
                  <a:gd name="connsiteX403" fmla="*/ 216872 w 848702"/>
                  <a:gd name="connsiteY403" fmla="*/ 762000 h 1037303"/>
                  <a:gd name="connsiteX404" fmla="*/ 224246 w 848702"/>
                  <a:gd name="connsiteY404" fmla="*/ 747252 h 1037303"/>
                  <a:gd name="connsiteX405" fmla="*/ 231620 w 848702"/>
                  <a:gd name="connsiteY405" fmla="*/ 744794 h 1037303"/>
                  <a:gd name="connsiteX406" fmla="*/ 251285 w 848702"/>
                  <a:gd name="connsiteY406" fmla="*/ 739878 h 1037303"/>
                  <a:gd name="connsiteX407" fmla="*/ 263575 w 848702"/>
                  <a:gd name="connsiteY407" fmla="*/ 730045 h 1037303"/>
                  <a:gd name="connsiteX408" fmla="*/ 270949 w 848702"/>
                  <a:gd name="connsiteY408" fmla="*/ 727587 h 1037303"/>
                  <a:gd name="connsiteX409" fmla="*/ 273407 w 848702"/>
                  <a:gd name="connsiteY409" fmla="*/ 717755 h 1037303"/>
                  <a:gd name="connsiteX410" fmla="*/ 280781 w 848702"/>
                  <a:gd name="connsiteY410" fmla="*/ 715297 h 1037303"/>
                  <a:gd name="connsiteX411" fmla="*/ 285698 w 848702"/>
                  <a:gd name="connsiteY411" fmla="*/ 710381 h 1037303"/>
                  <a:gd name="connsiteX412" fmla="*/ 307820 w 848702"/>
                  <a:gd name="connsiteY412" fmla="*/ 712839 h 1037303"/>
                  <a:gd name="connsiteX413" fmla="*/ 322568 w 848702"/>
                  <a:gd name="connsiteY413" fmla="*/ 720213 h 1037303"/>
                  <a:gd name="connsiteX414" fmla="*/ 361898 w 848702"/>
                  <a:gd name="connsiteY414" fmla="*/ 730045 h 1037303"/>
                  <a:gd name="connsiteX415" fmla="*/ 391394 w 848702"/>
                  <a:gd name="connsiteY415" fmla="*/ 734961 h 1037303"/>
                  <a:gd name="connsiteX416" fmla="*/ 408601 w 848702"/>
                  <a:gd name="connsiteY416" fmla="*/ 749710 h 1037303"/>
                  <a:gd name="connsiteX417" fmla="*/ 425807 w 848702"/>
                  <a:gd name="connsiteY417" fmla="*/ 752168 h 1037303"/>
                  <a:gd name="connsiteX418" fmla="*/ 452846 w 848702"/>
                  <a:gd name="connsiteY418" fmla="*/ 757084 h 1037303"/>
                  <a:gd name="connsiteX419" fmla="*/ 447930 w 848702"/>
                  <a:gd name="connsiteY419" fmla="*/ 749710 h 1037303"/>
                  <a:gd name="connsiteX420" fmla="*/ 440556 w 848702"/>
                  <a:gd name="connsiteY420" fmla="*/ 742336 h 1037303"/>
                  <a:gd name="connsiteX421" fmla="*/ 457762 w 848702"/>
                  <a:gd name="connsiteY421" fmla="*/ 734961 h 1037303"/>
                  <a:gd name="connsiteX422" fmla="*/ 462678 w 848702"/>
                  <a:gd name="connsiteY422" fmla="*/ 727587 h 1037303"/>
                  <a:gd name="connsiteX423" fmla="*/ 477427 w 848702"/>
                  <a:gd name="connsiteY423" fmla="*/ 722671 h 1037303"/>
                  <a:gd name="connsiteX424" fmla="*/ 484801 w 848702"/>
                  <a:gd name="connsiteY424" fmla="*/ 717755 h 1037303"/>
                  <a:gd name="connsiteX425" fmla="*/ 472510 w 848702"/>
                  <a:gd name="connsiteY425" fmla="*/ 707923 h 1037303"/>
                  <a:gd name="connsiteX426" fmla="*/ 462678 w 848702"/>
                  <a:gd name="connsiteY426" fmla="*/ 705465 h 1037303"/>
                  <a:gd name="connsiteX427" fmla="*/ 455304 w 848702"/>
                  <a:gd name="connsiteY427" fmla="*/ 703007 h 1037303"/>
                  <a:gd name="connsiteX428" fmla="*/ 430723 w 848702"/>
                  <a:gd name="connsiteY428" fmla="*/ 700549 h 1037303"/>
                  <a:gd name="connsiteX429" fmla="*/ 393852 w 848702"/>
                  <a:gd name="connsiteY429" fmla="*/ 695632 h 1037303"/>
                  <a:gd name="connsiteX430" fmla="*/ 366814 w 848702"/>
                  <a:gd name="connsiteY430" fmla="*/ 688258 h 1037303"/>
                  <a:gd name="connsiteX431" fmla="*/ 361898 w 848702"/>
                  <a:gd name="connsiteY431" fmla="*/ 695632 h 1037303"/>
                  <a:gd name="connsiteX432" fmla="*/ 359439 w 848702"/>
                  <a:gd name="connsiteY432" fmla="*/ 703007 h 1037303"/>
                  <a:gd name="connsiteX433" fmla="*/ 352065 w 848702"/>
                  <a:gd name="connsiteY433" fmla="*/ 705465 h 1037303"/>
                  <a:gd name="connsiteX434" fmla="*/ 342233 w 848702"/>
                  <a:gd name="connsiteY434" fmla="*/ 703007 h 1037303"/>
                  <a:gd name="connsiteX435" fmla="*/ 337317 w 848702"/>
                  <a:gd name="connsiteY435" fmla="*/ 695632 h 1037303"/>
                  <a:gd name="connsiteX436" fmla="*/ 305362 w 848702"/>
                  <a:gd name="connsiteY436" fmla="*/ 693174 h 1037303"/>
                  <a:gd name="connsiteX437" fmla="*/ 280781 w 848702"/>
                  <a:gd name="connsiteY437" fmla="*/ 695632 h 1037303"/>
                  <a:gd name="connsiteX438" fmla="*/ 273407 w 848702"/>
                  <a:gd name="connsiteY438" fmla="*/ 700549 h 1037303"/>
                  <a:gd name="connsiteX439" fmla="*/ 258659 w 848702"/>
                  <a:gd name="connsiteY439" fmla="*/ 705465 h 1037303"/>
                  <a:gd name="connsiteX440" fmla="*/ 251285 w 848702"/>
                  <a:gd name="connsiteY440" fmla="*/ 707923 h 1037303"/>
                  <a:gd name="connsiteX441" fmla="*/ 243910 w 848702"/>
                  <a:gd name="connsiteY441" fmla="*/ 710381 h 1037303"/>
                  <a:gd name="connsiteX442" fmla="*/ 236536 w 848702"/>
                  <a:gd name="connsiteY442" fmla="*/ 715297 h 1037303"/>
                  <a:gd name="connsiteX443" fmla="*/ 224246 w 848702"/>
                  <a:gd name="connsiteY443" fmla="*/ 705465 h 1037303"/>
                  <a:gd name="connsiteX444" fmla="*/ 219330 w 848702"/>
                  <a:gd name="connsiteY444" fmla="*/ 698091 h 1037303"/>
                  <a:gd name="connsiteX445" fmla="*/ 204581 w 848702"/>
                  <a:gd name="connsiteY445" fmla="*/ 700549 h 1037303"/>
                  <a:gd name="connsiteX446" fmla="*/ 194749 w 848702"/>
                  <a:gd name="connsiteY446" fmla="*/ 722671 h 1037303"/>
                  <a:gd name="connsiteX447" fmla="*/ 180001 w 848702"/>
                  <a:gd name="connsiteY447" fmla="*/ 725129 h 1037303"/>
                  <a:gd name="connsiteX448" fmla="*/ 172627 w 848702"/>
                  <a:gd name="connsiteY448" fmla="*/ 698091 h 1037303"/>
                  <a:gd name="connsiteX449" fmla="*/ 165252 w 848702"/>
                  <a:gd name="connsiteY449" fmla="*/ 695632 h 1037303"/>
                  <a:gd name="connsiteX450" fmla="*/ 162794 w 848702"/>
                  <a:gd name="connsiteY450" fmla="*/ 703007 h 1037303"/>
                  <a:gd name="connsiteX451" fmla="*/ 155420 w 848702"/>
                  <a:gd name="connsiteY451" fmla="*/ 707923 h 1037303"/>
                  <a:gd name="connsiteX452" fmla="*/ 152962 w 848702"/>
                  <a:gd name="connsiteY452" fmla="*/ 683342 h 1037303"/>
                  <a:gd name="connsiteX453" fmla="*/ 148046 w 848702"/>
                  <a:gd name="connsiteY453" fmla="*/ 675968 h 1037303"/>
                  <a:gd name="connsiteX454" fmla="*/ 143130 w 848702"/>
                  <a:gd name="connsiteY454" fmla="*/ 683342 h 1037303"/>
                  <a:gd name="connsiteX455" fmla="*/ 135756 w 848702"/>
                  <a:gd name="connsiteY455" fmla="*/ 678426 h 1037303"/>
                  <a:gd name="connsiteX456" fmla="*/ 123465 w 848702"/>
                  <a:gd name="connsiteY456" fmla="*/ 671052 h 1037303"/>
                  <a:gd name="connsiteX457" fmla="*/ 106259 w 848702"/>
                  <a:gd name="connsiteY457" fmla="*/ 671052 h 1037303"/>
                  <a:gd name="connsiteX458" fmla="*/ 101343 w 848702"/>
                  <a:gd name="connsiteY458" fmla="*/ 663678 h 1037303"/>
                  <a:gd name="connsiteX459" fmla="*/ 108717 w 848702"/>
                  <a:gd name="connsiteY459" fmla="*/ 658761 h 1037303"/>
                  <a:gd name="connsiteX460" fmla="*/ 118549 w 848702"/>
                  <a:gd name="connsiteY460" fmla="*/ 656303 h 1037303"/>
                  <a:gd name="connsiteX461" fmla="*/ 128381 w 848702"/>
                  <a:gd name="connsiteY461" fmla="*/ 641555 h 1037303"/>
                  <a:gd name="connsiteX462" fmla="*/ 143130 w 848702"/>
                  <a:gd name="connsiteY462" fmla="*/ 636639 h 1037303"/>
                  <a:gd name="connsiteX463" fmla="*/ 145588 w 848702"/>
                  <a:gd name="connsiteY463" fmla="*/ 629265 h 1037303"/>
                  <a:gd name="connsiteX464" fmla="*/ 160336 w 848702"/>
                  <a:gd name="connsiteY464" fmla="*/ 634181 h 1037303"/>
                  <a:gd name="connsiteX465" fmla="*/ 162794 w 848702"/>
                  <a:gd name="connsiteY465" fmla="*/ 626807 h 1037303"/>
                  <a:gd name="connsiteX466" fmla="*/ 170168 w 848702"/>
                  <a:gd name="connsiteY466" fmla="*/ 619432 h 1037303"/>
                  <a:gd name="connsiteX467" fmla="*/ 165252 w 848702"/>
                  <a:gd name="connsiteY467" fmla="*/ 612058 h 1037303"/>
                  <a:gd name="connsiteX468" fmla="*/ 148046 w 848702"/>
                  <a:gd name="connsiteY468" fmla="*/ 604684 h 1037303"/>
                  <a:gd name="connsiteX469" fmla="*/ 128381 w 848702"/>
                  <a:gd name="connsiteY469" fmla="*/ 602226 h 1037303"/>
                  <a:gd name="connsiteX470" fmla="*/ 116091 w 848702"/>
                  <a:gd name="connsiteY470" fmla="*/ 592394 h 1037303"/>
                  <a:gd name="connsiteX471" fmla="*/ 113633 w 848702"/>
                  <a:gd name="connsiteY471" fmla="*/ 599768 h 1037303"/>
                  <a:gd name="connsiteX472" fmla="*/ 108717 w 848702"/>
                  <a:gd name="connsiteY472" fmla="*/ 607142 h 1037303"/>
                  <a:gd name="connsiteX473" fmla="*/ 74304 w 848702"/>
                  <a:gd name="connsiteY473" fmla="*/ 592394 h 1037303"/>
                  <a:gd name="connsiteX474" fmla="*/ 66930 w 848702"/>
                  <a:gd name="connsiteY474" fmla="*/ 587478 h 1037303"/>
                  <a:gd name="connsiteX475" fmla="*/ 62014 w 848702"/>
                  <a:gd name="connsiteY475" fmla="*/ 582561 h 1037303"/>
                  <a:gd name="connsiteX476" fmla="*/ 39891 w 848702"/>
                  <a:gd name="connsiteY476" fmla="*/ 565355 h 1037303"/>
                  <a:gd name="connsiteX477" fmla="*/ 34975 w 848702"/>
                  <a:gd name="connsiteY477" fmla="*/ 557981 h 1037303"/>
                  <a:gd name="connsiteX478" fmla="*/ 39891 w 848702"/>
                  <a:gd name="connsiteY478" fmla="*/ 550607 h 1037303"/>
                  <a:gd name="connsiteX479" fmla="*/ 37433 w 848702"/>
                  <a:gd name="connsiteY479" fmla="*/ 535858 h 1037303"/>
                  <a:gd name="connsiteX480" fmla="*/ 32517 w 848702"/>
                  <a:gd name="connsiteY480" fmla="*/ 528484 h 1037303"/>
                  <a:gd name="connsiteX481" fmla="*/ 10394 w 848702"/>
                  <a:gd name="connsiteY481" fmla="*/ 523568 h 1037303"/>
                  <a:gd name="connsiteX482" fmla="*/ 32517 w 848702"/>
                  <a:gd name="connsiteY482" fmla="*/ 540774 h 1037303"/>
                  <a:gd name="connsiteX0" fmla="*/ 32517 w 848702"/>
                  <a:gd name="connsiteY0" fmla="*/ 540774 h 1037303"/>
                  <a:gd name="connsiteX1" fmla="*/ 20227 w 848702"/>
                  <a:gd name="connsiteY1" fmla="*/ 521110 h 1037303"/>
                  <a:gd name="connsiteX2" fmla="*/ 15310 w 848702"/>
                  <a:gd name="connsiteY2" fmla="*/ 516194 h 1037303"/>
                  <a:gd name="connsiteX3" fmla="*/ 7936 w 848702"/>
                  <a:gd name="connsiteY3" fmla="*/ 513736 h 1037303"/>
                  <a:gd name="connsiteX4" fmla="*/ 562 w 848702"/>
                  <a:gd name="connsiteY4" fmla="*/ 508820 h 1037303"/>
                  <a:gd name="connsiteX5" fmla="*/ 12852 w 848702"/>
                  <a:gd name="connsiteY5" fmla="*/ 511278 h 1037303"/>
                  <a:gd name="connsiteX6" fmla="*/ 25143 w 848702"/>
                  <a:gd name="connsiteY6" fmla="*/ 508820 h 1037303"/>
                  <a:gd name="connsiteX7" fmla="*/ 34975 w 848702"/>
                  <a:gd name="connsiteY7" fmla="*/ 494071 h 1037303"/>
                  <a:gd name="connsiteX8" fmla="*/ 42349 w 848702"/>
                  <a:gd name="connsiteY8" fmla="*/ 479323 h 1037303"/>
                  <a:gd name="connsiteX9" fmla="*/ 34975 w 848702"/>
                  <a:gd name="connsiteY9" fmla="*/ 464574 h 1037303"/>
                  <a:gd name="connsiteX10" fmla="*/ 42349 w 848702"/>
                  <a:gd name="connsiteY10" fmla="*/ 467032 h 1037303"/>
                  <a:gd name="connsiteX11" fmla="*/ 39891 w 848702"/>
                  <a:gd name="connsiteY11" fmla="*/ 457200 h 1037303"/>
                  <a:gd name="connsiteX12" fmla="*/ 34975 w 848702"/>
                  <a:gd name="connsiteY12" fmla="*/ 449826 h 1037303"/>
                  <a:gd name="connsiteX13" fmla="*/ 42349 w 848702"/>
                  <a:gd name="connsiteY13" fmla="*/ 444910 h 1037303"/>
                  <a:gd name="connsiteX14" fmla="*/ 47265 w 848702"/>
                  <a:gd name="connsiteY14" fmla="*/ 437536 h 1037303"/>
                  <a:gd name="connsiteX15" fmla="*/ 54639 w 848702"/>
                  <a:gd name="connsiteY15" fmla="*/ 435078 h 1037303"/>
                  <a:gd name="connsiteX16" fmla="*/ 74304 w 848702"/>
                  <a:gd name="connsiteY16" fmla="*/ 430161 h 1037303"/>
                  <a:gd name="connsiteX17" fmla="*/ 76762 w 848702"/>
                  <a:gd name="connsiteY17" fmla="*/ 405581 h 1037303"/>
                  <a:gd name="connsiteX18" fmla="*/ 81678 w 848702"/>
                  <a:gd name="connsiteY18" fmla="*/ 398207 h 1037303"/>
                  <a:gd name="connsiteX19" fmla="*/ 86594 w 848702"/>
                  <a:gd name="connsiteY19" fmla="*/ 371168 h 1037303"/>
                  <a:gd name="connsiteX20" fmla="*/ 91510 w 848702"/>
                  <a:gd name="connsiteY20" fmla="*/ 363794 h 1037303"/>
                  <a:gd name="connsiteX21" fmla="*/ 98885 w 848702"/>
                  <a:gd name="connsiteY21" fmla="*/ 351503 h 1037303"/>
                  <a:gd name="connsiteX22" fmla="*/ 123465 w 848702"/>
                  <a:gd name="connsiteY22" fmla="*/ 344129 h 1037303"/>
                  <a:gd name="connsiteX23" fmla="*/ 116091 w 848702"/>
                  <a:gd name="connsiteY23" fmla="*/ 314632 h 1037303"/>
                  <a:gd name="connsiteX24" fmla="*/ 108717 w 848702"/>
                  <a:gd name="connsiteY24" fmla="*/ 309716 h 1037303"/>
                  <a:gd name="connsiteX25" fmla="*/ 106259 w 848702"/>
                  <a:gd name="connsiteY25" fmla="*/ 302342 h 1037303"/>
                  <a:gd name="connsiteX26" fmla="*/ 103801 w 848702"/>
                  <a:gd name="connsiteY26" fmla="*/ 282678 h 1037303"/>
                  <a:gd name="connsiteX27" fmla="*/ 111175 w 848702"/>
                  <a:gd name="connsiteY27" fmla="*/ 280220 h 1037303"/>
                  <a:gd name="connsiteX28" fmla="*/ 138214 w 848702"/>
                  <a:gd name="connsiteY28" fmla="*/ 282678 h 1037303"/>
                  <a:gd name="connsiteX29" fmla="*/ 150504 w 848702"/>
                  <a:gd name="connsiteY29" fmla="*/ 272845 h 1037303"/>
                  <a:gd name="connsiteX30" fmla="*/ 157878 w 848702"/>
                  <a:gd name="connsiteY30" fmla="*/ 270387 h 1037303"/>
                  <a:gd name="connsiteX31" fmla="*/ 175085 w 848702"/>
                  <a:gd name="connsiteY31" fmla="*/ 265471 h 1037303"/>
                  <a:gd name="connsiteX32" fmla="*/ 192291 w 848702"/>
                  <a:gd name="connsiteY32" fmla="*/ 267929 h 1037303"/>
                  <a:gd name="connsiteX33" fmla="*/ 204581 w 848702"/>
                  <a:gd name="connsiteY33" fmla="*/ 255639 h 1037303"/>
                  <a:gd name="connsiteX34" fmla="*/ 209498 w 848702"/>
                  <a:gd name="connsiteY34" fmla="*/ 250723 h 1037303"/>
                  <a:gd name="connsiteX35" fmla="*/ 219330 w 848702"/>
                  <a:gd name="connsiteY35" fmla="*/ 235974 h 1037303"/>
                  <a:gd name="connsiteX36" fmla="*/ 231620 w 848702"/>
                  <a:gd name="connsiteY36" fmla="*/ 221226 h 1037303"/>
                  <a:gd name="connsiteX37" fmla="*/ 234078 w 848702"/>
                  <a:gd name="connsiteY37" fmla="*/ 208936 h 1037303"/>
                  <a:gd name="connsiteX38" fmla="*/ 263575 w 848702"/>
                  <a:gd name="connsiteY38" fmla="*/ 213852 h 1037303"/>
                  <a:gd name="connsiteX39" fmla="*/ 273407 w 848702"/>
                  <a:gd name="connsiteY39" fmla="*/ 201561 h 1037303"/>
                  <a:gd name="connsiteX40" fmla="*/ 280781 w 848702"/>
                  <a:gd name="connsiteY40" fmla="*/ 199103 h 1037303"/>
                  <a:gd name="connsiteX41" fmla="*/ 297988 w 848702"/>
                  <a:gd name="connsiteY41" fmla="*/ 201561 h 1037303"/>
                  <a:gd name="connsiteX42" fmla="*/ 312736 w 848702"/>
                  <a:gd name="connsiteY42" fmla="*/ 204020 h 1037303"/>
                  <a:gd name="connsiteX43" fmla="*/ 315194 w 848702"/>
                  <a:gd name="connsiteY43" fmla="*/ 196645 h 1037303"/>
                  <a:gd name="connsiteX44" fmla="*/ 329943 w 848702"/>
                  <a:gd name="connsiteY44" fmla="*/ 196645 h 1037303"/>
                  <a:gd name="connsiteX45" fmla="*/ 329943 w 848702"/>
                  <a:gd name="connsiteY45" fmla="*/ 164691 h 1037303"/>
                  <a:gd name="connsiteX46" fmla="*/ 334859 w 848702"/>
                  <a:gd name="connsiteY46" fmla="*/ 159774 h 1037303"/>
                  <a:gd name="connsiteX47" fmla="*/ 347149 w 848702"/>
                  <a:gd name="connsiteY47" fmla="*/ 162232 h 1037303"/>
                  <a:gd name="connsiteX48" fmla="*/ 366814 w 848702"/>
                  <a:gd name="connsiteY48" fmla="*/ 159774 h 1037303"/>
                  <a:gd name="connsiteX49" fmla="*/ 388936 w 848702"/>
                  <a:gd name="connsiteY49" fmla="*/ 157316 h 1037303"/>
                  <a:gd name="connsiteX50" fmla="*/ 396310 w 848702"/>
                  <a:gd name="connsiteY50" fmla="*/ 152400 h 1037303"/>
                  <a:gd name="connsiteX51" fmla="*/ 408601 w 848702"/>
                  <a:gd name="connsiteY51" fmla="*/ 142568 h 1037303"/>
                  <a:gd name="connsiteX52" fmla="*/ 447930 w 848702"/>
                  <a:gd name="connsiteY52" fmla="*/ 140110 h 1037303"/>
                  <a:gd name="connsiteX53" fmla="*/ 462678 w 848702"/>
                  <a:gd name="connsiteY53" fmla="*/ 130278 h 1037303"/>
                  <a:gd name="connsiteX54" fmla="*/ 472510 w 848702"/>
                  <a:gd name="connsiteY54" fmla="*/ 120445 h 1037303"/>
                  <a:gd name="connsiteX55" fmla="*/ 484801 w 848702"/>
                  <a:gd name="connsiteY55" fmla="*/ 110613 h 1037303"/>
                  <a:gd name="connsiteX56" fmla="*/ 492175 w 848702"/>
                  <a:gd name="connsiteY56" fmla="*/ 108155 h 1037303"/>
                  <a:gd name="connsiteX57" fmla="*/ 494633 w 848702"/>
                  <a:gd name="connsiteY57" fmla="*/ 100781 h 1037303"/>
                  <a:gd name="connsiteX58" fmla="*/ 497091 w 848702"/>
                  <a:gd name="connsiteY58" fmla="*/ 90949 h 1037303"/>
                  <a:gd name="connsiteX59" fmla="*/ 504465 w 848702"/>
                  <a:gd name="connsiteY59" fmla="*/ 93407 h 1037303"/>
                  <a:gd name="connsiteX60" fmla="*/ 519214 w 848702"/>
                  <a:gd name="connsiteY60" fmla="*/ 83574 h 1037303"/>
                  <a:gd name="connsiteX61" fmla="*/ 526588 w 848702"/>
                  <a:gd name="connsiteY61" fmla="*/ 78658 h 1037303"/>
                  <a:gd name="connsiteX62" fmla="*/ 533962 w 848702"/>
                  <a:gd name="connsiteY62" fmla="*/ 78658 h 1037303"/>
                  <a:gd name="connsiteX63" fmla="*/ 541336 w 848702"/>
                  <a:gd name="connsiteY63" fmla="*/ 76200 h 1037303"/>
                  <a:gd name="connsiteX64" fmla="*/ 548710 w 848702"/>
                  <a:gd name="connsiteY64" fmla="*/ 81116 h 1037303"/>
                  <a:gd name="connsiteX65" fmla="*/ 556085 w 848702"/>
                  <a:gd name="connsiteY65" fmla="*/ 83574 h 1037303"/>
                  <a:gd name="connsiteX66" fmla="*/ 558543 w 848702"/>
                  <a:gd name="connsiteY66" fmla="*/ 90949 h 1037303"/>
                  <a:gd name="connsiteX67" fmla="*/ 565917 w 848702"/>
                  <a:gd name="connsiteY67" fmla="*/ 88491 h 1037303"/>
                  <a:gd name="connsiteX68" fmla="*/ 578207 w 848702"/>
                  <a:gd name="connsiteY68" fmla="*/ 100781 h 1037303"/>
                  <a:gd name="connsiteX69" fmla="*/ 585581 w 848702"/>
                  <a:gd name="connsiteY69" fmla="*/ 105697 h 1037303"/>
                  <a:gd name="connsiteX70" fmla="*/ 592956 w 848702"/>
                  <a:gd name="connsiteY70" fmla="*/ 103239 h 1037303"/>
                  <a:gd name="connsiteX71" fmla="*/ 607704 w 848702"/>
                  <a:gd name="connsiteY71" fmla="*/ 108155 h 1037303"/>
                  <a:gd name="connsiteX72" fmla="*/ 615078 w 848702"/>
                  <a:gd name="connsiteY72" fmla="*/ 105697 h 1037303"/>
                  <a:gd name="connsiteX73" fmla="*/ 627368 w 848702"/>
                  <a:gd name="connsiteY73" fmla="*/ 110613 h 1037303"/>
                  <a:gd name="connsiteX74" fmla="*/ 654407 w 848702"/>
                  <a:gd name="connsiteY74" fmla="*/ 115529 h 1037303"/>
                  <a:gd name="connsiteX75" fmla="*/ 661781 w 848702"/>
                  <a:gd name="connsiteY75" fmla="*/ 120445 h 1037303"/>
                  <a:gd name="connsiteX76" fmla="*/ 669156 w 848702"/>
                  <a:gd name="connsiteY76" fmla="*/ 117987 h 1037303"/>
                  <a:gd name="connsiteX77" fmla="*/ 678988 w 848702"/>
                  <a:gd name="connsiteY77" fmla="*/ 110613 h 1037303"/>
                  <a:gd name="connsiteX78" fmla="*/ 691278 w 848702"/>
                  <a:gd name="connsiteY78" fmla="*/ 108155 h 1037303"/>
                  <a:gd name="connsiteX79" fmla="*/ 706027 w 848702"/>
                  <a:gd name="connsiteY79" fmla="*/ 100781 h 1037303"/>
                  <a:gd name="connsiteX80" fmla="*/ 718317 w 848702"/>
                  <a:gd name="connsiteY80" fmla="*/ 103239 h 1037303"/>
                  <a:gd name="connsiteX81" fmla="*/ 725691 w 848702"/>
                  <a:gd name="connsiteY81" fmla="*/ 105697 h 1037303"/>
                  <a:gd name="connsiteX82" fmla="*/ 728149 w 848702"/>
                  <a:gd name="connsiteY82" fmla="*/ 98323 h 1037303"/>
                  <a:gd name="connsiteX83" fmla="*/ 742898 w 848702"/>
                  <a:gd name="connsiteY83" fmla="*/ 90949 h 1037303"/>
                  <a:gd name="connsiteX84" fmla="*/ 745356 w 848702"/>
                  <a:gd name="connsiteY84" fmla="*/ 83574 h 1037303"/>
                  <a:gd name="connsiteX85" fmla="*/ 750272 w 848702"/>
                  <a:gd name="connsiteY85" fmla="*/ 88491 h 1037303"/>
                  <a:gd name="connsiteX86" fmla="*/ 757646 w 848702"/>
                  <a:gd name="connsiteY86" fmla="*/ 93407 h 1037303"/>
                  <a:gd name="connsiteX87" fmla="*/ 769936 w 848702"/>
                  <a:gd name="connsiteY87" fmla="*/ 90949 h 1037303"/>
                  <a:gd name="connsiteX88" fmla="*/ 777310 w 848702"/>
                  <a:gd name="connsiteY88" fmla="*/ 73742 h 1037303"/>
                  <a:gd name="connsiteX89" fmla="*/ 782227 w 848702"/>
                  <a:gd name="connsiteY89" fmla="*/ 68826 h 1037303"/>
                  <a:gd name="connsiteX90" fmla="*/ 779768 w 848702"/>
                  <a:gd name="connsiteY90" fmla="*/ 61452 h 1037303"/>
                  <a:gd name="connsiteX91" fmla="*/ 777310 w 848702"/>
                  <a:gd name="connsiteY91" fmla="*/ 51620 h 1037303"/>
                  <a:gd name="connsiteX92" fmla="*/ 772394 w 848702"/>
                  <a:gd name="connsiteY92" fmla="*/ 46703 h 1037303"/>
                  <a:gd name="connsiteX93" fmla="*/ 769936 w 848702"/>
                  <a:gd name="connsiteY93" fmla="*/ 39329 h 1037303"/>
                  <a:gd name="connsiteX94" fmla="*/ 767478 w 848702"/>
                  <a:gd name="connsiteY94" fmla="*/ 27039 h 1037303"/>
                  <a:gd name="connsiteX95" fmla="*/ 760104 w 848702"/>
                  <a:gd name="connsiteY95" fmla="*/ 24581 h 1037303"/>
                  <a:gd name="connsiteX96" fmla="*/ 757646 w 848702"/>
                  <a:gd name="connsiteY96" fmla="*/ 9832 h 1037303"/>
                  <a:gd name="connsiteX97" fmla="*/ 765020 w 848702"/>
                  <a:gd name="connsiteY97" fmla="*/ 4916 h 1037303"/>
                  <a:gd name="connsiteX98" fmla="*/ 779768 w 848702"/>
                  <a:gd name="connsiteY98" fmla="*/ 0 h 1037303"/>
                  <a:gd name="connsiteX99" fmla="*/ 804349 w 848702"/>
                  <a:gd name="connsiteY99" fmla="*/ 2458 h 1037303"/>
                  <a:gd name="connsiteX100" fmla="*/ 819098 w 848702"/>
                  <a:gd name="connsiteY100" fmla="*/ 9832 h 1037303"/>
                  <a:gd name="connsiteX101" fmla="*/ 826472 w 848702"/>
                  <a:gd name="connsiteY101" fmla="*/ 12291 h 1037303"/>
                  <a:gd name="connsiteX102" fmla="*/ 841220 w 848702"/>
                  <a:gd name="connsiteY102" fmla="*/ 27039 h 1037303"/>
                  <a:gd name="connsiteX103" fmla="*/ 843678 w 848702"/>
                  <a:gd name="connsiteY103" fmla="*/ 34413 h 1037303"/>
                  <a:gd name="connsiteX104" fmla="*/ 848594 w 848702"/>
                  <a:gd name="connsiteY104" fmla="*/ 41787 h 1037303"/>
                  <a:gd name="connsiteX105" fmla="*/ 843678 w 848702"/>
                  <a:gd name="connsiteY105" fmla="*/ 71284 h 1037303"/>
                  <a:gd name="connsiteX106" fmla="*/ 828930 w 848702"/>
                  <a:gd name="connsiteY106" fmla="*/ 68826 h 1037303"/>
                  <a:gd name="connsiteX107" fmla="*/ 826472 w 848702"/>
                  <a:gd name="connsiteY107" fmla="*/ 76200 h 1037303"/>
                  <a:gd name="connsiteX108" fmla="*/ 816639 w 848702"/>
                  <a:gd name="connsiteY108" fmla="*/ 78658 h 1037303"/>
                  <a:gd name="connsiteX109" fmla="*/ 811723 w 848702"/>
                  <a:gd name="connsiteY109" fmla="*/ 86032 h 1037303"/>
                  <a:gd name="connsiteX110" fmla="*/ 814181 w 848702"/>
                  <a:gd name="connsiteY110" fmla="*/ 95865 h 1037303"/>
                  <a:gd name="connsiteX111" fmla="*/ 816639 w 848702"/>
                  <a:gd name="connsiteY111" fmla="*/ 103239 h 1037303"/>
                  <a:gd name="connsiteX112" fmla="*/ 821556 w 848702"/>
                  <a:gd name="connsiteY112" fmla="*/ 108155 h 1037303"/>
                  <a:gd name="connsiteX113" fmla="*/ 826472 w 848702"/>
                  <a:gd name="connsiteY113" fmla="*/ 115529 h 1037303"/>
                  <a:gd name="connsiteX114" fmla="*/ 821556 w 848702"/>
                  <a:gd name="connsiteY114" fmla="*/ 125361 h 1037303"/>
                  <a:gd name="connsiteX115" fmla="*/ 816639 w 848702"/>
                  <a:gd name="connsiteY115" fmla="*/ 130278 h 1037303"/>
                  <a:gd name="connsiteX116" fmla="*/ 819098 w 848702"/>
                  <a:gd name="connsiteY116" fmla="*/ 137652 h 1037303"/>
                  <a:gd name="connsiteX117" fmla="*/ 819098 w 848702"/>
                  <a:gd name="connsiteY117" fmla="*/ 152400 h 1037303"/>
                  <a:gd name="connsiteX118" fmla="*/ 799433 w 848702"/>
                  <a:gd name="connsiteY118" fmla="*/ 154858 h 1037303"/>
                  <a:gd name="connsiteX119" fmla="*/ 794517 w 848702"/>
                  <a:gd name="connsiteY119" fmla="*/ 162232 h 1037303"/>
                  <a:gd name="connsiteX120" fmla="*/ 801891 w 848702"/>
                  <a:gd name="connsiteY120" fmla="*/ 167149 h 1037303"/>
                  <a:gd name="connsiteX121" fmla="*/ 796975 w 848702"/>
                  <a:gd name="connsiteY121" fmla="*/ 174523 h 1037303"/>
                  <a:gd name="connsiteX122" fmla="*/ 792059 w 848702"/>
                  <a:gd name="connsiteY122" fmla="*/ 184355 h 1037303"/>
                  <a:gd name="connsiteX123" fmla="*/ 787143 w 848702"/>
                  <a:gd name="connsiteY123" fmla="*/ 176981 h 1037303"/>
                  <a:gd name="connsiteX124" fmla="*/ 772394 w 848702"/>
                  <a:gd name="connsiteY124" fmla="*/ 169607 h 1037303"/>
                  <a:gd name="connsiteX125" fmla="*/ 765020 w 848702"/>
                  <a:gd name="connsiteY125" fmla="*/ 164691 h 1037303"/>
                  <a:gd name="connsiteX126" fmla="*/ 715859 w 848702"/>
                  <a:gd name="connsiteY126" fmla="*/ 159774 h 1037303"/>
                  <a:gd name="connsiteX127" fmla="*/ 701110 w 848702"/>
                  <a:gd name="connsiteY127" fmla="*/ 152400 h 1037303"/>
                  <a:gd name="connsiteX128" fmla="*/ 693736 w 848702"/>
                  <a:gd name="connsiteY128" fmla="*/ 154858 h 1037303"/>
                  <a:gd name="connsiteX129" fmla="*/ 678988 w 848702"/>
                  <a:gd name="connsiteY129" fmla="*/ 157316 h 1037303"/>
                  <a:gd name="connsiteX130" fmla="*/ 669156 w 848702"/>
                  <a:gd name="connsiteY130" fmla="*/ 154858 h 1037303"/>
                  <a:gd name="connsiteX131" fmla="*/ 661781 w 848702"/>
                  <a:gd name="connsiteY131" fmla="*/ 152400 h 1037303"/>
                  <a:gd name="connsiteX132" fmla="*/ 654407 w 848702"/>
                  <a:gd name="connsiteY132" fmla="*/ 159774 h 1037303"/>
                  <a:gd name="connsiteX133" fmla="*/ 637201 w 848702"/>
                  <a:gd name="connsiteY133" fmla="*/ 167149 h 1037303"/>
                  <a:gd name="connsiteX134" fmla="*/ 632285 w 848702"/>
                  <a:gd name="connsiteY134" fmla="*/ 184355 h 1037303"/>
                  <a:gd name="connsiteX135" fmla="*/ 624910 w 848702"/>
                  <a:gd name="connsiteY135" fmla="*/ 186813 h 1037303"/>
                  <a:gd name="connsiteX136" fmla="*/ 602788 w 848702"/>
                  <a:gd name="connsiteY136" fmla="*/ 199103 h 1037303"/>
                  <a:gd name="connsiteX137" fmla="*/ 553627 w 848702"/>
                  <a:gd name="connsiteY137" fmla="*/ 196645 h 1037303"/>
                  <a:gd name="connsiteX138" fmla="*/ 548710 w 848702"/>
                  <a:gd name="connsiteY138" fmla="*/ 201561 h 1037303"/>
                  <a:gd name="connsiteX139" fmla="*/ 543794 w 848702"/>
                  <a:gd name="connsiteY139" fmla="*/ 216310 h 1037303"/>
                  <a:gd name="connsiteX140" fmla="*/ 538878 w 848702"/>
                  <a:gd name="connsiteY140" fmla="*/ 228600 h 1037303"/>
                  <a:gd name="connsiteX141" fmla="*/ 506923 w 848702"/>
                  <a:gd name="connsiteY141" fmla="*/ 238432 h 1037303"/>
                  <a:gd name="connsiteX142" fmla="*/ 497091 w 848702"/>
                  <a:gd name="connsiteY142" fmla="*/ 240891 h 1037303"/>
                  <a:gd name="connsiteX143" fmla="*/ 479885 w 848702"/>
                  <a:gd name="connsiteY143" fmla="*/ 243349 h 1037303"/>
                  <a:gd name="connsiteX144" fmla="*/ 482343 w 848702"/>
                  <a:gd name="connsiteY144" fmla="*/ 258097 h 1037303"/>
                  <a:gd name="connsiteX145" fmla="*/ 487259 w 848702"/>
                  <a:gd name="connsiteY145" fmla="*/ 265471 h 1037303"/>
                  <a:gd name="connsiteX146" fmla="*/ 484801 w 848702"/>
                  <a:gd name="connsiteY146" fmla="*/ 275303 h 1037303"/>
                  <a:gd name="connsiteX147" fmla="*/ 497091 w 848702"/>
                  <a:gd name="connsiteY147" fmla="*/ 287594 h 1037303"/>
                  <a:gd name="connsiteX148" fmla="*/ 570833 w 848702"/>
                  <a:gd name="connsiteY148" fmla="*/ 299884 h 1037303"/>
                  <a:gd name="connsiteX149" fmla="*/ 573291 w 848702"/>
                  <a:gd name="connsiteY149" fmla="*/ 307258 h 1037303"/>
                  <a:gd name="connsiteX150" fmla="*/ 585581 w 848702"/>
                  <a:gd name="connsiteY150" fmla="*/ 317091 h 1037303"/>
                  <a:gd name="connsiteX151" fmla="*/ 595414 w 848702"/>
                  <a:gd name="connsiteY151" fmla="*/ 329381 h 1037303"/>
                  <a:gd name="connsiteX152" fmla="*/ 588039 w 848702"/>
                  <a:gd name="connsiteY152" fmla="*/ 331839 h 1037303"/>
                  <a:gd name="connsiteX153" fmla="*/ 580665 w 848702"/>
                  <a:gd name="connsiteY153" fmla="*/ 326923 h 1037303"/>
                  <a:gd name="connsiteX154" fmla="*/ 570833 w 848702"/>
                  <a:gd name="connsiteY154" fmla="*/ 324465 h 1037303"/>
                  <a:gd name="connsiteX155" fmla="*/ 553627 w 848702"/>
                  <a:gd name="connsiteY155" fmla="*/ 319549 h 1037303"/>
                  <a:gd name="connsiteX156" fmla="*/ 546252 w 848702"/>
                  <a:gd name="connsiteY156" fmla="*/ 314632 h 1037303"/>
                  <a:gd name="connsiteX157" fmla="*/ 538878 w 848702"/>
                  <a:gd name="connsiteY157" fmla="*/ 307258 h 1037303"/>
                  <a:gd name="connsiteX158" fmla="*/ 504465 w 848702"/>
                  <a:gd name="connsiteY158" fmla="*/ 309716 h 1037303"/>
                  <a:gd name="connsiteX159" fmla="*/ 502007 w 848702"/>
                  <a:gd name="connsiteY159" fmla="*/ 322007 h 1037303"/>
                  <a:gd name="connsiteX160" fmla="*/ 502007 w 848702"/>
                  <a:gd name="connsiteY160" fmla="*/ 339213 h 1037303"/>
                  <a:gd name="connsiteX161" fmla="*/ 514298 w 848702"/>
                  <a:gd name="connsiteY161" fmla="*/ 341671 h 1037303"/>
                  <a:gd name="connsiteX162" fmla="*/ 529046 w 848702"/>
                  <a:gd name="connsiteY162" fmla="*/ 349045 h 1037303"/>
                  <a:gd name="connsiteX163" fmla="*/ 536420 w 848702"/>
                  <a:gd name="connsiteY163" fmla="*/ 351503 h 1037303"/>
                  <a:gd name="connsiteX164" fmla="*/ 538878 w 848702"/>
                  <a:gd name="connsiteY164" fmla="*/ 381000 h 1037303"/>
                  <a:gd name="connsiteX165" fmla="*/ 526588 w 848702"/>
                  <a:gd name="connsiteY165" fmla="*/ 378542 h 1037303"/>
                  <a:gd name="connsiteX166" fmla="*/ 521672 w 848702"/>
                  <a:gd name="connsiteY166" fmla="*/ 371168 h 1037303"/>
                  <a:gd name="connsiteX167" fmla="*/ 514298 w 848702"/>
                  <a:gd name="connsiteY167" fmla="*/ 363794 h 1037303"/>
                  <a:gd name="connsiteX168" fmla="*/ 509381 w 848702"/>
                  <a:gd name="connsiteY168" fmla="*/ 356420 h 1037303"/>
                  <a:gd name="connsiteX169" fmla="*/ 489717 w 848702"/>
                  <a:gd name="connsiteY169" fmla="*/ 341671 h 1037303"/>
                  <a:gd name="connsiteX170" fmla="*/ 474968 w 848702"/>
                  <a:gd name="connsiteY170" fmla="*/ 331839 h 1037303"/>
                  <a:gd name="connsiteX171" fmla="*/ 467594 w 848702"/>
                  <a:gd name="connsiteY171" fmla="*/ 329381 h 1037303"/>
                  <a:gd name="connsiteX172" fmla="*/ 460220 w 848702"/>
                  <a:gd name="connsiteY172" fmla="*/ 331839 h 1037303"/>
                  <a:gd name="connsiteX173" fmla="*/ 450388 w 848702"/>
                  <a:gd name="connsiteY173" fmla="*/ 334297 h 1037303"/>
                  <a:gd name="connsiteX174" fmla="*/ 445472 w 848702"/>
                  <a:gd name="connsiteY174" fmla="*/ 341671 h 1037303"/>
                  <a:gd name="connsiteX175" fmla="*/ 447930 w 848702"/>
                  <a:gd name="connsiteY175" fmla="*/ 358878 h 1037303"/>
                  <a:gd name="connsiteX176" fmla="*/ 455304 w 848702"/>
                  <a:gd name="connsiteY176" fmla="*/ 368710 h 1037303"/>
                  <a:gd name="connsiteX177" fmla="*/ 470052 w 848702"/>
                  <a:gd name="connsiteY177" fmla="*/ 378542 h 1037303"/>
                  <a:gd name="connsiteX178" fmla="*/ 487259 w 848702"/>
                  <a:gd name="connsiteY178" fmla="*/ 383458 h 1037303"/>
                  <a:gd name="connsiteX179" fmla="*/ 494633 w 848702"/>
                  <a:gd name="connsiteY179" fmla="*/ 385916 h 1037303"/>
                  <a:gd name="connsiteX180" fmla="*/ 497091 w 848702"/>
                  <a:gd name="connsiteY180" fmla="*/ 393291 h 1037303"/>
                  <a:gd name="connsiteX181" fmla="*/ 477427 w 848702"/>
                  <a:gd name="connsiteY181" fmla="*/ 388374 h 1037303"/>
                  <a:gd name="connsiteX182" fmla="*/ 455304 w 848702"/>
                  <a:gd name="connsiteY182" fmla="*/ 385916 h 1037303"/>
                  <a:gd name="connsiteX183" fmla="*/ 440556 w 848702"/>
                  <a:gd name="connsiteY183" fmla="*/ 371168 h 1037303"/>
                  <a:gd name="connsiteX184" fmla="*/ 435639 w 848702"/>
                  <a:gd name="connsiteY184" fmla="*/ 366252 h 1037303"/>
                  <a:gd name="connsiteX185" fmla="*/ 428265 w 848702"/>
                  <a:gd name="connsiteY185" fmla="*/ 363794 h 1037303"/>
                  <a:gd name="connsiteX186" fmla="*/ 420891 w 848702"/>
                  <a:gd name="connsiteY186" fmla="*/ 351503 h 1037303"/>
                  <a:gd name="connsiteX187" fmla="*/ 413517 w 848702"/>
                  <a:gd name="connsiteY187" fmla="*/ 344129 h 1037303"/>
                  <a:gd name="connsiteX188" fmla="*/ 411059 w 848702"/>
                  <a:gd name="connsiteY188" fmla="*/ 336755 h 1037303"/>
                  <a:gd name="connsiteX189" fmla="*/ 403685 w 848702"/>
                  <a:gd name="connsiteY189" fmla="*/ 331839 h 1037303"/>
                  <a:gd name="connsiteX190" fmla="*/ 361898 w 848702"/>
                  <a:gd name="connsiteY190" fmla="*/ 324465 h 1037303"/>
                  <a:gd name="connsiteX191" fmla="*/ 364356 w 848702"/>
                  <a:gd name="connsiteY191" fmla="*/ 299884 h 1037303"/>
                  <a:gd name="connsiteX192" fmla="*/ 371730 w 848702"/>
                  <a:gd name="connsiteY192" fmla="*/ 297426 h 1037303"/>
                  <a:gd name="connsiteX193" fmla="*/ 376646 w 848702"/>
                  <a:gd name="connsiteY193" fmla="*/ 290052 h 1037303"/>
                  <a:gd name="connsiteX194" fmla="*/ 371730 w 848702"/>
                  <a:gd name="connsiteY194" fmla="*/ 282678 h 1037303"/>
                  <a:gd name="connsiteX195" fmla="*/ 356981 w 848702"/>
                  <a:gd name="connsiteY195" fmla="*/ 285136 h 1037303"/>
                  <a:gd name="connsiteX196" fmla="*/ 361898 w 848702"/>
                  <a:gd name="connsiteY196" fmla="*/ 299884 h 1037303"/>
                  <a:gd name="connsiteX197" fmla="*/ 356981 w 848702"/>
                  <a:gd name="connsiteY197" fmla="*/ 304800 h 1037303"/>
                  <a:gd name="connsiteX198" fmla="*/ 347149 w 848702"/>
                  <a:gd name="connsiteY198" fmla="*/ 307258 h 1037303"/>
                  <a:gd name="connsiteX199" fmla="*/ 339775 w 848702"/>
                  <a:gd name="connsiteY199" fmla="*/ 309716 h 1037303"/>
                  <a:gd name="connsiteX200" fmla="*/ 332401 w 848702"/>
                  <a:gd name="connsiteY200" fmla="*/ 314632 h 1037303"/>
                  <a:gd name="connsiteX201" fmla="*/ 334859 w 848702"/>
                  <a:gd name="connsiteY201" fmla="*/ 329381 h 1037303"/>
                  <a:gd name="connsiteX202" fmla="*/ 337317 w 848702"/>
                  <a:gd name="connsiteY202" fmla="*/ 336755 h 1037303"/>
                  <a:gd name="connsiteX203" fmla="*/ 332401 w 848702"/>
                  <a:gd name="connsiteY203" fmla="*/ 381000 h 1037303"/>
                  <a:gd name="connsiteX204" fmla="*/ 334859 w 848702"/>
                  <a:gd name="connsiteY204" fmla="*/ 390832 h 1037303"/>
                  <a:gd name="connsiteX205" fmla="*/ 342233 w 848702"/>
                  <a:gd name="connsiteY205" fmla="*/ 395749 h 1037303"/>
                  <a:gd name="connsiteX206" fmla="*/ 354523 w 848702"/>
                  <a:gd name="connsiteY206" fmla="*/ 408039 h 1037303"/>
                  <a:gd name="connsiteX207" fmla="*/ 364356 w 848702"/>
                  <a:gd name="connsiteY207" fmla="*/ 422787 h 1037303"/>
                  <a:gd name="connsiteX208" fmla="*/ 366814 w 848702"/>
                  <a:gd name="connsiteY208" fmla="*/ 430161 h 1037303"/>
                  <a:gd name="connsiteX209" fmla="*/ 381562 w 848702"/>
                  <a:gd name="connsiteY209" fmla="*/ 439994 h 1037303"/>
                  <a:gd name="connsiteX210" fmla="*/ 398768 w 848702"/>
                  <a:gd name="connsiteY210" fmla="*/ 457200 h 1037303"/>
                  <a:gd name="connsiteX211" fmla="*/ 406143 w 848702"/>
                  <a:gd name="connsiteY211" fmla="*/ 471949 h 1037303"/>
                  <a:gd name="connsiteX212" fmla="*/ 411059 w 848702"/>
                  <a:gd name="connsiteY212" fmla="*/ 479323 h 1037303"/>
                  <a:gd name="connsiteX213" fmla="*/ 418433 w 848702"/>
                  <a:gd name="connsiteY213" fmla="*/ 494071 h 1037303"/>
                  <a:gd name="connsiteX214" fmla="*/ 440556 w 848702"/>
                  <a:gd name="connsiteY214" fmla="*/ 496529 h 1037303"/>
                  <a:gd name="connsiteX215" fmla="*/ 455304 w 848702"/>
                  <a:gd name="connsiteY215" fmla="*/ 508820 h 1037303"/>
                  <a:gd name="connsiteX216" fmla="*/ 457762 w 848702"/>
                  <a:gd name="connsiteY216" fmla="*/ 516194 h 1037303"/>
                  <a:gd name="connsiteX217" fmla="*/ 455304 w 848702"/>
                  <a:gd name="connsiteY217" fmla="*/ 533400 h 1037303"/>
                  <a:gd name="connsiteX218" fmla="*/ 447930 w 848702"/>
                  <a:gd name="connsiteY218" fmla="*/ 538316 h 1037303"/>
                  <a:gd name="connsiteX219" fmla="*/ 445472 w 848702"/>
                  <a:gd name="connsiteY219" fmla="*/ 523568 h 1037303"/>
                  <a:gd name="connsiteX220" fmla="*/ 435639 w 848702"/>
                  <a:gd name="connsiteY220" fmla="*/ 511278 h 1037303"/>
                  <a:gd name="connsiteX221" fmla="*/ 406143 w 848702"/>
                  <a:gd name="connsiteY221" fmla="*/ 513736 h 1037303"/>
                  <a:gd name="connsiteX222" fmla="*/ 391394 w 848702"/>
                  <a:gd name="connsiteY222" fmla="*/ 523568 h 1037303"/>
                  <a:gd name="connsiteX223" fmla="*/ 396310 w 848702"/>
                  <a:gd name="connsiteY223" fmla="*/ 538316 h 1037303"/>
                  <a:gd name="connsiteX224" fmla="*/ 403685 w 848702"/>
                  <a:gd name="connsiteY224" fmla="*/ 543232 h 1037303"/>
                  <a:gd name="connsiteX225" fmla="*/ 413517 w 848702"/>
                  <a:gd name="connsiteY225" fmla="*/ 545691 h 1037303"/>
                  <a:gd name="connsiteX226" fmla="*/ 420891 w 848702"/>
                  <a:gd name="connsiteY226" fmla="*/ 548149 h 1037303"/>
                  <a:gd name="connsiteX227" fmla="*/ 428265 w 848702"/>
                  <a:gd name="connsiteY227" fmla="*/ 557981 h 1037303"/>
                  <a:gd name="connsiteX228" fmla="*/ 435639 w 848702"/>
                  <a:gd name="connsiteY228" fmla="*/ 560439 h 1037303"/>
                  <a:gd name="connsiteX229" fmla="*/ 433181 w 848702"/>
                  <a:gd name="connsiteY229" fmla="*/ 575187 h 1037303"/>
                  <a:gd name="connsiteX230" fmla="*/ 418433 w 848702"/>
                  <a:gd name="connsiteY230" fmla="*/ 580103 h 1037303"/>
                  <a:gd name="connsiteX231" fmla="*/ 411059 w 848702"/>
                  <a:gd name="connsiteY231" fmla="*/ 585020 h 1037303"/>
                  <a:gd name="connsiteX232" fmla="*/ 391394 w 848702"/>
                  <a:gd name="connsiteY232" fmla="*/ 589936 h 1037303"/>
                  <a:gd name="connsiteX233" fmla="*/ 371730 w 848702"/>
                  <a:gd name="connsiteY233" fmla="*/ 594852 h 1037303"/>
                  <a:gd name="connsiteX234" fmla="*/ 369272 w 848702"/>
                  <a:gd name="connsiteY234" fmla="*/ 602226 h 1037303"/>
                  <a:gd name="connsiteX235" fmla="*/ 393852 w 848702"/>
                  <a:gd name="connsiteY235" fmla="*/ 612058 h 1037303"/>
                  <a:gd name="connsiteX236" fmla="*/ 403685 w 848702"/>
                  <a:gd name="connsiteY236" fmla="*/ 614516 h 1037303"/>
                  <a:gd name="connsiteX237" fmla="*/ 411059 w 848702"/>
                  <a:gd name="connsiteY237" fmla="*/ 616974 h 1037303"/>
                  <a:gd name="connsiteX238" fmla="*/ 428265 w 848702"/>
                  <a:gd name="connsiteY238" fmla="*/ 619432 h 1037303"/>
                  <a:gd name="connsiteX239" fmla="*/ 435639 w 848702"/>
                  <a:gd name="connsiteY239" fmla="*/ 634181 h 1037303"/>
                  <a:gd name="connsiteX240" fmla="*/ 443014 w 848702"/>
                  <a:gd name="connsiteY240" fmla="*/ 636639 h 1037303"/>
                  <a:gd name="connsiteX241" fmla="*/ 474968 w 848702"/>
                  <a:gd name="connsiteY241" fmla="*/ 644013 h 1037303"/>
                  <a:gd name="connsiteX242" fmla="*/ 514298 w 848702"/>
                  <a:gd name="connsiteY242" fmla="*/ 648929 h 1037303"/>
                  <a:gd name="connsiteX243" fmla="*/ 516756 w 848702"/>
                  <a:gd name="connsiteY243" fmla="*/ 639097 h 1037303"/>
                  <a:gd name="connsiteX244" fmla="*/ 514298 w 848702"/>
                  <a:gd name="connsiteY244" fmla="*/ 626807 h 1037303"/>
                  <a:gd name="connsiteX245" fmla="*/ 499549 w 848702"/>
                  <a:gd name="connsiteY245" fmla="*/ 621891 h 1037303"/>
                  <a:gd name="connsiteX246" fmla="*/ 494633 w 848702"/>
                  <a:gd name="connsiteY246" fmla="*/ 616974 h 1037303"/>
                  <a:gd name="connsiteX247" fmla="*/ 484801 w 848702"/>
                  <a:gd name="connsiteY247" fmla="*/ 602226 h 1037303"/>
                  <a:gd name="connsiteX248" fmla="*/ 474968 w 848702"/>
                  <a:gd name="connsiteY248" fmla="*/ 599768 h 1037303"/>
                  <a:gd name="connsiteX249" fmla="*/ 467594 w 848702"/>
                  <a:gd name="connsiteY249" fmla="*/ 594852 h 1037303"/>
                  <a:gd name="connsiteX250" fmla="*/ 440556 w 848702"/>
                  <a:gd name="connsiteY250" fmla="*/ 592394 h 1037303"/>
                  <a:gd name="connsiteX251" fmla="*/ 430723 w 848702"/>
                  <a:gd name="connsiteY251" fmla="*/ 589936 h 1037303"/>
                  <a:gd name="connsiteX252" fmla="*/ 423349 w 848702"/>
                  <a:gd name="connsiteY252" fmla="*/ 585020 h 1037303"/>
                  <a:gd name="connsiteX253" fmla="*/ 420891 w 848702"/>
                  <a:gd name="connsiteY253" fmla="*/ 592394 h 1037303"/>
                  <a:gd name="connsiteX254" fmla="*/ 433181 w 848702"/>
                  <a:gd name="connsiteY254" fmla="*/ 589936 h 1037303"/>
                  <a:gd name="connsiteX255" fmla="*/ 435639 w 848702"/>
                  <a:gd name="connsiteY255" fmla="*/ 565355 h 1037303"/>
                  <a:gd name="connsiteX256" fmla="*/ 450388 w 848702"/>
                  <a:gd name="connsiteY256" fmla="*/ 560439 h 1037303"/>
                  <a:gd name="connsiteX257" fmla="*/ 457762 w 848702"/>
                  <a:gd name="connsiteY257" fmla="*/ 557981 h 1037303"/>
                  <a:gd name="connsiteX258" fmla="*/ 472510 w 848702"/>
                  <a:gd name="connsiteY258" fmla="*/ 567813 h 1037303"/>
                  <a:gd name="connsiteX259" fmla="*/ 479885 w 848702"/>
                  <a:gd name="connsiteY259" fmla="*/ 570271 h 1037303"/>
                  <a:gd name="connsiteX260" fmla="*/ 489717 w 848702"/>
                  <a:gd name="connsiteY260" fmla="*/ 582561 h 1037303"/>
                  <a:gd name="connsiteX261" fmla="*/ 502007 w 848702"/>
                  <a:gd name="connsiteY261" fmla="*/ 592394 h 1037303"/>
                  <a:gd name="connsiteX262" fmla="*/ 570833 w 848702"/>
                  <a:gd name="connsiteY262" fmla="*/ 602226 h 1037303"/>
                  <a:gd name="connsiteX263" fmla="*/ 583123 w 848702"/>
                  <a:gd name="connsiteY263" fmla="*/ 604684 h 1037303"/>
                  <a:gd name="connsiteX264" fmla="*/ 585581 w 848702"/>
                  <a:gd name="connsiteY264" fmla="*/ 619432 h 1037303"/>
                  <a:gd name="connsiteX265" fmla="*/ 588039 w 848702"/>
                  <a:gd name="connsiteY265" fmla="*/ 626807 h 1037303"/>
                  <a:gd name="connsiteX266" fmla="*/ 592956 w 848702"/>
                  <a:gd name="connsiteY266" fmla="*/ 631723 h 1037303"/>
                  <a:gd name="connsiteX267" fmla="*/ 607704 w 848702"/>
                  <a:gd name="connsiteY267" fmla="*/ 641555 h 1037303"/>
                  <a:gd name="connsiteX268" fmla="*/ 617536 w 848702"/>
                  <a:gd name="connsiteY268" fmla="*/ 663678 h 1037303"/>
                  <a:gd name="connsiteX269" fmla="*/ 619994 w 848702"/>
                  <a:gd name="connsiteY269" fmla="*/ 671052 h 1037303"/>
                  <a:gd name="connsiteX270" fmla="*/ 629827 w 848702"/>
                  <a:gd name="connsiteY270" fmla="*/ 680884 h 1037303"/>
                  <a:gd name="connsiteX271" fmla="*/ 656865 w 848702"/>
                  <a:gd name="connsiteY271" fmla="*/ 683342 h 1037303"/>
                  <a:gd name="connsiteX272" fmla="*/ 674072 w 848702"/>
                  <a:gd name="connsiteY272" fmla="*/ 695632 h 1037303"/>
                  <a:gd name="connsiteX273" fmla="*/ 671614 w 848702"/>
                  <a:gd name="connsiteY273" fmla="*/ 707923 h 1037303"/>
                  <a:gd name="connsiteX274" fmla="*/ 656865 w 848702"/>
                  <a:gd name="connsiteY274" fmla="*/ 715297 h 1037303"/>
                  <a:gd name="connsiteX275" fmla="*/ 649491 w 848702"/>
                  <a:gd name="connsiteY275" fmla="*/ 710381 h 1037303"/>
                  <a:gd name="connsiteX276" fmla="*/ 642117 w 848702"/>
                  <a:gd name="connsiteY276" fmla="*/ 703007 h 1037303"/>
                  <a:gd name="connsiteX277" fmla="*/ 634743 w 848702"/>
                  <a:gd name="connsiteY277" fmla="*/ 700549 h 1037303"/>
                  <a:gd name="connsiteX278" fmla="*/ 619994 w 848702"/>
                  <a:gd name="connsiteY278" fmla="*/ 693174 h 1037303"/>
                  <a:gd name="connsiteX279" fmla="*/ 612620 w 848702"/>
                  <a:gd name="connsiteY279" fmla="*/ 688258 h 1037303"/>
                  <a:gd name="connsiteX280" fmla="*/ 597872 w 848702"/>
                  <a:gd name="connsiteY280" fmla="*/ 680884 h 1037303"/>
                  <a:gd name="connsiteX281" fmla="*/ 595414 w 848702"/>
                  <a:gd name="connsiteY281" fmla="*/ 671052 h 1037303"/>
                  <a:gd name="connsiteX282" fmla="*/ 575749 w 848702"/>
                  <a:gd name="connsiteY282" fmla="*/ 656303 h 1037303"/>
                  <a:gd name="connsiteX283" fmla="*/ 568375 w 848702"/>
                  <a:gd name="connsiteY283" fmla="*/ 648929 h 1037303"/>
                  <a:gd name="connsiteX284" fmla="*/ 558543 w 848702"/>
                  <a:gd name="connsiteY284" fmla="*/ 646471 h 1037303"/>
                  <a:gd name="connsiteX285" fmla="*/ 551168 w 848702"/>
                  <a:gd name="connsiteY285" fmla="*/ 644013 h 1037303"/>
                  <a:gd name="connsiteX286" fmla="*/ 543794 w 848702"/>
                  <a:gd name="connsiteY286" fmla="*/ 648929 h 1037303"/>
                  <a:gd name="connsiteX287" fmla="*/ 538878 w 848702"/>
                  <a:gd name="connsiteY287" fmla="*/ 656303 h 1037303"/>
                  <a:gd name="connsiteX288" fmla="*/ 533962 w 848702"/>
                  <a:gd name="connsiteY288" fmla="*/ 661220 h 1037303"/>
                  <a:gd name="connsiteX289" fmla="*/ 570833 w 848702"/>
                  <a:gd name="connsiteY289" fmla="*/ 668594 h 1037303"/>
                  <a:gd name="connsiteX290" fmla="*/ 585581 w 848702"/>
                  <a:gd name="connsiteY290" fmla="*/ 673510 h 1037303"/>
                  <a:gd name="connsiteX291" fmla="*/ 590498 w 848702"/>
                  <a:gd name="connsiteY291" fmla="*/ 678426 h 1037303"/>
                  <a:gd name="connsiteX292" fmla="*/ 595414 w 848702"/>
                  <a:gd name="connsiteY292" fmla="*/ 700549 h 1037303"/>
                  <a:gd name="connsiteX293" fmla="*/ 600330 w 848702"/>
                  <a:gd name="connsiteY293" fmla="*/ 739878 h 1037303"/>
                  <a:gd name="connsiteX294" fmla="*/ 607704 w 848702"/>
                  <a:gd name="connsiteY294" fmla="*/ 747252 h 1037303"/>
                  <a:gd name="connsiteX295" fmla="*/ 612620 w 848702"/>
                  <a:gd name="connsiteY295" fmla="*/ 776749 h 1037303"/>
                  <a:gd name="connsiteX296" fmla="*/ 605246 w 848702"/>
                  <a:gd name="connsiteY296" fmla="*/ 781665 h 1037303"/>
                  <a:gd name="connsiteX297" fmla="*/ 597872 w 848702"/>
                  <a:gd name="connsiteY297" fmla="*/ 779207 h 1037303"/>
                  <a:gd name="connsiteX298" fmla="*/ 583123 w 848702"/>
                  <a:gd name="connsiteY298" fmla="*/ 764458 h 1037303"/>
                  <a:gd name="connsiteX299" fmla="*/ 568375 w 848702"/>
                  <a:gd name="connsiteY299" fmla="*/ 759542 h 1037303"/>
                  <a:gd name="connsiteX300" fmla="*/ 551168 w 848702"/>
                  <a:gd name="connsiteY300" fmla="*/ 747252 h 1037303"/>
                  <a:gd name="connsiteX301" fmla="*/ 543794 w 848702"/>
                  <a:gd name="connsiteY301" fmla="*/ 742336 h 1037303"/>
                  <a:gd name="connsiteX302" fmla="*/ 536420 w 848702"/>
                  <a:gd name="connsiteY302" fmla="*/ 739878 h 1037303"/>
                  <a:gd name="connsiteX303" fmla="*/ 529046 w 848702"/>
                  <a:gd name="connsiteY303" fmla="*/ 734961 h 1037303"/>
                  <a:gd name="connsiteX304" fmla="*/ 526588 w 848702"/>
                  <a:gd name="connsiteY304" fmla="*/ 727587 h 1037303"/>
                  <a:gd name="connsiteX305" fmla="*/ 521672 w 848702"/>
                  <a:gd name="connsiteY305" fmla="*/ 720213 h 1037303"/>
                  <a:gd name="connsiteX306" fmla="*/ 511839 w 848702"/>
                  <a:gd name="connsiteY306" fmla="*/ 722671 h 1037303"/>
                  <a:gd name="connsiteX307" fmla="*/ 504465 w 848702"/>
                  <a:gd name="connsiteY307" fmla="*/ 730045 h 1037303"/>
                  <a:gd name="connsiteX308" fmla="*/ 497091 w 848702"/>
                  <a:gd name="connsiteY308" fmla="*/ 734961 h 1037303"/>
                  <a:gd name="connsiteX309" fmla="*/ 492175 w 848702"/>
                  <a:gd name="connsiteY309" fmla="*/ 739878 h 1037303"/>
                  <a:gd name="connsiteX310" fmla="*/ 484801 w 848702"/>
                  <a:gd name="connsiteY310" fmla="*/ 742336 h 1037303"/>
                  <a:gd name="connsiteX311" fmla="*/ 470052 w 848702"/>
                  <a:gd name="connsiteY311" fmla="*/ 749710 h 1037303"/>
                  <a:gd name="connsiteX312" fmla="*/ 472510 w 848702"/>
                  <a:gd name="connsiteY312" fmla="*/ 759542 h 1037303"/>
                  <a:gd name="connsiteX313" fmla="*/ 474968 w 848702"/>
                  <a:gd name="connsiteY313" fmla="*/ 766916 h 1037303"/>
                  <a:gd name="connsiteX314" fmla="*/ 482343 w 848702"/>
                  <a:gd name="connsiteY314" fmla="*/ 791497 h 1037303"/>
                  <a:gd name="connsiteX315" fmla="*/ 492175 w 848702"/>
                  <a:gd name="connsiteY315" fmla="*/ 806245 h 1037303"/>
                  <a:gd name="connsiteX316" fmla="*/ 499549 w 848702"/>
                  <a:gd name="connsiteY316" fmla="*/ 808703 h 1037303"/>
                  <a:gd name="connsiteX317" fmla="*/ 514298 w 848702"/>
                  <a:gd name="connsiteY317" fmla="*/ 806245 h 1037303"/>
                  <a:gd name="connsiteX318" fmla="*/ 516756 w 848702"/>
                  <a:gd name="connsiteY318" fmla="*/ 796413 h 1037303"/>
                  <a:gd name="connsiteX319" fmla="*/ 524130 w 848702"/>
                  <a:gd name="connsiteY319" fmla="*/ 811161 h 1037303"/>
                  <a:gd name="connsiteX320" fmla="*/ 531504 w 848702"/>
                  <a:gd name="connsiteY320" fmla="*/ 816078 h 1037303"/>
                  <a:gd name="connsiteX321" fmla="*/ 538878 w 848702"/>
                  <a:gd name="connsiteY321" fmla="*/ 823452 h 1037303"/>
                  <a:gd name="connsiteX322" fmla="*/ 516756 w 848702"/>
                  <a:gd name="connsiteY322" fmla="*/ 833284 h 1037303"/>
                  <a:gd name="connsiteX323" fmla="*/ 514298 w 848702"/>
                  <a:gd name="connsiteY323" fmla="*/ 845574 h 1037303"/>
                  <a:gd name="connsiteX324" fmla="*/ 509381 w 848702"/>
                  <a:gd name="connsiteY324" fmla="*/ 850491 h 1037303"/>
                  <a:gd name="connsiteX325" fmla="*/ 494633 w 848702"/>
                  <a:gd name="connsiteY325" fmla="*/ 860323 h 1037303"/>
                  <a:gd name="connsiteX326" fmla="*/ 487259 w 848702"/>
                  <a:gd name="connsiteY326" fmla="*/ 857865 h 1037303"/>
                  <a:gd name="connsiteX327" fmla="*/ 487259 w 848702"/>
                  <a:gd name="connsiteY327" fmla="*/ 840658 h 1037303"/>
                  <a:gd name="connsiteX328" fmla="*/ 484801 w 848702"/>
                  <a:gd name="connsiteY328" fmla="*/ 830826 h 1037303"/>
                  <a:gd name="connsiteX329" fmla="*/ 477427 w 848702"/>
                  <a:gd name="connsiteY329" fmla="*/ 828368 h 1037303"/>
                  <a:gd name="connsiteX330" fmla="*/ 470052 w 848702"/>
                  <a:gd name="connsiteY330" fmla="*/ 823452 h 1037303"/>
                  <a:gd name="connsiteX331" fmla="*/ 455304 w 848702"/>
                  <a:gd name="connsiteY331" fmla="*/ 828368 h 1037303"/>
                  <a:gd name="connsiteX332" fmla="*/ 440556 w 848702"/>
                  <a:gd name="connsiteY332" fmla="*/ 823452 h 1037303"/>
                  <a:gd name="connsiteX333" fmla="*/ 420891 w 848702"/>
                  <a:gd name="connsiteY333" fmla="*/ 825910 h 1037303"/>
                  <a:gd name="connsiteX334" fmla="*/ 423349 w 848702"/>
                  <a:gd name="connsiteY334" fmla="*/ 833284 h 1037303"/>
                  <a:gd name="connsiteX335" fmla="*/ 433181 w 848702"/>
                  <a:gd name="connsiteY335" fmla="*/ 848032 h 1037303"/>
                  <a:gd name="connsiteX336" fmla="*/ 447930 w 848702"/>
                  <a:gd name="connsiteY336" fmla="*/ 860323 h 1037303"/>
                  <a:gd name="connsiteX337" fmla="*/ 455304 w 848702"/>
                  <a:gd name="connsiteY337" fmla="*/ 882445 h 1037303"/>
                  <a:gd name="connsiteX338" fmla="*/ 457762 w 848702"/>
                  <a:gd name="connsiteY338" fmla="*/ 889820 h 1037303"/>
                  <a:gd name="connsiteX339" fmla="*/ 462678 w 848702"/>
                  <a:gd name="connsiteY339" fmla="*/ 899652 h 1037303"/>
                  <a:gd name="connsiteX340" fmla="*/ 470052 w 848702"/>
                  <a:gd name="connsiteY340" fmla="*/ 902110 h 1037303"/>
                  <a:gd name="connsiteX341" fmla="*/ 477427 w 848702"/>
                  <a:gd name="connsiteY341" fmla="*/ 907026 h 1037303"/>
                  <a:gd name="connsiteX342" fmla="*/ 482343 w 848702"/>
                  <a:gd name="connsiteY342" fmla="*/ 916858 h 1037303"/>
                  <a:gd name="connsiteX343" fmla="*/ 487259 w 848702"/>
                  <a:gd name="connsiteY343" fmla="*/ 931607 h 1037303"/>
                  <a:gd name="connsiteX344" fmla="*/ 499549 w 848702"/>
                  <a:gd name="connsiteY344" fmla="*/ 946355 h 1037303"/>
                  <a:gd name="connsiteX345" fmla="*/ 502007 w 848702"/>
                  <a:gd name="connsiteY345" fmla="*/ 953729 h 1037303"/>
                  <a:gd name="connsiteX346" fmla="*/ 504465 w 848702"/>
                  <a:gd name="connsiteY346" fmla="*/ 990600 h 1037303"/>
                  <a:gd name="connsiteX347" fmla="*/ 514298 w 848702"/>
                  <a:gd name="connsiteY347" fmla="*/ 1005349 h 1037303"/>
                  <a:gd name="connsiteX348" fmla="*/ 519214 w 848702"/>
                  <a:gd name="connsiteY348" fmla="*/ 1012723 h 1037303"/>
                  <a:gd name="connsiteX349" fmla="*/ 524130 w 848702"/>
                  <a:gd name="connsiteY349" fmla="*/ 1020097 h 1037303"/>
                  <a:gd name="connsiteX350" fmla="*/ 502007 w 848702"/>
                  <a:gd name="connsiteY350" fmla="*/ 1020097 h 1037303"/>
                  <a:gd name="connsiteX351" fmla="*/ 494633 w 848702"/>
                  <a:gd name="connsiteY351" fmla="*/ 1012723 h 1037303"/>
                  <a:gd name="connsiteX352" fmla="*/ 492175 w 848702"/>
                  <a:gd name="connsiteY352" fmla="*/ 1002891 h 1037303"/>
                  <a:gd name="connsiteX353" fmla="*/ 484801 w 848702"/>
                  <a:gd name="connsiteY353" fmla="*/ 1000432 h 1037303"/>
                  <a:gd name="connsiteX354" fmla="*/ 467594 w 848702"/>
                  <a:gd name="connsiteY354" fmla="*/ 990600 h 1037303"/>
                  <a:gd name="connsiteX355" fmla="*/ 465136 w 848702"/>
                  <a:gd name="connsiteY355" fmla="*/ 975852 h 1037303"/>
                  <a:gd name="connsiteX356" fmla="*/ 452846 w 848702"/>
                  <a:gd name="connsiteY356" fmla="*/ 958645 h 1037303"/>
                  <a:gd name="connsiteX357" fmla="*/ 430723 w 848702"/>
                  <a:gd name="connsiteY357" fmla="*/ 966020 h 1037303"/>
                  <a:gd name="connsiteX358" fmla="*/ 425807 w 848702"/>
                  <a:gd name="connsiteY358" fmla="*/ 980768 h 1037303"/>
                  <a:gd name="connsiteX359" fmla="*/ 428265 w 848702"/>
                  <a:gd name="connsiteY359" fmla="*/ 988142 h 1037303"/>
                  <a:gd name="connsiteX360" fmla="*/ 423349 w 848702"/>
                  <a:gd name="connsiteY360" fmla="*/ 1002891 h 1037303"/>
                  <a:gd name="connsiteX361" fmla="*/ 425807 w 848702"/>
                  <a:gd name="connsiteY361" fmla="*/ 1027471 h 1037303"/>
                  <a:gd name="connsiteX362" fmla="*/ 428265 w 848702"/>
                  <a:gd name="connsiteY362" fmla="*/ 1034845 h 1037303"/>
                  <a:gd name="connsiteX363" fmla="*/ 420891 w 848702"/>
                  <a:gd name="connsiteY363" fmla="*/ 1037303 h 1037303"/>
                  <a:gd name="connsiteX364" fmla="*/ 411059 w 848702"/>
                  <a:gd name="connsiteY364" fmla="*/ 1034845 h 1037303"/>
                  <a:gd name="connsiteX365" fmla="*/ 406143 w 848702"/>
                  <a:gd name="connsiteY365" fmla="*/ 1027471 h 1037303"/>
                  <a:gd name="connsiteX366" fmla="*/ 401227 w 848702"/>
                  <a:gd name="connsiteY366" fmla="*/ 1010265 h 1037303"/>
                  <a:gd name="connsiteX367" fmla="*/ 398768 w 848702"/>
                  <a:gd name="connsiteY367" fmla="*/ 1002891 h 1037303"/>
                  <a:gd name="connsiteX368" fmla="*/ 396310 w 848702"/>
                  <a:gd name="connsiteY368" fmla="*/ 985684 h 1037303"/>
                  <a:gd name="connsiteX369" fmla="*/ 388936 w 848702"/>
                  <a:gd name="connsiteY369" fmla="*/ 980768 h 1037303"/>
                  <a:gd name="connsiteX370" fmla="*/ 386478 w 848702"/>
                  <a:gd name="connsiteY370" fmla="*/ 970936 h 1037303"/>
                  <a:gd name="connsiteX371" fmla="*/ 379104 w 848702"/>
                  <a:gd name="connsiteY371" fmla="*/ 966020 h 1037303"/>
                  <a:gd name="connsiteX372" fmla="*/ 374188 w 848702"/>
                  <a:gd name="connsiteY372" fmla="*/ 961103 h 1037303"/>
                  <a:gd name="connsiteX373" fmla="*/ 359439 w 848702"/>
                  <a:gd name="connsiteY373" fmla="*/ 953729 h 1037303"/>
                  <a:gd name="connsiteX374" fmla="*/ 352065 w 848702"/>
                  <a:gd name="connsiteY374" fmla="*/ 946355 h 1037303"/>
                  <a:gd name="connsiteX375" fmla="*/ 347149 w 848702"/>
                  <a:gd name="connsiteY375" fmla="*/ 931607 h 1037303"/>
                  <a:gd name="connsiteX376" fmla="*/ 339775 w 848702"/>
                  <a:gd name="connsiteY376" fmla="*/ 934065 h 1037303"/>
                  <a:gd name="connsiteX377" fmla="*/ 337317 w 848702"/>
                  <a:gd name="connsiteY377" fmla="*/ 941439 h 1037303"/>
                  <a:gd name="connsiteX378" fmla="*/ 322568 w 848702"/>
                  <a:gd name="connsiteY378" fmla="*/ 946355 h 1037303"/>
                  <a:gd name="connsiteX379" fmla="*/ 327485 w 848702"/>
                  <a:gd name="connsiteY379" fmla="*/ 961103 h 1037303"/>
                  <a:gd name="connsiteX380" fmla="*/ 329943 w 848702"/>
                  <a:gd name="connsiteY380" fmla="*/ 968478 h 1037303"/>
                  <a:gd name="connsiteX381" fmla="*/ 327485 w 848702"/>
                  <a:gd name="connsiteY381" fmla="*/ 985684 h 1037303"/>
                  <a:gd name="connsiteX382" fmla="*/ 320110 w 848702"/>
                  <a:gd name="connsiteY382" fmla="*/ 988142 h 1037303"/>
                  <a:gd name="connsiteX383" fmla="*/ 305362 w 848702"/>
                  <a:gd name="connsiteY383" fmla="*/ 983226 h 1037303"/>
                  <a:gd name="connsiteX384" fmla="*/ 288156 w 848702"/>
                  <a:gd name="connsiteY384" fmla="*/ 980768 h 1037303"/>
                  <a:gd name="connsiteX385" fmla="*/ 273407 w 848702"/>
                  <a:gd name="connsiteY385" fmla="*/ 951271 h 1037303"/>
                  <a:gd name="connsiteX386" fmla="*/ 266033 w 848702"/>
                  <a:gd name="connsiteY386" fmla="*/ 943897 h 1037303"/>
                  <a:gd name="connsiteX387" fmla="*/ 275865 w 848702"/>
                  <a:gd name="connsiteY387" fmla="*/ 914400 h 1037303"/>
                  <a:gd name="connsiteX388" fmla="*/ 283239 w 848702"/>
                  <a:gd name="connsiteY388" fmla="*/ 909484 h 1037303"/>
                  <a:gd name="connsiteX389" fmla="*/ 285698 w 848702"/>
                  <a:gd name="connsiteY389" fmla="*/ 894736 h 1037303"/>
                  <a:gd name="connsiteX390" fmla="*/ 288156 w 848702"/>
                  <a:gd name="connsiteY390" fmla="*/ 887361 h 1037303"/>
                  <a:gd name="connsiteX391" fmla="*/ 278323 w 848702"/>
                  <a:gd name="connsiteY391" fmla="*/ 875071 h 1037303"/>
                  <a:gd name="connsiteX392" fmla="*/ 256201 w 848702"/>
                  <a:gd name="connsiteY392" fmla="*/ 855407 h 1037303"/>
                  <a:gd name="connsiteX393" fmla="*/ 248827 w 848702"/>
                  <a:gd name="connsiteY393" fmla="*/ 852949 h 1037303"/>
                  <a:gd name="connsiteX394" fmla="*/ 243910 w 848702"/>
                  <a:gd name="connsiteY394" fmla="*/ 848032 h 1037303"/>
                  <a:gd name="connsiteX395" fmla="*/ 221788 w 848702"/>
                  <a:gd name="connsiteY395" fmla="*/ 843116 h 1037303"/>
                  <a:gd name="connsiteX396" fmla="*/ 214414 w 848702"/>
                  <a:gd name="connsiteY396" fmla="*/ 840658 h 1037303"/>
                  <a:gd name="connsiteX397" fmla="*/ 211956 w 848702"/>
                  <a:gd name="connsiteY397" fmla="*/ 820994 h 1037303"/>
                  <a:gd name="connsiteX398" fmla="*/ 197207 w 848702"/>
                  <a:gd name="connsiteY398" fmla="*/ 816078 h 1037303"/>
                  <a:gd name="connsiteX399" fmla="*/ 189833 w 848702"/>
                  <a:gd name="connsiteY399" fmla="*/ 813620 h 1037303"/>
                  <a:gd name="connsiteX400" fmla="*/ 192291 w 848702"/>
                  <a:gd name="connsiteY400" fmla="*/ 806245 h 1037303"/>
                  <a:gd name="connsiteX401" fmla="*/ 199665 w 848702"/>
                  <a:gd name="connsiteY401" fmla="*/ 786581 h 1037303"/>
                  <a:gd name="connsiteX402" fmla="*/ 209498 w 848702"/>
                  <a:gd name="connsiteY402" fmla="*/ 784123 h 1037303"/>
                  <a:gd name="connsiteX403" fmla="*/ 216872 w 848702"/>
                  <a:gd name="connsiteY403" fmla="*/ 762000 h 1037303"/>
                  <a:gd name="connsiteX404" fmla="*/ 224246 w 848702"/>
                  <a:gd name="connsiteY404" fmla="*/ 747252 h 1037303"/>
                  <a:gd name="connsiteX405" fmla="*/ 231620 w 848702"/>
                  <a:gd name="connsiteY405" fmla="*/ 744794 h 1037303"/>
                  <a:gd name="connsiteX406" fmla="*/ 251285 w 848702"/>
                  <a:gd name="connsiteY406" fmla="*/ 739878 h 1037303"/>
                  <a:gd name="connsiteX407" fmla="*/ 263575 w 848702"/>
                  <a:gd name="connsiteY407" fmla="*/ 730045 h 1037303"/>
                  <a:gd name="connsiteX408" fmla="*/ 270949 w 848702"/>
                  <a:gd name="connsiteY408" fmla="*/ 727587 h 1037303"/>
                  <a:gd name="connsiteX409" fmla="*/ 273407 w 848702"/>
                  <a:gd name="connsiteY409" fmla="*/ 717755 h 1037303"/>
                  <a:gd name="connsiteX410" fmla="*/ 280781 w 848702"/>
                  <a:gd name="connsiteY410" fmla="*/ 715297 h 1037303"/>
                  <a:gd name="connsiteX411" fmla="*/ 285698 w 848702"/>
                  <a:gd name="connsiteY411" fmla="*/ 710381 h 1037303"/>
                  <a:gd name="connsiteX412" fmla="*/ 307820 w 848702"/>
                  <a:gd name="connsiteY412" fmla="*/ 712839 h 1037303"/>
                  <a:gd name="connsiteX413" fmla="*/ 322568 w 848702"/>
                  <a:gd name="connsiteY413" fmla="*/ 720213 h 1037303"/>
                  <a:gd name="connsiteX414" fmla="*/ 361898 w 848702"/>
                  <a:gd name="connsiteY414" fmla="*/ 730045 h 1037303"/>
                  <a:gd name="connsiteX415" fmla="*/ 391394 w 848702"/>
                  <a:gd name="connsiteY415" fmla="*/ 734961 h 1037303"/>
                  <a:gd name="connsiteX416" fmla="*/ 408601 w 848702"/>
                  <a:gd name="connsiteY416" fmla="*/ 749710 h 1037303"/>
                  <a:gd name="connsiteX417" fmla="*/ 425807 w 848702"/>
                  <a:gd name="connsiteY417" fmla="*/ 752168 h 1037303"/>
                  <a:gd name="connsiteX418" fmla="*/ 452846 w 848702"/>
                  <a:gd name="connsiteY418" fmla="*/ 757084 h 1037303"/>
                  <a:gd name="connsiteX419" fmla="*/ 447930 w 848702"/>
                  <a:gd name="connsiteY419" fmla="*/ 749710 h 1037303"/>
                  <a:gd name="connsiteX420" fmla="*/ 440556 w 848702"/>
                  <a:gd name="connsiteY420" fmla="*/ 742336 h 1037303"/>
                  <a:gd name="connsiteX421" fmla="*/ 457762 w 848702"/>
                  <a:gd name="connsiteY421" fmla="*/ 734961 h 1037303"/>
                  <a:gd name="connsiteX422" fmla="*/ 462678 w 848702"/>
                  <a:gd name="connsiteY422" fmla="*/ 727587 h 1037303"/>
                  <a:gd name="connsiteX423" fmla="*/ 477427 w 848702"/>
                  <a:gd name="connsiteY423" fmla="*/ 722671 h 1037303"/>
                  <a:gd name="connsiteX424" fmla="*/ 484801 w 848702"/>
                  <a:gd name="connsiteY424" fmla="*/ 717755 h 1037303"/>
                  <a:gd name="connsiteX425" fmla="*/ 472510 w 848702"/>
                  <a:gd name="connsiteY425" fmla="*/ 707923 h 1037303"/>
                  <a:gd name="connsiteX426" fmla="*/ 462678 w 848702"/>
                  <a:gd name="connsiteY426" fmla="*/ 705465 h 1037303"/>
                  <a:gd name="connsiteX427" fmla="*/ 455304 w 848702"/>
                  <a:gd name="connsiteY427" fmla="*/ 703007 h 1037303"/>
                  <a:gd name="connsiteX428" fmla="*/ 430723 w 848702"/>
                  <a:gd name="connsiteY428" fmla="*/ 700549 h 1037303"/>
                  <a:gd name="connsiteX429" fmla="*/ 393852 w 848702"/>
                  <a:gd name="connsiteY429" fmla="*/ 695632 h 1037303"/>
                  <a:gd name="connsiteX430" fmla="*/ 366814 w 848702"/>
                  <a:gd name="connsiteY430" fmla="*/ 688258 h 1037303"/>
                  <a:gd name="connsiteX431" fmla="*/ 361898 w 848702"/>
                  <a:gd name="connsiteY431" fmla="*/ 695632 h 1037303"/>
                  <a:gd name="connsiteX432" fmla="*/ 359439 w 848702"/>
                  <a:gd name="connsiteY432" fmla="*/ 703007 h 1037303"/>
                  <a:gd name="connsiteX433" fmla="*/ 352065 w 848702"/>
                  <a:gd name="connsiteY433" fmla="*/ 705465 h 1037303"/>
                  <a:gd name="connsiteX434" fmla="*/ 342233 w 848702"/>
                  <a:gd name="connsiteY434" fmla="*/ 703007 h 1037303"/>
                  <a:gd name="connsiteX435" fmla="*/ 337317 w 848702"/>
                  <a:gd name="connsiteY435" fmla="*/ 695632 h 1037303"/>
                  <a:gd name="connsiteX436" fmla="*/ 305362 w 848702"/>
                  <a:gd name="connsiteY436" fmla="*/ 693174 h 1037303"/>
                  <a:gd name="connsiteX437" fmla="*/ 280781 w 848702"/>
                  <a:gd name="connsiteY437" fmla="*/ 695632 h 1037303"/>
                  <a:gd name="connsiteX438" fmla="*/ 273407 w 848702"/>
                  <a:gd name="connsiteY438" fmla="*/ 700549 h 1037303"/>
                  <a:gd name="connsiteX439" fmla="*/ 258659 w 848702"/>
                  <a:gd name="connsiteY439" fmla="*/ 705465 h 1037303"/>
                  <a:gd name="connsiteX440" fmla="*/ 251285 w 848702"/>
                  <a:gd name="connsiteY440" fmla="*/ 707923 h 1037303"/>
                  <a:gd name="connsiteX441" fmla="*/ 243910 w 848702"/>
                  <a:gd name="connsiteY441" fmla="*/ 710381 h 1037303"/>
                  <a:gd name="connsiteX442" fmla="*/ 236536 w 848702"/>
                  <a:gd name="connsiteY442" fmla="*/ 715297 h 1037303"/>
                  <a:gd name="connsiteX443" fmla="*/ 224246 w 848702"/>
                  <a:gd name="connsiteY443" fmla="*/ 705465 h 1037303"/>
                  <a:gd name="connsiteX444" fmla="*/ 219330 w 848702"/>
                  <a:gd name="connsiteY444" fmla="*/ 698091 h 1037303"/>
                  <a:gd name="connsiteX445" fmla="*/ 204581 w 848702"/>
                  <a:gd name="connsiteY445" fmla="*/ 700549 h 1037303"/>
                  <a:gd name="connsiteX446" fmla="*/ 194749 w 848702"/>
                  <a:gd name="connsiteY446" fmla="*/ 722671 h 1037303"/>
                  <a:gd name="connsiteX447" fmla="*/ 180001 w 848702"/>
                  <a:gd name="connsiteY447" fmla="*/ 725129 h 1037303"/>
                  <a:gd name="connsiteX448" fmla="*/ 172627 w 848702"/>
                  <a:gd name="connsiteY448" fmla="*/ 698091 h 1037303"/>
                  <a:gd name="connsiteX449" fmla="*/ 165252 w 848702"/>
                  <a:gd name="connsiteY449" fmla="*/ 695632 h 1037303"/>
                  <a:gd name="connsiteX450" fmla="*/ 162794 w 848702"/>
                  <a:gd name="connsiteY450" fmla="*/ 703007 h 1037303"/>
                  <a:gd name="connsiteX451" fmla="*/ 155420 w 848702"/>
                  <a:gd name="connsiteY451" fmla="*/ 707923 h 1037303"/>
                  <a:gd name="connsiteX452" fmla="*/ 152962 w 848702"/>
                  <a:gd name="connsiteY452" fmla="*/ 683342 h 1037303"/>
                  <a:gd name="connsiteX453" fmla="*/ 148046 w 848702"/>
                  <a:gd name="connsiteY453" fmla="*/ 675968 h 1037303"/>
                  <a:gd name="connsiteX454" fmla="*/ 143130 w 848702"/>
                  <a:gd name="connsiteY454" fmla="*/ 683342 h 1037303"/>
                  <a:gd name="connsiteX455" fmla="*/ 135756 w 848702"/>
                  <a:gd name="connsiteY455" fmla="*/ 678426 h 1037303"/>
                  <a:gd name="connsiteX456" fmla="*/ 123465 w 848702"/>
                  <a:gd name="connsiteY456" fmla="*/ 671052 h 1037303"/>
                  <a:gd name="connsiteX457" fmla="*/ 106259 w 848702"/>
                  <a:gd name="connsiteY457" fmla="*/ 671052 h 1037303"/>
                  <a:gd name="connsiteX458" fmla="*/ 101343 w 848702"/>
                  <a:gd name="connsiteY458" fmla="*/ 663678 h 1037303"/>
                  <a:gd name="connsiteX459" fmla="*/ 108717 w 848702"/>
                  <a:gd name="connsiteY459" fmla="*/ 658761 h 1037303"/>
                  <a:gd name="connsiteX460" fmla="*/ 118549 w 848702"/>
                  <a:gd name="connsiteY460" fmla="*/ 656303 h 1037303"/>
                  <a:gd name="connsiteX461" fmla="*/ 128381 w 848702"/>
                  <a:gd name="connsiteY461" fmla="*/ 641555 h 1037303"/>
                  <a:gd name="connsiteX462" fmla="*/ 143130 w 848702"/>
                  <a:gd name="connsiteY462" fmla="*/ 636639 h 1037303"/>
                  <a:gd name="connsiteX463" fmla="*/ 145588 w 848702"/>
                  <a:gd name="connsiteY463" fmla="*/ 629265 h 1037303"/>
                  <a:gd name="connsiteX464" fmla="*/ 160336 w 848702"/>
                  <a:gd name="connsiteY464" fmla="*/ 634181 h 1037303"/>
                  <a:gd name="connsiteX465" fmla="*/ 162794 w 848702"/>
                  <a:gd name="connsiteY465" fmla="*/ 626807 h 1037303"/>
                  <a:gd name="connsiteX466" fmla="*/ 170168 w 848702"/>
                  <a:gd name="connsiteY466" fmla="*/ 619432 h 1037303"/>
                  <a:gd name="connsiteX467" fmla="*/ 165252 w 848702"/>
                  <a:gd name="connsiteY467" fmla="*/ 612058 h 1037303"/>
                  <a:gd name="connsiteX468" fmla="*/ 148046 w 848702"/>
                  <a:gd name="connsiteY468" fmla="*/ 604684 h 1037303"/>
                  <a:gd name="connsiteX469" fmla="*/ 128381 w 848702"/>
                  <a:gd name="connsiteY469" fmla="*/ 602226 h 1037303"/>
                  <a:gd name="connsiteX470" fmla="*/ 116091 w 848702"/>
                  <a:gd name="connsiteY470" fmla="*/ 592394 h 1037303"/>
                  <a:gd name="connsiteX471" fmla="*/ 113633 w 848702"/>
                  <a:gd name="connsiteY471" fmla="*/ 599768 h 1037303"/>
                  <a:gd name="connsiteX472" fmla="*/ 108717 w 848702"/>
                  <a:gd name="connsiteY472" fmla="*/ 607142 h 1037303"/>
                  <a:gd name="connsiteX473" fmla="*/ 74304 w 848702"/>
                  <a:gd name="connsiteY473" fmla="*/ 592394 h 1037303"/>
                  <a:gd name="connsiteX474" fmla="*/ 66930 w 848702"/>
                  <a:gd name="connsiteY474" fmla="*/ 587478 h 1037303"/>
                  <a:gd name="connsiteX475" fmla="*/ 62014 w 848702"/>
                  <a:gd name="connsiteY475" fmla="*/ 582561 h 1037303"/>
                  <a:gd name="connsiteX476" fmla="*/ 39891 w 848702"/>
                  <a:gd name="connsiteY476" fmla="*/ 565355 h 1037303"/>
                  <a:gd name="connsiteX477" fmla="*/ 34975 w 848702"/>
                  <a:gd name="connsiteY477" fmla="*/ 557981 h 1037303"/>
                  <a:gd name="connsiteX478" fmla="*/ 39891 w 848702"/>
                  <a:gd name="connsiteY478" fmla="*/ 550607 h 1037303"/>
                  <a:gd name="connsiteX479" fmla="*/ 37433 w 848702"/>
                  <a:gd name="connsiteY479" fmla="*/ 535858 h 1037303"/>
                  <a:gd name="connsiteX480" fmla="*/ 32517 w 848702"/>
                  <a:gd name="connsiteY480" fmla="*/ 528484 h 1037303"/>
                  <a:gd name="connsiteX481" fmla="*/ 10394 w 848702"/>
                  <a:gd name="connsiteY481" fmla="*/ 523568 h 1037303"/>
                  <a:gd name="connsiteX482" fmla="*/ 32517 w 848702"/>
                  <a:gd name="connsiteY482" fmla="*/ 540774 h 1037303"/>
                  <a:gd name="connsiteX0" fmla="*/ 32517 w 848702"/>
                  <a:gd name="connsiteY0" fmla="*/ 540774 h 1037303"/>
                  <a:gd name="connsiteX1" fmla="*/ 20227 w 848702"/>
                  <a:gd name="connsiteY1" fmla="*/ 521110 h 1037303"/>
                  <a:gd name="connsiteX2" fmla="*/ 15310 w 848702"/>
                  <a:gd name="connsiteY2" fmla="*/ 516194 h 1037303"/>
                  <a:gd name="connsiteX3" fmla="*/ 7936 w 848702"/>
                  <a:gd name="connsiteY3" fmla="*/ 513736 h 1037303"/>
                  <a:gd name="connsiteX4" fmla="*/ 562 w 848702"/>
                  <a:gd name="connsiteY4" fmla="*/ 508820 h 1037303"/>
                  <a:gd name="connsiteX5" fmla="*/ 12852 w 848702"/>
                  <a:gd name="connsiteY5" fmla="*/ 511278 h 1037303"/>
                  <a:gd name="connsiteX6" fmla="*/ 25143 w 848702"/>
                  <a:gd name="connsiteY6" fmla="*/ 508820 h 1037303"/>
                  <a:gd name="connsiteX7" fmla="*/ 34975 w 848702"/>
                  <a:gd name="connsiteY7" fmla="*/ 494071 h 1037303"/>
                  <a:gd name="connsiteX8" fmla="*/ 42349 w 848702"/>
                  <a:gd name="connsiteY8" fmla="*/ 479323 h 1037303"/>
                  <a:gd name="connsiteX9" fmla="*/ 34975 w 848702"/>
                  <a:gd name="connsiteY9" fmla="*/ 464574 h 1037303"/>
                  <a:gd name="connsiteX10" fmla="*/ 42349 w 848702"/>
                  <a:gd name="connsiteY10" fmla="*/ 467032 h 1037303"/>
                  <a:gd name="connsiteX11" fmla="*/ 39891 w 848702"/>
                  <a:gd name="connsiteY11" fmla="*/ 457200 h 1037303"/>
                  <a:gd name="connsiteX12" fmla="*/ 34975 w 848702"/>
                  <a:gd name="connsiteY12" fmla="*/ 449826 h 1037303"/>
                  <a:gd name="connsiteX13" fmla="*/ 42349 w 848702"/>
                  <a:gd name="connsiteY13" fmla="*/ 444910 h 1037303"/>
                  <a:gd name="connsiteX14" fmla="*/ 47265 w 848702"/>
                  <a:gd name="connsiteY14" fmla="*/ 437536 h 1037303"/>
                  <a:gd name="connsiteX15" fmla="*/ 54639 w 848702"/>
                  <a:gd name="connsiteY15" fmla="*/ 435078 h 1037303"/>
                  <a:gd name="connsiteX16" fmla="*/ 74304 w 848702"/>
                  <a:gd name="connsiteY16" fmla="*/ 430161 h 1037303"/>
                  <a:gd name="connsiteX17" fmla="*/ 76762 w 848702"/>
                  <a:gd name="connsiteY17" fmla="*/ 405581 h 1037303"/>
                  <a:gd name="connsiteX18" fmla="*/ 81678 w 848702"/>
                  <a:gd name="connsiteY18" fmla="*/ 398207 h 1037303"/>
                  <a:gd name="connsiteX19" fmla="*/ 86594 w 848702"/>
                  <a:gd name="connsiteY19" fmla="*/ 371168 h 1037303"/>
                  <a:gd name="connsiteX20" fmla="*/ 91510 w 848702"/>
                  <a:gd name="connsiteY20" fmla="*/ 363794 h 1037303"/>
                  <a:gd name="connsiteX21" fmla="*/ 98885 w 848702"/>
                  <a:gd name="connsiteY21" fmla="*/ 351503 h 1037303"/>
                  <a:gd name="connsiteX22" fmla="*/ 123465 w 848702"/>
                  <a:gd name="connsiteY22" fmla="*/ 344129 h 1037303"/>
                  <a:gd name="connsiteX23" fmla="*/ 116091 w 848702"/>
                  <a:gd name="connsiteY23" fmla="*/ 314632 h 1037303"/>
                  <a:gd name="connsiteX24" fmla="*/ 108717 w 848702"/>
                  <a:gd name="connsiteY24" fmla="*/ 309716 h 1037303"/>
                  <a:gd name="connsiteX25" fmla="*/ 106259 w 848702"/>
                  <a:gd name="connsiteY25" fmla="*/ 302342 h 1037303"/>
                  <a:gd name="connsiteX26" fmla="*/ 103801 w 848702"/>
                  <a:gd name="connsiteY26" fmla="*/ 282678 h 1037303"/>
                  <a:gd name="connsiteX27" fmla="*/ 111175 w 848702"/>
                  <a:gd name="connsiteY27" fmla="*/ 280220 h 1037303"/>
                  <a:gd name="connsiteX28" fmla="*/ 138214 w 848702"/>
                  <a:gd name="connsiteY28" fmla="*/ 282678 h 1037303"/>
                  <a:gd name="connsiteX29" fmla="*/ 150504 w 848702"/>
                  <a:gd name="connsiteY29" fmla="*/ 272845 h 1037303"/>
                  <a:gd name="connsiteX30" fmla="*/ 157878 w 848702"/>
                  <a:gd name="connsiteY30" fmla="*/ 270387 h 1037303"/>
                  <a:gd name="connsiteX31" fmla="*/ 175085 w 848702"/>
                  <a:gd name="connsiteY31" fmla="*/ 265471 h 1037303"/>
                  <a:gd name="connsiteX32" fmla="*/ 192291 w 848702"/>
                  <a:gd name="connsiteY32" fmla="*/ 267929 h 1037303"/>
                  <a:gd name="connsiteX33" fmla="*/ 204581 w 848702"/>
                  <a:gd name="connsiteY33" fmla="*/ 255639 h 1037303"/>
                  <a:gd name="connsiteX34" fmla="*/ 209498 w 848702"/>
                  <a:gd name="connsiteY34" fmla="*/ 250723 h 1037303"/>
                  <a:gd name="connsiteX35" fmla="*/ 219330 w 848702"/>
                  <a:gd name="connsiteY35" fmla="*/ 235974 h 1037303"/>
                  <a:gd name="connsiteX36" fmla="*/ 231620 w 848702"/>
                  <a:gd name="connsiteY36" fmla="*/ 221226 h 1037303"/>
                  <a:gd name="connsiteX37" fmla="*/ 234078 w 848702"/>
                  <a:gd name="connsiteY37" fmla="*/ 208936 h 1037303"/>
                  <a:gd name="connsiteX38" fmla="*/ 263575 w 848702"/>
                  <a:gd name="connsiteY38" fmla="*/ 213852 h 1037303"/>
                  <a:gd name="connsiteX39" fmla="*/ 273407 w 848702"/>
                  <a:gd name="connsiteY39" fmla="*/ 201561 h 1037303"/>
                  <a:gd name="connsiteX40" fmla="*/ 280781 w 848702"/>
                  <a:gd name="connsiteY40" fmla="*/ 199103 h 1037303"/>
                  <a:gd name="connsiteX41" fmla="*/ 297988 w 848702"/>
                  <a:gd name="connsiteY41" fmla="*/ 201561 h 1037303"/>
                  <a:gd name="connsiteX42" fmla="*/ 312736 w 848702"/>
                  <a:gd name="connsiteY42" fmla="*/ 204020 h 1037303"/>
                  <a:gd name="connsiteX43" fmla="*/ 315194 w 848702"/>
                  <a:gd name="connsiteY43" fmla="*/ 196645 h 1037303"/>
                  <a:gd name="connsiteX44" fmla="*/ 329943 w 848702"/>
                  <a:gd name="connsiteY44" fmla="*/ 196645 h 1037303"/>
                  <a:gd name="connsiteX45" fmla="*/ 329943 w 848702"/>
                  <a:gd name="connsiteY45" fmla="*/ 164691 h 1037303"/>
                  <a:gd name="connsiteX46" fmla="*/ 334859 w 848702"/>
                  <a:gd name="connsiteY46" fmla="*/ 159774 h 1037303"/>
                  <a:gd name="connsiteX47" fmla="*/ 347149 w 848702"/>
                  <a:gd name="connsiteY47" fmla="*/ 162232 h 1037303"/>
                  <a:gd name="connsiteX48" fmla="*/ 366814 w 848702"/>
                  <a:gd name="connsiteY48" fmla="*/ 159774 h 1037303"/>
                  <a:gd name="connsiteX49" fmla="*/ 388936 w 848702"/>
                  <a:gd name="connsiteY49" fmla="*/ 157316 h 1037303"/>
                  <a:gd name="connsiteX50" fmla="*/ 396310 w 848702"/>
                  <a:gd name="connsiteY50" fmla="*/ 152400 h 1037303"/>
                  <a:gd name="connsiteX51" fmla="*/ 408601 w 848702"/>
                  <a:gd name="connsiteY51" fmla="*/ 142568 h 1037303"/>
                  <a:gd name="connsiteX52" fmla="*/ 447930 w 848702"/>
                  <a:gd name="connsiteY52" fmla="*/ 140110 h 1037303"/>
                  <a:gd name="connsiteX53" fmla="*/ 462678 w 848702"/>
                  <a:gd name="connsiteY53" fmla="*/ 130278 h 1037303"/>
                  <a:gd name="connsiteX54" fmla="*/ 472510 w 848702"/>
                  <a:gd name="connsiteY54" fmla="*/ 120445 h 1037303"/>
                  <a:gd name="connsiteX55" fmla="*/ 484801 w 848702"/>
                  <a:gd name="connsiteY55" fmla="*/ 110613 h 1037303"/>
                  <a:gd name="connsiteX56" fmla="*/ 492175 w 848702"/>
                  <a:gd name="connsiteY56" fmla="*/ 108155 h 1037303"/>
                  <a:gd name="connsiteX57" fmla="*/ 494633 w 848702"/>
                  <a:gd name="connsiteY57" fmla="*/ 100781 h 1037303"/>
                  <a:gd name="connsiteX58" fmla="*/ 497091 w 848702"/>
                  <a:gd name="connsiteY58" fmla="*/ 90949 h 1037303"/>
                  <a:gd name="connsiteX59" fmla="*/ 504465 w 848702"/>
                  <a:gd name="connsiteY59" fmla="*/ 93407 h 1037303"/>
                  <a:gd name="connsiteX60" fmla="*/ 519214 w 848702"/>
                  <a:gd name="connsiteY60" fmla="*/ 83574 h 1037303"/>
                  <a:gd name="connsiteX61" fmla="*/ 526588 w 848702"/>
                  <a:gd name="connsiteY61" fmla="*/ 78658 h 1037303"/>
                  <a:gd name="connsiteX62" fmla="*/ 533962 w 848702"/>
                  <a:gd name="connsiteY62" fmla="*/ 78658 h 1037303"/>
                  <a:gd name="connsiteX63" fmla="*/ 541336 w 848702"/>
                  <a:gd name="connsiteY63" fmla="*/ 76200 h 1037303"/>
                  <a:gd name="connsiteX64" fmla="*/ 548710 w 848702"/>
                  <a:gd name="connsiteY64" fmla="*/ 81116 h 1037303"/>
                  <a:gd name="connsiteX65" fmla="*/ 556085 w 848702"/>
                  <a:gd name="connsiteY65" fmla="*/ 83574 h 1037303"/>
                  <a:gd name="connsiteX66" fmla="*/ 558543 w 848702"/>
                  <a:gd name="connsiteY66" fmla="*/ 90949 h 1037303"/>
                  <a:gd name="connsiteX67" fmla="*/ 565917 w 848702"/>
                  <a:gd name="connsiteY67" fmla="*/ 88491 h 1037303"/>
                  <a:gd name="connsiteX68" fmla="*/ 578207 w 848702"/>
                  <a:gd name="connsiteY68" fmla="*/ 100781 h 1037303"/>
                  <a:gd name="connsiteX69" fmla="*/ 585581 w 848702"/>
                  <a:gd name="connsiteY69" fmla="*/ 105697 h 1037303"/>
                  <a:gd name="connsiteX70" fmla="*/ 592956 w 848702"/>
                  <a:gd name="connsiteY70" fmla="*/ 103239 h 1037303"/>
                  <a:gd name="connsiteX71" fmla="*/ 607704 w 848702"/>
                  <a:gd name="connsiteY71" fmla="*/ 108155 h 1037303"/>
                  <a:gd name="connsiteX72" fmla="*/ 615078 w 848702"/>
                  <a:gd name="connsiteY72" fmla="*/ 105697 h 1037303"/>
                  <a:gd name="connsiteX73" fmla="*/ 627368 w 848702"/>
                  <a:gd name="connsiteY73" fmla="*/ 110613 h 1037303"/>
                  <a:gd name="connsiteX74" fmla="*/ 654407 w 848702"/>
                  <a:gd name="connsiteY74" fmla="*/ 115529 h 1037303"/>
                  <a:gd name="connsiteX75" fmla="*/ 661781 w 848702"/>
                  <a:gd name="connsiteY75" fmla="*/ 120445 h 1037303"/>
                  <a:gd name="connsiteX76" fmla="*/ 669156 w 848702"/>
                  <a:gd name="connsiteY76" fmla="*/ 117987 h 1037303"/>
                  <a:gd name="connsiteX77" fmla="*/ 678988 w 848702"/>
                  <a:gd name="connsiteY77" fmla="*/ 110613 h 1037303"/>
                  <a:gd name="connsiteX78" fmla="*/ 691278 w 848702"/>
                  <a:gd name="connsiteY78" fmla="*/ 108155 h 1037303"/>
                  <a:gd name="connsiteX79" fmla="*/ 706027 w 848702"/>
                  <a:gd name="connsiteY79" fmla="*/ 100781 h 1037303"/>
                  <a:gd name="connsiteX80" fmla="*/ 718317 w 848702"/>
                  <a:gd name="connsiteY80" fmla="*/ 103239 h 1037303"/>
                  <a:gd name="connsiteX81" fmla="*/ 725691 w 848702"/>
                  <a:gd name="connsiteY81" fmla="*/ 105697 h 1037303"/>
                  <a:gd name="connsiteX82" fmla="*/ 728149 w 848702"/>
                  <a:gd name="connsiteY82" fmla="*/ 98323 h 1037303"/>
                  <a:gd name="connsiteX83" fmla="*/ 742898 w 848702"/>
                  <a:gd name="connsiteY83" fmla="*/ 90949 h 1037303"/>
                  <a:gd name="connsiteX84" fmla="*/ 745356 w 848702"/>
                  <a:gd name="connsiteY84" fmla="*/ 83574 h 1037303"/>
                  <a:gd name="connsiteX85" fmla="*/ 750272 w 848702"/>
                  <a:gd name="connsiteY85" fmla="*/ 88491 h 1037303"/>
                  <a:gd name="connsiteX86" fmla="*/ 757646 w 848702"/>
                  <a:gd name="connsiteY86" fmla="*/ 93407 h 1037303"/>
                  <a:gd name="connsiteX87" fmla="*/ 769936 w 848702"/>
                  <a:gd name="connsiteY87" fmla="*/ 90949 h 1037303"/>
                  <a:gd name="connsiteX88" fmla="*/ 777310 w 848702"/>
                  <a:gd name="connsiteY88" fmla="*/ 73742 h 1037303"/>
                  <a:gd name="connsiteX89" fmla="*/ 782227 w 848702"/>
                  <a:gd name="connsiteY89" fmla="*/ 68826 h 1037303"/>
                  <a:gd name="connsiteX90" fmla="*/ 779768 w 848702"/>
                  <a:gd name="connsiteY90" fmla="*/ 61452 h 1037303"/>
                  <a:gd name="connsiteX91" fmla="*/ 777310 w 848702"/>
                  <a:gd name="connsiteY91" fmla="*/ 51620 h 1037303"/>
                  <a:gd name="connsiteX92" fmla="*/ 772394 w 848702"/>
                  <a:gd name="connsiteY92" fmla="*/ 46703 h 1037303"/>
                  <a:gd name="connsiteX93" fmla="*/ 769936 w 848702"/>
                  <a:gd name="connsiteY93" fmla="*/ 39329 h 1037303"/>
                  <a:gd name="connsiteX94" fmla="*/ 767478 w 848702"/>
                  <a:gd name="connsiteY94" fmla="*/ 27039 h 1037303"/>
                  <a:gd name="connsiteX95" fmla="*/ 760104 w 848702"/>
                  <a:gd name="connsiteY95" fmla="*/ 24581 h 1037303"/>
                  <a:gd name="connsiteX96" fmla="*/ 757646 w 848702"/>
                  <a:gd name="connsiteY96" fmla="*/ 9832 h 1037303"/>
                  <a:gd name="connsiteX97" fmla="*/ 765020 w 848702"/>
                  <a:gd name="connsiteY97" fmla="*/ 4916 h 1037303"/>
                  <a:gd name="connsiteX98" fmla="*/ 779768 w 848702"/>
                  <a:gd name="connsiteY98" fmla="*/ 0 h 1037303"/>
                  <a:gd name="connsiteX99" fmla="*/ 804349 w 848702"/>
                  <a:gd name="connsiteY99" fmla="*/ 2458 h 1037303"/>
                  <a:gd name="connsiteX100" fmla="*/ 819098 w 848702"/>
                  <a:gd name="connsiteY100" fmla="*/ 9832 h 1037303"/>
                  <a:gd name="connsiteX101" fmla="*/ 826472 w 848702"/>
                  <a:gd name="connsiteY101" fmla="*/ 12291 h 1037303"/>
                  <a:gd name="connsiteX102" fmla="*/ 841220 w 848702"/>
                  <a:gd name="connsiteY102" fmla="*/ 27039 h 1037303"/>
                  <a:gd name="connsiteX103" fmla="*/ 843678 w 848702"/>
                  <a:gd name="connsiteY103" fmla="*/ 34413 h 1037303"/>
                  <a:gd name="connsiteX104" fmla="*/ 848594 w 848702"/>
                  <a:gd name="connsiteY104" fmla="*/ 41787 h 1037303"/>
                  <a:gd name="connsiteX105" fmla="*/ 843678 w 848702"/>
                  <a:gd name="connsiteY105" fmla="*/ 71284 h 1037303"/>
                  <a:gd name="connsiteX106" fmla="*/ 828930 w 848702"/>
                  <a:gd name="connsiteY106" fmla="*/ 68826 h 1037303"/>
                  <a:gd name="connsiteX107" fmla="*/ 826472 w 848702"/>
                  <a:gd name="connsiteY107" fmla="*/ 76200 h 1037303"/>
                  <a:gd name="connsiteX108" fmla="*/ 816639 w 848702"/>
                  <a:gd name="connsiteY108" fmla="*/ 78658 h 1037303"/>
                  <a:gd name="connsiteX109" fmla="*/ 811723 w 848702"/>
                  <a:gd name="connsiteY109" fmla="*/ 86032 h 1037303"/>
                  <a:gd name="connsiteX110" fmla="*/ 814181 w 848702"/>
                  <a:gd name="connsiteY110" fmla="*/ 95865 h 1037303"/>
                  <a:gd name="connsiteX111" fmla="*/ 816639 w 848702"/>
                  <a:gd name="connsiteY111" fmla="*/ 103239 h 1037303"/>
                  <a:gd name="connsiteX112" fmla="*/ 821556 w 848702"/>
                  <a:gd name="connsiteY112" fmla="*/ 108155 h 1037303"/>
                  <a:gd name="connsiteX113" fmla="*/ 826472 w 848702"/>
                  <a:gd name="connsiteY113" fmla="*/ 115529 h 1037303"/>
                  <a:gd name="connsiteX114" fmla="*/ 821556 w 848702"/>
                  <a:gd name="connsiteY114" fmla="*/ 125361 h 1037303"/>
                  <a:gd name="connsiteX115" fmla="*/ 816639 w 848702"/>
                  <a:gd name="connsiteY115" fmla="*/ 130278 h 1037303"/>
                  <a:gd name="connsiteX116" fmla="*/ 819098 w 848702"/>
                  <a:gd name="connsiteY116" fmla="*/ 137652 h 1037303"/>
                  <a:gd name="connsiteX117" fmla="*/ 819098 w 848702"/>
                  <a:gd name="connsiteY117" fmla="*/ 152400 h 1037303"/>
                  <a:gd name="connsiteX118" fmla="*/ 799433 w 848702"/>
                  <a:gd name="connsiteY118" fmla="*/ 154858 h 1037303"/>
                  <a:gd name="connsiteX119" fmla="*/ 794517 w 848702"/>
                  <a:gd name="connsiteY119" fmla="*/ 162232 h 1037303"/>
                  <a:gd name="connsiteX120" fmla="*/ 801891 w 848702"/>
                  <a:gd name="connsiteY120" fmla="*/ 167149 h 1037303"/>
                  <a:gd name="connsiteX121" fmla="*/ 796975 w 848702"/>
                  <a:gd name="connsiteY121" fmla="*/ 174523 h 1037303"/>
                  <a:gd name="connsiteX122" fmla="*/ 792059 w 848702"/>
                  <a:gd name="connsiteY122" fmla="*/ 184355 h 1037303"/>
                  <a:gd name="connsiteX123" fmla="*/ 787143 w 848702"/>
                  <a:gd name="connsiteY123" fmla="*/ 176981 h 1037303"/>
                  <a:gd name="connsiteX124" fmla="*/ 772394 w 848702"/>
                  <a:gd name="connsiteY124" fmla="*/ 169607 h 1037303"/>
                  <a:gd name="connsiteX125" fmla="*/ 765020 w 848702"/>
                  <a:gd name="connsiteY125" fmla="*/ 164691 h 1037303"/>
                  <a:gd name="connsiteX126" fmla="*/ 715859 w 848702"/>
                  <a:gd name="connsiteY126" fmla="*/ 159774 h 1037303"/>
                  <a:gd name="connsiteX127" fmla="*/ 701110 w 848702"/>
                  <a:gd name="connsiteY127" fmla="*/ 152400 h 1037303"/>
                  <a:gd name="connsiteX128" fmla="*/ 693736 w 848702"/>
                  <a:gd name="connsiteY128" fmla="*/ 154858 h 1037303"/>
                  <a:gd name="connsiteX129" fmla="*/ 678988 w 848702"/>
                  <a:gd name="connsiteY129" fmla="*/ 157316 h 1037303"/>
                  <a:gd name="connsiteX130" fmla="*/ 669156 w 848702"/>
                  <a:gd name="connsiteY130" fmla="*/ 154858 h 1037303"/>
                  <a:gd name="connsiteX131" fmla="*/ 661781 w 848702"/>
                  <a:gd name="connsiteY131" fmla="*/ 152400 h 1037303"/>
                  <a:gd name="connsiteX132" fmla="*/ 654407 w 848702"/>
                  <a:gd name="connsiteY132" fmla="*/ 159774 h 1037303"/>
                  <a:gd name="connsiteX133" fmla="*/ 637201 w 848702"/>
                  <a:gd name="connsiteY133" fmla="*/ 167149 h 1037303"/>
                  <a:gd name="connsiteX134" fmla="*/ 632285 w 848702"/>
                  <a:gd name="connsiteY134" fmla="*/ 184355 h 1037303"/>
                  <a:gd name="connsiteX135" fmla="*/ 624910 w 848702"/>
                  <a:gd name="connsiteY135" fmla="*/ 186813 h 1037303"/>
                  <a:gd name="connsiteX136" fmla="*/ 602788 w 848702"/>
                  <a:gd name="connsiteY136" fmla="*/ 199103 h 1037303"/>
                  <a:gd name="connsiteX137" fmla="*/ 553627 w 848702"/>
                  <a:gd name="connsiteY137" fmla="*/ 196645 h 1037303"/>
                  <a:gd name="connsiteX138" fmla="*/ 548710 w 848702"/>
                  <a:gd name="connsiteY138" fmla="*/ 201561 h 1037303"/>
                  <a:gd name="connsiteX139" fmla="*/ 543794 w 848702"/>
                  <a:gd name="connsiteY139" fmla="*/ 216310 h 1037303"/>
                  <a:gd name="connsiteX140" fmla="*/ 538878 w 848702"/>
                  <a:gd name="connsiteY140" fmla="*/ 228600 h 1037303"/>
                  <a:gd name="connsiteX141" fmla="*/ 506923 w 848702"/>
                  <a:gd name="connsiteY141" fmla="*/ 238432 h 1037303"/>
                  <a:gd name="connsiteX142" fmla="*/ 497091 w 848702"/>
                  <a:gd name="connsiteY142" fmla="*/ 240891 h 1037303"/>
                  <a:gd name="connsiteX143" fmla="*/ 479885 w 848702"/>
                  <a:gd name="connsiteY143" fmla="*/ 243349 h 1037303"/>
                  <a:gd name="connsiteX144" fmla="*/ 482343 w 848702"/>
                  <a:gd name="connsiteY144" fmla="*/ 258097 h 1037303"/>
                  <a:gd name="connsiteX145" fmla="*/ 487259 w 848702"/>
                  <a:gd name="connsiteY145" fmla="*/ 265471 h 1037303"/>
                  <a:gd name="connsiteX146" fmla="*/ 484801 w 848702"/>
                  <a:gd name="connsiteY146" fmla="*/ 275303 h 1037303"/>
                  <a:gd name="connsiteX147" fmla="*/ 497091 w 848702"/>
                  <a:gd name="connsiteY147" fmla="*/ 287594 h 1037303"/>
                  <a:gd name="connsiteX148" fmla="*/ 570833 w 848702"/>
                  <a:gd name="connsiteY148" fmla="*/ 299884 h 1037303"/>
                  <a:gd name="connsiteX149" fmla="*/ 573291 w 848702"/>
                  <a:gd name="connsiteY149" fmla="*/ 307258 h 1037303"/>
                  <a:gd name="connsiteX150" fmla="*/ 585581 w 848702"/>
                  <a:gd name="connsiteY150" fmla="*/ 317091 h 1037303"/>
                  <a:gd name="connsiteX151" fmla="*/ 595414 w 848702"/>
                  <a:gd name="connsiteY151" fmla="*/ 329381 h 1037303"/>
                  <a:gd name="connsiteX152" fmla="*/ 588039 w 848702"/>
                  <a:gd name="connsiteY152" fmla="*/ 331839 h 1037303"/>
                  <a:gd name="connsiteX153" fmla="*/ 580665 w 848702"/>
                  <a:gd name="connsiteY153" fmla="*/ 326923 h 1037303"/>
                  <a:gd name="connsiteX154" fmla="*/ 570833 w 848702"/>
                  <a:gd name="connsiteY154" fmla="*/ 324465 h 1037303"/>
                  <a:gd name="connsiteX155" fmla="*/ 553627 w 848702"/>
                  <a:gd name="connsiteY155" fmla="*/ 319549 h 1037303"/>
                  <a:gd name="connsiteX156" fmla="*/ 546252 w 848702"/>
                  <a:gd name="connsiteY156" fmla="*/ 314632 h 1037303"/>
                  <a:gd name="connsiteX157" fmla="*/ 538878 w 848702"/>
                  <a:gd name="connsiteY157" fmla="*/ 307258 h 1037303"/>
                  <a:gd name="connsiteX158" fmla="*/ 504465 w 848702"/>
                  <a:gd name="connsiteY158" fmla="*/ 309716 h 1037303"/>
                  <a:gd name="connsiteX159" fmla="*/ 502007 w 848702"/>
                  <a:gd name="connsiteY159" fmla="*/ 322007 h 1037303"/>
                  <a:gd name="connsiteX160" fmla="*/ 502007 w 848702"/>
                  <a:gd name="connsiteY160" fmla="*/ 339213 h 1037303"/>
                  <a:gd name="connsiteX161" fmla="*/ 514298 w 848702"/>
                  <a:gd name="connsiteY161" fmla="*/ 341671 h 1037303"/>
                  <a:gd name="connsiteX162" fmla="*/ 529046 w 848702"/>
                  <a:gd name="connsiteY162" fmla="*/ 349045 h 1037303"/>
                  <a:gd name="connsiteX163" fmla="*/ 536420 w 848702"/>
                  <a:gd name="connsiteY163" fmla="*/ 351503 h 1037303"/>
                  <a:gd name="connsiteX164" fmla="*/ 538878 w 848702"/>
                  <a:gd name="connsiteY164" fmla="*/ 381000 h 1037303"/>
                  <a:gd name="connsiteX165" fmla="*/ 526588 w 848702"/>
                  <a:gd name="connsiteY165" fmla="*/ 378542 h 1037303"/>
                  <a:gd name="connsiteX166" fmla="*/ 521672 w 848702"/>
                  <a:gd name="connsiteY166" fmla="*/ 371168 h 1037303"/>
                  <a:gd name="connsiteX167" fmla="*/ 514298 w 848702"/>
                  <a:gd name="connsiteY167" fmla="*/ 363794 h 1037303"/>
                  <a:gd name="connsiteX168" fmla="*/ 509381 w 848702"/>
                  <a:gd name="connsiteY168" fmla="*/ 356420 h 1037303"/>
                  <a:gd name="connsiteX169" fmla="*/ 489717 w 848702"/>
                  <a:gd name="connsiteY169" fmla="*/ 341671 h 1037303"/>
                  <a:gd name="connsiteX170" fmla="*/ 474968 w 848702"/>
                  <a:gd name="connsiteY170" fmla="*/ 331839 h 1037303"/>
                  <a:gd name="connsiteX171" fmla="*/ 467594 w 848702"/>
                  <a:gd name="connsiteY171" fmla="*/ 329381 h 1037303"/>
                  <a:gd name="connsiteX172" fmla="*/ 460220 w 848702"/>
                  <a:gd name="connsiteY172" fmla="*/ 331839 h 1037303"/>
                  <a:gd name="connsiteX173" fmla="*/ 450388 w 848702"/>
                  <a:gd name="connsiteY173" fmla="*/ 334297 h 1037303"/>
                  <a:gd name="connsiteX174" fmla="*/ 445472 w 848702"/>
                  <a:gd name="connsiteY174" fmla="*/ 341671 h 1037303"/>
                  <a:gd name="connsiteX175" fmla="*/ 447930 w 848702"/>
                  <a:gd name="connsiteY175" fmla="*/ 358878 h 1037303"/>
                  <a:gd name="connsiteX176" fmla="*/ 455304 w 848702"/>
                  <a:gd name="connsiteY176" fmla="*/ 368710 h 1037303"/>
                  <a:gd name="connsiteX177" fmla="*/ 470052 w 848702"/>
                  <a:gd name="connsiteY177" fmla="*/ 378542 h 1037303"/>
                  <a:gd name="connsiteX178" fmla="*/ 487259 w 848702"/>
                  <a:gd name="connsiteY178" fmla="*/ 383458 h 1037303"/>
                  <a:gd name="connsiteX179" fmla="*/ 494633 w 848702"/>
                  <a:gd name="connsiteY179" fmla="*/ 385916 h 1037303"/>
                  <a:gd name="connsiteX180" fmla="*/ 497091 w 848702"/>
                  <a:gd name="connsiteY180" fmla="*/ 393291 h 1037303"/>
                  <a:gd name="connsiteX181" fmla="*/ 477427 w 848702"/>
                  <a:gd name="connsiteY181" fmla="*/ 388374 h 1037303"/>
                  <a:gd name="connsiteX182" fmla="*/ 455304 w 848702"/>
                  <a:gd name="connsiteY182" fmla="*/ 385916 h 1037303"/>
                  <a:gd name="connsiteX183" fmla="*/ 440556 w 848702"/>
                  <a:gd name="connsiteY183" fmla="*/ 371168 h 1037303"/>
                  <a:gd name="connsiteX184" fmla="*/ 435639 w 848702"/>
                  <a:gd name="connsiteY184" fmla="*/ 366252 h 1037303"/>
                  <a:gd name="connsiteX185" fmla="*/ 428265 w 848702"/>
                  <a:gd name="connsiteY185" fmla="*/ 363794 h 1037303"/>
                  <a:gd name="connsiteX186" fmla="*/ 420891 w 848702"/>
                  <a:gd name="connsiteY186" fmla="*/ 351503 h 1037303"/>
                  <a:gd name="connsiteX187" fmla="*/ 413517 w 848702"/>
                  <a:gd name="connsiteY187" fmla="*/ 344129 h 1037303"/>
                  <a:gd name="connsiteX188" fmla="*/ 411059 w 848702"/>
                  <a:gd name="connsiteY188" fmla="*/ 336755 h 1037303"/>
                  <a:gd name="connsiteX189" fmla="*/ 403685 w 848702"/>
                  <a:gd name="connsiteY189" fmla="*/ 331839 h 1037303"/>
                  <a:gd name="connsiteX190" fmla="*/ 361898 w 848702"/>
                  <a:gd name="connsiteY190" fmla="*/ 324465 h 1037303"/>
                  <a:gd name="connsiteX191" fmla="*/ 364356 w 848702"/>
                  <a:gd name="connsiteY191" fmla="*/ 299884 h 1037303"/>
                  <a:gd name="connsiteX192" fmla="*/ 371730 w 848702"/>
                  <a:gd name="connsiteY192" fmla="*/ 297426 h 1037303"/>
                  <a:gd name="connsiteX193" fmla="*/ 376646 w 848702"/>
                  <a:gd name="connsiteY193" fmla="*/ 290052 h 1037303"/>
                  <a:gd name="connsiteX194" fmla="*/ 371730 w 848702"/>
                  <a:gd name="connsiteY194" fmla="*/ 282678 h 1037303"/>
                  <a:gd name="connsiteX195" fmla="*/ 356981 w 848702"/>
                  <a:gd name="connsiteY195" fmla="*/ 285136 h 1037303"/>
                  <a:gd name="connsiteX196" fmla="*/ 361898 w 848702"/>
                  <a:gd name="connsiteY196" fmla="*/ 299884 h 1037303"/>
                  <a:gd name="connsiteX197" fmla="*/ 356981 w 848702"/>
                  <a:gd name="connsiteY197" fmla="*/ 304800 h 1037303"/>
                  <a:gd name="connsiteX198" fmla="*/ 347149 w 848702"/>
                  <a:gd name="connsiteY198" fmla="*/ 307258 h 1037303"/>
                  <a:gd name="connsiteX199" fmla="*/ 339775 w 848702"/>
                  <a:gd name="connsiteY199" fmla="*/ 309716 h 1037303"/>
                  <a:gd name="connsiteX200" fmla="*/ 332401 w 848702"/>
                  <a:gd name="connsiteY200" fmla="*/ 314632 h 1037303"/>
                  <a:gd name="connsiteX201" fmla="*/ 334859 w 848702"/>
                  <a:gd name="connsiteY201" fmla="*/ 329381 h 1037303"/>
                  <a:gd name="connsiteX202" fmla="*/ 337317 w 848702"/>
                  <a:gd name="connsiteY202" fmla="*/ 336755 h 1037303"/>
                  <a:gd name="connsiteX203" fmla="*/ 332401 w 848702"/>
                  <a:gd name="connsiteY203" fmla="*/ 381000 h 1037303"/>
                  <a:gd name="connsiteX204" fmla="*/ 334859 w 848702"/>
                  <a:gd name="connsiteY204" fmla="*/ 390832 h 1037303"/>
                  <a:gd name="connsiteX205" fmla="*/ 342233 w 848702"/>
                  <a:gd name="connsiteY205" fmla="*/ 395749 h 1037303"/>
                  <a:gd name="connsiteX206" fmla="*/ 354523 w 848702"/>
                  <a:gd name="connsiteY206" fmla="*/ 408039 h 1037303"/>
                  <a:gd name="connsiteX207" fmla="*/ 364356 w 848702"/>
                  <a:gd name="connsiteY207" fmla="*/ 422787 h 1037303"/>
                  <a:gd name="connsiteX208" fmla="*/ 366814 w 848702"/>
                  <a:gd name="connsiteY208" fmla="*/ 430161 h 1037303"/>
                  <a:gd name="connsiteX209" fmla="*/ 381562 w 848702"/>
                  <a:gd name="connsiteY209" fmla="*/ 439994 h 1037303"/>
                  <a:gd name="connsiteX210" fmla="*/ 398768 w 848702"/>
                  <a:gd name="connsiteY210" fmla="*/ 457200 h 1037303"/>
                  <a:gd name="connsiteX211" fmla="*/ 406143 w 848702"/>
                  <a:gd name="connsiteY211" fmla="*/ 471949 h 1037303"/>
                  <a:gd name="connsiteX212" fmla="*/ 411059 w 848702"/>
                  <a:gd name="connsiteY212" fmla="*/ 479323 h 1037303"/>
                  <a:gd name="connsiteX213" fmla="*/ 418433 w 848702"/>
                  <a:gd name="connsiteY213" fmla="*/ 494071 h 1037303"/>
                  <a:gd name="connsiteX214" fmla="*/ 440556 w 848702"/>
                  <a:gd name="connsiteY214" fmla="*/ 496529 h 1037303"/>
                  <a:gd name="connsiteX215" fmla="*/ 455304 w 848702"/>
                  <a:gd name="connsiteY215" fmla="*/ 508820 h 1037303"/>
                  <a:gd name="connsiteX216" fmla="*/ 457762 w 848702"/>
                  <a:gd name="connsiteY216" fmla="*/ 516194 h 1037303"/>
                  <a:gd name="connsiteX217" fmla="*/ 455304 w 848702"/>
                  <a:gd name="connsiteY217" fmla="*/ 533400 h 1037303"/>
                  <a:gd name="connsiteX218" fmla="*/ 447930 w 848702"/>
                  <a:gd name="connsiteY218" fmla="*/ 538316 h 1037303"/>
                  <a:gd name="connsiteX219" fmla="*/ 445472 w 848702"/>
                  <a:gd name="connsiteY219" fmla="*/ 523568 h 1037303"/>
                  <a:gd name="connsiteX220" fmla="*/ 435639 w 848702"/>
                  <a:gd name="connsiteY220" fmla="*/ 511278 h 1037303"/>
                  <a:gd name="connsiteX221" fmla="*/ 406143 w 848702"/>
                  <a:gd name="connsiteY221" fmla="*/ 513736 h 1037303"/>
                  <a:gd name="connsiteX222" fmla="*/ 391394 w 848702"/>
                  <a:gd name="connsiteY222" fmla="*/ 523568 h 1037303"/>
                  <a:gd name="connsiteX223" fmla="*/ 396310 w 848702"/>
                  <a:gd name="connsiteY223" fmla="*/ 538316 h 1037303"/>
                  <a:gd name="connsiteX224" fmla="*/ 403685 w 848702"/>
                  <a:gd name="connsiteY224" fmla="*/ 543232 h 1037303"/>
                  <a:gd name="connsiteX225" fmla="*/ 413517 w 848702"/>
                  <a:gd name="connsiteY225" fmla="*/ 545691 h 1037303"/>
                  <a:gd name="connsiteX226" fmla="*/ 420891 w 848702"/>
                  <a:gd name="connsiteY226" fmla="*/ 548149 h 1037303"/>
                  <a:gd name="connsiteX227" fmla="*/ 428265 w 848702"/>
                  <a:gd name="connsiteY227" fmla="*/ 557981 h 1037303"/>
                  <a:gd name="connsiteX228" fmla="*/ 435639 w 848702"/>
                  <a:gd name="connsiteY228" fmla="*/ 560439 h 1037303"/>
                  <a:gd name="connsiteX229" fmla="*/ 433181 w 848702"/>
                  <a:gd name="connsiteY229" fmla="*/ 575187 h 1037303"/>
                  <a:gd name="connsiteX230" fmla="*/ 418433 w 848702"/>
                  <a:gd name="connsiteY230" fmla="*/ 580103 h 1037303"/>
                  <a:gd name="connsiteX231" fmla="*/ 411059 w 848702"/>
                  <a:gd name="connsiteY231" fmla="*/ 585020 h 1037303"/>
                  <a:gd name="connsiteX232" fmla="*/ 391394 w 848702"/>
                  <a:gd name="connsiteY232" fmla="*/ 589936 h 1037303"/>
                  <a:gd name="connsiteX233" fmla="*/ 371730 w 848702"/>
                  <a:gd name="connsiteY233" fmla="*/ 594852 h 1037303"/>
                  <a:gd name="connsiteX234" fmla="*/ 369272 w 848702"/>
                  <a:gd name="connsiteY234" fmla="*/ 602226 h 1037303"/>
                  <a:gd name="connsiteX235" fmla="*/ 393852 w 848702"/>
                  <a:gd name="connsiteY235" fmla="*/ 612058 h 1037303"/>
                  <a:gd name="connsiteX236" fmla="*/ 403685 w 848702"/>
                  <a:gd name="connsiteY236" fmla="*/ 614516 h 1037303"/>
                  <a:gd name="connsiteX237" fmla="*/ 411059 w 848702"/>
                  <a:gd name="connsiteY237" fmla="*/ 616974 h 1037303"/>
                  <a:gd name="connsiteX238" fmla="*/ 428265 w 848702"/>
                  <a:gd name="connsiteY238" fmla="*/ 619432 h 1037303"/>
                  <a:gd name="connsiteX239" fmla="*/ 435639 w 848702"/>
                  <a:gd name="connsiteY239" fmla="*/ 634181 h 1037303"/>
                  <a:gd name="connsiteX240" fmla="*/ 443014 w 848702"/>
                  <a:gd name="connsiteY240" fmla="*/ 636639 h 1037303"/>
                  <a:gd name="connsiteX241" fmla="*/ 474968 w 848702"/>
                  <a:gd name="connsiteY241" fmla="*/ 644013 h 1037303"/>
                  <a:gd name="connsiteX242" fmla="*/ 514298 w 848702"/>
                  <a:gd name="connsiteY242" fmla="*/ 648929 h 1037303"/>
                  <a:gd name="connsiteX243" fmla="*/ 516756 w 848702"/>
                  <a:gd name="connsiteY243" fmla="*/ 639097 h 1037303"/>
                  <a:gd name="connsiteX244" fmla="*/ 514298 w 848702"/>
                  <a:gd name="connsiteY244" fmla="*/ 626807 h 1037303"/>
                  <a:gd name="connsiteX245" fmla="*/ 499549 w 848702"/>
                  <a:gd name="connsiteY245" fmla="*/ 621891 h 1037303"/>
                  <a:gd name="connsiteX246" fmla="*/ 494633 w 848702"/>
                  <a:gd name="connsiteY246" fmla="*/ 616974 h 1037303"/>
                  <a:gd name="connsiteX247" fmla="*/ 484801 w 848702"/>
                  <a:gd name="connsiteY247" fmla="*/ 602226 h 1037303"/>
                  <a:gd name="connsiteX248" fmla="*/ 474968 w 848702"/>
                  <a:gd name="connsiteY248" fmla="*/ 599768 h 1037303"/>
                  <a:gd name="connsiteX249" fmla="*/ 467594 w 848702"/>
                  <a:gd name="connsiteY249" fmla="*/ 594852 h 1037303"/>
                  <a:gd name="connsiteX250" fmla="*/ 440556 w 848702"/>
                  <a:gd name="connsiteY250" fmla="*/ 592394 h 1037303"/>
                  <a:gd name="connsiteX251" fmla="*/ 430723 w 848702"/>
                  <a:gd name="connsiteY251" fmla="*/ 589936 h 1037303"/>
                  <a:gd name="connsiteX252" fmla="*/ 423349 w 848702"/>
                  <a:gd name="connsiteY252" fmla="*/ 585020 h 1037303"/>
                  <a:gd name="connsiteX253" fmla="*/ 420891 w 848702"/>
                  <a:gd name="connsiteY253" fmla="*/ 592394 h 1037303"/>
                  <a:gd name="connsiteX254" fmla="*/ 433181 w 848702"/>
                  <a:gd name="connsiteY254" fmla="*/ 589936 h 1037303"/>
                  <a:gd name="connsiteX255" fmla="*/ 435639 w 848702"/>
                  <a:gd name="connsiteY255" fmla="*/ 565355 h 1037303"/>
                  <a:gd name="connsiteX256" fmla="*/ 450388 w 848702"/>
                  <a:gd name="connsiteY256" fmla="*/ 560439 h 1037303"/>
                  <a:gd name="connsiteX257" fmla="*/ 457762 w 848702"/>
                  <a:gd name="connsiteY257" fmla="*/ 557981 h 1037303"/>
                  <a:gd name="connsiteX258" fmla="*/ 472510 w 848702"/>
                  <a:gd name="connsiteY258" fmla="*/ 567813 h 1037303"/>
                  <a:gd name="connsiteX259" fmla="*/ 479885 w 848702"/>
                  <a:gd name="connsiteY259" fmla="*/ 570271 h 1037303"/>
                  <a:gd name="connsiteX260" fmla="*/ 489717 w 848702"/>
                  <a:gd name="connsiteY260" fmla="*/ 582561 h 1037303"/>
                  <a:gd name="connsiteX261" fmla="*/ 502007 w 848702"/>
                  <a:gd name="connsiteY261" fmla="*/ 592394 h 1037303"/>
                  <a:gd name="connsiteX262" fmla="*/ 570833 w 848702"/>
                  <a:gd name="connsiteY262" fmla="*/ 602226 h 1037303"/>
                  <a:gd name="connsiteX263" fmla="*/ 583123 w 848702"/>
                  <a:gd name="connsiteY263" fmla="*/ 604684 h 1037303"/>
                  <a:gd name="connsiteX264" fmla="*/ 585581 w 848702"/>
                  <a:gd name="connsiteY264" fmla="*/ 619432 h 1037303"/>
                  <a:gd name="connsiteX265" fmla="*/ 588039 w 848702"/>
                  <a:gd name="connsiteY265" fmla="*/ 626807 h 1037303"/>
                  <a:gd name="connsiteX266" fmla="*/ 592956 w 848702"/>
                  <a:gd name="connsiteY266" fmla="*/ 631723 h 1037303"/>
                  <a:gd name="connsiteX267" fmla="*/ 607704 w 848702"/>
                  <a:gd name="connsiteY267" fmla="*/ 641555 h 1037303"/>
                  <a:gd name="connsiteX268" fmla="*/ 617536 w 848702"/>
                  <a:gd name="connsiteY268" fmla="*/ 663678 h 1037303"/>
                  <a:gd name="connsiteX269" fmla="*/ 619994 w 848702"/>
                  <a:gd name="connsiteY269" fmla="*/ 671052 h 1037303"/>
                  <a:gd name="connsiteX270" fmla="*/ 629827 w 848702"/>
                  <a:gd name="connsiteY270" fmla="*/ 680884 h 1037303"/>
                  <a:gd name="connsiteX271" fmla="*/ 656865 w 848702"/>
                  <a:gd name="connsiteY271" fmla="*/ 683342 h 1037303"/>
                  <a:gd name="connsiteX272" fmla="*/ 674072 w 848702"/>
                  <a:gd name="connsiteY272" fmla="*/ 695632 h 1037303"/>
                  <a:gd name="connsiteX273" fmla="*/ 671614 w 848702"/>
                  <a:gd name="connsiteY273" fmla="*/ 707923 h 1037303"/>
                  <a:gd name="connsiteX274" fmla="*/ 656865 w 848702"/>
                  <a:gd name="connsiteY274" fmla="*/ 715297 h 1037303"/>
                  <a:gd name="connsiteX275" fmla="*/ 649491 w 848702"/>
                  <a:gd name="connsiteY275" fmla="*/ 710381 h 1037303"/>
                  <a:gd name="connsiteX276" fmla="*/ 642117 w 848702"/>
                  <a:gd name="connsiteY276" fmla="*/ 703007 h 1037303"/>
                  <a:gd name="connsiteX277" fmla="*/ 634743 w 848702"/>
                  <a:gd name="connsiteY277" fmla="*/ 700549 h 1037303"/>
                  <a:gd name="connsiteX278" fmla="*/ 619994 w 848702"/>
                  <a:gd name="connsiteY278" fmla="*/ 693174 h 1037303"/>
                  <a:gd name="connsiteX279" fmla="*/ 612620 w 848702"/>
                  <a:gd name="connsiteY279" fmla="*/ 688258 h 1037303"/>
                  <a:gd name="connsiteX280" fmla="*/ 597872 w 848702"/>
                  <a:gd name="connsiteY280" fmla="*/ 680884 h 1037303"/>
                  <a:gd name="connsiteX281" fmla="*/ 595414 w 848702"/>
                  <a:gd name="connsiteY281" fmla="*/ 671052 h 1037303"/>
                  <a:gd name="connsiteX282" fmla="*/ 575749 w 848702"/>
                  <a:gd name="connsiteY282" fmla="*/ 656303 h 1037303"/>
                  <a:gd name="connsiteX283" fmla="*/ 568375 w 848702"/>
                  <a:gd name="connsiteY283" fmla="*/ 648929 h 1037303"/>
                  <a:gd name="connsiteX284" fmla="*/ 558543 w 848702"/>
                  <a:gd name="connsiteY284" fmla="*/ 646471 h 1037303"/>
                  <a:gd name="connsiteX285" fmla="*/ 551168 w 848702"/>
                  <a:gd name="connsiteY285" fmla="*/ 644013 h 1037303"/>
                  <a:gd name="connsiteX286" fmla="*/ 543794 w 848702"/>
                  <a:gd name="connsiteY286" fmla="*/ 648929 h 1037303"/>
                  <a:gd name="connsiteX287" fmla="*/ 538878 w 848702"/>
                  <a:gd name="connsiteY287" fmla="*/ 656303 h 1037303"/>
                  <a:gd name="connsiteX288" fmla="*/ 533962 w 848702"/>
                  <a:gd name="connsiteY288" fmla="*/ 661220 h 1037303"/>
                  <a:gd name="connsiteX289" fmla="*/ 570833 w 848702"/>
                  <a:gd name="connsiteY289" fmla="*/ 668594 h 1037303"/>
                  <a:gd name="connsiteX290" fmla="*/ 585581 w 848702"/>
                  <a:gd name="connsiteY290" fmla="*/ 673510 h 1037303"/>
                  <a:gd name="connsiteX291" fmla="*/ 590498 w 848702"/>
                  <a:gd name="connsiteY291" fmla="*/ 678426 h 1037303"/>
                  <a:gd name="connsiteX292" fmla="*/ 595414 w 848702"/>
                  <a:gd name="connsiteY292" fmla="*/ 700549 h 1037303"/>
                  <a:gd name="connsiteX293" fmla="*/ 600330 w 848702"/>
                  <a:gd name="connsiteY293" fmla="*/ 739878 h 1037303"/>
                  <a:gd name="connsiteX294" fmla="*/ 607704 w 848702"/>
                  <a:gd name="connsiteY294" fmla="*/ 747252 h 1037303"/>
                  <a:gd name="connsiteX295" fmla="*/ 612620 w 848702"/>
                  <a:gd name="connsiteY295" fmla="*/ 776749 h 1037303"/>
                  <a:gd name="connsiteX296" fmla="*/ 605246 w 848702"/>
                  <a:gd name="connsiteY296" fmla="*/ 781665 h 1037303"/>
                  <a:gd name="connsiteX297" fmla="*/ 597872 w 848702"/>
                  <a:gd name="connsiteY297" fmla="*/ 779207 h 1037303"/>
                  <a:gd name="connsiteX298" fmla="*/ 583123 w 848702"/>
                  <a:gd name="connsiteY298" fmla="*/ 764458 h 1037303"/>
                  <a:gd name="connsiteX299" fmla="*/ 568375 w 848702"/>
                  <a:gd name="connsiteY299" fmla="*/ 759542 h 1037303"/>
                  <a:gd name="connsiteX300" fmla="*/ 551168 w 848702"/>
                  <a:gd name="connsiteY300" fmla="*/ 747252 h 1037303"/>
                  <a:gd name="connsiteX301" fmla="*/ 543794 w 848702"/>
                  <a:gd name="connsiteY301" fmla="*/ 742336 h 1037303"/>
                  <a:gd name="connsiteX302" fmla="*/ 536420 w 848702"/>
                  <a:gd name="connsiteY302" fmla="*/ 739878 h 1037303"/>
                  <a:gd name="connsiteX303" fmla="*/ 529046 w 848702"/>
                  <a:gd name="connsiteY303" fmla="*/ 734961 h 1037303"/>
                  <a:gd name="connsiteX304" fmla="*/ 526588 w 848702"/>
                  <a:gd name="connsiteY304" fmla="*/ 727587 h 1037303"/>
                  <a:gd name="connsiteX305" fmla="*/ 521672 w 848702"/>
                  <a:gd name="connsiteY305" fmla="*/ 720213 h 1037303"/>
                  <a:gd name="connsiteX306" fmla="*/ 511839 w 848702"/>
                  <a:gd name="connsiteY306" fmla="*/ 722671 h 1037303"/>
                  <a:gd name="connsiteX307" fmla="*/ 504465 w 848702"/>
                  <a:gd name="connsiteY307" fmla="*/ 730045 h 1037303"/>
                  <a:gd name="connsiteX308" fmla="*/ 497091 w 848702"/>
                  <a:gd name="connsiteY308" fmla="*/ 734961 h 1037303"/>
                  <a:gd name="connsiteX309" fmla="*/ 492175 w 848702"/>
                  <a:gd name="connsiteY309" fmla="*/ 739878 h 1037303"/>
                  <a:gd name="connsiteX310" fmla="*/ 484801 w 848702"/>
                  <a:gd name="connsiteY310" fmla="*/ 742336 h 1037303"/>
                  <a:gd name="connsiteX311" fmla="*/ 470052 w 848702"/>
                  <a:gd name="connsiteY311" fmla="*/ 749710 h 1037303"/>
                  <a:gd name="connsiteX312" fmla="*/ 472510 w 848702"/>
                  <a:gd name="connsiteY312" fmla="*/ 759542 h 1037303"/>
                  <a:gd name="connsiteX313" fmla="*/ 474968 w 848702"/>
                  <a:gd name="connsiteY313" fmla="*/ 766916 h 1037303"/>
                  <a:gd name="connsiteX314" fmla="*/ 482343 w 848702"/>
                  <a:gd name="connsiteY314" fmla="*/ 791497 h 1037303"/>
                  <a:gd name="connsiteX315" fmla="*/ 492175 w 848702"/>
                  <a:gd name="connsiteY315" fmla="*/ 806245 h 1037303"/>
                  <a:gd name="connsiteX316" fmla="*/ 499549 w 848702"/>
                  <a:gd name="connsiteY316" fmla="*/ 808703 h 1037303"/>
                  <a:gd name="connsiteX317" fmla="*/ 514298 w 848702"/>
                  <a:gd name="connsiteY317" fmla="*/ 806245 h 1037303"/>
                  <a:gd name="connsiteX318" fmla="*/ 516756 w 848702"/>
                  <a:gd name="connsiteY318" fmla="*/ 796413 h 1037303"/>
                  <a:gd name="connsiteX319" fmla="*/ 524130 w 848702"/>
                  <a:gd name="connsiteY319" fmla="*/ 811161 h 1037303"/>
                  <a:gd name="connsiteX320" fmla="*/ 531504 w 848702"/>
                  <a:gd name="connsiteY320" fmla="*/ 816078 h 1037303"/>
                  <a:gd name="connsiteX321" fmla="*/ 538878 w 848702"/>
                  <a:gd name="connsiteY321" fmla="*/ 823452 h 1037303"/>
                  <a:gd name="connsiteX322" fmla="*/ 516756 w 848702"/>
                  <a:gd name="connsiteY322" fmla="*/ 833284 h 1037303"/>
                  <a:gd name="connsiteX323" fmla="*/ 514298 w 848702"/>
                  <a:gd name="connsiteY323" fmla="*/ 845574 h 1037303"/>
                  <a:gd name="connsiteX324" fmla="*/ 509381 w 848702"/>
                  <a:gd name="connsiteY324" fmla="*/ 850491 h 1037303"/>
                  <a:gd name="connsiteX325" fmla="*/ 494633 w 848702"/>
                  <a:gd name="connsiteY325" fmla="*/ 860323 h 1037303"/>
                  <a:gd name="connsiteX326" fmla="*/ 487259 w 848702"/>
                  <a:gd name="connsiteY326" fmla="*/ 857865 h 1037303"/>
                  <a:gd name="connsiteX327" fmla="*/ 487259 w 848702"/>
                  <a:gd name="connsiteY327" fmla="*/ 840658 h 1037303"/>
                  <a:gd name="connsiteX328" fmla="*/ 484801 w 848702"/>
                  <a:gd name="connsiteY328" fmla="*/ 830826 h 1037303"/>
                  <a:gd name="connsiteX329" fmla="*/ 477427 w 848702"/>
                  <a:gd name="connsiteY329" fmla="*/ 828368 h 1037303"/>
                  <a:gd name="connsiteX330" fmla="*/ 470052 w 848702"/>
                  <a:gd name="connsiteY330" fmla="*/ 823452 h 1037303"/>
                  <a:gd name="connsiteX331" fmla="*/ 455304 w 848702"/>
                  <a:gd name="connsiteY331" fmla="*/ 828368 h 1037303"/>
                  <a:gd name="connsiteX332" fmla="*/ 440556 w 848702"/>
                  <a:gd name="connsiteY332" fmla="*/ 823452 h 1037303"/>
                  <a:gd name="connsiteX333" fmla="*/ 420891 w 848702"/>
                  <a:gd name="connsiteY333" fmla="*/ 825910 h 1037303"/>
                  <a:gd name="connsiteX334" fmla="*/ 423349 w 848702"/>
                  <a:gd name="connsiteY334" fmla="*/ 833284 h 1037303"/>
                  <a:gd name="connsiteX335" fmla="*/ 433181 w 848702"/>
                  <a:gd name="connsiteY335" fmla="*/ 848032 h 1037303"/>
                  <a:gd name="connsiteX336" fmla="*/ 447930 w 848702"/>
                  <a:gd name="connsiteY336" fmla="*/ 860323 h 1037303"/>
                  <a:gd name="connsiteX337" fmla="*/ 455304 w 848702"/>
                  <a:gd name="connsiteY337" fmla="*/ 882445 h 1037303"/>
                  <a:gd name="connsiteX338" fmla="*/ 457762 w 848702"/>
                  <a:gd name="connsiteY338" fmla="*/ 889820 h 1037303"/>
                  <a:gd name="connsiteX339" fmla="*/ 462678 w 848702"/>
                  <a:gd name="connsiteY339" fmla="*/ 899652 h 1037303"/>
                  <a:gd name="connsiteX340" fmla="*/ 470052 w 848702"/>
                  <a:gd name="connsiteY340" fmla="*/ 902110 h 1037303"/>
                  <a:gd name="connsiteX341" fmla="*/ 477427 w 848702"/>
                  <a:gd name="connsiteY341" fmla="*/ 907026 h 1037303"/>
                  <a:gd name="connsiteX342" fmla="*/ 482343 w 848702"/>
                  <a:gd name="connsiteY342" fmla="*/ 916858 h 1037303"/>
                  <a:gd name="connsiteX343" fmla="*/ 487259 w 848702"/>
                  <a:gd name="connsiteY343" fmla="*/ 931607 h 1037303"/>
                  <a:gd name="connsiteX344" fmla="*/ 499549 w 848702"/>
                  <a:gd name="connsiteY344" fmla="*/ 946355 h 1037303"/>
                  <a:gd name="connsiteX345" fmla="*/ 502007 w 848702"/>
                  <a:gd name="connsiteY345" fmla="*/ 953729 h 1037303"/>
                  <a:gd name="connsiteX346" fmla="*/ 504465 w 848702"/>
                  <a:gd name="connsiteY346" fmla="*/ 990600 h 1037303"/>
                  <a:gd name="connsiteX347" fmla="*/ 514298 w 848702"/>
                  <a:gd name="connsiteY347" fmla="*/ 1005349 h 1037303"/>
                  <a:gd name="connsiteX348" fmla="*/ 519214 w 848702"/>
                  <a:gd name="connsiteY348" fmla="*/ 1012723 h 1037303"/>
                  <a:gd name="connsiteX349" fmla="*/ 524130 w 848702"/>
                  <a:gd name="connsiteY349" fmla="*/ 1020097 h 1037303"/>
                  <a:gd name="connsiteX350" fmla="*/ 502007 w 848702"/>
                  <a:gd name="connsiteY350" fmla="*/ 1020097 h 1037303"/>
                  <a:gd name="connsiteX351" fmla="*/ 494633 w 848702"/>
                  <a:gd name="connsiteY351" fmla="*/ 1012723 h 1037303"/>
                  <a:gd name="connsiteX352" fmla="*/ 492175 w 848702"/>
                  <a:gd name="connsiteY352" fmla="*/ 1002891 h 1037303"/>
                  <a:gd name="connsiteX353" fmla="*/ 484801 w 848702"/>
                  <a:gd name="connsiteY353" fmla="*/ 1000432 h 1037303"/>
                  <a:gd name="connsiteX354" fmla="*/ 467594 w 848702"/>
                  <a:gd name="connsiteY354" fmla="*/ 990600 h 1037303"/>
                  <a:gd name="connsiteX355" fmla="*/ 465136 w 848702"/>
                  <a:gd name="connsiteY355" fmla="*/ 975852 h 1037303"/>
                  <a:gd name="connsiteX356" fmla="*/ 452846 w 848702"/>
                  <a:gd name="connsiteY356" fmla="*/ 958645 h 1037303"/>
                  <a:gd name="connsiteX357" fmla="*/ 430723 w 848702"/>
                  <a:gd name="connsiteY357" fmla="*/ 966020 h 1037303"/>
                  <a:gd name="connsiteX358" fmla="*/ 425807 w 848702"/>
                  <a:gd name="connsiteY358" fmla="*/ 980768 h 1037303"/>
                  <a:gd name="connsiteX359" fmla="*/ 428265 w 848702"/>
                  <a:gd name="connsiteY359" fmla="*/ 988142 h 1037303"/>
                  <a:gd name="connsiteX360" fmla="*/ 423349 w 848702"/>
                  <a:gd name="connsiteY360" fmla="*/ 1002891 h 1037303"/>
                  <a:gd name="connsiteX361" fmla="*/ 425807 w 848702"/>
                  <a:gd name="connsiteY361" fmla="*/ 1027471 h 1037303"/>
                  <a:gd name="connsiteX362" fmla="*/ 428265 w 848702"/>
                  <a:gd name="connsiteY362" fmla="*/ 1034845 h 1037303"/>
                  <a:gd name="connsiteX363" fmla="*/ 420891 w 848702"/>
                  <a:gd name="connsiteY363" fmla="*/ 1037303 h 1037303"/>
                  <a:gd name="connsiteX364" fmla="*/ 411059 w 848702"/>
                  <a:gd name="connsiteY364" fmla="*/ 1034845 h 1037303"/>
                  <a:gd name="connsiteX365" fmla="*/ 406143 w 848702"/>
                  <a:gd name="connsiteY365" fmla="*/ 1027471 h 1037303"/>
                  <a:gd name="connsiteX366" fmla="*/ 401227 w 848702"/>
                  <a:gd name="connsiteY366" fmla="*/ 1010265 h 1037303"/>
                  <a:gd name="connsiteX367" fmla="*/ 398768 w 848702"/>
                  <a:gd name="connsiteY367" fmla="*/ 1002891 h 1037303"/>
                  <a:gd name="connsiteX368" fmla="*/ 396310 w 848702"/>
                  <a:gd name="connsiteY368" fmla="*/ 985684 h 1037303"/>
                  <a:gd name="connsiteX369" fmla="*/ 388936 w 848702"/>
                  <a:gd name="connsiteY369" fmla="*/ 980768 h 1037303"/>
                  <a:gd name="connsiteX370" fmla="*/ 386478 w 848702"/>
                  <a:gd name="connsiteY370" fmla="*/ 970936 h 1037303"/>
                  <a:gd name="connsiteX371" fmla="*/ 379104 w 848702"/>
                  <a:gd name="connsiteY371" fmla="*/ 966020 h 1037303"/>
                  <a:gd name="connsiteX372" fmla="*/ 374188 w 848702"/>
                  <a:gd name="connsiteY372" fmla="*/ 961103 h 1037303"/>
                  <a:gd name="connsiteX373" fmla="*/ 359439 w 848702"/>
                  <a:gd name="connsiteY373" fmla="*/ 953729 h 1037303"/>
                  <a:gd name="connsiteX374" fmla="*/ 352065 w 848702"/>
                  <a:gd name="connsiteY374" fmla="*/ 946355 h 1037303"/>
                  <a:gd name="connsiteX375" fmla="*/ 347149 w 848702"/>
                  <a:gd name="connsiteY375" fmla="*/ 931607 h 1037303"/>
                  <a:gd name="connsiteX376" fmla="*/ 339775 w 848702"/>
                  <a:gd name="connsiteY376" fmla="*/ 934065 h 1037303"/>
                  <a:gd name="connsiteX377" fmla="*/ 337317 w 848702"/>
                  <a:gd name="connsiteY377" fmla="*/ 941439 h 1037303"/>
                  <a:gd name="connsiteX378" fmla="*/ 322568 w 848702"/>
                  <a:gd name="connsiteY378" fmla="*/ 946355 h 1037303"/>
                  <a:gd name="connsiteX379" fmla="*/ 327485 w 848702"/>
                  <a:gd name="connsiteY379" fmla="*/ 961103 h 1037303"/>
                  <a:gd name="connsiteX380" fmla="*/ 329943 w 848702"/>
                  <a:gd name="connsiteY380" fmla="*/ 968478 h 1037303"/>
                  <a:gd name="connsiteX381" fmla="*/ 327485 w 848702"/>
                  <a:gd name="connsiteY381" fmla="*/ 985684 h 1037303"/>
                  <a:gd name="connsiteX382" fmla="*/ 320110 w 848702"/>
                  <a:gd name="connsiteY382" fmla="*/ 988142 h 1037303"/>
                  <a:gd name="connsiteX383" fmla="*/ 305362 w 848702"/>
                  <a:gd name="connsiteY383" fmla="*/ 983226 h 1037303"/>
                  <a:gd name="connsiteX384" fmla="*/ 288156 w 848702"/>
                  <a:gd name="connsiteY384" fmla="*/ 980768 h 1037303"/>
                  <a:gd name="connsiteX385" fmla="*/ 273407 w 848702"/>
                  <a:gd name="connsiteY385" fmla="*/ 951271 h 1037303"/>
                  <a:gd name="connsiteX386" fmla="*/ 266033 w 848702"/>
                  <a:gd name="connsiteY386" fmla="*/ 943897 h 1037303"/>
                  <a:gd name="connsiteX387" fmla="*/ 275865 w 848702"/>
                  <a:gd name="connsiteY387" fmla="*/ 914400 h 1037303"/>
                  <a:gd name="connsiteX388" fmla="*/ 283239 w 848702"/>
                  <a:gd name="connsiteY388" fmla="*/ 909484 h 1037303"/>
                  <a:gd name="connsiteX389" fmla="*/ 285698 w 848702"/>
                  <a:gd name="connsiteY389" fmla="*/ 894736 h 1037303"/>
                  <a:gd name="connsiteX390" fmla="*/ 288156 w 848702"/>
                  <a:gd name="connsiteY390" fmla="*/ 887361 h 1037303"/>
                  <a:gd name="connsiteX391" fmla="*/ 278323 w 848702"/>
                  <a:gd name="connsiteY391" fmla="*/ 875071 h 1037303"/>
                  <a:gd name="connsiteX392" fmla="*/ 256201 w 848702"/>
                  <a:gd name="connsiteY392" fmla="*/ 855407 h 1037303"/>
                  <a:gd name="connsiteX393" fmla="*/ 248827 w 848702"/>
                  <a:gd name="connsiteY393" fmla="*/ 852949 h 1037303"/>
                  <a:gd name="connsiteX394" fmla="*/ 243910 w 848702"/>
                  <a:gd name="connsiteY394" fmla="*/ 848032 h 1037303"/>
                  <a:gd name="connsiteX395" fmla="*/ 221788 w 848702"/>
                  <a:gd name="connsiteY395" fmla="*/ 843116 h 1037303"/>
                  <a:gd name="connsiteX396" fmla="*/ 214414 w 848702"/>
                  <a:gd name="connsiteY396" fmla="*/ 840658 h 1037303"/>
                  <a:gd name="connsiteX397" fmla="*/ 211956 w 848702"/>
                  <a:gd name="connsiteY397" fmla="*/ 820994 h 1037303"/>
                  <a:gd name="connsiteX398" fmla="*/ 197207 w 848702"/>
                  <a:gd name="connsiteY398" fmla="*/ 816078 h 1037303"/>
                  <a:gd name="connsiteX399" fmla="*/ 189833 w 848702"/>
                  <a:gd name="connsiteY399" fmla="*/ 813620 h 1037303"/>
                  <a:gd name="connsiteX400" fmla="*/ 192291 w 848702"/>
                  <a:gd name="connsiteY400" fmla="*/ 806245 h 1037303"/>
                  <a:gd name="connsiteX401" fmla="*/ 199665 w 848702"/>
                  <a:gd name="connsiteY401" fmla="*/ 786581 h 1037303"/>
                  <a:gd name="connsiteX402" fmla="*/ 209498 w 848702"/>
                  <a:gd name="connsiteY402" fmla="*/ 784123 h 1037303"/>
                  <a:gd name="connsiteX403" fmla="*/ 216872 w 848702"/>
                  <a:gd name="connsiteY403" fmla="*/ 762000 h 1037303"/>
                  <a:gd name="connsiteX404" fmla="*/ 224246 w 848702"/>
                  <a:gd name="connsiteY404" fmla="*/ 747252 h 1037303"/>
                  <a:gd name="connsiteX405" fmla="*/ 231620 w 848702"/>
                  <a:gd name="connsiteY405" fmla="*/ 744794 h 1037303"/>
                  <a:gd name="connsiteX406" fmla="*/ 251285 w 848702"/>
                  <a:gd name="connsiteY406" fmla="*/ 739878 h 1037303"/>
                  <a:gd name="connsiteX407" fmla="*/ 263575 w 848702"/>
                  <a:gd name="connsiteY407" fmla="*/ 730045 h 1037303"/>
                  <a:gd name="connsiteX408" fmla="*/ 270949 w 848702"/>
                  <a:gd name="connsiteY408" fmla="*/ 727587 h 1037303"/>
                  <a:gd name="connsiteX409" fmla="*/ 273407 w 848702"/>
                  <a:gd name="connsiteY409" fmla="*/ 717755 h 1037303"/>
                  <a:gd name="connsiteX410" fmla="*/ 280781 w 848702"/>
                  <a:gd name="connsiteY410" fmla="*/ 715297 h 1037303"/>
                  <a:gd name="connsiteX411" fmla="*/ 285698 w 848702"/>
                  <a:gd name="connsiteY411" fmla="*/ 710381 h 1037303"/>
                  <a:gd name="connsiteX412" fmla="*/ 307820 w 848702"/>
                  <a:gd name="connsiteY412" fmla="*/ 712839 h 1037303"/>
                  <a:gd name="connsiteX413" fmla="*/ 322568 w 848702"/>
                  <a:gd name="connsiteY413" fmla="*/ 720213 h 1037303"/>
                  <a:gd name="connsiteX414" fmla="*/ 361898 w 848702"/>
                  <a:gd name="connsiteY414" fmla="*/ 730045 h 1037303"/>
                  <a:gd name="connsiteX415" fmla="*/ 391394 w 848702"/>
                  <a:gd name="connsiteY415" fmla="*/ 734961 h 1037303"/>
                  <a:gd name="connsiteX416" fmla="*/ 408601 w 848702"/>
                  <a:gd name="connsiteY416" fmla="*/ 749710 h 1037303"/>
                  <a:gd name="connsiteX417" fmla="*/ 425807 w 848702"/>
                  <a:gd name="connsiteY417" fmla="*/ 752168 h 1037303"/>
                  <a:gd name="connsiteX418" fmla="*/ 452846 w 848702"/>
                  <a:gd name="connsiteY418" fmla="*/ 757084 h 1037303"/>
                  <a:gd name="connsiteX419" fmla="*/ 447930 w 848702"/>
                  <a:gd name="connsiteY419" fmla="*/ 749710 h 1037303"/>
                  <a:gd name="connsiteX420" fmla="*/ 440556 w 848702"/>
                  <a:gd name="connsiteY420" fmla="*/ 742336 h 1037303"/>
                  <a:gd name="connsiteX421" fmla="*/ 457762 w 848702"/>
                  <a:gd name="connsiteY421" fmla="*/ 734961 h 1037303"/>
                  <a:gd name="connsiteX422" fmla="*/ 462678 w 848702"/>
                  <a:gd name="connsiteY422" fmla="*/ 727587 h 1037303"/>
                  <a:gd name="connsiteX423" fmla="*/ 477427 w 848702"/>
                  <a:gd name="connsiteY423" fmla="*/ 722671 h 1037303"/>
                  <a:gd name="connsiteX424" fmla="*/ 484801 w 848702"/>
                  <a:gd name="connsiteY424" fmla="*/ 717755 h 1037303"/>
                  <a:gd name="connsiteX425" fmla="*/ 472510 w 848702"/>
                  <a:gd name="connsiteY425" fmla="*/ 707923 h 1037303"/>
                  <a:gd name="connsiteX426" fmla="*/ 462678 w 848702"/>
                  <a:gd name="connsiteY426" fmla="*/ 705465 h 1037303"/>
                  <a:gd name="connsiteX427" fmla="*/ 455304 w 848702"/>
                  <a:gd name="connsiteY427" fmla="*/ 703007 h 1037303"/>
                  <a:gd name="connsiteX428" fmla="*/ 430723 w 848702"/>
                  <a:gd name="connsiteY428" fmla="*/ 700549 h 1037303"/>
                  <a:gd name="connsiteX429" fmla="*/ 393852 w 848702"/>
                  <a:gd name="connsiteY429" fmla="*/ 720213 h 1037303"/>
                  <a:gd name="connsiteX430" fmla="*/ 366814 w 848702"/>
                  <a:gd name="connsiteY430" fmla="*/ 688258 h 1037303"/>
                  <a:gd name="connsiteX431" fmla="*/ 361898 w 848702"/>
                  <a:gd name="connsiteY431" fmla="*/ 695632 h 1037303"/>
                  <a:gd name="connsiteX432" fmla="*/ 359439 w 848702"/>
                  <a:gd name="connsiteY432" fmla="*/ 703007 h 1037303"/>
                  <a:gd name="connsiteX433" fmla="*/ 352065 w 848702"/>
                  <a:gd name="connsiteY433" fmla="*/ 705465 h 1037303"/>
                  <a:gd name="connsiteX434" fmla="*/ 342233 w 848702"/>
                  <a:gd name="connsiteY434" fmla="*/ 703007 h 1037303"/>
                  <a:gd name="connsiteX435" fmla="*/ 337317 w 848702"/>
                  <a:gd name="connsiteY435" fmla="*/ 695632 h 1037303"/>
                  <a:gd name="connsiteX436" fmla="*/ 305362 w 848702"/>
                  <a:gd name="connsiteY436" fmla="*/ 693174 h 1037303"/>
                  <a:gd name="connsiteX437" fmla="*/ 280781 w 848702"/>
                  <a:gd name="connsiteY437" fmla="*/ 695632 h 1037303"/>
                  <a:gd name="connsiteX438" fmla="*/ 273407 w 848702"/>
                  <a:gd name="connsiteY438" fmla="*/ 700549 h 1037303"/>
                  <a:gd name="connsiteX439" fmla="*/ 258659 w 848702"/>
                  <a:gd name="connsiteY439" fmla="*/ 705465 h 1037303"/>
                  <a:gd name="connsiteX440" fmla="*/ 251285 w 848702"/>
                  <a:gd name="connsiteY440" fmla="*/ 707923 h 1037303"/>
                  <a:gd name="connsiteX441" fmla="*/ 243910 w 848702"/>
                  <a:gd name="connsiteY441" fmla="*/ 710381 h 1037303"/>
                  <a:gd name="connsiteX442" fmla="*/ 236536 w 848702"/>
                  <a:gd name="connsiteY442" fmla="*/ 715297 h 1037303"/>
                  <a:gd name="connsiteX443" fmla="*/ 224246 w 848702"/>
                  <a:gd name="connsiteY443" fmla="*/ 705465 h 1037303"/>
                  <a:gd name="connsiteX444" fmla="*/ 219330 w 848702"/>
                  <a:gd name="connsiteY444" fmla="*/ 698091 h 1037303"/>
                  <a:gd name="connsiteX445" fmla="*/ 204581 w 848702"/>
                  <a:gd name="connsiteY445" fmla="*/ 700549 h 1037303"/>
                  <a:gd name="connsiteX446" fmla="*/ 194749 w 848702"/>
                  <a:gd name="connsiteY446" fmla="*/ 722671 h 1037303"/>
                  <a:gd name="connsiteX447" fmla="*/ 180001 w 848702"/>
                  <a:gd name="connsiteY447" fmla="*/ 725129 h 1037303"/>
                  <a:gd name="connsiteX448" fmla="*/ 172627 w 848702"/>
                  <a:gd name="connsiteY448" fmla="*/ 698091 h 1037303"/>
                  <a:gd name="connsiteX449" fmla="*/ 165252 w 848702"/>
                  <a:gd name="connsiteY449" fmla="*/ 695632 h 1037303"/>
                  <a:gd name="connsiteX450" fmla="*/ 162794 w 848702"/>
                  <a:gd name="connsiteY450" fmla="*/ 703007 h 1037303"/>
                  <a:gd name="connsiteX451" fmla="*/ 155420 w 848702"/>
                  <a:gd name="connsiteY451" fmla="*/ 707923 h 1037303"/>
                  <a:gd name="connsiteX452" fmla="*/ 152962 w 848702"/>
                  <a:gd name="connsiteY452" fmla="*/ 683342 h 1037303"/>
                  <a:gd name="connsiteX453" fmla="*/ 148046 w 848702"/>
                  <a:gd name="connsiteY453" fmla="*/ 675968 h 1037303"/>
                  <a:gd name="connsiteX454" fmla="*/ 143130 w 848702"/>
                  <a:gd name="connsiteY454" fmla="*/ 683342 h 1037303"/>
                  <a:gd name="connsiteX455" fmla="*/ 135756 w 848702"/>
                  <a:gd name="connsiteY455" fmla="*/ 678426 h 1037303"/>
                  <a:gd name="connsiteX456" fmla="*/ 123465 w 848702"/>
                  <a:gd name="connsiteY456" fmla="*/ 671052 h 1037303"/>
                  <a:gd name="connsiteX457" fmla="*/ 106259 w 848702"/>
                  <a:gd name="connsiteY457" fmla="*/ 671052 h 1037303"/>
                  <a:gd name="connsiteX458" fmla="*/ 101343 w 848702"/>
                  <a:gd name="connsiteY458" fmla="*/ 663678 h 1037303"/>
                  <a:gd name="connsiteX459" fmla="*/ 108717 w 848702"/>
                  <a:gd name="connsiteY459" fmla="*/ 658761 h 1037303"/>
                  <a:gd name="connsiteX460" fmla="*/ 118549 w 848702"/>
                  <a:gd name="connsiteY460" fmla="*/ 656303 h 1037303"/>
                  <a:gd name="connsiteX461" fmla="*/ 128381 w 848702"/>
                  <a:gd name="connsiteY461" fmla="*/ 641555 h 1037303"/>
                  <a:gd name="connsiteX462" fmla="*/ 143130 w 848702"/>
                  <a:gd name="connsiteY462" fmla="*/ 636639 h 1037303"/>
                  <a:gd name="connsiteX463" fmla="*/ 145588 w 848702"/>
                  <a:gd name="connsiteY463" fmla="*/ 629265 h 1037303"/>
                  <a:gd name="connsiteX464" fmla="*/ 160336 w 848702"/>
                  <a:gd name="connsiteY464" fmla="*/ 634181 h 1037303"/>
                  <a:gd name="connsiteX465" fmla="*/ 162794 w 848702"/>
                  <a:gd name="connsiteY465" fmla="*/ 626807 h 1037303"/>
                  <a:gd name="connsiteX466" fmla="*/ 170168 w 848702"/>
                  <a:gd name="connsiteY466" fmla="*/ 619432 h 1037303"/>
                  <a:gd name="connsiteX467" fmla="*/ 165252 w 848702"/>
                  <a:gd name="connsiteY467" fmla="*/ 612058 h 1037303"/>
                  <a:gd name="connsiteX468" fmla="*/ 148046 w 848702"/>
                  <a:gd name="connsiteY468" fmla="*/ 604684 h 1037303"/>
                  <a:gd name="connsiteX469" fmla="*/ 128381 w 848702"/>
                  <a:gd name="connsiteY469" fmla="*/ 602226 h 1037303"/>
                  <a:gd name="connsiteX470" fmla="*/ 116091 w 848702"/>
                  <a:gd name="connsiteY470" fmla="*/ 592394 h 1037303"/>
                  <a:gd name="connsiteX471" fmla="*/ 113633 w 848702"/>
                  <a:gd name="connsiteY471" fmla="*/ 599768 h 1037303"/>
                  <a:gd name="connsiteX472" fmla="*/ 108717 w 848702"/>
                  <a:gd name="connsiteY472" fmla="*/ 607142 h 1037303"/>
                  <a:gd name="connsiteX473" fmla="*/ 74304 w 848702"/>
                  <a:gd name="connsiteY473" fmla="*/ 592394 h 1037303"/>
                  <a:gd name="connsiteX474" fmla="*/ 66930 w 848702"/>
                  <a:gd name="connsiteY474" fmla="*/ 587478 h 1037303"/>
                  <a:gd name="connsiteX475" fmla="*/ 62014 w 848702"/>
                  <a:gd name="connsiteY475" fmla="*/ 582561 h 1037303"/>
                  <a:gd name="connsiteX476" fmla="*/ 39891 w 848702"/>
                  <a:gd name="connsiteY476" fmla="*/ 565355 h 1037303"/>
                  <a:gd name="connsiteX477" fmla="*/ 34975 w 848702"/>
                  <a:gd name="connsiteY477" fmla="*/ 557981 h 1037303"/>
                  <a:gd name="connsiteX478" fmla="*/ 39891 w 848702"/>
                  <a:gd name="connsiteY478" fmla="*/ 550607 h 1037303"/>
                  <a:gd name="connsiteX479" fmla="*/ 37433 w 848702"/>
                  <a:gd name="connsiteY479" fmla="*/ 535858 h 1037303"/>
                  <a:gd name="connsiteX480" fmla="*/ 32517 w 848702"/>
                  <a:gd name="connsiteY480" fmla="*/ 528484 h 1037303"/>
                  <a:gd name="connsiteX481" fmla="*/ 10394 w 848702"/>
                  <a:gd name="connsiteY481" fmla="*/ 523568 h 1037303"/>
                  <a:gd name="connsiteX482" fmla="*/ 32517 w 848702"/>
                  <a:gd name="connsiteY482" fmla="*/ 540774 h 1037303"/>
                  <a:gd name="connsiteX0" fmla="*/ 32517 w 848702"/>
                  <a:gd name="connsiteY0" fmla="*/ 540774 h 1037303"/>
                  <a:gd name="connsiteX1" fmla="*/ 20227 w 848702"/>
                  <a:gd name="connsiteY1" fmla="*/ 521110 h 1037303"/>
                  <a:gd name="connsiteX2" fmla="*/ 15310 w 848702"/>
                  <a:gd name="connsiteY2" fmla="*/ 516194 h 1037303"/>
                  <a:gd name="connsiteX3" fmla="*/ 7936 w 848702"/>
                  <a:gd name="connsiteY3" fmla="*/ 513736 h 1037303"/>
                  <a:gd name="connsiteX4" fmla="*/ 562 w 848702"/>
                  <a:gd name="connsiteY4" fmla="*/ 508820 h 1037303"/>
                  <a:gd name="connsiteX5" fmla="*/ 12852 w 848702"/>
                  <a:gd name="connsiteY5" fmla="*/ 511278 h 1037303"/>
                  <a:gd name="connsiteX6" fmla="*/ 25143 w 848702"/>
                  <a:gd name="connsiteY6" fmla="*/ 508820 h 1037303"/>
                  <a:gd name="connsiteX7" fmla="*/ 34975 w 848702"/>
                  <a:gd name="connsiteY7" fmla="*/ 494071 h 1037303"/>
                  <a:gd name="connsiteX8" fmla="*/ 42349 w 848702"/>
                  <a:gd name="connsiteY8" fmla="*/ 479323 h 1037303"/>
                  <a:gd name="connsiteX9" fmla="*/ 34975 w 848702"/>
                  <a:gd name="connsiteY9" fmla="*/ 464574 h 1037303"/>
                  <a:gd name="connsiteX10" fmla="*/ 42349 w 848702"/>
                  <a:gd name="connsiteY10" fmla="*/ 467032 h 1037303"/>
                  <a:gd name="connsiteX11" fmla="*/ 39891 w 848702"/>
                  <a:gd name="connsiteY11" fmla="*/ 457200 h 1037303"/>
                  <a:gd name="connsiteX12" fmla="*/ 34975 w 848702"/>
                  <a:gd name="connsiteY12" fmla="*/ 449826 h 1037303"/>
                  <a:gd name="connsiteX13" fmla="*/ 42349 w 848702"/>
                  <a:gd name="connsiteY13" fmla="*/ 444910 h 1037303"/>
                  <a:gd name="connsiteX14" fmla="*/ 47265 w 848702"/>
                  <a:gd name="connsiteY14" fmla="*/ 437536 h 1037303"/>
                  <a:gd name="connsiteX15" fmla="*/ 54639 w 848702"/>
                  <a:gd name="connsiteY15" fmla="*/ 435078 h 1037303"/>
                  <a:gd name="connsiteX16" fmla="*/ 74304 w 848702"/>
                  <a:gd name="connsiteY16" fmla="*/ 430161 h 1037303"/>
                  <a:gd name="connsiteX17" fmla="*/ 76762 w 848702"/>
                  <a:gd name="connsiteY17" fmla="*/ 405581 h 1037303"/>
                  <a:gd name="connsiteX18" fmla="*/ 81678 w 848702"/>
                  <a:gd name="connsiteY18" fmla="*/ 398207 h 1037303"/>
                  <a:gd name="connsiteX19" fmla="*/ 86594 w 848702"/>
                  <a:gd name="connsiteY19" fmla="*/ 371168 h 1037303"/>
                  <a:gd name="connsiteX20" fmla="*/ 91510 w 848702"/>
                  <a:gd name="connsiteY20" fmla="*/ 363794 h 1037303"/>
                  <a:gd name="connsiteX21" fmla="*/ 98885 w 848702"/>
                  <a:gd name="connsiteY21" fmla="*/ 351503 h 1037303"/>
                  <a:gd name="connsiteX22" fmla="*/ 123465 w 848702"/>
                  <a:gd name="connsiteY22" fmla="*/ 344129 h 1037303"/>
                  <a:gd name="connsiteX23" fmla="*/ 116091 w 848702"/>
                  <a:gd name="connsiteY23" fmla="*/ 314632 h 1037303"/>
                  <a:gd name="connsiteX24" fmla="*/ 108717 w 848702"/>
                  <a:gd name="connsiteY24" fmla="*/ 309716 h 1037303"/>
                  <a:gd name="connsiteX25" fmla="*/ 106259 w 848702"/>
                  <a:gd name="connsiteY25" fmla="*/ 302342 h 1037303"/>
                  <a:gd name="connsiteX26" fmla="*/ 103801 w 848702"/>
                  <a:gd name="connsiteY26" fmla="*/ 282678 h 1037303"/>
                  <a:gd name="connsiteX27" fmla="*/ 111175 w 848702"/>
                  <a:gd name="connsiteY27" fmla="*/ 280220 h 1037303"/>
                  <a:gd name="connsiteX28" fmla="*/ 138214 w 848702"/>
                  <a:gd name="connsiteY28" fmla="*/ 282678 h 1037303"/>
                  <a:gd name="connsiteX29" fmla="*/ 150504 w 848702"/>
                  <a:gd name="connsiteY29" fmla="*/ 272845 h 1037303"/>
                  <a:gd name="connsiteX30" fmla="*/ 157878 w 848702"/>
                  <a:gd name="connsiteY30" fmla="*/ 270387 h 1037303"/>
                  <a:gd name="connsiteX31" fmla="*/ 175085 w 848702"/>
                  <a:gd name="connsiteY31" fmla="*/ 265471 h 1037303"/>
                  <a:gd name="connsiteX32" fmla="*/ 192291 w 848702"/>
                  <a:gd name="connsiteY32" fmla="*/ 267929 h 1037303"/>
                  <a:gd name="connsiteX33" fmla="*/ 204581 w 848702"/>
                  <a:gd name="connsiteY33" fmla="*/ 255639 h 1037303"/>
                  <a:gd name="connsiteX34" fmla="*/ 209498 w 848702"/>
                  <a:gd name="connsiteY34" fmla="*/ 250723 h 1037303"/>
                  <a:gd name="connsiteX35" fmla="*/ 219330 w 848702"/>
                  <a:gd name="connsiteY35" fmla="*/ 235974 h 1037303"/>
                  <a:gd name="connsiteX36" fmla="*/ 231620 w 848702"/>
                  <a:gd name="connsiteY36" fmla="*/ 221226 h 1037303"/>
                  <a:gd name="connsiteX37" fmla="*/ 234078 w 848702"/>
                  <a:gd name="connsiteY37" fmla="*/ 208936 h 1037303"/>
                  <a:gd name="connsiteX38" fmla="*/ 263575 w 848702"/>
                  <a:gd name="connsiteY38" fmla="*/ 213852 h 1037303"/>
                  <a:gd name="connsiteX39" fmla="*/ 273407 w 848702"/>
                  <a:gd name="connsiteY39" fmla="*/ 201561 h 1037303"/>
                  <a:gd name="connsiteX40" fmla="*/ 280781 w 848702"/>
                  <a:gd name="connsiteY40" fmla="*/ 199103 h 1037303"/>
                  <a:gd name="connsiteX41" fmla="*/ 297988 w 848702"/>
                  <a:gd name="connsiteY41" fmla="*/ 201561 h 1037303"/>
                  <a:gd name="connsiteX42" fmla="*/ 312736 w 848702"/>
                  <a:gd name="connsiteY42" fmla="*/ 204020 h 1037303"/>
                  <a:gd name="connsiteX43" fmla="*/ 315194 w 848702"/>
                  <a:gd name="connsiteY43" fmla="*/ 196645 h 1037303"/>
                  <a:gd name="connsiteX44" fmla="*/ 329943 w 848702"/>
                  <a:gd name="connsiteY44" fmla="*/ 196645 h 1037303"/>
                  <a:gd name="connsiteX45" fmla="*/ 329943 w 848702"/>
                  <a:gd name="connsiteY45" fmla="*/ 164691 h 1037303"/>
                  <a:gd name="connsiteX46" fmla="*/ 334859 w 848702"/>
                  <a:gd name="connsiteY46" fmla="*/ 159774 h 1037303"/>
                  <a:gd name="connsiteX47" fmla="*/ 347149 w 848702"/>
                  <a:gd name="connsiteY47" fmla="*/ 162232 h 1037303"/>
                  <a:gd name="connsiteX48" fmla="*/ 366814 w 848702"/>
                  <a:gd name="connsiteY48" fmla="*/ 159774 h 1037303"/>
                  <a:gd name="connsiteX49" fmla="*/ 388936 w 848702"/>
                  <a:gd name="connsiteY49" fmla="*/ 157316 h 1037303"/>
                  <a:gd name="connsiteX50" fmla="*/ 396310 w 848702"/>
                  <a:gd name="connsiteY50" fmla="*/ 152400 h 1037303"/>
                  <a:gd name="connsiteX51" fmla="*/ 408601 w 848702"/>
                  <a:gd name="connsiteY51" fmla="*/ 142568 h 1037303"/>
                  <a:gd name="connsiteX52" fmla="*/ 447930 w 848702"/>
                  <a:gd name="connsiteY52" fmla="*/ 140110 h 1037303"/>
                  <a:gd name="connsiteX53" fmla="*/ 462678 w 848702"/>
                  <a:gd name="connsiteY53" fmla="*/ 130278 h 1037303"/>
                  <a:gd name="connsiteX54" fmla="*/ 472510 w 848702"/>
                  <a:gd name="connsiteY54" fmla="*/ 120445 h 1037303"/>
                  <a:gd name="connsiteX55" fmla="*/ 484801 w 848702"/>
                  <a:gd name="connsiteY55" fmla="*/ 110613 h 1037303"/>
                  <a:gd name="connsiteX56" fmla="*/ 492175 w 848702"/>
                  <a:gd name="connsiteY56" fmla="*/ 108155 h 1037303"/>
                  <a:gd name="connsiteX57" fmla="*/ 494633 w 848702"/>
                  <a:gd name="connsiteY57" fmla="*/ 100781 h 1037303"/>
                  <a:gd name="connsiteX58" fmla="*/ 497091 w 848702"/>
                  <a:gd name="connsiteY58" fmla="*/ 90949 h 1037303"/>
                  <a:gd name="connsiteX59" fmla="*/ 504465 w 848702"/>
                  <a:gd name="connsiteY59" fmla="*/ 93407 h 1037303"/>
                  <a:gd name="connsiteX60" fmla="*/ 519214 w 848702"/>
                  <a:gd name="connsiteY60" fmla="*/ 83574 h 1037303"/>
                  <a:gd name="connsiteX61" fmla="*/ 526588 w 848702"/>
                  <a:gd name="connsiteY61" fmla="*/ 78658 h 1037303"/>
                  <a:gd name="connsiteX62" fmla="*/ 533962 w 848702"/>
                  <a:gd name="connsiteY62" fmla="*/ 78658 h 1037303"/>
                  <a:gd name="connsiteX63" fmla="*/ 541336 w 848702"/>
                  <a:gd name="connsiteY63" fmla="*/ 76200 h 1037303"/>
                  <a:gd name="connsiteX64" fmla="*/ 548710 w 848702"/>
                  <a:gd name="connsiteY64" fmla="*/ 81116 h 1037303"/>
                  <a:gd name="connsiteX65" fmla="*/ 556085 w 848702"/>
                  <a:gd name="connsiteY65" fmla="*/ 83574 h 1037303"/>
                  <a:gd name="connsiteX66" fmla="*/ 558543 w 848702"/>
                  <a:gd name="connsiteY66" fmla="*/ 90949 h 1037303"/>
                  <a:gd name="connsiteX67" fmla="*/ 565917 w 848702"/>
                  <a:gd name="connsiteY67" fmla="*/ 88491 h 1037303"/>
                  <a:gd name="connsiteX68" fmla="*/ 578207 w 848702"/>
                  <a:gd name="connsiteY68" fmla="*/ 100781 h 1037303"/>
                  <a:gd name="connsiteX69" fmla="*/ 585581 w 848702"/>
                  <a:gd name="connsiteY69" fmla="*/ 105697 h 1037303"/>
                  <a:gd name="connsiteX70" fmla="*/ 592956 w 848702"/>
                  <a:gd name="connsiteY70" fmla="*/ 103239 h 1037303"/>
                  <a:gd name="connsiteX71" fmla="*/ 607704 w 848702"/>
                  <a:gd name="connsiteY71" fmla="*/ 108155 h 1037303"/>
                  <a:gd name="connsiteX72" fmla="*/ 615078 w 848702"/>
                  <a:gd name="connsiteY72" fmla="*/ 105697 h 1037303"/>
                  <a:gd name="connsiteX73" fmla="*/ 627368 w 848702"/>
                  <a:gd name="connsiteY73" fmla="*/ 110613 h 1037303"/>
                  <a:gd name="connsiteX74" fmla="*/ 654407 w 848702"/>
                  <a:gd name="connsiteY74" fmla="*/ 115529 h 1037303"/>
                  <a:gd name="connsiteX75" fmla="*/ 661781 w 848702"/>
                  <a:gd name="connsiteY75" fmla="*/ 120445 h 1037303"/>
                  <a:gd name="connsiteX76" fmla="*/ 669156 w 848702"/>
                  <a:gd name="connsiteY76" fmla="*/ 117987 h 1037303"/>
                  <a:gd name="connsiteX77" fmla="*/ 678988 w 848702"/>
                  <a:gd name="connsiteY77" fmla="*/ 110613 h 1037303"/>
                  <a:gd name="connsiteX78" fmla="*/ 691278 w 848702"/>
                  <a:gd name="connsiteY78" fmla="*/ 108155 h 1037303"/>
                  <a:gd name="connsiteX79" fmla="*/ 706027 w 848702"/>
                  <a:gd name="connsiteY79" fmla="*/ 100781 h 1037303"/>
                  <a:gd name="connsiteX80" fmla="*/ 718317 w 848702"/>
                  <a:gd name="connsiteY80" fmla="*/ 103239 h 1037303"/>
                  <a:gd name="connsiteX81" fmla="*/ 725691 w 848702"/>
                  <a:gd name="connsiteY81" fmla="*/ 105697 h 1037303"/>
                  <a:gd name="connsiteX82" fmla="*/ 728149 w 848702"/>
                  <a:gd name="connsiteY82" fmla="*/ 98323 h 1037303"/>
                  <a:gd name="connsiteX83" fmla="*/ 742898 w 848702"/>
                  <a:gd name="connsiteY83" fmla="*/ 90949 h 1037303"/>
                  <a:gd name="connsiteX84" fmla="*/ 745356 w 848702"/>
                  <a:gd name="connsiteY84" fmla="*/ 83574 h 1037303"/>
                  <a:gd name="connsiteX85" fmla="*/ 750272 w 848702"/>
                  <a:gd name="connsiteY85" fmla="*/ 88491 h 1037303"/>
                  <a:gd name="connsiteX86" fmla="*/ 757646 w 848702"/>
                  <a:gd name="connsiteY86" fmla="*/ 93407 h 1037303"/>
                  <a:gd name="connsiteX87" fmla="*/ 769936 w 848702"/>
                  <a:gd name="connsiteY87" fmla="*/ 90949 h 1037303"/>
                  <a:gd name="connsiteX88" fmla="*/ 777310 w 848702"/>
                  <a:gd name="connsiteY88" fmla="*/ 73742 h 1037303"/>
                  <a:gd name="connsiteX89" fmla="*/ 782227 w 848702"/>
                  <a:gd name="connsiteY89" fmla="*/ 68826 h 1037303"/>
                  <a:gd name="connsiteX90" fmla="*/ 779768 w 848702"/>
                  <a:gd name="connsiteY90" fmla="*/ 61452 h 1037303"/>
                  <a:gd name="connsiteX91" fmla="*/ 777310 w 848702"/>
                  <a:gd name="connsiteY91" fmla="*/ 51620 h 1037303"/>
                  <a:gd name="connsiteX92" fmla="*/ 772394 w 848702"/>
                  <a:gd name="connsiteY92" fmla="*/ 46703 h 1037303"/>
                  <a:gd name="connsiteX93" fmla="*/ 769936 w 848702"/>
                  <a:gd name="connsiteY93" fmla="*/ 39329 h 1037303"/>
                  <a:gd name="connsiteX94" fmla="*/ 767478 w 848702"/>
                  <a:gd name="connsiteY94" fmla="*/ 27039 h 1037303"/>
                  <a:gd name="connsiteX95" fmla="*/ 760104 w 848702"/>
                  <a:gd name="connsiteY95" fmla="*/ 24581 h 1037303"/>
                  <a:gd name="connsiteX96" fmla="*/ 757646 w 848702"/>
                  <a:gd name="connsiteY96" fmla="*/ 9832 h 1037303"/>
                  <a:gd name="connsiteX97" fmla="*/ 765020 w 848702"/>
                  <a:gd name="connsiteY97" fmla="*/ 4916 h 1037303"/>
                  <a:gd name="connsiteX98" fmla="*/ 779768 w 848702"/>
                  <a:gd name="connsiteY98" fmla="*/ 0 h 1037303"/>
                  <a:gd name="connsiteX99" fmla="*/ 804349 w 848702"/>
                  <a:gd name="connsiteY99" fmla="*/ 2458 h 1037303"/>
                  <a:gd name="connsiteX100" fmla="*/ 819098 w 848702"/>
                  <a:gd name="connsiteY100" fmla="*/ 9832 h 1037303"/>
                  <a:gd name="connsiteX101" fmla="*/ 826472 w 848702"/>
                  <a:gd name="connsiteY101" fmla="*/ 12291 h 1037303"/>
                  <a:gd name="connsiteX102" fmla="*/ 841220 w 848702"/>
                  <a:gd name="connsiteY102" fmla="*/ 27039 h 1037303"/>
                  <a:gd name="connsiteX103" fmla="*/ 843678 w 848702"/>
                  <a:gd name="connsiteY103" fmla="*/ 34413 h 1037303"/>
                  <a:gd name="connsiteX104" fmla="*/ 848594 w 848702"/>
                  <a:gd name="connsiteY104" fmla="*/ 41787 h 1037303"/>
                  <a:gd name="connsiteX105" fmla="*/ 843678 w 848702"/>
                  <a:gd name="connsiteY105" fmla="*/ 71284 h 1037303"/>
                  <a:gd name="connsiteX106" fmla="*/ 828930 w 848702"/>
                  <a:gd name="connsiteY106" fmla="*/ 68826 h 1037303"/>
                  <a:gd name="connsiteX107" fmla="*/ 826472 w 848702"/>
                  <a:gd name="connsiteY107" fmla="*/ 76200 h 1037303"/>
                  <a:gd name="connsiteX108" fmla="*/ 816639 w 848702"/>
                  <a:gd name="connsiteY108" fmla="*/ 78658 h 1037303"/>
                  <a:gd name="connsiteX109" fmla="*/ 811723 w 848702"/>
                  <a:gd name="connsiteY109" fmla="*/ 86032 h 1037303"/>
                  <a:gd name="connsiteX110" fmla="*/ 814181 w 848702"/>
                  <a:gd name="connsiteY110" fmla="*/ 95865 h 1037303"/>
                  <a:gd name="connsiteX111" fmla="*/ 816639 w 848702"/>
                  <a:gd name="connsiteY111" fmla="*/ 103239 h 1037303"/>
                  <a:gd name="connsiteX112" fmla="*/ 821556 w 848702"/>
                  <a:gd name="connsiteY112" fmla="*/ 108155 h 1037303"/>
                  <a:gd name="connsiteX113" fmla="*/ 826472 w 848702"/>
                  <a:gd name="connsiteY113" fmla="*/ 115529 h 1037303"/>
                  <a:gd name="connsiteX114" fmla="*/ 821556 w 848702"/>
                  <a:gd name="connsiteY114" fmla="*/ 125361 h 1037303"/>
                  <a:gd name="connsiteX115" fmla="*/ 816639 w 848702"/>
                  <a:gd name="connsiteY115" fmla="*/ 130278 h 1037303"/>
                  <a:gd name="connsiteX116" fmla="*/ 819098 w 848702"/>
                  <a:gd name="connsiteY116" fmla="*/ 137652 h 1037303"/>
                  <a:gd name="connsiteX117" fmla="*/ 819098 w 848702"/>
                  <a:gd name="connsiteY117" fmla="*/ 152400 h 1037303"/>
                  <a:gd name="connsiteX118" fmla="*/ 799433 w 848702"/>
                  <a:gd name="connsiteY118" fmla="*/ 154858 h 1037303"/>
                  <a:gd name="connsiteX119" fmla="*/ 794517 w 848702"/>
                  <a:gd name="connsiteY119" fmla="*/ 162232 h 1037303"/>
                  <a:gd name="connsiteX120" fmla="*/ 801891 w 848702"/>
                  <a:gd name="connsiteY120" fmla="*/ 167149 h 1037303"/>
                  <a:gd name="connsiteX121" fmla="*/ 796975 w 848702"/>
                  <a:gd name="connsiteY121" fmla="*/ 174523 h 1037303"/>
                  <a:gd name="connsiteX122" fmla="*/ 792059 w 848702"/>
                  <a:gd name="connsiteY122" fmla="*/ 184355 h 1037303"/>
                  <a:gd name="connsiteX123" fmla="*/ 787143 w 848702"/>
                  <a:gd name="connsiteY123" fmla="*/ 176981 h 1037303"/>
                  <a:gd name="connsiteX124" fmla="*/ 772394 w 848702"/>
                  <a:gd name="connsiteY124" fmla="*/ 169607 h 1037303"/>
                  <a:gd name="connsiteX125" fmla="*/ 765020 w 848702"/>
                  <a:gd name="connsiteY125" fmla="*/ 164691 h 1037303"/>
                  <a:gd name="connsiteX126" fmla="*/ 715859 w 848702"/>
                  <a:gd name="connsiteY126" fmla="*/ 159774 h 1037303"/>
                  <a:gd name="connsiteX127" fmla="*/ 701110 w 848702"/>
                  <a:gd name="connsiteY127" fmla="*/ 152400 h 1037303"/>
                  <a:gd name="connsiteX128" fmla="*/ 693736 w 848702"/>
                  <a:gd name="connsiteY128" fmla="*/ 154858 h 1037303"/>
                  <a:gd name="connsiteX129" fmla="*/ 678988 w 848702"/>
                  <a:gd name="connsiteY129" fmla="*/ 157316 h 1037303"/>
                  <a:gd name="connsiteX130" fmla="*/ 669156 w 848702"/>
                  <a:gd name="connsiteY130" fmla="*/ 154858 h 1037303"/>
                  <a:gd name="connsiteX131" fmla="*/ 661781 w 848702"/>
                  <a:gd name="connsiteY131" fmla="*/ 152400 h 1037303"/>
                  <a:gd name="connsiteX132" fmla="*/ 654407 w 848702"/>
                  <a:gd name="connsiteY132" fmla="*/ 159774 h 1037303"/>
                  <a:gd name="connsiteX133" fmla="*/ 637201 w 848702"/>
                  <a:gd name="connsiteY133" fmla="*/ 167149 h 1037303"/>
                  <a:gd name="connsiteX134" fmla="*/ 632285 w 848702"/>
                  <a:gd name="connsiteY134" fmla="*/ 184355 h 1037303"/>
                  <a:gd name="connsiteX135" fmla="*/ 624910 w 848702"/>
                  <a:gd name="connsiteY135" fmla="*/ 186813 h 1037303"/>
                  <a:gd name="connsiteX136" fmla="*/ 602788 w 848702"/>
                  <a:gd name="connsiteY136" fmla="*/ 199103 h 1037303"/>
                  <a:gd name="connsiteX137" fmla="*/ 553627 w 848702"/>
                  <a:gd name="connsiteY137" fmla="*/ 196645 h 1037303"/>
                  <a:gd name="connsiteX138" fmla="*/ 548710 w 848702"/>
                  <a:gd name="connsiteY138" fmla="*/ 201561 h 1037303"/>
                  <a:gd name="connsiteX139" fmla="*/ 543794 w 848702"/>
                  <a:gd name="connsiteY139" fmla="*/ 216310 h 1037303"/>
                  <a:gd name="connsiteX140" fmla="*/ 538878 w 848702"/>
                  <a:gd name="connsiteY140" fmla="*/ 228600 h 1037303"/>
                  <a:gd name="connsiteX141" fmla="*/ 506923 w 848702"/>
                  <a:gd name="connsiteY141" fmla="*/ 238432 h 1037303"/>
                  <a:gd name="connsiteX142" fmla="*/ 497091 w 848702"/>
                  <a:gd name="connsiteY142" fmla="*/ 240891 h 1037303"/>
                  <a:gd name="connsiteX143" fmla="*/ 479885 w 848702"/>
                  <a:gd name="connsiteY143" fmla="*/ 243349 h 1037303"/>
                  <a:gd name="connsiteX144" fmla="*/ 482343 w 848702"/>
                  <a:gd name="connsiteY144" fmla="*/ 258097 h 1037303"/>
                  <a:gd name="connsiteX145" fmla="*/ 487259 w 848702"/>
                  <a:gd name="connsiteY145" fmla="*/ 265471 h 1037303"/>
                  <a:gd name="connsiteX146" fmla="*/ 484801 w 848702"/>
                  <a:gd name="connsiteY146" fmla="*/ 275303 h 1037303"/>
                  <a:gd name="connsiteX147" fmla="*/ 497091 w 848702"/>
                  <a:gd name="connsiteY147" fmla="*/ 287594 h 1037303"/>
                  <a:gd name="connsiteX148" fmla="*/ 570833 w 848702"/>
                  <a:gd name="connsiteY148" fmla="*/ 299884 h 1037303"/>
                  <a:gd name="connsiteX149" fmla="*/ 573291 w 848702"/>
                  <a:gd name="connsiteY149" fmla="*/ 307258 h 1037303"/>
                  <a:gd name="connsiteX150" fmla="*/ 585581 w 848702"/>
                  <a:gd name="connsiteY150" fmla="*/ 317091 h 1037303"/>
                  <a:gd name="connsiteX151" fmla="*/ 595414 w 848702"/>
                  <a:gd name="connsiteY151" fmla="*/ 329381 h 1037303"/>
                  <a:gd name="connsiteX152" fmla="*/ 588039 w 848702"/>
                  <a:gd name="connsiteY152" fmla="*/ 331839 h 1037303"/>
                  <a:gd name="connsiteX153" fmla="*/ 580665 w 848702"/>
                  <a:gd name="connsiteY153" fmla="*/ 326923 h 1037303"/>
                  <a:gd name="connsiteX154" fmla="*/ 570833 w 848702"/>
                  <a:gd name="connsiteY154" fmla="*/ 324465 h 1037303"/>
                  <a:gd name="connsiteX155" fmla="*/ 553627 w 848702"/>
                  <a:gd name="connsiteY155" fmla="*/ 319549 h 1037303"/>
                  <a:gd name="connsiteX156" fmla="*/ 546252 w 848702"/>
                  <a:gd name="connsiteY156" fmla="*/ 314632 h 1037303"/>
                  <a:gd name="connsiteX157" fmla="*/ 538878 w 848702"/>
                  <a:gd name="connsiteY157" fmla="*/ 307258 h 1037303"/>
                  <a:gd name="connsiteX158" fmla="*/ 504465 w 848702"/>
                  <a:gd name="connsiteY158" fmla="*/ 309716 h 1037303"/>
                  <a:gd name="connsiteX159" fmla="*/ 502007 w 848702"/>
                  <a:gd name="connsiteY159" fmla="*/ 322007 h 1037303"/>
                  <a:gd name="connsiteX160" fmla="*/ 502007 w 848702"/>
                  <a:gd name="connsiteY160" fmla="*/ 339213 h 1037303"/>
                  <a:gd name="connsiteX161" fmla="*/ 514298 w 848702"/>
                  <a:gd name="connsiteY161" fmla="*/ 341671 h 1037303"/>
                  <a:gd name="connsiteX162" fmla="*/ 529046 w 848702"/>
                  <a:gd name="connsiteY162" fmla="*/ 349045 h 1037303"/>
                  <a:gd name="connsiteX163" fmla="*/ 536420 w 848702"/>
                  <a:gd name="connsiteY163" fmla="*/ 351503 h 1037303"/>
                  <a:gd name="connsiteX164" fmla="*/ 538878 w 848702"/>
                  <a:gd name="connsiteY164" fmla="*/ 381000 h 1037303"/>
                  <a:gd name="connsiteX165" fmla="*/ 526588 w 848702"/>
                  <a:gd name="connsiteY165" fmla="*/ 378542 h 1037303"/>
                  <a:gd name="connsiteX166" fmla="*/ 521672 w 848702"/>
                  <a:gd name="connsiteY166" fmla="*/ 371168 h 1037303"/>
                  <a:gd name="connsiteX167" fmla="*/ 514298 w 848702"/>
                  <a:gd name="connsiteY167" fmla="*/ 363794 h 1037303"/>
                  <a:gd name="connsiteX168" fmla="*/ 509381 w 848702"/>
                  <a:gd name="connsiteY168" fmla="*/ 356420 h 1037303"/>
                  <a:gd name="connsiteX169" fmla="*/ 489717 w 848702"/>
                  <a:gd name="connsiteY169" fmla="*/ 341671 h 1037303"/>
                  <a:gd name="connsiteX170" fmla="*/ 474968 w 848702"/>
                  <a:gd name="connsiteY170" fmla="*/ 331839 h 1037303"/>
                  <a:gd name="connsiteX171" fmla="*/ 467594 w 848702"/>
                  <a:gd name="connsiteY171" fmla="*/ 329381 h 1037303"/>
                  <a:gd name="connsiteX172" fmla="*/ 460220 w 848702"/>
                  <a:gd name="connsiteY172" fmla="*/ 331839 h 1037303"/>
                  <a:gd name="connsiteX173" fmla="*/ 450388 w 848702"/>
                  <a:gd name="connsiteY173" fmla="*/ 334297 h 1037303"/>
                  <a:gd name="connsiteX174" fmla="*/ 445472 w 848702"/>
                  <a:gd name="connsiteY174" fmla="*/ 341671 h 1037303"/>
                  <a:gd name="connsiteX175" fmla="*/ 447930 w 848702"/>
                  <a:gd name="connsiteY175" fmla="*/ 358878 h 1037303"/>
                  <a:gd name="connsiteX176" fmla="*/ 455304 w 848702"/>
                  <a:gd name="connsiteY176" fmla="*/ 368710 h 1037303"/>
                  <a:gd name="connsiteX177" fmla="*/ 470052 w 848702"/>
                  <a:gd name="connsiteY177" fmla="*/ 378542 h 1037303"/>
                  <a:gd name="connsiteX178" fmla="*/ 487259 w 848702"/>
                  <a:gd name="connsiteY178" fmla="*/ 383458 h 1037303"/>
                  <a:gd name="connsiteX179" fmla="*/ 494633 w 848702"/>
                  <a:gd name="connsiteY179" fmla="*/ 385916 h 1037303"/>
                  <a:gd name="connsiteX180" fmla="*/ 497091 w 848702"/>
                  <a:gd name="connsiteY180" fmla="*/ 393291 h 1037303"/>
                  <a:gd name="connsiteX181" fmla="*/ 477427 w 848702"/>
                  <a:gd name="connsiteY181" fmla="*/ 388374 h 1037303"/>
                  <a:gd name="connsiteX182" fmla="*/ 455304 w 848702"/>
                  <a:gd name="connsiteY182" fmla="*/ 385916 h 1037303"/>
                  <a:gd name="connsiteX183" fmla="*/ 440556 w 848702"/>
                  <a:gd name="connsiteY183" fmla="*/ 371168 h 1037303"/>
                  <a:gd name="connsiteX184" fmla="*/ 435639 w 848702"/>
                  <a:gd name="connsiteY184" fmla="*/ 366252 h 1037303"/>
                  <a:gd name="connsiteX185" fmla="*/ 428265 w 848702"/>
                  <a:gd name="connsiteY185" fmla="*/ 363794 h 1037303"/>
                  <a:gd name="connsiteX186" fmla="*/ 420891 w 848702"/>
                  <a:gd name="connsiteY186" fmla="*/ 351503 h 1037303"/>
                  <a:gd name="connsiteX187" fmla="*/ 413517 w 848702"/>
                  <a:gd name="connsiteY187" fmla="*/ 344129 h 1037303"/>
                  <a:gd name="connsiteX188" fmla="*/ 411059 w 848702"/>
                  <a:gd name="connsiteY188" fmla="*/ 336755 h 1037303"/>
                  <a:gd name="connsiteX189" fmla="*/ 403685 w 848702"/>
                  <a:gd name="connsiteY189" fmla="*/ 331839 h 1037303"/>
                  <a:gd name="connsiteX190" fmla="*/ 361898 w 848702"/>
                  <a:gd name="connsiteY190" fmla="*/ 324465 h 1037303"/>
                  <a:gd name="connsiteX191" fmla="*/ 364356 w 848702"/>
                  <a:gd name="connsiteY191" fmla="*/ 299884 h 1037303"/>
                  <a:gd name="connsiteX192" fmla="*/ 371730 w 848702"/>
                  <a:gd name="connsiteY192" fmla="*/ 297426 h 1037303"/>
                  <a:gd name="connsiteX193" fmla="*/ 376646 w 848702"/>
                  <a:gd name="connsiteY193" fmla="*/ 290052 h 1037303"/>
                  <a:gd name="connsiteX194" fmla="*/ 371730 w 848702"/>
                  <a:gd name="connsiteY194" fmla="*/ 282678 h 1037303"/>
                  <a:gd name="connsiteX195" fmla="*/ 356981 w 848702"/>
                  <a:gd name="connsiteY195" fmla="*/ 285136 h 1037303"/>
                  <a:gd name="connsiteX196" fmla="*/ 361898 w 848702"/>
                  <a:gd name="connsiteY196" fmla="*/ 299884 h 1037303"/>
                  <a:gd name="connsiteX197" fmla="*/ 356981 w 848702"/>
                  <a:gd name="connsiteY197" fmla="*/ 304800 h 1037303"/>
                  <a:gd name="connsiteX198" fmla="*/ 347149 w 848702"/>
                  <a:gd name="connsiteY198" fmla="*/ 307258 h 1037303"/>
                  <a:gd name="connsiteX199" fmla="*/ 339775 w 848702"/>
                  <a:gd name="connsiteY199" fmla="*/ 309716 h 1037303"/>
                  <a:gd name="connsiteX200" fmla="*/ 332401 w 848702"/>
                  <a:gd name="connsiteY200" fmla="*/ 314632 h 1037303"/>
                  <a:gd name="connsiteX201" fmla="*/ 334859 w 848702"/>
                  <a:gd name="connsiteY201" fmla="*/ 329381 h 1037303"/>
                  <a:gd name="connsiteX202" fmla="*/ 337317 w 848702"/>
                  <a:gd name="connsiteY202" fmla="*/ 336755 h 1037303"/>
                  <a:gd name="connsiteX203" fmla="*/ 332401 w 848702"/>
                  <a:gd name="connsiteY203" fmla="*/ 381000 h 1037303"/>
                  <a:gd name="connsiteX204" fmla="*/ 334859 w 848702"/>
                  <a:gd name="connsiteY204" fmla="*/ 390832 h 1037303"/>
                  <a:gd name="connsiteX205" fmla="*/ 342233 w 848702"/>
                  <a:gd name="connsiteY205" fmla="*/ 395749 h 1037303"/>
                  <a:gd name="connsiteX206" fmla="*/ 354523 w 848702"/>
                  <a:gd name="connsiteY206" fmla="*/ 408039 h 1037303"/>
                  <a:gd name="connsiteX207" fmla="*/ 364356 w 848702"/>
                  <a:gd name="connsiteY207" fmla="*/ 422787 h 1037303"/>
                  <a:gd name="connsiteX208" fmla="*/ 366814 w 848702"/>
                  <a:gd name="connsiteY208" fmla="*/ 430161 h 1037303"/>
                  <a:gd name="connsiteX209" fmla="*/ 381562 w 848702"/>
                  <a:gd name="connsiteY209" fmla="*/ 439994 h 1037303"/>
                  <a:gd name="connsiteX210" fmla="*/ 398768 w 848702"/>
                  <a:gd name="connsiteY210" fmla="*/ 457200 h 1037303"/>
                  <a:gd name="connsiteX211" fmla="*/ 406143 w 848702"/>
                  <a:gd name="connsiteY211" fmla="*/ 471949 h 1037303"/>
                  <a:gd name="connsiteX212" fmla="*/ 411059 w 848702"/>
                  <a:gd name="connsiteY212" fmla="*/ 479323 h 1037303"/>
                  <a:gd name="connsiteX213" fmla="*/ 418433 w 848702"/>
                  <a:gd name="connsiteY213" fmla="*/ 494071 h 1037303"/>
                  <a:gd name="connsiteX214" fmla="*/ 440556 w 848702"/>
                  <a:gd name="connsiteY214" fmla="*/ 496529 h 1037303"/>
                  <a:gd name="connsiteX215" fmla="*/ 455304 w 848702"/>
                  <a:gd name="connsiteY215" fmla="*/ 508820 h 1037303"/>
                  <a:gd name="connsiteX216" fmla="*/ 457762 w 848702"/>
                  <a:gd name="connsiteY216" fmla="*/ 516194 h 1037303"/>
                  <a:gd name="connsiteX217" fmla="*/ 455304 w 848702"/>
                  <a:gd name="connsiteY217" fmla="*/ 533400 h 1037303"/>
                  <a:gd name="connsiteX218" fmla="*/ 447930 w 848702"/>
                  <a:gd name="connsiteY218" fmla="*/ 538316 h 1037303"/>
                  <a:gd name="connsiteX219" fmla="*/ 445472 w 848702"/>
                  <a:gd name="connsiteY219" fmla="*/ 523568 h 1037303"/>
                  <a:gd name="connsiteX220" fmla="*/ 435639 w 848702"/>
                  <a:gd name="connsiteY220" fmla="*/ 511278 h 1037303"/>
                  <a:gd name="connsiteX221" fmla="*/ 406143 w 848702"/>
                  <a:gd name="connsiteY221" fmla="*/ 513736 h 1037303"/>
                  <a:gd name="connsiteX222" fmla="*/ 391394 w 848702"/>
                  <a:gd name="connsiteY222" fmla="*/ 523568 h 1037303"/>
                  <a:gd name="connsiteX223" fmla="*/ 396310 w 848702"/>
                  <a:gd name="connsiteY223" fmla="*/ 538316 h 1037303"/>
                  <a:gd name="connsiteX224" fmla="*/ 403685 w 848702"/>
                  <a:gd name="connsiteY224" fmla="*/ 543232 h 1037303"/>
                  <a:gd name="connsiteX225" fmla="*/ 413517 w 848702"/>
                  <a:gd name="connsiteY225" fmla="*/ 545691 h 1037303"/>
                  <a:gd name="connsiteX226" fmla="*/ 420891 w 848702"/>
                  <a:gd name="connsiteY226" fmla="*/ 548149 h 1037303"/>
                  <a:gd name="connsiteX227" fmla="*/ 428265 w 848702"/>
                  <a:gd name="connsiteY227" fmla="*/ 557981 h 1037303"/>
                  <a:gd name="connsiteX228" fmla="*/ 435639 w 848702"/>
                  <a:gd name="connsiteY228" fmla="*/ 560439 h 1037303"/>
                  <a:gd name="connsiteX229" fmla="*/ 433181 w 848702"/>
                  <a:gd name="connsiteY229" fmla="*/ 575187 h 1037303"/>
                  <a:gd name="connsiteX230" fmla="*/ 418433 w 848702"/>
                  <a:gd name="connsiteY230" fmla="*/ 580103 h 1037303"/>
                  <a:gd name="connsiteX231" fmla="*/ 411059 w 848702"/>
                  <a:gd name="connsiteY231" fmla="*/ 585020 h 1037303"/>
                  <a:gd name="connsiteX232" fmla="*/ 391394 w 848702"/>
                  <a:gd name="connsiteY232" fmla="*/ 589936 h 1037303"/>
                  <a:gd name="connsiteX233" fmla="*/ 371730 w 848702"/>
                  <a:gd name="connsiteY233" fmla="*/ 594852 h 1037303"/>
                  <a:gd name="connsiteX234" fmla="*/ 369272 w 848702"/>
                  <a:gd name="connsiteY234" fmla="*/ 602226 h 1037303"/>
                  <a:gd name="connsiteX235" fmla="*/ 393852 w 848702"/>
                  <a:gd name="connsiteY235" fmla="*/ 612058 h 1037303"/>
                  <a:gd name="connsiteX236" fmla="*/ 403685 w 848702"/>
                  <a:gd name="connsiteY236" fmla="*/ 614516 h 1037303"/>
                  <a:gd name="connsiteX237" fmla="*/ 411059 w 848702"/>
                  <a:gd name="connsiteY237" fmla="*/ 616974 h 1037303"/>
                  <a:gd name="connsiteX238" fmla="*/ 428265 w 848702"/>
                  <a:gd name="connsiteY238" fmla="*/ 619432 h 1037303"/>
                  <a:gd name="connsiteX239" fmla="*/ 435639 w 848702"/>
                  <a:gd name="connsiteY239" fmla="*/ 634181 h 1037303"/>
                  <a:gd name="connsiteX240" fmla="*/ 443014 w 848702"/>
                  <a:gd name="connsiteY240" fmla="*/ 636639 h 1037303"/>
                  <a:gd name="connsiteX241" fmla="*/ 474968 w 848702"/>
                  <a:gd name="connsiteY241" fmla="*/ 644013 h 1037303"/>
                  <a:gd name="connsiteX242" fmla="*/ 514298 w 848702"/>
                  <a:gd name="connsiteY242" fmla="*/ 648929 h 1037303"/>
                  <a:gd name="connsiteX243" fmla="*/ 516756 w 848702"/>
                  <a:gd name="connsiteY243" fmla="*/ 639097 h 1037303"/>
                  <a:gd name="connsiteX244" fmla="*/ 514298 w 848702"/>
                  <a:gd name="connsiteY244" fmla="*/ 626807 h 1037303"/>
                  <a:gd name="connsiteX245" fmla="*/ 499549 w 848702"/>
                  <a:gd name="connsiteY245" fmla="*/ 621891 h 1037303"/>
                  <a:gd name="connsiteX246" fmla="*/ 494633 w 848702"/>
                  <a:gd name="connsiteY246" fmla="*/ 616974 h 1037303"/>
                  <a:gd name="connsiteX247" fmla="*/ 484801 w 848702"/>
                  <a:gd name="connsiteY247" fmla="*/ 602226 h 1037303"/>
                  <a:gd name="connsiteX248" fmla="*/ 474968 w 848702"/>
                  <a:gd name="connsiteY248" fmla="*/ 599768 h 1037303"/>
                  <a:gd name="connsiteX249" fmla="*/ 467594 w 848702"/>
                  <a:gd name="connsiteY249" fmla="*/ 594852 h 1037303"/>
                  <a:gd name="connsiteX250" fmla="*/ 440556 w 848702"/>
                  <a:gd name="connsiteY250" fmla="*/ 592394 h 1037303"/>
                  <a:gd name="connsiteX251" fmla="*/ 430723 w 848702"/>
                  <a:gd name="connsiteY251" fmla="*/ 589936 h 1037303"/>
                  <a:gd name="connsiteX252" fmla="*/ 423349 w 848702"/>
                  <a:gd name="connsiteY252" fmla="*/ 585020 h 1037303"/>
                  <a:gd name="connsiteX253" fmla="*/ 420891 w 848702"/>
                  <a:gd name="connsiteY253" fmla="*/ 592394 h 1037303"/>
                  <a:gd name="connsiteX254" fmla="*/ 433181 w 848702"/>
                  <a:gd name="connsiteY254" fmla="*/ 589936 h 1037303"/>
                  <a:gd name="connsiteX255" fmla="*/ 435639 w 848702"/>
                  <a:gd name="connsiteY255" fmla="*/ 565355 h 1037303"/>
                  <a:gd name="connsiteX256" fmla="*/ 450388 w 848702"/>
                  <a:gd name="connsiteY256" fmla="*/ 560439 h 1037303"/>
                  <a:gd name="connsiteX257" fmla="*/ 457762 w 848702"/>
                  <a:gd name="connsiteY257" fmla="*/ 557981 h 1037303"/>
                  <a:gd name="connsiteX258" fmla="*/ 472510 w 848702"/>
                  <a:gd name="connsiteY258" fmla="*/ 567813 h 1037303"/>
                  <a:gd name="connsiteX259" fmla="*/ 479885 w 848702"/>
                  <a:gd name="connsiteY259" fmla="*/ 570271 h 1037303"/>
                  <a:gd name="connsiteX260" fmla="*/ 489717 w 848702"/>
                  <a:gd name="connsiteY260" fmla="*/ 582561 h 1037303"/>
                  <a:gd name="connsiteX261" fmla="*/ 502007 w 848702"/>
                  <a:gd name="connsiteY261" fmla="*/ 592394 h 1037303"/>
                  <a:gd name="connsiteX262" fmla="*/ 570833 w 848702"/>
                  <a:gd name="connsiteY262" fmla="*/ 602226 h 1037303"/>
                  <a:gd name="connsiteX263" fmla="*/ 583123 w 848702"/>
                  <a:gd name="connsiteY263" fmla="*/ 604684 h 1037303"/>
                  <a:gd name="connsiteX264" fmla="*/ 585581 w 848702"/>
                  <a:gd name="connsiteY264" fmla="*/ 619432 h 1037303"/>
                  <a:gd name="connsiteX265" fmla="*/ 588039 w 848702"/>
                  <a:gd name="connsiteY265" fmla="*/ 626807 h 1037303"/>
                  <a:gd name="connsiteX266" fmla="*/ 592956 w 848702"/>
                  <a:gd name="connsiteY266" fmla="*/ 631723 h 1037303"/>
                  <a:gd name="connsiteX267" fmla="*/ 607704 w 848702"/>
                  <a:gd name="connsiteY267" fmla="*/ 641555 h 1037303"/>
                  <a:gd name="connsiteX268" fmla="*/ 617536 w 848702"/>
                  <a:gd name="connsiteY268" fmla="*/ 663678 h 1037303"/>
                  <a:gd name="connsiteX269" fmla="*/ 619994 w 848702"/>
                  <a:gd name="connsiteY269" fmla="*/ 671052 h 1037303"/>
                  <a:gd name="connsiteX270" fmla="*/ 629827 w 848702"/>
                  <a:gd name="connsiteY270" fmla="*/ 680884 h 1037303"/>
                  <a:gd name="connsiteX271" fmla="*/ 656865 w 848702"/>
                  <a:gd name="connsiteY271" fmla="*/ 683342 h 1037303"/>
                  <a:gd name="connsiteX272" fmla="*/ 674072 w 848702"/>
                  <a:gd name="connsiteY272" fmla="*/ 695632 h 1037303"/>
                  <a:gd name="connsiteX273" fmla="*/ 671614 w 848702"/>
                  <a:gd name="connsiteY273" fmla="*/ 707923 h 1037303"/>
                  <a:gd name="connsiteX274" fmla="*/ 656865 w 848702"/>
                  <a:gd name="connsiteY274" fmla="*/ 715297 h 1037303"/>
                  <a:gd name="connsiteX275" fmla="*/ 649491 w 848702"/>
                  <a:gd name="connsiteY275" fmla="*/ 710381 h 1037303"/>
                  <a:gd name="connsiteX276" fmla="*/ 642117 w 848702"/>
                  <a:gd name="connsiteY276" fmla="*/ 703007 h 1037303"/>
                  <a:gd name="connsiteX277" fmla="*/ 634743 w 848702"/>
                  <a:gd name="connsiteY277" fmla="*/ 700549 h 1037303"/>
                  <a:gd name="connsiteX278" fmla="*/ 619994 w 848702"/>
                  <a:gd name="connsiteY278" fmla="*/ 693174 h 1037303"/>
                  <a:gd name="connsiteX279" fmla="*/ 612620 w 848702"/>
                  <a:gd name="connsiteY279" fmla="*/ 688258 h 1037303"/>
                  <a:gd name="connsiteX280" fmla="*/ 597872 w 848702"/>
                  <a:gd name="connsiteY280" fmla="*/ 680884 h 1037303"/>
                  <a:gd name="connsiteX281" fmla="*/ 595414 w 848702"/>
                  <a:gd name="connsiteY281" fmla="*/ 671052 h 1037303"/>
                  <a:gd name="connsiteX282" fmla="*/ 575749 w 848702"/>
                  <a:gd name="connsiteY282" fmla="*/ 656303 h 1037303"/>
                  <a:gd name="connsiteX283" fmla="*/ 568375 w 848702"/>
                  <a:gd name="connsiteY283" fmla="*/ 648929 h 1037303"/>
                  <a:gd name="connsiteX284" fmla="*/ 558543 w 848702"/>
                  <a:gd name="connsiteY284" fmla="*/ 646471 h 1037303"/>
                  <a:gd name="connsiteX285" fmla="*/ 551168 w 848702"/>
                  <a:gd name="connsiteY285" fmla="*/ 644013 h 1037303"/>
                  <a:gd name="connsiteX286" fmla="*/ 543794 w 848702"/>
                  <a:gd name="connsiteY286" fmla="*/ 648929 h 1037303"/>
                  <a:gd name="connsiteX287" fmla="*/ 538878 w 848702"/>
                  <a:gd name="connsiteY287" fmla="*/ 656303 h 1037303"/>
                  <a:gd name="connsiteX288" fmla="*/ 533962 w 848702"/>
                  <a:gd name="connsiteY288" fmla="*/ 661220 h 1037303"/>
                  <a:gd name="connsiteX289" fmla="*/ 570833 w 848702"/>
                  <a:gd name="connsiteY289" fmla="*/ 668594 h 1037303"/>
                  <a:gd name="connsiteX290" fmla="*/ 585581 w 848702"/>
                  <a:gd name="connsiteY290" fmla="*/ 673510 h 1037303"/>
                  <a:gd name="connsiteX291" fmla="*/ 590498 w 848702"/>
                  <a:gd name="connsiteY291" fmla="*/ 678426 h 1037303"/>
                  <a:gd name="connsiteX292" fmla="*/ 595414 w 848702"/>
                  <a:gd name="connsiteY292" fmla="*/ 700549 h 1037303"/>
                  <a:gd name="connsiteX293" fmla="*/ 600330 w 848702"/>
                  <a:gd name="connsiteY293" fmla="*/ 739878 h 1037303"/>
                  <a:gd name="connsiteX294" fmla="*/ 607704 w 848702"/>
                  <a:gd name="connsiteY294" fmla="*/ 747252 h 1037303"/>
                  <a:gd name="connsiteX295" fmla="*/ 612620 w 848702"/>
                  <a:gd name="connsiteY295" fmla="*/ 776749 h 1037303"/>
                  <a:gd name="connsiteX296" fmla="*/ 605246 w 848702"/>
                  <a:gd name="connsiteY296" fmla="*/ 781665 h 1037303"/>
                  <a:gd name="connsiteX297" fmla="*/ 597872 w 848702"/>
                  <a:gd name="connsiteY297" fmla="*/ 779207 h 1037303"/>
                  <a:gd name="connsiteX298" fmla="*/ 583123 w 848702"/>
                  <a:gd name="connsiteY298" fmla="*/ 764458 h 1037303"/>
                  <a:gd name="connsiteX299" fmla="*/ 568375 w 848702"/>
                  <a:gd name="connsiteY299" fmla="*/ 759542 h 1037303"/>
                  <a:gd name="connsiteX300" fmla="*/ 551168 w 848702"/>
                  <a:gd name="connsiteY300" fmla="*/ 747252 h 1037303"/>
                  <a:gd name="connsiteX301" fmla="*/ 543794 w 848702"/>
                  <a:gd name="connsiteY301" fmla="*/ 742336 h 1037303"/>
                  <a:gd name="connsiteX302" fmla="*/ 536420 w 848702"/>
                  <a:gd name="connsiteY302" fmla="*/ 739878 h 1037303"/>
                  <a:gd name="connsiteX303" fmla="*/ 529046 w 848702"/>
                  <a:gd name="connsiteY303" fmla="*/ 734961 h 1037303"/>
                  <a:gd name="connsiteX304" fmla="*/ 526588 w 848702"/>
                  <a:gd name="connsiteY304" fmla="*/ 727587 h 1037303"/>
                  <a:gd name="connsiteX305" fmla="*/ 521672 w 848702"/>
                  <a:gd name="connsiteY305" fmla="*/ 720213 h 1037303"/>
                  <a:gd name="connsiteX306" fmla="*/ 511839 w 848702"/>
                  <a:gd name="connsiteY306" fmla="*/ 722671 h 1037303"/>
                  <a:gd name="connsiteX307" fmla="*/ 504465 w 848702"/>
                  <a:gd name="connsiteY307" fmla="*/ 730045 h 1037303"/>
                  <a:gd name="connsiteX308" fmla="*/ 497091 w 848702"/>
                  <a:gd name="connsiteY308" fmla="*/ 734961 h 1037303"/>
                  <a:gd name="connsiteX309" fmla="*/ 492175 w 848702"/>
                  <a:gd name="connsiteY309" fmla="*/ 739878 h 1037303"/>
                  <a:gd name="connsiteX310" fmla="*/ 484801 w 848702"/>
                  <a:gd name="connsiteY310" fmla="*/ 742336 h 1037303"/>
                  <a:gd name="connsiteX311" fmla="*/ 470052 w 848702"/>
                  <a:gd name="connsiteY311" fmla="*/ 749710 h 1037303"/>
                  <a:gd name="connsiteX312" fmla="*/ 472510 w 848702"/>
                  <a:gd name="connsiteY312" fmla="*/ 759542 h 1037303"/>
                  <a:gd name="connsiteX313" fmla="*/ 474968 w 848702"/>
                  <a:gd name="connsiteY313" fmla="*/ 766916 h 1037303"/>
                  <a:gd name="connsiteX314" fmla="*/ 482343 w 848702"/>
                  <a:gd name="connsiteY314" fmla="*/ 791497 h 1037303"/>
                  <a:gd name="connsiteX315" fmla="*/ 492175 w 848702"/>
                  <a:gd name="connsiteY315" fmla="*/ 806245 h 1037303"/>
                  <a:gd name="connsiteX316" fmla="*/ 499549 w 848702"/>
                  <a:gd name="connsiteY316" fmla="*/ 808703 h 1037303"/>
                  <a:gd name="connsiteX317" fmla="*/ 514298 w 848702"/>
                  <a:gd name="connsiteY317" fmla="*/ 806245 h 1037303"/>
                  <a:gd name="connsiteX318" fmla="*/ 516756 w 848702"/>
                  <a:gd name="connsiteY318" fmla="*/ 796413 h 1037303"/>
                  <a:gd name="connsiteX319" fmla="*/ 524130 w 848702"/>
                  <a:gd name="connsiteY319" fmla="*/ 811161 h 1037303"/>
                  <a:gd name="connsiteX320" fmla="*/ 531504 w 848702"/>
                  <a:gd name="connsiteY320" fmla="*/ 816078 h 1037303"/>
                  <a:gd name="connsiteX321" fmla="*/ 538878 w 848702"/>
                  <a:gd name="connsiteY321" fmla="*/ 823452 h 1037303"/>
                  <a:gd name="connsiteX322" fmla="*/ 516756 w 848702"/>
                  <a:gd name="connsiteY322" fmla="*/ 833284 h 1037303"/>
                  <a:gd name="connsiteX323" fmla="*/ 514298 w 848702"/>
                  <a:gd name="connsiteY323" fmla="*/ 845574 h 1037303"/>
                  <a:gd name="connsiteX324" fmla="*/ 509381 w 848702"/>
                  <a:gd name="connsiteY324" fmla="*/ 850491 h 1037303"/>
                  <a:gd name="connsiteX325" fmla="*/ 494633 w 848702"/>
                  <a:gd name="connsiteY325" fmla="*/ 860323 h 1037303"/>
                  <a:gd name="connsiteX326" fmla="*/ 487259 w 848702"/>
                  <a:gd name="connsiteY326" fmla="*/ 857865 h 1037303"/>
                  <a:gd name="connsiteX327" fmla="*/ 487259 w 848702"/>
                  <a:gd name="connsiteY327" fmla="*/ 840658 h 1037303"/>
                  <a:gd name="connsiteX328" fmla="*/ 484801 w 848702"/>
                  <a:gd name="connsiteY328" fmla="*/ 830826 h 1037303"/>
                  <a:gd name="connsiteX329" fmla="*/ 477427 w 848702"/>
                  <a:gd name="connsiteY329" fmla="*/ 828368 h 1037303"/>
                  <a:gd name="connsiteX330" fmla="*/ 470052 w 848702"/>
                  <a:gd name="connsiteY330" fmla="*/ 823452 h 1037303"/>
                  <a:gd name="connsiteX331" fmla="*/ 455304 w 848702"/>
                  <a:gd name="connsiteY331" fmla="*/ 828368 h 1037303"/>
                  <a:gd name="connsiteX332" fmla="*/ 440556 w 848702"/>
                  <a:gd name="connsiteY332" fmla="*/ 823452 h 1037303"/>
                  <a:gd name="connsiteX333" fmla="*/ 420891 w 848702"/>
                  <a:gd name="connsiteY333" fmla="*/ 825910 h 1037303"/>
                  <a:gd name="connsiteX334" fmla="*/ 423349 w 848702"/>
                  <a:gd name="connsiteY334" fmla="*/ 833284 h 1037303"/>
                  <a:gd name="connsiteX335" fmla="*/ 433181 w 848702"/>
                  <a:gd name="connsiteY335" fmla="*/ 848032 h 1037303"/>
                  <a:gd name="connsiteX336" fmla="*/ 447930 w 848702"/>
                  <a:gd name="connsiteY336" fmla="*/ 860323 h 1037303"/>
                  <a:gd name="connsiteX337" fmla="*/ 455304 w 848702"/>
                  <a:gd name="connsiteY337" fmla="*/ 882445 h 1037303"/>
                  <a:gd name="connsiteX338" fmla="*/ 457762 w 848702"/>
                  <a:gd name="connsiteY338" fmla="*/ 889820 h 1037303"/>
                  <a:gd name="connsiteX339" fmla="*/ 462678 w 848702"/>
                  <a:gd name="connsiteY339" fmla="*/ 899652 h 1037303"/>
                  <a:gd name="connsiteX340" fmla="*/ 470052 w 848702"/>
                  <a:gd name="connsiteY340" fmla="*/ 902110 h 1037303"/>
                  <a:gd name="connsiteX341" fmla="*/ 477427 w 848702"/>
                  <a:gd name="connsiteY341" fmla="*/ 907026 h 1037303"/>
                  <a:gd name="connsiteX342" fmla="*/ 482343 w 848702"/>
                  <a:gd name="connsiteY342" fmla="*/ 916858 h 1037303"/>
                  <a:gd name="connsiteX343" fmla="*/ 487259 w 848702"/>
                  <a:gd name="connsiteY343" fmla="*/ 931607 h 1037303"/>
                  <a:gd name="connsiteX344" fmla="*/ 499549 w 848702"/>
                  <a:gd name="connsiteY344" fmla="*/ 946355 h 1037303"/>
                  <a:gd name="connsiteX345" fmla="*/ 502007 w 848702"/>
                  <a:gd name="connsiteY345" fmla="*/ 953729 h 1037303"/>
                  <a:gd name="connsiteX346" fmla="*/ 504465 w 848702"/>
                  <a:gd name="connsiteY346" fmla="*/ 990600 h 1037303"/>
                  <a:gd name="connsiteX347" fmla="*/ 514298 w 848702"/>
                  <a:gd name="connsiteY347" fmla="*/ 1005349 h 1037303"/>
                  <a:gd name="connsiteX348" fmla="*/ 519214 w 848702"/>
                  <a:gd name="connsiteY348" fmla="*/ 1012723 h 1037303"/>
                  <a:gd name="connsiteX349" fmla="*/ 524130 w 848702"/>
                  <a:gd name="connsiteY349" fmla="*/ 1020097 h 1037303"/>
                  <a:gd name="connsiteX350" fmla="*/ 502007 w 848702"/>
                  <a:gd name="connsiteY350" fmla="*/ 1020097 h 1037303"/>
                  <a:gd name="connsiteX351" fmla="*/ 494633 w 848702"/>
                  <a:gd name="connsiteY351" fmla="*/ 1012723 h 1037303"/>
                  <a:gd name="connsiteX352" fmla="*/ 492175 w 848702"/>
                  <a:gd name="connsiteY352" fmla="*/ 1002891 h 1037303"/>
                  <a:gd name="connsiteX353" fmla="*/ 484801 w 848702"/>
                  <a:gd name="connsiteY353" fmla="*/ 1000432 h 1037303"/>
                  <a:gd name="connsiteX354" fmla="*/ 467594 w 848702"/>
                  <a:gd name="connsiteY354" fmla="*/ 990600 h 1037303"/>
                  <a:gd name="connsiteX355" fmla="*/ 465136 w 848702"/>
                  <a:gd name="connsiteY355" fmla="*/ 975852 h 1037303"/>
                  <a:gd name="connsiteX356" fmla="*/ 452846 w 848702"/>
                  <a:gd name="connsiteY356" fmla="*/ 958645 h 1037303"/>
                  <a:gd name="connsiteX357" fmla="*/ 430723 w 848702"/>
                  <a:gd name="connsiteY357" fmla="*/ 966020 h 1037303"/>
                  <a:gd name="connsiteX358" fmla="*/ 425807 w 848702"/>
                  <a:gd name="connsiteY358" fmla="*/ 980768 h 1037303"/>
                  <a:gd name="connsiteX359" fmla="*/ 428265 w 848702"/>
                  <a:gd name="connsiteY359" fmla="*/ 988142 h 1037303"/>
                  <a:gd name="connsiteX360" fmla="*/ 423349 w 848702"/>
                  <a:gd name="connsiteY360" fmla="*/ 1002891 h 1037303"/>
                  <a:gd name="connsiteX361" fmla="*/ 425807 w 848702"/>
                  <a:gd name="connsiteY361" fmla="*/ 1027471 h 1037303"/>
                  <a:gd name="connsiteX362" fmla="*/ 428265 w 848702"/>
                  <a:gd name="connsiteY362" fmla="*/ 1034845 h 1037303"/>
                  <a:gd name="connsiteX363" fmla="*/ 420891 w 848702"/>
                  <a:gd name="connsiteY363" fmla="*/ 1037303 h 1037303"/>
                  <a:gd name="connsiteX364" fmla="*/ 411059 w 848702"/>
                  <a:gd name="connsiteY364" fmla="*/ 1034845 h 1037303"/>
                  <a:gd name="connsiteX365" fmla="*/ 406143 w 848702"/>
                  <a:gd name="connsiteY365" fmla="*/ 1027471 h 1037303"/>
                  <a:gd name="connsiteX366" fmla="*/ 401227 w 848702"/>
                  <a:gd name="connsiteY366" fmla="*/ 1010265 h 1037303"/>
                  <a:gd name="connsiteX367" fmla="*/ 398768 w 848702"/>
                  <a:gd name="connsiteY367" fmla="*/ 1002891 h 1037303"/>
                  <a:gd name="connsiteX368" fmla="*/ 396310 w 848702"/>
                  <a:gd name="connsiteY368" fmla="*/ 985684 h 1037303"/>
                  <a:gd name="connsiteX369" fmla="*/ 388936 w 848702"/>
                  <a:gd name="connsiteY369" fmla="*/ 980768 h 1037303"/>
                  <a:gd name="connsiteX370" fmla="*/ 386478 w 848702"/>
                  <a:gd name="connsiteY370" fmla="*/ 970936 h 1037303"/>
                  <a:gd name="connsiteX371" fmla="*/ 379104 w 848702"/>
                  <a:gd name="connsiteY371" fmla="*/ 966020 h 1037303"/>
                  <a:gd name="connsiteX372" fmla="*/ 374188 w 848702"/>
                  <a:gd name="connsiteY372" fmla="*/ 961103 h 1037303"/>
                  <a:gd name="connsiteX373" fmla="*/ 359439 w 848702"/>
                  <a:gd name="connsiteY373" fmla="*/ 953729 h 1037303"/>
                  <a:gd name="connsiteX374" fmla="*/ 352065 w 848702"/>
                  <a:gd name="connsiteY374" fmla="*/ 946355 h 1037303"/>
                  <a:gd name="connsiteX375" fmla="*/ 347149 w 848702"/>
                  <a:gd name="connsiteY375" fmla="*/ 931607 h 1037303"/>
                  <a:gd name="connsiteX376" fmla="*/ 339775 w 848702"/>
                  <a:gd name="connsiteY376" fmla="*/ 934065 h 1037303"/>
                  <a:gd name="connsiteX377" fmla="*/ 337317 w 848702"/>
                  <a:gd name="connsiteY377" fmla="*/ 941439 h 1037303"/>
                  <a:gd name="connsiteX378" fmla="*/ 322568 w 848702"/>
                  <a:gd name="connsiteY378" fmla="*/ 946355 h 1037303"/>
                  <a:gd name="connsiteX379" fmla="*/ 327485 w 848702"/>
                  <a:gd name="connsiteY379" fmla="*/ 961103 h 1037303"/>
                  <a:gd name="connsiteX380" fmla="*/ 329943 w 848702"/>
                  <a:gd name="connsiteY380" fmla="*/ 968478 h 1037303"/>
                  <a:gd name="connsiteX381" fmla="*/ 327485 w 848702"/>
                  <a:gd name="connsiteY381" fmla="*/ 985684 h 1037303"/>
                  <a:gd name="connsiteX382" fmla="*/ 320110 w 848702"/>
                  <a:gd name="connsiteY382" fmla="*/ 988142 h 1037303"/>
                  <a:gd name="connsiteX383" fmla="*/ 305362 w 848702"/>
                  <a:gd name="connsiteY383" fmla="*/ 983226 h 1037303"/>
                  <a:gd name="connsiteX384" fmla="*/ 288156 w 848702"/>
                  <a:gd name="connsiteY384" fmla="*/ 980768 h 1037303"/>
                  <a:gd name="connsiteX385" fmla="*/ 273407 w 848702"/>
                  <a:gd name="connsiteY385" fmla="*/ 951271 h 1037303"/>
                  <a:gd name="connsiteX386" fmla="*/ 266033 w 848702"/>
                  <a:gd name="connsiteY386" fmla="*/ 943897 h 1037303"/>
                  <a:gd name="connsiteX387" fmla="*/ 275865 w 848702"/>
                  <a:gd name="connsiteY387" fmla="*/ 914400 h 1037303"/>
                  <a:gd name="connsiteX388" fmla="*/ 283239 w 848702"/>
                  <a:gd name="connsiteY388" fmla="*/ 909484 h 1037303"/>
                  <a:gd name="connsiteX389" fmla="*/ 285698 w 848702"/>
                  <a:gd name="connsiteY389" fmla="*/ 894736 h 1037303"/>
                  <a:gd name="connsiteX390" fmla="*/ 288156 w 848702"/>
                  <a:gd name="connsiteY390" fmla="*/ 887361 h 1037303"/>
                  <a:gd name="connsiteX391" fmla="*/ 278323 w 848702"/>
                  <a:gd name="connsiteY391" fmla="*/ 875071 h 1037303"/>
                  <a:gd name="connsiteX392" fmla="*/ 256201 w 848702"/>
                  <a:gd name="connsiteY392" fmla="*/ 855407 h 1037303"/>
                  <a:gd name="connsiteX393" fmla="*/ 248827 w 848702"/>
                  <a:gd name="connsiteY393" fmla="*/ 852949 h 1037303"/>
                  <a:gd name="connsiteX394" fmla="*/ 243910 w 848702"/>
                  <a:gd name="connsiteY394" fmla="*/ 848032 h 1037303"/>
                  <a:gd name="connsiteX395" fmla="*/ 221788 w 848702"/>
                  <a:gd name="connsiteY395" fmla="*/ 843116 h 1037303"/>
                  <a:gd name="connsiteX396" fmla="*/ 214414 w 848702"/>
                  <a:gd name="connsiteY396" fmla="*/ 840658 h 1037303"/>
                  <a:gd name="connsiteX397" fmla="*/ 211956 w 848702"/>
                  <a:gd name="connsiteY397" fmla="*/ 820994 h 1037303"/>
                  <a:gd name="connsiteX398" fmla="*/ 197207 w 848702"/>
                  <a:gd name="connsiteY398" fmla="*/ 816078 h 1037303"/>
                  <a:gd name="connsiteX399" fmla="*/ 189833 w 848702"/>
                  <a:gd name="connsiteY399" fmla="*/ 813620 h 1037303"/>
                  <a:gd name="connsiteX400" fmla="*/ 192291 w 848702"/>
                  <a:gd name="connsiteY400" fmla="*/ 806245 h 1037303"/>
                  <a:gd name="connsiteX401" fmla="*/ 199665 w 848702"/>
                  <a:gd name="connsiteY401" fmla="*/ 786581 h 1037303"/>
                  <a:gd name="connsiteX402" fmla="*/ 209498 w 848702"/>
                  <a:gd name="connsiteY402" fmla="*/ 784123 h 1037303"/>
                  <a:gd name="connsiteX403" fmla="*/ 216872 w 848702"/>
                  <a:gd name="connsiteY403" fmla="*/ 762000 h 1037303"/>
                  <a:gd name="connsiteX404" fmla="*/ 224246 w 848702"/>
                  <a:gd name="connsiteY404" fmla="*/ 747252 h 1037303"/>
                  <a:gd name="connsiteX405" fmla="*/ 231620 w 848702"/>
                  <a:gd name="connsiteY405" fmla="*/ 744794 h 1037303"/>
                  <a:gd name="connsiteX406" fmla="*/ 251285 w 848702"/>
                  <a:gd name="connsiteY406" fmla="*/ 739878 h 1037303"/>
                  <a:gd name="connsiteX407" fmla="*/ 263575 w 848702"/>
                  <a:gd name="connsiteY407" fmla="*/ 730045 h 1037303"/>
                  <a:gd name="connsiteX408" fmla="*/ 270949 w 848702"/>
                  <a:gd name="connsiteY408" fmla="*/ 727587 h 1037303"/>
                  <a:gd name="connsiteX409" fmla="*/ 273407 w 848702"/>
                  <a:gd name="connsiteY409" fmla="*/ 717755 h 1037303"/>
                  <a:gd name="connsiteX410" fmla="*/ 280781 w 848702"/>
                  <a:gd name="connsiteY410" fmla="*/ 715297 h 1037303"/>
                  <a:gd name="connsiteX411" fmla="*/ 285698 w 848702"/>
                  <a:gd name="connsiteY411" fmla="*/ 710381 h 1037303"/>
                  <a:gd name="connsiteX412" fmla="*/ 307820 w 848702"/>
                  <a:gd name="connsiteY412" fmla="*/ 712839 h 1037303"/>
                  <a:gd name="connsiteX413" fmla="*/ 322568 w 848702"/>
                  <a:gd name="connsiteY413" fmla="*/ 720213 h 1037303"/>
                  <a:gd name="connsiteX414" fmla="*/ 361898 w 848702"/>
                  <a:gd name="connsiteY414" fmla="*/ 730045 h 1037303"/>
                  <a:gd name="connsiteX415" fmla="*/ 391394 w 848702"/>
                  <a:gd name="connsiteY415" fmla="*/ 734961 h 1037303"/>
                  <a:gd name="connsiteX416" fmla="*/ 408601 w 848702"/>
                  <a:gd name="connsiteY416" fmla="*/ 749710 h 1037303"/>
                  <a:gd name="connsiteX417" fmla="*/ 425807 w 848702"/>
                  <a:gd name="connsiteY417" fmla="*/ 752168 h 1037303"/>
                  <a:gd name="connsiteX418" fmla="*/ 452846 w 848702"/>
                  <a:gd name="connsiteY418" fmla="*/ 757084 h 1037303"/>
                  <a:gd name="connsiteX419" fmla="*/ 447930 w 848702"/>
                  <a:gd name="connsiteY419" fmla="*/ 749710 h 1037303"/>
                  <a:gd name="connsiteX420" fmla="*/ 440556 w 848702"/>
                  <a:gd name="connsiteY420" fmla="*/ 742336 h 1037303"/>
                  <a:gd name="connsiteX421" fmla="*/ 457762 w 848702"/>
                  <a:gd name="connsiteY421" fmla="*/ 734961 h 1037303"/>
                  <a:gd name="connsiteX422" fmla="*/ 462678 w 848702"/>
                  <a:gd name="connsiteY422" fmla="*/ 727587 h 1037303"/>
                  <a:gd name="connsiteX423" fmla="*/ 477427 w 848702"/>
                  <a:gd name="connsiteY423" fmla="*/ 722671 h 1037303"/>
                  <a:gd name="connsiteX424" fmla="*/ 484801 w 848702"/>
                  <a:gd name="connsiteY424" fmla="*/ 717755 h 1037303"/>
                  <a:gd name="connsiteX425" fmla="*/ 472510 w 848702"/>
                  <a:gd name="connsiteY425" fmla="*/ 707923 h 1037303"/>
                  <a:gd name="connsiteX426" fmla="*/ 462678 w 848702"/>
                  <a:gd name="connsiteY426" fmla="*/ 705465 h 1037303"/>
                  <a:gd name="connsiteX427" fmla="*/ 455304 w 848702"/>
                  <a:gd name="connsiteY427" fmla="*/ 703007 h 1037303"/>
                  <a:gd name="connsiteX428" fmla="*/ 430723 w 848702"/>
                  <a:gd name="connsiteY428" fmla="*/ 700549 h 1037303"/>
                  <a:gd name="connsiteX429" fmla="*/ 406143 w 848702"/>
                  <a:gd name="connsiteY429" fmla="*/ 695632 h 1037303"/>
                  <a:gd name="connsiteX430" fmla="*/ 393852 w 848702"/>
                  <a:gd name="connsiteY430" fmla="*/ 720213 h 1037303"/>
                  <a:gd name="connsiteX431" fmla="*/ 366814 w 848702"/>
                  <a:gd name="connsiteY431" fmla="*/ 688258 h 1037303"/>
                  <a:gd name="connsiteX432" fmla="*/ 361898 w 848702"/>
                  <a:gd name="connsiteY432" fmla="*/ 695632 h 1037303"/>
                  <a:gd name="connsiteX433" fmla="*/ 359439 w 848702"/>
                  <a:gd name="connsiteY433" fmla="*/ 703007 h 1037303"/>
                  <a:gd name="connsiteX434" fmla="*/ 352065 w 848702"/>
                  <a:gd name="connsiteY434" fmla="*/ 705465 h 1037303"/>
                  <a:gd name="connsiteX435" fmla="*/ 342233 w 848702"/>
                  <a:gd name="connsiteY435" fmla="*/ 703007 h 1037303"/>
                  <a:gd name="connsiteX436" fmla="*/ 337317 w 848702"/>
                  <a:gd name="connsiteY436" fmla="*/ 695632 h 1037303"/>
                  <a:gd name="connsiteX437" fmla="*/ 305362 w 848702"/>
                  <a:gd name="connsiteY437" fmla="*/ 693174 h 1037303"/>
                  <a:gd name="connsiteX438" fmla="*/ 280781 w 848702"/>
                  <a:gd name="connsiteY438" fmla="*/ 695632 h 1037303"/>
                  <a:gd name="connsiteX439" fmla="*/ 273407 w 848702"/>
                  <a:gd name="connsiteY439" fmla="*/ 700549 h 1037303"/>
                  <a:gd name="connsiteX440" fmla="*/ 258659 w 848702"/>
                  <a:gd name="connsiteY440" fmla="*/ 705465 h 1037303"/>
                  <a:gd name="connsiteX441" fmla="*/ 251285 w 848702"/>
                  <a:gd name="connsiteY441" fmla="*/ 707923 h 1037303"/>
                  <a:gd name="connsiteX442" fmla="*/ 243910 w 848702"/>
                  <a:gd name="connsiteY442" fmla="*/ 710381 h 1037303"/>
                  <a:gd name="connsiteX443" fmla="*/ 236536 w 848702"/>
                  <a:gd name="connsiteY443" fmla="*/ 715297 h 1037303"/>
                  <a:gd name="connsiteX444" fmla="*/ 224246 w 848702"/>
                  <a:gd name="connsiteY444" fmla="*/ 705465 h 1037303"/>
                  <a:gd name="connsiteX445" fmla="*/ 219330 w 848702"/>
                  <a:gd name="connsiteY445" fmla="*/ 698091 h 1037303"/>
                  <a:gd name="connsiteX446" fmla="*/ 204581 w 848702"/>
                  <a:gd name="connsiteY446" fmla="*/ 700549 h 1037303"/>
                  <a:gd name="connsiteX447" fmla="*/ 194749 w 848702"/>
                  <a:gd name="connsiteY447" fmla="*/ 722671 h 1037303"/>
                  <a:gd name="connsiteX448" fmla="*/ 180001 w 848702"/>
                  <a:gd name="connsiteY448" fmla="*/ 725129 h 1037303"/>
                  <a:gd name="connsiteX449" fmla="*/ 172627 w 848702"/>
                  <a:gd name="connsiteY449" fmla="*/ 698091 h 1037303"/>
                  <a:gd name="connsiteX450" fmla="*/ 165252 w 848702"/>
                  <a:gd name="connsiteY450" fmla="*/ 695632 h 1037303"/>
                  <a:gd name="connsiteX451" fmla="*/ 162794 w 848702"/>
                  <a:gd name="connsiteY451" fmla="*/ 703007 h 1037303"/>
                  <a:gd name="connsiteX452" fmla="*/ 155420 w 848702"/>
                  <a:gd name="connsiteY452" fmla="*/ 707923 h 1037303"/>
                  <a:gd name="connsiteX453" fmla="*/ 152962 w 848702"/>
                  <a:gd name="connsiteY453" fmla="*/ 683342 h 1037303"/>
                  <a:gd name="connsiteX454" fmla="*/ 148046 w 848702"/>
                  <a:gd name="connsiteY454" fmla="*/ 675968 h 1037303"/>
                  <a:gd name="connsiteX455" fmla="*/ 143130 w 848702"/>
                  <a:gd name="connsiteY455" fmla="*/ 683342 h 1037303"/>
                  <a:gd name="connsiteX456" fmla="*/ 135756 w 848702"/>
                  <a:gd name="connsiteY456" fmla="*/ 678426 h 1037303"/>
                  <a:gd name="connsiteX457" fmla="*/ 123465 w 848702"/>
                  <a:gd name="connsiteY457" fmla="*/ 671052 h 1037303"/>
                  <a:gd name="connsiteX458" fmla="*/ 106259 w 848702"/>
                  <a:gd name="connsiteY458" fmla="*/ 671052 h 1037303"/>
                  <a:gd name="connsiteX459" fmla="*/ 101343 w 848702"/>
                  <a:gd name="connsiteY459" fmla="*/ 663678 h 1037303"/>
                  <a:gd name="connsiteX460" fmla="*/ 108717 w 848702"/>
                  <a:gd name="connsiteY460" fmla="*/ 658761 h 1037303"/>
                  <a:gd name="connsiteX461" fmla="*/ 118549 w 848702"/>
                  <a:gd name="connsiteY461" fmla="*/ 656303 h 1037303"/>
                  <a:gd name="connsiteX462" fmla="*/ 128381 w 848702"/>
                  <a:gd name="connsiteY462" fmla="*/ 641555 h 1037303"/>
                  <a:gd name="connsiteX463" fmla="*/ 143130 w 848702"/>
                  <a:gd name="connsiteY463" fmla="*/ 636639 h 1037303"/>
                  <a:gd name="connsiteX464" fmla="*/ 145588 w 848702"/>
                  <a:gd name="connsiteY464" fmla="*/ 629265 h 1037303"/>
                  <a:gd name="connsiteX465" fmla="*/ 160336 w 848702"/>
                  <a:gd name="connsiteY465" fmla="*/ 634181 h 1037303"/>
                  <a:gd name="connsiteX466" fmla="*/ 162794 w 848702"/>
                  <a:gd name="connsiteY466" fmla="*/ 626807 h 1037303"/>
                  <a:gd name="connsiteX467" fmla="*/ 170168 w 848702"/>
                  <a:gd name="connsiteY467" fmla="*/ 619432 h 1037303"/>
                  <a:gd name="connsiteX468" fmla="*/ 165252 w 848702"/>
                  <a:gd name="connsiteY468" fmla="*/ 612058 h 1037303"/>
                  <a:gd name="connsiteX469" fmla="*/ 148046 w 848702"/>
                  <a:gd name="connsiteY469" fmla="*/ 604684 h 1037303"/>
                  <a:gd name="connsiteX470" fmla="*/ 128381 w 848702"/>
                  <a:gd name="connsiteY470" fmla="*/ 602226 h 1037303"/>
                  <a:gd name="connsiteX471" fmla="*/ 116091 w 848702"/>
                  <a:gd name="connsiteY471" fmla="*/ 592394 h 1037303"/>
                  <a:gd name="connsiteX472" fmla="*/ 113633 w 848702"/>
                  <a:gd name="connsiteY472" fmla="*/ 599768 h 1037303"/>
                  <a:gd name="connsiteX473" fmla="*/ 108717 w 848702"/>
                  <a:gd name="connsiteY473" fmla="*/ 607142 h 1037303"/>
                  <a:gd name="connsiteX474" fmla="*/ 74304 w 848702"/>
                  <a:gd name="connsiteY474" fmla="*/ 592394 h 1037303"/>
                  <a:gd name="connsiteX475" fmla="*/ 66930 w 848702"/>
                  <a:gd name="connsiteY475" fmla="*/ 587478 h 1037303"/>
                  <a:gd name="connsiteX476" fmla="*/ 62014 w 848702"/>
                  <a:gd name="connsiteY476" fmla="*/ 582561 h 1037303"/>
                  <a:gd name="connsiteX477" fmla="*/ 39891 w 848702"/>
                  <a:gd name="connsiteY477" fmla="*/ 565355 h 1037303"/>
                  <a:gd name="connsiteX478" fmla="*/ 34975 w 848702"/>
                  <a:gd name="connsiteY478" fmla="*/ 557981 h 1037303"/>
                  <a:gd name="connsiteX479" fmla="*/ 39891 w 848702"/>
                  <a:gd name="connsiteY479" fmla="*/ 550607 h 1037303"/>
                  <a:gd name="connsiteX480" fmla="*/ 37433 w 848702"/>
                  <a:gd name="connsiteY480" fmla="*/ 535858 h 1037303"/>
                  <a:gd name="connsiteX481" fmla="*/ 32517 w 848702"/>
                  <a:gd name="connsiteY481" fmla="*/ 528484 h 1037303"/>
                  <a:gd name="connsiteX482" fmla="*/ 10394 w 848702"/>
                  <a:gd name="connsiteY482" fmla="*/ 523568 h 1037303"/>
                  <a:gd name="connsiteX483" fmla="*/ 32517 w 848702"/>
                  <a:gd name="connsiteY483" fmla="*/ 540774 h 1037303"/>
                  <a:gd name="connsiteX0" fmla="*/ 32517 w 848702"/>
                  <a:gd name="connsiteY0" fmla="*/ 540774 h 1037303"/>
                  <a:gd name="connsiteX1" fmla="*/ 20227 w 848702"/>
                  <a:gd name="connsiteY1" fmla="*/ 521110 h 1037303"/>
                  <a:gd name="connsiteX2" fmla="*/ 15310 w 848702"/>
                  <a:gd name="connsiteY2" fmla="*/ 516194 h 1037303"/>
                  <a:gd name="connsiteX3" fmla="*/ 7936 w 848702"/>
                  <a:gd name="connsiteY3" fmla="*/ 513736 h 1037303"/>
                  <a:gd name="connsiteX4" fmla="*/ 562 w 848702"/>
                  <a:gd name="connsiteY4" fmla="*/ 508820 h 1037303"/>
                  <a:gd name="connsiteX5" fmla="*/ 12852 w 848702"/>
                  <a:gd name="connsiteY5" fmla="*/ 511278 h 1037303"/>
                  <a:gd name="connsiteX6" fmla="*/ 25143 w 848702"/>
                  <a:gd name="connsiteY6" fmla="*/ 508820 h 1037303"/>
                  <a:gd name="connsiteX7" fmla="*/ 34975 w 848702"/>
                  <a:gd name="connsiteY7" fmla="*/ 494071 h 1037303"/>
                  <a:gd name="connsiteX8" fmla="*/ 42349 w 848702"/>
                  <a:gd name="connsiteY8" fmla="*/ 479323 h 1037303"/>
                  <a:gd name="connsiteX9" fmla="*/ 34975 w 848702"/>
                  <a:gd name="connsiteY9" fmla="*/ 464574 h 1037303"/>
                  <a:gd name="connsiteX10" fmla="*/ 42349 w 848702"/>
                  <a:gd name="connsiteY10" fmla="*/ 467032 h 1037303"/>
                  <a:gd name="connsiteX11" fmla="*/ 39891 w 848702"/>
                  <a:gd name="connsiteY11" fmla="*/ 457200 h 1037303"/>
                  <a:gd name="connsiteX12" fmla="*/ 34975 w 848702"/>
                  <a:gd name="connsiteY12" fmla="*/ 449826 h 1037303"/>
                  <a:gd name="connsiteX13" fmla="*/ 42349 w 848702"/>
                  <a:gd name="connsiteY13" fmla="*/ 444910 h 1037303"/>
                  <a:gd name="connsiteX14" fmla="*/ 47265 w 848702"/>
                  <a:gd name="connsiteY14" fmla="*/ 437536 h 1037303"/>
                  <a:gd name="connsiteX15" fmla="*/ 54639 w 848702"/>
                  <a:gd name="connsiteY15" fmla="*/ 435078 h 1037303"/>
                  <a:gd name="connsiteX16" fmla="*/ 74304 w 848702"/>
                  <a:gd name="connsiteY16" fmla="*/ 430161 h 1037303"/>
                  <a:gd name="connsiteX17" fmla="*/ 76762 w 848702"/>
                  <a:gd name="connsiteY17" fmla="*/ 405581 h 1037303"/>
                  <a:gd name="connsiteX18" fmla="*/ 81678 w 848702"/>
                  <a:gd name="connsiteY18" fmla="*/ 398207 h 1037303"/>
                  <a:gd name="connsiteX19" fmla="*/ 86594 w 848702"/>
                  <a:gd name="connsiteY19" fmla="*/ 371168 h 1037303"/>
                  <a:gd name="connsiteX20" fmla="*/ 91510 w 848702"/>
                  <a:gd name="connsiteY20" fmla="*/ 363794 h 1037303"/>
                  <a:gd name="connsiteX21" fmla="*/ 98885 w 848702"/>
                  <a:gd name="connsiteY21" fmla="*/ 351503 h 1037303"/>
                  <a:gd name="connsiteX22" fmla="*/ 123465 w 848702"/>
                  <a:gd name="connsiteY22" fmla="*/ 344129 h 1037303"/>
                  <a:gd name="connsiteX23" fmla="*/ 116091 w 848702"/>
                  <a:gd name="connsiteY23" fmla="*/ 314632 h 1037303"/>
                  <a:gd name="connsiteX24" fmla="*/ 108717 w 848702"/>
                  <a:gd name="connsiteY24" fmla="*/ 309716 h 1037303"/>
                  <a:gd name="connsiteX25" fmla="*/ 106259 w 848702"/>
                  <a:gd name="connsiteY25" fmla="*/ 302342 h 1037303"/>
                  <a:gd name="connsiteX26" fmla="*/ 103801 w 848702"/>
                  <a:gd name="connsiteY26" fmla="*/ 282678 h 1037303"/>
                  <a:gd name="connsiteX27" fmla="*/ 111175 w 848702"/>
                  <a:gd name="connsiteY27" fmla="*/ 280220 h 1037303"/>
                  <a:gd name="connsiteX28" fmla="*/ 138214 w 848702"/>
                  <a:gd name="connsiteY28" fmla="*/ 282678 h 1037303"/>
                  <a:gd name="connsiteX29" fmla="*/ 150504 w 848702"/>
                  <a:gd name="connsiteY29" fmla="*/ 272845 h 1037303"/>
                  <a:gd name="connsiteX30" fmla="*/ 157878 w 848702"/>
                  <a:gd name="connsiteY30" fmla="*/ 270387 h 1037303"/>
                  <a:gd name="connsiteX31" fmla="*/ 175085 w 848702"/>
                  <a:gd name="connsiteY31" fmla="*/ 265471 h 1037303"/>
                  <a:gd name="connsiteX32" fmla="*/ 192291 w 848702"/>
                  <a:gd name="connsiteY32" fmla="*/ 267929 h 1037303"/>
                  <a:gd name="connsiteX33" fmla="*/ 204581 w 848702"/>
                  <a:gd name="connsiteY33" fmla="*/ 255639 h 1037303"/>
                  <a:gd name="connsiteX34" fmla="*/ 209498 w 848702"/>
                  <a:gd name="connsiteY34" fmla="*/ 250723 h 1037303"/>
                  <a:gd name="connsiteX35" fmla="*/ 219330 w 848702"/>
                  <a:gd name="connsiteY35" fmla="*/ 235974 h 1037303"/>
                  <a:gd name="connsiteX36" fmla="*/ 231620 w 848702"/>
                  <a:gd name="connsiteY36" fmla="*/ 221226 h 1037303"/>
                  <a:gd name="connsiteX37" fmla="*/ 234078 w 848702"/>
                  <a:gd name="connsiteY37" fmla="*/ 208936 h 1037303"/>
                  <a:gd name="connsiteX38" fmla="*/ 263575 w 848702"/>
                  <a:gd name="connsiteY38" fmla="*/ 213852 h 1037303"/>
                  <a:gd name="connsiteX39" fmla="*/ 273407 w 848702"/>
                  <a:gd name="connsiteY39" fmla="*/ 201561 h 1037303"/>
                  <a:gd name="connsiteX40" fmla="*/ 280781 w 848702"/>
                  <a:gd name="connsiteY40" fmla="*/ 199103 h 1037303"/>
                  <a:gd name="connsiteX41" fmla="*/ 297988 w 848702"/>
                  <a:gd name="connsiteY41" fmla="*/ 201561 h 1037303"/>
                  <a:gd name="connsiteX42" fmla="*/ 312736 w 848702"/>
                  <a:gd name="connsiteY42" fmla="*/ 204020 h 1037303"/>
                  <a:gd name="connsiteX43" fmla="*/ 315194 w 848702"/>
                  <a:gd name="connsiteY43" fmla="*/ 196645 h 1037303"/>
                  <a:gd name="connsiteX44" fmla="*/ 329943 w 848702"/>
                  <a:gd name="connsiteY44" fmla="*/ 196645 h 1037303"/>
                  <a:gd name="connsiteX45" fmla="*/ 329943 w 848702"/>
                  <a:gd name="connsiteY45" fmla="*/ 164691 h 1037303"/>
                  <a:gd name="connsiteX46" fmla="*/ 334859 w 848702"/>
                  <a:gd name="connsiteY46" fmla="*/ 159774 h 1037303"/>
                  <a:gd name="connsiteX47" fmla="*/ 347149 w 848702"/>
                  <a:gd name="connsiteY47" fmla="*/ 162232 h 1037303"/>
                  <a:gd name="connsiteX48" fmla="*/ 366814 w 848702"/>
                  <a:gd name="connsiteY48" fmla="*/ 159774 h 1037303"/>
                  <a:gd name="connsiteX49" fmla="*/ 388936 w 848702"/>
                  <a:gd name="connsiteY49" fmla="*/ 157316 h 1037303"/>
                  <a:gd name="connsiteX50" fmla="*/ 396310 w 848702"/>
                  <a:gd name="connsiteY50" fmla="*/ 152400 h 1037303"/>
                  <a:gd name="connsiteX51" fmla="*/ 408601 w 848702"/>
                  <a:gd name="connsiteY51" fmla="*/ 142568 h 1037303"/>
                  <a:gd name="connsiteX52" fmla="*/ 447930 w 848702"/>
                  <a:gd name="connsiteY52" fmla="*/ 140110 h 1037303"/>
                  <a:gd name="connsiteX53" fmla="*/ 462678 w 848702"/>
                  <a:gd name="connsiteY53" fmla="*/ 130278 h 1037303"/>
                  <a:gd name="connsiteX54" fmla="*/ 472510 w 848702"/>
                  <a:gd name="connsiteY54" fmla="*/ 120445 h 1037303"/>
                  <a:gd name="connsiteX55" fmla="*/ 484801 w 848702"/>
                  <a:gd name="connsiteY55" fmla="*/ 110613 h 1037303"/>
                  <a:gd name="connsiteX56" fmla="*/ 492175 w 848702"/>
                  <a:gd name="connsiteY56" fmla="*/ 108155 h 1037303"/>
                  <a:gd name="connsiteX57" fmla="*/ 494633 w 848702"/>
                  <a:gd name="connsiteY57" fmla="*/ 100781 h 1037303"/>
                  <a:gd name="connsiteX58" fmla="*/ 497091 w 848702"/>
                  <a:gd name="connsiteY58" fmla="*/ 90949 h 1037303"/>
                  <a:gd name="connsiteX59" fmla="*/ 504465 w 848702"/>
                  <a:gd name="connsiteY59" fmla="*/ 93407 h 1037303"/>
                  <a:gd name="connsiteX60" fmla="*/ 519214 w 848702"/>
                  <a:gd name="connsiteY60" fmla="*/ 83574 h 1037303"/>
                  <a:gd name="connsiteX61" fmla="*/ 526588 w 848702"/>
                  <a:gd name="connsiteY61" fmla="*/ 78658 h 1037303"/>
                  <a:gd name="connsiteX62" fmla="*/ 533962 w 848702"/>
                  <a:gd name="connsiteY62" fmla="*/ 78658 h 1037303"/>
                  <a:gd name="connsiteX63" fmla="*/ 541336 w 848702"/>
                  <a:gd name="connsiteY63" fmla="*/ 76200 h 1037303"/>
                  <a:gd name="connsiteX64" fmla="*/ 548710 w 848702"/>
                  <a:gd name="connsiteY64" fmla="*/ 81116 h 1037303"/>
                  <a:gd name="connsiteX65" fmla="*/ 556085 w 848702"/>
                  <a:gd name="connsiteY65" fmla="*/ 83574 h 1037303"/>
                  <a:gd name="connsiteX66" fmla="*/ 558543 w 848702"/>
                  <a:gd name="connsiteY66" fmla="*/ 90949 h 1037303"/>
                  <a:gd name="connsiteX67" fmla="*/ 565917 w 848702"/>
                  <a:gd name="connsiteY67" fmla="*/ 88491 h 1037303"/>
                  <a:gd name="connsiteX68" fmla="*/ 578207 w 848702"/>
                  <a:gd name="connsiteY68" fmla="*/ 100781 h 1037303"/>
                  <a:gd name="connsiteX69" fmla="*/ 585581 w 848702"/>
                  <a:gd name="connsiteY69" fmla="*/ 105697 h 1037303"/>
                  <a:gd name="connsiteX70" fmla="*/ 592956 w 848702"/>
                  <a:gd name="connsiteY70" fmla="*/ 103239 h 1037303"/>
                  <a:gd name="connsiteX71" fmla="*/ 607704 w 848702"/>
                  <a:gd name="connsiteY71" fmla="*/ 108155 h 1037303"/>
                  <a:gd name="connsiteX72" fmla="*/ 615078 w 848702"/>
                  <a:gd name="connsiteY72" fmla="*/ 105697 h 1037303"/>
                  <a:gd name="connsiteX73" fmla="*/ 627368 w 848702"/>
                  <a:gd name="connsiteY73" fmla="*/ 110613 h 1037303"/>
                  <a:gd name="connsiteX74" fmla="*/ 654407 w 848702"/>
                  <a:gd name="connsiteY74" fmla="*/ 115529 h 1037303"/>
                  <a:gd name="connsiteX75" fmla="*/ 661781 w 848702"/>
                  <a:gd name="connsiteY75" fmla="*/ 120445 h 1037303"/>
                  <a:gd name="connsiteX76" fmla="*/ 669156 w 848702"/>
                  <a:gd name="connsiteY76" fmla="*/ 117987 h 1037303"/>
                  <a:gd name="connsiteX77" fmla="*/ 678988 w 848702"/>
                  <a:gd name="connsiteY77" fmla="*/ 110613 h 1037303"/>
                  <a:gd name="connsiteX78" fmla="*/ 691278 w 848702"/>
                  <a:gd name="connsiteY78" fmla="*/ 108155 h 1037303"/>
                  <a:gd name="connsiteX79" fmla="*/ 706027 w 848702"/>
                  <a:gd name="connsiteY79" fmla="*/ 100781 h 1037303"/>
                  <a:gd name="connsiteX80" fmla="*/ 718317 w 848702"/>
                  <a:gd name="connsiteY80" fmla="*/ 103239 h 1037303"/>
                  <a:gd name="connsiteX81" fmla="*/ 725691 w 848702"/>
                  <a:gd name="connsiteY81" fmla="*/ 105697 h 1037303"/>
                  <a:gd name="connsiteX82" fmla="*/ 728149 w 848702"/>
                  <a:gd name="connsiteY82" fmla="*/ 98323 h 1037303"/>
                  <a:gd name="connsiteX83" fmla="*/ 742898 w 848702"/>
                  <a:gd name="connsiteY83" fmla="*/ 90949 h 1037303"/>
                  <a:gd name="connsiteX84" fmla="*/ 745356 w 848702"/>
                  <a:gd name="connsiteY84" fmla="*/ 83574 h 1037303"/>
                  <a:gd name="connsiteX85" fmla="*/ 750272 w 848702"/>
                  <a:gd name="connsiteY85" fmla="*/ 88491 h 1037303"/>
                  <a:gd name="connsiteX86" fmla="*/ 757646 w 848702"/>
                  <a:gd name="connsiteY86" fmla="*/ 93407 h 1037303"/>
                  <a:gd name="connsiteX87" fmla="*/ 769936 w 848702"/>
                  <a:gd name="connsiteY87" fmla="*/ 90949 h 1037303"/>
                  <a:gd name="connsiteX88" fmla="*/ 777310 w 848702"/>
                  <a:gd name="connsiteY88" fmla="*/ 73742 h 1037303"/>
                  <a:gd name="connsiteX89" fmla="*/ 782227 w 848702"/>
                  <a:gd name="connsiteY89" fmla="*/ 68826 h 1037303"/>
                  <a:gd name="connsiteX90" fmla="*/ 779768 w 848702"/>
                  <a:gd name="connsiteY90" fmla="*/ 61452 h 1037303"/>
                  <a:gd name="connsiteX91" fmla="*/ 777310 w 848702"/>
                  <a:gd name="connsiteY91" fmla="*/ 51620 h 1037303"/>
                  <a:gd name="connsiteX92" fmla="*/ 772394 w 848702"/>
                  <a:gd name="connsiteY92" fmla="*/ 46703 h 1037303"/>
                  <a:gd name="connsiteX93" fmla="*/ 769936 w 848702"/>
                  <a:gd name="connsiteY93" fmla="*/ 39329 h 1037303"/>
                  <a:gd name="connsiteX94" fmla="*/ 767478 w 848702"/>
                  <a:gd name="connsiteY94" fmla="*/ 27039 h 1037303"/>
                  <a:gd name="connsiteX95" fmla="*/ 760104 w 848702"/>
                  <a:gd name="connsiteY95" fmla="*/ 24581 h 1037303"/>
                  <a:gd name="connsiteX96" fmla="*/ 757646 w 848702"/>
                  <a:gd name="connsiteY96" fmla="*/ 9832 h 1037303"/>
                  <a:gd name="connsiteX97" fmla="*/ 765020 w 848702"/>
                  <a:gd name="connsiteY97" fmla="*/ 4916 h 1037303"/>
                  <a:gd name="connsiteX98" fmla="*/ 779768 w 848702"/>
                  <a:gd name="connsiteY98" fmla="*/ 0 h 1037303"/>
                  <a:gd name="connsiteX99" fmla="*/ 804349 w 848702"/>
                  <a:gd name="connsiteY99" fmla="*/ 2458 h 1037303"/>
                  <a:gd name="connsiteX100" fmla="*/ 819098 w 848702"/>
                  <a:gd name="connsiteY100" fmla="*/ 9832 h 1037303"/>
                  <a:gd name="connsiteX101" fmla="*/ 826472 w 848702"/>
                  <a:gd name="connsiteY101" fmla="*/ 12291 h 1037303"/>
                  <a:gd name="connsiteX102" fmla="*/ 841220 w 848702"/>
                  <a:gd name="connsiteY102" fmla="*/ 27039 h 1037303"/>
                  <a:gd name="connsiteX103" fmla="*/ 843678 w 848702"/>
                  <a:gd name="connsiteY103" fmla="*/ 34413 h 1037303"/>
                  <a:gd name="connsiteX104" fmla="*/ 848594 w 848702"/>
                  <a:gd name="connsiteY104" fmla="*/ 41787 h 1037303"/>
                  <a:gd name="connsiteX105" fmla="*/ 843678 w 848702"/>
                  <a:gd name="connsiteY105" fmla="*/ 71284 h 1037303"/>
                  <a:gd name="connsiteX106" fmla="*/ 828930 w 848702"/>
                  <a:gd name="connsiteY106" fmla="*/ 68826 h 1037303"/>
                  <a:gd name="connsiteX107" fmla="*/ 826472 w 848702"/>
                  <a:gd name="connsiteY107" fmla="*/ 76200 h 1037303"/>
                  <a:gd name="connsiteX108" fmla="*/ 816639 w 848702"/>
                  <a:gd name="connsiteY108" fmla="*/ 78658 h 1037303"/>
                  <a:gd name="connsiteX109" fmla="*/ 811723 w 848702"/>
                  <a:gd name="connsiteY109" fmla="*/ 86032 h 1037303"/>
                  <a:gd name="connsiteX110" fmla="*/ 814181 w 848702"/>
                  <a:gd name="connsiteY110" fmla="*/ 95865 h 1037303"/>
                  <a:gd name="connsiteX111" fmla="*/ 816639 w 848702"/>
                  <a:gd name="connsiteY111" fmla="*/ 103239 h 1037303"/>
                  <a:gd name="connsiteX112" fmla="*/ 821556 w 848702"/>
                  <a:gd name="connsiteY112" fmla="*/ 108155 h 1037303"/>
                  <a:gd name="connsiteX113" fmla="*/ 826472 w 848702"/>
                  <a:gd name="connsiteY113" fmla="*/ 115529 h 1037303"/>
                  <a:gd name="connsiteX114" fmla="*/ 821556 w 848702"/>
                  <a:gd name="connsiteY114" fmla="*/ 125361 h 1037303"/>
                  <a:gd name="connsiteX115" fmla="*/ 816639 w 848702"/>
                  <a:gd name="connsiteY115" fmla="*/ 130278 h 1037303"/>
                  <a:gd name="connsiteX116" fmla="*/ 819098 w 848702"/>
                  <a:gd name="connsiteY116" fmla="*/ 137652 h 1037303"/>
                  <a:gd name="connsiteX117" fmla="*/ 819098 w 848702"/>
                  <a:gd name="connsiteY117" fmla="*/ 152400 h 1037303"/>
                  <a:gd name="connsiteX118" fmla="*/ 799433 w 848702"/>
                  <a:gd name="connsiteY118" fmla="*/ 154858 h 1037303"/>
                  <a:gd name="connsiteX119" fmla="*/ 794517 w 848702"/>
                  <a:gd name="connsiteY119" fmla="*/ 162232 h 1037303"/>
                  <a:gd name="connsiteX120" fmla="*/ 801891 w 848702"/>
                  <a:gd name="connsiteY120" fmla="*/ 167149 h 1037303"/>
                  <a:gd name="connsiteX121" fmla="*/ 796975 w 848702"/>
                  <a:gd name="connsiteY121" fmla="*/ 174523 h 1037303"/>
                  <a:gd name="connsiteX122" fmla="*/ 792059 w 848702"/>
                  <a:gd name="connsiteY122" fmla="*/ 184355 h 1037303"/>
                  <a:gd name="connsiteX123" fmla="*/ 787143 w 848702"/>
                  <a:gd name="connsiteY123" fmla="*/ 176981 h 1037303"/>
                  <a:gd name="connsiteX124" fmla="*/ 772394 w 848702"/>
                  <a:gd name="connsiteY124" fmla="*/ 169607 h 1037303"/>
                  <a:gd name="connsiteX125" fmla="*/ 765020 w 848702"/>
                  <a:gd name="connsiteY125" fmla="*/ 164691 h 1037303"/>
                  <a:gd name="connsiteX126" fmla="*/ 715859 w 848702"/>
                  <a:gd name="connsiteY126" fmla="*/ 159774 h 1037303"/>
                  <a:gd name="connsiteX127" fmla="*/ 701110 w 848702"/>
                  <a:gd name="connsiteY127" fmla="*/ 152400 h 1037303"/>
                  <a:gd name="connsiteX128" fmla="*/ 693736 w 848702"/>
                  <a:gd name="connsiteY128" fmla="*/ 154858 h 1037303"/>
                  <a:gd name="connsiteX129" fmla="*/ 678988 w 848702"/>
                  <a:gd name="connsiteY129" fmla="*/ 157316 h 1037303"/>
                  <a:gd name="connsiteX130" fmla="*/ 669156 w 848702"/>
                  <a:gd name="connsiteY130" fmla="*/ 154858 h 1037303"/>
                  <a:gd name="connsiteX131" fmla="*/ 661781 w 848702"/>
                  <a:gd name="connsiteY131" fmla="*/ 152400 h 1037303"/>
                  <a:gd name="connsiteX132" fmla="*/ 654407 w 848702"/>
                  <a:gd name="connsiteY132" fmla="*/ 159774 h 1037303"/>
                  <a:gd name="connsiteX133" fmla="*/ 637201 w 848702"/>
                  <a:gd name="connsiteY133" fmla="*/ 167149 h 1037303"/>
                  <a:gd name="connsiteX134" fmla="*/ 632285 w 848702"/>
                  <a:gd name="connsiteY134" fmla="*/ 184355 h 1037303"/>
                  <a:gd name="connsiteX135" fmla="*/ 624910 w 848702"/>
                  <a:gd name="connsiteY135" fmla="*/ 186813 h 1037303"/>
                  <a:gd name="connsiteX136" fmla="*/ 602788 w 848702"/>
                  <a:gd name="connsiteY136" fmla="*/ 199103 h 1037303"/>
                  <a:gd name="connsiteX137" fmla="*/ 553627 w 848702"/>
                  <a:gd name="connsiteY137" fmla="*/ 196645 h 1037303"/>
                  <a:gd name="connsiteX138" fmla="*/ 548710 w 848702"/>
                  <a:gd name="connsiteY138" fmla="*/ 201561 h 1037303"/>
                  <a:gd name="connsiteX139" fmla="*/ 543794 w 848702"/>
                  <a:gd name="connsiteY139" fmla="*/ 216310 h 1037303"/>
                  <a:gd name="connsiteX140" fmla="*/ 538878 w 848702"/>
                  <a:gd name="connsiteY140" fmla="*/ 228600 h 1037303"/>
                  <a:gd name="connsiteX141" fmla="*/ 506923 w 848702"/>
                  <a:gd name="connsiteY141" fmla="*/ 238432 h 1037303"/>
                  <a:gd name="connsiteX142" fmla="*/ 497091 w 848702"/>
                  <a:gd name="connsiteY142" fmla="*/ 240891 h 1037303"/>
                  <a:gd name="connsiteX143" fmla="*/ 479885 w 848702"/>
                  <a:gd name="connsiteY143" fmla="*/ 243349 h 1037303"/>
                  <a:gd name="connsiteX144" fmla="*/ 482343 w 848702"/>
                  <a:gd name="connsiteY144" fmla="*/ 258097 h 1037303"/>
                  <a:gd name="connsiteX145" fmla="*/ 487259 w 848702"/>
                  <a:gd name="connsiteY145" fmla="*/ 265471 h 1037303"/>
                  <a:gd name="connsiteX146" fmla="*/ 484801 w 848702"/>
                  <a:gd name="connsiteY146" fmla="*/ 275303 h 1037303"/>
                  <a:gd name="connsiteX147" fmla="*/ 497091 w 848702"/>
                  <a:gd name="connsiteY147" fmla="*/ 287594 h 1037303"/>
                  <a:gd name="connsiteX148" fmla="*/ 570833 w 848702"/>
                  <a:gd name="connsiteY148" fmla="*/ 299884 h 1037303"/>
                  <a:gd name="connsiteX149" fmla="*/ 573291 w 848702"/>
                  <a:gd name="connsiteY149" fmla="*/ 307258 h 1037303"/>
                  <a:gd name="connsiteX150" fmla="*/ 585581 w 848702"/>
                  <a:gd name="connsiteY150" fmla="*/ 317091 h 1037303"/>
                  <a:gd name="connsiteX151" fmla="*/ 595414 w 848702"/>
                  <a:gd name="connsiteY151" fmla="*/ 329381 h 1037303"/>
                  <a:gd name="connsiteX152" fmla="*/ 588039 w 848702"/>
                  <a:gd name="connsiteY152" fmla="*/ 331839 h 1037303"/>
                  <a:gd name="connsiteX153" fmla="*/ 580665 w 848702"/>
                  <a:gd name="connsiteY153" fmla="*/ 326923 h 1037303"/>
                  <a:gd name="connsiteX154" fmla="*/ 570833 w 848702"/>
                  <a:gd name="connsiteY154" fmla="*/ 324465 h 1037303"/>
                  <a:gd name="connsiteX155" fmla="*/ 553627 w 848702"/>
                  <a:gd name="connsiteY155" fmla="*/ 319549 h 1037303"/>
                  <a:gd name="connsiteX156" fmla="*/ 546252 w 848702"/>
                  <a:gd name="connsiteY156" fmla="*/ 314632 h 1037303"/>
                  <a:gd name="connsiteX157" fmla="*/ 538878 w 848702"/>
                  <a:gd name="connsiteY157" fmla="*/ 307258 h 1037303"/>
                  <a:gd name="connsiteX158" fmla="*/ 504465 w 848702"/>
                  <a:gd name="connsiteY158" fmla="*/ 309716 h 1037303"/>
                  <a:gd name="connsiteX159" fmla="*/ 502007 w 848702"/>
                  <a:gd name="connsiteY159" fmla="*/ 322007 h 1037303"/>
                  <a:gd name="connsiteX160" fmla="*/ 502007 w 848702"/>
                  <a:gd name="connsiteY160" fmla="*/ 339213 h 1037303"/>
                  <a:gd name="connsiteX161" fmla="*/ 514298 w 848702"/>
                  <a:gd name="connsiteY161" fmla="*/ 341671 h 1037303"/>
                  <a:gd name="connsiteX162" fmla="*/ 529046 w 848702"/>
                  <a:gd name="connsiteY162" fmla="*/ 349045 h 1037303"/>
                  <a:gd name="connsiteX163" fmla="*/ 536420 w 848702"/>
                  <a:gd name="connsiteY163" fmla="*/ 351503 h 1037303"/>
                  <a:gd name="connsiteX164" fmla="*/ 538878 w 848702"/>
                  <a:gd name="connsiteY164" fmla="*/ 381000 h 1037303"/>
                  <a:gd name="connsiteX165" fmla="*/ 526588 w 848702"/>
                  <a:gd name="connsiteY165" fmla="*/ 378542 h 1037303"/>
                  <a:gd name="connsiteX166" fmla="*/ 521672 w 848702"/>
                  <a:gd name="connsiteY166" fmla="*/ 371168 h 1037303"/>
                  <a:gd name="connsiteX167" fmla="*/ 514298 w 848702"/>
                  <a:gd name="connsiteY167" fmla="*/ 363794 h 1037303"/>
                  <a:gd name="connsiteX168" fmla="*/ 509381 w 848702"/>
                  <a:gd name="connsiteY168" fmla="*/ 356420 h 1037303"/>
                  <a:gd name="connsiteX169" fmla="*/ 489717 w 848702"/>
                  <a:gd name="connsiteY169" fmla="*/ 341671 h 1037303"/>
                  <a:gd name="connsiteX170" fmla="*/ 474968 w 848702"/>
                  <a:gd name="connsiteY170" fmla="*/ 331839 h 1037303"/>
                  <a:gd name="connsiteX171" fmla="*/ 467594 w 848702"/>
                  <a:gd name="connsiteY171" fmla="*/ 329381 h 1037303"/>
                  <a:gd name="connsiteX172" fmla="*/ 460220 w 848702"/>
                  <a:gd name="connsiteY172" fmla="*/ 331839 h 1037303"/>
                  <a:gd name="connsiteX173" fmla="*/ 450388 w 848702"/>
                  <a:gd name="connsiteY173" fmla="*/ 334297 h 1037303"/>
                  <a:gd name="connsiteX174" fmla="*/ 445472 w 848702"/>
                  <a:gd name="connsiteY174" fmla="*/ 341671 h 1037303"/>
                  <a:gd name="connsiteX175" fmla="*/ 447930 w 848702"/>
                  <a:gd name="connsiteY175" fmla="*/ 358878 h 1037303"/>
                  <a:gd name="connsiteX176" fmla="*/ 455304 w 848702"/>
                  <a:gd name="connsiteY176" fmla="*/ 368710 h 1037303"/>
                  <a:gd name="connsiteX177" fmla="*/ 470052 w 848702"/>
                  <a:gd name="connsiteY177" fmla="*/ 378542 h 1037303"/>
                  <a:gd name="connsiteX178" fmla="*/ 487259 w 848702"/>
                  <a:gd name="connsiteY178" fmla="*/ 383458 h 1037303"/>
                  <a:gd name="connsiteX179" fmla="*/ 494633 w 848702"/>
                  <a:gd name="connsiteY179" fmla="*/ 385916 h 1037303"/>
                  <a:gd name="connsiteX180" fmla="*/ 497091 w 848702"/>
                  <a:gd name="connsiteY180" fmla="*/ 393291 h 1037303"/>
                  <a:gd name="connsiteX181" fmla="*/ 477427 w 848702"/>
                  <a:gd name="connsiteY181" fmla="*/ 388374 h 1037303"/>
                  <a:gd name="connsiteX182" fmla="*/ 455304 w 848702"/>
                  <a:gd name="connsiteY182" fmla="*/ 385916 h 1037303"/>
                  <a:gd name="connsiteX183" fmla="*/ 440556 w 848702"/>
                  <a:gd name="connsiteY183" fmla="*/ 371168 h 1037303"/>
                  <a:gd name="connsiteX184" fmla="*/ 435639 w 848702"/>
                  <a:gd name="connsiteY184" fmla="*/ 366252 h 1037303"/>
                  <a:gd name="connsiteX185" fmla="*/ 428265 w 848702"/>
                  <a:gd name="connsiteY185" fmla="*/ 363794 h 1037303"/>
                  <a:gd name="connsiteX186" fmla="*/ 420891 w 848702"/>
                  <a:gd name="connsiteY186" fmla="*/ 351503 h 1037303"/>
                  <a:gd name="connsiteX187" fmla="*/ 413517 w 848702"/>
                  <a:gd name="connsiteY187" fmla="*/ 344129 h 1037303"/>
                  <a:gd name="connsiteX188" fmla="*/ 411059 w 848702"/>
                  <a:gd name="connsiteY188" fmla="*/ 336755 h 1037303"/>
                  <a:gd name="connsiteX189" fmla="*/ 403685 w 848702"/>
                  <a:gd name="connsiteY189" fmla="*/ 331839 h 1037303"/>
                  <a:gd name="connsiteX190" fmla="*/ 361898 w 848702"/>
                  <a:gd name="connsiteY190" fmla="*/ 324465 h 1037303"/>
                  <a:gd name="connsiteX191" fmla="*/ 364356 w 848702"/>
                  <a:gd name="connsiteY191" fmla="*/ 299884 h 1037303"/>
                  <a:gd name="connsiteX192" fmla="*/ 371730 w 848702"/>
                  <a:gd name="connsiteY192" fmla="*/ 297426 h 1037303"/>
                  <a:gd name="connsiteX193" fmla="*/ 376646 w 848702"/>
                  <a:gd name="connsiteY193" fmla="*/ 290052 h 1037303"/>
                  <a:gd name="connsiteX194" fmla="*/ 371730 w 848702"/>
                  <a:gd name="connsiteY194" fmla="*/ 282678 h 1037303"/>
                  <a:gd name="connsiteX195" fmla="*/ 356981 w 848702"/>
                  <a:gd name="connsiteY195" fmla="*/ 285136 h 1037303"/>
                  <a:gd name="connsiteX196" fmla="*/ 361898 w 848702"/>
                  <a:gd name="connsiteY196" fmla="*/ 299884 h 1037303"/>
                  <a:gd name="connsiteX197" fmla="*/ 356981 w 848702"/>
                  <a:gd name="connsiteY197" fmla="*/ 304800 h 1037303"/>
                  <a:gd name="connsiteX198" fmla="*/ 347149 w 848702"/>
                  <a:gd name="connsiteY198" fmla="*/ 307258 h 1037303"/>
                  <a:gd name="connsiteX199" fmla="*/ 339775 w 848702"/>
                  <a:gd name="connsiteY199" fmla="*/ 309716 h 1037303"/>
                  <a:gd name="connsiteX200" fmla="*/ 332401 w 848702"/>
                  <a:gd name="connsiteY200" fmla="*/ 314632 h 1037303"/>
                  <a:gd name="connsiteX201" fmla="*/ 334859 w 848702"/>
                  <a:gd name="connsiteY201" fmla="*/ 329381 h 1037303"/>
                  <a:gd name="connsiteX202" fmla="*/ 337317 w 848702"/>
                  <a:gd name="connsiteY202" fmla="*/ 336755 h 1037303"/>
                  <a:gd name="connsiteX203" fmla="*/ 332401 w 848702"/>
                  <a:gd name="connsiteY203" fmla="*/ 381000 h 1037303"/>
                  <a:gd name="connsiteX204" fmla="*/ 334859 w 848702"/>
                  <a:gd name="connsiteY204" fmla="*/ 390832 h 1037303"/>
                  <a:gd name="connsiteX205" fmla="*/ 342233 w 848702"/>
                  <a:gd name="connsiteY205" fmla="*/ 395749 h 1037303"/>
                  <a:gd name="connsiteX206" fmla="*/ 354523 w 848702"/>
                  <a:gd name="connsiteY206" fmla="*/ 408039 h 1037303"/>
                  <a:gd name="connsiteX207" fmla="*/ 364356 w 848702"/>
                  <a:gd name="connsiteY207" fmla="*/ 422787 h 1037303"/>
                  <a:gd name="connsiteX208" fmla="*/ 366814 w 848702"/>
                  <a:gd name="connsiteY208" fmla="*/ 430161 h 1037303"/>
                  <a:gd name="connsiteX209" fmla="*/ 381562 w 848702"/>
                  <a:gd name="connsiteY209" fmla="*/ 439994 h 1037303"/>
                  <a:gd name="connsiteX210" fmla="*/ 398768 w 848702"/>
                  <a:gd name="connsiteY210" fmla="*/ 457200 h 1037303"/>
                  <a:gd name="connsiteX211" fmla="*/ 406143 w 848702"/>
                  <a:gd name="connsiteY211" fmla="*/ 471949 h 1037303"/>
                  <a:gd name="connsiteX212" fmla="*/ 411059 w 848702"/>
                  <a:gd name="connsiteY212" fmla="*/ 479323 h 1037303"/>
                  <a:gd name="connsiteX213" fmla="*/ 418433 w 848702"/>
                  <a:gd name="connsiteY213" fmla="*/ 494071 h 1037303"/>
                  <a:gd name="connsiteX214" fmla="*/ 440556 w 848702"/>
                  <a:gd name="connsiteY214" fmla="*/ 496529 h 1037303"/>
                  <a:gd name="connsiteX215" fmla="*/ 455304 w 848702"/>
                  <a:gd name="connsiteY215" fmla="*/ 508820 h 1037303"/>
                  <a:gd name="connsiteX216" fmla="*/ 457762 w 848702"/>
                  <a:gd name="connsiteY216" fmla="*/ 516194 h 1037303"/>
                  <a:gd name="connsiteX217" fmla="*/ 455304 w 848702"/>
                  <a:gd name="connsiteY217" fmla="*/ 533400 h 1037303"/>
                  <a:gd name="connsiteX218" fmla="*/ 447930 w 848702"/>
                  <a:gd name="connsiteY218" fmla="*/ 538316 h 1037303"/>
                  <a:gd name="connsiteX219" fmla="*/ 445472 w 848702"/>
                  <a:gd name="connsiteY219" fmla="*/ 523568 h 1037303"/>
                  <a:gd name="connsiteX220" fmla="*/ 435639 w 848702"/>
                  <a:gd name="connsiteY220" fmla="*/ 511278 h 1037303"/>
                  <a:gd name="connsiteX221" fmla="*/ 406143 w 848702"/>
                  <a:gd name="connsiteY221" fmla="*/ 513736 h 1037303"/>
                  <a:gd name="connsiteX222" fmla="*/ 391394 w 848702"/>
                  <a:gd name="connsiteY222" fmla="*/ 523568 h 1037303"/>
                  <a:gd name="connsiteX223" fmla="*/ 396310 w 848702"/>
                  <a:gd name="connsiteY223" fmla="*/ 538316 h 1037303"/>
                  <a:gd name="connsiteX224" fmla="*/ 403685 w 848702"/>
                  <a:gd name="connsiteY224" fmla="*/ 543232 h 1037303"/>
                  <a:gd name="connsiteX225" fmla="*/ 413517 w 848702"/>
                  <a:gd name="connsiteY225" fmla="*/ 545691 h 1037303"/>
                  <a:gd name="connsiteX226" fmla="*/ 420891 w 848702"/>
                  <a:gd name="connsiteY226" fmla="*/ 548149 h 1037303"/>
                  <a:gd name="connsiteX227" fmla="*/ 428265 w 848702"/>
                  <a:gd name="connsiteY227" fmla="*/ 557981 h 1037303"/>
                  <a:gd name="connsiteX228" fmla="*/ 435639 w 848702"/>
                  <a:gd name="connsiteY228" fmla="*/ 560439 h 1037303"/>
                  <a:gd name="connsiteX229" fmla="*/ 433181 w 848702"/>
                  <a:gd name="connsiteY229" fmla="*/ 575187 h 1037303"/>
                  <a:gd name="connsiteX230" fmla="*/ 418433 w 848702"/>
                  <a:gd name="connsiteY230" fmla="*/ 580103 h 1037303"/>
                  <a:gd name="connsiteX231" fmla="*/ 411059 w 848702"/>
                  <a:gd name="connsiteY231" fmla="*/ 585020 h 1037303"/>
                  <a:gd name="connsiteX232" fmla="*/ 391394 w 848702"/>
                  <a:gd name="connsiteY232" fmla="*/ 589936 h 1037303"/>
                  <a:gd name="connsiteX233" fmla="*/ 371730 w 848702"/>
                  <a:gd name="connsiteY233" fmla="*/ 594852 h 1037303"/>
                  <a:gd name="connsiteX234" fmla="*/ 369272 w 848702"/>
                  <a:gd name="connsiteY234" fmla="*/ 602226 h 1037303"/>
                  <a:gd name="connsiteX235" fmla="*/ 393852 w 848702"/>
                  <a:gd name="connsiteY235" fmla="*/ 612058 h 1037303"/>
                  <a:gd name="connsiteX236" fmla="*/ 403685 w 848702"/>
                  <a:gd name="connsiteY236" fmla="*/ 614516 h 1037303"/>
                  <a:gd name="connsiteX237" fmla="*/ 411059 w 848702"/>
                  <a:gd name="connsiteY237" fmla="*/ 616974 h 1037303"/>
                  <a:gd name="connsiteX238" fmla="*/ 428265 w 848702"/>
                  <a:gd name="connsiteY238" fmla="*/ 619432 h 1037303"/>
                  <a:gd name="connsiteX239" fmla="*/ 435639 w 848702"/>
                  <a:gd name="connsiteY239" fmla="*/ 634181 h 1037303"/>
                  <a:gd name="connsiteX240" fmla="*/ 443014 w 848702"/>
                  <a:gd name="connsiteY240" fmla="*/ 636639 h 1037303"/>
                  <a:gd name="connsiteX241" fmla="*/ 474968 w 848702"/>
                  <a:gd name="connsiteY241" fmla="*/ 644013 h 1037303"/>
                  <a:gd name="connsiteX242" fmla="*/ 514298 w 848702"/>
                  <a:gd name="connsiteY242" fmla="*/ 648929 h 1037303"/>
                  <a:gd name="connsiteX243" fmla="*/ 516756 w 848702"/>
                  <a:gd name="connsiteY243" fmla="*/ 639097 h 1037303"/>
                  <a:gd name="connsiteX244" fmla="*/ 514298 w 848702"/>
                  <a:gd name="connsiteY244" fmla="*/ 626807 h 1037303"/>
                  <a:gd name="connsiteX245" fmla="*/ 499549 w 848702"/>
                  <a:gd name="connsiteY245" fmla="*/ 621891 h 1037303"/>
                  <a:gd name="connsiteX246" fmla="*/ 494633 w 848702"/>
                  <a:gd name="connsiteY246" fmla="*/ 616974 h 1037303"/>
                  <a:gd name="connsiteX247" fmla="*/ 484801 w 848702"/>
                  <a:gd name="connsiteY247" fmla="*/ 602226 h 1037303"/>
                  <a:gd name="connsiteX248" fmla="*/ 474968 w 848702"/>
                  <a:gd name="connsiteY248" fmla="*/ 599768 h 1037303"/>
                  <a:gd name="connsiteX249" fmla="*/ 467594 w 848702"/>
                  <a:gd name="connsiteY249" fmla="*/ 594852 h 1037303"/>
                  <a:gd name="connsiteX250" fmla="*/ 440556 w 848702"/>
                  <a:gd name="connsiteY250" fmla="*/ 592394 h 1037303"/>
                  <a:gd name="connsiteX251" fmla="*/ 430723 w 848702"/>
                  <a:gd name="connsiteY251" fmla="*/ 589936 h 1037303"/>
                  <a:gd name="connsiteX252" fmla="*/ 423349 w 848702"/>
                  <a:gd name="connsiteY252" fmla="*/ 585020 h 1037303"/>
                  <a:gd name="connsiteX253" fmla="*/ 420891 w 848702"/>
                  <a:gd name="connsiteY253" fmla="*/ 592394 h 1037303"/>
                  <a:gd name="connsiteX254" fmla="*/ 433181 w 848702"/>
                  <a:gd name="connsiteY254" fmla="*/ 589936 h 1037303"/>
                  <a:gd name="connsiteX255" fmla="*/ 435639 w 848702"/>
                  <a:gd name="connsiteY255" fmla="*/ 565355 h 1037303"/>
                  <a:gd name="connsiteX256" fmla="*/ 450388 w 848702"/>
                  <a:gd name="connsiteY256" fmla="*/ 560439 h 1037303"/>
                  <a:gd name="connsiteX257" fmla="*/ 457762 w 848702"/>
                  <a:gd name="connsiteY257" fmla="*/ 557981 h 1037303"/>
                  <a:gd name="connsiteX258" fmla="*/ 472510 w 848702"/>
                  <a:gd name="connsiteY258" fmla="*/ 567813 h 1037303"/>
                  <a:gd name="connsiteX259" fmla="*/ 479885 w 848702"/>
                  <a:gd name="connsiteY259" fmla="*/ 570271 h 1037303"/>
                  <a:gd name="connsiteX260" fmla="*/ 489717 w 848702"/>
                  <a:gd name="connsiteY260" fmla="*/ 582561 h 1037303"/>
                  <a:gd name="connsiteX261" fmla="*/ 502007 w 848702"/>
                  <a:gd name="connsiteY261" fmla="*/ 592394 h 1037303"/>
                  <a:gd name="connsiteX262" fmla="*/ 570833 w 848702"/>
                  <a:gd name="connsiteY262" fmla="*/ 602226 h 1037303"/>
                  <a:gd name="connsiteX263" fmla="*/ 583123 w 848702"/>
                  <a:gd name="connsiteY263" fmla="*/ 604684 h 1037303"/>
                  <a:gd name="connsiteX264" fmla="*/ 585581 w 848702"/>
                  <a:gd name="connsiteY264" fmla="*/ 619432 h 1037303"/>
                  <a:gd name="connsiteX265" fmla="*/ 588039 w 848702"/>
                  <a:gd name="connsiteY265" fmla="*/ 626807 h 1037303"/>
                  <a:gd name="connsiteX266" fmla="*/ 592956 w 848702"/>
                  <a:gd name="connsiteY266" fmla="*/ 631723 h 1037303"/>
                  <a:gd name="connsiteX267" fmla="*/ 607704 w 848702"/>
                  <a:gd name="connsiteY267" fmla="*/ 641555 h 1037303"/>
                  <a:gd name="connsiteX268" fmla="*/ 617536 w 848702"/>
                  <a:gd name="connsiteY268" fmla="*/ 663678 h 1037303"/>
                  <a:gd name="connsiteX269" fmla="*/ 619994 w 848702"/>
                  <a:gd name="connsiteY269" fmla="*/ 671052 h 1037303"/>
                  <a:gd name="connsiteX270" fmla="*/ 629827 w 848702"/>
                  <a:gd name="connsiteY270" fmla="*/ 680884 h 1037303"/>
                  <a:gd name="connsiteX271" fmla="*/ 656865 w 848702"/>
                  <a:gd name="connsiteY271" fmla="*/ 683342 h 1037303"/>
                  <a:gd name="connsiteX272" fmla="*/ 674072 w 848702"/>
                  <a:gd name="connsiteY272" fmla="*/ 695632 h 1037303"/>
                  <a:gd name="connsiteX273" fmla="*/ 671614 w 848702"/>
                  <a:gd name="connsiteY273" fmla="*/ 707923 h 1037303"/>
                  <a:gd name="connsiteX274" fmla="*/ 656865 w 848702"/>
                  <a:gd name="connsiteY274" fmla="*/ 715297 h 1037303"/>
                  <a:gd name="connsiteX275" fmla="*/ 649491 w 848702"/>
                  <a:gd name="connsiteY275" fmla="*/ 710381 h 1037303"/>
                  <a:gd name="connsiteX276" fmla="*/ 642117 w 848702"/>
                  <a:gd name="connsiteY276" fmla="*/ 703007 h 1037303"/>
                  <a:gd name="connsiteX277" fmla="*/ 634743 w 848702"/>
                  <a:gd name="connsiteY277" fmla="*/ 700549 h 1037303"/>
                  <a:gd name="connsiteX278" fmla="*/ 619994 w 848702"/>
                  <a:gd name="connsiteY278" fmla="*/ 693174 h 1037303"/>
                  <a:gd name="connsiteX279" fmla="*/ 612620 w 848702"/>
                  <a:gd name="connsiteY279" fmla="*/ 688258 h 1037303"/>
                  <a:gd name="connsiteX280" fmla="*/ 597872 w 848702"/>
                  <a:gd name="connsiteY280" fmla="*/ 680884 h 1037303"/>
                  <a:gd name="connsiteX281" fmla="*/ 595414 w 848702"/>
                  <a:gd name="connsiteY281" fmla="*/ 671052 h 1037303"/>
                  <a:gd name="connsiteX282" fmla="*/ 575749 w 848702"/>
                  <a:gd name="connsiteY282" fmla="*/ 656303 h 1037303"/>
                  <a:gd name="connsiteX283" fmla="*/ 568375 w 848702"/>
                  <a:gd name="connsiteY283" fmla="*/ 648929 h 1037303"/>
                  <a:gd name="connsiteX284" fmla="*/ 558543 w 848702"/>
                  <a:gd name="connsiteY284" fmla="*/ 646471 h 1037303"/>
                  <a:gd name="connsiteX285" fmla="*/ 551168 w 848702"/>
                  <a:gd name="connsiteY285" fmla="*/ 644013 h 1037303"/>
                  <a:gd name="connsiteX286" fmla="*/ 543794 w 848702"/>
                  <a:gd name="connsiteY286" fmla="*/ 648929 h 1037303"/>
                  <a:gd name="connsiteX287" fmla="*/ 538878 w 848702"/>
                  <a:gd name="connsiteY287" fmla="*/ 656303 h 1037303"/>
                  <a:gd name="connsiteX288" fmla="*/ 533962 w 848702"/>
                  <a:gd name="connsiteY288" fmla="*/ 661220 h 1037303"/>
                  <a:gd name="connsiteX289" fmla="*/ 570833 w 848702"/>
                  <a:gd name="connsiteY289" fmla="*/ 668594 h 1037303"/>
                  <a:gd name="connsiteX290" fmla="*/ 585581 w 848702"/>
                  <a:gd name="connsiteY290" fmla="*/ 673510 h 1037303"/>
                  <a:gd name="connsiteX291" fmla="*/ 590498 w 848702"/>
                  <a:gd name="connsiteY291" fmla="*/ 678426 h 1037303"/>
                  <a:gd name="connsiteX292" fmla="*/ 595414 w 848702"/>
                  <a:gd name="connsiteY292" fmla="*/ 700549 h 1037303"/>
                  <a:gd name="connsiteX293" fmla="*/ 600330 w 848702"/>
                  <a:gd name="connsiteY293" fmla="*/ 739878 h 1037303"/>
                  <a:gd name="connsiteX294" fmla="*/ 607704 w 848702"/>
                  <a:gd name="connsiteY294" fmla="*/ 747252 h 1037303"/>
                  <a:gd name="connsiteX295" fmla="*/ 612620 w 848702"/>
                  <a:gd name="connsiteY295" fmla="*/ 776749 h 1037303"/>
                  <a:gd name="connsiteX296" fmla="*/ 605246 w 848702"/>
                  <a:gd name="connsiteY296" fmla="*/ 781665 h 1037303"/>
                  <a:gd name="connsiteX297" fmla="*/ 597872 w 848702"/>
                  <a:gd name="connsiteY297" fmla="*/ 779207 h 1037303"/>
                  <a:gd name="connsiteX298" fmla="*/ 583123 w 848702"/>
                  <a:gd name="connsiteY298" fmla="*/ 764458 h 1037303"/>
                  <a:gd name="connsiteX299" fmla="*/ 568375 w 848702"/>
                  <a:gd name="connsiteY299" fmla="*/ 759542 h 1037303"/>
                  <a:gd name="connsiteX300" fmla="*/ 551168 w 848702"/>
                  <a:gd name="connsiteY300" fmla="*/ 747252 h 1037303"/>
                  <a:gd name="connsiteX301" fmla="*/ 543794 w 848702"/>
                  <a:gd name="connsiteY301" fmla="*/ 742336 h 1037303"/>
                  <a:gd name="connsiteX302" fmla="*/ 536420 w 848702"/>
                  <a:gd name="connsiteY302" fmla="*/ 739878 h 1037303"/>
                  <a:gd name="connsiteX303" fmla="*/ 529046 w 848702"/>
                  <a:gd name="connsiteY303" fmla="*/ 734961 h 1037303"/>
                  <a:gd name="connsiteX304" fmla="*/ 526588 w 848702"/>
                  <a:gd name="connsiteY304" fmla="*/ 727587 h 1037303"/>
                  <a:gd name="connsiteX305" fmla="*/ 521672 w 848702"/>
                  <a:gd name="connsiteY305" fmla="*/ 720213 h 1037303"/>
                  <a:gd name="connsiteX306" fmla="*/ 511839 w 848702"/>
                  <a:gd name="connsiteY306" fmla="*/ 722671 h 1037303"/>
                  <a:gd name="connsiteX307" fmla="*/ 504465 w 848702"/>
                  <a:gd name="connsiteY307" fmla="*/ 730045 h 1037303"/>
                  <a:gd name="connsiteX308" fmla="*/ 497091 w 848702"/>
                  <a:gd name="connsiteY308" fmla="*/ 734961 h 1037303"/>
                  <a:gd name="connsiteX309" fmla="*/ 492175 w 848702"/>
                  <a:gd name="connsiteY309" fmla="*/ 739878 h 1037303"/>
                  <a:gd name="connsiteX310" fmla="*/ 484801 w 848702"/>
                  <a:gd name="connsiteY310" fmla="*/ 742336 h 1037303"/>
                  <a:gd name="connsiteX311" fmla="*/ 470052 w 848702"/>
                  <a:gd name="connsiteY311" fmla="*/ 749710 h 1037303"/>
                  <a:gd name="connsiteX312" fmla="*/ 472510 w 848702"/>
                  <a:gd name="connsiteY312" fmla="*/ 759542 h 1037303"/>
                  <a:gd name="connsiteX313" fmla="*/ 474968 w 848702"/>
                  <a:gd name="connsiteY313" fmla="*/ 766916 h 1037303"/>
                  <a:gd name="connsiteX314" fmla="*/ 482343 w 848702"/>
                  <a:gd name="connsiteY314" fmla="*/ 791497 h 1037303"/>
                  <a:gd name="connsiteX315" fmla="*/ 492175 w 848702"/>
                  <a:gd name="connsiteY315" fmla="*/ 806245 h 1037303"/>
                  <a:gd name="connsiteX316" fmla="*/ 499549 w 848702"/>
                  <a:gd name="connsiteY316" fmla="*/ 808703 h 1037303"/>
                  <a:gd name="connsiteX317" fmla="*/ 514298 w 848702"/>
                  <a:gd name="connsiteY317" fmla="*/ 806245 h 1037303"/>
                  <a:gd name="connsiteX318" fmla="*/ 516756 w 848702"/>
                  <a:gd name="connsiteY318" fmla="*/ 796413 h 1037303"/>
                  <a:gd name="connsiteX319" fmla="*/ 524130 w 848702"/>
                  <a:gd name="connsiteY319" fmla="*/ 811161 h 1037303"/>
                  <a:gd name="connsiteX320" fmla="*/ 531504 w 848702"/>
                  <a:gd name="connsiteY320" fmla="*/ 816078 h 1037303"/>
                  <a:gd name="connsiteX321" fmla="*/ 538878 w 848702"/>
                  <a:gd name="connsiteY321" fmla="*/ 823452 h 1037303"/>
                  <a:gd name="connsiteX322" fmla="*/ 516756 w 848702"/>
                  <a:gd name="connsiteY322" fmla="*/ 833284 h 1037303"/>
                  <a:gd name="connsiteX323" fmla="*/ 514298 w 848702"/>
                  <a:gd name="connsiteY323" fmla="*/ 845574 h 1037303"/>
                  <a:gd name="connsiteX324" fmla="*/ 509381 w 848702"/>
                  <a:gd name="connsiteY324" fmla="*/ 850491 h 1037303"/>
                  <a:gd name="connsiteX325" fmla="*/ 494633 w 848702"/>
                  <a:gd name="connsiteY325" fmla="*/ 860323 h 1037303"/>
                  <a:gd name="connsiteX326" fmla="*/ 487259 w 848702"/>
                  <a:gd name="connsiteY326" fmla="*/ 857865 h 1037303"/>
                  <a:gd name="connsiteX327" fmla="*/ 487259 w 848702"/>
                  <a:gd name="connsiteY327" fmla="*/ 840658 h 1037303"/>
                  <a:gd name="connsiteX328" fmla="*/ 484801 w 848702"/>
                  <a:gd name="connsiteY328" fmla="*/ 830826 h 1037303"/>
                  <a:gd name="connsiteX329" fmla="*/ 477427 w 848702"/>
                  <a:gd name="connsiteY329" fmla="*/ 828368 h 1037303"/>
                  <a:gd name="connsiteX330" fmla="*/ 470052 w 848702"/>
                  <a:gd name="connsiteY330" fmla="*/ 823452 h 1037303"/>
                  <a:gd name="connsiteX331" fmla="*/ 455304 w 848702"/>
                  <a:gd name="connsiteY331" fmla="*/ 828368 h 1037303"/>
                  <a:gd name="connsiteX332" fmla="*/ 440556 w 848702"/>
                  <a:gd name="connsiteY332" fmla="*/ 823452 h 1037303"/>
                  <a:gd name="connsiteX333" fmla="*/ 420891 w 848702"/>
                  <a:gd name="connsiteY333" fmla="*/ 825910 h 1037303"/>
                  <a:gd name="connsiteX334" fmla="*/ 423349 w 848702"/>
                  <a:gd name="connsiteY334" fmla="*/ 833284 h 1037303"/>
                  <a:gd name="connsiteX335" fmla="*/ 433181 w 848702"/>
                  <a:gd name="connsiteY335" fmla="*/ 848032 h 1037303"/>
                  <a:gd name="connsiteX336" fmla="*/ 447930 w 848702"/>
                  <a:gd name="connsiteY336" fmla="*/ 860323 h 1037303"/>
                  <a:gd name="connsiteX337" fmla="*/ 455304 w 848702"/>
                  <a:gd name="connsiteY337" fmla="*/ 882445 h 1037303"/>
                  <a:gd name="connsiteX338" fmla="*/ 457762 w 848702"/>
                  <a:gd name="connsiteY338" fmla="*/ 889820 h 1037303"/>
                  <a:gd name="connsiteX339" fmla="*/ 462678 w 848702"/>
                  <a:gd name="connsiteY339" fmla="*/ 899652 h 1037303"/>
                  <a:gd name="connsiteX340" fmla="*/ 470052 w 848702"/>
                  <a:gd name="connsiteY340" fmla="*/ 902110 h 1037303"/>
                  <a:gd name="connsiteX341" fmla="*/ 477427 w 848702"/>
                  <a:gd name="connsiteY341" fmla="*/ 907026 h 1037303"/>
                  <a:gd name="connsiteX342" fmla="*/ 482343 w 848702"/>
                  <a:gd name="connsiteY342" fmla="*/ 916858 h 1037303"/>
                  <a:gd name="connsiteX343" fmla="*/ 487259 w 848702"/>
                  <a:gd name="connsiteY343" fmla="*/ 931607 h 1037303"/>
                  <a:gd name="connsiteX344" fmla="*/ 499549 w 848702"/>
                  <a:gd name="connsiteY344" fmla="*/ 946355 h 1037303"/>
                  <a:gd name="connsiteX345" fmla="*/ 502007 w 848702"/>
                  <a:gd name="connsiteY345" fmla="*/ 953729 h 1037303"/>
                  <a:gd name="connsiteX346" fmla="*/ 504465 w 848702"/>
                  <a:gd name="connsiteY346" fmla="*/ 990600 h 1037303"/>
                  <a:gd name="connsiteX347" fmla="*/ 514298 w 848702"/>
                  <a:gd name="connsiteY347" fmla="*/ 1005349 h 1037303"/>
                  <a:gd name="connsiteX348" fmla="*/ 519214 w 848702"/>
                  <a:gd name="connsiteY348" fmla="*/ 1012723 h 1037303"/>
                  <a:gd name="connsiteX349" fmla="*/ 524130 w 848702"/>
                  <a:gd name="connsiteY349" fmla="*/ 1020097 h 1037303"/>
                  <a:gd name="connsiteX350" fmla="*/ 502007 w 848702"/>
                  <a:gd name="connsiteY350" fmla="*/ 1020097 h 1037303"/>
                  <a:gd name="connsiteX351" fmla="*/ 494633 w 848702"/>
                  <a:gd name="connsiteY351" fmla="*/ 1012723 h 1037303"/>
                  <a:gd name="connsiteX352" fmla="*/ 492175 w 848702"/>
                  <a:gd name="connsiteY352" fmla="*/ 1002891 h 1037303"/>
                  <a:gd name="connsiteX353" fmla="*/ 484801 w 848702"/>
                  <a:gd name="connsiteY353" fmla="*/ 1000432 h 1037303"/>
                  <a:gd name="connsiteX354" fmla="*/ 467594 w 848702"/>
                  <a:gd name="connsiteY354" fmla="*/ 990600 h 1037303"/>
                  <a:gd name="connsiteX355" fmla="*/ 465136 w 848702"/>
                  <a:gd name="connsiteY355" fmla="*/ 975852 h 1037303"/>
                  <a:gd name="connsiteX356" fmla="*/ 452846 w 848702"/>
                  <a:gd name="connsiteY356" fmla="*/ 958645 h 1037303"/>
                  <a:gd name="connsiteX357" fmla="*/ 430723 w 848702"/>
                  <a:gd name="connsiteY357" fmla="*/ 966020 h 1037303"/>
                  <a:gd name="connsiteX358" fmla="*/ 425807 w 848702"/>
                  <a:gd name="connsiteY358" fmla="*/ 980768 h 1037303"/>
                  <a:gd name="connsiteX359" fmla="*/ 428265 w 848702"/>
                  <a:gd name="connsiteY359" fmla="*/ 988142 h 1037303"/>
                  <a:gd name="connsiteX360" fmla="*/ 423349 w 848702"/>
                  <a:gd name="connsiteY360" fmla="*/ 1002891 h 1037303"/>
                  <a:gd name="connsiteX361" fmla="*/ 425807 w 848702"/>
                  <a:gd name="connsiteY361" fmla="*/ 1027471 h 1037303"/>
                  <a:gd name="connsiteX362" fmla="*/ 428265 w 848702"/>
                  <a:gd name="connsiteY362" fmla="*/ 1034845 h 1037303"/>
                  <a:gd name="connsiteX363" fmla="*/ 420891 w 848702"/>
                  <a:gd name="connsiteY363" fmla="*/ 1037303 h 1037303"/>
                  <a:gd name="connsiteX364" fmla="*/ 411059 w 848702"/>
                  <a:gd name="connsiteY364" fmla="*/ 1034845 h 1037303"/>
                  <a:gd name="connsiteX365" fmla="*/ 406143 w 848702"/>
                  <a:gd name="connsiteY365" fmla="*/ 1027471 h 1037303"/>
                  <a:gd name="connsiteX366" fmla="*/ 401227 w 848702"/>
                  <a:gd name="connsiteY366" fmla="*/ 1010265 h 1037303"/>
                  <a:gd name="connsiteX367" fmla="*/ 398768 w 848702"/>
                  <a:gd name="connsiteY367" fmla="*/ 1002891 h 1037303"/>
                  <a:gd name="connsiteX368" fmla="*/ 396310 w 848702"/>
                  <a:gd name="connsiteY368" fmla="*/ 985684 h 1037303"/>
                  <a:gd name="connsiteX369" fmla="*/ 388936 w 848702"/>
                  <a:gd name="connsiteY369" fmla="*/ 980768 h 1037303"/>
                  <a:gd name="connsiteX370" fmla="*/ 386478 w 848702"/>
                  <a:gd name="connsiteY370" fmla="*/ 970936 h 1037303"/>
                  <a:gd name="connsiteX371" fmla="*/ 379104 w 848702"/>
                  <a:gd name="connsiteY371" fmla="*/ 966020 h 1037303"/>
                  <a:gd name="connsiteX372" fmla="*/ 374188 w 848702"/>
                  <a:gd name="connsiteY372" fmla="*/ 961103 h 1037303"/>
                  <a:gd name="connsiteX373" fmla="*/ 359439 w 848702"/>
                  <a:gd name="connsiteY373" fmla="*/ 953729 h 1037303"/>
                  <a:gd name="connsiteX374" fmla="*/ 352065 w 848702"/>
                  <a:gd name="connsiteY374" fmla="*/ 946355 h 1037303"/>
                  <a:gd name="connsiteX375" fmla="*/ 347149 w 848702"/>
                  <a:gd name="connsiteY375" fmla="*/ 931607 h 1037303"/>
                  <a:gd name="connsiteX376" fmla="*/ 339775 w 848702"/>
                  <a:gd name="connsiteY376" fmla="*/ 934065 h 1037303"/>
                  <a:gd name="connsiteX377" fmla="*/ 337317 w 848702"/>
                  <a:gd name="connsiteY377" fmla="*/ 941439 h 1037303"/>
                  <a:gd name="connsiteX378" fmla="*/ 322568 w 848702"/>
                  <a:gd name="connsiteY378" fmla="*/ 946355 h 1037303"/>
                  <a:gd name="connsiteX379" fmla="*/ 327485 w 848702"/>
                  <a:gd name="connsiteY379" fmla="*/ 961103 h 1037303"/>
                  <a:gd name="connsiteX380" fmla="*/ 329943 w 848702"/>
                  <a:gd name="connsiteY380" fmla="*/ 968478 h 1037303"/>
                  <a:gd name="connsiteX381" fmla="*/ 327485 w 848702"/>
                  <a:gd name="connsiteY381" fmla="*/ 985684 h 1037303"/>
                  <a:gd name="connsiteX382" fmla="*/ 320110 w 848702"/>
                  <a:gd name="connsiteY382" fmla="*/ 988142 h 1037303"/>
                  <a:gd name="connsiteX383" fmla="*/ 305362 w 848702"/>
                  <a:gd name="connsiteY383" fmla="*/ 983226 h 1037303"/>
                  <a:gd name="connsiteX384" fmla="*/ 288156 w 848702"/>
                  <a:gd name="connsiteY384" fmla="*/ 980768 h 1037303"/>
                  <a:gd name="connsiteX385" fmla="*/ 273407 w 848702"/>
                  <a:gd name="connsiteY385" fmla="*/ 951271 h 1037303"/>
                  <a:gd name="connsiteX386" fmla="*/ 266033 w 848702"/>
                  <a:gd name="connsiteY386" fmla="*/ 943897 h 1037303"/>
                  <a:gd name="connsiteX387" fmla="*/ 275865 w 848702"/>
                  <a:gd name="connsiteY387" fmla="*/ 914400 h 1037303"/>
                  <a:gd name="connsiteX388" fmla="*/ 283239 w 848702"/>
                  <a:gd name="connsiteY388" fmla="*/ 909484 h 1037303"/>
                  <a:gd name="connsiteX389" fmla="*/ 285698 w 848702"/>
                  <a:gd name="connsiteY389" fmla="*/ 894736 h 1037303"/>
                  <a:gd name="connsiteX390" fmla="*/ 288156 w 848702"/>
                  <a:gd name="connsiteY390" fmla="*/ 887361 h 1037303"/>
                  <a:gd name="connsiteX391" fmla="*/ 278323 w 848702"/>
                  <a:gd name="connsiteY391" fmla="*/ 875071 h 1037303"/>
                  <a:gd name="connsiteX392" fmla="*/ 256201 w 848702"/>
                  <a:gd name="connsiteY392" fmla="*/ 855407 h 1037303"/>
                  <a:gd name="connsiteX393" fmla="*/ 248827 w 848702"/>
                  <a:gd name="connsiteY393" fmla="*/ 852949 h 1037303"/>
                  <a:gd name="connsiteX394" fmla="*/ 243910 w 848702"/>
                  <a:gd name="connsiteY394" fmla="*/ 848032 h 1037303"/>
                  <a:gd name="connsiteX395" fmla="*/ 221788 w 848702"/>
                  <a:gd name="connsiteY395" fmla="*/ 843116 h 1037303"/>
                  <a:gd name="connsiteX396" fmla="*/ 214414 w 848702"/>
                  <a:gd name="connsiteY396" fmla="*/ 840658 h 1037303"/>
                  <a:gd name="connsiteX397" fmla="*/ 211956 w 848702"/>
                  <a:gd name="connsiteY397" fmla="*/ 820994 h 1037303"/>
                  <a:gd name="connsiteX398" fmla="*/ 197207 w 848702"/>
                  <a:gd name="connsiteY398" fmla="*/ 816078 h 1037303"/>
                  <a:gd name="connsiteX399" fmla="*/ 189833 w 848702"/>
                  <a:gd name="connsiteY399" fmla="*/ 813620 h 1037303"/>
                  <a:gd name="connsiteX400" fmla="*/ 192291 w 848702"/>
                  <a:gd name="connsiteY400" fmla="*/ 806245 h 1037303"/>
                  <a:gd name="connsiteX401" fmla="*/ 199665 w 848702"/>
                  <a:gd name="connsiteY401" fmla="*/ 786581 h 1037303"/>
                  <a:gd name="connsiteX402" fmla="*/ 209498 w 848702"/>
                  <a:gd name="connsiteY402" fmla="*/ 784123 h 1037303"/>
                  <a:gd name="connsiteX403" fmla="*/ 216872 w 848702"/>
                  <a:gd name="connsiteY403" fmla="*/ 762000 h 1037303"/>
                  <a:gd name="connsiteX404" fmla="*/ 224246 w 848702"/>
                  <a:gd name="connsiteY404" fmla="*/ 747252 h 1037303"/>
                  <a:gd name="connsiteX405" fmla="*/ 231620 w 848702"/>
                  <a:gd name="connsiteY405" fmla="*/ 744794 h 1037303"/>
                  <a:gd name="connsiteX406" fmla="*/ 251285 w 848702"/>
                  <a:gd name="connsiteY406" fmla="*/ 739878 h 1037303"/>
                  <a:gd name="connsiteX407" fmla="*/ 263575 w 848702"/>
                  <a:gd name="connsiteY407" fmla="*/ 730045 h 1037303"/>
                  <a:gd name="connsiteX408" fmla="*/ 270949 w 848702"/>
                  <a:gd name="connsiteY408" fmla="*/ 727587 h 1037303"/>
                  <a:gd name="connsiteX409" fmla="*/ 273407 w 848702"/>
                  <a:gd name="connsiteY409" fmla="*/ 717755 h 1037303"/>
                  <a:gd name="connsiteX410" fmla="*/ 280781 w 848702"/>
                  <a:gd name="connsiteY410" fmla="*/ 715297 h 1037303"/>
                  <a:gd name="connsiteX411" fmla="*/ 285698 w 848702"/>
                  <a:gd name="connsiteY411" fmla="*/ 710381 h 1037303"/>
                  <a:gd name="connsiteX412" fmla="*/ 307820 w 848702"/>
                  <a:gd name="connsiteY412" fmla="*/ 712839 h 1037303"/>
                  <a:gd name="connsiteX413" fmla="*/ 322568 w 848702"/>
                  <a:gd name="connsiteY413" fmla="*/ 720213 h 1037303"/>
                  <a:gd name="connsiteX414" fmla="*/ 361898 w 848702"/>
                  <a:gd name="connsiteY414" fmla="*/ 730045 h 1037303"/>
                  <a:gd name="connsiteX415" fmla="*/ 391394 w 848702"/>
                  <a:gd name="connsiteY415" fmla="*/ 734961 h 1037303"/>
                  <a:gd name="connsiteX416" fmla="*/ 408601 w 848702"/>
                  <a:gd name="connsiteY416" fmla="*/ 749710 h 1037303"/>
                  <a:gd name="connsiteX417" fmla="*/ 425807 w 848702"/>
                  <a:gd name="connsiteY417" fmla="*/ 752168 h 1037303"/>
                  <a:gd name="connsiteX418" fmla="*/ 452846 w 848702"/>
                  <a:gd name="connsiteY418" fmla="*/ 757084 h 1037303"/>
                  <a:gd name="connsiteX419" fmla="*/ 447930 w 848702"/>
                  <a:gd name="connsiteY419" fmla="*/ 749710 h 1037303"/>
                  <a:gd name="connsiteX420" fmla="*/ 440556 w 848702"/>
                  <a:gd name="connsiteY420" fmla="*/ 742336 h 1037303"/>
                  <a:gd name="connsiteX421" fmla="*/ 457762 w 848702"/>
                  <a:gd name="connsiteY421" fmla="*/ 734961 h 1037303"/>
                  <a:gd name="connsiteX422" fmla="*/ 462678 w 848702"/>
                  <a:gd name="connsiteY422" fmla="*/ 727587 h 1037303"/>
                  <a:gd name="connsiteX423" fmla="*/ 477427 w 848702"/>
                  <a:gd name="connsiteY423" fmla="*/ 722671 h 1037303"/>
                  <a:gd name="connsiteX424" fmla="*/ 484801 w 848702"/>
                  <a:gd name="connsiteY424" fmla="*/ 717755 h 1037303"/>
                  <a:gd name="connsiteX425" fmla="*/ 472510 w 848702"/>
                  <a:gd name="connsiteY425" fmla="*/ 707923 h 1037303"/>
                  <a:gd name="connsiteX426" fmla="*/ 462678 w 848702"/>
                  <a:gd name="connsiteY426" fmla="*/ 705465 h 1037303"/>
                  <a:gd name="connsiteX427" fmla="*/ 455304 w 848702"/>
                  <a:gd name="connsiteY427" fmla="*/ 703007 h 1037303"/>
                  <a:gd name="connsiteX428" fmla="*/ 430723 w 848702"/>
                  <a:gd name="connsiteY428" fmla="*/ 700549 h 1037303"/>
                  <a:gd name="connsiteX429" fmla="*/ 406143 w 848702"/>
                  <a:gd name="connsiteY429" fmla="*/ 695632 h 1037303"/>
                  <a:gd name="connsiteX430" fmla="*/ 403685 w 848702"/>
                  <a:gd name="connsiteY430" fmla="*/ 720213 h 1037303"/>
                  <a:gd name="connsiteX431" fmla="*/ 366814 w 848702"/>
                  <a:gd name="connsiteY431" fmla="*/ 688258 h 1037303"/>
                  <a:gd name="connsiteX432" fmla="*/ 361898 w 848702"/>
                  <a:gd name="connsiteY432" fmla="*/ 695632 h 1037303"/>
                  <a:gd name="connsiteX433" fmla="*/ 359439 w 848702"/>
                  <a:gd name="connsiteY433" fmla="*/ 703007 h 1037303"/>
                  <a:gd name="connsiteX434" fmla="*/ 352065 w 848702"/>
                  <a:gd name="connsiteY434" fmla="*/ 705465 h 1037303"/>
                  <a:gd name="connsiteX435" fmla="*/ 342233 w 848702"/>
                  <a:gd name="connsiteY435" fmla="*/ 703007 h 1037303"/>
                  <a:gd name="connsiteX436" fmla="*/ 337317 w 848702"/>
                  <a:gd name="connsiteY436" fmla="*/ 695632 h 1037303"/>
                  <a:gd name="connsiteX437" fmla="*/ 305362 w 848702"/>
                  <a:gd name="connsiteY437" fmla="*/ 693174 h 1037303"/>
                  <a:gd name="connsiteX438" fmla="*/ 280781 w 848702"/>
                  <a:gd name="connsiteY438" fmla="*/ 695632 h 1037303"/>
                  <a:gd name="connsiteX439" fmla="*/ 273407 w 848702"/>
                  <a:gd name="connsiteY439" fmla="*/ 700549 h 1037303"/>
                  <a:gd name="connsiteX440" fmla="*/ 258659 w 848702"/>
                  <a:gd name="connsiteY440" fmla="*/ 705465 h 1037303"/>
                  <a:gd name="connsiteX441" fmla="*/ 251285 w 848702"/>
                  <a:gd name="connsiteY441" fmla="*/ 707923 h 1037303"/>
                  <a:gd name="connsiteX442" fmla="*/ 243910 w 848702"/>
                  <a:gd name="connsiteY442" fmla="*/ 710381 h 1037303"/>
                  <a:gd name="connsiteX443" fmla="*/ 236536 w 848702"/>
                  <a:gd name="connsiteY443" fmla="*/ 715297 h 1037303"/>
                  <a:gd name="connsiteX444" fmla="*/ 224246 w 848702"/>
                  <a:gd name="connsiteY444" fmla="*/ 705465 h 1037303"/>
                  <a:gd name="connsiteX445" fmla="*/ 219330 w 848702"/>
                  <a:gd name="connsiteY445" fmla="*/ 698091 h 1037303"/>
                  <a:gd name="connsiteX446" fmla="*/ 204581 w 848702"/>
                  <a:gd name="connsiteY446" fmla="*/ 700549 h 1037303"/>
                  <a:gd name="connsiteX447" fmla="*/ 194749 w 848702"/>
                  <a:gd name="connsiteY447" fmla="*/ 722671 h 1037303"/>
                  <a:gd name="connsiteX448" fmla="*/ 180001 w 848702"/>
                  <a:gd name="connsiteY448" fmla="*/ 725129 h 1037303"/>
                  <a:gd name="connsiteX449" fmla="*/ 172627 w 848702"/>
                  <a:gd name="connsiteY449" fmla="*/ 698091 h 1037303"/>
                  <a:gd name="connsiteX450" fmla="*/ 165252 w 848702"/>
                  <a:gd name="connsiteY450" fmla="*/ 695632 h 1037303"/>
                  <a:gd name="connsiteX451" fmla="*/ 162794 w 848702"/>
                  <a:gd name="connsiteY451" fmla="*/ 703007 h 1037303"/>
                  <a:gd name="connsiteX452" fmla="*/ 155420 w 848702"/>
                  <a:gd name="connsiteY452" fmla="*/ 707923 h 1037303"/>
                  <a:gd name="connsiteX453" fmla="*/ 152962 w 848702"/>
                  <a:gd name="connsiteY453" fmla="*/ 683342 h 1037303"/>
                  <a:gd name="connsiteX454" fmla="*/ 148046 w 848702"/>
                  <a:gd name="connsiteY454" fmla="*/ 675968 h 1037303"/>
                  <a:gd name="connsiteX455" fmla="*/ 143130 w 848702"/>
                  <a:gd name="connsiteY455" fmla="*/ 683342 h 1037303"/>
                  <a:gd name="connsiteX456" fmla="*/ 135756 w 848702"/>
                  <a:gd name="connsiteY456" fmla="*/ 678426 h 1037303"/>
                  <a:gd name="connsiteX457" fmla="*/ 123465 w 848702"/>
                  <a:gd name="connsiteY457" fmla="*/ 671052 h 1037303"/>
                  <a:gd name="connsiteX458" fmla="*/ 106259 w 848702"/>
                  <a:gd name="connsiteY458" fmla="*/ 671052 h 1037303"/>
                  <a:gd name="connsiteX459" fmla="*/ 101343 w 848702"/>
                  <a:gd name="connsiteY459" fmla="*/ 663678 h 1037303"/>
                  <a:gd name="connsiteX460" fmla="*/ 108717 w 848702"/>
                  <a:gd name="connsiteY460" fmla="*/ 658761 h 1037303"/>
                  <a:gd name="connsiteX461" fmla="*/ 118549 w 848702"/>
                  <a:gd name="connsiteY461" fmla="*/ 656303 h 1037303"/>
                  <a:gd name="connsiteX462" fmla="*/ 128381 w 848702"/>
                  <a:gd name="connsiteY462" fmla="*/ 641555 h 1037303"/>
                  <a:gd name="connsiteX463" fmla="*/ 143130 w 848702"/>
                  <a:gd name="connsiteY463" fmla="*/ 636639 h 1037303"/>
                  <a:gd name="connsiteX464" fmla="*/ 145588 w 848702"/>
                  <a:gd name="connsiteY464" fmla="*/ 629265 h 1037303"/>
                  <a:gd name="connsiteX465" fmla="*/ 160336 w 848702"/>
                  <a:gd name="connsiteY465" fmla="*/ 634181 h 1037303"/>
                  <a:gd name="connsiteX466" fmla="*/ 162794 w 848702"/>
                  <a:gd name="connsiteY466" fmla="*/ 626807 h 1037303"/>
                  <a:gd name="connsiteX467" fmla="*/ 170168 w 848702"/>
                  <a:gd name="connsiteY467" fmla="*/ 619432 h 1037303"/>
                  <a:gd name="connsiteX468" fmla="*/ 165252 w 848702"/>
                  <a:gd name="connsiteY468" fmla="*/ 612058 h 1037303"/>
                  <a:gd name="connsiteX469" fmla="*/ 148046 w 848702"/>
                  <a:gd name="connsiteY469" fmla="*/ 604684 h 1037303"/>
                  <a:gd name="connsiteX470" fmla="*/ 128381 w 848702"/>
                  <a:gd name="connsiteY470" fmla="*/ 602226 h 1037303"/>
                  <a:gd name="connsiteX471" fmla="*/ 116091 w 848702"/>
                  <a:gd name="connsiteY471" fmla="*/ 592394 h 1037303"/>
                  <a:gd name="connsiteX472" fmla="*/ 113633 w 848702"/>
                  <a:gd name="connsiteY472" fmla="*/ 599768 h 1037303"/>
                  <a:gd name="connsiteX473" fmla="*/ 108717 w 848702"/>
                  <a:gd name="connsiteY473" fmla="*/ 607142 h 1037303"/>
                  <a:gd name="connsiteX474" fmla="*/ 74304 w 848702"/>
                  <a:gd name="connsiteY474" fmla="*/ 592394 h 1037303"/>
                  <a:gd name="connsiteX475" fmla="*/ 66930 w 848702"/>
                  <a:gd name="connsiteY475" fmla="*/ 587478 h 1037303"/>
                  <a:gd name="connsiteX476" fmla="*/ 62014 w 848702"/>
                  <a:gd name="connsiteY476" fmla="*/ 582561 h 1037303"/>
                  <a:gd name="connsiteX477" fmla="*/ 39891 w 848702"/>
                  <a:gd name="connsiteY477" fmla="*/ 565355 h 1037303"/>
                  <a:gd name="connsiteX478" fmla="*/ 34975 w 848702"/>
                  <a:gd name="connsiteY478" fmla="*/ 557981 h 1037303"/>
                  <a:gd name="connsiteX479" fmla="*/ 39891 w 848702"/>
                  <a:gd name="connsiteY479" fmla="*/ 550607 h 1037303"/>
                  <a:gd name="connsiteX480" fmla="*/ 37433 w 848702"/>
                  <a:gd name="connsiteY480" fmla="*/ 535858 h 1037303"/>
                  <a:gd name="connsiteX481" fmla="*/ 32517 w 848702"/>
                  <a:gd name="connsiteY481" fmla="*/ 528484 h 1037303"/>
                  <a:gd name="connsiteX482" fmla="*/ 10394 w 848702"/>
                  <a:gd name="connsiteY482" fmla="*/ 523568 h 1037303"/>
                  <a:gd name="connsiteX483" fmla="*/ 32517 w 848702"/>
                  <a:gd name="connsiteY483" fmla="*/ 540774 h 1037303"/>
                  <a:gd name="connsiteX0" fmla="*/ 32517 w 848702"/>
                  <a:gd name="connsiteY0" fmla="*/ 540774 h 1037303"/>
                  <a:gd name="connsiteX1" fmla="*/ 20227 w 848702"/>
                  <a:gd name="connsiteY1" fmla="*/ 521110 h 1037303"/>
                  <a:gd name="connsiteX2" fmla="*/ 15310 w 848702"/>
                  <a:gd name="connsiteY2" fmla="*/ 516194 h 1037303"/>
                  <a:gd name="connsiteX3" fmla="*/ 7936 w 848702"/>
                  <a:gd name="connsiteY3" fmla="*/ 513736 h 1037303"/>
                  <a:gd name="connsiteX4" fmla="*/ 562 w 848702"/>
                  <a:gd name="connsiteY4" fmla="*/ 508820 h 1037303"/>
                  <a:gd name="connsiteX5" fmla="*/ 12852 w 848702"/>
                  <a:gd name="connsiteY5" fmla="*/ 511278 h 1037303"/>
                  <a:gd name="connsiteX6" fmla="*/ 25143 w 848702"/>
                  <a:gd name="connsiteY6" fmla="*/ 508820 h 1037303"/>
                  <a:gd name="connsiteX7" fmla="*/ 34975 w 848702"/>
                  <a:gd name="connsiteY7" fmla="*/ 494071 h 1037303"/>
                  <a:gd name="connsiteX8" fmla="*/ 42349 w 848702"/>
                  <a:gd name="connsiteY8" fmla="*/ 479323 h 1037303"/>
                  <a:gd name="connsiteX9" fmla="*/ 34975 w 848702"/>
                  <a:gd name="connsiteY9" fmla="*/ 464574 h 1037303"/>
                  <a:gd name="connsiteX10" fmla="*/ 42349 w 848702"/>
                  <a:gd name="connsiteY10" fmla="*/ 467032 h 1037303"/>
                  <a:gd name="connsiteX11" fmla="*/ 39891 w 848702"/>
                  <a:gd name="connsiteY11" fmla="*/ 457200 h 1037303"/>
                  <a:gd name="connsiteX12" fmla="*/ 34975 w 848702"/>
                  <a:gd name="connsiteY12" fmla="*/ 449826 h 1037303"/>
                  <a:gd name="connsiteX13" fmla="*/ 42349 w 848702"/>
                  <a:gd name="connsiteY13" fmla="*/ 444910 h 1037303"/>
                  <a:gd name="connsiteX14" fmla="*/ 47265 w 848702"/>
                  <a:gd name="connsiteY14" fmla="*/ 437536 h 1037303"/>
                  <a:gd name="connsiteX15" fmla="*/ 54639 w 848702"/>
                  <a:gd name="connsiteY15" fmla="*/ 435078 h 1037303"/>
                  <a:gd name="connsiteX16" fmla="*/ 74304 w 848702"/>
                  <a:gd name="connsiteY16" fmla="*/ 430161 h 1037303"/>
                  <a:gd name="connsiteX17" fmla="*/ 76762 w 848702"/>
                  <a:gd name="connsiteY17" fmla="*/ 405581 h 1037303"/>
                  <a:gd name="connsiteX18" fmla="*/ 81678 w 848702"/>
                  <a:gd name="connsiteY18" fmla="*/ 398207 h 1037303"/>
                  <a:gd name="connsiteX19" fmla="*/ 86594 w 848702"/>
                  <a:gd name="connsiteY19" fmla="*/ 371168 h 1037303"/>
                  <a:gd name="connsiteX20" fmla="*/ 91510 w 848702"/>
                  <a:gd name="connsiteY20" fmla="*/ 363794 h 1037303"/>
                  <a:gd name="connsiteX21" fmla="*/ 98885 w 848702"/>
                  <a:gd name="connsiteY21" fmla="*/ 351503 h 1037303"/>
                  <a:gd name="connsiteX22" fmla="*/ 123465 w 848702"/>
                  <a:gd name="connsiteY22" fmla="*/ 344129 h 1037303"/>
                  <a:gd name="connsiteX23" fmla="*/ 116091 w 848702"/>
                  <a:gd name="connsiteY23" fmla="*/ 314632 h 1037303"/>
                  <a:gd name="connsiteX24" fmla="*/ 108717 w 848702"/>
                  <a:gd name="connsiteY24" fmla="*/ 309716 h 1037303"/>
                  <a:gd name="connsiteX25" fmla="*/ 106259 w 848702"/>
                  <a:gd name="connsiteY25" fmla="*/ 302342 h 1037303"/>
                  <a:gd name="connsiteX26" fmla="*/ 103801 w 848702"/>
                  <a:gd name="connsiteY26" fmla="*/ 282678 h 1037303"/>
                  <a:gd name="connsiteX27" fmla="*/ 111175 w 848702"/>
                  <a:gd name="connsiteY27" fmla="*/ 280220 h 1037303"/>
                  <a:gd name="connsiteX28" fmla="*/ 138214 w 848702"/>
                  <a:gd name="connsiteY28" fmla="*/ 282678 h 1037303"/>
                  <a:gd name="connsiteX29" fmla="*/ 150504 w 848702"/>
                  <a:gd name="connsiteY29" fmla="*/ 272845 h 1037303"/>
                  <a:gd name="connsiteX30" fmla="*/ 157878 w 848702"/>
                  <a:gd name="connsiteY30" fmla="*/ 270387 h 1037303"/>
                  <a:gd name="connsiteX31" fmla="*/ 175085 w 848702"/>
                  <a:gd name="connsiteY31" fmla="*/ 265471 h 1037303"/>
                  <a:gd name="connsiteX32" fmla="*/ 192291 w 848702"/>
                  <a:gd name="connsiteY32" fmla="*/ 267929 h 1037303"/>
                  <a:gd name="connsiteX33" fmla="*/ 204581 w 848702"/>
                  <a:gd name="connsiteY33" fmla="*/ 255639 h 1037303"/>
                  <a:gd name="connsiteX34" fmla="*/ 209498 w 848702"/>
                  <a:gd name="connsiteY34" fmla="*/ 250723 h 1037303"/>
                  <a:gd name="connsiteX35" fmla="*/ 219330 w 848702"/>
                  <a:gd name="connsiteY35" fmla="*/ 235974 h 1037303"/>
                  <a:gd name="connsiteX36" fmla="*/ 231620 w 848702"/>
                  <a:gd name="connsiteY36" fmla="*/ 221226 h 1037303"/>
                  <a:gd name="connsiteX37" fmla="*/ 234078 w 848702"/>
                  <a:gd name="connsiteY37" fmla="*/ 208936 h 1037303"/>
                  <a:gd name="connsiteX38" fmla="*/ 263575 w 848702"/>
                  <a:gd name="connsiteY38" fmla="*/ 213852 h 1037303"/>
                  <a:gd name="connsiteX39" fmla="*/ 273407 w 848702"/>
                  <a:gd name="connsiteY39" fmla="*/ 201561 h 1037303"/>
                  <a:gd name="connsiteX40" fmla="*/ 280781 w 848702"/>
                  <a:gd name="connsiteY40" fmla="*/ 199103 h 1037303"/>
                  <a:gd name="connsiteX41" fmla="*/ 297988 w 848702"/>
                  <a:gd name="connsiteY41" fmla="*/ 201561 h 1037303"/>
                  <a:gd name="connsiteX42" fmla="*/ 312736 w 848702"/>
                  <a:gd name="connsiteY42" fmla="*/ 204020 h 1037303"/>
                  <a:gd name="connsiteX43" fmla="*/ 315194 w 848702"/>
                  <a:gd name="connsiteY43" fmla="*/ 196645 h 1037303"/>
                  <a:gd name="connsiteX44" fmla="*/ 329943 w 848702"/>
                  <a:gd name="connsiteY44" fmla="*/ 196645 h 1037303"/>
                  <a:gd name="connsiteX45" fmla="*/ 329943 w 848702"/>
                  <a:gd name="connsiteY45" fmla="*/ 164691 h 1037303"/>
                  <a:gd name="connsiteX46" fmla="*/ 334859 w 848702"/>
                  <a:gd name="connsiteY46" fmla="*/ 159774 h 1037303"/>
                  <a:gd name="connsiteX47" fmla="*/ 347149 w 848702"/>
                  <a:gd name="connsiteY47" fmla="*/ 162232 h 1037303"/>
                  <a:gd name="connsiteX48" fmla="*/ 366814 w 848702"/>
                  <a:gd name="connsiteY48" fmla="*/ 159774 h 1037303"/>
                  <a:gd name="connsiteX49" fmla="*/ 388936 w 848702"/>
                  <a:gd name="connsiteY49" fmla="*/ 157316 h 1037303"/>
                  <a:gd name="connsiteX50" fmla="*/ 396310 w 848702"/>
                  <a:gd name="connsiteY50" fmla="*/ 152400 h 1037303"/>
                  <a:gd name="connsiteX51" fmla="*/ 408601 w 848702"/>
                  <a:gd name="connsiteY51" fmla="*/ 142568 h 1037303"/>
                  <a:gd name="connsiteX52" fmla="*/ 447930 w 848702"/>
                  <a:gd name="connsiteY52" fmla="*/ 140110 h 1037303"/>
                  <a:gd name="connsiteX53" fmla="*/ 462678 w 848702"/>
                  <a:gd name="connsiteY53" fmla="*/ 130278 h 1037303"/>
                  <a:gd name="connsiteX54" fmla="*/ 472510 w 848702"/>
                  <a:gd name="connsiteY54" fmla="*/ 120445 h 1037303"/>
                  <a:gd name="connsiteX55" fmla="*/ 484801 w 848702"/>
                  <a:gd name="connsiteY55" fmla="*/ 110613 h 1037303"/>
                  <a:gd name="connsiteX56" fmla="*/ 492175 w 848702"/>
                  <a:gd name="connsiteY56" fmla="*/ 108155 h 1037303"/>
                  <a:gd name="connsiteX57" fmla="*/ 494633 w 848702"/>
                  <a:gd name="connsiteY57" fmla="*/ 100781 h 1037303"/>
                  <a:gd name="connsiteX58" fmla="*/ 497091 w 848702"/>
                  <a:gd name="connsiteY58" fmla="*/ 90949 h 1037303"/>
                  <a:gd name="connsiteX59" fmla="*/ 504465 w 848702"/>
                  <a:gd name="connsiteY59" fmla="*/ 93407 h 1037303"/>
                  <a:gd name="connsiteX60" fmla="*/ 519214 w 848702"/>
                  <a:gd name="connsiteY60" fmla="*/ 83574 h 1037303"/>
                  <a:gd name="connsiteX61" fmla="*/ 526588 w 848702"/>
                  <a:gd name="connsiteY61" fmla="*/ 78658 h 1037303"/>
                  <a:gd name="connsiteX62" fmla="*/ 533962 w 848702"/>
                  <a:gd name="connsiteY62" fmla="*/ 78658 h 1037303"/>
                  <a:gd name="connsiteX63" fmla="*/ 541336 w 848702"/>
                  <a:gd name="connsiteY63" fmla="*/ 76200 h 1037303"/>
                  <a:gd name="connsiteX64" fmla="*/ 548710 w 848702"/>
                  <a:gd name="connsiteY64" fmla="*/ 81116 h 1037303"/>
                  <a:gd name="connsiteX65" fmla="*/ 556085 w 848702"/>
                  <a:gd name="connsiteY65" fmla="*/ 83574 h 1037303"/>
                  <a:gd name="connsiteX66" fmla="*/ 558543 w 848702"/>
                  <a:gd name="connsiteY66" fmla="*/ 90949 h 1037303"/>
                  <a:gd name="connsiteX67" fmla="*/ 565917 w 848702"/>
                  <a:gd name="connsiteY67" fmla="*/ 88491 h 1037303"/>
                  <a:gd name="connsiteX68" fmla="*/ 578207 w 848702"/>
                  <a:gd name="connsiteY68" fmla="*/ 100781 h 1037303"/>
                  <a:gd name="connsiteX69" fmla="*/ 585581 w 848702"/>
                  <a:gd name="connsiteY69" fmla="*/ 105697 h 1037303"/>
                  <a:gd name="connsiteX70" fmla="*/ 592956 w 848702"/>
                  <a:gd name="connsiteY70" fmla="*/ 103239 h 1037303"/>
                  <a:gd name="connsiteX71" fmla="*/ 607704 w 848702"/>
                  <a:gd name="connsiteY71" fmla="*/ 108155 h 1037303"/>
                  <a:gd name="connsiteX72" fmla="*/ 615078 w 848702"/>
                  <a:gd name="connsiteY72" fmla="*/ 105697 h 1037303"/>
                  <a:gd name="connsiteX73" fmla="*/ 627368 w 848702"/>
                  <a:gd name="connsiteY73" fmla="*/ 110613 h 1037303"/>
                  <a:gd name="connsiteX74" fmla="*/ 654407 w 848702"/>
                  <a:gd name="connsiteY74" fmla="*/ 115529 h 1037303"/>
                  <a:gd name="connsiteX75" fmla="*/ 661781 w 848702"/>
                  <a:gd name="connsiteY75" fmla="*/ 120445 h 1037303"/>
                  <a:gd name="connsiteX76" fmla="*/ 669156 w 848702"/>
                  <a:gd name="connsiteY76" fmla="*/ 117987 h 1037303"/>
                  <a:gd name="connsiteX77" fmla="*/ 678988 w 848702"/>
                  <a:gd name="connsiteY77" fmla="*/ 110613 h 1037303"/>
                  <a:gd name="connsiteX78" fmla="*/ 691278 w 848702"/>
                  <a:gd name="connsiteY78" fmla="*/ 108155 h 1037303"/>
                  <a:gd name="connsiteX79" fmla="*/ 706027 w 848702"/>
                  <a:gd name="connsiteY79" fmla="*/ 100781 h 1037303"/>
                  <a:gd name="connsiteX80" fmla="*/ 718317 w 848702"/>
                  <a:gd name="connsiteY80" fmla="*/ 103239 h 1037303"/>
                  <a:gd name="connsiteX81" fmla="*/ 725691 w 848702"/>
                  <a:gd name="connsiteY81" fmla="*/ 105697 h 1037303"/>
                  <a:gd name="connsiteX82" fmla="*/ 728149 w 848702"/>
                  <a:gd name="connsiteY82" fmla="*/ 98323 h 1037303"/>
                  <a:gd name="connsiteX83" fmla="*/ 742898 w 848702"/>
                  <a:gd name="connsiteY83" fmla="*/ 90949 h 1037303"/>
                  <a:gd name="connsiteX84" fmla="*/ 745356 w 848702"/>
                  <a:gd name="connsiteY84" fmla="*/ 83574 h 1037303"/>
                  <a:gd name="connsiteX85" fmla="*/ 750272 w 848702"/>
                  <a:gd name="connsiteY85" fmla="*/ 88491 h 1037303"/>
                  <a:gd name="connsiteX86" fmla="*/ 757646 w 848702"/>
                  <a:gd name="connsiteY86" fmla="*/ 93407 h 1037303"/>
                  <a:gd name="connsiteX87" fmla="*/ 769936 w 848702"/>
                  <a:gd name="connsiteY87" fmla="*/ 90949 h 1037303"/>
                  <a:gd name="connsiteX88" fmla="*/ 777310 w 848702"/>
                  <a:gd name="connsiteY88" fmla="*/ 73742 h 1037303"/>
                  <a:gd name="connsiteX89" fmla="*/ 782227 w 848702"/>
                  <a:gd name="connsiteY89" fmla="*/ 68826 h 1037303"/>
                  <a:gd name="connsiteX90" fmla="*/ 779768 w 848702"/>
                  <a:gd name="connsiteY90" fmla="*/ 61452 h 1037303"/>
                  <a:gd name="connsiteX91" fmla="*/ 777310 w 848702"/>
                  <a:gd name="connsiteY91" fmla="*/ 51620 h 1037303"/>
                  <a:gd name="connsiteX92" fmla="*/ 772394 w 848702"/>
                  <a:gd name="connsiteY92" fmla="*/ 46703 h 1037303"/>
                  <a:gd name="connsiteX93" fmla="*/ 769936 w 848702"/>
                  <a:gd name="connsiteY93" fmla="*/ 39329 h 1037303"/>
                  <a:gd name="connsiteX94" fmla="*/ 767478 w 848702"/>
                  <a:gd name="connsiteY94" fmla="*/ 27039 h 1037303"/>
                  <a:gd name="connsiteX95" fmla="*/ 760104 w 848702"/>
                  <a:gd name="connsiteY95" fmla="*/ 24581 h 1037303"/>
                  <a:gd name="connsiteX96" fmla="*/ 757646 w 848702"/>
                  <a:gd name="connsiteY96" fmla="*/ 9832 h 1037303"/>
                  <a:gd name="connsiteX97" fmla="*/ 765020 w 848702"/>
                  <a:gd name="connsiteY97" fmla="*/ 4916 h 1037303"/>
                  <a:gd name="connsiteX98" fmla="*/ 779768 w 848702"/>
                  <a:gd name="connsiteY98" fmla="*/ 0 h 1037303"/>
                  <a:gd name="connsiteX99" fmla="*/ 804349 w 848702"/>
                  <a:gd name="connsiteY99" fmla="*/ 2458 h 1037303"/>
                  <a:gd name="connsiteX100" fmla="*/ 819098 w 848702"/>
                  <a:gd name="connsiteY100" fmla="*/ 9832 h 1037303"/>
                  <a:gd name="connsiteX101" fmla="*/ 826472 w 848702"/>
                  <a:gd name="connsiteY101" fmla="*/ 12291 h 1037303"/>
                  <a:gd name="connsiteX102" fmla="*/ 841220 w 848702"/>
                  <a:gd name="connsiteY102" fmla="*/ 27039 h 1037303"/>
                  <a:gd name="connsiteX103" fmla="*/ 843678 w 848702"/>
                  <a:gd name="connsiteY103" fmla="*/ 34413 h 1037303"/>
                  <a:gd name="connsiteX104" fmla="*/ 848594 w 848702"/>
                  <a:gd name="connsiteY104" fmla="*/ 41787 h 1037303"/>
                  <a:gd name="connsiteX105" fmla="*/ 843678 w 848702"/>
                  <a:gd name="connsiteY105" fmla="*/ 71284 h 1037303"/>
                  <a:gd name="connsiteX106" fmla="*/ 828930 w 848702"/>
                  <a:gd name="connsiteY106" fmla="*/ 68826 h 1037303"/>
                  <a:gd name="connsiteX107" fmla="*/ 826472 w 848702"/>
                  <a:gd name="connsiteY107" fmla="*/ 76200 h 1037303"/>
                  <a:gd name="connsiteX108" fmla="*/ 816639 w 848702"/>
                  <a:gd name="connsiteY108" fmla="*/ 78658 h 1037303"/>
                  <a:gd name="connsiteX109" fmla="*/ 811723 w 848702"/>
                  <a:gd name="connsiteY109" fmla="*/ 86032 h 1037303"/>
                  <a:gd name="connsiteX110" fmla="*/ 814181 w 848702"/>
                  <a:gd name="connsiteY110" fmla="*/ 95865 h 1037303"/>
                  <a:gd name="connsiteX111" fmla="*/ 816639 w 848702"/>
                  <a:gd name="connsiteY111" fmla="*/ 103239 h 1037303"/>
                  <a:gd name="connsiteX112" fmla="*/ 821556 w 848702"/>
                  <a:gd name="connsiteY112" fmla="*/ 108155 h 1037303"/>
                  <a:gd name="connsiteX113" fmla="*/ 826472 w 848702"/>
                  <a:gd name="connsiteY113" fmla="*/ 115529 h 1037303"/>
                  <a:gd name="connsiteX114" fmla="*/ 821556 w 848702"/>
                  <a:gd name="connsiteY114" fmla="*/ 125361 h 1037303"/>
                  <a:gd name="connsiteX115" fmla="*/ 816639 w 848702"/>
                  <a:gd name="connsiteY115" fmla="*/ 130278 h 1037303"/>
                  <a:gd name="connsiteX116" fmla="*/ 819098 w 848702"/>
                  <a:gd name="connsiteY116" fmla="*/ 137652 h 1037303"/>
                  <a:gd name="connsiteX117" fmla="*/ 819098 w 848702"/>
                  <a:gd name="connsiteY117" fmla="*/ 152400 h 1037303"/>
                  <a:gd name="connsiteX118" fmla="*/ 799433 w 848702"/>
                  <a:gd name="connsiteY118" fmla="*/ 154858 h 1037303"/>
                  <a:gd name="connsiteX119" fmla="*/ 794517 w 848702"/>
                  <a:gd name="connsiteY119" fmla="*/ 162232 h 1037303"/>
                  <a:gd name="connsiteX120" fmla="*/ 801891 w 848702"/>
                  <a:gd name="connsiteY120" fmla="*/ 167149 h 1037303"/>
                  <a:gd name="connsiteX121" fmla="*/ 796975 w 848702"/>
                  <a:gd name="connsiteY121" fmla="*/ 174523 h 1037303"/>
                  <a:gd name="connsiteX122" fmla="*/ 792059 w 848702"/>
                  <a:gd name="connsiteY122" fmla="*/ 184355 h 1037303"/>
                  <a:gd name="connsiteX123" fmla="*/ 787143 w 848702"/>
                  <a:gd name="connsiteY123" fmla="*/ 176981 h 1037303"/>
                  <a:gd name="connsiteX124" fmla="*/ 772394 w 848702"/>
                  <a:gd name="connsiteY124" fmla="*/ 169607 h 1037303"/>
                  <a:gd name="connsiteX125" fmla="*/ 765020 w 848702"/>
                  <a:gd name="connsiteY125" fmla="*/ 164691 h 1037303"/>
                  <a:gd name="connsiteX126" fmla="*/ 715859 w 848702"/>
                  <a:gd name="connsiteY126" fmla="*/ 159774 h 1037303"/>
                  <a:gd name="connsiteX127" fmla="*/ 701110 w 848702"/>
                  <a:gd name="connsiteY127" fmla="*/ 152400 h 1037303"/>
                  <a:gd name="connsiteX128" fmla="*/ 693736 w 848702"/>
                  <a:gd name="connsiteY128" fmla="*/ 154858 h 1037303"/>
                  <a:gd name="connsiteX129" fmla="*/ 678988 w 848702"/>
                  <a:gd name="connsiteY129" fmla="*/ 157316 h 1037303"/>
                  <a:gd name="connsiteX130" fmla="*/ 669156 w 848702"/>
                  <a:gd name="connsiteY130" fmla="*/ 154858 h 1037303"/>
                  <a:gd name="connsiteX131" fmla="*/ 661781 w 848702"/>
                  <a:gd name="connsiteY131" fmla="*/ 152400 h 1037303"/>
                  <a:gd name="connsiteX132" fmla="*/ 654407 w 848702"/>
                  <a:gd name="connsiteY132" fmla="*/ 159774 h 1037303"/>
                  <a:gd name="connsiteX133" fmla="*/ 637201 w 848702"/>
                  <a:gd name="connsiteY133" fmla="*/ 167149 h 1037303"/>
                  <a:gd name="connsiteX134" fmla="*/ 632285 w 848702"/>
                  <a:gd name="connsiteY134" fmla="*/ 184355 h 1037303"/>
                  <a:gd name="connsiteX135" fmla="*/ 624910 w 848702"/>
                  <a:gd name="connsiteY135" fmla="*/ 186813 h 1037303"/>
                  <a:gd name="connsiteX136" fmla="*/ 602788 w 848702"/>
                  <a:gd name="connsiteY136" fmla="*/ 199103 h 1037303"/>
                  <a:gd name="connsiteX137" fmla="*/ 553627 w 848702"/>
                  <a:gd name="connsiteY137" fmla="*/ 196645 h 1037303"/>
                  <a:gd name="connsiteX138" fmla="*/ 548710 w 848702"/>
                  <a:gd name="connsiteY138" fmla="*/ 201561 h 1037303"/>
                  <a:gd name="connsiteX139" fmla="*/ 543794 w 848702"/>
                  <a:gd name="connsiteY139" fmla="*/ 216310 h 1037303"/>
                  <a:gd name="connsiteX140" fmla="*/ 538878 w 848702"/>
                  <a:gd name="connsiteY140" fmla="*/ 228600 h 1037303"/>
                  <a:gd name="connsiteX141" fmla="*/ 506923 w 848702"/>
                  <a:gd name="connsiteY141" fmla="*/ 238432 h 1037303"/>
                  <a:gd name="connsiteX142" fmla="*/ 497091 w 848702"/>
                  <a:gd name="connsiteY142" fmla="*/ 240891 h 1037303"/>
                  <a:gd name="connsiteX143" fmla="*/ 479885 w 848702"/>
                  <a:gd name="connsiteY143" fmla="*/ 243349 h 1037303"/>
                  <a:gd name="connsiteX144" fmla="*/ 482343 w 848702"/>
                  <a:gd name="connsiteY144" fmla="*/ 258097 h 1037303"/>
                  <a:gd name="connsiteX145" fmla="*/ 487259 w 848702"/>
                  <a:gd name="connsiteY145" fmla="*/ 265471 h 1037303"/>
                  <a:gd name="connsiteX146" fmla="*/ 484801 w 848702"/>
                  <a:gd name="connsiteY146" fmla="*/ 275303 h 1037303"/>
                  <a:gd name="connsiteX147" fmla="*/ 497091 w 848702"/>
                  <a:gd name="connsiteY147" fmla="*/ 287594 h 1037303"/>
                  <a:gd name="connsiteX148" fmla="*/ 570833 w 848702"/>
                  <a:gd name="connsiteY148" fmla="*/ 299884 h 1037303"/>
                  <a:gd name="connsiteX149" fmla="*/ 573291 w 848702"/>
                  <a:gd name="connsiteY149" fmla="*/ 307258 h 1037303"/>
                  <a:gd name="connsiteX150" fmla="*/ 585581 w 848702"/>
                  <a:gd name="connsiteY150" fmla="*/ 317091 h 1037303"/>
                  <a:gd name="connsiteX151" fmla="*/ 595414 w 848702"/>
                  <a:gd name="connsiteY151" fmla="*/ 329381 h 1037303"/>
                  <a:gd name="connsiteX152" fmla="*/ 588039 w 848702"/>
                  <a:gd name="connsiteY152" fmla="*/ 331839 h 1037303"/>
                  <a:gd name="connsiteX153" fmla="*/ 580665 w 848702"/>
                  <a:gd name="connsiteY153" fmla="*/ 326923 h 1037303"/>
                  <a:gd name="connsiteX154" fmla="*/ 570833 w 848702"/>
                  <a:gd name="connsiteY154" fmla="*/ 324465 h 1037303"/>
                  <a:gd name="connsiteX155" fmla="*/ 553627 w 848702"/>
                  <a:gd name="connsiteY155" fmla="*/ 319549 h 1037303"/>
                  <a:gd name="connsiteX156" fmla="*/ 546252 w 848702"/>
                  <a:gd name="connsiteY156" fmla="*/ 314632 h 1037303"/>
                  <a:gd name="connsiteX157" fmla="*/ 538878 w 848702"/>
                  <a:gd name="connsiteY157" fmla="*/ 307258 h 1037303"/>
                  <a:gd name="connsiteX158" fmla="*/ 504465 w 848702"/>
                  <a:gd name="connsiteY158" fmla="*/ 309716 h 1037303"/>
                  <a:gd name="connsiteX159" fmla="*/ 502007 w 848702"/>
                  <a:gd name="connsiteY159" fmla="*/ 322007 h 1037303"/>
                  <a:gd name="connsiteX160" fmla="*/ 502007 w 848702"/>
                  <a:gd name="connsiteY160" fmla="*/ 339213 h 1037303"/>
                  <a:gd name="connsiteX161" fmla="*/ 514298 w 848702"/>
                  <a:gd name="connsiteY161" fmla="*/ 341671 h 1037303"/>
                  <a:gd name="connsiteX162" fmla="*/ 529046 w 848702"/>
                  <a:gd name="connsiteY162" fmla="*/ 349045 h 1037303"/>
                  <a:gd name="connsiteX163" fmla="*/ 536420 w 848702"/>
                  <a:gd name="connsiteY163" fmla="*/ 351503 h 1037303"/>
                  <a:gd name="connsiteX164" fmla="*/ 538878 w 848702"/>
                  <a:gd name="connsiteY164" fmla="*/ 381000 h 1037303"/>
                  <a:gd name="connsiteX165" fmla="*/ 526588 w 848702"/>
                  <a:gd name="connsiteY165" fmla="*/ 378542 h 1037303"/>
                  <a:gd name="connsiteX166" fmla="*/ 521672 w 848702"/>
                  <a:gd name="connsiteY166" fmla="*/ 371168 h 1037303"/>
                  <a:gd name="connsiteX167" fmla="*/ 514298 w 848702"/>
                  <a:gd name="connsiteY167" fmla="*/ 363794 h 1037303"/>
                  <a:gd name="connsiteX168" fmla="*/ 509381 w 848702"/>
                  <a:gd name="connsiteY168" fmla="*/ 356420 h 1037303"/>
                  <a:gd name="connsiteX169" fmla="*/ 489717 w 848702"/>
                  <a:gd name="connsiteY169" fmla="*/ 341671 h 1037303"/>
                  <a:gd name="connsiteX170" fmla="*/ 474968 w 848702"/>
                  <a:gd name="connsiteY170" fmla="*/ 331839 h 1037303"/>
                  <a:gd name="connsiteX171" fmla="*/ 467594 w 848702"/>
                  <a:gd name="connsiteY171" fmla="*/ 329381 h 1037303"/>
                  <a:gd name="connsiteX172" fmla="*/ 460220 w 848702"/>
                  <a:gd name="connsiteY172" fmla="*/ 331839 h 1037303"/>
                  <a:gd name="connsiteX173" fmla="*/ 450388 w 848702"/>
                  <a:gd name="connsiteY173" fmla="*/ 334297 h 1037303"/>
                  <a:gd name="connsiteX174" fmla="*/ 445472 w 848702"/>
                  <a:gd name="connsiteY174" fmla="*/ 341671 h 1037303"/>
                  <a:gd name="connsiteX175" fmla="*/ 447930 w 848702"/>
                  <a:gd name="connsiteY175" fmla="*/ 358878 h 1037303"/>
                  <a:gd name="connsiteX176" fmla="*/ 455304 w 848702"/>
                  <a:gd name="connsiteY176" fmla="*/ 368710 h 1037303"/>
                  <a:gd name="connsiteX177" fmla="*/ 470052 w 848702"/>
                  <a:gd name="connsiteY177" fmla="*/ 378542 h 1037303"/>
                  <a:gd name="connsiteX178" fmla="*/ 487259 w 848702"/>
                  <a:gd name="connsiteY178" fmla="*/ 383458 h 1037303"/>
                  <a:gd name="connsiteX179" fmla="*/ 494633 w 848702"/>
                  <a:gd name="connsiteY179" fmla="*/ 385916 h 1037303"/>
                  <a:gd name="connsiteX180" fmla="*/ 497091 w 848702"/>
                  <a:gd name="connsiteY180" fmla="*/ 393291 h 1037303"/>
                  <a:gd name="connsiteX181" fmla="*/ 477427 w 848702"/>
                  <a:gd name="connsiteY181" fmla="*/ 388374 h 1037303"/>
                  <a:gd name="connsiteX182" fmla="*/ 455304 w 848702"/>
                  <a:gd name="connsiteY182" fmla="*/ 385916 h 1037303"/>
                  <a:gd name="connsiteX183" fmla="*/ 440556 w 848702"/>
                  <a:gd name="connsiteY183" fmla="*/ 371168 h 1037303"/>
                  <a:gd name="connsiteX184" fmla="*/ 435639 w 848702"/>
                  <a:gd name="connsiteY184" fmla="*/ 366252 h 1037303"/>
                  <a:gd name="connsiteX185" fmla="*/ 428265 w 848702"/>
                  <a:gd name="connsiteY185" fmla="*/ 363794 h 1037303"/>
                  <a:gd name="connsiteX186" fmla="*/ 420891 w 848702"/>
                  <a:gd name="connsiteY186" fmla="*/ 351503 h 1037303"/>
                  <a:gd name="connsiteX187" fmla="*/ 413517 w 848702"/>
                  <a:gd name="connsiteY187" fmla="*/ 344129 h 1037303"/>
                  <a:gd name="connsiteX188" fmla="*/ 411059 w 848702"/>
                  <a:gd name="connsiteY188" fmla="*/ 336755 h 1037303"/>
                  <a:gd name="connsiteX189" fmla="*/ 403685 w 848702"/>
                  <a:gd name="connsiteY189" fmla="*/ 331839 h 1037303"/>
                  <a:gd name="connsiteX190" fmla="*/ 361898 w 848702"/>
                  <a:gd name="connsiteY190" fmla="*/ 324465 h 1037303"/>
                  <a:gd name="connsiteX191" fmla="*/ 364356 w 848702"/>
                  <a:gd name="connsiteY191" fmla="*/ 299884 h 1037303"/>
                  <a:gd name="connsiteX192" fmla="*/ 371730 w 848702"/>
                  <a:gd name="connsiteY192" fmla="*/ 297426 h 1037303"/>
                  <a:gd name="connsiteX193" fmla="*/ 376646 w 848702"/>
                  <a:gd name="connsiteY193" fmla="*/ 290052 h 1037303"/>
                  <a:gd name="connsiteX194" fmla="*/ 371730 w 848702"/>
                  <a:gd name="connsiteY194" fmla="*/ 282678 h 1037303"/>
                  <a:gd name="connsiteX195" fmla="*/ 356981 w 848702"/>
                  <a:gd name="connsiteY195" fmla="*/ 285136 h 1037303"/>
                  <a:gd name="connsiteX196" fmla="*/ 361898 w 848702"/>
                  <a:gd name="connsiteY196" fmla="*/ 299884 h 1037303"/>
                  <a:gd name="connsiteX197" fmla="*/ 356981 w 848702"/>
                  <a:gd name="connsiteY197" fmla="*/ 304800 h 1037303"/>
                  <a:gd name="connsiteX198" fmla="*/ 347149 w 848702"/>
                  <a:gd name="connsiteY198" fmla="*/ 307258 h 1037303"/>
                  <a:gd name="connsiteX199" fmla="*/ 339775 w 848702"/>
                  <a:gd name="connsiteY199" fmla="*/ 309716 h 1037303"/>
                  <a:gd name="connsiteX200" fmla="*/ 332401 w 848702"/>
                  <a:gd name="connsiteY200" fmla="*/ 314632 h 1037303"/>
                  <a:gd name="connsiteX201" fmla="*/ 334859 w 848702"/>
                  <a:gd name="connsiteY201" fmla="*/ 329381 h 1037303"/>
                  <a:gd name="connsiteX202" fmla="*/ 337317 w 848702"/>
                  <a:gd name="connsiteY202" fmla="*/ 336755 h 1037303"/>
                  <a:gd name="connsiteX203" fmla="*/ 332401 w 848702"/>
                  <a:gd name="connsiteY203" fmla="*/ 381000 h 1037303"/>
                  <a:gd name="connsiteX204" fmla="*/ 334859 w 848702"/>
                  <a:gd name="connsiteY204" fmla="*/ 390832 h 1037303"/>
                  <a:gd name="connsiteX205" fmla="*/ 342233 w 848702"/>
                  <a:gd name="connsiteY205" fmla="*/ 395749 h 1037303"/>
                  <a:gd name="connsiteX206" fmla="*/ 354523 w 848702"/>
                  <a:gd name="connsiteY206" fmla="*/ 408039 h 1037303"/>
                  <a:gd name="connsiteX207" fmla="*/ 364356 w 848702"/>
                  <a:gd name="connsiteY207" fmla="*/ 422787 h 1037303"/>
                  <a:gd name="connsiteX208" fmla="*/ 366814 w 848702"/>
                  <a:gd name="connsiteY208" fmla="*/ 430161 h 1037303"/>
                  <a:gd name="connsiteX209" fmla="*/ 381562 w 848702"/>
                  <a:gd name="connsiteY209" fmla="*/ 439994 h 1037303"/>
                  <a:gd name="connsiteX210" fmla="*/ 398768 w 848702"/>
                  <a:gd name="connsiteY210" fmla="*/ 457200 h 1037303"/>
                  <a:gd name="connsiteX211" fmla="*/ 406143 w 848702"/>
                  <a:gd name="connsiteY211" fmla="*/ 471949 h 1037303"/>
                  <a:gd name="connsiteX212" fmla="*/ 411059 w 848702"/>
                  <a:gd name="connsiteY212" fmla="*/ 479323 h 1037303"/>
                  <a:gd name="connsiteX213" fmla="*/ 418433 w 848702"/>
                  <a:gd name="connsiteY213" fmla="*/ 494071 h 1037303"/>
                  <a:gd name="connsiteX214" fmla="*/ 440556 w 848702"/>
                  <a:gd name="connsiteY214" fmla="*/ 496529 h 1037303"/>
                  <a:gd name="connsiteX215" fmla="*/ 455304 w 848702"/>
                  <a:gd name="connsiteY215" fmla="*/ 508820 h 1037303"/>
                  <a:gd name="connsiteX216" fmla="*/ 457762 w 848702"/>
                  <a:gd name="connsiteY216" fmla="*/ 516194 h 1037303"/>
                  <a:gd name="connsiteX217" fmla="*/ 455304 w 848702"/>
                  <a:gd name="connsiteY217" fmla="*/ 533400 h 1037303"/>
                  <a:gd name="connsiteX218" fmla="*/ 447930 w 848702"/>
                  <a:gd name="connsiteY218" fmla="*/ 538316 h 1037303"/>
                  <a:gd name="connsiteX219" fmla="*/ 445472 w 848702"/>
                  <a:gd name="connsiteY219" fmla="*/ 523568 h 1037303"/>
                  <a:gd name="connsiteX220" fmla="*/ 435639 w 848702"/>
                  <a:gd name="connsiteY220" fmla="*/ 511278 h 1037303"/>
                  <a:gd name="connsiteX221" fmla="*/ 406143 w 848702"/>
                  <a:gd name="connsiteY221" fmla="*/ 513736 h 1037303"/>
                  <a:gd name="connsiteX222" fmla="*/ 391394 w 848702"/>
                  <a:gd name="connsiteY222" fmla="*/ 523568 h 1037303"/>
                  <a:gd name="connsiteX223" fmla="*/ 396310 w 848702"/>
                  <a:gd name="connsiteY223" fmla="*/ 538316 h 1037303"/>
                  <a:gd name="connsiteX224" fmla="*/ 403685 w 848702"/>
                  <a:gd name="connsiteY224" fmla="*/ 543232 h 1037303"/>
                  <a:gd name="connsiteX225" fmla="*/ 413517 w 848702"/>
                  <a:gd name="connsiteY225" fmla="*/ 545691 h 1037303"/>
                  <a:gd name="connsiteX226" fmla="*/ 420891 w 848702"/>
                  <a:gd name="connsiteY226" fmla="*/ 548149 h 1037303"/>
                  <a:gd name="connsiteX227" fmla="*/ 428265 w 848702"/>
                  <a:gd name="connsiteY227" fmla="*/ 557981 h 1037303"/>
                  <a:gd name="connsiteX228" fmla="*/ 435639 w 848702"/>
                  <a:gd name="connsiteY228" fmla="*/ 560439 h 1037303"/>
                  <a:gd name="connsiteX229" fmla="*/ 433181 w 848702"/>
                  <a:gd name="connsiteY229" fmla="*/ 575187 h 1037303"/>
                  <a:gd name="connsiteX230" fmla="*/ 418433 w 848702"/>
                  <a:gd name="connsiteY230" fmla="*/ 580103 h 1037303"/>
                  <a:gd name="connsiteX231" fmla="*/ 411059 w 848702"/>
                  <a:gd name="connsiteY231" fmla="*/ 585020 h 1037303"/>
                  <a:gd name="connsiteX232" fmla="*/ 391394 w 848702"/>
                  <a:gd name="connsiteY232" fmla="*/ 589936 h 1037303"/>
                  <a:gd name="connsiteX233" fmla="*/ 371730 w 848702"/>
                  <a:gd name="connsiteY233" fmla="*/ 594852 h 1037303"/>
                  <a:gd name="connsiteX234" fmla="*/ 369272 w 848702"/>
                  <a:gd name="connsiteY234" fmla="*/ 602226 h 1037303"/>
                  <a:gd name="connsiteX235" fmla="*/ 393852 w 848702"/>
                  <a:gd name="connsiteY235" fmla="*/ 612058 h 1037303"/>
                  <a:gd name="connsiteX236" fmla="*/ 403685 w 848702"/>
                  <a:gd name="connsiteY236" fmla="*/ 614516 h 1037303"/>
                  <a:gd name="connsiteX237" fmla="*/ 411059 w 848702"/>
                  <a:gd name="connsiteY237" fmla="*/ 616974 h 1037303"/>
                  <a:gd name="connsiteX238" fmla="*/ 428265 w 848702"/>
                  <a:gd name="connsiteY238" fmla="*/ 619432 h 1037303"/>
                  <a:gd name="connsiteX239" fmla="*/ 435639 w 848702"/>
                  <a:gd name="connsiteY239" fmla="*/ 634181 h 1037303"/>
                  <a:gd name="connsiteX240" fmla="*/ 443014 w 848702"/>
                  <a:gd name="connsiteY240" fmla="*/ 636639 h 1037303"/>
                  <a:gd name="connsiteX241" fmla="*/ 474968 w 848702"/>
                  <a:gd name="connsiteY241" fmla="*/ 644013 h 1037303"/>
                  <a:gd name="connsiteX242" fmla="*/ 514298 w 848702"/>
                  <a:gd name="connsiteY242" fmla="*/ 648929 h 1037303"/>
                  <a:gd name="connsiteX243" fmla="*/ 516756 w 848702"/>
                  <a:gd name="connsiteY243" fmla="*/ 639097 h 1037303"/>
                  <a:gd name="connsiteX244" fmla="*/ 514298 w 848702"/>
                  <a:gd name="connsiteY244" fmla="*/ 626807 h 1037303"/>
                  <a:gd name="connsiteX245" fmla="*/ 499549 w 848702"/>
                  <a:gd name="connsiteY245" fmla="*/ 621891 h 1037303"/>
                  <a:gd name="connsiteX246" fmla="*/ 494633 w 848702"/>
                  <a:gd name="connsiteY246" fmla="*/ 616974 h 1037303"/>
                  <a:gd name="connsiteX247" fmla="*/ 484801 w 848702"/>
                  <a:gd name="connsiteY247" fmla="*/ 602226 h 1037303"/>
                  <a:gd name="connsiteX248" fmla="*/ 474968 w 848702"/>
                  <a:gd name="connsiteY248" fmla="*/ 599768 h 1037303"/>
                  <a:gd name="connsiteX249" fmla="*/ 467594 w 848702"/>
                  <a:gd name="connsiteY249" fmla="*/ 594852 h 1037303"/>
                  <a:gd name="connsiteX250" fmla="*/ 440556 w 848702"/>
                  <a:gd name="connsiteY250" fmla="*/ 592394 h 1037303"/>
                  <a:gd name="connsiteX251" fmla="*/ 430723 w 848702"/>
                  <a:gd name="connsiteY251" fmla="*/ 589936 h 1037303"/>
                  <a:gd name="connsiteX252" fmla="*/ 423349 w 848702"/>
                  <a:gd name="connsiteY252" fmla="*/ 585020 h 1037303"/>
                  <a:gd name="connsiteX253" fmla="*/ 420891 w 848702"/>
                  <a:gd name="connsiteY253" fmla="*/ 592394 h 1037303"/>
                  <a:gd name="connsiteX254" fmla="*/ 433181 w 848702"/>
                  <a:gd name="connsiteY254" fmla="*/ 589936 h 1037303"/>
                  <a:gd name="connsiteX255" fmla="*/ 435639 w 848702"/>
                  <a:gd name="connsiteY255" fmla="*/ 565355 h 1037303"/>
                  <a:gd name="connsiteX256" fmla="*/ 450388 w 848702"/>
                  <a:gd name="connsiteY256" fmla="*/ 560439 h 1037303"/>
                  <a:gd name="connsiteX257" fmla="*/ 457762 w 848702"/>
                  <a:gd name="connsiteY257" fmla="*/ 557981 h 1037303"/>
                  <a:gd name="connsiteX258" fmla="*/ 472510 w 848702"/>
                  <a:gd name="connsiteY258" fmla="*/ 567813 h 1037303"/>
                  <a:gd name="connsiteX259" fmla="*/ 479885 w 848702"/>
                  <a:gd name="connsiteY259" fmla="*/ 570271 h 1037303"/>
                  <a:gd name="connsiteX260" fmla="*/ 489717 w 848702"/>
                  <a:gd name="connsiteY260" fmla="*/ 582561 h 1037303"/>
                  <a:gd name="connsiteX261" fmla="*/ 502007 w 848702"/>
                  <a:gd name="connsiteY261" fmla="*/ 592394 h 1037303"/>
                  <a:gd name="connsiteX262" fmla="*/ 570833 w 848702"/>
                  <a:gd name="connsiteY262" fmla="*/ 602226 h 1037303"/>
                  <a:gd name="connsiteX263" fmla="*/ 583123 w 848702"/>
                  <a:gd name="connsiteY263" fmla="*/ 604684 h 1037303"/>
                  <a:gd name="connsiteX264" fmla="*/ 585581 w 848702"/>
                  <a:gd name="connsiteY264" fmla="*/ 619432 h 1037303"/>
                  <a:gd name="connsiteX265" fmla="*/ 588039 w 848702"/>
                  <a:gd name="connsiteY265" fmla="*/ 626807 h 1037303"/>
                  <a:gd name="connsiteX266" fmla="*/ 592956 w 848702"/>
                  <a:gd name="connsiteY266" fmla="*/ 631723 h 1037303"/>
                  <a:gd name="connsiteX267" fmla="*/ 607704 w 848702"/>
                  <a:gd name="connsiteY267" fmla="*/ 641555 h 1037303"/>
                  <a:gd name="connsiteX268" fmla="*/ 617536 w 848702"/>
                  <a:gd name="connsiteY268" fmla="*/ 663678 h 1037303"/>
                  <a:gd name="connsiteX269" fmla="*/ 619994 w 848702"/>
                  <a:gd name="connsiteY269" fmla="*/ 671052 h 1037303"/>
                  <a:gd name="connsiteX270" fmla="*/ 629827 w 848702"/>
                  <a:gd name="connsiteY270" fmla="*/ 680884 h 1037303"/>
                  <a:gd name="connsiteX271" fmla="*/ 656865 w 848702"/>
                  <a:gd name="connsiteY271" fmla="*/ 683342 h 1037303"/>
                  <a:gd name="connsiteX272" fmla="*/ 674072 w 848702"/>
                  <a:gd name="connsiteY272" fmla="*/ 695632 h 1037303"/>
                  <a:gd name="connsiteX273" fmla="*/ 671614 w 848702"/>
                  <a:gd name="connsiteY273" fmla="*/ 707923 h 1037303"/>
                  <a:gd name="connsiteX274" fmla="*/ 656865 w 848702"/>
                  <a:gd name="connsiteY274" fmla="*/ 715297 h 1037303"/>
                  <a:gd name="connsiteX275" fmla="*/ 649491 w 848702"/>
                  <a:gd name="connsiteY275" fmla="*/ 710381 h 1037303"/>
                  <a:gd name="connsiteX276" fmla="*/ 642117 w 848702"/>
                  <a:gd name="connsiteY276" fmla="*/ 703007 h 1037303"/>
                  <a:gd name="connsiteX277" fmla="*/ 634743 w 848702"/>
                  <a:gd name="connsiteY277" fmla="*/ 700549 h 1037303"/>
                  <a:gd name="connsiteX278" fmla="*/ 619994 w 848702"/>
                  <a:gd name="connsiteY278" fmla="*/ 693174 h 1037303"/>
                  <a:gd name="connsiteX279" fmla="*/ 612620 w 848702"/>
                  <a:gd name="connsiteY279" fmla="*/ 688258 h 1037303"/>
                  <a:gd name="connsiteX280" fmla="*/ 597872 w 848702"/>
                  <a:gd name="connsiteY280" fmla="*/ 680884 h 1037303"/>
                  <a:gd name="connsiteX281" fmla="*/ 595414 w 848702"/>
                  <a:gd name="connsiteY281" fmla="*/ 671052 h 1037303"/>
                  <a:gd name="connsiteX282" fmla="*/ 575749 w 848702"/>
                  <a:gd name="connsiteY282" fmla="*/ 656303 h 1037303"/>
                  <a:gd name="connsiteX283" fmla="*/ 568375 w 848702"/>
                  <a:gd name="connsiteY283" fmla="*/ 648929 h 1037303"/>
                  <a:gd name="connsiteX284" fmla="*/ 558543 w 848702"/>
                  <a:gd name="connsiteY284" fmla="*/ 646471 h 1037303"/>
                  <a:gd name="connsiteX285" fmla="*/ 551168 w 848702"/>
                  <a:gd name="connsiteY285" fmla="*/ 644013 h 1037303"/>
                  <a:gd name="connsiteX286" fmla="*/ 543794 w 848702"/>
                  <a:gd name="connsiteY286" fmla="*/ 648929 h 1037303"/>
                  <a:gd name="connsiteX287" fmla="*/ 538878 w 848702"/>
                  <a:gd name="connsiteY287" fmla="*/ 656303 h 1037303"/>
                  <a:gd name="connsiteX288" fmla="*/ 533962 w 848702"/>
                  <a:gd name="connsiteY288" fmla="*/ 661220 h 1037303"/>
                  <a:gd name="connsiteX289" fmla="*/ 570833 w 848702"/>
                  <a:gd name="connsiteY289" fmla="*/ 668594 h 1037303"/>
                  <a:gd name="connsiteX290" fmla="*/ 585581 w 848702"/>
                  <a:gd name="connsiteY290" fmla="*/ 673510 h 1037303"/>
                  <a:gd name="connsiteX291" fmla="*/ 590498 w 848702"/>
                  <a:gd name="connsiteY291" fmla="*/ 678426 h 1037303"/>
                  <a:gd name="connsiteX292" fmla="*/ 595414 w 848702"/>
                  <a:gd name="connsiteY292" fmla="*/ 700549 h 1037303"/>
                  <a:gd name="connsiteX293" fmla="*/ 600330 w 848702"/>
                  <a:gd name="connsiteY293" fmla="*/ 739878 h 1037303"/>
                  <a:gd name="connsiteX294" fmla="*/ 607704 w 848702"/>
                  <a:gd name="connsiteY294" fmla="*/ 747252 h 1037303"/>
                  <a:gd name="connsiteX295" fmla="*/ 612620 w 848702"/>
                  <a:gd name="connsiteY295" fmla="*/ 776749 h 1037303"/>
                  <a:gd name="connsiteX296" fmla="*/ 605246 w 848702"/>
                  <a:gd name="connsiteY296" fmla="*/ 781665 h 1037303"/>
                  <a:gd name="connsiteX297" fmla="*/ 597872 w 848702"/>
                  <a:gd name="connsiteY297" fmla="*/ 779207 h 1037303"/>
                  <a:gd name="connsiteX298" fmla="*/ 583123 w 848702"/>
                  <a:gd name="connsiteY298" fmla="*/ 764458 h 1037303"/>
                  <a:gd name="connsiteX299" fmla="*/ 568375 w 848702"/>
                  <a:gd name="connsiteY299" fmla="*/ 759542 h 1037303"/>
                  <a:gd name="connsiteX300" fmla="*/ 551168 w 848702"/>
                  <a:gd name="connsiteY300" fmla="*/ 747252 h 1037303"/>
                  <a:gd name="connsiteX301" fmla="*/ 543794 w 848702"/>
                  <a:gd name="connsiteY301" fmla="*/ 742336 h 1037303"/>
                  <a:gd name="connsiteX302" fmla="*/ 536420 w 848702"/>
                  <a:gd name="connsiteY302" fmla="*/ 739878 h 1037303"/>
                  <a:gd name="connsiteX303" fmla="*/ 529046 w 848702"/>
                  <a:gd name="connsiteY303" fmla="*/ 734961 h 1037303"/>
                  <a:gd name="connsiteX304" fmla="*/ 526588 w 848702"/>
                  <a:gd name="connsiteY304" fmla="*/ 727587 h 1037303"/>
                  <a:gd name="connsiteX305" fmla="*/ 521672 w 848702"/>
                  <a:gd name="connsiteY305" fmla="*/ 720213 h 1037303"/>
                  <a:gd name="connsiteX306" fmla="*/ 511839 w 848702"/>
                  <a:gd name="connsiteY306" fmla="*/ 722671 h 1037303"/>
                  <a:gd name="connsiteX307" fmla="*/ 504465 w 848702"/>
                  <a:gd name="connsiteY307" fmla="*/ 730045 h 1037303"/>
                  <a:gd name="connsiteX308" fmla="*/ 497091 w 848702"/>
                  <a:gd name="connsiteY308" fmla="*/ 734961 h 1037303"/>
                  <a:gd name="connsiteX309" fmla="*/ 492175 w 848702"/>
                  <a:gd name="connsiteY309" fmla="*/ 739878 h 1037303"/>
                  <a:gd name="connsiteX310" fmla="*/ 484801 w 848702"/>
                  <a:gd name="connsiteY310" fmla="*/ 742336 h 1037303"/>
                  <a:gd name="connsiteX311" fmla="*/ 470052 w 848702"/>
                  <a:gd name="connsiteY311" fmla="*/ 749710 h 1037303"/>
                  <a:gd name="connsiteX312" fmla="*/ 472510 w 848702"/>
                  <a:gd name="connsiteY312" fmla="*/ 759542 h 1037303"/>
                  <a:gd name="connsiteX313" fmla="*/ 474968 w 848702"/>
                  <a:gd name="connsiteY313" fmla="*/ 766916 h 1037303"/>
                  <a:gd name="connsiteX314" fmla="*/ 482343 w 848702"/>
                  <a:gd name="connsiteY314" fmla="*/ 791497 h 1037303"/>
                  <a:gd name="connsiteX315" fmla="*/ 492175 w 848702"/>
                  <a:gd name="connsiteY315" fmla="*/ 806245 h 1037303"/>
                  <a:gd name="connsiteX316" fmla="*/ 499549 w 848702"/>
                  <a:gd name="connsiteY316" fmla="*/ 808703 h 1037303"/>
                  <a:gd name="connsiteX317" fmla="*/ 514298 w 848702"/>
                  <a:gd name="connsiteY317" fmla="*/ 806245 h 1037303"/>
                  <a:gd name="connsiteX318" fmla="*/ 516756 w 848702"/>
                  <a:gd name="connsiteY318" fmla="*/ 796413 h 1037303"/>
                  <a:gd name="connsiteX319" fmla="*/ 524130 w 848702"/>
                  <a:gd name="connsiteY319" fmla="*/ 811161 h 1037303"/>
                  <a:gd name="connsiteX320" fmla="*/ 531504 w 848702"/>
                  <a:gd name="connsiteY320" fmla="*/ 816078 h 1037303"/>
                  <a:gd name="connsiteX321" fmla="*/ 538878 w 848702"/>
                  <a:gd name="connsiteY321" fmla="*/ 823452 h 1037303"/>
                  <a:gd name="connsiteX322" fmla="*/ 516756 w 848702"/>
                  <a:gd name="connsiteY322" fmla="*/ 833284 h 1037303"/>
                  <a:gd name="connsiteX323" fmla="*/ 514298 w 848702"/>
                  <a:gd name="connsiteY323" fmla="*/ 845574 h 1037303"/>
                  <a:gd name="connsiteX324" fmla="*/ 509381 w 848702"/>
                  <a:gd name="connsiteY324" fmla="*/ 850491 h 1037303"/>
                  <a:gd name="connsiteX325" fmla="*/ 494633 w 848702"/>
                  <a:gd name="connsiteY325" fmla="*/ 860323 h 1037303"/>
                  <a:gd name="connsiteX326" fmla="*/ 487259 w 848702"/>
                  <a:gd name="connsiteY326" fmla="*/ 857865 h 1037303"/>
                  <a:gd name="connsiteX327" fmla="*/ 487259 w 848702"/>
                  <a:gd name="connsiteY327" fmla="*/ 840658 h 1037303"/>
                  <a:gd name="connsiteX328" fmla="*/ 484801 w 848702"/>
                  <a:gd name="connsiteY328" fmla="*/ 830826 h 1037303"/>
                  <a:gd name="connsiteX329" fmla="*/ 477427 w 848702"/>
                  <a:gd name="connsiteY329" fmla="*/ 828368 h 1037303"/>
                  <a:gd name="connsiteX330" fmla="*/ 470052 w 848702"/>
                  <a:gd name="connsiteY330" fmla="*/ 823452 h 1037303"/>
                  <a:gd name="connsiteX331" fmla="*/ 455304 w 848702"/>
                  <a:gd name="connsiteY331" fmla="*/ 828368 h 1037303"/>
                  <a:gd name="connsiteX332" fmla="*/ 440556 w 848702"/>
                  <a:gd name="connsiteY332" fmla="*/ 823452 h 1037303"/>
                  <a:gd name="connsiteX333" fmla="*/ 420891 w 848702"/>
                  <a:gd name="connsiteY333" fmla="*/ 825910 h 1037303"/>
                  <a:gd name="connsiteX334" fmla="*/ 423349 w 848702"/>
                  <a:gd name="connsiteY334" fmla="*/ 833284 h 1037303"/>
                  <a:gd name="connsiteX335" fmla="*/ 433181 w 848702"/>
                  <a:gd name="connsiteY335" fmla="*/ 848032 h 1037303"/>
                  <a:gd name="connsiteX336" fmla="*/ 447930 w 848702"/>
                  <a:gd name="connsiteY336" fmla="*/ 860323 h 1037303"/>
                  <a:gd name="connsiteX337" fmla="*/ 455304 w 848702"/>
                  <a:gd name="connsiteY337" fmla="*/ 882445 h 1037303"/>
                  <a:gd name="connsiteX338" fmla="*/ 457762 w 848702"/>
                  <a:gd name="connsiteY338" fmla="*/ 889820 h 1037303"/>
                  <a:gd name="connsiteX339" fmla="*/ 462678 w 848702"/>
                  <a:gd name="connsiteY339" fmla="*/ 899652 h 1037303"/>
                  <a:gd name="connsiteX340" fmla="*/ 470052 w 848702"/>
                  <a:gd name="connsiteY340" fmla="*/ 902110 h 1037303"/>
                  <a:gd name="connsiteX341" fmla="*/ 477427 w 848702"/>
                  <a:gd name="connsiteY341" fmla="*/ 907026 h 1037303"/>
                  <a:gd name="connsiteX342" fmla="*/ 482343 w 848702"/>
                  <a:gd name="connsiteY342" fmla="*/ 916858 h 1037303"/>
                  <a:gd name="connsiteX343" fmla="*/ 487259 w 848702"/>
                  <a:gd name="connsiteY343" fmla="*/ 931607 h 1037303"/>
                  <a:gd name="connsiteX344" fmla="*/ 499549 w 848702"/>
                  <a:gd name="connsiteY344" fmla="*/ 946355 h 1037303"/>
                  <a:gd name="connsiteX345" fmla="*/ 502007 w 848702"/>
                  <a:gd name="connsiteY345" fmla="*/ 953729 h 1037303"/>
                  <a:gd name="connsiteX346" fmla="*/ 504465 w 848702"/>
                  <a:gd name="connsiteY346" fmla="*/ 990600 h 1037303"/>
                  <a:gd name="connsiteX347" fmla="*/ 514298 w 848702"/>
                  <a:gd name="connsiteY347" fmla="*/ 1005349 h 1037303"/>
                  <a:gd name="connsiteX348" fmla="*/ 519214 w 848702"/>
                  <a:gd name="connsiteY348" fmla="*/ 1012723 h 1037303"/>
                  <a:gd name="connsiteX349" fmla="*/ 524130 w 848702"/>
                  <a:gd name="connsiteY349" fmla="*/ 1020097 h 1037303"/>
                  <a:gd name="connsiteX350" fmla="*/ 502007 w 848702"/>
                  <a:gd name="connsiteY350" fmla="*/ 1020097 h 1037303"/>
                  <a:gd name="connsiteX351" fmla="*/ 494633 w 848702"/>
                  <a:gd name="connsiteY351" fmla="*/ 1012723 h 1037303"/>
                  <a:gd name="connsiteX352" fmla="*/ 492175 w 848702"/>
                  <a:gd name="connsiteY352" fmla="*/ 1002891 h 1037303"/>
                  <a:gd name="connsiteX353" fmla="*/ 484801 w 848702"/>
                  <a:gd name="connsiteY353" fmla="*/ 1000432 h 1037303"/>
                  <a:gd name="connsiteX354" fmla="*/ 467594 w 848702"/>
                  <a:gd name="connsiteY354" fmla="*/ 990600 h 1037303"/>
                  <a:gd name="connsiteX355" fmla="*/ 465136 w 848702"/>
                  <a:gd name="connsiteY355" fmla="*/ 975852 h 1037303"/>
                  <a:gd name="connsiteX356" fmla="*/ 452846 w 848702"/>
                  <a:gd name="connsiteY356" fmla="*/ 958645 h 1037303"/>
                  <a:gd name="connsiteX357" fmla="*/ 430723 w 848702"/>
                  <a:gd name="connsiteY357" fmla="*/ 966020 h 1037303"/>
                  <a:gd name="connsiteX358" fmla="*/ 425807 w 848702"/>
                  <a:gd name="connsiteY358" fmla="*/ 980768 h 1037303"/>
                  <a:gd name="connsiteX359" fmla="*/ 428265 w 848702"/>
                  <a:gd name="connsiteY359" fmla="*/ 988142 h 1037303"/>
                  <a:gd name="connsiteX360" fmla="*/ 423349 w 848702"/>
                  <a:gd name="connsiteY360" fmla="*/ 1002891 h 1037303"/>
                  <a:gd name="connsiteX361" fmla="*/ 425807 w 848702"/>
                  <a:gd name="connsiteY361" fmla="*/ 1027471 h 1037303"/>
                  <a:gd name="connsiteX362" fmla="*/ 428265 w 848702"/>
                  <a:gd name="connsiteY362" fmla="*/ 1034845 h 1037303"/>
                  <a:gd name="connsiteX363" fmla="*/ 420891 w 848702"/>
                  <a:gd name="connsiteY363" fmla="*/ 1037303 h 1037303"/>
                  <a:gd name="connsiteX364" fmla="*/ 411059 w 848702"/>
                  <a:gd name="connsiteY364" fmla="*/ 1034845 h 1037303"/>
                  <a:gd name="connsiteX365" fmla="*/ 406143 w 848702"/>
                  <a:gd name="connsiteY365" fmla="*/ 1027471 h 1037303"/>
                  <a:gd name="connsiteX366" fmla="*/ 401227 w 848702"/>
                  <a:gd name="connsiteY366" fmla="*/ 1010265 h 1037303"/>
                  <a:gd name="connsiteX367" fmla="*/ 398768 w 848702"/>
                  <a:gd name="connsiteY367" fmla="*/ 1002891 h 1037303"/>
                  <a:gd name="connsiteX368" fmla="*/ 396310 w 848702"/>
                  <a:gd name="connsiteY368" fmla="*/ 985684 h 1037303"/>
                  <a:gd name="connsiteX369" fmla="*/ 388936 w 848702"/>
                  <a:gd name="connsiteY369" fmla="*/ 980768 h 1037303"/>
                  <a:gd name="connsiteX370" fmla="*/ 386478 w 848702"/>
                  <a:gd name="connsiteY370" fmla="*/ 970936 h 1037303"/>
                  <a:gd name="connsiteX371" fmla="*/ 379104 w 848702"/>
                  <a:gd name="connsiteY371" fmla="*/ 966020 h 1037303"/>
                  <a:gd name="connsiteX372" fmla="*/ 374188 w 848702"/>
                  <a:gd name="connsiteY372" fmla="*/ 961103 h 1037303"/>
                  <a:gd name="connsiteX373" fmla="*/ 359439 w 848702"/>
                  <a:gd name="connsiteY373" fmla="*/ 953729 h 1037303"/>
                  <a:gd name="connsiteX374" fmla="*/ 352065 w 848702"/>
                  <a:gd name="connsiteY374" fmla="*/ 946355 h 1037303"/>
                  <a:gd name="connsiteX375" fmla="*/ 347149 w 848702"/>
                  <a:gd name="connsiteY375" fmla="*/ 931607 h 1037303"/>
                  <a:gd name="connsiteX376" fmla="*/ 339775 w 848702"/>
                  <a:gd name="connsiteY376" fmla="*/ 934065 h 1037303"/>
                  <a:gd name="connsiteX377" fmla="*/ 337317 w 848702"/>
                  <a:gd name="connsiteY377" fmla="*/ 941439 h 1037303"/>
                  <a:gd name="connsiteX378" fmla="*/ 322568 w 848702"/>
                  <a:gd name="connsiteY378" fmla="*/ 946355 h 1037303"/>
                  <a:gd name="connsiteX379" fmla="*/ 327485 w 848702"/>
                  <a:gd name="connsiteY379" fmla="*/ 961103 h 1037303"/>
                  <a:gd name="connsiteX380" fmla="*/ 329943 w 848702"/>
                  <a:gd name="connsiteY380" fmla="*/ 968478 h 1037303"/>
                  <a:gd name="connsiteX381" fmla="*/ 327485 w 848702"/>
                  <a:gd name="connsiteY381" fmla="*/ 985684 h 1037303"/>
                  <a:gd name="connsiteX382" fmla="*/ 320110 w 848702"/>
                  <a:gd name="connsiteY382" fmla="*/ 988142 h 1037303"/>
                  <a:gd name="connsiteX383" fmla="*/ 305362 w 848702"/>
                  <a:gd name="connsiteY383" fmla="*/ 983226 h 1037303"/>
                  <a:gd name="connsiteX384" fmla="*/ 288156 w 848702"/>
                  <a:gd name="connsiteY384" fmla="*/ 980768 h 1037303"/>
                  <a:gd name="connsiteX385" fmla="*/ 273407 w 848702"/>
                  <a:gd name="connsiteY385" fmla="*/ 951271 h 1037303"/>
                  <a:gd name="connsiteX386" fmla="*/ 266033 w 848702"/>
                  <a:gd name="connsiteY386" fmla="*/ 943897 h 1037303"/>
                  <a:gd name="connsiteX387" fmla="*/ 275865 w 848702"/>
                  <a:gd name="connsiteY387" fmla="*/ 914400 h 1037303"/>
                  <a:gd name="connsiteX388" fmla="*/ 283239 w 848702"/>
                  <a:gd name="connsiteY388" fmla="*/ 909484 h 1037303"/>
                  <a:gd name="connsiteX389" fmla="*/ 285698 w 848702"/>
                  <a:gd name="connsiteY389" fmla="*/ 894736 h 1037303"/>
                  <a:gd name="connsiteX390" fmla="*/ 288156 w 848702"/>
                  <a:gd name="connsiteY390" fmla="*/ 887361 h 1037303"/>
                  <a:gd name="connsiteX391" fmla="*/ 278323 w 848702"/>
                  <a:gd name="connsiteY391" fmla="*/ 875071 h 1037303"/>
                  <a:gd name="connsiteX392" fmla="*/ 256201 w 848702"/>
                  <a:gd name="connsiteY392" fmla="*/ 855407 h 1037303"/>
                  <a:gd name="connsiteX393" fmla="*/ 248827 w 848702"/>
                  <a:gd name="connsiteY393" fmla="*/ 852949 h 1037303"/>
                  <a:gd name="connsiteX394" fmla="*/ 243910 w 848702"/>
                  <a:gd name="connsiteY394" fmla="*/ 848032 h 1037303"/>
                  <a:gd name="connsiteX395" fmla="*/ 221788 w 848702"/>
                  <a:gd name="connsiteY395" fmla="*/ 843116 h 1037303"/>
                  <a:gd name="connsiteX396" fmla="*/ 214414 w 848702"/>
                  <a:gd name="connsiteY396" fmla="*/ 840658 h 1037303"/>
                  <a:gd name="connsiteX397" fmla="*/ 211956 w 848702"/>
                  <a:gd name="connsiteY397" fmla="*/ 820994 h 1037303"/>
                  <a:gd name="connsiteX398" fmla="*/ 197207 w 848702"/>
                  <a:gd name="connsiteY398" fmla="*/ 816078 h 1037303"/>
                  <a:gd name="connsiteX399" fmla="*/ 189833 w 848702"/>
                  <a:gd name="connsiteY399" fmla="*/ 813620 h 1037303"/>
                  <a:gd name="connsiteX400" fmla="*/ 192291 w 848702"/>
                  <a:gd name="connsiteY400" fmla="*/ 806245 h 1037303"/>
                  <a:gd name="connsiteX401" fmla="*/ 199665 w 848702"/>
                  <a:gd name="connsiteY401" fmla="*/ 786581 h 1037303"/>
                  <a:gd name="connsiteX402" fmla="*/ 209498 w 848702"/>
                  <a:gd name="connsiteY402" fmla="*/ 784123 h 1037303"/>
                  <a:gd name="connsiteX403" fmla="*/ 216872 w 848702"/>
                  <a:gd name="connsiteY403" fmla="*/ 762000 h 1037303"/>
                  <a:gd name="connsiteX404" fmla="*/ 224246 w 848702"/>
                  <a:gd name="connsiteY404" fmla="*/ 747252 h 1037303"/>
                  <a:gd name="connsiteX405" fmla="*/ 231620 w 848702"/>
                  <a:gd name="connsiteY405" fmla="*/ 744794 h 1037303"/>
                  <a:gd name="connsiteX406" fmla="*/ 251285 w 848702"/>
                  <a:gd name="connsiteY406" fmla="*/ 739878 h 1037303"/>
                  <a:gd name="connsiteX407" fmla="*/ 263575 w 848702"/>
                  <a:gd name="connsiteY407" fmla="*/ 730045 h 1037303"/>
                  <a:gd name="connsiteX408" fmla="*/ 270949 w 848702"/>
                  <a:gd name="connsiteY408" fmla="*/ 727587 h 1037303"/>
                  <a:gd name="connsiteX409" fmla="*/ 273407 w 848702"/>
                  <a:gd name="connsiteY409" fmla="*/ 717755 h 1037303"/>
                  <a:gd name="connsiteX410" fmla="*/ 280781 w 848702"/>
                  <a:gd name="connsiteY410" fmla="*/ 715297 h 1037303"/>
                  <a:gd name="connsiteX411" fmla="*/ 285698 w 848702"/>
                  <a:gd name="connsiteY411" fmla="*/ 710381 h 1037303"/>
                  <a:gd name="connsiteX412" fmla="*/ 307820 w 848702"/>
                  <a:gd name="connsiteY412" fmla="*/ 712839 h 1037303"/>
                  <a:gd name="connsiteX413" fmla="*/ 322568 w 848702"/>
                  <a:gd name="connsiteY413" fmla="*/ 720213 h 1037303"/>
                  <a:gd name="connsiteX414" fmla="*/ 361898 w 848702"/>
                  <a:gd name="connsiteY414" fmla="*/ 730045 h 1037303"/>
                  <a:gd name="connsiteX415" fmla="*/ 391394 w 848702"/>
                  <a:gd name="connsiteY415" fmla="*/ 734961 h 1037303"/>
                  <a:gd name="connsiteX416" fmla="*/ 408601 w 848702"/>
                  <a:gd name="connsiteY416" fmla="*/ 749710 h 1037303"/>
                  <a:gd name="connsiteX417" fmla="*/ 425807 w 848702"/>
                  <a:gd name="connsiteY417" fmla="*/ 752168 h 1037303"/>
                  <a:gd name="connsiteX418" fmla="*/ 452846 w 848702"/>
                  <a:gd name="connsiteY418" fmla="*/ 757084 h 1037303"/>
                  <a:gd name="connsiteX419" fmla="*/ 447930 w 848702"/>
                  <a:gd name="connsiteY419" fmla="*/ 749710 h 1037303"/>
                  <a:gd name="connsiteX420" fmla="*/ 440556 w 848702"/>
                  <a:gd name="connsiteY420" fmla="*/ 742336 h 1037303"/>
                  <a:gd name="connsiteX421" fmla="*/ 457762 w 848702"/>
                  <a:gd name="connsiteY421" fmla="*/ 734961 h 1037303"/>
                  <a:gd name="connsiteX422" fmla="*/ 462678 w 848702"/>
                  <a:gd name="connsiteY422" fmla="*/ 727587 h 1037303"/>
                  <a:gd name="connsiteX423" fmla="*/ 477427 w 848702"/>
                  <a:gd name="connsiteY423" fmla="*/ 722671 h 1037303"/>
                  <a:gd name="connsiteX424" fmla="*/ 484801 w 848702"/>
                  <a:gd name="connsiteY424" fmla="*/ 717755 h 1037303"/>
                  <a:gd name="connsiteX425" fmla="*/ 472510 w 848702"/>
                  <a:gd name="connsiteY425" fmla="*/ 707923 h 1037303"/>
                  <a:gd name="connsiteX426" fmla="*/ 462678 w 848702"/>
                  <a:gd name="connsiteY426" fmla="*/ 705465 h 1037303"/>
                  <a:gd name="connsiteX427" fmla="*/ 455304 w 848702"/>
                  <a:gd name="connsiteY427" fmla="*/ 703007 h 1037303"/>
                  <a:gd name="connsiteX428" fmla="*/ 430723 w 848702"/>
                  <a:gd name="connsiteY428" fmla="*/ 700549 h 1037303"/>
                  <a:gd name="connsiteX429" fmla="*/ 406143 w 848702"/>
                  <a:gd name="connsiteY429" fmla="*/ 695632 h 1037303"/>
                  <a:gd name="connsiteX430" fmla="*/ 403685 w 848702"/>
                  <a:gd name="connsiteY430" fmla="*/ 720213 h 1037303"/>
                  <a:gd name="connsiteX431" fmla="*/ 381562 w 848702"/>
                  <a:gd name="connsiteY431" fmla="*/ 690716 h 1037303"/>
                  <a:gd name="connsiteX432" fmla="*/ 366814 w 848702"/>
                  <a:gd name="connsiteY432" fmla="*/ 688258 h 1037303"/>
                  <a:gd name="connsiteX433" fmla="*/ 361898 w 848702"/>
                  <a:gd name="connsiteY433" fmla="*/ 695632 h 1037303"/>
                  <a:gd name="connsiteX434" fmla="*/ 359439 w 848702"/>
                  <a:gd name="connsiteY434" fmla="*/ 703007 h 1037303"/>
                  <a:gd name="connsiteX435" fmla="*/ 352065 w 848702"/>
                  <a:gd name="connsiteY435" fmla="*/ 705465 h 1037303"/>
                  <a:gd name="connsiteX436" fmla="*/ 342233 w 848702"/>
                  <a:gd name="connsiteY436" fmla="*/ 703007 h 1037303"/>
                  <a:gd name="connsiteX437" fmla="*/ 337317 w 848702"/>
                  <a:gd name="connsiteY437" fmla="*/ 695632 h 1037303"/>
                  <a:gd name="connsiteX438" fmla="*/ 305362 w 848702"/>
                  <a:gd name="connsiteY438" fmla="*/ 693174 h 1037303"/>
                  <a:gd name="connsiteX439" fmla="*/ 280781 w 848702"/>
                  <a:gd name="connsiteY439" fmla="*/ 695632 h 1037303"/>
                  <a:gd name="connsiteX440" fmla="*/ 273407 w 848702"/>
                  <a:gd name="connsiteY440" fmla="*/ 700549 h 1037303"/>
                  <a:gd name="connsiteX441" fmla="*/ 258659 w 848702"/>
                  <a:gd name="connsiteY441" fmla="*/ 705465 h 1037303"/>
                  <a:gd name="connsiteX442" fmla="*/ 251285 w 848702"/>
                  <a:gd name="connsiteY442" fmla="*/ 707923 h 1037303"/>
                  <a:gd name="connsiteX443" fmla="*/ 243910 w 848702"/>
                  <a:gd name="connsiteY443" fmla="*/ 710381 h 1037303"/>
                  <a:gd name="connsiteX444" fmla="*/ 236536 w 848702"/>
                  <a:gd name="connsiteY444" fmla="*/ 715297 h 1037303"/>
                  <a:gd name="connsiteX445" fmla="*/ 224246 w 848702"/>
                  <a:gd name="connsiteY445" fmla="*/ 705465 h 1037303"/>
                  <a:gd name="connsiteX446" fmla="*/ 219330 w 848702"/>
                  <a:gd name="connsiteY446" fmla="*/ 698091 h 1037303"/>
                  <a:gd name="connsiteX447" fmla="*/ 204581 w 848702"/>
                  <a:gd name="connsiteY447" fmla="*/ 700549 h 1037303"/>
                  <a:gd name="connsiteX448" fmla="*/ 194749 w 848702"/>
                  <a:gd name="connsiteY448" fmla="*/ 722671 h 1037303"/>
                  <a:gd name="connsiteX449" fmla="*/ 180001 w 848702"/>
                  <a:gd name="connsiteY449" fmla="*/ 725129 h 1037303"/>
                  <a:gd name="connsiteX450" fmla="*/ 172627 w 848702"/>
                  <a:gd name="connsiteY450" fmla="*/ 698091 h 1037303"/>
                  <a:gd name="connsiteX451" fmla="*/ 165252 w 848702"/>
                  <a:gd name="connsiteY451" fmla="*/ 695632 h 1037303"/>
                  <a:gd name="connsiteX452" fmla="*/ 162794 w 848702"/>
                  <a:gd name="connsiteY452" fmla="*/ 703007 h 1037303"/>
                  <a:gd name="connsiteX453" fmla="*/ 155420 w 848702"/>
                  <a:gd name="connsiteY453" fmla="*/ 707923 h 1037303"/>
                  <a:gd name="connsiteX454" fmla="*/ 152962 w 848702"/>
                  <a:gd name="connsiteY454" fmla="*/ 683342 h 1037303"/>
                  <a:gd name="connsiteX455" fmla="*/ 148046 w 848702"/>
                  <a:gd name="connsiteY455" fmla="*/ 675968 h 1037303"/>
                  <a:gd name="connsiteX456" fmla="*/ 143130 w 848702"/>
                  <a:gd name="connsiteY456" fmla="*/ 683342 h 1037303"/>
                  <a:gd name="connsiteX457" fmla="*/ 135756 w 848702"/>
                  <a:gd name="connsiteY457" fmla="*/ 678426 h 1037303"/>
                  <a:gd name="connsiteX458" fmla="*/ 123465 w 848702"/>
                  <a:gd name="connsiteY458" fmla="*/ 671052 h 1037303"/>
                  <a:gd name="connsiteX459" fmla="*/ 106259 w 848702"/>
                  <a:gd name="connsiteY459" fmla="*/ 671052 h 1037303"/>
                  <a:gd name="connsiteX460" fmla="*/ 101343 w 848702"/>
                  <a:gd name="connsiteY460" fmla="*/ 663678 h 1037303"/>
                  <a:gd name="connsiteX461" fmla="*/ 108717 w 848702"/>
                  <a:gd name="connsiteY461" fmla="*/ 658761 h 1037303"/>
                  <a:gd name="connsiteX462" fmla="*/ 118549 w 848702"/>
                  <a:gd name="connsiteY462" fmla="*/ 656303 h 1037303"/>
                  <a:gd name="connsiteX463" fmla="*/ 128381 w 848702"/>
                  <a:gd name="connsiteY463" fmla="*/ 641555 h 1037303"/>
                  <a:gd name="connsiteX464" fmla="*/ 143130 w 848702"/>
                  <a:gd name="connsiteY464" fmla="*/ 636639 h 1037303"/>
                  <a:gd name="connsiteX465" fmla="*/ 145588 w 848702"/>
                  <a:gd name="connsiteY465" fmla="*/ 629265 h 1037303"/>
                  <a:gd name="connsiteX466" fmla="*/ 160336 w 848702"/>
                  <a:gd name="connsiteY466" fmla="*/ 634181 h 1037303"/>
                  <a:gd name="connsiteX467" fmla="*/ 162794 w 848702"/>
                  <a:gd name="connsiteY467" fmla="*/ 626807 h 1037303"/>
                  <a:gd name="connsiteX468" fmla="*/ 170168 w 848702"/>
                  <a:gd name="connsiteY468" fmla="*/ 619432 h 1037303"/>
                  <a:gd name="connsiteX469" fmla="*/ 165252 w 848702"/>
                  <a:gd name="connsiteY469" fmla="*/ 612058 h 1037303"/>
                  <a:gd name="connsiteX470" fmla="*/ 148046 w 848702"/>
                  <a:gd name="connsiteY470" fmla="*/ 604684 h 1037303"/>
                  <a:gd name="connsiteX471" fmla="*/ 128381 w 848702"/>
                  <a:gd name="connsiteY471" fmla="*/ 602226 h 1037303"/>
                  <a:gd name="connsiteX472" fmla="*/ 116091 w 848702"/>
                  <a:gd name="connsiteY472" fmla="*/ 592394 h 1037303"/>
                  <a:gd name="connsiteX473" fmla="*/ 113633 w 848702"/>
                  <a:gd name="connsiteY473" fmla="*/ 599768 h 1037303"/>
                  <a:gd name="connsiteX474" fmla="*/ 108717 w 848702"/>
                  <a:gd name="connsiteY474" fmla="*/ 607142 h 1037303"/>
                  <a:gd name="connsiteX475" fmla="*/ 74304 w 848702"/>
                  <a:gd name="connsiteY475" fmla="*/ 592394 h 1037303"/>
                  <a:gd name="connsiteX476" fmla="*/ 66930 w 848702"/>
                  <a:gd name="connsiteY476" fmla="*/ 587478 h 1037303"/>
                  <a:gd name="connsiteX477" fmla="*/ 62014 w 848702"/>
                  <a:gd name="connsiteY477" fmla="*/ 582561 h 1037303"/>
                  <a:gd name="connsiteX478" fmla="*/ 39891 w 848702"/>
                  <a:gd name="connsiteY478" fmla="*/ 565355 h 1037303"/>
                  <a:gd name="connsiteX479" fmla="*/ 34975 w 848702"/>
                  <a:gd name="connsiteY479" fmla="*/ 557981 h 1037303"/>
                  <a:gd name="connsiteX480" fmla="*/ 39891 w 848702"/>
                  <a:gd name="connsiteY480" fmla="*/ 550607 h 1037303"/>
                  <a:gd name="connsiteX481" fmla="*/ 37433 w 848702"/>
                  <a:gd name="connsiteY481" fmla="*/ 535858 h 1037303"/>
                  <a:gd name="connsiteX482" fmla="*/ 32517 w 848702"/>
                  <a:gd name="connsiteY482" fmla="*/ 528484 h 1037303"/>
                  <a:gd name="connsiteX483" fmla="*/ 10394 w 848702"/>
                  <a:gd name="connsiteY483" fmla="*/ 523568 h 1037303"/>
                  <a:gd name="connsiteX484" fmla="*/ 32517 w 848702"/>
                  <a:gd name="connsiteY484" fmla="*/ 540774 h 1037303"/>
                  <a:gd name="connsiteX0" fmla="*/ 32517 w 848702"/>
                  <a:gd name="connsiteY0" fmla="*/ 540774 h 1037303"/>
                  <a:gd name="connsiteX1" fmla="*/ 20227 w 848702"/>
                  <a:gd name="connsiteY1" fmla="*/ 521110 h 1037303"/>
                  <a:gd name="connsiteX2" fmla="*/ 15310 w 848702"/>
                  <a:gd name="connsiteY2" fmla="*/ 516194 h 1037303"/>
                  <a:gd name="connsiteX3" fmla="*/ 7936 w 848702"/>
                  <a:gd name="connsiteY3" fmla="*/ 513736 h 1037303"/>
                  <a:gd name="connsiteX4" fmla="*/ 562 w 848702"/>
                  <a:gd name="connsiteY4" fmla="*/ 508820 h 1037303"/>
                  <a:gd name="connsiteX5" fmla="*/ 12852 w 848702"/>
                  <a:gd name="connsiteY5" fmla="*/ 511278 h 1037303"/>
                  <a:gd name="connsiteX6" fmla="*/ 25143 w 848702"/>
                  <a:gd name="connsiteY6" fmla="*/ 508820 h 1037303"/>
                  <a:gd name="connsiteX7" fmla="*/ 34975 w 848702"/>
                  <a:gd name="connsiteY7" fmla="*/ 494071 h 1037303"/>
                  <a:gd name="connsiteX8" fmla="*/ 42349 w 848702"/>
                  <a:gd name="connsiteY8" fmla="*/ 479323 h 1037303"/>
                  <a:gd name="connsiteX9" fmla="*/ 34975 w 848702"/>
                  <a:gd name="connsiteY9" fmla="*/ 464574 h 1037303"/>
                  <a:gd name="connsiteX10" fmla="*/ 42349 w 848702"/>
                  <a:gd name="connsiteY10" fmla="*/ 467032 h 1037303"/>
                  <a:gd name="connsiteX11" fmla="*/ 39891 w 848702"/>
                  <a:gd name="connsiteY11" fmla="*/ 457200 h 1037303"/>
                  <a:gd name="connsiteX12" fmla="*/ 34975 w 848702"/>
                  <a:gd name="connsiteY12" fmla="*/ 449826 h 1037303"/>
                  <a:gd name="connsiteX13" fmla="*/ 42349 w 848702"/>
                  <a:gd name="connsiteY13" fmla="*/ 444910 h 1037303"/>
                  <a:gd name="connsiteX14" fmla="*/ 47265 w 848702"/>
                  <a:gd name="connsiteY14" fmla="*/ 437536 h 1037303"/>
                  <a:gd name="connsiteX15" fmla="*/ 54639 w 848702"/>
                  <a:gd name="connsiteY15" fmla="*/ 435078 h 1037303"/>
                  <a:gd name="connsiteX16" fmla="*/ 74304 w 848702"/>
                  <a:gd name="connsiteY16" fmla="*/ 430161 h 1037303"/>
                  <a:gd name="connsiteX17" fmla="*/ 76762 w 848702"/>
                  <a:gd name="connsiteY17" fmla="*/ 405581 h 1037303"/>
                  <a:gd name="connsiteX18" fmla="*/ 81678 w 848702"/>
                  <a:gd name="connsiteY18" fmla="*/ 398207 h 1037303"/>
                  <a:gd name="connsiteX19" fmla="*/ 86594 w 848702"/>
                  <a:gd name="connsiteY19" fmla="*/ 371168 h 1037303"/>
                  <a:gd name="connsiteX20" fmla="*/ 91510 w 848702"/>
                  <a:gd name="connsiteY20" fmla="*/ 363794 h 1037303"/>
                  <a:gd name="connsiteX21" fmla="*/ 98885 w 848702"/>
                  <a:gd name="connsiteY21" fmla="*/ 351503 h 1037303"/>
                  <a:gd name="connsiteX22" fmla="*/ 123465 w 848702"/>
                  <a:gd name="connsiteY22" fmla="*/ 344129 h 1037303"/>
                  <a:gd name="connsiteX23" fmla="*/ 116091 w 848702"/>
                  <a:gd name="connsiteY23" fmla="*/ 314632 h 1037303"/>
                  <a:gd name="connsiteX24" fmla="*/ 108717 w 848702"/>
                  <a:gd name="connsiteY24" fmla="*/ 309716 h 1037303"/>
                  <a:gd name="connsiteX25" fmla="*/ 106259 w 848702"/>
                  <a:gd name="connsiteY25" fmla="*/ 302342 h 1037303"/>
                  <a:gd name="connsiteX26" fmla="*/ 103801 w 848702"/>
                  <a:gd name="connsiteY26" fmla="*/ 282678 h 1037303"/>
                  <a:gd name="connsiteX27" fmla="*/ 111175 w 848702"/>
                  <a:gd name="connsiteY27" fmla="*/ 280220 h 1037303"/>
                  <a:gd name="connsiteX28" fmla="*/ 138214 w 848702"/>
                  <a:gd name="connsiteY28" fmla="*/ 282678 h 1037303"/>
                  <a:gd name="connsiteX29" fmla="*/ 150504 w 848702"/>
                  <a:gd name="connsiteY29" fmla="*/ 272845 h 1037303"/>
                  <a:gd name="connsiteX30" fmla="*/ 157878 w 848702"/>
                  <a:gd name="connsiteY30" fmla="*/ 270387 h 1037303"/>
                  <a:gd name="connsiteX31" fmla="*/ 175085 w 848702"/>
                  <a:gd name="connsiteY31" fmla="*/ 265471 h 1037303"/>
                  <a:gd name="connsiteX32" fmla="*/ 192291 w 848702"/>
                  <a:gd name="connsiteY32" fmla="*/ 267929 h 1037303"/>
                  <a:gd name="connsiteX33" fmla="*/ 204581 w 848702"/>
                  <a:gd name="connsiteY33" fmla="*/ 255639 h 1037303"/>
                  <a:gd name="connsiteX34" fmla="*/ 209498 w 848702"/>
                  <a:gd name="connsiteY34" fmla="*/ 250723 h 1037303"/>
                  <a:gd name="connsiteX35" fmla="*/ 219330 w 848702"/>
                  <a:gd name="connsiteY35" fmla="*/ 235974 h 1037303"/>
                  <a:gd name="connsiteX36" fmla="*/ 231620 w 848702"/>
                  <a:gd name="connsiteY36" fmla="*/ 221226 h 1037303"/>
                  <a:gd name="connsiteX37" fmla="*/ 234078 w 848702"/>
                  <a:gd name="connsiteY37" fmla="*/ 208936 h 1037303"/>
                  <a:gd name="connsiteX38" fmla="*/ 263575 w 848702"/>
                  <a:gd name="connsiteY38" fmla="*/ 213852 h 1037303"/>
                  <a:gd name="connsiteX39" fmla="*/ 273407 w 848702"/>
                  <a:gd name="connsiteY39" fmla="*/ 201561 h 1037303"/>
                  <a:gd name="connsiteX40" fmla="*/ 280781 w 848702"/>
                  <a:gd name="connsiteY40" fmla="*/ 199103 h 1037303"/>
                  <a:gd name="connsiteX41" fmla="*/ 297988 w 848702"/>
                  <a:gd name="connsiteY41" fmla="*/ 201561 h 1037303"/>
                  <a:gd name="connsiteX42" fmla="*/ 312736 w 848702"/>
                  <a:gd name="connsiteY42" fmla="*/ 204020 h 1037303"/>
                  <a:gd name="connsiteX43" fmla="*/ 315194 w 848702"/>
                  <a:gd name="connsiteY43" fmla="*/ 196645 h 1037303"/>
                  <a:gd name="connsiteX44" fmla="*/ 329943 w 848702"/>
                  <a:gd name="connsiteY44" fmla="*/ 196645 h 1037303"/>
                  <a:gd name="connsiteX45" fmla="*/ 329943 w 848702"/>
                  <a:gd name="connsiteY45" fmla="*/ 164691 h 1037303"/>
                  <a:gd name="connsiteX46" fmla="*/ 334859 w 848702"/>
                  <a:gd name="connsiteY46" fmla="*/ 159774 h 1037303"/>
                  <a:gd name="connsiteX47" fmla="*/ 347149 w 848702"/>
                  <a:gd name="connsiteY47" fmla="*/ 162232 h 1037303"/>
                  <a:gd name="connsiteX48" fmla="*/ 366814 w 848702"/>
                  <a:gd name="connsiteY48" fmla="*/ 159774 h 1037303"/>
                  <a:gd name="connsiteX49" fmla="*/ 388936 w 848702"/>
                  <a:gd name="connsiteY49" fmla="*/ 157316 h 1037303"/>
                  <a:gd name="connsiteX50" fmla="*/ 396310 w 848702"/>
                  <a:gd name="connsiteY50" fmla="*/ 152400 h 1037303"/>
                  <a:gd name="connsiteX51" fmla="*/ 408601 w 848702"/>
                  <a:gd name="connsiteY51" fmla="*/ 142568 h 1037303"/>
                  <a:gd name="connsiteX52" fmla="*/ 447930 w 848702"/>
                  <a:gd name="connsiteY52" fmla="*/ 140110 h 1037303"/>
                  <a:gd name="connsiteX53" fmla="*/ 462678 w 848702"/>
                  <a:gd name="connsiteY53" fmla="*/ 130278 h 1037303"/>
                  <a:gd name="connsiteX54" fmla="*/ 472510 w 848702"/>
                  <a:gd name="connsiteY54" fmla="*/ 120445 h 1037303"/>
                  <a:gd name="connsiteX55" fmla="*/ 484801 w 848702"/>
                  <a:gd name="connsiteY55" fmla="*/ 110613 h 1037303"/>
                  <a:gd name="connsiteX56" fmla="*/ 492175 w 848702"/>
                  <a:gd name="connsiteY56" fmla="*/ 108155 h 1037303"/>
                  <a:gd name="connsiteX57" fmla="*/ 494633 w 848702"/>
                  <a:gd name="connsiteY57" fmla="*/ 100781 h 1037303"/>
                  <a:gd name="connsiteX58" fmla="*/ 497091 w 848702"/>
                  <a:gd name="connsiteY58" fmla="*/ 90949 h 1037303"/>
                  <a:gd name="connsiteX59" fmla="*/ 504465 w 848702"/>
                  <a:gd name="connsiteY59" fmla="*/ 93407 h 1037303"/>
                  <a:gd name="connsiteX60" fmla="*/ 519214 w 848702"/>
                  <a:gd name="connsiteY60" fmla="*/ 83574 h 1037303"/>
                  <a:gd name="connsiteX61" fmla="*/ 526588 w 848702"/>
                  <a:gd name="connsiteY61" fmla="*/ 78658 h 1037303"/>
                  <a:gd name="connsiteX62" fmla="*/ 533962 w 848702"/>
                  <a:gd name="connsiteY62" fmla="*/ 78658 h 1037303"/>
                  <a:gd name="connsiteX63" fmla="*/ 541336 w 848702"/>
                  <a:gd name="connsiteY63" fmla="*/ 76200 h 1037303"/>
                  <a:gd name="connsiteX64" fmla="*/ 548710 w 848702"/>
                  <a:gd name="connsiteY64" fmla="*/ 81116 h 1037303"/>
                  <a:gd name="connsiteX65" fmla="*/ 556085 w 848702"/>
                  <a:gd name="connsiteY65" fmla="*/ 83574 h 1037303"/>
                  <a:gd name="connsiteX66" fmla="*/ 558543 w 848702"/>
                  <a:gd name="connsiteY66" fmla="*/ 90949 h 1037303"/>
                  <a:gd name="connsiteX67" fmla="*/ 565917 w 848702"/>
                  <a:gd name="connsiteY67" fmla="*/ 88491 h 1037303"/>
                  <a:gd name="connsiteX68" fmla="*/ 578207 w 848702"/>
                  <a:gd name="connsiteY68" fmla="*/ 100781 h 1037303"/>
                  <a:gd name="connsiteX69" fmla="*/ 585581 w 848702"/>
                  <a:gd name="connsiteY69" fmla="*/ 105697 h 1037303"/>
                  <a:gd name="connsiteX70" fmla="*/ 592956 w 848702"/>
                  <a:gd name="connsiteY70" fmla="*/ 103239 h 1037303"/>
                  <a:gd name="connsiteX71" fmla="*/ 607704 w 848702"/>
                  <a:gd name="connsiteY71" fmla="*/ 108155 h 1037303"/>
                  <a:gd name="connsiteX72" fmla="*/ 615078 w 848702"/>
                  <a:gd name="connsiteY72" fmla="*/ 105697 h 1037303"/>
                  <a:gd name="connsiteX73" fmla="*/ 627368 w 848702"/>
                  <a:gd name="connsiteY73" fmla="*/ 110613 h 1037303"/>
                  <a:gd name="connsiteX74" fmla="*/ 654407 w 848702"/>
                  <a:gd name="connsiteY74" fmla="*/ 115529 h 1037303"/>
                  <a:gd name="connsiteX75" fmla="*/ 661781 w 848702"/>
                  <a:gd name="connsiteY75" fmla="*/ 120445 h 1037303"/>
                  <a:gd name="connsiteX76" fmla="*/ 669156 w 848702"/>
                  <a:gd name="connsiteY76" fmla="*/ 117987 h 1037303"/>
                  <a:gd name="connsiteX77" fmla="*/ 678988 w 848702"/>
                  <a:gd name="connsiteY77" fmla="*/ 110613 h 1037303"/>
                  <a:gd name="connsiteX78" fmla="*/ 691278 w 848702"/>
                  <a:gd name="connsiteY78" fmla="*/ 108155 h 1037303"/>
                  <a:gd name="connsiteX79" fmla="*/ 706027 w 848702"/>
                  <a:gd name="connsiteY79" fmla="*/ 100781 h 1037303"/>
                  <a:gd name="connsiteX80" fmla="*/ 718317 w 848702"/>
                  <a:gd name="connsiteY80" fmla="*/ 103239 h 1037303"/>
                  <a:gd name="connsiteX81" fmla="*/ 725691 w 848702"/>
                  <a:gd name="connsiteY81" fmla="*/ 105697 h 1037303"/>
                  <a:gd name="connsiteX82" fmla="*/ 728149 w 848702"/>
                  <a:gd name="connsiteY82" fmla="*/ 98323 h 1037303"/>
                  <a:gd name="connsiteX83" fmla="*/ 742898 w 848702"/>
                  <a:gd name="connsiteY83" fmla="*/ 90949 h 1037303"/>
                  <a:gd name="connsiteX84" fmla="*/ 745356 w 848702"/>
                  <a:gd name="connsiteY84" fmla="*/ 83574 h 1037303"/>
                  <a:gd name="connsiteX85" fmla="*/ 750272 w 848702"/>
                  <a:gd name="connsiteY85" fmla="*/ 88491 h 1037303"/>
                  <a:gd name="connsiteX86" fmla="*/ 757646 w 848702"/>
                  <a:gd name="connsiteY86" fmla="*/ 93407 h 1037303"/>
                  <a:gd name="connsiteX87" fmla="*/ 769936 w 848702"/>
                  <a:gd name="connsiteY87" fmla="*/ 90949 h 1037303"/>
                  <a:gd name="connsiteX88" fmla="*/ 777310 w 848702"/>
                  <a:gd name="connsiteY88" fmla="*/ 73742 h 1037303"/>
                  <a:gd name="connsiteX89" fmla="*/ 782227 w 848702"/>
                  <a:gd name="connsiteY89" fmla="*/ 68826 h 1037303"/>
                  <a:gd name="connsiteX90" fmla="*/ 779768 w 848702"/>
                  <a:gd name="connsiteY90" fmla="*/ 61452 h 1037303"/>
                  <a:gd name="connsiteX91" fmla="*/ 777310 w 848702"/>
                  <a:gd name="connsiteY91" fmla="*/ 51620 h 1037303"/>
                  <a:gd name="connsiteX92" fmla="*/ 772394 w 848702"/>
                  <a:gd name="connsiteY92" fmla="*/ 46703 h 1037303"/>
                  <a:gd name="connsiteX93" fmla="*/ 769936 w 848702"/>
                  <a:gd name="connsiteY93" fmla="*/ 39329 h 1037303"/>
                  <a:gd name="connsiteX94" fmla="*/ 767478 w 848702"/>
                  <a:gd name="connsiteY94" fmla="*/ 27039 h 1037303"/>
                  <a:gd name="connsiteX95" fmla="*/ 760104 w 848702"/>
                  <a:gd name="connsiteY95" fmla="*/ 24581 h 1037303"/>
                  <a:gd name="connsiteX96" fmla="*/ 757646 w 848702"/>
                  <a:gd name="connsiteY96" fmla="*/ 9832 h 1037303"/>
                  <a:gd name="connsiteX97" fmla="*/ 765020 w 848702"/>
                  <a:gd name="connsiteY97" fmla="*/ 4916 h 1037303"/>
                  <a:gd name="connsiteX98" fmla="*/ 779768 w 848702"/>
                  <a:gd name="connsiteY98" fmla="*/ 0 h 1037303"/>
                  <a:gd name="connsiteX99" fmla="*/ 804349 w 848702"/>
                  <a:gd name="connsiteY99" fmla="*/ 2458 h 1037303"/>
                  <a:gd name="connsiteX100" fmla="*/ 819098 w 848702"/>
                  <a:gd name="connsiteY100" fmla="*/ 9832 h 1037303"/>
                  <a:gd name="connsiteX101" fmla="*/ 826472 w 848702"/>
                  <a:gd name="connsiteY101" fmla="*/ 12291 h 1037303"/>
                  <a:gd name="connsiteX102" fmla="*/ 841220 w 848702"/>
                  <a:gd name="connsiteY102" fmla="*/ 27039 h 1037303"/>
                  <a:gd name="connsiteX103" fmla="*/ 843678 w 848702"/>
                  <a:gd name="connsiteY103" fmla="*/ 34413 h 1037303"/>
                  <a:gd name="connsiteX104" fmla="*/ 848594 w 848702"/>
                  <a:gd name="connsiteY104" fmla="*/ 41787 h 1037303"/>
                  <a:gd name="connsiteX105" fmla="*/ 843678 w 848702"/>
                  <a:gd name="connsiteY105" fmla="*/ 71284 h 1037303"/>
                  <a:gd name="connsiteX106" fmla="*/ 828930 w 848702"/>
                  <a:gd name="connsiteY106" fmla="*/ 68826 h 1037303"/>
                  <a:gd name="connsiteX107" fmla="*/ 826472 w 848702"/>
                  <a:gd name="connsiteY107" fmla="*/ 76200 h 1037303"/>
                  <a:gd name="connsiteX108" fmla="*/ 816639 w 848702"/>
                  <a:gd name="connsiteY108" fmla="*/ 78658 h 1037303"/>
                  <a:gd name="connsiteX109" fmla="*/ 811723 w 848702"/>
                  <a:gd name="connsiteY109" fmla="*/ 86032 h 1037303"/>
                  <a:gd name="connsiteX110" fmla="*/ 814181 w 848702"/>
                  <a:gd name="connsiteY110" fmla="*/ 95865 h 1037303"/>
                  <a:gd name="connsiteX111" fmla="*/ 816639 w 848702"/>
                  <a:gd name="connsiteY111" fmla="*/ 103239 h 1037303"/>
                  <a:gd name="connsiteX112" fmla="*/ 821556 w 848702"/>
                  <a:gd name="connsiteY112" fmla="*/ 108155 h 1037303"/>
                  <a:gd name="connsiteX113" fmla="*/ 826472 w 848702"/>
                  <a:gd name="connsiteY113" fmla="*/ 115529 h 1037303"/>
                  <a:gd name="connsiteX114" fmla="*/ 821556 w 848702"/>
                  <a:gd name="connsiteY114" fmla="*/ 125361 h 1037303"/>
                  <a:gd name="connsiteX115" fmla="*/ 816639 w 848702"/>
                  <a:gd name="connsiteY115" fmla="*/ 130278 h 1037303"/>
                  <a:gd name="connsiteX116" fmla="*/ 819098 w 848702"/>
                  <a:gd name="connsiteY116" fmla="*/ 137652 h 1037303"/>
                  <a:gd name="connsiteX117" fmla="*/ 819098 w 848702"/>
                  <a:gd name="connsiteY117" fmla="*/ 152400 h 1037303"/>
                  <a:gd name="connsiteX118" fmla="*/ 799433 w 848702"/>
                  <a:gd name="connsiteY118" fmla="*/ 154858 h 1037303"/>
                  <a:gd name="connsiteX119" fmla="*/ 794517 w 848702"/>
                  <a:gd name="connsiteY119" fmla="*/ 162232 h 1037303"/>
                  <a:gd name="connsiteX120" fmla="*/ 801891 w 848702"/>
                  <a:gd name="connsiteY120" fmla="*/ 167149 h 1037303"/>
                  <a:gd name="connsiteX121" fmla="*/ 796975 w 848702"/>
                  <a:gd name="connsiteY121" fmla="*/ 174523 h 1037303"/>
                  <a:gd name="connsiteX122" fmla="*/ 792059 w 848702"/>
                  <a:gd name="connsiteY122" fmla="*/ 184355 h 1037303"/>
                  <a:gd name="connsiteX123" fmla="*/ 787143 w 848702"/>
                  <a:gd name="connsiteY123" fmla="*/ 176981 h 1037303"/>
                  <a:gd name="connsiteX124" fmla="*/ 772394 w 848702"/>
                  <a:gd name="connsiteY124" fmla="*/ 169607 h 1037303"/>
                  <a:gd name="connsiteX125" fmla="*/ 765020 w 848702"/>
                  <a:gd name="connsiteY125" fmla="*/ 164691 h 1037303"/>
                  <a:gd name="connsiteX126" fmla="*/ 715859 w 848702"/>
                  <a:gd name="connsiteY126" fmla="*/ 159774 h 1037303"/>
                  <a:gd name="connsiteX127" fmla="*/ 701110 w 848702"/>
                  <a:gd name="connsiteY127" fmla="*/ 152400 h 1037303"/>
                  <a:gd name="connsiteX128" fmla="*/ 693736 w 848702"/>
                  <a:gd name="connsiteY128" fmla="*/ 154858 h 1037303"/>
                  <a:gd name="connsiteX129" fmla="*/ 678988 w 848702"/>
                  <a:gd name="connsiteY129" fmla="*/ 157316 h 1037303"/>
                  <a:gd name="connsiteX130" fmla="*/ 669156 w 848702"/>
                  <a:gd name="connsiteY130" fmla="*/ 154858 h 1037303"/>
                  <a:gd name="connsiteX131" fmla="*/ 661781 w 848702"/>
                  <a:gd name="connsiteY131" fmla="*/ 152400 h 1037303"/>
                  <a:gd name="connsiteX132" fmla="*/ 654407 w 848702"/>
                  <a:gd name="connsiteY132" fmla="*/ 159774 h 1037303"/>
                  <a:gd name="connsiteX133" fmla="*/ 637201 w 848702"/>
                  <a:gd name="connsiteY133" fmla="*/ 167149 h 1037303"/>
                  <a:gd name="connsiteX134" fmla="*/ 632285 w 848702"/>
                  <a:gd name="connsiteY134" fmla="*/ 184355 h 1037303"/>
                  <a:gd name="connsiteX135" fmla="*/ 624910 w 848702"/>
                  <a:gd name="connsiteY135" fmla="*/ 186813 h 1037303"/>
                  <a:gd name="connsiteX136" fmla="*/ 602788 w 848702"/>
                  <a:gd name="connsiteY136" fmla="*/ 199103 h 1037303"/>
                  <a:gd name="connsiteX137" fmla="*/ 553627 w 848702"/>
                  <a:gd name="connsiteY137" fmla="*/ 196645 h 1037303"/>
                  <a:gd name="connsiteX138" fmla="*/ 548710 w 848702"/>
                  <a:gd name="connsiteY138" fmla="*/ 201561 h 1037303"/>
                  <a:gd name="connsiteX139" fmla="*/ 543794 w 848702"/>
                  <a:gd name="connsiteY139" fmla="*/ 216310 h 1037303"/>
                  <a:gd name="connsiteX140" fmla="*/ 538878 w 848702"/>
                  <a:gd name="connsiteY140" fmla="*/ 228600 h 1037303"/>
                  <a:gd name="connsiteX141" fmla="*/ 506923 w 848702"/>
                  <a:gd name="connsiteY141" fmla="*/ 238432 h 1037303"/>
                  <a:gd name="connsiteX142" fmla="*/ 497091 w 848702"/>
                  <a:gd name="connsiteY142" fmla="*/ 240891 h 1037303"/>
                  <a:gd name="connsiteX143" fmla="*/ 479885 w 848702"/>
                  <a:gd name="connsiteY143" fmla="*/ 243349 h 1037303"/>
                  <a:gd name="connsiteX144" fmla="*/ 482343 w 848702"/>
                  <a:gd name="connsiteY144" fmla="*/ 258097 h 1037303"/>
                  <a:gd name="connsiteX145" fmla="*/ 487259 w 848702"/>
                  <a:gd name="connsiteY145" fmla="*/ 265471 h 1037303"/>
                  <a:gd name="connsiteX146" fmla="*/ 484801 w 848702"/>
                  <a:gd name="connsiteY146" fmla="*/ 275303 h 1037303"/>
                  <a:gd name="connsiteX147" fmla="*/ 497091 w 848702"/>
                  <a:gd name="connsiteY147" fmla="*/ 287594 h 1037303"/>
                  <a:gd name="connsiteX148" fmla="*/ 570833 w 848702"/>
                  <a:gd name="connsiteY148" fmla="*/ 299884 h 1037303"/>
                  <a:gd name="connsiteX149" fmla="*/ 573291 w 848702"/>
                  <a:gd name="connsiteY149" fmla="*/ 307258 h 1037303"/>
                  <a:gd name="connsiteX150" fmla="*/ 585581 w 848702"/>
                  <a:gd name="connsiteY150" fmla="*/ 317091 h 1037303"/>
                  <a:gd name="connsiteX151" fmla="*/ 595414 w 848702"/>
                  <a:gd name="connsiteY151" fmla="*/ 329381 h 1037303"/>
                  <a:gd name="connsiteX152" fmla="*/ 588039 w 848702"/>
                  <a:gd name="connsiteY152" fmla="*/ 331839 h 1037303"/>
                  <a:gd name="connsiteX153" fmla="*/ 580665 w 848702"/>
                  <a:gd name="connsiteY153" fmla="*/ 326923 h 1037303"/>
                  <a:gd name="connsiteX154" fmla="*/ 570833 w 848702"/>
                  <a:gd name="connsiteY154" fmla="*/ 324465 h 1037303"/>
                  <a:gd name="connsiteX155" fmla="*/ 553627 w 848702"/>
                  <a:gd name="connsiteY155" fmla="*/ 319549 h 1037303"/>
                  <a:gd name="connsiteX156" fmla="*/ 546252 w 848702"/>
                  <a:gd name="connsiteY156" fmla="*/ 314632 h 1037303"/>
                  <a:gd name="connsiteX157" fmla="*/ 538878 w 848702"/>
                  <a:gd name="connsiteY157" fmla="*/ 307258 h 1037303"/>
                  <a:gd name="connsiteX158" fmla="*/ 504465 w 848702"/>
                  <a:gd name="connsiteY158" fmla="*/ 309716 h 1037303"/>
                  <a:gd name="connsiteX159" fmla="*/ 502007 w 848702"/>
                  <a:gd name="connsiteY159" fmla="*/ 322007 h 1037303"/>
                  <a:gd name="connsiteX160" fmla="*/ 502007 w 848702"/>
                  <a:gd name="connsiteY160" fmla="*/ 339213 h 1037303"/>
                  <a:gd name="connsiteX161" fmla="*/ 514298 w 848702"/>
                  <a:gd name="connsiteY161" fmla="*/ 341671 h 1037303"/>
                  <a:gd name="connsiteX162" fmla="*/ 529046 w 848702"/>
                  <a:gd name="connsiteY162" fmla="*/ 349045 h 1037303"/>
                  <a:gd name="connsiteX163" fmla="*/ 536420 w 848702"/>
                  <a:gd name="connsiteY163" fmla="*/ 351503 h 1037303"/>
                  <a:gd name="connsiteX164" fmla="*/ 538878 w 848702"/>
                  <a:gd name="connsiteY164" fmla="*/ 381000 h 1037303"/>
                  <a:gd name="connsiteX165" fmla="*/ 526588 w 848702"/>
                  <a:gd name="connsiteY165" fmla="*/ 378542 h 1037303"/>
                  <a:gd name="connsiteX166" fmla="*/ 521672 w 848702"/>
                  <a:gd name="connsiteY166" fmla="*/ 371168 h 1037303"/>
                  <a:gd name="connsiteX167" fmla="*/ 514298 w 848702"/>
                  <a:gd name="connsiteY167" fmla="*/ 363794 h 1037303"/>
                  <a:gd name="connsiteX168" fmla="*/ 509381 w 848702"/>
                  <a:gd name="connsiteY168" fmla="*/ 356420 h 1037303"/>
                  <a:gd name="connsiteX169" fmla="*/ 489717 w 848702"/>
                  <a:gd name="connsiteY169" fmla="*/ 341671 h 1037303"/>
                  <a:gd name="connsiteX170" fmla="*/ 474968 w 848702"/>
                  <a:gd name="connsiteY170" fmla="*/ 331839 h 1037303"/>
                  <a:gd name="connsiteX171" fmla="*/ 467594 w 848702"/>
                  <a:gd name="connsiteY171" fmla="*/ 329381 h 1037303"/>
                  <a:gd name="connsiteX172" fmla="*/ 460220 w 848702"/>
                  <a:gd name="connsiteY172" fmla="*/ 331839 h 1037303"/>
                  <a:gd name="connsiteX173" fmla="*/ 450388 w 848702"/>
                  <a:gd name="connsiteY173" fmla="*/ 334297 h 1037303"/>
                  <a:gd name="connsiteX174" fmla="*/ 445472 w 848702"/>
                  <a:gd name="connsiteY174" fmla="*/ 341671 h 1037303"/>
                  <a:gd name="connsiteX175" fmla="*/ 447930 w 848702"/>
                  <a:gd name="connsiteY175" fmla="*/ 358878 h 1037303"/>
                  <a:gd name="connsiteX176" fmla="*/ 455304 w 848702"/>
                  <a:gd name="connsiteY176" fmla="*/ 368710 h 1037303"/>
                  <a:gd name="connsiteX177" fmla="*/ 470052 w 848702"/>
                  <a:gd name="connsiteY177" fmla="*/ 378542 h 1037303"/>
                  <a:gd name="connsiteX178" fmla="*/ 487259 w 848702"/>
                  <a:gd name="connsiteY178" fmla="*/ 383458 h 1037303"/>
                  <a:gd name="connsiteX179" fmla="*/ 494633 w 848702"/>
                  <a:gd name="connsiteY179" fmla="*/ 385916 h 1037303"/>
                  <a:gd name="connsiteX180" fmla="*/ 497091 w 848702"/>
                  <a:gd name="connsiteY180" fmla="*/ 393291 h 1037303"/>
                  <a:gd name="connsiteX181" fmla="*/ 477427 w 848702"/>
                  <a:gd name="connsiteY181" fmla="*/ 388374 h 1037303"/>
                  <a:gd name="connsiteX182" fmla="*/ 455304 w 848702"/>
                  <a:gd name="connsiteY182" fmla="*/ 385916 h 1037303"/>
                  <a:gd name="connsiteX183" fmla="*/ 440556 w 848702"/>
                  <a:gd name="connsiteY183" fmla="*/ 371168 h 1037303"/>
                  <a:gd name="connsiteX184" fmla="*/ 435639 w 848702"/>
                  <a:gd name="connsiteY184" fmla="*/ 366252 h 1037303"/>
                  <a:gd name="connsiteX185" fmla="*/ 428265 w 848702"/>
                  <a:gd name="connsiteY185" fmla="*/ 363794 h 1037303"/>
                  <a:gd name="connsiteX186" fmla="*/ 420891 w 848702"/>
                  <a:gd name="connsiteY186" fmla="*/ 351503 h 1037303"/>
                  <a:gd name="connsiteX187" fmla="*/ 413517 w 848702"/>
                  <a:gd name="connsiteY187" fmla="*/ 344129 h 1037303"/>
                  <a:gd name="connsiteX188" fmla="*/ 411059 w 848702"/>
                  <a:gd name="connsiteY188" fmla="*/ 336755 h 1037303"/>
                  <a:gd name="connsiteX189" fmla="*/ 403685 w 848702"/>
                  <a:gd name="connsiteY189" fmla="*/ 331839 h 1037303"/>
                  <a:gd name="connsiteX190" fmla="*/ 361898 w 848702"/>
                  <a:gd name="connsiteY190" fmla="*/ 324465 h 1037303"/>
                  <a:gd name="connsiteX191" fmla="*/ 364356 w 848702"/>
                  <a:gd name="connsiteY191" fmla="*/ 299884 h 1037303"/>
                  <a:gd name="connsiteX192" fmla="*/ 371730 w 848702"/>
                  <a:gd name="connsiteY192" fmla="*/ 297426 h 1037303"/>
                  <a:gd name="connsiteX193" fmla="*/ 376646 w 848702"/>
                  <a:gd name="connsiteY193" fmla="*/ 290052 h 1037303"/>
                  <a:gd name="connsiteX194" fmla="*/ 371730 w 848702"/>
                  <a:gd name="connsiteY194" fmla="*/ 282678 h 1037303"/>
                  <a:gd name="connsiteX195" fmla="*/ 356981 w 848702"/>
                  <a:gd name="connsiteY195" fmla="*/ 285136 h 1037303"/>
                  <a:gd name="connsiteX196" fmla="*/ 361898 w 848702"/>
                  <a:gd name="connsiteY196" fmla="*/ 299884 h 1037303"/>
                  <a:gd name="connsiteX197" fmla="*/ 356981 w 848702"/>
                  <a:gd name="connsiteY197" fmla="*/ 304800 h 1037303"/>
                  <a:gd name="connsiteX198" fmla="*/ 347149 w 848702"/>
                  <a:gd name="connsiteY198" fmla="*/ 307258 h 1037303"/>
                  <a:gd name="connsiteX199" fmla="*/ 339775 w 848702"/>
                  <a:gd name="connsiteY199" fmla="*/ 309716 h 1037303"/>
                  <a:gd name="connsiteX200" fmla="*/ 332401 w 848702"/>
                  <a:gd name="connsiteY200" fmla="*/ 314632 h 1037303"/>
                  <a:gd name="connsiteX201" fmla="*/ 334859 w 848702"/>
                  <a:gd name="connsiteY201" fmla="*/ 329381 h 1037303"/>
                  <a:gd name="connsiteX202" fmla="*/ 337317 w 848702"/>
                  <a:gd name="connsiteY202" fmla="*/ 336755 h 1037303"/>
                  <a:gd name="connsiteX203" fmla="*/ 332401 w 848702"/>
                  <a:gd name="connsiteY203" fmla="*/ 381000 h 1037303"/>
                  <a:gd name="connsiteX204" fmla="*/ 334859 w 848702"/>
                  <a:gd name="connsiteY204" fmla="*/ 390832 h 1037303"/>
                  <a:gd name="connsiteX205" fmla="*/ 342233 w 848702"/>
                  <a:gd name="connsiteY205" fmla="*/ 395749 h 1037303"/>
                  <a:gd name="connsiteX206" fmla="*/ 354523 w 848702"/>
                  <a:gd name="connsiteY206" fmla="*/ 408039 h 1037303"/>
                  <a:gd name="connsiteX207" fmla="*/ 364356 w 848702"/>
                  <a:gd name="connsiteY207" fmla="*/ 422787 h 1037303"/>
                  <a:gd name="connsiteX208" fmla="*/ 366814 w 848702"/>
                  <a:gd name="connsiteY208" fmla="*/ 430161 h 1037303"/>
                  <a:gd name="connsiteX209" fmla="*/ 381562 w 848702"/>
                  <a:gd name="connsiteY209" fmla="*/ 439994 h 1037303"/>
                  <a:gd name="connsiteX210" fmla="*/ 398768 w 848702"/>
                  <a:gd name="connsiteY210" fmla="*/ 457200 h 1037303"/>
                  <a:gd name="connsiteX211" fmla="*/ 406143 w 848702"/>
                  <a:gd name="connsiteY211" fmla="*/ 471949 h 1037303"/>
                  <a:gd name="connsiteX212" fmla="*/ 411059 w 848702"/>
                  <a:gd name="connsiteY212" fmla="*/ 479323 h 1037303"/>
                  <a:gd name="connsiteX213" fmla="*/ 418433 w 848702"/>
                  <a:gd name="connsiteY213" fmla="*/ 494071 h 1037303"/>
                  <a:gd name="connsiteX214" fmla="*/ 440556 w 848702"/>
                  <a:gd name="connsiteY214" fmla="*/ 496529 h 1037303"/>
                  <a:gd name="connsiteX215" fmla="*/ 455304 w 848702"/>
                  <a:gd name="connsiteY215" fmla="*/ 508820 h 1037303"/>
                  <a:gd name="connsiteX216" fmla="*/ 457762 w 848702"/>
                  <a:gd name="connsiteY216" fmla="*/ 516194 h 1037303"/>
                  <a:gd name="connsiteX217" fmla="*/ 455304 w 848702"/>
                  <a:gd name="connsiteY217" fmla="*/ 533400 h 1037303"/>
                  <a:gd name="connsiteX218" fmla="*/ 447930 w 848702"/>
                  <a:gd name="connsiteY218" fmla="*/ 538316 h 1037303"/>
                  <a:gd name="connsiteX219" fmla="*/ 445472 w 848702"/>
                  <a:gd name="connsiteY219" fmla="*/ 523568 h 1037303"/>
                  <a:gd name="connsiteX220" fmla="*/ 435639 w 848702"/>
                  <a:gd name="connsiteY220" fmla="*/ 511278 h 1037303"/>
                  <a:gd name="connsiteX221" fmla="*/ 406143 w 848702"/>
                  <a:gd name="connsiteY221" fmla="*/ 513736 h 1037303"/>
                  <a:gd name="connsiteX222" fmla="*/ 391394 w 848702"/>
                  <a:gd name="connsiteY222" fmla="*/ 523568 h 1037303"/>
                  <a:gd name="connsiteX223" fmla="*/ 396310 w 848702"/>
                  <a:gd name="connsiteY223" fmla="*/ 538316 h 1037303"/>
                  <a:gd name="connsiteX224" fmla="*/ 403685 w 848702"/>
                  <a:gd name="connsiteY224" fmla="*/ 543232 h 1037303"/>
                  <a:gd name="connsiteX225" fmla="*/ 413517 w 848702"/>
                  <a:gd name="connsiteY225" fmla="*/ 545691 h 1037303"/>
                  <a:gd name="connsiteX226" fmla="*/ 420891 w 848702"/>
                  <a:gd name="connsiteY226" fmla="*/ 548149 h 1037303"/>
                  <a:gd name="connsiteX227" fmla="*/ 428265 w 848702"/>
                  <a:gd name="connsiteY227" fmla="*/ 557981 h 1037303"/>
                  <a:gd name="connsiteX228" fmla="*/ 435639 w 848702"/>
                  <a:gd name="connsiteY228" fmla="*/ 560439 h 1037303"/>
                  <a:gd name="connsiteX229" fmla="*/ 433181 w 848702"/>
                  <a:gd name="connsiteY229" fmla="*/ 575187 h 1037303"/>
                  <a:gd name="connsiteX230" fmla="*/ 418433 w 848702"/>
                  <a:gd name="connsiteY230" fmla="*/ 580103 h 1037303"/>
                  <a:gd name="connsiteX231" fmla="*/ 411059 w 848702"/>
                  <a:gd name="connsiteY231" fmla="*/ 585020 h 1037303"/>
                  <a:gd name="connsiteX232" fmla="*/ 391394 w 848702"/>
                  <a:gd name="connsiteY232" fmla="*/ 589936 h 1037303"/>
                  <a:gd name="connsiteX233" fmla="*/ 371730 w 848702"/>
                  <a:gd name="connsiteY233" fmla="*/ 594852 h 1037303"/>
                  <a:gd name="connsiteX234" fmla="*/ 369272 w 848702"/>
                  <a:gd name="connsiteY234" fmla="*/ 602226 h 1037303"/>
                  <a:gd name="connsiteX235" fmla="*/ 393852 w 848702"/>
                  <a:gd name="connsiteY235" fmla="*/ 612058 h 1037303"/>
                  <a:gd name="connsiteX236" fmla="*/ 403685 w 848702"/>
                  <a:gd name="connsiteY236" fmla="*/ 614516 h 1037303"/>
                  <a:gd name="connsiteX237" fmla="*/ 411059 w 848702"/>
                  <a:gd name="connsiteY237" fmla="*/ 616974 h 1037303"/>
                  <a:gd name="connsiteX238" fmla="*/ 428265 w 848702"/>
                  <a:gd name="connsiteY238" fmla="*/ 619432 h 1037303"/>
                  <a:gd name="connsiteX239" fmla="*/ 435639 w 848702"/>
                  <a:gd name="connsiteY239" fmla="*/ 634181 h 1037303"/>
                  <a:gd name="connsiteX240" fmla="*/ 443014 w 848702"/>
                  <a:gd name="connsiteY240" fmla="*/ 636639 h 1037303"/>
                  <a:gd name="connsiteX241" fmla="*/ 474968 w 848702"/>
                  <a:gd name="connsiteY241" fmla="*/ 644013 h 1037303"/>
                  <a:gd name="connsiteX242" fmla="*/ 514298 w 848702"/>
                  <a:gd name="connsiteY242" fmla="*/ 648929 h 1037303"/>
                  <a:gd name="connsiteX243" fmla="*/ 516756 w 848702"/>
                  <a:gd name="connsiteY243" fmla="*/ 639097 h 1037303"/>
                  <a:gd name="connsiteX244" fmla="*/ 514298 w 848702"/>
                  <a:gd name="connsiteY244" fmla="*/ 626807 h 1037303"/>
                  <a:gd name="connsiteX245" fmla="*/ 499549 w 848702"/>
                  <a:gd name="connsiteY245" fmla="*/ 621891 h 1037303"/>
                  <a:gd name="connsiteX246" fmla="*/ 494633 w 848702"/>
                  <a:gd name="connsiteY246" fmla="*/ 616974 h 1037303"/>
                  <a:gd name="connsiteX247" fmla="*/ 484801 w 848702"/>
                  <a:gd name="connsiteY247" fmla="*/ 602226 h 1037303"/>
                  <a:gd name="connsiteX248" fmla="*/ 474968 w 848702"/>
                  <a:gd name="connsiteY248" fmla="*/ 599768 h 1037303"/>
                  <a:gd name="connsiteX249" fmla="*/ 467594 w 848702"/>
                  <a:gd name="connsiteY249" fmla="*/ 594852 h 1037303"/>
                  <a:gd name="connsiteX250" fmla="*/ 440556 w 848702"/>
                  <a:gd name="connsiteY250" fmla="*/ 592394 h 1037303"/>
                  <a:gd name="connsiteX251" fmla="*/ 430723 w 848702"/>
                  <a:gd name="connsiteY251" fmla="*/ 589936 h 1037303"/>
                  <a:gd name="connsiteX252" fmla="*/ 423349 w 848702"/>
                  <a:gd name="connsiteY252" fmla="*/ 585020 h 1037303"/>
                  <a:gd name="connsiteX253" fmla="*/ 420891 w 848702"/>
                  <a:gd name="connsiteY253" fmla="*/ 592394 h 1037303"/>
                  <a:gd name="connsiteX254" fmla="*/ 433181 w 848702"/>
                  <a:gd name="connsiteY254" fmla="*/ 589936 h 1037303"/>
                  <a:gd name="connsiteX255" fmla="*/ 435639 w 848702"/>
                  <a:gd name="connsiteY255" fmla="*/ 565355 h 1037303"/>
                  <a:gd name="connsiteX256" fmla="*/ 450388 w 848702"/>
                  <a:gd name="connsiteY256" fmla="*/ 560439 h 1037303"/>
                  <a:gd name="connsiteX257" fmla="*/ 457762 w 848702"/>
                  <a:gd name="connsiteY257" fmla="*/ 557981 h 1037303"/>
                  <a:gd name="connsiteX258" fmla="*/ 472510 w 848702"/>
                  <a:gd name="connsiteY258" fmla="*/ 567813 h 1037303"/>
                  <a:gd name="connsiteX259" fmla="*/ 479885 w 848702"/>
                  <a:gd name="connsiteY259" fmla="*/ 570271 h 1037303"/>
                  <a:gd name="connsiteX260" fmla="*/ 489717 w 848702"/>
                  <a:gd name="connsiteY260" fmla="*/ 582561 h 1037303"/>
                  <a:gd name="connsiteX261" fmla="*/ 502007 w 848702"/>
                  <a:gd name="connsiteY261" fmla="*/ 592394 h 1037303"/>
                  <a:gd name="connsiteX262" fmla="*/ 570833 w 848702"/>
                  <a:gd name="connsiteY262" fmla="*/ 602226 h 1037303"/>
                  <a:gd name="connsiteX263" fmla="*/ 583123 w 848702"/>
                  <a:gd name="connsiteY263" fmla="*/ 604684 h 1037303"/>
                  <a:gd name="connsiteX264" fmla="*/ 585581 w 848702"/>
                  <a:gd name="connsiteY264" fmla="*/ 619432 h 1037303"/>
                  <a:gd name="connsiteX265" fmla="*/ 588039 w 848702"/>
                  <a:gd name="connsiteY265" fmla="*/ 626807 h 1037303"/>
                  <a:gd name="connsiteX266" fmla="*/ 592956 w 848702"/>
                  <a:gd name="connsiteY266" fmla="*/ 631723 h 1037303"/>
                  <a:gd name="connsiteX267" fmla="*/ 607704 w 848702"/>
                  <a:gd name="connsiteY267" fmla="*/ 641555 h 1037303"/>
                  <a:gd name="connsiteX268" fmla="*/ 617536 w 848702"/>
                  <a:gd name="connsiteY268" fmla="*/ 663678 h 1037303"/>
                  <a:gd name="connsiteX269" fmla="*/ 619994 w 848702"/>
                  <a:gd name="connsiteY269" fmla="*/ 671052 h 1037303"/>
                  <a:gd name="connsiteX270" fmla="*/ 629827 w 848702"/>
                  <a:gd name="connsiteY270" fmla="*/ 680884 h 1037303"/>
                  <a:gd name="connsiteX271" fmla="*/ 656865 w 848702"/>
                  <a:gd name="connsiteY271" fmla="*/ 683342 h 1037303"/>
                  <a:gd name="connsiteX272" fmla="*/ 674072 w 848702"/>
                  <a:gd name="connsiteY272" fmla="*/ 695632 h 1037303"/>
                  <a:gd name="connsiteX273" fmla="*/ 671614 w 848702"/>
                  <a:gd name="connsiteY273" fmla="*/ 707923 h 1037303"/>
                  <a:gd name="connsiteX274" fmla="*/ 656865 w 848702"/>
                  <a:gd name="connsiteY274" fmla="*/ 715297 h 1037303"/>
                  <a:gd name="connsiteX275" fmla="*/ 649491 w 848702"/>
                  <a:gd name="connsiteY275" fmla="*/ 710381 h 1037303"/>
                  <a:gd name="connsiteX276" fmla="*/ 642117 w 848702"/>
                  <a:gd name="connsiteY276" fmla="*/ 703007 h 1037303"/>
                  <a:gd name="connsiteX277" fmla="*/ 634743 w 848702"/>
                  <a:gd name="connsiteY277" fmla="*/ 700549 h 1037303"/>
                  <a:gd name="connsiteX278" fmla="*/ 619994 w 848702"/>
                  <a:gd name="connsiteY278" fmla="*/ 693174 h 1037303"/>
                  <a:gd name="connsiteX279" fmla="*/ 612620 w 848702"/>
                  <a:gd name="connsiteY279" fmla="*/ 688258 h 1037303"/>
                  <a:gd name="connsiteX280" fmla="*/ 597872 w 848702"/>
                  <a:gd name="connsiteY280" fmla="*/ 680884 h 1037303"/>
                  <a:gd name="connsiteX281" fmla="*/ 595414 w 848702"/>
                  <a:gd name="connsiteY281" fmla="*/ 671052 h 1037303"/>
                  <a:gd name="connsiteX282" fmla="*/ 575749 w 848702"/>
                  <a:gd name="connsiteY282" fmla="*/ 656303 h 1037303"/>
                  <a:gd name="connsiteX283" fmla="*/ 568375 w 848702"/>
                  <a:gd name="connsiteY283" fmla="*/ 648929 h 1037303"/>
                  <a:gd name="connsiteX284" fmla="*/ 558543 w 848702"/>
                  <a:gd name="connsiteY284" fmla="*/ 646471 h 1037303"/>
                  <a:gd name="connsiteX285" fmla="*/ 551168 w 848702"/>
                  <a:gd name="connsiteY285" fmla="*/ 644013 h 1037303"/>
                  <a:gd name="connsiteX286" fmla="*/ 543794 w 848702"/>
                  <a:gd name="connsiteY286" fmla="*/ 648929 h 1037303"/>
                  <a:gd name="connsiteX287" fmla="*/ 538878 w 848702"/>
                  <a:gd name="connsiteY287" fmla="*/ 656303 h 1037303"/>
                  <a:gd name="connsiteX288" fmla="*/ 533962 w 848702"/>
                  <a:gd name="connsiteY288" fmla="*/ 661220 h 1037303"/>
                  <a:gd name="connsiteX289" fmla="*/ 570833 w 848702"/>
                  <a:gd name="connsiteY289" fmla="*/ 668594 h 1037303"/>
                  <a:gd name="connsiteX290" fmla="*/ 585581 w 848702"/>
                  <a:gd name="connsiteY290" fmla="*/ 673510 h 1037303"/>
                  <a:gd name="connsiteX291" fmla="*/ 590498 w 848702"/>
                  <a:gd name="connsiteY291" fmla="*/ 678426 h 1037303"/>
                  <a:gd name="connsiteX292" fmla="*/ 595414 w 848702"/>
                  <a:gd name="connsiteY292" fmla="*/ 700549 h 1037303"/>
                  <a:gd name="connsiteX293" fmla="*/ 600330 w 848702"/>
                  <a:gd name="connsiteY293" fmla="*/ 739878 h 1037303"/>
                  <a:gd name="connsiteX294" fmla="*/ 607704 w 848702"/>
                  <a:gd name="connsiteY294" fmla="*/ 747252 h 1037303"/>
                  <a:gd name="connsiteX295" fmla="*/ 612620 w 848702"/>
                  <a:gd name="connsiteY295" fmla="*/ 776749 h 1037303"/>
                  <a:gd name="connsiteX296" fmla="*/ 605246 w 848702"/>
                  <a:gd name="connsiteY296" fmla="*/ 781665 h 1037303"/>
                  <a:gd name="connsiteX297" fmla="*/ 597872 w 848702"/>
                  <a:gd name="connsiteY297" fmla="*/ 779207 h 1037303"/>
                  <a:gd name="connsiteX298" fmla="*/ 583123 w 848702"/>
                  <a:gd name="connsiteY298" fmla="*/ 764458 h 1037303"/>
                  <a:gd name="connsiteX299" fmla="*/ 568375 w 848702"/>
                  <a:gd name="connsiteY299" fmla="*/ 759542 h 1037303"/>
                  <a:gd name="connsiteX300" fmla="*/ 551168 w 848702"/>
                  <a:gd name="connsiteY300" fmla="*/ 747252 h 1037303"/>
                  <a:gd name="connsiteX301" fmla="*/ 543794 w 848702"/>
                  <a:gd name="connsiteY301" fmla="*/ 742336 h 1037303"/>
                  <a:gd name="connsiteX302" fmla="*/ 536420 w 848702"/>
                  <a:gd name="connsiteY302" fmla="*/ 739878 h 1037303"/>
                  <a:gd name="connsiteX303" fmla="*/ 529046 w 848702"/>
                  <a:gd name="connsiteY303" fmla="*/ 734961 h 1037303"/>
                  <a:gd name="connsiteX304" fmla="*/ 526588 w 848702"/>
                  <a:gd name="connsiteY304" fmla="*/ 727587 h 1037303"/>
                  <a:gd name="connsiteX305" fmla="*/ 521672 w 848702"/>
                  <a:gd name="connsiteY305" fmla="*/ 720213 h 1037303"/>
                  <a:gd name="connsiteX306" fmla="*/ 511839 w 848702"/>
                  <a:gd name="connsiteY306" fmla="*/ 722671 h 1037303"/>
                  <a:gd name="connsiteX307" fmla="*/ 504465 w 848702"/>
                  <a:gd name="connsiteY307" fmla="*/ 730045 h 1037303"/>
                  <a:gd name="connsiteX308" fmla="*/ 497091 w 848702"/>
                  <a:gd name="connsiteY308" fmla="*/ 734961 h 1037303"/>
                  <a:gd name="connsiteX309" fmla="*/ 492175 w 848702"/>
                  <a:gd name="connsiteY309" fmla="*/ 739878 h 1037303"/>
                  <a:gd name="connsiteX310" fmla="*/ 484801 w 848702"/>
                  <a:gd name="connsiteY310" fmla="*/ 742336 h 1037303"/>
                  <a:gd name="connsiteX311" fmla="*/ 470052 w 848702"/>
                  <a:gd name="connsiteY311" fmla="*/ 749710 h 1037303"/>
                  <a:gd name="connsiteX312" fmla="*/ 472510 w 848702"/>
                  <a:gd name="connsiteY312" fmla="*/ 759542 h 1037303"/>
                  <a:gd name="connsiteX313" fmla="*/ 474968 w 848702"/>
                  <a:gd name="connsiteY313" fmla="*/ 766916 h 1037303"/>
                  <a:gd name="connsiteX314" fmla="*/ 482343 w 848702"/>
                  <a:gd name="connsiteY314" fmla="*/ 791497 h 1037303"/>
                  <a:gd name="connsiteX315" fmla="*/ 492175 w 848702"/>
                  <a:gd name="connsiteY315" fmla="*/ 806245 h 1037303"/>
                  <a:gd name="connsiteX316" fmla="*/ 499549 w 848702"/>
                  <a:gd name="connsiteY316" fmla="*/ 808703 h 1037303"/>
                  <a:gd name="connsiteX317" fmla="*/ 514298 w 848702"/>
                  <a:gd name="connsiteY317" fmla="*/ 806245 h 1037303"/>
                  <a:gd name="connsiteX318" fmla="*/ 516756 w 848702"/>
                  <a:gd name="connsiteY318" fmla="*/ 796413 h 1037303"/>
                  <a:gd name="connsiteX319" fmla="*/ 524130 w 848702"/>
                  <a:gd name="connsiteY319" fmla="*/ 811161 h 1037303"/>
                  <a:gd name="connsiteX320" fmla="*/ 531504 w 848702"/>
                  <a:gd name="connsiteY320" fmla="*/ 816078 h 1037303"/>
                  <a:gd name="connsiteX321" fmla="*/ 538878 w 848702"/>
                  <a:gd name="connsiteY321" fmla="*/ 823452 h 1037303"/>
                  <a:gd name="connsiteX322" fmla="*/ 516756 w 848702"/>
                  <a:gd name="connsiteY322" fmla="*/ 833284 h 1037303"/>
                  <a:gd name="connsiteX323" fmla="*/ 514298 w 848702"/>
                  <a:gd name="connsiteY323" fmla="*/ 845574 h 1037303"/>
                  <a:gd name="connsiteX324" fmla="*/ 509381 w 848702"/>
                  <a:gd name="connsiteY324" fmla="*/ 850491 h 1037303"/>
                  <a:gd name="connsiteX325" fmla="*/ 494633 w 848702"/>
                  <a:gd name="connsiteY325" fmla="*/ 860323 h 1037303"/>
                  <a:gd name="connsiteX326" fmla="*/ 487259 w 848702"/>
                  <a:gd name="connsiteY326" fmla="*/ 857865 h 1037303"/>
                  <a:gd name="connsiteX327" fmla="*/ 487259 w 848702"/>
                  <a:gd name="connsiteY327" fmla="*/ 840658 h 1037303"/>
                  <a:gd name="connsiteX328" fmla="*/ 484801 w 848702"/>
                  <a:gd name="connsiteY328" fmla="*/ 830826 h 1037303"/>
                  <a:gd name="connsiteX329" fmla="*/ 477427 w 848702"/>
                  <a:gd name="connsiteY329" fmla="*/ 828368 h 1037303"/>
                  <a:gd name="connsiteX330" fmla="*/ 470052 w 848702"/>
                  <a:gd name="connsiteY330" fmla="*/ 823452 h 1037303"/>
                  <a:gd name="connsiteX331" fmla="*/ 455304 w 848702"/>
                  <a:gd name="connsiteY331" fmla="*/ 828368 h 1037303"/>
                  <a:gd name="connsiteX332" fmla="*/ 440556 w 848702"/>
                  <a:gd name="connsiteY332" fmla="*/ 823452 h 1037303"/>
                  <a:gd name="connsiteX333" fmla="*/ 420891 w 848702"/>
                  <a:gd name="connsiteY333" fmla="*/ 825910 h 1037303"/>
                  <a:gd name="connsiteX334" fmla="*/ 423349 w 848702"/>
                  <a:gd name="connsiteY334" fmla="*/ 833284 h 1037303"/>
                  <a:gd name="connsiteX335" fmla="*/ 433181 w 848702"/>
                  <a:gd name="connsiteY335" fmla="*/ 848032 h 1037303"/>
                  <a:gd name="connsiteX336" fmla="*/ 447930 w 848702"/>
                  <a:gd name="connsiteY336" fmla="*/ 860323 h 1037303"/>
                  <a:gd name="connsiteX337" fmla="*/ 455304 w 848702"/>
                  <a:gd name="connsiteY337" fmla="*/ 882445 h 1037303"/>
                  <a:gd name="connsiteX338" fmla="*/ 457762 w 848702"/>
                  <a:gd name="connsiteY338" fmla="*/ 889820 h 1037303"/>
                  <a:gd name="connsiteX339" fmla="*/ 462678 w 848702"/>
                  <a:gd name="connsiteY339" fmla="*/ 899652 h 1037303"/>
                  <a:gd name="connsiteX340" fmla="*/ 470052 w 848702"/>
                  <a:gd name="connsiteY340" fmla="*/ 902110 h 1037303"/>
                  <a:gd name="connsiteX341" fmla="*/ 477427 w 848702"/>
                  <a:gd name="connsiteY341" fmla="*/ 907026 h 1037303"/>
                  <a:gd name="connsiteX342" fmla="*/ 482343 w 848702"/>
                  <a:gd name="connsiteY342" fmla="*/ 916858 h 1037303"/>
                  <a:gd name="connsiteX343" fmla="*/ 487259 w 848702"/>
                  <a:gd name="connsiteY343" fmla="*/ 931607 h 1037303"/>
                  <a:gd name="connsiteX344" fmla="*/ 499549 w 848702"/>
                  <a:gd name="connsiteY344" fmla="*/ 946355 h 1037303"/>
                  <a:gd name="connsiteX345" fmla="*/ 502007 w 848702"/>
                  <a:gd name="connsiteY345" fmla="*/ 953729 h 1037303"/>
                  <a:gd name="connsiteX346" fmla="*/ 504465 w 848702"/>
                  <a:gd name="connsiteY346" fmla="*/ 990600 h 1037303"/>
                  <a:gd name="connsiteX347" fmla="*/ 514298 w 848702"/>
                  <a:gd name="connsiteY347" fmla="*/ 1005349 h 1037303"/>
                  <a:gd name="connsiteX348" fmla="*/ 519214 w 848702"/>
                  <a:gd name="connsiteY348" fmla="*/ 1012723 h 1037303"/>
                  <a:gd name="connsiteX349" fmla="*/ 524130 w 848702"/>
                  <a:gd name="connsiteY349" fmla="*/ 1020097 h 1037303"/>
                  <a:gd name="connsiteX350" fmla="*/ 502007 w 848702"/>
                  <a:gd name="connsiteY350" fmla="*/ 1020097 h 1037303"/>
                  <a:gd name="connsiteX351" fmla="*/ 494633 w 848702"/>
                  <a:gd name="connsiteY351" fmla="*/ 1012723 h 1037303"/>
                  <a:gd name="connsiteX352" fmla="*/ 492175 w 848702"/>
                  <a:gd name="connsiteY352" fmla="*/ 1002891 h 1037303"/>
                  <a:gd name="connsiteX353" fmla="*/ 484801 w 848702"/>
                  <a:gd name="connsiteY353" fmla="*/ 1000432 h 1037303"/>
                  <a:gd name="connsiteX354" fmla="*/ 467594 w 848702"/>
                  <a:gd name="connsiteY354" fmla="*/ 990600 h 1037303"/>
                  <a:gd name="connsiteX355" fmla="*/ 465136 w 848702"/>
                  <a:gd name="connsiteY355" fmla="*/ 975852 h 1037303"/>
                  <a:gd name="connsiteX356" fmla="*/ 452846 w 848702"/>
                  <a:gd name="connsiteY356" fmla="*/ 958645 h 1037303"/>
                  <a:gd name="connsiteX357" fmla="*/ 430723 w 848702"/>
                  <a:gd name="connsiteY357" fmla="*/ 966020 h 1037303"/>
                  <a:gd name="connsiteX358" fmla="*/ 425807 w 848702"/>
                  <a:gd name="connsiteY358" fmla="*/ 980768 h 1037303"/>
                  <a:gd name="connsiteX359" fmla="*/ 428265 w 848702"/>
                  <a:gd name="connsiteY359" fmla="*/ 988142 h 1037303"/>
                  <a:gd name="connsiteX360" fmla="*/ 423349 w 848702"/>
                  <a:gd name="connsiteY360" fmla="*/ 1002891 h 1037303"/>
                  <a:gd name="connsiteX361" fmla="*/ 425807 w 848702"/>
                  <a:gd name="connsiteY361" fmla="*/ 1027471 h 1037303"/>
                  <a:gd name="connsiteX362" fmla="*/ 428265 w 848702"/>
                  <a:gd name="connsiteY362" fmla="*/ 1034845 h 1037303"/>
                  <a:gd name="connsiteX363" fmla="*/ 420891 w 848702"/>
                  <a:gd name="connsiteY363" fmla="*/ 1037303 h 1037303"/>
                  <a:gd name="connsiteX364" fmla="*/ 411059 w 848702"/>
                  <a:gd name="connsiteY364" fmla="*/ 1034845 h 1037303"/>
                  <a:gd name="connsiteX365" fmla="*/ 406143 w 848702"/>
                  <a:gd name="connsiteY365" fmla="*/ 1027471 h 1037303"/>
                  <a:gd name="connsiteX366" fmla="*/ 401227 w 848702"/>
                  <a:gd name="connsiteY366" fmla="*/ 1010265 h 1037303"/>
                  <a:gd name="connsiteX367" fmla="*/ 398768 w 848702"/>
                  <a:gd name="connsiteY367" fmla="*/ 1002891 h 1037303"/>
                  <a:gd name="connsiteX368" fmla="*/ 396310 w 848702"/>
                  <a:gd name="connsiteY368" fmla="*/ 985684 h 1037303"/>
                  <a:gd name="connsiteX369" fmla="*/ 388936 w 848702"/>
                  <a:gd name="connsiteY369" fmla="*/ 980768 h 1037303"/>
                  <a:gd name="connsiteX370" fmla="*/ 386478 w 848702"/>
                  <a:gd name="connsiteY370" fmla="*/ 970936 h 1037303"/>
                  <a:gd name="connsiteX371" fmla="*/ 379104 w 848702"/>
                  <a:gd name="connsiteY371" fmla="*/ 966020 h 1037303"/>
                  <a:gd name="connsiteX372" fmla="*/ 374188 w 848702"/>
                  <a:gd name="connsiteY372" fmla="*/ 961103 h 1037303"/>
                  <a:gd name="connsiteX373" fmla="*/ 359439 w 848702"/>
                  <a:gd name="connsiteY373" fmla="*/ 953729 h 1037303"/>
                  <a:gd name="connsiteX374" fmla="*/ 352065 w 848702"/>
                  <a:gd name="connsiteY374" fmla="*/ 946355 h 1037303"/>
                  <a:gd name="connsiteX375" fmla="*/ 347149 w 848702"/>
                  <a:gd name="connsiteY375" fmla="*/ 931607 h 1037303"/>
                  <a:gd name="connsiteX376" fmla="*/ 339775 w 848702"/>
                  <a:gd name="connsiteY376" fmla="*/ 934065 h 1037303"/>
                  <a:gd name="connsiteX377" fmla="*/ 337317 w 848702"/>
                  <a:gd name="connsiteY377" fmla="*/ 941439 h 1037303"/>
                  <a:gd name="connsiteX378" fmla="*/ 322568 w 848702"/>
                  <a:gd name="connsiteY378" fmla="*/ 946355 h 1037303"/>
                  <a:gd name="connsiteX379" fmla="*/ 327485 w 848702"/>
                  <a:gd name="connsiteY379" fmla="*/ 961103 h 1037303"/>
                  <a:gd name="connsiteX380" fmla="*/ 329943 w 848702"/>
                  <a:gd name="connsiteY380" fmla="*/ 968478 h 1037303"/>
                  <a:gd name="connsiteX381" fmla="*/ 327485 w 848702"/>
                  <a:gd name="connsiteY381" fmla="*/ 985684 h 1037303"/>
                  <a:gd name="connsiteX382" fmla="*/ 320110 w 848702"/>
                  <a:gd name="connsiteY382" fmla="*/ 988142 h 1037303"/>
                  <a:gd name="connsiteX383" fmla="*/ 305362 w 848702"/>
                  <a:gd name="connsiteY383" fmla="*/ 983226 h 1037303"/>
                  <a:gd name="connsiteX384" fmla="*/ 288156 w 848702"/>
                  <a:gd name="connsiteY384" fmla="*/ 980768 h 1037303"/>
                  <a:gd name="connsiteX385" fmla="*/ 273407 w 848702"/>
                  <a:gd name="connsiteY385" fmla="*/ 951271 h 1037303"/>
                  <a:gd name="connsiteX386" fmla="*/ 266033 w 848702"/>
                  <a:gd name="connsiteY386" fmla="*/ 943897 h 1037303"/>
                  <a:gd name="connsiteX387" fmla="*/ 275865 w 848702"/>
                  <a:gd name="connsiteY387" fmla="*/ 914400 h 1037303"/>
                  <a:gd name="connsiteX388" fmla="*/ 283239 w 848702"/>
                  <a:gd name="connsiteY388" fmla="*/ 909484 h 1037303"/>
                  <a:gd name="connsiteX389" fmla="*/ 285698 w 848702"/>
                  <a:gd name="connsiteY389" fmla="*/ 894736 h 1037303"/>
                  <a:gd name="connsiteX390" fmla="*/ 288156 w 848702"/>
                  <a:gd name="connsiteY390" fmla="*/ 887361 h 1037303"/>
                  <a:gd name="connsiteX391" fmla="*/ 278323 w 848702"/>
                  <a:gd name="connsiteY391" fmla="*/ 875071 h 1037303"/>
                  <a:gd name="connsiteX392" fmla="*/ 256201 w 848702"/>
                  <a:gd name="connsiteY392" fmla="*/ 855407 h 1037303"/>
                  <a:gd name="connsiteX393" fmla="*/ 248827 w 848702"/>
                  <a:gd name="connsiteY393" fmla="*/ 852949 h 1037303"/>
                  <a:gd name="connsiteX394" fmla="*/ 243910 w 848702"/>
                  <a:gd name="connsiteY394" fmla="*/ 848032 h 1037303"/>
                  <a:gd name="connsiteX395" fmla="*/ 221788 w 848702"/>
                  <a:gd name="connsiteY395" fmla="*/ 843116 h 1037303"/>
                  <a:gd name="connsiteX396" fmla="*/ 214414 w 848702"/>
                  <a:gd name="connsiteY396" fmla="*/ 840658 h 1037303"/>
                  <a:gd name="connsiteX397" fmla="*/ 211956 w 848702"/>
                  <a:gd name="connsiteY397" fmla="*/ 820994 h 1037303"/>
                  <a:gd name="connsiteX398" fmla="*/ 197207 w 848702"/>
                  <a:gd name="connsiteY398" fmla="*/ 816078 h 1037303"/>
                  <a:gd name="connsiteX399" fmla="*/ 189833 w 848702"/>
                  <a:gd name="connsiteY399" fmla="*/ 813620 h 1037303"/>
                  <a:gd name="connsiteX400" fmla="*/ 192291 w 848702"/>
                  <a:gd name="connsiteY400" fmla="*/ 806245 h 1037303"/>
                  <a:gd name="connsiteX401" fmla="*/ 199665 w 848702"/>
                  <a:gd name="connsiteY401" fmla="*/ 786581 h 1037303"/>
                  <a:gd name="connsiteX402" fmla="*/ 209498 w 848702"/>
                  <a:gd name="connsiteY402" fmla="*/ 784123 h 1037303"/>
                  <a:gd name="connsiteX403" fmla="*/ 216872 w 848702"/>
                  <a:gd name="connsiteY403" fmla="*/ 762000 h 1037303"/>
                  <a:gd name="connsiteX404" fmla="*/ 224246 w 848702"/>
                  <a:gd name="connsiteY404" fmla="*/ 747252 h 1037303"/>
                  <a:gd name="connsiteX405" fmla="*/ 231620 w 848702"/>
                  <a:gd name="connsiteY405" fmla="*/ 744794 h 1037303"/>
                  <a:gd name="connsiteX406" fmla="*/ 251285 w 848702"/>
                  <a:gd name="connsiteY406" fmla="*/ 739878 h 1037303"/>
                  <a:gd name="connsiteX407" fmla="*/ 263575 w 848702"/>
                  <a:gd name="connsiteY407" fmla="*/ 730045 h 1037303"/>
                  <a:gd name="connsiteX408" fmla="*/ 270949 w 848702"/>
                  <a:gd name="connsiteY408" fmla="*/ 727587 h 1037303"/>
                  <a:gd name="connsiteX409" fmla="*/ 273407 w 848702"/>
                  <a:gd name="connsiteY409" fmla="*/ 717755 h 1037303"/>
                  <a:gd name="connsiteX410" fmla="*/ 280781 w 848702"/>
                  <a:gd name="connsiteY410" fmla="*/ 715297 h 1037303"/>
                  <a:gd name="connsiteX411" fmla="*/ 285698 w 848702"/>
                  <a:gd name="connsiteY411" fmla="*/ 710381 h 1037303"/>
                  <a:gd name="connsiteX412" fmla="*/ 307820 w 848702"/>
                  <a:gd name="connsiteY412" fmla="*/ 712839 h 1037303"/>
                  <a:gd name="connsiteX413" fmla="*/ 322568 w 848702"/>
                  <a:gd name="connsiteY413" fmla="*/ 720213 h 1037303"/>
                  <a:gd name="connsiteX414" fmla="*/ 361898 w 848702"/>
                  <a:gd name="connsiteY414" fmla="*/ 730045 h 1037303"/>
                  <a:gd name="connsiteX415" fmla="*/ 391394 w 848702"/>
                  <a:gd name="connsiteY415" fmla="*/ 734961 h 1037303"/>
                  <a:gd name="connsiteX416" fmla="*/ 408601 w 848702"/>
                  <a:gd name="connsiteY416" fmla="*/ 749710 h 1037303"/>
                  <a:gd name="connsiteX417" fmla="*/ 425807 w 848702"/>
                  <a:gd name="connsiteY417" fmla="*/ 752168 h 1037303"/>
                  <a:gd name="connsiteX418" fmla="*/ 452846 w 848702"/>
                  <a:gd name="connsiteY418" fmla="*/ 757084 h 1037303"/>
                  <a:gd name="connsiteX419" fmla="*/ 447930 w 848702"/>
                  <a:gd name="connsiteY419" fmla="*/ 749710 h 1037303"/>
                  <a:gd name="connsiteX420" fmla="*/ 440556 w 848702"/>
                  <a:gd name="connsiteY420" fmla="*/ 742336 h 1037303"/>
                  <a:gd name="connsiteX421" fmla="*/ 457762 w 848702"/>
                  <a:gd name="connsiteY421" fmla="*/ 734961 h 1037303"/>
                  <a:gd name="connsiteX422" fmla="*/ 462678 w 848702"/>
                  <a:gd name="connsiteY422" fmla="*/ 727587 h 1037303"/>
                  <a:gd name="connsiteX423" fmla="*/ 477427 w 848702"/>
                  <a:gd name="connsiteY423" fmla="*/ 722671 h 1037303"/>
                  <a:gd name="connsiteX424" fmla="*/ 484801 w 848702"/>
                  <a:gd name="connsiteY424" fmla="*/ 717755 h 1037303"/>
                  <a:gd name="connsiteX425" fmla="*/ 472510 w 848702"/>
                  <a:gd name="connsiteY425" fmla="*/ 707923 h 1037303"/>
                  <a:gd name="connsiteX426" fmla="*/ 462678 w 848702"/>
                  <a:gd name="connsiteY426" fmla="*/ 705465 h 1037303"/>
                  <a:gd name="connsiteX427" fmla="*/ 455304 w 848702"/>
                  <a:gd name="connsiteY427" fmla="*/ 703007 h 1037303"/>
                  <a:gd name="connsiteX428" fmla="*/ 430723 w 848702"/>
                  <a:gd name="connsiteY428" fmla="*/ 700549 h 1037303"/>
                  <a:gd name="connsiteX429" fmla="*/ 406143 w 848702"/>
                  <a:gd name="connsiteY429" fmla="*/ 695632 h 1037303"/>
                  <a:gd name="connsiteX430" fmla="*/ 388936 w 848702"/>
                  <a:gd name="connsiteY430" fmla="*/ 707923 h 1037303"/>
                  <a:gd name="connsiteX431" fmla="*/ 381562 w 848702"/>
                  <a:gd name="connsiteY431" fmla="*/ 690716 h 1037303"/>
                  <a:gd name="connsiteX432" fmla="*/ 366814 w 848702"/>
                  <a:gd name="connsiteY432" fmla="*/ 688258 h 1037303"/>
                  <a:gd name="connsiteX433" fmla="*/ 361898 w 848702"/>
                  <a:gd name="connsiteY433" fmla="*/ 695632 h 1037303"/>
                  <a:gd name="connsiteX434" fmla="*/ 359439 w 848702"/>
                  <a:gd name="connsiteY434" fmla="*/ 703007 h 1037303"/>
                  <a:gd name="connsiteX435" fmla="*/ 352065 w 848702"/>
                  <a:gd name="connsiteY435" fmla="*/ 705465 h 1037303"/>
                  <a:gd name="connsiteX436" fmla="*/ 342233 w 848702"/>
                  <a:gd name="connsiteY436" fmla="*/ 703007 h 1037303"/>
                  <a:gd name="connsiteX437" fmla="*/ 337317 w 848702"/>
                  <a:gd name="connsiteY437" fmla="*/ 695632 h 1037303"/>
                  <a:gd name="connsiteX438" fmla="*/ 305362 w 848702"/>
                  <a:gd name="connsiteY438" fmla="*/ 693174 h 1037303"/>
                  <a:gd name="connsiteX439" fmla="*/ 280781 w 848702"/>
                  <a:gd name="connsiteY439" fmla="*/ 695632 h 1037303"/>
                  <a:gd name="connsiteX440" fmla="*/ 273407 w 848702"/>
                  <a:gd name="connsiteY440" fmla="*/ 700549 h 1037303"/>
                  <a:gd name="connsiteX441" fmla="*/ 258659 w 848702"/>
                  <a:gd name="connsiteY441" fmla="*/ 705465 h 1037303"/>
                  <a:gd name="connsiteX442" fmla="*/ 251285 w 848702"/>
                  <a:gd name="connsiteY442" fmla="*/ 707923 h 1037303"/>
                  <a:gd name="connsiteX443" fmla="*/ 243910 w 848702"/>
                  <a:gd name="connsiteY443" fmla="*/ 710381 h 1037303"/>
                  <a:gd name="connsiteX444" fmla="*/ 236536 w 848702"/>
                  <a:gd name="connsiteY444" fmla="*/ 715297 h 1037303"/>
                  <a:gd name="connsiteX445" fmla="*/ 224246 w 848702"/>
                  <a:gd name="connsiteY445" fmla="*/ 705465 h 1037303"/>
                  <a:gd name="connsiteX446" fmla="*/ 219330 w 848702"/>
                  <a:gd name="connsiteY446" fmla="*/ 698091 h 1037303"/>
                  <a:gd name="connsiteX447" fmla="*/ 204581 w 848702"/>
                  <a:gd name="connsiteY447" fmla="*/ 700549 h 1037303"/>
                  <a:gd name="connsiteX448" fmla="*/ 194749 w 848702"/>
                  <a:gd name="connsiteY448" fmla="*/ 722671 h 1037303"/>
                  <a:gd name="connsiteX449" fmla="*/ 180001 w 848702"/>
                  <a:gd name="connsiteY449" fmla="*/ 725129 h 1037303"/>
                  <a:gd name="connsiteX450" fmla="*/ 172627 w 848702"/>
                  <a:gd name="connsiteY450" fmla="*/ 698091 h 1037303"/>
                  <a:gd name="connsiteX451" fmla="*/ 165252 w 848702"/>
                  <a:gd name="connsiteY451" fmla="*/ 695632 h 1037303"/>
                  <a:gd name="connsiteX452" fmla="*/ 162794 w 848702"/>
                  <a:gd name="connsiteY452" fmla="*/ 703007 h 1037303"/>
                  <a:gd name="connsiteX453" fmla="*/ 155420 w 848702"/>
                  <a:gd name="connsiteY453" fmla="*/ 707923 h 1037303"/>
                  <a:gd name="connsiteX454" fmla="*/ 152962 w 848702"/>
                  <a:gd name="connsiteY454" fmla="*/ 683342 h 1037303"/>
                  <a:gd name="connsiteX455" fmla="*/ 148046 w 848702"/>
                  <a:gd name="connsiteY455" fmla="*/ 675968 h 1037303"/>
                  <a:gd name="connsiteX456" fmla="*/ 143130 w 848702"/>
                  <a:gd name="connsiteY456" fmla="*/ 683342 h 1037303"/>
                  <a:gd name="connsiteX457" fmla="*/ 135756 w 848702"/>
                  <a:gd name="connsiteY457" fmla="*/ 678426 h 1037303"/>
                  <a:gd name="connsiteX458" fmla="*/ 123465 w 848702"/>
                  <a:gd name="connsiteY458" fmla="*/ 671052 h 1037303"/>
                  <a:gd name="connsiteX459" fmla="*/ 106259 w 848702"/>
                  <a:gd name="connsiteY459" fmla="*/ 671052 h 1037303"/>
                  <a:gd name="connsiteX460" fmla="*/ 101343 w 848702"/>
                  <a:gd name="connsiteY460" fmla="*/ 663678 h 1037303"/>
                  <a:gd name="connsiteX461" fmla="*/ 108717 w 848702"/>
                  <a:gd name="connsiteY461" fmla="*/ 658761 h 1037303"/>
                  <a:gd name="connsiteX462" fmla="*/ 118549 w 848702"/>
                  <a:gd name="connsiteY462" fmla="*/ 656303 h 1037303"/>
                  <a:gd name="connsiteX463" fmla="*/ 128381 w 848702"/>
                  <a:gd name="connsiteY463" fmla="*/ 641555 h 1037303"/>
                  <a:gd name="connsiteX464" fmla="*/ 143130 w 848702"/>
                  <a:gd name="connsiteY464" fmla="*/ 636639 h 1037303"/>
                  <a:gd name="connsiteX465" fmla="*/ 145588 w 848702"/>
                  <a:gd name="connsiteY465" fmla="*/ 629265 h 1037303"/>
                  <a:gd name="connsiteX466" fmla="*/ 160336 w 848702"/>
                  <a:gd name="connsiteY466" fmla="*/ 634181 h 1037303"/>
                  <a:gd name="connsiteX467" fmla="*/ 162794 w 848702"/>
                  <a:gd name="connsiteY467" fmla="*/ 626807 h 1037303"/>
                  <a:gd name="connsiteX468" fmla="*/ 170168 w 848702"/>
                  <a:gd name="connsiteY468" fmla="*/ 619432 h 1037303"/>
                  <a:gd name="connsiteX469" fmla="*/ 165252 w 848702"/>
                  <a:gd name="connsiteY469" fmla="*/ 612058 h 1037303"/>
                  <a:gd name="connsiteX470" fmla="*/ 148046 w 848702"/>
                  <a:gd name="connsiteY470" fmla="*/ 604684 h 1037303"/>
                  <a:gd name="connsiteX471" fmla="*/ 128381 w 848702"/>
                  <a:gd name="connsiteY471" fmla="*/ 602226 h 1037303"/>
                  <a:gd name="connsiteX472" fmla="*/ 116091 w 848702"/>
                  <a:gd name="connsiteY472" fmla="*/ 592394 h 1037303"/>
                  <a:gd name="connsiteX473" fmla="*/ 113633 w 848702"/>
                  <a:gd name="connsiteY473" fmla="*/ 599768 h 1037303"/>
                  <a:gd name="connsiteX474" fmla="*/ 108717 w 848702"/>
                  <a:gd name="connsiteY474" fmla="*/ 607142 h 1037303"/>
                  <a:gd name="connsiteX475" fmla="*/ 74304 w 848702"/>
                  <a:gd name="connsiteY475" fmla="*/ 592394 h 1037303"/>
                  <a:gd name="connsiteX476" fmla="*/ 66930 w 848702"/>
                  <a:gd name="connsiteY476" fmla="*/ 587478 h 1037303"/>
                  <a:gd name="connsiteX477" fmla="*/ 62014 w 848702"/>
                  <a:gd name="connsiteY477" fmla="*/ 582561 h 1037303"/>
                  <a:gd name="connsiteX478" fmla="*/ 39891 w 848702"/>
                  <a:gd name="connsiteY478" fmla="*/ 565355 h 1037303"/>
                  <a:gd name="connsiteX479" fmla="*/ 34975 w 848702"/>
                  <a:gd name="connsiteY479" fmla="*/ 557981 h 1037303"/>
                  <a:gd name="connsiteX480" fmla="*/ 39891 w 848702"/>
                  <a:gd name="connsiteY480" fmla="*/ 550607 h 1037303"/>
                  <a:gd name="connsiteX481" fmla="*/ 37433 w 848702"/>
                  <a:gd name="connsiteY481" fmla="*/ 535858 h 1037303"/>
                  <a:gd name="connsiteX482" fmla="*/ 32517 w 848702"/>
                  <a:gd name="connsiteY482" fmla="*/ 528484 h 1037303"/>
                  <a:gd name="connsiteX483" fmla="*/ 10394 w 848702"/>
                  <a:gd name="connsiteY483" fmla="*/ 523568 h 1037303"/>
                  <a:gd name="connsiteX484" fmla="*/ 32517 w 848702"/>
                  <a:gd name="connsiteY484" fmla="*/ 540774 h 1037303"/>
                  <a:gd name="connsiteX0" fmla="*/ 32517 w 849175"/>
                  <a:gd name="connsiteY0" fmla="*/ 540774 h 1037303"/>
                  <a:gd name="connsiteX1" fmla="*/ 20227 w 849175"/>
                  <a:gd name="connsiteY1" fmla="*/ 521110 h 1037303"/>
                  <a:gd name="connsiteX2" fmla="*/ 15310 w 849175"/>
                  <a:gd name="connsiteY2" fmla="*/ 516194 h 1037303"/>
                  <a:gd name="connsiteX3" fmla="*/ 7936 w 849175"/>
                  <a:gd name="connsiteY3" fmla="*/ 513736 h 1037303"/>
                  <a:gd name="connsiteX4" fmla="*/ 562 w 849175"/>
                  <a:gd name="connsiteY4" fmla="*/ 508820 h 1037303"/>
                  <a:gd name="connsiteX5" fmla="*/ 12852 w 849175"/>
                  <a:gd name="connsiteY5" fmla="*/ 511278 h 1037303"/>
                  <a:gd name="connsiteX6" fmla="*/ 25143 w 849175"/>
                  <a:gd name="connsiteY6" fmla="*/ 508820 h 1037303"/>
                  <a:gd name="connsiteX7" fmla="*/ 34975 w 849175"/>
                  <a:gd name="connsiteY7" fmla="*/ 494071 h 1037303"/>
                  <a:gd name="connsiteX8" fmla="*/ 42349 w 849175"/>
                  <a:gd name="connsiteY8" fmla="*/ 479323 h 1037303"/>
                  <a:gd name="connsiteX9" fmla="*/ 34975 w 849175"/>
                  <a:gd name="connsiteY9" fmla="*/ 464574 h 1037303"/>
                  <a:gd name="connsiteX10" fmla="*/ 42349 w 849175"/>
                  <a:gd name="connsiteY10" fmla="*/ 467032 h 1037303"/>
                  <a:gd name="connsiteX11" fmla="*/ 39891 w 849175"/>
                  <a:gd name="connsiteY11" fmla="*/ 457200 h 1037303"/>
                  <a:gd name="connsiteX12" fmla="*/ 34975 w 849175"/>
                  <a:gd name="connsiteY12" fmla="*/ 449826 h 1037303"/>
                  <a:gd name="connsiteX13" fmla="*/ 42349 w 849175"/>
                  <a:gd name="connsiteY13" fmla="*/ 444910 h 1037303"/>
                  <a:gd name="connsiteX14" fmla="*/ 47265 w 849175"/>
                  <a:gd name="connsiteY14" fmla="*/ 437536 h 1037303"/>
                  <a:gd name="connsiteX15" fmla="*/ 54639 w 849175"/>
                  <a:gd name="connsiteY15" fmla="*/ 435078 h 1037303"/>
                  <a:gd name="connsiteX16" fmla="*/ 74304 w 849175"/>
                  <a:gd name="connsiteY16" fmla="*/ 430161 h 1037303"/>
                  <a:gd name="connsiteX17" fmla="*/ 76762 w 849175"/>
                  <a:gd name="connsiteY17" fmla="*/ 405581 h 1037303"/>
                  <a:gd name="connsiteX18" fmla="*/ 81678 w 849175"/>
                  <a:gd name="connsiteY18" fmla="*/ 398207 h 1037303"/>
                  <a:gd name="connsiteX19" fmla="*/ 86594 w 849175"/>
                  <a:gd name="connsiteY19" fmla="*/ 371168 h 1037303"/>
                  <a:gd name="connsiteX20" fmla="*/ 91510 w 849175"/>
                  <a:gd name="connsiteY20" fmla="*/ 363794 h 1037303"/>
                  <a:gd name="connsiteX21" fmla="*/ 98885 w 849175"/>
                  <a:gd name="connsiteY21" fmla="*/ 351503 h 1037303"/>
                  <a:gd name="connsiteX22" fmla="*/ 123465 w 849175"/>
                  <a:gd name="connsiteY22" fmla="*/ 344129 h 1037303"/>
                  <a:gd name="connsiteX23" fmla="*/ 116091 w 849175"/>
                  <a:gd name="connsiteY23" fmla="*/ 314632 h 1037303"/>
                  <a:gd name="connsiteX24" fmla="*/ 108717 w 849175"/>
                  <a:gd name="connsiteY24" fmla="*/ 309716 h 1037303"/>
                  <a:gd name="connsiteX25" fmla="*/ 106259 w 849175"/>
                  <a:gd name="connsiteY25" fmla="*/ 302342 h 1037303"/>
                  <a:gd name="connsiteX26" fmla="*/ 103801 w 849175"/>
                  <a:gd name="connsiteY26" fmla="*/ 282678 h 1037303"/>
                  <a:gd name="connsiteX27" fmla="*/ 111175 w 849175"/>
                  <a:gd name="connsiteY27" fmla="*/ 280220 h 1037303"/>
                  <a:gd name="connsiteX28" fmla="*/ 138214 w 849175"/>
                  <a:gd name="connsiteY28" fmla="*/ 282678 h 1037303"/>
                  <a:gd name="connsiteX29" fmla="*/ 150504 w 849175"/>
                  <a:gd name="connsiteY29" fmla="*/ 272845 h 1037303"/>
                  <a:gd name="connsiteX30" fmla="*/ 157878 w 849175"/>
                  <a:gd name="connsiteY30" fmla="*/ 270387 h 1037303"/>
                  <a:gd name="connsiteX31" fmla="*/ 175085 w 849175"/>
                  <a:gd name="connsiteY31" fmla="*/ 265471 h 1037303"/>
                  <a:gd name="connsiteX32" fmla="*/ 192291 w 849175"/>
                  <a:gd name="connsiteY32" fmla="*/ 267929 h 1037303"/>
                  <a:gd name="connsiteX33" fmla="*/ 204581 w 849175"/>
                  <a:gd name="connsiteY33" fmla="*/ 255639 h 1037303"/>
                  <a:gd name="connsiteX34" fmla="*/ 209498 w 849175"/>
                  <a:gd name="connsiteY34" fmla="*/ 250723 h 1037303"/>
                  <a:gd name="connsiteX35" fmla="*/ 219330 w 849175"/>
                  <a:gd name="connsiteY35" fmla="*/ 235974 h 1037303"/>
                  <a:gd name="connsiteX36" fmla="*/ 231620 w 849175"/>
                  <a:gd name="connsiteY36" fmla="*/ 221226 h 1037303"/>
                  <a:gd name="connsiteX37" fmla="*/ 234078 w 849175"/>
                  <a:gd name="connsiteY37" fmla="*/ 208936 h 1037303"/>
                  <a:gd name="connsiteX38" fmla="*/ 263575 w 849175"/>
                  <a:gd name="connsiteY38" fmla="*/ 213852 h 1037303"/>
                  <a:gd name="connsiteX39" fmla="*/ 273407 w 849175"/>
                  <a:gd name="connsiteY39" fmla="*/ 201561 h 1037303"/>
                  <a:gd name="connsiteX40" fmla="*/ 280781 w 849175"/>
                  <a:gd name="connsiteY40" fmla="*/ 199103 h 1037303"/>
                  <a:gd name="connsiteX41" fmla="*/ 297988 w 849175"/>
                  <a:gd name="connsiteY41" fmla="*/ 201561 h 1037303"/>
                  <a:gd name="connsiteX42" fmla="*/ 312736 w 849175"/>
                  <a:gd name="connsiteY42" fmla="*/ 204020 h 1037303"/>
                  <a:gd name="connsiteX43" fmla="*/ 315194 w 849175"/>
                  <a:gd name="connsiteY43" fmla="*/ 196645 h 1037303"/>
                  <a:gd name="connsiteX44" fmla="*/ 329943 w 849175"/>
                  <a:gd name="connsiteY44" fmla="*/ 196645 h 1037303"/>
                  <a:gd name="connsiteX45" fmla="*/ 329943 w 849175"/>
                  <a:gd name="connsiteY45" fmla="*/ 164691 h 1037303"/>
                  <a:gd name="connsiteX46" fmla="*/ 334859 w 849175"/>
                  <a:gd name="connsiteY46" fmla="*/ 159774 h 1037303"/>
                  <a:gd name="connsiteX47" fmla="*/ 347149 w 849175"/>
                  <a:gd name="connsiteY47" fmla="*/ 162232 h 1037303"/>
                  <a:gd name="connsiteX48" fmla="*/ 366814 w 849175"/>
                  <a:gd name="connsiteY48" fmla="*/ 159774 h 1037303"/>
                  <a:gd name="connsiteX49" fmla="*/ 388936 w 849175"/>
                  <a:gd name="connsiteY49" fmla="*/ 157316 h 1037303"/>
                  <a:gd name="connsiteX50" fmla="*/ 396310 w 849175"/>
                  <a:gd name="connsiteY50" fmla="*/ 152400 h 1037303"/>
                  <a:gd name="connsiteX51" fmla="*/ 408601 w 849175"/>
                  <a:gd name="connsiteY51" fmla="*/ 142568 h 1037303"/>
                  <a:gd name="connsiteX52" fmla="*/ 447930 w 849175"/>
                  <a:gd name="connsiteY52" fmla="*/ 140110 h 1037303"/>
                  <a:gd name="connsiteX53" fmla="*/ 462678 w 849175"/>
                  <a:gd name="connsiteY53" fmla="*/ 130278 h 1037303"/>
                  <a:gd name="connsiteX54" fmla="*/ 472510 w 849175"/>
                  <a:gd name="connsiteY54" fmla="*/ 120445 h 1037303"/>
                  <a:gd name="connsiteX55" fmla="*/ 484801 w 849175"/>
                  <a:gd name="connsiteY55" fmla="*/ 110613 h 1037303"/>
                  <a:gd name="connsiteX56" fmla="*/ 492175 w 849175"/>
                  <a:gd name="connsiteY56" fmla="*/ 108155 h 1037303"/>
                  <a:gd name="connsiteX57" fmla="*/ 494633 w 849175"/>
                  <a:gd name="connsiteY57" fmla="*/ 100781 h 1037303"/>
                  <a:gd name="connsiteX58" fmla="*/ 497091 w 849175"/>
                  <a:gd name="connsiteY58" fmla="*/ 90949 h 1037303"/>
                  <a:gd name="connsiteX59" fmla="*/ 504465 w 849175"/>
                  <a:gd name="connsiteY59" fmla="*/ 93407 h 1037303"/>
                  <a:gd name="connsiteX60" fmla="*/ 519214 w 849175"/>
                  <a:gd name="connsiteY60" fmla="*/ 83574 h 1037303"/>
                  <a:gd name="connsiteX61" fmla="*/ 526588 w 849175"/>
                  <a:gd name="connsiteY61" fmla="*/ 78658 h 1037303"/>
                  <a:gd name="connsiteX62" fmla="*/ 533962 w 849175"/>
                  <a:gd name="connsiteY62" fmla="*/ 78658 h 1037303"/>
                  <a:gd name="connsiteX63" fmla="*/ 541336 w 849175"/>
                  <a:gd name="connsiteY63" fmla="*/ 76200 h 1037303"/>
                  <a:gd name="connsiteX64" fmla="*/ 548710 w 849175"/>
                  <a:gd name="connsiteY64" fmla="*/ 81116 h 1037303"/>
                  <a:gd name="connsiteX65" fmla="*/ 556085 w 849175"/>
                  <a:gd name="connsiteY65" fmla="*/ 83574 h 1037303"/>
                  <a:gd name="connsiteX66" fmla="*/ 558543 w 849175"/>
                  <a:gd name="connsiteY66" fmla="*/ 90949 h 1037303"/>
                  <a:gd name="connsiteX67" fmla="*/ 565917 w 849175"/>
                  <a:gd name="connsiteY67" fmla="*/ 88491 h 1037303"/>
                  <a:gd name="connsiteX68" fmla="*/ 578207 w 849175"/>
                  <a:gd name="connsiteY68" fmla="*/ 100781 h 1037303"/>
                  <a:gd name="connsiteX69" fmla="*/ 585581 w 849175"/>
                  <a:gd name="connsiteY69" fmla="*/ 105697 h 1037303"/>
                  <a:gd name="connsiteX70" fmla="*/ 592956 w 849175"/>
                  <a:gd name="connsiteY70" fmla="*/ 103239 h 1037303"/>
                  <a:gd name="connsiteX71" fmla="*/ 607704 w 849175"/>
                  <a:gd name="connsiteY71" fmla="*/ 108155 h 1037303"/>
                  <a:gd name="connsiteX72" fmla="*/ 615078 w 849175"/>
                  <a:gd name="connsiteY72" fmla="*/ 105697 h 1037303"/>
                  <a:gd name="connsiteX73" fmla="*/ 627368 w 849175"/>
                  <a:gd name="connsiteY73" fmla="*/ 110613 h 1037303"/>
                  <a:gd name="connsiteX74" fmla="*/ 654407 w 849175"/>
                  <a:gd name="connsiteY74" fmla="*/ 115529 h 1037303"/>
                  <a:gd name="connsiteX75" fmla="*/ 661781 w 849175"/>
                  <a:gd name="connsiteY75" fmla="*/ 120445 h 1037303"/>
                  <a:gd name="connsiteX76" fmla="*/ 669156 w 849175"/>
                  <a:gd name="connsiteY76" fmla="*/ 117987 h 1037303"/>
                  <a:gd name="connsiteX77" fmla="*/ 678988 w 849175"/>
                  <a:gd name="connsiteY77" fmla="*/ 110613 h 1037303"/>
                  <a:gd name="connsiteX78" fmla="*/ 691278 w 849175"/>
                  <a:gd name="connsiteY78" fmla="*/ 108155 h 1037303"/>
                  <a:gd name="connsiteX79" fmla="*/ 706027 w 849175"/>
                  <a:gd name="connsiteY79" fmla="*/ 100781 h 1037303"/>
                  <a:gd name="connsiteX80" fmla="*/ 718317 w 849175"/>
                  <a:gd name="connsiteY80" fmla="*/ 103239 h 1037303"/>
                  <a:gd name="connsiteX81" fmla="*/ 725691 w 849175"/>
                  <a:gd name="connsiteY81" fmla="*/ 105697 h 1037303"/>
                  <a:gd name="connsiteX82" fmla="*/ 728149 w 849175"/>
                  <a:gd name="connsiteY82" fmla="*/ 98323 h 1037303"/>
                  <a:gd name="connsiteX83" fmla="*/ 742898 w 849175"/>
                  <a:gd name="connsiteY83" fmla="*/ 90949 h 1037303"/>
                  <a:gd name="connsiteX84" fmla="*/ 745356 w 849175"/>
                  <a:gd name="connsiteY84" fmla="*/ 83574 h 1037303"/>
                  <a:gd name="connsiteX85" fmla="*/ 750272 w 849175"/>
                  <a:gd name="connsiteY85" fmla="*/ 88491 h 1037303"/>
                  <a:gd name="connsiteX86" fmla="*/ 757646 w 849175"/>
                  <a:gd name="connsiteY86" fmla="*/ 93407 h 1037303"/>
                  <a:gd name="connsiteX87" fmla="*/ 769936 w 849175"/>
                  <a:gd name="connsiteY87" fmla="*/ 90949 h 1037303"/>
                  <a:gd name="connsiteX88" fmla="*/ 777310 w 849175"/>
                  <a:gd name="connsiteY88" fmla="*/ 73742 h 1037303"/>
                  <a:gd name="connsiteX89" fmla="*/ 782227 w 849175"/>
                  <a:gd name="connsiteY89" fmla="*/ 68826 h 1037303"/>
                  <a:gd name="connsiteX90" fmla="*/ 779768 w 849175"/>
                  <a:gd name="connsiteY90" fmla="*/ 61452 h 1037303"/>
                  <a:gd name="connsiteX91" fmla="*/ 777310 w 849175"/>
                  <a:gd name="connsiteY91" fmla="*/ 51620 h 1037303"/>
                  <a:gd name="connsiteX92" fmla="*/ 772394 w 849175"/>
                  <a:gd name="connsiteY92" fmla="*/ 46703 h 1037303"/>
                  <a:gd name="connsiteX93" fmla="*/ 769936 w 849175"/>
                  <a:gd name="connsiteY93" fmla="*/ 39329 h 1037303"/>
                  <a:gd name="connsiteX94" fmla="*/ 767478 w 849175"/>
                  <a:gd name="connsiteY94" fmla="*/ 27039 h 1037303"/>
                  <a:gd name="connsiteX95" fmla="*/ 760104 w 849175"/>
                  <a:gd name="connsiteY95" fmla="*/ 24581 h 1037303"/>
                  <a:gd name="connsiteX96" fmla="*/ 757646 w 849175"/>
                  <a:gd name="connsiteY96" fmla="*/ 9832 h 1037303"/>
                  <a:gd name="connsiteX97" fmla="*/ 765020 w 849175"/>
                  <a:gd name="connsiteY97" fmla="*/ 4916 h 1037303"/>
                  <a:gd name="connsiteX98" fmla="*/ 779768 w 849175"/>
                  <a:gd name="connsiteY98" fmla="*/ 0 h 1037303"/>
                  <a:gd name="connsiteX99" fmla="*/ 804349 w 849175"/>
                  <a:gd name="connsiteY99" fmla="*/ 2458 h 1037303"/>
                  <a:gd name="connsiteX100" fmla="*/ 819098 w 849175"/>
                  <a:gd name="connsiteY100" fmla="*/ 9832 h 1037303"/>
                  <a:gd name="connsiteX101" fmla="*/ 826472 w 849175"/>
                  <a:gd name="connsiteY101" fmla="*/ 12291 h 1037303"/>
                  <a:gd name="connsiteX102" fmla="*/ 841220 w 849175"/>
                  <a:gd name="connsiteY102" fmla="*/ 27039 h 1037303"/>
                  <a:gd name="connsiteX103" fmla="*/ 843678 w 849175"/>
                  <a:gd name="connsiteY103" fmla="*/ 34413 h 1037303"/>
                  <a:gd name="connsiteX104" fmla="*/ 848594 w 849175"/>
                  <a:gd name="connsiteY104" fmla="*/ 41787 h 1037303"/>
                  <a:gd name="connsiteX105" fmla="*/ 828930 w 849175"/>
                  <a:gd name="connsiteY105" fmla="*/ 68826 h 1037303"/>
                  <a:gd name="connsiteX106" fmla="*/ 826472 w 849175"/>
                  <a:gd name="connsiteY106" fmla="*/ 76200 h 1037303"/>
                  <a:gd name="connsiteX107" fmla="*/ 816639 w 849175"/>
                  <a:gd name="connsiteY107" fmla="*/ 78658 h 1037303"/>
                  <a:gd name="connsiteX108" fmla="*/ 811723 w 849175"/>
                  <a:gd name="connsiteY108" fmla="*/ 86032 h 1037303"/>
                  <a:gd name="connsiteX109" fmla="*/ 814181 w 849175"/>
                  <a:gd name="connsiteY109" fmla="*/ 95865 h 1037303"/>
                  <a:gd name="connsiteX110" fmla="*/ 816639 w 849175"/>
                  <a:gd name="connsiteY110" fmla="*/ 103239 h 1037303"/>
                  <a:gd name="connsiteX111" fmla="*/ 821556 w 849175"/>
                  <a:gd name="connsiteY111" fmla="*/ 108155 h 1037303"/>
                  <a:gd name="connsiteX112" fmla="*/ 826472 w 849175"/>
                  <a:gd name="connsiteY112" fmla="*/ 115529 h 1037303"/>
                  <a:gd name="connsiteX113" fmla="*/ 821556 w 849175"/>
                  <a:gd name="connsiteY113" fmla="*/ 125361 h 1037303"/>
                  <a:gd name="connsiteX114" fmla="*/ 816639 w 849175"/>
                  <a:gd name="connsiteY114" fmla="*/ 130278 h 1037303"/>
                  <a:gd name="connsiteX115" fmla="*/ 819098 w 849175"/>
                  <a:gd name="connsiteY115" fmla="*/ 137652 h 1037303"/>
                  <a:gd name="connsiteX116" fmla="*/ 819098 w 849175"/>
                  <a:gd name="connsiteY116" fmla="*/ 152400 h 1037303"/>
                  <a:gd name="connsiteX117" fmla="*/ 799433 w 849175"/>
                  <a:gd name="connsiteY117" fmla="*/ 154858 h 1037303"/>
                  <a:gd name="connsiteX118" fmla="*/ 794517 w 849175"/>
                  <a:gd name="connsiteY118" fmla="*/ 162232 h 1037303"/>
                  <a:gd name="connsiteX119" fmla="*/ 801891 w 849175"/>
                  <a:gd name="connsiteY119" fmla="*/ 167149 h 1037303"/>
                  <a:gd name="connsiteX120" fmla="*/ 796975 w 849175"/>
                  <a:gd name="connsiteY120" fmla="*/ 174523 h 1037303"/>
                  <a:gd name="connsiteX121" fmla="*/ 792059 w 849175"/>
                  <a:gd name="connsiteY121" fmla="*/ 184355 h 1037303"/>
                  <a:gd name="connsiteX122" fmla="*/ 787143 w 849175"/>
                  <a:gd name="connsiteY122" fmla="*/ 176981 h 1037303"/>
                  <a:gd name="connsiteX123" fmla="*/ 772394 w 849175"/>
                  <a:gd name="connsiteY123" fmla="*/ 169607 h 1037303"/>
                  <a:gd name="connsiteX124" fmla="*/ 765020 w 849175"/>
                  <a:gd name="connsiteY124" fmla="*/ 164691 h 1037303"/>
                  <a:gd name="connsiteX125" fmla="*/ 715859 w 849175"/>
                  <a:gd name="connsiteY125" fmla="*/ 159774 h 1037303"/>
                  <a:gd name="connsiteX126" fmla="*/ 701110 w 849175"/>
                  <a:gd name="connsiteY126" fmla="*/ 152400 h 1037303"/>
                  <a:gd name="connsiteX127" fmla="*/ 693736 w 849175"/>
                  <a:gd name="connsiteY127" fmla="*/ 154858 h 1037303"/>
                  <a:gd name="connsiteX128" fmla="*/ 678988 w 849175"/>
                  <a:gd name="connsiteY128" fmla="*/ 157316 h 1037303"/>
                  <a:gd name="connsiteX129" fmla="*/ 669156 w 849175"/>
                  <a:gd name="connsiteY129" fmla="*/ 154858 h 1037303"/>
                  <a:gd name="connsiteX130" fmla="*/ 661781 w 849175"/>
                  <a:gd name="connsiteY130" fmla="*/ 152400 h 1037303"/>
                  <a:gd name="connsiteX131" fmla="*/ 654407 w 849175"/>
                  <a:gd name="connsiteY131" fmla="*/ 159774 h 1037303"/>
                  <a:gd name="connsiteX132" fmla="*/ 637201 w 849175"/>
                  <a:gd name="connsiteY132" fmla="*/ 167149 h 1037303"/>
                  <a:gd name="connsiteX133" fmla="*/ 632285 w 849175"/>
                  <a:gd name="connsiteY133" fmla="*/ 184355 h 1037303"/>
                  <a:gd name="connsiteX134" fmla="*/ 624910 w 849175"/>
                  <a:gd name="connsiteY134" fmla="*/ 186813 h 1037303"/>
                  <a:gd name="connsiteX135" fmla="*/ 602788 w 849175"/>
                  <a:gd name="connsiteY135" fmla="*/ 199103 h 1037303"/>
                  <a:gd name="connsiteX136" fmla="*/ 553627 w 849175"/>
                  <a:gd name="connsiteY136" fmla="*/ 196645 h 1037303"/>
                  <a:gd name="connsiteX137" fmla="*/ 548710 w 849175"/>
                  <a:gd name="connsiteY137" fmla="*/ 201561 h 1037303"/>
                  <a:gd name="connsiteX138" fmla="*/ 543794 w 849175"/>
                  <a:gd name="connsiteY138" fmla="*/ 216310 h 1037303"/>
                  <a:gd name="connsiteX139" fmla="*/ 538878 w 849175"/>
                  <a:gd name="connsiteY139" fmla="*/ 228600 h 1037303"/>
                  <a:gd name="connsiteX140" fmla="*/ 506923 w 849175"/>
                  <a:gd name="connsiteY140" fmla="*/ 238432 h 1037303"/>
                  <a:gd name="connsiteX141" fmla="*/ 497091 w 849175"/>
                  <a:gd name="connsiteY141" fmla="*/ 240891 h 1037303"/>
                  <a:gd name="connsiteX142" fmla="*/ 479885 w 849175"/>
                  <a:gd name="connsiteY142" fmla="*/ 243349 h 1037303"/>
                  <a:gd name="connsiteX143" fmla="*/ 482343 w 849175"/>
                  <a:gd name="connsiteY143" fmla="*/ 258097 h 1037303"/>
                  <a:gd name="connsiteX144" fmla="*/ 487259 w 849175"/>
                  <a:gd name="connsiteY144" fmla="*/ 265471 h 1037303"/>
                  <a:gd name="connsiteX145" fmla="*/ 484801 w 849175"/>
                  <a:gd name="connsiteY145" fmla="*/ 275303 h 1037303"/>
                  <a:gd name="connsiteX146" fmla="*/ 497091 w 849175"/>
                  <a:gd name="connsiteY146" fmla="*/ 287594 h 1037303"/>
                  <a:gd name="connsiteX147" fmla="*/ 570833 w 849175"/>
                  <a:gd name="connsiteY147" fmla="*/ 299884 h 1037303"/>
                  <a:gd name="connsiteX148" fmla="*/ 573291 w 849175"/>
                  <a:gd name="connsiteY148" fmla="*/ 307258 h 1037303"/>
                  <a:gd name="connsiteX149" fmla="*/ 585581 w 849175"/>
                  <a:gd name="connsiteY149" fmla="*/ 317091 h 1037303"/>
                  <a:gd name="connsiteX150" fmla="*/ 595414 w 849175"/>
                  <a:gd name="connsiteY150" fmla="*/ 329381 h 1037303"/>
                  <a:gd name="connsiteX151" fmla="*/ 588039 w 849175"/>
                  <a:gd name="connsiteY151" fmla="*/ 331839 h 1037303"/>
                  <a:gd name="connsiteX152" fmla="*/ 580665 w 849175"/>
                  <a:gd name="connsiteY152" fmla="*/ 326923 h 1037303"/>
                  <a:gd name="connsiteX153" fmla="*/ 570833 w 849175"/>
                  <a:gd name="connsiteY153" fmla="*/ 324465 h 1037303"/>
                  <a:gd name="connsiteX154" fmla="*/ 553627 w 849175"/>
                  <a:gd name="connsiteY154" fmla="*/ 319549 h 1037303"/>
                  <a:gd name="connsiteX155" fmla="*/ 546252 w 849175"/>
                  <a:gd name="connsiteY155" fmla="*/ 314632 h 1037303"/>
                  <a:gd name="connsiteX156" fmla="*/ 538878 w 849175"/>
                  <a:gd name="connsiteY156" fmla="*/ 307258 h 1037303"/>
                  <a:gd name="connsiteX157" fmla="*/ 504465 w 849175"/>
                  <a:gd name="connsiteY157" fmla="*/ 309716 h 1037303"/>
                  <a:gd name="connsiteX158" fmla="*/ 502007 w 849175"/>
                  <a:gd name="connsiteY158" fmla="*/ 322007 h 1037303"/>
                  <a:gd name="connsiteX159" fmla="*/ 502007 w 849175"/>
                  <a:gd name="connsiteY159" fmla="*/ 339213 h 1037303"/>
                  <a:gd name="connsiteX160" fmla="*/ 514298 w 849175"/>
                  <a:gd name="connsiteY160" fmla="*/ 341671 h 1037303"/>
                  <a:gd name="connsiteX161" fmla="*/ 529046 w 849175"/>
                  <a:gd name="connsiteY161" fmla="*/ 349045 h 1037303"/>
                  <a:gd name="connsiteX162" fmla="*/ 536420 w 849175"/>
                  <a:gd name="connsiteY162" fmla="*/ 351503 h 1037303"/>
                  <a:gd name="connsiteX163" fmla="*/ 538878 w 849175"/>
                  <a:gd name="connsiteY163" fmla="*/ 381000 h 1037303"/>
                  <a:gd name="connsiteX164" fmla="*/ 526588 w 849175"/>
                  <a:gd name="connsiteY164" fmla="*/ 378542 h 1037303"/>
                  <a:gd name="connsiteX165" fmla="*/ 521672 w 849175"/>
                  <a:gd name="connsiteY165" fmla="*/ 371168 h 1037303"/>
                  <a:gd name="connsiteX166" fmla="*/ 514298 w 849175"/>
                  <a:gd name="connsiteY166" fmla="*/ 363794 h 1037303"/>
                  <a:gd name="connsiteX167" fmla="*/ 509381 w 849175"/>
                  <a:gd name="connsiteY167" fmla="*/ 356420 h 1037303"/>
                  <a:gd name="connsiteX168" fmla="*/ 489717 w 849175"/>
                  <a:gd name="connsiteY168" fmla="*/ 341671 h 1037303"/>
                  <a:gd name="connsiteX169" fmla="*/ 474968 w 849175"/>
                  <a:gd name="connsiteY169" fmla="*/ 331839 h 1037303"/>
                  <a:gd name="connsiteX170" fmla="*/ 467594 w 849175"/>
                  <a:gd name="connsiteY170" fmla="*/ 329381 h 1037303"/>
                  <a:gd name="connsiteX171" fmla="*/ 460220 w 849175"/>
                  <a:gd name="connsiteY171" fmla="*/ 331839 h 1037303"/>
                  <a:gd name="connsiteX172" fmla="*/ 450388 w 849175"/>
                  <a:gd name="connsiteY172" fmla="*/ 334297 h 1037303"/>
                  <a:gd name="connsiteX173" fmla="*/ 445472 w 849175"/>
                  <a:gd name="connsiteY173" fmla="*/ 341671 h 1037303"/>
                  <a:gd name="connsiteX174" fmla="*/ 447930 w 849175"/>
                  <a:gd name="connsiteY174" fmla="*/ 358878 h 1037303"/>
                  <a:gd name="connsiteX175" fmla="*/ 455304 w 849175"/>
                  <a:gd name="connsiteY175" fmla="*/ 368710 h 1037303"/>
                  <a:gd name="connsiteX176" fmla="*/ 470052 w 849175"/>
                  <a:gd name="connsiteY176" fmla="*/ 378542 h 1037303"/>
                  <a:gd name="connsiteX177" fmla="*/ 487259 w 849175"/>
                  <a:gd name="connsiteY177" fmla="*/ 383458 h 1037303"/>
                  <a:gd name="connsiteX178" fmla="*/ 494633 w 849175"/>
                  <a:gd name="connsiteY178" fmla="*/ 385916 h 1037303"/>
                  <a:gd name="connsiteX179" fmla="*/ 497091 w 849175"/>
                  <a:gd name="connsiteY179" fmla="*/ 393291 h 1037303"/>
                  <a:gd name="connsiteX180" fmla="*/ 477427 w 849175"/>
                  <a:gd name="connsiteY180" fmla="*/ 388374 h 1037303"/>
                  <a:gd name="connsiteX181" fmla="*/ 455304 w 849175"/>
                  <a:gd name="connsiteY181" fmla="*/ 385916 h 1037303"/>
                  <a:gd name="connsiteX182" fmla="*/ 440556 w 849175"/>
                  <a:gd name="connsiteY182" fmla="*/ 371168 h 1037303"/>
                  <a:gd name="connsiteX183" fmla="*/ 435639 w 849175"/>
                  <a:gd name="connsiteY183" fmla="*/ 366252 h 1037303"/>
                  <a:gd name="connsiteX184" fmla="*/ 428265 w 849175"/>
                  <a:gd name="connsiteY184" fmla="*/ 363794 h 1037303"/>
                  <a:gd name="connsiteX185" fmla="*/ 420891 w 849175"/>
                  <a:gd name="connsiteY185" fmla="*/ 351503 h 1037303"/>
                  <a:gd name="connsiteX186" fmla="*/ 413517 w 849175"/>
                  <a:gd name="connsiteY186" fmla="*/ 344129 h 1037303"/>
                  <a:gd name="connsiteX187" fmla="*/ 411059 w 849175"/>
                  <a:gd name="connsiteY187" fmla="*/ 336755 h 1037303"/>
                  <a:gd name="connsiteX188" fmla="*/ 403685 w 849175"/>
                  <a:gd name="connsiteY188" fmla="*/ 331839 h 1037303"/>
                  <a:gd name="connsiteX189" fmla="*/ 361898 w 849175"/>
                  <a:gd name="connsiteY189" fmla="*/ 324465 h 1037303"/>
                  <a:gd name="connsiteX190" fmla="*/ 364356 w 849175"/>
                  <a:gd name="connsiteY190" fmla="*/ 299884 h 1037303"/>
                  <a:gd name="connsiteX191" fmla="*/ 371730 w 849175"/>
                  <a:gd name="connsiteY191" fmla="*/ 297426 h 1037303"/>
                  <a:gd name="connsiteX192" fmla="*/ 376646 w 849175"/>
                  <a:gd name="connsiteY192" fmla="*/ 290052 h 1037303"/>
                  <a:gd name="connsiteX193" fmla="*/ 371730 w 849175"/>
                  <a:gd name="connsiteY193" fmla="*/ 282678 h 1037303"/>
                  <a:gd name="connsiteX194" fmla="*/ 356981 w 849175"/>
                  <a:gd name="connsiteY194" fmla="*/ 285136 h 1037303"/>
                  <a:gd name="connsiteX195" fmla="*/ 361898 w 849175"/>
                  <a:gd name="connsiteY195" fmla="*/ 299884 h 1037303"/>
                  <a:gd name="connsiteX196" fmla="*/ 356981 w 849175"/>
                  <a:gd name="connsiteY196" fmla="*/ 304800 h 1037303"/>
                  <a:gd name="connsiteX197" fmla="*/ 347149 w 849175"/>
                  <a:gd name="connsiteY197" fmla="*/ 307258 h 1037303"/>
                  <a:gd name="connsiteX198" fmla="*/ 339775 w 849175"/>
                  <a:gd name="connsiteY198" fmla="*/ 309716 h 1037303"/>
                  <a:gd name="connsiteX199" fmla="*/ 332401 w 849175"/>
                  <a:gd name="connsiteY199" fmla="*/ 314632 h 1037303"/>
                  <a:gd name="connsiteX200" fmla="*/ 334859 w 849175"/>
                  <a:gd name="connsiteY200" fmla="*/ 329381 h 1037303"/>
                  <a:gd name="connsiteX201" fmla="*/ 337317 w 849175"/>
                  <a:gd name="connsiteY201" fmla="*/ 336755 h 1037303"/>
                  <a:gd name="connsiteX202" fmla="*/ 332401 w 849175"/>
                  <a:gd name="connsiteY202" fmla="*/ 381000 h 1037303"/>
                  <a:gd name="connsiteX203" fmla="*/ 334859 w 849175"/>
                  <a:gd name="connsiteY203" fmla="*/ 390832 h 1037303"/>
                  <a:gd name="connsiteX204" fmla="*/ 342233 w 849175"/>
                  <a:gd name="connsiteY204" fmla="*/ 395749 h 1037303"/>
                  <a:gd name="connsiteX205" fmla="*/ 354523 w 849175"/>
                  <a:gd name="connsiteY205" fmla="*/ 408039 h 1037303"/>
                  <a:gd name="connsiteX206" fmla="*/ 364356 w 849175"/>
                  <a:gd name="connsiteY206" fmla="*/ 422787 h 1037303"/>
                  <a:gd name="connsiteX207" fmla="*/ 366814 w 849175"/>
                  <a:gd name="connsiteY207" fmla="*/ 430161 h 1037303"/>
                  <a:gd name="connsiteX208" fmla="*/ 381562 w 849175"/>
                  <a:gd name="connsiteY208" fmla="*/ 439994 h 1037303"/>
                  <a:gd name="connsiteX209" fmla="*/ 398768 w 849175"/>
                  <a:gd name="connsiteY209" fmla="*/ 457200 h 1037303"/>
                  <a:gd name="connsiteX210" fmla="*/ 406143 w 849175"/>
                  <a:gd name="connsiteY210" fmla="*/ 471949 h 1037303"/>
                  <a:gd name="connsiteX211" fmla="*/ 411059 w 849175"/>
                  <a:gd name="connsiteY211" fmla="*/ 479323 h 1037303"/>
                  <a:gd name="connsiteX212" fmla="*/ 418433 w 849175"/>
                  <a:gd name="connsiteY212" fmla="*/ 494071 h 1037303"/>
                  <a:gd name="connsiteX213" fmla="*/ 440556 w 849175"/>
                  <a:gd name="connsiteY213" fmla="*/ 496529 h 1037303"/>
                  <a:gd name="connsiteX214" fmla="*/ 455304 w 849175"/>
                  <a:gd name="connsiteY214" fmla="*/ 508820 h 1037303"/>
                  <a:gd name="connsiteX215" fmla="*/ 457762 w 849175"/>
                  <a:gd name="connsiteY215" fmla="*/ 516194 h 1037303"/>
                  <a:gd name="connsiteX216" fmla="*/ 455304 w 849175"/>
                  <a:gd name="connsiteY216" fmla="*/ 533400 h 1037303"/>
                  <a:gd name="connsiteX217" fmla="*/ 447930 w 849175"/>
                  <a:gd name="connsiteY217" fmla="*/ 538316 h 1037303"/>
                  <a:gd name="connsiteX218" fmla="*/ 445472 w 849175"/>
                  <a:gd name="connsiteY218" fmla="*/ 523568 h 1037303"/>
                  <a:gd name="connsiteX219" fmla="*/ 435639 w 849175"/>
                  <a:gd name="connsiteY219" fmla="*/ 511278 h 1037303"/>
                  <a:gd name="connsiteX220" fmla="*/ 406143 w 849175"/>
                  <a:gd name="connsiteY220" fmla="*/ 513736 h 1037303"/>
                  <a:gd name="connsiteX221" fmla="*/ 391394 w 849175"/>
                  <a:gd name="connsiteY221" fmla="*/ 523568 h 1037303"/>
                  <a:gd name="connsiteX222" fmla="*/ 396310 w 849175"/>
                  <a:gd name="connsiteY222" fmla="*/ 538316 h 1037303"/>
                  <a:gd name="connsiteX223" fmla="*/ 403685 w 849175"/>
                  <a:gd name="connsiteY223" fmla="*/ 543232 h 1037303"/>
                  <a:gd name="connsiteX224" fmla="*/ 413517 w 849175"/>
                  <a:gd name="connsiteY224" fmla="*/ 545691 h 1037303"/>
                  <a:gd name="connsiteX225" fmla="*/ 420891 w 849175"/>
                  <a:gd name="connsiteY225" fmla="*/ 548149 h 1037303"/>
                  <a:gd name="connsiteX226" fmla="*/ 428265 w 849175"/>
                  <a:gd name="connsiteY226" fmla="*/ 557981 h 1037303"/>
                  <a:gd name="connsiteX227" fmla="*/ 435639 w 849175"/>
                  <a:gd name="connsiteY227" fmla="*/ 560439 h 1037303"/>
                  <a:gd name="connsiteX228" fmla="*/ 433181 w 849175"/>
                  <a:gd name="connsiteY228" fmla="*/ 575187 h 1037303"/>
                  <a:gd name="connsiteX229" fmla="*/ 418433 w 849175"/>
                  <a:gd name="connsiteY229" fmla="*/ 580103 h 1037303"/>
                  <a:gd name="connsiteX230" fmla="*/ 411059 w 849175"/>
                  <a:gd name="connsiteY230" fmla="*/ 585020 h 1037303"/>
                  <a:gd name="connsiteX231" fmla="*/ 391394 w 849175"/>
                  <a:gd name="connsiteY231" fmla="*/ 589936 h 1037303"/>
                  <a:gd name="connsiteX232" fmla="*/ 371730 w 849175"/>
                  <a:gd name="connsiteY232" fmla="*/ 594852 h 1037303"/>
                  <a:gd name="connsiteX233" fmla="*/ 369272 w 849175"/>
                  <a:gd name="connsiteY233" fmla="*/ 602226 h 1037303"/>
                  <a:gd name="connsiteX234" fmla="*/ 393852 w 849175"/>
                  <a:gd name="connsiteY234" fmla="*/ 612058 h 1037303"/>
                  <a:gd name="connsiteX235" fmla="*/ 403685 w 849175"/>
                  <a:gd name="connsiteY235" fmla="*/ 614516 h 1037303"/>
                  <a:gd name="connsiteX236" fmla="*/ 411059 w 849175"/>
                  <a:gd name="connsiteY236" fmla="*/ 616974 h 1037303"/>
                  <a:gd name="connsiteX237" fmla="*/ 428265 w 849175"/>
                  <a:gd name="connsiteY237" fmla="*/ 619432 h 1037303"/>
                  <a:gd name="connsiteX238" fmla="*/ 435639 w 849175"/>
                  <a:gd name="connsiteY238" fmla="*/ 634181 h 1037303"/>
                  <a:gd name="connsiteX239" fmla="*/ 443014 w 849175"/>
                  <a:gd name="connsiteY239" fmla="*/ 636639 h 1037303"/>
                  <a:gd name="connsiteX240" fmla="*/ 474968 w 849175"/>
                  <a:gd name="connsiteY240" fmla="*/ 644013 h 1037303"/>
                  <a:gd name="connsiteX241" fmla="*/ 514298 w 849175"/>
                  <a:gd name="connsiteY241" fmla="*/ 648929 h 1037303"/>
                  <a:gd name="connsiteX242" fmla="*/ 516756 w 849175"/>
                  <a:gd name="connsiteY242" fmla="*/ 639097 h 1037303"/>
                  <a:gd name="connsiteX243" fmla="*/ 514298 w 849175"/>
                  <a:gd name="connsiteY243" fmla="*/ 626807 h 1037303"/>
                  <a:gd name="connsiteX244" fmla="*/ 499549 w 849175"/>
                  <a:gd name="connsiteY244" fmla="*/ 621891 h 1037303"/>
                  <a:gd name="connsiteX245" fmla="*/ 494633 w 849175"/>
                  <a:gd name="connsiteY245" fmla="*/ 616974 h 1037303"/>
                  <a:gd name="connsiteX246" fmla="*/ 484801 w 849175"/>
                  <a:gd name="connsiteY246" fmla="*/ 602226 h 1037303"/>
                  <a:gd name="connsiteX247" fmla="*/ 474968 w 849175"/>
                  <a:gd name="connsiteY247" fmla="*/ 599768 h 1037303"/>
                  <a:gd name="connsiteX248" fmla="*/ 467594 w 849175"/>
                  <a:gd name="connsiteY248" fmla="*/ 594852 h 1037303"/>
                  <a:gd name="connsiteX249" fmla="*/ 440556 w 849175"/>
                  <a:gd name="connsiteY249" fmla="*/ 592394 h 1037303"/>
                  <a:gd name="connsiteX250" fmla="*/ 430723 w 849175"/>
                  <a:gd name="connsiteY250" fmla="*/ 589936 h 1037303"/>
                  <a:gd name="connsiteX251" fmla="*/ 423349 w 849175"/>
                  <a:gd name="connsiteY251" fmla="*/ 585020 h 1037303"/>
                  <a:gd name="connsiteX252" fmla="*/ 420891 w 849175"/>
                  <a:gd name="connsiteY252" fmla="*/ 592394 h 1037303"/>
                  <a:gd name="connsiteX253" fmla="*/ 433181 w 849175"/>
                  <a:gd name="connsiteY253" fmla="*/ 589936 h 1037303"/>
                  <a:gd name="connsiteX254" fmla="*/ 435639 w 849175"/>
                  <a:gd name="connsiteY254" fmla="*/ 565355 h 1037303"/>
                  <a:gd name="connsiteX255" fmla="*/ 450388 w 849175"/>
                  <a:gd name="connsiteY255" fmla="*/ 560439 h 1037303"/>
                  <a:gd name="connsiteX256" fmla="*/ 457762 w 849175"/>
                  <a:gd name="connsiteY256" fmla="*/ 557981 h 1037303"/>
                  <a:gd name="connsiteX257" fmla="*/ 472510 w 849175"/>
                  <a:gd name="connsiteY257" fmla="*/ 567813 h 1037303"/>
                  <a:gd name="connsiteX258" fmla="*/ 479885 w 849175"/>
                  <a:gd name="connsiteY258" fmla="*/ 570271 h 1037303"/>
                  <a:gd name="connsiteX259" fmla="*/ 489717 w 849175"/>
                  <a:gd name="connsiteY259" fmla="*/ 582561 h 1037303"/>
                  <a:gd name="connsiteX260" fmla="*/ 502007 w 849175"/>
                  <a:gd name="connsiteY260" fmla="*/ 592394 h 1037303"/>
                  <a:gd name="connsiteX261" fmla="*/ 570833 w 849175"/>
                  <a:gd name="connsiteY261" fmla="*/ 602226 h 1037303"/>
                  <a:gd name="connsiteX262" fmla="*/ 583123 w 849175"/>
                  <a:gd name="connsiteY262" fmla="*/ 604684 h 1037303"/>
                  <a:gd name="connsiteX263" fmla="*/ 585581 w 849175"/>
                  <a:gd name="connsiteY263" fmla="*/ 619432 h 1037303"/>
                  <a:gd name="connsiteX264" fmla="*/ 588039 w 849175"/>
                  <a:gd name="connsiteY264" fmla="*/ 626807 h 1037303"/>
                  <a:gd name="connsiteX265" fmla="*/ 592956 w 849175"/>
                  <a:gd name="connsiteY265" fmla="*/ 631723 h 1037303"/>
                  <a:gd name="connsiteX266" fmla="*/ 607704 w 849175"/>
                  <a:gd name="connsiteY266" fmla="*/ 641555 h 1037303"/>
                  <a:gd name="connsiteX267" fmla="*/ 617536 w 849175"/>
                  <a:gd name="connsiteY267" fmla="*/ 663678 h 1037303"/>
                  <a:gd name="connsiteX268" fmla="*/ 619994 w 849175"/>
                  <a:gd name="connsiteY268" fmla="*/ 671052 h 1037303"/>
                  <a:gd name="connsiteX269" fmla="*/ 629827 w 849175"/>
                  <a:gd name="connsiteY269" fmla="*/ 680884 h 1037303"/>
                  <a:gd name="connsiteX270" fmla="*/ 656865 w 849175"/>
                  <a:gd name="connsiteY270" fmla="*/ 683342 h 1037303"/>
                  <a:gd name="connsiteX271" fmla="*/ 674072 w 849175"/>
                  <a:gd name="connsiteY271" fmla="*/ 695632 h 1037303"/>
                  <a:gd name="connsiteX272" fmla="*/ 671614 w 849175"/>
                  <a:gd name="connsiteY272" fmla="*/ 707923 h 1037303"/>
                  <a:gd name="connsiteX273" fmla="*/ 656865 w 849175"/>
                  <a:gd name="connsiteY273" fmla="*/ 715297 h 1037303"/>
                  <a:gd name="connsiteX274" fmla="*/ 649491 w 849175"/>
                  <a:gd name="connsiteY274" fmla="*/ 710381 h 1037303"/>
                  <a:gd name="connsiteX275" fmla="*/ 642117 w 849175"/>
                  <a:gd name="connsiteY275" fmla="*/ 703007 h 1037303"/>
                  <a:gd name="connsiteX276" fmla="*/ 634743 w 849175"/>
                  <a:gd name="connsiteY276" fmla="*/ 700549 h 1037303"/>
                  <a:gd name="connsiteX277" fmla="*/ 619994 w 849175"/>
                  <a:gd name="connsiteY277" fmla="*/ 693174 h 1037303"/>
                  <a:gd name="connsiteX278" fmla="*/ 612620 w 849175"/>
                  <a:gd name="connsiteY278" fmla="*/ 688258 h 1037303"/>
                  <a:gd name="connsiteX279" fmla="*/ 597872 w 849175"/>
                  <a:gd name="connsiteY279" fmla="*/ 680884 h 1037303"/>
                  <a:gd name="connsiteX280" fmla="*/ 595414 w 849175"/>
                  <a:gd name="connsiteY280" fmla="*/ 671052 h 1037303"/>
                  <a:gd name="connsiteX281" fmla="*/ 575749 w 849175"/>
                  <a:gd name="connsiteY281" fmla="*/ 656303 h 1037303"/>
                  <a:gd name="connsiteX282" fmla="*/ 568375 w 849175"/>
                  <a:gd name="connsiteY282" fmla="*/ 648929 h 1037303"/>
                  <a:gd name="connsiteX283" fmla="*/ 558543 w 849175"/>
                  <a:gd name="connsiteY283" fmla="*/ 646471 h 1037303"/>
                  <a:gd name="connsiteX284" fmla="*/ 551168 w 849175"/>
                  <a:gd name="connsiteY284" fmla="*/ 644013 h 1037303"/>
                  <a:gd name="connsiteX285" fmla="*/ 543794 w 849175"/>
                  <a:gd name="connsiteY285" fmla="*/ 648929 h 1037303"/>
                  <a:gd name="connsiteX286" fmla="*/ 538878 w 849175"/>
                  <a:gd name="connsiteY286" fmla="*/ 656303 h 1037303"/>
                  <a:gd name="connsiteX287" fmla="*/ 533962 w 849175"/>
                  <a:gd name="connsiteY287" fmla="*/ 661220 h 1037303"/>
                  <a:gd name="connsiteX288" fmla="*/ 570833 w 849175"/>
                  <a:gd name="connsiteY288" fmla="*/ 668594 h 1037303"/>
                  <a:gd name="connsiteX289" fmla="*/ 585581 w 849175"/>
                  <a:gd name="connsiteY289" fmla="*/ 673510 h 1037303"/>
                  <a:gd name="connsiteX290" fmla="*/ 590498 w 849175"/>
                  <a:gd name="connsiteY290" fmla="*/ 678426 h 1037303"/>
                  <a:gd name="connsiteX291" fmla="*/ 595414 w 849175"/>
                  <a:gd name="connsiteY291" fmla="*/ 700549 h 1037303"/>
                  <a:gd name="connsiteX292" fmla="*/ 600330 w 849175"/>
                  <a:gd name="connsiteY292" fmla="*/ 739878 h 1037303"/>
                  <a:gd name="connsiteX293" fmla="*/ 607704 w 849175"/>
                  <a:gd name="connsiteY293" fmla="*/ 747252 h 1037303"/>
                  <a:gd name="connsiteX294" fmla="*/ 612620 w 849175"/>
                  <a:gd name="connsiteY294" fmla="*/ 776749 h 1037303"/>
                  <a:gd name="connsiteX295" fmla="*/ 605246 w 849175"/>
                  <a:gd name="connsiteY295" fmla="*/ 781665 h 1037303"/>
                  <a:gd name="connsiteX296" fmla="*/ 597872 w 849175"/>
                  <a:gd name="connsiteY296" fmla="*/ 779207 h 1037303"/>
                  <a:gd name="connsiteX297" fmla="*/ 583123 w 849175"/>
                  <a:gd name="connsiteY297" fmla="*/ 764458 h 1037303"/>
                  <a:gd name="connsiteX298" fmla="*/ 568375 w 849175"/>
                  <a:gd name="connsiteY298" fmla="*/ 759542 h 1037303"/>
                  <a:gd name="connsiteX299" fmla="*/ 551168 w 849175"/>
                  <a:gd name="connsiteY299" fmla="*/ 747252 h 1037303"/>
                  <a:gd name="connsiteX300" fmla="*/ 543794 w 849175"/>
                  <a:gd name="connsiteY300" fmla="*/ 742336 h 1037303"/>
                  <a:gd name="connsiteX301" fmla="*/ 536420 w 849175"/>
                  <a:gd name="connsiteY301" fmla="*/ 739878 h 1037303"/>
                  <a:gd name="connsiteX302" fmla="*/ 529046 w 849175"/>
                  <a:gd name="connsiteY302" fmla="*/ 734961 h 1037303"/>
                  <a:gd name="connsiteX303" fmla="*/ 526588 w 849175"/>
                  <a:gd name="connsiteY303" fmla="*/ 727587 h 1037303"/>
                  <a:gd name="connsiteX304" fmla="*/ 521672 w 849175"/>
                  <a:gd name="connsiteY304" fmla="*/ 720213 h 1037303"/>
                  <a:gd name="connsiteX305" fmla="*/ 511839 w 849175"/>
                  <a:gd name="connsiteY305" fmla="*/ 722671 h 1037303"/>
                  <a:gd name="connsiteX306" fmla="*/ 504465 w 849175"/>
                  <a:gd name="connsiteY306" fmla="*/ 730045 h 1037303"/>
                  <a:gd name="connsiteX307" fmla="*/ 497091 w 849175"/>
                  <a:gd name="connsiteY307" fmla="*/ 734961 h 1037303"/>
                  <a:gd name="connsiteX308" fmla="*/ 492175 w 849175"/>
                  <a:gd name="connsiteY308" fmla="*/ 739878 h 1037303"/>
                  <a:gd name="connsiteX309" fmla="*/ 484801 w 849175"/>
                  <a:gd name="connsiteY309" fmla="*/ 742336 h 1037303"/>
                  <a:gd name="connsiteX310" fmla="*/ 470052 w 849175"/>
                  <a:gd name="connsiteY310" fmla="*/ 749710 h 1037303"/>
                  <a:gd name="connsiteX311" fmla="*/ 472510 w 849175"/>
                  <a:gd name="connsiteY311" fmla="*/ 759542 h 1037303"/>
                  <a:gd name="connsiteX312" fmla="*/ 474968 w 849175"/>
                  <a:gd name="connsiteY312" fmla="*/ 766916 h 1037303"/>
                  <a:gd name="connsiteX313" fmla="*/ 482343 w 849175"/>
                  <a:gd name="connsiteY313" fmla="*/ 791497 h 1037303"/>
                  <a:gd name="connsiteX314" fmla="*/ 492175 w 849175"/>
                  <a:gd name="connsiteY314" fmla="*/ 806245 h 1037303"/>
                  <a:gd name="connsiteX315" fmla="*/ 499549 w 849175"/>
                  <a:gd name="connsiteY315" fmla="*/ 808703 h 1037303"/>
                  <a:gd name="connsiteX316" fmla="*/ 514298 w 849175"/>
                  <a:gd name="connsiteY316" fmla="*/ 806245 h 1037303"/>
                  <a:gd name="connsiteX317" fmla="*/ 516756 w 849175"/>
                  <a:gd name="connsiteY317" fmla="*/ 796413 h 1037303"/>
                  <a:gd name="connsiteX318" fmla="*/ 524130 w 849175"/>
                  <a:gd name="connsiteY318" fmla="*/ 811161 h 1037303"/>
                  <a:gd name="connsiteX319" fmla="*/ 531504 w 849175"/>
                  <a:gd name="connsiteY319" fmla="*/ 816078 h 1037303"/>
                  <a:gd name="connsiteX320" fmla="*/ 538878 w 849175"/>
                  <a:gd name="connsiteY320" fmla="*/ 823452 h 1037303"/>
                  <a:gd name="connsiteX321" fmla="*/ 516756 w 849175"/>
                  <a:gd name="connsiteY321" fmla="*/ 833284 h 1037303"/>
                  <a:gd name="connsiteX322" fmla="*/ 514298 w 849175"/>
                  <a:gd name="connsiteY322" fmla="*/ 845574 h 1037303"/>
                  <a:gd name="connsiteX323" fmla="*/ 509381 w 849175"/>
                  <a:gd name="connsiteY323" fmla="*/ 850491 h 1037303"/>
                  <a:gd name="connsiteX324" fmla="*/ 494633 w 849175"/>
                  <a:gd name="connsiteY324" fmla="*/ 860323 h 1037303"/>
                  <a:gd name="connsiteX325" fmla="*/ 487259 w 849175"/>
                  <a:gd name="connsiteY325" fmla="*/ 857865 h 1037303"/>
                  <a:gd name="connsiteX326" fmla="*/ 487259 w 849175"/>
                  <a:gd name="connsiteY326" fmla="*/ 840658 h 1037303"/>
                  <a:gd name="connsiteX327" fmla="*/ 484801 w 849175"/>
                  <a:gd name="connsiteY327" fmla="*/ 830826 h 1037303"/>
                  <a:gd name="connsiteX328" fmla="*/ 477427 w 849175"/>
                  <a:gd name="connsiteY328" fmla="*/ 828368 h 1037303"/>
                  <a:gd name="connsiteX329" fmla="*/ 470052 w 849175"/>
                  <a:gd name="connsiteY329" fmla="*/ 823452 h 1037303"/>
                  <a:gd name="connsiteX330" fmla="*/ 455304 w 849175"/>
                  <a:gd name="connsiteY330" fmla="*/ 828368 h 1037303"/>
                  <a:gd name="connsiteX331" fmla="*/ 440556 w 849175"/>
                  <a:gd name="connsiteY331" fmla="*/ 823452 h 1037303"/>
                  <a:gd name="connsiteX332" fmla="*/ 420891 w 849175"/>
                  <a:gd name="connsiteY332" fmla="*/ 825910 h 1037303"/>
                  <a:gd name="connsiteX333" fmla="*/ 423349 w 849175"/>
                  <a:gd name="connsiteY333" fmla="*/ 833284 h 1037303"/>
                  <a:gd name="connsiteX334" fmla="*/ 433181 w 849175"/>
                  <a:gd name="connsiteY334" fmla="*/ 848032 h 1037303"/>
                  <a:gd name="connsiteX335" fmla="*/ 447930 w 849175"/>
                  <a:gd name="connsiteY335" fmla="*/ 860323 h 1037303"/>
                  <a:gd name="connsiteX336" fmla="*/ 455304 w 849175"/>
                  <a:gd name="connsiteY336" fmla="*/ 882445 h 1037303"/>
                  <a:gd name="connsiteX337" fmla="*/ 457762 w 849175"/>
                  <a:gd name="connsiteY337" fmla="*/ 889820 h 1037303"/>
                  <a:gd name="connsiteX338" fmla="*/ 462678 w 849175"/>
                  <a:gd name="connsiteY338" fmla="*/ 899652 h 1037303"/>
                  <a:gd name="connsiteX339" fmla="*/ 470052 w 849175"/>
                  <a:gd name="connsiteY339" fmla="*/ 902110 h 1037303"/>
                  <a:gd name="connsiteX340" fmla="*/ 477427 w 849175"/>
                  <a:gd name="connsiteY340" fmla="*/ 907026 h 1037303"/>
                  <a:gd name="connsiteX341" fmla="*/ 482343 w 849175"/>
                  <a:gd name="connsiteY341" fmla="*/ 916858 h 1037303"/>
                  <a:gd name="connsiteX342" fmla="*/ 487259 w 849175"/>
                  <a:gd name="connsiteY342" fmla="*/ 931607 h 1037303"/>
                  <a:gd name="connsiteX343" fmla="*/ 499549 w 849175"/>
                  <a:gd name="connsiteY343" fmla="*/ 946355 h 1037303"/>
                  <a:gd name="connsiteX344" fmla="*/ 502007 w 849175"/>
                  <a:gd name="connsiteY344" fmla="*/ 953729 h 1037303"/>
                  <a:gd name="connsiteX345" fmla="*/ 504465 w 849175"/>
                  <a:gd name="connsiteY345" fmla="*/ 990600 h 1037303"/>
                  <a:gd name="connsiteX346" fmla="*/ 514298 w 849175"/>
                  <a:gd name="connsiteY346" fmla="*/ 1005349 h 1037303"/>
                  <a:gd name="connsiteX347" fmla="*/ 519214 w 849175"/>
                  <a:gd name="connsiteY347" fmla="*/ 1012723 h 1037303"/>
                  <a:gd name="connsiteX348" fmla="*/ 524130 w 849175"/>
                  <a:gd name="connsiteY348" fmla="*/ 1020097 h 1037303"/>
                  <a:gd name="connsiteX349" fmla="*/ 502007 w 849175"/>
                  <a:gd name="connsiteY349" fmla="*/ 1020097 h 1037303"/>
                  <a:gd name="connsiteX350" fmla="*/ 494633 w 849175"/>
                  <a:gd name="connsiteY350" fmla="*/ 1012723 h 1037303"/>
                  <a:gd name="connsiteX351" fmla="*/ 492175 w 849175"/>
                  <a:gd name="connsiteY351" fmla="*/ 1002891 h 1037303"/>
                  <a:gd name="connsiteX352" fmla="*/ 484801 w 849175"/>
                  <a:gd name="connsiteY352" fmla="*/ 1000432 h 1037303"/>
                  <a:gd name="connsiteX353" fmla="*/ 467594 w 849175"/>
                  <a:gd name="connsiteY353" fmla="*/ 990600 h 1037303"/>
                  <a:gd name="connsiteX354" fmla="*/ 465136 w 849175"/>
                  <a:gd name="connsiteY354" fmla="*/ 975852 h 1037303"/>
                  <a:gd name="connsiteX355" fmla="*/ 452846 w 849175"/>
                  <a:gd name="connsiteY355" fmla="*/ 958645 h 1037303"/>
                  <a:gd name="connsiteX356" fmla="*/ 430723 w 849175"/>
                  <a:gd name="connsiteY356" fmla="*/ 966020 h 1037303"/>
                  <a:gd name="connsiteX357" fmla="*/ 425807 w 849175"/>
                  <a:gd name="connsiteY357" fmla="*/ 980768 h 1037303"/>
                  <a:gd name="connsiteX358" fmla="*/ 428265 w 849175"/>
                  <a:gd name="connsiteY358" fmla="*/ 988142 h 1037303"/>
                  <a:gd name="connsiteX359" fmla="*/ 423349 w 849175"/>
                  <a:gd name="connsiteY359" fmla="*/ 1002891 h 1037303"/>
                  <a:gd name="connsiteX360" fmla="*/ 425807 w 849175"/>
                  <a:gd name="connsiteY360" fmla="*/ 1027471 h 1037303"/>
                  <a:gd name="connsiteX361" fmla="*/ 428265 w 849175"/>
                  <a:gd name="connsiteY361" fmla="*/ 1034845 h 1037303"/>
                  <a:gd name="connsiteX362" fmla="*/ 420891 w 849175"/>
                  <a:gd name="connsiteY362" fmla="*/ 1037303 h 1037303"/>
                  <a:gd name="connsiteX363" fmla="*/ 411059 w 849175"/>
                  <a:gd name="connsiteY363" fmla="*/ 1034845 h 1037303"/>
                  <a:gd name="connsiteX364" fmla="*/ 406143 w 849175"/>
                  <a:gd name="connsiteY364" fmla="*/ 1027471 h 1037303"/>
                  <a:gd name="connsiteX365" fmla="*/ 401227 w 849175"/>
                  <a:gd name="connsiteY365" fmla="*/ 1010265 h 1037303"/>
                  <a:gd name="connsiteX366" fmla="*/ 398768 w 849175"/>
                  <a:gd name="connsiteY366" fmla="*/ 1002891 h 1037303"/>
                  <a:gd name="connsiteX367" fmla="*/ 396310 w 849175"/>
                  <a:gd name="connsiteY367" fmla="*/ 985684 h 1037303"/>
                  <a:gd name="connsiteX368" fmla="*/ 388936 w 849175"/>
                  <a:gd name="connsiteY368" fmla="*/ 980768 h 1037303"/>
                  <a:gd name="connsiteX369" fmla="*/ 386478 w 849175"/>
                  <a:gd name="connsiteY369" fmla="*/ 970936 h 1037303"/>
                  <a:gd name="connsiteX370" fmla="*/ 379104 w 849175"/>
                  <a:gd name="connsiteY370" fmla="*/ 966020 h 1037303"/>
                  <a:gd name="connsiteX371" fmla="*/ 374188 w 849175"/>
                  <a:gd name="connsiteY371" fmla="*/ 961103 h 1037303"/>
                  <a:gd name="connsiteX372" fmla="*/ 359439 w 849175"/>
                  <a:gd name="connsiteY372" fmla="*/ 953729 h 1037303"/>
                  <a:gd name="connsiteX373" fmla="*/ 352065 w 849175"/>
                  <a:gd name="connsiteY373" fmla="*/ 946355 h 1037303"/>
                  <a:gd name="connsiteX374" fmla="*/ 347149 w 849175"/>
                  <a:gd name="connsiteY374" fmla="*/ 931607 h 1037303"/>
                  <a:gd name="connsiteX375" fmla="*/ 339775 w 849175"/>
                  <a:gd name="connsiteY375" fmla="*/ 934065 h 1037303"/>
                  <a:gd name="connsiteX376" fmla="*/ 337317 w 849175"/>
                  <a:gd name="connsiteY376" fmla="*/ 941439 h 1037303"/>
                  <a:gd name="connsiteX377" fmla="*/ 322568 w 849175"/>
                  <a:gd name="connsiteY377" fmla="*/ 946355 h 1037303"/>
                  <a:gd name="connsiteX378" fmla="*/ 327485 w 849175"/>
                  <a:gd name="connsiteY378" fmla="*/ 961103 h 1037303"/>
                  <a:gd name="connsiteX379" fmla="*/ 329943 w 849175"/>
                  <a:gd name="connsiteY379" fmla="*/ 968478 h 1037303"/>
                  <a:gd name="connsiteX380" fmla="*/ 327485 w 849175"/>
                  <a:gd name="connsiteY380" fmla="*/ 985684 h 1037303"/>
                  <a:gd name="connsiteX381" fmla="*/ 320110 w 849175"/>
                  <a:gd name="connsiteY381" fmla="*/ 988142 h 1037303"/>
                  <a:gd name="connsiteX382" fmla="*/ 305362 w 849175"/>
                  <a:gd name="connsiteY382" fmla="*/ 983226 h 1037303"/>
                  <a:gd name="connsiteX383" fmla="*/ 288156 w 849175"/>
                  <a:gd name="connsiteY383" fmla="*/ 980768 h 1037303"/>
                  <a:gd name="connsiteX384" fmla="*/ 273407 w 849175"/>
                  <a:gd name="connsiteY384" fmla="*/ 951271 h 1037303"/>
                  <a:gd name="connsiteX385" fmla="*/ 266033 w 849175"/>
                  <a:gd name="connsiteY385" fmla="*/ 943897 h 1037303"/>
                  <a:gd name="connsiteX386" fmla="*/ 275865 w 849175"/>
                  <a:gd name="connsiteY386" fmla="*/ 914400 h 1037303"/>
                  <a:gd name="connsiteX387" fmla="*/ 283239 w 849175"/>
                  <a:gd name="connsiteY387" fmla="*/ 909484 h 1037303"/>
                  <a:gd name="connsiteX388" fmla="*/ 285698 w 849175"/>
                  <a:gd name="connsiteY388" fmla="*/ 894736 h 1037303"/>
                  <a:gd name="connsiteX389" fmla="*/ 288156 w 849175"/>
                  <a:gd name="connsiteY389" fmla="*/ 887361 h 1037303"/>
                  <a:gd name="connsiteX390" fmla="*/ 278323 w 849175"/>
                  <a:gd name="connsiteY390" fmla="*/ 875071 h 1037303"/>
                  <a:gd name="connsiteX391" fmla="*/ 256201 w 849175"/>
                  <a:gd name="connsiteY391" fmla="*/ 855407 h 1037303"/>
                  <a:gd name="connsiteX392" fmla="*/ 248827 w 849175"/>
                  <a:gd name="connsiteY392" fmla="*/ 852949 h 1037303"/>
                  <a:gd name="connsiteX393" fmla="*/ 243910 w 849175"/>
                  <a:gd name="connsiteY393" fmla="*/ 848032 h 1037303"/>
                  <a:gd name="connsiteX394" fmla="*/ 221788 w 849175"/>
                  <a:gd name="connsiteY394" fmla="*/ 843116 h 1037303"/>
                  <a:gd name="connsiteX395" fmla="*/ 214414 w 849175"/>
                  <a:gd name="connsiteY395" fmla="*/ 840658 h 1037303"/>
                  <a:gd name="connsiteX396" fmla="*/ 211956 w 849175"/>
                  <a:gd name="connsiteY396" fmla="*/ 820994 h 1037303"/>
                  <a:gd name="connsiteX397" fmla="*/ 197207 w 849175"/>
                  <a:gd name="connsiteY397" fmla="*/ 816078 h 1037303"/>
                  <a:gd name="connsiteX398" fmla="*/ 189833 w 849175"/>
                  <a:gd name="connsiteY398" fmla="*/ 813620 h 1037303"/>
                  <a:gd name="connsiteX399" fmla="*/ 192291 w 849175"/>
                  <a:gd name="connsiteY399" fmla="*/ 806245 h 1037303"/>
                  <a:gd name="connsiteX400" fmla="*/ 199665 w 849175"/>
                  <a:gd name="connsiteY400" fmla="*/ 786581 h 1037303"/>
                  <a:gd name="connsiteX401" fmla="*/ 209498 w 849175"/>
                  <a:gd name="connsiteY401" fmla="*/ 784123 h 1037303"/>
                  <a:gd name="connsiteX402" fmla="*/ 216872 w 849175"/>
                  <a:gd name="connsiteY402" fmla="*/ 762000 h 1037303"/>
                  <a:gd name="connsiteX403" fmla="*/ 224246 w 849175"/>
                  <a:gd name="connsiteY403" fmla="*/ 747252 h 1037303"/>
                  <a:gd name="connsiteX404" fmla="*/ 231620 w 849175"/>
                  <a:gd name="connsiteY404" fmla="*/ 744794 h 1037303"/>
                  <a:gd name="connsiteX405" fmla="*/ 251285 w 849175"/>
                  <a:gd name="connsiteY405" fmla="*/ 739878 h 1037303"/>
                  <a:gd name="connsiteX406" fmla="*/ 263575 w 849175"/>
                  <a:gd name="connsiteY406" fmla="*/ 730045 h 1037303"/>
                  <a:gd name="connsiteX407" fmla="*/ 270949 w 849175"/>
                  <a:gd name="connsiteY407" fmla="*/ 727587 h 1037303"/>
                  <a:gd name="connsiteX408" fmla="*/ 273407 w 849175"/>
                  <a:gd name="connsiteY408" fmla="*/ 717755 h 1037303"/>
                  <a:gd name="connsiteX409" fmla="*/ 280781 w 849175"/>
                  <a:gd name="connsiteY409" fmla="*/ 715297 h 1037303"/>
                  <a:gd name="connsiteX410" fmla="*/ 285698 w 849175"/>
                  <a:gd name="connsiteY410" fmla="*/ 710381 h 1037303"/>
                  <a:gd name="connsiteX411" fmla="*/ 307820 w 849175"/>
                  <a:gd name="connsiteY411" fmla="*/ 712839 h 1037303"/>
                  <a:gd name="connsiteX412" fmla="*/ 322568 w 849175"/>
                  <a:gd name="connsiteY412" fmla="*/ 720213 h 1037303"/>
                  <a:gd name="connsiteX413" fmla="*/ 361898 w 849175"/>
                  <a:gd name="connsiteY413" fmla="*/ 730045 h 1037303"/>
                  <a:gd name="connsiteX414" fmla="*/ 391394 w 849175"/>
                  <a:gd name="connsiteY414" fmla="*/ 734961 h 1037303"/>
                  <a:gd name="connsiteX415" fmla="*/ 408601 w 849175"/>
                  <a:gd name="connsiteY415" fmla="*/ 749710 h 1037303"/>
                  <a:gd name="connsiteX416" fmla="*/ 425807 w 849175"/>
                  <a:gd name="connsiteY416" fmla="*/ 752168 h 1037303"/>
                  <a:gd name="connsiteX417" fmla="*/ 452846 w 849175"/>
                  <a:gd name="connsiteY417" fmla="*/ 757084 h 1037303"/>
                  <a:gd name="connsiteX418" fmla="*/ 447930 w 849175"/>
                  <a:gd name="connsiteY418" fmla="*/ 749710 h 1037303"/>
                  <a:gd name="connsiteX419" fmla="*/ 440556 w 849175"/>
                  <a:gd name="connsiteY419" fmla="*/ 742336 h 1037303"/>
                  <a:gd name="connsiteX420" fmla="*/ 457762 w 849175"/>
                  <a:gd name="connsiteY420" fmla="*/ 734961 h 1037303"/>
                  <a:gd name="connsiteX421" fmla="*/ 462678 w 849175"/>
                  <a:gd name="connsiteY421" fmla="*/ 727587 h 1037303"/>
                  <a:gd name="connsiteX422" fmla="*/ 477427 w 849175"/>
                  <a:gd name="connsiteY422" fmla="*/ 722671 h 1037303"/>
                  <a:gd name="connsiteX423" fmla="*/ 484801 w 849175"/>
                  <a:gd name="connsiteY423" fmla="*/ 717755 h 1037303"/>
                  <a:gd name="connsiteX424" fmla="*/ 472510 w 849175"/>
                  <a:gd name="connsiteY424" fmla="*/ 707923 h 1037303"/>
                  <a:gd name="connsiteX425" fmla="*/ 462678 w 849175"/>
                  <a:gd name="connsiteY425" fmla="*/ 705465 h 1037303"/>
                  <a:gd name="connsiteX426" fmla="*/ 455304 w 849175"/>
                  <a:gd name="connsiteY426" fmla="*/ 703007 h 1037303"/>
                  <a:gd name="connsiteX427" fmla="*/ 430723 w 849175"/>
                  <a:gd name="connsiteY427" fmla="*/ 700549 h 1037303"/>
                  <a:gd name="connsiteX428" fmla="*/ 406143 w 849175"/>
                  <a:gd name="connsiteY428" fmla="*/ 695632 h 1037303"/>
                  <a:gd name="connsiteX429" fmla="*/ 388936 w 849175"/>
                  <a:gd name="connsiteY429" fmla="*/ 707923 h 1037303"/>
                  <a:gd name="connsiteX430" fmla="*/ 381562 w 849175"/>
                  <a:gd name="connsiteY430" fmla="*/ 690716 h 1037303"/>
                  <a:gd name="connsiteX431" fmla="*/ 366814 w 849175"/>
                  <a:gd name="connsiteY431" fmla="*/ 688258 h 1037303"/>
                  <a:gd name="connsiteX432" fmla="*/ 361898 w 849175"/>
                  <a:gd name="connsiteY432" fmla="*/ 695632 h 1037303"/>
                  <a:gd name="connsiteX433" fmla="*/ 359439 w 849175"/>
                  <a:gd name="connsiteY433" fmla="*/ 703007 h 1037303"/>
                  <a:gd name="connsiteX434" fmla="*/ 352065 w 849175"/>
                  <a:gd name="connsiteY434" fmla="*/ 705465 h 1037303"/>
                  <a:gd name="connsiteX435" fmla="*/ 342233 w 849175"/>
                  <a:gd name="connsiteY435" fmla="*/ 703007 h 1037303"/>
                  <a:gd name="connsiteX436" fmla="*/ 337317 w 849175"/>
                  <a:gd name="connsiteY436" fmla="*/ 695632 h 1037303"/>
                  <a:gd name="connsiteX437" fmla="*/ 305362 w 849175"/>
                  <a:gd name="connsiteY437" fmla="*/ 693174 h 1037303"/>
                  <a:gd name="connsiteX438" fmla="*/ 280781 w 849175"/>
                  <a:gd name="connsiteY438" fmla="*/ 695632 h 1037303"/>
                  <a:gd name="connsiteX439" fmla="*/ 273407 w 849175"/>
                  <a:gd name="connsiteY439" fmla="*/ 700549 h 1037303"/>
                  <a:gd name="connsiteX440" fmla="*/ 258659 w 849175"/>
                  <a:gd name="connsiteY440" fmla="*/ 705465 h 1037303"/>
                  <a:gd name="connsiteX441" fmla="*/ 251285 w 849175"/>
                  <a:gd name="connsiteY441" fmla="*/ 707923 h 1037303"/>
                  <a:gd name="connsiteX442" fmla="*/ 243910 w 849175"/>
                  <a:gd name="connsiteY442" fmla="*/ 710381 h 1037303"/>
                  <a:gd name="connsiteX443" fmla="*/ 236536 w 849175"/>
                  <a:gd name="connsiteY443" fmla="*/ 715297 h 1037303"/>
                  <a:gd name="connsiteX444" fmla="*/ 224246 w 849175"/>
                  <a:gd name="connsiteY444" fmla="*/ 705465 h 1037303"/>
                  <a:gd name="connsiteX445" fmla="*/ 219330 w 849175"/>
                  <a:gd name="connsiteY445" fmla="*/ 698091 h 1037303"/>
                  <a:gd name="connsiteX446" fmla="*/ 204581 w 849175"/>
                  <a:gd name="connsiteY446" fmla="*/ 700549 h 1037303"/>
                  <a:gd name="connsiteX447" fmla="*/ 194749 w 849175"/>
                  <a:gd name="connsiteY447" fmla="*/ 722671 h 1037303"/>
                  <a:gd name="connsiteX448" fmla="*/ 180001 w 849175"/>
                  <a:gd name="connsiteY448" fmla="*/ 725129 h 1037303"/>
                  <a:gd name="connsiteX449" fmla="*/ 172627 w 849175"/>
                  <a:gd name="connsiteY449" fmla="*/ 698091 h 1037303"/>
                  <a:gd name="connsiteX450" fmla="*/ 165252 w 849175"/>
                  <a:gd name="connsiteY450" fmla="*/ 695632 h 1037303"/>
                  <a:gd name="connsiteX451" fmla="*/ 162794 w 849175"/>
                  <a:gd name="connsiteY451" fmla="*/ 703007 h 1037303"/>
                  <a:gd name="connsiteX452" fmla="*/ 155420 w 849175"/>
                  <a:gd name="connsiteY452" fmla="*/ 707923 h 1037303"/>
                  <a:gd name="connsiteX453" fmla="*/ 152962 w 849175"/>
                  <a:gd name="connsiteY453" fmla="*/ 683342 h 1037303"/>
                  <a:gd name="connsiteX454" fmla="*/ 148046 w 849175"/>
                  <a:gd name="connsiteY454" fmla="*/ 675968 h 1037303"/>
                  <a:gd name="connsiteX455" fmla="*/ 143130 w 849175"/>
                  <a:gd name="connsiteY455" fmla="*/ 683342 h 1037303"/>
                  <a:gd name="connsiteX456" fmla="*/ 135756 w 849175"/>
                  <a:gd name="connsiteY456" fmla="*/ 678426 h 1037303"/>
                  <a:gd name="connsiteX457" fmla="*/ 123465 w 849175"/>
                  <a:gd name="connsiteY457" fmla="*/ 671052 h 1037303"/>
                  <a:gd name="connsiteX458" fmla="*/ 106259 w 849175"/>
                  <a:gd name="connsiteY458" fmla="*/ 671052 h 1037303"/>
                  <a:gd name="connsiteX459" fmla="*/ 101343 w 849175"/>
                  <a:gd name="connsiteY459" fmla="*/ 663678 h 1037303"/>
                  <a:gd name="connsiteX460" fmla="*/ 108717 w 849175"/>
                  <a:gd name="connsiteY460" fmla="*/ 658761 h 1037303"/>
                  <a:gd name="connsiteX461" fmla="*/ 118549 w 849175"/>
                  <a:gd name="connsiteY461" fmla="*/ 656303 h 1037303"/>
                  <a:gd name="connsiteX462" fmla="*/ 128381 w 849175"/>
                  <a:gd name="connsiteY462" fmla="*/ 641555 h 1037303"/>
                  <a:gd name="connsiteX463" fmla="*/ 143130 w 849175"/>
                  <a:gd name="connsiteY463" fmla="*/ 636639 h 1037303"/>
                  <a:gd name="connsiteX464" fmla="*/ 145588 w 849175"/>
                  <a:gd name="connsiteY464" fmla="*/ 629265 h 1037303"/>
                  <a:gd name="connsiteX465" fmla="*/ 160336 w 849175"/>
                  <a:gd name="connsiteY465" fmla="*/ 634181 h 1037303"/>
                  <a:gd name="connsiteX466" fmla="*/ 162794 w 849175"/>
                  <a:gd name="connsiteY466" fmla="*/ 626807 h 1037303"/>
                  <a:gd name="connsiteX467" fmla="*/ 170168 w 849175"/>
                  <a:gd name="connsiteY467" fmla="*/ 619432 h 1037303"/>
                  <a:gd name="connsiteX468" fmla="*/ 165252 w 849175"/>
                  <a:gd name="connsiteY468" fmla="*/ 612058 h 1037303"/>
                  <a:gd name="connsiteX469" fmla="*/ 148046 w 849175"/>
                  <a:gd name="connsiteY469" fmla="*/ 604684 h 1037303"/>
                  <a:gd name="connsiteX470" fmla="*/ 128381 w 849175"/>
                  <a:gd name="connsiteY470" fmla="*/ 602226 h 1037303"/>
                  <a:gd name="connsiteX471" fmla="*/ 116091 w 849175"/>
                  <a:gd name="connsiteY471" fmla="*/ 592394 h 1037303"/>
                  <a:gd name="connsiteX472" fmla="*/ 113633 w 849175"/>
                  <a:gd name="connsiteY472" fmla="*/ 599768 h 1037303"/>
                  <a:gd name="connsiteX473" fmla="*/ 108717 w 849175"/>
                  <a:gd name="connsiteY473" fmla="*/ 607142 h 1037303"/>
                  <a:gd name="connsiteX474" fmla="*/ 74304 w 849175"/>
                  <a:gd name="connsiteY474" fmla="*/ 592394 h 1037303"/>
                  <a:gd name="connsiteX475" fmla="*/ 66930 w 849175"/>
                  <a:gd name="connsiteY475" fmla="*/ 587478 h 1037303"/>
                  <a:gd name="connsiteX476" fmla="*/ 62014 w 849175"/>
                  <a:gd name="connsiteY476" fmla="*/ 582561 h 1037303"/>
                  <a:gd name="connsiteX477" fmla="*/ 39891 w 849175"/>
                  <a:gd name="connsiteY477" fmla="*/ 565355 h 1037303"/>
                  <a:gd name="connsiteX478" fmla="*/ 34975 w 849175"/>
                  <a:gd name="connsiteY478" fmla="*/ 557981 h 1037303"/>
                  <a:gd name="connsiteX479" fmla="*/ 39891 w 849175"/>
                  <a:gd name="connsiteY479" fmla="*/ 550607 h 1037303"/>
                  <a:gd name="connsiteX480" fmla="*/ 37433 w 849175"/>
                  <a:gd name="connsiteY480" fmla="*/ 535858 h 1037303"/>
                  <a:gd name="connsiteX481" fmla="*/ 32517 w 849175"/>
                  <a:gd name="connsiteY481" fmla="*/ 528484 h 1037303"/>
                  <a:gd name="connsiteX482" fmla="*/ 10394 w 849175"/>
                  <a:gd name="connsiteY482" fmla="*/ 523568 h 1037303"/>
                  <a:gd name="connsiteX483" fmla="*/ 32517 w 849175"/>
                  <a:gd name="connsiteY483" fmla="*/ 540774 h 1037303"/>
                  <a:gd name="connsiteX0" fmla="*/ 32517 w 849175"/>
                  <a:gd name="connsiteY0" fmla="*/ 540774 h 1037303"/>
                  <a:gd name="connsiteX1" fmla="*/ 20227 w 849175"/>
                  <a:gd name="connsiteY1" fmla="*/ 521110 h 1037303"/>
                  <a:gd name="connsiteX2" fmla="*/ 15310 w 849175"/>
                  <a:gd name="connsiteY2" fmla="*/ 516194 h 1037303"/>
                  <a:gd name="connsiteX3" fmla="*/ 7936 w 849175"/>
                  <a:gd name="connsiteY3" fmla="*/ 513736 h 1037303"/>
                  <a:gd name="connsiteX4" fmla="*/ 562 w 849175"/>
                  <a:gd name="connsiteY4" fmla="*/ 508820 h 1037303"/>
                  <a:gd name="connsiteX5" fmla="*/ 12852 w 849175"/>
                  <a:gd name="connsiteY5" fmla="*/ 511278 h 1037303"/>
                  <a:gd name="connsiteX6" fmla="*/ 25143 w 849175"/>
                  <a:gd name="connsiteY6" fmla="*/ 508820 h 1037303"/>
                  <a:gd name="connsiteX7" fmla="*/ 34975 w 849175"/>
                  <a:gd name="connsiteY7" fmla="*/ 494071 h 1037303"/>
                  <a:gd name="connsiteX8" fmla="*/ 42349 w 849175"/>
                  <a:gd name="connsiteY8" fmla="*/ 479323 h 1037303"/>
                  <a:gd name="connsiteX9" fmla="*/ 34975 w 849175"/>
                  <a:gd name="connsiteY9" fmla="*/ 464574 h 1037303"/>
                  <a:gd name="connsiteX10" fmla="*/ 42349 w 849175"/>
                  <a:gd name="connsiteY10" fmla="*/ 467032 h 1037303"/>
                  <a:gd name="connsiteX11" fmla="*/ 39891 w 849175"/>
                  <a:gd name="connsiteY11" fmla="*/ 457200 h 1037303"/>
                  <a:gd name="connsiteX12" fmla="*/ 34975 w 849175"/>
                  <a:gd name="connsiteY12" fmla="*/ 449826 h 1037303"/>
                  <a:gd name="connsiteX13" fmla="*/ 42349 w 849175"/>
                  <a:gd name="connsiteY13" fmla="*/ 444910 h 1037303"/>
                  <a:gd name="connsiteX14" fmla="*/ 47265 w 849175"/>
                  <a:gd name="connsiteY14" fmla="*/ 437536 h 1037303"/>
                  <a:gd name="connsiteX15" fmla="*/ 54639 w 849175"/>
                  <a:gd name="connsiteY15" fmla="*/ 435078 h 1037303"/>
                  <a:gd name="connsiteX16" fmla="*/ 74304 w 849175"/>
                  <a:gd name="connsiteY16" fmla="*/ 430161 h 1037303"/>
                  <a:gd name="connsiteX17" fmla="*/ 76762 w 849175"/>
                  <a:gd name="connsiteY17" fmla="*/ 405581 h 1037303"/>
                  <a:gd name="connsiteX18" fmla="*/ 81678 w 849175"/>
                  <a:gd name="connsiteY18" fmla="*/ 398207 h 1037303"/>
                  <a:gd name="connsiteX19" fmla="*/ 86594 w 849175"/>
                  <a:gd name="connsiteY19" fmla="*/ 371168 h 1037303"/>
                  <a:gd name="connsiteX20" fmla="*/ 91510 w 849175"/>
                  <a:gd name="connsiteY20" fmla="*/ 363794 h 1037303"/>
                  <a:gd name="connsiteX21" fmla="*/ 98885 w 849175"/>
                  <a:gd name="connsiteY21" fmla="*/ 351503 h 1037303"/>
                  <a:gd name="connsiteX22" fmla="*/ 123465 w 849175"/>
                  <a:gd name="connsiteY22" fmla="*/ 344129 h 1037303"/>
                  <a:gd name="connsiteX23" fmla="*/ 116091 w 849175"/>
                  <a:gd name="connsiteY23" fmla="*/ 314632 h 1037303"/>
                  <a:gd name="connsiteX24" fmla="*/ 108717 w 849175"/>
                  <a:gd name="connsiteY24" fmla="*/ 309716 h 1037303"/>
                  <a:gd name="connsiteX25" fmla="*/ 106259 w 849175"/>
                  <a:gd name="connsiteY25" fmla="*/ 302342 h 1037303"/>
                  <a:gd name="connsiteX26" fmla="*/ 103801 w 849175"/>
                  <a:gd name="connsiteY26" fmla="*/ 282678 h 1037303"/>
                  <a:gd name="connsiteX27" fmla="*/ 111175 w 849175"/>
                  <a:gd name="connsiteY27" fmla="*/ 280220 h 1037303"/>
                  <a:gd name="connsiteX28" fmla="*/ 138214 w 849175"/>
                  <a:gd name="connsiteY28" fmla="*/ 282678 h 1037303"/>
                  <a:gd name="connsiteX29" fmla="*/ 150504 w 849175"/>
                  <a:gd name="connsiteY29" fmla="*/ 272845 h 1037303"/>
                  <a:gd name="connsiteX30" fmla="*/ 157878 w 849175"/>
                  <a:gd name="connsiteY30" fmla="*/ 270387 h 1037303"/>
                  <a:gd name="connsiteX31" fmla="*/ 175085 w 849175"/>
                  <a:gd name="connsiteY31" fmla="*/ 265471 h 1037303"/>
                  <a:gd name="connsiteX32" fmla="*/ 192291 w 849175"/>
                  <a:gd name="connsiteY32" fmla="*/ 267929 h 1037303"/>
                  <a:gd name="connsiteX33" fmla="*/ 204581 w 849175"/>
                  <a:gd name="connsiteY33" fmla="*/ 255639 h 1037303"/>
                  <a:gd name="connsiteX34" fmla="*/ 209498 w 849175"/>
                  <a:gd name="connsiteY34" fmla="*/ 250723 h 1037303"/>
                  <a:gd name="connsiteX35" fmla="*/ 219330 w 849175"/>
                  <a:gd name="connsiteY35" fmla="*/ 235974 h 1037303"/>
                  <a:gd name="connsiteX36" fmla="*/ 231620 w 849175"/>
                  <a:gd name="connsiteY36" fmla="*/ 221226 h 1037303"/>
                  <a:gd name="connsiteX37" fmla="*/ 234078 w 849175"/>
                  <a:gd name="connsiteY37" fmla="*/ 208936 h 1037303"/>
                  <a:gd name="connsiteX38" fmla="*/ 263575 w 849175"/>
                  <a:gd name="connsiteY38" fmla="*/ 213852 h 1037303"/>
                  <a:gd name="connsiteX39" fmla="*/ 273407 w 849175"/>
                  <a:gd name="connsiteY39" fmla="*/ 201561 h 1037303"/>
                  <a:gd name="connsiteX40" fmla="*/ 280781 w 849175"/>
                  <a:gd name="connsiteY40" fmla="*/ 199103 h 1037303"/>
                  <a:gd name="connsiteX41" fmla="*/ 297988 w 849175"/>
                  <a:gd name="connsiteY41" fmla="*/ 201561 h 1037303"/>
                  <a:gd name="connsiteX42" fmla="*/ 312736 w 849175"/>
                  <a:gd name="connsiteY42" fmla="*/ 204020 h 1037303"/>
                  <a:gd name="connsiteX43" fmla="*/ 315194 w 849175"/>
                  <a:gd name="connsiteY43" fmla="*/ 196645 h 1037303"/>
                  <a:gd name="connsiteX44" fmla="*/ 329943 w 849175"/>
                  <a:gd name="connsiteY44" fmla="*/ 196645 h 1037303"/>
                  <a:gd name="connsiteX45" fmla="*/ 329943 w 849175"/>
                  <a:gd name="connsiteY45" fmla="*/ 164691 h 1037303"/>
                  <a:gd name="connsiteX46" fmla="*/ 334859 w 849175"/>
                  <a:gd name="connsiteY46" fmla="*/ 159774 h 1037303"/>
                  <a:gd name="connsiteX47" fmla="*/ 347149 w 849175"/>
                  <a:gd name="connsiteY47" fmla="*/ 162232 h 1037303"/>
                  <a:gd name="connsiteX48" fmla="*/ 366814 w 849175"/>
                  <a:gd name="connsiteY48" fmla="*/ 159774 h 1037303"/>
                  <a:gd name="connsiteX49" fmla="*/ 388936 w 849175"/>
                  <a:gd name="connsiteY49" fmla="*/ 157316 h 1037303"/>
                  <a:gd name="connsiteX50" fmla="*/ 396310 w 849175"/>
                  <a:gd name="connsiteY50" fmla="*/ 152400 h 1037303"/>
                  <a:gd name="connsiteX51" fmla="*/ 408601 w 849175"/>
                  <a:gd name="connsiteY51" fmla="*/ 142568 h 1037303"/>
                  <a:gd name="connsiteX52" fmla="*/ 447930 w 849175"/>
                  <a:gd name="connsiteY52" fmla="*/ 140110 h 1037303"/>
                  <a:gd name="connsiteX53" fmla="*/ 462678 w 849175"/>
                  <a:gd name="connsiteY53" fmla="*/ 130278 h 1037303"/>
                  <a:gd name="connsiteX54" fmla="*/ 472510 w 849175"/>
                  <a:gd name="connsiteY54" fmla="*/ 120445 h 1037303"/>
                  <a:gd name="connsiteX55" fmla="*/ 484801 w 849175"/>
                  <a:gd name="connsiteY55" fmla="*/ 110613 h 1037303"/>
                  <a:gd name="connsiteX56" fmla="*/ 492175 w 849175"/>
                  <a:gd name="connsiteY56" fmla="*/ 108155 h 1037303"/>
                  <a:gd name="connsiteX57" fmla="*/ 494633 w 849175"/>
                  <a:gd name="connsiteY57" fmla="*/ 100781 h 1037303"/>
                  <a:gd name="connsiteX58" fmla="*/ 497091 w 849175"/>
                  <a:gd name="connsiteY58" fmla="*/ 90949 h 1037303"/>
                  <a:gd name="connsiteX59" fmla="*/ 504465 w 849175"/>
                  <a:gd name="connsiteY59" fmla="*/ 93407 h 1037303"/>
                  <a:gd name="connsiteX60" fmla="*/ 519214 w 849175"/>
                  <a:gd name="connsiteY60" fmla="*/ 83574 h 1037303"/>
                  <a:gd name="connsiteX61" fmla="*/ 526588 w 849175"/>
                  <a:gd name="connsiteY61" fmla="*/ 78658 h 1037303"/>
                  <a:gd name="connsiteX62" fmla="*/ 533962 w 849175"/>
                  <a:gd name="connsiteY62" fmla="*/ 78658 h 1037303"/>
                  <a:gd name="connsiteX63" fmla="*/ 541336 w 849175"/>
                  <a:gd name="connsiteY63" fmla="*/ 76200 h 1037303"/>
                  <a:gd name="connsiteX64" fmla="*/ 548710 w 849175"/>
                  <a:gd name="connsiteY64" fmla="*/ 81116 h 1037303"/>
                  <a:gd name="connsiteX65" fmla="*/ 556085 w 849175"/>
                  <a:gd name="connsiteY65" fmla="*/ 83574 h 1037303"/>
                  <a:gd name="connsiteX66" fmla="*/ 558543 w 849175"/>
                  <a:gd name="connsiteY66" fmla="*/ 90949 h 1037303"/>
                  <a:gd name="connsiteX67" fmla="*/ 565917 w 849175"/>
                  <a:gd name="connsiteY67" fmla="*/ 88491 h 1037303"/>
                  <a:gd name="connsiteX68" fmla="*/ 578207 w 849175"/>
                  <a:gd name="connsiteY68" fmla="*/ 100781 h 1037303"/>
                  <a:gd name="connsiteX69" fmla="*/ 585581 w 849175"/>
                  <a:gd name="connsiteY69" fmla="*/ 105697 h 1037303"/>
                  <a:gd name="connsiteX70" fmla="*/ 592956 w 849175"/>
                  <a:gd name="connsiteY70" fmla="*/ 103239 h 1037303"/>
                  <a:gd name="connsiteX71" fmla="*/ 607704 w 849175"/>
                  <a:gd name="connsiteY71" fmla="*/ 108155 h 1037303"/>
                  <a:gd name="connsiteX72" fmla="*/ 615078 w 849175"/>
                  <a:gd name="connsiteY72" fmla="*/ 105697 h 1037303"/>
                  <a:gd name="connsiteX73" fmla="*/ 627368 w 849175"/>
                  <a:gd name="connsiteY73" fmla="*/ 110613 h 1037303"/>
                  <a:gd name="connsiteX74" fmla="*/ 654407 w 849175"/>
                  <a:gd name="connsiteY74" fmla="*/ 115529 h 1037303"/>
                  <a:gd name="connsiteX75" fmla="*/ 661781 w 849175"/>
                  <a:gd name="connsiteY75" fmla="*/ 120445 h 1037303"/>
                  <a:gd name="connsiteX76" fmla="*/ 669156 w 849175"/>
                  <a:gd name="connsiteY76" fmla="*/ 117987 h 1037303"/>
                  <a:gd name="connsiteX77" fmla="*/ 678988 w 849175"/>
                  <a:gd name="connsiteY77" fmla="*/ 110613 h 1037303"/>
                  <a:gd name="connsiteX78" fmla="*/ 691278 w 849175"/>
                  <a:gd name="connsiteY78" fmla="*/ 108155 h 1037303"/>
                  <a:gd name="connsiteX79" fmla="*/ 706027 w 849175"/>
                  <a:gd name="connsiteY79" fmla="*/ 100781 h 1037303"/>
                  <a:gd name="connsiteX80" fmla="*/ 718317 w 849175"/>
                  <a:gd name="connsiteY80" fmla="*/ 103239 h 1037303"/>
                  <a:gd name="connsiteX81" fmla="*/ 725691 w 849175"/>
                  <a:gd name="connsiteY81" fmla="*/ 105697 h 1037303"/>
                  <a:gd name="connsiteX82" fmla="*/ 728149 w 849175"/>
                  <a:gd name="connsiteY82" fmla="*/ 98323 h 1037303"/>
                  <a:gd name="connsiteX83" fmla="*/ 742898 w 849175"/>
                  <a:gd name="connsiteY83" fmla="*/ 90949 h 1037303"/>
                  <a:gd name="connsiteX84" fmla="*/ 745356 w 849175"/>
                  <a:gd name="connsiteY84" fmla="*/ 83574 h 1037303"/>
                  <a:gd name="connsiteX85" fmla="*/ 750272 w 849175"/>
                  <a:gd name="connsiteY85" fmla="*/ 88491 h 1037303"/>
                  <a:gd name="connsiteX86" fmla="*/ 757646 w 849175"/>
                  <a:gd name="connsiteY86" fmla="*/ 93407 h 1037303"/>
                  <a:gd name="connsiteX87" fmla="*/ 769936 w 849175"/>
                  <a:gd name="connsiteY87" fmla="*/ 90949 h 1037303"/>
                  <a:gd name="connsiteX88" fmla="*/ 777310 w 849175"/>
                  <a:gd name="connsiteY88" fmla="*/ 73742 h 1037303"/>
                  <a:gd name="connsiteX89" fmla="*/ 782227 w 849175"/>
                  <a:gd name="connsiteY89" fmla="*/ 68826 h 1037303"/>
                  <a:gd name="connsiteX90" fmla="*/ 779768 w 849175"/>
                  <a:gd name="connsiteY90" fmla="*/ 61452 h 1037303"/>
                  <a:gd name="connsiteX91" fmla="*/ 777310 w 849175"/>
                  <a:gd name="connsiteY91" fmla="*/ 51620 h 1037303"/>
                  <a:gd name="connsiteX92" fmla="*/ 772394 w 849175"/>
                  <a:gd name="connsiteY92" fmla="*/ 46703 h 1037303"/>
                  <a:gd name="connsiteX93" fmla="*/ 769936 w 849175"/>
                  <a:gd name="connsiteY93" fmla="*/ 39329 h 1037303"/>
                  <a:gd name="connsiteX94" fmla="*/ 767478 w 849175"/>
                  <a:gd name="connsiteY94" fmla="*/ 27039 h 1037303"/>
                  <a:gd name="connsiteX95" fmla="*/ 760104 w 849175"/>
                  <a:gd name="connsiteY95" fmla="*/ 24581 h 1037303"/>
                  <a:gd name="connsiteX96" fmla="*/ 757646 w 849175"/>
                  <a:gd name="connsiteY96" fmla="*/ 9832 h 1037303"/>
                  <a:gd name="connsiteX97" fmla="*/ 765020 w 849175"/>
                  <a:gd name="connsiteY97" fmla="*/ 4916 h 1037303"/>
                  <a:gd name="connsiteX98" fmla="*/ 779768 w 849175"/>
                  <a:gd name="connsiteY98" fmla="*/ 0 h 1037303"/>
                  <a:gd name="connsiteX99" fmla="*/ 804349 w 849175"/>
                  <a:gd name="connsiteY99" fmla="*/ 2458 h 1037303"/>
                  <a:gd name="connsiteX100" fmla="*/ 819098 w 849175"/>
                  <a:gd name="connsiteY100" fmla="*/ 9832 h 1037303"/>
                  <a:gd name="connsiteX101" fmla="*/ 826472 w 849175"/>
                  <a:gd name="connsiteY101" fmla="*/ 12291 h 1037303"/>
                  <a:gd name="connsiteX102" fmla="*/ 841220 w 849175"/>
                  <a:gd name="connsiteY102" fmla="*/ 27039 h 1037303"/>
                  <a:gd name="connsiteX103" fmla="*/ 843678 w 849175"/>
                  <a:gd name="connsiteY103" fmla="*/ 34413 h 1037303"/>
                  <a:gd name="connsiteX104" fmla="*/ 848594 w 849175"/>
                  <a:gd name="connsiteY104" fmla="*/ 41787 h 1037303"/>
                  <a:gd name="connsiteX105" fmla="*/ 828930 w 849175"/>
                  <a:gd name="connsiteY105" fmla="*/ 68826 h 1037303"/>
                  <a:gd name="connsiteX106" fmla="*/ 826472 w 849175"/>
                  <a:gd name="connsiteY106" fmla="*/ 76200 h 1037303"/>
                  <a:gd name="connsiteX107" fmla="*/ 816639 w 849175"/>
                  <a:gd name="connsiteY107" fmla="*/ 78658 h 1037303"/>
                  <a:gd name="connsiteX108" fmla="*/ 811723 w 849175"/>
                  <a:gd name="connsiteY108" fmla="*/ 86032 h 1037303"/>
                  <a:gd name="connsiteX109" fmla="*/ 814181 w 849175"/>
                  <a:gd name="connsiteY109" fmla="*/ 95865 h 1037303"/>
                  <a:gd name="connsiteX110" fmla="*/ 816639 w 849175"/>
                  <a:gd name="connsiteY110" fmla="*/ 103239 h 1037303"/>
                  <a:gd name="connsiteX111" fmla="*/ 821556 w 849175"/>
                  <a:gd name="connsiteY111" fmla="*/ 108155 h 1037303"/>
                  <a:gd name="connsiteX112" fmla="*/ 826472 w 849175"/>
                  <a:gd name="connsiteY112" fmla="*/ 115529 h 1037303"/>
                  <a:gd name="connsiteX113" fmla="*/ 821556 w 849175"/>
                  <a:gd name="connsiteY113" fmla="*/ 125361 h 1037303"/>
                  <a:gd name="connsiteX114" fmla="*/ 816639 w 849175"/>
                  <a:gd name="connsiteY114" fmla="*/ 130278 h 1037303"/>
                  <a:gd name="connsiteX115" fmla="*/ 819098 w 849175"/>
                  <a:gd name="connsiteY115" fmla="*/ 137652 h 1037303"/>
                  <a:gd name="connsiteX116" fmla="*/ 799433 w 849175"/>
                  <a:gd name="connsiteY116" fmla="*/ 154858 h 1037303"/>
                  <a:gd name="connsiteX117" fmla="*/ 794517 w 849175"/>
                  <a:gd name="connsiteY117" fmla="*/ 162232 h 1037303"/>
                  <a:gd name="connsiteX118" fmla="*/ 801891 w 849175"/>
                  <a:gd name="connsiteY118" fmla="*/ 167149 h 1037303"/>
                  <a:gd name="connsiteX119" fmla="*/ 796975 w 849175"/>
                  <a:gd name="connsiteY119" fmla="*/ 174523 h 1037303"/>
                  <a:gd name="connsiteX120" fmla="*/ 792059 w 849175"/>
                  <a:gd name="connsiteY120" fmla="*/ 184355 h 1037303"/>
                  <a:gd name="connsiteX121" fmla="*/ 787143 w 849175"/>
                  <a:gd name="connsiteY121" fmla="*/ 176981 h 1037303"/>
                  <a:gd name="connsiteX122" fmla="*/ 772394 w 849175"/>
                  <a:gd name="connsiteY122" fmla="*/ 169607 h 1037303"/>
                  <a:gd name="connsiteX123" fmla="*/ 765020 w 849175"/>
                  <a:gd name="connsiteY123" fmla="*/ 164691 h 1037303"/>
                  <a:gd name="connsiteX124" fmla="*/ 715859 w 849175"/>
                  <a:gd name="connsiteY124" fmla="*/ 159774 h 1037303"/>
                  <a:gd name="connsiteX125" fmla="*/ 701110 w 849175"/>
                  <a:gd name="connsiteY125" fmla="*/ 152400 h 1037303"/>
                  <a:gd name="connsiteX126" fmla="*/ 693736 w 849175"/>
                  <a:gd name="connsiteY126" fmla="*/ 154858 h 1037303"/>
                  <a:gd name="connsiteX127" fmla="*/ 678988 w 849175"/>
                  <a:gd name="connsiteY127" fmla="*/ 157316 h 1037303"/>
                  <a:gd name="connsiteX128" fmla="*/ 669156 w 849175"/>
                  <a:gd name="connsiteY128" fmla="*/ 154858 h 1037303"/>
                  <a:gd name="connsiteX129" fmla="*/ 661781 w 849175"/>
                  <a:gd name="connsiteY129" fmla="*/ 152400 h 1037303"/>
                  <a:gd name="connsiteX130" fmla="*/ 654407 w 849175"/>
                  <a:gd name="connsiteY130" fmla="*/ 159774 h 1037303"/>
                  <a:gd name="connsiteX131" fmla="*/ 637201 w 849175"/>
                  <a:gd name="connsiteY131" fmla="*/ 167149 h 1037303"/>
                  <a:gd name="connsiteX132" fmla="*/ 632285 w 849175"/>
                  <a:gd name="connsiteY132" fmla="*/ 184355 h 1037303"/>
                  <a:gd name="connsiteX133" fmla="*/ 624910 w 849175"/>
                  <a:gd name="connsiteY133" fmla="*/ 186813 h 1037303"/>
                  <a:gd name="connsiteX134" fmla="*/ 602788 w 849175"/>
                  <a:gd name="connsiteY134" fmla="*/ 199103 h 1037303"/>
                  <a:gd name="connsiteX135" fmla="*/ 553627 w 849175"/>
                  <a:gd name="connsiteY135" fmla="*/ 196645 h 1037303"/>
                  <a:gd name="connsiteX136" fmla="*/ 548710 w 849175"/>
                  <a:gd name="connsiteY136" fmla="*/ 201561 h 1037303"/>
                  <a:gd name="connsiteX137" fmla="*/ 543794 w 849175"/>
                  <a:gd name="connsiteY137" fmla="*/ 216310 h 1037303"/>
                  <a:gd name="connsiteX138" fmla="*/ 538878 w 849175"/>
                  <a:gd name="connsiteY138" fmla="*/ 228600 h 1037303"/>
                  <a:gd name="connsiteX139" fmla="*/ 506923 w 849175"/>
                  <a:gd name="connsiteY139" fmla="*/ 238432 h 1037303"/>
                  <a:gd name="connsiteX140" fmla="*/ 497091 w 849175"/>
                  <a:gd name="connsiteY140" fmla="*/ 240891 h 1037303"/>
                  <a:gd name="connsiteX141" fmla="*/ 479885 w 849175"/>
                  <a:gd name="connsiteY141" fmla="*/ 243349 h 1037303"/>
                  <a:gd name="connsiteX142" fmla="*/ 482343 w 849175"/>
                  <a:gd name="connsiteY142" fmla="*/ 258097 h 1037303"/>
                  <a:gd name="connsiteX143" fmla="*/ 487259 w 849175"/>
                  <a:gd name="connsiteY143" fmla="*/ 265471 h 1037303"/>
                  <a:gd name="connsiteX144" fmla="*/ 484801 w 849175"/>
                  <a:gd name="connsiteY144" fmla="*/ 275303 h 1037303"/>
                  <a:gd name="connsiteX145" fmla="*/ 497091 w 849175"/>
                  <a:gd name="connsiteY145" fmla="*/ 287594 h 1037303"/>
                  <a:gd name="connsiteX146" fmla="*/ 570833 w 849175"/>
                  <a:gd name="connsiteY146" fmla="*/ 299884 h 1037303"/>
                  <a:gd name="connsiteX147" fmla="*/ 573291 w 849175"/>
                  <a:gd name="connsiteY147" fmla="*/ 307258 h 1037303"/>
                  <a:gd name="connsiteX148" fmla="*/ 585581 w 849175"/>
                  <a:gd name="connsiteY148" fmla="*/ 317091 h 1037303"/>
                  <a:gd name="connsiteX149" fmla="*/ 595414 w 849175"/>
                  <a:gd name="connsiteY149" fmla="*/ 329381 h 1037303"/>
                  <a:gd name="connsiteX150" fmla="*/ 588039 w 849175"/>
                  <a:gd name="connsiteY150" fmla="*/ 331839 h 1037303"/>
                  <a:gd name="connsiteX151" fmla="*/ 580665 w 849175"/>
                  <a:gd name="connsiteY151" fmla="*/ 326923 h 1037303"/>
                  <a:gd name="connsiteX152" fmla="*/ 570833 w 849175"/>
                  <a:gd name="connsiteY152" fmla="*/ 324465 h 1037303"/>
                  <a:gd name="connsiteX153" fmla="*/ 553627 w 849175"/>
                  <a:gd name="connsiteY153" fmla="*/ 319549 h 1037303"/>
                  <a:gd name="connsiteX154" fmla="*/ 546252 w 849175"/>
                  <a:gd name="connsiteY154" fmla="*/ 314632 h 1037303"/>
                  <a:gd name="connsiteX155" fmla="*/ 538878 w 849175"/>
                  <a:gd name="connsiteY155" fmla="*/ 307258 h 1037303"/>
                  <a:gd name="connsiteX156" fmla="*/ 504465 w 849175"/>
                  <a:gd name="connsiteY156" fmla="*/ 309716 h 1037303"/>
                  <a:gd name="connsiteX157" fmla="*/ 502007 w 849175"/>
                  <a:gd name="connsiteY157" fmla="*/ 322007 h 1037303"/>
                  <a:gd name="connsiteX158" fmla="*/ 502007 w 849175"/>
                  <a:gd name="connsiteY158" fmla="*/ 339213 h 1037303"/>
                  <a:gd name="connsiteX159" fmla="*/ 514298 w 849175"/>
                  <a:gd name="connsiteY159" fmla="*/ 341671 h 1037303"/>
                  <a:gd name="connsiteX160" fmla="*/ 529046 w 849175"/>
                  <a:gd name="connsiteY160" fmla="*/ 349045 h 1037303"/>
                  <a:gd name="connsiteX161" fmla="*/ 536420 w 849175"/>
                  <a:gd name="connsiteY161" fmla="*/ 351503 h 1037303"/>
                  <a:gd name="connsiteX162" fmla="*/ 538878 w 849175"/>
                  <a:gd name="connsiteY162" fmla="*/ 381000 h 1037303"/>
                  <a:gd name="connsiteX163" fmla="*/ 526588 w 849175"/>
                  <a:gd name="connsiteY163" fmla="*/ 378542 h 1037303"/>
                  <a:gd name="connsiteX164" fmla="*/ 521672 w 849175"/>
                  <a:gd name="connsiteY164" fmla="*/ 371168 h 1037303"/>
                  <a:gd name="connsiteX165" fmla="*/ 514298 w 849175"/>
                  <a:gd name="connsiteY165" fmla="*/ 363794 h 1037303"/>
                  <a:gd name="connsiteX166" fmla="*/ 509381 w 849175"/>
                  <a:gd name="connsiteY166" fmla="*/ 356420 h 1037303"/>
                  <a:gd name="connsiteX167" fmla="*/ 489717 w 849175"/>
                  <a:gd name="connsiteY167" fmla="*/ 341671 h 1037303"/>
                  <a:gd name="connsiteX168" fmla="*/ 474968 w 849175"/>
                  <a:gd name="connsiteY168" fmla="*/ 331839 h 1037303"/>
                  <a:gd name="connsiteX169" fmla="*/ 467594 w 849175"/>
                  <a:gd name="connsiteY169" fmla="*/ 329381 h 1037303"/>
                  <a:gd name="connsiteX170" fmla="*/ 460220 w 849175"/>
                  <a:gd name="connsiteY170" fmla="*/ 331839 h 1037303"/>
                  <a:gd name="connsiteX171" fmla="*/ 450388 w 849175"/>
                  <a:gd name="connsiteY171" fmla="*/ 334297 h 1037303"/>
                  <a:gd name="connsiteX172" fmla="*/ 445472 w 849175"/>
                  <a:gd name="connsiteY172" fmla="*/ 341671 h 1037303"/>
                  <a:gd name="connsiteX173" fmla="*/ 447930 w 849175"/>
                  <a:gd name="connsiteY173" fmla="*/ 358878 h 1037303"/>
                  <a:gd name="connsiteX174" fmla="*/ 455304 w 849175"/>
                  <a:gd name="connsiteY174" fmla="*/ 368710 h 1037303"/>
                  <a:gd name="connsiteX175" fmla="*/ 470052 w 849175"/>
                  <a:gd name="connsiteY175" fmla="*/ 378542 h 1037303"/>
                  <a:gd name="connsiteX176" fmla="*/ 487259 w 849175"/>
                  <a:gd name="connsiteY176" fmla="*/ 383458 h 1037303"/>
                  <a:gd name="connsiteX177" fmla="*/ 494633 w 849175"/>
                  <a:gd name="connsiteY177" fmla="*/ 385916 h 1037303"/>
                  <a:gd name="connsiteX178" fmla="*/ 497091 w 849175"/>
                  <a:gd name="connsiteY178" fmla="*/ 393291 h 1037303"/>
                  <a:gd name="connsiteX179" fmla="*/ 477427 w 849175"/>
                  <a:gd name="connsiteY179" fmla="*/ 388374 h 1037303"/>
                  <a:gd name="connsiteX180" fmla="*/ 455304 w 849175"/>
                  <a:gd name="connsiteY180" fmla="*/ 385916 h 1037303"/>
                  <a:gd name="connsiteX181" fmla="*/ 440556 w 849175"/>
                  <a:gd name="connsiteY181" fmla="*/ 371168 h 1037303"/>
                  <a:gd name="connsiteX182" fmla="*/ 435639 w 849175"/>
                  <a:gd name="connsiteY182" fmla="*/ 366252 h 1037303"/>
                  <a:gd name="connsiteX183" fmla="*/ 428265 w 849175"/>
                  <a:gd name="connsiteY183" fmla="*/ 363794 h 1037303"/>
                  <a:gd name="connsiteX184" fmla="*/ 420891 w 849175"/>
                  <a:gd name="connsiteY184" fmla="*/ 351503 h 1037303"/>
                  <a:gd name="connsiteX185" fmla="*/ 413517 w 849175"/>
                  <a:gd name="connsiteY185" fmla="*/ 344129 h 1037303"/>
                  <a:gd name="connsiteX186" fmla="*/ 411059 w 849175"/>
                  <a:gd name="connsiteY186" fmla="*/ 336755 h 1037303"/>
                  <a:gd name="connsiteX187" fmla="*/ 403685 w 849175"/>
                  <a:gd name="connsiteY187" fmla="*/ 331839 h 1037303"/>
                  <a:gd name="connsiteX188" fmla="*/ 361898 w 849175"/>
                  <a:gd name="connsiteY188" fmla="*/ 324465 h 1037303"/>
                  <a:gd name="connsiteX189" fmla="*/ 364356 w 849175"/>
                  <a:gd name="connsiteY189" fmla="*/ 299884 h 1037303"/>
                  <a:gd name="connsiteX190" fmla="*/ 371730 w 849175"/>
                  <a:gd name="connsiteY190" fmla="*/ 297426 h 1037303"/>
                  <a:gd name="connsiteX191" fmla="*/ 376646 w 849175"/>
                  <a:gd name="connsiteY191" fmla="*/ 290052 h 1037303"/>
                  <a:gd name="connsiteX192" fmla="*/ 371730 w 849175"/>
                  <a:gd name="connsiteY192" fmla="*/ 282678 h 1037303"/>
                  <a:gd name="connsiteX193" fmla="*/ 356981 w 849175"/>
                  <a:gd name="connsiteY193" fmla="*/ 285136 h 1037303"/>
                  <a:gd name="connsiteX194" fmla="*/ 361898 w 849175"/>
                  <a:gd name="connsiteY194" fmla="*/ 299884 h 1037303"/>
                  <a:gd name="connsiteX195" fmla="*/ 356981 w 849175"/>
                  <a:gd name="connsiteY195" fmla="*/ 304800 h 1037303"/>
                  <a:gd name="connsiteX196" fmla="*/ 347149 w 849175"/>
                  <a:gd name="connsiteY196" fmla="*/ 307258 h 1037303"/>
                  <a:gd name="connsiteX197" fmla="*/ 339775 w 849175"/>
                  <a:gd name="connsiteY197" fmla="*/ 309716 h 1037303"/>
                  <a:gd name="connsiteX198" fmla="*/ 332401 w 849175"/>
                  <a:gd name="connsiteY198" fmla="*/ 314632 h 1037303"/>
                  <a:gd name="connsiteX199" fmla="*/ 334859 w 849175"/>
                  <a:gd name="connsiteY199" fmla="*/ 329381 h 1037303"/>
                  <a:gd name="connsiteX200" fmla="*/ 337317 w 849175"/>
                  <a:gd name="connsiteY200" fmla="*/ 336755 h 1037303"/>
                  <a:gd name="connsiteX201" fmla="*/ 332401 w 849175"/>
                  <a:gd name="connsiteY201" fmla="*/ 381000 h 1037303"/>
                  <a:gd name="connsiteX202" fmla="*/ 334859 w 849175"/>
                  <a:gd name="connsiteY202" fmla="*/ 390832 h 1037303"/>
                  <a:gd name="connsiteX203" fmla="*/ 342233 w 849175"/>
                  <a:gd name="connsiteY203" fmla="*/ 395749 h 1037303"/>
                  <a:gd name="connsiteX204" fmla="*/ 354523 w 849175"/>
                  <a:gd name="connsiteY204" fmla="*/ 408039 h 1037303"/>
                  <a:gd name="connsiteX205" fmla="*/ 364356 w 849175"/>
                  <a:gd name="connsiteY205" fmla="*/ 422787 h 1037303"/>
                  <a:gd name="connsiteX206" fmla="*/ 366814 w 849175"/>
                  <a:gd name="connsiteY206" fmla="*/ 430161 h 1037303"/>
                  <a:gd name="connsiteX207" fmla="*/ 381562 w 849175"/>
                  <a:gd name="connsiteY207" fmla="*/ 439994 h 1037303"/>
                  <a:gd name="connsiteX208" fmla="*/ 398768 w 849175"/>
                  <a:gd name="connsiteY208" fmla="*/ 457200 h 1037303"/>
                  <a:gd name="connsiteX209" fmla="*/ 406143 w 849175"/>
                  <a:gd name="connsiteY209" fmla="*/ 471949 h 1037303"/>
                  <a:gd name="connsiteX210" fmla="*/ 411059 w 849175"/>
                  <a:gd name="connsiteY210" fmla="*/ 479323 h 1037303"/>
                  <a:gd name="connsiteX211" fmla="*/ 418433 w 849175"/>
                  <a:gd name="connsiteY211" fmla="*/ 494071 h 1037303"/>
                  <a:gd name="connsiteX212" fmla="*/ 440556 w 849175"/>
                  <a:gd name="connsiteY212" fmla="*/ 496529 h 1037303"/>
                  <a:gd name="connsiteX213" fmla="*/ 455304 w 849175"/>
                  <a:gd name="connsiteY213" fmla="*/ 508820 h 1037303"/>
                  <a:gd name="connsiteX214" fmla="*/ 457762 w 849175"/>
                  <a:gd name="connsiteY214" fmla="*/ 516194 h 1037303"/>
                  <a:gd name="connsiteX215" fmla="*/ 455304 w 849175"/>
                  <a:gd name="connsiteY215" fmla="*/ 533400 h 1037303"/>
                  <a:gd name="connsiteX216" fmla="*/ 447930 w 849175"/>
                  <a:gd name="connsiteY216" fmla="*/ 538316 h 1037303"/>
                  <a:gd name="connsiteX217" fmla="*/ 445472 w 849175"/>
                  <a:gd name="connsiteY217" fmla="*/ 523568 h 1037303"/>
                  <a:gd name="connsiteX218" fmla="*/ 435639 w 849175"/>
                  <a:gd name="connsiteY218" fmla="*/ 511278 h 1037303"/>
                  <a:gd name="connsiteX219" fmla="*/ 406143 w 849175"/>
                  <a:gd name="connsiteY219" fmla="*/ 513736 h 1037303"/>
                  <a:gd name="connsiteX220" fmla="*/ 391394 w 849175"/>
                  <a:gd name="connsiteY220" fmla="*/ 523568 h 1037303"/>
                  <a:gd name="connsiteX221" fmla="*/ 396310 w 849175"/>
                  <a:gd name="connsiteY221" fmla="*/ 538316 h 1037303"/>
                  <a:gd name="connsiteX222" fmla="*/ 403685 w 849175"/>
                  <a:gd name="connsiteY222" fmla="*/ 543232 h 1037303"/>
                  <a:gd name="connsiteX223" fmla="*/ 413517 w 849175"/>
                  <a:gd name="connsiteY223" fmla="*/ 545691 h 1037303"/>
                  <a:gd name="connsiteX224" fmla="*/ 420891 w 849175"/>
                  <a:gd name="connsiteY224" fmla="*/ 548149 h 1037303"/>
                  <a:gd name="connsiteX225" fmla="*/ 428265 w 849175"/>
                  <a:gd name="connsiteY225" fmla="*/ 557981 h 1037303"/>
                  <a:gd name="connsiteX226" fmla="*/ 435639 w 849175"/>
                  <a:gd name="connsiteY226" fmla="*/ 560439 h 1037303"/>
                  <a:gd name="connsiteX227" fmla="*/ 433181 w 849175"/>
                  <a:gd name="connsiteY227" fmla="*/ 575187 h 1037303"/>
                  <a:gd name="connsiteX228" fmla="*/ 418433 w 849175"/>
                  <a:gd name="connsiteY228" fmla="*/ 580103 h 1037303"/>
                  <a:gd name="connsiteX229" fmla="*/ 411059 w 849175"/>
                  <a:gd name="connsiteY229" fmla="*/ 585020 h 1037303"/>
                  <a:gd name="connsiteX230" fmla="*/ 391394 w 849175"/>
                  <a:gd name="connsiteY230" fmla="*/ 589936 h 1037303"/>
                  <a:gd name="connsiteX231" fmla="*/ 371730 w 849175"/>
                  <a:gd name="connsiteY231" fmla="*/ 594852 h 1037303"/>
                  <a:gd name="connsiteX232" fmla="*/ 369272 w 849175"/>
                  <a:gd name="connsiteY232" fmla="*/ 602226 h 1037303"/>
                  <a:gd name="connsiteX233" fmla="*/ 393852 w 849175"/>
                  <a:gd name="connsiteY233" fmla="*/ 612058 h 1037303"/>
                  <a:gd name="connsiteX234" fmla="*/ 403685 w 849175"/>
                  <a:gd name="connsiteY234" fmla="*/ 614516 h 1037303"/>
                  <a:gd name="connsiteX235" fmla="*/ 411059 w 849175"/>
                  <a:gd name="connsiteY235" fmla="*/ 616974 h 1037303"/>
                  <a:gd name="connsiteX236" fmla="*/ 428265 w 849175"/>
                  <a:gd name="connsiteY236" fmla="*/ 619432 h 1037303"/>
                  <a:gd name="connsiteX237" fmla="*/ 435639 w 849175"/>
                  <a:gd name="connsiteY237" fmla="*/ 634181 h 1037303"/>
                  <a:gd name="connsiteX238" fmla="*/ 443014 w 849175"/>
                  <a:gd name="connsiteY238" fmla="*/ 636639 h 1037303"/>
                  <a:gd name="connsiteX239" fmla="*/ 474968 w 849175"/>
                  <a:gd name="connsiteY239" fmla="*/ 644013 h 1037303"/>
                  <a:gd name="connsiteX240" fmla="*/ 514298 w 849175"/>
                  <a:gd name="connsiteY240" fmla="*/ 648929 h 1037303"/>
                  <a:gd name="connsiteX241" fmla="*/ 516756 w 849175"/>
                  <a:gd name="connsiteY241" fmla="*/ 639097 h 1037303"/>
                  <a:gd name="connsiteX242" fmla="*/ 514298 w 849175"/>
                  <a:gd name="connsiteY242" fmla="*/ 626807 h 1037303"/>
                  <a:gd name="connsiteX243" fmla="*/ 499549 w 849175"/>
                  <a:gd name="connsiteY243" fmla="*/ 621891 h 1037303"/>
                  <a:gd name="connsiteX244" fmla="*/ 494633 w 849175"/>
                  <a:gd name="connsiteY244" fmla="*/ 616974 h 1037303"/>
                  <a:gd name="connsiteX245" fmla="*/ 484801 w 849175"/>
                  <a:gd name="connsiteY245" fmla="*/ 602226 h 1037303"/>
                  <a:gd name="connsiteX246" fmla="*/ 474968 w 849175"/>
                  <a:gd name="connsiteY246" fmla="*/ 599768 h 1037303"/>
                  <a:gd name="connsiteX247" fmla="*/ 467594 w 849175"/>
                  <a:gd name="connsiteY247" fmla="*/ 594852 h 1037303"/>
                  <a:gd name="connsiteX248" fmla="*/ 440556 w 849175"/>
                  <a:gd name="connsiteY248" fmla="*/ 592394 h 1037303"/>
                  <a:gd name="connsiteX249" fmla="*/ 430723 w 849175"/>
                  <a:gd name="connsiteY249" fmla="*/ 589936 h 1037303"/>
                  <a:gd name="connsiteX250" fmla="*/ 423349 w 849175"/>
                  <a:gd name="connsiteY250" fmla="*/ 585020 h 1037303"/>
                  <a:gd name="connsiteX251" fmla="*/ 420891 w 849175"/>
                  <a:gd name="connsiteY251" fmla="*/ 592394 h 1037303"/>
                  <a:gd name="connsiteX252" fmla="*/ 433181 w 849175"/>
                  <a:gd name="connsiteY252" fmla="*/ 589936 h 1037303"/>
                  <a:gd name="connsiteX253" fmla="*/ 435639 w 849175"/>
                  <a:gd name="connsiteY253" fmla="*/ 565355 h 1037303"/>
                  <a:gd name="connsiteX254" fmla="*/ 450388 w 849175"/>
                  <a:gd name="connsiteY254" fmla="*/ 560439 h 1037303"/>
                  <a:gd name="connsiteX255" fmla="*/ 457762 w 849175"/>
                  <a:gd name="connsiteY255" fmla="*/ 557981 h 1037303"/>
                  <a:gd name="connsiteX256" fmla="*/ 472510 w 849175"/>
                  <a:gd name="connsiteY256" fmla="*/ 567813 h 1037303"/>
                  <a:gd name="connsiteX257" fmla="*/ 479885 w 849175"/>
                  <a:gd name="connsiteY257" fmla="*/ 570271 h 1037303"/>
                  <a:gd name="connsiteX258" fmla="*/ 489717 w 849175"/>
                  <a:gd name="connsiteY258" fmla="*/ 582561 h 1037303"/>
                  <a:gd name="connsiteX259" fmla="*/ 502007 w 849175"/>
                  <a:gd name="connsiteY259" fmla="*/ 592394 h 1037303"/>
                  <a:gd name="connsiteX260" fmla="*/ 570833 w 849175"/>
                  <a:gd name="connsiteY260" fmla="*/ 602226 h 1037303"/>
                  <a:gd name="connsiteX261" fmla="*/ 583123 w 849175"/>
                  <a:gd name="connsiteY261" fmla="*/ 604684 h 1037303"/>
                  <a:gd name="connsiteX262" fmla="*/ 585581 w 849175"/>
                  <a:gd name="connsiteY262" fmla="*/ 619432 h 1037303"/>
                  <a:gd name="connsiteX263" fmla="*/ 588039 w 849175"/>
                  <a:gd name="connsiteY263" fmla="*/ 626807 h 1037303"/>
                  <a:gd name="connsiteX264" fmla="*/ 592956 w 849175"/>
                  <a:gd name="connsiteY264" fmla="*/ 631723 h 1037303"/>
                  <a:gd name="connsiteX265" fmla="*/ 607704 w 849175"/>
                  <a:gd name="connsiteY265" fmla="*/ 641555 h 1037303"/>
                  <a:gd name="connsiteX266" fmla="*/ 617536 w 849175"/>
                  <a:gd name="connsiteY266" fmla="*/ 663678 h 1037303"/>
                  <a:gd name="connsiteX267" fmla="*/ 619994 w 849175"/>
                  <a:gd name="connsiteY267" fmla="*/ 671052 h 1037303"/>
                  <a:gd name="connsiteX268" fmla="*/ 629827 w 849175"/>
                  <a:gd name="connsiteY268" fmla="*/ 680884 h 1037303"/>
                  <a:gd name="connsiteX269" fmla="*/ 656865 w 849175"/>
                  <a:gd name="connsiteY269" fmla="*/ 683342 h 1037303"/>
                  <a:gd name="connsiteX270" fmla="*/ 674072 w 849175"/>
                  <a:gd name="connsiteY270" fmla="*/ 695632 h 1037303"/>
                  <a:gd name="connsiteX271" fmla="*/ 671614 w 849175"/>
                  <a:gd name="connsiteY271" fmla="*/ 707923 h 1037303"/>
                  <a:gd name="connsiteX272" fmla="*/ 656865 w 849175"/>
                  <a:gd name="connsiteY272" fmla="*/ 715297 h 1037303"/>
                  <a:gd name="connsiteX273" fmla="*/ 649491 w 849175"/>
                  <a:gd name="connsiteY273" fmla="*/ 710381 h 1037303"/>
                  <a:gd name="connsiteX274" fmla="*/ 642117 w 849175"/>
                  <a:gd name="connsiteY274" fmla="*/ 703007 h 1037303"/>
                  <a:gd name="connsiteX275" fmla="*/ 634743 w 849175"/>
                  <a:gd name="connsiteY275" fmla="*/ 700549 h 1037303"/>
                  <a:gd name="connsiteX276" fmla="*/ 619994 w 849175"/>
                  <a:gd name="connsiteY276" fmla="*/ 693174 h 1037303"/>
                  <a:gd name="connsiteX277" fmla="*/ 612620 w 849175"/>
                  <a:gd name="connsiteY277" fmla="*/ 688258 h 1037303"/>
                  <a:gd name="connsiteX278" fmla="*/ 597872 w 849175"/>
                  <a:gd name="connsiteY278" fmla="*/ 680884 h 1037303"/>
                  <a:gd name="connsiteX279" fmla="*/ 595414 w 849175"/>
                  <a:gd name="connsiteY279" fmla="*/ 671052 h 1037303"/>
                  <a:gd name="connsiteX280" fmla="*/ 575749 w 849175"/>
                  <a:gd name="connsiteY280" fmla="*/ 656303 h 1037303"/>
                  <a:gd name="connsiteX281" fmla="*/ 568375 w 849175"/>
                  <a:gd name="connsiteY281" fmla="*/ 648929 h 1037303"/>
                  <a:gd name="connsiteX282" fmla="*/ 558543 w 849175"/>
                  <a:gd name="connsiteY282" fmla="*/ 646471 h 1037303"/>
                  <a:gd name="connsiteX283" fmla="*/ 551168 w 849175"/>
                  <a:gd name="connsiteY283" fmla="*/ 644013 h 1037303"/>
                  <a:gd name="connsiteX284" fmla="*/ 543794 w 849175"/>
                  <a:gd name="connsiteY284" fmla="*/ 648929 h 1037303"/>
                  <a:gd name="connsiteX285" fmla="*/ 538878 w 849175"/>
                  <a:gd name="connsiteY285" fmla="*/ 656303 h 1037303"/>
                  <a:gd name="connsiteX286" fmla="*/ 533962 w 849175"/>
                  <a:gd name="connsiteY286" fmla="*/ 661220 h 1037303"/>
                  <a:gd name="connsiteX287" fmla="*/ 570833 w 849175"/>
                  <a:gd name="connsiteY287" fmla="*/ 668594 h 1037303"/>
                  <a:gd name="connsiteX288" fmla="*/ 585581 w 849175"/>
                  <a:gd name="connsiteY288" fmla="*/ 673510 h 1037303"/>
                  <a:gd name="connsiteX289" fmla="*/ 590498 w 849175"/>
                  <a:gd name="connsiteY289" fmla="*/ 678426 h 1037303"/>
                  <a:gd name="connsiteX290" fmla="*/ 595414 w 849175"/>
                  <a:gd name="connsiteY290" fmla="*/ 700549 h 1037303"/>
                  <a:gd name="connsiteX291" fmla="*/ 600330 w 849175"/>
                  <a:gd name="connsiteY291" fmla="*/ 739878 h 1037303"/>
                  <a:gd name="connsiteX292" fmla="*/ 607704 w 849175"/>
                  <a:gd name="connsiteY292" fmla="*/ 747252 h 1037303"/>
                  <a:gd name="connsiteX293" fmla="*/ 612620 w 849175"/>
                  <a:gd name="connsiteY293" fmla="*/ 776749 h 1037303"/>
                  <a:gd name="connsiteX294" fmla="*/ 605246 w 849175"/>
                  <a:gd name="connsiteY294" fmla="*/ 781665 h 1037303"/>
                  <a:gd name="connsiteX295" fmla="*/ 597872 w 849175"/>
                  <a:gd name="connsiteY295" fmla="*/ 779207 h 1037303"/>
                  <a:gd name="connsiteX296" fmla="*/ 583123 w 849175"/>
                  <a:gd name="connsiteY296" fmla="*/ 764458 h 1037303"/>
                  <a:gd name="connsiteX297" fmla="*/ 568375 w 849175"/>
                  <a:gd name="connsiteY297" fmla="*/ 759542 h 1037303"/>
                  <a:gd name="connsiteX298" fmla="*/ 551168 w 849175"/>
                  <a:gd name="connsiteY298" fmla="*/ 747252 h 1037303"/>
                  <a:gd name="connsiteX299" fmla="*/ 543794 w 849175"/>
                  <a:gd name="connsiteY299" fmla="*/ 742336 h 1037303"/>
                  <a:gd name="connsiteX300" fmla="*/ 536420 w 849175"/>
                  <a:gd name="connsiteY300" fmla="*/ 739878 h 1037303"/>
                  <a:gd name="connsiteX301" fmla="*/ 529046 w 849175"/>
                  <a:gd name="connsiteY301" fmla="*/ 734961 h 1037303"/>
                  <a:gd name="connsiteX302" fmla="*/ 526588 w 849175"/>
                  <a:gd name="connsiteY302" fmla="*/ 727587 h 1037303"/>
                  <a:gd name="connsiteX303" fmla="*/ 521672 w 849175"/>
                  <a:gd name="connsiteY303" fmla="*/ 720213 h 1037303"/>
                  <a:gd name="connsiteX304" fmla="*/ 511839 w 849175"/>
                  <a:gd name="connsiteY304" fmla="*/ 722671 h 1037303"/>
                  <a:gd name="connsiteX305" fmla="*/ 504465 w 849175"/>
                  <a:gd name="connsiteY305" fmla="*/ 730045 h 1037303"/>
                  <a:gd name="connsiteX306" fmla="*/ 497091 w 849175"/>
                  <a:gd name="connsiteY306" fmla="*/ 734961 h 1037303"/>
                  <a:gd name="connsiteX307" fmla="*/ 492175 w 849175"/>
                  <a:gd name="connsiteY307" fmla="*/ 739878 h 1037303"/>
                  <a:gd name="connsiteX308" fmla="*/ 484801 w 849175"/>
                  <a:gd name="connsiteY308" fmla="*/ 742336 h 1037303"/>
                  <a:gd name="connsiteX309" fmla="*/ 470052 w 849175"/>
                  <a:gd name="connsiteY309" fmla="*/ 749710 h 1037303"/>
                  <a:gd name="connsiteX310" fmla="*/ 472510 w 849175"/>
                  <a:gd name="connsiteY310" fmla="*/ 759542 h 1037303"/>
                  <a:gd name="connsiteX311" fmla="*/ 474968 w 849175"/>
                  <a:gd name="connsiteY311" fmla="*/ 766916 h 1037303"/>
                  <a:gd name="connsiteX312" fmla="*/ 482343 w 849175"/>
                  <a:gd name="connsiteY312" fmla="*/ 791497 h 1037303"/>
                  <a:gd name="connsiteX313" fmla="*/ 492175 w 849175"/>
                  <a:gd name="connsiteY313" fmla="*/ 806245 h 1037303"/>
                  <a:gd name="connsiteX314" fmla="*/ 499549 w 849175"/>
                  <a:gd name="connsiteY314" fmla="*/ 808703 h 1037303"/>
                  <a:gd name="connsiteX315" fmla="*/ 514298 w 849175"/>
                  <a:gd name="connsiteY315" fmla="*/ 806245 h 1037303"/>
                  <a:gd name="connsiteX316" fmla="*/ 516756 w 849175"/>
                  <a:gd name="connsiteY316" fmla="*/ 796413 h 1037303"/>
                  <a:gd name="connsiteX317" fmla="*/ 524130 w 849175"/>
                  <a:gd name="connsiteY317" fmla="*/ 811161 h 1037303"/>
                  <a:gd name="connsiteX318" fmla="*/ 531504 w 849175"/>
                  <a:gd name="connsiteY318" fmla="*/ 816078 h 1037303"/>
                  <a:gd name="connsiteX319" fmla="*/ 538878 w 849175"/>
                  <a:gd name="connsiteY319" fmla="*/ 823452 h 1037303"/>
                  <a:gd name="connsiteX320" fmla="*/ 516756 w 849175"/>
                  <a:gd name="connsiteY320" fmla="*/ 833284 h 1037303"/>
                  <a:gd name="connsiteX321" fmla="*/ 514298 w 849175"/>
                  <a:gd name="connsiteY321" fmla="*/ 845574 h 1037303"/>
                  <a:gd name="connsiteX322" fmla="*/ 509381 w 849175"/>
                  <a:gd name="connsiteY322" fmla="*/ 850491 h 1037303"/>
                  <a:gd name="connsiteX323" fmla="*/ 494633 w 849175"/>
                  <a:gd name="connsiteY323" fmla="*/ 860323 h 1037303"/>
                  <a:gd name="connsiteX324" fmla="*/ 487259 w 849175"/>
                  <a:gd name="connsiteY324" fmla="*/ 857865 h 1037303"/>
                  <a:gd name="connsiteX325" fmla="*/ 487259 w 849175"/>
                  <a:gd name="connsiteY325" fmla="*/ 840658 h 1037303"/>
                  <a:gd name="connsiteX326" fmla="*/ 484801 w 849175"/>
                  <a:gd name="connsiteY326" fmla="*/ 830826 h 1037303"/>
                  <a:gd name="connsiteX327" fmla="*/ 477427 w 849175"/>
                  <a:gd name="connsiteY327" fmla="*/ 828368 h 1037303"/>
                  <a:gd name="connsiteX328" fmla="*/ 470052 w 849175"/>
                  <a:gd name="connsiteY328" fmla="*/ 823452 h 1037303"/>
                  <a:gd name="connsiteX329" fmla="*/ 455304 w 849175"/>
                  <a:gd name="connsiteY329" fmla="*/ 828368 h 1037303"/>
                  <a:gd name="connsiteX330" fmla="*/ 440556 w 849175"/>
                  <a:gd name="connsiteY330" fmla="*/ 823452 h 1037303"/>
                  <a:gd name="connsiteX331" fmla="*/ 420891 w 849175"/>
                  <a:gd name="connsiteY331" fmla="*/ 825910 h 1037303"/>
                  <a:gd name="connsiteX332" fmla="*/ 423349 w 849175"/>
                  <a:gd name="connsiteY332" fmla="*/ 833284 h 1037303"/>
                  <a:gd name="connsiteX333" fmla="*/ 433181 w 849175"/>
                  <a:gd name="connsiteY333" fmla="*/ 848032 h 1037303"/>
                  <a:gd name="connsiteX334" fmla="*/ 447930 w 849175"/>
                  <a:gd name="connsiteY334" fmla="*/ 860323 h 1037303"/>
                  <a:gd name="connsiteX335" fmla="*/ 455304 w 849175"/>
                  <a:gd name="connsiteY335" fmla="*/ 882445 h 1037303"/>
                  <a:gd name="connsiteX336" fmla="*/ 457762 w 849175"/>
                  <a:gd name="connsiteY336" fmla="*/ 889820 h 1037303"/>
                  <a:gd name="connsiteX337" fmla="*/ 462678 w 849175"/>
                  <a:gd name="connsiteY337" fmla="*/ 899652 h 1037303"/>
                  <a:gd name="connsiteX338" fmla="*/ 470052 w 849175"/>
                  <a:gd name="connsiteY338" fmla="*/ 902110 h 1037303"/>
                  <a:gd name="connsiteX339" fmla="*/ 477427 w 849175"/>
                  <a:gd name="connsiteY339" fmla="*/ 907026 h 1037303"/>
                  <a:gd name="connsiteX340" fmla="*/ 482343 w 849175"/>
                  <a:gd name="connsiteY340" fmla="*/ 916858 h 1037303"/>
                  <a:gd name="connsiteX341" fmla="*/ 487259 w 849175"/>
                  <a:gd name="connsiteY341" fmla="*/ 931607 h 1037303"/>
                  <a:gd name="connsiteX342" fmla="*/ 499549 w 849175"/>
                  <a:gd name="connsiteY342" fmla="*/ 946355 h 1037303"/>
                  <a:gd name="connsiteX343" fmla="*/ 502007 w 849175"/>
                  <a:gd name="connsiteY343" fmla="*/ 953729 h 1037303"/>
                  <a:gd name="connsiteX344" fmla="*/ 504465 w 849175"/>
                  <a:gd name="connsiteY344" fmla="*/ 990600 h 1037303"/>
                  <a:gd name="connsiteX345" fmla="*/ 514298 w 849175"/>
                  <a:gd name="connsiteY345" fmla="*/ 1005349 h 1037303"/>
                  <a:gd name="connsiteX346" fmla="*/ 519214 w 849175"/>
                  <a:gd name="connsiteY346" fmla="*/ 1012723 h 1037303"/>
                  <a:gd name="connsiteX347" fmla="*/ 524130 w 849175"/>
                  <a:gd name="connsiteY347" fmla="*/ 1020097 h 1037303"/>
                  <a:gd name="connsiteX348" fmla="*/ 502007 w 849175"/>
                  <a:gd name="connsiteY348" fmla="*/ 1020097 h 1037303"/>
                  <a:gd name="connsiteX349" fmla="*/ 494633 w 849175"/>
                  <a:gd name="connsiteY349" fmla="*/ 1012723 h 1037303"/>
                  <a:gd name="connsiteX350" fmla="*/ 492175 w 849175"/>
                  <a:gd name="connsiteY350" fmla="*/ 1002891 h 1037303"/>
                  <a:gd name="connsiteX351" fmla="*/ 484801 w 849175"/>
                  <a:gd name="connsiteY351" fmla="*/ 1000432 h 1037303"/>
                  <a:gd name="connsiteX352" fmla="*/ 467594 w 849175"/>
                  <a:gd name="connsiteY352" fmla="*/ 990600 h 1037303"/>
                  <a:gd name="connsiteX353" fmla="*/ 465136 w 849175"/>
                  <a:gd name="connsiteY353" fmla="*/ 975852 h 1037303"/>
                  <a:gd name="connsiteX354" fmla="*/ 452846 w 849175"/>
                  <a:gd name="connsiteY354" fmla="*/ 958645 h 1037303"/>
                  <a:gd name="connsiteX355" fmla="*/ 430723 w 849175"/>
                  <a:gd name="connsiteY355" fmla="*/ 966020 h 1037303"/>
                  <a:gd name="connsiteX356" fmla="*/ 425807 w 849175"/>
                  <a:gd name="connsiteY356" fmla="*/ 980768 h 1037303"/>
                  <a:gd name="connsiteX357" fmla="*/ 428265 w 849175"/>
                  <a:gd name="connsiteY357" fmla="*/ 988142 h 1037303"/>
                  <a:gd name="connsiteX358" fmla="*/ 423349 w 849175"/>
                  <a:gd name="connsiteY358" fmla="*/ 1002891 h 1037303"/>
                  <a:gd name="connsiteX359" fmla="*/ 425807 w 849175"/>
                  <a:gd name="connsiteY359" fmla="*/ 1027471 h 1037303"/>
                  <a:gd name="connsiteX360" fmla="*/ 428265 w 849175"/>
                  <a:gd name="connsiteY360" fmla="*/ 1034845 h 1037303"/>
                  <a:gd name="connsiteX361" fmla="*/ 420891 w 849175"/>
                  <a:gd name="connsiteY361" fmla="*/ 1037303 h 1037303"/>
                  <a:gd name="connsiteX362" fmla="*/ 411059 w 849175"/>
                  <a:gd name="connsiteY362" fmla="*/ 1034845 h 1037303"/>
                  <a:gd name="connsiteX363" fmla="*/ 406143 w 849175"/>
                  <a:gd name="connsiteY363" fmla="*/ 1027471 h 1037303"/>
                  <a:gd name="connsiteX364" fmla="*/ 401227 w 849175"/>
                  <a:gd name="connsiteY364" fmla="*/ 1010265 h 1037303"/>
                  <a:gd name="connsiteX365" fmla="*/ 398768 w 849175"/>
                  <a:gd name="connsiteY365" fmla="*/ 1002891 h 1037303"/>
                  <a:gd name="connsiteX366" fmla="*/ 396310 w 849175"/>
                  <a:gd name="connsiteY366" fmla="*/ 985684 h 1037303"/>
                  <a:gd name="connsiteX367" fmla="*/ 388936 w 849175"/>
                  <a:gd name="connsiteY367" fmla="*/ 980768 h 1037303"/>
                  <a:gd name="connsiteX368" fmla="*/ 386478 w 849175"/>
                  <a:gd name="connsiteY368" fmla="*/ 970936 h 1037303"/>
                  <a:gd name="connsiteX369" fmla="*/ 379104 w 849175"/>
                  <a:gd name="connsiteY369" fmla="*/ 966020 h 1037303"/>
                  <a:gd name="connsiteX370" fmla="*/ 374188 w 849175"/>
                  <a:gd name="connsiteY370" fmla="*/ 961103 h 1037303"/>
                  <a:gd name="connsiteX371" fmla="*/ 359439 w 849175"/>
                  <a:gd name="connsiteY371" fmla="*/ 953729 h 1037303"/>
                  <a:gd name="connsiteX372" fmla="*/ 352065 w 849175"/>
                  <a:gd name="connsiteY372" fmla="*/ 946355 h 1037303"/>
                  <a:gd name="connsiteX373" fmla="*/ 347149 w 849175"/>
                  <a:gd name="connsiteY373" fmla="*/ 931607 h 1037303"/>
                  <a:gd name="connsiteX374" fmla="*/ 339775 w 849175"/>
                  <a:gd name="connsiteY374" fmla="*/ 934065 h 1037303"/>
                  <a:gd name="connsiteX375" fmla="*/ 337317 w 849175"/>
                  <a:gd name="connsiteY375" fmla="*/ 941439 h 1037303"/>
                  <a:gd name="connsiteX376" fmla="*/ 322568 w 849175"/>
                  <a:gd name="connsiteY376" fmla="*/ 946355 h 1037303"/>
                  <a:gd name="connsiteX377" fmla="*/ 327485 w 849175"/>
                  <a:gd name="connsiteY377" fmla="*/ 961103 h 1037303"/>
                  <a:gd name="connsiteX378" fmla="*/ 329943 w 849175"/>
                  <a:gd name="connsiteY378" fmla="*/ 968478 h 1037303"/>
                  <a:gd name="connsiteX379" fmla="*/ 327485 w 849175"/>
                  <a:gd name="connsiteY379" fmla="*/ 985684 h 1037303"/>
                  <a:gd name="connsiteX380" fmla="*/ 320110 w 849175"/>
                  <a:gd name="connsiteY380" fmla="*/ 988142 h 1037303"/>
                  <a:gd name="connsiteX381" fmla="*/ 305362 w 849175"/>
                  <a:gd name="connsiteY381" fmla="*/ 983226 h 1037303"/>
                  <a:gd name="connsiteX382" fmla="*/ 288156 w 849175"/>
                  <a:gd name="connsiteY382" fmla="*/ 980768 h 1037303"/>
                  <a:gd name="connsiteX383" fmla="*/ 273407 w 849175"/>
                  <a:gd name="connsiteY383" fmla="*/ 951271 h 1037303"/>
                  <a:gd name="connsiteX384" fmla="*/ 266033 w 849175"/>
                  <a:gd name="connsiteY384" fmla="*/ 943897 h 1037303"/>
                  <a:gd name="connsiteX385" fmla="*/ 275865 w 849175"/>
                  <a:gd name="connsiteY385" fmla="*/ 914400 h 1037303"/>
                  <a:gd name="connsiteX386" fmla="*/ 283239 w 849175"/>
                  <a:gd name="connsiteY386" fmla="*/ 909484 h 1037303"/>
                  <a:gd name="connsiteX387" fmla="*/ 285698 w 849175"/>
                  <a:gd name="connsiteY387" fmla="*/ 894736 h 1037303"/>
                  <a:gd name="connsiteX388" fmla="*/ 288156 w 849175"/>
                  <a:gd name="connsiteY388" fmla="*/ 887361 h 1037303"/>
                  <a:gd name="connsiteX389" fmla="*/ 278323 w 849175"/>
                  <a:gd name="connsiteY389" fmla="*/ 875071 h 1037303"/>
                  <a:gd name="connsiteX390" fmla="*/ 256201 w 849175"/>
                  <a:gd name="connsiteY390" fmla="*/ 855407 h 1037303"/>
                  <a:gd name="connsiteX391" fmla="*/ 248827 w 849175"/>
                  <a:gd name="connsiteY391" fmla="*/ 852949 h 1037303"/>
                  <a:gd name="connsiteX392" fmla="*/ 243910 w 849175"/>
                  <a:gd name="connsiteY392" fmla="*/ 848032 h 1037303"/>
                  <a:gd name="connsiteX393" fmla="*/ 221788 w 849175"/>
                  <a:gd name="connsiteY393" fmla="*/ 843116 h 1037303"/>
                  <a:gd name="connsiteX394" fmla="*/ 214414 w 849175"/>
                  <a:gd name="connsiteY394" fmla="*/ 840658 h 1037303"/>
                  <a:gd name="connsiteX395" fmla="*/ 211956 w 849175"/>
                  <a:gd name="connsiteY395" fmla="*/ 820994 h 1037303"/>
                  <a:gd name="connsiteX396" fmla="*/ 197207 w 849175"/>
                  <a:gd name="connsiteY396" fmla="*/ 816078 h 1037303"/>
                  <a:gd name="connsiteX397" fmla="*/ 189833 w 849175"/>
                  <a:gd name="connsiteY397" fmla="*/ 813620 h 1037303"/>
                  <a:gd name="connsiteX398" fmla="*/ 192291 w 849175"/>
                  <a:gd name="connsiteY398" fmla="*/ 806245 h 1037303"/>
                  <a:gd name="connsiteX399" fmla="*/ 199665 w 849175"/>
                  <a:gd name="connsiteY399" fmla="*/ 786581 h 1037303"/>
                  <a:gd name="connsiteX400" fmla="*/ 209498 w 849175"/>
                  <a:gd name="connsiteY400" fmla="*/ 784123 h 1037303"/>
                  <a:gd name="connsiteX401" fmla="*/ 216872 w 849175"/>
                  <a:gd name="connsiteY401" fmla="*/ 762000 h 1037303"/>
                  <a:gd name="connsiteX402" fmla="*/ 224246 w 849175"/>
                  <a:gd name="connsiteY402" fmla="*/ 747252 h 1037303"/>
                  <a:gd name="connsiteX403" fmla="*/ 231620 w 849175"/>
                  <a:gd name="connsiteY403" fmla="*/ 744794 h 1037303"/>
                  <a:gd name="connsiteX404" fmla="*/ 251285 w 849175"/>
                  <a:gd name="connsiteY404" fmla="*/ 739878 h 1037303"/>
                  <a:gd name="connsiteX405" fmla="*/ 263575 w 849175"/>
                  <a:gd name="connsiteY405" fmla="*/ 730045 h 1037303"/>
                  <a:gd name="connsiteX406" fmla="*/ 270949 w 849175"/>
                  <a:gd name="connsiteY406" fmla="*/ 727587 h 1037303"/>
                  <a:gd name="connsiteX407" fmla="*/ 273407 w 849175"/>
                  <a:gd name="connsiteY407" fmla="*/ 717755 h 1037303"/>
                  <a:gd name="connsiteX408" fmla="*/ 280781 w 849175"/>
                  <a:gd name="connsiteY408" fmla="*/ 715297 h 1037303"/>
                  <a:gd name="connsiteX409" fmla="*/ 285698 w 849175"/>
                  <a:gd name="connsiteY409" fmla="*/ 710381 h 1037303"/>
                  <a:gd name="connsiteX410" fmla="*/ 307820 w 849175"/>
                  <a:gd name="connsiteY410" fmla="*/ 712839 h 1037303"/>
                  <a:gd name="connsiteX411" fmla="*/ 322568 w 849175"/>
                  <a:gd name="connsiteY411" fmla="*/ 720213 h 1037303"/>
                  <a:gd name="connsiteX412" fmla="*/ 361898 w 849175"/>
                  <a:gd name="connsiteY412" fmla="*/ 730045 h 1037303"/>
                  <a:gd name="connsiteX413" fmla="*/ 391394 w 849175"/>
                  <a:gd name="connsiteY413" fmla="*/ 734961 h 1037303"/>
                  <a:gd name="connsiteX414" fmla="*/ 408601 w 849175"/>
                  <a:gd name="connsiteY414" fmla="*/ 749710 h 1037303"/>
                  <a:gd name="connsiteX415" fmla="*/ 425807 w 849175"/>
                  <a:gd name="connsiteY415" fmla="*/ 752168 h 1037303"/>
                  <a:gd name="connsiteX416" fmla="*/ 452846 w 849175"/>
                  <a:gd name="connsiteY416" fmla="*/ 757084 h 1037303"/>
                  <a:gd name="connsiteX417" fmla="*/ 447930 w 849175"/>
                  <a:gd name="connsiteY417" fmla="*/ 749710 h 1037303"/>
                  <a:gd name="connsiteX418" fmla="*/ 440556 w 849175"/>
                  <a:gd name="connsiteY418" fmla="*/ 742336 h 1037303"/>
                  <a:gd name="connsiteX419" fmla="*/ 457762 w 849175"/>
                  <a:gd name="connsiteY419" fmla="*/ 734961 h 1037303"/>
                  <a:gd name="connsiteX420" fmla="*/ 462678 w 849175"/>
                  <a:gd name="connsiteY420" fmla="*/ 727587 h 1037303"/>
                  <a:gd name="connsiteX421" fmla="*/ 477427 w 849175"/>
                  <a:gd name="connsiteY421" fmla="*/ 722671 h 1037303"/>
                  <a:gd name="connsiteX422" fmla="*/ 484801 w 849175"/>
                  <a:gd name="connsiteY422" fmla="*/ 717755 h 1037303"/>
                  <a:gd name="connsiteX423" fmla="*/ 472510 w 849175"/>
                  <a:gd name="connsiteY423" fmla="*/ 707923 h 1037303"/>
                  <a:gd name="connsiteX424" fmla="*/ 462678 w 849175"/>
                  <a:gd name="connsiteY424" fmla="*/ 705465 h 1037303"/>
                  <a:gd name="connsiteX425" fmla="*/ 455304 w 849175"/>
                  <a:gd name="connsiteY425" fmla="*/ 703007 h 1037303"/>
                  <a:gd name="connsiteX426" fmla="*/ 430723 w 849175"/>
                  <a:gd name="connsiteY426" fmla="*/ 700549 h 1037303"/>
                  <a:gd name="connsiteX427" fmla="*/ 406143 w 849175"/>
                  <a:gd name="connsiteY427" fmla="*/ 695632 h 1037303"/>
                  <a:gd name="connsiteX428" fmla="*/ 388936 w 849175"/>
                  <a:gd name="connsiteY428" fmla="*/ 707923 h 1037303"/>
                  <a:gd name="connsiteX429" fmla="*/ 381562 w 849175"/>
                  <a:gd name="connsiteY429" fmla="*/ 690716 h 1037303"/>
                  <a:gd name="connsiteX430" fmla="*/ 366814 w 849175"/>
                  <a:gd name="connsiteY430" fmla="*/ 688258 h 1037303"/>
                  <a:gd name="connsiteX431" fmla="*/ 361898 w 849175"/>
                  <a:gd name="connsiteY431" fmla="*/ 695632 h 1037303"/>
                  <a:gd name="connsiteX432" fmla="*/ 359439 w 849175"/>
                  <a:gd name="connsiteY432" fmla="*/ 703007 h 1037303"/>
                  <a:gd name="connsiteX433" fmla="*/ 352065 w 849175"/>
                  <a:gd name="connsiteY433" fmla="*/ 705465 h 1037303"/>
                  <a:gd name="connsiteX434" fmla="*/ 342233 w 849175"/>
                  <a:gd name="connsiteY434" fmla="*/ 703007 h 1037303"/>
                  <a:gd name="connsiteX435" fmla="*/ 337317 w 849175"/>
                  <a:gd name="connsiteY435" fmla="*/ 695632 h 1037303"/>
                  <a:gd name="connsiteX436" fmla="*/ 305362 w 849175"/>
                  <a:gd name="connsiteY436" fmla="*/ 693174 h 1037303"/>
                  <a:gd name="connsiteX437" fmla="*/ 280781 w 849175"/>
                  <a:gd name="connsiteY437" fmla="*/ 695632 h 1037303"/>
                  <a:gd name="connsiteX438" fmla="*/ 273407 w 849175"/>
                  <a:gd name="connsiteY438" fmla="*/ 700549 h 1037303"/>
                  <a:gd name="connsiteX439" fmla="*/ 258659 w 849175"/>
                  <a:gd name="connsiteY439" fmla="*/ 705465 h 1037303"/>
                  <a:gd name="connsiteX440" fmla="*/ 251285 w 849175"/>
                  <a:gd name="connsiteY440" fmla="*/ 707923 h 1037303"/>
                  <a:gd name="connsiteX441" fmla="*/ 243910 w 849175"/>
                  <a:gd name="connsiteY441" fmla="*/ 710381 h 1037303"/>
                  <a:gd name="connsiteX442" fmla="*/ 236536 w 849175"/>
                  <a:gd name="connsiteY442" fmla="*/ 715297 h 1037303"/>
                  <a:gd name="connsiteX443" fmla="*/ 224246 w 849175"/>
                  <a:gd name="connsiteY443" fmla="*/ 705465 h 1037303"/>
                  <a:gd name="connsiteX444" fmla="*/ 219330 w 849175"/>
                  <a:gd name="connsiteY444" fmla="*/ 698091 h 1037303"/>
                  <a:gd name="connsiteX445" fmla="*/ 204581 w 849175"/>
                  <a:gd name="connsiteY445" fmla="*/ 700549 h 1037303"/>
                  <a:gd name="connsiteX446" fmla="*/ 194749 w 849175"/>
                  <a:gd name="connsiteY446" fmla="*/ 722671 h 1037303"/>
                  <a:gd name="connsiteX447" fmla="*/ 180001 w 849175"/>
                  <a:gd name="connsiteY447" fmla="*/ 725129 h 1037303"/>
                  <a:gd name="connsiteX448" fmla="*/ 172627 w 849175"/>
                  <a:gd name="connsiteY448" fmla="*/ 698091 h 1037303"/>
                  <a:gd name="connsiteX449" fmla="*/ 165252 w 849175"/>
                  <a:gd name="connsiteY449" fmla="*/ 695632 h 1037303"/>
                  <a:gd name="connsiteX450" fmla="*/ 162794 w 849175"/>
                  <a:gd name="connsiteY450" fmla="*/ 703007 h 1037303"/>
                  <a:gd name="connsiteX451" fmla="*/ 155420 w 849175"/>
                  <a:gd name="connsiteY451" fmla="*/ 707923 h 1037303"/>
                  <a:gd name="connsiteX452" fmla="*/ 152962 w 849175"/>
                  <a:gd name="connsiteY452" fmla="*/ 683342 h 1037303"/>
                  <a:gd name="connsiteX453" fmla="*/ 148046 w 849175"/>
                  <a:gd name="connsiteY453" fmla="*/ 675968 h 1037303"/>
                  <a:gd name="connsiteX454" fmla="*/ 143130 w 849175"/>
                  <a:gd name="connsiteY454" fmla="*/ 683342 h 1037303"/>
                  <a:gd name="connsiteX455" fmla="*/ 135756 w 849175"/>
                  <a:gd name="connsiteY455" fmla="*/ 678426 h 1037303"/>
                  <a:gd name="connsiteX456" fmla="*/ 123465 w 849175"/>
                  <a:gd name="connsiteY456" fmla="*/ 671052 h 1037303"/>
                  <a:gd name="connsiteX457" fmla="*/ 106259 w 849175"/>
                  <a:gd name="connsiteY457" fmla="*/ 671052 h 1037303"/>
                  <a:gd name="connsiteX458" fmla="*/ 101343 w 849175"/>
                  <a:gd name="connsiteY458" fmla="*/ 663678 h 1037303"/>
                  <a:gd name="connsiteX459" fmla="*/ 108717 w 849175"/>
                  <a:gd name="connsiteY459" fmla="*/ 658761 h 1037303"/>
                  <a:gd name="connsiteX460" fmla="*/ 118549 w 849175"/>
                  <a:gd name="connsiteY460" fmla="*/ 656303 h 1037303"/>
                  <a:gd name="connsiteX461" fmla="*/ 128381 w 849175"/>
                  <a:gd name="connsiteY461" fmla="*/ 641555 h 1037303"/>
                  <a:gd name="connsiteX462" fmla="*/ 143130 w 849175"/>
                  <a:gd name="connsiteY462" fmla="*/ 636639 h 1037303"/>
                  <a:gd name="connsiteX463" fmla="*/ 145588 w 849175"/>
                  <a:gd name="connsiteY463" fmla="*/ 629265 h 1037303"/>
                  <a:gd name="connsiteX464" fmla="*/ 160336 w 849175"/>
                  <a:gd name="connsiteY464" fmla="*/ 634181 h 1037303"/>
                  <a:gd name="connsiteX465" fmla="*/ 162794 w 849175"/>
                  <a:gd name="connsiteY465" fmla="*/ 626807 h 1037303"/>
                  <a:gd name="connsiteX466" fmla="*/ 170168 w 849175"/>
                  <a:gd name="connsiteY466" fmla="*/ 619432 h 1037303"/>
                  <a:gd name="connsiteX467" fmla="*/ 165252 w 849175"/>
                  <a:gd name="connsiteY467" fmla="*/ 612058 h 1037303"/>
                  <a:gd name="connsiteX468" fmla="*/ 148046 w 849175"/>
                  <a:gd name="connsiteY468" fmla="*/ 604684 h 1037303"/>
                  <a:gd name="connsiteX469" fmla="*/ 128381 w 849175"/>
                  <a:gd name="connsiteY469" fmla="*/ 602226 h 1037303"/>
                  <a:gd name="connsiteX470" fmla="*/ 116091 w 849175"/>
                  <a:gd name="connsiteY470" fmla="*/ 592394 h 1037303"/>
                  <a:gd name="connsiteX471" fmla="*/ 113633 w 849175"/>
                  <a:gd name="connsiteY471" fmla="*/ 599768 h 1037303"/>
                  <a:gd name="connsiteX472" fmla="*/ 108717 w 849175"/>
                  <a:gd name="connsiteY472" fmla="*/ 607142 h 1037303"/>
                  <a:gd name="connsiteX473" fmla="*/ 74304 w 849175"/>
                  <a:gd name="connsiteY473" fmla="*/ 592394 h 1037303"/>
                  <a:gd name="connsiteX474" fmla="*/ 66930 w 849175"/>
                  <a:gd name="connsiteY474" fmla="*/ 587478 h 1037303"/>
                  <a:gd name="connsiteX475" fmla="*/ 62014 w 849175"/>
                  <a:gd name="connsiteY475" fmla="*/ 582561 h 1037303"/>
                  <a:gd name="connsiteX476" fmla="*/ 39891 w 849175"/>
                  <a:gd name="connsiteY476" fmla="*/ 565355 h 1037303"/>
                  <a:gd name="connsiteX477" fmla="*/ 34975 w 849175"/>
                  <a:gd name="connsiteY477" fmla="*/ 557981 h 1037303"/>
                  <a:gd name="connsiteX478" fmla="*/ 39891 w 849175"/>
                  <a:gd name="connsiteY478" fmla="*/ 550607 h 1037303"/>
                  <a:gd name="connsiteX479" fmla="*/ 37433 w 849175"/>
                  <a:gd name="connsiteY479" fmla="*/ 535858 h 1037303"/>
                  <a:gd name="connsiteX480" fmla="*/ 32517 w 849175"/>
                  <a:gd name="connsiteY480" fmla="*/ 528484 h 1037303"/>
                  <a:gd name="connsiteX481" fmla="*/ 10394 w 849175"/>
                  <a:gd name="connsiteY481" fmla="*/ 523568 h 1037303"/>
                  <a:gd name="connsiteX482" fmla="*/ 32517 w 849175"/>
                  <a:gd name="connsiteY482" fmla="*/ 540774 h 1037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Lst>
                <a:rect l="l" t="t" r="r" b="b"/>
                <a:pathLst>
                  <a:path w="849175" h="1037303">
                    <a:moveTo>
                      <a:pt x="32517" y="540774"/>
                    </a:moveTo>
                    <a:cubicBezTo>
                      <a:pt x="34156" y="540364"/>
                      <a:pt x="23253" y="524891"/>
                      <a:pt x="20227" y="521110"/>
                    </a:cubicBezTo>
                    <a:cubicBezTo>
                      <a:pt x="18779" y="519300"/>
                      <a:pt x="17297" y="517386"/>
                      <a:pt x="15310" y="516194"/>
                    </a:cubicBezTo>
                    <a:cubicBezTo>
                      <a:pt x="13088" y="514861"/>
                      <a:pt x="10253" y="514895"/>
                      <a:pt x="7936" y="513736"/>
                    </a:cubicBezTo>
                    <a:cubicBezTo>
                      <a:pt x="5294" y="512415"/>
                      <a:pt x="-2080" y="510141"/>
                      <a:pt x="562" y="508820"/>
                    </a:cubicBezTo>
                    <a:cubicBezTo>
                      <a:pt x="4299" y="506952"/>
                      <a:pt x="8755" y="510459"/>
                      <a:pt x="12852" y="511278"/>
                    </a:cubicBezTo>
                    <a:cubicBezTo>
                      <a:pt x="16949" y="510459"/>
                      <a:pt x="21845" y="511385"/>
                      <a:pt x="25143" y="508820"/>
                    </a:cubicBezTo>
                    <a:cubicBezTo>
                      <a:pt x="29807" y="505192"/>
                      <a:pt x="31698" y="498987"/>
                      <a:pt x="34975" y="494071"/>
                    </a:cubicBezTo>
                    <a:cubicBezTo>
                      <a:pt x="41328" y="484540"/>
                      <a:pt x="38957" y="489500"/>
                      <a:pt x="42349" y="479323"/>
                    </a:cubicBezTo>
                    <a:cubicBezTo>
                      <a:pt x="42183" y="479075"/>
                      <a:pt x="32939" y="466610"/>
                      <a:pt x="34975" y="464574"/>
                    </a:cubicBezTo>
                    <a:cubicBezTo>
                      <a:pt x="36807" y="462742"/>
                      <a:pt x="39891" y="466213"/>
                      <a:pt x="42349" y="467032"/>
                    </a:cubicBezTo>
                    <a:cubicBezTo>
                      <a:pt x="41530" y="463755"/>
                      <a:pt x="41222" y="460305"/>
                      <a:pt x="39891" y="457200"/>
                    </a:cubicBezTo>
                    <a:cubicBezTo>
                      <a:pt x="38727" y="454485"/>
                      <a:pt x="34396" y="452723"/>
                      <a:pt x="34975" y="449826"/>
                    </a:cubicBezTo>
                    <a:cubicBezTo>
                      <a:pt x="35554" y="446929"/>
                      <a:pt x="39891" y="446549"/>
                      <a:pt x="42349" y="444910"/>
                    </a:cubicBezTo>
                    <a:cubicBezTo>
                      <a:pt x="43988" y="442452"/>
                      <a:pt x="44958" y="439381"/>
                      <a:pt x="47265" y="437536"/>
                    </a:cubicBezTo>
                    <a:cubicBezTo>
                      <a:pt x="49288" y="435917"/>
                      <a:pt x="52125" y="435706"/>
                      <a:pt x="54639" y="435078"/>
                    </a:cubicBezTo>
                    <a:lnTo>
                      <a:pt x="74304" y="430161"/>
                    </a:lnTo>
                    <a:cubicBezTo>
                      <a:pt x="75123" y="421968"/>
                      <a:pt x="74910" y="413604"/>
                      <a:pt x="76762" y="405581"/>
                    </a:cubicBezTo>
                    <a:cubicBezTo>
                      <a:pt x="77426" y="402703"/>
                      <a:pt x="80641" y="400973"/>
                      <a:pt x="81678" y="398207"/>
                    </a:cubicBezTo>
                    <a:cubicBezTo>
                      <a:pt x="84791" y="389904"/>
                      <a:pt x="83833" y="379451"/>
                      <a:pt x="86594" y="371168"/>
                    </a:cubicBezTo>
                    <a:cubicBezTo>
                      <a:pt x="87528" y="368365"/>
                      <a:pt x="90189" y="366436"/>
                      <a:pt x="91510" y="363794"/>
                    </a:cubicBezTo>
                    <a:cubicBezTo>
                      <a:pt x="94314" y="358187"/>
                      <a:pt x="92482" y="354704"/>
                      <a:pt x="98885" y="351503"/>
                    </a:cubicBezTo>
                    <a:cubicBezTo>
                      <a:pt x="104869" y="348511"/>
                      <a:pt x="116409" y="345893"/>
                      <a:pt x="123465" y="344129"/>
                    </a:cubicBezTo>
                    <a:cubicBezTo>
                      <a:pt x="121606" y="325541"/>
                      <a:pt x="126595" y="323036"/>
                      <a:pt x="116091" y="314632"/>
                    </a:cubicBezTo>
                    <a:cubicBezTo>
                      <a:pt x="113784" y="312786"/>
                      <a:pt x="111175" y="311355"/>
                      <a:pt x="108717" y="309716"/>
                    </a:cubicBezTo>
                    <a:cubicBezTo>
                      <a:pt x="107898" y="307258"/>
                      <a:pt x="107418" y="304659"/>
                      <a:pt x="106259" y="302342"/>
                    </a:cubicBezTo>
                    <a:cubicBezTo>
                      <a:pt x="102207" y="294237"/>
                      <a:pt x="96265" y="293982"/>
                      <a:pt x="103801" y="282678"/>
                    </a:cubicBezTo>
                    <a:cubicBezTo>
                      <a:pt x="105238" y="280522"/>
                      <a:pt x="108717" y="281039"/>
                      <a:pt x="111175" y="280220"/>
                    </a:cubicBezTo>
                    <a:cubicBezTo>
                      <a:pt x="120188" y="281039"/>
                      <a:pt x="129164" y="282678"/>
                      <a:pt x="138214" y="282678"/>
                    </a:cubicBezTo>
                    <a:cubicBezTo>
                      <a:pt x="149026" y="282678"/>
                      <a:pt x="143426" y="278508"/>
                      <a:pt x="150504" y="272845"/>
                    </a:cubicBezTo>
                    <a:cubicBezTo>
                      <a:pt x="152527" y="271226"/>
                      <a:pt x="155387" y="271099"/>
                      <a:pt x="157878" y="270387"/>
                    </a:cubicBezTo>
                    <a:cubicBezTo>
                      <a:pt x="179492" y="264212"/>
                      <a:pt x="157396" y="271367"/>
                      <a:pt x="175085" y="265471"/>
                    </a:cubicBezTo>
                    <a:cubicBezTo>
                      <a:pt x="180820" y="266290"/>
                      <a:pt x="186526" y="268505"/>
                      <a:pt x="192291" y="267929"/>
                    </a:cubicBezTo>
                    <a:cubicBezTo>
                      <a:pt x="198704" y="267288"/>
                      <a:pt x="201446" y="259558"/>
                      <a:pt x="204581" y="255639"/>
                    </a:cubicBezTo>
                    <a:cubicBezTo>
                      <a:pt x="206029" y="253829"/>
                      <a:pt x="207859" y="252362"/>
                      <a:pt x="209498" y="250723"/>
                    </a:cubicBezTo>
                    <a:cubicBezTo>
                      <a:pt x="213818" y="237764"/>
                      <a:pt x="209101" y="248249"/>
                      <a:pt x="219330" y="235974"/>
                    </a:cubicBezTo>
                    <a:cubicBezTo>
                      <a:pt x="236434" y="215448"/>
                      <a:pt x="210085" y="242761"/>
                      <a:pt x="231620" y="221226"/>
                    </a:cubicBezTo>
                    <a:cubicBezTo>
                      <a:pt x="232439" y="217129"/>
                      <a:pt x="230199" y="210488"/>
                      <a:pt x="234078" y="208936"/>
                    </a:cubicBezTo>
                    <a:cubicBezTo>
                      <a:pt x="241563" y="205942"/>
                      <a:pt x="255173" y="211051"/>
                      <a:pt x="263575" y="213852"/>
                    </a:cubicBezTo>
                    <a:cubicBezTo>
                      <a:pt x="265807" y="210504"/>
                      <a:pt x="269517" y="203895"/>
                      <a:pt x="273407" y="201561"/>
                    </a:cubicBezTo>
                    <a:cubicBezTo>
                      <a:pt x="275629" y="200228"/>
                      <a:pt x="278323" y="199922"/>
                      <a:pt x="280781" y="199103"/>
                    </a:cubicBezTo>
                    <a:cubicBezTo>
                      <a:pt x="286517" y="199922"/>
                      <a:pt x="292439" y="199896"/>
                      <a:pt x="297988" y="201561"/>
                    </a:cubicBezTo>
                    <a:cubicBezTo>
                      <a:pt x="313036" y="206076"/>
                      <a:pt x="297719" y="209026"/>
                      <a:pt x="312736" y="204020"/>
                    </a:cubicBezTo>
                    <a:cubicBezTo>
                      <a:pt x="313555" y="201562"/>
                      <a:pt x="313362" y="198477"/>
                      <a:pt x="315194" y="196645"/>
                    </a:cubicBezTo>
                    <a:cubicBezTo>
                      <a:pt x="320110" y="191729"/>
                      <a:pt x="325027" y="195007"/>
                      <a:pt x="329943" y="196645"/>
                    </a:cubicBezTo>
                    <a:cubicBezTo>
                      <a:pt x="327244" y="183148"/>
                      <a:pt x="325300" y="180168"/>
                      <a:pt x="329943" y="164691"/>
                    </a:cubicBezTo>
                    <a:cubicBezTo>
                      <a:pt x="330609" y="162471"/>
                      <a:pt x="333220" y="161413"/>
                      <a:pt x="334859" y="159774"/>
                    </a:cubicBezTo>
                    <a:cubicBezTo>
                      <a:pt x="338956" y="160593"/>
                      <a:pt x="342971" y="162232"/>
                      <a:pt x="347149" y="162232"/>
                    </a:cubicBezTo>
                    <a:cubicBezTo>
                      <a:pt x="353755" y="162232"/>
                      <a:pt x="360253" y="160546"/>
                      <a:pt x="366814" y="159774"/>
                    </a:cubicBezTo>
                    <a:lnTo>
                      <a:pt x="388936" y="157316"/>
                    </a:lnTo>
                    <a:cubicBezTo>
                      <a:pt x="391394" y="155677"/>
                      <a:pt x="394003" y="154245"/>
                      <a:pt x="396310" y="152400"/>
                    </a:cubicBezTo>
                    <a:cubicBezTo>
                      <a:pt x="399714" y="149677"/>
                      <a:pt x="403890" y="143312"/>
                      <a:pt x="408601" y="142568"/>
                    </a:cubicBezTo>
                    <a:cubicBezTo>
                      <a:pt x="421576" y="140519"/>
                      <a:pt x="434820" y="140929"/>
                      <a:pt x="447930" y="140110"/>
                    </a:cubicBezTo>
                    <a:cubicBezTo>
                      <a:pt x="452846" y="136833"/>
                      <a:pt x="460810" y="135883"/>
                      <a:pt x="462678" y="130278"/>
                    </a:cubicBezTo>
                    <a:cubicBezTo>
                      <a:pt x="465955" y="120445"/>
                      <a:pt x="462678" y="123722"/>
                      <a:pt x="472510" y="120445"/>
                    </a:cubicBezTo>
                    <a:cubicBezTo>
                      <a:pt x="477082" y="115874"/>
                      <a:pt x="478601" y="113713"/>
                      <a:pt x="484801" y="110613"/>
                    </a:cubicBezTo>
                    <a:cubicBezTo>
                      <a:pt x="487118" y="109454"/>
                      <a:pt x="489717" y="108974"/>
                      <a:pt x="492175" y="108155"/>
                    </a:cubicBezTo>
                    <a:cubicBezTo>
                      <a:pt x="492994" y="105697"/>
                      <a:pt x="493921" y="103272"/>
                      <a:pt x="494633" y="100781"/>
                    </a:cubicBezTo>
                    <a:cubicBezTo>
                      <a:pt x="495561" y="97533"/>
                      <a:pt x="494388" y="92976"/>
                      <a:pt x="497091" y="90949"/>
                    </a:cubicBezTo>
                    <a:cubicBezTo>
                      <a:pt x="499164" y="89394"/>
                      <a:pt x="502007" y="92588"/>
                      <a:pt x="504465" y="93407"/>
                    </a:cubicBezTo>
                    <a:lnTo>
                      <a:pt x="519214" y="83574"/>
                    </a:lnTo>
                    <a:lnTo>
                      <a:pt x="526588" y="78658"/>
                    </a:lnTo>
                    <a:cubicBezTo>
                      <a:pt x="531007" y="91914"/>
                      <a:pt x="526438" y="84677"/>
                      <a:pt x="533962" y="78658"/>
                    </a:cubicBezTo>
                    <a:cubicBezTo>
                      <a:pt x="535985" y="77039"/>
                      <a:pt x="538878" y="77019"/>
                      <a:pt x="541336" y="76200"/>
                    </a:cubicBezTo>
                    <a:cubicBezTo>
                      <a:pt x="543794" y="77839"/>
                      <a:pt x="546068" y="79795"/>
                      <a:pt x="548710" y="81116"/>
                    </a:cubicBezTo>
                    <a:cubicBezTo>
                      <a:pt x="551028" y="82275"/>
                      <a:pt x="554253" y="81742"/>
                      <a:pt x="556085" y="83574"/>
                    </a:cubicBezTo>
                    <a:cubicBezTo>
                      <a:pt x="557917" y="85406"/>
                      <a:pt x="557724" y="88491"/>
                      <a:pt x="558543" y="90949"/>
                    </a:cubicBezTo>
                    <a:cubicBezTo>
                      <a:pt x="561001" y="90130"/>
                      <a:pt x="563361" y="88065"/>
                      <a:pt x="565917" y="88491"/>
                    </a:cubicBezTo>
                    <a:cubicBezTo>
                      <a:pt x="573783" y="89802"/>
                      <a:pt x="573619" y="96193"/>
                      <a:pt x="578207" y="100781"/>
                    </a:cubicBezTo>
                    <a:cubicBezTo>
                      <a:pt x="580296" y="102870"/>
                      <a:pt x="583123" y="104058"/>
                      <a:pt x="585581" y="105697"/>
                    </a:cubicBezTo>
                    <a:cubicBezTo>
                      <a:pt x="588039" y="104878"/>
                      <a:pt x="590381" y="102953"/>
                      <a:pt x="592956" y="103239"/>
                    </a:cubicBezTo>
                    <a:cubicBezTo>
                      <a:pt x="598106" y="103811"/>
                      <a:pt x="607704" y="108155"/>
                      <a:pt x="607704" y="108155"/>
                    </a:cubicBezTo>
                    <a:cubicBezTo>
                      <a:pt x="610162" y="107336"/>
                      <a:pt x="612856" y="104364"/>
                      <a:pt x="615078" y="105697"/>
                    </a:cubicBezTo>
                    <a:cubicBezTo>
                      <a:pt x="628209" y="113575"/>
                      <a:pt x="611387" y="121267"/>
                      <a:pt x="627368" y="110613"/>
                    </a:cubicBezTo>
                    <a:cubicBezTo>
                      <a:pt x="629025" y="110889"/>
                      <a:pt x="651658" y="114498"/>
                      <a:pt x="654407" y="115529"/>
                    </a:cubicBezTo>
                    <a:cubicBezTo>
                      <a:pt x="657173" y="116566"/>
                      <a:pt x="659323" y="118806"/>
                      <a:pt x="661781" y="120445"/>
                    </a:cubicBezTo>
                    <a:cubicBezTo>
                      <a:pt x="664239" y="119626"/>
                      <a:pt x="666906" y="119273"/>
                      <a:pt x="669156" y="117987"/>
                    </a:cubicBezTo>
                    <a:cubicBezTo>
                      <a:pt x="672713" y="115955"/>
                      <a:pt x="675244" y="112277"/>
                      <a:pt x="678988" y="110613"/>
                    </a:cubicBezTo>
                    <a:cubicBezTo>
                      <a:pt x="682806" y="108916"/>
                      <a:pt x="687225" y="109168"/>
                      <a:pt x="691278" y="108155"/>
                    </a:cubicBezTo>
                    <a:cubicBezTo>
                      <a:pt x="699419" y="106120"/>
                      <a:pt x="698817" y="105587"/>
                      <a:pt x="706027" y="100781"/>
                    </a:cubicBezTo>
                    <a:cubicBezTo>
                      <a:pt x="710124" y="101600"/>
                      <a:pt x="714264" y="102226"/>
                      <a:pt x="718317" y="103239"/>
                    </a:cubicBezTo>
                    <a:cubicBezTo>
                      <a:pt x="720831" y="103867"/>
                      <a:pt x="723374" y="106856"/>
                      <a:pt x="725691" y="105697"/>
                    </a:cubicBezTo>
                    <a:cubicBezTo>
                      <a:pt x="728008" y="104538"/>
                      <a:pt x="726530" y="100346"/>
                      <a:pt x="728149" y="98323"/>
                    </a:cubicBezTo>
                    <a:cubicBezTo>
                      <a:pt x="731615" y="93991"/>
                      <a:pt x="738040" y="92568"/>
                      <a:pt x="742898" y="90949"/>
                    </a:cubicBezTo>
                    <a:cubicBezTo>
                      <a:pt x="743717" y="88491"/>
                      <a:pt x="742898" y="84393"/>
                      <a:pt x="745356" y="83574"/>
                    </a:cubicBezTo>
                    <a:cubicBezTo>
                      <a:pt x="747555" y="82841"/>
                      <a:pt x="748462" y="87043"/>
                      <a:pt x="750272" y="88491"/>
                    </a:cubicBezTo>
                    <a:cubicBezTo>
                      <a:pt x="752579" y="90337"/>
                      <a:pt x="755188" y="91768"/>
                      <a:pt x="757646" y="93407"/>
                    </a:cubicBezTo>
                    <a:cubicBezTo>
                      <a:pt x="761743" y="92588"/>
                      <a:pt x="766096" y="92595"/>
                      <a:pt x="769936" y="90949"/>
                    </a:cubicBezTo>
                    <a:cubicBezTo>
                      <a:pt x="777707" y="87618"/>
                      <a:pt x="774576" y="80120"/>
                      <a:pt x="777310" y="73742"/>
                    </a:cubicBezTo>
                    <a:cubicBezTo>
                      <a:pt x="778223" y="71612"/>
                      <a:pt x="780588" y="70465"/>
                      <a:pt x="782227" y="68826"/>
                    </a:cubicBezTo>
                    <a:cubicBezTo>
                      <a:pt x="781407" y="66368"/>
                      <a:pt x="780480" y="63943"/>
                      <a:pt x="779768" y="61452"/>
                    </a:cubicBezTo>
                    <a:cubicBezTo>
                      <a:pt x="778840" y="58204"/>
                      <a:pt x="778821" y="54642"/>
                      <a:pt x="777310" y="51620"/>
                    </a:cubicBezTo>
                    <a:cubicBezTo>
                      <a:pt x="776274" y="49547"/>
                      <a:pt x="774033" y="48342"/>
                      <a:pt x="772394" y="46703"/>
                    </a:cubicBezTo>
                    <a:cubicBezTo>
                      <a:pt x="771575" y="44245"/>
                      <a:pt x="770564" y="41843"/>
                      <a:pt x="769936" y="39329"/>
                    </a:cubicBezTo>
                    <a:cubicBezTo>
                      <a:pt x="768923" y="35276"/>
                      <a:pt x="769795" y="30515"/>
                      <a:pt x="767478" y="27039"/>
                    </a:cubicBezTo>
                    <a:cubicBezTo>
                      <a:pt x="766041" y="24883"/>
                      <a:pt x="762562" y="25400"/>
                      <a:pt x="760104" y="24581"/>
                    </a:cubicBezTo>
                    <a:cubicBezTo>
                      <a:pt x="756212" y="18743"/>
                      <a:pt x="752095" y="16771"/>
                      <a:pt x="757646" y="9832"/>
                    </a:cubicBezTo>
                    <a:cubicBezTo>
                      <a:pt x="759491" y="7525"/>
                      <a:pt x="762320" y="6116"/>
                      <a:pt x="765020" y="4916"/>
                    </a:cubicBezTo>
                    <a:cubicBezTo>
                      <a:pt x="769755" y="2811"/>
                      <a:pt x="779768" y="0"/>
                      <a:pt x="779768" y="0"/>
                    </a:cubicBezTo>
                    <a:cubicBezTo>
                      <a:pt x="787962" y="819"/>
                      <a:pt x="796210" y="1206"/>
                      <a:pt x="804349" y="2458"/>
                    </a:cubicBezTo>
                    <a:cubicBezTo>
                      <a:pt x="813270" y="3830"/>
                      <a:pt x="810999" y="5782"/>
                      <a:pt x="819098" y="9832"/>
                    </a:cubicBezTo>
                    <a:cubicBezTo>
                      <a:pt x="821415" y="10991"/>
                      <a:pt x="824155" y="11132"/>
                      <a:pt x="826472" y="12291"/>
                    </a:cubicBezTo>
                    <a:cubicBezTo>
                      <a:pt x="835099" y="16605"/>
                      <a:pt x="835063" y="18830"/>
                      <a:pt x="841220" y="27039"/>
                    </a:cubicBezTo>
                    <a:cubicBezTo>
                      <a:pt x="842039" y="29497"/>
                      <a:pt x="842519" y="32096"/>
                      <a:pt x="843678" y="34413"/>
                    </a:cubicBezTo>
                    <a:cubicBezTo>
                      <a:pt x="844999" y="37055"/>
                      <a:pt x="851052" y="36052"/>
                      <a:pt x="848594" y="41787"/>
                    </a:cubicBezTo>
                    <a:cubicBezTo>
                      <a:pt x="846136" y="47522"/>
                      <a:pt x="832617" y="63091"/>
                      <a:pt x="828930" y="68826"/>
                    </a:cubicBezTo>
                    <a:cubicBezTo>
                      <a:pt x="825243" y="74562"/>
                      <a:pt x="828495" y="74582"/>
                      <a:pt x="826472" y="76200"/>
                    </a:cubicBezTo>
                    <a:cubicBezTo>
                      <a:pt x="823834" y="78310"/>
                      <a:pt x="819917" y="77839"/>
                      <a:pt x="816639" y="78658"/>
                    </a:cubicBezTo>
                    <a:cubicBezTo>
                      <a:pt x="815000" y="81116"/>
                      <a:pt x="812141" y="83108"/>
                      <a:pt x="811723" y="86032"/>
                    </a:cubicBezTo>
                    <a:cubicBezTo>
                      <a:pt x="811245" y="89377"/>
                      <a:pt x="813253" y="92616"/>
                      <a:pt x="814181" y="95865"/>
                    </a:cubicBezTo>
                    <a:cubicBezTo>
                      <a:pt x="814893" y="98356"/>
                      <a:pt x="815306" y="101017"/>
                      <a:pt x="816639" y="103239"/>
                    </a:cubicBezTo>
                    <a:cubicBezTo>
                      <a:pt x="817832" y="105226"/>
                      <a:pt x="820108" y="106345"/>
                      <a:pt x="821556" y="108155"/>
                    </a:cubicBezTo>
                    <a:cubicBezTo>
                      <a:pt x="823402" y="110462"/>
                      <a:pt x="824833" y="113071"/>
                      <a:pt x="826472" y="115529"/>
                    </a:cubicBezTo>
                    <a:cubicBezTo>
                      <a:pt x="811021" y="120679"/>
                      <a:pt x="823898" y="113656"/>
                      <a:pt x="821556" y="125361"/>
                    </a:cubicBezTo>
                    <a:cubicBezTo>
                      <a:pt x="821101" y="127634"/>
                      <a:pt x="818278" y="128639"/>
                      <a:pt x="816639" y="130278"/>
                    </a:cubicBezTo>
                    <a:cubicBezTo>
                      <a:pt x="817459" y="132736"/>
                      <a:pt x="821966" y="133555"/>
                      <a:pt x="819098" y="137652"/>
                    </a:cubicBezTo>
                    <a:cubicBezTo>
                      <a:pt x="816230" y="141749"/>
                      <a:pt x="803530" y="150761"/>
                      <a:pt x="799433" y="154858"/>
                    </a:cubicBezTo>
                    <a:cubicBezTo>
                      <a:pt x="795336" y="158955"/>
                      <a:pt x="793938" y="159335"/>
                      <a:pt x="794517" y="162232"/>
                    </a:cubicBezTo>
                    <a:cubicBezTo>
                      <a:pt x="795096" y="165129"/>
                      <a:pt x="799433" y="165510"/>
                      <a:pt x="801891" y="167149"/>
                    </a:cubicBezTo>
                    <a:cubicBezTo>
                      <a:pt x="800252" y="169607"/>
                      <a:pt x="797461" y="171609"/>
                      <a:pt x="796975" y="174523"/>
                    </a:cubicBezTo>
                    <a:cubicBezTo>
                      <a:pt x="795047" y="186090"/>
                      <a:pt x="807096" y="179343"/>
                      <a:pt x="792059" y="184355"/>
                    </a:cubicBezTo>
                    <a:cubicBezTo>
                      <a:pt x="790420" y="181897"/>
                      <a:pt x="789232" y="179070"/>
                      <a:pt x="787143" y="176981"/>
                    </a:cubicBezTo>
                    <a:cubicBezTo>
                      <a:pt x="780098" y="169937"/>
                      <a:pt x="780390" y="173605"/>
                      <a:pt x="772394" y="169607"/>
                    </a:cubicBezTo>
                    <a:cubicBezTo>
                      <a:pt x="769752" y="168286"/>
                      <a:pt x="767662" y="166012"/>
                      <a:pt x="765020" y="164691"/>
                    </a:cubicBezTo>
                    <a:cubicBezTo>
                      <a:pt x="752191" y="158276"/>
                      <a:pt x="718327" y="159919"/>
                      <a:pt x="715859" y="159774"/>
                    </a:cubicBezTo>
                    <a:cubicBezTo>
                      <a:pt x="712130" y="157288"/>
                      <a:pt x="706199" y="152400"/>
                      <a:pt x="701110" y="152400"/>
                    </a:cubicBezTo>
                    <a:cubicBezTo>
                      <a:pt x="698519" y="152400"/>
                      <a:pt x="696265" y="154296"/>
                      <a:pt x="693736" y="154858"/>
                    </a:cubicBezTo>
                    <a:cubicBezTo>
                      <a:pt x="688871" y="155939"/>
                      <a:pt x="683904" y="156497"/>
                      <a:pt x="678988" y="157316"/>
                    </a:cubicBezTo>
                    <a:cubicBezTo>
                      <a:pt x="675711" y="156497"/>
                      <a:pt x="672404" y="155786"/>
                      <a:pt x="669156" y="154858"/>
                    </a:cubicBezTo>
                    <a:cubicBezTo>
                      <a:pt x="666664" y="154146"/>
                      <a:pt x="664239" y="151581"/>
                      <a:pt x="661781" y="152400"/>
                    </a:cubicBezTo>
                    <a:cubicBezTo>
                      <a:pt x="658483" y="153499"/>
                      <a:pt x="657236" y="157753"/>
                      <a:pt x="654407" y="159774"/>
                    </a:cubicBezTo>
                    <a:cubicBezTo>
                      <a:pt x="649089" y="163573"/>
                      <a:pt x="643221" y="165142"/>
                      <a:pt x="637201" y="167149"/>
                    </a:cubicBezTo>
                    <a:cubicBezTo>
                      <a:pt x="637180" y="167234"/>
                      <a:pt x="633460" y="183180"/>
                      <a:pt x="632285" y="184355"/>
                    </a:cubicBezTo>
                    <a:cubicBezTo>
                      <a:pt x="630453" y="186187"/>
                      <a:pt x="627368" y="185994"/>
                      <a:pt x="624910" y="186813"/>
                    </a:cubicBezTo>
                    <a:cubicBezTo>
                      <a:pt x="608006" y="198082"/>
                      <a:pt x="615767" y="194777"/>
                      <a:pt x="602788" y="199103"/>
                    </a:cubicBezTo>
                    <a:cubicBezTo>
                      <a:pt x="570133" y="192572"/>
                      <a:pt x="586521" y="193356"/>
                      <a:pt x="553627" y="196645"/>
                    </a:cubicBezTo>
                    <a:cubicBezTo>
                      <a:pt x="551988" y="198284"/>
                      <a:pt x="549747" y="199488"/>
                      <a:pt x="548710" y="201561"/>
                    </a:cubicBezTo>
                    <a:cubicBezTo>
                      <a:pt x="546392" y="206196"/>
                      <a:pt x="543794" y="216310"/>
                      <a:pt x="543794" y="216310"/>
                    </a:cubicBezTo>
                    <a:cubicBezTo>
                      <a:pt x="547883" y="228576"/>
                      <a:pt x="547614" y="219864"/>
                      <a:pt x="538878" y="228600"/>
                    </a:cubicBezTo>
                    <a:cubicBezTo>
                      <a:pt x="523477" y="244001"/>
                      <a:pt x="553646" y="234185"/>
                      <a:pt x="506923" y="238432"/>
                    </a:cubicBezTo>
                    <a:cubicBezTo>
                      <a:pt x="503646" y="239252"/>
                      <a:pt x="500415" y="240287"/>
                      <a:pt x="497091" y="240891"/>
                    </a:cubicBezTo>
                    <a:cubicBezTo>
                      <a:pt x="491391" y="241928"/>
                      <a:pt x="483655" y="238950"/>
                      <a:pt x="479885" y="243349"/>
                    </a:cubicBezTo>
                    <a:cubicBezTo>
                      <a:pt x="476642" y="247133"/>
                      <a:pt x="480767" y="253369"/>
                      <a:pt x="482343" y="258097"/>
                    </a:cubicBezTo>
                    <a:cubicBezTo>
                      <a:pt x="483277" y="260900"/>
                      <a:pt x="485620" y="263013"/>
                      <a:pt x="487259" y="265471"/>
                    </a:cubicBezTo>
                    <a:cubicBezTo>
                      <a:pt x="486440" y="268748"/>
                      <a:pt x="484323" y="271959"/>
                      <a:pt x="484801" y="275303"/>
                    </a:cubicBezTo>
                    <a:cubicBezTo>
                      <a:pt x="485664" y="281341"/>
                      <a:pt x="492950" y="284833"/>
                      <a:pt x="497091" y="287594"/>
                    </a:cubicBezTo>
                    <a:cubicBezTo>
                      <a:pt x="507358" y="318395"/>
                      <a:pt x="494417" y="287148"/>
                      <a:pt x="570833" y="299884"/>
                    </a:cubicBezTo>
                    <a:cubicBezTo>
                      <a:pt x="573389" y="300310"/>
                      <a:pt x="572132" y="304941"/>
                      <a:pt x="573291" y="307258"/>
                    </a:cubicBezTo>
                    <a:cubicBezTo>
                      <a:pt x="577738" y="316152"/>
                      <a:pt x="577076" y="314255"/>
                      <a:pt x="585581" y="317091"/>
                    </a:cubicBezTo>
                    <a:cubicBezTo>
                      <a:pt x="587235" y="318744"/>
                      <a:pt x="596035" y="326899"/>
                      <a:pt x="595414" y="329381"/>
                    </a:cubicBezTo>
                    <a:cubicBezTo>
                      <a:pt x="594785" y="331895"/>
                      <a:pt x="590497" y="331020"/>
                      <a:pt x="588039" y="331839"/>
                    </a:cubicBezTo>
                    <a:cubicBezTo>
                      <a:pt x="585581" y="330200"/>
                      <a:pt x="583380" y="328087"/>
                      <a:pt x="580665" y="326923"/>
                    </a:cubicBezTo>
                    <a:cubicBezTo>
                      <a:pt x="577560" y="325592"/>
                      <a:pt x="574081" y="325393"/>
                      <a:pt x="570833" y="324465"/>
                    </a:cubicBezTo>
                    <a:cubicBezTo>
                      <a:pt x="546149" y="317412"/>
                      <a:pt x="584363" y="327233"/>
                      <a:pt x="553627" y="319549"/>
                    </a:cubicBezTo>
                    <a:cubicBezTo>
                      <a:pt x="551169" y="317910"/>
                      <a:pt x="548522" y="316524"/>
                      <a:pt x="546252" y="314632"/>
                    </a:cubicBezTo>
                    <a:cubicBezTo>
                      <a:pt x="543582" y="312407"/>
                      <a:pt x="542330" y="307664"/>
                      <a:pt x="538878" y="307258"/>
                    </a:cubicBezTo>
                    <a:cubicBezTo>
                      <a:pt x="527457" y="305914"/>
                      <a:pt x="515936" y="308897"/>
                      <a:pt x="504465" y="309716"/>
                    </a:cubicBezTo>
                    <a:cubicBezTo>
                      <a:pt x="503646" y="313813"/>
                      <a:pt x="503020" y="317954"/>
                      <a:pt x="502007" y="322007"/>
                    </a:cubicBezTo>
                    <a:cubicBezTo>
                      <a:pt x="500761" y="326990"/>
                      <a:pt x="495947" y="334163"/>
                      <a:pt x="502007" y="339213"/>
                    </a:cubicBezTo>
                    <a:cubicBezTo>
                      <a:pt x="505217" y="341888"/>
                      <a:pt x="510245" y="340658"/>
                      <a:pt x="514298" y="341671"/>
                    </a:cubicBezTo>
                    <a:cubicBezTo>
                      <a:pt x="526654" y="344760"/>
                      <a:pt x="517031" y="343038"/>
                      <a:pt x="529046" y="349045"/>
                    </a:cubicBezTo>
                    <a:cubicBezTo>
                      <a:pt x="531363" y="350204"/>
                      <a:pt x="533962" y="350684"/>
                      <a:pt x="536420" y="351503"/>
                    </a:cubicBezTo>
                    <a:cubicBezTo>
                      <a:pt x="542912" y="370980"/>
                      <a:pt x="542188" y="361140"/>
                      <a:pt x="538878" y="381000"/>
                    </a:cubicBezTo>
                    <a:cubicBezTo>
                      <a:pt x="534781" y="380181"/>
                      <a:pt x="530215" y="380615"/>
                      <a:pt x="526588" y="378542"/>
                    </a:cubicBezTo>
                    <a:cubicBezTo>
                      <a:pt x="524023" y="377076"/>
                      <a:pt x="523563" y="373437"/>
                      <a:pt x="521672" y="371168"/>
                    </a:cubicBezTo>
                    <a:cubicBezTo>
                      <a:pt x="519447" y="368498"/>
                      <a:pt x="516523" y="366464"/>
                      <a:pt x="514298" y="363794"/>
                    </a:cubicBezTo>
                    <a:cubicBezTo>
                      <a:pt x="512407" y="361524"/>
                      <a:pt x="511227" y="358727"/>
                      <a:pt x="509381" y="356420"/>
                    </a:cubicBezTo>
                    <a:cubicBezTo>
                      <a:pt x="504181" y="349921"/>
                      <a:pt x="496467" y="346171"/>
                      <a:pt x="489717" y="341671"/>
                    </a:cubicBezTo>
                    <a:lnTo>
                      <a:pt x="474968" y="331839"/>
                    </a:lnTo>
                    <a:lnTo>
                      <a:pt x="467594" y="329381"/>
                    </a:lnTo>
                    <a:cubicBezTo>
                      <a:pt x="465136" y="330200"/>
                      <a:pt x="462711" y="331127"/>
                      <a:pt x="460220" y="331839"/>
                    </a:cubicBezTo>
                    <a:cubicBezTo>
                      <a:pt x="456972" y="332767"/>
                      <a:pt x="453199" y="332423"/>
                      <a:pt x="450388" y="334297"/>
                    </a:cubicBezTo>
                    <a:cubicBezTo>
                      <a:pt x="447930" y="335936"/>
                      <a:pt x="447111" y="339213"/>
                      <a:pt x="445472" y="341671"/>
                    </a:cubicBezTo>
                    <a:cubicBezTo>
                      <a:pt x="446291" y="347407"/>
                      <a:pt x="445950" y="353433"/>
                      <a:pt x="447930" y="358878"/>
                    </a:cubicBezTo>
                    <a:cubicBezTo>
                      <a:pt x="449330" y="362728"/>
                      <a:pt x="452242" y="365988"/>
                      <a:pt x="455304" y="368710"/>
                    </a:cubicBezTo>
                    <a:cubicBezTo>
                      <a:pt x="459720" y="372635"/>
                      <a:pt x="464447" y="376674"/>
                      <a:pt x="470052" y="378542"/>
                    </a:cubicBezTo>
                    <a:cubicBezTo>
                      <a:pt x="487741" y="384438"/>
                      <a:pt x="465645" y="377283"/>
                      <a:pt x="487259" y="383458"/>
                    </a:cubicBezTo>
                    <a:cubicBezTo>
                      <a:pt x="489750" y="384170"/>
                      <a:pt x="492175" y="385097"/>
                      <a:pt x="494633" y="385916"/>
                    </a:cubicBezTo>
                    <a:cubicBezTo>
                      <a:pt x="495452" y="388374"/>
                      <a:pt x="499409" y="392132"/>
                      <a:pt x="497091" y="393291"/>
                    </a:cubicBezTo>
                    <a:cubicBezTo>
                      <a:pt x="493264" y="395205"/>
                      <a:pt x="481940" y="389126"/>
                      <a:pt x="477427" y="388374"/>
                    </a:cubicBezTo>
                    <a:cubicBezTo>
                      <a:pt x="470108" y="387154"/>
                      <a:pt x="462678" y="386735"/>
                      <a:pt x="455304" y="385916"/>
                    </a:cubicBezTo>
                    <a:lnTo>
                      <a:pt x="440556" y="371168"/>
                    </a:lnTo>
                    <a:cubicBezTo>
                      <a:pt x="438917" y="369529"/>
                      <a:pt x="437838" y="366985"/>
                      <a:pt x="435639" y="366252"/>
                    </a:cubicBezTo>
                    <a:lnTo>
                      <a:pt x="428265" y="363794"/>
                    </a:lnTo>
                    <a:cubicBezTo>
                      <a:pt x="425807" y="359697"/>
                      <a:pt x="423758" y="355325"/>
                      <a:pt x="420891" y="351503"/>
                    </a:cubicBezTo>
                    <a:cubicBezTo>
                      <a:pt x="418805" y="348722"/>
                      <a:pt x="415445" y="347021"/>
                      <a:pt x="413517" y="344129"/>
                    </a:cubicBezTo>
                    <a:cubicBezTo>
                      <a:pt x="412080" y="341973"/>
                      <a:pt x="412678" y="338778"/>
                      <a:pt x="411059" y="336755"/>
                    </a:cubicBezTo>
                    <a:cubicBezTo>
                      <a:pt x="409214" y="334448"/>
                      <a:pt x="406385" y="333039"/>
                      <a:pt x="403685" y="331839"/>
                    </a:cubicBezTo>
                    <a:cubicBezTo>
                      <a:pt x="387685" y="324728"/>
                      <a:pt x="381289" y="326228"/>
                      <a:pt x="361898" y="324465"/>
                    </a:cubicBezTo>
                    <a:cubicBezTo>
                      <a:pt x="362717" y="316271"/>
                      <a:pt x="361542" y="307623"/>
                      <a:pt x="364356" y="299884"/>
                    </a:cubicBezTo>
                    <a:cubicBezTo>
                      <a:pt x="365241" y="297449"/>
                      <a:pt x="369707" y="299045"/>
                      <a:pt x="371730" y="297426"/>
                    </a:cubicBezTo>
                    <a:cubicBezTo>
                      <a:pt x="374037" y="295581"/>
                      <a:pt x="375007" y="292510"/>
                      <a:pt x="376646" y="290052"/>
                    </a:cubicBezTo>
                    <a:cubicBezTo>
                      <a:pt x="375007" y="287594"/>
                      <a:pt x="375008" y="283497"/>
                      <a:pt x="371730" y="282678"/>
                    </a:cubicBezTo>
                    <a:cubicBezTo>
                      <a:pt x="368452" y="281859"/>
                      <a:pt x="358620" y="282268"/>
                      <a:pt x="356981" y="285136"/>
                    </a:cubicBezTo>
                    <a:cubicBezTo>
                      <a:pt x="355342" y="288004"/>
                      <a:pt x="361898" y="299884"/>
                      <a:pt x="361898" y="299884"/>
                    </a:cubicBezTo>
                    <a:cubicBezTo>
                      <a:pt x="360259" y="301523"/>
                      <a:pt x="359054" y="303764"/>
                      <a:pt x="356981" y="304800"/>
                    </a:cubicBezTo>
                    <a:cubicBezTo>
                      <a:pt x="353959" y="306311"/>
                      <a:pt x="350397" y="306330"/>
                      <a:pt x="347149" y="307258"/>
                    </a:cubicBezTo>
                    <a:cubicBezTo>
                      <a:pt x="344658" y="307970"/>
                      <a:pt x="342092" y="308557"/>
                      <a:pt x="339775" y="309716"/>
                    </a:cubicBezTo>
                    <a:cubicBezTo>
                      <a:pt x="337133" y="311037"/>
                      <a:pt x="334859" y="312993"/>
                      <a:pt x="332401" y="314632"/>
                    </a:cubicBezTo>
                    <a:cubicBezTo>
                      <a:pt x="333220" y="319548"/>
                      <a:pt x="333778" y="324516"/>
                      <a:pt x="334859" y="329381"/>
                    </a:cubicBezTo>
                    <a:cubicBezTo>
                      <a:pt x="335421" y="331910"/>
                      <a:pt x="337317" y="334164"/>
                      <a:pt x="337317" y="336755"/>
                    </a:cubicBezTo>
                    <a:cubicBezTo>
                      <a:pt x="337317" y="368320"/>
                      <a:pt x="338201" y="363600"/>
                      <a:pt x="332401" y="381000"/>
                    </a:cubicBezTo>
                    <a:cubicBezTo>
                      <a:pt x="333220" y="384277"/>
                      <a:pt x="332985" y="388021"/>
                      <a:pt x="334859" y="390832"/>
                    </a:cubicBezTo>
                    <a:cubicBezTo>
                      <a:pt x="336498" y="393290"/>
                      <a:pt x="340144" y="393660"/>
                      <a:pt x="342233" y="395749"/>
                    </a:cubicBezTo>
                    <a:cubicBezTo>
                      <a:pt x="358616" y="412133"/>
                      <a:pt x="334863" y="394932"/>
                      <a:pt x="354523" y="408039"/>
                    </a:cubicBezTo>
                    <a:cubicBezTo>
                      <a:pt x="357801" y="412955"/>
                      <a:pt x="362488" y="417182"/>
                      <a:pt x="364356" y="422787"/>
                    </a:cubicBezTo>
                    <a:cubicBezTo>
                      <a:pt x="365175" y="425245"/>
                      <a:pt x="364982" y="428329"/>
                      <a:pt x="366814" y="430161"/>
                    </a:cubicBezTo>
                    <a:cubicBezTo>
                      <a:pt x="370992" y="434339"/>
                      <a:pt x="381562" y="439994"/>
                      <a:pt x="381562" y="439994"/>
                    </a:cubicBezTo>
                    <a:cubicBezTo>
                      <a:pt x="392831" y="456898"/>
                      <a:pt x="385789" y="452874"/>
                      <a:pt x="398768" y="457200"/>
                    </a:cubicBezTo>
                    <a:cubicBezTo>
                      <a:pt x="408664" y="467094"/>
                      <a:pt x="399348" y="456094"/>
                      <a:pt x="406143" y="471949"/>
                    </a:cubicBezTo>
                    <a:cubicBezTo>
                      <a:pt x="407307" y="474664"/>
                      <a:pt x="409738" y="476681"/>
                      <a:pt x="411059" y="479323"/>
                    </a:cubicBezTo>
                    <a:cubicBezTo>
                      <a:pt x="412655" y="482514"/>
                      <a:pt x="414128" y="492506"/>
                      <a:pt x="418433" y="494071"/>
                    </a:cubicBezTo>
                    <a:cubicBezTo>
                      <a:pt x="425406" y="496607"/>
                      <a:pt x="433182" y="495710"/>
                      <a:pt x="440556" y="496529"/>
                    </a:cubicBezTo>
                    <a:cubicBezTo>
                      <a:pt x="445999" y="500157"/>
                      <a:pt x="451518" y="503140"/>
                      <a:pt x="455304" y="508820"/>
                    </a:cubicBezTo>
                    <a:cubicBezTo>
                      <a:pt x="456741" y="510976"/>
                      <a:pt x="456943" y="513736"/>
                      <a:pt x="457762" y="516194"/>
                    </a:cubicBezTo>
                    <a:cubicBezTo>
                      <a:pt x="456943" y="521929"/>
                      <a:pt x="457657" y="528106"/>
                      <a:pt x="455304" y="533400"/>
                    </a:cubicBezTo>
                    <a:cubicBezTo>
                      <a:pt x="454104" y="536100"/>
                      <a:pt x="450019" y="540405"/>
                      <a:pt x="447930" y="538316"/>
                    </a:cubicBezTo>
                    <a:cubicBezTo>
                      <a:pt x="444406" y="534792"/>
                      <a:pt x="447048" y="528296"/>
                      <a:pt x="445472" y="523568"/>
                    </a:cubicBezTo>
                    <a:cubicBezTo>
                      <a:pt x="443921" y="518915"/>
                      <a:pt x="438996" y="514635"/>
                      <a:pt x="435639" y="511278"/>
                    </a:cubicBezTo>
                    <a:cubicBezTo>
                      <a:pt x="425807" y="512097"/>
                      <a:pt x="415649" y="511095"/>
                      <a:pt x="406143" y="513736"/>
                    </a:cubicBezTo>
                    <a:cubicBezTo>
                      <a:pt x="400450" y="515317"/>
                      <a:pt x="391394" y="523568"/>
                      <a:pt x="391394" y="523568"/>
                    </a:cubicBezTo>
                    <a:cubicBezTo>
                      <a:pt x="393033" y="528484"/>
                      <a:pt x="391998" y="535442"/>
                      <a:pt x="396310" y="538316"/>
                    </a:cubicBezTo>
                    <a:cubicBezTo>
                      <a:pt x="398768" y="539955"/>
                      <a:pt x="400969" y="542068"/>
                      <a:pt x="403685" y="543232"/>
                    </a:cubicBezTo>
                    <a:cubicBezTo>
                      <a:pt x="406790" y="544563"/>
                      <a:pt x="410269" y="544763"/>
                      <a:pt x="413517" y="545691"/>
                    </a:cubicBezTo>
                    <a:cubicBezTo>
                      <a:pt x="416008" y="546403"/>
                      <a:pt x="418433" y="547330"/>
                      <a:pt x="420891" y="548149"/>
                    </a:cubicBezTo>
                    <a:cubicBezTo>
                      <a:pt x="423349" y="551426"/>
                      <a:pt x="425118" y="555358"/>
                      <a:pt x="428265" y="557981"/>
                    </a:cubicBezTo>
                    <a:cubicBezTo>
                      <a:pt x="430255" y="559640"/>
                      <a:pt x="434927" y="557948"/>
                      <a:pt x="435639" y="560439"/>
                    </a:cubicBezTo>
                    <a:cubicBezTo>
                      <a:pt x="437008" y="565231"/>
                      <a:pt x="436463" y="571436"/>
                      <a:pt x="433181" y="575187"/>
                    </a:cubicBezTo>
                    <a:cubicBezTo>
                      <a:pt x="429769" y="579087"/>
                      <a:pt x="418433" y="580103"/>
                      <a:pt x="418433" y="580103"/>
                    </a:cubicBezTo>
                    <a:cubicBezTo>
                      <a:pt x="415975" y="581742"/>
                      <a:pt x="413701" y="583699"/>
                      <a:pt x="411059" y="585020"/>
                    </a:cubicBezTo>
                    <a:cubicBezTo>
                      <a:pt x="405690" y="587705"/>
                      <a:pt x="396601" y="588734"/>
                      <a:pt x="391394" y="589936"/>
                    </a:cubicBezTo>
                    <a:cubicBezTo>
                      <a:pt x="384811" y="591455"/>
                      <a:pt x="371730" y="594852"/>
                      <a:pt x="371730" y="594852"/>
                    </a:cubicBezTo>
                    <a:cubicBezTo>
                      <a:pt x="370911" y="597310"/>
                      <a:pt x="369272" y="599635"/>
                      <a:pt x="369272" y="602226"/>
                    </a:cubicBezTo>
                    <a:cubicBezTo>
                      <a:pt x="369272" y="616105"/>
                      <a:pt x="382912" y="610842"/>
                      <a:pt x="393852" y="612058"/>
                    </a:cubicBezTo>
                    <a:cubicBezTo>
                      <a:pt x="397130" y="612877"/>
                      <a:pt x="400436" y="613588"/>
                      <a:pt x="403685" y="614516"/>
                    </a:cubicBezTo>
                    <a:cubicBezTo>
                      <a:pt x="406176" y="615228"/>
                      <a:pt x="408518" y="616466"/>
                      <a:pt x="411059" y="616974"/>
                    </a:cubicBezTo>
                    <a:cubicBezTo>
                      <a:pt x="416740" y="618110"/>
                      <a:pt x="422530" y="618613"/>
                      <a:pt x="428265" y="619432"/>
                    </a:cubicBezTo>
                    <a:cubicBezTo>
                      <a:pt x="429884" y="624290"/>
                      <a:pt x="431307" y="630716"/>
                      <a:pt x="435639" y="634181"/>
                    </a:cubicBezTo>
                    <a:cubicBezTo>
                      <a:pt x="437663" y="635800"/>
                      <a:pt x="440489" y="636056"/>
                      <a:pt x="443014" y="636639"/>
                    </a:cubicBezTo>
                    <a:cubicBezTo>
                      <a:pt x="478268" y="644774"/>
                      <a:pt x="457145" y="638072"/>
                      <a:pt x="474968" y="644013"/>
                    </a:cubicBezTo>
                    <a:cubicBezTo>
                      <a:pt x="484894" y="658899"/>
                      <a:pt x="482276" y="659603"/>
                      <a:pt x="514298" y="648929"/>
                    </a:cubicBezTo>
                    <a:cubicBezTo>
                      <a:pt x="517503" y="647861"/>
                      <a:pt x="515937" y="642374"/>
                      <a:pt x="516756" y="639097"/>
                    </a:cubicBezTo>
                    <a:cubicBezTo>
                      <a:pt x="515937" y="635000"/>
                      <a:pt x="517252" y="629761"/>
                      <a:pt x="514298" y="626807"/>
                    </a:cubicBezTo>
                    <a:cubicBezTo>
                      <a:pt x="510633" y="623143"/>
                      <a:pt x="499549" y="621891"/>
                      <a:pt x="499549" y="621891"/>
                    </a:cubicBezTo>
                    <a:cubicBezTo>
                      <a:pt x="497910" y="620252"/>
                      <a:pt x="495825" y="618961"/>
                      <a:pt x="494633" y="616974"/>
                    </a:cubicBezTo>
                    <a:cubicBezTo>
                      <a:pt x="489431" y="608304"/>
                      <a:pt x="496214" y="608747"/>
                      <a:pt x="484801" y="602226"/>
                    </a:cubicBezTo>
                    <a:cubicBezTo>
                      <a:pt x="481868" y="600550"/>
                      <a:pt x="478246" y="600587"/>
                      <a:pt x="474968" y="599768"/>
                    </a:cubicBezTo>
                    <a:cubicBezTo>
                      <a:pt x="472510" y="598129"/>
                      <a:pt x="470483" y="595471"/>
                      <a:pt x="467594" y="594852"/>
                    </a:cubicBezTo>
                    <a:cubicBezTo>
                      <a:pt x="458745" y="592956"/>
                      <a:pt x="449526" y="593590"/>
                      <a:pt x="440556" y="592394"/>
                    </a:cubicBezTo>
                    <a:cubicBezTo>
                      <a:pt x="437207" y="591947"/>
                      <a:pt x="434001" y="590755"/>
                      <a:pt x="430723" y="589936"/>
                    </a:cubicBezTo>
                    <a:cubicBezTo>
                      <a:pt x="428265" y="588297"/>
                      <a:pt x="426215" y="584304"/>
                      <a:pt x="423349" y="585020"/>
                    </a:cubicBezTo>
                    <a:cubicBezTo>
                      <a:pt x="420835" y="585648"/>
                      <a:pt x="418574" y="591235"/>
                      <a:pt x="420891" y="592394"/>
                    </a:cubicBezTo>
                    <a:cubicBezTo>
                      <a:pt x="424628" y="594262"/>
                      <a:pt x="429084" y="590755"/>
                      <a:pt x="433181" y="589936"/>
                    </a:cubicBezTo>
                    <a:cubicBezTo>
                      <a:pt x="434000" y="581742"/>
                      <a:pt x="431490" y="572468"/>
                      <a:pt x="435639" y="565355"/>
                    </a:cubicBezTo>
                    <a:cubicBezTo>
                      <a:pt x="438250" y="560879"/>
                      <a:pt x="445472" y="562078"/>
                      <a:pt x="450388" y="560439"/>
                    </a:cubicBezTo>
                    <a:lnTo>
                      <a:pt x="457762" y="557981"/>
                    </a:lnTo>
                    <a:cubicBezTo>
                      <a:pt x="475297" y="563826"/>
                      <a:pt x="454095" y="555537"/>
                      <a:pt x="472510" y="567813"/>
                    </a:cubicBezTo>
                    <a:cubicBezTo>
                      <a:pt x="474666" y="569250"/>
                      <a:pt x="477427" y="569452"/>
                      <a:pt x="479885" y="570271"/>
                    </a:cubicBezTo>
                    <a:cubicBezTo>
                      <a:pt x="485421" y="586878"/>
                      <a:pt x="486030" y="578874"/>
                      <a:pt x="489717" y="582561"/>
                    </a:cubicBezTo>
                    <a:cubicBezTo>
                      <a:pt x="493404" y="586248"/>
                      <a:pt x="496158" y="591558"/>
                      <a:pt x="502007" y="592394"/>
                    </a:cubicBezTo>
                    <a:cubicBezTo>
                      <a:pt x="537077" y="597404"/>
                      <a:pt x="510968" y="599505"/>
                      <a:pt x="570833" y="602226"/>
                    </a:cubicBezTo>
                    <a:cubicBezTo>
                      <a:pt x="574930" y="603045"/>
                      <a:pt x="580404" y="601512"/>
                      <a:pt x="583123" y="604684"/>
                    </a:cubicBezTo>
                    <a:cubicBezTo>
                      <a:pt x="586366" y="608468"/>
                      <a:pt x="584500" y="614567"/>
                      <a:pt x="585581" y="619432"/>
                    </a:cubicBezTo>
                    <a:cubicBezTo>
                      <a:pt x="586143" y="621962"/>
                      <a:pt x="586706" y="624585"/>
                      <a:pt x="588039" y="626807"/>
                    </a:cubicBezTo>
                    <a:cubicBezTo>
                      <a:pt x="589231" y="628794"/>
                      <a:pt x="591102" y="630332"/>
                      <a:pt x="592956" y="631723"/>
                    </a:cubicBezTo>
                    <a:cubicBezTo>
                      <a:pt x="597683" y="635268"/>
                      <a:pt x="607704" y="641555"/>
                      <a:pt x="607704" y="641555"/>
                    </a:cubicBezTo>
                    <a:cubicBezTo>
                      <a:pt x="615495" y="653241"/>
                      <a:pt x="611686" y="646126"/>
                      <a:pt x="617536" y="663678"/>
                    </a:cubicBezTo>
                    <a:lnTo>
                      <a:pt x="619994" y="671052"/>
                    </a:lnTo>
                    <a:cubicBezTo>
                      <a:pt x="622616" y="678918"/>
                      <a:pt x="620649" y="679573"/>
                      <a:pt x="629827" y="680884"/>
                    </a:cubicBezTo>
                    <a:cubicBezTo>
                      <a:pt x="638786" y="682164"/>
                      <a:pt x="647852" y="682523"/>
                      <a:pt x="656865" y="683342"/>
                    </a:cubicBezTo>
                    <a:cubicBezTo>
                      <a:pt x="674072" y="689077"/>
                      <a:pt x="669975" y="683342"/>
                      <a:pt x="674072" y="695632"/>
                    </a:cubicBezTo>
                    <a:cubicBezTo>
                      <a:pt x="673253" y="699729"/>
                      <a:pt x="673687" y="704295"/>
                      <a:pt x="671614" y="707923"/>
                    </a:cubicBezTo>
                    <a:cubicBezTo>
                      <a:pt x="669372" y="711846"/>
                      <a:pt x="660650" y="714035"/>
                      <a:pt x="656865" y="715297"/>
                    </a:cubicBezTo>
                    <a:cubicBezTo>
                      <a:pt x="654407" y="713658"/>
                      <a:pt x="651760" y="712272"/>
                      <a:pt x="649491" y="710381"/>
                    </a:cubicBezTo>
                    <a:cubicBezTo>
                      <a:pt x="646821" y="708156"/>
                      <a:pt x="645009" y="704935"/>
                      <a:pt x="642117" y="703007"/>
                    </a:cubicBezTo>
                    <a:cubicBezTo>
                      <a:pt x="639961" y="701570"/>
                      <a:pt x="637201" y="701368"/>
                      <a:pt x="634743" y="700549"/>
                    </a:cubicBezTo>
                    <a:cubicBezTo>
                      <a:pt x="613610" y="686459"/>
                      <a:pt x="640345" y="703350"/>
                      <a:pt x="619994" y="693174"/>
                    </a:cubicBezTo>
                    <a:cubicBezTo>
                      <a:pt x="617352" y="691853"/>
                      <a:pt x="615262" y="689579"/>
                      <a:pt x="612620" y="688258"/>
                    </a:cubicBezTo>
                    <a:cubicBezTo>
                      <a:pt x="592267" y="678081"/>
                      <a:pt x="619005" y="694973"/>
                      <a:pt x="597872" y="680884"/>
                    </a:cubicBezTo>
                    <a:cubicBezTo>
                      <a:pt x="597053" y="677607"/>
                      <a:pt x="597288" y="673863"/>
                      <a:pt x="595414" y="671052"/>
                    </a:cubicBezTo>
                    <a:cubicBezTo>
                      <a:pt x="587343" y="658946"/>
                      <a:pt x="585913" y="659691"/>
                      <a:pt x="575749" y="656303"/>
                    </a:cubicBezTo>
                    <a:cubicBezTo>
                      <a:pt x="573291" y="653845"/>
                      <a:pt x="571393" y="650654"/>
                      <a:pt x="568375" y="648929"/>
                    </a:cubicBezTo>
                    <a:cubicBezTo>
                      <a:pt x="565442" y="647253"/>
                      <a:pt x="561791" y="647399"/>
                      <a:pt x="558543" y="646471"/>
                    </a:cubicBezTo>
                    <a:cubicBezTo>
                      <a:pt x="556051" y="645759"/>
                      <a:pt x="553626" y="644832"/>
                      <a:pt x="551168" y="644013"/>
                    </a:cubicBezTo>
                    <a:cubicBezTo>
                      <a:pt x="548710" y="645652"/>
                      <a:pt x="545883" y="646840"/>
                      <a:pt x="543794" y="648929"/>
                    </a:cubicBezTo>
                    <a:cubicBezTo>
                      <a:pt x="541705" y="651018"/>
                      <a:pt x="540723" y="653996"/>
                      <a:pt x="538878" y="656303"/>
                    </a:cubicBezTo>
                    <a:cubicBezTo>
                      <a:pt x="537430" y="658113"/>
                      <a:pt x="535601" y="659581"/>
                      <a:pt x="533962" y="661220"/>
                    </a:cubicBezTo>
                    <a:cubicBezTo>
                      <a:pt x="551164" y="672688"/>
                      <a:pt x="532985" y="662286"/>
                      <a:pt x="570833" y="668594"/>
                    </a:cubicBezTo>
                    <a:cubicBezTo>
                      <a:pt x="575944" y="669446"/>
                      <a:pt x="585581" y="673510"/>
                      <a:pt x="585581" y="673510"/>
                    </a:cubicBezTo>
                    <a:cubicBezTo>
                      <a:pt x="587220" y="675149"/>
                      <a:pt x="589461" y="676353"/>
                      <a:pt x="590498" y="678426"/>
                    </a:cubicBezTo>
                    <a:cubicBezTo>
                      <a:pt x="591572" y="680573"/>
                      <a:pt x="595259" y="699463"/>
                      <a:pt x="595414" y="700549"/>
                    </a:cubicBezTo>
                    <a:cubicBezTo>
                      <a:pt x="597282" y="713628"/>
                      <a:pt x="590988" y="730536"/>
                      <a:pt x="600330" y="739878"/>
                    </a:cubicBezTo>
                    <a:lnTo>
                      <a:pt x="607704" y="747252"/>
                    </a:lnTo>
                    <a:cubicBezTo>
                      <a:pt x="609639" y="754992"/>
                      <a:pt x="613899" y="770355"/>
                      <a:pt x="612620" y="776749"/>
                    </a:cubicBezTo>
                    <a:cubicBezTo>
                      <a:pt x="612041" y="779646"/>
                      <a:pt x="607704" y="780026"/>
                      <a:pt x="605246" y="781665"/>
                    </a:cubicBezTo>
                    <a:cubicBezTo>
                      <a:pt x="602788" y="780846"/>
                      <a:pt x="599895" y="780826"/>
                      <a:pt x="597872" y="779207"/>
                    </a:cubicBezTo>
                    <a:cubicBezTo>
                      <a:pt x="581239" y="765899"/>
                      <a:pt x="608417" y="777104"/>
                      <a:pt x="583123" y="764458"/>
                    </a:cubicBezTo>
                    <a:cubicBezTo>
                      <a:pt x="578488" y="762141"/>
                      <a:pt x="572687" y="762416"/>
                      <a:pt x="568375" y="759542"/>
                    </a:cubicBezTo>
                    <a:cubicBezTo>
                      <a:pt x="550997" y="747957"/>
                      <a:pt x="572511" y="762496"/>
                      <a:pt x="551168" y="747252"/>
                    </a:cubicBezTo>
                    <a:cubicBezTo>
                      <a:pt x="548764" y="745535"/>
                      <a:pt x="546436" y="743657"/>
                      <a:pt x="543794" y="742336"/>
                    </a:cubicBezTo>
                    <a:cubicBezTo>
                      <a:pt x="541477" y="741177"/>
                      <a:pt x="538878" y="740697"/>
                      <a:pt x="536420" y="739878"/>
                    </a:cubicBezTo>
                    <a:cubicBezTo>
                      <a:pt x="533962" y="738239"/>
                      <a:pt x="530891" y="737268"/>
                      <a:pt x="529046" y="734961"/>
                    </a:cubicBezTo>
                    <a:cubicBezTo>
                      <a:pt x="527428" y="732938"/>
                      <a:pt x="527747" y="729904"/>
                      <a:pt x="526588" y="727587"/>
                    </a:cubicBezTo>
                    <a:cubicBezTo>
                      <a:pt x="525267" y="724945"/>
                      <a:pt x="523311" y="722671"/>
                      <a:pt x="521672" y="720213"/>
                    </a:cubicBezTo>
                    <a:cubicBezTo>
                      <a:pt x="518394" y="721032"/>
                      <a:pt x="514772" y="720995"/>
                      <a:pt x="511839" y="722671"/>
                    </a:cubicBezTo>
                    <a:cubicBezTo>
                      <a:pt x="508821" y="724396"/>
                      <a:pt x="507135" y="727820"/>
                      <a:pt x="504465" y="730045"/>
                    </a:cubicBezTo>
                    <a:cubicBezTo>
                      <a:pt x="502196" y="731936"/>
                      <a:pt x="499398" y="733115"/>
                      <a:pt x="497091" y="734961"/>
                    </a:cubicBezTo>
                    <a:cubicBezTo>
                      <a:pt x="495281" y="736409"/>
                      <a:pt x="494162" y="738685"/>
                      <a:pt x="492175" y="739878"/>
                    </a:cubicBezTo>
                    <a:cubicBezTo>
                      <a:pt x="489953" y="741211"/>
                      <a:pt x="487118" y="741177"/>
                      <a:pt x="484801" y="742336"/>
                    </a:cubicBezTo>
                    <a:cubicBezTo>
                      <a:pt x="465743" y="751865"/>
                      <a:pt x="488587" y="743533"/>
                      <a:pt x="470052" y="749710"/>
                    </a:cubicBezTo>
                    <a:cubicBezTo>
                      <a:pt x="470871" y="752987"/>
                      <a:pt x="471582" y="756294"/>
                      <a:pt x="472510" y="759542"/>
                    </a:cubicBezTo>
                    <a:cubicBezTo>
                      <a:pt x="473222" y="762033"/>
                      <a:pt x="474406" y="764387"/>
                      <a:pt x="474968" y="766916"/>
                    </a:cubicBezTo>
                    <a:cubicBezTo>
                      <a:pt x="478506" y="782833"/>
                      <a:pt x="474848" y="779005"/>
                      <a:pt x="482343" y="791497"/>
                    </a:cubicBezTo>
                    <a:cubicBezTo>
                      <a:pt x="485383" y="796563"/>
                      <a:pt x="486570" y="804377"/>
                      <a:pt x="492175" y="806245"/>
                    </a:cubicBezTo>
                    <a:lnTo>
                      <a:pt x="499549" y="808703"/>
                    </a:lnTo>
                    <a:cubicBezTo>
                      <a:pt x="504465" y="807884"/>
                      <a:pt x="510242" y="809142"/>
                      <a:pt x="514298" y="806245"/>
                    </a:cubicBezTo>
                    <a:cubicBezTo>
                      <a:pt x="517047" y="804282"/>
                      <a:pt x="513551" y="797481"/>
                      <a:pt x="516756" y="796413"/>
                    </a:cubicBezTo>
                    <a:cubicBezTo>
                      <a:pt x="520028" y="795322"/>
                      <a:pt x="523441" y="810299"/>
                      <a:pt x="524130" y="811161"/>
                    </a:cubicBezTo>
                    <a:cubicBezTo>
                      <a:pt x="525975" y="813468"/>
                      <a:pt x="529234" y="814187"/>
                      <a:pt x="531504" y="816078"/>
                    </a:cubicBezTo>
                    <a:cubicBezTo>
                      <a:pt x="534174" y="818303"/>
                      <a:pt x="536420" y="820994"/>
                      <a:pt x="538878" y="823452"/>
                    </a:cubicBezTo>
                    <a:cubicBezTo>
                      <a:pt x="532307" y="843166"/>
                      <a:pt x="544153" y="815020"/>
                      <a:pt x="516756" y="833284"/>
                    </a:cubicBezTo>
                    <a:cubicBezTo>
                      <a:pt x="513280" y="835601"/>
                      <a:pt x="515944" y="841734"/>
                      <a:pt x="514298" y="845574"/>
                    </a:cubicBezTo>
                    <a:cubicBezTo>
                      <a:pt x="513385" y="847704"/>
                      <a:pt x="511235" y="849100"/>
                      <a:pt x="509381" y="850491"/>
                    </a:cubicBezTo>
                    <a:cubicBezTo>
                      <a:pt x="504654" y="854036"/>
                      <a:pt x="494633" y="860323"/>
                      <a:pt x="494633" y="860323"/>
                    </a:cubicBezTo>
                    <a:cubicBezTo>
                      <a:pt x="492175" y="859504"/>
                      <a:pt x="488877" y="859888"/>
                      <a:pt x="487259" y="857865"/>
                    </a:cubicBezTo>
                    <a:cubicBezTo>
                      <a:pt x="482175" y="851510"/>
                      <a:pt x="485264" y="846642"/>
                      <a:pt x="487259" y="840658"/>
                    </a:cubicBezTo>
                    <a:cubicBezTo>
                      <a:pt x="486440" y="837381"/>
                      <a:pt x="486911" y="833464"/>
                      <a:pt x="484801" y="830826"/>
                    </a:cubicBezTo>
                    <a:cubicBezTo>
                      <a:pt x="483182" y="828803"/>
                      <a:pt x="479744" y="829527"/>
                      <a:pt x="477427" y="828368"/>
                    </a:cubicBezTo>
                    <a:cubicBezTo>
                      <a:pt x="474784" y="827047"/>
                      <a:pt x="472510" y="825091"/>
                      <a:pt x="470052" y="823452"/>
                    </a:cubicBezTo>
                    <a:cubicBezTo>
                      <a:pt x="465136" y="825091"/>
                      <a:pt x="460220" y="830007"/>
                      <a:pt x="455304" y="828368"/>
                    </a:cubicBezTo>
                    <a:lnTo>
                      <a:pt x="440556" y="823452"/>
                    </a:lnTo>
                    <a:cubicBezTo>
                      <a:pt x="434001" y="824271"/>
                      <a:pt x="426627" y="822633"/>
                      <a:pt x="420891" y="825910"/>
                    </a:cubicBezTo>
                    <a:cubicBezTo>
                      <a:pt x="418641" y="827195"/>
                      <a:pt x="422091" y="831019"/>
                      <a:pt x="423349" y="833284"/>
                    </a:cubicBezTo>
                    <a:cubicBezTo>
                      <a:pt x="426218" y="838449"/>
                      <a:pt x="428265" y="844755"/>
                      <a:pt x="433181" y="848032"/>
                    </a:cubicBezTo>
                    <a:cubicBezTo>
                      <a:pt x="443448" y="854877"/>
                      <a:pt x="438467" y="850860"/>
                      <a:pt x="447930" y="860323"/>
                    </a:cubicBezTo>
                    <a:lnTo>
                      <a:pt x="455304" y="882445"/>
                    </a:lnTo>
                    <a:cubicBezTo>
                      <a:pt x="456123" y="884903"/>
                      <a:pt x="456603" y="887502"/>
                      <a:pt x="457762" y="889820"/>
                    </a:cubicBezTo>
                    <a:cubicBezTo>
                      <a:pt x="459401" y="893097"/>
                      <a:pt x="460087" y="897061"/>
                      <a:pt x="462678" y="899652"/>
                    </a:cubicBezTo>
                    <a:cubicBezTo>
                      <a:pt x="464510" y="901484"/>
                      <a:pt x="467735" y="900951"/>
                      <a:pt x="470052" y="902110"/>
                    </a:cubicBezTo>
                    <a:cubicBezTo>
                      <a:pt x="472695" y="903431"/>
                      <a:pt x="474969" y="905387"/>
                      <a:pt x="477427" y="907026"/>
                    </a:cubicBezTo>
                    <a:cubicBezTo>
                      <a:pt x="479066" y="910303"/>
                      <a:pt x="480982" y="913456"/>
                      <a:pt x="482343" y="916858"/>
                    </a:cubicBezTo>
                    <a:cubicBezTo>
                      <a:pt x="484268" y="921670"/>
                      <a:pt x="484384" y="927295"/>
                      <a:pt x="487259" y="931607"/>
                    </a:cubicBezTo>
                    <a:cubicBezTo>
                      <a:pt x="494103" y="941873"/>
                      <a:pt x="490086" y="936892"/>
                      <a:pt x="499549" y="946355"/>
                    </a:cubicBezTo>
                    <a:cubicBezTo>
                      <a:pt x="500368" y="948813"/>
                      <a:pt x="501721" y="951154"/>
                      <a:pt x="502007" y="953729"/>
                    </a:cubicBezTo>
                    <a:cubicBezTo>
                      <a:pt x="503367" y="965971"/>
                      <a:pt x="501612" y="978617"/>
                      <a:pt x="504465" y="990600"/>
                    </a:cubicBezTo>
                    <a:cubicBezTo>
                      <a:pt x="505834" y="996348"/>
                      <a:pt x="511020" y="1000433"/>
                      <a:pt x="514298" y="1005349"/>
                    </a:cubicBezTo>
                    <a:lnTo>
                      <a:pt x="519214" y="1012723"/>
                    </a:lnTo>
                    <a:lnTo>
                      <a:pt x="524130" y="1020097"/>
                    </a:lnTo>
                    <a:cubicBezTo>
                      <a:pt x="515240" y="1023060"/>
                      <a:pt x="513131" y="1025041"/>
                      <a:pt x="502007" y="1020097"/>
                    </a:cubicBezTo>
                    <a:cubicBezTo>
                      <a:pt x="498830" y="1018685"/>
                      <a:pt x="497091" y="1015181"/>
                      <a:pt x="494633" y="1012723"/>
                    </a:cubicBezTo>
                    <a:cubicBezTo>
                      <a:pt x="493814" y="1009446"/>
                      <a:pt x="494285" y="1005529"/>
                      <a:pt x="492175" y="1002891"/>
                    </a:cubicBezTo>
                    <a:cubicBezTo>
                      <a:pt x="490556" y="1000868"/>
                      <a:pt x="487183" y="1001453"/>
                      <a:pt x="484801" y="1000432"/>
                    </a:cubicBezTo>
                    <a:cubicBezTo>
                      <a:pt x="476064" y="996687"/>
                      <a:pt x="475003" y="995539"/>
                      <a:pt x="467594" y="990600"/>
                    </a:cubicBezTo>
                    <a:cubicBezTo>
                      <a:pt x="466775" y="985684"/>
                      <a:pt x="467556" y="980209"/>
                      <a:pt x="465136" y="975852"/>
                    </a:cubicBezTo>
                    <a:cubicBezTo>
                      <a:pt x="446620" y="942523"/>
                      <a:pt x="461230" y="992186"/>
                      <a:pt x="452846" y="958645"/>
                    </a:cubicBezTo>
                    <a:cubicBezTo>
                      <a:pt x="445474" y="959698"/>
                      <a:pt x="434883" y="957699"/>
                      <a:pt x="430723" y="966020"/>
                    </a:cubicBezTo>
                    <a:cubicBezTo>
                      <a:pt x="428406" y="970655"/>
                      <a:pt x="425807" y="980768"/>
                      <a:pt x="425807" y="980768"/>
                    </a:cubicBezTo>
                    <a:cubicBezTo>
                      <a:pt x="426626" y="983226"/>
                      <a:pt x="428551" y="985567"/>
                      <a:pt x="428265" y="988142"/>
                    </a:cubicBezTo>
                    <a:cubicBezTo>
                      <a:pt x="427693" y="993293"/>
                      <a:pt x="423349" y="1002891"/>
                      <a:pt x="423349" y="1002891"/>
                    </a:cubicBezTo>
                    <a:cubicBezTo>
                      <a:pt x="424168" y="1011084"/>
                      <a:pt x="424555" y="1019333"/>
                      <a:pt x="425807" y="1027471"/>
                    </a:cubicBezTo>
                    <a:cubicBezTo>
                      <a:pt x="426201" y="1030032"/>
                      <a:pt x="429424" y="1032528"/>
                      <a:pt x="428265" y="1034845"/>
                    </a:cubicBezTo>
                    <a:cubicBezTo>
                      <a:pt x="427106" y="1037162"/>
                      <a:pt x="423349" y="1036484"/>
                      <a:pt x="420891" y="1037303"/>
                    </a:cubicBezTo>
                    <a:cubicBezTo>
                      <a:pt x="417614" y="1036484"/>
                      <a:pt x="413870" y="1036719"/>
                      <a:pt x="411059" y="1034845"/>
                    </a:cubicBezTo>
                    <a:cubicBezTo>
                      <a:pt x="408601" y="1033206"/>
                      <a:pt x="407240" y="1030214"/>
                      <a:pt x="406143" y="1027471"/>
                    </a:cubicBezTo>
                    <a:cubicBezTo>
                      <a:pt x="403928" y="1021933"/>
                      <a:pt x="402941" y="1015978"/>
                      <a:pt x="401227" y="1010265"/>
                    </a:cubicBezTo>
                    <a:cubicBezTo>
                      <a:pt x="400482" y="1007783"/>
                      <a:pt x="399588" y="1005349"/>
                      <a:pt x="398768" y="1002891"/>
                    </a:cubicBezTo>
                    <a:cubicBezTo>
                      <a:pt x="397949" y="997155"/>
                      <a:pt x="398663" y="990979"/>
                      <a:pt x="396310" y="985684"/>
                    </a:cubicBezTo>
                    <a:cubicBezTo>
                      <a:pt x="395110" y="982984"/>
                      <a:pt x="390575" y="983226"/>
                      <a:pt x="388936" y="980768"/>
                    </a:cubicBezTo>
                    <a:cubicBezTo>
                      <a:pt x="387062" y="977957"/>
                      <a:pt x="388352" y="973747"/>
                      <a:pt x="386478" y="970936"/>
                    </a:cubicBezTo>
                    <a:cubicBezTo>
                      <a:pt x="384839" y="968478"/>
                      <a:pt x="381411" y="967866"/>
                      <a:pt x="379104" y="966020"/>
                    </a:cubicBezTo>
                    <a:cubicBezTo>
                      <a:pt x="377294" y="964572"/>
                      <a:pt x="375998" y="962551"/>
                      <a:pt x="374188" y="961103"/>
                    </a:cubicBezTo>
                    <a:cubicBezTo>
                      <a:pt x="367382" y="955657"/>
                      <a:pt x="367227" y="956325"/>
                      <a:pt x="359439" y="953729"/>
                    </a:cubicBezTo>
                    <a:cubicBezTo>
                      <a:pt x="356981" y="951271"/>
                      <a:pt x="353753" y="949394"/>
                      <a:pt x="352065" y="946355"/>
                    </a:cubicBezTo>
                    <a:cubicBezTo>
                      <a:pt x="349548" y="941825"/>
                      <a:pt x="347149" y="931607"/>
                      <a:pt x="347149" y="931607"/>
                    </a:cubicBezTo>
                    <a:cubicBezTo>
                      <a:pt x="344691" y="932426"/>
                      <a:pt x="341607" y="932233"/>
                      <a:pt x="339775" y="934065"/>
                    </a:cubicBezTo>
                    <a:cubicBezTo>
                      <a:pt x="337943" y="935897"/>
                      <a:pt x="339425" y="939933"/>
                      <a:pt x="337317" y="941439"/>
                    </a:cubicBezTo>
                    <a:cubicBezTo>
                      <a:pt x="333100" y="944451"/>
                      <a:pt x="322568" y="946355"/>
                      <a:pt x="322568" y="946355"/>
                    </a:cubicBezTo>
                    <a:lnTo>
                      <a:pt x="327485" y="961103"/>
                    </a:lnTo>
                    <a:lnTo>
                      <a:pt x="329943" y="968478"/>
                    </a:lnTo>
                    <a:cubicBezTo>
                      <a:pt x="329124" y="974213"/>
                      <a:pt x="330076" y="980502"/>
                      <a:pt x="327485" y="985684"/>
                    </a:cubicBezTo>
                    <a:cubicBezTo>
                      <a:pt x="326326" y="988002"/>
                      <a:pt x="322685" y="988428"/>
                      <a:pt x="320110" y="988142"/>
                    </a:cubicBezTo>
                    <a:cubicBezTo>
                      <a:pt x="314960" y="987570"/>
                      <a:pt x="310492" y="983959"/>
                      <a:pt x="305362" y="983226"/>
                    </a:cubicBezTo>
                    <a:lnTo>
                      <a:pt x="288156" y="980768"/>
                    </a:lnTo>
                    <a:cubicBezTo>
                      <a:pt x="284879" y="957825"/>
                      <a:pt x="289795" y="967658"/>
                      <a:pt x="273407" y="951271"/>
                    </a:cubicBezTo>
                    <a:lnTo>
                      <a:pt x="266033" y="943897"/>
                    </a:lnTo>
                    <a:cubicBezTo>
                      <a:pt x="269610" y="904544"/>
                      <a:pt x="259652" y="922507"/>
                      <a:pt x="275865" y="914400"/>
                    </a:cubicBezTo>
                    <a:cubicBezTo>
                      <a:pt x="278507" y="913079"/>
                      <a:pt x="280781" y="911123"/>
                      <a:pt x="283239" y="909484"/>
                    </a:cubicBezTo>
                    <a:cubicBezTo>
                      <a:pt x="284059" y="904568"/>
                      <a:pt x="284617" y="899601"/>
                      <a:pt x="285698" y="894736"/>
                    </a:cubicBezTo>
                    <a:cubicBezTo>
                      <a:pt x="286260" y="892206"/>
                      <a:pt x="288156" y="889952"/>
                      <a:pt x="288156" y="887361"/>
                    </a:cubicBezTo>
                    <a:cubicBezTo>
                      <a:pt x="288156" y="878342"/>
                      <a:pt x="283986" y="880104"/>
                      <a:pt x="278323" y="875071"/>
                    </a:cubicBezTo>
                    <a:cubicBezTo>
                      <a:pt x="269946" y="867626"/>
                      <a:pt x="265765" y="860189"/>
                      <a:pt x="256201" y="855407"/>
                    </a:cubicBezTo>
                    <a:cubicBezTo>
                      <a:pt x="253884" y="854248"/>
                      <a:pt x="251285" y="853768"/>
                      <a:pt x="248827" y="852949"/>
                    </a:cubicBezTo>
                    <a:cubicBezTo>
                      <a:pt x="247188" y="851310"/>
                      <a:pt x="246088" y="848824"/>
                      <a:pt x="243910" y="848032"/>
                    </a:cubicBezTo>
                    <a:cubicBezTo>
                      <a:pt x="236811" y="845450"/>
                      <a:pt x="229116" y="844948"/>
                      <a:pt x="221788" y="843116"/>
                    </a:cubicBezTo>
                    <a:cubicBezTo>
                      <a:pt x="219274" y="842488"/>
                      <a:pt x="216872" y="841477"/>
                      <a:pt x="214414" y="840658"/>
                    </a:cubicBezTo>
                    <a:cubicBezTo>
                      <a:pt x="213595" y="834103"/>
                      <a:pt x="215744" y="826405"/>
                      <a:pt x="211956" y="820994"/>
                    </a:cubicBezTo>
                    <a:cubicBezTo>
                      <a:pt x="208984" y="816749"/>
                      <a:pt x="202123" y="817717"/>
                      <a:pt x="197207" y="816078"/>
                    </a:cubicBezTo>
                    <a:lnTo>
                      <a:pt x="189833" y="813620"/>
                    </a:lnTo>
                    <a:cubicBezTo>
                      <a:pt x="190652" y="811162"/>
                      <a:pt x="191663" y="808759"/>
                      <a:pt x="192291" y="806245"/>
                    </a:cubicBezTo>
                    <a:cubicBezTo>
                      <a:pt x="193682" y="800681"/>
                      <a:pt x="193596" y="790627"/>
                      <a:pt x="199665" y="786581"/>
                    </a:cubicBezTo>
                    <a:cubicBezTo>
                      <a:pt x="202476" y="784707"/>
                      <a:pt x="206220" y="784942"/>
                      <a:pt x="209498" y="784123"/>
                    </a:cubicBezTo>
                    <a:lnTo>
                      <a:pt x="216872" y="762000"/>
                    </a:lnTo>
                    <a:cubicBezTo>
                      <a:pt x="218491" y="757142"/>
                      <a:pt x="219914" y="750717"/>
                      <a:pt x="224246" y="747252"/>
                    </a:cubicBezTo>
                    <a:cubicBezTo>
                      <a:pt x="226269" y="745633"/>
                      <a:pt x="229106" y="745422"/>
                      <a:pt x="231620" y="744794"/>
                    </a:cubicBezTo>
                    <a:lnTo>
                      <a:pt x="251285" y="739878"/>
                    </a:lnTo>
                    <a:cubicBezTo>
                      <a:pt x="255858" y="735304"/>
                      <a:pt x="257372" y="733146"/>
                      <a:pt x="263575" y="730045"/>
                    </a:cubicBezTo>
                    <a:cubicBezTo>
                      <a:pt x="265892" y="728886"/>
                      <a:pt x="268491" y="728406"/>
                      <a:pt x="270949" y="727587"/>
                    </a:cubicBezTo>
                    <a:cubicBezTo>
                      <a:pt x="271768" y="724310"/>
                      <a:pt x="271297" y="720393"/>
                      <a:pt x="273407" y="717755"/>
                    </a:cubicBezTo>
                    <a:cubicBezTo>
                      <a:pt x="275026" y="715732"/>
                      <a:pt x="278559" y="716630"/>
                      <a:pt x="280781" y="715297"/>
                    </a:cubicBezTo>
                    <a:cubicBezTo>
                      <a:pt x="282768" y="714105"/>
                      <a:pt x="284059" y="712020"/>
                      <a:pt x="285698" y="710381"/>
                    </a:cubicBezTo>
                    <a:cubicBezTo>
                      <a:pt x="293072" y="711200"/>
                      <a:pt x="300502" y="711619"/>
                      <a:pt x="307820" y="712839"/>
                    </a:cubicBezTo>
                    <a:cubicBezTo>
                      <a:pt x="318578" y="714632"/>
                      <a:pt x="312375" y="715683"/>
                      <a:pt x="322568" y="720213"/>
                    </a:cubicBezTo>
                    <a:cubicBezTo>
                      <a:pt x="333966" y="725278"/>
                      <a:pt x="350421" y="728132"/>
                      <a:pt x="361898" y="730045"/>
                    </a:cubicBezTo>
                    <a:lnTo>
                      <a:pt x="391394" y="734961"/>
                    </a:lnTo>
                    <a:cubicBezTo>
                      <a:pt x="394085" y="737652"/>
                      <a:pt x="403253" y="748106"/>
                      <a:pt x="408601" y="749710"/>
                    </a:cubicBezTo>
                    <a:cubicBezTo>
                      <a:pt x="414150" y="751375"/>
                      <a:pt x="420072" y="751349"/>
                      <a:pt x="425807" y="752168"/>
                    </a:cubicBezTo>
                    <a:cubicBezTo>
                      <a:pt x="433899" y="760260"/>
                      <a:pt x="437244" y="767485"/>
                      <a:pt x="452846" y="757084"/>
                    </a:cubicBezTo>
                    <a:cubicBezTo>
                      <a:pt x="455304" y="755445"/>
                      <a:pt x="449821" y="751979"/>
                      <a:pt x="447930" y="749710"/>
                    </a:cubicBezTo>
                    <a:cubicBezTo>
                      <a:pt x="445705" y="747040"/>
                      <a:pt x="443014" y="744794"/>
                      <a:pt x="440556" y="742336"/>
                    </a:cubicBezTo>
                    <a:cubicBezTo>
                      <a:pt x="448080" y="740455"/>
                      <a:pt x="452103" y="740621"/>
                      <a:pt x="457762" y="734961"/>
                    </a:cubicBezTo>
                    <a:cubicBezTo>
                      <a:pt x="459851" y="732872"/>
                      <a:pt x="460173" y="729153"/>
                      <a:pt x="462678" y="727587"/>
                    </a:cubicBezTo>
                    <a:cubicBezTo>
                      <a:pt x="467073" y="724841"/>
                      <a:pt x="477427" y="722671"/>
                      <a:pt x="477427" y="722671"/>
                    </a:cubicBezTo>
                    <a:cubicBezTo>
                      <a:pt x="479885" y="721032"/>
                      <a:pt x="484222" y="720652"/>
                      <a:pt x="484801" y="717755"/>
                    </a:cubicBezTo>
                    <a:cubicBezTo>
                      <a:pt x="486156" y="710979"/>
                      <a:pt x="475926" y="708899"/>
                      <a:pt x="472510" y="707923"/>
                    </a:cubicBezTo>
                    <a:cubicBezTo>
                      <a:pt x="469262" y="706995"/>
                      <a:pt x="465926" y="706393"/>
                      <a:pt x="462678" y="705465"/>
                    </a:cubicBezTo>
                    <a:cubicBezTo>
                      <a:pt x="460187" y="704753"/>
                      <a:pt x="457865" y="703401"/>
                      <a:pt x="455304" y="703007"/>
                    </a:cubicBezTo>
                    <a:cubicBezTo>
                      <a:pt x="447165" y="701755"/>
                      <a:pt x="438916" y="701778"/>
                      <a:pt x="430723" y="700549"/>
                    </a:cubicBezTo>
                    <a:cubicBezTo>
                      <a:pt x="422530" y="699320"/>
                      <a:pt x="412288" y="692355"/>
                      <a:pt x="406143" y="695632"/>
                    </a:cubicBezTo>
                    <a:cubicBezTo>
                      <a:pt x="399998" y="698909"/>
                      <a:pt x="393033" y="705875"/>
                      <a:pt x="388936" y="707923"/>
                    </a:cubicBezTo>
                    <a:cubicBezTo>
                      <a:pt x="384839" y="709971"/>
                      <a:pt x="387707" y="696042"/>
                      <a:pt x="381562" y="690716"/>
                    </a:cubicBezTo>
                    <a:cubicBezTo>
                      <a:pt x="375417" y="685390"/>
                      <a:pt x="370091" y="690306"/>
                      <a:pt x="366814" y="688258"/>
                    </a:cubicBezTo>
                    <a:cubicBezTo>
                      <a:pt x="365175" y="690716"/>
                      <a:pt x="363219" y="692990"/>
                      <a:pt x="361898" y="695632"/>
                    </a:cubicBezTo>
                    <a:cubicBezTo>
                      <a:pt x="360739" y="697950"/>
                      <a:pt x="361271" y="701175"/>
                      <a:pt x="359439" y="703007"/>
                    </a:cubicBezTo>
                    <a:cubicBezTo>
                      <a:pt x="357607" y="704839"/>
                      <a:pt x="354523" y="704646"/>
                      <a:pt x="352065" y="705465"/>
                    </a:cubicBezTo>
                    <a:cubicBezTo>
                      <a:pt x="348788" y="704646"/>
                      <a:pt x="345044" y="704881"/>
                      <a:pt x="342233" y="703007"/>
                    </a:cubicBezTo>
                    <a:cubicBezTo>
                      <a:pt x="339775" y="701368"/>
                      <a:pt x="340172" y="696393"/>
                      <a:pt x="337317" y="695632"/>
                    </a:cubicBezTo>
                    <a:cubicBezTo>
                      <a:pt x="326995" y="692879"/>
                      <a:pt x="316014" y="693993"/>
                      <a:pt x="305362" y="693174"/>
                    </a:cubicBezTo>
                    <a:cubicBezTo>
                      <a:pt x="297168" y="693993"/>
                      <a:pt x="288805" y="693780"/>
                      <a:pt x="280781" y="695632"/>
                    </a:cubicBezTo>
                    <a:cubicBezTo>
                      <a:pt x="277902" y="696296"/>
                      <a:pt x="276107" y="699349"/>
                      <a:pt x="273407" y="700549"/>
                    </a:cubicBezTo>
                    <a:cubicBezTo>
                      <a:pt x="268672" y="702654"/>
                      <a:pt x="263575" y="703826"/>
                      <a:pt x="258659" y="705465"/>
                    </a:cubicBezTo>
                    <a:lnTo>
                      <a:pt x="251285" y="707923"/>
                    </a:lnTo>
                    <a:lnTo>
                      <a:pt x="243910" y="710381"/>
                    </a:lnTo>
                    <a:cubicBezTo>
                      <a:pt x="241452" y="712020"/>
                      <a:pt x="239460" y="714879"/>
                      <a:pt x="236536" y="715297"/>
                    </a:cubicBezTo>
                    <a:cubicBezTo>
                      <a:pt x="224308" y="717044"/>
                      <a:pt x="227682" y="712337"/>
                      <a:pt x="224246" y="705465"/>
                    </a:cubicBezTo>
                    <a:cubicBezTo>
                      <a:pt x="222925" y="702823"/>
                      <a:pt x="220969" y="700549"/>
                      <a:pt x="219330" y="698091"/>
                    </a:cubicBezTo>
                    <a:cubicBezTo>
                      <a:pt x="214414" y="698910"/>
                      <a:pt x="208332" y="697267"/>
                      <a:pt x="204581" y="700549"/>
                    </a:cubicBezTo>
                    <a:cubicBezTo>
                      <a:pt x="202020" y="702790"/>
                      <a:pt x="200664" y="719713"/>
                      <a:pt x="194749" y="722671"/>
                    </a:cubicBezTo>
                    <a:cubicBezTo>
                      <a:pt x="190291" y="724900"/>
                      <a:pt x="184917" y="724310"/>
                      <a:pt x="180001" y="725129"/>
                    </a:cubicBezTo>
                    <a:cubicBezTo>
                      <a:pt x="179042" y="717456"/>
                      <a:pt x="180373" y="704288"/>
                      <a:pt x="172627" y="698091"/>
                    </a:cubicBezTo>
                    <a:cubicBezTo>
                      <a:pt x="170603" y="696472"/>
                      <a:pt x="167710" y="696452"/>
                      <a:pt x="165252" y="695632"/>
                    </a:cubicBezTo>
                    <a:cubicBezTo>
                      <a:pt x="164433" y="698090"/>
                      <a:pt x="164413" y="700983"/>
                      <a:pt x="162794" y="703007"/>
                    </a:cubicBezTo>
                    <a:cubicBezTo>
                      <a:pt x="160949" y="705314"/>
                      <a:pt x="156741" y="710565"/>
                      <a:pt x="155420" y="707923"/>
                    </a:cubicBezTo>
                    <a:cubicBezTo>
                      <a:pt x="151738" y="700558"/>
                      <a:pt x="154814" y="691366"/>
                      <a:pt x="152962" y="683342"/>
                    </a:cubicBezTo>
                    <a:cubicBezTo>
                      <a:pt x="152298" y="680463"/>
                      <a:pt x="149685" y="678426"/>
                      <a:pt x="148046" y="675968"/>
                    </a:cubicBezTo>
                    <a:cubicBezTo>
                      <a:pt x="146407" y="678426"/>
                      <a:pt x="146027" y="682763"/>
                      <a:pt x="143130" y="683342"/>
                    </a:cubicBezTo>
                    <a:cubicBezTo>
                      <a:pt x="140233" y="683921"/>
                      <a:pt x="138063" y="680271"/>
                      <a:pt x="135756" y="678426"/>
                    </a:cubicBezTo>
                    <a:cubicBezTo>
                      <a:pt x="126116" y="670714"/>
                      <a:pt x="136270" y="675320"/>
                      <a:pt x="123465" y="671052"/>
                    </a:cubicBezTo>
                    <a:cubicBezTo>
                      <a:pt x="116831" y="673263"/>
                      <a:pt x="113461" y="675853"/>
                      <a:pt x="106259" y="671052"/>
                    </a:cubicBezTo>
                    <a:cubicBezTo>
                      <a:pt x="103801" y="669413"/>
                      <a:pt x="102982" y="666136"/>
                      <a:pt x="101343" y="663678"/>
                    </a:cubicBezTo>
                    <a:cubicBezTo>
                      <a:pt x="103801" y="662039"/>
                      <a:pt x="106002" y="659925"/>
                      <a:pt x="108717" y="658761"/>
                    </a:cubicBezTo>
                    <a:cubicBezTo>
                      <a:pt x="111822" y="657430"/>
                      <a:pt x="116160" y="658692"/>
                      <a:pt x="118549" y="656303"/>
                    </a:cubicBezTo>
                    <a:cubicBezTo>
                      <a:pt x="134206" y="640646"/>
                      <a:pt x="107280" y="650933"/>
                      <a:pt x="128381" y="641555"/>
                    </a:cubicBezTo>
                    <a:cubicBezTo>
                      <a:pt x="133117" y="639450"/>
                      <a:pt x="143130" y="636639"/>
                      <a:pt x="143130" y="636639"/>
                    </a:cubicBezTo>
                    <a:cubicBezTo>
                      <a:pt x="143949" y="634181"/>
                      <a:pt x="143023" y="629631"/>
                      <a:pt x="145588" y="629265"/>
                    </a:cubicBezTo>
                    <a:cubicBezTo>
                      <a:pt x="150718" y="628532"/>
                      <a:pt x="160336" y="634181"/>
                      <a:pt x="160336" y="634181"/>
                    </a:cubicBezTo>
                    <a:cubicBezTo>
                      <a:pt x="161155" y="631723"/>
                      <a:pt x="161357" y="628963"/>
                      <a:pt x="162794" y="626807"/>
                    </a:cubicBezTo>
                    <a:cubicBezTo>
                      <a:pt x="164722" y="623914"/>
                      <a:pt x="169597" y="622861"/>
                      <a:pt x="170168" y="619432"/>
                    </a:cubicBezTo>
                    <a:cubicBezTo>
                      <a:pt x="170654" y="616518"/>
                      <a:pt x="167341" y="614147"/>
                      <a:pt x="165252" y="612058"/>
                    </a:cubicBezTo>
                    <a:cubicBezTo>
                      <a:pt x="160252" y="607058"/>
                      <a:pt x="154815" y="605812"/>
                      <a:pt x="148046" y="604684"/>
                    </a:cubicBezTo>
                    <a:cubicBezTo>
                      <a:pt x="141530" y="603598"/>
                      <a:pt x="134936" y="603045"/>
                      <a:pt x="128381" y="602226"/>
                    </a:cubicBezTo>
                    <a:cubicBezTo>
                      <a:pt x="126862" y="599948"/>
                      <a:pt x="122027" y="589426"/>
                      <a:pt x="116091" y="592394"/>
                    </a:cubicBezTo>
                    <a:cubicBezTo>
                      <a:pt x="113774" y="593553"/>
                      <a:pt x="114792" y="597451"/>
                      <a:pt x="113633" y="599768"/>
                    </a:cubicBezTo>
                    <a:cubicBezTo>
                      <a:pt x="112312" y="602410"/>
                      <a:pt x="110356" y="604684"/>
                      <a:pt x="108717" y="607142"/>
                    </a:cubicBezTo>
                    <a:cubicBezTo>
                      <a:pt x="95607" y="602772"/>
                      <a:pt x="86454" y="600494"/>
                      <a:pt x="74304" y="592394"/>
                    </a:cubicBezTo>
                    <a:cubicBezTo>
                      <a:pt x="71846" y="590755"/>
                      <a:pt x="69237" y="589324"/>
                      <a:pt x="66930" y="587478"/>
                    </a:cubicBezTo>
                    <a:cubicBezTo>
                      <a:pt x="65120" y="586030"/>
                      <a:pt x="63868" y="583952"/>
                      <a:pt x="62014" y="582561"/>
                    </a:cubicBezTo>
                    <a:cubicBezTo>
                      <a:pt x="49830" y="573423"/>
                      <a:pt x="48232" y="575364"/>
                      <a:pt x="39891" y="565355"/>
                    </a:cubicBezTo>
                    <a:cubicBezTo>
                      <a:pt x="38000" y="563086"/>
                      <a:pt x="36614" y="560439"/>
                      <a:pt x="34975" y="557981"/>
                    </a:cubicBezTo>
                    <a:cubicBezTo>
                      <a:pt x="36614" y="555523"/>
                      <a:pt x="39565" y="553543"/>
                      <a:pt x="39891" y="550607"/>
                    </a:cubicBezTo>
                    <a:cubicBezTo>
                      <a:pt x="40441" y="545653"/>
                      <a:pt x="39009" y="540586"/>
                      <a:pt x="37433" y="535858"/>
                    </a:cubicBezTo>
                    <a:cubicBezTo>
                      <a:pt x="36499" y="533055"/>
                      <a:pt x="34824" y="530329"/>
                      <a:pt x="32517" y="528484"/>
                    </a:cubicBezTo>
                    <a:cubicBezTo>
                      <a:pt x="29320" y="525927"/>
                      <a:pt x="10567" y="523611"/>
                      <a:pt x="10394" y="523568"/>
                    </a:cubicBezTo>
                    <a:cubicBezTo>
                      <a:pt x="8617" y="523124"/>
                      <a:pt x="30878" y="541184"/>
                      <a:pt x="32517" y="54077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98" name="Freeform: Shape 697">
                <a:extLst>
                  <a:ext uri="{FF2B5EF4-FFF2-40B4-BE49-F238E27FC236}">
                    <a16:creationId xmlns:a16="http://schemas.microsoft.com/office/drawing/2014/main" id="{6B6C91BC-3CE4-4CB9-816C-6F3F97E1DDFF}"/>
                  </a:ext>
                </a:extLst>
              </p:cNvPr>
              <p:cNvSpPr/>
              <p:nvPr/>
            </p:nvSpPr>
            <p:spPr>
              <a:xfrm>
                <a:off x="6254611" y="6011058"/>
                <a:ext cx="40492" cy="30865"/>
              </a:xfrm>
              <a:custGeom>
                <a:avLst/>
                <a:gdLst>
                  <a:gd name="connsiteX0" fmla="*/ 33118 w 40492"/>
                  <a:gd name="connsiteY0" fmla="*/ 6284 h 30865"/>
                  <a:gd name="connsiteX1" fmla="*/ 1163 w 40492"/>
                  <a:gd name="connsiteY1" fmla="*/ 3826 h 30865"/>
                  <a:gd name="connsiteX2" fmla="*/ 3621 w 40492"/>
                  <a:gd name="connsiteY2" fmla="*/ 16116 h 30865"/>
                  <a:gd name="connsiteX3" fmla="*/ 15912 w 40492"/>
                  <a:gd name="connsiteY3" fmla="*/ 30865 h 30865"/>
                  <a:gd name="connsiteX4" fmla="*/ 38034 w 40492"/>
                  <a:gd name="connsiteY4" fmla="*/ 28407 h 30865"/>
                  <a:gd name="connsiteX5" fmla="*/ 40492 w 40492"/>
                  <a:gd name="connsiteY5" fmla="*/ 21032 h 30865"/>
                  <a:gd name="connsiteX6" fmla="*/ 33118 w 40492"/>
                  <a:gd name="connsiteY6" fmla="*/ 6284 h 308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492" h="30865">
                    <a:moveTo>
                      <a:pt x="33118" y="6284"/>
                    </a:moveTo>
                    <a:cubicBezTo>
                      <a:pt x="26563" y="3416"/>
                      <a:pt x="11204" y="-4780"/>
                      <a:pt x="1163" y="3826"/>
                    </a:cubicBezTo>
                    <a:cubicBezTo>
                      <a:pt x="-2009" y="6545"/>
                      <a:pt x="2154" y="12204"/>
                      <a:pt x="3621" y="16116"/>
                    </a:cubicBezTo>
                    <a:cubicBezTo>
                      <a:pt x="5674" y="21592"/>
                      <a:pt x="12087" y="27040"/>
                      <a:pt x="15912" y="30865"/>
                    </a:cubicBezTo>
                    <a:cubicBezTo>
                      <a:pt x="23286" y="30046"/>
                      <a:pt x="31145" y="31163"/>
                      <a:pt x="38034" y="28407"/>
                    </a:cubicBezTo>
                    <a:cubicBezTo>
                      <a:pt x="40440" y="27445"/>
                      <a:pt x="40492" y="23623"/>
                      <a:pt x="40492" y="21032"/>
                    </a:cubicBezTo>
                    <a:cubicBezTo>
                      <a:pt x="40492" y="10291"/>
                      <a:pt x="39673" y="9152"/>
                      <a:pt x="33118" y="628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99" name="Freeform: Shape 698">
                <a:extLst>
                  <a:ext uri="{FF2B5EF4-FFF2-40B4-BE49-F238E27FC236}">
                    <a16:creationId xmlns:a16="http://schemas.microsoft.com/office/drawing/2014/main" id="{14BFC2A0-8744-4654-B3FB-6AD444090C3E}"/>
                  </a:ext>
                </a:extLst>
              </p:cNvPr>
              <p:cNvSpPr/>
              <p:nvPr/>
            </p:nvSpPr>
            <p:spPr>
              <a:xfrm>
                <a:off x="6393362" y="6033713"/>
                <a:ext cx="35452" cy="20500"/>
              </a:xfrm>
              <a:custGeom>
                <a:avLst/>
                <a:gdLst>
                  <a:gd name="connsiteX0" fmla="*/ 64 w 35452"/>
                  <a:gd name="connsiteY0" fmla="*/ 15584 h 20500"/>
                  <a:gd name="connsiteX1" fmla="*/ 12354 w 35452"/>
                  <a:gd name="connsiteY1" fmla="*/ 18042 h 20500"/>
                  <a:gd name="connsiteX2" fmla="*/ 19728 w 35452"/>
                  <a:gd name="connsiteY2" fmla="*/ 20500 h 20500"/>
                  <a:gd name="connsiteX3" fmla="*/ 27103 w 35452"/>
                  <a:gd name="connsiteY3" fmla="*/ 18042 h 20500"/>
                  <a:gd name="connsiteX4" fmla="*/ 34477 w 35452"/>
                  <a:gd name="connsiteY4" fmla="*/ 835 h 20500"/>
                  <a:gd name="connsiteX5" fmla="*/ 9896 w 35452"/>
                  <a:gd name="connsiteY5" fmla="*/ 3293 h 20500"/>
                  <a:gd name="connsiteX6" fmla="*/ 64 w 35452"/>
                  <a:gd name="connsiteY6" fmla="*/ 15584 h 2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452" h="20500">
                    <a:moveTo>
                      <a:pt x="64" y="15584"/>
                    </a:moveTo>
                    <a:cubicBezTo>
                      <a:pt x="474" y="18042"/>
                      <a:pt x="8301" y="17029"/>
                      <a:pt x="12354" y="18042"/>
                    </a:cubicBezTo>
                    <a:cubicBezTo>
                      <a:pt x="14868" y="18670"/>
                      <a:pt x="17137" y="20500"/>
                      <a:pt x="19728" y="20500"/>
                    </a:cubicBezTo>
                    <a:cubicBezTo>
                      <a:pt x="22319" y="20500"/>
                      <a:pt x="24645" y="18861"/>
                      <a:pt x="27103" y="18042"/>
                    </a:cubicBezTo>
                    <a:cubicBezTo>
                      <a:pt x="27332" y="17699"/>
                      <a:pt x="38806" y="2278"/>
                      <a:pt x="34477" y="835"/>
                    </a:cubicBezTo>
                    <a:cubicBezTo>
                      <a:pt x="26665" y="-1769"/>
                      <a:pt x="18090" y="2474"/>
                      <a:pt x="9896" y="3293"/>
                    </a:cubicBezTo>
                    <a:cubicBezTo>
                      <a:pt x="998" y="9226"/>
                      <a:pt x="-346" y="13126"/>
                      <a:pt x="64" y="1558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00" name="Freeform: Shape 699">
                <a:extLst>
                  <a:ext uri="{FF2B5EF4-FFF2-40B4-BE49-F238E27FC236}">
                    <a16:creationId xmlns:a16="http://schemas.microsoft.com/office/drawing/2014/main" id="{12E27C81-AB53-432C-A50F-82AB68FEAE24}"/>
                  </a:ext>
                </a:extLst>
              </p:cNvPr>
              <p:cNvSpPr/>
              <p:nvPr/>
            </p:nvSpPr>
            <p:spPr>
              <a:xfrm>
                <a:off x="6353781" y="6122330"/>
                <a:ext cx="49965" cy="60538"/>
              </a:xfrm>
              <a:custGeom>
                <a:avLst/>
                <a:gdLst>
                  <a:gd name="connsiteX0" fmla="*/ 316 w 49965"/>
                  <a:gd name="connsiteY0" fmla="*/ 20373 h 60538"/>
                  <a:gd name="connsiteX1" fmla="*/ 2774 w 49965"/>
                  <a:gd name="connsiteY1" fmla="*/ 32664 h 60538"/>
                  <a:gd name="connsiteX2" fmla="*/ 5232 w 49965"/>
                  <a:gd name="connsiteY2" fmla="*/ 40038 h 60538"/>
                  <a:gd name="connsiteX3" fmla="*/ 12606 w 49965"/>
                  <a:gd name="connsiteY3" fmla="*/ 42496 h 60538"/>
                  <a:gd name="connsiteX4" fmla="*/ 19980 w 49965"/>
                  <a:gd name="connsiteY4" fmla="*/ 40038 h 60538"/>
                  <a:gd name="connsiteX5" fmla="*/ 32271 w 49965"/>
                  <a:gd name="connsiteY5" fmla="*/ 47412 h 60538"/>
                  <a:gd name="connsiteX6" fmla="*/ 42103 w 49965"/>
                  <a:gd name="connsiteY6" fmla="*/ 59702 h 60538"/>
                  <a:gd name="connsiteX7" fmla="*/ 47019 w 49965"/>
                  <a:gd name="connsiteY7" fmla="*/ 44954 h 60538"/>
                  <a:gd name="connsiteX8" fmla="*/ 47019 w 49965"/>
                  <a:gd name="connsiteY8" fmla="*/ 709 h 60538"/>
                  <a:gd name="connsiteX9" fmla="*/ 42103 w 49965"/>
                  <a:gd name="connsiteY9" fmla="*/ 15457 h 60538"/>
                  <a:gd name="connsiteX10" fmla="*/ 34729 w 49965"/>
                  <a:gd name="connsiteY10" fmla="*/ 22831 h 60538"/>
                  <a:gd name="connsiteX11" fmla="*/ 27354 w 49965"/>
                  <a:gd name="connsiteY11" fmla="*/ 17915 h 60538"/>
                  <a:gd name="connsiteX12" fmla="*/ 12606 w 49965"/>
                  <a:gd name="connsiteY12" fmla="*/ 27747 h 60538"/>
                  <a:gd name="connsiteX13" fmla="*/ 10148 w 49965"/>
                  <a:gd name="connsiteY13" fmla="*/ 20373 h 60538"/>
                  <a:gd name="connsiteX14" fmla="*/ 316 w 49965"/>
                  <a:gd name="connsiteY14" fmla="*/ 20373 h 60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9965" h="60538">
                    <a:moveTo>
                      <a:pt x="316" y="20373"/>
                    </a:moveTo>
                    <a:cubicBezTo>
                      <a:pt x="-913" y="22422"/>
                      <a:pt x="1761" y="28611"/>
                      <a:pt x="2774" y="32664"/>
                    </a:cubicBezTo>
                    <a:cubicBezTo>
                      <a:pt x="3402" y="35178"/>
                      <a:pt x="3400" y="38206"/>
                      <a:pt x="5232" y="40038"/>
                    </a:cubicBezTo>
                    <a:cubicBezTo>
                      <a:pt x="7064" y="41870"/>
                      <a:pt x="10148" y="41677"/>
                      <a:pt x="12606" y="42496"/>
                    </a:cubicBezTo>
                    <a:cubicBezTo>
                      <a:pt x="15064" y="41677"/>
                      <a:pt x="17389" y="40038"/>
                      <a:pt x="19980" y="40038"/>
                    </a:cubicBezTo>
                    <a:cubicBezTo>
                      <a:pt x="26361" y="40038"/>
                      <a:pt x="28377" y="43518"/>
                      <a:pt x="32271" y="47412"/>
                    </a:cubicBezTo>
                    <a:cubicBezTo>
                      <a:pt x="32437" y="47911"/>
                      <a:pt x="36251" y="64383"/>
                      <a:pt x="42103" y="59702"/>
                    </a:cubicBezTo>
                    <a:cubicBezTo>
                      <a:pt x="46149" y="56465"/>
                      <a:pt x="47019" y="44954"/>
                      <a:pt x="47019" y="44954"/>
                    </a:cubicBezTo>
                    <a:cubicBezTo>
                      <a:pt x="48178" y="35685"/>
                      <a:pt x="53027" y="8720"/>
                      <a:pt x="47019" y="709"/>
                    </a:cubicBezTo>
                    <a:cubicBezTo>
                      <a:pt x="43910" y="-3437"/>
                      <a:pt x="45767" y="11793"/>
                      <a:pt x="42103" y="15457"/>
                    </a:cubicBezTo>
                    <a:lnTo>
                      <a:pt x="34729" y="22831"/>
                    </a:lnTo>
                    <a:cubicBezTo>
                      <a:pt x="32271" y="21192"/>
                      <a:pt x="30238" y="17274"/>
                      <a:pt x="27354" y="17915"/>
                    </a:cubicBezTo>
                    <a:cubicBezTo>
                      <a:pt x="21586" y="19197"/>
                      <a:pt x="12606" y="27747"/>
                      <a:pt x="12606" y="27747"/>
                    </a:cubicBezTo>
                    <a:cubicBezTo>
                      <a:pt x="11787" y="25289"/>
                      <a:pt x="12465" y="21532"/>
                      <a:pt x="10148" y="20373"/>
                    </a:cubicBezTo>
                    <a:cubicBezTo>
                      <a:pt x="8629" y="19614"/>
                      <a:pt x="1545" y="18324"/>
                      <a:pt x="316" y="2037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01" name="Freeform: Shape 700">
                <a:extLst>
                  <a:ext uri="{FF2B5EF4-FFF2-40B4-BE49-F238E27FC236}">
                    <a16:creationId xmlns:a16="http://schemas.microsoft.com/office/drawing/2014/main" id="{59AFC340-A703-4287-A1E9-24834F87A1F6}"/>
                  </a:ext>
                </a:extLst>
              </p:cNvPr>
              <p:cNvSpPr/>
              <p:nvPr/>
            </p:nvSpPr>
            <p:spPr>
              <a:xfrm>
                <a:off x="6103107" y="6397928"/>
                <a:ext cx="27384" cy="10445"/>
              </a:xfrm>
              <a:custGeom>
                <a:avLst/>
                <a:gdLst>
                  <a:gd name="connsiteX0" fmla="*/ 12558 w 27384"/>
                  <a:gd name="connsiteY0" fmla="*/ 414 h 10445"/>
                  <a:gd name="connsiteX1" fmla="*/ 267 w 27384"/>
                  <a:gd name="connsiteY1" fmla="*/ 2872 h 10445"/>
                  <a:gd name="connsiteX2" fmla="*/ 7641 w 27384"/>
                  <a:gd name="connsiteY2" fmla="*/ 10246 h 10445"/>
                  <a:gd name="connsiteX3" fmla="*/ 17474 w 27384"/>
                  <a:gd name="connsiteY3" fmla="*/ 7788 h 10445"/>
                  <a:gd name="connsiteX4" fmla="*/ 27306 w 27384"/>
                  <a:gd name="connsiteY4" fmla="*/ 2872 h 10445"/>
                  <a:gd name="connsiteX5" fmla="*/ 19932 w 27384"/>
                  <a:gd name="connsiteY5" fmla="*/ 414 h 10445"/>
                  <a:gd name="connsiteX6" fmla="*/ 12558 w 27384"/>
                  <a:gd name="connsiteY6" fmla="*/ 414 h 10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7384" h="10445">
                    <a:moveTo>
                      <a:pt x="12558" y="414"/>
                    </a:moveTo>
                    <a:cubicBezTo>
                      <a:pt x="9281" y="824"/>
                      <a:pt x="2136" y="-865"/>
                      <a:pt x="267" y="2872"/>
                    </a:cubicBezTo>
                    <a:cubicBezTo>
                      <a:pt x="-1288" y="5981"/>
                      <a:pt x="4299" y="9291"/>
                      <a:pt x="7641" y="10246"/>
                    </a:cubicBezTo>
                    <a:cubicBezTo>
                      <a:pt x="10890" y="11174"/>
                      <a:pt x="14196" y="8607"/>
                      <a:pt x="17474" y="7788"/>
                    </a:cubicBezTo>
                    <a:cubicBezTo>
                      <a:pt x="20751" y="6149"/>
                      <a:pt x="26147" y="6348"/>
                      <a:pt x="27306" y="2872"/>
                    </a:cubicBezTo>
                    <a:cubicBezTo>
                      <a:pt x="28125" y="414"/>
                      <a:pt x="22338" y="1376"/>
                      <a:pt x="19932" y="414"/>
                    </a:cubicBezTo>
                    <a:cubicBezTo>
                      <a:pt x="18231" y="-266"/>
                      <a:pt x="15835" y="4"/>
                      <a:pt x="12558" y="41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02" name="Freeform: Shape 701">
                <a:extLst>
                  <a:ext uri="{FF2B5EF4-FFF2-40B4-BE49-F238E27FC236}">
                    <a16:creationId xmlns:a16="http://schemas.microsoft.com/office/drawing/2014/main" id="{F4E5EEA2-8C84-4108-9607-3FA42E51DCB2}"/>
                  </a:ext>
                </a:extLst>
              </p:cNvPr>
              <p:cNvSpPr/>
              <p:nvPr/>
            </p:nvSpPr>
            <p:spPr>
              <a:xfrm>
                <a:off x="6302352" y="6334392"/>
                <a:ext cx="43618" cy="37146"/>
              </a:xfrm>
              <a:custGeom>
                <a:avLst/>
                <a:gdLst>
                  <a:gd name="connsiteX0" fmla="*/ 125 w 43618"/>
                  <a:gd name="connsiteY0" fmla="*/ 4956 h 37146"/>
                  <a:gd name="connsiteX1" fmla="*/ 22248 w 43618"/>
                  <a:gd name="connsiteY1" fmla="*/ 4956 h 37146"/>
                  <a:gd name="connsiteX2" fmla="*/ 34538 w 43618"/>
                  <a:gd name="connsiteY2" fmla="*/ 19705 h 37146"/>
                  <a:gd name="connsiteX3" fmla="*/ 39454 w 43618"/>
                  <a:gd name="connsiteY3" fmla="*/ 36911 h 37146"/>
                  <a:gd name="connsiteX4" fmla="*/ 32080 w 43618"/>
                  <a:gd name="connsiteY4" fmla="*/ 31995 h 37146"/>
                  <a:gd name="connsiteX5" fmla="*/ 27164 w 43618"/>
                  <a:gd name="connsiteY5" fmla="*/ 24621 h 37146"/>
                  <a:gd name="connsiteX6" fmla="*/ 9958 w 43618"/>
                  <a:gd name="connsiteY6" fmla="*/ 19705 h 37146"/>
                  <a:gd name="connsiteX7" fmla="*/ 5042 w 43618"/>
                  <a:gd name="connsiteY7" fmla="*/ 2498 h 37146"/>
                  <a:gd name="connsiteX8" fmla="*/ 12416 w 43618"/>
                  <a:gd name="connsiteY8" fmla="*/ 40 h 37146"/>
                  <a:gd name="connsiteX9" fmla="*/ 125 w 43618"/>
                  <a:gd name="connsiteY9" fmla="*/ 4956 h 37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618" h="37146">
                    <a:moveTo>
                      <a:pt x="125" y="4956"/>
                    </a:moveTo>
                    <a:cubicBezTo>
                      <a:pt x="1764" y="5775"/>
                      <a:pt x="17785" y="-400"/>
                      <a:pt x="22248" y="4956"/>
                    </a:cubicBezTo>
                    <a:cubicBezTo>
                      <a:pt x="37850" y="23680"/>
                      <a:pt x="10560" y="13711"/>
                      <a:pt x="34538" y="19705"/>
                    </a:cubicBezTo>
                    <a:cubicBezTo>
                      <a:pt x="36375" y="21542"/>
                      <a:pt x="50460" y="31409"/>
                      <a:pt x="39454" y="36911"/>
                    </a:cubicBezTo>
                    <a:cubicBezTo>
                      <a:pt x="36812" y="38232"/>
                      <a:pt x="34538" y="33634"/>
                      <a:pt x="32080" y="31995"/>
                    </a:cubicBezTo>
                    <a:cubicBezTo>
                      <a:pt x="30441" y="29537"/>
                      <a:pt x="29471" y="26466"/>
                      <a:pt x="27164" y="24621"/>
                    </a:cubicBezTo>
                    <a:cubicBezTo>
                      <a:pt x="25561" y="23339"/>
                      <a:pt x="10600" y="19866"/>
                      <a:pt x="9958" y="19705"/>
                    </a:cubicBezTo>
                    <a:cubicBezTo>
                      <a:pt x="4345" y="14093"/>
                      <a:pt x="-2295" y="11669"/>
                      <a:pt x="5042" y="2498"/>
                    </a:cubicBezTo>
                    <a:cubicBezTo>
                      <a:pt x="6661" y="475"/>
                      <a:pt x="10099" y="1199"/>
                      <a:pt x="12416" y="40"/>
                    </a:cubicBezTo>
                    <a:cubicBezTo>
                      <a:pt x="13452" y="-478"/>
                      <a:pt x="-1514" y="4137"/>
                      <a:pt x="125" y="4956"/>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03" name="Freeform: Shape 702">
                <a:extLst>
                  <a:ext uri="{FF2B5EF4-FFF2-40B4-BE49-F238E27FC236}">
                    <a16:creationId xmlns:a16="http://schemas.microsoft.com/office/drawing/2014/main" id="{188AD184-C940-4C63-8006-A119A6EFB750}"/>
                  </a:ext>
                </a:extLst>
              </p:cNvPr>
              <p:cNvSpPr/>
              <p:nvPr/>
            </p:nvSpPr>
            <p:spPr>
              <a:xfrm>
                <a:off x="6490233" y="6209071"/>
                <a:ext cx="112213" cy="66515"/>
              </a:xfrm>
              <a:custGeom>
                <a:avLst/>
                <a:gdLst>
                  <a:gd name="connsiteX0" fmla="*/ 38386 w 112213"/>
                  <a:gd name="connsiteY0" fmla="*/ 9832 h 66515"/>
                  <a:gd name="connsiteX1" fmla="*/ 26096 w 112213"/>
                  <a:gd name="connsiteY1" fmla="*/ 14748 h 66515"/>
                  <a:gd name="connsiteX2" fmla="*/ 18722 w 112213"/>
                  <a:gd name="connsiteY2" fmla="*/ 19664 h 66515"/>
                  <a:gd name="connsiteX3" fmla="*/ 8890 w 112213"/>
                  <a:gd name="connsiteY3" fmla="*/ 22123 h 66515"/>
                  <a:gd name="connsiteX4" fmla="*/ 6432 w 112213"/>
                  <a:gd name="connsiteY4" fmla="*/ 29497 h 66515"/>
                  <a:gd name="connsiteX5" fmla="*/ 3973 w 112213"/>
                  <a:gd name="connsiteY5" fmla="*/ 49161 h 66515"/>
                  <a:gd name="connsiteX6" fmla="*/ 18722 w 112213"/>
                  <a:gd name="connsiteY6" fmla="*/ 54077 h 66515"/>
                  <a:gd name="connsiteX7" fmla="*/ 38386 w 112213"/>
                  <a:gd name="connsiteY7" fmla="*/ 51619 h 66515"/>
                  <a:gd name="connsiteX8" fmla="*/ 40844 w 112213"/>
                  <a:gd name="connsiteY8" fmla="*/ 44245 h 66515"/>
                  <a:gd name="connsiteX9" fmla="*/ 48219 w 112213"/>
                  <a:gd name="connsiteY9" fmla="*/ 41787 h 66515"/>
                  <a:gd name="connsiteX10" fmla="*/ 45761 w 112213"/>
                  <a:gd name="connsiteY10" fmla="*/ 49161 h 66515"/>
                  <a:gd name="connsiteX11" fmla="*/ 33470 w 112213"/>
                  <a:gd name="connsiteY11" fmla="*/ 61452 h 66515"/>
                  <a:gd name="connsiteX12" fmla="*/ 40844 w 112213"/>
                  <a:gd name="connsiteY12" fmla="*/ 66368 h 66515"/>
                  <a:gd name="connsiteX13" fmla="*/ 75257 w 112213"/>
                  <a:gd name="connsiteY13" fmla="*/ 63910 h 66515"/>
                  <a:gd name="connsiteX14" fmla="*/ 82632 w 112213"/>
                  <a:gd name="connsiteY14" fmla="*/ 61452 h 66515"/>
                  <a:gd name="connsiteX15" fmla="*/ 104754 w 112213"/>
                  <a:gd name="connsiteY15" fmla="*/ 58994 h 66515"/>
                  <a:gd name="connsiteX16" fmla="*/ 102296 w 112213"/>
                  <a:gd name="connsiteY16" fmla="*/ 46703 h 66515"/>
                  <a:gd name="connsiteX17" fmla="*/ 99838 w 112213"/>
                  <a:gd name="connsiteY17" fmla="*/ 39329 h 66515"/>
                  <a:gd name="connsiteX18" fmla="*/ 87548 w 112213"/>
                  <a:gd name="connsiteY18" fmla="*/ 36871 h 66515"/>
                  <a:gd name="connsiteX19" fmla="*/ 94922 w 112213"/>
                  <a:gd name="connsiteY19" fmla="*/ 41787 h 66515"/>
                  <a:gd name="connsiteX20" fmla="*/ 99838 w 112213"/>
                  <a:gd name="connsiteY20" fmla="*/ 49161 h 66515"/>
                  <a:gd name="connsiteX21" fmla="*/ 107212 w 112213"/>
                  <a:gd name="connsiteY21" fmla="*/ 51619 h 66515"/>
                  <a:gd name="connsiteX22" fmla="*/ 112128 w 112213"/>
                  <a:gd name="connsiteY22" fmla="*/ 44245 h 66515"/>
                  <a:gd name="connsiteX23" fmla="*/ 104754 w 112213"/>
                  <a:gd name="connsiteY23" fmla="*/ 41787 h 66515"/>
                  <a:gd name="connsiteX24" fmla="*/ 97380 w 112213"/>
                  <a:gd name="connsiteY24" fmla="*/ 36871 h 66515"/>
                  <a:gd name="connsiteX25" fmla="*/ 85090 w 112213"/>
                  <a:gd name="connsiteY25" fmla="*/ 19664 h 66515"/>
                  <a:gd name="connsiteX26" fmla="*/ 80173 w 112213"/>
                  <a:gd name="connsiteY26" fmla="*/ 14748 h 66515"/>
                  <a:gd name="connsiteX27" fmla="*/ 77715 w 112213"/>
                  <a:gd name="connsiteY27" fmla="*/ 2458 h 66515"/>
                  <a:gd name="connsiteX28" fmla="*/ 70341 w 112213"/>
                  <a:gd name="connsiteY28" fmla="*/ 0 h 66515"/>
                  <a:gd name="connsiteX29" fmla="*/ 45761 w 112213"/>
                  <a:gd name="connsiteY29" fmla="*/ 2458 h 66515"/>
                  <a:gd name="connsiteX30" fmla="*/ 43302 w 112213"/>
                  <a:gd name="connsiteY30" fmla="*/ 9832 h 66515"/>
                  <a:gd name="connsiteX31" fmla="*/ 33470 w 112213"/>
                  <a:gd name="connsiteY31" fmla="*/ 14748 h 66515"/>
                  <a:gd name="connsiteX32" fmla="*/ 38386 w 112213"/>
                  <a:gd name="connsiteY32" fmla="*/ 9832 h 66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2213" h="66515">
                    <a:moveTo>
                      <a:pt x="38386" y="9832"/>
                    </a:moveTo>
                    <a:cubicBezTo>
                      <a:pt x="37157" y="9832"/>
                      <a:pt x="30042" y="12775"/>
                      <a:pt x="26096" y="14748"/>
                    </a:cubicBezTo>
                    <a:cubicBezTo>
                      <a:pt x="23454" y="16069"/>
                      <a:pt x="21437" y="18500"/>
                      <a:pt x="18722" y="19664"/>
                    </a:cubicBezTo>
                    <a:cubicBezTo>
                      <a:pt x="15617" y="20995"/>
                      <a:pt x="12167" y="21303"/>
                      <a:pt x="8890" y="22123"/>
                    </a:cubicBezTo>
                    <a:cubicBezTo>
                      <a:pt x="8071" y="24581"/>
                      <a:pt x="7591" y="27180"/>
                      <a:pt x="6432" y="29497"/>
                    </a:cubicBezTo>
                    <a:cubicBezTo>
                      <a:pt x="3267" y="35825"/>
                      <a:pt x="-4820" y="40368"/>
                      <a:pt x="3973" y="49161"/>
                    </a:cubicBezTo>
                    <a:cubicBezTo>
                      <a:pt x="7638" y="52825"/>
                      <a:pt x="18722" y="54077"/>
                      <a:pt x="18722" y="54077"/>
                    </a:cubicBezTo>
                    <a:cubicBezTo>
                      <a:pt x="25277" y="53258"/>
                      <a:pt x="32350" y="54302"/>
                      <a:pt x="38386" y="51619"/>
                    </a:cubicBezTo>
                    <a:cubicBezTo>
                      <a:pt x="40754" y="50567"/>
                      <a:pt x="39012" y="46077"/>
                      <a:pt x="40844" y="44245"/>
                    </a:cubicBezTo>
                    <a:cubicBezTo>
                      <a:pt x="42676" y="42413"/>
                      <a:pt x="45761" y="42606"/>
                      <a:pt x="48219" y="41787"/>
                    </a:cubicBezTo>
                    <a:cubicBezTo>
                      <a:pt x="47400" y="44245"/>
                      <a:pt x="47316" y="47088"/>
                      <a:pt x="45761" y="49161"/>
                    </a:cubicBezTo>
                    <a:cubicBezTo>
                      <a:pt x="42285" y="53796"/>
                      <a:pt x="33470" y="61452"/>
                      <a:pt x="33470" y="61452"/>
                    </a:cubicBezTo>
                    <a:cubicBezTo>
                      <a:pt x="35928" y="63091"/>
                      <a:pt x="37895" y="66195"/>
                      <a:pt x="40844" y="66368"/>
                    </a:cubicBezTo>
                    <a:cubicBezTo>
                      <a:pt x="52324" y="67043"/>
                      <a:pt x="63836" y="65254"/>
                      <a:pt x="75257" y="63910"/>
                    </a:cubicBezTo>
                    <a:cubicBezTo>
                      <a:pt x="77831" y="63607"/>
                      <a:pt x="80076" y="61878"/>
                      <a:pt x="82632" y="61452"/>
                    </a:cubicBezTo>
                    <a:cubicBezTo>
                      <a:pt x="89950" y="60232"/>
                      <a:pt x="97380" y="59813"/>
                      <a:pt x="104754" y="58994"/>
                    </a:cubicBezTo>
                    <a:cubicBezTo>
                      <a:pt x="103935" y="54897"/>
                      <a:pt x="103309" y="50756"/>
                      <a:pt x="102296" y="46703"/>
                    </a:cubicBezTo>
                    <a:cubicBezTo>
                      <a:pt x="101668" y="44189"/>
                      <a:pt x="101994" y="40766"/>
                      <a:pt x="99838" y="39329"/>
                    </a:cubicBezTo>
                    <a:cubicBezTo>
                      <a:pt x="96362" y="37012"/>
                      <a:pt x="91645" y="37690"/>
                      <a:pt x="87548" y="36871"/>
                    </a:cubicBezTo>
                    <a:cubicBezTo>
                      <a:pt x="90006" y="38510"/>
                      <a:pt x="92833" y="39698"/>
                      <a:pt x="94922" y="41787"/>
                    </a:cubicBezTo>
                    <a:cubicBezTo>
                      <a:pt x="97011" y="43876"/>
                      <a:pt x="97531" y="47316"/>
                      <a:pt x="99838" y="49161"/>
                    </a:cubicBezTo>
                    <a:cubicBezTo>
                      <a:pt x="101861" y="50780"/>
                      <a:pt x="104754" y="50800"/>
                      <a:pt x="107212" y="51619"/>
                    </a:cubicBezTo>
                    <a:cubicBezTo>
                      <a:pt x="108851" y="49161"/>
                      <a:pt x="112844" y="47111"/>
                      <a:pt x="112128" y="44245"/>
                    </a:cubicBezTo>
                    <a:cubicBezTo>
                      <a:pt x="111500" y="41731"/>
                      <a:pt x="107071" y="42946"/>
                      <a:pt x="104754" y="41787"/>
                    </a:cubicBezTo>
                    <a:cubicBezTo>
                      <a:pt x="102112" y="40466"/>
                      <a:pt x="99838" y="38510"/>
                      <a:pt x="97380" y="36871"/>
                    </a:cubicBezTo>
                    <a:cubicBezTo>
                      <a:pt x="91645" y="19665"/>
                      <a:pt x="97380" y="23762"/>
                      <a:pt x="85090" y="19664"/>
                    </a:cubicBezTo>
                    <a:cubicBezTo>
                      <a:pt x="83451" y="18025"/>
                      <a:pt x="81086" y="16878"/>
                      <a:pt x="80173" y="14748"/>
                    </a:cubicBezTo>
                    <a:cubicBezTo>
                      <a:pt x="78527" y="10908"/>
                      <a:pt x="80032" y="5934"/>
                      <a:pt x="77715" y="2458"/>
                    </a:cubicBezTo>
                    <a:cubicBezTo>
                      <a:pt x="76278" y="302"/>
                      <a:pt x="72799" y="819"/>
                      <a:pt x="70341" y="0"/>
                    </a:cubicBezTo>
                    <a:cubicBezTo>
                      <a:pt x="62148" y="819"/>
                      <a:pt x="53499" y="-356"/>
                      <a:pt x="45761" y="2458"/>
                    </a:cubicBezTo>
                    <a:cubicBezTo>
                      <a:pt x="43326" y="3343"/>
                      <a:pt x="45134" y="8000"/>
                      <a:pt x="43302" y="9832"/>
                    </a:cubicBezTo>
                    <a:cubicBezTo>
                      <a:pt x="40711" y="12423"/>
                      <a:pt x="36612" y="12863"/>
                      <a:pt x="33470" y="14748"/>
                    </a:cubicBezTo>
                    <a:cubicBezTo>
                      <a:pt x="32476" y="15344"/>
                      <a:pt x="39615" y="9832"/>
                      <a:pt x="38386" y="9832"/>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04" name="Freeform: Shape 703">
                <a:extLst>
                  <a:ext uri="{FF2B5EF4-FFF2-40B4-BE49-F238E27FC236}">
                    <a16:creationId xmlns:a16="http://schemas.microsoft.com/office/drawing/2014/main" id="{066BC6A8-3B68-4FD8-8C4D-0A171F070D59}"/>
                  </a:ext>
                </a:extLst>
              </p:cNvPr>
              <p:cNvSpPr/>
              <p:nvPr/>
            </p:nvSpPr>
            <p:spPr>
              <a:xfrm>
                <a:off x="6639232" y="6474542"/>
                <a:ext cx="66368" cy="24752"/>
              </a:xfrm>
              <a:custGeom>
                <a:avLst/>
                <a:gdLst>
                  <a:gd name="connsiteX0" fmla="*/ 0 w 66368"/>
                  <a:gd name="connsiteY0" fmla="*/ 24581 h 24752"/>
                  <a:gd name="connsiteX1" fmla="*/ 7374 w 66368"/>
                  <a:gd name="connsiteY1" fmla="*/ 2458 h 24752"/>
                  <a:gd name="connsiteX2" fmla="*/ 14749 w 66368"/>
                  <a:gd name="connsiteY2" fmla="*/ 0 h 24752"/>
                  <a:gd name="connsiteX3" fmla="*/ 31955 w 66368"/>
                  <a:gd name="connsiteY3" fmla="*/ 2458 h 24752"/>
                  <a:gd name="connsiteX4" fmla="*/ 41787 w 66368"/>
                  <a:gd name="connsiteY4" fmla="*/ 4916 h 24752"/>
                  <a:gd name="connsiteX5" fmla="*/ 49162 w 66368"/>
                  <a:gd name="connsiteY5" fmla="*/ 2458 h 24752"/>
                  <a:gd name="connsiteX6" fmla="*/ 66368 w 66368"/>
                  <a:gd name="connsiteY6" fmla="*/ 12290 h 24752"/>
                  <a:gd name="connsiteX7" fmla="*/ 63910 w 66368"/>
                  <a:gd name="connsiteY7" fmla="*/ 19664 h 24752"/>
                  <a:gd name="connsiteX8" fmla="*/ 49162 w 66368"/>
                  <a:gd name="connsiteY8" fmla="*/ 24581 h 24752"/>
                  <a:gd name="connsiteX9" fmla="*/ 9833 w 66368"/>
                  <a:gd name="connsiteY9" fmla="*/ 17206 h 24752"/>
                  <a:gd name="connsiteX10" fmla="*/ 7374 w 66368"/>
                  <a:gd name="connsiteY10" fmla="*/ 9832 h 24752"/>
                  <a:gd name="connsiteX11" fmla="*/ 0 w 66368"/>
                  <a:gd name="connsiteY11" fmla="*/ 24581 h 24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368" h="24752">
                    <a:moveTo>
                      <a:pt x="0" y="24581"/>
                    </a:moveTo>
                    <a:cubicBezTo>
                      <a:pt x="0" y="23352"/>
                      <a:pt x="727" y="7775"/>
                      <a:pt x="7374" y="2458"/>
                    </a:cubicBezTo>
                    <a:cubicBezTo>
                      <a:pt x="9398" y="839"/>
                      <a:pt x="12291" y="819"/>
                      <a:pt x="14749" y="0"/>
                    </a:cubicBezTo>
                    <a:cubicBezTo>
                      <a:pt x="20484" y="819"/>
                      <a:pt x="26255" y="1422"/>
                      <a:pt x="31955" y="2458"/>
                    </a:cubicBezTo>
                    <a:cubicBezTo>
                      <a:pt x="35279" y="3062"/>
                      <a:pt x="38409" y="4916"/>
                      <a:pt x="41787" y="4916"/>
                    </a:cubicBezTo>
                    <a:cubicBezTo>
                      <a:pt x="44378" y="4916"/>
                      <a:pt x="46704" y="3277"/>
                      <a:pt x="49162" y="2458"/>
                    </a:cubicBezTo>
                    <a:cubicBezTo>
                      <a:pt x="58706" y="4049"/>
                      <a:pt x="66368" y="860"/>
                      <a:pt x="66368" y="12290"/>
                    </a:cubicBezTo>
                    <a:cubicBezTo>
                      <a:pt x="66368" y="14881"/>
                      <a:pt x="66018" y="18158"/>
                      <a:pt x="63910" y="19664"/>
                    </a:cubicBezTo>
                    <a:cubicBezTo>
                      <a:pt x="59693" y="22676"/>
                      <a:pt x="49162" y="24581"/>
                      <a:pt x="49162" y="24581"/>
                    </a:cubicBezTo>
                    <a:cubicBezTo>
                      <a:pt x="43496" y="24145"/>
                      <a:pt x="18011" y="27428"/>
                      <a:pt x="9833" y="17206"/>
                    </a:cubicBezTo>
                    <a:cubicBezTo>
                      <a:pt x="8214" y="15183"/>
                      <a:pt x="8194" y="12290"/>
                      <a:pt x="7374" y="9832"/>
                    </a:cubicBezTo>
                    <a:cubicBezTo>
                      <a:pt x="12934" y="1494"/>
                      <a:pt x="0" y="25810"/>
                      <a:pt x="0" y="24581"/>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05" name="Freeform: Shape 704">
                <a:extLst>
                  <a:ext uri="{FF2B5EF4-FFF2-40B4-BE49-F238E27FC236}">
                    <a16:creationId xmlns:a16="http://schemas.microsoft.com/office/drawing/2014/main" id="{BBB19FBA-A9B4-4E49-A84F-213B3760C333}"/>
                  </a:ext>
                </a:extLst>
              </p:cNvPr>
              <p:cNvSpPr/>
              <p:nvPr/>
            </p:nvSpPr>
            <p:spPr>
              <a:xfrm>
                <a:off x="6511363" y="6354097"/>
                <a:ext cx="56786" cy="81116"/>
              </a:xfrm>
              <a:custGeom>
                <a:avLst/>
                <a:gdLst>
                  <a:gd name="connsiteX0" fmla="*/ 56585 w 56786"/>
                  <a:gd name="connsiteY0" fmla="*/ 7374 h 81116"/>
                  <a:gd name="connsiteX1" fmla="*/ 29547 w 56786"/>
                  <a:gd name="connsiteY1" fmla="*/ 0 h 81116"/>
                  <a:gd name="connsiteX2" fmla="*/ 7424 w 56786"/>
                  <a:gd name="connsiteY2" fmla="*/ 2458 h 81116"/>
                  <a:gd name="connsiteX3" fmla="*/ 50 w 56786"/>
                  <a:gd name="connsiteY3" fmla="*/ 17206 h 81116"/>
                  <a:gd name="connsiteX4" fmla="*/ 4966 w 56786"/>
                  <a:gd name="connsiteY4" fmla="*/ 24580 h 81116"/>
                  <a:gd name="connsiteX5" fmla="*/ 14798 w 56786"/>
                  <a:gd name="connsiteY5" fmla="*/ 27038 h 81116"/>
                  <a:gd name="connsiteX6" fmla="*/ 19714 w 56786"/>
                  <a:gd name="connsiteY6" fmla="*/ 31955 h 81116"/>
                  <a:gd name="connsiteX7" fmla="*/ 9882 w 56786"/>
                  <a:gd name="connsiteY7" fmla="*/ 63909 h 81116"/>
                  <a:gd name="connsiteX8" fmla="*/ 9882 w 56786"/>
                  <a:gd name="connsiteY8" fmla="*/ 78658 h 81116"/>
                  <a:gd name="connsiteX9" fmla="*/ 17256 w 56786"/>
                  <a:gd name="connsiteY9" fmla="*/ 81116 h 81116"/>
                  <a:gd name="connsiteX10" fmla="*/ 39379 w 56786"/>
                  <a:gd name="connsiteY10" fmla="*/ 78658 h 81116"/>
                  <a:gd name="connsiteX11" fmla="*/ 41837 w 56786"/>
                  <a:gd name="connsiteY11" fmla="*/ 71284 h 81116"/>
                  <a:gd name="connsiteX12" fmla="*/ 44295 w 56786"/>
                  <a:gd name="connsiteY12" fmla="*/ 61451 h 81116"/>
                  <a:gd name="connsiteX13" fmla="*/ 41837 w 56786"/>
                  <a:gd name="connsiteY13" fmla="*/ 54077 h 81116"/>
                  <a:gd name="connsiteX14" fmla="*/ 41837 w 56786"/>
                  <a:gd name="connsiteY14" fmla="*/ 14748 h 81116"/>
                  <a:gd name="connsiteX15" fmla="*/ 56585 w 56786"/>
                  <a:gd name="connsiteY15" fmla="*/ 7374 h 81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6786" h="81116">
                    <a:moveTo>
                      <a:pt x="56585" y="7374"/>
                    </a:moveTo>
                    <a:cubicBezTo>
                      <a:pt x="54537" y="4916"/>
                      <a:pt x="40689" y="0"/>
                      <a:pt x="29547" y="0"/>
                    </a:cubicBezTo>
                    <a:cubicBezTo>
                      <a:pt x="22127" y="0"/>
                      <a:pt x="14798" y="1639"/>
                      <a:pt x="7424" y="2458"/>
                    </a:cubicBezTo>
                    <a:cubicBezTo>
                      <a:pt x="5712" y="5026"/>
                      <a:pt x="-628" y="13135"/>
                      <a:pt x="50" y="17206"/>
                    </a:cubicBezTo>
                    <a:cubicBezTo>
                      <a:pt x="536" y="20120"/>
                      <a:pt x="2508" y="22941"/>
                      <a:pt x="4966" y="24580"/>
                    </a:cubicBezTo>
                    <a:cubicBezTo>
                      <a:pt x="7777" y="26454"/>
                      <a:pt x="11521" y="26219"/>
                      <a:pt x="14798" y="27038"/>
                    </a:cubicBezTo>
                    <a:cubicBezTo>
                      <a:pt x="16437" y="28677"/>
                      <a:pt x="19522" y="29645"/>
                      <a:pt x="19714" y="31955"/>
                    </a:cubicBezTo>
                    <a:cubicBezTo>
                      <a:pt x="21655" y="55249"/>
                      <a:pt x="21075" y="52716"/>
                      <a:pt x="9882" y="63909"/>
                    </a:cubicBezTo>
                    <a:cubicBezTo>
                      <a:pt x="8244" y="68825"/>
                      <a:pt x="4966" y="73742"/>
                      <a:pt x="9882" y="78658"/>
                    </a:cubicBezTo>
                    <a:cubicBezTo>
                      <a:pt x="11714" y="80490"/>
                      <a:pt x="14798" y="80297"/>
                      <a:pt x="17256" y="81116"/>
                    </a:cubicBezTo>
                    <a:cubicBezTo>
                      <a:pt x="24630" y="80297"/>
                      <a:pt x="32490" y="81414"/>
                      <a:pt x="39379" y="78658"/>
                    </a:cubicBezTo>
                    <a:cubicBezTo>
                      <a:pt x="41785" y="77696"/>
                      <a:pt x="41125" y="73775"/>
                      <a:pt x="41837" y="71284"/>
                    </a:cubicBezTo>
                    <a:cubicBezTo>
                      <a:pt x="42765" y="68035"/>
                      <a:pt x="43476" y="64729"/>
                      <a:pt x="44295" y="61451"/>
                    </a:cubicBezTo>
                    <a:cubicBezTo>
                      <a:pt x="43476" y="58993"/>
                      <a:pt x="42345" y="56618"/>
                      <a:pt x="41837" y="54077"/>
                    </a:cubicBezTo>
                    <a:cubicBezTo>
                      <a:pt x="39267" y="41227"/>
                      <a:pt x="37539" y="27643"/>
                      <a:pt x="41837" y="14748"/>
                    </a:cubicBezTo>
                    <a:cubicBezTo>
                      <a:pt x="44488" y="6795"/>
                      <a:pt x="58633" y="9832"/>
                      <a:pt x="56585" y="737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06" name="Freeform: Shape 705">
                <a:extLst>
                  <a:ext uri="{FF2B5EF4-FFF2-40B4-BE49-F238E27FC236}">
                    <a16:creationId xmlns:a16="http://schemas.microsoft.com/office/drawing/2014/main" id="{AAE1F782-0FEA-40C9-9474-F39F4A93C6FE}"/>
                  </a:ext>
                </a:extLst>
              </p:cNvPr>
              <p:cNvSpPr/>
              <p:nvPr/>
            </p:nvSpPr>
            <p:spPr>
              <a:xfrm>
                <a:off x="6469413" y="6363574"/>
                <a:ext cx="18640" cy="19824"/>
              </a:xfrm>
              <a:custGeom>
                <a:avLst/>
                <a:gdLst>
                  <a:gd name="connsiteX0" fmla="*/ 10690 w 18640"/>
                  <a:gd name="connsiteY0" fmla="*/ 14 h 19824"/>
                  <a:gd name="connsiteX1" fmla="*/ 3316 w 18640"/>
                  <a:gd name="connsiteY1" fmla="*/ 12305 h 19824"/>
                  <a:gd name="connsiteX2" fmla="*/ 858 w 18640"/>
                  <a:gd name="connsiteY2" fmla="*/ 19679 h 19824"/>
                  <a:gd name="connsiteX3" fmla="*/ 18064 w 18640"/>
                  <a:gd name="connsiteY3" fmla="*/ 14763 h 19824"/>
                  <a:gd name="connsiteX4" fmla="*/ 10690 w 18640"/>
                  <a:gd name="connsiteY4" fmla="*/ 14 h 19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40" h="19824">
                    <a:moveTo>
                      <a:pt x="10690" y="14"/>
                    </a:moveTo>
                    <a:cubicBezTo>
                      <a:pt x="8232" y="-396"/>
                      <a:pt x="5453" y="8032"/>
                      <a:pt x="3316" y="12305"/>
                    </a:cubicBezTo>
                    <a:cubicBezTo>
                      <a:pt x="2157" y="14622"/>
                      <a:pt x="-1698" y="19253"/>
                      <a:pt x="858" y="19679"/>
                    </a:cubicBezTo>
                    <a:cubicBezTo>
                      <a:pt x="6742" y="20660"/>
                      <a:pt x="12329" y="16402"/>
                      <a:pt x="18064" y="14763"/>
                    </a:cubicBezTo>
                    <a:cubicBezTo>
                      <a:pt x="20781" y="6611"/>
                      <a:pt x="13148" y="424"/>
                      <a:pt x="10690" y="1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07" name="Freeform: Shape 706">
                <a:extLst>
                  <a:ext uri="{FF2B5EF4-FFF2-40B4-BE49-F238E27FC236}">
                    <a16:creationId xmlns:a16="http://schemas.microsoft.com/office/drawing/2014/main" id="{9351B093-62A5-46C1-A27B-A432DEDF9504}"/>
                  </a:ext>
                </a:extLst>
              </p:cNvPr>
              <p:cNvSpPr/>
              <p:nvPr/>
            </p:nvSpPr>
            <p:spPr>
              <a:xfrm rot="12709504">
                <a:off x="6153620" y="6307313"/>
                <a:ext cx="18640" cy="19824"/>
              </a:xfrm>
              <a:custGeom>
                <a:avLst/>
                <a:gdLst>
                  <a:gd name="connsiteX0" fmla="*/ 10690 w 18640"/>
                  <a:gd name="connsiteY0" fmla="*/ 14 h 19824"/>
                  <a:gd name="connsiteX1" fmla="*/ 3316 w 18640"/>
                  <a:gd name="connsiteY1" fmla="*/ 12305 h 19824"/>
                  <a:gd name="connsiteX2" fmla="*/ 858 w 18640"/>
                  <a:gd name="connsiteY2" fmla="*/ 19679 h 19824"/>
                  <a:gd name="connsiteX3" fmla="*/ 18064 w 18640"/>
                  <a:gd name="connsiteY3" fmla="*/ 14763 h 19824"/>
                  <a:gd name="connsiteX4" fmla="*/ 10690 w 18640"/>
                  <a:gd name="connsiteY4" fmla="*/ 14 h 198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40" h="19824">
                    <a:moveTo>
                      <a:pt x="10690" y="14"/>
                    </a:moveTo>
                    <a:cubicBezTo>
                      <a:pt x="8232" y="-396"/>
                      <a:pt x="5453" y="8032"/>
                      <a:pt x="3316" y="12305"/>
                    </a:cubicBezTo>
                    <a:cubicBezTo>
                      <a:pt x="2157" y="14622"/>
                      <a:pt x="-1698" y="19253"/>
                      <a:pt x="858" y="19679"/>
                    </a:cubicBezTo>
                    <a:cubicBezTo>
                      <a:pt x="6742" y="20660"/>
                      <a:pt x="12329" y="16402"/>
                      <a:pt x="18064" y="14763"/>
                    </a:cubicBezTo>
                    <a:cubicBezTo>
                      <a:pt x="20781" y="6611"/>
                      <a:pt x="13148" y="424"/>
                      <a:pt x="10690" y="1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08" name="Freeform: Shape 707">
                <a:extLst>
                  <a:ext uri="{FF2B5EF4-FFF2-40B4-BE49-F238E27FC236}">
                    <a16:creationId xmlns:a16="http://schemas.microsoft.com/office/drawing/2014/main" id="{D09B80C6-E1D8-4FA3-86F4-2EAF34FEEFFC}"/>
                  </a:ext>
                </a:extLst>
              </p:cNvPr>
              <p:cNvSpPr/>
              <p:nvPr/>
            </p:nvSpPr>
            <p:spPr>
              <a:xfrm>
                <a:off x="6188900" y="6300562"/>
                <a:ext cx="48392" cy="36871"/>
              </a:xfrm>
              <a:custGeom>
                <a:avLst/>
                <a:gdLst>
                  <a:gd name="connsiteX0" fmla="*/ 3988 w 48392"/>
                  <a:gd name="connsiteY0" fmla="*/ 12291 h 36871"/>
                  <a:gd name="connsiteX1" fmla="*/ 26111 w 48392"/>
                  <a:gd name="connsiteY1" fmla="*/ 22123 h 36871"/>
                  <a:gd name="connsiteX2" fmla="*/ 28569 w 48392"/>
                  <a:gd name="connsiteY2" fmla="*/ 12291 h 36871"/>
                  <a:gd name="connsiteX3" fmla="*/ 33485 w 48392"/>
                  <a:gd name="connsiteY3" fmla="*/ 7374 h 36871"/>
                  <a:gd name="connsiteX4" fmla="*/ 38401 w 48392"/>
                  <a:gd name="connsiteY4" fmla="*/ 0 h 36871"/>
                  <a:gd name="connsiteX5" fmla="*/ 45775 w 48392"/>
                  <a:gd name="connsiteY5" fmla="*/ 2458 h 36871"/>
                  <a:gd name="connsiteX6" fmla="*/ 45775 w 48392"/>
                  <a:gd name="connsiteY6" fmla="*/ 27039 h 36871"/>
                  <a:gd name="connsiteX7" fmla="*/ 18737 w 48392"/>
                  <a:gd name="connsiteY7" fmla="*/ 27039 h 36871"/>
                  <a:gd name="connsiteX8" fmla="*/ 11363 w 48392"/>
                  <a:gd name="connsiteY8" fmla="*/ 34413 h 36871"/>
                  <a:gd name="connsiteX9" fmla="*/ 3988 w 48392"/>
                  <a:gd name="connsiteY9" fmla="*/ 36871 h 36871"/>
                  <a:gd name="connsiteX10" fmla="*/ 3988 w 48392"/>
                  <a:gd name="connsiteY10" fmla="*/ 12291 h 36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392" h="36871">
                    <a:moveTo>
                      <a:pt x="3988" y="12291"/>
                    </a:moveTo>
                    <a:cubicBezTo>
                      <a:pt x="7675" y="9833"/>
                      <a:pt x="21892" y="24654"/>
                      <a:pt x="26111" y="22123"/>
                    </a:cubicBezTo>
                    <a:cubicBezTo>
                      <a:pt x="29008" y="20385"/>
                      <a:pt x="27058" y="15313"/>
                      <a:pt x="28569" y="12291"/>
                    </a:cubicBezTo>
                    <a:cubicBezTo>
                      <a:pt x="29605" y="10218"/>
                      <a:pt x="32037" y="9184"/>
                      <a:pt x="33485" y="7374"/>
                    </a:cubicBezTo>
                    <a:cubicBezTo>
                      <a:pt x="35330" y="5067"/>
                      <a:pt x="36762" y="2458"/>
                      <a:pt x="38401" y="0"/>
                    </a:cubicBezTo>
                    <a:cubicBezTo>
                      <a:pt x="40859" y="819"/>
                      <a:pt x="44338" y="302"/>
                      <a:pt x="45775" y="2458"/>
                    </a:cubicBezTo>
                    <a:cubicBezTo>
                      <a:pt x="50819" y="10023"/>
                      <a:pt x="47289" y="19474"/>
                      <a:pt x="45775" y="27039"/>
                    </a:cubicBezTo>
                    <a:cubicBezTo>
                      <a:pt x="35416" y="24967"/>
                      <a:pt x="29473" y="22268"/>
                      <a:pt x="18737" y="27039"/>
                    </a:cubicBezTo>
                    <a:cubicBezTo>
                      <a:pt x="15560" y="28451"/>
                      <a:pt x="14255" y="32485"/>
                      <a:pt x="11363" y="34413"/>
                    </a:cubicBezTo>
                    <a:cubicBezTo>
                      <a:pt x="9207" y="35850"/>
                      <a:pt x="6446" y="36052"/>
                      <a:pt x="3988" y="36871"/>
                    </a:cubicBezTo>
                    <a:cubicBezTo>
                      <a:pt x="-2746" y="26770"/>
                      <a:pt x="301" y="14749"/>
                      <a:pt x="3988" y="12291"/>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09" name="Freeform: Shape 708">
                <a:extLst>
                  <a:ext uri="{FF2B5EF4-FFF2-40B4-BE49-F238E27FC236}">
                    <a16:creationId xmlns:a16="http://schemas.microsoft.com/office/drawing/2014/main" id="{811877F4-FA5E-4D18-8A5F-83C5FAB6ECCA}"/>
                  </a:ext>
                </a:extLst>
              </p:cNvPr>
              <p:cNvSpPr/>
              <p:nvPr/>
            </p:nvSpPr>
            <p:spPr>
              <a:xfrm>
                <a:off x="6373129" y="6500525"/>
                <a:ext cx="87163" cy="62507"/>
              </a:xfrm>
              <a:custGeom>
                <a:avLst/>
                <a:gdLst>
                  <a:gd name="connsiteX0" fmla="*/ 632 w 87163"/>
                  <a:gd name="connsiteY0" fmla="*/ 1056 h 62507"/>
                  <a:gd name="connsiteX1" fmla="*/ 27671 w 87163"/>
                  <a:gd name="connsiteY1" fmla="*/ 3514 h 62507"/>
                  <a:gd name="connsiteX2" fmla="*/ 35045 w 87163"/>
                  <a:gd name="connsiteY2" fmla="*/ 18262 h 62507"/>
                  <a:gd name="connsiteX3" fmla="*/ 52252 w 87163"/>
                  <a:gd name="connsiteY3" fmla="*/ 35469 h 62507"/>
                  <a:gd name="connsiteX4" fmla="*/ 59626 w 87163"/>
                  <a:gd name="connsiteY4" fmla="*/ 33010 h 62507"/>
                  <a:gd name="connsiteX5" fmla="*/ 67000 w 87163"/>
                  <a:gd name="connsiteY5" fmla="*/ 35469 h 62507"/>
                  <a:gd name="connsiteX6" fmla="*/ 84206 w 87163"/>
                  <a:gd name="connsiteY6" fmla="*/ 40385 h 62507"/>
                  <a:gd name="connsiteX7" fmla="*/ 84206 w 87163"/>
                  <a:gd name="connsiteY7" fmla="*/ 60049 h 62507"/>
                  <a:gd name="connsiteX8" fmla="*/ 76832 w 87163"/>
                  <a:gd name="connsiteY8" fmla="*/ 62507 h 62507"/>
                  <a:gd name="connsiteX9" fmla="*/ 59626 w 87163"/>
                  <a:gd name="connsiteY9" fmla="*/ 55133 h 62507"/>
                  <a:gd name="connsiteX10" fmla="*/ 44877 w 87163"/>
                  <a:gd name="connsiteY10" fmla="*/ 50217 h 62507"/>
                  <a:gd name="connsiteX11" fmla="*/ 27671 w 87163"/>
                  <a:gd name="connsiteY11" fmla="*/ 35469 h 62507"/>
                  <a:gd name="connsiteX12" fmla="*/ 17839 w 87163"/>
                  <a:gd name="connsiteY12" fmla="*/ 23178 h 62507"/>
                  <a:gd name="connsiteX13" fmla="*/ 10465 w 87163"/>
                  <a:gd name="connsiteY13" fmla="*/ 18262 h 62507"/>
                  <a:gd name="connsiteX14" fmla="*/ 632 w 87163"/>
                  <a:gd name="connsiteY14" fmla="*/ 1056 h 62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87163" h="62507">
                    <a:moveTo>
                      <a:pt x="632" y="1056"/>
                    </a:moveTo>
                    <a:cubicBezTo>
                      <a:pt x="3500" y="-1402"/>
                      <a:pt x="19021" y="853"/>
                      <a:pt x="27671" y="3514"/>
                    </a:cubicBezTo>
                    <a:cubicBezTo>
                      <a:pt x="32058" y="4864"/>
                      <a:pt x="33377" y="15260"/>
                      <a:pt x="35045" y="18262"/>
                    </a:cubicBezTo>
                    <a:cubicBezTo>
                      <a:pt x="44009" y="34398"/>
                      <a:pt x="40283" y="31478"/>
                      <a:pt x="52252" y="35469"/>
                    </a:cubicBezTo>
                    <a:cubicBezTo>
                      <a:pt x="54710" y="34649"/>
                      <a:pt x="57035" y="33010"/>
                      <a:pt x="59626" y="33010"/>
                    </a:cubicBezTo>
                    <a:cubicBezTo>
                      <a:pt x="62217" y="33010"/>
                      <a:pt x="64509" y="34757"/>
                      <a:pt x="67000" y="35469"/>
                    </a:cubicBezTo>
                    <a:cubicBezTo>
                      <a:pt x="88631" y="41651"/>
                      <a:pt x="66505" y="34485"/>
                      <a:pt x="84206" y="40385"/>
                    </a:cubicBezTo>
                    <a:cubicBezTo>
                      <a:pt x="86556" y="47431"/>
                      <a:pt x="89481" y="52138"/>
                      <a:pt x="84206" y="60049"/>
                    </a:cubicBezTo>
                    <a:cubicBezTo>
                      <a:pt x="82769" y="62205"/>
                      <a:pt x="79290" y="61688"/>
                      <a:pt x="76832" y="62507"/>
                    </a:cubicBezTo>
                    <a:cubicBezTo>
                      <a:pt x="50821" y="56004"/>
                      <a:pt x="81453" y="64833"/>
                      <a:pt x="59626" y="55133"/>
                    </a:cubicBezTo>
                    <a:cubicBezTo>
                      <a:pt x="54890" y="53028"/>
                      <a:pt x="44877" y="50217"/>
                      <a:pt x="44877" y="50217"/>
                    </a:cubicBezTo>
                    <a:cubicBezTo>
                      <a:pt x="29248" y="34588"/>
                      <a:pt x="46598" y="51243"/>
                      <a:pt x="27671" y="35469"/>
                    </a:cubicBezTo>
                    <a:cubicBezTo>
                      <a:pt x="13077" y="23307"/>
                      <a:pt x="33714" y="39053"/>
                      <a:pt x="17839" y="23178"/>
                    </a:cubicBezTo>
                    <a:cubicBezTo>
                      <a:pt x="15750" y="21089"/>
                      <a:pt x="12772" y="20107"/>
                      <a:pt x="10465" y="18262"/>
                    </a:cubicBezTo>
                    <a:cubicBezTo>
                      <a:pt x="5287" y="14120"/>
                      <a:pt x="-2236" y="3514"/>
                      <a:pt x="632" y="1056"/>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10" name="Freeform: Shape 709">
                <a:extLst>
                  <a:ext uri="{FF2B5EF4-FFF2-40B4-BE49-F238E27FC236}">
                    <a16:creationId xmlns:a16="http://schemas.microsoft.com/office/drawing/2014/main" id="{B6849C44-F25D-460A-9990-2C96F041D8AA}"/>
                  </a:ext>
                </a:extLst>
              </p:cNvPr>
              <p:cNvSpPr/>
              <p:nvPr/>
            </p:nvSpPr>
            <p:spPr>
              <a:xfrm>
                <a:off x="6313708" y="6567623"/>
                <a:ext cx="22623" cy="17532"/>
              </a:xfrm>
              <a:custGeom>
                <a:avLst/>
                <a:gdLst>
                  <a:gd name="connsiteX0" fmla="*/ 20724 w 22623"/>
                  <a:gd name="connsiteY0" fmla="*/ 325 h 17532"/>
                  <a:gd name="connsiteX1" fmla="*/ 8434 w 22623"/>
                  <a:gd name="connsiteY1" fmla="*/ 5242 h 17532"/>
                  <a:gd name="connsiteX2" fmla="*/ 3518 w 22623"/>
                  <a:gd name="connsiteY2" fmla="*/ 15074 h 17532"/>
                  <a:gd name="connsiteX3" fmla="*/ 10892 w 22623"/>
                  <a:gd name="connsiteY3" fmla="*/ 17532 h 17532"/>
                  <a:gd name="connsiteX4" fmla="*/ 20724 w 22623"/>
                  <a:gd name="connsiteY4" fmla="*/ 15074 h 17532"/>
                  <a:gd name="connsiteX5" fmla="*/ 20724 w 22623"/>
                  <a:gd name="connsiteY5" fmla="*/ 325 h 17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3" h="17532">
                    <a:moveTo>
                      <a:pt x="20724" y="325"/>
                    </a:moveTo>
                    <a:cubicBezTo>
                      <a:pt x="18676" y="-1314"/>
                      <a:pt x="12565" y="3693"/>
                      <a:pt x="8434" y="5242"/>
                    </a:cubicBezTo>
                    <a:cubicBezTo>
                      <a:pt x="3667" y="7030"/>
                      <a:pt x="-4824" y="6732"/>
                      <a:pt x="3518" y="15074"/>
                    </a:cubicBezTo>
                    <a:cubicBezTo>
                      <a:pt x="5350" y="16906"/>
                      <a:pt x="8434" y="16713"/>
                      <a:pt x="10892" y="17532"/>
                    </a:cubicBezTo>
                    <a:cubicBezTo>
                      <a:pt x="14169" y="16713"/>
                      <a:pt x="18086" y="17184"/>
                      <a:pt x="20724" y="15074"/>
                    </a:cubicBezTo>
                    <a:cubicBezTo>
                      <a:pt x="23700" y="12693"/>
                      <a:pt x="22772" y="1964"/>
                      <a:pt x="20724" y="325"/>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11" name="Freeform: Shape 710">
                <a:extLst>
                  <a:ext uri="{FF2B5EF4-FFF2-40B4-BE49-F238E27FC236}">
                    <a16:creationId xmlns:a16="http://schemas.microsoft.com/office/drawing/2014/main" id="{3AC1DF68-937A-4793-ABF0-69C9D2F0353A}"/>
                  </a:ext>
                </a:extLst>
              </p:cNvPr>
              <p:cNvSpPr/>
              <p:nvPr/>
            </p:nvSpPr>
            <p:spPr>
              <a:xfrm>
                <a:off x="6489286" y="6617021"/>
                <a:ext cx="41791" cy="51765"/>
              </a:xfrm>
              <a:custGeom>
                <a:avLst/>
                <a:gdLst>
                  <a:gd name="connsiteX0" fmla="*/ 14753 w 41791"/>
                  <a:gd name="connsiteY0" fmla="*/ 89 h 51765"/>
                  <a:gd name="connsiteX1" fmla="*/ 2462 w 41791"/>
                  <a:gd name="connsiteY1" fmla="*/ 9921 h 51765"/>
                  <a:gd name="connsiteX2" fmla="*/ 2462 w 41791"/>
                  <a:gd name="connsiteY2" fmla="*/ 24669 h 51765"/>
                  <a:gd name="connsiteX3" fmla="*/ 19669 w 41791"/>
                  <a:gd name="connsiteY3" fmla="*/ 39418 h 51765"/>
                  <a:gd name="connsiteX4" fmla="*/ 31959 w 41791"/>
                  <a:gd name="connsiteY4" fmla="*/ 51708 h 51765"/>
                  <a:gd name="connsiteX5" fmla="*/ 39333 w 41791"/>
                  <a:gd name="connsiteY5" fmla="*/ 49250 h 51765"/>
                  <a:gd name="connsiteX6" fmla="*/ 41791 w 41791"/>
                  <a:gd name="connsiteY6" fmla="*/ 41876 h 51765"/>
                  <a:gd name="connsiteX7" fmla="*/ 36875 w 41791"/>
                  <a:gd name="connsiteY7" fmla="*/ 17295 h 51765"/>
                  <a:gd name="connsiteX8" fmla="*/ 34417 w 41791"/>
                  <a:gd name="connsiteY8" fmla="*/ 7463 h 51765"/>
                  <a:gd name="connsiteX9" fmla="*/ 27043 w 41791"/>
                  <a:gd name="connsiteY9" fmla="*/ 5005 h 51765"/>
                  <a:gd name="connsiteX10" fmla="*/ 14753 w 41791"/>
                  <a:gd name="connsiteY10" fmla="*/ 89 h 51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791" h="51765">
                    <a:moveTo>
                      <a:pt x="14753" y="89"/>
                    </a:moveTo>
                    <a:cubicBezTo>
                      <a:pt x="10656" y="908"/>
                      <a:pt x="5877" y="5938"/>
                      <a:pt x="2462" y="9921"/>
                    </a:cubicBezTo>
                    <a:cubicBezTo>
                      <a:pt x="-1113" y="14092"/>
                      <a:pt x="-517" y="20498"/>
                      <a:pt x="2462" y="24669"/>
                    </a:cubicBezTo>
                    <a:cubicBezTo>
                      <a:pt x="7881" y="32256"/>
                      <a:pt x="12582" y="34694"/>
                      <a:pt x="19669" y="39418"/>
                    </a:cubicBezTo>
                    <a:cubicBezTo>
                      <a:pt x="22537" y="43719"/>
                      <a:pt x="25814" y="50684"/>
                      <a:pt x="31959" y="51708"/>
                    </a:cubicBezTo>
                    <a:cubicBezTo>
                      <a:pt x="34515" y="52134"/>
                      <a:pt x="36875" y="50069"/>
                      <a:pt x="39333" y="49250"/>
                    </a:cubicBezTo>
                    <a:cubicBezTo>
                      <a:pt x="40152" y="46792"/>
                      <a:pt x="41791" y="44467"/>
                      <a:pt x="41791" y="41876"/>
                    </a:cubicBezTo>
                    <a:cubicBezTo>
                      <a:pt x="41791" y="27193"/>
                      <a:pt x="39902" y="27890"/>
                      <a:pt x="36875" y="17295"/>
                    </a:cubicBezTo>
                    <a:cubicBezTo>
                      <a:pt x="35947" y="14047"/>
                      <a:pt x="36527" y="10101"/>
                      <a:pt x="34417" y="7463"/>
                    </a:cubicBezTo>
                    <a:cubicBezTo>
                      <a:pt x="32798" y="5440"/>
                      <a:pt x="29449" y="5967"/>
                      <a:pt x="27043" y="5005"/>
                    </a:cubicBezTo>
                    <a:cubicBezTo>
                      <a:pt x="25342" y="4325"/>
                      <a:pt x="18850" y="-730"/>
                      <a:pt x="14753" y="89"/>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12" name="Freeform: Shape 711">
                <a:extLst>
                  <a:ext uri="{FF2B5EF4-FFF2-40B4-BE49-F238E27FC236}">
                    <a16:creationId xmlns:a16="http://schemas.microsoft.com/office/drawing/2014/main" id="{C39D800C-25D3-48F6-A255-D93F9113AE5F}"/>
                  </a:ext>
                </a:extLst>
              </p:cNvPr>
              <p:cNvSpPr/>
              <p:nvPr/>
            </p:nvSpPr>
            <p:spPr>
              <a:xfrm>
                <a:off x="6447450" y="6636531"/>
                <a:ext cx="27092" cy="37114"/>
              </a:xfrm>
              <a:custGeom>
                <a:avLst/>
                <a:gdLst>
                  <a:gd name="connsiteX0" fmla="*/ 4969 w 27092"/>
                  <a:gd name="connsiteY0" fmla="*/ 5159 h 37114"/>
                  <a:gd name="connsiteX1" fmla="*/ 2511 w 27092"/>
                  <a:gd name="connsiteY1" fmla="*/ 17450 h 37114"/>
                  <a:gd name="connsiteX2" fmla="*/ 53 w 27092"/>
                  <a:gd name="connsiteY2" fmla="*/ 24824 h 37114"/>
                  <a:gd name="connsiteX3" fmla="*/ 4969 w 27092"/>
                  <a:gd name="connsiteY3" fmla="*/ 32198 h 37114"/>
                  <a:gd name="connsiteX4" fmla="*/ 19718 w 27092"/>
                  <a:gd name="connsiteY4" fmla="*/ 37114 h 37114"/>
                  <a:gd name="connsiteX5" fmla="*/ 27092 w 27092"/>
                  <a:gd name="connsiteY5" fmla="*/ 12534 h 37114"/>
                  <a:gd name="connsiteX6" fmla="*/ 24634 w 27092"/>
                  <a:gd name="connsiteY6" fmla="*/ 5159 h 37114"/>
                  <a:gd name="connsiteX7" fmla="*/ 17260 w 27092"/>
                  <a:gd name="connsiteY7" fmla="*/ 243 h 37114"/>
                  <a:gd name="connsiteX8" fmla="*/ 4969 w 27092"/>
                  <a:gd name="connsiteY8" fmla="*/ 5159 h 37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092" h="37114">
                    <a:moveTo>
                      <a:pt x="4969" y="5159"/>
                    </a:moveTo>
                    <a:cubicBezTo>
                      <a:pt x="2511" y="8027"/>
                      <a:pt x="3524" y="13397"/>
                      <a:pt x="2511" y="17450"/>
                    </a:cubicBezTo>
                    <a:cubicBezTo>
                      <a:pt x="1883" y="19964"/>
                      <a:pt x="-373" y="22268"/>
                      <a:pt x="53" y="24824"/>
                    </a:cubicBezTo>
                    <a:cubicBezTo>
                      <a:pt x="539" y="27738"/>
                      <a:pt x="2464" y="30632"/>
                      <a:pt x="4969" y="32198"/>
                    </a:cubicBezTo>
                    <a:cubicBezTo>
                      <a:pt x="9364" y="34944"/>
                      <a:pt x="19718" y="37114"/>
                      <a:pt x="19718" y="37114"/>
                    </a:cubicBezTo>
                    <a:cubicBezTo>
                      <a:pt x="26381" y="27119"/>
                      <a:pt x="27092" y="28351"/>
                      <a:pt x="27092" y="12534"/>
                    </a:cubicBezTo>
                    <a:cubicBezTo>
                      <a:pt x="27092" y="9943"/>
                      <a:pt x="26253" y="7183"/>
                      <a:pt x="24634" y="5159"/>
                    </a:cubicBezTo>
                    <a:cubicBezTo>
                      <a:pt x="22789" y="2852"/>
                      <a:pt x="19902" y="1564"/>
                      <a:pt x="17260" y="243"/>
                    </a:cubicBezTo>
                    <a:cubicBezTo>
                      <a:pt x="14942" y="-916"/>
                      <a:pt x="7427" y="2291"/>
                      <a:pt x="4969" y="5159"/>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13" name="Freeform: Shape 712">
                <a:extLst>
                  <a:ext uri="{FF2B5EF4-FFF2-40B4-BE49-F238E27FC236}">
                    <a16:creationId xmlns:a16="http://schemas.microsoft.com/office/drawing/2014/main" id="{03AA70CC-9746-4505-922B-B54751B7B8AD}"/>
                  </a:ext>
                </a:extLst>
              </p:cNvPr>
              <p:cNvSpPr/>
              <p:nvPr/>
            </p:nvSpPr>
            <p:spPr>
              <a:xfrm>
                <a:off x="6349165" y="6703142"/>
                <a:ext cx="49897" cy="44603"/>
              </a:xfrm>
              <a:custGeom>
                <a:avLst/>
                <a:gdLst>
                  <a:gd name="connsiteX0" fmla="*/ 16 w 49897"/>
                  <a:gd name="connsiteY0" fmla="*/ 34413 h 44603"/>
                  <a:gd name="connsiteX1" fmla="*/ 12306 w 49897"/>
                  <a:gd name="connsiteY1" fmla="*/ 44245 h 44603"/>
                  <a:gd name="connsiteX2" fmla="*/ 36887 w 49897"/>
                  <a:gd name="connsiteY2" fmla="*/ 39329 h 44603"/>
                  <a:gd name="connsiteX3" fmla="*/ 34429 w 49897"/>
                  <a:gd name="connsiteY3" fmla="*/ 29497 h 44603"/>
                  <a:gd name="connsiteX4" fmla="*/ 31970 w 49897"/>
                  <a:gd name="connsiteY4" fmla="*/ 17206 h 44603"/>
                  <a:gd name="connsiteX5" fmla="*/ 39345 w 49897"/>
                  <a:gd name="connsiteY5" fmla="*/ 14748 h 44603"/>
                  <a:gd name="connsiteX6" fmla="*/ 46719 w 49897"/>
                  <a:gd name="connsiteY6" fmla="*/ 17206 h 44603"/>
                  <a:gd name="connsiteX7" fmla="*/ 49177 w 49897"/>
                  <a:gd name="connsiteY7" fmla="*/ 9832 h 44603"/>
                  <a:gd name="connsiteX8" fmla="*/ 34429 w 49897"/>
                  <a:gd name="connsiteY8" fmla="*/ 4916 h 44603"/>
                  <a:gd name="connsiteX9" fmla="*/ 27054 w 49897"/>
                  <a:gd name="connsiteY9" fmla="*/ 0 h 44603"/>
                  <a:gd name="connsiteX10" fmla="*/ 19680 w 49897"/>
                  <a:gd name="connsiteY10" fmla="*/ 14748 h 44603"/>
                  <a:gd name="connsiteX11" fmla="*/ 17222 w 49897"/>
                  <a:gd name="connsiteY11" fmla="*/ 27039 h 44603"/>
                  <a:gd name="connsiteX12" fmla="*/ 9848 w 49897"/>
                  <a:gd name="connsiteY12" fmla="*/ 29497 h 44603"/>
                  <a:gd name="connsiteX13" fmla="*/ 16 w 49897"/>
                  <a:gd name="connsiteY13" fmla="*/ 34413 h 446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9897" h="44603">
                    <a:moveTo>
                      <a:pt x="16" y="34413"/>
                    </a:moveTo>
                    <a:cubicBezTo>
                      <a:pt x="426" y="36871"/>
                      <a:pt x="7216" y="42973"/>
                      <a:pt x="12306" y="44245"/>
                    </a:cubicBezTo>
                    <a:cubicBezTo>
                      <a:pt x="18761" y="45859"/>
                      <a:pt x="29972" y="41634"/>
                      <a:pt x="36887" y="39329"/>
                    </a:cubicBezTo>
                    <a:cubicBezTo>
                      <a:pt x="36068" y="36052"/>
                      <a:pt x="35940" y="32518"/>
                      <a:pt x="34429" y="29497"/>
                    </a:cubicBezTo>
                    <a:cubicBezTo>
                      <a:pt x="31833" y="24305"/>
                      <a:pt x="24136" y="25040"/>
                      <a:pt x="31970" y="17206"/>
                    </a:cubicBezTo>
                    <a:cubicBezTo>
                      <a:pt x="33802" y="15374"/>
                      <a:pt x="36887" y="15567"/>
                      <a:pt x="39345" y="14748"/>
                    </a:cubicBezTo>
                    <a:cubicBezTo>
                      <a:pt x="41803" y="15567"/>
                      <a:pt x="44402" y="18365"/>
                      <a:pt x="46719" y="17206"/>
                    </a:cubicBezTo>
                    <a:cubicBezTo>
                      <a:pt x="49036" y="16047"/>
                      <a:pt x="51009" y="11664"/>
                      <a:pt x="49177" y="9832"/>
                    </a:cubicBezTo>
                    <a:cubicBezTo>
                      <a:pt x="45513" y="6168"/>
                      <a:pt x="38741" y="7790"/>
                      <a:pt x="34429" y="4916"/>
                    </a:cubicBezTo>
                    <a:lnTo>
                      <a:pt x="27054" y="0"/>
                    </a:lnTo>
                    <a:cubicBezTo>
                      <a:pt x="22248" y="7209"/>
                      <a:pt x="21715" y="6607"/>
                      <a:pt x="19680" y="14748"/>
                    </a:cubicBezTo>
                    <a:cubicBezTo>
                      <a:pt x="18667" y="18801"/>
                      <a:pt x="19539" y="23563"/>
                      <a:pt x="17222" y="27039"/>
                    </a:cubicBezTo>
                    <a:cubicBezTo>
                      <a:pt x="15785" y="29195"/>
                      <a:pt x="12306" y="28678"/>
                      <a:pt x="9848" y="29497"/>
                    </a:cubicBezTo>
                    <a:cubicBezTo>
                      <a:pt x="7109" y="40453"/>
                      <a:pt x="-394" y="31955"/>
                      <a:pt x="16" y="3441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14" name="Freeform: Shape 713">
                <a:extLst>
                  <a:ext uri="{FF2B5EF4-FFF2-40B4-BE49-F238E27FC236}">
                    <a16:creationId xmlns:a16="http://schemas.microsoft.com/office/drawing/2014/main" id="{114B50CC-3A9F-4DEF-BB78-29029B64AB1F}"/>
                  </a:ext>
                </a:extLst>
              </p:cNvPr>
              <p:cNvSpPr/>
              <p:nvPr/>
            </p:nvSpPr>
            <p:spPr>
              <a:xfrm>
                <a:off x="6338367" y="6612194"/>
                <a:ext cx="20646" cy="32122"/>
              </a:xfrm>
              <a:custGeom>
                <a:avLst/>
                <a:gdLst>
                  <a:gd name="connsiteX0" fmla="*/ 981 w 20646"/>
                  <a:gd name="connsiteY0" fmla="*/ 2458 h 32122"/>
                  <a:gd name="connsiteX1" fmla="*/ 3439 w 20646"/>
                  <a:gd name="connsiteY1" fmla="*/ 27038 h 32122"/>
                  <a:gd name="connsiteX2" fmla="*/ 20646 w 20646"/>
                  <a:gd name="connsiteY2" fmla="*/ 17206 h 32122"/>
                  <a:gd name="connsiteX3" fmla="*/ 8356 w 20646"/>
                  <a:gd name="connsiteY3" fmla="*/ 0 h 32122"/>
                  <a:gd name="connsiteX4" fmla="*/ 981 w 20646"/>
                  <a:gd name="connsiteY4" fmla="*/ 2458 h 321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646" h="32122">
                    <a:moveTo>
                      <a:pt x="981" y="2458"/>
                    </a:moveTo>
                    <a:cubicBezTo>
                      <a:pt x="161" y="6964"/>
                      <a:pt x="-1616" y="20538"/>
                      <a:pt x="3439" y="27038"/>
                    </a:cubicBezTo>
                    <a:cubicBezTo>
                      <a:pt x="14880" y="41746"/>
                      <a:pt x="19660" y="20163"/>
                      <a:pt x="20646" y="17206"/>
                    </a:cubicBezTo>
                    <a:cubicBezTo>
                      <a:pt x="14911" y="0"/>
                      <a:pt x="20646" y="4097"/>
                      <a:pt x="8356" y="0"/>
                    </a:cubicBezTo>
                    <a:cubicBezTo>
                      <a:pt x="-1218" y="3191"/>
                      <a:pt x="1801" y="-2048"/>
                      <a:pt x="981" y="2458"/>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15" name="Freeform: Shape 714">
                <a:extLst>
                  <a:ext uri="{FF2B5EF4-FFF2-40B4-BE49-F238E27FC236}">
                    <a16:creationId xmlns:a16="http://schemas.microsoft.com/office/drawing/2014/main" id="{541D5179-0E8A-4F55-9D1A-9A7018DACE9F}"/>
                  </a:ext>
                </a:extLst>
              </p:cNvPr>
              <p:cNvSpPr/>
              <p:nvPr/>
            </p:nvSpPr>
            <p:spPr>
              <a:xfrm>
                <a:off x="6388404" y="6668248"/>
                <a:ext cx="29602" cy="29978"/>
              </a:xfrm>
              <a:custGeom>
                <a:avLst/>
                <a:gdLst>
                  <a:gd name="connsiteX0" fmla="*/ 106 w 29602"/>
                  <a:gd name="connsiteY0" fmla="*/ 5397 h 29978"/>
                  <a:gd name="connsiteX1" fmla="*/ 12396 w 29602"/>
                  <a:gd name="connsiteY1" fmla="*/ 10313 h 29978"/>
                  <a:gd name="connsiteX2" fmla="*/ 22228 w 29602"/>
                  <a:gd name="connsiteY2" fmla="*/ 25062 h 29978"/>
                  <a:gd name="connsiteX3" fmla="*/ 29602 w 29602"/>
                  <a:gd name="connsiteY3" fmla="*/ 29978 h 29978"/>
                  <a:gd name="connsiteX4" fmla="*/ 27144 w 29602"/>
                  <a:gd name="connsiteY4" fmla="*/ 5397 h 29978"/>
                  <a:gd name="connsiteX5" fmla="*/ 19770 w 29602"/>
                  <a:gd name="connsiteY5" fmla="*/ 481 h 29978"/>
                  <a:gd name="connsiteX6" fmla="*/ 106 w 29602"/>
                  <a:gd name="connsiteY6" fmla="*/ 5397 h 29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602" h="29978">
                    <a:moveTo>
                      <a:pt x="106" y="5397"/>
                    </a:moveTo>
                    <a:cubicBezTo>
                      <a:pt x="-1123" y="7036"/>
                      <a:pt x="8654" y="7975"/>
                      <a:pt x="12396" y="10313"/>
                    </a:cubicBezTo>
                    <a:cubicBezTo>
                      <a:pt x="29441" y="20966"/>
                      <a:pt x="12828" y="13311"/>
                      <a:pt x="22228" y="25062"/>
                    </a:cubicBezTo>
                    <a:cubicBezTo>
                      <a:pt x="24073" y="27369"/>
                      <a:pt x="27144" y="28339"/>
                      <a:pt x="29602" y="29978"/>
                    </a:cubicBezTo>
                    <a:cubicBezTo>
                      <a:pt x="28783" y="21784"/>
                      <a:pt x="29748" y="13209"/>
                      <a:pt x="27144" y="5397"/>
                    </a:cubicBezTo>
                    <a:cubicBezTo>
                      <a:pt x="26210" y="2594"/>
                      <a:pt x="22470" y="1681"/>
                      <a:pt x="19770" y="481"/>
                    </a:cubicBezTo>
                    <a:cubicBezTo>
                      <a:pt x="15035" y="-1624"/>
                      <a:pt x="1335" y="3758"/>
                      <a:pt x="106" y="5397"/>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16" name="Freeform: Shape 715">
                <a:extLst>
                  <a:ext uri="{FF2B5EF4-FFF2-40B4-BE49-F238E27FC236}">
                    <a16:creationId xmlns:a16="http://schemas.microsoft.com/office/drawing/2014/main" id="{EB1F4B51-C79E-4470-88C3-1E95D2EBEBAC}"/>
                  </a:ext>
                </a:extLst>
              </p:cNvPr>
              <p:cNvSpPr/>
              <p:nvPr/>
            </p:nvSpPr>
            <p:spPr>
              <a:xfrm>
                <a:off x="6474428" y="6565501"/>
                <a:ext cx="25221" cy="24588"/>
              </a:xfrm>
              <a:custGeom>
                <a:avLst/>
                <a:gdLst>
                  <a:gd name="connsiteX0" fmla="*/ 5030 w 25221"/>
                  <a:gd name="connsiteY0" fmla="*/ 4905 h 24588"/>
                  <a:gd name="connsiteX1" fmla="*/ 114 w 25221"/>
                  <a:gd name="connsiteY1" fmla="*/ 17196 h 24588"/>
                  <a:gd name="connsiteX2" fmla="*/ 2572 w 25221"/>
                  <a:gd name="connsiteY2" fmla="*/ 24570 h 24588"/>
                  <a:gd name="connsiteX3" fmla="*/ 22237 w 25221"/>
                  <a:gd name="connsiteY3" fmla="*/ 9822 h 24588"/>
                  <a:gd name="connsiteX4" fmla="*/ 24695 w 25221"/>
                  <a:gd name="connsiteY4" fmla="*/ 2447 h 24588"/>
                  <a:gd name="connsiteX5" fmla="*/ 5030 w 25221"/>
                  <a:gd name="connsiteY5" fmla="*/ 4905 h 24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21" h="24588">
                    <a:moveTo>
                      <a:pt x="5030" y="4905"/>
                    </a:moveTo>
                    <a:cubicBezTo>
                      <a:pt x="933" y="7363"/>
                      <a:pt x="661" y="12818"/>
                      <a:pt x="114" y="17196"/>
                    </a:cubicBezTo>
                    <a:cubicBezTo>
                      <a:pt x="-207" y="19767"/>
                      <a:pt x="7" y="24936"/>
                      <a:pt x="2572" y="24570"/>
                    </a:cubicBezTo>
                    <a:cubicBezTo>
                      <a:pt x="9055" y="23644"/>
                      <a:pt x="17140" y="14918"/>
                      <a:pt x="22237" y="9822"/>
                    </a:cubicBezTo>
                    <a:cubicBezTo>
                      <a:pt x="23056" y="7364"/>
                      <a:pt x="26527" y="4279"/>
                      <a:pt x="24695" y="2447"/>
                    </a:cubicBezTo>
                    <a:cubicBezTo>
                      <a:pt x="19002" y="-3246"/>
                      <a:pt x="9127" y="2447"/>
                      <a:pt x="5030" y="4905"/>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17" name="Freeform: Shape 716">
                <a:extLst>
                  <a:ext uri="{FF2B5EF4-FFF2-40B4-BE49-F238E27FC236}">
                    <a16:creationId xmlns:a16="http://schemas.microsoft.com/office/drawing/2014/main" id="{ECFB104A-C7D4-4495-9715-9C02E3BC83E2}"/>
                  </a:ext>
                </a:extLst>
              </p:cNvPr>
              <p:cNvSpPr/>
              <p:nvPr/>
            </p:nvSpPr>
            <p:spPr>
              <a:xfrm>
                <a:off x="6555117" y="6511413"/>
                <a:ext cx="59614" cy="40402"/>
              </a:xfrm>
              <a:custGeom>
                <a:avLst/>
                <a:gdLst>
                  <a:gd name="connsiteX0" fmla="*/ 541 w 59614"/>
                  <a:gd name="connsiteY0" fmla="*/ 39329 h 40402"/>
                  <a:gd name="connsiteX1" fmla="*/ 10373 w 59614"/>
                  <a:gd name="connsiteY1" fmla="*/ 27039 h 40402"/>
                  <a:gd name="connsiteX2" fmla="*/ 15289 w 59614"/>
                  <a:gd name="connsiteY2" fmla="*/ 22122 h 40402"/>
                  <a:gd name="connsiteX3" fmla="*/ 32496 w 59614"/>
                  <a:gd name="connsiteY3" fmla="*/ 17206 h 40402"/>
                  <a:gd name="connsiteX4" fmla="*/ 37412 w 59614"/>
                  <a:gd name="connsiteY4" fmla="*/ 9832 h 40402"/>
                  <a:gd name="connsiteX5" fmla="*/ 52160 w 59614"/>
                  <a:gd name="connsiteY5" fmla="*/ 0 h 40402"/>
                  <a:gd name="connsiteX6" fmla="*/ 59535 w 59614"/>
                  <a:gd name="connsiteY6" fmla="*/ 2458 h 40402"/>
                  <a:gd name="connsiteX7" fmla="*/ 47244 w 59614"/>
                  <a:gd name="connsiteY7" fmla="*/ 14748 h 40402"/>
                  <a:gd name="connsiteX8" fmla="*/ 34954 w 59614"/>
                  <a:gd name="connsiteY8" fmla="*/ 34413 h 40402"/>
                  <a:gd name="connsiteX9" fmla="*/ 27580 w 59614"/>
                  <a:gd name="connsiteY9" fmla="*/ 36871 h 40402"/>
                  <a:gd name="connsiteX10" fmla="*/ 541 w 59614"/>
                  <a:gd name="connsiteY10" fmla="*/ 39329 h 40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9614" h="40402">
                    <a:moveTo>
                      <a:pt x="541" y="39329"/>
                    </a:moveTo>
                    <a:cubicBezTo>
                      <a:pt x="-2327" y="37690"/>
                      <a:pt x="6959" y="31022"/>
                      <a:pt x="10373" y="27039"/>
                    </a:cubicBezTo>
                    <a:cubicBezTo>
                      <a:pt x="11881" y="25279"/>
                      <a:pt x="13302" y="23314"/>
                      <a:pt x="15289" y="22122"/>
                    </a:cubicBezTo>
                    <a:cubicBezTo>
                      <a:pt x="17806" y="20611"/>
                      <a:pt x="30661" y="17665"/>
                      <a:pt x="32496" y="17206"/>
                    </a:cubicBezTo>
                    <a:cubicBezTo>
                      <a:pt x="34135" y="14748"/>
                      <a:pt x="35189" y="11777"/>
                      <a:pt x="37412" y="9832"/>
                    </a:cubicBezTo>
                    <a:cubicBezTo>
                      <a:pt x="41858" y="5941"/>
                      <a:pt x="52160" y="0"/>
                      <a:pt x="52160" y="0"/>
                    </a:cubicBezTo>
                    <a:cubicBezTo>
                      <a:pt x="54618" y="819"/>
                      <a:pt x="60354" y="0"/>
                      <a:pt x="59535" y="2458"/>
                    </a:cubicBezTo>
                    <a:cubicBezTo>
                      <a:pt x="57703" y="7954"/>
                      <a:pt x="47244" y="14748"/>
                      <a:pt x="47244" y="14748"/>
                    </a:cubicBezTo>
                    <a:cubicBezTo>
                      <a:pt x="42760" y="28200"/>
                      <a:pt x="45861" y="28960"/>
                      <a:pt x="34954" y="34413"/>
                    </a:cubicBezTo>
                    <a:cubicBezTo>
                      <a:pt x="32637" y="35572"/>
                      <a:pt x="30145" y="36505"/>
                      <a:pt x="27580" y="36871"/>
                    </a:cubicBezTo>
                    <a:cubicBezTo>
                      <a:pt x="-2322" y="41143"/>
                      <a:pt x="3409" y="40968"/>
                      <a:pt x="541" y="39329"/>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18" name="Freeform: Shape 717">
                <a:extLst>
                  <a:ext uri="{FF2B5EF4-FFF2-40B4-BE49-F238E27FC236}">
                    <a16:creationId xmlns:a16="http://schemas.microsoft.com/office/drawing/2014/main" id="{8171D5A9-D4BF-4E27-BFAA-4CC1FF3CAAF0}"/>
                  </a:ext>
                </a:extLst>
              </p:cNvPr>
              <p:cNvSpPr/>
              <p:nvPr/>
            </p:nvSpPr>
            <p:spPr>
              <a:xfrm>
                <a:off x="5616677" y="6290187"/>
                <a:ext cx="74110" cy="71284"/>
              </a:xfrm>
              <a:custGeom>
                <a:avLst/>
                <a:gdLst>
                  <a:gd name="connsiteX0" fmla="*/ 22123 w 74110"/>
                  <a:gd name="connsiteY0" fmla="*/ 2458 h 71284"/>
                  <a:gd name="connsiteX1" fmla="*/ 9833 w 74110"/>
                  <a:gd name="connsiteY1" fmla="*/ 9832 h 71284"/>
                  <a:gd name="connsiteX2" fmla="*/ 2458 w 74110"/>
                  <a:gd name="connsiteY2" fmla="*/ 12290 h 71284"/>
                  <a:gd name="connsiteX3" fmla="*/ 0 w 74110"/>
                  <a:gd name="connsiteY3" fmla="*/ 19665 h 71284"/>
                  <a:gd name="connsiteX4" fmla="*/ 9833 w 74110"/>
                  <a:gd name="connsiteY4" fmla="*/ 36871 h 71284"/>
                  <a:gd name="connsiteX5" fmla="*/ 17207 w 74110"/>
                  <a:gd name="connsiteY5" fmla="*/ 39329 h 71284"/>
                  <a:gd name="connsiteX6" fmla="*/ 24581 w 74110"/>
                  <a:gd name="connsiteY6" fmla="*/ 46703 h 71284"/>
                  <a:gd name="connsiteX7" fmla="*/ 29497 w 74110"/>
                  <a:gd name="connsiteY7" fmla="*/ 54078 h 71284"/>
                  <a:gd name="connsiteX8" fmla="*/ 36871 w 74110"/>
                  <a:gd name="connsiteY8" fmla="*/ 58994 h 71284"/>
                  <a:gd name="connsiteX9" fmla="*/ 41788 w 74110"/>
                  <a:gd name="connsiteY9" fmla="*/ 63910 h 71284"/>
                  <a:gd name="connsiteX10" fmla="*/ 66368 w 74110"/>
                  <a:gd name="connsiteY10" fmla="*/ 71284 h 71284"/>
                  <a:gd name="connsiteX11" fmla="*/ 73742 w 74110"/>
                  <a:gd name="connsiteY11" fmla="*/ 68826 h 71284"/>
                  <a:gd name="connsiteX12" fmla="*/ 71284 w 74110"/>
                  <a:gd name="connsiteY12" fmla="*/ 61452 h 71284"/>
                  <a:gd name="connsiteX13" fmla="*/ 63910 w 74110"/>
                  <a:gd name="connsiteY13" fmla="*/ 58994 h 71284"/>
                  <a:gd name="connsiteX14" fmla="*/ 51620 w 74110"/>
                  <a:gd name="connsiteY14" fmla="*/ 49161 h 71284"/>
                  <a:gd name="connsiteX15" fmla="*/ 46704 w 74110"/>
                  <a:gd name="connsiteY15" fmla="*/ 41787 h 71284"/>
                  <a:gd name="connsiteX16" fmla="*/ 44246 w 74110"/>
                  <a:gd name="connsiteY16" fmla="*/ 31955 h 71284"/>
                  <a:gd name="connsiteX17" fmla="*/ 34413 w 74110"/>
                  <a:gd name="connsiteY17" fmla="*/ 19665 h 71284"/>
                  <a:gd name="connsiteX18" fmla="*/ 34413 w 74110"/>
                  <a:gd name="connsiteY18" fmla="*/ 2458 h 71284"/>
                  <a:gd name="connsiteX19" fmla="*/ 27039 w 74110"/>
                  <a:gd name="connsiteY19" fmla="*/ 0 h 71284"/>
                  <a:gd name="connsiteX20" fmla="*/ 19665 w 74110"/>
                  <a:gd name="connsiteY20" fmla="*/ 2458 h 71284"/>
                  <a:gd name="connsiteX21" fmla="*/ 14749 w 74110"/>
                  <a:gd name="connsiteY21" fmla="*/ 9832 h 71284"/>
                  <a:gd name="connsiteX22" fmla="*/ 7375 w 74110"/>
                  <a:gd name="connsiteY22" fmla="*/ 17207 h 71284"/>
                  <a:gd name="connsiteX23" fmla="*/ 22123 w 74110"/>
                  <a:gd name="connsiteY23" fmla="*/ 2458 h 71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74110" h="71284">
                    <a:moveTo>
                      <a:pt x="22123" y="2458"/>
                    </a:moveTo>
                    <a:cubicBezTo>
                      <a:pt x="22533" y="1229"/>
                      <a:pt x="14106" y="7696"/>
                      <a:pt x="9833" y="9832"/>
                    </a:cubicBezTo>
                    <a:cubicBezTo>
                      <a:pt x="7515" y="10991"/>
                      <a:pt x="4290" y="10458"/>
                      <a:pt x="2458" y="12290"/>
                    </a:cubicBezTo>
                    <a:cubicBezTo>
                      <a:pt x="626" y="14122"/>
                      <a:pt x="819" y="17207"/>
                      <a:pt x="0" y="19665"/>
                    </a:cubicBezTo>
                    <a:cubicBezTo>
                      <a:pt x="1209" y="22082"/>
                      <a:pt x="6939" y="34556"/>
                      <a:pt x="9833" y="36871"/>
                    </a:cubicBezTo>
                    <a:cubicBezTo>
                      <a:pt x="11856" y="38490"/>
                      <a:pt x="14749" y="38510"/>
                      <a:pt x="17207" y="39329"/>
                    </a:cubicBezTo>
                    <a:cubicBezTo>
                      <a:pt x="19665" y="41787"/>
                      <a:pt x="22356" y="44032"/>
                      <a:pt x="24581" y="46703"/>
                    </a:cubicBezTo>
                    <a:cubicBezTo>
                      <a:pt x="26472" y="48973"/>
                      <a:pt x="27408" y="51989"/>
                      <a:pt x="29497" y="54078"/>
                    </a:cubicBezTo>
                    <a:cubicBezTo>
                      <a:pt x="31586" y="56167"/>
                      <a:pt x="34564" y="57149"/>
                      <a:pt x="36871" y="58994"/>
                    </a:cubicBezTo>
                    <a:cubicBezTo>
                      <a:pt x="38681" y="60442"/>
                      <a:pt x="39715" y="62874"/>
                      <a:pt x="41788" y="63910"/>
                    </a:cubicBezTo>
                    <a:cubicBezTo>
                      <a:pt x="47773" y="66902"/>
                      <a:pt x="59311" y="69520"/>
                      <a:pt x="66368" y="71284"/>
                    </a:cubicBezTo>
                    <a:cubicBezTo>
                      <a:pt x="68826" y="70465"/>
                      <a:pt x="72583" y="71143"/>
                      <a:pt x="73742" y="68826"/>
                    </a:cubicBezTo>
                    <a:cubicBezTo>
                      <a:pt x="74901" y="66509"/>
                      <a:pt x="73116" y="63284"/>
                      <a:pt x="71284" y="61452"/>
                    </a:cubicBezTo>
                    <a:cubicBezTo>
                      <a:pt x="69452" y="59620"/>
                      <a:pt x="66227" y="60153"/>
                      <a:pt x="63910" y="58994"/>
                    </a:cubicBezTo>
                    <a:cubicBezTo>
                      <a:pt x="59649" y="56864"/>
                      <a:pt x="54669" y="52973"/>
                      <a:pt x="51620" y="49161"/>
                    </a:cubicBezTo>
                    <a:cubicBezTo>
                      <a:pt x="49775" y="46854"/>
                      <a:pt x="48343" y="44245"/>
                      <a:pt x="46704" y="41787"/>
                    </a:cubicBezTo>
                    <a:cubicBezTo>
                      <a:pt x="45885" y="38510"/>
                      <a:pt x="46120" y="34766"/>
                      <a:pt x="44246" y="31955"/>
                    </a:cubicBezTo>
                    <a:cubicBezTo>
                      <a:pt x="29421" y="9720"/>
                      <a:pt x="42448" y="43770"/>
                      <a:pt x="34413" y="19665"/>
                    </a:cubicBezTo>
                    <a:cubicBezTo>
                      <a:pt x="36407" y="13681"/>
                      <a:pt x="39496" y="8812"/>
                      <a:pt x="34413" y="2458"/>
                    </a:cubicBezTo>
                    <a:cubicBezTo>
                      <a:pt x="32794" y="435"/>
                      <a:pt x="29497" y="819"/>
                      <a:pt x="27039" y="0"/>
                    </a:cubicBezTo>
                    <a:cubicBezTo>
                      <a:pt x="24581" y="819"/>
                      <a:pt x="21688" y="839"/>
                      <a:pt x="19665" y="2458"/>
                    </a:cubicBezTo>
                    <a:cubicBezTo>
                      <a:pt x="17358" y="4303"/>
                      <a:pt x="16640" y="7562"/>
                      <a:pt x="14749" y="9832"/>
                    </a:cubicBezTo>
                    <a:cubicBezTo>
                      <a:pt x="12524" y="12503"/>
                      <a:pt x="10156" y="15121"/>
                      <a:pt x="7375" y="17207"/>
                    </a:cubicBezTo>
                    <a:cubicBezTo>
                      <a:pt x="6720" y="17699"/>
                      <a:pt x="21713" y="3687"/>
                      <a:pt x="22123" y="2458"/>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19" name="Freeform: Shape 718">
                <a:extLst>
                  <a:ext uri="{FF2B5EF4-FFF2-40B4-BE49-F238E27FC236}">
                    <a16:creationId xmlns:a16="http://schemas.microsoft.com/office/drawing/2014/main" id="{796ED7FD-F864-40AF-B684-32631DE9A38C}"/>
                  </a:ext>
                </a:extLst>
              </p:cNvPr>
              <p:cNvSpPr/>
              <p:nvPr/>
            </p:nvSpPr>
            <p:spPr>
              <a:xfrm>
                <a:off x="5758974" y="6464601"/>
                <a:ext cx="22492" cy="34522"/>
              </a:xfrm>
              <a:custGeom>
                <a:avLst/>
                <a:gdLst>
                  <a:gd name="connsiteX0" fmla="*/ 5187 w 22492"/>
                  <a:gd name="connsiteY0" fmla="*/ 109 h 34522"/>
                  <a:gd name="connsiteX1" fmla="*/ 2729 w 22492"/>
                  <a:gd name="connsiteY1" fmla="*/ 12399 h 34522"/>
                  <a:gd name="connsiteX2" fmla="*/ 2729 w 22492"/>
                  <a:gd name="connsiteY2" fmla="*/ 29605 h 34522"/>
                  <a:gd name="connsiteX3" fmla="*/ 7645 w 22492"/>
                  <a:gd name="connsiteY3" fmla="*/ 34522 h 34522"/>
                  <a:gd name="connsiteX4" fmla="*/ 22394 w 22492"/>
                  <a:gd name="connsiteY4" fmla="*/ 29605 h 34522"/>
                  <a:gd name="connsiteX5" fmla="*/ 19936 w 22492"/>
                  <a:gd name="connsiteY5" fmla="*/ 19773 h 34522"/>
                  <a:gd name="connsiteX6" fmla="*/ 5187 w 22492"/>
                  <a:gd name="connsiteY6" fmla="*/ 109 h 34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492" h="34522">
                    <a:moveTo>
                      <a:pt x="5187" y="109"/>
                    </a:moveTo>
                    <a:cubicBezTo>
                      <a:pt x="2319" y="-1120"/>
                      <a:pt x="3742" y="8346"/>
                      <a:pt x="2729" y="12399"/>
                    </a:cubicBezTo>
                    <a:cubicBezTo>
                      <a:pt x="579" y="20997"/>
                      <a:pt x="-2152" y="19842"/>
                      <a:pt x="2729" y="29605"/>
                    </a:cubicBezTo>
                    <a:cubicBezTo>
                      <a:pt x="3765" y="31678"/>
                      <a:pt x="6006" y="32883"/>
                      <a:pt x="7645" y="34522"/>
                    </a:cubicBezTo>
                    <a:cubicBezTo>
                      <a:pt x="12561" y="32883"/>
                      <a:pt x="23651" y="34633"/>
                      <a:pt x="22394" y="29605"/>
                    </a:cubicBezTo>
                    <a:cubicBezTo>
                      <a:pt x="21575" y="26328"/>
                      <a:pt x="20907" y="23009"/>
                      <a:pt x="19936" y="19773"/>
                    </a:cubicBezTo>
                    <a:cubicBezTo>
                      <a:pt x="18447" y="14810"/>
                      <a:pt x="8055" y="1338"/>
                      <a:pt x="5187" y="109"/>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20" name="Freeform: Shape 719">
                <a:extLst>
                  <a:ext uri="{FF2B5EF4-FFF2-40B4-BE49-F238E27FC236}">
                    <a16:creationId xmlns:a16="http://schemas.microsoft.com/office/drawing/2014/main" id="{E1B730CE-CB49-459A-B098-8C3B00D819B8}"/>
                  </a:ext>
                </a:extLst>
              </p:cNvPr>
              <p:cNvSpPr/>
              <p:nvPr/>
            </p:nvSpPr>
            <p:spPr>
              <a:xfrm>
                <a:off x="5803955" y="6616978"/>
                <a:ext cx="51155" cy="49293"/>
              </a:xfrm>
              <a:custGeom>
                <a:avLst/>
                <a:gdLst>
                  <a:gd name="connsiteX0" fmla="*/ 1993 w 51155"/>
                  <a:gd name="connsiteY0" fmla="*/ 9964 h 49293"/>
                  <a:gd name="connsiteX1" fmla="*/ 14284 w 51155"/>
                  <a:gd name="connsiteY1" fmla="*/ 32087 h 49293"/>
                  <a:gd name="connsiteX2" fmla="*/ 31490 w 51155"/>
                  <a:gd name="connsiteY2" fmla="*/ 49293 h 49293"/>
                  <a:gd name="connsiteX3" fmla="*/ 33948 w 51155"/>
                  <a:gd name="connsiteY3" fmla="*/ 27170 h 49293"/>
                  <a:gd name="connsiteX4" fmla="*/ 38864 w 51155"/>
                  <a:gd name="connsiteY4" fmla="*/ 32087 h 49293"/>
                  <a:gd name="connsiteX5" fmla="*/ 51155 w 51155"/>
                  <a:gd name="connsiteY5" fmla="*/ 29628 h 49293"/>
                  <a:gd name="connsiteX6" fmla="*/ 48697 w 51155"/>
                  <a:gd name="connsiteY6" fmla="*/ 14880 h 49293"/>
                  <a:gd name="connsiteX7" fmla="*/ 41322 w 51155"/>
                  <a:gd name="connsiteY7" fmla="*/ 12422 h 49293"/>
                  <a:gd name="connsiteX8" fmla="*/ 14284 w 51155"/>
                  <a:gd name="connsiteY8" fmla="*/ 9964 h 49293"/>
                  <a:gd name="connsiteX9" fmla="*/ 6910 w 51155"/>
                  <a:gd name="connsiteY9" fmla="*/ 7506 h 49293"/>
                  <a:gd name="connsiteX10" fmla="*/ 1993 w 51155"/>
                  <a:gd name="connsiteY10" fmla="*/ 132 h 49293"/>
                  <a:gd name="connsiteX11" fmla="*/ 1993 w 51155"/>
                  <a:gd name="connsiteY11" fmla="*/ 9964 h 492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1155" h="49293">
                    <a:moveTo>
                      <a:pt x="1993" y="9964"/>
                    </a:moveTo>
                    <a:cubicBezTo>
                      <a:pt x="4042" y="15290"/>
                      <a:pt x="3372" y="16498"/>
                      <a:pt x="14284" y="32087"/>
                    </a:cubicBezTo>
                    <a:cubicBezTo>
                      <a:pt x="26288" y="49236"/>
                      <a:pt x="18189" y="44859"/>
                      <a:pt x="31490" y="49293"/>
                    </a:cubicBezTo>
                    <a:cubicBezTo>
                      <a:pt x="32309" y="41919"/>
                      <a:pt x="31025" y="33990"/>
                      <a:pt x="33948" y="27170"/>
                    </a:cubicBezTo>
                    <a:cubicBezTo>
                      <a:pt x="34861" y="25040"/>
                      <a:pt x="36570" y="31759"/>
                      <a:pt x="38864" y="32087"/>
                    </a:cubicBezTo>
                    <a:cubicBezTo>
                      <a:pt x="43000" y="32678"/>
                      <a:pt x="47058" y="30448"/>
                      <a:pt x="51155" y="29628"/>
                    </a:cubicBezTo>
                    <a:cubicBezTo>
                      <a:pt x="50336" y="24712"/>
                      <a:pt x="51170" y="19207"/>
                      <a:pt x="48697" y="14880"/>
                    </a:cubicBezTo>
                    <a:cubicBezTo>
                      <a:pt x="47411" y="12630"/>
                      <a:pt x="43887" y="12788"/>
                      <a:pt x="41322" y="12422"/>
                    </a:cubicBezTo>
                    <a:cubicBezTo>
                      <a:pt x="32363" y="11142"/>
                      <a:pt x="23297" y="10783"/>
                      <a:pt x="14284" y="9964"/>
                    </a:cubicBezTo>
                    <a:cubicBezTo>
                      <a:pt x="11826" y="9145"/>
                      <a:pt x="8933" y="9124"/>
                      <a:pt x="6910" y="7506"/>
                    </a:cubicBezTo>
                    <a:cubicBezTo>
                      <a:pt x="4603" y="5661"/>
                      <a:pt x="4796" y="1066"/>
                      <a:pt x="1993" y="132"/>
                    </a:cubicBezTo>
                    <a:cubicBezTo>
                      <a:pt x="-1212" y="-936"/>
                      <a:pt x="-56" y="4638"/>
                      <a:pt x="1993" y="996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21" name="Freeform: Shape 720">
                <a:extLst>
                  <a:ext uri="{FF2B5EF4-FFF2-40B4-BE49-F238E27FC236}">
                    <a16:creationId xmlns:a16="http://schemas.microsoft.com/office/drawing/2014/main" id="{A403BB69-D3A3-4853-A911-D2F45A64E579}"/>
                  </a:ext>
                </a:extLst>
              </p:cNvPr>
              <p:cNvSpPr/>
              <p:nvPr/>
            </p:nvSpPr>
            <p:spPr>
              <a:xfrm>
                <a:off x="5748625" y="6528619"/>
                <a:ext cx="59838" cy="66368"/>
              </a:xfrm>
              <a:custGeom>
                <a:avLst/>
                <a:gdLst>
                  <a:gd name="connsiteX0" fmla="*/ 3246 w 59838"/>
                  <a:gd name="connsiteY0" fmla="*/ 29497 h 66368"/>
                  <a:gd name="connsiteX1" fmla="*/ 788 w 59838"/>
                  <a:gd name="connsiteY1" fmla="*/ 41787 h 66368"/>
                  <a:gd name="connsiteX2" fmla="*/ 10620 w 59838"/>
                  <a:gd name="connsiteY2" fmla="*/ 63910 h 66368"/>
                  <a:gd name="connsiteX3" fmla="*/ 15536 w 59838"/>
                  <a:gd name="connsiteY3" fmla="*/ 56536 h 66368"/>
                  <a:gd name="connsiteX4" fmla="*/ 20452 w 59838"/>
                  <a:gd name="connsiteY4" fmla="*/ 34413 h 66368"/>
                  <a:gd name="connsiteX5" fmla="*/ 27827 w 59838"/>
                  <a:gd name="connsiteY5" fmla="*/ 58994 h 66368"/>
                  <a:gd name="connsiteX6" fmla="*/ 30285 w 59838"/>
                  <a:gd name="connsiteY6" fmla="*/ 66368 h 66368"/>
                  <a:gd name="connsiteX7" fmla="*/ 45033 w 59838"/>
                  <a:gd name="connsiteY7" fmla="*/ 54078 h 66368"/>
                  <a:gd name="connsiteX8" fmla="*/ 57323 w 59838"/>
                  <a:gd name="connsiteY8" fmla="*/ 56536 h 66368"/>
                  <a:gd name="connsiteX9" fmla="*/ 59781 w 59838"/>
                  <a:gd name="connsiteY9" fmla="*/ 49162 h 66368"/>
                  <a:gd name="connsiteX10" fmla="*/ 54865 w 59838"/>
                  <a:gd name="connsiteY10" fmla="*/ 41787 h 66368"/>
                  <a:gd name="connsiteX11" fmla="*/ 52407 w 59838"/>
                  <a:gd name="connsiteY11" fmla="*/ 34413 h 66368"/>
                  <a:gd name="connsiteX12" fmla="*/ 40117 w 59838"/>
                  <a:gd name="connsiteY12" fmla="*/ 19665 h 66368"/>
                  <a:gd name="connsiteX13" fmla="*/ 35201 w 59838"/>
                  <a:gd name="connsiteY13" fmla="*/ 4916 h 66368"/>
                  <a:gd name="connsiteX14" fmla="*/ 27827 w 59838"/>
                  <a:gd name="connsiteY14" fmla="*/ 0 h 66368"/>
                  <a:gd name="connsiteX15" fmla="*/ 25369 w 59838"/>
                  <a:gd name="connsiteY15" fmla="*/ 7375 h 66368"/>
                  <a:gd name="connsiteX16" fmla="*/ 22910 w 59838"/>
                  <a:gd name="connsiteY16" fmla="*/ 17207 h 66368"/>
                  <a:gd name="connsiteX17" fmla="*/ 15536 w 59838"/>
                  <a:gd name="connsiteY17" fmla="*/ 14749 h 66368"/>
                  <a:gd name="connsiteX18" fmla="*/ 788 w 59838"/>
                  <a:gd name="connsiteY18" fmla="*/ 22123 h 66368"/>
                  <a:gd name="connsiteX19" fmla="*/ 3246 w 59838"/>
                  <a:gd name="connsiteY19" fmla="*/ 29497 h 66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9838" h="66368">
                    <a:moveTo>
                      <a:pt x="3246" y="29497"/>
                    </a:moveTo>
                    <a:cubicBezTo>
                      <a:pt x="3246" y="32774"/>
                      <a:pt x="410" y="37626"/>
                      <a:pt x="788" y="41787"/>
                    </a:cubicBezTo>
                    <a:cubicBezTo>
                      <a:pt x="1712" y="51949"/>
                      <a:pt x="5638" y="56437"/>
                      <a:pt x="10620" y="63910"/>
                    </a:cubicBezTo>
                    <a:cubicBezTo>
                      <a:pt x="12259" y="61452"/>
                      <a:pt x="14215" y="59178"/>
                      <a:pt x="15536" y="56536"/>
                    </a:cubicBezTo>
                    <a:cubicBezTo>
                      <a:pt x="18562" y="50485"/>
                      <a:pt x="19508" y="40078"/>
                      <a:pt x="20452" y="34413"/>
                    </a:cubicBezTo>
                    <a:cubicBezTo>
                      <a:pt x="24167" y="49277"/>
                      <a:pt x="21840" y="41036"/>
                      <a:pt x="27827" y="58994"/>
                    </a:cubicBezTo>
                    <a:lnTo>
                      <a:pt x="30285" y="66368"/>
                    </a:lnTo>
                    <a:cubicBezTo>
                      <a:pt x="32270" y="64383"/>
                      <a:pt x="41122" y="54567"/>
                      <a:pt x="45033" y="54078"/>
                    </a:cubicBezTo>
                    <a:cubicBezTo>
                      <a:pt x="49179" y="53560"/>
                      <a:pt x="53226" y="55717"/>
                      <a:pt x="57323" y="56536"/>
                    </a:cubicBezTo>
                    <a:cubicBezTo>
                      <a:pt x="58142" y="54078"/>
                      <a:pt x="60207" y="51718"/>
                      <a:pt x="59781" y="49162"/>
                    </a:cubicBezTo>
                    <a:cubicBezTo>
                      <a:pt x="59295" y="46248"/>
                      <a:pt x="56186" y="44430"/>
                      <a:pt x="54865" y="41787"/>
                    </a:cubicBezTo>
                    <a:cubicBezTo>
                      <a:pt x="53706" y="39470"/>
                      <a:pt x="53566" y="36730"/>
                      <a:pt x="52407" y="34413"/>
                    </a:cubicBezTo>
                    <a:cubicBezTo>
                      <a:pt x="48985" y="27569"/>
                      <a:pt x="45553" y="25101"/>
                      <a:pt x="40117" y="19665"/>
                    </a:cubicBezTo>
                    <a:cubicBezTo>
                      <a:pt x="24349" y="30177"/>
                      <a:pt x="38856" y="23193"/>
                      <a:pt x="35201" y="4916"/>
                    </a:cubicBezTo>
                    <a:cubicBezTo>
                      <a:pt x="34622" y="2019"/>
                      <a:pt x="30285" y="1639"/>
                      <a:pt x="27827" y="0"/>
                    </a:cubicBezTo>
                    <a:cubicBezTo>
                      <a:pt x="27008" y="2458"/>
                      <a:pt x="26081" y="4883"/>
                      <a:pt x="25369" y="7375"/>
                    </a:cubicBezTo>
                    <a:cubicBezTo>
                      <a:pt x="24441" y="10623"/>
                      <a:pt x="25613" y="15180"/>
                      <a:pt x="22910" y="17207"/>
                    </a:cubicBezTo>
                    <a:cubicBezTo>
                      <a:pt x="20837" y="18761"/>
                      <a:pt x="17994" y="15568"/>
                      <a:pt x="15536" y="14749"/>
                    </a:cubicBezTo>
                    <a:cubicBezTo>
                      <a:pt x="10678" y="16368"/>
                      <a:pt x="4253" y="17791"/>
                      <a:pt x="788" y="22123"/>
                    </a:cubicBezTo>
                    <a:cubicBezTo>
                      <a:pt x="-1929" y="25519"/>
                      <a:pt x="3246" y="26220"/>
                      <a:pt x="3246" y="29497"/>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22" name="Freeform: Shape 721">
                <a:extLst>
                  <a:ext uri="{FF2B5EF4-FFF2-40B4-BE49-F238E27FC236}">
                    <a16:creationId xmlns:a16="http://schemas.microsoft.com/office/drawing/2014/main" id="{C24A1C00-5401-4D67-B296-4DD528DA526D}"/>
                  </a:ext>
                </a:extLst>
              </p:cNvPr>
              <p:cNvSpPr/>
              <p:nvPr/>
            </p:nvSpPr>
            <p:spPr>
              <a:xfrm>
                <a:off x="5791024" y="6516147"/>
                <a:ext cx="20037" cy="27221"/>
              </a:xfrm>
              <a:custGeom>
                <a:avLst/>
                <a:gdLst>
                  <a:gd name="connsiteX0" fmla="*/ 176 w 20037"/>
                  <a:gd name="connsiteY0" fmla="*/ 2640 h 27221"/>
                  <a:gd name="connsiteX1" fmla="*/ 7550 w 20037"/>
                  <a:gd name="connsiteY1" fmla="*/ 14930 h 27221"/>
                  <a:gd name="connsiteX2" fmla="*/ 14924 w 20037"/>
                  <a:gd name="connsiteY2" fmla="*/ 27221 h 27221"/>
                  <a:gd name="connsiteX3" fmla="*/ 19841 w 20037"/>
                  <a:gd name="connsiteY3" fmla="*/ 22305 h 27221"/>
                  <a:gd name="connsiteX4" fmla="*/ 17382 w 20037"/>
                  <a:gd name="connsiteY4" fmla="*/ 7556 h 27221"/>
                  <a:gd name="connsiteX5" fmla="*/ 2634 w 20037"/>
                  <a:gd name="connsiteY5" fmla="*/ 182 h 27221"/>
                  <a:gd name="connsiteX6" fmla="*/ 176 w 20037"/>
                  <a:gd name="connsiteY6" fmla="*/ 2640 h 27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37" h="27221">
                    <a:moveTo>
                      <a:pt x="176" y="2640"/>
                    </a:moveTo>
                    <a:cubicBezTo>
                      <a:pt x="995" y="5098"/>
                      <a:pt x="4773" y="11042"/>
                      <a:pt x="7550" y="14930"/>
                    </a:cubicBezTo>
                    <a:cubicBezTo>
                      <a:pt x="15984" y="26739"/>
                      <a:pt x="9848" y="11992"/>
                      <a:pt x="14924" y="27221"/>
                    </a:cubicBezTo>
                    <a:cubicBezTo>
                      <a:pt x="16563" y="25582"/>
                      <a:pt x="19554" y="24605"/>
                      <a:pt x="19841" y="22305"/>
                    </a:cubicBezTo>
                    <a:cubicBezTo>
                      <a:pt x="20459" y="17359"/>
                      <a:pt x="19611" y="12014"/>
                      <a:pt x="17382" y="7556"/>
                    </a:cubicBezTo>
                    <a:cubicBezTo>
                      <a:pt x="15034" y="2860"/>
                      <a:pt x="6512" y="2121"/>
                      <a:pt x="2634" y="182"/>
                    </a:cubicBezTo>
                    <a:cubicBezTo>
                      <a:pt x="1598" y="-336"/>
                      <a:pt x="-643" y="182"/>
                      <a:pt x="176" y="264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23" name="Freeform: Shape 722">
                <a:extLst>
                  <a:ext uri="{FF2B5EF4-FFF2-40B4-BE49-F238E27FC236}">
                    <a16:creationId xmlns:a16="http://schemas.microsoft.com/office/drawing/2014/main" id="{9423F981-319E-406A-8FC9-B37FA37CE6ED}"/>
                  </a:ext>
                </a:extLst>
              </p:cNvPr>
              <p:cNvSpPr/>
              <p:nvPr/>
            </p:nvSpPr>
            <p:spPr>
              <a:xfrm>
                <a:off x="6154796" y="6839448"/>
                <a:ext cx="37105" cy="45591"/>
              </a:xfrm>
              <a:custGeom>
                <a:avLst/>
                <a:gdLst>
                  <a:gd name="connsiteX0" fmla="*/ 198 w 37105"/>
                  <a:gd name="connsiteY0" fmla="*/ 6262 h 45591"/>
                  <a:gd name="connsiteX1" fmla="*/ 10030 w 37105"/>
                  <a:gd name="connsiteY1" fmla="*/ 18552 h 45591"/>
                  <a:gd name="connsiteX2" fmla="*/ 14946 w 37105"/>
                  <a:gd name="connsiteY2" fmla="*/ 33300 h 45591"/>
                  <a:gd name="connsiteX3" fmla="*/ 17404 w 37105"/>
                  <a:gd name="connsiteY3" fmla="*/ 40675 h 45591"/>
                  <a:gd name="connsiteX4" fmla="*/ 24778 w 37105"/>
                  <a:gd name="connsiteY4" fmla="*/ 45591 h 45591"/>
                  <a:gd name="connsiteX5" fmla="*/ 32152 w 37105"/>
                  <a:gd name="connsiteY5" fmla="*/ 43133 h 45591"/>
                  <a:gd name="connsiteX6" fmla="*/ 22320 w 37105"/>
                  <a:gd name="connsiteY6" fmla="*/ 28384 h 45591"/>
                  <a:gd name="connsiteX7" fmla="*/ 32152 w 37105"/>
                  <a:gd name="connsiteY7" fmla="*/ 18552 h 45591"/>
                  <a:gd name="connsiteX8" fmla="*/ 24778 w 37105"/>
                  <a:gd name="connsiteY8" fmla="*/ 13636 h 45591"/>
                  <a:gd name="connsiteX9" fmla="*/ 19862 w 37105"/>
                  <a:gd name="connsiteY9" fmla="*/ 6262 h 45591"/>
                  <a:gd name="connsiteX10" fmla="*/ 198 w 37105"/>
                  <a:gd name="connsiteY10" fmla="*/ 6262 h 455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105" h="45591">
                    <a:moveTo>
                      <a:pt x="198" y="6262"/>
                    </a:moveTo>
                    <a:cubicBezTo>
                      <a:pt x="-1441" y="8310"/>
                      <a:pt x="7518" y="13946"/>
                      <a:pt x="10030" y="18552"/>
                    </a:cubicBezTo>
                    <a:cubicBezTo>
                      <a:pt x="12511" y="23101"/>
                      <a:pt x="13307" y="28384"/>
                      <a:pt x="14946" y="33300"/>
                    </a:cubicBezTo>
                    <a:cubicBezTo>
                      <a:pt x="15765" y="35758"/>
                      <a:pt x="15248" y="39238"/>
                      <a:pt x="17404" y="40675"/>
                    </a:cubicBezTo>
                    <a:lnTo>
                      <a:pt x="24778" y="45591"/>
                    </a:lnTo>
                    <a:cubicBezTo>
                      <a:pt x="27236" y="44772"/>
                      <a:pt x="32518" y="45698"/>
                      <a:pt x="32152" y="43133"/>
                    </a:cubicBezTo>
                    <a:cubicBezTo>
                      <a:pt x="31316" y="37284"/>
                      <a:pt x="22320" y="28384"/>
                      <a:pt x="22320" y="28384"/>
                    </a:cubicBezTo>
                    <a:cubicBezTo>
                      <a:pt x="35884" y="23863"/>
                      <a:pt x="42247" y="26628"/>
                      <a:pt x="32152" y="18552"/>
                    </a:cubicBezTo>
                    <a:cubicBezTo>
                      <a:pt x="29845" y="16707"/>
                      <a:pt x="27236" y="15275"/>
                      <a:pt x="24778" y="13636"/>
                    </a:cubicBezTo>
                    <a:cubicBezTo>
                      <a:pt x="23139" y="11178"/>
                      <a:pt x="21753" y="8532"/>
                      <a:pt x="19862" y="6262"/>
                    </a:cubicBezTo>
                    <a:cubicBezTo>
                      <a:pt x="9026" y="-6743"/>
                      <a:pt x="1837" y="4214"/>
                      <a:pt x="198" y="6262"/>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24" name="Freeform: Shape 723">
                <a:extLst>
                  <a:ext uri="{FF2B5EF4-FFF2-40B4-BE49-F238E27FC236}">
                    <a16:creationId xmlns:a16="http://schemas.microsoft.com/office/drawing/2014/main" id="{DF58813F-5E10-407B-A162-4F15393805AD}"/>
                  </a:ext>
                </a:extLst>
              </p:cNvPr>
              <p:cNvSpPr/>
              <p:nvPr/>
            </p:nvSpPr>
            <p:spPr>
              <a:xfrm>
                <a:off x="6277803" y="6929158"/>
                <a:ext cx="408831" cy="115690"/>
              </a:xfrm>
              <a:custGeom>
                <a:avLst/>
                <a:gdLst>
                  <a:gd name="connsiteX0" fmla="*/ 94 w 408831"/>
                  <a:gd name="connsiteY0" fmla="*/ 29623 h 124314"/>
                  <a:gd name="connsiteX1" fmla="*/ 5010 w 408831"/>
                  <a:gd name="connsiteY1" fmla="*/ 59119 h 124314"/>
                  <a:gd name="connsiteX2" fmla="*/ 7468 w 408831"/>
                  <a:gd name="connsiteY2" fmla="*/ 95990 h 124314"/>
                  <a:gd name="connsiteX3" fmla="*/ 29591 w 408831"/>
                  <a:gd name="connsiteY3" fmla="*/ 95990 h 124314"/>
                  <a:gd name="connsiteX4" fmla="*/ 32049 w 408831"/>
                  <a:gd name="connsiteY4" fmla="*/ 103365 h 124314"/>
                  <a:gd name="connsiteX5" fmla="*/ 39423 w 408831"/>
                  <a:gd name="connsiteY5" fmla="*/ 98448 h 124314"/>
                  <a:gd name="connsiteX6" fmla="*/ 49255 w 408831"/>
                  <a:gd name="connsiteY6" fmla="*/ 83700 h 124314"/>
                  <a:gd name="connsiteX7" fmla="*/ 56629 w 408831"/>
                  <a:gd name="connsiteY7" fmla="*/ 81242 h 124314"/>
                  <a:gd name="connsiteX8" fmla="*/ 64003 w 408831"/>
                  <a:gd name="connsiteY8" fmla="*/ 86158 h 124314"/>
                  <a:gd name="connsiteX9" fmla="*/ 81210 w 408831"/>
                  <a:gd name="connsiteY9" fmla="*/ 81242 h 124314"/>
                  <a:gd name="connsiteX10" fmla="*/ 100874 w 408831"/>
                  <a:gd name="connsiteY10" fmla="*/ 83700 h 124314"/>
                  <a:gd name="connsiteX11" fmla="*/ 105791 w 408831"/>
                  <a:gd name="connsiteY11" fmla="*/ 78784 h 124314"/>
                  <a:gd name="connsiteX12" fmla="*/ 120539 w 408831"/>
                  <a:gd name="connsiteY12" fmla="*/ 73868 h 124314"/>
                  <a:gd name="connsiteX13" fmla="*/ 135287 w 408831"/>
                  <a:gd name="connsiteY13" fmla="*/ 76326 h 124314"/>
                  <a:gd name="connsiteX14" fmla="*/ 142662 w 408831"/>
                  <a:gd name="connsiteY14" fmla="*/ 78784 h 124314"/>
                  <a:gd name="connsiteX15" fmla="*/ 164784 w 408831"/>
                  <a:gd name="connsiteY15" fmla="*/ 81242 h 124314"/>
                  <a:gd name="connsiteX16" fmla="*/ 179532 w 408831"/>
                  <a:gd name="connsiteY16" fmla="*/ 86158 h 124314"/>
                  <a:gd name="connsiteX17" fmla="*/ 191823 w 408831"/>
                  <a:gd name="connsiteY17" fmla="*/ 93532 h 124314"/>
                  <a:gd name="connsiteX18" fmla="*/ 194281 w 408831"/>
                  <a:gd name="connsiteY18" fmla="*/ 123029 h 124314"/>
                  <a:gd name="connsiteX19" fmla="*/ 216403 w 408831"/>
                  <a:gd name="connsiteY19" fmla="*/ 113197 h 124314"/>
                  <a:gd name="connsiteX20" fmla="*/ 250816 w 408831"/>
                  <a:gd name="connsiteY20" fmla="*/ 108281 h 124314"/>
                  <a:gd name="connsiteX21" fmla="*/ 265565 w 408831"/>
                  <a:gd name="connsiteY21" fmla="*/ 108281 h 124314"/>
                  <a:gd name="connsiteX22" fmla="*/ 277855 w 408831"/>
                  <a:gd name="connsiteY22" fmla="*/ 105823 h 124314"/>
                  <a:gd name="connsiteX23" fmla="*/ 282771 w 408831"/>
                  <a:gd name="connsiteY23" fmla="*/ 95990 h 124314"/>
                  <a:gd name="connsiteX24" fmla="*/ 292603 w 408831"/>
                  <a:gd name="connsiteY24" fmla="*/ 81242 h 124314"/>
                  <a:gd name="connsiteX25" fmla="*/ 307352 w 408831"/>
                  <a:gd name="connsiteY25" fmla="*/ 78784 h 124314"/>
                  <a:gd name="connsiteX26" fmla="*/ 324558 w 408831"/>
                  <a:gd name="connsiteY26" fmla="*/ 71410 h 124314"/>
                  <a:gd name="connsiteX27" fmla="*/ 339307 w 408831"/>
                  <a:gd name="connsiteY27" fmla="*/ 64036 h 124314"/>
                  <a:gd name="connsiteX28" fmla="*/ 361429 w 408831"/>
                  <a:gd name="connsiteY28" fmla="*/ 68952 h 124314"/>
                  <a:gd name="connsiteX29" fmla="*/ 368803 w 408831"/>
                  <a:gd name="connsiteY29" fmla="*/ 64036 h 124314"/>
                  <a:gd name="connsiteX30" fmla="*/ 393384 w 408831"/>
                  <a:gd name="connsiteY30" fmla="*/ 56661 h 124314"/>
                  <a:gd name="connsiteX31" fmla="*/ 400758 w 408831"/>
                  <a:gd name="connsiteY31" fmla="*/ 54203 h 124314"/>
                  <a:gd name="connsiteX32" fmla="*/ 403216 w 408831"/>
                  <a:gd name="connsiteY32" fmla="*/ 61577 h 124314"/>
                  <a:gd name="connsiteX33" fmla="*/ 405674 w 408831"/>
                  <a:gd name="connsiteY33" fmla="*/ 51745 h 124314"/>
                  <a:gd name="connsiteX34" fmla="*/ 408132 w 408831"/>
                  <a:gd name="connsiteY34" fmla="*/ 44371 h 124314"/>
                  <a:gd name="connsiteX35" fmla="*/ 398300 w 408831"/>
                  <a:gd name="connsiteY35" fmla="*/ 2584 h 124314"/>
                  <a:gd name="connsiteX36" fmla="*/ 390926 w 408831"/>
                  <a:gd name="connsiteY36" fmla="*/ 5042 h 124314"/>
                  <a:gd name="connsiteX37" fmla="*/ 383552 w 408831"/>
                  <a:gd name="connsiteY37" fmla="*/ 12416 h 124314"/>
                  <a:gd name="connsiteX38" fmla="*/ 376178 w 408831"/>
                  <a:gd name="connsiteY38" fmla="*/ 17332 h 124314"/>
                  <a:gd name="connsiteX39" fmla="*/ 371262 w 408831"/>
                  <a:gd name="connsiteY39" fmla="*/ 9958 h 124314"/>
                  <a:gd name="connsiteX40" fmla="*/ 363887 w 408831"/>
                  <a:gd name="connsiteY40" fmla="*/ 14874 h 124314"/>
                  <a:gd name="connsiteX41" fmla="*/ 356513 w 408831"/>
                  <a:gd name="connsiteY41" fmla="*/ 22248 h 124314"/>
                  <a:gd name="connsiteX42" fmla="*/ 341765 w 408831"/>
                  <a:gd name="connsiteY42" fmla="*/ 27165 h 124314"/>
                  <a:gd name="connsiteX43" fmla="*/ 327016 w 408831"/>
                  <a:gd name="connsiteY43" fmla="*/ 36997 h 124314"/>
                  <a:gd name="connsiteX44" fmla="*/ 324558 w 408831"/>
                  <a:gd name="connsiteY44" fmla="*/ 27165 h 124314"/>
                  <a:gd name="connsiteX45" fmla="*/ 319642 w 408831"/>
                  <a:gd name="connsiteY45" fmla="*/ 5042 h 124314"/>
                  <a:gd name="connsiteX46" fmla="*/ 304894 w 408831"/>
                  <a:gd name="connsiteY46" fmla="*/ 9958 h 124314"/>
                  <a:gd name="connsiteX47" fmla="*/ 295062 w 408831"/>
                  <a:gd name="connsiteY47" fmla="*/ 12416 h 124314"/>
                  <a:gd name="connsiteX48" fmla="*/ 287687 w 408831"/>
                  <a:gd name="connsiteY48" fmla="*/ 14874 h 124314"/>
                  <a:gd name="connsiteX49" fmla="*/ 277855 w 408831"/>
                  <a:gd name="connsiteY49" fmla="*/ 27165 h 124314"/>
                  <a:gd name="connsiteX50" fmla="*/ 270481 w 408831"/>
                  <a:gd name="connsiteY50" fmla="*/ 24707 h 124314"/>
                  <a:gd name="connsiteX51" fmla="*/ 265565 w 408831"/>
                  <a:gd name="connsiteY51" fmla="*/ 17332 h 124314"/>
                  <a:gd name="connsiteX52" fmla="*/ 258191 w 408831"/>
                  <a:gd name="connsiteY52" fmla="*/ 19790 h 124314"/>
                  <a:gd name="connsiteX53" fmla="*/ 236068 w 408831"/>
                  <a:gd name="connsiteY53" fmla="*/ 24707 h 124314"/>
                  <a:gd name="connsiteX54" fmla="*/ 228694 w 408831"/>
                  <a:gd name="connsiteY54" fmla="*/ 29623 h 124314"/>
                  <a:gd name="connsiteX55" fmla="*/ 213945 w 408831"/>
                  <a:gd name="connsiteY55" fmla="*/ 19790 h 124314"/>
                  <a:gd name="connsiteX56" fmla="*/ 206571 w 408831"/>
                  <a:gd name="connsiteY56" fmla="*/ 17332 h 124314"/>
                  <a:gd name="connsiteX57" fmla="*/ 199197 w 408831"/>
                  <a:gd name="connsiteY57" fmla="*/ 19790 h 124314"/>
                  <a:gd name="connsiteX58" fmla="*/ 150036 w 408831"/>
                  <a:gd name="connsiteY58" fmla="*/ 22248 h 124314"/>
                  <a:gd name="connsiteX59" fmla="*/ 145120 w 408831"/>
                  <a:gd name="connsiteY59" fmla="*/ 29623 h 124314"/>
                  <a:gd name="connsiteX60" fmla="*/ 132829 w 408831"/>
                  <a:gd name="connsiteY60" fmla="*/ 36997 h 124314"/>
                  <a:gd name="connsiteX61" fmla="*/ 122997 w 408831"/>
                  <a:gd name="connsiteY61" fmla="*/ 24707 h 124314"/>
                  <a:gd name="connsiteX62" fmla="*/ 113165 w 408831"/>
                  <a:gd name="connsiteY62" fmla="*/ 9958 h 124314"/>
                  <a:gd name="connsiteX63" fmla="*/ 93500 w 408831"/>
                  <a:gd name="connsiteY63" fmla="*/ 9958 h 124314"/>
                  <a:gd name="connsiteX64" fmla="*/ 100874 w 408831"/>
                  <a:gd name="connsiteY64" fmla="*/ 5042 h 124314"/>
                  <a:gd name="connsiteX65" fmla="*/ 93500 w 408831"/>
                  <a:gd name="connsiteY65" fmla="*/ 126 h 124314"/>
                  <a:gd name="connsiteX66" fmla="*/ 76294 w 408831"/>
                  <a:gd name="connsiteY66" fmla="*/ 17332 h 124314"/>
                  <a:gd name="connsiteX67" fmla="*/ 68920 w 408831"/>
                  <a:gd name="connsiteY67" fmla="*/ 22248 h 124314"/>
                  <a:gd name="connsiteX68" fmla="*/ 51713 w 408831"/>
                  <a:gd name="connsiteY68" fmla="*/ 19790 h 124314"/>
                  <a:gd name="connsiteX69" fmla="*/ 36965 w 408831"/>
                  <a:gd name="connsiteY69" fmla="*/ 14874 h 124314"/>
                  <a:gd name="connsiteX70" fmla="*/ 17300 w 408831"/>
                  <a:gd name="connsiteY70" fmla="*/ 126 h 124314"/>
                  <a:gd name="connsiteX71" fmla="*/ 19758 w 408831"/>
                  <a:gd name="connsiteY71" fmla="*/ 7500 h 124314"/>
                  <a:gd name="connsiteX72" fmla="*/ 14842 w 408831"/>
                  <a:gd name="connsiteY72" fmla="*/ 29623 h 124314"/>
                  <a:gd name="connsiteX73" fmla="*/ 9926 w 408831"/>
                  <a:gd name="connsiteY73" fmla="*/ 22248 h 124314"/>
                  <a:gd name="connsiteX74" fmla="*/ 94 w 408831"/>
                  <a:gd name="connsiteY74" fmla="*/ 29623 h 1243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Lst>
                <a:rect l="l" t="t" r="r" b="b"/>
                <a:pathLst>
                  <a:path w="408831" h="124314">
                    <a:moveTo>
                      <a:pt x="94" y="29623"/>
                    </a:moveTo>
                    <a:cubicBezTo>
                      <a:pt x="-725" y="35768"/>
                      <a:pt x="3994" y="47940"/>
                      <a:pt x="5010" y="59119"/>
                    </a:cubicBezTo>
                    <a:cubicBezTo>
                      <a:pt x="6125" y="71386"/>
                      <a:pt x="6649" y="83700"/>
                      <a:pt x="7468" y="95990"/>
                    </a:cubicBezTo>
                    <a:cubicBezTo>
                      <a:pt x="11469" y="95323"/>
                      <a:pt x="24404" y="90803"/>
                      <a:pt x="29591" y="95990"/>
                    </a:cubicBezTo>
                    <a:cubicBezTo>
                      <a:pt x="31423" y="97822"/>
                      <a:pt x="31230" y="100907"/>
                      <a:pt x="32049" y="103365"/>
                    </a:cubicBezTo>
                    <a:cubicBezTo>
                      <a:pt x="34507" y="101726"/>
                      <a:pt x="37578" y="100755"/>
                      <a:pt x="39423" y="98448"/>
                    </a:cubicBezTo>
                    <a:cubicBezTo>
                      <a:pt x="49729" y="85564"/>
                      <a:pt x="30994" y="95874"/>
                      <a:pt x="49255" y="83700"/>
                    </a:cubicBezTo>
                    <a:cubicBezTo>
                      <a:pt x="51411" y="82263"/>
                      <a:pt x="54171" y="82061"/>
                      <a:pt x="56629" y="81242"/>
                    </a:cubicBezTo>
                    <a:cubicBezTo>
                      <a:pt x="59087" y="82881"/>
                      <a:pt x="61079" y="85740"/>
                      <a:pt x="64003" y="86158"/>
                    </a:cubicBezTo>
                    <a:cubicBezTo>
                      <a:pt x="66164" y="86467"/>
                      <a:pt x="78442" y="82165"/>
                      <a:pt x="81210" y="81242"/>
                    </a:cubicBezTo>
                    <a:cubicBezTo>
                      <a:pt x="87765" y="82061"/>
                      <a:pt x="94301" y="84357"/>
                      <a:pt x="100874" y="83700"/>
                    </a:cubicBezTo>
                    <a:cubicBezTo>
                      <a:pt x="103180" y="83469"/>
                      <a:pt x="103718" y="79820"/>
                      <a:pt x="105791" y="78784"/>
                    </a:cubicBezTo>
                    <a:cubicBezTo>
                      <a:pt x="110426" y="76467"/>
                      <a:pt x="120539" y="73868"/>
                      <a:pt x="120539" y="73868"/>
                    </a:cubicBezTo>
                    <a:cubicBezTo>
                      <a:pt x="125455" y="74687"/>
                      <a:pt x="130422" y="75245"/>
                      <a:pt x="135287" y="76326"/>
                    </a:cubicBezTo>
                    <a:cubicBezTo>
                      <a:pt x="137817" y="76888"/>
                      <a:pt x="140106" y="78358"/>
                      <a:pt x="142662" y="78784"/>
                    </a:cubicBezTo>
                    <a:cubicBezTo>
                      <a:pt x="149980" y="80004"/>
                      <a:pt x="157410" y="80423"/>
                      <a:pt x="164784" y="81242"/>
                    </a:cubicBezTo>
                    <a:cubicBezTo>
                      <a:pt x="169700" y="82881"/>
                      <a:pt x="175867" y="82494"/>
                      <a:pt x="179532" y="86158"/>
                    </a:cubicBezTo>
                    <a:cubicBezTo>
                      <a:pt x="186281" y="92906"/>
                      <a:pt x="182250" y="90341"/>
                      <a:pt x="191823" y="93532"/>
                    </a:cubicBezTo>
                    <a:cubicBezTo>
                      <a:pt x="192642" y="103364"/>
                      <a:pt x="188623" y="114946"/>
                      <a:pt x="194281" y="123029"/>
                    </a:cubicBezTo>
                    <a:cubicBezTo>
                      <a:pt x="198159" y="128569"/>
                      <a:pt x="212512" y="114494"/>
                      <a:pt x="216403" y="113197"/>
                    </a:cubicBezTo>
                    <a:cubicBezTo>
                      <a:pt x="220655" y="111780"/>
                      <a:pt x="248754" y="108539"/>
                      <a:pt x="250816" y="108281"/>
                    </a:cubicBezTo>
                    <a:cubicBezTo>
                      <a:pt x="270484" y="101726"/>
                      <a:pt x="245899" y="108281"/>
                      <a:pt x="265565" y="108281"/>
                    </a:cubicBezTo>
                    <a:cubicBezTo>
                      <a:pt x="269743" y="108281"/>
                      <a:pt x="273758" y="106642"/>
                      <a:pt x="277855" y="105823"/>
                    </a:cubicBezTo>
                    <a:cubicBezTo>
                      <a:pt x="279494" y="102545"/>
                      <a:pt x="281484" y="99421"/>
                      <a:pt x="282771" y="95990"/>
                    </a:cubicBezTo>
                    <a:cubicBezTo>
                      <a:pt x="286095" y="87125"/>
                      <a:pt x="282287" y="84680"/>
                      <a:pt x="292603" y="81242"/>
                    </a:cubicBezTo>
                    <a:cubicBezTo>
                      <a:pt x="297331" y="79666"/>
                      <a:pt x="302436" y="79603"/>
                      <a:pt x="307352" y="78784"/>
                    </a:cubicBezTo>
                    <a:cubicBezTo>
                      <a:pt x="315625" y="76026"/>
                      <a:pt x="316053" y="76270"/>
                      <a:pt x="324558" y="71410"/>
                    </a:cubicBezTo>
                    <a:cubicBezTo>
                      <a:pt x="337899" y="63786"/>
                      <a:pt x="325786" y="68542"/>
                      <a:pt x="339307" y="64036"/>
                    </a:cubicBezTo>
                    <a:cubicBezTo>
                      <a:pt x="345787" y="66196"/>
                      <a:pt x="354940" y="69673"/>
                      <a:pt x="361429" y="68952"/>
                    </a:cubicBezTo>
                    <a:cubicBezTo>
                      <a:pt x="364365" y="68626"/>
                      <a:pt x="366103" y="65236"/>
                      <a:pt x="368803" y="64036"/>
                    </a:cubicBezTo>
                    <a:cubicBezTo>
                      <a:pt x="379322" y="59361"/>
                      <a:pt x="383371" y="59522"/>
                      <a:pt x="393384" y="56661"/>
                    </a:cubicBezTo>
                    <a:cubicBezTo>
                      <a:pt x="395875" y="55949"/>
                      <a:pt x="398300" y="55022"/>
                      <a:pt x="400758" y="54203"/>
                    </a:cubicBezTo>
                    <a:cubicBezTo>
                      <a:pt x="401577" y="56661"/>
                      <a:pt x="400899" y="62736"/>
                      <a:pt x="403216" y="61577"/>
                    </a:cubicBezTo>
                    <a:cubicBezTo>
                      <a:pt x="406238" y="60066"/>
                      <a:pt x="404746" y="54993"/>
                      <a:pt x="405674" y="51745"/>
                    </a:cubicBezTo>
                    <a:cubicBezTo>
                      <a:pt x="406386" y="49254"/>
                      <a:pt x="407313" y="46829"/>
                      <a:pt x="408132" y="44371"/>
                    </a:cubicBezTo>
                    <a:cubicBezTo>
                      <a:pt x="407929" y="41524"/>
                      <a:pt x="413050" y="7501"/>
                      <a:pt x="398300" y="2584"/>
                    </a:cubicBezTo>
                    <a:lnTo>
                      <a:pt x="390926" y="5042"/>
                    </a:lnTo>
                    <a:cubicBezTo>
                      <a:pt x="388468" y="7500"/>
                      <a:pt x="386222" y="10191"/>
                      <a:pt x="383552" y="12416"/>
                    </a:cubicBezTo>
                    <a:cubicBezTo>
                      <a:pt x="381283" y="14307"/>
                      <a:pt x="378267" y="19421"/>
                      <a:pt x="376178" y="17332"/>
                    </a:cubicBezTo>
                    <a:cubicBezTo>
                      <a:pt x="370508" y="11662"/>
                      <a:pt x="388556" y="1311"/>
                      <a:pt x="371262" y="9958"/>
                    </a:cubicBezTo>
                    <a:cubicBezTo>
                      <a:pt x="368619" y="11279"/>
                      <a:pt x="366157" y="12983"/>
                      <a:pt x="363887" y="14874"/>
                    </a:cubicBezTo>
                    <a:cubicBezTo>
                      <a:pt x="361216" y="17099"/>
                      <a:pt x="359552" y="20560"/>
                      <a:pt x="356513" y="22248"/>
                    </a:cubicBezTo>
                    <a:cubicBezTo>
                      <a:pt x="351983" y="24765"/>
                      <a:pt x="346077" y="24291"/>
                      <a:pt x="341765" y="27165"/>
                    </a:cubicBezTo>
                    <a:lnTo>
                      <a:pt x="327016" y="36997"/>
                    </a:lnTo>
                    <a:cubicBezTo>
                      <a:pt x="326197" y="33720"/>
                      <a:pt x="325318" y="30457"/>
                      <a:pt x="324558" y="27165"/>
                    </a:cubicBezTo>
                    <a:cubicBezTo>
                      <a:pt x="322859" y="19804"/>
                      <a:pt x="325327" y="10017"/>
                      <a:pt x="319642" y="5042"/>
                    </a:cubicBezTo>
                    <a:cubicBezTo>
                      <a:pt x="315742" y="1630"/>
                      <a:pt x="309921" y="8701"/>
                      <a:pt x="304894" y="9958"/>
                    </a:cubicBezTo>
                    <a:cubicBezTo>
                      <a:pt x="301617" y="10777"/>
                      <a:pt x="298310" y="11488"/>
                      <a:pt x="295062" y="12416"/>
                    </a:cubicBezTo>
                    <a:cubicBezTo>
                      <a:pt x="292570" y="13128"/>
                      <a:pt x="290145" y="14055"/>
                      <a:pt x="287687" y="14874"/>
                    </a:cubicBezTo>
                    <a:cubicBezTo>
                      <a:pt x="286981" y="15933"/>
                      <a:pt x="280548" y="26626"/>
                      <a:pt x="277855" y="27165"/>
                    </a:cubicBezTo>
                    <a:cubicBezTo>
                      <a:pt x="275314" y="27673"/>
                      <a:pt x="272939" y="25526"/>
                      <a:pt x="270481" y="24707"/>
                    </a:cubicBezTo>
                    <a:cubicBezTo>
                      <a:pt x="268842" y="22249"/>
                      <a:pt x="268308" y="18429"/>
                      <a:pt x="265565" y="17332"/>
                    </a:cubicBezTo>
                    <a:cubicBezTo>
                      <a:pt x="263159" y="16370"/>
                      <a:pt x="260682" y="19078"/>
                      <a:pt x="258191" y="19790"/>
                    </a:cubicBezTo>
                    <a:cubicBezTo>
                      <a:pt x="250099" y="22102"/>
                      <a:pt x="244506" y="23019"/>
                      <a:pt x="236068" y="24707"/>
                    </a:cubicBezTo>
                    <a:cubicBezTo>
                      <a:pt x="233610" y="26346"/>
                      <a:pt x="231578" y="30264"/>
                      <a:pt x="228694" y="29623"/>
                    </a:cubicBezTo>
                    <a:cubicBezTo>
                      <a:pt x="222926" y="28341"/>
                      <a:pt x="219551" y="21659"/>
                      <a:pt x="213945" y="19790"/>
                    </a:cubicBezTo>
                    <a:lnTo>
                      <a:pt x="206571" y="17332"/>
                    </a:lnTo>
                    <a:cubicBezTo>
                      <a:pt x="204113" y="18151"/>
                      <a:pt x="201778" y="19566"/>
                      <a:pt x="199197" y="19790"/>
                    </a:cubicBezTo>
                    <a:cubicBezTo>
                      <a:pt x="182851" y="21211"/>
                      <a:pt x="166179" y="19313"/>
                      <a:pt x="150036" y="22248"/>
                    </a:cubicBezTo>
                    <a:cubicBezTo>
                      <a:pt x="147129" y="22777"/>
                      <a:pt x="146966" y="27316"/>
                      <a:pt x="145120" y="29623"/>
                    </a:cubicBezTo>
                    <a:cubicBezTo>
                      <a:pt x="140213" y="35757"/>
                      <a:pt x="140342" y="34493"/>
                      <a:pt x="132829" y="36997"/>
                    </a:cubicBezTo>
                    <a:cubicBezTo>
                      <a:pt x="119205" y="27914"/>
                      <a:pt x="129980" y="37278"/>
                      <a:pt x="122997" y="24707"/>
                    </a:cubicBezTo>
                    <a:cubicBezTo>
                      <a:pt x="120128" y="19542"/>
                      <a:pt x="113165" y="9958"/>
                      <a:pt x="113165" y="9958"/>
                    </a:cubicBezTo>
                    <a:cubicBezTo>
                      <a:pt x="108349" y="11563"/>
                      <a:pt x="97815" y="16430"/>
                      <a:pt x="93500" y="9958"/>
                    </a:cubicBezTo>
                    <a:cubicBezTo>
                      <a:pt x="91861" y="7500"/>
                      <a:pt x="98416" y="6681"/>
                      <a:pt x="100874" y="5042"/>
                    </a:cubicBezTo>
                    <a:cubicBezTo>
                      <a:pt x="98416" y="3403"/>
                      <a:pt x="96414" y="612"/>
                      <a:pt x="93500" y="126"/>
                    </a:cubicBezTo>
                    <a:cubicBezTo>
                      <a:pt x="83366" y="-1563"/>
                      <a:pt x="81074" y="14145"/>
                      <a:pt x="76294" y="17332"/>
                    </a:cubicBezTo>
                    <a:lnTo>
                      <a:pt x="68920" y="22248"/>
                    </a:lnTo>
                    <a:cubicBezTo>
                      <a:pt x="63184" y="21429"/>
                      <a:pt x="57359" y="21093"/>
                      <a:pt x="51713" y="19790"/>
                    </a:cubicBezTo>
                    <a:cubicBezTo>
                      <a:pt x="46664" y="18625"/>
                      <a:pt x="36965" y="14874"/>
                      <a:pt x="36965" y="14874"/>
                    </a:cubicBezTo>
                    <a:cubicBezTo>
                      <a:pt x="22842" y="752"/>
                      <a:pt x="30170" y="4416"/>
                      <a:pt x="17300" y="126"/>
                    </a:cubicBezTo>
                    <a:cubicBezTo>
                      <a:pt x="18119" y="2584"/>
                      <a:pt x="19758" y="4909"/>
                      <a:pt x="19758" y="7500"/>
                    </a:cubicBezTo>
                    <a:cubicBezTo>
                      <a:pt x="19758" y="16151"/>
                      <a:pt x="17376" y="22019"/>
                      <a:pt x="14842" y="29623"/>
                    </a:cubicBezTo>
                    <a:cubicBezTo>
                      <a:pt x="13203" y="27165"/>
                      <a:pt x="11247" y="24891"/>
                      <a:pt x="9926" y="22248"/>
                    </a:cubicBezTo>
                    <a:cubicBezTo>
                      <a:pt x="6129" y="14654"/>
                      <a:pt x="913" y="23478"/>
                      <a:pt x="94" y="2962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25" name="Freeform: Shape 724">
                <a:extLst>
                  <a:ext uri="{FF2B5EF4-FFF2-40B4-BE49-F238E27FC236}">
                    <a16:creationId xmlns:a16="http://schemas.microsoft.com/office/drawing/2014/main" id="{1944AA5D-174E-455C-815A-C52E0AF72A98}"/>
                  </a:ext>
                </a:extLst>
              </p:cNvPr>
              <p:cNvSpPr/>
              <p:nvPr/>
            </p:nvSpPr>
            <p:spPr>
              <a:xfrm>
                <a:off x="6371303" y="7083894"/>
                <a:ext cx="17207" cy="22456"/>
              </a:xfrm>
              <a:custGeom>
                <a:avLst/>
                <a:gdLst>
                  <a:gd name="connsiteX0" fmla="*/ 0 w 17207"/>
                  <a:gd name="connsiteY0" fmla="*/ 2706 h 22456"/>
                  <a:gd name="connsiteX1" fmla="*/ 7374 w 17207"/>
                  <a:gd name="connsiteY1" fmla="*/ 14996 h 22456"/>
                  <a:gd name="connsiteX2" fmla="*/ 9832 w 17207"/>
                  <a:gd name="connsiteY2" fmla="*/ 22371 h 22456"/>
                  <a:gd name="connsiteX3" fmla="*/ 17207 w 17207"/>
                  <a:gd name="connsiteY3" fmla="*/ 17454 h 22456"/>
                  <a:gd name="connsiteX4" fmla="*/ 14749 w 17207"/>
                  <a:gd name="connsiteY4" fmla="*/ 2706 h 22456"/>
                  <a:gd name="connsiteX5" fmla="*/ 7374 w 17207"/>
                  <a:gd name="connsiteY5" fmla="*/ 248 h 22456"/>
                  <a:gd name="connsiteX6" fmla="*/ 0 w 17207"/>
                  <a:gd name="connsiteY6" fmla="*/ 2706 h 22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207" h="22456">
                    <a:moveTo>
                      <a:pt x="0" y="2706"/>
                    </a:moveTo>
                    <a:cubicBezTo>
                      <a:pt x="0" y="5164"/>
                      <a:pt x="5238" y="10723"/>
                      <a:pt x="7374" y="14996"/>
                    </a:cubicBezTo>
                    <a:cubicBezTo>
                      <a:pt x="8533" y="17314"/>
                      <a:pt x="7318" y="21743"/>
                      <a:pt x="9832" y="22371"/>
                    </a:cubicBezTo>
                    <a:cubicBezTo>
                      <a:pt x="12698" y="23088"/>
                      <a:pt x="14749" y="19093"/>
                      <a:pt x="17207" y="17454"/>
                    </a:cubicBezTo>
                    <a:cubicBezTo>
                      <a:pt x="16388" y="12538"/>
                      <a:pt x="17222" y="7033"/>
                      <a:pt x="14749" y="2706"/>
                    </a:cubicBezTo>
                    <a:cubicBezTo>
                      <a:pt x="13463" y="456"/>
                      <a:pt x="9780" y="1210"/>
                      <a:pt x="7374" y="248"/>
                    </a:cubicBezTo>
                    <a:cubicBezTo>
                      <a:pt x="5673" y="-432"/>
                      <a:pt x="0" y="248"/>
                      <a:pt x="0" y="2706"/>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26" name="Freeform: Shape 725">
                <a:extLst>
                  <a:ext uri="{FF2B5EF4-FFF2-40B4-BE49-F238E27FC236}">
                    <a16:creationId xmlns:a16="http://schemas.microsoft.com/office/drawing/2014/main" id="{B65B4CAF-4B98-4368-94F0-0A8FEAC8DB53}"/>
                  </a:ext>
                </a:extLst>
              </p:cNvPr>
              <p:cNvSpPr/>
              <p:nvPr/>
            </p:nvSpPr>
            <p:spPr>
              <a:xfrm>
                <a:off x="6779342" y="6811297"/>
                <a:ext cx="34413" cy="76200"/>
              </a:xfrm>
              <a:custGeom>
                <a:avLst/>
                <a:gdLst>
                  <a:gd name="connsiteX0" fmla="*/ 14748 w 34413"/>
                  <a:gd name="connsiteY0" fmla="*/ 0 h 76200"/>
                  <a:gd name="connsiteX1" fmla="*/ 7374 w 34413"/>
                  <a:gd name="connsiteY1" fmla="*/ 12290 h 76200"/>
                  <a:gd name="connsiteX2" fmla="*/ 2458 w 34413"/>
                  <a:gd name="connsiteY2" fmla="*/ 31955 h 76200"/>
                  <a:gd name="connsiteX3" fmla="*/ 0 w 34413"/>
                  <a:gd name="connsiteY3" fmla="*/ 39329 h 76200"/>
                  <a:gd name="connsiteX4" fmla="*/ 4916 w 34413"/>
                  <a:gd name="connsiteY4" fmla="*/ 46703 h 76200"/>
                  <a:gd name="connsiteX5" fmla="*/ 19664 w 34413"/>
                  <a:gd name="connsiteY5" fmla="*/ 54077 h 76200"/>
                  <a:gd name="connsiteX6" fmla="*/ 24581 w 34413"/>
                  <a:gd name="connsiteY6" fmla="*/ 68826 h 76200"/>
                  <a:gd name="connsiteX7" fmla="*/ 27039 w 34413"/>
                  <a:gd name="connsiteY7" fmla="*/ 76200 h 76200"/>
                  <a:gd name="connsiteX8" fmla="*/ 34413 w 34413"/>
                  <a:gd name="connsiteY8" fmla="*/ 61451 h 76200"/>
                  <a:gd name="connsiteX9" fmla="*/ 27039 w 34413"/>
                  <a:gd name="connsiteY9" fmla="*/ 46703 h 76200"/>
                  <a:gd name="connsiteX10" fmla="*/ 22123 w 34413"/>
                  <a:gd name="connsiteY10" fmla="*/ 31955 h 76200"/>
                  <a:gd name="connsiteX11" fmla="*/ 14748 w 34413"/>
                  <a:gd name="connsiteY11"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413" h="76200">
                    <a:moveTo>
                      <a:pt x="14748" y="0"/>
                    </a:moveTo>
                    <a:cubicBezTo>
                      <a:pt x="12290" y="4097"/>
                      <a:pt x="9511" y="8017"/>
                      <a:pt x="7374" y="12290"/>
                    </a:cubicBezTo>
                    <a:cubicBezTo>
                      <a:pt x="4564" y="17909"/>
                      <a:pt x="3860" y="26345"/>
                      <a:pt x="2458" y="31955"/>
                    </a:cubicBezTo>
                    <a:cubicBezTo>
                      <a:pt x="1830" y="34469"/>
                      <a:pt x="819" y="36871"/>
                      <a:pt x="0" y="39329"/>
                    </a:cubicBezTo>
                    <a:cubicBezTo>
                      <a:pt x="1639" y="41787"/>
                      <a:pt x="2827" y="44614"/>
                      <a:pt x="4916" y="46703"/>
                    </a:cubicBezTo>
                    <a:cubicBezTo>
                      <a:pt x="9681" y="51468"/>
                      <a:pt x="13667" y="52078"/>
                      <a:pt x="19664" y="54077"/>
                    </a:cubicBezTo>
                    <a:lnTo>
                      <a:pt x="24581" y="68826"/>
                    </a:lnTo>
                    <a:lnTo>
                      <a:pt x="27039" y="76200"/>
                    </a:lnTo>
                    <a:cubicBezTo>
                      <a:pt x="29525" y="72471"/>
                      <a:pt x="34413" y="66540"/>
                      <a:pt x="34413" y="61451"/>
                    </a:cubicBezTo>
                    <a:cubicBezTo>
                      <a:pt x="34413" y="54728"/>
                      <a:pt x="29525" y="52295"/>
                      <a:pt x="27039" y="46703"/>
                    </a:cubicBezTo>
                    <a:cubicBezTo>
                      <a:pt x="24934" y="41968"/>
                      <a:pt x="22123" y="37137"/>
                      <a:pt x="22123" y="31955"/>
                    </a:cubicBezTo>
                    <a:lnTo>
                      <a:pt x="14748" y="0"/>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27" name="Freeform: Shape 726">
                <a:extLst>
                  <a:ext uri="{FF2B5EF4-FFF2-40B4-BE49-F238E27FC236}">
                    <a16:creationId xmlns:a16="http://schemas.microsoft.com/office/drawing/2014/main" id="{CD133D32-2B93-43E8-B73B-1F71DC4C58A9}"/>
                  </a:ext>
                </a:extLst>
              </p:cNvPr>
              <p:cNvSpPr/>
              <p:nvPr/>
            </p:nvSpPr>
            <p:spPr>
              <a:xfrm>
                <a:off x="6368520" y="6216431"/>
                <a:ext cx="12615" cy="23036"/>
              </a:xfrm>
              <a:custGeom>
                <a:avLst/>
                <a:gdLst>
                  <a:gd name="connsiteX0" fmla="*/ 325 w 12615"/>
                  <a:gd name="connsiteY0" fmla="*/ 7388 h 23036"/>
                  <a:gd name="connsiteX1" fmla="*/ 10157 w 12615"/>
                  <a:gd name="connsiteY1" fmla="*/ 22137 h 23036"/>
                  <a:gd name="connsiteX2" fmla="*/ 12615 w 12615"/>
                  <a:gd name="connsiteY2" fmla="*/ 14763 h 23036"/>
                  <a:gd name="connsiteX3" fmla="*/ 2783 w 12615"/>
                  <a:gd name="connsiteY3" fmla="*/ 14 h 23036"/>
                  <a:gd name="connsiteX4" fmla="*/ 325 w 12615"/>
                  <a:gd name="connsiteY4" fmla="*/ 7388 h 230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615" h="23036">
                    <a:moveTo>
                      <a:pt x="325" y="7388"/>
                    </a:moveTo>
                    <a:cubicBezTo>
                      <a:pt x="1554" y="11075"/>
                      <a:pt x="537" y="26947"/>
                      <a:pt x="10157" y="22137"/>
                    </a:cubicBezTo>
                    <a:cubicBezTo>
                      <a:pt x="12474" y="20978"/>
                      <a:pt x="11796" y="17221"/>
                      <a:pt x="12615" y="14763"/>
                    </a:cubicBezTo>
                    <a:cubicBezTo>
                      <a:pt x="10735" y="7241"/>
                      <a:pt x="11837" y="2277"/>
                      <a:pt x="2783" y="14"/>
                    </a:cubicBezTo>
                    <a:cubicBezTo>
                      <a:pt x="1659" y="-267"/>
                      <a:pt x="-904" y="3701"/>
                      <a:pt x="325" y="7388"/>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28" name="Freeform: Shape 727">
                <a:extLst>
                  <a:ext uri="{FF2B5EF4-FFF2-40B4-BE49-F238E27FC236}">
                    <a16:creationId xmlns:a16="http://schemas.microsoft.com/office/drawing/2014/main" id="{AB7306B0-FB4E-45CF-93AE-8CDFB122DC00}"/>
                  </a:ext>
                </a:extLst>
              </p:cNvPr>
              <p:cNvSpPr/>
              <p:nvPr/>
            </p:nvSpPr>
            <p:spPr>
              <a:xfrm>
                <a:off x="6727723" y="6612194"/>
                <a:ext cx="44245" cy="61561"/>
              </a:xfrm>
              <a:custGeom>
                <a:avLst/>
                <a:gdLst>
                  <a:gd name="connsiteX0" fmla="*/ 17206 w 44245"/>
                  <a:gd name="connsiteY0" fmla="*/ 12290 h 61561"/>
                  <a:gd name="connsiteX1" fmla="*/ 7374 w 44245"/>
                  <a:gd name="connsiteY1" fmla="*/ 24580 h 61561"/>
                  <a:gd name="connsiteX2" fmla="*/ 0 w 44245"/>
                  <a:gd name="connsiteY2" fmla="*/ 36871 h 61561"/>
                  <a:gd name="connsiteX3" fmla="*/ 2458 w 44245"/>
                  <a:gd name="connsiteY3" fmla="*/ 56535 h 61561"/>
                  <a:gd name="connsiteX4" fmla="*/ 9832 w 44245"/>
                  <a:gd name="connsiteY4" fmla="*/ 61451 h 61561"/>
                  <a:gd name="connsiteX5" fmla="*/ 12290 w 44245"/>
                  <a:gd name="connsiteY5" fmla="*/ 54077 h 61561"/>
                  <a:gd name="connsiteX6" fmla="*/ 7374 w 44245"/>
                  <a:gd name="connsiteY6" fmla="*/ 39329 h 61561"/>
                  <a:gd name="connsiteX7" fmla="*/ 22122 w 44245"/>
                  <a:gd name="connsiteY7" fmla="*/ 34412 h 61561"/>
                  <a:gd name="connsiteX8" fmla="*/ 29496 w 44245"/>
                  <a:gd name="connsiteY8" fmla="*/ 29496 h 61561"/>
                  <a:gd name="connsiteX9" fmla="*/ 41787 w 44245"/>
                  <a:gd name="connsiteY9" fmla="*/ 14748 h 61561"/>
                  <a:gd name="connsiteX10" fmla="*/ 44245 w 44245"/>
                  <a:gd name="connsiteY10" fmla="*/ 7374 h 61561"/>
                  <a:gd name="connsiteX11" fmla="*/ 29496 w 44245"/>
                  <a:gd name="connsiteY11" fmla="*/ 0 h 61561"/>
                  <a:gd name="connsiteX12" fmla="*/ 22122 w 44245"/>
                  <a:gd name="connsiteY12" fmla="*/ 2458 h 61561"/>
                  <a:gd name="connsiteX13" fmla="*/ 17206 w 44245"/>
                  <a:gd name="connsiteY13" fmla="*/ 9832 h 61561"/>
                  <a:gd name="connsiteX14" fmla="*/ 17206 w 44245"/>
                  <a:gd name="connsiteY14" fmla="*/ 12290 h 615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4245" h="61561">
                    <a:moveTo>
                      <a:pt x="17206" y="12290"/>
                    </a:moveTo>
                    <a:cubicBezTo>
                      <a:pt x="15567" y="14748"/>
                      <a:pt x="10155" y="20131"/>
                      <a:pt x="7374" y="24580"/>
                    </a:cubicBezTo>
                    <a:cubicBezTo>
                      <a:pt x="-3265" y="41602"/>
                      <a:pt x="13410" y="23458"/>
                      <a:pt x="0" y="36871"/>
                    </a:cubicBezTo>
                    <a:cubicBezTo>
                      <a:pt x="819" y="43426"/>
                      <a:pt x="5" y="50402"/>
                      <a:pt x="2458" y="56535"/>
                    </a:cubicBezTo>
                    <a:cubicBezTo>
                      <a:pt x="3555" y="59278"/>
                      <a:pt x="6966" y="62167"/>
                      <a:pt x="9832" y="61451"/>
                    </a:cubicBezTo>
                    <a:cubicBezTo>
                      <a:pt x="12346" y="60823"/>
                      <a:pt x="11471" y="56535"/>
                      <a:pt x="12290" y="54077"/>
                    </a:cubicBezTo>
                    <a:cubicBezTo>
                      <a:pt x="10651" y="49161"/>
                      <a:pt x="2458" y="40968"/>
                      <a:pt x="7374" y="39329"/>
                    </a:cubicBezTo>
                    <a:cubicBezTo>
                      <a:pt x="12290" y="37690"/>
                      <a:pt x="17810" y="37286"/>
                      <a:pt x="22122" y="34412"/>
                    </a:cubicBezTo>
                    <a:cubicBezTo>
                      <a:pt x="24580" y="32773"/>
                      <a:pt x="27226" y="31387"/>
                      <a:pt x="29496" y="29496"/>
                    </a:cubicBezTo>
                    <a:cubicBezTo>
                      <a:pt x="34157" y="25612"/>
                      <a:pt x="39024" y="20274"/>
                      <a:pt x="41787" y="14748"/>
                    </a:cubicBezTo>
                    <a:cubicBezTo>
                      <a:pt x="42946" y="12431"/>
                      <a:pt x="43426" y="9832"/>
                      <a:pt x="44245" y="7374"/>
                    </a:cubicBezTo>
                    <a:cubicBezTo>
                      <a:pt x="40516" y="4888"/>
                      <a:pt x="34585" y="0"/>
                      <a:pt x="29496" y="0"/>
                    </a:cubicBezTo>
                    <a:cubicBezTo>
                      <a:pt x="26905" y="0"/>
                      <a:pt x="24580" y="1639"/>
                      <a:pt x="22122" y="2458"/>
                    </a:cubicBezTo>
                    <a:cubicBezTo>
                      <a:pt x="20483" y="4916"/>
                      <a:pt x="19429" y="7887"/>
                      <a:pt x="17206" y="9832"/>
                    </a:cubicBezTo>
                    <a:cubicBezTo>
                      <a:pt x="12760" y="13723"/>
                      <a:pt x="18845" y="9832"/>
                      <a:pt x="17206" y="1229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29" name="Freeform: Shape 728">
                <a:extLst>
                  <a:ext uri="{FF2B5EF4-FFF2-40B4-BE49-F238E27FC236}">
                    <a16:creationId xmlns:a16="http://schemas.microsoft.com/office/drawing/2014/main" id="{0CB8CB0B-8C2E-47A0-88A2-7E1E93F68432}"/>
                  </a:ext>
                </a:extLst>
              </p:cNvPr>
              <p:cNvSpPr/>
              <p:nvPr/>
            </p:nvSpPr>
            <p:spPr>
              <a:xfrm>
                <a:off x="6486784" y="6700684"/>
                <a:ext cx="34873" cy="27039"/>
              </a:xfrm>
              <a:custGeom>
                <a:avLst/>
                <a:gdLst>
                  <a:gd name="connsiteX0" fmla="*/ 48 w 34873"/>
                  <a:gd name="connsiteY0" fmla="*/ 12290 h 27039"/>
                  <a:gd name="connsiteX1" fmla="*/ 12339 w 34873"/>
                  <a:gd name="connsiteY1" fmla="*/ 17206 h 27039"/>
                  <a:gd name="connsiteX2" fmla="*/ 27087 w 34873"/>
                  <a:gd name="connsiteY2" fmla="*/ 27039 h 27039"/>
                  <a:gd name="connsiteX3" fmla="*/ 34461 w 34873"/>
                  <a:gd name="connsiteY3" fmla="*/ 24581 h 27039"/>
                  <a:gd name="connsiteX4" fmla="*/ 32003 w 34873"/>
                  <a:gd name="connsiteY4" fmla="*/ 14748 h 27039"/>
                  <a:gd name="connsiteX5" fmla="*/ 24629 w 34873"/>
                  <a:gd name="connsiteY5" fmla="*/ 9832 h 27039"/>
                  <a:gd name="connsiteX6" fmla="*/ 9881 w 34873"/>
                  <a:gd name="connsiteY6" fmla="*/ 0 h 27039"/>
                  <a:gd name="connsiteX7" fmla="*/ 48 w 34873"/>
                  <a:gd name="connsiteY7" fmla="*/ 12290 h 27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873" h="27039">
                    <a:moveTo>
                      <a:pt x="48" y="12290"/>
                    </a:moveTo>
                    <a:cubicBezTo>
                      <a:pt x="458" y="15158"/>
                      <a:pt x="8465" y="15093"/>
                      <a:pt x="12339" y="17206"/>
                    </a:cubicBezTo>
                    <a:cubicBezTo>
                      <a:pt x="17526" y="20035"/>
                      <a:pt x="27087" y="27039"/>
                      <a:pt x="27087" y="27039"/>
                    </a:cubicBezTo>
                    <a:cubicBezTo>
                      <a:pt x="29545" y="26220"/>
                      <a:pt x="33499" y="26987"/>
                      <a:pt x="34461" y="24581"/>
                    </a:cubicBezTo>
                    <a:cubicBezTo>
                      <a:pt x="35716" y="21444"/>
                      <a:pt x="33877" y="17559"/>
                      <a:pt x="32003" y="14748"/>
                    </a:cubicBezTo>
                    <a:cubicBezTo>
                      <a:pt x="30364" y="12290"/>
                      <a:pt x="26898" y="11723"/>
                      <a:pt x="24629" y="9832"/>
                    </a:cubicBezTo>
                    <a:cubicBezTo>
                      <a:pt x="12354" y="-397"/>
                      <a:pt x="22840" y="4320"/>
                      <a:pt x="9881" y="0"/>
                    </a:cubicBezTo>
                    <a:cubicBezTo>
                      <a:pt x="1729" y="2717"/>
                      <a:pt x="-362" y="9422"/>
                      <a:pt x="48" y="1229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30" name="Freeform: Shape 729">
                <a:extLst>
                  <a:ext uri="{FF2B5EF4-FFF2-40B4-BE49-F238E27FC236}">
                    <a16:creationId xmlns:a16="http://schemas.microsoft.com/office/drawing/2014/main" id="{EACABC76-8A3A-4461-A4A4-C6DB07D3FF69}"/>
                  </a:ext>
                </a:extLst>
              </p:cNvPr>
              <p:cNvSpPr/>
              <p:nvPr/>
            </p:nvSpPr>
            <p:spPr>
              <a:xfrm>
                <a:off x="6540848" y="6685935"/>
                <a:ext cx="54355" cy="37303"/>
              </a:xfrm>
              <a:custGeom>
                <a:avLst/>
                <a:gdLst>
                  <a:gd name="connsiteX0" fmla="*/ 4978 w 54355"/>
                  <a:gd name="connsiteY0" fmla="*/ 22123 h 37303"/>
                  <a:gd name="connsiteX1" fmla="*/ 24642 w 54355"/>
                  <a:gd name="connsiteY1" fmla="*/ 19665 h 37303"/>
                  <a:gd name="connsiteX2" fmla="*/ 36933 w 54355"/>
                  <a:gd name="connsiteY2" fmla="*/ 4917 h 37303"/>
                  <a:gd name="connsiteX3" fmla="*/ 44307 w 54355"/>
                  <a:gd name="connsiteY3" fmla="*/ 0 h 37303"/>
                  <a:gd name="connsiteX4" fmla="*/ 54139 w 54355"/>
                  <a:gd name="connsiteY4" fmla="*/ 2459 h 37303"/>
                  <a:gd name="connsiteX5" fmla="*/ 41849 w 54355"/>
                  <a:gd name="connsiteY5" fmla="*/ 14749 h 37303"/>
                  <a:gd name="connsiteX6" fmla="*/ 24642 w 54355"/>
                  <a:gd name="connsiteY6" fmla="*/ 31955 h 37303"/>
                  <a:gd name="connsiteX7" fmla="*/ 17268 w 54355"/>
                  <a:gd name="connsiteY7" fmla="*/ 36871 h 37303"/>
                  <a:gd name="connsiteX8" fmla="*/ 4978 w 54355"/>
                  <a:gd name="connsiteY8" fmla="*/ 22123 h 37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355" h="37303">
                    <a:moveTo>
                      <a:pt x="4978" y="22123"/>
                    </a:moveTo>
                    <a:cubicBezTo>
                      <a:pt x="6207" y="19255"/>
                      <a:pt x="18434" y="21922"/>
                      <a:pt x="24642" y="19665"/>
                    </a:cubicBezTo>
                    <a:cubicBezTo>
                      <a:pt x="30972" y="17363"/>
                      <a:pt x="32752" y="9098"/>
                      <a:pt x="36933" y="4917"/>
                    </a:cubicBezTo>
                    <a:cubicBezTo>
                      <a:pt x="39022" y="2828"/>
                      <a:pt x="41849" y="1639"/>
                      <a:pt x="44307" y="0"/>
                    </a:cubicBezTo>
                    <a:cubicBezTo>
                      <a:pt x="47584" y="820"/>
                      <a:pt x="52628" y="-563"/>
                      <a:pt x="54139" y="2459"/>
                    </a:cubicBezTo>
                    <a:cubicBezTo>
                      <a:pt x="56187" y="6556"/>
                      <a:pt x="43078" y="13930"/>
                      <a:pt x="41849" y="14749"/>
                    </a:cubicBezTo>
                    <a:cubicBezTo>
                      <a:pt x="30580" y="31653"/>
                      <a:pt x="37622" y="27629"/>
                      <a:pt x="24642" y="31955"/>
                    </a:cubicBezTo>
                    <a:cubicBezTo>
                      <a:pt x="22184" y="33594"/>
                      <a:pt x="20204" y="36545"/>
                      <a:pt x="17268" y="36871"/>
                    </a:cubicBezTo>
                    <a:cubicBezTo>
                      <a:pt x="-11112" y="40024"/>
                      <a:pt x="3749" y="24991"/>
                      <a:pt x="4978" y="2212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31" name="Freeform: Shape 730">
                <a:extLst>
                  <a:ext uri="{FF2B5EF4-FFF2-40B4-BE49-F238E27FC236}">
                    <a16:creationId xmlns:a16="http://schemas.microsoft.com/office/drawing/2014/main" id="{643688D9-ABFD-4B04-8CE2-EE017C54751F}"/>
                  </a:ext>
                </a:extLst>
              </p:cNvPr>
              <p:cNvSpPr/>
              <p:nvPr/>
            </p:nvSpPr>
            <p:spPr>
              <a:xfrm>
                <a:off x="6508955" y="6771968"/>
                <a:ext cx="20225" cy="27038"/>
              </a:xfrm>
              <a:custGeom>
                <a:avLst/>
                <a:gdLst>
                  <a:gd name="connsiteX0" fmla="*/ 0 w 20225"/>
                  <a:gd name="connsiteY0" fmla="*/ 0 h 27038"/>
                  <a:gd name="connsiteX1" fmla="*/ 4916 w 20225"/>
                  <a:gd name="connsiteY1" fmla="*/ 12290 h 27038"/>
                  <a:gd name="connsiteX2" fmla="*/ 9832 w 20225"/>
                  <a:gd name="connsiteY2" fmla="*/ 27038 h 27038"/>
                  <a:gd name="connsiteX3" fmla="*/ 19664 w 20225"/>
                  <a:gd name="connsiteY3" fmla="*/ 24580 h 27038"/>
                  <a:gd name="connsiteX4" fmla="*/ 14748 w 20225"/>
                  <a:gd name="connsiteY4" fmla="*/ 9832 h 27038"/>
                  <a:gd name="connsiteX5" fmla="*/ 0 w 20225"/>
                  <a:gd name="connsiteY5" fmla="*/ 0 h 270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225" h="27038">
                    <a:moveTo>
                      <a:pt x="0" y="0"/>
                    </a:moveTo>
                    <a:cubicBezTo>
                      <a:pt x="1639" y="4097"/>
                      <a:pt x="4429" y="7905"/>
                      <a:pt x="4916" y="12290"/>
                    </a:cubicBezTo>
                    <a:cubicBezTo>
                      <a:pt x="6694" y="28289"/>
                      <a:pt x="-4683" y="17361"/>
                      <a:pt x="9832" y="27038"/>
                    </a:cubicBezTo>
                    <a:cubicBezTo>
                      <a:pt x="13109" y="26219"/>
                      <a:pt x="18736" y="27828"/>
                      <a:pt x="19664" y="24580"/>
                    </a:cubicBezTo>
                    <a:cubicBezTo>
                      <a:pt x="21088" y="19597"/>
                      <a:pt x="19930" y="9832"/>
                      <a:pt x="14748" y="9832"/>
                    </a:cubicBezTo>
                    <a:lnTo>
                      <a:pt x="0" y="0"/>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32" name="Freeform: Shape 731">
                <a:extLst>
                  <a:ext uri="{FF2B5EF4-FFF2-40B4-BE49-F238E27FC236}">
                    <a16:creationId xmlns:a16="http://schemas.microsoft.com/office/drawing/2014/main" id="{F2F8CF72-44E2-42C7-A235-250A906A4C14}"/>
                  </a:ext>
                </a:extLst>
              </p:cNvPr>
              <p:cNvSpPr/>
              <p:nvPr/>
            </p:nvSpPr>
            <p:spPr>
              <a:xfrm>
                <a:off x="6405716" y="6589856"/>
                <a:ext cx="14749" cy="24872"/>
              </a:xfrm>
              <a:custGeom>
                <a:avLst/>
                <a:gdLst>
                  <a:gd name="connsiteX0" fmla="*/ 0 w 14749"/>
                  <a:gd name="connsiteY0" fmla="*/ 7589 h 24872"/>
                  <a:gd name="connsiteX1" fmla="*/ 7374 w 14749"/>
                  <a:gd name="connsiteY1" fmla="*/ 24796 h 24872"/>
                  <a:gd name="connsiteX2" fmla="*/ 14749 w 14749"/>
                  <a:gd name="connsiteY2" fmla="*/ 22338 h 24872"/>
                  <a:gd name="connsiteX3" fmla="*/ 7374 w 14749"/>
                  <a:gd name="connsiteY3" fmla="*/ 215 h 24872"/>
                  <a:gd name="connsiteX4" fmla="*/ 0 w 14749"/>
                  <a:gd name="connsiteY4" fmla="*/ 7589 h 2487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49" h="24872">
                    <a:moveTo>
                      <a:pt x="0" y="7589"/>
                    </a:moveTo>
                    <a:cubicBezTo>
                      <a:pt x="0" y="11686"/>
                      <a:pt x="816" y="23484"/>
                      <a:pt x="7374" y="24796"/>
                    </a:cubicBezTo>
                    <a:cubicBezTo>
                      <a:pt x="9915" y="25304"/>
                      <a:pt x="12291" y="23157"/>
                      <a:pt x="14749" y="22338"/>
                    </a:cubicBezTo>
                    <a:cubicBezTo>
                      <a:pt x="13965" y="17634"/>
                      <a:pt x="13774" y="4055"/>
                      <a:pt x="7374" y="215"/>
                    </a:cubicBezTo>
                    <a:cubicBezTo>
                      <a:pt x="5266" y="-1050"/>
                      <a:pt x="0" y="3492"/>
                      <a:pt x="0" y="7589"/>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33" name="Freeform: Shape 732">
                <a:extLst>
                  <a:ext uri="{FF2B5EF4-FFF2-40B4-BE49-F238E27FC236}">
                    <a16:creationId xmlns:a16="http://schemas.microsoft.com/office/drawing/2014/main" id="{C2DE8645-2456-4255-95EB-9B98C8805318}"/>
                  </a:ext>
                </a:extLst>
              </p:cNvPr>
              <p:cNvSpPr/>
              <p:nvPr/>
            </p:nvSpPr>
            <p:spPr>
              <a:xfrm>
                <a:off x="6371122" y="6556867"/>
                <a:ext cx="12472" cy="14403"/>
              </a:xfrm>
              <a:custGeom>
                <a:avLst/>
                <a:gdLst>
                  <a:gd name="connsiteX0" fmla="*/ 5097 w 12472"/>
                  <a:gd name="connsiteY0" fmla="*/ 1249 h 14403"/>
                  <a:gd name="connsiteX1" fmla="*/ 181 w 12472"/>
                  <a:gd name="connsiteY1" fmla="*/ 13539 h 14403"/>
                  <a:gd name="connsiteX2" fmla="*/ 7555 w 12472"/>
                  <a:gd name="connsiteY2" fmla="*/ 11081 h 14403"/>
                  <a:gd name="connsiteX3" fmla="*/ 12472 w 12472"/>
                  <a:gd name="connsiteY3" fmla="*/ 6165 h 14403"/>
                  <a:gd name="connsiteX4" fmla="*/ 5097 w 12472"/>
                  <a:gd name="connsiteY4" fmla="*/ 1249 h 144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472" h="14403">
                    <a:moveTo>
                      <a:pt x="5097" y="1249"/>
                    </a:moveTo>
                    <a:cubicBezTo>
                      <a:pt x="3048" y="2478"/>
                      <a:pt x="-889" y="9258"/>
                      <a:pt x="181" y="13539"/>
                    </a:cubicBezTo>
                    <a:cubicBezTo>
                      <a:pt x="809" y="16053"/>
                      <a:pt x="5333" y="12414"/>
                      <a:pt x="7555" y="11081"/>
                    </a:cubicBezTo>
                    <a:cubicBezTo>
                      <a:pt x="9542" y="9889"/>
                      <a:pt x="10833" y="7804"/>
                      <a:pt x="12472" y="6165"/>
                    </a:cubicBezTo>
                    <a:cubicBezTo>
                      <a:pt x="9646" y="-2308"/>
                      <a:pt x="7146" y="20"/>
                      <a:pt x="5097" y="1249"/>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34" name="Freeform: Shape 733">
                <a:extLst>
                  <a:ext uri="{FF2B5EF4-FFF2-40B4-BE49-F238E27FC236}">
                    <a16:creationId xmlns:a16="http://schemas.microsoft.com/office/drawing/2014/main" id="{0020D2C8-C4EC-4B02-A954-5768B8B49991}"/>
                  </a:ext>
                </a:extLst>
              </p:cNvPr>
              <p:cNvSpPr/>
              <p:nvPr/>
            </p:nvSpPr>
            <p:spPr>
              <a:xfrm>
                <a:off x="6233638" y="6284005"/>
                <a:ext cx="13714" cy="11098"/>
              </a:xfrm>
              <a:custGeom>
                <a:avLst/>
                <a:gdLst>
                  <a:gd name="connsiteX0" fmla="*/ 14 w 13714"/>
                  <a:gd name="connsiteY0" fmla="*/ 1266 h 11098"/>
                  <a:gd name="connsiteX1" fmla="*/ 12304 w 13714"/>
                  <a:gd name="connsiteY1" fmla="*/ 11098 h 11098"/>
                  <a:gd name="connsiteX2" fmla="*/ 9846 w 13714"/>
                  <a:gd name="connsiteY2" fmla="*/ 1266 h 11098"/>
                  <a:gd name="connsiteX3" fmla="*/ 14 w 13714"/>
                  <a:gd name="connsiteY3" fmla="*/ 1266 h 11098"/>
                </a:gdLst>
                <a:ahLst/>
                <a:cxnLst>
                  <a:cxn ang="0">
                    <a:pos x="connsiteX0" y="connsiteY0"/>
                  </a:cxn>
                  <a:cxn ang="0">
                    <a:pos x="connsiteX1" y="connsiteY1"/>
                  </a:cxn>
                  <a:cxn ang="0">
                    <a:pos x="connsiteX2" y="connsiteY2"/>
                  </a:cxn>
                  <a:cxn ang="0">
                    <a:pos x="connsiteX3" y="connsiteY3"/>
                  </a:cxn>
                </a:cxnLst>
                <a:rect l="l" t="t" r="r" b="b"/>
                <a:pathLst>
                  <a:path w="13714" h="11098">
                    <a:moveTo>
                      <a:pt x="14" y="1266"/>
                    </a:moveTo>
                    <a:cubicBezTo>
                      <a:pt x="424" y="2905"/>
                      <a:pt x="7058" y="11098"/>
                      <a:pt x="12304" y="11098"/>
                    </a:cubicBezTo>
                    <a:cubicBezTo>
                      <a:pt x="15682" y="11098"/>
                      <a:pt x="12235" y="3655"/>
                      <a:pt x="9846" y="1266"/>
                    </a:cubicBezTo>
                    <a:cubicBezTo>
                      <a:pt x="8108" y="-472"/>
                      <a:pt x="-396" y="-373"/>
                      <a:pt x="14" y="1266"/>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35" name="Freeform: Shape 734">
                <a:extLst>
                  <a:ext uri="{FF2B5EF4-FFF2-40B4-BE49-F238E27FC236}">
                    <a16:creationId xmlns:a16="http://schemas.microsoft.com/office/drawing/2014/main" id="{CF6B88BB-6985-456D-AAE1-0205E638360B}"/>
                  </a:ext>
                </a:extLst>
              </p:cNvPr>
              <p:cNvSpPr/>
              <p:nvPr/>
            </p:nvSpPr>
            <p:spPr>
              <a:xfrm>
                <a:off x="6454877" y="6592529"/>
                <a:ext cx="14749" cy="15355"/>
              </a:xfrm>
              <a:custGeom>
                <a:avLst/>
                <a:gdLst>
                  <a:gd name="connsiteX0" fmla="*/ 0 w 14749"/>
                  <a:gd name="connsiteY0" fmla="*/ 0 h 15355"/>
                  <a:gd name="connsiteX1" fmla="*/ 9833 w 14749"/>
                  <a:gd name="connsiteY1" fmla="*/ 14748 h 15355"/>
                  <a:gd name="connsiteX2" fmla="*/ 14749 w 14749"/>
                  <a:gd name="connsiteY2" fmla="*/ 7374 h 15355"/>
                  <a:gd name="connsiteX3" fmla="*/ 0 w 14749"/>
                  <a:gd name="connsiteY3" fmla="*/ 0 h 15355"/>
                </a:gdLst>
                <a:ahLst/>
                <a:cxnLst>
                  <a:cxn ang="0">
                    <a:pos x="connsiteX0" y="connsiteY0"/>
                  </a:cxn>
                  <a:cxn ang="0">
                    <a:pos x="connsiteX1" y="connsiteY1"/>
                  </a:cxn>
                  <a:cxn ang="0">
                    <a:pos x="connsiteX2" y="connsiteY2"/>
                  </a:cxn>
                  <a:cxn ang="0">
                    <a:pos x="connsiteX3" y="connsiteY3"/>
                  </a:cxn>
                </a:cxnLst>
                <a:rect l="l" t="t" r="r" b="b"/>
                <a:pathLst>
                  <a:path w="14749" h="15355">
                    <a:moveTo>
                      <a:pt x="0" y="0"/>
                    </a:moveTo>
                    <a:cubicBezTo>
                      <a:pt x="484" y="2420"/>
                      <a:pt x="34" y="18667"/>
                      <a:pt x="9833" y="14748"/>
                    </a:cubicBezTo>
                    <a:cubicBezTo>
                      <a:pt x="12576" y="13651"/>
                      <a:pt x="13110" y="9832"/>
                      <a:pt x="14749" y="7374"/>
                    </a:cubicBezTo>
                    <a:lnTo>
                      <a:pt x="0" y="0"/>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36" name="Freeform: Shape 735">
                <a:extLst>
                  <a:ext uri="{FF2B5EF4-FFF2-40B4-BE49-F238E27FC236}">
                    <a16:creationId xmlns:a16="http://schemas.microsoft.com/office/drawing/2014/main" id="{FA5D73A8-5F1A-4693-BEA4-12E4756725C6}"/>
                  </a:ext>
                </a:extLst>
              </p:cNvPr>
              <p:cNvSpPr/>
              <p:nvPr/>
            </p:nvSpPr>
            <p:spPr>
              <a:xfrm>
                <a:off x="6457335" y="6732639"/>
                <a:ext cx="24686" cy="14958"/>
              </a:xfrm>
              <a:custGeom>
                <a:avLst/>
                <a:gdLst>
                  <a:gd name="connsiteX0" fmla="*/ 24581 w 24686"/>
                  <a:gd name="connsiteY0" fmla="*/ 0 h 14958"/>
                  <a:gd name="connsiteX1" fmla="*/ 12291 w 24686"/>
                  <a:gd name="connsiteY1" fmla="*/ 7374 h 14958"/>
                  <a:gd name="connsiteX2" fmla="*/ 7375 w 24686"/>
                  <a:gd name="connsiteY2" fmla="*/ 14748 h 14958"/>
                  <a:gd name="connsiteX3" fmla="*/ 0 w 24686"/>
                  <a:gd name="connsiteY3" fmla="*/ 12290 h 14958"/>
                  <a:gd name="connsiteX4" fmla="*/ 4917 w 24686"/>
                  <a:gd name="connsiteY4" fmla="*/ 7374 h 14958"/>
                  <a:gd name="connsiteX5" fmla="*/ 24581 w 24686"/>
                  <a:gd name="connsiteY5" fmla="*/ 0 h 14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686" h="14958">
                    <a:moveTo>
                      <a:pt x="24581" y="0"/>
                    </a:moveTo>
                    <a:cubicBezTo>
                      <a:pt x="25810" y="0"/>
                      <a:pt x="15918" y="4265"/>
                      <a:pt x="12291" y="7374"/>
                    </a:cubicBezTo>
                    <a:cubicBezTo>
                      <a:pt x="10048" y="9297"/>
                      <a:pt x="10118" y="13651"/>
                      <a:pt x="7375" y="14748"/>
                    </a:cubicBezTo>
                    <a:cubicBezTo>
                      <a:pt x="4969" y="15710"/>
                      <a:pt x="2458" y="13109"/>
                      <a:pt x="0" y="12290"/>
                    </a:cubicBezTo>
                    <a:cubicBezTo>
                      <a:pt x="1639" y="10651"/>
                      <a:pt x="2844" y="8410"/>
                      <a:pt x="4917" y="7374"/>
                    </a:cubicBezTo>
                    <a:cubicBezTo>
                      <a:pt x="15268" y="2199"/>
                      <a:pt x="23352" y="0"/>
                      <a:pt x="24581" y="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37" name="Freeform: Shape 736">
                <a:extLst>
                  <a:ext uri="{FF2B5EF4-FFF2-40B4-BE49-F238E27FC236}">
                    <a16:creationId xmlns:a16="http://schemas.microsoft.com/office/drawing/2014/main" id="{8FB02402-1DC1-4AAC-84EE-1A7EECDC2BCB}"/>
                  </a:ext>
                </a:extLst>
              </p:cNvPr>
              <p:cNvSpPr/>
              <p:nvPr/>
            </p:nvSpPr>
            <p:spPr>
              <a:xfrm>
                <a:off x="6425259" y="6746483"/>
                <a:ext cx="22761" cy="23027"/>
              </a:xfrm>
              <a:custGeom>
                <a:avLst/>
                <a:gdLst>
                  <a:gd name="connsiteX0" fmla="*/ 7496 w 22761"/>
                  <a:gd name="connsiteY0" fmla="*/ 904 h 23027"/>
                  <a:gd name="connsiteX1" fmla="*/ 22244 w 22761"/>
                  <a:gd name="connsiteY1" fmla="*/ 18111 h 23027"/>
                  <a:gd name="connsiteX2" fmla="*/ 14870 w 22761"/>
                  <a:gd name="connsiteY2" fmla="*/ 23027 h 23027"/>
                  <a:gd name="connsiteX3" fmla="*/ 2580 w 22761"/>
                  <a:gd name="connsiteY3" fmla="*/ 10736 h 23027"/>
                  <a:gd name="connsiteX4" fmla="*/ 122 w 22761"/>
                  <a:gd name="connsiteY4" fmla="*/ 3362 h 23027"/>
                  <a:gd name="connsiteX5" fmla="*/ 7496 w 22761"/>
                  <a:gd name="connsiteY5" fmla="*/ 904 h 230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761" h="23027">
                    <a:moveTo>
                      <a:pt x="7496" y="904"/>
                    </a:moveTo>
                    <a:cubicBezTo>
                      <a:pt x="11183" y="3362"/>
                      <a:pt x="25660" y="7863"/>
                      <a:pt x="22244" y="18111"/>
                    </a:cubicBezTo>
                    <a:cubicBezTo>
                      <a:pt x="21310" y="20914"/>
                      <a:pt x="17328" y="21388"/>
                      <a:pt x="14870" y="23027"/>
                    </a:cubicBezTo>
                    <a:cubicBezTo>
                      <a:pt x="7495" y="18110"/>
                      <a:pt x="6677" y="18931"/>
                      <a:pt x="2580" y="10736"/>
                    </a:cubicBezTo>
                    <a:cubicBezTo>
                      <a:pt x="1421" y="8419"/>
                      <a:pt x="-506" y="5876"/>
                      <a:pt x="122" y="3362"/>
                    </a:cubicBezTo>
                    <a:cubicBezTo>
                      <a:pt x="566" y="1585"/>
                      <a:pt x="3809" y="-1554"/>
                      <a:pt x="7496" y="90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38" name="Freeform: Shape 737">
                <a:extLst>
                  <a:ext uri="{FF2B5EF4-FFF2-40B4-BE49-F238E27FC236}">
                    <a16:creationId xmlns:a16="http://schemas.microsoft.com/office/drawing/2014/main" id="{5226E99B-4BA9-43E3-B92B-74AB2FAA3FEC}"/>
                  </a:ext>
                </a:extLst>
              </p:cNvPr>
              <p:cNvSpPr/>
              <p:nvPr/>
            </p:nvSpPr>
            <p:spPr>
              <a:xfrm>
                <a:off x="6833419" y="6668729"/>
                <a:ext cx="90949" cy="130277"/>
              </a:xfrm>
              <a:custGeom>
                <a:avLst/>
                <a:gdLst>
                  <a:gd name="connsiteX0" fmla="*/ 83575 w 90949"/>
                  <a:gd name="connsiteY0" fmla="*/ 0 h 130277"/>
                  <a:gd name="connsiteX1" fmla="*/ 68826 w 90949"/>
                  <a:gd name="connsiteY1" fmla="*/ 2458 h 130277"/>
                  <a:gd name="connsiteX2" fmla="*/ 58994 w 90949"/>
                  <a:gd name="connsiteY2" fmla="*/ 4916 h 130277"/>
                  <a:gd name="connsiteX3" fmla="*/ 49162 w 90949"/>
                  <a:gd name="connsiteY3" fmla="*/ 19665 h 130277"/>
                  <a:gd name="connsiteX4" fmla="*/ 44246 w 90949"/>
                  <a:gd name="connsiteY4" fmla="*/ 27039 h 130277"/>
                  <a:gd name="connsiteX5" fmla="*/ 29497 w 90949"/>
                  <a:gd name="connsiteY5" fmla="*/ 36871 h 130277"/>
                  <a:gd name="connsiteX6" fmla="*/ 22123 w 90949"/>
                  <a:gd name="connsiteY6" fmla="*/ 41787 h 130277"/>
                  <a:gd name="connsiteX7" fmla="*/ 4916 w 90949"/>
                  <a:gd name="connsiteY7" fmla="*/ 58994 h 130277"/>
                  <a:gd name="connsiteX8" fmla="*/ 0 w 90949"/>
                  <a:gd name="connsiteY8" fmla="*/ 66368 h 130277"/>
                  <a:gd name="connsiteX9" fmla="*/ 9833 w 90949"/>
                  <a:gd name="connsiteY9" fmla="*/ 78658 h 130277"/>
                  <a:gd name="connsiteX10" fmla="*/ 12291 w 90949"/>
                  <a:gd name="connsiteY10" fmla="*/ 86032 h 130277"/>
                  <a:gd name="connsiteX11" fmla="*/ 9833 w 90949"/>
                  <a:gd name="connsiteY11" fmla="*/ 93406 h 130277"/>
                  <a:gd name="connsiteX12" fmla="*/ 14749 w 90949"/>
                  <a:gd name="connsiteY12" fmla="*/ 108155 h 130277"/>
                  <a:gd name="connsiteX13" fmla="*/ 17207 w 90949"/>
                  <a:gd name="connsiteY13" fmla="*/ 115529 h 130277"/>
                  <a:gd name="connsiteX14" fmla="*/ 24581 w 90949"/>
                  <a:gd name="connsiteY14" fmla="*/ 130277 h 130277"/>
                  <a:gd name="connsiteX15" fmla="*/ 34413 w 90949"/>
                  <a:gd name="connsiteY15" fmla="*/ 125361 h 130277"/>
                  <a:gd name="connsiteX16" fmla="*/ 39329 w 90949"/>
                  <a:gd name="connsiteY16" fmla="*/ 117987 h 130277"/>
                  <a:gd name="connsiteX17" fmla="*/ 44246 w 90949"/>
                  <a:gd name="connsiteY17" fmla="*/ 113071 h 130277"/>
                  <a:gd name="connsiteX18" fmla="*/ 54078 w 90949"/>
                  <a:gd name="connsiteY18" fmla="*/ 98323 h 130277"/>
                  <a:gd name="connsiteX19" fmla="*/ 58994 w 90949"/>
                  <a:gd name="connsiteY19" fmla="*/ 83574 h 130277"/>
                  <a:gd name="connsiteX20" fmla="*/ 61452 w 90949"/>
                  <a:gd name="connsiteY20" fmla="*/ 76200 h 130277"/>
                  <a:gd name="connsiteX21" fmla="*/ 68826 w 90949"/>
                  <a:gd name="connsiteY21" fmla="*/ 71284 h 130277"/>
                  <a:gd name="connsiteX22" fmla="*/ 83575 w 90949"/>
                  <a:gd name="connsiteY22" fmla="*/ 68826 h 130277"/>
                  <a:gd name="connsiteX23" fmla="*/ 78658 w 90949"/>
                  <a:gd name="connsiteY23" fmla="*/ 61452 h 130277"/>
                  <a:gd name="connsiteX24" fmla="*/ 76200 w 90949"/>
                  <a:gd name="connsiteY24" fmla="*/ 54077 h 130277"/>
                  <a:gd name="connsiteX25" fmla="*/ 78658 w 90949"/>
                  <a:gd name="connsiteY25" fmla="*/ 44245 h 130277"/>
                  <a:gd name="connsiteX26" fmla="*/ 83575 w 90949"/>
                  <a:gd name="connsiteY26" fmla="*/ 29497 h 130277"/>
                  <a:gd name="connsiteX27" fmla="*/ 86033 w 90949"/>
                  <a:gd name="connsiteY27" fmla="*/ 22123 h 130277"/>
                  <a:gd name="connsiteX28" fmla="*/ 90949 w 90949"/>
                  <a:gd name="connsiteY28" fmla="*/ 17206 h 130277"/>
                  <a:gd name="connsiteX29" fmla="*/ 88491 w 90949"/>
                  <a:gd name="connsiteY29" fmla="*/ 2458 h 130277"/>
                  <a:gd name="connsiteX30" fmla="*/ 83575 w 90949"/>
                  <a:gd name="connsiteY30" fmla="*/ 0 h 1302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90949" h="130277">
                    <a:moveTo>
                      <a:pt x="83575" y="0"/>
                    </a:moveTo>
                    <a:cubicBezTo>
                      <a:pt x="80298" y="0"/>
                      <a:pt x="73713" y="1481"/>
                      <a:pt x="68826" y="2458"/>
                    </a:cubicBezTo>
                    <a:cubicBezTo>
                      <a:pt x="65513" y="3120"/>
                      <a:pt x="61536" y="2691"/>
                      <a:pt x="58994" y="4916"/>
                    </a:cubicBezTo>
                    <a:cubicBezTo>
                      <a:pt x="54547" y="8807"/>
                      <a:pt x="52439" y="14749"/>
                      <a:pt x="49162" y="19665"/>
                    </a:cubicBezTo>
                    <a:cubicBezTo>
                      <a:pt x="47523" y="22123"/>
                      <a:pt x="46704" y="25400"/>
                      <a:pt x="44246" y="27039"/>
                    </a:cubicBezTo>
                    <a:lnTo>
                      <a:pt x="29497" y="36871"/>
                    </a:lnTo>
                    <a:lnTo>
                      <a:pt x="22123" y="41787"/>
                    </a:lnTo>
                    <a:cubicBezTo>
                      <a:pt x="10854" y="58692"/>
                      <a:pt x="17896" y="54668"/>
                      <a:pt x="4916" y="58994"/>
                    </a:cubicBezTo>
                    <a:cubicBezTo>
                      <a:pt x="3277" y="61452"/>
                      <a:pt x="0" y="63414"/>
                      <a:pt x="0" y="66368"/>
                    </a:cubicBezTo>
                    <a:cubicBezTo>
                      <a:pt x="0" y="69470"/>
                      <a:pt x="7692" y="76518"/>
                      <a:pt x="9833" y="78658"/>
                    </a:cubicBezTo>
                    <a:cubicBezTo>
                      <a:pt x="10652" y="81116"/>
                      <a:pt x="12291" y="83441"/>
                      <a:pt x="12291" y="86032"/>
                    </a:cubicBezTo>
                    <a:cubicBezTo>
                      <a:pt x="12291" y="88623"/>
                      <a:pt x="9547" y="90831"/>
                      <a:pt x="9833" y="93406"/>
                    </a:cubicBezTo>
                    <a:cubicBezTo>
                      <a:pt x="10405" y="98557"/>
                      <a:pt x="13110" y="103239"/>
                      <a:pt x="14749" y="108155"/>
                    </a:cubicBezTo>
                    <a:cubicBezTo>
                      <a:pt x="15568" y="110613"/>
                      <a:pt x="15770" y="113373"/>
                      <a:pt x="17207" y="115529"/>
                    </a:cubicBezTo>
                    <a:cubicBezTo>
                      <a:pt x="23560" y="125059"/>
                      <a:pt x="21189" y="120100"/>
                      <a:pt x="24581" y="130277"/>
                    </a:cubicBezTo>
                    <a:cubicBezTo>
                      <a:pt x="27858" y="128638"/>
                      <a:pt x="31598" y="127707"/>
                      <a:pt x="34413" y="125361"/>
                    </a:cubicBezTo>
                    <a:cubicBezTo>
                      <a:pt x="36682" y="123470"/>
                      <a:pt x="37483" y="120294"/>
                      <a:pt x="39329" y="117987"/>
                    </a:cubicBezTo>
                    <a:cubicBezTo>
                      <a:pt x="40777" y="116177"/>
                      <a:pt x="42855" y="114925"/>
                      <a:pt x="44246" y="113071"/>
                    </a:cubicBezTo>
                    <a:cubicBezTo>
                      <a:pt x="47791" y="108344"/>
                      <a:pt x="54078" y="98323"/>
                      <a:pt x="54078" y="98323"/>
                    </a:cubicBezTo>
                    <a:lnTo>
                      <a:pt x="58994" y="83574"/>
                    </a:lnTo>
                    <a:cubicBezTo>
                      <a:pt x="59813" y="81116"/>
                      <a:pt x="59296" y="77637"/>
                      <a:pt x="61452" y="76200"/>
                    </a:cubicBezTo>
                    <a:lnTo>
                      <a:pt x="68826" y="71284"/>
                    </a:lnTo>
                    <a:cubicBezTo>
                      <a:pt x="70257" y="71642"/>
                      <a:pt x="83575" y="77957"/>
                      <a:pt x="83575" y="68826"/>
                    </a:cubicBezTo>
                    <a:cubicBezTo>
                      <a:pt x="83575" y="65872"/>
                      <a:pt x="80297" y="63910"/>
                      <a:pt x="78658" y="61452"/>
                    </a:cubicBezTo>
                    <a:cubicBezTo>
                      <a:pt x="77839" y="58994"/>
                      <a:pt x="76200" y="56668"/>
                      <a:pt x="76200" y="54077"/>
                    </a:cubicBezTo>
                    <a:cubicBezTo>
                      <a:pt x="76200" y="50699"/>
                      <a:pt x="77687" y="47481"/>
                      <a:pt x="78658" y="44245"/>
                    </a:cubicBezTo>
                    <a:cubicBezTo>
                      <a:pt x="80147" y="39282"/>
                      <a:pt x="81936" y="34413"/>
                      <a:pt x="83575" y="29497"/>
                    </a:cubicBezTo>
                    <a:cubicBezTo>
                      <a:pt x="84394" y="27039"/>
                      <a:pt x="84201" y="23955"/>
                      <a:pt x="86033" y="22123"/>
                    </a:cubicBezTo>
                    <a:lnTo>
                      <a:pt x="90949" y="17206"/>
                    </a:lnTo>
                    <a:cubicBezTo>
                      <a:pt x="90130" y="12290"/>
                      <a:pt x="90720" y="6916"/>
                      <a:pt x="88491" y="2458"/>
                    </a:cubicBezTo>
                    <a:cubicBezTo>
                      <a:pt x="87503" y="481"/>
                      <a:pt x="86852" y="0"/>
                      <a:pt x="83575" y="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39" name="Freeform: Shape 738">
                <a:extLst>
                  <a:ext uri="{FF2B5EF4-FFF2-40B4-BE49-F238E27FC236}">
                    <a16:creationId xmlns:a16="http://schemas.microsoft.com/office/drawing/2014/main" id="{4C6F7C4A-7127-496C-8E23-52D202ACD226}"/>
                  </a:ext>
                </a:extLst>
              </p:cNvPr>
              <p:cNvSpPr/>
              <p:nvPr/>
            </p:nvSpPr>
            <p:spPr>
              <a:xfrm>
                <a:off x="6766568" y="6676092"/>
                <a:ext cx="11834" cy="18176"/>
              </a:xfrm>
              <a:custGeom>
                <a:avLst/>
                <a:gdLst>
                  <a:gd name="connsiteX0" fmla="*/ 484 w 11834"/>
                  <a:gd name="connsiteY0" fmla="*/ 11 h 18176"/>
                  <a:gd name="connsiteX1" fmla="*/ 2942 w 11834"/>
                  <a:gd name="connsiteY1" fmla="*/ 14760 h 18176"/>
                  <a:gd name="connsiteX2" fmla="*/ 10316 w 11834"/>
                  <a:gd name="connsiteY2" fmla="*/ 17218 h 18176"/>
                  <a:gd name="connsiteX3" fmla="*/ 484 w 11834"/>
                  <a:gd name="connsiteY3" fmla="*/ 11 h 18176"/>
                </a:gdLst>
                <a:ahLst/>
                <a:cxnLst>
                  <a:cxn ang="0">
                    <a:pos x="connsiteX0" y="connsiteY0"/>
                  </a:cxn>
                  <a:cxn ang="0">
                    <a:pos x="connsiteX1" y="connsiteY1"/>
                  </a:cxn>
                  <a:cxn ang="0">
                    <a:pos x="connsiteX2" y="connsiteY2"/>
                  </a:cxn>
                  <a:cxn ang="0">
                    <a:pos x="connsiteX3" y="connsiteY3"/>
                  </a:cxn>
                </a:cxnLst>
                <a:rect l="l" t="t" r="r" b="b"/>
                <a:pathLst>
                  <a:path w="11834" h="18176">
                    <a:moveTo>
                      <a:pt x="484" y="11"/>
                    </a:moveTo>
                    <a:cubicBezTo>
                      <a:pt x="-745" y="-399"/>
                      <a:pt x="469" y="10432"/>
                      <a:pt x="2942" y="14760"/>
                    </a:cubicBezTo>
                    <a:cubicBezTo>
                      <a:pt x="4227" y="17010"/>
                      <a:pt x="9354" y="19624"/>
                      <a:pt x="10316" y="17218"/>
                    </a:cubicBezTo>
                    <a:cubicBezTo>
                      <a:pt x="16538" y="1661"/>
                      <a:pt x="1713" y="421"/>
                      <a:pt x="484" y="11"/>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40" name="Freeform: Shape 739">
                <a:extLst>
                  <a:ext uri="{FF2B5EF4-FFF2-40B4-BE49-F238E27FC236}">
                    <a16:creationId xmlns:a16="http://schemas.microsoft.com/office/drawing/2014/main" id="{215350A0-F355-4E16-96DA-267A55247604}"/>
                  </a:ext>
                </a:extLst>
              </p:cNvPr>
              <p:cNvSpPr/>
              <p:nvPr/>
            </p:nvSpPr>
            <p:spPr>
              <a:xfrm>
                <a:off x="6693162" y="6575276"/>
                <a:ext cx="37019" cy="44350"/>
              </a:xfrm>
              <a:custGeom>
                <a:avLst/>
                <a:gdLst>
                  <a:gd name="connsiteX0" fmla="*/ 148 w 37019"/>
                  <a:gd name="connsiteY0" fmla="*/ 47 h 44350"/>
                  <a:gd name="connsiteX1" fmla="*/ 9980 w 37019"/>
                  <a:gd name="connsiteY1" fmla="*/ 12337 h 44350"/>
                  <a:gd name="connsiteX2" fmla="*/ 24728 w 37019"/>
                  <a:gd name="connsiteY2" fmla="*/ 17253 h 44350"/>
                  <a:gd name="connsiteX3" fmla="*/ 29644 w 37019"/>
                  <a:gd name="connsiteY3" fmla="*/ 24627 h 44350"/>
                  <a:gd name="connsiteX4" fmla="*/ 37019 w 37019"/>
                  <a:gd name="connsiteY4" fmla="*/ 39376 h 44350"/>
                  <a:gd name="connsiteX5" fmla="*/ 29644 w 37019"/>
                  <a:gd name="connsiteY5" fmla="*/ 44292 h 44350"/>
                  <a:gd name="connsiteX6" fmla="*/ 24728 w 37019"/>
                  <a:gd name="connsiteY6" fmla="*/ 36918 h 44350"/>
                  <a:gd name="connsiteX7" fmla="*/ 19812 w 37019"/>
                  <a:gd name="connsiteY7" fmla="*/ 22169 h 44350"/>
                  <a:gd name="connsiteX8" fmla="*/ 5064 w 37019"/>
                  <a:gd name="connsiteY8" fmla="*/ 17253 h 44350"/>
                  <a:gd name="connsiteX9" fmla="*/ 148 w 37019"/>
                  <a:gd name="connsiteY9" fmla="*/ 47 h 44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019" h="44350">
                    <a:moveTo>
                      <a:pt x="148" y="47"/>
                    </a:moveTo>
                    <a:cubicBezTo>
                      <a:pt x="967" y="-772"/>
                      <a:pt x="5682" y="9328"/>
                      <a:pt x="9980" y="12337"/>
                    </a:cubicBezTo>
                    <a:cubicBezTo>
                      <a:pt x="14225" y="15309"/>
                      <a:pt x="24728" y="17253"/>
                      <a:pt x="24728" y="17253"/>
                    </a:cubicBezTo>
                    <a:cubicBezTo>
                      <a:pt x="26367" y="19711"/>
                      <a:pt x="28323" y="21985"/>
                      <a:pt x="29644" y="24627"/>
                    </a:cubicBezTo>
                    <a:cubicBezTo>
                      <a:pt x="39825" y="44986"/>
                      <a:pt x="22927" y="18235"/>
                      <a:pt x="37019" y="39376"/>
                    </a:cubicBezTo>
                    <a:cubicBezTo>
                      <a:pt x="34561" y="41015"/>
                      <a:pt x="32541" y="44871"/>
                      <a:pt x="29644" y="44292"/>
                    </a:cubicBezTo>
                    <a:cubicBezTo>
                      <a:pt x="26747" y="43713"/>
                      <a:pt x="25928" y="39618"/>
                      <a:pt x="24728" y="36918"/>
                    </a:cubicBezTo>
                    <a:cubicBezTo>
                      <a:pt x="22623" y="32182"/>
                      <a:pt x="24728" y="23808"/>
                      <a:pt x="19812" y="22169"/>
                    </a:cubicBezTo>
                    <a:lnTo>
                      <a:pt x="5064" y="17253"/>
                    </a:lnTo>
                    <a:cubicBezTo>
                      <a:pt x="2027" y="8141"/>
                      <a:pt x="-671" y="866"/>
                      <a:pt x="148" y="47"/>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41" name="Freeform: Shape 740">
                <a:extLst>
                  <a:ext uri="{FF2B5EF4-FFF2-40B4-BE49-F238E27FC236}">
                    <a16:creationId xmlns:a16="http://schemas.microsoft.com/office/drawing/2014/main" id="{C6C2EEE9-B402-446E-B349-153E16227B32}"/>
                  </a:ext>
                </a:extLst>
              </p:cNvPr>
              <p:cNvSpPr/>
              <p:nvPr/>
            </p:nvSpPr>
            <p:spPr>
              <a:xfrm>
                <a:off x="5695335" y="6386052"/>
                <a:ext cx="15483" cy="10269"/>
              </a:xfrm>
              <a:custGeom>
                <a:avLst/>
                <a:gdLst>
                  <a:gd name="connsiteX0" fmla="*/ 2459 w 15483"/>
                  <a:gd name="connsiteY0" fmla="*/ 4916 h 10269"/>
                  <a:gd name="connsiteX1" fmla="*/ 14749 w 15483"/>
                  <a:gd name="connsiteY1" fmla="*/ 9832 h 10269"/>
                  <a:gd name="connsiteX2" fmla="*/ 7375 w 15483"/>
                  <a:gd name="connsiteY2" fmla="*/ 2458 h 10269"/>
                  <a:gd name="connsiteX3" fmla="*/ 0 w 15483"/>
                  <a:gd name="connsiteY3" fmla="*/ 0 h 10269"/>
                  <a:gd name="connsiteX4" fmla="*/ 2459 w 15483"/>
                  <a:gd name="connsiteY4" fmla="*/ 4916 h 102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83" h="10269">
                    <a:moveTo>
                      <a:pt x="2459" y="4916"/>
                    </a:moveTo>
                    <a:cubicBezTo>
                      <a:pt x="4917" y="6555"/>
                      <a:pt x="10803" y="11805"/>
                      <a:pt x="14749" y="9832"/>
                    </a:cubicBezTo>
                    <a:cubicBezTo>
                      <a:pt x="17858" y="8277"/>
                      <a:pt x="10267" y="4386"/>
                      <a:pt x="7375" y="2458"/>
                    </a:cubicBezTo>
                    <a:cubicBezTo>
                      <a:pt x="5219" y="1021"/>
                      <a:pt x="2458" y="819"/>
                      <a:pt x="0" y="0"/>
                    </a:cubicBezTo>
                    <a:cubicBezTo>
                      <a:pt x="3496" y="10483"/>
                      <a:pt x="1" y="3277"/>
                      <a:pt x="2459" y="4916"/>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42" name="Freeform: Shape 741">
                <a:extLst>
                  <a:ext uri="{FF2B5EF4-FFF2-40B4-BE49-F238E27FC236}">
                    <a16:creationId xmlns:a16="http://schemas.microsoft.com/office/drawing/2014/main" id="{33E566E2-459B-45FA-98C0-6D4E31128AB1}"/>
                  </a:ext>
                </a:extLst>
              </p:cNvPr>
              <p:cNvSpPr/>
              <p:nvPr/>
            </p:nvSpPr>
            <p:spPr>
              <a:xfrm>
                <a:off x="6187435" y="6542754"/>
                <a:ext cx="14824" cy="20333"/>
              </a:xfrm>
              <a:custGeom>
                <a:avLst/>
                <a:gdLst>
                  <a:gd name="connsiteX0" fmla="*/ 75 w 14824"/>
                  <a:gd name="connsiteY0" fmla="*/ 669 h 20333"/>
                  <a:gd name="connsiteX1" fmla="*/ 7450 w 14824"/>
                  <a:gd name="connsiteY1" fmla="*/ 12959 h 20333"/>
                  <a:gd name="connsiteX2" fmla="*/ 9908 w 14824"/>
                  <a:gd name="connsiteY2" fmla="*/ 20333 h 20333"/>
                  <a:gd name="connsiteX3" fmla="*/ 14824 w 14824"/>
                  <a:gd name="connsiteY3" fmla="*/ 12959 h 20333"/>
                  <a:gd name="connsiteX4" fmla="*/ 12366 w 14824"/>
                  <a:gd name="connsiteY4" fmla="*/ 5585 h 20333"/>
                  <a:gd name="connsiteX5" fmla="*/ 75 w 14824"/>
                  <a:gd name="connsiteY5" fmla="*/ 669 h 20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4824" h="20333">
                    <a:moveTo>
                      <a:pt x="75" y="669"/>
                    </a:moveTo>
                    <a:cubicBezTo>
                      <a:pt x="-744" y="1898"/>
                      <a:pt x="5313" y="8686"/>
                      <a:pt x="7450" y="12959"/>
                    </a:cubicBezTo>
                    <a:cubicBezTo>
                      <a:pt x="8609" y="15276"/>
                      <a:pt x="7317" y="20333"/>
                      <a:pt x="9908" y="20333"/>
                    </a:cubicBezTo>
                    <a:cubicBezTo>
                      <a:pt x="12862" y="20333"/>
                      <a:pt x="13185" y="15417"/>
                      <a:pt x="14824" y="12959"/>
                    </a:cubicBezTo>
                    <a:cubicBezTo>
                      <a:pt x="14005" y="10501"/>
                      <a:pt x="13985" y="7608"/>
                      <a:pt x="12366" y="5585"/>
                    </a:cubicBezTo>
                    <a:cubicBezTo>
                      <a:pt x="7342" y="-695"/>
                      <a:pt x="894" y="-560"/>
                      <a:pt x="75" y="669"/>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43" name="Freeform: Shape 742">
                <a:extLst>
                  <a:ext uri="{FF2B5EF4-FFF2-40B4-BE49-F238E27FC236}">
                    <a16:creationId xmlns:a16="http://schemas.microsoft.com/office/drawing/2014/main" id="{55C5980F-9170-41E0-8543-2BFED1848A2F}"/>
                  </a:ext>
                </a:extLst>
              </p:cNvPr>
              <p:cNvSpPr/>
              <p:nvPr/>
            </p:nvSpPr>
            <p:spPr>
              <a:xfrm>
                <a:off x="6218640" y="6907148"/>
                <a:ext cx="12931" cy="15431"/>
              </a:xfrm>
              <a:custGeom>
                <a:avLst/>
                <a:gdLst>
                  <a:gd name="connsiteX0" fmla="*/ 263 w 12931"/>
                  <a:gd name="connsiteY0" fmla="*/ 13 h 15431"/>
                  <a:gd name="connsiteX1" fmla="*/ 5179 w 12931"/>
                  <a:gd name="connsiteY1" fmla="*/ 12304 h 15431"/>
                  <a:gd name="connsiteX2" fmla="*/ 12554 w 12931"/>
                  <a:gd name="connsiteY2" fmla="*/ 14762 h 15431"/>
                  <a:gd name="connsiteX3" fmla="*/ 263 w 12931"/>
                  <a:gd name="connsiteY3" fmla="*/ 13 h 15431"/>
                </a:gdLst>
                <a:ahLst/>
                <a:cxnLst>
                  <a:cxn ang="0">
                    <a:pos x="connsiteX0" y="connsiteY0"/>
                  </a:cxn>
                  <a:cxn ang="0">
                    <a:pos x="connsiteX1" y="connsiteY1"/>
                  </a:cxn>
                  <a:cxn ang="0">
                    <a:pos x="connsiteX2" y="connsiteY2"/>
                  </a:cxn>
                  <a:cxn ang="0">
                    <a:pos x="connsiteX3" y="connsiteY3"/>
                  </a:cxn>
                </a:cxnLst>
                <a:rect l="l" t="t" r="r" b="b"/>
                <a:pathLst>
                  <a:path w="12931" h="15431">
                    <a:moveTo>
                      <a:pt x="263" y="13"/>
                    </a:moveTo>
                    <a:cubicBezTo>
                      <a:pt x="-966" y="-397"/>
                      <a:pt x="2354" y="8914"/>
                      <a:pt x="5179" y="12304"/>
                    </a:cubicBezTo>
                    <a:cubicBezTo>
                      <a:pt x="6838" y="14295"/>
                      <a:pt x="10722" y="16594"/>
                      <a:pt x="12554" y="14762"/>
                    </a:cubicBezTo>
                    <a:cubicBezTo>
                      <a:pt x="15378" y="11937"/>
                      <a:pt x="1492" y="423"/>
                      <a:pt x="263" y="1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44" name="Freeform: Shape 743">
                <a:extLst>
                  <a:ext uri="{FF2B5EF4-FFF2-40B4-BE49-F238E27FC236}">
                    <a16:creationId xmlns:a16="http://schemas.microsoft.com/office/drawing/2014/main" id="{66D5ECC5-AF46-488D-9F70-949E60CE97AE}"/>
                  </a:ext>
                </a:extLst>
              </p:cNvPr>
              <p:cNvSpPr/>
              <p:nvPr/>
            </p:nvSpPr>
            <p:spPr>
              <a:xfrm>
                <a:off x="6201487" y="6643836"/>
                <a:ext cx="24935" cy="17519"/>
              </a:xfrm>
              <a:custGeom>
                <a:avLst/>
                <a:gdLst>
                  <a:gd name="connsiteX0" fmla="*/ 19874 w 24935"/>
                  <a:gd name="connsiteY0" fmla="*/ 312 h 17519"/>
                  <a:gd name="connsiteX1" fmla="*/ 210 w 24935"/>
                  <a:gd name="connsiteY1" fmla="*/ 10145 h 17519"/>
                  <a:gd name="connsiteX2" fmla="*/ 2668 w 24935"/>
                  <a:gd name="connsiteY2" fmla="*/ 17519 h 17519"/>
                  <a:gd name="connsiteX3" fmla="*/ 17416 w 24935"/>
                  <a:gd name="connsiteY3" fmla="*/ 7687 h 17519"/>
                  <a:gd name="connsiteX4" fmla="*/ 24790 w 24935"/>
                  <a:gd name="connsiteY4" fmla="*/ 2770 h 17519"/>
                  <a:gd name="connsiteX5" fmla="*/ 19874 w 24935"/>
                  <a:gd name="connsiteY5" fmla="*/ 312 h 17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935" h="17519">
                    <a:moveTo>
                      <a:pt x="19874" y="312"/>
                    </a:moveTo>
                    <a:cubicBezTo>
                      <a:pt x="15777" y="1541"/>
                      <a:pt x="1612" y="6639"/>
                      <a:pt x="210" y="10145"/>
                    </a:cubicBezTo>
                    <a:cubicBezTo>
                      <a:pt x="-752" y="12551"/>
                      <a:pt x="1849" y="15061"/>
                      <a:pt x="2668" y="17519"/>
                    </a:cubicBezTo>
                    <a:cubicBezTo>
                      <a:pt x="15626" y="13200"/>
                      <a:pt x="5143" y="17915"/>
                      <a:pt x="17416" y="7687"/>
                    </a:cubicBezTo>
                    <a:cubicBezTo>
                      <a:pt x="19686" y="5796"/>
                      <a:pt x="23151" y="5228"/>
                      <a:pt x="24790" y="2770"/>
                    </a:cubicBezTo>
                    <a:cubicBezTo>
                      <a:pt x="25433" y="1806"/>
                      <a:pt x="23971" y="-917"/>
                      <a:pt x="19874" y="312"/>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45" name="Freeform: Shape 744">
                <a:extLst>
                  <a:ext uri="{FF2B5EF4-FFF2-40B4-BE49-F238E27FC236}">
                    <a16:creationId xmlns:a16="http://schemas.microsoft.com/office/drawing/2014/main" id="{EF9A5A9F-6F37-4890-9694-8F3F21FFE0BB}"/>
                  </a:ext>
                </a:extLst>
              </p:cNvPr>
              <p:cNvSpPr/>
              <p:nvPr/>
            </p:nvSpPr>
            <p:spPr>
              <a:xfrm>
                <a:off x="6205376" y="6569226"/>
                <a:ext cx="21046" cy="19664"/>
              </a:xfrm>
              <a:custGeom>
                <a:avLst/>
                <a:gdLst>
                  <a:gd name="connsiteX0" fmla="*/ 1172 w 21046"/>
                  <a:gd name="connsiteY0" fmla="*/ 19664 h 19664"/>
                  <a:gd name="connsiteX1" fmla="*/ 3630 w 21046"/>
                  <a:gd name="connsiteY1" fmla="*/ 7374 h 19664"/>
                  <a:gd name="connsiteX2" fmla="*/ 11004 w 21046"/>
                  <a:gd name="connsiteY2" fmla="*/ 4916 h 19664"/>
                  <a:gd name="connsiteX3" fmla="*/ 18378 w 21046"/>
                  <a:gd name="connsiteY3" fmla="*/ 0 h 19664"/>
                  <a:gd name="connsiteX4" fmla="*/ 20836 w 21046"/>
                  <a:gd name="connsiteY4" fmla="*/ 7374 h 19664"/>
                  <a:gd name="connsiteX5" fmla="*/ 1172 w 21046"/>
                  <a:gd name="connsiteY5" fmla="*/ 19664 h 19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46" h="19664">
                    <a:moveTo>
                      <a:pt x="1172" y="19664"/>
                    </a:moveTo>
                    <a:cubicBezTo>
                      <a:pt x="-1696" y="19664"/>
                      <a:pt x="1313" y="10850"/>
                      <a:pt x="3630" y="7374"/>
                    </a:cubicBezTo>
                    <a:cubicBezTo>
                      <a:pt x="5067" y="5218"/>
                      <a:pt x="8687" y="6075"/>
                      <a:pt x="11004" y="4916"/>
                    </a:cubicBezTo>
                    <a:cubicBezTo>
                      <a:pt x="13646" y="3595"/>
                      <a:pt x="15920" y="1639"/>
                      <a:pt x="18378" y="0"/>
                    </a:cubicBezTo>
                    <a:cubicBezTo>
                      <a:pt x="19197" y="2458"/>
                      <a:pt x="21798" y="4968"/>
                      <a:pt x="20836" y="7374"/>
                    </a:cubicBezTo>
                    <a:cubicBezTo>
                      <a:pt x="18688" y="12744"/>
                      <a:pt x="4040" y="19664"/>
                      <a:pt x="1172" y="1966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46" name="Freeform: Shape 745">
                <a:extLst>
                  <a:ext uri="{FF2B5EF4-FFF2-40B4-BE49-F238E27FC236}">
                    <a16:creationId xmlns:a16="http://schemas.microsoft.com/office/drawing/2014/main" id="{D6204564-3F41-4570-8999-39A080643D82}"/>
                  </a:ext>
                </a:extLst>
              </p:cNvPr>
              <p:cNvSpPr/>
              <p:nvPr/>
            </p:nvSpPr>
            <p:spPr>
              <a:xfrm>
                <a:off x="6774357" y="6889589"/>
                <a:ext cx="16258" cy="29863"/>
              </a:xfrm>
              <a:custGeom>
                <a:avLst/>
                <a:gdLst>
                  <a:gd name="connsiteX0" fmla="*/ 14817 w 16258"/>
                  <a:gd name="connsiteY0" fmla="*/ 366 h 29863"/>
                  <a:gd name="connsiteX1" fmla="*/ 4985 w 16258"/>
                  <a:gd name="connsiteY1" fmla="*/ 12656 h 29863"/>
                  <a:gd name="connsiteX2" fmla="*/ 69 w 16258"/>
                  <a:gd name="connsiteY2" fmla="*/ 20030 h 29863"/>
                  <a:gd name="connsiteX3" fmla="*/ 2527 w 16258"/>
                  <a:gd name="connsiteY3" fmla="*/ 29863 h 29863"/>
                  <a:gd name="connsiteX4" fmla="*/ 9901 w 16258"/>
                  <a:gd name="connsiteY4" fmla="*/ 27405 h 29863"/>
                  <a:gd name="connsiteX5" fmla="*/ 14817 w 16258"/>
                  <a:gd name="connsiteY5" fmla="*/ 366 h 29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258" h="29863">
                    <a:moveTo>
                      <a:pt x="14817" y="366"/>
                    </a:moveTo>
                    <a:cubicBezTo>
                      <a:pt x="13998" y="-2092"/>
                      <a:pt x="8133" y="8459"/>
                      <a:pt x="4985" y="12656"/>
                    </a:cubicBezTo>
                    <a:cubicBezTo>
                      <a:pt x="3213" y="15019"/>
                      <a:pt x="487" y="17106"/>
                      <a:pt x="69" y="20030"/>
                    </a:cubicBezTo>
                    <a:cubicBezTo>
                      <a:pt x="-409" y="23375"/>
                      <a:pt x="1708" y="26585"/>
                      <a:pt x="2527" y="29863"/>
                    </a:cubicBezTo>
                    <a:cubicBezTo>
                      <a:pt x="4985" y="29044"/>
                      <a:pt x="7679" y="28738"/>
                      <a:pt x="9901" y="27405"/>
                    </a:cubicBezTo>
                    <a:cubicBezTo>
                      <a:pt x="19451" y="21674"/>
                      <a:pt x="15636" y="2824"/>
                      <a:pt x="14817" y="366"/>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47" name="Freeform: Shape 746">
                <a:extLst>
                  <a:ext uri="{FF2B5EF4-FFF2-40B4-BE49-F238E27FC236}">
                    <a16:creationId xmlns:a16="http://schemas.microsoft.com/office/drawing/2014/main" id="{E712CADE-C64A-4602-ACBB-B4BCD938F733}"/>
                  </a:ext>
                </a:extLst>
              </p:cNvPr>
              <p:cNvSpPr/>
              <p:nvPr/>
            </p:nvSpPr>
            <p:spPr>
              <a:xfrm>
                <a:off x="6853084" y="6646606"/>
                <a:ext cx="15689" cy="12831"/>
              </a:xfrm>
              <a:custGeom>
                <a:avLst/>
                <a:gdLst>
                  <a:gd name="connsiteX0" fmla="*/ 2458 w 15689"/>
                  <a:gd name="connsiteY0" fmla="*/ 9833 h 12831"/>
                  <a:gd name="connsiteX1" fmla="*/ 14748 w 15689"/>
                  <a:gd name="connsiteY1" fmla="*/ 12291 h 12831"/>
                  <a:gd name="connsiteX2" fmla="*/ 7374 w 15689"/>
                  <a:gd name="connsiteY2" fmla="*/ 0 h 12831"/>
                  <a:gd name="connsiteX3" fmla="*/ 0 w 15689"/>
                  <a:gd name="connsiteY3" fmla="*/ 2459 h 12831"/>
                  <a:gd name="connsiteX4" fmla="*/ 2458 w 15689"/>
                  <a:gd name="connsiteY4" fmla="*/ 9833 h 128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689" h="12831">
                    <a:moveTo>
                      <a:pt x="2458" y="9833"/>
                    </a:moveTo>
                    <a:cubicBezTo>
                      <a:pt x="6555" y="10652"/>
                      <a:pt x="11011" y="14159"/>
                      <a:pt x="14748" y="12291"/>
                    </a:cubicBezTo>
                    <a:cubicBezTo>
                      <a:pt x="19002" y="10164"/>
                      <a:pt x="7463" y="89"/>
                      <a:pt x="7374" y="0"/>
                    </a:cubicBezTo>
                    <a:cubicBezTo>
                      <a:pt x="4916" y="820"/>
                      <a:pt x="0" y="-132"/>
                      <a:pt x="0" y="2459"/>
                    </a:cubicBezTo>
                    <a:lnTo>
                      <a:pt x="2458" y="9833"/>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48" name="Freeform: Shape 747">
                <a:extLst>
                  <a:ext uri="{FF2B5EF4-FFF2-40B4-BE49-F238E27FC236}">
                    <a16:creationId xmlns:a16="http://schemas.microsoft.com/office/drawing/2014/main" id="{DDC1B261-5BD4-44E2-B5D3-73F669512F32}"/>
                  </a:ext>
                </a:extLst>
              </p:cNvPr>
              <p:cNvSpPr/>
              <p:nvPr/>
            </p:nvSpPr>
            <p:spPr>
              <a:xfrm>
                <a:off x="6639263" y="6693205"/>
                <a:ext cx="29466" cy="14853"/>
              </a:xfrm>
              <a:custGeom>
                <a:avLst/>
                <a:gdLst>
                  <a:gd name="connsiteX0" fmla="*/ 2427 w 29466"/>
                  <a:gd name="connsiteY0" fmla="*/ 9937 h 14853"/>
                  <a:gd name="connsiteX1" fmla="*/ 14718 w 29466"/>
                  <a:gd name="connsiteY1" fmla="*/ 12395 h 14853"/>
                  <a:gd name="connsiteX2" fmla="*/ 22092 w 29466"/>
                  <a:gd name="connsiteY2" fmla="*/ 14853 h 14853"/>
                  <a:gd name="connsiteX3" fmla="*/ 29466 w 29466"/>
                  <a:gd name="connsiteY3" fmla="*/ 12395 h 14853"/>
                  <a:gd name="connsiteX4" fmla="*/ 19634 w 29466"/>
                  <a:gd name="connsiteY4" fmla="*/ 105 h 14853"/>
                  <a:gd name="connsiteX5" fmla="*/ 4885 w 29466"/>
                  <a:gd name="connsiteY5" fmla="*/ 5021 h 14853"/>
                  <a:gd name="connsiteX6" fmla="*/ 2427 w 29466"/>
                  <a:gd name="connsiteY6" fmla="*/ 9937 h 14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466" h="14853">
                    <a:moveTo>
                      <a:pt x="2427" y="9937"/>
                    </a:moveTo>
                    <a:cubicBezTo>
                      <a:pt x="4066" y="11166"/>
                      <a:pt x="10665" y="11382"/>
                      <a:pt x="14718" y="12395"/>
                    </a:cubicBezTo>
                    <a:cubicBezTo>
                      <a:pt x="17232" y="13023"/>
                      <a:pt x="19501" y="14853"/>
                      <a:pt x="22092" y="14853"/>
                    </a:cubicBezTo>
                    <a:cubicBezTo>
                      <a:pt x="24683" y="14853"/>
                      <a:pt x="27008" y="13214"/>
                      <a:pt x="29466" y="12395"/>
                    </a:cubicBezTo>
                    <a:cubicBezTo>
                      <a:pt x="27871" y="6014"/>
                      <a:pt x="29069" y="-943"/>
                      <a:pt x="19634" y="105"/>
                    </a:cubicBezTo>
                    <a:cubicBezTo>
                      <a:pt x="14483" y="677"/>
                      <a:pt x="4885" y="5021"/>
                      <a:pt x="4885" y="5021"/>
                    </a:cubicBezTo>
                    <a:cubicBezTo>
                      <a:pt x="-3171" y="10391"/>
                      <a:pt x="788" y="8708"/>
                      <a:pt x="2427" y="9937"/>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49" name="Freeform: Shape 748">
                <a:extLst>
                  <a:ext uri="{FF2B5EF4-FFF2-40B4-BE49-F238E27FC236}">
                    <a16:creationId xmlns:a16="http://schemas.microsoft.com/office/drawing/2014/main" id="{191168DC-C11C-4E93-BF74-03F2F5EA1DAF}"/>
                  </a:ext>
                </a:extLst>
              </p:cNvPr>
              <p:cNvSpPr/>
              <p:nvPr/>
            </p:nvSpPr>
            <p:spPr>
              <a:xfrm>
                <a:off x="6579110" y="6757219"/>
                <a:ext cx="22476" cy="12924"/>
              </a:xfrm>
              <a:custGeom>
                <a:avLst/>
                <a:gdLst>
                  <a:gd name="connsiteX0" fmla="*/ 1129 w 22476"/>
                  <a:gd name="connsiteY0" fmla="*/ 7375 h 12924"/>
                  <a:gd name="connsiteX1" fmla="*/ 13419 w 22476"/>
                  <a:gd name="connsiteY1" fmla="*/ 9833 h 12924"/>
                  <a:gd name="connsiteX2" fmla="*/ 20793 w 22476"/>
                  <a:gd name="connsiteY2" fmla="*/ 12291 h 12924"/>
                  <a:gd name="connsiteX3" fmla="*/ 10961 w 22476"/>
                  <a:gd name="connsiteY3" fmla="*/ 0 h 12924"/>
                  <a:gd name="connsiteX4" fmla="*/ 3587 w 22476"/>
                  <a:gd name="connsiteY4" fmla="*/ 2458 h 12924"/>
                  <a:gd name="connsiteX5" fmla="*/ 1129 w 22476"/>
                  <a:gd name="connsiteY5" fmla="*/ 7375 h 129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476" h="12924">
                    <a:moveTo>
                      <a:pt x="1129" y="7375"/>
                    </a:moveTo>
                    <a:cubicBezTo>
                      <a:pt x="2768" y="8604"/>
                      <a:pt x="9366" y="8820"/>
                      <a:pt x="13419" y="9833"/>
                    </a:cubicBezTo>
                    <a:cubicBezTo>
                      <a:pt x="15933" y="10461"/>
                      <a:pt x="19356" y="14447"/>
                      <a:pt x="20793" y="12291"/>
                    </a:cubicBezTo>
                    <a:cubicBezTo>
                      <a:pt x="26966" y="3031"/>
                      <a:pt x="14439" y="1159"/>
                      <a:pt x="10961" y="0"/>
                    </a:cubicBezTo>
                    <a:cubicBezTo>
                      <a:pt x="8503" y="819"/>
                      <a:pt x="4746" y="141"/>
                      <a:pt x="3587" y="2458"/>
                    </a:cubicBezTo>
                    <a:cubicBezTo>
                      <a:pt x="-877" y="11388"/>
                      <a:pt x="-510" y="6146"/>
                      <a:pt x="1129" y="7375"/>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sp>
          <p:nvSpPr>
            <p:cNvPr id="344" name="Forma libre: forma 236">
              <a:extLst>
                <a:ext uri="{FF2B5EF4-FFF2-40B4-BE49-F238E27FC236}">
                  <a16:creationId xmlns:a16="http://schemas.microsoft.com/office/drawing/2014/main" id="{306B3C18-C4DF-4952-A84D-EB236ADB0BA6}"/>
                </a:ext>
              </a:extLst>
            </p:cNvPr>
            <p:cNvSpPr/>
            <p:nvPr/>
          </p:nvSpPr>
          <p:spPr>
            <a:xfrm>
              <a:off x="10260607" y="6128751"/>
              <a:ext cx="311430" cy="289747"/>
            </a:xfrm>
            <a:custGeom>
              <a:avLst/>
              <a:gdLst>
                <a:gd name="connsiteX0" fmla="*/ 98425 w 311430"/>
                <a:gd name="connsiteY0" fmla="*/ 125802 h 289661"/>
                <a:gd name="connsiteX1" fmla="*/ 106362 w 311430"/>
                <a:gd name="connsiteY1" fmla="*/ 124215 h 289661"/>
                <a:gd name="connsiteX2" fmla="*/ 120650 w 311430"/>
                <a:gd name="connsiteY2" fmla="*/ 125802 h 289661"/>
                <a:gd name="connsiteX3" fmla="*/ 139700 w 311430"/>
                <a:gd name="connsiteY3" fmla="*/ 121040 h 289661"/>
                <a:gd name="connsiteX4" fmla="*/ 144462 w 311430"/>
                <a:gd name="connsiteY4" fmla="*/ 117865 h 289661"/>
                <a:gd name="connsiteX5" fmla="*/ 165100 w 311430"/>
                <a:gd name="connsiteY5" fmla="*/ 121040 h 289661"/>
                <a:gd name="connsiteX6" fmla="*/ 180975 w 311430"/>
                <a:gd name="connsiteY6" fmla="*/ 114690 h 289661"/>
                <a:gd name="connsiteX7" fmla="*/ 184150 w 311430"/>
                <a:gd name="connsiteY7" fmla="*/ 105165 h 289661"/>
                <a:gd name="connsiteX8" fmla="*/ 195262 w 311430"/>
                <a:gd name="connsiteY8" fmla="*/ 100402 h 289661"/>
                <a:gd name="connsiteX9" fmla="*/ 204787 w 311430"/>
                <a:gd name="connsiteY9" fmla="*/ 87702 h 289661"/>
                <a:gd name="connsiteX10" fmla="*/ 207962 w 311430"/>
                <a:gd name="connsiteY10" fmla="*/ 82940 h 289661"/>
                <a:gd name="connsiteX11" fmla="*/ 212725 w 311430"/>
                <a:gd name="connsiteY11" fmla="*/ 81352 h 289661"/>
                <a:gd name="connsiteX12" fmla="*/ 223837 w 311430"/>
                <a:gd name="connsiteY12" fmla="*/ 78177 h 289661"/>
                <a:gd name="connsiteX13" fmla="*/ 227012 w 311430"/>
                <a:gd name="connsiteY13" fmla="*/ 73415 h 289661"/>
                <a:gd name="connsiteX14" fmla="*/ 241300 w 311430"/>
                <a:gd name="connsiteY14" fmla="*/ 62302 h 289661"/>
                <a:gd name="connsiteX15" fmla="*/ 246062 w 311430"/>
                <a:gd name="connsiteY15" fmla="*/ 55952 h 289661"/>
                <a:gd name="connsiteX16" fmla="*/ 249237 w 311430"/>
                <a:gd name="connsiteY16" fmla="*/ 49602 h 289661"/>
                <a:gd name="connsiteX17" fmla="*/ 254000 w 311430"/>
                <a:gd name="connsiteY17" fmla="*/ 48015 h 289661"/>
                <a:gd name="connsiteX18" fmla="*/ 263525 w 311430"/>
                <a:gd name="connsiteY18" fmla="*/ 46427 h 289661"/>
                <a:gd name="connsiteX19" fmla="*/ 271462 w 311430"/>
                <a:gd name="connsiteY19" fmla="*/ 33727 h 289661"/>
                <a:gd name="connsiteX20" fmla="*/ 273050 w 311430"/>
                <a:gd name="connsiteY20" fmla="*/ 25790 h 289661"/>
                <a:gd name="connsiteX21" fmla="*/ 288925 w 311430"/>
                <a:gd name="connsiteY21" fmla="*/ 21027 h 289661"/>
                <a:gd name="connsiteX22" fmla="*/ 298450 w 311430"/>
                <a:gd name="connsiteY22" fmla="*/ 13090 h 289661"/>
                <a:gd name="connsiteX23" fmla="*/ 303212 w 311430"/>
                <a:gd name="connsiteY23" fmla="*/ 8327 h 289661"/>
                <a:gd name="connsiteX24" fmla="*/ 307975 w 311430"/>
                <a:gd name="connsiteY24" fmla="*/ 5152 h 289661"/>
                <a:gd name="connsiteX25" fmla="*/ 311150 w 311430"/>
                <a:gd name="connsiteY25" fmla="*/ 390 h 289661"/>
                <a:gd name="connsiteX26" fmla="*/ 309562 w 311430"/>
                <a:gd name="connsiteY26" fmla="*/ 9915 h 289661"/>
                <a:gd name="connsiteX27" fmla="*/ 306387 w 311430"/>
                <a:gd name="connsiteY27" fmla="*/ 22615 h 289661"/>
                <a:gd name="connsiteX28" fmla="*/ 301625 w 311430"/>
                <a:gd name="connsiteY28" fmla="*/ 28965 h 289661"/>
                <a:gd name="connsiteX29" fmla="*/ 295275 w 311430"/>
                <a:gd name="connsiteY29" fmla="*/ 38490 h 289661"/>
                <a:gd name="connsiteX30" fmla="*/ 282575 w 311430"/>
                <a:gd name="connsiteY30" fmla="*/ 65477 h 289661"/>
                <a:gd name="connsiteX31" fmla="*/ 276225 w 311430"/>
                <a:gd name="connsiteY31" fmla="*/ 67065 h 289661"/>
                <a:gd name="connsiteX32" fmla="*/ 273050 w 311430"/>
                <a:gd name="connsiteY32" fmla="*/ 71827 h 289661"/>
                <a:gd name="connsiteX33" fmla="*/ 269875 w 311430"/>
                <a:gd name="connsiteY33" fmla="*/ 81352 h 289661"/>
                <a:gd name="connsiteX34" fmla="*/ 265112 w 311430"/>
                <a:gd name="connsiteY34" fmla="*/ 86115 h 289661"/>
                <a:gd name="connsiteX35" fmla="*/ 261937 w 311430"/>
                <a:gd name="connsiteY35" fmla="*/ 90877 h 289661"/>
                <a:gd name="connsiteX36" fmla="*/ 260350 w 311430"/>
                <a:gd name="connsiteY36" fmla="*/ 108340 h 289661"/>
                <a:gd name="connsiteX37" fmla="*/ 249237 w 311430"/>
                <a:gd name="connsiteY37" fmla="*/ 109927 h 289661"/>
                <a:gd name="connsiteX38" fmla="*/ 247650 w 311430"/>
                <a:gd name="connsiteY38" fmla="*/ 114690 h 289661"/>
                <a:gd name="connsiteX39" fmla="*/ 250825 w 311430"/>
                <a:gd name="connsiteY39" fmla="*/ 132152 h 289661"/>
                <a:gd name="connsiteX40" fmla="*/ 261937 w 311430"/>
                <a:gd name="connsiteY40" fmla="*/ 136915 h 289661"/>
                <a:gd name="connsiteX41" fmla="*/ 279400 w 311430"/>
                <a:gd name="connsiteY41" fmla="*/ 146440 h 289661"/>
                <a:gd name="connsiteX42" fmla="*/ 280987 w 311430"/>
                <a:gd name="connsiteY42" fmla="*/ 160727 h 289661"/>
                <a:gd name="connsiteX43" fmla="*/ 271462 w 311430"/>
                <a:gd name="connsiteY43" fmla="*/ 159140 h 289661"/>
                <a:gd name="connsiteX44" fmla="*/ 249237 w 311430"/>
                <a:gd name="connsiteY44" fmla="*/ 162315 h 289661"/>
                <a:gd name="connsiteX45" fmla="*/ 244475 w 311430"/>
                <a:gd name="connsiteY45" fmla="*/ 165490 h 289661"/>
                <a:gd name="connsiteX46" fmla="*/ 230187 w 311430"/>
                <a:gd name="connsiteY46" fmla="*/ 167077 h 289661"/>
                <a:gd name="connsiteX47" fmla="*/ 217487 w 311430"/>
                <a:gd name="connsiteY47" fmla="*/ 168665 h 289661"/>
                <a:gd name="connsiteX48" fmla="*/ 211137 w 311430"/>
                <a:gd name="connsiteY48" fmla="*/ 173427 h 289661"/>
                <a:gd name="connsiteX49" fmla="*/ 206375 w 311430"/>
                <a:gd name="connsiteY49" fmla="*/ 175015 h 289661"/>
                <a:gd name="connsiteX50" fmla="*/ 204787 w 311430"/>
                <a:gd name="connsiteY50" fmla="*/ 179777 h 289661"/>
                <a:gd name="connsiteX51" fmla="*/ 206375 w 311430"/>
                <a:gd name="connsiteY51" fmla="*/ 206765 h 289661"/>
                <a:gd name="connsiteX52" fmla="*/ 198437 w 311430"/>
                <a:gd name="connsiteY52" fmla="*/ 208352 h 289661"/>
                <a:gd name="connsiteX53" fmla="*/ 193675 w 311430"/>
                <a:gd name="connsiteY53" fmla="*/ 209940 h 289661"/>
                <a:gd name="connsiteX54" fmla="*/ 188912 w 311430"/>
                <a:gd name="connsiteY54" fmla="*/ 214702 h 289661"/>
                <a:gd name="connsiteX55" fmla="*/ 187325 w 311430"/>
                <a:gd name="connsiteY55" fmla="*/ 224227 h 289661"/>
                <a:gd name="connsiteX56" fmla="*/ 180975 w 311430"/>
                <a:gd name="connsiteY56" fmla="*/ 227402 h 289661"/>
                <a:gd name="connsiteX57" fmla="*/ 174625 w 311430"/>
                <a:gd name="connsiteY57" fmla="*/ 236927 h 289661"/>
                <a:gd name="connsiteX58" fmla="*/ 173037 w 311430"/>
                <a:gd name="connsiteY58" fmla="*/ 241690 h 289661"/>
                <a:gd name="connsiteX59" fmla="*/ 166687 w 311430"/>
                <a:gd name="connsiteY59" fmla="*/ 244865 h 289661"/>
                <a:gd name="connsiteX60" fmla="*/ 147637 w 311430"/>
                <a:gd name="connsiteY60" fmla="*/ 251215 h 289661"/>
                <a:gd name="connsiteX61" fmla="*/ 133350 w 311430"/>
                <a:gd name="connsiteY61" fmla="*/ 254390 h 289661"/>
                <a:gd name="connsiteX62" fmla="*/ 125412 w 311430"/>
                <a:gd name="connsiteY62" fmla="*/ 259152 h 289661"/>
                <a:gd name="connsiteX63" fmla="*/ 123825 w 311430"/>
                <a:gd name="connsiteY63" fmla="*/ 263915 h 289661"/>
                <a:gd name="connsiteX64" fmla="*/ 127000 w 311430"/>
                <a:gd name="connsiteY64" fmla="*/ 279790 h 289661"/>
                <a:gd name="connsiteX65" fmla="*/ 133350 w 311430"/>
                <a:gd name="connsiteY65" fmla="*/ 282965 h 289661"/>
                <a:gd name="connsiteX66" fmla="*/ 107950 w 311430"/>
                <a:gd name="connsiteY66" fmla="*/ 286140 h 289661"/>
                <a:gd name="connsiteX67" fmla="*/ 103187 w 311430"/>
                <a:gd name="connsiteY67" fmla="*/ 289315 h 289661"/>
                <a:gd name="connsiteX68" fmla="*/ 101600 w 311430"/>
                <a:gd name="connsiteY68" fmla="*/ 276615 h 289661"/>
                <a:gd name="connsiteX69" fmla="*/ 96837 w 311430"/>
                <a:gd name="connsiteY69" fmla="*/ 267090 h 289661"/>
                <a:gd name="connsiteX70" fmla="*/ 92075 w 311430"/>
                <a:gd name="connsiteY70" fmla="*/ 265502 h 289661"/>
                <a:gd name="connsiteX71" fmla="*/ 65087 w 311430"/>
                <a:gd name="connsiteY71" fmla="*/ 268677 h 289661"/>
                <a:gd name="connsiteX72" fmla="*/ 60325 w 311430"/>
                <a:gd name="connsiteY72" fmla="*/ 271852 h 289661"/>
                <a:gd name="connsiteX73" fmla="*/ 50800 w 311430"/>
                <a:gd name="connsiteY73" fmla="*/ 263915 h 289661"/>
                <a:gd name="connsiteX74" fmla="*/ 44450 w 311430"/>
                <a:gd name="connsiteY74" fmla="*/ 259152 h 289661"/>
                <a:gd name="connsiteX75" fmla="*/ 41275 w 311430"/>
                <a:gd name="connsiteY75" fmla="*/ 254390 h 289661"/>
                <a:gd name="connsiteX76" fmla="*/ 30162 w 311430"/>
                <a:gd name="connsiteY76" fmla="*/ 252802 h 289661"/>
                <a:gd name="connsiteX77" fmla="*/ 23812 w 311430"/>
                <a:gd name="connsiteY77" fmla="*/ 228990 h 289661"/>
                <a:gd name="connsiteX78" fmla="*/ 17462 w 311430"/>
                <a:gd name="connsiteY78" fmla="*/ 227402 h 289661"/>
                <a:gd name="connsiteX79" fmla="*/ 12700 w 311430"/>
                <a:gd name="connsiteY79" fmla="*/ 224227 h 289661"/>
                <a:gd name="connsiteX80" fmla="*/ 7937 w 311430"/>
                <a:gd name="connsiteY80" fmla="*/ 194065 h 289661"/>
                <a:gd name="connsiteX81" fmla="*/ 4762 w 311430"/>
                <a:gd name="connsiteY81" fmla="*/ 186127 h 289661"/>
                <a:gd name="connsiteX82" fmla="*/ 1587 w 311430"/>
                <a:gd name="connsiteY82" fmla="*/ 181365 h 289661"/>
                <a:gd name="connsiteX83" fmla="*/ 0 w 311430"/>
                <a:gd name="connsiteY83" fmla="*/ 173427 h 289661"/>
                <a:gd name="connsiteX84" fmla="*/ 1587 w 311430"/>
                <a:gd name="connsiteY84" fmla="*/ 165490 h 289661"/>
                <a:gd name="connsiteX85" fmla="*/ 9525 w 311430"/>
                <a:gd name="connsiteY85" fmla="*/ 163902 h 289661"/>
                <a:gd name="connsiteX86" fmla="*/ 19050 w 311430"/>
                <a:gd name="connsiteY86" fmla="*/ 165490 h 289661"/>
                <a:gd name="connsiteX87" fmla="*/ 33337 w 311430"/>
                <a:gd name="connsiteY87" fmla="*/ 168665 h 289661"/>
                <a:gd name="connsiteX88" fmla="*/ 38100 w 311430"/>
                <a:gd name="connsiteY88" fmla="*/ 173427 h 289661"/>
                <a:gd name="connsiteX89" fmla="*/ 47625 w 311430"/>
                <a:gd name="connsiteY89" fmla="*/ 176602 h 289661"/>
                <a:gd name="connsiteX90" fmla="*/ 52387 w 311430"/>
                <a:gd name="connsiteY90" fmla="*/ 179777 h 289661"/>
                <a:gd name="connsiteX91" fmla="*/ 69850 w 311430"/>
                <a:gd name="connsiteY91" fmla="*/ 178190 h 289661"/>
                <a:gd name="connsiteX92" fmla="*/ 71437 w 311430"/>
                <a:gd name="connsiteY92" fmla="*/ 171840 h 289661"/>
                <a:gd name="connsiteX93" fmla="*/ 79375 w 311430"/>
                <a:gd name="connsiteY93" fmla="*/ 157552 h 289661"/>
                <a:gd name="connsiteX94" fmla="*/ 100012 w 311430"/>
                <a:gd name="connsiteY94" fmla="*/ 152790 h 289661"/>
                <a:gd name="connsiteX95" fmla="*/ 103187 w 311430"/>
                <a:gd name="connsiteY95" fmla="*/ 143265 h 289661"/>
                <a:gd name="connsiteX96" fmla="*/ 98425 w 311430"/>
                <a:gd name="connsiteY96" fmla="*/ 125802 h 289661"/>
                <a:gd name="connsiteX0" fmla="*/ 98425 w 311430"/>
                <a:gd name="connsiteY0" fmla="*/ 125802 h 289661"/>
                <a:gd name="connsiteX1" fmla="*/ 106362 w 311430"/>
                <a:gd name="connsiteY1" fmla="*/ 124215 h 289661"/>
                <a:gd name="connsiteX2" fmla="*/ 120650 w 311430"/>
                <a:gd name="connsiteY2" fmla="*/ 125802 h 289661"/>
                <a:gd name="connsiteX3" fmla="*/ 139700 w 311430"/>
                <a:gd name="connsiteY3" fmla="*/ 121040 h 289661"/>
                <a:gd name="connsiteX4" fmla="*/ 144462 w 311430"/>
                <a:gd name="connsiteY4" fmla="*/ 117865 h 289661"/>
                <a:gd name="connsiteX5" fmla="*/ 165100 w 311430"/>
                <a:gd name="connsiteY5" fmla="*/ 121040 h 289661"/>
                <a:gd name="connsiteX6" fmla="*/ 180975 w 311430"/>
                <a:gd name="connsiteY6" fmla="*/ 114690 h 289661"/>
                <a:gd name="connsiteX7" fmla="*/ 184150 w 311430"/>
                <a:gd name="connsiteY7" fmla="*/ 105165 h 289661"/>
                <a:gd name="connsiteX8" fmla="*/ 195262 w 311430"/>
                <a:gd name="connsiteY8" fmla="*/ 100402 h 289661"/>
                <a:gd name="connsiteX9" fmla="*/ 204787 w 311430"/>
                <a:gd name="connsiteY9" fmla="*/ 87702 h 289661"/>
                <a:gd name="connsiteX10" fmla="*/ 207962 w 311430"/>
                <a:gd name="connsiteY10" fmla="*/ 82940 h 289661"/>
                <a:gd name="connsiteX11" fmla="*/ 212725 w 311430"/>
                <a:gd name="connsiteY11" fmla="*/ 81352 h 289661"/>
                <a:gd name="connsiteX12" fmla="*/ 223837 w 311430"/>
                <a:gd name="connsiteY12" fmla="*/ 78177 h 289661"/>
                <a:gd name="connsiteX13" fmla="*/ 227012 w 311430"/>
                <a:gd name="connsiteY13" fmla="*/ 73415 h 289661"/>
                <a:gd name="connsiteX14" fmla="*/ 241300 w 311430"/>
                <a:gd name="connsiteY14" fmla="*/ 62302 h 289661"/>
                <a:gd name="connsiteX15" fmla="*/ 246062 w 311430"/>
                <a:gd name="connsiteY15" fmla="*/ 55952 h 289661"/>
                <a:gd name="connsiteX16" fmla="*/ 249237 w 311430"/>
                <a:gd name="connsiteY16" fmla="*/ 49602 h 289661"/>
                <a:gd name="connsiteX17" fmla="*/ 254000 w 311430"/>
                <a:gd name="connsiteY17" fmla="*/ 48015 h 289661"/>
                <a:gd name="connsiteX18" fmla="*/ 263525 w 311430"/>
                <a:gd name="connsiteY18" fmla="*/ 46427 h 289661"/>
                <a:gd name="connsiteX19" fmla="*/ 271462 w 311430"/>
                <a:gd name="connsiteY19" fmla="*/ 33727 h 289661"/>
                <a:gd name="connsiteX20" fmla="*/ 273050 w 311430"/>
                <a:gd name="connsiteY20" fmla="*/ 25790 h 289661"/>
                <a:gd name="connsiteX21" fmla="*/ 288925 w 311430"/>
                <a:gd name="connsiteY21" fmla="*/ 21027 h 289661"/>
                <a:gd name="connsiteX22" fmla="*/ 298450 w 311430"/>
                <a:gd name="connsiteY22" fmla="*/ 13090 h 289661"/>
                <a:gd name="connsiteX23" fmla="*/ 303212 w 311430"/>
                <a:gd name="connsiteY23" fmla="*/ 8327 h 289661"/>
                <a:gd name="connsiteX24" fmla="*/ 307975 w 311430"/>
                <a:gd name="connsiteY24" fmla="*/ 5152 h 289661"/>
                <a:gd name="connsiteX25" fmla="*/ 311150 w 311430"/>
                <a:gd name="connsiteY25" fmla="*/ 390 h 289661"/>
                <a:gd name="connsiteX26" fmla="*/ 309562 w 311430"/>
                <a:gd name="connsiteY26" fmla="*/ 9915 h 289661"/>
                <a:gd name="connsiteX27" fmla="*/ 306387 w 311430"/>
                <a:gd name="connsiteY27" fmla="*/ 22615 h 289661"/>
                <a:gd name="connsiteX28" fmla="*/ 301625 w 311430"/>
                <a:gd name="connsiteY28" fmla="*/ 28965 h 289661"/>
                <a:gd name="connsiteX29" fmla="*/ 295275 w 311430"/>
                <a:gd name="connsiteY29" fmla="*/ 38490 h 289661"/>
                <a:gd name="connsiteX30" fmla="*/ 282575 w 311430"/>
                <a:gd name="connsiteY30" fmla="*/ 65477 h 289661"/>
                <a:gd name="connsiteX31" fmla="*/ 276225 w 311430"/>
                <a:gd name="connsiteY31" fmla="*/ 67065 h 289661"/>
                <a:gd name="connsiteX32" fmla="*/ 273050 w 311430"/>
                <a:gd name="connsiteY32" fmla="*/ 71827 h 289661"/>
                <a:gd name="connsiteX33" fmla="*/ 269875 w 311430"/>
                <a:gd name="connsiteY33" fmla="*/ 81352 h 289661"/>
                <a:gd name="connsiteX34" fmla="*/ 265112 w 311430"/>
                <a:gd name="connsiteY34" fmla="*/ 86115 h 289661"/>
                <a:gd name="connsiteX35" fmla="*/ 261937 w 311430"/>
                <a:gd name="connsiteY35" fmla="*/ 90877 h 289661"/>
                <a:gd name="connsiteX36" fmla="*/ 260350 w 311430"/>
                <a:gd name="connsiteY36" fmla="*/ 108340 h 289661"/>
                <a:gd name="connsiteX37" fmla="*/ 249237 w 311430"/>
                <a:gd name="connsiteY37" fmla="*/ 109927 h 289661"/>
                <a:gd name="connsiteX38" fmla="*/ 247650 w 311430"/>
                <a:gd name="connsiteY38" fmla="*/ 114690 h 289661"/>
                <a:gd name="connsiteX39" fmla="*/ 250825 w 311430"/>
                <a:gd name="connsiteY39" fmla="*/ 132152 h 289661"/>
                <a:gd name="connsiteX40" fmla="*/ 261937 w 311430"/>
                <a:gd name="connsiteY40" fmla="*/ 136915 h 289661"/>
                <a:gd name="connsiteX41" fmla="*/ 279400 w 311430"/>
                <a:gd name="connsiteY41" fmla="*/ 146440 h 289661"/>
                <a:gd name="connsiteX42" fmla="*/ 280987 w 311430"/>
                <a:gd name="connsiteY42" fmla="*/ 160727 h 289661"/>
                <a:gd name="connsiteX43" fmla="*/ 271462 w 311430"/>
                <a:gd name="connsiteY43" fmla="*/ 159140 h 289661"/>
                <a:gd name="connsiteX44" fmla="*/ 249237 w 311430"/>
                <a:gd name="connsiteY44" fmla="*/ 162315 h 289661"/>
                <a:gd name="connsiteX45" fmla="*/ 244475 w 311430"/>
                <a:gd name="connsiteY45" fmla="*/ 165490 h 289661"/>
                <a:gd name="connsiteX46" fmla="*/ 230187 w 311430"/>
                <a:gd name="connsiteY46" fmla="*/ 167077 h 289661"/>
                <a:gd name="connsiteX47" fmla="*/ 217487 w 311430"/>
                <a:gd name="connsiteY47" fmla="*/ 168665 h 289661"/>
                <a:gd name="connsiteX48" fmla="*/ 211137 w 311430"/>
                <a:gd name="connsiteY48" fmla="*/ 173427 h 289661"/>
                <a:gd name="connsiteX49" fmla="*/ 206375 w 311430"/>
                <a:gd name="connsiteY49" fmla="*/ 175015 h 289661"/>
                <a:gd name="connsiteX50" fmla="*/ 204787 w 311430"/>
                <a:gd name="connsiteY50" fmla="*/ 179777 h 289661"/>
                <a:gd name="connsiteX51" fmla="*/ 206375 w 311430"/>
                <a:gd name="connsiteY51" fmla="*/ 206765 h 289661"/>
                <a:gd name="connsiteX52" fmla="*/ 198437 w 311430"/>
                <a:gd name="connsiteY52" fmla="*/ 208352 h 289661"/>
                <a:gd name="connsiteX53" fmla="*/ 193675 w 311430"/>
                <a:gd name="connsiteY53" fmla="*/ 209940 h 289661"/>
                <a:gd name="connsiteX54" fmla="*/ 188912 w 311430"/>
                <a:gd name="connsiteY54" fmla="*/ 214702 h 289661"/>
                <a:gd name="connsiteX55" fmla="*/ 187325 w 311430"/>
                <a:gd name="connsiteY55" fmla="*/ 224227 h 289661"/>
                <a:gd name="connsiteX56" fmla="*/ 180975 w 311430"/>
                <a:gd name="connsiteY56" fmla="*/ 227402 h 289661"/>
                <a:gd name="connsiteX57" fmla="*/ 174625 w 311430"/>
                <a:gd name="connsiteY57" fmla="*/ 236927 h 289661"/>
                <a:gd name="connsiteX58" fmla="*/ 173037 w 311430"/>
                <a:gd name="connsiteY58" fmla="*/ 241690 h 289661"/>
                <a:gd name="connsiteX59" fmla="*/ 166687 w 311430"/>
                <a:gd name="connsiteY59" fmla="*/ 244865 h 289661"/>
                <a:gd name="connsiteX60" fmla="*/ 147637 w 311430"/>
                <a:gd name="connsiteY60" fmla="*/ 251215 h 289661"/>
                <a:gd name="connsiteX61" fmla="*/ 133350 w 311430"/>
                <a:gd name="connsiteY61" fmla="*/ 254390 h 289661"/>
                <a:gd name="connsiteX62" fmla="*/ 125412 w 311430"/>
                <a:gd name="connsiteY62" fmla="*/ 259152 h 289661"/>
                <a:gd name="connsiteX63" fmla="*/ 123825 w 311430"/>
                <a:gd name="connsiteY63" fmla="*/ 263915 h 289661"/>
                <a:gd name="connsiteX64" fmla="*/ 127000 w 311430"/>
                <a:gd name="connsiteY64" fmla="*/ 279790 h 289661"/>
                <a:gd name="connsiteX65" fmla="*/ 133350 w 311430"/>
                <a:gd name="connsiteY65" fmla="*/ 282965 h 289661"/>
                <a:gd name="connsiteX66" fmla="*/ 107950 w 311430"/>
                <a:gd name="connsiteY66" fmla="*/ 286140 h 289661"/>
                <a:gd name="connsiteX67" fmla="*/ 103187 w 311430"/>
                <a:gd name="connsiteY67" fmla="*/ 289315 h 289661"/>
                <a:gd name="connsiteX68" fmla="*/ 101600 w 311430"/>
                <a:gd name="connsiteY68" fmla="*/ 276615 h 289661"/>
                <a:gd name="connsiteX69" fmla="*/ 96837 w 311430"/>
                <a:gd name="connsiteY69" fmla="*/ 267090 h 289661"/>
                <a:gd name="connsiteX70" fmla="*/ 92075 w 311430"/>
                <a:gd name="connsiteY70" fmla="*/ 265502 h 289661"/>
                <a:gd name="connsiteX71" fmla="*/ 65087 w 311430"/>
                <a:gd name="connsiteY71" fmla="*/ 268677 h 289661"/>
                <a:gd name="connsiteX72" fmla="*/ 60325 w 311430"/>
                <a:gd name="connsiteY72" fmla="*/ 271852 h 289661"/>
                <a:gd name="connsiteX73" fmla="*/ 50800 w 311430"/>
                <a:gd name="connsiteY73" fmla="*/ 263915 h 289661"/>
                <a:gd name="connsiteX74" fmla="*/ 44450 w 311430"/>
                <a:gd name="connsiteY74" fmla="*/ 259152 h 289661"/>
                <a:gd name="connsiteX75" fmla="*/ 41275 w 311430"/>
                <a:gd name="connsiteY75" fmla="*/ 254390 h 289661"/>
                <a:gd name="connsiteX76" fmla="*/ 30162 w 311430"/>
                <a:gd name="connsiteY76" fmla="*/ 252802 h 289661"/>
                <a:gd name="connsiteX77" fmla="*/ 23812 w 311430"/>
                <a:gd name="connsiteY77" fmla="*/ 228990 h 289661"/>
                <a:gd name="connsiteX78" fmla="*/ 17462 w 311430"/>
                <a:gd name="connsiteY78" fmla="*/ 227402 h 289661"/>
                <a:gd name="connsiteX79" fmla="*/ 12700 w 311430"/>
                <a:gd name="connsiteY79" fmla="*/ 224227 h 289661"/>
                <a:gd name="connsiteX80" fmla="*/ 7937 w 311430"/>
                <a:gd name="connsiteY80" fmla="*/ 194065 h 289661"/>
                <a:gd name="connsiteX81" fmla="*/ 4762 w 311430"/>
                <a:gd name="connsiteY81" fmla="*/ 186127 h 289661"/>
                <a:gd name="connsiteX82" fmla="*/ 1587 w 311430"/>
                <a:gd name="connsiteY82" fmla="*/ 181365 h 289661"/>
                <a:gd name="connsiteX83" fmla="*/ 0 w 311430"/>
                <a:gd name="connsiteY83" fmla="*/ 173427 h 289661"/>
                <a:gd name="connsiteX84" fmla="*/ 1587 w 311430"/>
                <a:gd name="connsiteY84" fmla="*/ 165490 h 289661"/>
                <a:gd name="connsiteX85" fmla="*/ 9525 w 311430"/>
                <a:gd name="connsiteY85" fmla="*/ 163902 h 289661"/>
                <a:gd name="connsiteX86" fmla="*/ 19050 w 311430"/>
                <a:gd name="connsiteY86" fmla="*/ 165490 h 289661"/>
                <a:gd name="connsiteX87" fmla="*/ 33337 w 311430"/>
                <a:gd name="connsiteY87" fmla="*/ 168665 h 289661"/>
                <a:gd name="connsiteX88" fmla="*/ 38100 w 311430"/>
                <a:gd name="connsiteY88" fmla="*/ 173427 h 289661"/>
                <a:gd name="connsiteX89" fmla="*/ 44450 w 311430"/>
                <a:gd name="connsiteY89" fmla="*/ 179777 h 289661"/>
                <a:gd name="connsiteX90" fmla="*/ 52387 w 311430"/>
                <a:gd name="connsiteY90" fmla="*/ 179777 h 289661"/>
                <a:gd name="connsiteX91" fmla="*/ 69850 w 311430"/>
                <a:gd name="connsiteY91" fmla="*/ 178190 h 289661"/>
                <a:gd name="connsiteX92" fmla="*/ 71437 w 311430"/>
                <a:gd name="connsiteY92" fmla="*/ 171840 h 289661"/>
                <a:gd name="connsiteX93" fmla="*/ 79375 w 311430"/>
                <a:gd name="connsiteY93" fmla="*/ 157552 h 289661"/>
                <a:gd name="connsiteX94" fmla="*/ 100012 w 311430"/>
                <a:gd name="connsiteY94" fmla="*/ 152790 h 289661"/>
                <a:gd name="connsiteX95" fmla="*/ 103187 w 311430"/>
                <a:gd name="connsiteY95" fmla="*/ 143265 h 289661"/>
                <a:gd name="connsiteX96" fmla="*/ 98425 w 311430"/>
                <a:gd name="connsiteY96" fmla="*/ 125802 h 289661"/>
                <a:gd name="connsiteX0" fmla="*/ 98425 w 311430"/>
                <a:gd name="connsiteY0" fmla="*/ 125802 h 289661"/>
                <a:gd name="connsiteX1" fmla="*/ 106362 w 311430"/>
                <a:gd name="connsiteY1" fmla="*/ 124215 h 289661"/>
                <a:gd name="connsiteX2" fmla="*/ 120650 w 311430"/>
                <a:gd name="connsiteY2" fmla="*/ 125802 h 289661"/>
                <a:gd name="connsiteX3" fmla="*/ 139700 w 311430"/>
                <a:gd name="connsiteY3" fmla="*/ 121040 h 289661"/>
                <a:gd name="connsiteX4" fmla="*/ 144462 w 311430"/>
                <a:gd name="connsiteY4" fmla="*/ 117865 h 289661"/>
                <a:gd name="connsiteX5" fmla="*/ 165100 w 311430"/>
                <a:gd name="connsiteY5" fmla="*/ 121040 h 289661"/>
                <a:gd name="connsiteX6" fmla="*/ 180975 w 311430"/>
                <a:gd name="connsiteY6" fmla="*/ 114690 h 289661"/>
                <a:gd name="connsiteX7" fmla="*/ 184150 w 311430"/>
                <a:gd name="connsiteY7" fmla="*/ 105165 h 289661"/>
                <a:gd name="connsiteX8" fmla="*/ 195262 w 311430"/>
                <a:gd name="connsiteY8" fmla="*/ 100402 h 289661"/>
                <a:gd name="connsiteX9" fmla="*/ 204787 w 311430"/>
                <a:gd name="connsiteY9" fmla="*/ 87702 h 289661"/>
                <a:gd name="connsiteX10" fmla="*/ 207962 w 311430"/>
                <a:gd name="connsiteY10" fmla="*/ 82940 h 289661"/>
                <a:gd name="connsiteX11" fmla="*/ 212725 w 311430"/>
                <a:gd name="connsiteY11" fmla="*/ 81352 h 289661"/>
                <a:gd name="connsiteX12" fmla="*/ 223837 w 311430"/>
                <a:gd name="connsiteY12" fmla="*/ 78177 h 289661"/>
                <a:gd name="connsiteX13" fmla="*/ 227012 w 311430"/>
                <a:gd name="connsiteY13" fmla="*/ 73415 h 289661"/>
                <a:gd name="connsiteX14" fmla="*/ 241300 w 311430"/>
                <a:gd name="connsiteY14" fmla="*/ 62302 h 289661"/>
                <a:gd name="connsiteX15" fmla="*/ 246062 w 311430"/>
                <a:gd name="connsiteY15" fmla="*/ 55952 h 289661"/>
                <a:gd name="connsiteX16" fmla="*/ 249237 w 311430"/>
                <a:gd name="connsiteY16" fmla="*/ 49602 h 289661"/>
                <a:gd name="connsiteX17" fmla="*/ 254000 w 311430"/>
                <a:gd name="connsiteY17" fmla="*/ 48015 h 289661"/>
                <a:gd name="connsiteX18" fmla="*/ 263525 w 311430"/>
                <a:gd name="connsiteY18" fmla="*/ 46427 h 289661"/>
                <a:gd name="connsiteX19" fmla="*/ 271462 w 311430"/>
                <a:gd name="connsiteY19" fmla="*/ 33727 h 289661"/>
                <a:gd name="connsiteX20" fmla="*/ 273050 w 311430"/>
                <a:gd name="connsiteY20" fmla="*/ 25790 h 289661"/>
                <a:gd name="connsiteX21" fmla="*/ 288925 w 311430"/>
                <a:gd name="connsiteY21" fmla="*/ 21027 h 289661"/>
                <a:gd name="connsiteX22" fmla="*/ 298450 w 311430"/>
                <a:gd name="connsiteY22" fmla="*/ 13090 h 289661"/>
                <a:gd name="connsiteX23" fmla="*/ 303212 w 311430"/>
                <a:gd name="connsiteY23" fmla="*/ 8327 h 289661"/>
                <a:gd name="connsiteX24" fmla="*/ 307975 w 311430"/>
                <a:gd name="connsiteY24" fmla="*/ 5152 h 289661"/>
                <a:gd name="connsiteX25" fmla="*/ 311150 w 311430"/>
                <a:gd name="connsiteY25" fmla="*/ 390 h 289661"/>
                <a:gd name="connsiteX26" fmla="*/ 309562 w 311430"/>
                <a:gd name="connsiteY26" fmla="*/ 9915 h 289661"/>
                <a:gd name="connsiteX27" fmla="*/ 306387 w 311430"/>
                <a:gd name="connsiteY27" fmla="*/ 22615 h 289661"/>
                <a:gd name="connsiteX28" fmla="*/ 301625 w 311430"/>
                <a:gd name="connsiteY28" fmla="*/ 28965 h 289661"/>
                <a:gd name="connsiteX29" fmla="*/ 295275 w 311430"/>
                <a:gd name="connsiteY29" fmla="*/ 38490 h 289661"/>
                <a:gd name="connsiteX30" fmla="*/ 282575 w 311430"/>
                <a:gd name="connsiteY30" fmla="*/ 65477 h 289661"/>
                <a:gd name="connsiteX31" fmla="*/ 276225 w 311430"/>
                <a:gd name="connsiteY31" fmla="*/ 67065 h 289661"/>
                <a:gd name="connsiteX32" fmla="*/ 273050 w 311430"/>
                <a:gd name="connsiteY32" fmla="*/ 71827 h 289661"/>
                <a:gd name="connsiteX33" fmla="*/ 269875 w 311430"/>
                <a:gd name="connsiteY33" fmla="*/ 81352 h 289661"/>
                <a:gd name="connsiteX34" fmla="*/ 265112 w 311430"/>
                <a:gd name="connsiteY34" fmla="*/ 86115 h 289661"/>
                <a:gd name="connsiteX35" fmla="*/ 261937 w 311430"/>
                <a:gd name="connsiteY35" fmla="*/ 90877 h 289661"/>
                <a:gd name="connsiteX36" fmla="*/ 260350 w 311430"/>
                <a:gd name="connsiteY36" fmla="*/ 108340 h 289661"/>
                <a:gd name="connsiteX37" fmla="*/ 249237 w 311430"/>
                <a:gd name="connsiteY37" fmla="*/ 109927 h 289661"/>
                <a:gd name="connsiteX38" fmla="*/ 247650 w 311430"/>
                <a:gd name="connsiteY38" fmla="*/ 114690 h 289661"/>
                <a:gd name="connsiteX39" fmla="*/ 250825 w 311430"/>
                <a:gd name="connsiteY39" fmla="*/ 132152 h 289661"/>
                <a:gd name="connsiteX40" fmla="*/ 261937 w 311430"/>
                <a:gd name="connsiteY40" fmla="*/ 136915 h 289661"/>
                <a:gd name="connsiteX41" fmla="*/ 279400 w 311430"/>
                <a:gd name="connsiteY41" fmla="*/ 146440 h 289661"/>
                <a:gd name="connsiteX42" fmla="*/ 280987 w 311430"/>
                <a:gd name="connsiteY42" fmla="*/ 160727 h 289661"/>
                <a:gd name="connsiteX43" fmla="*/ 271462 w 311430"/>
                <a:gd name="connsiteY43" fmla="*/ 159140 h 289661"/>
                <a:gd name="connsiteX44" fmla="*/ 249237 w 311430"/>
                <a:gd name="connsiteY44" fmla="*/ 162315 h 289661"/>
                <a:gd name="connsiteX45" fmla="*/ 244475 w 311430"/>
                <a:gd name="connsiteY45" fmla="*/ 165490 h 289661"/>
                <a:gd name="connsiteX46" fmla="*/ 230187 w 311430"/>
                <a:gd name="connsiteY46" fmla="*/ 167077 h 289661"/>
                <a:gd name="connsiteX47" fmla="*/ 217487 w 311430"/>
                <a:gd name="connsiteY47" fmla="*/ 168665 h 289661"/>
                <a:gd name="connsiteX48" fmla="*/ 211137 w 311430"/>
                <a:gd name="connsiteY48" fmla="*/ 173427 h 289661"/>
                <a:gd name="connsiteX49" fmla="*/ 206375 w 311430"/>
                <a:gd name="connsiteY49" fmla="*/ 175015 h 289661"/>
                <a:gd name="connsiteX50" fmla="*/ 204787 w 311430"/>
                <a:gd name="connsiteY50" fmla="*/ 179777 h 289661"/>
                <a:gd name="connsiteX51" fmla="*/ 206375 w 311430"/>
                <a:gd name="connsiteY51" fmla="*/ 206765 h 289661"/>
                <a:gd name="connsiteX52" fmla="*/ 198437 w 311430"/>
                <a:gd name="connsiteY52" fmla="*/ 208352 h 289661"/>
                <a:gd name="connsiteX53" fmla="*/ 193675 w 311430"/>
                <a:gd name="connsiteY53" fmla="*/ 209940 h 289661"/>
                <a:gd name="connsiteX54" fmla="*/ 188912 w 311430"/>
                <a:gd name="connsiteY54" fmla="*/ 214702 h 289661"/>
                <a:gd name="connsiteX55" fmla="*/ 187325 w 311430"/>
                <a:gd name="connsiteY55" fmla="*/ 224227 h 289661"/>
                <a:gd name="connsiteX56" fmla="*/ 180975 w 311430"/>
                <a:gd name="connsiteY56" fmla="*/ 227402 h 289661"/>
                <a:gd name="connsiteX57" fmla="*/ 174625 w 311430"/>
                <a:gd name="connsiteY57" fmla="*/ 236927 h 289661"/>
                <a:gd name="connsiteX58" fmla="*/ 173037 w 311430"/>
                <a:gd name="connsiteY58" fmla="*/ 241690 h 289661"/>
                <a:gd name="connsiteX59" fmla="*/ 166687 w 311430"/>
                <a:gd name="connsiteY59" fmla="*/ 244865 h 289661"/>
                <a:gd name="connsiteX60" fmla="*/ 147637 w 311430"/>
                <a:gd name="connsiteY60" fmla="*/ 251215 h 289661"/>
                <a:gd name="connsiteX61" fmla="*/ 133350 w 311430"/>
                <a:gd name="connsiteY61" fmla="*/ 254390 h 289661"/>
                <a:gd name="connsiteX62" fmla="*/ 125412 w 311430"/>
                <a:gd name="connsiteY62" fmla="*/ 259152 h 289661"/>
                <a:gd name="connsiteX63" fmla="*/ 123825 w 311430"/>
                <a:gd name="connsiteY63" fmla="*/ 263915 h 289661"/>
                <a:gd name="connsiteX64" fmla="*/ 127000 w 311430"/>
                <a:gd name="connsiteY64" fmla="*/ 279790 h 289661"/>
                <a:gd name="connsiteX65" fmla="*/ 133350 w 311430"/>
                <a:gd name="connsiteY65" fmla="*/ 282965 h 289661"/>
                <a:gd name="connsiteX66" fmla="*/ 107950 w 311430"/>
                <a:gd name="connsiteY66" fmla="*/ 286140 h 289661"/>
                <a:gd name="connsiteX67" fmla="*/ 103187 w 311430"/>
                <a:gd name="connsiteY67" fmla="*/ 289315 h 289661"/>
                <a:gd name="connsiteX68" fmla="*/ 101600 w 311430"/>
                <a:gd name="connsiteY68" fmla="*/ 276615 h 289661"/>
                <a:gd name="connsiteX69" fmla="*/ 96837 w 311430"/>
                <a:gd name="connsiteY69" fmla="*/ 267090 h 289661"/>
                <a:gd name="connsiteX70" fmla="*/ 92075 w 311430"/>
                <a:gd name="connsiteY70" fmla="*/ 265502 h 289661"/>
                <a:gd name="connsiteX71" fmla="*/ 65087 w 311430"/>
                <a:gd name="connsiteY71" fmla="*/ 268677 h 289661"/>
                <a:gd name="connsiteX72" fmla="*/ 60325 w 311430"/>
                <a:gd name="connsiteY72" fmla="*/ 271852 h 289661"/>
                <a:gd name="connsiteX73" fmla="*/ 50800 w 311430"/>
                <a:gd name="connsiteY73" fmla="*/ 263915 h 289661"/>
                <a:gd name="connsiteX74" fmla="*/ 44450 w 311430"/>
                <a:gd name="connsiteY74" fmla="*/ 259152 h 289661"/>
                <a:gd name="connsiteX75" fmla="*/ 41275 w 311430"/>
                <a:gd name="connsiteY75" fmla="*/ 254390 h 289661"/>
                <a:gd name="connsiteX76" fmla="*/ 30162 w 311430"/>
                <a:gd name="connsiteY76" fmla="*/ 252802 h 289661"/>
                <a:gd name="connsiteX77" fmla="*/ 23812 w 311430"/>
                <a:gd name="connsiteY77" fmla="*/ 228990 h 289661"/>
                <a:gd name="connsiteX78" fmla="*/ 17462 w 311430"/>
                <a:gd name="connsiteY78" fmla="*/ 227402 h 289661"/>
                <a:gd name="connsiteX79" fmla="*/ 12700 w 311430"/>
                <a:gd name="connsiteY79" fmla="*/ 224227 h 289661"/>
                <a:gd name="connsiteX80" fmla="*/ 7937 w 311430"/>
                <a:gd name="connsiteY80" fmla="*/ 194065 h 289661"/>
                <a:gd name="connsiteX81" fmla="*/ 4762 w 311430"/>
                <a:gd name="connsiteY81" fmla="*/ 186127 h 289661"/>
                <a:gd name="connsiteX82" fmla="*/ 1587 w 311430"/>
                <a:gd name="connsiteY82" fmla="*/ 181365 h 289661"/>
                <a:gd name="connsiteX83" fmla="*/ 0 w 311430"/>
                <a:gd name="connsiteY83" fmla="*/ 173427 h 289661"/>
                <a:gd name="connsiteX84" fmla="*/ 1587 w 311430"/>
                <a:gd name="connsiteY84" fmla="*/ 165490 h 289661"/>
                <a:gd name="connsiteX85" fmla="*/ 9525 w 311430"/>
                <a:gd name="connsiteY85" fmla="*/ 163902 h 289661"/>
                <a:gd name="connsiteX86" fmla="*/ 19050 w 311430"/>
                <a:gd name="connsiteY86" fmla="*/ 165490 h 289661"/>
                <a:gd name="connsiteX87" fmla="*/ 33337 w 311430"/>
                <a:gd name="connsiteY87" fmla="*/ 168665 h 289661"/>
                <a:gd name="connsiteX88" fmla="*/ 38100 w 311430"/>
                <a:gd name="connsiteY88" fmla="*/ 179777 h 289661"/>
                <a:gd name="connsiteX89" fmla="*/ 44450 w 311430"/>
                <a:gd name="connsiteY89" fmla="*/ 179777 h 289661"/>
                <a:gd name="connsiteX90" fmla="*/ 52387 w 311430"/>
                <a:gd name="connsiteY90" fmla="*/ 179777 h 289661"/>
                <a:gd name="connsiteX91" fmla="*/ 69850 w 311430"/>
                <a:gd name="connsiteY91" fmla="*/ 178190 h 289661"/>
                <a:gd name="connsiteX92" fmla="*/ 71437 w 311430"/>
                <a:gd name="connsiteY92" fmla="*/ 171840 h 289661"/>
                <a:gd name="connsiteX93" fmla="*/ 79375 w 311430"/>
                <a:gd name="connsiteY93" fmla="*/ 157552 h 289661"/>
                <a:gd name="connsiteX94" fmla="*/ 100012 w 311430"/>
                <a:gd name="connsiteY94" fmla="*/ 152790 h 289661"/>
                <a:gd name="connsiteX95" fmla="*/ 103187 w 311430"/>
                <a:gd name="connsiteY95" fmla="*/ 143265 h 289661"/>
                <a:gd name="connsiteX96" fmla="*/ 98425 w 311430"/>
                <a:gd name="connsiteY96" fmla="*/ 125802 h 289661"/>
                <a:gd name="connsiteX0" fmla="*/ 98425 w 311430"/>
                <a:gd name="connsiteY0" fmla="*/ 125802 h 289661"/>
                <a:gd name="connsiteX1" fmla="*/ 106362 w 311430"/>
                <a:gd name="connsiteY1" fmla="*/ 124215 h 289661"/>
                <a:gd name="connsiteX2" fmla="*/ 120650 w 311430"/>
                <a:gd name="connsiteY2" fmla="*/ 125802 h 289661"/>
                <a:gd name="connsiteX3" fmla="*/ 139700 w 311430"/>
                <a:gd name="connsiteY3" fmla="*/ 121040 h 289661"/>
                <a:gd name="connsiteX4" fmla="*/ 144462 w 311430"/>
                <a:gd name="connsiteY4" fmla="*/ 117865 h 289661"/>
                <a:gd name="connsiteX5" fmla="*/ 165100 w 311430"/>
                <a:gd name="connsiteY5" fmla="*/ 121040 h 289661"/>
                <a:gd name="connsiteX6" fmla="*/ 180975 w 311430"/>
                <a:gd name="connsiteY6" fmla="*/ 114690 h 289661"/>
                <a:gd name="connsiteX7" fmla="*/ 184150 w 311430"/>
                <a:gd name="connsiteY7" fmla="*/ 105165 h 289661"/>
                <a:gd name="connsiteX8" fmla="*/ 195262 w 311430"/>
                <a:gd name="connsiteY8" fmla="*/ 100402 h 289661"/>
                <a:gd name="connsiteX9" fmla="*/ 204787 w 311430"/>
                <a:gd name="connsiteY9" fmla="*/ 87702 h 289661"/>
                <a:gd name="connsiteX10" fmla="*/ 207962 w 311430"/>
                <a:gd name="connsiteY10" fmla="*/ 82940 h 289661"/>
                <a:gd name="connsiteX11" fmla="*/ 212725 w 311430"/>
                <a:gd name="connsiteY11" fmla="*/ 81352 h 289661"/>
                <a:gd name="connsiteX12" fmla="*/ 223837 w 311430"/>
                <a:gd name="connsiteY12" fmla="*/ 78177 h 289661"/>
                <a:gd name="connsiteX13" fmla="*/ 227012 w 311430"/>
                <a:gd name="connsiteY13" fmla="*/ 73415 h 289661"/>
                <a:gd name="connsiteX14" fmla="*/ 241300 w 311430"/>
                <a:gd name="connsiteY14" fmla="*/ 62302 h 289661"/>
                <a:gd name="connsiteX15" fmla="*/ 246062 w 311430"/>
                <a:gd name="connsiteY15" fmla="*/ 55952 h 289661"/>
                <a:gd name="connsiteX16" fmla="*/ 249237 w 311430"/>
                <a:gd name="connsiteY16" fmla="*/ 49602 h 289661"/>
                <a:gd name="connsiteX17" fmla="*/ 254000 w 311430"/>
                <a:gd name="connsiteY17" fmla="*/ 48015 h 289661"/>
                <a:gd name="connsiteX18" fmla="*/ 263525 w 311430"/>
                <a:gd name="connsiteY18" fmla="*/ 46427 h 289661"/>
                <a:gd name="connsiteX19" fmla="*/ 271462 w 311430"/>
                <a:gd name="connsiteY19" fmla="*/ 33727 h 289661"/>
                <a:gd name="connsiteX20" fmla="*/ 273050 w 311430"/>
                <a:gd name="connsiteY20" fmla="*/ 25790 h 289661"/>
                <a:gd name="connsiteX21" fmla="*/ 288925 w 311430"/>
                <a:gd name="connsiteY21" fmla="*/ 21027 h 289661"/>
                <a:gd name="connsiteX22" fmla="*/ 298450 w 311430"/>
                <a:gd name="connsiteY22" fmla="*/ 13090 h 289661"/>
                <a:gd name="connsiteX23" fmla="*/ 303212 w 311430"/>
                <a:gd name="connsiteY23" fmla="*/ 8327 h 289661"/>
                <a:gd name="connsiteX24" fmla="*/ 307975 w 311430"/>
                <a:gd name="connsiteY24" fmla="*/ 5152 h 289661"/>
                <a:gd name="connsiteX25" fmla="*/ 311150 w 311430"/>
                <a:gd name="connsiteY25" fmla="*/ 390 h 289661"/>
                <a:gd name="connsiteX26" fmla="*/ 309562 w 311430"/>
                <a:gd name="connsiteY26" fmla="*/ 9915 h 289661"/>
                <a:gd name="connsiteX27" fmla="*/ 306387 w 311430"/>
                <a:gd name="connsiteY27" fmla="*/ 22615 h 289661"/>
                <a:gd name="connsiteX28" fmla="*/ 301625 w 311430"/>
                <a:gd name="connsiteY28" fmla="*/ 28965 h 289661"/>
                <a:gd name="connsiteX29" fmla="*/ 295275 w 311430"/>
                <a:gd name="connsiteY29" fmla="*/ 38490 h 289661"/>
                <a:gd name="connsiteX30" fmla="*/ 282575 w 311430"/>
                <a:gd name="connsiteY30" fmla="*/ 65477 h 289661"/>
                <a:gd name="connsiteX31" fmla="*/ 276225 w 311430"/>
                <a:gd name="connsiteY31" fmla="*/ 67065 h 289661"/>
                <a:gd name="connsiteX32" fmla="*/ 273050 w 311430"/>
                <a:gd name="connsiteY32" fmla="*/ 71827 h 289661"/>
                <a:gd name="connsiteX33" fmla="*/ 269875 w 311430"/>
                <a:gd name="connsiteY33" fmla="*/ 81352 h 289661"/>
                <a:gd name="connsiteX34" fmla="*/ 265112 w 311430"/>
                <a:gd name="connsiteY34" fmla="*/ 86115 h 289661"/>
                <a:gd name="connsiteX35" fmla="*/ 261937 w 311430"/>
                <a:gd name="connsiteY35" fmla="*/ 90877 h 289661"/>
                <a:gd name="connsiteX36" fmla="*/ 260350 w 311430"/>
                <a:gd name="connsiteY36" fmla="*/ 108340 h 289661"/>
                <a:gd name="connsiteX37" fmla="*/ 249237 w 311430"/>
                <a:gd name="connsiteY37" fmla="*/ 109927 h 289661"/>
                <a:gd name="connsiteX38" fmla="*/ 247650 w 311430"/>
                <a:gd name="connsiteY38" fmla="*/ 114690 h 289661"/>
                <a:gd name="connsiteX39" fmla="*/ 250825 w 311430"/>
                <a:gd name="connsiteY39" fmla="*/ 132152 h 289661"/>
                <a:gd name="connsiteX40" fmla="*/ 261937 w 311430"/>
                <a:gd name="connsiteY40" fmla="*/ 136915 h 289661"/>
                <a:gd name="connsiteX41" fmla="*/ 279400 w 311430"/>
                <a:gd name="connsiteY41" fmla="*/ 146440 h 289661"/>
                <a:gd name="connsiteX42" fmla="*/ 280987 w 311430"/>
                <a:gd name="connsiteY42" fmla="*/ 160727 h 289661"/>
                <a:gd name="connsiteX43" fmla="*/ 271462 w 311430"/>
                <a:gd name="connsiteY43" fmla="*/ 159140 h 289661"/>
                <a:gd name="connsiteX44" fmla="*/ 249237 w 311430"/>
                <a:gd name="connsiteY44" fmla="*/ 162315 h 289661"/>
                <a:gd name="connsiteX45" fmla="*/ 244475 w 311430"/>
                <a:gd name="connsiteY45" fmla="*/ 165490 h 289661"/>
                <a:gd name="connsiteX46" fmla="*/ 230187 w 311430"/>
                <a:gd name="connsiteY46" fmla="*/ 167077 h 289661"/>
                <a:gd name="connsiteX47" fmla="*/ 217487 w 311430"/>
                <a:gd name="connsiteY47" fmla="*/ 168665 h 289661"/>
                <a:gd name="connsiteX48" fmla="*/ 211137 w 311430"/>
                <a:gd name="connsiteY48" fmla="*/ 173427 h 289661"/>
                <a:gd name="connsiteX49" fmla="*/ 206375 w 311430"/>
                <a:gd name="connsiteY49" fmla="*/ 175015 h 289661"/>
                <a:gd name="connsiteX50" fmla="*/ 204787 w 311430"/>
                <a:gd name="connsiteY50" fmla="*/ 179777 h 289661"/>
                <a:gd name="connsiteX51" fmla="*/ 206375 w 311430"/>
                <a:gd name="connsiteY51" fmla="*/ 206765 h 289661"/>
                <a:gd name="connsiteX52" fmla="*/ 198437 w 311430"/>
                <a:gd name="connsiteY52" fmla="*/ 208352 h 289661"/>
                <a:gd name="connsiteX53" fmla="*/ 193675 w 311430"/>
                <a:gd name="connsiteY53" fmla="*/ 209940 h 289661"/>
                <a:gd name="connsiteX54" fmla="*/ 188912 w 311430"/>
                <a:gd name="connsiteY54" fmla="*/ 214702 h 289661"/>
                <a:gd name="connsiteX55" fmla="*/ 187325 w 311430"/>
                <a:gd name="connsiteY55" fmla="*/ 224227 h 289661"/>
                <a:gd name="connsiteX56" fmla="*/ 180975 w 311430"/>
                <a:gd name="connsiteY56" fmla="*/ 227402 h 289661"/>
                <a:gd name="connsiteX57" fmla="*/ 174625 w 311430"/>
                <a:gd name="connsiteY57" fmla="*/ 236927 h 289661"/>
                <a:gd name="connsiteX58" fmla="*/ 173037 w 311430"/>
                <a:gd name="connsiteY58" fmla="*/ 241690 h 289661"/>
                <a:gd name="connsiteX59" fmla="*/ 166687 w 311430"/>
                <a:gd name="connsiteY59" fmla="*/ 244865 h 289661"/>
                <a:gd name="connsiteX60" fmla="*/ 147637 w 311430"/>
                <a:gd name="connsiteY60" fmla="*/ 251215 h 289661"/>
                <a:gd name="connsiteX61" fmla="*/ 133350 w 311430"/>
                <a:gd name="connsiteY61" fmla="*/ 254390 h 289661"/>
                <a:gd name="connsiteX62" fmla="*/ 125412 w 311430"/>
                <a:gd name="connsiteY62" fmla="*/ 259152 h 289661"/>
                <a:gd name="connsiteX63" fmla="*/ 123825 w 311430"/>
                <a:gd name="connsiteY63" fmla="*/ 263915 h 289661"/>
                <a:gd name="connsiteX64" fmla="*/ 127000 w 311430"/>
                <a:gd name="connsiteY64" fmla="*/ 279790 h 289661"/>
                <a:gd name="connsiteX65" fmla="*/ 133350 w 311430"/>
                <a:gd name="connsiteY65" fmla="*/ 282965 h 289661"/>
                <a:gd name="connsiteX66" fmla="*/ 107950 w 311430"/>
                <a:gd name="connsiteY66" fmla="*/ 286140 h 289661"/>
                <a:gd name="connsiteX67" fmla="*/ 103187 w 311430"/>
                <a:gd name="connsiteY67" fmla="*/ 289315 h 289661"/>
                <a:gd name="connsiteX68" fmla="*/ 101600 w 311430"/>
                <a:gd name="connsiteY68" fmla="*/ 276615 h 289661"/>
                <a:gd name="connsiteX69" fmla="*/ 96837 w 311430"/>
                <a:gd name="connsiteY69" fmla="*/ 267090 h 289661"/>
                <a:gd name="connsiteX70" fmla="*/ 92075 w 311430"/>
                <a:gd name="connsiteY70" fmla="*/ 265502 h 289661"/>
                <a:gd name="connsiteX71" fmla="*/ 65087 w 311430"/>
                <a:gd name="connsiteY71" fmla="*/ 268677 h 289661"/>
                <a:gd name="connsiteX72" fmla="*/ 60325 w 311430"/>
                <a:gd name="connsiteY72" fmla="*/ 271852 h 289661"/>
                <a:gd name="connsiteX73" fmla="*/ 50800 w 311430"/>
                <a:gd name="connsiteY73" fmla="*/ 263915 h 289661"/>
                <a:gd name="connsiteX74" fmla="*/ 44450 w 311430"/>
                <a:gd name="connsiteY74" fmla="*/ 259152 h 289661"/>
                <a:gd name="connsiteX75" fmla="*/ 41275 w 311430"/>
                <a:gd name="connsiteY75" fmla="*/ 254390 h 289661"/>
                <a:gd name="connsiteX76" fmla="*/ 30162 w 311430"/>
                <a:gd name="connsiteY76" fmla="*/ 252802 h 289661"/>
                <a:gd name="connsiteX77" fmla="*/ 23812 w 311430"/>
                <a:gd name="connsiteY77" fmla="*/ 228990 h 289661"/>
                <a:gd name="connsiteX78" fmla="*/ 17462 w 311430"/>
                <a:gd name="connsiteY78" fmla="*/ 227402 h 289661"/>
                <a:gd name="connsiteX79" fmla="*/ 12700 w 311430"/>
                <a:gd name="connsiteY79" fmla="*/ 224227 h 289661"/>
                <a:gd name="connsiteX80" fmla="*/ 7937 w 311430"/>
                <a:gd name="connsiteY80" fmla="*/ 194065 h 289661"/>
                <a:gd name="connsiteX81" fmla="*/ 4762 w 311430"/>
                <a:gd name="connsiteY81" fmla="*/ 186127 h 289661"/>
                <a:gd name="connsiteX82" fmla="*/ 1587 w 311430"/>
                <a:gd name="connsiteY82" fmla="*/ 181365 h 289661"/>
                <a:gd name="connsiteX83" fmla="*/ 0 w 311430"/>
                <a:gd name="connsiteY83" fmla="*/ 173427 h 289661"/>
                <a:gd name="connsiteX84" fmla="*/ 1587 w 311430"/>
                <a:gd name="connsiteY84" fmla="*/ 165490 h 289661"/>
                <a:gd name="connsiteX85" fmla="*/ 9525 w 311430"/>
                <a:gd name="connsiteY85" fmla="*/ 163902 h 289661"/>
                <a:gd name="connsiteX86" fmla="*/ 19050 w 311430"/>
                <a:gd name="connsiteY86" fmla="*/ 165490 h 289661"/>
                <a:gd name="connsiteX87" fmla="*/ 31749 w 311430"/>
                <a:gd name="connsiteY87" fmla="*/ 178190 h 289661"/>
                <a:gd name="connsiteX88" fmla="*/ 38100 w 311430"/>
                <a:gd name="connsiteY88" fmla="*/ 179777 h 289661"/>
                <a:gd name="connsiteX89" fmla="*/ 44450 w 311430"/>
                <a:gd name="connsiteY89" fmla="*/ 179777 h 289661"/>
                <a:gd name="connsiteX90" fmla="*/ 52387 w 311430"/>
                <a:gd name="connsiteY90" fmla="*/ 179777 h 289661"/>
                <a:gd name="connsiteX91" fmla="*/ 69850 w 311430"/>
                <a:gd name="connsiteY91" fmla="*/ 178190 h 289661"/>
                <a:gd name="connsiteX92" fmla="*/ 71437 w 311430"/>
                <a:gd name="connsiteY92" fmla="*/ 171840 h 289661"/>
                <a:gd name="connsiteX93" fmla="*/ 79375 w 311430"/>
                <a:gd name="connsiteY93" fmla="*/ 157552 h 289661"/>
                <a:gd name="connsiteX94" fmla="*/ 100012 w 311430"/>
                <a:gd name="connsiteY94" fmla="*/ 152790 h 289661"/>
                <a:gd name="connsiteX95" fmla="*/ 103187 w 311430"/>
                <a:gd name="connsiteY95" fmla="*/ 143265 h 289661"/>
                <a:gd name="connsiteX96" fmla="*/ 98425 w 311430"/>
                <a:gd name="connsiteY96" fmla="*/ 125802 h 289661"/>
                <a:gd name="connsiteX0" fmla="*/ 98425 w 311430"/>
                <a:gd name="connsiteY0" fmla="*/ 125802 h 289661"/>
                <a:gd name="connsiteX1" fmla="*/ 106362 w 311430"/>
                <a:gd name="connsiteY1" fmla="*/ 124215 h 289661"/>
                <a:gd name="connsiteX2" fmla="*/ 120650 w 311430"/>
                <a:gd name="connsiteY2" fmla="*/ 125802 h 289661"/>
                <a:gd name="connsiteX3" fmla="*/ 139700 w 311430"/>
                <a:gd name="connsiteY3" fmla="*/ 121040 h 289661"/>
                <a:gd name="connsiteX4" fmla="*/ 144462 w 311430"/>
                <a:gd name="connsiteY4" fmla="*/ 117865 h 289661"/>
                <a:gd name="connsiteX5" fmla="*/ 165100 w 311430"/>
                <a:gd name="connsiteY5" fmla="*/ 121040 h 289661"/>
                <a:gd name="connsiteX6" fmla="*/ 180975 w 311430"/>
                <a:gd name="connsiteY6" fmla="*/ 114690 h 289661"/>
                <a:gd name="connsiteX7" fmla="*/ 184150 w 311430"/>
                <a:gd name="connsiteY7" fmla="*/ 105165 h 289661"/>
                <a:gd name="connsiteX8" fmla="*/ 195262 w 311430"/>
                <a:gd name="connsiteY8" fmla="*/ 100402 h 289661"/>
                <a:gd name="connsiteX9" fmla="*/ 204787 w 311430"/>
                <a:gd name="connsiteY9" fmla="*/ 87702 h 289661"/>
                <a:gd name="connsiteX10" fmla="*/ 207962 w 311430"/>
                <a:gd name="connsiteY10" fmla="*/ 82940 h 289661"/>
                <a:gd name="connsiteX11" fmla="*/ 212725 w 311430"/>
                <a:gd name="connsiteY11" fmla="*/ 81352 h 289661"/>
                <a:gd name="connsiteX12" fmla="*/ 223837 w 311430"/>
                <a:gd name="connsiteY12" fmla="*/ 78177 h 289661"/>
                <a:gd name="connsiteX13" fmla="*/ 227012 w 311430"/>
                <a:gd name="connsiteY13" fmla="*/ 73415 h 289661"/>
                <a:gd name="connsiteX14" fmla="*/ 241300 w 311430"/>
                <a:gd name="connsiteY14" fmla="*/ 62302 h 289661"/>
                <a:gd name="connsiteX15" fmla="*/ 246062 w 311430"/>
                <a:gd name="connsiteY15" fmla="*/ 55952 h 289661"/>
                <a:gd name="connsiteX16" fmla="*/ 249237 w 311430"/>
                <a:gd name="connsiteY16" fmla="*/ 49602 h 289661"/>
                <a:gd name="connsiteX17" fmla="*/ 254000 w 311430"/>
                <a:gd name="connsiteY17" fmla="*/ 48015 h 289661"/>
                <a:gd name="connsiteX18" fmla="*/ 263525 w 311430"/>
                <a:gd name="connsiteY18" fmla="*/ 46427 h 289661"/>
                <a:gd name="connsiteX19" fmla="*/ 271462 w 311430"/>
                <a:gd name="connsiteY19" fmla="*/ 33727 h 289661"/>
                <a:gd name="connsiteX20" fmla="*/ 273050 w 311430"/>
                <a:gd name="connsiteY20" fmla="*/ 25790 h 289661"/>
                <a:gd name="connsiteX21" fmla="*/ 288925 w 311430"/>
                <a:gd name="connsiteY21" fmla="*/ 21027 h 289661"/>
                <a:gd name="connsiteX22" fmla="*/ 298450 w 311430"/>
                <a:gd name="connsiteY22" fmla="*/ 13090 h 289661"/>
                <a:gd name="connsiteX23" fmla="*/ 303212 w 311430"/>
                <a:gd name="connsiteY23" fmla="*/ 8327 h 289661"/>
                <a:gd name="connsiteX24" fmla="*/ 307975 w 311430"/>
                <a:gd name="connsiteY24" fmla="*/ 5152 h 289661"/>
                <a:gd name="connsiteX25" fmla="*/ 311150 w 311430"/>
                <a:gd name="connsiteY25" fmla="*/ 390 h 289661"/>
                <a:gd name="connsiteX26" fmla="*/ 309562 w 311430"/>
                <a:gd name="connsiteY26" fmla="*/ 9915 h 289661"/>
                <a:gd name="connsiteX27" fmla="*/ 306387 w 311430"/>
                <a:gd name="connsiteY27" fmla="*/ 22615 h 289661"/>
                <a:gd name="connsiteX28" fmla="*/ 301625 w 311430"/>
                <a:gd name="connsiteY28" fmla="*/ 28965 h 289661"/>
                <a:gd name="connsiteX29" fmla="*/ 295275 w 311430"/>
                <a:gd name="connsiteY29" fmla="*/ 38490 h 289661"/>
                <a:gd name="connsiteX30" fmla="*/ 282575 w 311430"/>
                <a:gd name="connsiteY30" fmla="*/ 65477 h 289661"/>
                <a:gd name="connsiteX31" fmla="*/ 276225 w 311430"/>
                <a:gd name="connsiteY31" fmla="*/ 67065 h 289661"/>
                <a:gd name="connsiteX32" fmla="*/ 273050 w 311430"/>
                <a:gd name="connsiteY32" fmla="*/ 71827 h 289661"/>
                <a:gd name="connsiteX33" fmla="*/ 269875 w 311430"/>
                <a:gd name="connsiteY33" fmla="*/ 81352 h 289661"/>
                <a:gd name="connsiteX34" fmla="*/ 265112 w 311430"/>
                <a:gd name="connsiteY34" fmla="*/ 86115 h 289661"/>
                <a:gd name="connsiteX35" fmla="*/ 261937 w 311430"/>
                <a:gd name="connsiteY35" fmla="*/ 90877 h 289661"/>
                <a:gd name="connsiteX36" fmla="*/ 260350 w 311430"/>
                <a:gd name="connsiteY36" fmla="*/ 108340 h 289661"/>
                <a:gd name="connsiteX37" fmla="*/ 249237 w 311430"/>
                <a:gd name="connsiteY37" fmla="*/ 109927 h 289661"/>
                <a:gd name="connsiteX38" fmla="*/ 247650 w 311430"/>
                <a:gd name="connsiteY38" fmla="*/ 114690 h 289661"/>
                <a:gd name="connsiteX39" fmla="*/ 250825 w 311430"/>
                <a:gd name="connsiteY39" fmla="*/ 132152 h 289661"/>
                <a:gd name="connsiteX40" fmla="*/ 261937 w 311430"/>
                <a:gd name="connsiteY40" fmla="*/ 136915 h 289661"/>
                <a:gd name="connsiteX41" fmla="*/ 279400 w 311430"/>
                <a:gd name="connsiteY41" fmla="*/ 146440 h 289661"/>
                <a:gd name="connsiteX42" fmla="*/ 280987 w 311430"/>
                <a:gd name="connsiteY42" fmla="*/ 160727 h 289661"/>
                <a:gd name="connsiteX43" fmla="*/ 271462 w 311430"/>
                <a:gd name="connsiteY43" fmla="*/ 159140 h 289661"/>
                <a:gd name="connsiteX44" fmla="*/ 249237 w 311430"/>
                <a:gd name="connsiteY44" fmla="*/ 162315 h 289661"/>
                <a:gd name="connsiteX45" fmla="*/ 244475 w 311430"/>
                <a:gd name="connsiteY45" fmla="*/ 165490 h 289661"/>
                <a:gd name="connsiteX46" fmla="*/ 230187 w 311430"/>
                <a:gd name="connsiteY46" fmla="*/ 167077 h 289661"/>
                <a:gd name="connsiteX47" fmla="*/ 217487 w 311430"/>
                <a:gd name="connsiteY47" fmla="*/ 168665 h 289661"/>
                <a:gd name="connsiteX48" fmla="*/ 211137 w 311430"/>
                <a:gd name="connsiteY48" fmla="*/ 173427 h 289661"/>
                <a:gd name="connsiteX49" fmla="*/ 206375 w 311430"/>
                <a:gd name="connsiteY49" fmla="*/ 175015 h 289661"/>
                <a:gd name="connsiteX50" fmla="*/ 204787 w 311430"/>
                <a:gd name="connsiteY50" fmla="*/ 179777 h 289661"/>
                <a:gd name="connsiteX51" fmla="*/ 206375 w 311430"/>
                <a:gd name="connsiteY51" fmla="*/ 206765 h 289661"/>
                <a:gd name="connsiteX52" fmla="*/ 198437 w 311430"/>
                <a:gd name="connsiteY52" fmla="*/ 208352 h 289661"/>
                <a:gd name="connsiteX53" fmla="*/ 193675 w 311430"/>
                <a:gd name="connsiteY53" fmla="*/ 209940 h 289661"/>
                <a:gd name="connsiteX54" fmla="*/ 188912 w 311430"/>
                <a:gd name="connsiteY54" fmla="*/ 214702 h 289661"/>
                <a:gd name="connsiteX55" fmla="*/ 187325 w 311430"/>
                <a:gd name="connsiteY55" fmla="*/ 224227 h 289661"/>
                <a:gd name="connsiteX56" fmla="*/ 180975 w 311430"/>
                <a:gd name="connsiteY56" fmla="*/ 227402 h 289661"/>
                <a:gd name="connsiteX57" fmla="*/ 174625 w 311430"/>
                <a:gd name="connsiteY57" fmla="*/ 236927 h 289661"/>
                <a:gd name="connsiteX58" fmla="*/ 173037 w 311430"/>
                <a:gd name="connsiteY58" fmla="*/ 241690 h 289661"/>
                <a:gd name="connsiteX59" fmla="*/ 166687 w 311430"/>
                <a:gd name="connsiteY59" fmla="*/ 244865 h 289661"/>
                <a:gd name="connsiteX60" fmla="*/ 147637 w 311430"/>
                <a:gd name="connsiteY60" fmla="*/ 251215 h 289661"/>
                <a:gd name="connsiteX61" fmla="*/ 133350 w 311430"/>
                <a:gd name="connsiteY61" fmla="*/ 254390 h 289661"/>
                <a:gd name="connsiteX62" fmla="*/ 125412 w 311430"/>
                <a:gd name="connsiteY62" fmla="*/ 259152 h 289661"/>
                <a:gd name="connsiteX63" fmla="*/ 123825 w 311430"/>
                <a:gd name="connsiteY63" fmla="*/ 263915 h 289661"/>
                <a:gd name="connsiteX64" fmla="*/ 127000 w 311430"/>
                <a:gd name="connsiteY64" fmla="*/ 279790 h 289661"/>
                <a:gd name="connsiteX65" fmla="*/ 133350 w 311430"/>
                <a:gd name="connsiteY65" fmla="*/ 282965 h 289661"/>
                <a:gd name="connsiteX66" fmla="*/ 107950 w 311430"/>
                <a:gd name="connsiteY66" fmla="*/ 286140 h 289661"/>
                <a:gd name="connsiteX67" fmla="*/ 103187 w 311430"/>
                <a:gd name="connsiteY67" fmla="*/ 289315 h 289661"/>
                <a:gd name="connsiteX68" fmla="*/ 101600 w 311430"/>
                <a:gd name="connsiteY68" fmla="*/ 276615 h 289661"/>
                <a:gd name="connsiteX69" fmla="*/ 96837 w 311430"/>
                <a:gd name="connsiteY69" fmla="*/ 267090 h 289661"/>
                <a:gd name="connsiteX70" fmla="*/ 92075 w 311430"/>
                <a:gd name="connsiteY70" fmla="*/ 265502 h 289661"/>
                <a:gd name="connsiteX71" fmla="*/ 65087 w 311430"/>
                <a:gd name="connsiteY71" fmla="*/ 268677 h 289661"/>
                <a:gd name="connsiteX72" fmla="*/ 60325 w 311430"/>
                <a:gd name="connsiteY72" fmla="*/ 271852 h 289661"/>
                <a:gd name="connsiteX73" fmla="*/ 50800 w 311430"/>
                <a:gd name="connsiteY73" fmla="*/ 263915 h 289661"/>
                <a:gd name="connsiteX74" fmla="*/ 44450 w 311430"/>
                <a:gd name="connsiteY74" fmla="*/ 259152 h 289661"/>
                <a:gd name="connsiteX75" fmla="*/ 41275 w 311430"/>
                <a:gd name="connsiteY75" fmla="*/ 254390 h 289661"/>
                <a:gd name="connsiteX76" fmla="*/ 30162 w 311430"/>
                <a:gd name="connsiteY76" fmla="*/ 252802 h 289661"/>
                <a:gd name="connsiteX77" fmla="*/ 23812 w 311430"/>
                <a:gd name="connsiteY77" fmla="*/ 228990 h 289661"/>
                <a:gd name="connsiteX78" fmla="*/ 17462 w 311430"/>
                <a:gd name="connsiteY78" fmla="*/ 227402 h 289661"/>
                <a:gd name="connsiteX79" fmla="*/ 12700 w 311430"/>
                <a:gd name="connsiteY79" fmla="*/ 224227 h 289661"/>
                <a:gd name="connsiteX80" fmla="*/ 7937 w 311430"/>
                <a:gd name="connsiteY80" fmla="*/ 194065 h 289661"/>
                <a:gd name="connsiteX81" fmla="*/ 4762 w 311430"/>
                <a:gd name="connsiteY81" fmla="*/ 186127 h 289661"/>
                <a:gd name="connsiteX82" fmla="*/ 1587 w 311430"/>
                <a:gd name="connsiteY82" fmla="*/ 181365 h 289661"/>
                <a:gd name="connsiteX83" fmla="*/ 0 w 311430"/>
                <a:gd name="connsiteY83" fmla="*/ 173427 h 289661"/>
                <a:gd name="connsiteX84" fmla="*/ 1587 w 311430"/>
                <a:gd name="connsiteY84" fmla="*/ 165490 h 289661"/>
                <a:gd name="connsiteX85" fmla="*/ 9525 w 311430"/>
                <a:gd name="connsiteY85" fmla="*/ 163902 h 289661"/>
                <a:gd name="connsiteX86" fmla="*/ 22225 w 311430"/>
                <a:gd name="connsiteY86" fmla="*/ 171840 h 289661"/>
                <a:gd name="connsiteX87" fmla="*/ 31749 w 311430"/>
                <a:gd name="connsiteY87" fmla="*/ 178190 h 289661"/>
                <a:gd name="connsiteX88" fmla="*/ 38100 w 311430"/>
                <a:gd name="connsiteY88" fmla="*/ 179777 h 289661"/>
                <a:gd name="connsiteX89" fmla="*/ 44450 w 311430"/>
                <a:gd name="connsiteY89" fmla="*/ 179777 h 289661"/>
                <a:gd name="connsiteX90" fmla="*/ 52387 w 311430"/>
                <a:gd name="connsiteY90" fmla="*/ 179777 h 289661"/>
                <a:gd name="connsiteX91" fmla="*/ 69850 w 311430"/>
                <a:gd name="connsiteY91" fmla="*/ 178190 h 289661"/>
                <a:gd name="connsiteX92" fmla="*/ 71437 w 311430"/>
                <a:gd name="connsiteY92" fmla="*/ 171840 h 289661"/>
                <a:gd name="connsiteX93" fmla="*/ 79375 w 311430"/>
                <a:gd name="connsiteY93" fmla="*/ 157552 h 289661"/>
                <a:gd name="connsiteX94" fmla="*/ 100012 w 311430"/>
                <a:gd name="connsiteY94" fmla="*/ 152790 h 289661"/>
                <a:gd name="connsiteX95" fmla="*/ 103187 w 311430"/>
                <a:gd name="connsiteY95" fmla="*/ 143265 h 289661"/>
                <a:gd name="connsiteX96" fmla="*/ 98425 w 311430"/>
                <a:gd name="connsiteY96" fmla="*/ 125802 h 289661"/>
                <a:gd name="connsiteX0" fmla="*/ 98425 w 311430"/>
                <a:gd name="connsiteY0" fmla="*/ 125802 h 289661"/>
                <a:gd name="connsiteX1" fmla="*/ 106362 w 311430"/>
                <a:gd name="connsiteY1" fmla="*/ 124215 h 289661"/>
                <a:gd name="connsiteX2" fmla="*/ 120650 w 311430"/>
                <a:gd name="connsiteY2" fmla="*/ 125802 h 289661"/>
                <a:gd name="connsiteX3" fmla="*/ 139700 w 311430"/>
                <a:gd name="connsiteY3" fmla="*/ 121040 h 289661"/>
                <a:gd name="connsiteX4" fmla="*/ 144462 w 311430"/>
                <a:gd name="connsiteY4" fmla="*/ 117865 h 289661"/>
                <a:gd name="connsiteX5" fmla="*/ 165100 w 311430"/>
                <a:gd name="connsiteY5" fmla="*/ 121040 h 289661"/>
                <a:gd name="connsiteX6" fmla="*/ 180975 w 311430"/>
                <a:gd name="connsiteY6" fmla="*/ 114690 h 289661"/>
                <a:gd name="connsiteX7" fmla="*/ 184150 w 311430"/>
                <a:gd name="connsiteY7" fmla="*/ 105165 h 289661"/>
                <a:gd name="connsiteX8" fmla="*/ 195262 w 311430"/>
                <a:gd name="connsiteY8" fmla="*/ 100402 h 289661"/>
                <a:gd name="connsiteX9" fmla="*/ 204787 w 311430"/>
                <a:gd name="connsiteY9" fmla="*/ 87702 h 289661"/>
                <a:gd name="connsiteX10" fmla="*/ 207962 w 311430"/>
                <a:gd name="connsiteY10" fmla="*/ 82940 h 289661"/>
                <a:gd name="connsiteX11" fmla="*/ 212725 w 311430"/>
                <a:gd name="connsiteY11" fmla="*/ 81352 h 289661"/>
                <a:gd name="connsiteX12" fmla="*/ 223837 w 311430"/>
                <a:gd name="connsiteY12" fmla="*/ 78177 h 289661"/>
                <a:gd name="connsiteX13" fmla="*/ 227012 w 311430"/>
                <a:gd name="connsiteY13" fmla="*/ 73415 h 289661"/>
                <a:gd name="connsiteX14" fmla="*/ 241300 w 311430"/>
                <a:gd name="connsiteY14" fmla="*/ 62302 h 289661"/>
                <a:gd name="connsiteX15" fmla="*/ 246062 w 311430"/>
                <a:gd name="connsiteY15" fmla="*/ 55952 h 289661"/>
                <a:gd name="connsiteX16" fmla="*/ 249237 w 311430"/>
                <a:gd name="connsiteY16" fmla="*/ 49602 h 289661"/>
                <a:gd name="connsiteX17" fmla="*/ 254000 w 311430"/>
                <a:gd name="connsiteY17" fmla="*/ 48015 h 289661"/>
                <a:gd name="connsiteX18" fmla="*/ 263525 w 311430"/>
                <a:gd name="connsiteY18" fmla="*/ 46427 h 289661"/>
                <a:gd name="connsiteX19" fmla="*/ 271462 w 311430"/>
                <a:gd name="connsiteY19" fmla="*/ 33727 h 289661"/>
                <a:gd name="connsiteX20" fmla="*/ 273050 w 311430"/>
                <a:gd name="connsiteY20" fmla="*/ 25790 h 289661"/>
                <a:gd name="connsiteX21" fmla="*/ 288925 w 311430"/>
                <a:gd name="connsiteY21" fmla="*/ 21027 h 289661"/>
                <a:gd name="connsiteX22" fmla="*/ 298450 w 311430"/>
                <a:gd name="connsiteY22" fmla="*/ 13090 h 289661"/>
                <a:gd name="connsiteX23" fmla="*/ 303212 w 311430"/>
                <a:gd name="connsiteY23" fmla="*/ 8327 h 289661"/>
                <a:gd name="connsiteX24" fmla="*/ 307975 w 311430"/>
                <a:gd name="connsiteY24" fmla="*/ 5152 h 289661"/>
                <a:gd name="connsiteX25" fmla="*/ 311150 w 311430"/>
                <a:gd name="connsiteY25" fmla="*/ 390 h 289661"/>
                <a:gd name="connsiteX26" fmla="*/ 309562 w 311430"/>
                <a:gd name="connsiteY26" fmla="*/ 9915 h 289661"/>
                <a:gd name="connsiteX27" fmla="*/ 306387 w 311430"/>
                <a:gd name="connsiteY27" fmla="*/ 22615 h 289661"/>
                <a:gd name="connsiteX28" fmla="*/ 301625 w 311430"/>
                <a:gd name="connsiteY28" fmla="*/ 28965 h 289661"/>
                <a:gd name="connsiteX29" fmla="*/ 295275 w 311430"/>
                <a:gd name="connsiteY29" fmla="*/ 38490 h 289661"/>
                <a:gd name="connsiteX30" fmla="*/ 282575 w 311430"/>
                <a:gd name="connsiteY30" fmla="*/ 65477 h 289661"/>
                <a:gd name="connsiteX31" fmla="*/ 276225 w 311430"/>
                <a:gd name="connsiteY31" fmla="*/ 67065 h 289661"/>
                <a:gd name="connsiteX32" fmla="*/ 273050 w 311430"/>
                <a:gd name="connsiteY32" fmla="*/ 71827 h 289661"/>
                <a:gd name="connsiteX33" fmla="*/ 269875 w 311430"/>
                <a:gd name="connsiteY33" fmla="*/ 81352 h 289661"/>
                <a:gd name="connsiteX34" fmla="*/ 265112 w 311430"/>
                <a:gd name="connsiteY34" fmla="*/ 86115 h 289661"/>
                <a:gd name="connsiteX35" fmla="*/ 261937 w 311430"/>
                <a:gd name="connsiteY35" fmla="*/ 90877 h 289661"/>
                <a:gd name="connsiteX36" fmla="*/ 260350 w 311430"/>
                <a:gd name="connsiteY36" fmla="*/ 108340 h 289661"/>
                <a:gd name="connsiteX37" fmla="*/ 249237 w 311430"/>
                <a:gd name="connsiteY37" fmla="*/ 109927 h 289661"/>
                <a:gd name="connsiteX38" fmla="*/ 247650 w 311430"/>
                <a:gd name="connsiteY38" fmla="*/ 114690 h 289661"/>
                <a:gd name="connsiteX39" fmla="*/ 250825 w 311430"/>
                <a:gd name="connsiteY39" fmla="*/ 132152 h 289661"/>
                <a:gd name="connsiteX40" fmla="*/ 261937 w 311430"/>
                <a:gd name="connsiteY40" fmla="*/ 136915 h 289661"/>
                <a:gd name="connsiteX41" fmla="*/ 279400 w 311430"/>
                <a:gd name="connsiteY41" fmla="*/ 146440 h 289661"/>
                <a:gd name="connsiteX42" fmla="*/ 280987 w 311430"/>
                <a:gd name="connsiteY42" fmla="*/ 160727 h 289661"/>
                <a:gd name="connsiteX43" fmla="*/ 271462 w 311430"/>
                <a:gd name="connsiteY43" fmla="*/ 159140 h 289661"/>
                <a:gd name="connsiteX44" fmla="*/ 249237 w 311430"/>
                <a:gd name="connsiteY44" fmla="*/ 162315 h 289661"/>
                <a:gd name="connsiteX45" fmla="*/ 244475 w 311430"/>
                <a:gd name="connsiteY45" fmla="*/ 165490 h 289661"/>
                <a:gd name="connsiteX46" fmla="*/ 230187 w 311430"/>
                <a:gd name="connsiteY46" fmla="*/ 167077 h 289661"/>
                <a:gd name="connsiteX47" fmla="*/ 217487 w 311430"/>
                <a:gd name="connsiteY47" fmla="*/ 168665 h 289661"/>
                <a:gd name="connsiteX48" fmla="*/ 211137 w 311430"/>
                <a:gd name="connsiteY48" fmla="*/ 173427 h 289661"/>
                <a:gd name="connsiteX49" fmla="*/ 206375 w 311430"/>
                <a:gd name="connsiteY49" fmla="*/ 175015 h 289661"/>
                <a:gd name="connsiteX50" fmla="*/ 204787 w 311430"/>
                <a:gd name="connsiteY50" fmla="*/ 179777 h 289661"/>
                <a:gd name="connsiteX51" fmla="*/ 206375 w 311430"/>
                <a:gd name="connsiteY51" fmla="*/ 206765 h 289661"/>
                <a:gd name="connsiteX52" fmla="*/ 198437 w 311430"/>
                <a:gd name="connsiteY52" fmla="*/ 208352 h 289661"/>
                <a:gd name="connsiteX53" fmla="*/ 193675 w 311430"/>
                <a:gd name="connsiteY53" fmla="*/ 209940 h 289661"/>
                <a:gd name="connsiteX54" fmla="*/ 188912 w 311430"/>
                <a:gd name="connsiteY54" fmla="*/ 214702 h 289661"/>
                <a:gd name="connsiteX55" fmla="*/ 187325 w 311430"/>
                <a:gd name="connsiteY55" fmla="*/ 224227 h 289661"/>
                <a:gd name="connsiteX56" fmla="*/ 180975 w 311430"/>
                <a:gd name="connsiteY56" fmla="*/ 227402 h 289661"/>
                <a:gd name="connsiteX57" fmla="*/ 174625 w 311430"/>
                <a:gd name="connsiteY57" fmla="*/ 236927 h 289661"/>
                <a:gd name="connsiteX58" fmla="*/ 173037 w 311430"/>
                <a:gd name="connsiteY58" fmla="*/ 241690 h 289661"/>
                <a:gd name="connsiteX59" fmla="*/ 166687 w 311430"/>
                <a:gd name="connsiteY59" fmla="*/ 244865 h 289661"/>
                <a:gd name="connsiteX60" fmla="*/ 147637 w 311430"/>
                <a:gd name="connsiteY60" fmla="*/ 251215 h 289661"/>
                <a:gd name="connsiteX61" fmla="*/ 133350 w 311430"/>
                <a:gd name="connsiteY61" fmla="*/ 254390 h 289661"/>
                <a:gd name="connsiteX62" fmla="*/ 125412 w 311430"/>
                <a:gd name="connsiteY62" fmla="*/ 259152 h 289661"/>
                <a:gd name="connsiteX63" fmla="*/ 123825 w 311430"/>
                <a:gd name="connsiteY63" fmla="*/ 263915 h 289661"/>
                <a:gd name="connsiteX64" fmla="*/ 127000 w 311430"/>
                <a:gd name="connsiteY64" fmla="*/ 279790 h 289661"/>
                <a:gd name="connsiteX65" fmla="*/ 133350 w 311430"/>
                <a:gd name="connsiteY65" fmla="*/ 282965 h 289661"/>
                <a:gd name="connsiteX66" fmla="*/ 107950 w 311430"/>
                <a:gd name="connsiteY66" fmla="*/ 286140 h 289661"/>
                <a:gd name="connsiteX67" fmla="*/ 103187 w 311430"/>
                <a:gd name="connsiteY67" fmla="*/ 289315 h 289661"/>
                <a:gd name="connsiteX68" fmla="*/ 101600 w 311430"/>
                <a:gd name="connsiteY68" fmla="*/ 276615 h 289661"/>
                <a:gd name="connsiteX69" fmla="*/ 96837 w 311430"/>
                <a:gd name="connsiteY69" fmla="*/ 267090 h 289661"/>
                <a:gd name="connsiteX70" fmla="*/ 92075 w 311430"/>
                <a:gd name="connsiteY70" fmla="*/ 265502 h 289661"/>
                <a:gd name="connsiteX71" fmla="*/ 65087 w 311430"/>
                <a:gd name="connsiteY71" fmla="*/ 268677 h 289661"/>
                <a:gd name="connsiteX72" fmla="*/ 60325 w 311430"/>
                <a:gd name="connsiteY72" fmla="*/ 271852 h 289661"/>
                <a:gd name="connsiteX73" fmla="*/ 50800 w 311430"/>
                <a:gd name="connsiteY73" fmla="*/ 263915 h 289661"/>
                <a:gd name="connsiteX74" fmla="*/ 44450 w 311430"/>
                <a:gd name="connsiteY74" fmla="*/ 259152 h 289661"/>
                <a:gd name="connsiteX75" fmla="*/ 41275 w 311430"/>
                <a:gd name="connsiteY75" fmla="*/ 254390 h 289661"/>
                <a:gd name="connsiteX76" fmla="*/ 30162 w 311430"/>
                <a:gd name="connsiteY76" fmla="*/ 252802 h 289661"/>
                <a:gd name="connsiteX77" fmla="*/ 23812 w 311430"/>
                <a:gd name="connsiteY77" fmla="*/ 228990 h 289661"/>
                <a:gd name="connsiteX78" fmla="*/ 17462 w 311430"/>
                <a:gd name="connsiteY78" fmla="*/ 227402 h 289661"/>
                <a:gd name="connsiteX79" fmla="*/ 12700 w 311430"/>
                <a:gd name="connsiteY79" fmla="*/ 224227 h 289661"/>
                <a:gd name="connsiteX80" fmla="*/ 7937 w 311430"/>
                <a:gd name="connsiteY80" fmla="*/ 194065 h 289661"/>
                <a:gd name="connsiteX81" fmla="*/ 4762 w 311430"/>
                <a:gd name="connsiteY81" fmla="*/ 186127 h 289661"/>
                <a:gd name="connsiteX82" fmla="*/ 1587 w 311430"/>
                <a:gd name="connsiteY82" fmla="*/ 181365 h 289661"/>
                <a:gd name="connsiteX83" fmla="*/ 0 w 311430"/>
                <a:gd name="connsiteY83" fmla="*/ 173427 h 289661"/>
                <a:gd name="connsiteX84" fmla="*/ 1587 w 311430"/>
                <a:gd name="connsiteY84" fmla="*/ 165490 h 289661"/>
                <a:gd name="connsiteX85" fmla="*/ 9525 w 311430"/>
                <a:gd name="connsiteY85" fmla="*/ 163902 h 289661"/>
                <a:gd name="connsiteX86" fmla="*/ 22225 w 311430"/>
                <a:gd name="connsiteY86" fmla="*/ 171840 h 289661"/>
                <a:gd name="connsiteX87" fmla="*/ 31749 w 311430"/>
                <a:gd name="connsiteY87" fmla="*/ 178190 h 289661"/>
                <a:gd name="connsiteX88" fmla="*/ 38100 w 311430"/>
                <a:gd name="connsiteY88" fmla="*/ 179777 h 289661"/>
                <a:gd name="connsiteX89" fmla="*/ 44450 w 311430"/>
                <a:gd name="connsiteY89" fmla="*/ 179777 h 289661"/>
                <a:gd name="connsiteX90" fmla="*/ 52387 w 311430"/>
                <a:gd name="connsiteY90" fmla="*/ 179777 h 289661"/>
                <a:gd name="connsiteX91" fmla="*/ 69850 w 311430"/>
                <a:gd name="connsiteY91" fmla="*/ 178190 h 289661"/>
                <a:gd name="connsiteX92" fmla="*/ 60325 w 311430"/>
                <a:gd name="connsiteY92" fmla="*/ 167077 h 289661"/>
                <a:gd name="connsiteX93" fmla="*/ 79375 w 311430"/>
                <a:gd name="connsiteY93" fmla="*/ 157552 h 289661"/>
                <a:gd name="connsiteX94" fmla="*/ 100012 w 311430"/>
                <a:gd name="connsiteY94" fmla="*/ 152790 h 289661"/>
                <a:gd name="connsiteX95" fmla="*/ 103187 w 311430"/>
                <a:gd name="connsiteY95" fmla="*/ 143265 h 289661"/>
                <a:gd name="connsiteX96" fmla="*/ 98425 w 311430"/>
                <a:gd name="connsiteY96" fmla="*/ 125802 h 289661"/>
                <a:gd name="connsiteX0" fmla="*/ 98425 w 311430"/>
                <a:gd name="connsiteY0" fmla="*/ 125802 h 289661"/>
                <a:gd name="connsiteX1" fmla="*/ 106362 w 311430"/>
                <a:gd name="connsiteY1" fmla="*/ 124215 h 289661"/>
                <a:gd name="connsiteX2" fmla="*/ 120650 w 311430"/>
                <a:gd name="connsiteY2" fmla="*/ 125802 h 289661"/>
                <a:gd name="connsiteX3" fmla="*/ 139700 w 311430"/>
                <a:gd name="connsiteY3" fmla="*/ 121040 h 289661"/>
                <a:gd name="connsiteX4" fmla="*/ 144462 w 311430"/>
                <a:gd name="connsiteY4" fmla="*/ 117865 h 289661"/>
                <a:gd name="connsiteX5" fmla="*/ 165100 w 311430"/>
                <a:gd name="connsiteY5" fmla="*/ 121040 h 289661"/>
                <a:gd name="connsiteX6" fmla="*/ 180975 w 311430"/>
                <a:gd name="connsiteY6" fmla="*/ 114690 h 289661"/>
                <a:gd name="connsiteX7" fmla="*/ 184150 w 311430"/>
                <a:gd name="connsiteY7" fmla="*/ 105165 h 289661"/>
                <a:gd name="connsiteX8" fmla="*/ 195262 w 311430"/>
                <a:gd name="connsiteY8" fmla="*/ 100402 h 289661"/>
                <a:gd name="connsiteX9" fmla="*/ 204787 w 311430"/>
                <a:gd name="connsiteY9" fmla="*/ 87702 h 289661"/>
                <a:gd name="connsiteX10" fmla="*/ 207962 w 311430"/>
                <a:gd name="connsiteY10" fmla="*/ 82940 h 289661"/>
                <a:gd name="connsiteX11" fmla="*/ 212725 w 311430"/>
                <a:gd name="connsiteY11" fmla="*/ 81352 h 289661"/>
                <a:gd name="connsiteX12" fmla="*/ 223837 w 311430"/>
                <a:gd name="connsiteY12" fmla="*/ 78177 h 289661"/>
                <a:gd name="connsiteX13" fmla="*/ 227012 w 311430"/>
                <a:gd name="connsiteY13" fmla="*/ 73415 h 289661"/>
                <a:gd name="connsiteX14" fmla="*/ 241300 w 311430"/>
                <a:gd name="connsiteY14" fmla="*/ 62302 h 289661"/>
                <a:gd name="connsiteX15" fmla="*/ 246062 w 311430"/>
                <a:gd name="connsiteY15" fmla="*/ 55952 h 289661"/>
                <a:gd name="connsiteX16" fmla="*/ 249237 w 311430"/>
                <a:gd name="connsiteY16" fmla="*/ 49602 h 289661"/>
                <a:gd name="connsiteX17" fmla="*/ 254000 w 311430"/>
                <a:gd name="connsiteY17" fmla="*/ 48015 h 289661"/>
                <a:gd name="connsiteX18" fmla="*/ 263525 w 311430"/>
                <a:gd name="connsiteY18" fmla="*/ 46427 h 289661"/>
                <a:gd name="connsiteX19" fmla="*/ 271462 w 311430"/>
                <a:gd name="connsiteY19" fmla="*/ 33727 h 289661"/>
                <a:gd name="connsiteX20" fmla="*/ 273050 w 311430"/>
                <a:gd name="connsiteY20" fmla="*/ 25790 h 289661"/>
                <a:gd name="connsiteX21" fmla="*/ 288925 w 311430"/>
                <a:gd name="connsiteY21" fmla="*/ 21027 h 289661"/>
                <a:gd name="connsiteX22" fmla="*/ 298450 w 311430"/>
                <a:gd name="connsiteY22" fmla="*/ 13090 h 289661"/>
                <a:gd name="connsiteX23" fmla="*/ 303212 w 311430"/>
                <a:gd name="connsiteY23" fmla="*/ 8327 h 289661"/>
                <a:gd name="connsiteX24" fmla="*/ 307975 w 311430"/>
                <a:gd name="connsiteY24" fmla="*/ 5152 h 289661"/>
                <a:gd name="connsiteX25" fmla="*/ 311150 w 311430"/>
                <a:gd name="connsiteY25" fmla="*/ 390 h 289661"/>
                <a:gd name="connsiteX26" fmla="*/ 309562 w 311430"/>
                <a:gd name="connsiteY26" fmla="*/ 9915 h 289661"/>
                <a:gd name="connsiteX27" fmla="*/ 306387 w 311430"/>
                <a:gd name="connsiteY27" fmla="*/ 22615 h 289661"/>
                <a:gd name="connsiteX28" fmla="*/ 301625 w 311430"/>
                <a:gd name="connsiteY28" fmla="*/ 28965 h 289661"/>
                <a:gd name="connsiteX29" fmla="*/ 295275 w 311430"/>
                <a:gd name="connsiteY29" fmla="*/ 38490 h 289661"/>
                <a:gd name="connsiteX30" fmla="*/ 282575 w 311430"/>
                <a:gd name="connsiteY30" fmla="*/ 65477 h 289661"/>
                <a:gd name="connsiteX31" fmla="*/ 276225 w 311430"/>
                <a:gd name="connsiteY31" fmla="*/ 67065 h 289661"/>
                <a:gd name="connsiteX32" fmla="*/ 273050 w 311430"/>
                <a:gd name="connsiteY32" fmla="*/ 71827 h 289661"/>
                <a:gd name="connsiteX33" fmla="*/ 269875 w 311430"/>
                <a:gd name="connsiteY33" fmla="*/ 81352 h 289661"/>
                <a:gd name="connsiteX34" fmla="*/ 265112 w 311430"/>
                <a:gd name="connsiteY34" fmla="*/ 86115 h 289661"/>
                <a:gd name="connsiteX35" fmla="*/ 261937 w 311430"/>
                <a:gd name="connsiteY35" fmla="*/ 90877 h 289661"/>
                <a:gd name="connsiteX36" fmla="*/ 260350 w 311430"/>
                <a:gd name="connsiteY36" fmla="*/ 108340 h 289661"/>
                <a:gd name="connsiteX37" fmla="*/ 249237 w 311430"/>
                <a:gd name="connsiteY37" fmla="*/ 109927 h 289661"/>
                <a:gd name="connsiteX38" fmla="*/ 247650 w 311430"/>
                <a:gd name="connsiteY38" fmla="*/ 114690 h 289661"/>
                <a:gd name="connsiteX39" fmla="*/ 250825 w 311430"/>
                <a:gd name="connsiteY39" fmla="*/ 132152 h 289661"/>
                <a:gd name="connsiteX40" fmla="*/ 261937 w 311430"/>
                <a:gd name="connsiteY40" fmla="*/ 136915 h 289661"/>
                <a:gd name="connsiteX41" fmla="*/ 279400 w 311430"/>
                <a:gd name="connsiteY41" fmla="*/ 146440 h 289661"/>
                <a:gd name="connsiteX42" fmla="*/ 280987 w 311430"/>
                <a:gd name="connsiteY42" fmla="*/ 160727 h 289661"/>
                <a:gd name="connsiteX43" fmla="*/ 271462 w 311430"/>
                <a:gd name="connsiteY43" fmla="*/ 159140 h 289661"/>
                <a:gd name="connsiteX44" fmla="*/ 249237 w 311430"/>
                <a:gd name="connsiteY44" fmla="*/ 162315 h 289661"/>
                <a:gd name="connsiteX45" fmla="*/ 244475 w 311430"/>
                <a:gd name="connsiteY45" fmla="*/ 165490 h 289661"/>
                <a:gd name="connsiteX46" fmla="*/ 230187 w 311430"/>
                <a:gd name="connsiteY46" fmla="*/ 167077 h 289661"/>
                <a:gd name="connsiteX47" fmla="*/ 217487 w 311430"/>
                <a:gd name="connsiteY47" fmla="*/ 168665 h 289661"/>
                <a:gd name="connsiteX48" fmla="*/ 211137 w 311430"/>
                <a:gd name="connsiteY48" fmla="*/ 173427 h 289661"/>
                <a:gd name="connsiteX49" fmla="*/ 206375 w 311430"/>
                <a:gd name="connsiteY49" fmla="*/ 175015 h 289661"/>
                <a:gd name="connsiteX50" fmla="*/ 204787 w 311430"/>
                <a:gd name="connsiteY50" fmla="*/ 179777 h 289661"/>
                <a:gd name="connsiteX51" fmla="*/ 206375 w 311430"/>
                <a:gd name="connsiteY51" fmla="*/ 206765 h 289661"/>
                <a:gd name="connsiteX52" fmla="*/ 198437 w 311430"/>
                <a:gd name="connsiteY52" fmla="*/ 208352 h 289661"/>
                <a:gd name="connsiteX53" fmla="*/ 193675 w 311430"/>
                <a:gd name="connsiteY53" fmla="*/ 209940 h 289661"/>
                <a:gd name="connsiteX54" fmla="*/ 188912 w 311430"/>
                <a:gd name="connsiteY54" fmla="*/ 214702 h 289661"/>
                <a:gd name="connsiteX55" fmla="*/ 187325 w 311430"/>
                <a:gd name="connsiteY55" fmla="*/ 224227 h 289661"/>
                <a:gd name="connsiteX56" fmla="*/ 180975 w 311430"/>
                <a:gd name="connsiteY56" fmla="*/ 227402 h 289661"/>
                <a:gd name="connsiteX57" fmla="*/ 174625 w 311430"/>
                <a:gd name="connsiteY57" fmla="*/ 236927 h 289661"/>
                <a:gd name="connsiteX58" fmla="*/ 173037 w 311430"/>
                <a:gd name="connsiteY58" fmla="*/ 241690 h 289661"/>
                <a:gd name="connsiteX59" fmla="*/ 166687 w 311430"/>
                <a:gd name="connsiteY59" fmla="*/ 244865 h 289661"/>
                <a:gd name="connsiteX60" fmla="*/ 147637 w 311430"/>
                <a:gd name="connsiteY60" fmla="*/ 251215 h 289661"/>
                <a:gd name="connsiteX61" fmla="*/ 133350 w 311430"/>
                <a:gd name="connsiteY61" fmla="*/ 254390 h 289661"/>
                <a:gd name="connsiteX62" fmla="*/ 125412 w 311430"/>
                <a:gd name="connsiteY62" fmla="*/ 259152 h 289661"/>
                <a:gd name="connsiteX63" fmla="*/ 123825 w 311430"/>
                <a:gd name="connsiteY63" fmla="*/ 263915 h 289661"/>
                <a:gd name="connsiteX64" fmla="*/ 127000 w 311430"/>
                <a:gd name="connsiteY64" fmla="*/ 279790 h 289661"/>
                <a:gd name="connsiteX65" fmla="*/ 133350 w 311430"/>
                <a:gd name="connsiteY65" fmla="*/ 282965 h 289661"/>
                <a:gd name="connsiteX66" fmla="*/ 107950 w 311430"/>
                <a:gd name="connsiteY66" fmla="*/ 286140 h 289661"/>
                <a:gd name="connsiteX67" fmla="*/ 103187 w 311430"/>
                <a:gd name="connsiteY67" fmla="*/ 289315 h 289661"/>
                <a:gd name="connsiteX68" fmla="*/ 101600 w 311430"/>
                <a:gd name="connsiteY68" fmla="*/ 276615 h 289661"/>
                <a:gd name="connsiteX69" fmla="*/ 96837 w 311430"/>
                <a:gd name="connsiteY69" fmla="*/ 267090 h 289661"/>
                <a:gd name="connsiteX70" fmla="*/ 92075 w 311430"/>
                <a:gd name="connsiteY70" fmla="*/ 265502 h 289661"/>
                <a:gd name="connsiteX71" fmla="*/ 65087 w 311430"/>
                <a:gd name="connsiteY71" fmla="*/ 268677 h 289661"/>
                <a:gd name="connsiteX72" fmla="*/ 60325 w 311430"/>
                <a:gd name="connsiteY72" fmla="*/ 271852 h 289661"/>
                <a:gd name="connsiteX73" fmla="*/ 50800 w 311430"/>
                <a:gd name="connsiteY73" fmla="*/ 263915 h 289661"/>
                <a:gd name="connsiteX74" fmla="*/ 44450 w 311430"/>
                <a:gd name="connsiteY74" fmla="*/ 259152 h 289661"/>
                <a:gd name="connsiteX75" fmla="*/ 41275 w 311430"/>
                <a:gd name="connsiteY75" fmla="*/ 254390 h 289661"/>
                <a:gd name="connsiteX76" fmla="*/ 30162 w 311430"/>
                <a:gd name="connsiteY76" fmla="*/ 252802 h 289661"/>
                <a:gd name="connsiteX77" fmla="*/ 23812 w 311430"/>
                <a:gd name="connsiteY77" fmla="*/ 228990 h 289661"/>
                <a:gd name="connsiteX78" fmla="*/ 17462 w 311430"/>
                <a:gd name="connsiteY78" fmla="*/ 227402 h 289661"/>
                <a:gd name="connsiteX79" fmla="*/ 12700 w 311430"/>
                <a:gd name="connsiteY79" fmla="*/ 224227 h 289661"/>
                <a:gd name="connsiteX80" fmla="*/ 7937 w 311430"/>
                <a:gd name="connsiteY80" fmla="*/ 194065 h 289661"/>
                <a:gd name="connsiteX81" fmla="*/ 4762 w 311430"/>
                <a:gd name="connsiteY81" fmla="*/ 186127 h 289661"/>
                <a:gd name="connsiteX82" fmla="*/ 1587 w 311430"/>
                <a:gd name="connsiteY82" fmla="*/ 181365 h 289661"/>
                <a:gd name="connsiteX83" fmla="*/ 0 w 311430"/>
                <a:gd name="connsiteY83" fmla="*/ 173427 h 289661"/>
                <a:gd name="connsiteX84" fmla="*/ 1587 w 311430"/>
                <a:gd name="connsiteY84" fmla="*/ 165490 h 289661"/>
                <a:gd name="connsiteX85" fmla="*/ 9525 w 311430"/>
                <a:gd name="connsiteY85" fmla="*/ 163902 h 289661"/>
                <a:gd name="connsiteX86" fmla="*/ 22225 w 311430"/>
                <a:gd name="connsiteY86" fmla="*/ 171840 h 289661"/>
                <a:gd name="connsiteX87" fmla="*/ 31749 w 311430"/>
                <a:gd name="connsiteY87" fmla="*/ 178190 h 289661"/>
                <a:gd name="connsiteX88" fmla="*/ 38100 w 311430"/>
                <a:gd name="connsiteY88" fmla="*/ 179777 h 289661"/>
                <a:gd name="connsiteX89" fmla="*/ 44450 w 311430"/>
                <a:gd name="connsiteY89" fmla="*/ 179777 h 289661"/>
                <a:gd name="connsiteX90" fmla="*/ 52387 w 311430"/>
                <a:gd name="connsiteY90" fmla="*/ 179777 h 289661"/>
                <a:gd name="connsiteX91" fmla="*/ 63500 w 311430"/>
                <a:gd name="connsiteY91" fmla="*/ 176602 h 289661"/>
                <a:gd name="connsiteX92" fmla="*/ 60325 w 311430"/>
                <a:gd name="connsiteY92" fmla="*/ 167077 h 289661"/>
                <a:gd name="connsiteX93" fmla="*/ 79375 w 311430"/>
                <a:gd name="connsiteY93" fmla="*/ 157552 h 289661"/>
                <a:gd name="connsiteX94" fmla="*/ 100012 w 311430"/>
                <a:gd name="connsiteY94" fmla="*/ 152790 h 289661"/>
                <a:gd name="connsiteX95" fmla="*/ 103187 w 311430"/>
                <a:gd name="connsiteY95" fmla="*/ 143265 h 289661"/>
                <a:gd name="connsiteX96" fmla="*/ 98425 w 311430"/>
                <a:gd name="connsiteY96" fmla="*/ 125802 h 289661"/>
                <a:gd name="connsiteX0" fmla="*/ 98425 w 311430"/>
                <a:gd name="connsiteY0" fmla="*/ 125802 h 289661"/>
                <a:gd name="connsiteX1" fmla="*/ 106362 w 311430"/>
                <a:gd name="connsiteY1" fmla="*/ 124215 h 289661"/>
                <a:gd name="connsiteX2" fmla="*/ 120650 w 311430"/>
                <a:gd name="connsiteY2" fmla="*/ 125802 h 289661"/>
                <a:gd name="connsiteX3" fmla="*/ 139700 w 311430"/>
                <a:gd name="connsiteY3" fmla="*/ 121040 h 289661"/>
                <a:gd name="connsiteX4" fmla="*/ 144462 w 311430"/>
                <a:gd name="connsiteY4" fmla="*/ 117865 h 289661"/>
                <a:gd name="connsiteX5" fmla="*/ 165100 w 311430"/>
                <a:gd name="connsiteY5" fmla="*/ 121040 h 289661"/>
                <a:gd name="connsiteX6" fmla="*/ 180975 w 311430"/>
                <a:gd name="connsiteY6" fmla="*/ 114690 h 289661"/>
                <a:gd name="connsiteX7" fmla="*/ 184150 w 311430"/>
                <a:gd name="connsiteY7" fmla="*/ 105165 h 289661"/>
                <a:gd name="connsiteX8" fmla="*/ 195262 w 311430"/>
                <a:gd name="connsiteY8" fmla="*/ 100402 h 289661"/>
                <a:gd name="connsiteX9" fmla="*/ 204787 w 311430"/>
                <a:gd name="connsiteY9" fmla="*/ 87702 h 289661"/>
                <a:gd name="connsiteX10" fmla="*/ 207962 w 311430"/>
                <a:gd name="connsiteY10" fmla="*/ 82940 h 289661"/>
                <a:gd name="connsiteX11" fmla="*/ 212725 w 311430"/>
                <a:gd name="connsiteY11" fmla="*/ 81352 h 289661"/>
                <a:gd name="connsiteX12" fmla="*/ 223837 w 311430"/>
                <a:gd name="connsiteY12" fmla="*/ 78177 h 289661"/>
                <a:gd name="connsiteX13" fmla="*/ 227012 w 311430"/>
                <a:gd name="connsiteY13" fmla="*/ 73415 h 289661"/>
                <a:gd name="connsiteX14" fmla="*/ 241300 w 311430"/>
                <a:gd name="connsiteY14" fmla="*/ 62302 h 289661"/>
                <a:gd name="connsiteX15" fmla="*/ 246062 w 311430"/>
                <a:gd name="connsiteY15" fmla="*/ 55952 h 289661"/>
                <a:gd name="connsiteX16" fmla="*/ 249237 w 311430"/>
                <a:gd name="connsiteY16" fmla="*/ 49602 h 289661"/>
                <a:gd name="connsiteX17" fmla="*/ 254000 w 311430"/>
                <a:gd name="connsiteY17" fmla="*/ 48015 h 289661"/>
                <a:gd name="connsiteX18" fmla="*/ 263525 w 311430"/>
                <a:gd name="connsiteY18" fmla="*/ 46427 h 289661"/>
                <a:gd name="connsiteX19" fmla="*/ 271462 w 311430"/>
                <a:gd name="connsiteY19" fmla="*/ 33727 h 289661"/>
                <a:gd name="connsiteX20" fmla="*/ 273050 w 311430"/>
                <a:gd name="connsiteY20" fmla="*/ 25790 h 289661"/>
                <a:gd name="connsiteX21" fmla="*/ 288925 w 311430"/>
                <a:gd name="connsiteY21" fmla="*/ 21027 h 289661"/>
                <a:gd name="connsiteX22" fmla="*/ 298450 w 311430"/>
                <a:gd name="connsiteY22" fmla="*/ 13090 h 289661"/>
                <a:gd name="connsiteX23" fmla="*/ 303212 w 311430"/>
                <a:gd name="connsiteY23" fmla="*/ 8327 h 289661"/>
                <a:gd name="connsiteX24" fmla="*/ 307975 w 311430"/>
                <a:gd name="connsiteY24" fmla="*/ 5152 h 289661"/>
                <a:gd name="connsiteX25" fmla="*/ 311150 w 311430"/>
                <a:gd name="connsiteY25" fmla="*/ 390 h 289661"/>
                <a:gd name="connsiteX26" fmla="*/ 309562 w 311430"/>
                <a:gd name="connsiteY26" fmla="*/ 9915 h 289661"/>
                <a:gd name="connsiteX27" fmla="*/ 306387 w 311430"/>
                <a:gd name="connsiteY27" fmla="*/ 22615 h 289661"/>
                <a:gd name="connsiteX28" fmla="*/ 301625 w 311430"/>
                <a:gd name="connsiteY28" fmla="*/ 28965 h 289661"/>
                <a:gd name="connsiteX29" fmla="*/ 295275 w 311430"/>
                <a:gd name="connsiteY29" fmla="*/ 38490 h 289661"/>
                <a:gd name="connsiteX30" fmla="*/ 282575 w 311430"/>
                <a:gd name="connsiteY30" fmla="*/ 65477 h 289661"/>
                <a:gd name="connsiteX31" fmla="*/ 276225 w 311430"/>
                <a:gd name="connsiteY31" fmla="*/ 67065 h 289661"/>
                <a:gd name="connsiteX32" fmla="*/ 273050 w 311430"/>
                <a:gd name="connsiteY32" fmla="*/ 71827 h 289661"/>
                <a:gd name="connsiteX33" fmla="*/ 269875 w 311430"/>
                <a:gd name="connsiteY33" fmla="*/ 81352 h 289661"/>
                <a:gd name="connsiteX34" fmla="*/ 265112 w 311430"/>
                <a:gd name="connsiteY34" fmla="*/ 86115 h 289661"/>
                <a:gd name="connsiteX35" fmla="*/ 261937 w 311430"/>
                <a:gd name="connsiteY35" fmla="*/ 90877 h 289661"/>
                <a:gd name="connsiteX36" fmla="*/ 260350 w 311430"/>
                <a:gd name="connsiteY36" fmla="*/ 108340 h 289661"/>
                <a:gd name="connsiteX37" fmla="*/ 249237 w 311430"/>
                <a:gd name="connsiteY37" fmla="*/ 109927 h 289661"/>
                <a:gd name="connsiteX38" fmla="*/ 247650 w 311430"/>
                <a:gd name="connsiteY38" fmla="*/ 114690 h 289661"/>
                <a:gd name="connsiteX39" fmla="*/ 250825 w 311430"/>
                <a:gd name="connsiteY39" fmla="*/ 132152 h 289661"/>
                <a:gd name="connsiteX40" fmla="*/ 261937 w 311430"/>
                <a:gd name="connsiteY40" fmla="*/ 136915 h 289661"/>
                <a:gd name="connsiteX41" fmla="*/ 279400 w 311430"/>
                <a:gd name="connsiteY41" fmla="*/ 146440 h 289661"/>
                <a:gd name="connsiteX42" fmla="*/ 280987 w 311430"/>
                <a:gd name="connsiteY42" fmla="*/ 160727 h 289661"/>
                <a:gd name="connsiteX43" fmla="*/ 271462 w 311430"/>
                <a:gd name="connsiteY43" fmla="*/ 159140 h 289661"/>
                <a:gd name="connsiteX44" fmla="*/ 249237 w 311430"/>
                <a:gd name="connsiteY44" fmla="*/ 162315 h 289661"/>
                <a:gd name="connsiteX45" fmla="*/ 244475 w 311430"/>
                <a:gd name="connsiteY45" fmla="*/ 165490 h 289661"/>
                <a:gd name="connsiteX46" fmla="*/ 230187 w 311430"/>
                <a:gd name="connsiteY46" fmla="*/ 167077 h 289661"/>
                <a:gd name="connsiteX47" fmla="*/ 217487 w 311430"/>
                <a:gd name="connsiteY47" fmla="*/ 168665 h 289661"/>
                <a:gd name="connsiteX48" fmla="*/ 211137 w 311430"/>
                <a:gd name="connsiteY48" fmla="*/ 173427 h 289661"/>
                <a:gd name="connsiteX49" fmla="*/ 206375 w 311430"/>
                <a:gd name="connsiteY49" fmla="*/ 175015 h 289661"/>
                <a:gd name="connsiteX50" fmla="*/ 204787 w 311430"/>
                <a:gd name="connsiteY50" fmla="*/ 179777 h 289661"/>
                <a:gd name="connsiteX51" fmla="*/ 206375 w 311430"/>
                <a:gd name="connsiteY51" fmla="*/ 206765 h 289661"/>
                <a:gd name="connsiteX52" fmla="*/ 198437 w 311430"/>
                <a:gd name="connsiteY52" fmla="*/ 208352 h 289661"/>
                <a:gd name="connsiteX53" fmla="*/ 193675 w 311430"/>
                <a:gd name="connsiteY53" fmla="*/ 209940 h 289661"/>
                <a:gd name="connsiteX54" fmla="*/ 188912 w 311430"/>
                <a:gd name="connsiteY54" fmla="*/ 214702 h 289661"/>
                <a:gd name="connsiteX55" fmla="*/ 187325 w 311430"/>
                <a:gd name="connsiteY55" fmla="*/ 224227 h 289661"/>
                <a:gd name="connsiteX56" fmla="*/ 180975 w 311430"/>
                <a:gd name="connsiteY56" fmla="*/ 227402 h 289661"/>
                <a:gd name="connsiteX57" fmla="*/ 174625 w 311430"/>
                <a:gd name="connsiteY57" fmla="*/ 236927 h 289661"/>
                <a:gd name="connsiteX58" fmla="*/ 173037 w 311430"/>
                <a:gd name="connsiteY58" fmla="*/ 241690 h 289661"/>
                <a:gd name="connsiteX59" fmla="*/ 166687 w 311430"/>
                <a:gd name="connsiteY59" fmla="*/ 244865 h 289661"/>
                <a:gd name="connsiteX60" fmla="*/ 147637 w 311430"/>
                <a:gd name="connsiteY60" fmla="*/ 251215 h 289661"/>
                <a:gd name="connsiteX61" fmla="*/ 133350 w 311430"/>
                <a:gd name="connsiteY61" fmla="*/ 254390 h 289661"/>
                <a:gd name="connsiteX62" fmla="*/ 125412 w 311430"/>
                <a:gd name="connsiteY62" fmla="*/ 259152 h 289661"/>
                <a:gd name="connsiteX63" fmla="*/ 123825 w 311430"/>
                <a:gd name="connsiteY63" fmla="*/ 263915 h 289661"/>
                <a:gd name="connsiteX64" fmla="*/ 127000 w 311430"/>
                <a:gd name="connsiteY64" fmla="*/ 279790 h 289661"/>
                <a:gd name="connsiteX65" fmla="*/ 133350 w 311430"/>
                <a:gd name="connsiteY65" fmla="*/ 282965 h 289661"/>
                <a:gd name="connsiteX66" fmla="*/ 107950 w 311430"/>
                <a:gd name="connsiteY66" fmla="*/ 286140 h 289661"/>
                <a:gd name="connsiteX67" fmla="*/ 103187 w 311430"/>
                <a:gd name="connsiteY67" fmla="*/ 289315 h 289661"/>
                <a:gd name="connsiteX68" fmla="*/ 101600 w 311430"/>
                <a:gd name="connsiteY68" fmla="*/ 276615 h 289661"/>
                <a:gd name="connsiteX69" fmla="*/ 96837 w 311430"/>
                <a:gd name="connsiteY69" fmla="*/ 267090 h 289661"/>
                <a:gd name="connsiteX70" fmla="*/ 92075 w 311430"/>
                <a:gd name="connsiteY70" fmla="*/ 265502 h 289661"/>
                <a:gd name="connsiteX71" fmla="*/ 65087 w 311430"/>
                <a:gd name="connsiteY71" fmla="*/ 268677 h 289661"/>
                <a:gd name="connsiteX72" fmla="*/ 60325 w 311430"/>
                <a:gd name="connsiteY72" fmla="*/ 271852 h 289661"/>
                <a:gd name="connsiteX73" fmla="*/ 50800 w 311430"/>
                <a:gd name="connsiteY73" fmla="*/ 263915 h 289661"/>
                <a:gd name="connsiteX74" fmla="*/ 44450 w 311430"/>
                <a:gd name="connsiteY74" fmla="*/ 259152 h 289661"/>
                <a:gd name="connsiteX75" fmla="*/ 41275 w 311430"/>
                <a:gd name="connsiteY75" fmla="*/ 254390 h 289661"/>
                <a:gd name="connsiteX76" fmla="*/ 30162 w 311430"/>
                <a:gd name="connsiteY76" fmla="*/ 252802 h 289661"/>
                <a:gd name="connsiteX77" fmla="*/ 23812 w 311430"/>
                <a:gd name="connsiteY77" fmla="*/ 228990 h 289661"/>
                <a:gd name="connsiteX78" fmla="*/ 17462 w 311430"/>
                <a:gd name="connsiteY78" fmla="*/ 227402 h 289661"/>
                <a:gd name="connsiteX79" fmla="*/ 12700 w 311430"/>
                <a:gd name="connsiteY79" fmla="*/ 224227 h 289661"/>
                <a:gd name="connsiteX80" fmla="*/ 7937 w 311430"/>
                <a:gd name="connsiteY80" fmla="*/ 194065 h 289661"/>
                <a:gd name="connsiteX81" fmla="*/ 4762 w 311430"/>
                <a:gd name="connsiteY81" fmla="*/ 186127 h 289661"/>
                <a:gd name="connsiteX82" fmla="*/ 1587 w 311430"/>
                <a:gd name="connsiteY82" fmla="*/ 181365 h 289661"/>
                <a:gd name="connsiteX83" fmla="*/ 0 w 311430"/>
                <a:gd name="connsiteY83" fmla="*/ 173427 h 289661"/>
                <a:gd name="connsiteX84" fmla="*/ 1587 w 311430"/>
                <a:gd name="connsiteY84" fmla="*/ 165490 h 289661"/>
                <a:gd name="connsiteX85" fmla="*/ 9525 w 311430"/>
                <a:gd name="connsiteY85" fmla="*/ 163902 h 289661"/>
                <a:gd name="connsiteX86" fmla="*/ 22225 w 311430"/>
                <a:gd name="connsiteY86" fmla="*/ 171840 h 289661"/>
                <a:gd name="connsiteX87" fmla="*/ 31749 w 311430"/>
                <a:gd name="connsiteY87" fmla="*/ 178190 h 289661"/>
                <a:gd name="connsiteX88" fmla="*/ 38100 w 311430"/>
                <a:gd name="connsiteY88" fmla="*/ 179777 h 289661"/>
                <a:gd name="connsiteX89" fmla="*/ 44450 w 311430"/>
                <a:gd name="connsiteY89" fmla="*/ 179777 h 289661"/>
                <a:gd name="connsiteX90" fmla="*/ 52387 w 311430"/>
                <a:gd name="connsiteY90" fmla="*/ 179777 h 289661"/>
                <a:gd name="connsiteX91" fmla="*/ 55563 w 311430"/>
                <a:gd name="connsiteY91" fmla="*/ 171839 h 289661"/>
                <a:gd name="connsiteX92" fmla="*/ 60325 w 311430"/>
                <a:gd name="connsiteY92" fmla="*/ 167077 h 289661"/>
                <a:gd name="connsiteX93" fmla="*/ 79375 w 311430"/>
                <a:gd name="connsiteY93" fmla="*/ 157552 h 289661"/>
                <a:gd name="connsiteX94" fmla="*/ 100012 w 311430"/>
                <a:gd name="connsiteY94" fmla="*/ 152790 h 289661"/>
                <a:gd name="connsiteX95" fmla="*/ 103187 w 311430"/>
                <a:gd name="connsiteY95" fmla="*/ 143265 h 289661"/>
                <a:gd name="connsiteX96" fmla="*/ 98425 w 311430"/>
                <a:gd name="connsiteY96" fmla="*/ 125802 h 289661"/>
                <a:gd name="connsiteX0" fmla="*/ 98425 w 311430"/>
                <a:gd name="connsiteY0" fmla="*/ 125802 h 289747"/>
                <a:gd name="connsiteX1" fmla="*/ 106362 w 311430"/>
                <a:gd name="connsiteY1" fmla="*/ 124215 h 289747"/>
                <a:gd name="connsiteX2" fmla="*/ 120650 w 311430"/>
                <a:gd name="connsiteY2" fmla="*/ 125802 h 289747"/>
                <a:gd name="connsiteX3" fmla="*/ 139700 w 311430"/>
                <a:gd name="connsiteY3" fmla="*/ 121040 h 289747"/>
                <a:gd name="connsiteX4" fmla="*/ 144462 w 311430"/>
                <a:gd name="connsiteY4" fmla="*/ 117865 h 289747"/>
                <a:gd name="connsiteX5" fmla="*/ 165100 w 311430"/>
                <a:gd name="connsiteY5" fmla="*/ 121040 h 289747"/>
                <a:gd name="connsiteX6" fmla="*/ 180975 w 311430"/>
                <a:gd name="connsiteY6" fmla="*/ 114690 h 289747"/>
                <a:gd name="connsiteX7" fmla="*/ 184150 w 311430"/>
                <a:gd name="connsiteY7" fmla="*/ 105165 h 289747"/>
                <a:gd name="connsiteX8" fmla="*/ 195262 w 311430"/>
                <a:gd name="connsiteY8" fmla="*/ 100402 h 289747"/>
                <a:gd name="connsiteX9" fmla="*/ 204787 w 311430"/>
                <a:gd name="connsiteY9" fmla="*/ 87702 h 289747"/>
                <a:gd name="connsiteX10" fmla="*/ 207962 w 311430"/>
                <a:gd name="connsiteY10" fmla="*/ 82940 h 289747"/>
                <a:gd name="connsiteX11" fmla="*/ 212725 w 311430"/>
                <a:gd name="connsiteY11" fmla="*/ 81352 h 289747"/>
                <a:gd name="connsiteX12" fmla="*/ 223837 w 311430"/>
                <a:gd name="connsiteY12" fmla="*/ 78177 h 289747"/>
                <a:gd name="connsiteX13" fmla="*/ 227012 w 311430"/>
                <a:gd name="connsiteY13" fmla="*/ 73415 h 289747"/>
                <a:gd name="connsiteX14" fmla="*/ 241300 w 311430"/>
                <a:gd name="connsiteY14" fmla="*/ 62302 h 289747"/>
                <a:gd name="connsiteX15" fmla="*/ 246062 w 311430"/>
                <a:gd name="connsiteY15" fmla="*/ 55952 h 289747"/>
                <a:gd name="connsiteX16" fmla="*/ 249237 w 311430"/>
                <a:gd name="connsiteY16" fmla="*/ 49602 h 289747"/>
                <a:gd name="connsiteX17" fmla="*/ 254000 w 311430"/>
                <a:gd name="connsiteY17" fmla="*/ 48015 h 289747"/>
                <a:gd name="connsiteX18" fmla="*/ 263525 w 311430"/>
                <a:gd name="connsiteY18" fmla="*/ 46427 h 289747"/>
                <a:gd name="connsiteX19" fmla="*/ 271462 w 311430"/>
                <a:gd name="connsiteY19" fmla="*/ 33727 h 289747"/>
                <a:gd name="connsiteX20" fmla="*/ 273050 w 311430"/>
                <a:gd name="connsiteY20" fmla="*/ 25790 h 289747"/>
                <a:gd name="connsiteX21" fmla="*/ 288925 w 311430"/>
                <a:gd name="connsiteY21" fmla="*/ 21027 h 289747"/>
                <a:gd name="connsiteX22" fmla="*/ 298450 w 311430"/>
                <a:gd name="connsiteY22" fmla="*/ 13090 h 289747"/>
                <a:gd name="connsiteX23" fmla="*/ 303212 w 311430"/>
                <a:gd name="connsiteY23" fmla="*/ 8327 h 289747"/>
                <a:gd name="connsiteX24" fmla="*/ 307975 w 311430"/>
                <a:gd name="connsiteY24" fmla="*/ 5152 h 289747"/>
                <a:gd name="connsiteX25" fmla="*/ 311150 w 311430"/>
                <a:gd name="connsiteY25" fmla="*/ 390 h 289747"/>
                <a:gd name="connsiteX26" fmla="*/ 309562 w 311430"/>
                <a:gd name="connsiteY26" fmla="*/ 9915 h 289747"/>
                <a:gd name="connsiteX27" fmla="*/ 306387 w 311430"/>
                <a:gd name="connsiteY27" fmla="*/ 22615 h 289747"/>
                <a:gd name="connsiteX28" fmla="*/ 301625 w 311430"/>
                <a:gd name="connsiteY28" fmla="*/ 28965 h 289747"/>
                <a:gd name="connsiteX29" fmla="*/ 295275 w 311430"/>
                <a:gd name="connsiteY29" fmla="*/ 38490 h 289747"/>
                <a:gd name="connsiteX30" fmla="*/ 282575 w 311430"/>
                <a:gd name="connsiteY30" fmla="*/ 65477 h 289747"/>
                <a:gd name="connsiteX31" fmla="*/ 276225 w 311430"/>
                <a:gd name="connsiteY31" fmla="*/ 67065 h 289747"/>
                <a:gd name="connsiteX32" fmla="*/ 273050 w 311430"/>
                <a:gd name="connsiteY32" fmla="*/ 71827 h 289747"/>
                <a:gd name="connsiteX33" fmla="*/ 269875 w 311430"/>
                <a:gd name="connsiteY33" fmla="*/ 81352 h 289747"/>
                <a:gd name="connsiteX34" fmla="*/ 265112 w 311430"/>
                <a:gd name="connsiteY34" fmla="*/ 86115 h 289747"/>
                <a:gd name="connsiteX35" fmla="*/ 261937 w 311430"/>
                <a:gd name="connsiteY35" fmla="*/ 90877 h 289747"/>
                <a:gd name="connsiteX36" fmla="*/ 260350 w 311430"/>
                <a:gd name="connsiteY36" fmla="*/ 108340 h 289747"/>
                <a:gd name="connsiteX37" fmla="*/ 249237 w 311430"/>
                <a:gd name="connsiteY37" fmla="*/ 109927 h 289747"/>
                <a:gd name="connsiteX38" fmla="*/ 247650 w 311430"/>
                <a:gd name="connsiteY38" fmla="*/ 114690 h 289747"/>
                <a:gd name="connsiteX39" fmla="*/ 250825 w 311430"/>
                <a:gd name="connsiteY39" fmla="*/ 132152 h 289747"/>
                <a:gd name="connsiteX40" fmla="*/ 261937 w 311430"/>
                <a:gd name="connsiteY40" fmla="*/ 136915 h 289747"/>
                <a:gd name="connsiteX41" fmla="*/ 279400 w 311430"/>
                <a:gd name="connsiteY41" fmla="*/ 146440 h 289747"/>
                <a:gd name="connsiteX42" fmla="*/ 280987 w 311430"/>
                <a:gd name="connsiteY42" fmla="*/ 160727 h 289747"/>
                <a:gd name="connsiteX43" fmla="*/ 271462 w 311430"/>
                <a:gd name="connsiteY43" fmla="*/ 159140 h 289747"/>
                <a:gd name="connsiteX44" fmla="*/ 249237 w 311430"/>
                <a:gd name="connsiteY44" fmla="*/ 162315 h 289747"/>
                <a:gd name="connsiteX45" fmla="*/ 244475 w 311430"/>
                <a:gd name="connsiteY45" fmla="*/ 165490 h 289747"/>
                <a:gd name="connsiteX46" fmla="*/ 230187 w 311430"/>
                <a:gd name="connsiteY46" fmla="*/ 167077 h 289747"/>
                <a:gd name="connsiteX47" fmla="*/ 217487 w 311430"/>
                <a:gd name="connsiteY47" fmla="*/ 168665 h 289747"/>
                <a:gd name="connsiteX48" fmla="*/ 211137 w 311430"/>
                <a:gd name="connsiteY48" fmla="*/ 173427 h 289747"/>
                <a:gd name="connsiteX49" fmla="*/ 206375 w 311430"/>
                <a:gd name="connsiteY49" fmla="*/ 175015 h 289747"/>
                <a:gd name="connsiteX50" fmla="*/ 204787 w 311430"/>
                <a:gd name="connsiteY50" fmla="*/ 179777 h 289747"/>
                <a:gd name="connsiteX51" fmla="*/ 206375 w 311430"/>
                <a:gd name="connsiteY51" fmla="*/ 206765 h 289747"/>
                <a:gd name="connsiteX52" fmla="*/ 198437 w 311430"/>
                <a:gd name="connsiteY52" fmla="*/ 208352 h 289747"/>
                <a:gd name="connsiteX53" fmla="*/ 193675 w 311430"/>
                <a:gd name="connsiteY53" fmla="*/ 209940 h 289747"/>
                <a:gd name="connsiteX54" fmla="*/ 188912 w 311430"/>
                <a:gd name="connsiteY54" fmla="*/ 214702 h 289747"/>
                <a:gd name="connsiteX55" fmla="*/ 187325 w 311430"/>
                <a:gd name="connsiteY55" fmla="*/ 224227 h 289747"/>
                <a:gd name="connsiteX56" fmla="*/ 180975 w 311430"/>
                <a:gd name="connsiteY56" fmla="*/ 227402 h 289747"/>
                <a:gd name="connsiteX57" fmla="*/ 174625 w 311430"/>
                <a:gd name="connsiteY57" fmla="*/ 236927 h 289747"/>
                <a:gd name="connsiteX58" fmla="*/ 173037 w 311430"/>
                <a:gd name="connsiteY58" fmla="*/ 241690 h 289747"/>
                <a:gd name="connsiteX59" fmla="*/ 166687 w 311430"/>
                <a:gd name="connsiteY59" fmla="*/ 244865 h 289747"/>
                <a:gd name="connsiteX60" fmla="*/ 147637 w 311430"/>
                <a:gd name="connsiteY60" fmla="*/ 251215 h 289747"/>
                <a:gd name="connsiteX61" fmla="*/ 133350 w 311430"/>
                <a:gd name="connsiteY61" fmla="*/ 254390 h 289747"/>
                <a:gd name="connsiteX62" fmla="*/ 125412 w 311430"/>
                <a:gd name="connsiteY62" fmla="*/ 259152 h 289747"/>
                <a:gd name="connsiteX63" fmla="*/ 123825 w 311430"/>
                <a:gd name="connsiteY63" fmla="*/ 263915 h 289747"/>
                <a:gd name="connsiteX64" fmla="*/ 127000 w 311430"/>
                <a:gd name="connsiteY64" fmla="*/ 279790 h 289747"/>
                <a:gd name="connsiteX65" fmla="*/ 107950 w 311430"/>
                <a:gd name="connsiteY65" fmla="*/ 286140 h 289747"/>
                <a:gd name="connsiteX66" fmla="*/ 103187 w 311430"/>
                <a:gd name="connsiteY66" fmla="*/ 289315 h 289747"/>
                <a:gd name="connsiteX67" fmla="*/ 101600 w 311430"/>
                <a:gd name="connsiteY67" fmla="*/ 276615 h 289747"/>
                <a:gd name="connsiteX68" fmla="*/ 96837 w 311430"/>
                <a:gd name="connsiteY68" fmla="*/ 267090 h 289747"/>
                <a:gd name="connsiteX69" fmla="*/ 92075 w 311430"/>
                <a:gd name="connsiteY69" fmla="*/ 265502 h 289747"/>
                <a:gd name="connsiteX70" fmla="*/ 65087 w 311430"/>
                <a:gd name="connsiteY70" fmla="*/ 268677 h 289747"/>
                <a:gd name="connsiteX71" fmla="*/ 60325 w 311430"/>
                <a:gd name="connsiteY71" fmla="*/ 271852 h 289747"/>
                <a:gd name="connsiteX72" fmla="*/ 50800 w 311430"/>
                <a:gd name="connsiteY72" fmla="*/ 263915 h 289747"/>
                <a:gd name="connsiteX73" fmla="*/ 44450 w 311430"/>
                <a:gd name="connsiteY73" fmla="*/ 259152 h 289747"/>
                <a:gd name="connsiteX74" fmla="*/ 41275 w 311430"/>
                <a:gd name="connsiteY74" fmla="*/ 254390 h 289747"/>
                <a:gd name="connsiteX75" fmla="*/ 30162 w 311430"/>
                <a:gd name="connsiteY75" fmla="*/ 252802 h 289747"/>
                <a:gd name="connsiteX76" fmla="*/ 23812 w 311430"/>
                <a:gd name="connsiteY76" fmla="*/ 228990 h 289747"/>
                <a:gd name="connsiteX77" fmla="*/ 17462 w 311430"/>
                <a:gd name="connsiteY77" fmla="*/ 227402 h 289747"/>
                <a:gd name="connsiteX78" fmla="*/ 12700 w 311430"/>
                <a:gd name="connsiteY78" fmla="*/ 224227 h 289747"/>
                <a:gd name="connsiteX79" fmla="*/ 7937 w 311430"/>
                <a:gd name="connsiteY79" fmla="*/ 194065 h 289747"/>
                <a:gd name="connsiteX80" fmla="*/ 4762 w 311430"/>
                <a:gd name="connsiteY80" fmla="*/ 186127 h 289747"/>
                <a:gd name="connsiteX81" fmla="*/ 1587 w 311430"/>
                <a:gd name="connsiteY81" fmla="*/ 181365 h 289747"/>
                <a:gd name="connsiteX82" fmla="*/ 0 w 311430"/>
                <a:gd name="connsiteY82" fmla="*/ 173427 h 289747"/>
                <a:gd name="connsiteX83" fmla="*/ 1587 w 311430"/>
                <a:gd name="connsiteY83" fmla="*/ 165490 h 289747"/>
                <a:gd name="connsiteX84" fmla="*/ 9525 w 311430"/>
                <a:gd name="connsiteY84" fmla="*/ 163902 h 289747"/>
                <a:gd name="connsiteX85" fmla="*/ 22225 w 311430"/>
                <a:gd name="connsiteY85" fmla="*/ 171840 h 289747"/>
                <a:gd name="connsiteX86" fmla="*/ 31749 w 311430"/>
                <a:gd name="connsiteY86" fmla="*/ 178190 h 289747"/>
                <a:gd name="connsiteX87" fmla="*/ 38100 w 311430"/>
                <a:gd name="connsiteY87" fmla="*/ 179777 h 289747"/>
                <a:gd name="connsiteX88" fmla="*/ 44450 w 311430"/>
                <a:gd name="connsiteY88" fmla="*/ 179777 h 289747"/>
                <a:gd name="connsiteX89" fmla="*/ 52387 w 311430"/>
                <a:gd name="connsiteY89" fmla="*/ 179777 h 289747"/>
                <a:gd name="connsiteX90" fmla="*/ 55563 w 311430"/>
                <a:gd name="connsiteY90" fmla="*/ 171839 h 289747"/>
                <a:gd name="connsiteX91" fmla="*/ 60325 w 311430"/>
                <a:gd name="connsiteY91" fmla="*/ 167077 h 289747"/>
                <a:gd name="connsiteX92" fmla="*/ 79375 w 311430"/>
                <a:gd name="connsiteY92" fmla="*/ 157552 h 289747"/>
                <a:gd name="connsiteX93" fmla="*/ 100012 w 311430"/>
                <a:gd name="connsiteY93" fmla="*/ 152790 h 289747"/>
                <a:gd name="connsiteX94" fmla="*/ 103187 w 311430"/>
                <a:gd name="connsiteY94" fmla="*/ 143265 h 289747"/>
                <a:gd name="connsiteX95" fmla="*/ 98425 w 311430"/>
                <a:gd name="connsiteY95" fmla="*/ 125802 h 2897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311430" h="289747">
                  <a:moveTo>
                    <a:pt x="98425" y="125802"/>
                  </a:moveTo>
                  <a:cubicBezTo>
                    <a:pt x="98954" y="122627"/>
                    <a:pt x="103664" y="124215"/>
                    <a:pt x="106362" y="124215"/>
                  </a:cubicBezTo>
                  <a:cubicBezTo>
                    <a:pt x="111154" y="124215"/>
                    <a:pt x="115880" y="126256"/>
                    <a:pt x="120650" y="125802"/>
                  </a:cubicBezTo>
                  <a:cubicBezTo>
                    <a:pt x="127166" y="125181"/>
                    <a:pt x="133350" y="122627"/>
                    <a:pt x="139700" y="121040"/>
                  </a:cubicBezTo>
                  <a:cubicBezTo>
                    <a:pt x="141287" y="119982"/>
                    <a:pt x="142561" y="118023"/>
                    <a:pt x="144462" y="117865"/>
                  </a:cubicBezTo>
                  <a:cubicBezTo>
                    <a:pt x="151323" y="117293"/>
                    <a:pt x="158470" y="119382"/>
                    <a:pt x="165100" y="121040"/>
                  </a:cubicBezTo>
                  <a:cubicBezTo>
                    <a:pt x="175331" y="105691"/>
                    <a:pt x="155895" y="132245"/>
                    <a:pt x="180975" y="114690"/>
                  </a:cubicBezTo>
                  <a:cubicBezTo>
                    <a:pt x="183717" y="112771"/>
                    <a:pt x="181365" y="107022"/>
                    <a:pt x="184150" y="105165"/>
                  </a:cubicBezTo>
                  <a:cubicBezTo>
                    <a:pt x="190727" y="100780"/>
                    <a:pt x="187061" y="102453"/>
                    <a:pt x="195262" y="100402"/>
                  </a:cubicBezTo>
                  <a:cubicBezTo>
                    <a:pt x="205270" y="83724"/>
                    <a:pt x="194867" y="99606"/>
                    <a:pt x="204787" y="87702"/>
                  </a:cubicBezTo>
                  <a:cubicBezTo>
                    <a:pt x="206008" y="86236"/>
                    <a:pt x="206472" y="84132"/>
                    <a:pt x="207962" y="82940"/>
                  </a:cubicBezTo>
                  <a:cubicBezTo>
                    <a:pt x="209269" y="81895"/>
                    <a:pt x="211122" y="81833"/>
                    <a:pt x="212725" y="81352"/>
                  </a:cubicBezTo>
                  <a:cubicBezTo>
                    <a:pt x="216415" y="80245"/>
                    <a:pt x="220133" y="79235"/>
                    <a:pt x="223837" y="78177"/>
                  </a:cubicBezTo>
                  <a:cubicBezTo>
                    <a:pt x="224895" y="76590"/>
                    <a:pt x="225576" y="74671"/>
                    <a:pt x="227012" y="73415"/>
                  </a:cubicBezTo>
                  <a:cubicBezTo>
                    <a:pt x="239293" y="62669"/>
                    <a:pt x="233316" y="71617"/>
                    <a:pt x="241300" y="62302"/>
                  </a:cubicBezTo>
                  <a:cubicBezTo>
                    <a:pt x="243022" y="60293"/>
                    <a:pt x="244660" y="58196"/>
                    <a:pt x="246062" y="55952"/>
                  </a:cubicBezTo>
                  <a:cubicBezTo>
                    <a:pt x="247316" y="53945"/>
                    <a:pt x="247564" y="51275"/>
                    <a:pt x="249237" y="49602"/>
                  </a:cubicBezTo>
                  <a:cubicBezTo>
                    <a:pt x="250420" y="48419"/>
                    <a:pt x="252366" y="48378"/>
                    <a:pt x="254000" y="48015"/>
                  </a:cubicBezTo>
                  <a:cubicBezTo>
                    <a:pt x="257142" y="47317"/>
                    <a:pt x="260350" y="46956"/>
                    <a:pt x="263525" y="46427"/>
                  </a:cubicBezTo>
                  <a:cubicBezTo>
                    <a:pt x="267798" y="25054"/>
                    <a:pt x="260828" y="50741"/>
                    <a:pt x="271462" y="33727"/>
                  </a:cubicBezTo>
                  <a:cubicBezTo>
                    <a:pt x="272892" y="31439"/>
                    <a:pt x="271142" y="27698"/>
                    <a:pt x="273050" y="25790"/>
                  </a:cubicBezTo>
                  <a:cubicBezTo>
                    <a:pt x="274337" y="24503"/>
                    <a:pt x="286048" y="21746"/>
                    <a:pt x="288925" y="21027"/>
                  </a:cubicBezTo>
                  <a:cubicBezTo>
                    <a:pt x="295185" y="11638"/>
                    <a:pt x="288195" y="20416"/>
                    <a:pt x="298450" y="13090"/>
                  </a:cubicBezTo>
                  <a:cubicBezTo>
                    <a:pt x="300277" y="11785"/>
                    <a:pt x="301487" y="9764"/>
                    <a:pt x="303212" y="8327"/>
                  </a:cubicBezTo>
                  <a:cubicBezTo>
                    <a:pt x="304678" y="7105"/>
                    <a:pt x="306387" y="6210"/>
                    <a:pt x="307975" y="5152"/>
                  </a:cubicBezTo>
                  <a:cubicBezTo>
                    <a:pt x="309033" y="3565"/>
                    <a:pt x="310547" y="-1420"/>
                    <a:pt x="311150" y="390"/>
                  </a:cubicBezTo>
                  <a:cubicBezTo>
                    <a:pt x="312167" y="3444"/>
                    <a:pt x="310138" y="6748"/>
                    <a:pt x="309562" y="9915"/>
                  </a:cubicBezTo>
                  <a:cubicBezTo>
                    <a:pt x="309213" y="11836"/>
                    <a:pt x="307857" y="20042"/>
                    <a:pt x="306387" y="22615"/>
                  </a:cubicBezTo>
                  <a:cubicBezTo>
                    <a:pt x="305074" y="24912"/>
                    <a:pt x="303142" y="26797"/>
                    <a:pt x="301625" y="28965"/>
                  </a:cubicBezTo>
                  <a:cubicBezTo>
                    <a:pt x="299437" y="32091"/>
                    <a:pt x="295275" y="38490"/>
                    <a:pt x="295275" y="38490"/>
                  </a:cubicBezTo>
                  <a:cubicBezTo>
                    <a:pt x="290076" y="57987"/>
                    <a:pt x="295765" y="60530"/>
                    <a:pt x="282575" y="65477"/>
                  </a:cubicBezTo>
                  <a:cubicBezTo>
                    <a:pt x="280532" y="66243"/>
                    <a:pt x="278342" y="66536"/>
                    <a:pt x="276225" y="67065"/>
                  </a:cubicBezTo>
                  <a:cubicBezTo>
                    <a:pt x="275167" y="68652"/>
                    <a:pt x="273825" y="70084"/>
                    <a:pt x="273050" y="71827"/>
                  </a:cubicBezTo>
                  <a:cubicBezTo>
                    <a:pt x="271691" y="74885"/>
                    <a:pt x="271500" y="78426"/>
                    <a:pt x="269875" y="81352"/>
                  </a:cubicBezTo>
                  <a:cubicBezTo>
                    <a:pt x="268785" y="83315"/>
                    <a:pt x="266549" y="84390"/>
                    <a:pt x="265112" y="86115"/>
                  </a:cubicBezTo>
                  <a:cubicBezTo>
                    <a:pt x="263891" y="87581"/>
                    <a:pt x="262995" y="89290"/>
                    <a:pt x="261937" y="90877"/>
                  </a:cubicBezTo>
                  <a:cubicBezTo>
                    <a:pt x="261408" y="96698"/>
                    <a:pt x="263592" y="103477"/>
                    <a:pt x="260350" y="108340"/>
                  </a:cubicBezTo>
                  <a:cubicBezTo>
                    <a:pt x="258274" y="111453"/>
                    <a:pt x="252584" y="108254"/>
                    <a:pt x="249237" y="109927"/>
                  </a:cubicBezTo>
                  <a:cubicBezTo>
                    <a:pt x="247740" y="110675"/>
                    <a:pt x="248179" y="113102"/>
                    <a:pt x="247650" y="114690"/>
                  </a:cubicBezTo>
                  <a:cubicBezTo>
                    <a:pt x="248708" y="120511"/>
                    <a:pt x="248346" y="126780"/>
                    <a:pt x="250825" y="132152"/>
                  </a:cubicBezTo>
                  <a:cubicBezTo>
                    <a:pt x="251734" y="134122"/>
                    <a:pt x="259835" y="135960"/>
                    <a:pt x="261937" y="136915"/>
                  </a:cubicBezTo>
                  <a:cubicBezTo>
                    <a:pt x="273258" y="142061"/>
                    <a:pt x="271943" y="141469"/>
                    <a:pt x="279400" y="146440"/>
                  </a:cubicBezTo>
                  <a:cubicBezTo>
                    <a:pt x="281671" y="149846"/>
                    <a:pt x="287427" y="156127"/>
                    <a:pt x="280987" y="160727"/>
                  </a:cubicBezTo>
                  <a:cubicBezTo>
                    <a:pt x="278368" y="162598"/>
                    <a:pt x="274637" y="159669"/>
                    <a:pt x="271462" y="159140"/>
                  </a:cubicBezTo>
                  <a:cubicBezTo>
                    <a:pt x="269369" y="159373"/>
                    <a:pt x="253496" y="160718"/>
                    <a:pt x="249237" y="162315"/>
                  </a:cubicBezTo>
                  <a:cubicBezTo>
                    <a:pt x="247451" y="162985"/>
                    <a:pt x="246326" y="165027"/>
                    <a:pt x="244475" y="165490"/>
                  </a:cubicBezTo>
                  <a:cubicBezTo>
                    <a:pt x="239826" y="166652"/>
                    <a:pt x="234946" y="166517"/>
                    <a:pt x="230187" y="167077"/>
                  </a:cubicBezTo>
                  <a:lnTo>
                    <a:pt x="217487" y="168665"/>
                  </a:lnTo>
                  <a:cubicBezTo>
                    <a:pt x="215370" y="170252"/>
                    <a:pt x="213434" y="172114"/>
                    <a:pt x="211137" y="173427"/>
                  </a:cubicBezTo>
                  <a:cubicBezTo>
                    <a:pt x="209684" y="174257"/>
                    <a:pt x="207558" y="173832"/>
                    <a:pt x="206375" y="175015"/>
                  </a:cubicBezTo>
                  <a:cubicBezTo>
                    <a:pt x="205192" y="176198"/>
                    <a:pt x="205316" y="178190"/>
                    <a:pt x="204787" y="179777"/>
                  </a:cubicBezTo>
                  <a:cubicBezTo>
                    <a:pt x="208609" y="189333"/>
                    <a:pt x="212043" y="194486"/>
                    <a:pt x="206375" y="206765"/>
                  </a:cubicBezTo>
                  <a:cubicBezTo>
                    <a:pt x="205244" y="209215"/>
                    <a:pt x="201055" y="207698"/>
                    <a:pt x="198437" y="208352"/>
                  </a:cubicBezTo>
                  <a:cubicBezTo>
                    <a:pt x="196814" y="208758"/>
                    <a:pt x="195262" y="209411"/>
                    <a:pt x="193675" y="209940"/>
                  </a:cubicBezTo>
                  <a:cubicBezTo>
                    <a:pt x="192087" y="211527"/>
                    <a:pt x="189824" y="212650"/>
                    <a:pt x="188912" y="214702"/>
                  </a:cubicBezTo>
                  <a:cubicBezTo>
                    <a:pt x="187605" y="217643"/>
                    <a:pt x="189031" y="221497"/>
                    <a:pt x="187325" y="224227"/>
                  </a:cubicBezTo>
                  <a:cubicBezTo>
                    <a:pt x="186071" y="226234"/>
                    <a:pt x="183092" y="226344"/>
                    <a:pt x="180975" y="227402"/>
                  </a:cubicBezTo>
                  <a:cubicBezTo>
                    <a:pt x="178858" y="230577"/>
                    <a:pt x="175832" y="233307"/>
                    <a:pt x="174625" y="236927"/>
                  </a:cubicBezTo>
                  <a:cubicBezTo>
                    <a:pt x="174096" y="238515"/>
                    <a:pt x="174220" y="240507"/>
                    <a:pt x="173037" y="241690"/>
                  </a:cubicBezTo>
                  <a:cubicBezTo>
                    <a:pt x="171364" y="243363"/>
                    <a:pt x="168903" y="244034"/>
                    <a:pt x="166687" y="244865"/>
                  </a:cubicBezTo>
                  <a:cubicBezTo>
                    <a:pt x="160420" y="247215"/>
                    <a:pt x="154201" y="249903"/>
                    <a:pt x="147637" y="251215"/>
                  </a:cubicBezTo>
                  <a:cubicBezTo>
                    <a:pt x="137560" y="253230"/>
                    <a:pt x="142317" y="252147"/>
                    <a:pt x="133350" y="254390"/>
                  </a:cubicBezTo>
                  <a:cubicBezTo>
                    <a:pt x="130704" y="255977"/>
                    <a:pt x="127594" y="256970"/>
                    <a:pt x="125412" y="259152"/>
                  </a:cubicBezTo>
                  <a:cubicBezTo>
                    <a:pt x="124229" y="260335"/>
                    <a:pt x="123697" y="262246"/>
                    <a:pt x="123825" y="263915"/>
                  </a:cubicBezTo>
                  <a:cubicBezTo>
                    <a:pt x="124239" y="269296"/>
                    <a:pt x="129646" y="276086"/>
                    <a:pt x="127000" y="279790"/>
                  </a:cubicBezTo>
                  <a:cubicBezTo>
                    <a:pt x="124354" y="283494"/>
                    <a:pt x="111919" y="284553"/>
                    <a:pt x="107950" y="286140"/>
                  </a:cubicBezTo>
                  <a:cubicBezTo>
                    <a:pt x="103981" y="287728"/>
                    <a:pt x="104245" y="290903"/>
                    <a:pt x="103187" y="289315"/>
                  </a:cubicBezTo>
                  <a:cubicBezTo>
                    <a:pt x="100821" y="285765"/>
                    <a:pt x="102363" y="280812"/>
                    <a:pt x="101600" y="276615"/>
                  </a:cubicBezTo>
                  <a:cubicBezTo>
                    <a:pt x="101111" y="273923"/>
                    <a:pt x="99000" y="268821"/>
                    <a:pt x="96837" y="267090"/>
                  </a:cubicBezTo>
                  <a:cubicBezTo>
                    <a:pt x="95530" y="266045"/>
                    <a:pt x="93662" y="266031"/>
                    <a:pt x="92075" y="265502"/>
                  </a:cubicBezTo>
                  <a:cubicBezTo>
                    <a:pt x="90773" y="265632"/>
                    <a:pt x="68591" y="267626"/>
                    <a:pt x="65087" y="268677"/>
                  </a:cubicBezTo>
                  <a:cubicBezTo>
                    <a:pt x="63260" y="269225"/>
                    <a:pt x="61912" y="270794"/>
                    <a:pt x="60325" y="271852"/>
                  </a:cubicBezTo>
                  <a:cubicBezTo>
                    <a:pt x="49802" y="264837"/>
                    <a:pt x="61491" y="273079"/>
                    <a:pt x="50800" y="263915"/>
                  </a:cubicBezTo>
                  <a:cubicBezTo>
                    <a:pt x="48791" y="262193"/>
                    <a:pt x="46321" y="261023"/>
                    <a:pt x="44450" y="259152"/>
                  </a:cubicBezTo>
                  <a:cubicBezTo>
                    <a:pt x="43101" y="257803"/>
                    <a:pt x="43018" y="255165"/>
                    <a:pt x="41275" y="254390"/>
                  </a:cubicBezTo>
                  <a:cubicBezTo>
                    <a:pt x="37856" y="252870"/>
                    <a:pt x="33866" y="253331"/>
                    <a:pt x="30162" y="252802"/>
                  </a:cubicBezTo>
                  <a:cubicBezTo>
                    <a:pt x="29412" y="245298"/>
                    <a:pt x="30648" y="234849"/>
                    <a:pt x="23812" y="228990"/>
                  </a:cubicBezTo>
                  <a:cubicBezTo>
                    <a:pt x="22155" y="227570"/>
                    <a:pt x="19579" y="227931"/>
                    <a:pt x="17462" y="227402"/>
                  </a:cubicBezTo>
                  <a:cubicBezTo>
                    <a:pt x="15875" y="226344"/>
                    <a:pt x="14454" y="224978"/>
                    <a:pt x="12700" y="224227"/>
                  </a:cubicBezTo>
                  <a:cubicBezTo>
                    <a:pt x="-2754" y="217604"/>
                    <a:pt x="5568" y="236723"/>
                    <a:pt x="7937" y="194065"/>
                  </a:cubicBezTo>
                  <a:cubicBezTo>
                    <a:pt x="6879" y="191419"/>
                    <a:pt x="6036" y="188676"/>
                    <a:pt x="4762" y="186127"/>
                  </a:cubicBezTo>
                  <a:cubicBezTo>
                    <a:pt x="3909" y="184421"/>
                    <a:pt x="2257" y="183151"/>
                    <a:pt x="1587" y="181365"/>
                  </a:cubicBezTo>
                  <a:cubicBezTo>
                    <a:pt x="640" y="178838"/>
                    <a:pt x="529" y="176073"/>
                    <a:pt x="0" y="173427"/>
                  </a:cubicBezTo>
                  <a:cubicBezTo>
                    <a:pt x="529" y="170781"/>
                    <a:pt x="-321" y="167398"/>
                    <a:pt x="1587" y="165490"/>
                  </a:cubicBezTo>
                  <a:cubicBezTo>
                    <a:pt x="3495" y="163582"/>
                    <a:pt x="6086" y="162844"/>
                    <a:pt x="9525" y="163902"/>
                  </a:cubicBezTo>
                  <a:cubicBezTo>
                    <a:pt x="12964" y="164960"/>
                    <a:pt x="18521" y="169459"/>
                    <a:pt x="22225" y="171840"/>
                  </a:cubicBezTo>
                  <a:cubicBezTo>
                    <a:pt x="25929" y="174221"/>
                    <a:pt x="24946" y="176489"/>
                    <a:pt x="31749" y="178190"/>
                  </a:cubicBezTo>
                  <a:cubicBezTo>
                    <a:pt x="33866" y="178719"/>
                    <a:pt x="35983" y="179513"/>
                    <a:pt x="38100" y="179777"/>
                  </a:cubicBezTo>
                  <a:cubicBezTo>
                    <a:pt x="40217" y="180041"/>
                    <a:pt x="42333" y="179777"/>
                    <a:pt x="44450" y="179777"/>
                  </a:cubicBezTo>
                  <a:cubicBezTo>
                    <a:pt x="46831" y="179777"/>
                    <a:pt x="50535" y="181100"/>
                    <a:pt x="52387" y="179777"/>
                  </a:cubicBezTo>
                  <a:cubicBezTo>
                    <a:pt x="54239" y="178454"/>
                    <a:pt x="54240" y="173956"/>
                    <a:pt x="55563" y="171839"/>
                  </a:cubicBezTo>
                  <a:cubicBezTo>
                    <a:pt x="56886" y="169722"/>
                    <a:pt x="56356" y="169458"/>
                    <a:pt x="60325" y="167077"/>
                  </a:cubicBezTo>
                  <a:cubicBezTo>
                    <a:pt x="64294" y="164696"/>
                    <a:pt x="72761" y="159933"/>
                    <a:pt x="79375" y="157552"/>
                  </a:cubicBezTo>
                  <a:cubicBezTo>
                    <a:pt x="85989" y="155171"/>
                    <a:pt x="93133" y="154377"/>
                    <a:pt x="100012" y="152790"/>
                  </a:cubicBezTo>
                  <a:cubicBezTo>
                    <a:pt x="101070" y="149615"/>
                    <a:pt x="103011" y="146607"/>
                    <a:pt x="103187" y="143265"/>
                  </a:cubicBezTo>
                  <a:cubicBezTo>
                    <a:pt x="104467" y="118956"/>
                    <a:pt x="97896" y="128977"/>
                    <a:pt x="98425" y="125802"/>
                  </a:cubicBezTo>
                  <a:close/>
                </a:path>
              </a:pathLst>
            </a:custGeom>
            <a:solidFill>
              <a:srgbClr val="003399"/>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grpSp>
          <p:nvGrpSpPr>
            <p:cNvPr id="345" name="Grupo 257">
              <a:extLst>
                <a:ext uri="{FF2B5EF4-FFF2-40B4-BE49-F238E27FC236}">
                  <a16:creationId xmlns:a16="http://schemas.microsoft.com/office/drawing/2014/main" id="{43CB9D21-9AD0-4841-BC98-4C9C80F9FDA0}"/>
                </a:ext>
              </a:extLst>
            </p:cNvPr>
            <p:cNvGrpSpPr/>
            <p:nvPr/>
          </p:nvGrpSpPr>
          <p:grpSpPr>
            <a:xfrm>
              <a:off x="6547914" y="228402"/>
              <a:ext cx="1775007" cy="2476500"/>
              <a:chOff x="3823170" y="631824"/>
              <a:chExt cx="1775007" cy="2476500"/>
            </a:xfrm>
            <a:solidFill>
              <a:srgbClr val="D0CECE"/>
            </a:solidFill>
          </p:grpSpPr>
          <p:sp>
            <p:nvSpPr>
              <p:cNvPr id="367" name="Forma libre: forma 258">
                <a:extLst>
                  <a:ext uri="{FF2B5EF4-FFF2-40B4-BE49-F238E27FC236}">
                    <a16:creationId xmlns:a16="http://schemas.microsoft.com/office/drawing/2014/main" id="{8D33EFB8-E9D3-4961-A1FC-2334C0AEA433}"/>
                  </a:ext>
                </a:extLst>
              </p:cNvPr>
              <p:cNvSpPr/>
              <p:nvPr/>
            </p:nvSpPr>
            <p:spPr>
              <a:xfrm>
                <a:off x="3843265" y="631824"/>
                <a:ext cx="1754912" cy="2476500"/>
              </a:xfrm>
              <a:custGeom>
                <a:avLst/>
                <a:gdLst>
                  <a:gd name="connsiteX0" fmla="*/ 569984 w 1757434"/>
                  <a:gd name="connsiteY0" fmla="*/ 1338263 h 2476500"/>
                  <a:gd name="connsiteX1" fmla="*/ 557284 w 1757434"/>
                  <a:gd name="connsiteY1" fmla="*/ 1349375 h 2476500"/>
                  <a:gd name="connsiteX2" fmla="*/ 547759 w 1757434"/>
                  <a:gd name="connsiteY2" fmla="*/ 1362075 h 2476500"/>
                  <a:gd name="connsiteX3" fmla="*/ 538234 w 1757434"/>
                  <a:gd name="connsiteY3" fmla="*/ 1382713 h 2476500"/>
                  <a:gd name="connsiteX4" fmla="*/ 536647 w 1757434"/>
                  <a:gd name="connsiteY4" fmla="*/ 1389063 h 2476500"/>
                  <a:gd name="connsiteX5" fmla="*/ 533472 w 1757434"/>
                  <a:gd name="connsiteY5" fmla="*/ 1404938 h 2476500"/>
                  <a:gd name="connsiteX6" fmla="*/ 523947 w 1757434"/>
                  <a:gd name="connsiteY6" fmla="*/ 1406525 h 2476500"/>
                  <a:gd name="connsiteX7" fmla="*/ 514422 w 1757434"/>
                  <a:gd name="connsiteY7" fmla="*/ 1411288 h 2476500"/>
                  <a:gd name="connsiteX8" fmla="*/ 503309 w 1757434"/>
                  <a:gd name="connsiteY8" fmla="*/ 1416050 h 2476500"/>
                  <a:gd name="connsiteX9" fmla="*/ 500134 w 1757434"/>
                  <a:gd name="connsiteY9" fmla="*/ 1423988 h 2476500"/>
                  <a:gd name="connsiteX10" fmla="*/ 498547 w 1757434"/>
                  <a:gd name="connsiteY10" fmla="*/ 1431925 h 2476500"/>
                  <a:gd name="connsiteX11" fmla="*/ 484259 w 1757434"/>
                  <a:gd name="connsiteY11" fmla="*/ 1438275 h 2476500"/>
                  <a:gd name="connsiteX12" fmla="*/ 495372 w 1757434"/>
                  <a:gd name="connsiteY12" fmla="*/ 1439863 h 2476500"/>
                  <a:gd name="connsiteX13" fmla="*/ 512834 w 1757434"/>
                  <a:gd name="connsiteY13" fmla="*/ 1436688 h 2476500"/>
                  <a:gd name="connsiteX14" fmla="*/ 516009 w 1757434"/>
                  <a:gd name="connsiteY14" fmla="*/ 1441450 h 2476500"/>
                  <a:gd name="connsiteX15" fmla="*/ 508072 w 1757434"/>
                  <a:gd name="connsiteY15" fmla="*/ 1454150 h 2476500"/>
                  <a:gd name="connsiteX16" fmla="*/ 496959 w 1757434"/>
                  <a:gd name="connsiteY16" fmla="*/ 1468438 h 2476500"/>
                  <a:gd name="connsiteX17" fmla="*/ 490609 w 1757434"/>
                  <a:gd name="connsiteY17" fmla="*/ 1471613 h 2476500"/>
                  <a:gd name="connsiteX18" fmla="*/ 473147 w 1757434"/>
                  <a:gd name="connsiteY18" fmla="*/ 1481138 h 2476500"/>
                  <a:gd name="connsiteX19" fmla="*/ 466797 w 1757434"/>
                  <a:gd name="connsiteY19" fmla="*/ 1489075 h 2476500"/>
                  <a:gd name="connsiteX20" fmla="*/ 462034 w 1757434"/>
                  <a:gd name="connsiteY20" fmla="*/ 1490663 h 2476500"/>
                  <a:gd name="connsiteX21" fmla="*/ 454097 w 1757434"/>
                  <a:gd name="connsiteY21" fmla="*/ 1497013 h 2476500"/>
                  <a:gd name="connsiteX22" fmla="*/ 446159 w 1757434"/>
                  <a:gd name="connsiteY22" fmla="*/ 1504950 h 2476500"/>
                  <a:gd name="connsiteX23" fmla="*/ 439809 w 1757434"/>
                  <a:gd name="connsiteY23" fmla="*/ 1500188 h 2476500"/>
                  <a:gd name="connsiteX24" fmla="*/ 436315 w 1757434"/>
                  <a:gd name="connsiteY24" fmla="*/ 1499023 h 2476500"/>
                  <a:gd name="connsiteX25" fmla="*/ 438112 w 1757434"/>
                  <a:gd name="connsiteY25" fmla="*/ 1502403 h 2476500"/>
                  <a:gd name="connsiteX26" fmla="*/ 441397 w 1757434"/>
                  <a:gd name="connsiteY26" fmla="*/ 1509713 h 2476500"/>
                  <a:gd name="connsiteX27" fmla="*/ 444572 w 1757434"/>
                  <a:gd name="connsiteY27" fmla="*/ 1520825 h 2476500"/>
                  <a:gd name="connsiteX28" fmla="*/ 447747 w 1757434"/>
                  <a:gd name="connsiteY28" fmla="*/ 1525588 h 2476500"/>
                  <a:gd name="connsiteX29" fmla="*/ 455684 w 1757434"/>
                  <a:gd name="connsiteY29" fmla="*/ 1528763 h 2476500"/>
                  <a:gd name="connsiteX30" fmla="*/ 463622 w 1757434"/>
                  <a:gd name="connsiteY30" fmla="*/ 1533525 h 2476500"/>
                  <a:gd name="connsiteX31" fmla="*/ 466797 w 1757434"/>
                  <a:gd name="connsiteY31" fmla="*/ 1544638 h 2476500"/>
                  <a:gd name="connsiteX32" fmla="*/ 471559 w 1757434"/>
                  <a:gd name="connsiteY32" fmla="*/ 1546225 h 2476500"/>
                  <a:gd name="connsiteX33" fmla="*/ 469972 w 1757434"/>
                  <a:gd name="connsiteY33" fmla="*/ 1531938 h 2476500"/>
                  <a:gd name="connsiteX34" fmla="*/ 465209 w 1757434"/>
                  <a:gd name="connsiteY34" fmla="*/ 1527175 h 2476500"/>
                  <a:gd name="connsiteX35" fmla="*/ 460447 w 1757434"/>
                  <a:gd name="connsiteY35" fmla="*/ 1520825 h 2476500"/>
                  <a:gd name="connsiteX36" fmla="*/ 466797 w 1757434"/>
                  <a:gd name="connsiteY36" fmla="*/ 1506538 h 2476500"/>
                  <a:gd name="connsiteX37" fmla="*/ 471559 w 1757434"/>
                  <a:gd name="connsiteY37" fmla="*/ 1508125 h 2476500"/>
                  <a:gd name="connsiteX38" fmla="*/ 476322 w 1757434"/>
                  <a:gd name="connsiteY38" fmla="*/ 1514475 h 2476500"/>
                  <a:gd name="connsiteX39" fmla="*/ 503309 w 1757434"/>
                  <a:gd name="connsiteY39" fmla="*/ 1511300 h 2476500"/>
                  <a:gd name="connsiteX40" fmla="*/ 508072 w 1757434"/>
                  <a:gd name="connsiteY40" fmla="*/ 1508125 h 2476500"/>
                  <a:gd name="connsiteX41" fmla="*/ 506484 w 1757434"/>
                  <a:gd name="connsiteY41" fmla="*/ 1500188 h 2476500"/>
                  <a:gd name="connsiteX42" fmla="*/ 511247 w 1757434"/>
                  <a:gd name="connsiteY42" fmla="*/ 1474788 h 2476500"/>
                  <a:gd name="connsiteX43" fmla="*/ 517597 w 1757434"/>
                  <a:gd name="connsiteY43" fmla="*/ 1471613 h 2476500"/>
                  <a:gd name="connsiteX44" fmla="*/ 522378 w 1757434"/>
                  <a:gd name="connsiteY44" fmla="*/ 1470040 h 2476500"/>
                  <a:gd name="connsiteX45" fmla="*/ 524394 w 1757434"/>
                  <a:gd name="connsiteY45" fmla="*/ 1468685 h 2476500"/>
                  <a:gd name="connsiteX46" fmla="*/ 525534 w 1757434"/>
                  <a:gd name="connsiteY46" fmla="*/ 1465263 h 2476500"/>
                  <a:gd name="connsiteX47" fmla="*/ 526329 w 1757434"/>
                  <a:gd name="connsiteY47" fmla="*/ 1464070 h 2476500"/>
                  <a:gd name="connsiteX48" fmla="*/ 524516 w 1757434"/>
                  <a:gd name="connsiteY48" fmla="*/ 1468602 h 2476500"/>
                  <a:gd name="connsiteX49" fmla="*/ 527122 w 1757434"/>
                  <a:gd name="connsiteY49" fmla="*/ 1466850 h 2476500"/>
                  <a:gd name="connsiteX50" fmla="*/ 531884 w 1757434"/>
                  <a:gd name="connsiteY50" fmla="*/ 1457325 h 2476500"/>
                  <a:gd name="connsiteX51" fmla="*/ 541409 w 1757434"/>
                  <a:gd name="connsiteY51" fmla="*/ 1454150 h 2476500"/>
                  <a:gd name="connsiteX52" fmla="*/ 544498 w 1757434"/>
                  <a:gd name="connsiteY52" fmla="*/ 1452091 h 2476500"/>
                  <a:gd name="connsiteX53" fmla="*/ 535059 w 1757434"/>
                  <a:gd name="connsiteY53" fmla="*/ 1452563 h 2476500"/>
                  <a:gd name="connsiteX54" fmla="*/ 530297 w 1757434"/>
                  <a:gd name="connsiteY54" fmla="*/ 1455738 h 2476500"/>
                  <a:gd name="connsiteX55" fmla="*/ 528709 w 1757434"/>
                  <a:gd name="connsiteY55" fmla="*/ 1460500 h 2476500"/>
                  <a:gd name="connsiteX56" fmla="*/ 526329 w 1757434"/>
                  <a:gd name="connsiteY56" fmla="*/ 1464070 h 2476500"/>
                  <a:gd name="connsiteX57" fmla="*/ 527122 w 1757434"/>
                  <a:gd name="connsiteY57" fmla="*/ 1462088 h 2476500"/>
                  <a:gd name="connsiteX58" fmla="*/ 522359 w 1757434"/>
                  <a:gd name="connsiteY58" fmla="*/ 1443038 h 2476500"/>
                  <a:gd name="connsiteX59" fmla="*/ 527122 w 1757434"/>
                  <a:gd name="connsiteY59" fmla="*/ 1436688 h 2476500"/>
                  <a:gd name="connsiteX60" fmla="*/ 531884 w 1757434"/>
                  <a:gd name="connsiteY60" fmla="*/ 1435100 h 2476500"/>
                  <a:gd name="connsiteX61" fmla="*/ 533472 w 1757434"/>
                  <a:gd name="connsiteY61" fmla="*/ 1425575 h 2476500"/>
                  <a:gd name="connsiteX62" fmla="*/ 546001 w 1757434"/>
                  <a:gd name="connsiteY62" fmla="*/ 1429262 h 2476500"/>
                  <a:gd name="connsiteX63" fmla="*/ 552494 w 1757434"/>
                  <a:gd name="connsiteY63" fmla="*/ 1431898 h 2476500"/>
                  <a:gd name="connsiteX64" fmla="*/ 552522 w 1757434"/>
                  <a:gd name="connsiteY64" fmla="*/ 1431925 h 2476500"/>
                  <a:gd name="connsiteX65" fmla="*/ 560459 w 1757434"/>
                  <a:gd name="connsiteY65" fmla="*/ 1435100 h 2476500"/>
                  <a:gd name="connsiteX66" fmla="*/ 554988 w 1757434"/>
                  <a:gd name="connsiteY66" fmla="*/ 1432911 h 2476500"/>
                  <a:gd name="connsiteX67" fmla="*/ 552494 w 1757434"/>
                  <a:gd name="connsiteY67" fmla="*/ 1431898 h 2476500"/>
                  <a:gd name="connsiteX68" fmla="*/ 544393 w 1757434"/>
                  <a:gd name="connsiteY68" fmla="*/ 1424206 h 2476500"/>
                  <a:gd name="connsiteX69" fmla="*/ 539822 w 1757434"/>
                  <a:gd name="connsiteY69" fmla="*/ 1419225 h 2476500"/>
                  <a:gd name="connsiteX70" fmla="*/ 541409 w 1757434"/>
                  <a:gd name="connsiteY70" fmla="*/ 1409700 h 2476500"/>
                  <a:gd name="connsiteX71" fmla="*/ 546172 w 1757434"/>
                  <a:gd name="connsiteY71" fmla="*/ 1406525 h 2476500"/>
                  <a:gd name="connsiteX72" fmla="*/ 565222 w 1757434"/>
                  <a:gd name="connsiteY72" fmla="*/ 1393825 h 2476500"/>
                  <a:gd name="connsiteX73" fmla="*/ 566809 w 1757434"/>
                  <a:gd name="connsiteY73" fmla="*/ 1389063 h 2476500"/>
                  <a:gd name="connsiteX74" fmla="*/ 560459 w 1757434"/>
                  <a:gd name="connsiteY74" fmla="*/ 1377950 h 2476500"/>
                  <a:gd name="connsiteX75" fmla="*/ 574747 w 1757434"/>
                  <a:gd name="connsiteY75" fmla="*/ 1366838 h 2476500"/>
                  <a:gd name="connsiteX76" fmla="*/ 576334 w 1757434"/>
                  <a:gd name="connsiteY76" fmla="*/ 1362075 h 2476500"/>
                  <a:gd name="connsiteX77" fmla="*/ 574747 w 1757434"/>
                  <a:gd name="connsiteY77" fmla="*/ 1352550 h 2476500"/>
                  <a:gd name="connsiteX78" fmla="*/ 565222 w 1757434"/>
                  <a:gd name="connsiteY78" fmla="*/ 1354138 h 2476500"/>
                  <a:gd name="connsiteX79" fmla="*/ 555697 w 1757434"/>
                  <a:gd name="connsiteY79" fmla="*/ 1360488 h 2476500"/>
                  <a:gd name="connsiteX80" fmla="*/ 550934 w 1757434"/>
                  <a:gd name="connsiteY80" fmla="*/ 1362075 h 2476500"/>
                  <a:gd name="connsiteX81" fmla="*/ 558872 w 1757434"/>
                  <a:gd name="connsiteY81" fmla="*/ 1357313 h 2476500"/>
                  <a:gd name="connsiteX82" fmla="*/ 565222 w 1757434"/>
                  <a:gd name="connsiteY82" fmla="*/ 1349375 h 2476500"/>
                  <a:gd name="connsiteX83" fmla="*/ 569984 w 1757434"/>
                  <a:gd name="connsiteY83" fmla="*/ 1338263 h 2476500"/>
                  <a:gd name="connsiteX84" fmla="*/ 1487559 w 1757434"/>
                  <a:gd name="connsiteY84" fmla="*/ 0 h 2476500"/>
                  <a:gd name="connsiteX85" fmla="*/ 1497084 w 1757434"/>
                  <a:gd name="connsiteY85" fmla="*/ 1588 h 2476500"/>
                  <a:gd name="connsiteX86" fmla="*/ 1497084 w 1757434"/>
                  <a:gd name="connsiteY86" fmla="*/ 22225 h 2476500"/>
                  <a:gd name="connsiteX87" fmla="*/ 1501847 w 1757434"/>
                  <a:gd name="connsiteY87" fmla="*/ 26988 h 2476500"/>
                  <a:gd name="connsiteX88" fmla="*/ 1508197 w 1757434"/>
                  <a:gd name="connsiteY88" fmla="*/ 20638 h 2476500"/>
                  <a:gd name="connsiteX89" fmla="*/ 1516134 w 1757434"/>
                  <a:gd name="connsiteY89" fmla="*/ 15875 h 2476500"/>
                  <a:gd name="connsiteX90" fmla="*/ 1511372 w 1757434"/>
                  <a:gd name="connsiteY90" fmla="*/ 34925 h 2476500"/>
                  <a:gd name="connsiteX91" fmla="*/ 1516134 w 1757434"/>
                  <a:gd name="connsiteY91" fmla="*/ 36513 h 2476500"/>
                  <a:gd name="connsiteX92" fmla="*/ 1527247 w 1757434"/>
                  <a:gd name="connsiteY92" fmla="*/ 33338 h 2476500"/>
                  <a:gd name="connsiteX93" fmla="*/ 1530422 w 1757434"/>
                  <a:gd name="connsiteY93" fmla="*/ 47625 h 2476500"/>
                  <a:gd name="connsiteX94" fmla="*/ 1527247 w 1757434"/>
                  <a:gd name="connsiteY94" fmla="*/ 57150 h 2476500"/>
                  <a:gd name="connsiteX95" fmla="*/ 1522484 w 1757434"/>
                  <a:gd name="connsiteY95" fmla="*/ 65088 h 2476500"/>
                  <a:gd name="connsiteX96" fmla="*/ 1519309 w 1757434"/>
                  <a:gd name="connsiteY96" fmla="*/ 71438 h 2476500"/>
                  <a:gd name="connsiteX97" fmla="*/ 1520897 w 1757434"/>
                  <a:gd name="connsiteY97" fmla="*/ 98425 h 2476500"/>
                  <a:gd name="connsiteX98" fmla="*/ 1525659 w 1757434"/>
                  <a:gd name="connsiteY98" fmla="*/ 103188 h 2476500"/>
                  <a:gd name="connsiteX99" fmla="*/ 1530422 w 1757434"/>
                  <a:gd name="connsiteY99" fmla="*/ 111125 h 2476500"/>
                  <a:gd name="connsiteX100" fmla="*/ 1543122 w 1757434"/>
                  <a:gd name="connsiteY100" fmla="*/ 106363 h 2476500"/>
                  <a:gd name="connsiteX101" fmla="*/ 1544709 w 1757434"/>
                  <a:gd name="connsiteY101" fmla="*/ 98425 h 2476500"/>
                  <a:gd name="connsiteX102" fmla="*/ 1541534 w 1757434"/>
                  <a:gd name="connsiteY102" fmla="*/ 66675 h 2476500"/>
                  <a:gd name="connsiteX103" fmla="*/ 1538359 w 1757434"/>
                  <a:gd name="connsiteY103" fmla="*/ 49213 h 2476500"/>
                  <a:gd name="connsiteX104" fmla="*/ 1543122 w 1757434"/>
                  <a:gd name="connsiteY104" fmla="*/ 46038 h 2476500"/>
                  <a:gd name="connsiteX105" fmla="*/ 1544709 w 1757434"/>
                  <a:gd name="connsiteY105" fmla="*/ 52388 h 2476500"/>
                  <a:gd name="connsiteX106" fmla="*/ 1551059 w 1757434"/>
                  <a:gd name="connsiteY106" fmla="*/ 36513 h 2476500"/>
                  <a:gd name="connsiteX107" fmla="*/ 1557409 w 1757434"/>
                  <a:gd name="connsiteY107" fmla="*/ 31750 h 2476500"/>
                  <a:gd name="connsiteX108" fmla="*/ 1568522 w 1757434"/>
                  <a:gd name="connsiteY108" fmla="*/ 26988 h 2476500"/>
                  <a:gd name="connsiteX109" fmla="*/ 1563759 w 1757434"/>
                  <a:gd name="connsiteY109" fmla="*/ 34925 h 2476500"/>
                  <a:gd name="connsiteX110" fmla="*/ 1566934 w 1757434"/>
                  <a:gd name="connsiteY110" fmla="*/ 79375 h 2476500"/>
                  <a:gd name="connsiteX111" fmla="*/ 1573284 w 1757434"/>
                  <a:gd name="connsiteY111" fmla="*/ 77788 h 2476500"/>
                  <a:gd name="connsiteX112" fmla="*/ 1579634 w 1757434"/>
                  <a:gd name="connsiteY112" fmla="*/ 58738 h 2476500"/>
                  <a:gd name="connsiteX113" fmla="*/ 1585984 w 1757434"/>
                  <a:gd name="connsiteY113" fmla="*/ 42863 h 2476500"/>
                  <a:gd name="connsiteX114" fmla="*/ 1592334 w 1757434"/>
                  <a:gd name="connsiteY114" fmla="*/ 36513 h 2476500"/>
                  <a:gd name="connsiteX115" fmla="*/ 1593922 w 1757434"/>
                  <a:gd name="connsiteY115" fmla="*/ 42863 h 2476500"/>
                  <a:gd name="connsiteX116" fmla="*/ 1592334 w 1757434"/>
                  <a:gd name="connsiteY116" fmla="*/ 61913 h 2476500"/>
                  <a:gd name="connsiteX117" fmla="*/ 1617734 w 1757434"/>
                  <a:gd name="connsiteY117" fmla="*/ 46038 h 2476500"/>
                  <a:gd name="connsiteX118" fmla="*/ 1622497 w 1757434"/>
                  <a:gd name="connsiteY118" fmla="*/ 52388 h 2476500"/>
                  <a:gd name="connsiteX119" fmla="*/ 1619322 w 1757434"/>
                  <a:gd name="connsiteY119" fmla="*/ 73025 h 2476500"/>
                  <a:gd name="connsiteX120" fmla="*/ 1622497 w 1757434"/>
                  <a:gd name="connsiteY120" fmla="*/ 84138 h 2476500"/>
                  <a:gd name="connsiteX121" fmla="*/ 1627259 w 1757434"/>
                  <a:gd name="connsiteY121" fmla="*/ 87313 h 2476500"/>
                  <a:gd name="connsiteX122" fmla="*/ 1635197 w 1757434"/>
                  <a:gd name="connsiteY122" fmla="*/ 80963 h 2476500"/>
                  <a:gd name="connsiteX123" fmla="*/ 1641547 w 1757434"/>
                  <a:gd name="connsiteY123" fmla="*/ 69850 h 2476500"/>
                  <a:gd name="connsiteX124" fmla="*/ 1644722 w 1757434"/>
                  <a:gd name="connsiteY124" fmla="*/ 63500 h 2476500"/>
                  <a:gd name="connsiteX125" fmla="*/ 1651072 w 1757434"/>
                  <a:gd name="connsiteY125" fmla="*/ 58738 h 2476500"/>
                  <a:gd name="connsiteX126" fmla="*/ 1659009 w 1757434"/>
                  <a:gd name="connsiteY126" fmla="*/ 63500 h 2476500"/>
                  <a:gd name="connsiteX127" fmla="*/ 1654247 w 1757434"/>
                  <a:gd name="connsiteY127" fmla="*/ 77788 h 2476500"/>
                  <a:gd name="connsiteX128" fmla="*/ 1657422 w 1757434"/>
                  <a:gd name="connsiteY128" fmla="*/ 84138 h 2476500"/>
                  <a:gd name="connsiteX129" fmla="*/ 1662184 w 1757434"/>
                  <a:gd name="connsiteY129" fmla="*/ 77788 h 2476500"/>
                  <a:gd name="connsiteX130" fmla="*/ 1666947 w 1757434"/>
                  <a:gd name="connsiteY130" fmla="*/ 69850 h 2476500"/>
                  <a:gd name="connsiteX131" fmla="*/ 1678059 w 1757434"/>
                  <a:gd name="connsiteY131" fmla="*/ 63500 h 2476500"/>
                  <a:gd name="connsiteX132" fmla="*/ 1692347 w 1757434"/>
                  <a:gd name="connsiteY132" fmla="*/ 65088 h 2476500"/>
                  <a:gd name="connsiteX133" fmla="*/ 1700284 w 1757434"/>
                  <a:gd name="connsiteY133" fmla="*/ 68263 h 2476500"/>
                  <a:gd name="connsiteX134" fmla="*/ 1697109 w 1757434"/>
                  <a:gd name="connsiteY134" fmla="*/ 74613 h 2476500"/>
                  <a:gd name="connsiteX135" fmla="*/ 1689172 w 1757434"/>
                  <a:gd name="connsiteY135" fmla="*/ 79375 h 2476500"/>
                  <a:gd name="connsiteX136" fmla="*/ 1714572 w 1757434"/>
                  <a:gd name="connsiteY136" fmla="*/ 90488 h 2476500"/>
                  <a:gd name="connsiteX137" fmla="*/ 1711397 w 1757434"/>
                  <a:gd name="connsiteY137" fmla="*/ 98425 h 2476500"/>
                  <a:gd name="connsiteX138" fmla="*/ 1700284 w 1757434"/>
                  <a:gd name="connsiteY138" fmla="*/ 106363 h 2476500"/>
                  <a:gd name="connsiteX139" fmla="*/ 1690759 w 1757434"/>
                  <a:gd name="connsiteY139" fmla="*/ 114300 h 2476500"/>
                  <a:gd name="connsiteX140" fmla="*/ 1687584 w 1757434"/>
                  <a:gd name="connsiteY140" fmla="*/ 119063 h 2476500"/>
                  <a:gd name="connsiteX141" fmla="*/ 1685997 w 1757434"/>
                  <a:gd name="connsiteY141" fmla="*/ 123825 h 2476500"/>
                  <a:gd name="connsiteX142" fmla="*/ 1684409 w 1757434"/>
                  <a:gd name="connsiteY142" fmla="*/ 130175 h 2476500"/>
                  <a:gd name="connsiteX143" fmla="*/ 1681234 w 1757434"/>
                  <a:gd name="connsiteY143" fmla="*/ 136525 h 2476500"/>
                  <a:gd name="connsiteX144" fmla="*/ 1674884 w 1757434"/>
                  <a:gd name="connsiteY144" fmla="*/ 138113 h 2476500"/>
                  <a:gd name="connsiteX145" fmla="*/ 1655834 w 1757434"/>
                  <a:gd name="connsiteY145" fmla="*/ 144463 h 2476500"/>
                  <a:gd name="connsiteX146" fmla="*/ 1649484 w 1757434"/>
                  <a:gd name="connsiteY146" fmla="*/ 146050 h 2476500"/>
                  <a:gd name="connsiteX147" fmla="*/ 1641547 w 1757434"/>
                  <a:gd name="connsiteY147" fmla="*/ 149225 h 2476500"/>
                  <a:gd name="connsiteX148" fmla="*/ 1597097 w 1757434"/>
                  <a:gd name="connsiteY148" fmla="*/ 150813 h 2476500"/>
                  <a:gd name="connsiteX149" fmla="*/ 1592334 w 1757434"/>
                  <a:gd name="connsiteY149" fmla="*/ 152400 h 2476500"/>
                  <a:gd name="connsiteX150" fmla="*/ 1593922 w 1757434"/>
                  <a:gd name="connsiteY150" fmla="*/ 158750 h 2476500"/>
                  <a:gd name="connsiteX151" fmla="*/ 1628847 w 1757434"/>
                  <a:gd name="connsiteY151" fmla="*/ 160338 h 2476500"/>
                  <a:gd name="connsiteX152" fmla="*/ 1641547 w 1757434"/>
                  <a:gd name="connsiteY152" fmla="*/ 168275 h 2476500"/>
                  <a:gd name="connsiteX153" fmla="*/ 1643134 w 1757434"/>
                  <a:gd name="connsiteY153" fmla="*/ 177800 h 2476500"/>
                  <a:gd name="connsiteX154" fmla="*/ 1641547 w 1757434"/>
                  <a:gd name="connsiteY154" fmla="*/ 185738 h 2476500"/>
                  <a:gd name="connsiteX155" fmla="*/ 1641547 w 1757434"/>
                  <a:gd name="connsiteY155" fmla="*/ 198438 h 2476500"/>
                  <a:gd name="connsiteX156" fmla="*/ 1646309 w 1757434"/>
                  <a:gd name="connsiteY156" fmla="*/ 200025 h 2476500"/>
                  <a:gd name="connsiteX157" fmla="*/ 1652659 w 1757434"/>
                  <a:gd name="connsiteY157" fmla="*/ 192088 h 2476500"/>
                  <a:gd name="connsiteX158" fmla="*/ 1663772 w 1757434"/>
                  <a:gd name="connsiteY158" fmla="*/ 182563 h 2476500"/>
                  <a:gd name="connsiteX159" fmla="*/ 1666947 w 1757434"/>
                  <a:gd name="connsiteY159" fmla="*/ 187325 h 2476500"/>
                  <a:gd name="connsiteX160" fmla="*/ 1668534 w 1757434"/>
                  <a:gd name="connsiteY160" fmla="*/ 200025 h 2476500"/>
                  <a:gd name="connsiteX161" fmla="*/ 1673297 w 1757434"/>
                  <a:gd name="connsiteY161" fmla="*/ 196850 h 2476500"/>
                  <a:gd name="connsiteX162" fmla="*/ 1681234 w 1757434"/>
                  <a:gd name="connsiteY162" fmla="*/ 195263 h 2476500"/>
                  <a:gd name="connsiteX163" fmla="*/ 1685997 w 1757434"/>
                  <a:gd name="connsiteY163" fmla="*/ 196850 h 2476500"/>
                  <a:gd name="connsiteX164" fmla="*/ 1692347 w 1757434"/>
                  <a:gd name="connsiteY164" fmla="*/ 180975 h 2476500"/>
                  <a:gd name="connsiteX165" fmla="*/ 1695522 w 1757434"/>
                  <a:gd name="connsiteY165" fmla="*/ 176213 h 2476500"/>
                  <a:gd name="connsiteX166" fmla="*/ 1697109 w 1757434"/>
                  <a:gd name="connsiteY166" fmla="*/ 171450 h 2476500"/>
                  <a:gd name="connsiteX167" fmla="*/ 1703459 w 1757434"/>
                  <a:gd name="connsiteY167" fmla="*/ 168275 h 2476500"/>
                  <a:gd name="connsiteX168" fmla="*/ 1705047 w 1757434"/>
                  <a:gd name="connsiteY168" fmla="*/ 184150 h 2476500"/>
                  <a:gd name="connsiteX169" fmla="*/ 1709809 w 1757434"/>
                  <a:gd name="connsiteY169" fmla="*/ 193675 h 2476500"/>
                  <a:gd name="connsiteX170" fmla="*/ 1712984 w 1757434"/>
                  <a:gd name="connsiteY170" fmla="*/ 184150 h 2476500"/>
                  <a:gd name="connsiteX171" fmla="*/ 1717747 w 1757434"/>
                  <a:gd name="connsiteY171" fmla="*/ 180975 h 2476500"/>
                  <a:gd name="connsiteX172" fmla="*/ 1732034 w 1757434"/>
                  <a:gd name="connsiteY172" fmla="*/ 171450 h 2476500"/>
                  <a:gd name="connsiteX173" fmla="*/ 1733622 w 1757434"/>
                  <a:gd name="connsiteY173" fmla="*/ 179388 h 2476500"/>
                  <a:gd name="connsiteX174" fmla="*/ 1736797 w 1757434"/>
                  <a:gd name="connsiteY174" fmla="*/ 184150 h 2476500"/>
                  <a:gd name="connsiteX175" fmla="*/ 1744734 w 1757434"/>
                  <a:gd name="connsiteY175" fmla="*/ 185738 h 2476500"/>
                  <a:gd name="connsiteX176" fmla="*/ 1749497 w 1757434"/>
                  <a:gd name="connsiteY176" fmla="*/ 190500 h 2476500"/>
                  <a:gd name="connsiteX177" fmla="*/ 1754259 w 1757434"/>
                  <a:gd name="connsiteY177" fmla="*/ 192088 h 2476500"/>
                  <a:gd name="connsiteX178" fmla="*/ 1752672 w 1757434"/>
                  <a:gd name="connsiteY178" fmla="*/ 203200 h 2476500"/>
                  <a:gd name="connsiteX179" fmla="*/ 1754259 w 1757434"/>
                  <a:gd name="connsiteY179" fmla="*/ 222250 h 2476500"/>
                  <a:gd name="connsiteX180" fmla="*/ 1757434 w 1757434"/>
                  <a:gd name="connsiteY180" fmla="*/ 233363 h 2476500"/>
                  <a:gd name="connsiteX181" fmla="*/ 1752672 w 1757434"/>
                  <a:gd name="connsiteY181" fmla="*/ 238125 h 2476500"/>
                  <a:gd name="connsiteX182" fmla="*/ 1739972 w 1757434"/>
                  <a:gd name="connsiteY182" fmla="*/ 225425 h 2476500"/>
                  <a:gd name="connsiteX183" fmla="*/ 1709809 w 1757434"/>
                  <a:gd name="connsiteY183" fmla="*/ 223838 h 2476500"/>
                  <a:gd name="connsiteX184" fmla="*/ 1705047 w 1757434"/>
                  <a:gd name="connsiteY184" fmla="*/ 220663 h 2476500"/>
                  <a:gd name="connsiteX185" fmla="*/ 1703459 w 1757434"/>
                  <a:gd name="connsiteY185" fmla="*/ 225425 h 2476500"/>
                  <a:gd name="connsiteX186" fmla="*/ 1698697 w 1757434"/>
                  <a:gd name="connsiteY186" fmla="*/ 244475 h 2476500"/>
                  <a:gd name="connsiteX187" fmla="*/ 1692347 w 1757434"/>
                  <a:gd name="connsiteY187" fmla="*/ 249238 h 2476500"/>
                  <a:gd name="connsiteX188" fmla="*/ 1682822 w 1757434"/>
                  <a:gd name="connsiteY188" fmla="*/ 261938 h 2476500"/>
                  <a:gd name="connsiteX189" fmla="*/ 1676472 w 1757434"/>
                  <a:gd name="connsiteY189" fmla="*/ 269875 h 2476500"/>
                  <a:gd name="connsiteX190" fmla="*/ 1671709 w 1757434"/>
                  <a:gd name="connsiteY190" fmla="*/ 274638 h 2476500"/>
                  <a:gd name="connsiteX191" fmla="*/ 1668534 w 1757434"/>
                  <a:gd name="connsiteY191" fmla="*/ 280988 h 2476500"/>
                  <a:gd name="connsiteX192" fmla="*/ 1670122 w 1757434"/>
                  <a:gd name="connsiteY192" fmla="*/ 319088 h 2476500"/>
                  <a:gd name="connsiteX193" fmla="*/ 1665359 w 1757434"/>
                  <a:gd name="connsiteY193" fmla="*/ 331788 h 2476500"/>
                  <a:gd name="connsiteX194" fmla="*/ 1655834 w 1757434"/>
                  <a:gd name="connsiteY194" fmla="*/ 328613 h 2476500"/>
                  <a:gd name="connsiteX195" fmla="*/ 1643134 w 1757434"/>
                  <a:gd name="connsiteY195" fmla="*/ 323850 h 2476500"/>
                  <a:gd name="connsiteX196" fmla="*/ 1638372 w 1757434"/>
                  <a:gd name="connsiteY196" fmla="*/ 315913 h 2476500"/>
                  <a:gd name="connsiteX197" fmla="*/ 1641547 w 1757434"/>
                  <a:gd name="connsiteY197" fmla="*/ 298450 h 2476500"/>
                  <a:gd name="connsiteX198" fmla="*/ 1644722 w 1757434"/>
                  <a:gd name="connsiteY198" fmla="*/ 290513 h 2476500"/>
                  <a:gd name="connsiteX199" fmla="*/ 1649484 w 1757434"/>
                  <a:gd name="connsiteY199" fmla="*/ 285750 h 2476500"/>
                  <a:gd name="connsiteX200" fmla="*/ 1651072 w 1757434"/>
                  <a:gd name="connsiteY200" fmla="*/ 274638 h 2476500"/>
                  <a:gd name="connsiteX201" fmla="*/ 1654247 w 1757434"/>
                  <a:gd name="connsiteY201" fmla="*/ 268288 h 2476500"/>
                  <a:gd name="connsiteX202" fmla="*/ 1652659 w 1757434"/>
                  <a:gd name="connsiteY202" fmla="*/ 255588 h 2476500"/>
                  <a:gd name="connsiteX203" fmla="*/ 1639959 w 1757434"/>
                  <a:gd name="connsiteY203" fmla="*/ 239713 h 2476500"/>
                  <a:gd name="connsiteX204" fmla="*/ 1628847 w 1757434"/>
                  <a:gd name="connsiteY204" fmla="*/ 236538 h 2476500"/>
                  <a:gd name="connsiteX205" fmla="*/ 1620909 w 1757434"/>
                  <a:gd name="connsiteY205" fmla="*/ 231775 h 2476500"/>
                  <a:gd name="connsiteX206" fmla="*/ 1605034 w 1757434"/>
                  <a:gd name="connsiteY206" fmla="*/ 223838 h 2476500"/>
                  <a:gd name="connsiteX207" fmla="*/ 1597097 w 1757434"/>
                  <a:gd name="connsiteY207" fmla="*/ 217488 h 2476500"/>
                  <a:gd name="connsiteX208" fmla="*/ 1584397 w 1757434"/>
                  <a:gd name="connsiteY208" fmla="*/ 215900 h 2476500"/>
                  <a:gd name="connsiteX209" fmla="*/ 1582809 w 1757434"/>
                  <a:gd name="connsiteY209" fmla="*/ 211138 h 2476500"/>
                  <a:gd name="connsiteX210" fmla="*/ 1579634 w 1757434"/>
                  <a:gd name="connsiteY210" fmla="*/ 204788 h 2476500"/>
                  <a:gd name="connsiteX211" fmla="*/ 1554234 w 1757434"/>
                  <a:gd name="connsiteY211" fmla="*/ 200025 h 2476500"/>
                  <a:gd name="connsiteX212" fmla="*/ 1552647 w 1757434"/>
                  <a:gd name="connsiteY212" fmla="*/ 190500 h 2476500"/>
                  <a:gd name="connsiteX213" fmla="*/ 1543122 w 1757434"/>
                  <a:gd name="connsiteY213" fmla="*/ 184150 h 2476500"/>
                  <a:gd name="connsiteX214" fmla="*/ 1522484 w 1757434"/>
                  <a:gd name="connsiteY214" fmla="*/ 185738 h 2476500"/>
                  <a:gd name="connsiteX215" fmla="*/ 1516134 w 1757434"/>
                  <a:gd name="connsiteY215" fmla="*/ 190500 h 2476500"/>
                  <a:gd name="connsiteX216" fmla="*/ 1511372 w 1757434"/>
                  <a:gd name="connsiteY216" fmla="*/ 193675 h 2476500"/>
                  <a:gd name="connsiteX217" fmla="*/ 1506609 w 1757434"/>
                  <a:gd name="connsiteY217" fmla="*/ 201613 h 2476500"/>
                  <a:gd name="connsiteX218" fmla="*/ 1503434 w 1757434"/>
                  <a:gd name="connsiteY218" fmla="*/ 206375 h 2476500"/>
                  <a:gd name="connsiteX219" fmla="*/ 1500259 w 1757434"/>
                  <a:gd name="connsiteY219" fmla="*/ 214313 h 2476500"/>
                  <a:gd name="connsiteX220" fmla="*/ 1493909 w 1757434"/>
                  <a:gd name="connsiteY220" fmla="*/ 215900 h 2476500"/>
                  <a:gd name="connsiteX221" fmla="*/ 1474859 w 1757434"/>
                  <a:gd name="connsiteY221" fmla="*/ 225425 h 2476500"/>
                  <a:gd name="connsiteX222" fmla="*/ 1460572 w 1757434"/>
                  <a:gd name="connsiteY222" fmla="*/ 233363 h 2476500"/>
                  <a:gd name="connsiteX223" fmla="*/ 1457397 w 1757434"/>
                  <a:gd name="connsiteY223" fmla="*/ 239713 h 2476500"/>
                  <a:gd name="connsiteX224" fmla="*/ 1455809 w 1757434"/>
                  <a:gd name="connsiteY224" fmla="*/ 244475 h 2476500"/>
                  <a:gd name="connsiteX225" fmla="*/ 1451047 w 1757434"/>
                  <a:gd name="connsiteY225" fmla="*/ 249238 h 2476500"/>
                  <a:gd name="connsiteX226" fmla="*/ 1435172 w 1757434"/>
                  <a:gd name="connsiteY226" fmla="*/ 266700 h 2476500"/>
                  <a:gd name="connsiteX227" fmla="*/ 1436759 w 1757434"/>
                  <a:gd name="connsiteY227" fmla="*/ 277813 h 2476500"/>
                  <a:gd name="connsiteX228" fmla="*/ 1441522 w 1757434"/>
                  <a:gd name="connsiteY228" fmla="*/ 287338 h 2476500"/>
                  <a:gd name="connsiteX229" fmla="*/ 1443109 w 1757434"/>
                  <a:gd name="connsiteY229" fmla="*/ 293688 h 2476500"/>
                  <a:gd name="connsiteX230" fmla="*/ 1441522 w 1757434"/>
                  <a:gd name="connsiteY230" fmla="*/ 325438 h 2476500"/>
                  <a:gd name="connsiteX231" fmla="*/ 1441522 w 1757434"/>
                  <a:gd name="connsiteY231" fmla="*/ 360363 h 2476500"/>
                  <a:gd name="connsiteX232" fmla="*/ 1449459 w 1757434"/>
                  <a:gd name="connsiteY232" fmla="*/ 361950 h 2476500"/>
                  <a:gd name="connsiteX233" fmla="*/ 1458984 w 1757434"/>
                  <a:gd name="connsiteY233" fmla="*/ 365125 h 2476500"/>
                  <a:gd name="connsiteX234" fmla="*/ 1458984 w 1757434"/>
                  <a:gd name="connsiteY234" fmla="*/ 409575 h 2476500"/>
                  <a:gd name="connsiteX235" fmla="*/ 1444697 w 1757434"/>
                  <a:gd name="connsiteY235" fmla="*/ 411163 h 2476500"/>
                  <a:gd name="connsiteX236" fmla="*/ 1435172 w 1757434"/>
                  <a:gd name="connsiteY236" fmla="*/ 415925 h 2476500"/>
                  <a:gd name="connsiteX237" fmla="*/ 1436759 w 1757434"/>
                  <a:gd name="connsiteY237" fmla="*/ 423863 h 2476500"/>
                  <a:gd name="connsiteX238" fmla="*/ 1433584 w 1757434"/>
                  <a:gd name="connsiteY238" fmla="*/ 471488 h 2476500"/>
                  <a:gd name="connsiteX239" fmla="*/ 1419297 w 1757434"/>
                  <a:gd name="connsiteY239" fmla="*/ 465138 h 2476500"/>
                  <a:gd name="connsiteX240" fmla="*/ 1412947 w 1757434"/>
                  <a:gd name="connsiteY240" fmla="*/ 461963 h 2476500"/>
                  <a:gd name="connsiteX241" fmla="*/ 1390722 w 1757434"/>
                  <a:gd name="connsiteY241" fmla="*/ 465138 h 2476500"/>
                  <a:gd name="connsiteX242" fmla="*/ 1382784 w 1757434"/>
                  <a:gd name="connsiteY242" fmla="*/ 450850 h 2476500"/>
                  <a:gd name="connsiteX243" fmla="*/ 1378022 w 1757434"/>
                  <a:gd name="connsiteY243" fmla="*/ 447675 h 2476500"/>
                  <a:gd name="connsiteX244" fmla="*/ 1373259 w 1757434"/>
                  <a:gd name="connsiteY244" fmla="*/ 442913 h 2476500"/>
                  <a:gd name="connsiteX245" fmla="*/ 1365322 w 1757434"/>
                  <a:gd name="connsiteY245" fmla="*/ 441325 h 2476500"/>
                  <a:gd name="connsiteX246" fmla="*/ 1360559 w 1757434"/>
                  <a:gd name="connsiteY246" fmla="*/ 439738 h 2476500"/>
                  <a:gd name="connsiteX247" fmla="*/ 1349447 w 1757434"/>
                  <a:gd name="connsiteY247" fmla="*/ 441325 h 2476500"/>
                  <a:gd name="connsiteX248" fmla="*/ 1335159 w 1757434"/>
                  <a:gd name="connsiteY248" fmla="*/ 450850 h 2476500"/>
                  <a:gd name="connsiteX249" fmla="*/ 1328809 w 1757434"/>
                  <a:gd name="connsiteY249" fmla="*/ 461963 h 2476500"/>
                  <a:gd name="connsiteX250" fmla="*/ 1320872 w 1757434"/>
                  <a:gd name="connsiteY250" fmla="*/ 469900 h 2476500"/>
                  <a:gd name="connsiteX251" fmla="*/ 1312934 w 1757434"/>
                  <a:gd name="connsiteY251" fmla="*/ 471488 h 2476500"/>
                  <a:gd name="connsiteX252" fmla="*/ 1308172 w 1757434"/>
                  <a:gd name="connsiteY252" fmla="*/ 474663 h 2476500"/>
                  <a:gd name="connsiteX253" fmla="*/ 1303409 w 1757434"/>
                  <a:gd name="connsiteY253" fmla="*/ 479425 h 2476500"/>
                  <a:gd name="connsiteX254" fmla="*/ 1295472 w 1757434"/>
                  <a:gd name="connsiteY254" fmla="*/ 481013 h 2476500"/>
                  <a:gd name="connsiteX255" fmla="*/ 1287534 w 1757434"/>
                  <a:gd name="connsiteY255" fmla="*/ 484188 h 2476500"/>
                  <a:gd name="connsiteX256" fmla="*/ 1281184 w 1757434"/>
                  <a:gd name="connsiteY256" fmla="*/ 482600 h 2476500"/>
                  <a:gd name="connsiteX257" fmla="*/ 1273247 w 1757434"/>
                  <a:gd name="connsiteY257" fmla="*/ 476250 h 2476500"/>
                  <a:gd name="connsiteX258" fmla="*/ 1266897 w 1757434"/>
                  <a:gd name="connsiteY258" fmla="*/ 471488 h 2476500"/>
                  <a:gd name="connsiteX259" fmla="*/ 1255784 w 1757434"/>
                  <a:gd name="connsiteY259" fmla="*/ 466725 h 2476500"/>
                  <a:gd name="connsiteX260" fmla="*/ 1244672 w 1757434"/>
                  <a:gd name="connsiteY260" fmla="*/ 455613 h 2476500"/>
                  <a:gd name="connsiteX261" fmla="*/ 1238322 w 1757434"/>
                  <a:gd name="connsiteY261" fmla="*/ 449263 h 2476500"/>
                  <a:gd name="connsiteX262" fmla="*/ 1231972 w 1757434"/>
                  <a:gd name="connsiteY262" fmla="*/ 444500 h 2476500"/>
                  <a:gd name="connsiteX263" fmla="*/ 1230384 w 1757434"/>
                  <a:gd name="connsiteY263" fmla="*/ 438150 h 2476500"/>
                  <a:gd name="connsiteX264" fmla="*/ 1225622 w 1757434"/>
                  <a:gd name="connsiteY264" fmla="*/ 433388 h 2476500"/>
                  <a:gd name="connsiteX265" fmla="*/ 1222447 w 1757434"/>
                  <a:gd name="connsiteY265" fmla="*/ 428625 h 2476500"/>
                  <a:gd name="connsiteX266" fmla="*/ 1204984 w 1757434"/>
                  <a:gd name="connsiteY266" fmla="*/ 411163 h 2476500"/>
                  <a:gd name="connsiteX267" fmla="*/ 1197047 w 1757434"/>
                  <a:gd name="connsiteY267" fmla="*/ 409575 h 2476500"/>
                  <a:gd name="connsiteX268" fmla="*/ 1192284 w 1757434"/>
                  <a:gd name="connsiteY268" fmla="*/ 395288 h 2476500"/>
                  <a:gd name="connsiteX269" fmla="*/ 1189109 w 1757434"/>
                  <a:gd name="connsiteY269" fmla="*/ 390525 h 2476500"/>
                  <a:gd name="connsiteX270" fmla="*/ 1184347 w 1757434"/>
                  <a:gd name="connsiteY270" fmla="*/ 388938 h 2476500"/>
                  <a:gd name="connsiteX271" fmla="*/ 1179584 w 1757434"/>
                  <a:gd name="connsiteY271" fmla="*/ 390525 h 2476500"/>
                  <a:gd name="connsiteX272" fmla="*/ 1149422 w 1757434"/>
                  <a:gd name="connsiteY272" fmla="*/ 393700 h 2476500"/>
                  <a:gd name="connsiteX273" fmla="*/ 1157359 w 1757434"/>
                  <a:gd name="connsiteY273" fmla="*/ 438150 h 2476500"/>
                  <a:gd name="connsiteX274" fmla="*/ 1151009 w 1757434"/>
                  <a:gd name="connsiteY274" fmla="*/ 436563 h 2476500"/>
                  <a:gd name="connsiteX275" fmla="*/ 1125609 w 1757434"/>
                  <a:gd name="connsiteY275" fmla="*/ 439738 h 2476500"/>
                  <a:gd name="connsiteX276" fmla="*/ 1116084 w 1757434"/>
                  <a:gd name="connsiteY276" fmla="*/ 447675 h 2476500"/>
                  <a:gd name="connsiteX277" fmla="*/ 1111322 w 1757434"/>
                  <a:gd name="connsiteY277" fmla="*/ 449263 h 2476500"/>
                  <a:gd name="connsiteX278" fmla="*/ 1101797 w 1757434"/>
                  <a:gd name="connsiteY278" fmla="*/ 454025 h 2476500"/>
                  <a:gd name="connsiteX279" fmla="*/ 1095447 w 1757434"/>
                  <a:gd name="connsiteY279" fmla="*/ 458788 h 2476500"/>
                  <a:gd name="connsiteX280" fmla="*/ 1101797 w 1757434"/>
                  <a:gd name="connsiteY280" fmla="*/ 469900 h 2476500"/>
                  <a:gd name="connsiteX281" fmla="*/ 1109734 w 1757434"/>
                  <a:gd name="connsiteY281" fmla="*/ 473075 h 2476500"/>
                  <a:gd name="connsiteX282" fmla="*/ 1114497 w 1757434"/>
                  <a:gd name="connsiteY282" fmla="*/ 477838 h 2476500"/>
                  <a:gd name="connsiteX283" fmla="*/ 1116084 w 1757434"/>
                  <a:gd name="connsiteY283" fmla="*/ 484188 h 2476500"/>
                  <a:gd name="connsiteX284" fmla="*/ 1117672 w 1757434"/>
                  <a:gd name="connsiteY284" fmla="*/ 504825 h 2476500"/>
                  <a:gd name="connsiteX285" fmla="*/ 1117672 w 1757434"/>
                  <a:gd name="connsiteY285" fmla="*/ 547688 h 2476500"/>
                  <a:gd name="connsiteX286" fmla="*/ 1124022 w 1757434"/>
                  <a:gd name="connsiteY286" fmla="*/ 550863 h 2476500"/>
                  <a:gd name="connsiteX287" fmla="*/ 1125609 w 1757434"/>
                  <a:gd name="connsiteY287" fmla="*/ 555625 h 2476500"/>
                  <a:gd name="connsiteX288" fmla="*/ 1130372 w 1757434"/>
                  <a:gd name="connsiteY288" fmla="*/ 557213 h 2476500"/>
                  <a:gd name="connsiteX289" fmla="*/ 1122434 w 1757434"/>
                  <a:gd name="connsiteY289" fmla="*/ 565150 h 2476500"/>
                  <a:gd name="connsiteX290" fmla="*/ 1117672 w 1757434"/>
                  <a:gd name="connsiteY290" fmla="*/ 576263 h 2476500"/>
                  <a:gd name="connsiteX291" fmla="*/ 1112909 w 1757434"/>
                  <a:gd name="connsiteY291" fmla="*/ 584200 h 2476500"/>
                  <a:gd name="connsiteX292" fmla="*/ 1106559 w 1757434"/>
                  <a:gd name="connsiteY292" fmla="*/ 587375 h 2476500"/>
                  <a:gd name="connsiteX293" fmla="*/ 1098622 w 1757434"/>
                  <a:gd name="connsiteY293" fmla="*/ 584200 h 2476500"/>
                  <a:gd name="connsiteX294" fmla="*/ 1093859 w 1757434"/>
                  <a:gd name="connsiteY294" fmla="*/ 579438 h 2476500"/>
                  <a:gd name="connsiteX295" fmla="*/ 1082747 w 1757434"/>
                  <a:gd name="connsiteY295" fmla="*/ 573088 h 2476500"/>
                  <a:gd name="connsiteX296" fmla="*/ 1062109 w 1757434"/>
                  <a:gd name="connsiteY296" fmla="*/ 569913 h 2476500"/>
                  <a:gd name="connsiteX297" fmla="*/ 1047822 w 1757434"/>
                  <a:gd name="connsiteY297" fmla="*/ 565150 h 2476500"/>
                  <a:gd name="connsiteX298" fmla="*/ 1041472 w 1757434"/>
                  <a:gd name="connsiteY298" fmla="*/ 563563 h 2476500"/>
                  <a:gd name="connsiteX299" fmla="*/ 1030359 w 1757434"/>
                  <a:gd name="connsiteY299" fmla="*/ 565150 h 2476500"/>
                  <a:gd name="connsiteX300" fmla="*/ 1017659 w 1757434"/>
                  <a:gd name="connsiteY300" fmla="*/ 571500 h 2476500"/>
                  <a:gd name="connsiteX301" fmla="*/ 1016072 w 1757434"/>
                  <a:gd name="connsiteY301" fmla="*/ 560388 h 2476500"/>
                  <a:gd name="connsiteX302" fmla="*/ 989084 w 1757434"/>
                  <a:gd name="connsiteY302" fmla="*/ 560388 h 2476500"/>
                  <a:gd name="connsiteX303" fmla="*/ 984322 w 1757434"/>
                  <a:gd name="connsiteY303" fmla="*/ 566738 h 2476500"/>
                  <a:gd name="connsiteX304" fmla="*/ 990672 w 1757434"/>
                  <a:gd name="connsiteY304" fmla="*/ 592138 h 2476500"/>
                  <a:gd name="connsiteX305" fmla="*/ 992259 w 1757434"/>
                  <a:gd name="connsiteY305" fmla="*/ 596900 h 2476500"/>
                  <a:gd name="connsiteX306" fmla="*/ 989084 w 1757434"/>
                  <a:gd name="connsiteY306" fmla="*/ 644525 h 2476500"/>
                  <a:gd name="connsiteX307" fmla="*/ 984322 w 1757434"/>
                  <a:gd name="connsiteY307" fmla="*/ 650875 h 2476500"/>
                  <a:gd name="connsiteX308" fmla="*/ 982734 w 1757434"/>
                  <a:gd name="connsiteY308" fmla="*/ 655638 h 2476500"/>
                  <a:gd name="connsiteX309" fmla="*/ 979559 w 1757434"/>
                  <a:gd name="connsiteY309" fmla="*/ 669925 h 2476500"/>
                  <a:gd name="connsiteX310" fmla="*/ 974797 w 1757434"/>
                  <a:gd name="connsiteY310" fmla="*/ 666750 h 2476500"/>
                  <a:gd name="connsiteX311" fmla="*/ 970034 w 1757434"/>
                  <a:gd name="connsiteY311" fmla="*/ 661988 h 2476500"/>
                  <a:gd name="connsiteX312" fmla="*/ 960509 w 1757434"/>
                  <a:gd name="connsiteY312" fmla="*/ 663575 h 2476500"/>
                  <a:gd name="connsiteX313" fmla="*/ 943047 w 1757434"/>
                  <a:gd name="connsiteY313" fmla="*/ 668338 h 2476500"/>
                  <a:gd name="connsiteX314" fmla="*/ 936697 w 1757434"/>
                  <a:gd name="connsiteY314" fmla="*/ 676275 h 2476500"/>
                  <a:gd name="connsiteX315" fmla="*/ 925584 w 1757434"/>
                  <a:gd name="connsiteY315" fmla="*/ 687388 h 2476500"/>
                  <a:gd name="connsiteX316" fmla="*/ 922409 w 1757434"/>
                  <a:gd name="connsiteY316" fmla="*/ 692150 h 2476500"/>
                  <a:gd name="connsiteX317" fmla="*/ 916059 w 1757434"/>
                  <a:gd name="connsiteY317" fmla="*/ 698500 h 2476500"/>
                  <a:gd name="connsiteX318" fmla="*/ 912884 w 1757434"/>
                  <a:gd name="connsiteY318" fmla="*/ 704850 h 2476500"/>
                  <a:gd name="connsiteX319" fmla="*/ 909709 w 1757434"/>
                  <a:gd name="connsiteY319" fmla="*/ 709613 h 2476500"/>
                  <a:gd name="connsiteX320" fmla="*/ 908122 w 1757434"/>
                  <a:gd name="connsiteY320" fmla="*/ 717550 h 2476500"/>
                  <a:gd name="connsiteX321" fmla="*/ 901772 w 1757434"/>
                  <a:gd name="connsiteY321" fmla="*/ 727075 h 2476500"/>
                  <a:gd name="connsiteX322" fmla="*/ 897009 w 1757434"/>
                  <a:gd name="connsiteY322" fmla="*/ 741363 h 2476500"/>
                  <a:gd name="connsiteX323" fmla="*/ 895422 w 1757434"/>
                  <a:gd name="connsiteY323" fmla="*/ 746125 h 2476500"/>
                  <a:gd name="connsiteX324" fmla="*/ 893834 w 1757434"/>
                  <a:gd name="connsiteY324" fmla="*/ 757238 h 2476500"/>
                  <a:gd name="connsiteX325" fmla="*/ 887484 w 1757434"/>
                  <a:gd name="connsiteY325" fmla="*/ 763588 h 2476500"/>
                  <a:gd name="connsiteX326" fmla="*/ 882722 w 1757434"/>
                  <a:gd name="connsiteY326" fmla="*/ 769938 h 2476500"/>
                  <a:gd name="connsiteX327" fmla="*/ 884309 w 1757434"/>
                  <a:gd name="connsiteY327" fmla="*/ 781050 h 2476500"/>
                  <a:gd name="connsiteX328" fmla="*/ 892247 w 1757434"/>
                  <a:gd name="connsiteY328" fmla="*/ 795338 h 2476500"/>
                  <a:gd name="connsiteX329" fmla="*/ 892247 w 1757434"/>
                  <a:gd name="connsiteY329" fmla="*/ 839788 h 2476500"/>
                  <a:gd name="connsiteX330" fmla="*/ 887484 w 1757434"/>
                  <a:gd name="connsiteY330" fmla="*/ 842963 h 2476500"/>
                  <a:gd name="connsiteX331" fmla="*/ 879547 w 1757434"/>
                  <a:gd name="connsiteY331" fmla="*/ 855663 h 2476500"/>
                  <a:gd name="connsiteX332" fmla="*/ 876372 w 1757434"/>
                  <a:gd name="connsiteY332" fmla="*/ 863600 h 2476500"/>
                  <a:gd name="connsiteX333" fmla="*/ 874784 w 1757434"/>
                  <a:gd name="connsiteY333" fmla="*/ 869950 h 2476500"/>
                  <a:gd name="connsiteX334" fmla="*/ 870022 w 1757434"/>
                  <a:gd name="connsiteY334" fmla="*/ 884238 h 2476500"/>
                  <a:gd name="connsiteX335" fmla="*/ 866847 w 1757434"/>
                  <a:gd name="connsiteY335" fmla="*/ 893763 h 2476500"/>
                  <a:gd name="connsiteX336" fmla="*/ 863672 w 1757434"/>
                  <a:gd name="connsiteY336" fmla="*/ 906463 h 2476500"/>
                  <a:gd name="connsiteX337" fmla="*/ 857322 w 1757434"/>
                  <a:gd name="connsiteY337" fmla="*/ 919163 h 2476500"/>
                  <a:gd name="connsiteX338" fmla="*/ 852559 w 1757434"/>
                  <a:gd name="connsiteY338" fmla="*/ 923925 h 2476500"/>
                  <a:gd name="connsiteX339" fmla="*/ 843034 w 1757434"/>
                  <a:gd name="connsiteY339" fmla="*/ 935038 h 2476500"/>
                  <a:gd name="connsiteX340" fmla="*/ 831922 w 1757434"/>
                  <a:gd name="connsiteY340" fmla="*/ 944563 h 2476500"/>
                  <a:gd name="connsiteX341" fmla="*/ 830334 w 1757434"/>
                  <a:gd name="connsiteY341" fmla="*/ 950913 h 2476500"/>
                  <a:gd name="connsiteX342" fmla="*/ 835097 w 1757434"/>
                  <a:gd name="connsiteY342" fmla="*/ 973138 h 2476500"/>
                  <a:gd name="connsiteX343" fmla="*/ 833509 w 1757434"/>
                  <a:gd name="connsiteY343" fmla="*/ 990600 h 2476500"/>
                  <a:gd name="connsiteX344" fmla="*/ 825572 w 1757434"/>
                  <a:gd name="connsiteY344" fmla="*/ 995363 h 2476500"/>
                  <a:gd name="connsiteX345" fmla="*/ 819222 w 1757434"/>
                  <a:gd name="connsiteY345" fmla="*/ 1001713 h 2476500"/>
                  <a:gd name="connsiteX346" fmla="*/ 801759 w 1757434"/>
                  <a:gd name="connsiteY346" fmla="*/ 1016000 h 2476500"/>
                  <a:gd name="connsiteX347" fmla="*/ 782709 w 1757434"/>
                  <a:gd name="connsiteY347" fmla="*/ 1014413 h 2476500"/>
                  <a:gd name="connsiteX348" fmla="*/ 777777 w 1757434"/>
                  <a:gd name="connsiteY348" fmla="*/ 1011206 h 2476500"/>
                  <a:gd name="connsiteX349" fmla="*/ 780808 w 1757434"/>
                  <a:gd name="connsiteY349" fmla="*/ 1009156 h 2476500"/>
                  <a:gd name="connsiteX350" fmla="*/ 782139 w 1757434"/>
                  <a:gd name="connsiteY350" fmla="*/ 1008856 h 2476500"/>
                  <a:gd name="connsiteX351" fmla="*/ 780893 w 1757434"/>
                  <a:gd name="connsiteY351" fmla="*/ 1009099 h 2476500"/>
                  <a:gd name="connsiteX352" fmla="*/ 780808 w 1757434"/>
                  <a:gd name="connsiteY352" fmla="*/ 1009156 h 2476500"/>
                  <a:gd name="connsiteX353" fmla="*/ 771597 w 1757434"/>
                  <a:gd name="connsiteY353" fmla="*/ 1011238 h 2476500"/>
                  <a:gd name="connsiteX354" fmla="*/ 773184 w 1757434"/>
                  <a:gd name="connsiteY354" fmla="*/ 1050925 h 2476500"/>
                  <a:gd name="connsiteX355" fmla="*/ 779534 w 1757434"/>
                  <a:gd name="connsiteY355" fmla="*/ 1063625 h 2476500"/>
                  <a:gd name="connsiteX356" fmla="*/ 781122 w 1757434"/>
                  <a:gd name="connsiteY356" fmla="*/ 1068388 h 2476500"/>
                  <a:gd name="connsiteX357" fmla="*/ 782709 w 1757434"/>
                  <a:gd name="connsiteY357" fmla="*/ 1079500 h 2476500"/>
                  <a:gd name="connsiteX358" fmla="*/ 777947 w 1757434"/>
                  <a:gd name="connsiteY358" fmla="*/ 1093788 h 2476500"/>
                  <a:gd name="connsiteX359" fmla="*/ 773184 w 1757434"/>
                  <a:gd name="connsiteY359" fmla="*/ 1096963 h 2476500"/>
                  <a:gd name="connsiteX360" fmla="*/ 774772 w 1757434"/>
                  <a:gd name="connsiteY360" fmla="*/ 1106488 h 2476500"/>
                  <a:gd name="connsiteX361" fmla="*/ 782709 w 1757434"/>
                  <a:gd name="connsiteY361" fmla="*/ 1116013 h 2476500"/>
                  <a:gd name="connsiteX362" fmla="*/ 784297 w 1757434"/>
                  <a:gd name="connsiteY362" fmla="*/ 1123950 h 2476500"/>
                  <a:gd name="connsiteX363" fmla="*/ 787472 w 1757434"/>
                  <a:gd name="connsiteY363" fmla="*/ 1135063 h 2476500"/>
                  <a:gd name="connsiteX364" fmla="*/ 784297 w 1757434"/>
                  <a:gd name="connsiteY364" fmla="*/ 1157288 h 2476500"/>
                  <a:gd name="connsiteX365" fmla="*/ 781122 w 1757434"/>
                  <a:gd name="connsiteY365" fmla="*/ 1165225 h 2476500"/>
                  <a:gd name="connsiteX366" fmla="*/ 777947 w 1757434"/>
                  <a:gd name="connsiteY366" fmla="*/ 1169988 h 2476500"/>
                  <a:gd name="connsiteX367" fmla="*/ 779534 w 1757434"/>
                  <a:gd name="connsiteY367" fmla="*/ 1177925 h 2476500"/>
                  <a:gd name="connsiteX368" fmla="*/ 776359 w 1757434"/>
                  <a:gd name="connsiteY368" fmla="*/ 1192213 h 2476500"/>
                  <a:gd name="connsiteX369" fmla="*/ 773184 w 1757434"/>
                  <a:gd name="connsiteY369" fmla="*/ 1196975 h 2476500"/>
                  <a:gd name="connsiteX370" fmla="*/ 768422 w 1757434"/>
                  <a:gd name="connsiteY370" fmla="*/ 1206500 h 2476500"/>
                  <a:gd name="connsiteX371" fmla="*/ 763659 w 1757434"/>
                  <a:gd name="connsiteY371" fmla="*/ 1209675 h 2476500"/>
                  <a:gd name="connsiteX372" fmla="*/ 750959 w 1757434"/>
                  <a:gd name="connsiteY372" fmla="*/ 1230313 h 2476500"/>
                  <a:gd name="connsiteX373" fmla="*/ 738259 w 1757434"/>
                  <a:gd name="connsiteY373" fmla="*/ 1235075 h 2476500"/>
                  <a:gd name="connsiteX374" fmla="*/ 731909 w 1757434"/>
                  <a:gd name="connsiteY374" fmla="*/ 1239838 h 2476500"/>
                  <a:gd name="connsiteX375" fmla="*/ 730322 w 1757434"/>
                  <a:gd name="connsiteY375" fmla="*/ 1276350 h 2476500"/>
                  <a:gd name="connsiteX376" fmla="*/ 733497 w 1757434"/>
                  <a:gd name="connsiteY376" fmla="*/ 1293813 h 2476500"/>
                  <a:gd name="connsiteX377" fmla="*/ 738259 w 1757434"/>
                  <a:gd name="connsiteY377" fmla="*/ 1296988 h 2476500"/>
                  <a:gd name="connsiteX378" fmla="*/ 762072 w 1757434"/>
                  <a:gd name="connsiteY378" fmla="*/ 1319213 h 2476500"/>
                  <a:gd name="connsiteX379" fmla="*/ 768422 w 1757434"/>
                  <a:gd name="connsiteY379" fmla="*/ 1322388 h 2476500"/>
                  <a:gd name="connsiteX380" fmla="*/ 766834 w 1757434"/>
                  <a:gd name="connsiteY380" fmla="*/ 1366838 h 2476500"/>
                  <a:gd name="connsiteX381" fmla="*/ 763659 w 1757434"/>
                  <a:gd name="connsiteY381" fmla="*/ 1376363 h 2476500"/>
                  <a:gd name="connsiteX382" fmla="*/ 760484 w 1757434"/>
                  <a:gd name="connsiteY382" fmla="*/ 1384300 h 2476500"/>
                  <a:gd name="connsiteX383" fmla="*/ 758897 w 1757434"/>
                  <a:gd name="connsiteY383" fmla="*/ 1389063 h 2476500"/>
                  <a:gd name="connsiteX384" fmla="*/ 750959 w 1757434"/>
                  <a:gd name="connsiteY384" fmla="*/ 1398588 h 2476500"/>
                  <a:gd name="connsiteX385" fmla="*/ 719209 w 1757434"/>
                  <a:gd name="connsiteY385" fmla="*/ 1397000 h 2476500"/>
                  <a:gd name="connsiteX386" fmla="*/ 714447 w 1757434"/>
                  <a:gd name="connsiteY386" fmla="*/ 1389063 h 2476500"/>
                  <a:gd name="connsiteX387" fmla="*/ 706509 w 1757434"/>
                  <a:gd name="connsiteY387" fmla="*/ 1385888 h 2476500"/>
                  <a:gd name="connsiteX388" fmla="*/ 693809 w 1757434"/>
                  <a:gd name="connsiteY388" fmla="*/ 1389063 h 2476500"/>
                  <a:gd name="connsiteX389" fmla="*/ 685872 w 1757434"/>
                  <a:gd name="connsiteY389" fmla="*/ 1395413 h 2476500"/>
                  <a:gd name="connsiteX390" fmla="*/ 677934 w 1757434"/>
                  <a:gd name="connsiteY390" fmla="*/ 1406525 h 2476500"/>
                  <a:gd name="connsiteX391" fmla="*/ 671584 w 1757434"/>
                  <a:gd name="connsiteY391" fmla="*/ 1409700 h 2476500"/>
                  <a:gd name="connsiteX392" fmla="*/ 657297 w 1757434"/>
                  <a:gd name="connsiteY392" fmla="*/ 1419225 h 2476500"/>
                  <a:gd name="connsiteX393" fmla="*/ 654122 w 1757434"/>
                  <a:gd name="connsiteY393" fmla="*/ 1423988 h 2476500"/>
                  <a:gd name="connsiteX394" fmla="*/ 660472 w 1757434"/>
                  <a:gd name="connsiteY394" fmla="*/ 1430338 h 2476500"/>
                  <a:gd name="connsiteX395" fmla="*/ 662059 w 1757434"/>
                  <a:gd name="connsiteY395" fmla="*/ 1435100 h 2476500"/>
                  <a:gd name="connsiteX396" fmla="*/ 655709 w 1757434"/>
                  <a:gd name="connsiteY396" fmla="*/ 1438275 h 2476500"/>
                  <a:gd name="connsiteX397" fmla="*/ 650947 w 1757434"/>
                  <a:gd name="connsiteY397" fmla="*/ 1443038 h 2476500"/>
                  <a:gd name="connsiteX398" fmla="*/ 643009 w 1757434"/>
                  <a:gd name="connsiteY398" fmla="*/ 1449388 h 2476500"/>
                  <a:gd name="connsiteX399" fmla="*/ 638247 w 1757434"/>
                  <a:gd name="connsiteY399" fmla="*/ 1455738 h 2476500"/>
                  <a:gd name="connsiteX400" fmla="*/ 633484 w 1757434"/>
                  <a:gd name="connsiteY400" fmla="*/ 1458913 h 2476500"/>
                  <a:gd name="connsiteX401" fmla="*/ 623959 w 1757434"/>
                  <a:gd name="connsiteY401" fmla="*/ 1470025 h 2476500"/>
                  <a:gd name="connsiteX402" fmla="*/ 620784 w 1757434"/>
                  <a:gd name="connsiteY402" fmla="*/ 1489075 h 2476500"/>
                  <a:gd name="connsiteX403" fmla="*/ 619197 w 1757434"/>
                  <a:gd name="connsiteY403" fmla="*/ 1498600 h 2476500"/>
                  <a:gd name="connsiteX404" fmla="*/ 612847 w 1757434"/>
                  <a:gd name="connsiteY404" fmla="*/ 1487488 h 2476500"/>
                  <a:gd name="connsiteX405" fmla="*/ 612667 w 1757434"/>
                  <a:gd name="connsiteY405" fmla="*/ 1487193 h 2476500"/>
                  <a:gd name="connsiteX406" fmla="*/ 611259 w 1757434"/>
                  <a:gd name="connsiteY406" fmla="*/ 1509713 h 2476500"/>
                  <a:gd name="connsiteX407" fmla="*/ 603322 w 1757434"/>
                  <a:gd name="connsiteY407" fmla="*/ 1514475 h 2476500"/>
                  <a:gd name="connsiteX408" fmla="*/ 598559 w 1757434"/>
                  <a:gd name="connsiteY408" fmla="*/ 1519238 h 2476500"/>
                  <a:gd name="connsiteX409" fmla="*/ 593797 w 1757434"/>
                  <a:gd name="connsiteY409" fmla="*/ 1530350 h 2476500"/>
                  <a:gd name="connsiteX410" fmla="*/ 603322 w 1757434"/>
                  <a:gd name="connsiteY410" fmla="*/ 1539875 h 2476500"/>
                  <a:gd name="connsiteX411" fmla="*/ 606497 w 1757434"/>
                  <a:gd name="connsiteY411" fmla="*/ 1544638 h 2476500"/>
                  <a:gd name="connsiteX412" fmla="*/ 611259 w 1757434"/>
                  <a:gd name="connsiteY412" fmla="*/ 1550988 h 2476500"/>
                  <a:gd name="connsiteX413" fmla="*/ 612847 w 1757434"/>
                  <a:gd name="connsiteY413" fmla="*/ 1555750 h 2476500"/>
                  <a:gd name="connsiteX414" fmla="*/ 617609 w 1757434"/>
                  <a:gd name="connsiteY414" fmla="*/ 1562100 h 2476500"/>
                  <a:gd name="connsiteX415" fmla="*/ 616022 w 1757434"/>
                  <a:gd name="connsiteY415" fmla="*/ 1593850 h 2476500"/>
                  <a:gd name="connsiteX416" fmla="*/ 614434 w 1757434"/>
                  <a:gd name="connsiteY416" fmla="*/ 1598613 h 2476500"/>
                  <a:gd name="connsiteX417" fmla="*/ 609672 w 1757434"/>
                  <a:gd name="connsiteY417" fmla="*/ 1600200 h 2476500"/>
                  <a:gd name="connsiteX418" fmla="*/ 609672 w 1757434"/>
                  <a:gd name="connsiteY418" fmla="*/ 1635125 h 2476500"/>
                  <a:gd name="connsiteX419" fmla="*/ 612847 w 1757434"/>
                  <a:gd name="connsiteY419" fmla="*/ 1641475 h 2476500"/>
                  <a:gd name="connsiteX420" fmla="*/ 616022 w 1757434"/>
                  <a:gd name="connsiteY420" fmla="*/ 1677988 h 2476500"/>
                  <a:gd name="connsiteX421" fmla="*/ 620784 w 1757434"/>
                  <a:gd name="connsiteY421" fmla="*/ 1682750 h 2476500"/>
                  <a:gd name="connsiteX422" fmla="*/ 624689 w 1757434"/>
                  <a:gd name="connsiteY422" fmla="*/ 1687924 h 2476500"/>
                  <a:gd name="connsiteX423" fmla="*/ 623038 w 1757434"/>
                  <a:gd name="connsiteY423" fmla="*/ 1686677 h 2476500"/>
                  <a:gd name="connsiteX424" fmla="*/ 622473 w 1757434"/>
                  <a:gd name="connsiteY424" fmla="*/ 1686119 h 2476500"/>
                  <a:gd name="connsiteX425" fmla="*/ 622926 w 1757434"/>
                  <a:gd name="connsiteY425" fmla="*/ 1686592 h 2476500"/>
                  <a:gd name="connsiteX426" fmla="*/ 623038 w 1757434"/>
                  <a:gd name="connsiteY426" fmla="*/ 1686677 h 2476500"/>
                  <a:gd name="connsiteX427" fmla="*/ 630309 w 1757434"/>
                  <a:gd name="connsiteY427" fmla="*/ 1693863 h 2476500"/>
                  <a:gd name="connsiteX428" fmla="*/ 630309 w 1757434"/>
                  <a:gd name="connsiteY428" fmla="*/ 1730375 h 2476500"/>
                  <a:gd name="connsiteX429" fmla="*/ 628722 w 1757434"/>
                  <a:gd name="connsiteY429" fmla="*/ 1744663 h 2476500"/>
                  <a:gd name="connsiteX430" fmla="*/ 622372 w 1757434"/>
                  <a:gd name="connsiteY430" fmla="*/ 1754188 h 2476500"/>
                  <a:gd name="connsiteX431" fmla="*/ 622372 w 1757434"/>
                  <a:gd name="connsiteY431" fmla="*/ 1800225 h 2476500"/>
                  <a:gd name="connsiteX432" fmla="*/ 625547 w 1757434"/>
                  <a:gd name="connsiteY432" fmla="*/ 1809750 h 2476500"/>
                  <a:gd name="connsiteX433" fmla="*/ 627134 w 1757434"/>
                  <a:gd name="connsiteY433" fmla="*/ 1814513 h 2476500"/>
                  <a:gd name="connsiteX434" fmla="*/ 636659 w 1757434"/>
                  <a:gd name="connsiteY434" fmla="*/ 1827213 h 2476500"/>
                  <a:gd name="connsiteX435" fmla="*/ 647772 w 1757434"/>
                  <a:gd name="connsiteY435" fmla="*/ 1838325 h 2476500"/>
                  <a:gd name="connsiteX436" fmla="*/ 652534 w 1757434"/>
                  <a:gd name="connsiteY436" fmla="*/ 1839913 h 2476500"/>
                  <a:gd name="connsiteX437" fmla="*/ 666822 w 1757434"/>
                  <a:gd name="connsiteY437" fmla="*/ 1847850 h 2476500"/>
                  <a:gd name="connsiteX438" fmla="*/ 681109 w 1757434"/>
                  <a:gd name="connsiteY438" fmla="*/ 1863725 h 2476500"/>
                  <a:gd name="connsiteX439" fmla="*/ 682697 w 1757434"/>
                  <a:gd name="connsiteY439" fmla="*/ 1873250 h 2476500"/>
                  <a:gd name="connsiteX440" fmla="*/ 685872 w 1757434"/>
                  <a:gd name="connsiteY440" fmla="*/ 1881188 h 2476500"/>
                  <a:gd name="connsiteX441" fmla="*/ 684284 w 1757434"/>
                  <a:gd name="connsiteY441" fmla="*/ 1920875 h 2476500"/>
                  <a:gd name="connsiteX442" fmla="*/ 677934 w 1757434"/>
                  <a:gd name="connsiteY442" fmla="*/ 1925638 h 2476500"/>
                  <a:gd name="connsiteX443" fmla="*/ 674759 w 1757434"/>
                  <a:gd name="connsiteY443" fmla="*/ 1931988 h 2476500"/>
                  <a:gd name="connsiteX444" fmla="*/ 643009 w 1757434"/>
                  <a:gd name="connsiteY444" fmla="*/ 1938338 h 2476500"/>
                  <a:gd name="connsiteX445" fmla="*/ 636659 w 1757434"/>
                  <a:gd name="connsiteY445" fmla="*/ 1943100 h 2476500"/>
                  <a:gd name="connsiteX446" fmla="*/ 636659 w 1757434"/>
                  <a:gd name="connsiteY446" fmla="*/ 1968500 h 2476500"/>
                  <a:gd name="connsiteX447" fmla="*/ 644597 w 1757434"/>
                  <a:gd name="connsiteY447" fmla="*/ 1971675 h 2476500"/>
                  <a:gd name="connsiteX448" fmla="*/ 650947 w 1757434"/>
                  <a:gd name="connsiteY448" fmla="*/ 1974850 h 2476500"/>
                  <a:gd name="connsiteX449" fmla="*/ 652534 w 1757434"/>
                  <a:gd name="connsiteY449" fmla="*/ 1998663 h 2476500"/>
                  <a:gd name="connsiteX450" fmla="*/ 657297 w 1757434"/>
                  <a:gd name="connsiteY450" fmla="*/ 2001838 h 2476500"/>
                  <a:gd name="connsiteX451" fmla="*/ 660472 w 1757434"/>
                  <a:gd name="connsiteY451" fmla="*/ 2006600 h 2476500"/>
                  <a:gd name="connsiteX452" fmla="*/ 666822 w 1757434"/>
                  <a:gd name="connsiteY452" fmla="*/ 2014538 h 2476500"/>
                  <a:gd name="connsiteX453" fmla="*/ 668409 w 1757434"/>
                  <a:gd name="connsiteY453" fmla="*/ 2022475 h 2476500"/>
                  <a:gd name="connsiteX454" fmla="*/ 669997 w 1757434"/>
                  <a:gd name="connsiteY454" fmla="*/ 2027238 h 2476500"/>
                  <a:gd name="connsiteX455" fmla="*/ 671584 w 1757434"/>
                  <a:gd name="connsiteY455" fmla="*/ 2036763 h 2476500"/>
                  <a:gd name="connsiteX456" fmla="*/ 668409 w 1757434"/>
                  <a:gd name="connsiteY456" fmla="*/ 2055813 h 2476500"/>
                  <a:gd name="connsiteX457" fmla="*/ 663647 w 1757434"/>
                  <a:gd name="connsiteY457" fmla="*/ 2062163 h 2476500"/>
                  <a:gd name="connsiteX458" fmla="*/ 665234 w 1757434"/>
                  <a:gd name="connsiteY458" fmla="*/ 2068513 h 2476500"/>
                  <a:gd name="connsiteX459" fmla="*/ 671584 w 1757434"/>
                  <a:gd name="connsiteY459" fmla="*/ 2073275 h 2476500"/>
                  <a:gd name="connsiteX460" fmla="*/ 668409 w 1757434"/>
                  <a:gd name="connsiteY460" fmla="*/ 2098675 h 2476500"/>
                  <a:gd name="connsiteX461" fmla="*/ 663647 w 1757434"/>
                  <a:gd name="connsiteY461" fmla="*/ 2106613 h 2476500"/>
                  <a:gd name="connsiteX462" fmla="*/ 662059 w 1757434"/>
                  <a:gd name="connsiteY462" fmla="*/ 2117725 h 2476500"/>
                  <a:gd name="connsiteX463" fmla="*/ 643009 w 1757434"/>
                  <a:gd name="connsiteY463" fmla="*/ 2136775 h 2476500"/>
                  <a:gd name="connsiteX464" fmla="*/ 633484 w 1757434"/>
                  <a:gd name="connsiteY464" fmla="*/ 2138363 h 2476500"/>
                  <a:gd name="connsiteX465" fmla="*/ 628722 w 1757434"/>
                  <a:gd name="connsiteY465" fmla="*/ 2139950 h 2476500"/>
                  <a:gd name="connsiteX466" fmla="*/ 606497 w 1757434"/>
                  <a:gd name="connsiteY466" fmla="*/ 2141538 h 2476500"/>
                  <a:gd name="connsiteX467" fmla="*/ 600147 w 1757434"/>
                  <a:gd name="connsiteY467" fmla="*/ 2144713 h 2476500"/>
                  <a:gd name="connsiteX468" fmla="*/ 601734 w 1757434"/>
                  <a:gd name="connsiteY468" fmla="*/ 2149475 h 2476500"/>
                  <a:gd name="connsiteX469" fmla="*/ 612847 w 1757434"/>
                  <a:gd name="connsiteY469" fmla="*/ 2154238 h 2476500"/>
                  <a:gd name="connsiteX470" fmla="*/ 614434 w 1757434"/>
                  <a:gd name="connsiteY470" fmla="*/ 2159000 h 2476500"/>
                  <a:gd name="connsiteX471" fmla="*/ 611259 w 1757434"/>
                  <a:gd name="connsiteY471" fmla="*/ 2174875 h 2476500"/>
                  <a:gd name="connsiteX472" fmla="*/ 604909 w 1757434"/>
                  <a:gd name="connsiteY472" fmla="*/ 2181225 h 2476500"/>
                  <a:gd name="connsiteX473" fmla="*/ 600147 w 1757434"/>
                  <a:gd name="connsiteY473" fmla="*/ 2182813 h 2476500"/>
                  <a:gd name="connsiteX474" fmla="*/ 593797 w 1757434"/>
                  <a:gd name="connsiteY474" fmla="*/ 2189163 h 2476500"/>
                  <a:gd name="connsiteX475" fmla="*/ 595384 w 1757434"/>
                  <a:gd name="connsiteY475" fmla="*/ 2198688 h 2476500"/>
                  <a:gd name="connsiteX476" fmla="*/ 603322 w 1757434"/>
                  <a:gd name="connsiteY476" fmla="*/ 2216150 h 2476500"/>
                  <a:gd name="connsiteX477" fmla="*/ 606497 w 1757434"/>
                  <a:gd name="connsiteY477" fmla="*/ 2227263 h 2476500"/>
                  <a:gd name="connsiteX478" fmla="*/ 608084 w 1757434"/>
                  <a:gd name="connsiteY478" fmla="*/ 2232025 h 2476500"/>
                  <a:gd name="connsiteX479" fmla="*/ 608084 w 1757434"/>
                  <a:gd name="connsiteY479" fmla="*/ 2270125 h 2476500"/>
                  <a:gd name="connsiteX480" fmla="*/ 601734 w 1757434"/>
                  <a:gd name="connsiteY480" fmla="*/ 2289175 h 2476500"/>
                  <a:gd name="connsiteX481" fmla="*/ 595384 w 1757434"/>
                  <a:gd name="connsiteY481" fmla="*/ 2300288 h 2476500"/>
                  <a:gd name="connsiteX482" fmla="*/ 592209 w 1757434"/>
                  <a:gd name="connsiteY482" fmla="*/ 2316163 h 2476500"/>
                  <a:gd name="connsiteX483" fmla="*/ 577922 w 1757434"/>
                  <a:gd name="connsiteY483" fmla="*/ 2322513 h 2476500"/>
                  <a:gd name="connsiteX484" fmla="*/ 576334 w 1757434"/>
                  <a:gd name="connsiteY484" fmla="*/ 2308225 h 2476500"/>
                  <a:gd name="connsiteX485" fmla="*/ 568397 w 1757434"/>
                  <a:gd name="connsiteY485" fmla="*/ 2293938 h 2476500"/>
                  <a:gd name="connsiteX486" fmla="*/ 547759 w 1757434"/>
                  <a:gd name="connsiteY486" fmla="*/ 2290763 h 2476500"/>
                  <a:gd name="connsiteX487" fmla="*/ 542997 w 1757434"/>
                  <a:gd name="connsiteY487" fmla="*/ 2271713 h 2476500"/>
                  <a:gd name="connsiteX488" fmla="*/ 538234 w 1757434"/>
                  <a:gd name="connsiteY488" fmla="*/ 2270125 h 2476500"/>
                  <a:gd name="connsiteX489" fmla="*/ 525534 w 1757434"/>
                  <a:gd name="connsiteY489" fmla="*/ 2268538 h 2476500"/>
                  <a:gd name="connsiteX490" fmla="*/ 520772 w 1757434"/>
                  <a:gd name="connsiteY490" fmla="*/ 2265363 h 2476500"/>
                  <a:gd name="connsiteX491" fmla="*/ 514422 w 1757434"/>
                  <a:gd name="connsiteY491" fmla="*/ 2263775 h 2476500"/>
                  <a:gd name="connsiteX492" fmla="*/ 506484 w 1757434"/>
                  <a:gd name="connsiteY492" fmla="*/ 2254250 h 2476500"/>
                  <a:gd name="connsiteX493" fmla="*/ 508072 w 1757434"/>
                  <a:gd name="connsiteY493" fmla="*/ 2241550 h 2476500"/>
                  <a:gd name="connsiteX494" fmla="*/ 509659 w 1757434"/>
                  <a:gd name="connsiteY494" fmla="*/ 2228850 h 2476500"/>
                  <a:gd name="connsiteX495" fmla="*/ 509659 w 1757434"/>
                  <a:gd name="connsiteY495" fmla="*/ 2201863 h 2476500"/>
                  <a:gd name="connsiteX496" fmla="*/ 506484 w 1757434"/>
                  <a:gd name="connsiteY496" fmla="*/ 2197100 h 2476500"/>
                  <a:gd name="connsiteX497" fmla="*/ 503309 w 1757434"/>
                  <a:gd name="connsiteY497" fmla="*/ 2181225 h 2476500"/>
                  <a:gd name="connsiteX498" fmla="*/ 501722 w 1757434"/>
                  <a:gd name="connsiteY498" fmla="*/ 2176463 h 2476500"/>
                  <a:gd name="connsiteX499" fmla="*/ 503309 w 1757434"/>
                  <a:gd name="connsiteY499" fmla="*/ 2171700 h 2476500"/>
                  <a:gd name="connsiteX500" fmla="*/ 519184 w 1757434"/>
                  <a:gd name="connsiteY500" fmla="*/ 2168525 h 2476500"/>
                  <a:gd name="connsiteX501" fmla="*/ 517597 w 1757434"/>
                  <a:gd name="connsiteY501" fmla="*/ 2152650 h 2476500"/>
                  <a:gd name="connsiteX502" fmla="*/ 506484 w 1757434"/>
                  <a:gd name="connsiteY502" fmla="*/ 2154238 h 2476500"/>
                  <a:gd name="connsiteX503" fmla="*/ 501722 w 1757434"/>
                  <a:gd name="connsiteY503" fmla="*/ 2157413 h 2476500"/>
                  <a:gd name="connsiteX504" fmla="*/ 496959 w 1757434"/>
                  <a:gd name="connsiteY504" fmla="*/ 2159000 h 2476500"/>
                  <a:gd name="connsiteX505" fmla="*/ 492197 w 1757434"/>
                  <a:gd name="connsiteY505" fmla="*/ 2168525 h 2476500"/>
                  <a:gd name="connsiteX506" fmla="*/ 496959 w 1757434"/>
                  <a:gd name="connsiteY506" fmla="*/ 2181225 h 2476500"/>
                  <a:gd name="connsiteX507" fmla="*/ 495372 w 1757434"/>
                  <a:gd name="connsiteY507" fmla="*/ 2195513 h 2476500"/>
                  <a:gd name="connsiteX508" fmla="*/ 485847 w 1757434"/>
                  <a:gd name="connsiteY508" fmla="*/ 2184400 h 2476500"/>
                  <a:gd name="connsiteX509" fmla="*/ 481084 w 1757434"/>
                  <a:gd name="connsiteY509" fmla="*/ 2179638 h 2476500"/>
                  <a:gd name="connsiteX510" fmla="*/ 468384 w 1757434"/>
                  <a:gd name="connsiteY510" fmla="*/ 2181225 h 2476500"/>
                  <a:gd name="connsiteX511" fmla="*/ 469972 w 1757434"/>
                  <a:gd name="connsiteY511" fmla="*/ 2185988 h 2476500"/>
                  <a:gd name="connsiteX512" fmla="*/ 476322 w 1757434"/>
                  <a:gd name="connsiteY512" fmla="*/ 2190750 h 2476500"/>
                  <a:gd name="connsiteX513" fmla="*/ 474734 w 1757434"/>
                  <a:gd name="connsiteY513" fmla="*/ 2211388 h 2476500"/>
                  <a:gd name="connsiteX514" fmla="*/ 469972 w 1757434"/>
                  <a:gd name="connsiteY514" fmla="*/ 2214563 h 2476500"/>
                  <a:gd name="connsiteX515" fmla="*/ 474734 w 1757434"/>
                  <a:gd name="connsiteY515" fmla="*/ 2219325 h 2476500"/>
                  <a:gd name="connsiteX516" fmla="*/ 477909 w 1757434"/>
                  <a:gd name="connsiteY516" fmla="*/ 2230438 h 2476500"/>
                  <a:gd name="connsiteX517" fmla="*/ 481084 w 1757434"/>
                  <a:gd name="connsiteY517" fmla="*/ 2236788 h 2476500"/>
                  <a:gd name="connsiteX518" fmla="*/ 477909 w 1757434"/>
                  <a:gd name="connsiteY518" fmla="*/ 2251075 h 2476500"/>
                  <a:gd name="connsiteX519" fmla="*/ 476322 w 1757434"/>
                  <a:gd name="connsiteY519" fmla="*/ 2259013 h 2476500"/>
                  <a:gd name="connsiteX520" fmla="*/ 468384 w 1757434"/>
                  <a:gd name="connsiteY520" fmla="*/ 2257425 h 2476500"/>
                  <a:gd name="connsiteX521" fmla="*/ 460447 w 1757434"/>
                  <a:gd name="connsiteY521" fmla="*/ 2274888 h 2476500"/>
                  <a:gd name="connsiteX522" fmla="*/ 455684 w 1757434"/>
                  <a:gd name="connsiteY522" fmla="*/ 2273300 h 2476500"/>
                  <a:gd name="connsiteX523" fmla="*/ 450922 w 1757434"/>
                  <a:gd name="connsiteY523" fmla="*/ 2282825 h 2476500"/>
                  <a:gd name="connsiteX524" fmla="*/ 449334 w 1757434"/>
                  <a:gd name="connsiteY524" fmla="*/ 2287588 h 2476500"/>
                  <a:gd name="connsiteX525" fmla="*/ 454097 w 1757434"/>
                  <a:gd name="connsiteY525" fmla="*/ 2292350 h 2476500"/>
                  <a:gd name="connsiteX526" fmla="*/ 449334 w 1757434"/>
                  <a:gd name="connsiteY526" fmla="*/ 2290763 h 2476500"/>
                  <a:gd name="connsiteX527" fmla="*/ 444572 w 1757434"/>
                  <a:gd name="connsiteY527" fmla="*/ 2286000 h 2476500"/>
                  <a:gd name="connsiteX528" fmla="*/ 438222 w 1757434"/>
                  <a:gd name="connsiteY528" fmla="*/ 2295525 h 2476500"/>
                  <a:gd name="connsiteX529" fmla="*/ 435047 w 1757434"/>
                  <a:gd name="connsiteY529" fmla="*/ 2308225 h 2476500"/>
                  <a:gd name="connsiteX530" fmla="*/ 428697 w 1757434"/>
                  <a:gd name="connsiteY530" fmla="*/ 2298700 h 2476500"/>
                  <a:gd name="connsiteX531" fmla="*/ 415997 w 1757434"/>
                  <a:gd name="connsiteY531" fmla="*/ 2286000 h 2476500"/>
                  <a:gd name="connsiteX532" fmla="*/ 403297 w 1757434"/>
                  <a:gd name="connsiteY532" fmla="*/ 2284413 h 2476500"/>
                  <a:gd name="connsiteX533" fmla="*/ 409647 w 1757434"/>
                  <a:gd name="connsiteY533" fmla="*/ 2287588 h 2476500"/>
                  <a:gd name="connsiteX534" fmla="*/ 411234 w 1757434"/>
                  <a:gd name="connsiteY534" fmla="*/ 2295525 h 2476500"/>
                  <a:gd name="connsiteX535" fmla="*/ 406472 w 1757434"/>
                  <a:gd name="connsiteY535" fmla="*/ 2308225 h 2476500"/>
                  <a:gd name="connsiteX536" fmla="*/ 393772 w 1757434"/>
                  <a:gd name="connsiteY536" fmla="*/ 2312988 h 2476500"/>
                  <a:gd name="connsiteX537" fmla="*/ 390597 w 1757434"/>
                  <a:gd name="connsiteY537" fmla="*/ 2322513 h 2476500"/>
                  <a:gd name="connsiteX538" fmla="*/ 384247 w 1757434"/>
                  <a:gd name="connsiteY538" fmla="*/ 2328863 h 2476500"/>
                  <a:gd name="connsiteX539" fmla="*/ 381072 w 1757434"/>
                  <a:gd name="connsiteY539" fmla="*/ 2341563 h 2476500"/>
                  <a:gd name="connsiteX540" fmla="*/ 376309 w 1757434"/>
                  <a:gd name="connsiteY540" fmla="*/ 2336800 h 2476500"/>
                  <a:gd name="connsiteX541" fmla="*/ 379484 w 1757434"/>
                  <a:gd name="connsiteY541" fmla="*/ 2341563 h 2476500"/>
                  <a:gd name="connsiteX542" fmla="*/ 382659 w 1757434"/>
                  <a:gd name="connsiteY542" fmla="*/ 2347913 h 2476500"/>
                  <a:gd name="connsiteX543" fmla="*/ 376309 w 1757434"/>
                  <a:gd name="connsiteY543" fmla="*/ 2355850 h 2476500"/>
                  <a:gd name="connsiteX544" fmla="*/ 374722 w 1757434"/>
                  <a:gd name="connsiteY544" fmla="*/ 2360613 h 2476500"/>
                  <a:gd name="connsiteX545" fmla="*/ 355672 w 1757434"/>
                  <a:gd name="connsiteY545" fmla="*/ 2368550 h 2476500"/>
                  <a:gd name="connsiteX546" fmla="*/ 350909 w 1757434"/>
                  <a:gd name="connsiteY546" fmla="*/ 2373313 h 2476500"/>
                  <a:gd name="connsiteX547" fmla="*/ 342972 w 1757434"/>
                  <a:gd name="connsiteY547" fmla="*/ 2376488 h 2476500"/>
                  <a:gd name="connsiteX548" fmla="*/ 336622 w 1757434"/>
                  <a:gd name="connsiteY548" fmla="*/ 2381250 h 2476500"/>
                  <a:gd name="connsiteX549" fmla="*/ 335034 w 1757434"/>
                  <a:gd name="connsiteY549" fmla="*/ 2386013 h 2476500"/>
                  <a:gd name="connsiteX550" fmla="*/ 333447 w 1757434"/>
                  <a:gd name="connsiteY550" fmla="*/ 2393950 h 2476500"/>
                  <a:gd name="connsiteX551" fmla="*/ 327097 w 1757434"/>
                  <a:gd name="connsiteY551" fmla="*/ 2395538 h 2476500"/>
                  <a:gd name="connsiteX552" fmla="*/ 320747 w 1757434"/>
                  <a:gd name="connsiteY552" fmla="*/ 2409825 h 2476500"/>
                  <a:gd name="connsiteX553" fmla="*/ 311222 w 1757434"/>
                  <a:gd name="connsiteY553" fmla="*/ 2411413 h 2476500"/>
                  <a:gd name="connsiteX554" fmla="*/ 312809 w 1757434"/>
                  <a:gd name="connsiteY554" fmla="*/ 2417763 h 2476500"/>
                  <a:gd name="connsiteX555" fmla="*/ 298522 w 1757434"/>
                  <a:gd name="connsiteY555" fmla="*/ 2422525 h 2476500"/>
                  <a:gd name="connsiteX556" fmla="*/ 274709 w 1757434"/>
                  <a:gd name="connsiteY556" fmla="*/ 2433638 h 2476500"/>
                  <a:gd name="connsiteX557" fmla="*/ 269947 w 1757434"/>
                  <a:gd name="connsiteY557" fmla="*/ 2438400 h 2476500"/>
                  <a:gd name="connsiteX558" fmla="*/ 263597 w 1757434"/>
                  <a:gd name="connsiteY558" fmla="*/ 2452688 h 2476500"/>
                  <a:gd name="connsiteX559" fmla="*/ 257247 w 1757434"/>
                  <a:gd name="connsiteY559" fmla="*/ 2459038 h 2476500"/>
                  <a:gd name="connsiteX560" fmla="*/ 241372 w 1757434"/>
                  <a:gd name="connsiteY560" fmla="*/ 2455863 h 2476500"/>
                  <a:gd name="connsiteX561" fmla="*/ 239784 w 1757434"/>
                  <a:gd name="connsiteY561" fmla="*/ 2465388 h 2476500"/>
                  <a:gd name="connsiteX562" fmla="*/ 227084 w 1757434"/>
                  <a:gd name="connsiteY562" fmla="*/ 2468563 h 2476500"/>
                  <a:gd name="connsiteX563" fmla="*/ 184222 w 1757434"/>
                  <a:gd name="connsiteY563" fmla="*/ 2470150 h 2476500"/>
                  <a:gd name="connsiteX564" fmla="*/ 174697 w 1757434"/>
                  <a:gd name="connsiteY564" fmla="*/ 2473325 h 2476500"/>
                  <a:gd name="connsiteX565" fmla="*/ 160409 w 1757434"/>
                  <a:gd name="connsiteY565" fmla="*/ 2476500 h 2476500"/>
                  <a:gd name="connsiteX566" fmla="*/ 158822 w 1757434"/>
                  <a:gd name="connsiteY566" fmla="*/ 2468563 h 2476500"/>
                  <a:gd name="connsiteX567" fmla="*/ 149297 w 1757434"/>
                  <a:gd name="connsiteY567" fmla="*/ 2465388 h 2476500"/>
                  <a:gd name="connsiteX568" fmla="*/ 138184 w 1757434"/>
                  <a:gd name="connsiteY568" fmla="*/ 2459038 h 2476500"/>
                  <a:gd name="connsiteX569" fmla="*/ 128659 w 1757434"/>
                  <a:gd name="connsiteY569" fmla="*/ 2455863 h 2476500"/>
                  <a:gd name="connsiteX570" fmla="*/ 127072 w 1757434"/>
                  <a:gd name="connsiteY570" fmla="*/ 2463800 h 2476500"/>
                  <a:gd name="connsiteX571" fmla="*/ 120722 w 1757434"/>
                  <a:gd name="connsiteY571" fmla="*/ 2465388 h 2476500"/>
                  <a:gd name="connsiteX572" fmla="*/ 114372 w 1757434"/>
                  <a:gd name="connsiteY572" fmla="*/ 2463800 h 2476500"/>
                  <a:gd name="connsiteX573" fmla="*/ 112784 w 1757434"/>
                  <a:gd name="connsiteY573" fmla="*/ 2459038 h 2476500"/>
                  <a:gd name="connsiteX574" fmla="*/ 111197 w 1757434"/>
                  <a:gd name="connsiteY574" fmla="*/ 2452688 h 2476500"/>
                  <a:gd name="connsiteX575" fmla="*/ 114372 w 1757434"/>
                  <a:gd name="connsiteY575" fmla="*/ 2441575 h 2476500"/>
                  <a:gd name="connsiteX576" fmla="*/ 120722 w 1757434"/>
                  <a:gd name="connsiteY576" fmla="*/ 2438400 h 2476500"/>
                  <a:gd name="connsiteX577" fmla="*/ 136597 w 1757434"/>
                  <a:gd name="connsiteY577" fmla="*/ 2430463 h 2476500"/>
                  <a:gd name="connsiteX578" fmla="*/ 135009 w 1757434"/>
                  <a:gd name="connsiteY578" fmla="*/ 2424113 h 2476500"/>
                  <a:gd name="connsiteX579" fmla="*/ 106434 w 1757434"/>
                  <a:gd name="connsiteY579" fmla="*/ 2425700 h 2476500"/>
                  <a:gd name="connsiteX580" fmla="*/ 96909 w 1757434"/>
                  <a:gd name="connsiteY580" fmla="*/ 2430463 h 2476500"/>
                  <a:gd name="connsiteX581" fmla="*/ 87384 w 1757434"/>
                  <a:gd name="connsiteY581" fmla="*/ 2422525 h 2476500"/>
                  <a:gd name="connsiteX582" fmla="*/ 82622 w 1757434"/>
                  <a:gd name="connsiteY582" fmla="*/ 2419350 h 2476500"/>
                  <a:gd name="connsiteX583" fmla="*/ 79447 w 1757434"/>
                  <a:gd name="connsiteY583" fmla="*/ 2414588 h 2476500"/>
                  <a:gd name="connsiteX584" fmla="*/ 28647 w 1757434"/>
                  <a:gd name="connsiteY584" fmla="*/ 2379663 h 2476500"/>
                  <a:gd name="connsiteX585" fmla="*/ 30234 w 1757434"/>
                  <a:gd name="connsiteY585" fmla="*/ 2360613 h 2476500"/>
                  <a:gd name="connsiteX586" fmla="*/ 23884 w 1757434"/>
                  <a:gd name="connsiteY586" fmla="*/ 2354263 h 2476500"/>
                  <a:gd name="connsiteX587" fmla="*/ 20709 w 1757434"/>
                  <a:gd name="connsiteY587" fmla="*/ 2347913 h 2476500"/>
                  <a:gd name="connsiteX588" fmla="*/ 15947 w 1757434"/>
                  <a:gd name="connsiteY588" fmla="*/ 2341563 h 2476500"/>
                  <a:gd name="connsiteX589" fmla="*/ 17534 w 1757434"/>
                  <a:gd name="connsiteY589" fmla="*/ 2328863 h 2476500"/>
                  <a:gd name="connsiteX590" fmla="*/ 19122 w 1757434"/>
                  <a:gd name="connsiteY590" fmla="*/ 2306638 h 2476500"/>
                  <a:gd name="connsiteX591" fmla="*/ 23884 w 1757434"/>
                  <a:gd name="connsiteY591" fmla="*/ 2300288 h 2476500"/>
                  <a:gd name="connsiteX592" fmla="*/ 25472 w 1757434"/>
                  <a:gd name="connsiteY592" fmla="*/ 2295525 h 2476500"/>
                  <a:gd name="connsiteX593" fmla="*/ 41347 w 1757434"/>
                  <a:gd name="connsiteY593" fmla="*/ 2306638 h 2476500"/>
                  <a:gd name="connsiteX594" fmla="*/ 52459 w 1757434"/>
                  <a:gd name="connsiteY594" fmla="*/ 2308225 h 2476500"/>
                  <a:gd name="connsiteX595" fmla="*/ 57222 w 1757434"/>
                  <a:gd name="connsiteY595" fmla="*/ 2312988 h 2476500"/>
                  <a:gd name="connsiteX596" fmla="*/ 71509 w 1757434"/>
                  <a:gd name="connsiteY596" fmla="*/ 2320925 h 2476500"/>
                  <a:gd name="connsiteX597" fmla="*/ 81034 w 1757434"/>
                  <a:gd name="connsiteY597" fmla="*/ 2328863 h 2476500"/>
                  <a:gd name="connsiteX598" fmla="*/ 85797 w 1757434"/>
                  <a:gd name="connsiteY598" fmla="*/ 2332038 h 2476500"/>
                  <a:gd name="connsiteX599" fmla="*/ 92147 w 1757434"/>
                  <a:gd name="connsiteY599" fmla="*/ 2330450 h 2476500"/>
                  <a:gd name="connsiteX600" fmla="*/ 85797 w 1757434"/>
                  <a:gd name="connsiteY600" fmla="*/ 2327275 h 2476500"/>
                  <a:gd name="connsiteX601" fmla="*/ 81034 w 1757434"/>
                  <a:gd name="connsiteY601" fmla="*/ 2324100 h 2476500"/>
                  <a:gd name="connsiteX602" fmla="*/ 77859 w 1757434"/>
                  <a:gd name="connsiteY602" fmla="*/ 2319338 h 2476500"/>
                  <a:gd name="connsiteX603" fmla="*/ 73097 w 1757434"/>
                  <a:gd name="connsiteY603" fmla="*/ 2308225 h 2476500"/>
                  <a:gd name="connsiteX604" fmla="*/ 82622 w 1757434"/>
                  <a:gd name="connsiteY604" fmla="*/ 2303463 h 2476500"/>
                  <a:gd name="connsiteX605" fmla="*/ 87384 w 1757434"/>
                  <a:gd name="connsiteY605" fmla="*/ 2301875 h 2476500"/>
                  <a:gd name="connsiteX606" fmla="*/ 92147 w 1757434"/>
                  <a:gd name="connsiteY606" fmla="*/ 2297113 h 2476500"/>
                  <a:gd name="connsiteX607" fmla="*/ 101672 w 1757434"/>
                  <a:gd name="connsiteY607" fmla="*/ 2293938 h 2476500"/>
                  <a:gd name="connsiteX608" fmla="*/ 125484 w 1757434"/>
                  <a:gd name="connsiteY608" fmla="*/ 2289175 h 2476500"/>
                  <a:gd name="connsiteX609" fmla="*/ 127072 w 1757434"/>
                  <a:gd name="connsiteY609" fmla="*/ 2284413 h 2476500"/>
                  <a:gd name="connsiteX610" fmla="*/ 100084 w 1757434"/>
                  <a:gd name="connsiteY610" fmla="*/ 2292350 h 2476500"/>
                  <a:gd name="connsiteX611" fmla="*/ 95322 w 1757434"/>
                  <a:gd name="connsiteY611" fmla="*/ 2295525 h 2476500"/>
                  <a:gd name="connsiteX612" fmla="*/ 88972 w 1757434"/>
                  <a:gd name="connsiteY612" fmla="*/ 2297113 h 2476500"/>
                  <a:gd name="connsiteX613" fmla="*/ 84209 w 1757434"/>
                  <a:gd name="connsiteY613" fmla="*/ 2298700 h 2476500"/>
                  <a:gd name="connsiteX614" fmla="*/ 68334 w 1757434"/>
                  <a:gd name="connsiteY614" fmla="*/ 2297113 h 2476500"/>
                  <a:gd name="connsiteX615" fmla="*/ 66747 w 1757434"/>
                  <a:gd name="connsiteY615" fmla="*/ 2292350 h 2476500"/>
                  <a:gd name="connsiteX616" fmla="*/ 61984 w 1757434"/>
                  <a:gd name="connsiteY616" fmla="*/ 2287588 h 2476500"/>
                  <a:gd name="connsiteX617" fmla="*/ 58809 w 1757434"/>
                  <a:gd name="connsiteY617" fmla="*/ 2266950 h 2476500"/>
                  <a:gd name="connsiteX618" fmla="*/ 69922 w 1757434"/>
                  <a:gd name="connsiteY618" fmla="*/ 2270125 h 2476500"/>
                  <a:gd name="connsiteX619" fmla="*/ 77859 w 1757434"/>
                  <a:gd name="connsiteY619" fmla="*/ 2273300 h 2476500"/>
                  <a:gd name="connsiteX620" fmla="*/ 79447 w 1757434"/>
                  <a:gd name="connsiteY620" fmla="*/ 2268538 h 2476500"/>
                  <a:gd name="connsiteX621" fmla="*/ 81034 w 1757434"/>
                  <a:gd name="connsiteY621" fmla="*/ 2259013 h 2476500"/>
                  <a:gd name="connsiteX622" fmla="*/ 93734 w 1757434"/>
                  <a:gd name="connsiteY622" fmla="*/ 2247900 h 2476500"/>
                  <a:gd name="connsiteX623" fmla="*/ 100084 w 1757434"/>
                  <a:gd name="connsiteY623" fmla="*/ 2244725 h 2476500"/>
                  <a:gd name="connsiteX624" fmla="*/ 104847 w 1757434"/>
                  <a:gd name="connsiteY624" fmla="*/ 2239963 h 2476500"/>
                  <a:gd name="connsiteX625" fmla="*/ 109609 w 1757434"/>
                  <a:gd name="connsiteY625" fmla="*/ 2236788 h 2476500"/>
                  <a:gd name="connsiteX626" fmla="*/ 85797 w 1757434"/>
                  <a:gd name="connsiteY626" fmla="*/ 2235200 h 2476500"/>
                  <a:gd name="connsiteX627" fmla="*/ 84209 w 1757434"/>
                  <a:gd name="connsiteY627" fmla="*/ 2239963 h 2476500"/>
                  <a:gd name="connsiteX628" fmla="*/ 71509 w 1757434"/>
                  <a:gd name="connsiteY628" fmla="*/ 2239963 h 2476500"/>
                  <a:gd name="connsiteX629" fmla="*/ 69922 w 1757434"/>
                  <a:gd name="connsiteY629" fmla="*/ 2235200 h 2476500"/>
                  <a:gd name="connsiteX630" fmla="*/ 77859 w 1757434"/>
                  <a:gd name="connsiteY630" fmla="*/ 2220913 h 2476500"/>
                  <a:gd name="connsiteX631" fmla="*/ 87384 w 1757434"/>
                  <a:gd name="connsiteY631" fmla="*/ 2214563 h 2476500"/>
                  <a:gd name="connsiteX632" fmla="*/ 98497 w 1757434"/>
                  <a:gd name="connsiteY632" fmla="*/ 2208213 h 2476500"/>
                  <a:gd name="connsiteX633" fmla="*/ 106434 w 1757434"/>
                  <a:gd name="connsiteY633" fmla="*/ 2198688 h 2476500"/>
                  <a:gd name="connsiteX634" fmla="*/ 108022 w 1757434"/>
                  <a:gd name="connsiteY634" fmla="*/ 2193925 h 2476500"/>
                  <a:gd name="connsiteX635" fmla="*/ 95322 w 1757434"/>
                  <a:gd name="connsiteY635" fmla="*/ 2205038 h 2476500"/>
                  <a:gd name="connsiteX636" fmla="*/ 87384 w 1757434"/>
                  <a:gd name="connsiteY636" fmla="*/ 2208213 h 2476500"/>
                  <a:gd name="connsiteX637" fmla="*/ 74684 w 1757434"/>
                  <a:gd name="connsiteY637" fmla="*/ 2206625 h 2476500"/>
                  <a:gd name="connsiteX638" fmla="*/ 63572 w 1757434"/>
                  <a:gd name="connsiteY638" fmla="*/ 2206625 h 2476500"/>
                  <a:gd name="connsiteX639" fmla="*/ 61984 w 1757434"/>
                  <a:gd name="connsiteY639" fmla="*/ 2212975 h 2476500"/>
                  <a:gd name="connsiteX640" fmla="*/ 54047 w 1757434"/>
                  <a:gd name="connsiteY640" fmla="*/ 2214563 h 2476500"/>
                  <a:gd name="connsiteX641" fmla="*/ 49284 w 1757434"/>
                  <a:gd name="connsiteY641" fmla="*/ 2217738 h 2476500"/>
                  <a:gd name="connsiteX642" fmla="*/ 44522 w 1757434"/>
                  <a:gd name="connsiteY642" fmla="*/ 2220913 h 2476500"/>
                  <a:gd name="connsiteX643" fmla="*/ 39759 w 1757434"/>
                  <a:gd name="connsiteY643" fmla="*/ 2225675 h 2476500"/>
                  <a:gd name="connsiteX644" fmla="*/ 31822 w 1757434"/>
                  <a:gd name="connsiteY644" fmla="*/ 2235200 h 2476500"/>
                  <a:gd name="connsiteX645" fmla="*/ 27059 w 1757434"/>
                  <a:gd name="connsiteY645" fmla="*/ 2232025 h 2476500"/>
                  <a:gd name="connsiteX646" fmla="*/ 20709 w 1757434"/>
                  <a:gd name="connsiteY646" fmla="*/ 2233613 h 2476500"/>
                  <a:gd name="connsiteX647" fmla="*/ 12772 w 1757434"/>
                  <a:gd name="connsiteY647" fmla="*/ 2227263 h 2476500"/>
                  <a:gd name="connsiteX648" fmla="*/ 6422 w 1757434"/>
                  <a:gd name="connsiteY648" fmla="*/ 2236788 h 2476500"/>
                  <a:gd name="connsiteX649" fmla="*/ 4834 w 1757434"/>
                  <a:gd name="connsiteY649" fmla="*/ 2230438 h 2476500"/>
                  <a:gd name="connsiteX650" fmla="*/ 8009 w 1757434"/>
                  <a:gd name="connsiteY650" fmla="*/ 2203450 h 2476500"/>
                  <a:gd name="connsiteX651" fmla="*/ 14359 w 1757434"/>
                  <a:gd name="connsiteY651" fmla="*/ 2201863 h 2476500"/>
                  <a:gd name="connsiteX652" fmla="*/ 15947 w 1757434"/>
                  <a:gd name="connsiteY652" fmla="*/ 2192338 h 2476500"/>
                  <a:gd name="connsiteX653" fmla="*/ 17534 w 1757434"/>
                  <a:gd name="connsiteY653" fmla="*/ 2179638 h 2476500"/>
                  <a:gd name="connsiteX654" fmla="*/ 30234 w 1757434"/>
                  <a:gd name="connsiteY654" fmla="*/ 2185988 h 2476500"/>
                  <a:gd name="connsiteX655" fmla="*/ 34997 w 1757434"/>
                  <a:gd name="connsiteY655" fmla="*/ 2176463 h 2476500"/>
                  <a:gd name="connsiteX656" fmla="*/ 38172 w 1757434"/>
                  <a:gd name="connsiteY656" fmla="*/ 2171700 h 2476500"/>
                  <a:gd name="connsiteX657" fmla="*/ 49284 w 1757434"/>
                  <a:gd name="connsiteY657" fmla="*/ 2174875 h 2476500"/>
                  <a:gd name="connsiteX658" fmla="*/ 57222 w 1757434"/>
                  <a:gd name="connsiteY658" fmla="*/ 2171700 h 2476500"/>
                  <a:gd name="connsiteX659" fmla="*/ 66747 w 1757434"/>
                  <a:gd name="connsiteY659" fmla="*/ 2163763 h 2476500"/>
                  <a:gd name="connsiteX660" fmla="*/ 68334 w 1757434"/>
                  <a:gd name="connsiteY660" fmla="*/ 2168525 h 2476500"/>
                  <a:gd name="connsiteX661" fmla="*/ 79447 w 1757434"/>
                  <a:gd name="connsiteY661" fmla="*/ 2160588 h 2476500"/>
                  <a:gd name="connsiteX662" fmla="*/ 82622 w 1757434"/>
                  <a:gd name="connsiteY662" fmla="*/ 2155825 h 2476500"/>
                  <a:gd name="connsiteX663" fmla="*/ 88972 w 1757434"/>
                  <a:gd name="connsiteY663" fmla="*/ 2154238 h 2476500"/>
                  <a:gd name="connsiteX664" fmla="*/ 95322 w 1757434"/>
                  <a:gd name="connsiteY664" fmla="*/ 2151063 h 2476500"/>
                  <a:gd name="connsiteX665" fmla="*/ 100084 w 1757434"/>
                  <a:gd name="connsiteY665" fmla="*/ 2147888 h 2476500"/>
                  <a:gd name="connsiteX666" fmla="*/ 76272 w 1757434"/>
                  <a:gd name="connsiteY666" fmla="*/ 2149475 h 2476500"/>
                  <a:gd name="connsiteX667" fmla="*/ 61984 w 1757434"/>
                  <a:gd name="connsiteY667" fmla="*/ 2147888 h 2476500"/>
                  <a:gd name="connsiteX668" fmla="*/ 52459 w 1757434"/>
                  <a:gd name="connsiteY668" fmla="*/ 2149475 h 2476500"/>
                  <a:gd name="connsiteX669" fmla="*/ 55634 w 1757434"/>
                  <a:gd name="connsiteY669" fmla="*/ 2139950 h 2476500"/>
                  <a:gd name="connsiteX670" fmla="*/ 58809 w 1757434"/>
                  <a:gd name="connsiteY670" fmla="*/ 2133600 h 2476500"/>
                  <a:gd name="connsiteX671" fmla="*/ 65159 w 1757434"/>
                  <a:gd name="connsiteY671" fmla="*/ 2116138 h 2476500"/>
                  <a:gd name="connsiteX672" fmla="*/ 71509 w 1757434"/>
                  <a:gd name="connsiteY672" fmla="*/ 2109788 h 2476500"/>
                  <a:gd name="connsiteX673" fmla="*/ 81034 w 1757434"/>
                  <a:gd name="connsiteY673" fmla="*/ 2101850 h 2476500"/>
                  <a:gd name="connsiteX674" fmla="*/ 82622 w 1757434"/>
                  <a:gd name="connsiteY674" fmla="*/ 2097088 h 2476500"/>
                  <a:gd name="connsiteX675" fmla="*/ 84209 w 1757434"/>
                  <a:gd name="connsiteY675" fmla="*/ 2090738 h 2476500"/>
                  <a:gd name="connsiteX676" fmla="*/ 90559 w 1757434"/>
                  <a:gd name="connsiteY676" fmla="*/ 2087563 h 2476500"/>
                  <a:gd name="connsiteX677" fmla="*/ 96909 w 1757434"/>
                  <a:gd name="connsiteY677" fmla="*/ 2078038 h 2476500"/>
                  <a:gd name="connsiteX678" fmla="*/ 98497 w 1757434"/>
                  <a:gd name="connsiteY678" fmla="*/ 2071688 h 2476500"/>
                  <a:gd name="connsiteX679" fmla="*/ 103259 w 1757434"/>
                  <a:gd name="connsiteY679" fmla="*/ 2062163 h 2476500"/>
                  <a:gd name="connsiteX680" fmla="*/ 108022 w 1757434"/>
                  <a:gd name="connsiteY680" fmla="*/ 2058988 h 2476500"/>
                  <a:gd name="connsiteX681" fmla="*/ 115959 w 1757434"/>
                  <a:gd name="connsiteY681" fmla="*/ 2052638 h 2476500"/>
                  <a:gd name="connsiteX682" fmla="*/ 125484 w 1757434"/>
                  <a:gd name="connsiteY682" fmla="*/ 2055813 h 2476500"/>
                  <a:gd name="connsiteX683" fmla="*/ 127072 w 1757434"/>
                  <a:gd name="connsiteY683" fmla="*/ 2060575 h 2476500"/>
                  <a:gd name="connsiteX684" fmla="*/ 130247 w 1757434"/>
                  <a:gd name="connsiteY684" fmla="*/ 2089150 h 2476500"/>
                  <a:gd name="connsiteX685" fmla="*/ 131834 w 1757434"/>
                  <a:gd name="connsiteY685" fmla="*/ 2098675 h 2476500"/>
                  <a:gd name="connsiteX686" fmla="*/ 135009 w 1757434"/>
                  <a:gd name="connsiteY686" fmla="*/ 2051050 h 2476500"/>
                  <a:gd name="connsiteX687" fmla="*/ 139772 w 1757434"/>
                  <a:gd name="connsiteY687" fmla="*/ 2047875 h 2476500"/>
                  <a:gd name="connsiteX688" fmla="*/ 150884 w 1757434"/>
                  <a:gd name="connsiteY688" fmla="*/ 2036763 h 2476500"/>
                  <a:gd name="connsiteX689" fmla="*/ 155647 w 1757434"/>
                  <a:gd name="connsiteY689" fmla="*/ 2035175 h 2476500"/>
                  <a:gd name="connsiteX690" fmla="*/ 160409 w 1757434"/>
                  <a:gd name="connsiteY690" fmla="*/ 2032000 h 2476500"/>
                  <a:gd name="connsiteX691" fmla="*/ 171522 w 1757434"/>
                  <a:gd name="connsiteY691" fmla="*/ 2028825 h 2476500"/>
                  <a:gd name="connsiteX692" fmla="*/ 174697 w 1757434"/>
                  <a:gd name="connsiteY692" fmla="*/ 2020888 h 2476500"/>
                  <a:gd name="connsiteX693" fmla="*/ 161997 w 1757434"/>
                  <a:gd name="connsiteY693" fmla="*/ 2022475 h 2476500"/>
                  <a:gd name="connsiteX694" fmla="*/ 154059 w 1757434"/>
                  <a:gd name="connsiteY694" fmla="*/ 2025650 h 2476500"/>
                  <a:gd name="connsiteX695" fmla="*/ 146122 w 1757434"/>
                  <a:gd name="connsiteY695" fmla="*/ 2027238 h 2476500"/>
                  <a:gd name="connsiteX696" fmla="*/ 139772 w 1757434"/>
                  <a:gd name="connsiteY696" fmla="*/ 2028825 h 2476500"/>
                  <a:gd name="connsiteX697" fmla="*/ 133422 w 1757434"/>
                  <a:gd name="connsiteY697" fmla="*/ 2032000 h 2476500"/>
                  <a:gd name="connsiteX698" fmla="*/ 119134 w 1757434"/>
                  <a:gd name="connsiteY698" fmla="*/ 2035175 h 2476500"/>
                  <a:gd name="connsiteX699" fmla="*/ 96909 w 1757434"/>
                  <a:gd name="connsiteY699" fmla="*/ 2043113 h 2476500"/>
                  <a:gd name="connsiteX700" fmla="*/ 92147 w 1757434"/>
                  <a:gd name="connsiteY700" fmla="*/ 2054225 h 2476500"/>
                  <a:gd name="connsiteX701" fmla="*/ 87384 w 1757434"/>
                  <a:gd name="connsiteY701" fmla="*/ 2058988 h 2476500"/>
                  <a:gd name="connsiteX702" fmla="*/ 82622 w 1757434"/>
                  <a:gd name="connsiteY702" fmla="*/ 2073275 h 2476500"/>
                  <a:gd name="connsiteX703" fmla="*/ 79447 w 1757434"/>
                  <a:gd name="connsiteY703" fmla="*/ 2079625 h 2476500"/>
                  <a:gd name="connsiteX704" fmla="*/ 76272 w 1757434"/>
                  <a:gd name="connsiteY704" fmla="*/ 2087563 h 2476500"/>
                  <a:gd name="connsiteX705" fmla="*/ 46109 w 1757434"/>
                  <a:gd name="connsiteY705" fmla="*/ 2089150 h 2476500"/>
                  <a:gd name="connsiteX706" fmla="*/ 44522 w 1757434"/>
                  <a:gd name="connsiteY706" fmla="*/ 2095500 h 2476500"/>
                  <a:gd name="connsiteX707" fmla="*/ 38172 w 1757434"/>
                  <a:gd name="connsiteY707" fmla="*/ 2092325 h 2476500"/>
                  <a:gd name="connsiteX708" fmla="*/ 46109 w 1757434"/>
                  <a:gd name="connsiteY708" fmla="*/ 2073275 h 2476500"/>
                  <a:gd name="connsiteX709" fmla="*/ 47697 w 1757434"/>
                  <a:gd name="connsiteY709" fmla="*/ 2068513 h 2476500"/>
                  <a:gd name="connsiteX710" fmla="*/ 49284 w 1757434"/>
                  <a:gd name="connsiteY710" fmla="*/ 2054225 h 2476500"/>
                  <a:gd name="connsiteX711" fmla="*/ 55634 w 1757434"/>
                  <a:gd name="connsiteY711" fmla="*/ 2047875 h 2476500"/>
                  <a:gd name="connsiteX712" fmla="*/ 58809 w 1757434"/>
                  <a:gd name="connsiteY712" fmla="*/ 2043113 h 2476500"/>
                  <a:gd name="connsiteX713" fmla="*/ 44522 w 1757434"/>
                  <a:gd name="connsiteY713" fmla="*/ 2054225 h 2476500"/>
                  <a:gd name="connsiteX714" fmla="*/ 27059 w 1757434"/>
                  <a:gd name="connsiteY714" fmla="*/ 2073275 h 2476500"/>
                  <a:gd name="connsiteX715" fmla="*/ 22297 w 1757434"/>
                  <a:gd name="connsiteY715" fmla="*/ 2071688 h 2476500"/>
                  <a:gd name="connsiteX716" fmla="*/ 20709 w 1757434"/>
                  <a:gd name="connsiteY716" fmla="*/ 2065338 h 2476500"/>
                  <a:gd name="connsiteX717" fmla="*/ 25472 w 1757434"/>
                  <a:gd name="connsiteY717" fmla="*/ 2052638 h 2476500"/>
                  <a:gd name="connsiteX718" fmla="*/ 19122 w 1757434"/>
                  <a:gd name="connsiteY718" fmla="*/ 2049463 h 2476500"/>
                  <a:gd name="connsiteX719" fmla="*/ 12772 w 1757434"/>
                  <a:gd name="connsiteY719" fmla="*/ 2047875 h 2476500"/>
                  <a:gd name="connsiteX720" fmla="*/ 15947 w 1757434"/>
                  <a:gd name="connsiteY720" fmla="*/ 2043113 h 2476500"/>
                  <a:gd name="connsiteX721" fmla="*/ 14359 w 1757434"/>
                  <a:gd name="connsiteY721" fmla="*/ 2036763 h 2476500"/>
                  <a:gd name="connsiteX722" fmla="*/ 30234 w 1757434"/>
                  <a:gd name="connsiteY722" fmla="*/ 2025650 h 2476500"/>
                  <a:gd name="connsiteX723" fmla="*/ 39759 w 1757434"/>
                  <a:gd name="connsiteY723" fmla="*/ 2030413 h 2476500"/>
                  <a:gd name="connsiteX724" fmla="*/ 42934 w 1757434"/>
                  <a:gd name="connsiteY724" fmla="*/ 2035175 h 2476500"/>
                  <a:gd name="connsiteX725" fmla="*/ 50872 w 1757434"/>
                  <a:gd name="connsiteY725" fmla="*/ 2036763 h 2476500"/>
                  <a:gd name="connsiteX726" fmla="*/ 58809 w 1757434"/>
                  <a:gd name="connsiteY726" fmla="*/ 2030413 h 2476500"/>
                  <a:gd name="connsiteX727" fmla="*/ 58809 w 1757434"/>
                  <a:gd name="connsiteY727" fmla="*/ 2014538 h 2476500"/>
                  <a:gd name="connsiteX728" fmla="*/ 50872 w 1757434"/>
                  <a:gd name="connsiteY728" fmla="*/ 2016125 h 2476500"/>
                  <a:gd name="connsiteX729" fmla="*/ 46109 w 1757434"/>
                  <a:gd name="connsiteY729" fmla="*/ 2022475 h 2476500"/>
                  <a:gd name="connsiteX730" fmla="*/ 34997 w 1757434"/>
                  <a:gd name="connsiteY730" fmla="*/ 2020888 h 2476500"/>
                  <a:gd name="connsiteX731" fmla="*/ 31822 w 1757434"/>
                  <a:gd name="connsiteY731" fmla="*/ 2014538 h 2476500"/>
                  <a:gd name="connsiteX732" fmla="*/ 49284 w 1757434"/>
                  <a:gd name="connsiteY732" fmla="*/ 1997075 h 2476500"/>
                  <a:gd name="connsiteX733" fmla="*/ 60397 w 1757434"/>
                  <a:gd name="connsiteY733" fmla="*/ 1992313 h 2476500"/>
                  <a:gd name="connsiteX734" fmla="*/ 50872 w 1757434"/>
                  <a:gd name="connsiteY734" fmla="*/ 1984375 h 2476500"/>
                  <a:gd name="connsiteX735" fmla="*/ 38172 w 1757434"/>
                  <a:gd name="connsiteY735" fmla="*/ 1985963 h 2476500"/>
                  <a:gd name="connsiteX736" fmla="*/ 41347 w 1757434"/>
                  <a:gd name="connsiteY736" fmla="*/ 1979613 h 2476500"/>
                  <a:gd name="connsiteX737" fmla="*/ 46109 w 1757434"/>
                  <a:gd name="connsiteY737" fmla="*/ 1968500 h 2476500"/>
                  <a:gd name="connsiteX738" fmla="*/ 38172 w 1757434"/>
                  <a:gd name="connsiteY738" fmla="*/ 1966913 h 2476500"/>
                  <a:gd name="connsiteX739" fmla="*/ 31822 w 1757434"/>
                  <a:gd name="connsiteY739" fmla="*/ 1968500 h 2476500"/>
                  <a:gd name="connsiteX740" fmla="*/ 33409 w 1757434"/>
                  <a:gd name="connsiteY740" fmla="*/ 1963738 h 2476500"/>
                  <a:gd name="connsiteX741" fmla="*/ 42934 w 1757434"/>
                  <a:gd name="connsiteY741" fmla="*/ 1952625 h 2476500"/>
                  <a:gd name="connsiteX742" fmla="*/ 30234 w 1757434"/>
                  <a:gd name="connsiteY742" fmla="*/ 1954213 h 2476500"/>
                  <a:gd name="connsiteX743" fmla="*/ 8009 w 1757434"/>
                  <a:gd name="connsiteY743" fmla="*/ 1958975 h 2476500"/>
                  <a:gd name="connsiteX744" fmla="*/ 4834 w 1757434"/>
                  <a:gd name="connsiteY744" fmla="*/ 1954213 h 2476500"/>
                  <a:gd name="connsiteX745" fmla="*/ 8009 w 1757434"/>
                  <a:gd name="connsiteY745" fmla="*/ 1920875 h 2476500"/>
                  <a:gd name="connsiteX746" fmla="*/ 11184 w 1757434"/>
                  <a:gd name="connsiteY746" fmla="*/ 1916113 h 2476500"/>
                  <a:gd name="connsiteX747" fmla="*/ 15947 w 1757434"/>
                  <a:gd name="connsiteY747" fmla="*/ 1914525 h 2476500"/>
                  <a:gd name="connsiteX748" fmla="*/ 20709 w 1757434"/>
                  <a:gd name="connsiteY748" fmla="*/ 1916113 h 2476500"/>
                  <a:gd name="connsiteX749" fmla="*/ 25472 w 1757434"/>
                  <a:gd name="connsiteY749" fmla="*/ 1919288 h 2476500"/>
                  <a:gd name="connsiteX750" fmla="*/ 34997 w 1757434"/>
                  <a:gd name="connsiteY750" fmla="*/ 1917700 h 2476500"/>
                  <a:gd name="connsiteX751" fmla="*/ 39759 w 1757434"/>
                  <a:gd name="connsiteY751" fmla="*/ 1914525 h 2476500"/>
                  <a:gd name="connsiteX752" fmla="*/ 49284 w 1757434"/>
                  <a:gd name="connsiteY752" fmla="*/ 1912938 h 2476500"/>
                  <a:gd name="connsiteX753" fmla="*/ 54047 w 1757434"/>
                  <a:gd name="connsiteY753" fmla="*/ 1911747 h 2476500"/>
                  <a:gd name="connsiteX754" fmla="*/ 58077 w 1757434"/>
                  <a:gd name="connsiteY754" fmla="*/ 1911839 h 2476500"/>
                  <a:gd name="connsiteX755" fmla="*/ 63572 w 1757434"/>
                  <a:gd name="connsiteY755" fmla="*/ 1912938 h 2476500"/>
                  <a:gd name="connsiteX756" fmla="*/ 66308 w 1757434"/>
                  <a:gd name="connsiteY756" fmla="*/ 1912026 h 2476500"/>
                  <a:gd name="connsiteX757" fmla="*/ 69847 w 1757434"/>
                  <a:gd name="connsiteY757" fmla="*/ 1912106 h 2476500"/>
                  <a:gd name="connsiteX758" fmla="*/ 74684 w 1757434"/>
                  <a:gd name="connsiteY758" fmla="*/ 1914525 h 2476500"/>
                  <a:gd name="connsiteX759" fmla="*/ 76272 w 1757434"/>
                  <a:gd name="connsiteY759" fmla="*/ 1922463 h 2476500"/>
                  <a:gd name="connsiteX760" fmla="*/ 81034 w 1757434"/>
                  <a:gd name="connsiteY760" fmla="*/ 1919288 h 2476500"/>
                  <a:gd name="connsiteX761" fmla="*/ 82622 w 1757434"/>
                  <a:gd name="connsiteY761" fmla="*/ 1914525 h 2476500"/>
                  <a:gd name="connsiteX762" fmla="*/ 84703 w 1757434"/>
                  <a:gd name="connsiteY762" fmla="*/ 1912444 h 2476500"/>
                  <a:gd name="connsiteX763" fmla="*/ 91336 w 1757434"/>
                  <a:gd name="connsiteY763" fmla="*/ 1912595 h 2476500"/>
                  <a:gd name="connsiteX764" fmla="*/ 90357 w 1757434"/>
                  <a:gd name="connsiteY764" fmla="*/ 1913487 h 2476500"/>
                  <a:gd name="connsiteX765" fmla="*/ 95322 w 1757434"/>
                  <a:gd name="connsiteY765" fmla="*/ 1920875 h 2476500"/>
                  <a:gd name="connsiteX766" fmla="*/ 104847 w 1757434"/>
                  <a:gd name="connsiteY766" fmla="*/ 1922463 h 2476500"/>
                  <a:gd name="connsiteX767" fmla="*/ 109609 w 1757434"/>
                  <a:gd name="connsiteY767" fmla="*/ 1925638 h 2476500"/>
                  <a:gd name="connsiteX768" fmla="*/ 114372 w 1757434"/>
                  <a:gd name="connsiteY768" fmla="*/ 1931988 h 2476500"/>
                  <a:gd name="connsiteX769" fmla="*/ 119134 w 1757434"/>
                  <a:gd name="connsiteY769" fmla="*/ 1930400 h 2476500"/>
                  <a:gd name="connsiteX770" fmla="*/ 136597 w 1757434"/>
                  <a:gd name="connsiteY770" fmla="*/ 1925638 h 2476500"/>
                  <a:gd name="connsiteX771" fmla="*/ 141359 w 1757434"/>
                  <a:gd name="connsiteY771" fmla="*/ 1919288 h 2476500"/>
                  <a:gd name="connsiteX772" fmla="*/ 142947 w 1757434"/>
                  <a:gd name="connsiteY772" fmla="*/ 1912938 h 2476500"/>
                  <a:gd name="connsiteX773" fmla="*/ 147709 w 1757434"/>
                  <a:gd name="connsiteY773" fmla="*/ 1909763 h 2476500"/>
                  <a:gd name="connsiteX774" fmla="*/ 149297 w 1757434"/>
                  <a:gd name="connsiteY774" fmla="*/ 1914525 h 2476500"/>
                  <a:gd name="connsiteX775" fmla="*/ 150884 w 1757434"/>
                  <a:gd name="connsiteY775" fmla="*/ 1924050 h 2476500"/>
                  <a:gd name="connsiteX776" fmla="*/ 157234 w 1757434"/>
                  <a:gd name="connsiteY776" fmla="*/ 1930400 h 2476500"/>
                  <a:gd name="connsiteX777" fmla="*/ 158822 w 1757434"/>
                  <a:gd name="connsiteY777" fmla="*/ 1935163 h 2476500"/>
                  <a:gd name="connsiteX778" fmla="*/ 161997 w 1757434"/>
                  <a:gd name="connsiteY778" fmla="*/ 1939925 h 2476500"/>
                  <a:gd name="connsiteX779" fmla="*/ 165172 w 1757434"/>
                  <a:gd name="connsiteY779" fmla="*/ 1951038 h 2476500"/>
                  <a:gd name="connsiteX780" fmla="*/ 171522 w 1757434"/>
                  <a:gd name="connsiteY780" fmla="*/ 1960563 h 2476500"/>
                  <a:gd name="connsiteX781" fmla="*/ 171522 w 1757434"/>
                  <a:gd name="connsiteY781" fmla="*/ 1963738 h 2476500"/>
                  <a:gd name="connsiteX782" fmla="*/ 174697 w 1757434"/>
                  <a:gd name="connsiteY782" fmla="*/ 1957388 h 2476500"/>
                  <a:gd name="connsiteX783" fmla="*/ 181047 w 1757434"/>
                  <a:gd name="connsiteY783" fmla="*/ 1955800 h 2476500"/>
                  <a:gd name="connsiteX784" fmla="*/ 193747 w 1757434"/>
                  <a:gd name="connsiteY784" fmla="*/ 1955800 h 2476500"/>
                  <a:gd name="connsiteX785" fmla="*/ 187397 w 1757434"/>
                  <a:gd name="connsiteY785" fmla="*/ 1952625 h 2476500"/>
                  <a:gd name="connsiteX786" fmla="*/ 176284 w 1757434"/>
                  <a:gd name="connsiteY786" fmla="*/ 1941513 h 2476500"/>
                  <a:gd name="connsiteX787" fmla="*/ 174697 w 1757434"/>
                  <a:gd name="connsiteY787" fmla="*/ 1935163 h 2476500"/>
                  <a:gd name="connsiteX788" fmla="*/ 169934 w 1757434"/>
                  <a:gd name="connsiteY788" fmla="*/ 1931988 h 2476500"/>
                  <a:gd name="connsiteX789" fmla="*/ 166759 w 1757434"/>
                  <a:gd name="connsiteY789" fmla="*/ 1927225 h 2476500"/>
                  <a:gd name="connsiteX790" fmla="*/ 169934 w 1757434"/>
                  <a:gd name="connsiteY790" fmla="*/ 1917700 h 2476500"/>
                  <a:gd name="connsiteX791" fmla="*/ 188984 w 1757434"/>
                  <a:gd name="connsiteY791" fmla="*/ 1924050 h 2476500"/>
                  <a:gd name="connsiteX792" fmla="*/ 198509 w 1757434"/>
                  <a:gd name="connsiteY792" fmla="*/ 1922463 h 2476500"/>
                  <a:gd name="connsiteX793" fmla="*/ 201684 w 1757434"/>
                  <a:gd name="connsiteY793" fmla="*/ 1909763 h 2476500"/>
                  <a:gd name="connsiteX794" fmla="*/ 204859 w 1757434"/>
                  <a:gd name="connsiteY794" fmla="*/ 1905000 h 2476500"/>
                  <a:gd name="connsiteX795" fmla="*/ 205654 w 1757434"/>
                  <a:gd name="connsiteY795" fmla="*/ 1896263 h 2476500"/>
                  <a:gd name="connsiteX796" fmla="*/ 213721 w 1757434"/>
                  <a:gd name="connsiteY796" fmla="*/ 1888139 h 2476500"/>
                  <a:gd name="connsiteX797" fmla="*/ 212797 w 1757434"/>
                  <a:gd name="connsiteY797" fmla="*/ 1865313 h 2476500"/>
                  <a:gd name="connsiteX798" fmla="*/ 211209 w 1757434"/>
                  <a:gd name="connsiteY798" fmla="*/ 1884363 h 2476500"/>
                  <a:gd name="connsiteX799" fmla="*/ 206447 w 1757434"/>
                  <a:gd name="connsiteY799" fmla="*/ 1887538 h 2476500"/>
                  <a:gd name="connsiteX800" fmla="*/ 205654 w 1757434"/>
                  <a:gd name="connsiteY800" fmla="*/ 1896263 h 2476500"/>
                  <a:gd name="connsiteX801" fmla="*/ 204859 w 1757434"/>
                  <a:gd name="connsiteY801" fmla="*/ 1897063 h 2476500"/>
                  <a:gd name="connsiteX802" fmla="*/ 198509 w 1757434"/>
                  <a:gd name="connsiteY802" fmla="*/ 1908175 h 2476500"/>
                  <a:gd name="connsiteX803" fmla="*/ 182634 w 1757434"/>
                  <a:gd name="connsiteY803" fmla="*/ 1911350 h 2476500"/>
                  <a:gd name="connsiteX804" fmla="*/ 161997 w 1757434"/>
                  <a:gd name="connsiteY804" fmla="*/ 1914525 h 2476500"/>
                  <a:gd name="connsiteX805" fmla="*/ 158822 w 1757434"/>
                  <a:gd name="connsiteY805" fmla="*/ 1909763 h 2476500"/>
                  <a:gd name="connsiteX806" fmla="*/ 146122 w 1757434"/>
                  <a:gd name="connsiteY806" fmla="*/ 1908175 h 2476500"/>
                  <a:gd name="connsiteX807" fmla="*/ 142947 w 1757434"/>
                  <a:gd name="connsiteY807" fmla="*/ 1900238 h 2476500"/>
                  <a:gd name="connsiteX808" fmla="*/ 145179 w 1757434"/>
                  <a:gd name="connsiteY808" fmla="*/ 1890564 h 2476500"/>
                  <a:gd name="connsiteX809" fmla="*/ 150884 w 1757434"/>
                  <a:gd name="connsiteY809" fmla="*/ 1878013 h 2476500"/>
                  <a:gd name="connsiteX810" fmla="*/ 152119 w 1757434"/>
                  <a:gd name="connsiteY810" fmla="*/ 1874309 h 2476500"/>
                  <a:gd name="connsiteX811" fmla="*/ 155647 w 1757434"/>
                  <a:gd name="connsiteY811" fmla="*/ 1870075 h 2476500"/>
                  <a:gd name="connsiteX812" fmla="*/ 157234 w 1757434"/>
                  <a:gd name="connsiteY812" fmla="*/ 1863725 h 2476500"/>
                  <a:gd name="connsiteX813" fmla="*/ 154059 w 1757434"/>
                  <a:gd name="connsiteY813" fmla="*/ 1868488 h 2476500"/>
                  <a:gd name="connsiteX814" fmla="*/ 152119 w 1757434"/>
                  <a:gd name="connsiteY814" fmla="*/ 1874309 h 2476500"/>
                  <a:gd name="connsiteX815" fmla="*/ 147709 w 1757434"/>
                  <a:gd name="connsiteY815" fmla="*/ 1879600 h 2476500"/>
                  <a:gd name="connsiteX816" fmla="*/ 145179 w 1757434"/>
                  <a:gd name="connsiteY816" fmla="*/ 1890564 h 2476500"/>
                  <a:gd name="connsiteX817" fmla="*/ 142947 w 1757434"/>
                  <a:gd name="connsiteY817" fmla="*/ 1895475 h 2476500"/>
                  <a:gd name="connsiteX818" fmla="*/ 135009 w 1757434"/>
                  <a:gd name="connsiteY818" fmla="*/ 1914525 h 2476500"/>
                  <a:gd name="connsiteX819" fmla="*/ 125484 w 1757434"/>
                  <a:gd name="connsiteY819" fmla="*/ 1922463 h 2476500"/>
                  <a:gd name="connsiteX820" fmla="*/ 119134 w 1757434"/>
                  <a:gd name="connsiteY820" fmla="*/ 1919288 h 2476500"/>
                  <a:gd name="connsiteX821" fmla="*/ 111197 w 1757434"/>
                  <a:gd name="connsiteY821" fmla="*/ 1914525 h 2476500"/>
                  <a:gd name="connsiteX822" fmla="*/ 106434 w 1757434"/>
                  <a:gd name="connsiteY822" fmla="*/ 1912938 h 2476500"/>
                  <a:gd name="connsiteX823" fmla="*/ 91336 w 1757434"/>
                  <a:gd name="connsiteY823" fmla="*/ 1912595 h 2476500"/>
                  <a:gd name="connsiteX824" fmla="*/ 92608 w 1757434"/>
                  <a:gd name="connsiteY824" fmla="*/ 1911436 h 2476500"/>
                  <a:gd name="connsiteX825" fmla="*/ 87384 w 1757434"/>
                  <a:gd name="connsiteY825" fmla="*/ 1909763 h 2476500"/>
                  <a:gd name="connsiteX826" fmla="*/ 84703 w 1757434"/>
                  <a:gd name="connsiteY826" fmla="*/ 1912444 h 2476500"/>
                  <a:gd name="connsiteX827" fmla="*/ 69847 w 1757434"/>
                  <a:gd name="connsiteY827" fmla="*/ 1912106 h 2476500"/>
                  <a:gd name="connsiteX828" fmla="*/ 68334 w 1757434"/>
                  <a:gd name="connsiteY828" fmla="*/ 1911350 h 2476500"/>
                  <a:gd name="connsiteX829" fmla="*/ 66308 w 1757434"/>
                  <a:gd name="connsiteY829" fmla="*/ 1912026 h 2476500"/>
                  <a:gd name="connsiteX830" fmla="*/ 58077 w 1757434"/>
                  <a:gd name="connsiteY830" fmla="*/ 1911839 h 2476500"/>
                  <a:gd name="connsiteX831" fmla="*/ 55634 w 1757434"/>
                  <a:gd name="connsiteY831" fmla="*/ 1911350 h 2476500"/>
                  <a:gd name="connsiteX832" fmla="*/ 54047 w 1757434"/>
                  <a:gd name="connsiteY832" fmla="*/ 1911747 h 2476500"/>
                  <a:gd name="connsiteX833" fmla="*/ 36584 w 1757434"/>
                  <a:gd name="connsiteY833" fmla="*/ 1911350 h 2476500"/>
                  <a:gd name="connsiteX834" fmla="*/ 30234 w 1757434"/>
                  <a:gd name="connsiteY834" fmla="*/ 1909763 h 2476500"/>
                  <a:gd name="connsiteX835" fmla="*/ 20709 w 1757434"/>
                  <a:gd name="connsiteY835" fmla="*/ 1909763 h 2476500"/>
                  <a:gd name="connsiteX836" fmla="*/ 15947 w 1757434"/>
                  <a:gd name="connsiteY836" fmla="*/ 1905000 h 2476500"/>
                  <a:gd name="connsiteX837" fmla="*/ 8009 w 1757434"/>
                  <a:gd name="connsiteY837" fmla="*/ 1905000 h 2476500"/>
                  <a:gd name="connsiteX838" fmla="*/ 12772 w 1757434"/>
                  <a:gd name="connsiteY838" fmla="*/ 1893888 h 2476500"/>
                  <a:gd name="connsiteX839" fmla="*/ 19122 w 1757434"/>
                  <a:gd name="connsiteY839" fmla="*/ 1881188 h 2476500"/>
                  <a:gd name="connsiteX840" fmla="*/ 20709 w 1757434"/>
                  <a:gd name="connsiteY840" fmla="*/ 1876425 h 2476500"/>
                  <a:gd name="connsiteX841" fmla="*/ 22297 w 1757434"/>
                  <a:gd name="connsiteY841" fmla="*/ 1863725 h 2476500"/>
                  <a:gd name="connsiteX842" fmla="*/ 27059 w 1757434"/>
                  <a:gd name="connsiteY842" fmla="*/ 1858963 h 2476500"/>
                  <a:gd name="connsiteX843" fmla="*/ 31822 w 1757434"/>
                  <a:gd name="connsiteY843" fmla="*/ 1862138 h 2476500"/>
                  <a:gd name="connsiteX844" fmla="*/ 39759 w 1757434"/>
                  <a:gd name="connsiteY844" fmla="*/ 1865313 h 2476500"/>
                  <a:gd name="connsiteX845" fmla="*/ 50872 w 1757434"/>
                  <a:gd name="connsiteY845" fmla="*/ 1870075 h 2476500"/>
                  <a:gd name="connsiteX846" fmla="*/ 71509 w 1757434"/>
                  <a:gd name="connsiteY846" fmla="*/ 1857375 h 2476500"/>
                  <a:gd name="connsiteX847" fmla="*/ 76272 w 1757434"/>
                  <a:gd name="connsiteY847" fmla="*/ 1855788 h 2476500"/>
                  <a:gd name="connsiteX848" fmla="*/ 52459 w 1757434"/>
                  <a:gd name="connsiteY848" fmla="*/ 1855788 h 2476500"/>
                  <a:gd name="connsiteX849" fmla="*/ 44522 w 1757434"/>
                  <a:gd name="connsiteY849" fmla="*/ 1852613 h 2476500"/>
                  <a:gd name="connsiteX850" fmla="*/ 38172 w 1757434"/>
                  <a:gd name="connsiteY850" fmla="*/ 1838325 h 2476500"/>
                  <a:gd name="connsiteX851" fmla="*/ 25472 w 1757434"/>
                  <a:gd name="connsiteY851" fmla="*/ 1831975 h 2476500"/>
                  <a:gd name="connsiteX852" fmla="*/ 27059 w 1757434"/>
                  <a:gd name="connsiteY852" fmla="*/ 1827213 h 2476500"/>
                  <a:gd name="connsiteX853" fmla="*/ 38172 w 1757434"/>
                  <a:gd name="connsiteY853" fmla="*/ 1817688 h 2476500"/>
                  <a:gd name="connsiteX854" fmla="*/ 34997 w 1757434"/>
                  <a:gd name="connsiteY854" fmla="*/ 1812925 h 2476500"/>
                  <a:gd name="connsiteX855" fmla="*/ 31822 w 1757434"/>
                  <a:gd name="connsiteY855" fmla="*/ 1806575 h 2476500"/>
                  <a:gd name="connsiteX856" fmla="*/ 23884 w 1757434"/>
                  <a:gd name="connsiteY856" fmla="*/ 1808163 h 2476500"/>
                  <a:gd name="connsiteX857" fmla="*/ 17534 w 1757434"/>
                  <a:gd name="connsiteY857" fmla="*/ 1811338 h 2476500"/>
                  <a:gd name="connsiteX858" fmla="*/ 25472 w 1757434"/>
                  <a:gd name="connsiteY858" fmla="*/ 1798638 h 2476500"/>
                  <a:gd name="connsiteX859" fmla="*/ 20709 w 1757434"/>
                  <a:gd name="connsiteY859" fmla="*/ 1790700 h 2476500"/>
                  <a:gd name="connsiteX860" fmla="*/ 17534 w 1757434"/>
                  <a:gd name="connsiteY860" fmla="*/ 1785938 h 2476500"/>
                  <a:gd name="connsiteX861" fmla="*/ 19122 w 1757434"/>
                  <a:gd name="connsiteY861" fmla="*/ 1781175 h 2476500"/>
                  <a:gd name="connsiteX862" fmla="*/ 20709 w 1757434"/>
                  <a:gd name="connsiteY862" fmla="*/ 1770063 h 2476500"/>
                  <a:gd name="connsiteX863" fmla="*/ 23884 w 1757434"/>
                  <a:gd name="connsiteY863" fmla="*/ 1776413 h 2476500"/>
                  <a:gd name="connsiteX864" fmla="*/ 33409 w 1757434"/>
                  <a:gd name="connsiteY864" fmla="*/ 1782763 h 2476500"/>
                  <a:gd name="connsiteX865" fmla="*/ 41347 w 1757434"/>
                  <a:gd name="connsiteY865" fmla="*/ 1762125 h 2476500"/>
                  <a:gd name="connsiteX866" fmla="*/ 47697 w 1757434"/>
                  <a:gd name="connsiteY866" fmla="*/ 1763713 h 2476500"/>
                  <a:gd name="connsiteX867" fmla="*/ 55634 w 1757434"/>
                  <a:gd name="connsiteY867" fmla="*/ 1766888 h 2476500"/>
                  <a:gd name="connsiteX868" fmla="*/ 60397 w 1757434"/>
                  <a:gd name="connsiteY868" fmla="*/ 1763713 h 2476500"/>
                  <a:gd name="connsiteX869" fmla="*/ 63822 w 1757434"/>
                  <a:gd name="connsiteY869" fmla="*/ 1764461 h 2476500"/>
                  <a:gd name="connsiteX870" fmla="*/ 65159 w 1757434"/>
                  <a:gd name="connsiteY870" fmla="*/ 1773238 h 2476500"/>
                  <a:gd name="connsiteX871" fmla="*/ 73357 w 1757434"/>
                  <a:gd name="connsiteY871" fmla="*/ 1774356 h 2476500"/>
                  <a:gd name="connsiteX872" fmla="*/ 76272 w 1757434"/>
                  <a:gd name="connsiteY872" fmla="*/ 1778000 h 2476500"/>
                  <a:gd name="connsiteX873" fmla="*/ 85797 w 1757434"/>
                  <a:gd name="connsiteY873" fmla="*/ 1781175 h 2476500"/>
                  <a:gd name="connsiteX874" fmla="*/ 90559 w 1757434"/>
                  <a:gd name="connsiteY874" fmla="*/ 1782763 h 2476500"/>
                  <a:gd name="connsiteX875" fmla="*/ 103259 w 1757434"/>
                  <a:gd name="connsiteY875" fmla="*/ 1781175 h 2476500"/>
                  <a:gd name="connsiteX876" fmla="*/ 104847 w 1757434"/>
                  <a:gd name="connsiteY876" fmla="*/ 1785938 h 2476500"/>
                  <a:gd name="connsiteX877" fmla="*/ 109609 w 1757434"/>
                  <a:gd name="connsiteY877" fmla="*/ 1789113 h 2476500"/>
                  <a:gd name="connsiteX878" fmla="*/ 106434 w 1757434"/>
                  <a:gd name="connsiteY878" fmla="*/ 1800225 h 2476500"/>
                  <a:gd name="connsiteX879" fmla="*/ 111197 w 1757434"/>
                  <a:gd name="connsiteY879" fmla="*/ 1792288 h 2476500"/>
                  <a:gd name="connsiteX880" fmla="*/ 117547 w 1757434"/>
                  <a:gd name="connsiteY880" fmla="*/ 1793875 h 2476500"/>
                  <a:gd name="connsiteX881" fmla="*/ 123897 w 1757434"/>
                  <a:gd name="connsiteY881" fmla="*/ 1797050 h 2476500"/>
                  <a:gd name="connsiteX882" fmla="*/ 125484 w 1757434"/>
                  <a:gd name="connsiteY882" fmla="*/ 1789113 h 2476500"/>
                  <a:gd name="connsiteX883" fmla="*/ 135009 w 1757434"/>
                  <a:gd name="connsiteY883" fmla="*/ 1793875 h 2476500"/>
                  <a:gd name="connsiteX884" fmla="*/ 142947 w 1757434"/>
                  <a:gd name="connsiteY884" fmla="*/ 1792288 h 2476500"/>
                  <a:gd name="connsiteX885" fmla="*/ 147709 w 1757434"/>
                  <a:gd name="connsiteY885" fmla="*/ 1787525 h 2476500"/>
                  <a:gd name="connsiteX886" fmla="*/ 152472 w 1757434"/>
                  <a:gd name="connsiteY886" fmla="*/ 1778000 h 2476500"/>
                  <a:gd name="connsiteX887" fmla="*/ 160409 w 1757434"/>
                  <a:gd name="connsiteY887" fmla="*/ 1773238 h 2476500"/>
                  <a:gd name="connsiteX888" fmla="*/ 165172 w 1757434"/>
                  <a:gd name="connsiteY888" fmla="*/ 1771650 h 2476500"/>
                  <a:gd name="connsiteX889" fmla="*/ 149297 w 1757434"/>
                  <a:gd name="connsiteY889" fmla="*/ 1776413 h 2476500"/>
                  <a:gd name="connsiteX890" fmla="*/ 142947 w 1757434"/>
                  <a:gd name="connsiteY890" fmla="*/ 1778000 h 2476500"/>
                  <a:gd name="connsiteX891" fmla="*/ 135009 w 1757434"/>
                  <a:gd name="connsiteY891" fmla="*/ 1781175 h 2476500"/>
                  <a:gd name="connsiteX892" fmla="*/ 122309 w 1757434"/>
                  <a:gd name="connsiteY892" fmla="*/ 1784350 h 2476500"/>
                  <a:gd name="connsiteX893" fmla="*/ 117547 w 1757434"/>
                  <a:gd name="connsiteY893" fmla="*/ 1785938 h 2476500"/>
                  <a:gd name="connsiteX894" fmla="*/ 112784 w 1757434"/>
                  <a:gd name="connsiteY894" fmla="*/ 1781175 h 2476500"/>
                  <a:gd name="connsiteX895" fmla="*/ 100084 w 1757434"/>
                  <a:gd name="connsiteY895" fmla="*/ 1778000 h 2476500"/>
                  <a:gd name="connsiteX896" fmla="*/ 73357 w 1757434"/>
                  <a:gd name="connsiteY896" fmla="*/ 1774356 h 2476500"/>
                  <a:gd name="connsiteX897" fmla="*/ 69922 w 1757434"/>
                  <a:gd name="connsiteY897" fmla="*/ 1770063 h 2476500"/>
                  <a:gd name="connsiteX898" fmla="*/ 66515 w 1757434"/>
                  <a:gd name="connsiteY898" fmla="*/ 1765049 h 2476500"/>
                  <a:gd name="connsiteX899" fmla="*/ 63822 w 1757434"/>
                  <a:gd name="connsiteY899" fmla="*/ 1764461 h 2476500"/>
                  <a:gd name="connsiteX900" fmla="*/ 63141 w 1757434"/>
                  <a:gd name="connsiteY900" fmla="*/ 1759987 h 2476500"/>
                  <a:gd name="connsiteX901" fmla="*/ 55634 w 1757434"/>
                  <a:gd name="connsiteY901" fmla="*/ 1757363 h 2476500"/>
                  <a:gd name="connsiteX902" fmla="*/ 50872 w 1757434"/>
                  <a:gd name="connsiteY902" fmla="*/ 1755775 h 2476500"/>
                  <a:gd name="connsiteX903" fmla="*/ 52459 w 1757434"/>
                  <a:gd name="connsiteY903" fmla="*/ 1747838 h 2476500"/>
                  <a:gd name="connsiteX904" fmla="*/ 57222 w 1757434"/>
                  <a:gd name="connsiteY904" fmla="*/ 1730375 h 2476500"/>
                  <a:gd name="connsiteX905" fmla="*/ 61984 w 1757434"/>
                  <a:gd name="connsiteY905" fmla="*/ 1728788 h 2476500"/>
                  <a:gd name="connsiteX906" fmla="*/ 66747 w 1757434"/>
                  <a:gd name="connsiteY906" fmla="*/ 1725613 h 2476500"/>
                  <a:gd name="connsiteX907" fmla="*/ 85858 w 1757434"/>
                  <a:gd name="connsiteY907" fmla="*/ 1728161 h 2476500"/>
                  <a:gd name="connsiteX908" fmla="*/ 85797 w 1757434"/>
                  <a:gd name="connsiteY908" fmla="*/ 1728788 h 2476500"/>
                  <a:gd name="connsiteX909" fmla="*/ 91858 w 1757434"/>
                  <a:gd name="connsiteY909" fmla="*/ 1729654 h 2476500"/>
                  <a:gd name="connsiteX910" fmla="*/ 95322 w 1757434"/>
                  <a:gd name="connsiteY910" fmla="*/ 1731963 h 2476500"/>
                  <a:gd name="connsiteX911" fmla="*/ 103259 w 1757434"/>
                  <a:gd name="connsiteY911" fmla="*/ 1733550 h 2476500"/>
                  <a:gd name="connsiteX912" fmla="*/ 115959 w 1757434"/>
                  <a:gd name="connsiteY912" fmla="*/ 1749425 h 2476500"/>
                  <a:gd name="connsiteX913" fmla="*/ 115959 w 1757434"/>
                  <a:gd name="connsiteY913" fmla="*/ 1733550 h 2476500"/>
                  <a:gd name="connsiteX914" fmla="*/ 108022 w 1757434"/>
                  <a:gd name="connsiteY914" fmla="*/ 1731963 h 2476500"/>
                  <a:gd name="connsiteX915" fmla="*/ 91858 w 1757434"/>
                  <a:gd name="connsiteY915" fmla="*/ 1729654 h 2476500"/>
                  <a:gd name="connsiteX916" fmla="*/ 90559 w 1757434"/>
                  <a:gd name="connsiteY916" fmla="*/ 1728788 h 2476500"/>
                  <a:gd name="connsiteX917" fmla="*/ 85858 w 1757434"/>
                  <a:gd name="connsiteY917" fmla="*/ 1728161 h 2476500"/>
                  <a:gd name="connsiteX918" fmla="*/ 87655 w 1757434"/>
                  <a:gd name="connsiteY918" fmla="*/ 1709614 h 2476500"/>
                  <a:gd name="connsiteX919" fmla="*/ 92147 w 1757434"/>
                  <a:gd name="connsiteY919" fmla="*/ 1695450 h 2476500"/>
                  <a:gd name="connsiteX920" fmla="*/ 95322 w 1757434"/>
                  <a:gd name="connsiteY920" fmla="*/ 1687513 h 2476500"/>
                  <a:gd name="connsiteX921" fmla="*/ 104847 w 1757434"/>
                  <a:gd name="connsiteY921" fmla="*/ 1685925 h 2476500"/>
                  <a:gd name="connsiteX922" fmla="*/ 114372 w 1757434"/>
                  <a:gd name="connsiteY922" fmla="*/ 1682750 h 2476500"/>
                  <a:gd name="connsiteX923" fmla="*/ 125484 w 1757434"/>
                  <a:gd name="connsiteY923" fmla="*/ 1689100 h 2476500"/>
                  <a:gd name="connsiteX924" fmla="*/ 131834 w 1757434"/>
                  <a:gd name="connsiteY924" fmla="*/ 1698625 h 2476500"/>
                  <a:gd name="connsiteX925" fmla="*/ 135009 w 1757434"/>
                  <a:gd name="connsiteY925" fmla="*/ 1704975 h 2476500"/>
                  <a:gd name="connsiteX926" fmla="*/ 141359 w 1757434"/>
                  <a:gd name="connsiteY926" fmla="*/ 1709738 h 2476500"/>
                  <a:gd name="connsiteX927" fmla="*/ 144534 w 1757434"/>
                  <a:gd name="connsiteY927" fmla="*/ 1716088 h 2476500"/>
                  <a:gd name="connsiteX928" fmla="*/ 146122 w 1757434"/>
                  <a:gd name="connsiteY928" fmla="*/ 1720850 h 2476500"/>
                  <a:gd name="connsiteX929" fmla="*/ 151386 w 1757434"/>
                  <a:gd name="connsiteY929" fmla="*/ 1724667 h 2476500"/>
                  <a:gd name="connsiteX930" fmla="*/ 152472 w 1757434"/>
                  <a:gd name="connsiteY930" fmla="*/ 1727200 h 2476500"/>
                  <a:gd name="connsiteX931" fmla="*/ 157234 w 1757434"/>
                  <a:gd name="connsiteY931" fmla="*/ 1731963 h 2476500"/>
                  <a:gd name="connsiteX932" fmla="*/ 155647 w 1757434"/>
                  <a:gd name="connsiteY932" fmla="*/ 1727200 h 2476500"/>
                  <a:gd name="connsiteX933" fmla="*/ 151896 w 1757434"/>
                  <a:gd name="connsiteY933" fmla="*/ 1725037 h 2476500"/>
                  <a:gd name="connsiteX934" fmla="*/ 151386 w 1757434"/>
                  <a:gd name="connsiteY934" fmla="*/ 1724667 h 2476500"/>
                  <a:gd name="connsiteX935" fmla="*/ 147709 w 1757434"/>
                  <a:gd name="connsiteY935" fmla="*/ 1716088 h 2476500"/>
                  <a:gd name="connsiteX936" fmla="*/ 142947 w 1757434"/>
                  <a:gd name="connsiteY936" fmla="*/ 1703388 h 2476500"/>
                  <a:gd name="connsiteX937" fmla="*/ 144534 w 1757434"/>
                  <a:gd name="connsiteY937" fmla="*/ 1692275 h 2476500"/>
                  <a:gd name="connsiteX938" fmla="*/ 154059 w 1757434"/>
                  <a:gd name="connsiteY938" fmla="*/ 1682750 h 2476500"/>
                  <a:gd name="connsiteX939" fmla="*/ 161997 w 1757434"/>
                  <a:gd name="connsiteY939" fmla="*/ 1687513 h 2476500"/>
                  <a:gd name="connsiteX940" fmla="*/ 181047 w 1757434"/>
                  <a:gd name="connsiteY940" fmla="*/ 1693863 h 2476500"/>
                  <a:gd name="connsiteX941" fmla="*/ 184222 w 1757434"/>
                  <a:gd name="connsiteY941" fmla="*/ 1731963 h 2476500"/>
                  <a:gd name="connsiteX942" fmla="*/ 187397 w 1757434"/>
                  <a:gd name="connsiteY942" fmla="*/ 1743075 h 2476500"/>
                  <a:gd name="connsiteX943" fmla="*/ 192159 w 1757434"/>
                  <a:gd name="connsiteY943" fmla="*/ 1720850 h 2476500"/>
                  <a:gd name="connsiteX944" fmla="*/ 200731 w 1757434"/>
                  <a:gd name="connsiteY944" fmla="*/ 1715135 h 2476500"/>
                  <a:gd name="connsiteX945" fmla="*/ 211209 w 1757434"/>
                  <a:gd name="connsiteY945" fmla="*/ 1716088 h 2476500"/>
                  <a:gd name="connsiteX946" fmla="*/ 201684 w 1757434"/>
                  <a:gd name="connsiteY946" fmla="*/ 1714500 h 2476500"/>
                  <a:gd name="connsiteX947" fmla="*/ 200731 w 1757434"/>
                  <a:gd name="connsiteY947" fmla="*/ 1715135 h 2476500"/>
                  <a:gd name="connsiteX948" fmla="*/ 193747 w 1757434"/>
                  <a:gd name="connsiteY948" fmla="*/ 1714500 h 2476500"/>
                  <a:gd name="connsiteX949" fmla="*/ 192159 w 1757434"/>
                  <a:gd name="connsiteY949" fmla="*/ 1708150 h 2476500"/>
                  <a:gd name="connsiteX950" fmla="*/ 185809 w 1757434"/>
                  <a:gd name="connsiteY950" fmla="*/ 1693863 h 2476500"/>
                  <a:gd name="connsiteX951" fmla="*/ 182634 w 1757434"/>
                  <a:gd name="connsiteY951" fmla="*/ 1685925 h 2476500"/>
                  <a:gd name="connsiteX952" fmla="*/ 177872 w 1757434"/>
                  <a:gd name="connsiteY952" fmla="*/ 1682750 h 2476500"/>
                  <a:gd name="connsiteX953" fmla="*/ 171522 w 1757434"/>
                  <a:gd name="connsiteY953" fmla="*/ 1677988 h 2476500"/>
                  <a:gd name="connsiteX954" fmla="*/ 139772 w 1757434"/>
                  <a:gd name="connsiteY954" fmla="*/ 1673225 h 2476500"/>
                  <a:gd name="connsiteX955" fmla="*/ 138184 w 1757434"/>
                  <a:gd name="connsiteY955" fmla="*/ 1665288 h 2476500"/>
                  <a:gd name="connsiteX956" fmla="*/ 144534 w 1757434"/>
                  <a:gd name="connsiteY956" fmla="*/ 1651000 h 2476500"/>
                  <a:gd name="connsiteX957" fmla="*/ 150884 w 1757434"/>
                  <a:gd name="connsiteY957" fmla="*/ 1649413 h 2476500"/>
                  <a:gd name="connsiteX958" fmla="*/ 158822 w 1757434"/>
                  <a:gd name="connsiteY958" fmla="*/ 1646238 h 2476500"/>
                  <a:gd name="connsiteX959" fmla="*/ 163584 w 1757434"/>
                  <a:gd name="connsiteY959" fmla="*/ 1644650 h 2476500"/>
                  <a:gd name="connsiteX960" fmla="*/ 169934 w 1757434"/>
                  <a:gd name="connsiteY960" fmla="*/ 1631950 h 2476500"/>
                  <a:gd name="connsiteX961" fmla="*/ 174697 w 1757434"/>
                  <a:gd name="connsiteY961" fmla="*/ 1630363 h 2476500"/>
                  <a:gd name="connsiteX962" fmla="*/ 192159 w 1757434"/>
                  <a:gd name="connsiteY962" fmla="*/ 1635125 h 2476500"/>
                  <a:gd name="connsiteX963" fmla="*/ 196922 w 1757434"/>
                  <a:gd name="connsiteY963" fmla="*/ 1639888 h 2476500"/>
                  <a:gd name="connsiteX964" fmla="*/ 204859 w 1757434"/>
                  <a:gd name="connsiteY964" fmla="*/ 1644650 h 2476500"/>
                  <a:gd name="connsiteX965" fmla="*/ 214384 w 1757434"/>
                  <a:gd name="connsiteY965" fmla="*/ 1647825 h 2476500"/>
                  <a:gd name="connsiteX966" fmla="*/ 219147 w 1757434"/>
                  <a:gd name="connsiteY966" fmla="*/ 1649413 h 2476500"/>
                  <a:gd name="connsiteX967" fmla="*/ 223909 w 1757434"/>
                  <a:gd name="connsiteY967" fmla="*/ 1658938 h 2476500"/>
                  <a:gd name="connsiteX968" fmla="*/ 246134 w 1757434"/>
                  <a:gd name="connsiteY968" fmla="*/ 1660525 h 2476500"/>
                  <a:gd name="connsiteX969" fmla="*/ 242959 w 1757434"/>
                  <a:gd name="connsiteY969" fmla="*/ 1654175 h 2476500"/>
                  <a:gd name="connsiteX970" fmla="*/ 238197 w 1757434"/>
                  <a:gd name="connsiteY970" fmla="*/ 1649413 h 2476500"/>
                  <a:gd name="connsiteX971" fmla="*/ 246134 w 1757434"/>
                  <a:gd name="connsiteY971" fmla="*/ 1625600 h 2476500"/>
                  <a:gd name="connsiteX972" fmla="*/ 252484 w 1757434"/>
                  <a:gd name="connsiteY972" fmla="*/ 1622425 h 2476500"/>
                  <a:gd name="connsiteX973" fmla="*/ 258834 w 1757434"/>
                  <a:gd name="connsiteY973" fmla="*/ 1627188 h 2476500"/>
                  <a:gd name="connsiteX974" fmla="*/ 271534 w 1757434"/>
                  <a:gd name="connsiteY974" fmla="*/ 1639888 h 2476500"/>
                  <a:gd name="connsiteX975" fmla="*/ 277884 w 1757434"/>
                  <a:gd name="connsiteY975" fmla="*/ 1641475 h 2476500"/>
                  <a:gd name="connsiteX976" fmla="*/ 284234 w 1757434"/>
                  <a:gd name="connsiteY976" fmla="*/ 1624013 h 2476500"/>
                  <a:gd name="connsiteX977" fmla="*/ 284967 w 1757434"/>
                  <a:gd name="connsiteY977" fmla="*/ 1623769 h 2476500"/>
                  <a:gd name="connsiteX978" fmla="*/ 288997 w 1757434"/>
                  <a:gd name="connsiteY978" fmla="*/ 1627188 h 2476500"/>
                  <a:gd name="connsiteX979" fmla="*/ 300109 w 1757434"/>
                  <a:gd name="connsiteY979" fmla="*/ 1631950 h 2476500"/>
                  <a:gd name="connsiteX980" fmla="*/ 308047 w 1757434"/>
                  <a:gd name="connsiteY980" fmla="*/ 1633538 h 2476500"/>
                  <a:gd name="connsiteX981" fmla="*/ 319159 w 1757434"/>
                  <a:gd name="connsiteY981" fmla="*/ 1631950 h 2476500"/>
                  <a:gd name="connsiteX982" fmla="*/ 314397 w 1757434"/>
                  <a:gd name="connsiteY982" fmla="*/ 1628775 h 2476500"/>
                  <a:gd name="connsiteX983" fmla="*/ 288997 w 1757434"/>
                  <a:gd name="connsiteY983" fmla="*/ 1622425 h 2476500"/>
                  <a:gd name="connsiteX984" fmla="*/ 284967 w 1757434"/>
                  <a:gd name="connsiteY984" fmla="*/ 1623769 h 2476500"/>
                  <a:gd name="connsiteX985" fmla="*/ 283600 w 1757434"/>
                  <a:gd name="connsiteY985" fmla="*/ 1622609 h 2476500"/>
                  <a:gd name="connsiteX986" fmla="*/ 277884 w 1757434"/>
                  <a:gd name="connsiteY986" fmla="*/ 1619250 h 2476500"/>
                  <a:gd name="connsiteX987" fmla="*/ 265184 w 1757434"/>
                  <a:gd name="connsiteY987" fmla="*/ 1622425 h 2476500"/>
                  <a:gd name="connsiteX988" fmla="*/ 242959 w 1757434"/>
                  <a:gd name="connsiteY988" fmla="*/ 1619250 h 2476500"/>
                  <a:gd name="connsiteX989" fmla="*/ 217559 w 1757434"/>
                  <a:gd name="connsiteY989" fmla="*/ 1622425 h 2476500"/>
                  <a:gd name="connsiteX990" fmla="*/ 204859 w 1757434"/>
                  <a:gd name="connsiteY990" fmla="*/ 1625600 h 2476500"/>
                  <a:gd name="connsiteX991" fmla="*/ 182634 w 1757434"/>
                  <a:gd name="connsiteY991" fmla="*/ 1627188 h 2476500"/>
                  <a:gd name="connsiteX992" fmla="*/ 188984 w 1757434"/>
                  <a:gd name="connsiteY992" fmla="*/ 1624013 h 2476500"/>
                  <a:gd name="connsiteX993" fmla="*/ 190572 w 1757434"/>
                  <a:gd name="connsiteY993" fmla="*/ 1617663 h 2476500"/>
                  <a:gd name="connsiteX994" fmla="*/ 192159 w 1757434"/>
                  <a:gd name="connsiteY994" fmla="*/ 1585913 h 2476500"/>
                  <a:gd name="connsiteX995" fmla="*/ 204859 w 1757434"/>
                  <a:gd name="connsiteY995" fmla="*/ 1577975 h 2476500"/>
                  <a:gd name="connsiteX996" fmla="*/ 215972 w 1757434"/>
                  <a:gd name="connsiteY996" fmla="*/ 1581150 h 2476500"/>
                  <a:gd name="connsiteX997" fmla="*/ 219147 w 1757434"/>
                  <a:gd name="connsiteY997" fmla="*/ 1587500 h 2476500"/>
                  <a:gd name="connsiteX998" fmla="*/ 223909 w 1757434"/>
                  <a:gd name="connsiteY998" fmla="*/ 1590675 h 2476500"/>
                  <a:gd name="connsiteX999" fmla="*/ 231847 w 1757434"/>
                  <a:gd name="connsiteY999" fmla="*/ 1589088 h 2476500"/>
                  <a:gd name="connsiteX1000" fmla="*/ 255659 w 1757434"/>
                  <a:gd name="connsiteY1000" fmla="*/ 1585913 h 2476500"/>
                  <a:gd name="connsiteX1001" fmla="*/ 265184 w 1757434"/>
                  <a:gd name="connsiteY1001" fmla="*/ 1587500 h 2476500"/>
                  <a:gd name="connsiteX1002" fmla="*/ 285822 w 1757434"/>
                  <a:gd name="connsiteY1002" fmla="*/ 1589088 h 2476500"/>
                  <a:gd name="connsiteX1003" fmla="*/ 288997 w 1757434"/>
                  <a:gd name="connsiteY1003" fmla="*/ 1598613 h 2476500"/>
                  <a:gd name="connsiteX1004" fmla="*/ 298522 w 1757434"/>
                  <a:gd name="connsiteY1004" fmla="*/ 1604963 h 2476500"/>
                  <a:gd name="connsiteX1005" fmla="*/ 319159 w 1757434"/>
                  <a:gd name="connsiteY1005" fmla="*/ 1603375 h 2476500"/>
                  <a:gd name="connsiteX1006" fmla="*/ 325509 w 1757434"/>
                  <a:gd name="connsiteY1006" fmla="*/ 1601788 h 2476500"/>
                  <a:gd name="connsiteX1007" fmla="*/ 306459 w 1757434"/>
                  <a:gd name="connsiteY1007" fmla="*/ 1600200 h 2476500"/>
                  <a:gd name="connsiteX1008" fmla="*/ 304872 w 1757434"/>
                  <a:gd name="connsiteY1008" fmla="*/ 1592263 h 2476500"/>
                  <a:gd name="connsiteX1009" fmla="*/ 300109 w 1757434"/>
                  <a:gd name="connsiteY1009" fmla="*/ 1589088 h 2476500"/>
                  <a:gd name="connsiteX1010" fmla="*/ 290584 w 1757434"/>
                  <a:gd name="connsiteY1010" fmla="*/ 1584325 h 2476500"/>
                  <a:gd name="connsiteX1011" fmla="*/ 263597 w 1757434"/>
                  <a:gd name="connsiteY1011" fmla="*/ 1577975 h 2476500"/>
                  <a:gd name="connsiteX1012" fmla="*/ 265184 w 1757434"/>
                  <a:gd name="connsiteY1012" fmla="*/ 1563688 h 2476500"/>
                  <a:gd name="connsiteX1013" fmla="*/ 293759 w 1757434"/>
                  <a:gd name="connsiteY1013" fmla="*/ 1570038 h 2476500"/>
                  <a:gd name="connsiteX1014" fmla="*/ 303284 w 1757434"/>
                  <a:gd name="connsiteY1014" fmla="*/ 1568450 h 2476500"/>
                  <a:gd name="connsiteX1015" fmla="*/ 311222 w 1757434"/>
                  <a:gd name="connsiteY1015" fmla="*/ 1566863 h 2476500"/>
                  <a:gd name="connsiteX1016" fmla="*/ 296934 w 1757434"/>
                  <a:gd name="connsiteY1016" fmla="*/ 1565275 h 2476500"/>
                  <a:gd name="connsiteX1017" fmla="*/ 298522 w 1757434"/>
                  <a:gd name="connsiteY1017" fmla="*/ 1549400 h 2476500"/>
                  <a:gd name="connsiteX1018" fmla="*/ 309634 w 1757434"/>
                  <a:gd name="connsiteY1018" fmla="*/ 1546225 h 2476500"/>
                  <a:gd name="connsiteX1019" fmla="*/ 339797 w 1757434"/>
                  <a:gd name="connsiteY1019" fmla="*/ 1544638 h 2476500"/>
                  <a:gd name="connsiteX1020" fmla="*/ 336622 w 1757434"/>
                  <a:gd name="connsiteY1020" fmla="*/ 1527175 h 2476500"/>
                  <a:gd name="connsiteX1021" fmla="*/ 342972 w 1757434"/>
                  <a:gd name="connsiteY1021" fmla="*/ 1522413 h 2476500"/>
                  <a:gd name="connsiteX1022" fmla="*/ 350909 w 1757434"/>
                  <a:gd name="connsiteY1022" fmla="*/ 1520825 h 2476500"/>
                  <a:gd name="connsiteX1023" fmla="*/ 355672 w 1757434"/>
                  <a:gd name="connsiteY1023" fmla="*/ 1519238 h 2476500"/>
                  <a:gd name="connsiteX1024" fmla="*/ 371547 w 1757434"/>
                  <a:gd name="connsiteY1024" fmla="*/ 1512888 h 2476500"/>
                  <a:gd name="connsiteX1025" fmla="*/ 384247 w 1757434"/>
                  <a:gd name="connsiteY1025" fmla="*/ 1524000 h 2476500"/>
                  <a:gd name="connsiteX1026" fmla="*/ 377897 w 1757434"/>
                  <a:gd name="connsiteY1026" fmla="*/ 1522413 h 2476500"/>
                  <a:gd name="connsiteX1027" fmla="*/ 379484 w 1757434"/>
                  <a:gd name="connsiteY1027" fmla="*/ 1508125 h 2476500"/>
                  <a:gd name="connsiteX1028" fmla="*/ 381072 w 1757434"/>
                  <a:gd name="connsiteY1028" fmla="*/ 1503363 h 2476500"/>
                  <a:gd name="connsiteX1029" fmla="*/ 382659 w 1757434"/>
                  <a:gd name="connsiteY1029" fmla="*/ 1490663 h 2476500"/>
                  <a:gd name="connsiteX1030" fmla="*/ 387422 w 1757434"/>
                  <a:gd name="connsiteY1030" fmla="*/ 1485900 h 2476500"/>
                  <a:gd name="connsiteX1031" fmla="*/ 395359 w 1757434"/>
                  <a:gd name="connsiteY1031" fmla="*/ 1484313 h 2476500"/>
                  <a:gd name="connsiteX1032" fmla="*/ 406472 w 1757434"/>
                  <a:gd name="connsiteY1032" fmla="*/ 1481138 h 2476500"/>
                  <a:gd name="connsiteX1033" fmla="*/ 422347 w 1757434"/>
                  <a:gd name="connsiteY1033" fmla="*/ 1479550 h 2476500"/>
                  <a:gd name="connsiteX1034" fmla="*/ 425522 w 1757434"/>
                  <a:gd name="connsiteY1034" fmla="*/ 1485900 h 2476500"/>
                  <a:gd name="connsiteX1035" fmla="*/ 426535 w 1757434"/>
                  <a:gd name="connsiteY1035" fmla="*/ 1486660 h 2476500"/>
                  <a:gd name="connsiteX1036" fmla="*/ 425656 w 1757434"/>
                  <a:gd name="connsiteY1036" fmla="*/ 1480532 h 2476500"/>
                  <a:gd name="connsiteX1037" fmla="*/ 427109 w 1757434"/>
                  <a:gd name="connsiteY1037" fmla="*/ 1470025 h 2476500"/>
                  <a:gd name="connsiteX1038" fmla="*/ 431872 w 1757434"/>
                  <a:gd name="connsiteY1038" fmla="*/ 1466850 h 2476500"/>
                  <a:gd name="connsiteX1039" fmla="*/ 436634 w 1757434"/>
                  <a:gd name="connsiteY1039" fmla="*/ 1460500 h 2476500"/>
                  <a:gd name="connsiteX1040" fmla="*/ 415997 w 1757434"/>
                  <a:gd name="connsiteY1040" fmla="*/ 1457325 h 2476500"/>
                  <a:gd name="connsiteX1041" fmla="*/ 412822 w 1757434"/>
                  <a:gd name="connsiteY1041" fmla="*/ 1447800 h 2476500"/>
                  <a:gd name="connsiteX1042" fmla="*/ 420759 w 1757434"/>
                  <a:gd name="connsiteY1042" fmla="*/ 1443038 h 2476500"/>
                  <a:gd name="connsiteX1043" fmla="*/ 411234 w 1757434"/>
                  <a:gd name="connsiteY1043" fmla="*/ 1441450 h 2476500"/>
                  <a:gd name="connsiteX1044" fmla="*/ 431872 w 1757434"/>
                  <a:gd name="connsiteY1044" fmla="*/ 1428750 h 2476500"/>
                  <a:gd name="connsiteX1045" fmla="*/ 436634 w 1757434"/>
                  <a:gd name="connsiteY1045" fmla="*/ 1425575 h 2476500"/>
                  <a:gd name="connsiteX1046" fmla="*/ 439809 w 1757434"/>
                  <a:gd name="connsiteY1046" fmla="*/ 1420813 h 2476500"/>
                  <a:gd name="connsiteX1047" fmla="*/ 446159 w 1757434"/>
                  <a:gd name="connsiteY1047" fmla="*/ 1416050 h 2476500"/>
                  <a:gd name="connsiteX1048" fmla="*/ 447747 w 1757434"/>
                  <a:gd name="connsiteY1048" fmla="*/ 1408113 h 2476500"/>
                  <a:gd name="connsiteX1049" fmla="*/ 449334 w 1757434"/>
                  <a:gd name="connsiteY1049" fmla="*/ 1401763 h 2476500"/>
                  <a:gd name="connsiteX1050" fmla="*/ 454097 w 1757434"/>
                  <a:gd name="connsiteY1050" fmla="*/ 1397000 h 2476500"/>
                  <a:gd name="connsiteX1051" fmla="*/ 455684 w 1757434"/>
                  <a:gd name="connsiteY1051" fmla="*/ 1390650 h 2476500"/>
                  <a:gd name="connsiteX1052" fmla="*/ 454097 w 1757434"/>
                  <a:gd name="connsiteY1052" fmla="*/ 1384300 h 2476500"/>
                  <a:gd name="connsiteX1053" fmla="*/ 457272 w 1757434"/>
                  <a:gd name="connsiteY1053" fmla="*/ 1377950 h 2476500"/>
                  <a:gd name="connsiteX1054" fmla="*/ 465209 w 1757434"/>
                  <a:gd name="connsiteY1054" fmla="*/ 1379538 h 2476500"/>
                  <a:gd name="connsiteX1055" fmla="*/ 473147 w 1757434"/>
                  <a:gd name="connsiteY1055" fmla="*/ 1349375 h 2476500"/>
                  <a:gd name="connsiteX1056" fmla="*/ 489022 w 1757434"/>
                  <a:gd name="connsiteY1056" fmla="*/ 1344613 h 2476500"/>
                  <a:gd name="connsiteX1057" fmla="*/ 490609 w 1757434"/>
                  <a:gd name="connsiteY1057" fmla="*/ 1336675 h 2476500"/>
                  <a:gd name="connsiteX1058" fmla="*/ 493784 w 1757434"/>
                  <a:gd name="connsiteY1058" fmla="*/ 1322388 h 2476500"/>
                  <a:gd name="connsiteX1059" fmla="*/ 501722 w 1757434"/>
                  <a:gd name="connsiteY1059" fmla="*/ 1327150 h 2476500"/>
                  <a:gd name="connsiteX1060" fmla="*/ 503309 w 1757434"/>
                  <a:gd name="connsiteY1060" fmla="*/ 1331913 h 2476500"/>
                  <a:gd name="connsiteX1061" fmla="*/ 506484 w 1757434"/>
                  <a:gd name="connsiteY1061" fmla="*/ 1325563 h 2476500"/>
                  <a:gd name="connsiteX1062" fmla="*/ 516009 w 1757434"/>
                  <a:gd name="connsiteY1062" fmla="*/ 1308100 h 2476500"/>
                  <a:gd name="connsiteX1063" fmla="*/ 517597 w 1757434"/>
                  <a:gd name="connsiteY1063" fmla="*/ 1298575 h 2476500"/>
                  <a:gd name="connsiteX1064" fmla="*/ 522359 w 1757434"/>
                  <a:gd name="connsiteY1064" fmla="*/ 1308100 h 2476500"/>
                  <a:gd name="connsiteX1065" fmla="*/ 525534 w 1757434"/>
                  <a:gd name="connsiteY1065" fmla="*/ 1312863 h 2476500"/>
                  <a:gd name="connsiteX1066" fmla="*/ 533472 w 1757434"/>
                  <a:gd name="connsiteY1066" fmla="*/ 1309688 h 2476500"/>
                  <a:gd name="connsiteX1067" fmla="*/ 539822 w 1757434"/>
                  <a:gd name="connsiteY1067" fmla="*/ 1298575 h 2476500"/>
                  <a:gd name="connsiteX1068" fmla="*/ 542997 w 1757434"/>
                  <a:gd name="connsiteY1068" fmla="*/ 1306513 h 2476500"/>
                  <a:gd name="connsiteX1069" fmla="*/ 544584 w 1757434"/>
                  <a:gd name="connsiteY1069" fmla="*/ 1319213 h 2476500"/>
                  <a:gd name="connsiteX1070" fmla="*/ 549347 w 1757434"/>
                  <a:gd name="connsiteY1070" fmla="*/ 1322388 h 2476500"/>
                  <a:gd name="connsiteX1071" fmla="*/ 557284 w 1757434"/>
                  <a:gd name="connsiteY1071" fmla="*/ 1304925 h 2476500"/>
                  <a:gd name="connsiteX1072" fmla="*/ 562047 w 1757434"/>
                  <a:gd name="connsiteY1072" fmla="*/ 1296988 h 2476500"/>
                  <a:gd name="connsiteX1073" fmla="*/ 563634 w 1757434"/>
                  <a:gd name="connsiteY1073" fmla="*/ 1292225 h 2476500"/>
                  <a:gd name="connsiteX1074" fmla="*/ 565222 w 1757434"/>
                  <a:gd name="connsiteY1074" fmla="*/ 1281113 h 2476500"/>
                  <a:gd name="connsiteX1075" fmla="*/ 568397 w 1757434"/>
                  <a:gd name="connsiteY1075" fmla="*/ 1274763 h 2476500"/>
                  <a:gd name="connsiteX1076" fmla="*/ 576334 w 1757434"/>
                  <a:gd name="connsiteY1076" fmla="*/ 1262063 h 2476500"/>
                  <a:gd name="connsiteX1077" fmla="*/ 584272 w 1757434"/>
                  <a:gd name="connsiteY1077" fmla="*/ 1246188 h 2476500"/>
                  <a:gd name="connsiteX1078" fmla="*/ 589034 w 1757434"/>
                  <a:gd name="connsiteY1078" fmla="*/ 1244600 h 2476500"/>
                  <a:gd name="connsiteX1079" fmla="*/ 601734 w 1757434"/>
                  <a:gd name="connsiteY1079" fmla="*/ 1243013 h 2476500"/>
                  <a:gd name="connsiteX1080" fmla="*/ 614434 w 1757434"/>
                  <a:gd name="connsiteY1080" fmla="*/ 1231900 h 2476500"/>
                  <a:gd name="connsiteX1081" fmla="*/ 616022 w 1757434"/>
                  <a:gd name="connsiteY1081" fmla="*/ 1208088 h 2476500"/>
                  <a:gd name="connsiteX1082" fmla="*/ 622372 w 1757434"/>
                  <a:gd name="connsiteY1082" fmla="*/ 1204913 h 2476500"/>
                  <a:gd name="connsiteX1083" fmla="*/ 627134 w 1757434"/>
                  <a:gd name="connsiteY1083" fmla="*/ 1201738 h 2476500"/>
                  <a:gd name="connsiteX1084" fmla="*/ 635072 w 1757434"/>
                  <a:gd name="connsiteY1084" fmla="*/ 1196975 h 2476500"/>
                  <a:gd name="connsiteX1085" fmla="*/ 639834 w 1757434"/>
                  <a:gd name="connsiteY1085" fmla="*/ 1193800 h 2476500"/>
                  <a:gd name="connsiteX1086" fmla="*/ 650947 w 1757434"/>
                  <a:gd name="connsiteY1086" fmla="*/ 1182688 h 2476500"/>
                  <a:gd name="connsiteX1087" fmla="*/ 654122 w 1757434"/>
                  <a:gd name="connsiteY1087" fmla="*/ 1173163 h 2476500"/>
                  <a:gd name="connsiteX1088" fmla="*/ 630309 w 1757434"/>
                  <a:gd name="connsiteY1088" fmla="*/ 1181100 h 2476500"/>
                  <a:gd name="connsiteX1089" fmla="*/ 622372 w 1757434"/>
                  <a:gd name="connsiteY1089" fmla="*/ 1182688 h 2476500"/>
                  <a:gd name="connsiteX1090" fmla="*/ 617609 w 1757434"/>
                  <a:gd name="connsiteY1090" fmla="*/ 1184275 h 2476500"/>
                  <a:gd name="connsiteX1091" fmla="*/ 611259 w 1757434"/>
                  <a:gd name="connsiteY1091" fmla="*/ 1189038 h 2476500"/>
                  <a:gd name="connsiteX1092" fmla="*/ 609672 w 1757434"/>
                  <a:gd name="connsiteY1092" fmla="*/ 1195388 h 2476500"/>
                  <a:gd name="connsiteX1093" fmla="*/ 598559 w 1757434"/>
                  <a:gd name="connsiteY1093" fmla="*/ 1214438 h 2476500"/>
                  <a:gd name="connsiteX1094" fmla="*/ 593797 w 1757434"/>
                  <a:gd name="connsiteY1094" fmla="*/ 1216025 h 2476500"/>
                  <a:gd name="connsiteX1095" fmla="*/ 598559 w 1757434"/>
                  <a:gd name="connsiteY1095" fmla="*/ 1190625 h 2476500"/>
                  <a:gd name="connsiteX1096" fmla="*/ 600147 w 1757434"/>
                  <a:gd name="connsiteY1096" fmla="*/ 1184275 h 2476500"/>
                  <a:gd name="connsiteX1097" fmla="*/ 601734 w 1757434"/>
                  <a:gd name="connsiteY1097" fmla="*/ 1176338 h 2476500"/>
                  <a:gd name="connsiteX1098" fmla="*/ 608084 w 1757434"/>
                  <a:gd name="connsiteY1098" fmla="*/ 1166813 h 2476500"/>
                  <a:gd name="connsiteX1099" fmla="*/ 620784 w 1757434"/>
                  <a:gd name="connsiteY1099" fmla="*/ 1160463 h 2476500"/>
                  <a:gd name="connsiteX1100" fmla="*/ 619197 w 1757434"/>
                  <a:gd name="connsiteY1100" fmla="*/ 1141413 h 2476500"/>
                  <a:gd name="connsiteX1101" fmla="*/ 623959 w 1757434"/>
                  <a:gd name="connsiteY1101" fmla="*/ 1143000 h 2476500"/>
                  <a:gd name="connsiteX1102" fmla="*/ 628722 w 1757434"/>
                  <a:gd name="connsiteY1102" fmla="*/ 1146175 h 2476500"/>
                  <a:gd name="connsiteX1103" fmla="*/ 630309 w 1757434"/>
                  <a:gd name="connsiteY1103" fmla="*/ 1125538 h 2476500"/>
                  <a:gd name="connsiteX1104" fmla="*/ 622372 w 1757434"/>
                  <a:gd name="connsiteY1104" fmla="*/ 1119188 h 2476500"/>
                  <a:gd name="connsiteX1105" fmla="*/ 625338 w 1757434"/>
                  <a:gd name="connsiteY1105" fmla="*/ 1109604 h 2476500"/>
                  <a:gd name="connsiteX1106" fmla="*/ 630062 w 1757434"/>
                  <a:gd name="connsiteY1106" fmla="*/ 1102117 h 2476500"/>
                  <a:gd name="connsiteX1107" fmla="*/ 635072 w 1757434"/>
                  <a:gd name="connsiteY1107" fmla="*/ 1104900 h 2476500"/>
                  <a:gd name="connsiteX1108" fmla="*/ 646184 w 1757434"/>
                  <a:gd name="connsiteY1108" fmla="*/ 1103313 h 2476500"/>
                  <a:gd name="connsiteX1109" fmla="*/ 630309 w 1757434"/>
                  <a:gd name="connsiteY1109" fmla="*/ 1101725 h 2476500"/>
                  <a:gd name="connsiteX1110" fmla="*/ 630062 w 1757434"/>
                  <a:gd name="connsiteY1110" fmla="*/ 1102117 h 2476500"/>
                  <a:gd name="connsiteX1111" fmla="*/ 620784 w 1757434"/>
                  <a:gd name="connsiteY1111" fmla="*/ 1096963 h 2476500"/>
                  <a:gd name="connsiteX1112" fmla="*/ 623959 w 1757434"/>
                  <a:gd name="connsiteY1112" fmla="*/ 1074738 h 2476500"/>
                  <a:gd name="connsiteX1113" fmla="*/ 633484 w 1757434"/>
                  <a:gd name="connsiteY1113" fmla="*/ 1073150 h 2476500"/>
                  <a:gd name="connsiteX1114" fmla="*/ 638247 w 1757434"/>
                  <a:gd name="connsiteY1114" fmla="*/ 1071563 h 2476500"/>
                  <a:gd name="connsiteX1115" fmla="*/ 644597 w 1757434"/>
                  <a:gd name="connsiteY1115" fmla="*/ 1077913 h 2476500"/>
                  <a:gd name="connsiteX1116" fmla="*/ 646184 w 1757434"/>
                  <a:gd name="connsiteY1116" fmla="*/ 1065213 h 2476500"/>
                  <a:gd name="connsiteX1117" fmla="*/ 652534 w 1757434"/>
                  <a:gd name="connsiteY1117" fmla="*/ 1046163 h 2476500"/>
                  <a:gd name="connsiteX1118" fmla="*/ 662059 w 1757434"/>
                  <a:gd name="connsiteY1118" fmla="*/ 1062038 h 2476500"/>
                  <a:gd name="connsiteX1119" fmla="*/ 669997 w 1757434"/>
                  <a:gd name="connsiteY1119" fmla="*/ 1066800 h 2476500"/>
                  <a:gd name="connsiteX1120" fmla="*/ 677934 w 1757434"/>
                  <a:gd name="connsiteY1120" fmla="*/ 1065213 h 2476500"/>
                  <a:gd name="connsiteX1121" fmla="*/ 666822 w 1757434"/>
                  <a:gd name="connsiteY1121" fmla="*/ 1042988 h 2476500"/>
                  <a:gd name="connsiteX1122" fmla="*/ 660472 w 1757434"/>
                  <a:gd name="connsiteY1122" fmla="*/ 1031875 h 2476500"/>
                  <a:gd name="connsiteX1123" fmla="*/ 654122 w 1757434"/>
                  <a:gd name="connsiteY1123" fmla="*/ 1028700 h 2476500"/>
                  <a:gd name="connsiteX1124" fmla="*/ 668409 w 1757434"/>
                  <a:gd name="connsiteY1124" fmla="*/ 1019175 h 2476500"/>
                  <a:gd name="connsiteX1125" fmla="*/ 676347 w 1757434"/>
                  <a:gd name="connsiteY1125" fmla="*/ 1016000 h 2476500"/>
                  <a:gd name="connsiteX1126" fmla="*/ 684284 w 1757434"/>
                  <a:gd name="connsiteY1126" fmla="*/ 1006475 h 2476500"/>
                  <a:gd name="connsiteX1127" fmla="*/ 692222 w 1757434"/>
                  <a:gd name="connsiteY1127" fmla="*/ 1000125 h 2476500"/>
                  <a:gd name="connsiteX1128" fmla="*/ 695397 w 1757434"/>
                  <a:gd name="connsiteY1128" fmla="*/ 993775 h 2476500"/>
                  <a:gd name="connsiteX1129" fmla="*/ 697575 w 1757434"/>
                  <a:gd name="connsiteY1129" fmla="*/ 989376 h 2476500"/>
                  <a:gd name="connsiteX1130" fmla="*/ 700379 w 1757434"/>
                  <a:gd name="connsiteY1130" fmla="*/ 989843 h 2476500"/>
                  <a:gd name="connsiteX1131" fmla="*/ 701747 w 1757434"/>
                  <a:gd name="connsiteY1131" fmla="*/ 1004888 h 2476500"/>
                  <a:gd name="connsiteX1132" fmla="*/ 708097 w 1757434"/>
                  <a:gd name="connsiteY1132" fmla="*/ 1019175 h 2476500"/>
                  <a:gd name="connsiteX1133" fmla="*/ 716034 w 1757434"/>
                  <a:gd name="connsiteY1133" fmla="*/ 1001713 h 2476500"/>
                  <a:gd name="connsiteX1134" fmla="*/ 720797 w 1757434"/>
                  <a:gd name="connsiteY1134" fmla="*/ 1000125 h 2476500"/>
                  <a:gd name="connsiteX1135" fmla="*/ 728734 w 1757434"/>
                  <a:gd name="connsiteY1135" fmla="*/ 995363 h 2476500"/>
                  <a:gd name="connsiteX1136" fmla="*/ 730322 w 1757434"/>
                  <a:gd name="connsiteY1136" fmla="*/ 989013 h 2476500"/>
                  <a:gd name="connsiteX1137" fmla="*/ 735084 w 1757434"/>
                  <a:gd name="connsiteY1137" fmla="*/ 981075 h 2476500"/>
                  <a:gd name="connsiteX1138" fmla="*/ 728734 w 1757434"/>
                  <a:gd name="connsiteY1138" fmla="*/ 982663 h 2476500"/>
                  <a:gd name="connsiteX1139" fmla="*/ 709684 w 1757434"/>
                  <a:gd name="connsiteY1139" fmla="*/ 989013 h 2476500"/>
                  <a:gd name="connsiteX1140" fmla="*/ 704922 w 1757434"/>
                  <a:gd name="connsiteY1140" fmla="*/ 990600 h 2476500"/>
                  <a:gd name="connsiteX1141" fmla="*/ 700379 w 1757434"/>
                  <a:gd name="connsiteY1141" fmla="*/ 989843 h 2476500"/>
                  <a:gd name="connsiteX1142" fmla="*/ 700159 w 1757434"/>
                  <a:gd name="connsiteY1142" fmla="*/ 987425 h 2476500"/>
                  <a:gd name="connsiteX1143" fmla="*/ 697812 w 1757434"/>
                  <a:gd name="connsiteY1143" fmla="*/ 988897 h 2476500"/>
                  <a:gd name="connsiteX1144" fmla="*/ 697575 w 1757434"/>
                  <a:gd name="connsiteY1144" fmla="*/ 989376 h 2476500"/>
                  <a:gd name="connsiteX1145" fmla="*/ 695397 w 1757434"/>
                  <a:gd name="connsiteY1145" fmla="*/ 989013 h 2476500"/>
                  <a:gd name="connsiteX1146" fmla="*/ 690634 w 1757434"/>
                  <a:gd name="connsiteY1146" fmla="*/ 985838 h 2476500"/>
                  <a:gd name="connsiteX1147" fmla="*/ 658884 w 1757434"/>
                  <a:gd name="connsiteY1147" fmla="*/ 982663 h 2476500"/>
                  <a:gd name="connsiteX1148" fmla="*/ 665234 w 1757434"/>
                  <a:gd name="connsiteY1148" fmla="*/ 947738 h 2476500"/>
                  <a:gd name="connsiteX1149" fmla="*/ 671584 w 1757434"/>
                  <a:gd name="connsiteY1149" fmla="*/ 946150 h 2476500"/>
                  <a:gd name="connsiteX1150" fmla="*/ 674759 w 1757434"/>
                  <a:gd name="connsiteY1150" fmla="*/ 941388 h 2476500"/>
                  <a:gd name="connsiteX1151" fmla="*/ 689047 w 1757434"/>
                  <a:gd name="connsiteY1151" fmla="*/ 935038 h 2476500"/>
                  <a:gd name="connsiteX1152" fmla="*/ 690634 w 1757434"/>
                  <a:gd name="connsiteY1152" fmla="*/ 941388 h 2476500"/>
                  <a:gd name="connsiteX1153" fmla="*/ 693809 w 1757434"/>
                  <a:gd name="connsiteY1153" fmla="*/ 947738 h 2476500"/>
                  <a:gd name="connsiteX1154" fmla="*/ 695397 w 1757434"/>
                  <a:gd name="connsiteY1154" fmla="*/ 930275 h 2476500"/>
                  <a:gd name="connsiteX1155" fmla="*/ 701747 w 1757434"/>
                  <a:gd name="connsiteY1155" fmla="*/ 917575 h 2476500"/>
                  <a:gd name="connsiteX1156" fmla="*/ 708097 w 1757434"/>
                  <a:gd name="connsiteY1156" fmla="*/ 920750 h 2476500"/>
                  <a:gd name="connsiteX1157" fmla="*/ 714105 w 1757434"/>
                  <a:gd name="connsiteY1157" fmla="*/ 909845 h 2476500"/>
                  <a:gd name="connsiteX1158" fmla="*/ 711560 w 1757434"/>
                  <a:gd name="connsiteY1158" fmla="*/ 898249 h 2476500"/>
                  <a:gd name="connsiteX1159" fmla="*/ 716034 w 1757434"/>
                  <a:gd name="connsiteY1159" fmla="*/ 900113 h 2476500"/>
                  <a:gd name="connsiteX1160" fmla="*/ 711272 w 1757434"/>
                  <a:gd name="connsiteY1160" fmla="*/ 896938 h 2476500"/>
                  <a:gd name="connsiteX1161" fmla="*/ 711560 w 1757434"/>
                  <a:gd name="connsiteY1161" fmla="*/ 898249 h 2476500"/>
                  <a:gd name="connsiteX1162" fmla="*/ 696984 w 1757434"/>
                  <a:gd name="connsiteY1162" fmla="*/ 892175 h 2476500"/>
                  <a:gd name="connsiteX1163" fmla="*/ 695397 w 1757434"/>
                  <a:gd name="connsiteY1163" fmla="*/ 868363 h 2476500"/>
                  <a:gd name="connsiteX1164" fmla="*/ 738259 w 1757434"/>
                  <a:gd name="connsiteY1164" fmla="*/ 862013 h 2476500"/>
                  <a:gd name="connsiteX1165" fmla="*/ 731909 w 1757434"/>
                  <a:gd name="connsiteY1165" fmla="*/ 858838 h 2476500"/>
                  <a:gd name="connsiteX1166" fmla="*/ 741434 w 1757434"/>
                  <a:gd name="connsiteY1166" fmla="*/ 852488 h 2476500"/>
                  <a:gd name="connsiteX1167" fmla="*/ 747784 w 1757434"/>
                  <a:gd name="connsiteY1167" fmla="*/ 858838 h 2476500"/>
                  <a:gd name="connsiteX1168" fmla="*/ 746197 w 1757434"/>
                  <a:gd name="connsiteY1168" fmla="*/ 854075 h 2476500"/>
                  <a:gd name="connsiteX1169" fmla="*/ 749372 w 1757434"/>
                  <a:gd name="connsiteY1169" fmla="*/ 838200 h 2476500"/>
                  <a:gd name="connsiteX1170" fmla="*/ 757309 w 1757434"/>
                  <a:gd name="connsiteY1170" fmla="*/ 833438 h 2476500"/>
                  <a:gd name="connsiteX1171" fmla="*/ 758897 w 1757434"/>
                  <a:gd name="connsiteY1171" fmla="*/ 844550 h 2476500"/>
                  <a:gd name="connsiteX1172" fmla="*/ 762072 w 1757434"/>
                  <a:gd name="connsiteY1172" fmla="*/ 849313 h 2476500"/>
                  <a:gd name="connsiteX1173" fmla="*/ 766834 w 1757434"/>
                  <a:gd name="connsiteY1173" fmla="*/ 847725 h 2476500"/>
                  <a:gd name="connsiteX1174" fmla="*/ 763659 w 1757434"/>
                  <a:gd name="connsiteY1174" fmla="*/ 827088 h 2476500"/>
                  <a:gd name="connsiteX1175" fmla="*/ 770009 w 1757434"/>
                  <a:gd name="connsiteY1175" fmla="*/ 812800 h 2476500"/>
                  <a:gd name="connsiteX1176" fmla="*/ 774772 w 1757434"/>
                  <a:gd name="connsiteY1176" fmla="*/ 815975 h 2476500"/>
                  <a:gd name="connsiteX1177" fmla="*/ 782709 w 1757434"/>
                  <a:gd name="connsiteY1177" fmla="*/ 823913 h 2476500"/>
                  <a:gd name="connsiteX1178" fmla="*/ 789059 w 1757434"/>
                  <a:gd name="connsiteY1178" fmla="*/ 819150 h 2476500"/>
                  <a:gd name="connsiteX1179" fmla="*/ 793822 w 1757434"/>
                  <a:gd name="connsiteY1179" fmla="*/ 806450 h 2476500"/>
                  <a:gd name="connsiteX1180" fmla="*/ 806522 w 1757434"/>
                  <a:gd name="connsiteY1180" fmla="*/ 819150 h 2476500"/>
                  <a:gd name="connsiteX1181" fmla="*/ 808109 w 1757434"/>
                  <a:gd name="connsiteY1181" fmla="*/ 831850 h 2476500"/>
                  <a:gd name="connsiteX1182" fmla="*/ 811284 w 1757434"/>
                  <a:gd name="connsiteY1182" fmla="*/ 823913 h 2476500"/>
                  <a:gd name="connsiteX1183" fmla="*/ 820809 w 1757434"/>
                  <a:gd name="connsiteY1183" fmla="*/ 830263 h 2476500"/>
                  <a:gd name="connsiteX1184" fmla="*/ 828747 w 1757434"/>
                  <a:gd name="connsiteY1184" fmla="*/ 828675 h 2476500"/>
                  <a:gd name="connsiteX1185" fmla="*/ 830334 w 1757434"/>
                  <a:gd name="connsiteY1185" fmla="*/ 815975 h 2476500"/>
                  <a:gd name="connsiteX1186" fmla="*/ 831922 w 1757434"/>
                  <a:gd name="connsiteY1186" fmla="*/ 811213 h 2476500"/>
                  <a:gd name="connsiteX1187" fmla="*/ 833509 w 1757434"/>
                  <a:gd name="connsiteY1187" fmla="*/ 796925 h 2476500"/>
                  <a:gd name="connsiteX1188" fmla="*/ 831922 w 1757434"/>
                  <a:gd name="connsiteY1188" fmla="*/ 790575 h 2476500"/>
                  <a:gd name="connsiteX1189" fmla="*/ 830334 w 1757434"/>
                  <a:gd name="connsiteY1189" fmla="*/ 782638 h 2476500"/>
                  <a:gd name="connsiteX1190" fmla="*/ 831922 w 1757434"/>
                  <a:gd name="connsiteY1190" fmla="*/ 760413 h 2476500"/>
                  <a:gd name="connsiteX1191" fmla="*/ 793822 w 1757434"/>
                  <a:gd name="connsiteY1191" fmla="*/ 765175 h 2476500"/>
                  <a:gd name="connsiteX1192" fmla="*/ 804934 w 1757434"/>
                  <a:gd name="connsiteY1192" fmla="*/ 755650 h 2476500"/>
                  <a:gd name="connsiteX1193" fmla="*/ 806522 w 1757434"/>
                  <a:gd name="connsiteY1193" fmla="*/ 750888 h 2476500"/>
                  <a:gd name="connsiteX1194" fmla="*/ 808109 w 1757434"/>
                  <a:gd name="connsiteY1194" fmla="*/ 741363 h 2476500"/>
                  <a:gd name="connsiteX1195" fmla="*/ 812872 w 1757434"/>
                  <a:gd name="connsiteY1195" fmla="*/ 739775 h 2476500"/>
                  <a:gd name="connsiteX1196" fmla="*/ 817634 w 1757434"/>
                  <a:gd name="connsiteY1196" fmla="*/ 735013 h 2476500"/>
                  <a:gd name="connsiteX1197" fmla="*/ 812872 w 1757434"/>
                  <a:gd name="connsiteY1197" fmla="*/ 731838 h 2476500"/>
                  <a:gd name="connsiteX1198" fmla="*/ 796997 w 1757434"/>
                  <a:gd name="connsiteY1198" fmla="*/ 728663 h 2476500"/>
                  <a:gd name="connsiteX1199" fmla="*/ 784297 w 1757434"/>
                  <a:gd name="connsiteY1199" fmla="*/ 727075 h 2476500"/>
                  <a:gd name="connsiteX1200" fmla="*/ 793822 w 1757434"/>
                  <a:gd name="connsiteY1200" fmla="*/ 704850 h 2476500"/>
                  <a:gd name="connsiteX1201" fmla="*/ 801759 w 1757434"/>
                  <a:gd name="connsiteY1201" fmla="*/ 703263 h 2476500"/>
                  <a:gd name="connsiteX1202" fmla="*/ 813273 w 1757434"/>
                  <a:gd name="connsiteY1202" fmla="*/ 704702 h 2476500"/>
                  <a:gd name="connsiteX1203" fmla="*/ 812872 w 1757434"/>
                  <a:gd name="connsiteY1203" fmla="*/ 709613 h 2476500"/>
                  <a:gd name="connsiteX1204" fmla="*/ 814459 w 1757434"/>
                  <a:gd name="connsiteY1204" fmla="*/ 704850 h 2476500"/>
                  <a:gd name="connsiteX1205" fmla="*/ 813273 w 1757434"/>
                  <a:gd name="connsiteY1205" fmla="*/ 704702 h 2476500"/>
                  <a:gd name="connsiteX1206" fmla="*/ 814261 w 1757434"/>
                  <a:gd name="connsiteY1206" fmla="*/ 692608 h 2476500"/>
                  <a:gd name="connsiteX1207" fmla="*/ 816047 w 1757434"/>
                  <a:gd name="connsiteY1207" fmla="*/ 674688 h 2476500"/>
                  <a:gd name="connsiteX1208" fmla="*/ 823984 w 1757434"/>
                  <a:gd name="connsiteY1208" fmla="*/ 684213 h 2476500"/>
                  <a:gd name="connsiteX1209" fmla="*/ 827159 w 1757434"/>
                  <a:gd name="connsiteY1209" fmla="*/ 688975 h 2476500"/>
                  <a:gd name="connsiteX1210" fmla="*/ 830334 w 1757434"/>
                  <a:gd name="connsiteY1210" fmla="*/ 677863 h 2476500"/>
                  <a:gd name="connsiteX1211" fmla="*/ 846209 w 1757434"/>
                  <a:gd name="connsiteY1211" fmla="*/ 669925 h 2476500"/>
                  <a:gd name="connsiteX1212" fmla="*/ 850972 w 1757434"/>
                  <a:gd name="connsiteY1212" fmla="*/ 668338 h 2476500"/>
                  <a:gd name="connsiteX1213" fmla="*/ 850972 w 1757434"/>
                  <a:gd name="connsiteY1213" fmla="*/ 682625 h 2476500"/>
                  <a:gd name="connsiteX1214" fmla="*/ 857322 w 1757434"/>
                  <a:gd name="connsiteY1214" fmla="*/ 674688 h 2476500"/>
                  <a:gd name="connsiteX1215" fmla="*/ 863672 w 1757434"/>
                  <a:gd name="connsiteY1215" fmla="*/ 668338 h 2476500"/>
                  <a:gd name="connsiteX1216" fmla="*/ 865259 w 1757434"/>
                  <a:gd name="connsiteY1216" fmla="*/ 676275 h 2476500"/>
                  <a:gd name="connsiteX1217" fmla="*/ 868434 w 1757434"/>
                  <a:gd name="connsiteY1217" fmla="*/ 682625 h 2476500"/>
                  <a:gd name="connsiteX1218" fmla="*/ 871609 w 1757434"/>
                  <a:gd name="connsiteY1218" fmla="*/ 661988 h 2476500"/>
                  <a:gd name="connsiteX1219" fmla="*/ 876372 w 1757434"/>
                  <a:gd name="connsiteY1219" fmla="*/ 660400 h 2476500"/>
                  <a:gd name="connsiteX1220" fmla="*/ 877959 w 1757434"/>
                  <a:gd name="connsiteY1220" fmla="*/ 655638 h 2476500"/>
                  <a:gd name="connsiteX1221" fmla="*/ 876372 w 1757434"/>
                  <a:gd name="connsiteY1221" fmla="*/ 650875 h 2476500"/>
                  <a:gd name="connsiteX1222" fmla="*/ 874784 w 1757434"/>
                  <a:gd name="connsiteY1222" fmla="*/ 641350 h 2476500"/>
                  <a:gd name="connsiteX1223" fmla="*/ 870022 w 1757434"/>
                  <a:gd name="connsiteY1223" fmla="*/ 638175 h 2476500"/>
                  <a:gd name="connsiteX1224" fmla="*/ 870022 w 1757434"/>
                  <a:gd name="connsiteY1224" fmla="*/ 617538 h 2476500"/>
                  <a:gd name="connsiteX1225" fmla="*/ 873197 w 1757434"/>
                  <a:gd name="connsiteY1225" fmla="*/ 612775 h 2476500"/>
                  <a:gd name="connsiteX1226" fmla="*/ 874784 w 1757434"/>
                  <a:gd name="connsiteY1226" fmla="*/ 601663 h 2476500"/>
                  <a:gd name="connsiteX1227" fmla="*/ 879547 w 1757434"/>
                  <a:gd name="connsiteY1227" fmla="*/ 606425 h 2476500"/>
                  <a:gd name="connsiteX1228" fmla="*/ 882722 w 1757434"/>
                  <a:gd name="connsiteY1228" fmla="*/ 614363 h 2476500"/>
                  <a:gd name="connsiteX1229" fmla="*/ 887484 w 1757434"/>
                  <a:gd name="connsiteY1229" fmla="*/ 617538 h 2476500"/>
                  <a:gd name="connsiteX1230" fmla="*/ 892247 w 1757434"/>
                  <a:gd name="connsiteY1230" fmla="*/ 622300 h 2476500"/>
                  <a:gd name="connsiteX1231" fmla="*/ 903359 w 1757434"/>
                  <a:gd name="connsiteY1231" fmla="*/ 619125 h 2476500"/>
                  <a:gd name="connsiteX1232" fmla="*/ 914472 w 1757434"/>
                  <a:gd name="connsiteY1232" fmla="*/ 604838 h 2476500"/>
                  <a:gd name="connsiteX1233" fmla="*/ 916059 w 1757434"/>
                  <a:gd name="connsiteY1233" fmla="*/ 598488 h 2476500"/>
                  <a:gd name="connsiteX1234" fmla="*/ 920822 w 1757434"/>
                  <a:gd name="connsiteY1234" fmla="*/ 595313 h 2476500"/>
                  <a:gd name="connsiteX1235" fmla="*/ 923997 w 1757434"/>
                  <a:gd name="connsiteY1235" fmla="*/ 603250 h 2476500"/>
                  <a:gd name="connsiteX1236" fmla="*/ 928759 w 1757434"/>
                  <a:gd name="connsiteY1236" fmla="*/ 619125 h 2476500"/>
                  <a:gd name="connsiteX1237" fmla="*/ 933522 w 1757434"/>
                  <a:gd name="connsiteY1237" fmla="*/ 620713 h 2476500"/>
                  <a:gd name="connsiteX1238" fmla="*/ 935109 w 1757434"/>
                  <a:gd name="connsiteY1238" fmla="*/ 625475 h 2476500"/>
                  <a:gd name="connsiteX1239" fmla="*/ 936697 w 1757434"/>
                  <a:gd name="connsiteY1239" fmla="*/ 619125 h 2476500"/>
                  <a:gd name="connsiteX1240" fmla="*/ 938284 w 1757434"/>
                  <a:gd name="connsiteY1240" fmla="*/ 603250 h 2476500"/>
                  <a:gd name="connsiteX1241" fmla="*/ 950984 w 1757434"/>
                  <a:gd name="connsiteY1241" fmla="*/ 590550 h 2476500"/>
                  <a:gd name="connsiteX1242" fmla="*/ 949397 w 1757434"/>
                  <a:gd name="connsiteY1242" fmla="*/ 582613 h 2476500"/>
                  <a:gd name="connsiteX1243" fmla="*/ 936697 w 1757434"/>
                  <a:gd name="connsiteY1243" fmla="*/ 577850 h 2476500"/>
                  <a:gd name="connsiteX1244" fmla="*/ 911297 w 1757434"/>
                  <a:gd name="connsiteY1244" fmla="*/ 579438 h 2476500"/>
                  <a:gd name="connsiteX1245" fmla="*/ 895422 w 1757434"/>
                  <a:gd name="connsiteY1245" fmla="*/ 584200 h 2476500"/>
                  <a:gd name="connsiteX1246" fmla="*/ 887484 w 1757434"/>
                  <a:gd name="connsiteY1246" fmla="*/ 585788 h 2476500"/>
                  <a:gd name="connsiteX1247" fmla="*/ 863672 w 1757434"/>
                  <a:gd name="connsiteY1247" fmla="*/ 582613 h 2476500"/>
                  <a:gd name="connsiteX1248" fmla="*/ 868434 w 1757434"/>
                  <a:gd name="connsiteY1248" fmla="*/ 577850 h 2476500"/>
                  <a:gd name="connsiteX1249" fmla="*/ 876372 w 1757434"/>
                  <a:gd name="connsiteY1249" fmla="*/ 574675 h 2476500"/>
                  <a:gd name="connsiteX1250" fmla="*/ 881134 w 1757434"/>
                  <a:gd name="connsiteY1250" fmla="*/ 571500 h 2476500"/>
                  <a:gd name="connsiteX1251" fmla="*/ 882722 w 1757434"/>
                  <a:gd name="connsiteY1251" fmla="*/ 566738 h 2476500"/>
                  <a:gd name="connsiteX1252" fmla="*/ 887484 w 1757434"/>
                  <a:gd name="connsiteY1252" fmla="*/ 544513 h 2476500"/>
                  <a:gd name="connsiteX1253" fmla="*/ 892247 w 1757434"/>
                  <a:gd name="connsiteY1253" fmla="*/ 541338 h 2476500"/>
                  <a:gd name="connsiteX1254" fmla="*/ 898597 w 1757434"/>
                  <a:gd name="connsiteY1254" fmla="*/ 542925 h 2476500"/>
                  <a:gd name="connsiteX1255" fmla="*/ 911297 w 1757434"/>
                  <a:gd name="connsiteY1255" fmla="*/ 531813 h 2476500"/>
                  <a:gd name="connsiteX1256" fmla="*/ 919234 w 1757434"/>
                  <a:gd name="connsiteY1256" fmla="*/ 530225 h 2476500"/>
                  <a:gd name="connsiteX1257" fmla="*/ 925584 w 1757434"/>
                  <a:gd name="connsiteY1257" fmla="*/ 534988 h 2476500"/>
                  <a:gd name="connsiteX1258" fmla="*/ 928759 w 1757434"/>
                  <a:gd name="connsiteY1258" fmla="*/ 539750 h 2476500"/>
                  <a:gd name="connsiteX1259" fmla="*/ 935109 w 1757434"/>
                  <a:gd name="connsiteY1259" fmla="*/ 544513 h 2476500"/>
                  <a:gd name="connsiteX1260" fmla="*/ 947809 w 1757434"/>
                  <a:gd name="connsiteY1260" fmla="*/ 531813 h 2476500"/>
                  <a:gd name="connsiteX1261" fmla="*/ 952572 w 1757434"/>
                  <a:gd name="connsiteY1261" fmla="*/ 530225 h 2476500"/>
                  <a:gd name="connsiteX1262" fmla="*/ 955747 w 1757434"/>
                  <a:gd name="connsiteY1262" fmla="*/ 522288 h 2476500"/>
                  <a:gd name="connsiteX1263" fmla="*/ 955747 w 1757434"/>
                  <a:gd name="connsiteY1263" fmla="*/ 509588 h 2476500"/>
                  <a:gd name="connsiteX1264" fmla="*/ 950984 w 1757434"/>
                  <a:gd name="connsiteY1264" fmla="*/ 506413 h 2476500"/>
                  <a:gd name="connsiteX1265" fmla="*/ 939872 w 1757434"/>
                  <a:gd name="connsiteY1265" fmla="*/ 508000 h 2476500"/>
                  <a:gd name="connsiteX1266" fmla="*/ 920822 w 1757434"/>
                  <a:gd name="connsiteY1266" fmla="*/ 512763 h 2476500"/>
                  <a:gd name="connsiteX1267" fmla="*/ 919234 w 1757434"/>
                  <a:gd name="connsiteY1267" fmla="*/ 496888 h 2476500"/>
                  <a:gd name="connsiteX1268" fmla="*/ 925584 w 1757434"/>
                  <a:gd name="connsiteY1268" fmla="*/ 495300 h 2476500"/>
                  <a:gd name="connsiteX1269" fmla="*/ 914472 w 1757434"/>
                  <a:gd name="connsiteY1269" fmla="*/ 488950 h 2476500"/>
                  <a:gd name="connsiteX1270" fmla="*/ 908122 w 1757434"/>
                  <a:gd name="connsiteY1270" fmla="*/ 484188 h 2476500"/>
                  <a:gd name="connsiteX1271" fmla="*/ 912884 w 1757434"/>
                  <a:gd name="connsiteY1271" fmla="*/ 481013 h 2476500"/>
                  <a:gd name="connsiteX1272" fmla="*/ 916059 w 1757434"/>
                  <a:gd name="connsiteY1272" fmla="*/ 476250 h 2476500"/>
                  <a:gd name="connsiteX1273" fmla="*/ 920822 w 1757434"/>
                  <a:gd name="connsiteY1273" fmla="*/ 474663 h 2476500"/>
                  <a:gd name="connsiteX1274" fmla="*/ 935109 w 1757434"/>
                  <a:gd name="connsiteY1274" fmla="*/ 473075 h 2476500"/>
                  <a:gd name="connsiteX1275" fmla="*/ 941459 w 1757434"/>
                  <a:gd name="connsiteY1275" fmla="*/ 469900 h 2476500"/>
                  <a:gd name="connsiteX1276" fmla="*/ 958922 w 1757434"/>
                  <a:gd name="connsiteY1276" fmla="*/ 455613 h 2476500"/>
                  <a:gd name="connsiteX1277" fmla="*/ 958922 w 1757434"/>
                  <a:gd name="connsiteY1277" fmla="*/ 422275 h 2476500"/>
                  <a:gd name="connsiteX1278" fmla="*/ 965272 w 1757434"/>
                  <a:gd name="connsiteY1278" fmla="*/ 412750 h 2476500"/>
                  <a:gd name="connsiteX1279" fmla="*/ 968447 w 1757434"/>
                  <a:gd name="connsiteY1279" fmla="*/ 407988 h 2476500"/>
                  <a:gd name="connsiteX1280" fmla="*/ 974797 w 1757434"/>
                  <a:gd name="connsiteY1280" fmla="*/ 406400 h 2476500"/>
                  <a:gd name="connsiteX1281" fmla="*/ 985909 w 1757434"/>
                  <a:gd name="connsiteY1281" fmla="*/ 414338 h 2476500"/>
                  <a:gd name="connsiteX1282" fmla="*/ 981147 w 1757434"/>
                  <a:gd name="connsiteY1282" fmla="*/ 419100 h 2476500"/>
                  <a:gd name="connsiteX1283" fmla="*/ 982734 w 1757434"/>
                  <a:gd name="connsiteY1283" fmla="*/ 430213 h 2476500"/>
                  <a:gd name="connsiteX1284" fmla="*/ 989084 w 1757434"/>
                  <a:gd name="connsiteY1284" fmla="*/ 428625 h 2476500"/>
                  <a:gd name="connsiteX1285" fmla="*/ 1000197 w 1757434"/>
                  <a:gd name="connsiteY1285" fmla="*/ 422275 h 2476500"/>
                  <a:gd name="connsiteX1286" fmla="*/ 1006547 w 1757434"/>
                  <a:gd name="connsiteY1286" fmla="*/ 423863 h 2476500"/>
                  <a:gd name="connsiteX1287" fmla="*/ 1009722 w 1757434"/>
                  <a:gd name="connsiteY1287" fmla="*/ 430213 h 2476500"/>
                  <a:gd name="connsiteX1288" fmla="*/ 1016072 w 1757434"/>
                  <a:gd name="connsiteY1288" fmla="*/ 434975 h 2476500"/>
                  <a:gd name="connsiteX1289" fmla="*/ 1024009 w 1757434"/>
                  <a:gd name="connsiteY1289" fmla="*/ 425450 h 2476500"/>
                  <a:gd name="connsiteX1290" fmla="*/ 1027184 w 1757434"/>
                  <a:gd name="connsiteY1290" fmla="*/ 414338 h 2476500"/>
                  <a:gd name="connsiteX1291" fmla="*/ 1039884 w 1757434"/>
                  <a:gd name="connsiteY1291" fmla="*/ 419100 h 2476500"/>
                  <a:gd name="connsiteX1292" fmla="*/ 1041472 w 1757434"/>
                  <a:gd name="connsiteY1292" fmla="*/ 414338 h 2476500"/>
                  <a:gd name="connsiteX1293" fmla="*/ 1024009 w 1757434"/>
                  <a:gd name="connsiteY1293" fmla="*/ 412750 h 2476500"/>
                  <a:gd name="connsiteX1294" fmla="*/ 1009722 w 1757434"/>
                  <a:gd name="connsiteY1294" fmla="*/ 409575 h 2476500"/>
                  <a:gd name="connsiteX1295" fmla="*/ 1004959 w 1757434"/>
                  <a:gd name="connsiteY1295" fmla="*/ 403225 h 2476500"/>
                  <a:gd name="connsiteX1296" fmla="*/ 1004959 w 1757434"/>
                  <a:gd name="connsiteY1296" fmla="*/ 384175 h 2476500"/>
                  <a:gd name="connsiteX1297" fmla="*/ 1014484 w 1757434"/>
                  <a:gd name="connsiteY1297" fmla="*/ 382588 h 2476500"/>
                  <a:gd name="connsiteX1298" fmla="*/ 1019247 w 1757434"/>
                  <a:gd name="connsiteY1298" fmla="*/ 387350 h 2476500"/>
                  <a:gd name="connsiteX1299" fmla="*/ 1025597 w 1757434"/>
                  <a:gd name="connsiteY1299" fmla="*/ 388938 h 2476500"/>
                  <a:gd name="connsiteX1300" fmla="*/ 1028772 w 1757434"/>
                  <a:gd name="connsiteY1300" fmla="*/ 393700 h 2476500"/>
                  <a:gd name="connsiteX1301" fmla="*/ 1033534 w 1757434"/>
                  <a:gd name="connsiteY1301" fmla="*/ 395288 h 2476500"/>
                  <a:gd name="connsiteX1302" fmla="*/ 1038297 w 1757434"/>
                  <a:gd name="connsiteY1302" fmla="*/ 398463 h 2476500"/>
                  <a:gd name="connsiteX1303" fmla="*/ 1046234 w 1757434"/>
                  <a:gd name="connsiteY1303" fmla="*/ 412750 h 2476500"/>
                  <a:gd name="connsiteX1304" fmla="*/ 1050997 w 1757434"/>
                  <a:gd name="connsiteY1304" fmla="*/ 415925 h 2476500"/>
                  <a:gd name="connsiteX1305" fmla="*/ 1066872 w 1757434"/>
                  <a:gd name="connsiteY1305" fmla="*/ 414338 h 2476500"/>
                  <a:gd name="connsiteX1306" fmla="*/ 1060522 w 1757434"/>
                  <a:gd name="connsiteY1306" fmla="*/ 400050 h 2476500"/>
                  <a:gd name="connsiteX1307" fmla="*/ 1058934 w 1757434"/>
                  <a:gd name="connsiteY1307" fmla="*/ 387350 h 2476500"/>
                  <a:gd name="connsiteX1308" fmla="*/ 1062109 w 1757434"/>
                  <a:gd name="connsiteY1308" fmla="*/ 352425 h 2476500"/>
                  <a:gd name="connsiteX1309" fmla="*/ 1054172 w 1757434"/>
                  <a:gd name="connsiteY1309" fmla="*/ 349250 h 2476500"/>
                  <a:gd name="connsiteX1310" fmla="*/ 1036709 w 1757434"/>
                  <a:gd name="connsiteY1310" fmla="*/ 347663 h 2476500"/>
                  <a:gd name="connsiteX1311" fmla="*/ 1033534 w 1757434"/>
                  <a:gd name="connsiteY1311" fmla="*/ 342900 h 2476500"/>
                  <a:gd name="connsiteX1312" fmla="*/ 1035122 w 1757434"/>
                  <a:gd name="connsiteY1312" fmla="*/ 336550 h 2476500"/>
                  <a:gd name="connsiteX1313" fmla="*/ 1057347 w 1757434"/>
                  <a:gd name="connsiteY1313" fmla="*/ 328613 h 2476500"/>
                  <a:gd name="connsiteX1314" fmla="*/ 1068459 w 1757434"/>
                  <a:gd name="connsiteY1314" fmla="*/ 325438 h 2476500"/>
                  <a:gd name="connsiteX1315" fmla="*/ 1071634 w 1757434"/>
                  <a:gd name="connsiteY1315" fmla="*/ 344488 h 2476500"/>
                  <a:gd name="connsiteX1316" fmla="*/ 1074809 w 1757434"/>
                  <a:gd name="connsiteY1316" fmla="*/ 349250 h 2476500"/>
                  <a:gd name="connsiteX1317" fmla="*/ 1079572 w 1757434"/>
                  <a:gd name="connsiteY1317" fmla="*/ 360363 h 2476500"/>
                  <a:gd name="connsiteX1318" fmla="*/ 1076397 w 1757434"/>
                  <a:gd name="connsiteY1318" fmla="*/ 393700 h 2476500"/>
                  <a:gd name="connsiteX1319" fmla="*/ 1074809 w 1757434"/>
                  <a:gd name="connsiteY1319" fmla="*/ 398463 h 2476500"/>
                  <a:gd name="connsiteX1320" fmla="*/ 1079572 w 1757434"/>
                  <a:gd name="connsiteY1320" fmla="*/ 400050 h 2476500"/>
                  <a:gd name="connsiteX1321" fmla="*/ 1090684 w 1757434"/>
                  <a:gd name="connsiteY1321" fmla="*/ 392113 h 2476500"/>
                  <a:gd name="connsiteX1322" fmla="*/ 1093859 w 1757434"/>
                  <a:gd name="connsiteY1322" fmla="*/ 377825 h 2476500"/>
                  <a:gd name="connsiteX1323" fmla="*/ 1104972 w 1757434"/>
                  <a:gd name="connsiteY1323" fmla="*/ 368300 h 2476500"/>
                  <a:gd name="connsiteX1324" fmla="*/ 1111322 w 1757434"/>
                  <a:gd name="connsiteY1324" fmla="*/ 363538 h 2476500"/>
                  <a:gd name="connsiteX1325" fmla="*/ 1120847 w 1757434"/>
                  <a:gd name="connsiteY1325" fmla="*/ 361950 h 2476500"/>
                  <a:gd name="connsiteX1326" fmla="*/ 1125609 w 1757434"/>
                  <a:gd name="connsiteY1326" fmla="*/ 360363 h 2476500"/>
                  <a:gd name="connsiteX1327" fmla="*/ 1124022 w 1757434"/>
                  <a:gd name="connsiteY1327" fmla="*/ 355600 h 2476500"/>
                  <a:gd name="connsiteX1328" fmla="*/ 1114497 w 1757434"/>
                  <a:gd name="connsiteY1328" fmla="*/ 354013 h 2476500"/>
                  <a:gd name="connsiteX1329" fmla="*/ 1100209 w 1757434"/>
                  <a:gd name="connsiteY1329" fmla="*/ 349250 h 2476500"/>
                  <a:gd name="connsiteX1330" fmla="*/ 1106559 w 1757434"/>
                  <a:gd name="connsiteY1330" fmla="*/ 325438 h 2476500"/>
                  <a:gd name="connsiteX1331" fmla="*/ 1112909 w 1757434"/>
                  <a:gd name="connsiteY1331" fmla="*/ 322263 h 2476500"/>
                  <a:gd name="connsiteX1332" fmla="*/ 1116084 w 1757434"/>
                  <a:gd name="connsiteY1332" fmla="*/ 317500 h 2476500"/>
                  <a:gd name="connsiteX1333" fmla="*/ 1120847 w 1757434"/>
                  <a:gd name="connsiteY1333" fmla="*/ 311150 h 2476500"/>
                  <a:gd name="connsiteX1334" fmla="*/ 1119259 w 1757434"/>
                  <a:gd name="connsiteY1334" fmla="*/ 303213 h 2476500"/>
                  <a:gd name="connsiteX1335" fmla="*/ 1120847 w 1757434"/>
                  <a:gd name="connsiteY1335" fmla="*/ 292100 h 2476500"/>
                  <a:gd name="connsiteX1336" fmla="*/ 1124022 w 1757434"/>
                  <a:gd name="connsiteY1336" fmla="*/ 287338 h 2476500"/>
                  <a:gd name="connsiteX1337" fmla="*/ 1125609 w 1757434"/>
                  <a:gd name="connsiteY1337" fmla="*/ 280988 h 2476500"/>
                  <a:gd name="connsiteX1338" fmla="*/ 1130372 w 1757434"/>
                  <a:gd name="connsiteY1338" fmla="*/ 271463 h 2476500"/>
                  <a:gd name="connsiteX1339" fmla="*/ 1136722 w 1757434"/>
                  <a:gd name="connsiteY1339" fmla="*/ 284163 h 2476500"/>
                  <a:gd name="connsiteX1340" fmla="*/ 1138309 w 1757434"/>
                  <a:gd name="connsiteY1340" fmla="*/ 288925 h 2476500"/>
                  <a:gd name="connsiteX1341" fmla="*/ 1144659 w 1757434"/>
                  <a:gd name="connsiteY1341" fmla="*/ 296863 h 2476500"/>
                  <a:gd name="connsiteX1342" fmla="*/ 1151009 w 1757434"/>
                  <a:gd name="connsiteY1342" fmla="*/ 298450 h 2476500"/>
                  <a:gd name="connsiteX1343" fmla="*/ 1154184 w 1757434"/>
                  <a:gd name="connsiteY1343" fmla="*/ 309563 h 2476500"/>
                  <a:gd name="connsiteX1344" fmla="*/ 1173234 w 1757434"/>
                  <a:gd name="connsiteY1344" fmla="*/ 312738 h 2476500"/>
                  <a:gd name="connsiteX1345" fmla="*/ 1177997 w 1757434"/>
                  <a:gd name="connsiteY1345" fmla="*/ 314325 h 2476500"/>
                  <a:gd name="connsiteX1346" fmla="*/ 1187522 w 1757434"/>
                  <a:gd name="connsiteY1346" fmla="*/ 314325 h 2476500"/>
                  <a:gd name="connsiteX1347" fmla="*/ 1198634 w 1757434"/>
                  <a:gd name="connsiteY1347" fmla="*/ 315913 h 2476500"/>
                  <a:gd name="connsiteX1348" fmla="*/ 1197047 w 1757434"/>
                  <a:gd name="connsiteY1348" fmla="*/ 304800 h 2476500"/>
                  <a:gd name="connsiteX1349" fmla="*/ 1187522 w 1757434"/>
                  <a:gd name="connsiteY1349" fmla="*/ 292100 h 2476500"/>
                  <a:gd name="connsiteX1350" fmla="*/ 1181172 w 1757434"/>
                  <a:gd name="connsiteY1350" fmla="*/ 290513 h 2476500"/>
                  <a:gd name="connsiteX1351" fmla="*/ 1174822 w 1757434"/>
                  <a:gd name="connsiteY1351" fmla="*/ 284163 h 2476500"/>
                  <a:gd name="connsiteX1352" fmla="*/ 1173234 w 1757434"/>
                  <a:gd name="connsiteY1352" fmla="*/ 276225 h 2476500"/>
                  <a:gd name="connsiteX1353" fmla="*/ 1171647 w 1757434"/>
                  <a:gd name="connsiteY1353" fmla="*/ 271463 h 2476500"/>
                  <a:gd name="connsiteX1354" fmla="*/ 1160534 w 1757434"/>
                  <a:gd name="connsiteY1354" fmla="*/ 266700 h 2476500"/>
                  <a:gd name="connsiteX1355" fmla="*/ 1154184 w 1757434"/>
                  <a:gd name="connsiteY1355" fmla="*/ 260350 h 2476500"/>
                  <a:gd name="connsiteX1356" fmla="*/ 1139897 w 1757434"/>
                  <a:gd name="connsiteY1356" fmla="*/ 257175 h 2476500"/>
                  <a:gd name="connsiteX1357" fmla="*/ 1141484 w 1757434"/>
                  <a:gd name="connsiteY1357" fmla="*/ 234950 h 2476500"/>
                  <a:gd name="connsiteX1358" fmla="*/ 1154184 w 1757434"/>
                  <a:gd name="connsiteY1358" fmla="*/ 244475 h 2476500"/>
                  <a:gd name="connsiteX1359" fmla="*/ 1152597 w 1757434"/>
                  <a:gd name="connsiteY1359" fmla="*/ 230188 h 2476500"/>
                  <a:gd name="connsiteX1360" fmla="*/ 1144659 w 1757434"/>
                  <a:gd name="connsiteY1360" fmla="*/ 215900 h 2476500"/>
                  <a:gd name="connsiteX1361" fmla="*/ 1146247 w 1757434"/>
                  <a:gd name="connsiteY1361" fmla="*/ 207963 h 2476500"/>
                  <a:gd name="connsiteX1362" fmla="*/ 1154184 w 1757434"/>
                  <a:gd name="connsiteY1362" fmla="*/ 206375 h 2476500"/>
                  <a:gd name="connsiteX1363" fmla="*/ 1170059 w 1757434"/>
                  <a:gd name="connsiteY1363" fmla="*/ 234950 h 2476500"/>
                  <a:gd name="connsiteX1364" fmla="*/ 1174822 w 1757434"/>
                  <a:gd name="connsiteY1364" fmla="*/ 225425 h 2476500"/>
                  <a:gd name="connsiteX1365" fmla="*/ 1179584 w 1757434"/>
                  <a:gd name="connsiteY1365" fmla="*/ 219075 h 2476500"/>
                  <a:gd name="connsiteX1366" fmla="*/ 1184347 w 1757434"/>
                  <a:gd name="connsiteY1366" fmla="*/ 217488 h 2476500"/>
                  <a:gd name="connsiteX1367" fmla="*/ 1185934 w 1757434"/>
                  <a:gd name="connsiteY1367" fmla="*/ 227013 h 2476500"/>
                  <a:gd name="connsiteX1368" fmla="*/ 1187522 w 1757434"/>
                  <a:gd name="connsiteY1368" fmla="*/ 234950 h 2476500"/>
                  <a:gd name="connsiteX1369" fmla="*/ 1189109 w 1757434"/>
                  <a:gd name="connsiteY1369" fmla="*/ 230188 h 2476500"/>
                  <a:gd name="connsiteX1370" fmla="*/ 1195459 w 1757434"/>
                  <a:gd name="connsiteY1370" fmla="*/ 225425 h 2476500"/>
                  <a:gd name="connsiteX1371" fmla="*/ 1195459 w 1757434"/>
                  <a:gd name="connsiteY1371" fmla="*/ 244475 h 2476500"/>
                  <a:gd name="connsiteX1372" fmla="*/ 1203397 w 1757434"/>
                  <a:gd name="connsiteY1372" fmla="*/ 242888 h 2476500"/>
                  <a:gd name="connsiteX1373" fmla="*/ 1204984 w 1757434"/>
                  <a:gd name="connsiteY1373" fmla="*/ 233363 h 2476500"/>
                  <a:gd name="connsiteX1374" fmla="*/ 1220859 w 1757434"/>
                  <a:gd name="connsiteY1374" fmla="*/ 230188 h 2476500"/>
                  <a:gd name="connsiteX1375" fmla="*/ 1216097 w 1757434"/>
                  <a:gd name="connsiteY1375" fmla="*/ 247650 h 2476500"/>
                  <a:gd name="connsiteX1376" fmla="*/ 1217684 w 1757434"/>
                  <a:gd name="connsiteY1376" fmla="*/ 254000 h 2476500"/>
                  <a:gd name="connsiteX1377" fmla="*/ 1227209 w 1757434"/>
                  <a:gd name="connsiteY1377" fmla="*/ 252413 h 2476500"/>
                  <a:gd name="connsiteX1378" fmla="*/ 1228797 w 1757434"/>
                  <a:gd name="connsiteY1378" fmla="*/ 247650 h 2476500"/>
                  <a:gd name="connsiteX1379" fmla="*/ 1233559 w 1757434"/>
                  <a:gd name="connsiteY1379" fmla="*/ 249238 h 2476500"/>
                  <a:gd name="connsiteX1380" fmla="*/ 1247847 w 1757434"/>
                  <a:gd name="connsiteY1380" fmla="*/ 255588 h 2476500"/>
                  <a:gd name="connsiteX1381" fmla="*/ 1252609 w 1757434"/>
                  <a:gd name="connsiteY1381" fmla="*/ 268288 h 2476500"/>
                  <a:gd name="connsiteX1382" fmla="*/ 1257372 w 1757434"/>
                  <a:gd name="connsiteY1382" fmla="*/ 269875 h 2476500"/>
                  <a:gd name="connsiteX1383" fmla="*/ 1262134 w 1757434"/>
                  <a:gd name="connsiteY1383" fmla="*/ 268288 h 2476500"/>
                  <a:gd name="connsiteX1384" fmla="*/ 1266897 w 1757434"/>
                  <a:gd name="connsiteY1384" fmla="*/ 269875 h 2476500"/>
                  <a:gd name="connsiteX1385" fmla="*/ 1270072 w 1757434"/>
                  <a:gd name="connsiteY1385" fmla="*/ 265113 h 2476500"/>
                  <a:gd name="connsiteX1386" fmla="*/ 1265309 w 1757434"/>
                  <a:gd name="connsiteY1386" fmla="*/ 254000 h 2476500"/>
                  <a:gd name="connsiteX1387" fmla="*/ 1260547 w 1757434"/>
                  <a:gd name="connsiteY1387" fmla="*/ 250825 h 2476500"/>
                  <a:gd name="connsiteX1388" fmla="*/ 1257372 w 1757434"/>
                  <a:gd name="connsiteY1388" fmla="*/ 246063 h 2476500"/>
                  <a:gd name="connsiteX1389" fmla="*/ 1260547 w 1757434"/>
                  <a:gd name="connsiteY1389" fmla="*/ 239713 h 2476500"/>
                  <a:gd name="connsiteX1390" fmla="*/ 1266897 w 1757434"/>
                  <a:gd name="connsiteY1390" fmla="*/ 231775 h 2476500"/>
                  <a:gd name="connsiteX1391" fmla="*/ 1254197 w 1757434"/>
                  <a:gd name="connsiteY1391" fmla="*/ 231775 h 2476500"/>
                  <a:gd name="connsiteX1392" fmla="*/ 1246259 w 1757434"/>
                  <a:gd name="connsiteY1392" fmla="*/ 230188 h 2476500"/>
                  <a:gd name="connsiteX1393" fmla="*/ 1251022 w 1757434"/>
                  <a:gd name="connsiteY1393" fmla="*/ 223838 h 2476500"/>
                  <a:gd name="connsiteX1394" fmla="*/ 1260547 w 1757434"/>
                  <a:gd name="connsiteY1394" fmla="*/ 220663 h 2476500"/>
                  <a:gd name="connsiteX1395" fmla="*/ 1266897 w 1757434"/>
                  <a:gd name="connsiteY1395" fmla="*/ 217488 h 2476500"/>
                  <a:gd name="connsiteX1396" fmla="*/ 1263722 w 1757434"/>
                  <a:gd name="connsiteY1396" fmla="*/ 212725 h 2476500"/>
                  <a:gd name="connsiteX1397" fmla="*/ 1255784 w 1757434"/>
                  <a:gd name="connsiteY1397" fmla="*/ 206375 h 2476500"/>
                  <a:gd name="connsiteX1398" fmla="*/ 1263722 w 1757434"/>
                  <a:gd name="connsiteY1398" fmla="*/ 196850 h 2476500"/>
                  <a:gd name="connsiteX1399" fmla="*/ 1274834 w 1757434"/>
                  <a:gd name="connsiteY1399" fmla="*/ 192088 h 2476500"/>
                  <a:gd name="connsiteX1400" fmla="*/ 1282772 w 1757434"/>
                  <a:gd name="connsiteY1400" fmla="*/ 174625 h 2476500"/>
                  <a:gd name="connsiteX1401" fmla="*/ 1284359 w 1757434"/>
                  <a:gd name="connsiteY1401" fmla="*/ 169863 h 2476500"/>
                  <a:gd name="connsiteX1402" fmla="*/ 1290709 w 1757434"/>
                  <a:gd name="connsiteY1402" fmla="*/ 168275 h 2476500"/>
                  <a:gd name="connsiteX1403" fmla="*/ 1301822 w 1757434"/>
                  <a:gd name="connsiteY1403" fmla="*/ 166688 h 2476500"/>
                  <a:gd name="connsiteX1404" fmla="*/ 1295472 w 1757434"/>
                  <a:gd name="connsiteY1404" fmla="*/ 165100 h 2476500"/>
                  <a:gd name="connsiteX1405" fmla="*/ 1290709 w 1757434"/>
                  <a:gd name="connsiteY1405" fmla="*/ 150813 h 2476500"/>
                  <a:gd name="connsiteX1406" fmla="*/ 1306584 w 1757434"/>
                  <a:gd name="connsiteY1406" fmla="*/ 142875 h 2476500"/>
                  <a:gd name="connsiteX1407" fmla="*/ 1319284 w 1757434"/>
                  <a:gd name="connsiteY1407" fmla="*/ 138113 h 2476500"/>
                  <a:gd name="connsiteX1408" fmla="*/ 1322459 w 1757434"/>
                  <a:gd name="connsiteY1408" fmla="*/ 133350 h 2476500"/>
                  <a:gd name="connsiteX1409" fmla="*/ 1309759 w 1757434"/>
                  <a:gd name="connsiteY1409" fmla="*/ 125413 h 2476500"/>
                  <a:gd name="connsiteX1410" fmla="*/ 1304997 w 1757434"/>
                  <a:gd name="connsiteY1410" fmla="*/ 123825 h 2476500"/>
                  <a:gd name="connsiteX1411" fmla="*/ 1293884 w 1757434"/>
                  <a:gd name="connsiteY1411" fmla="*/ 104775 h 2476500"/>
                  <a:gd name="connsiteX1412" fmla="*/ 1287534 w 1757434"/>
                  <a:gd name="connsiteY1412" fmla="*/ 103188 h 2476500"/>
                  <a:gd name="connsiteX1413" fmla="*/ 1279597 w 1757434"/>
                  <a:gd name="connsiteY1413" fmla="*/ 100013 h 2476500"/>
                  <a:gd name="connsiteX1414" fmla="*/ 1282772 w 1757434"/>
                  <a:gd name="connsiteY1414" fmla="*/ 90488 h 2476500"/>
                  <a:gd name="connsiteX1415" fmla="*/ 1290709 w 1757434"/>
                  <a:gd name="connsiteY1415" fmla="*/ 88900 h 2476500"/>
                  <a:gd name="connsiteX1416" fmla="*/ 1297059 w 1757434"/>
                  <a:gd name="connsiteY1416" fmla="*/ 87313 h 2476500"/>
                  <a:gd name="connsiteX1417" fmla="*/ 1301822 w 1757434"/>
                  <a:gd name="connsiteY1417" fmla="*/ 85725 h 2476500"/>
                  <a:gd name="connsiteX1418" fmla="*/ 1312934 w 1757434"/>
                  <a:gd name="connsiteY1418" fmla="*/ 84138 h 2476500"/>
                  <a:gd name="connsiteX1419" fmla="*/ 1306584 w 1757434"/>
                  <a:gd name="connsiteY1419" fmla="*/ 73025 h 2476500"/>
                  <a:gd name="connsiteX1420" fmla="*/ 1311347 w 1757434"/>
                  <a:gd name="connsiteY1420" fmla="*/ 68263 h 2476500"/>
                  <a:gd name="connsiteX1421" fmla="*/ 1317697 w 1757434"/>
                  <a:gd name="connsiteY1421" fmla="*/ 66675 h 2476500"/>
                  <a:gd name="connsiteX1422" fmla="*/ 1327222 w 1757434"/>
                  <a:gd name="connsiteY1422" fmla="*/ 68263 h 2476500"/>
                  <a:gd name="connsiteX1423" fmla="*/ 1331984 w 1757434"/>
                  <a:gd name="connsiteY1423" fmla="*/ 79375 h 2476500"/>
                  <a:gd name="connsiteX1424" fmla="*/ 1336747 w 1757434"/>
                  <a:gd name="connsiteY1424" fmla="*/ 80963 h 2476500"/>
                  <a:gd name="connsiteX1425" fmla="*/ 1347859 w 1757434"/>
                  <a:gd name="connsiteY1425" fmla="*/ 77788 h 2476500"/>
                  <a:gd name="connsiteX1426" fmla="*/ 1351034 w 1757434"/>
                  <a:gd name="connsiteY1426" fmla="*/ 73025 h 2476500"/>
                  <a:gd name="connsiteX1427" fmla="*/ 1357384 w 1757434"/>
                  <a:gd name="connsiteY1427" fmla="*/ 68263 h 2476500"/>
                  <a:gd name="connsiteX1428" fmla="*/ 1363734 w 1757434"/>
                  <a:gd name="connsiteY1428" fmla="*/ 85725 h 2476500"/>
                  <a:gd name="connsiteX1429" fmla="*/ 1370084 w 1757434"/>
                  <a:gd name="connsiteY1429" fmla="*/ 82550 h 2476500"/>
                  <a:gd name="connsiteX1430" fmla="*/ 1384372 w 1757434"/>
                  <a:gd name="connsiteY1430" fmla="*/ 74613 h 2476500"/>
                  <a:gd name="connsiteX1431" fmla="*/ 1387547 w 1757434"/>
                  <a:gd name="connsiteY1431" fmla="*/ 82550 h 2476500"/>
                  <a:gd name="connsiteX1432" fmla="*/ 1376434 w 1757434"/>
                  <a:gd name="connsiteY1432" fmla="*/ 101600 h 2476500"/>
                  <a:gd name="connsiteX1433" fmla="*/ 1374847 w 1757434"/>
                  <a:gd name="connsiteY1433" fmla="*/ 107950 h 2476500"/>
                  <a:gd name="connsiteX1434" fmla="*/ 1363734 w 1757434"/>
                  <a:gd name="connsiteY1434" fmla="*/ 115888 h 2476500"/>
                  <a:gd name="connsiteX1435" fmla="*/ 1362147 w 1757434"/>
                  <a:gd name="connsiteY1435" fmla="*/ 136525 h 2476500"/>
                  <a:gd name="connsiteX1436" fmla="*/ 1358972 w 1757434"/>
                  <a:gd name="connsiteY1436" fmla="*/ 141288 h 2476500"/>
                  <a:gd name="connsiteX1437" fmla="*/ 1357384 w 1757434"/>
                  <a:gd name="connsiteY1437" fmla="*/ 146050 h 2476500"/>
                  <a:gd name="connsiteX1438" fmla="*/ 1354209 w 1757434"/>
                  <a:gd name="connsiteY1438" fmla="*/ 152400 h 2476500"/>
                  <a:gd name="connsiteX1439" fmla="*/ 1360559 w 1757434"/>
                  <a:gd name="connsiteY1439" fmla="*/ 150813 h 2476500"/>
                  <a:gd name="connsiteX1440" fmla="*/ 1371672 w 1757434"/>
                  <a:gd name="connsiteY1440" fmla="*/ 146050 h 2476500"/>
                  <a:gd name="connsiteX1441" fmla="*/ 1368497 w 1757434"/>
                  <a:gd name="connsiteY1441" fmla="*/ 155575 h 2476500"/>
                  <a:gd name="connsiteX1442" fmla="*/ 1363734 w 1757434"/>
                  <a:gd name="connsiteY1442" fmla="*/ 160338 h 2476500"/>
                  <a:gd name="connsiteX1443" fmla="*/ 1358972 w 1757434"/>
                  <a:gd name="connsiteY1443" fmla="*/ 174625 h 2476500"/>
                  <a:gd name="connsiteX1444" fmla="*/ 1357384 w 1757434"/>
                  <a:gd name="connsiteY1444" fmla="*/ 179388 h 2476500"/>
                  <a:gd name="connsiteX1445" fmla="*/ 1355797 w 1757434"/>
                  <a:gd name="connsiteY1445" fmla="*/ 184150 h 2476500"/>
                  <a:gd name="connsiteX1446" fmla="*/ 1355797 w 1757434"/>
                  <a:gd name="connsiteY1446" fmla="*/ 212725 h 2476500"/>
                  <a:gd name="connsiteX1447" fmla="*/ 1363734 w 1757434"/>
                  <a:gd name="connsiteY1447" fmla="*/ 219075 h 2476500"/>
                  <a:gd name="connsiteX1448" fmla="*/ 1371672 w 1757434"/>
                  <a:gd name="connsiteY1448" fmla="*/ 217488 h 2476500"/>
                  <a:gd name="connsiteX1449" fmla="*/ 1374847 w 1757434"/>
                  <a:gd name="connsiteY1449" fmla="*/ 203200 h 2476500"/>
                  <a:gd name="connsiteX1450" fmla="*/ 1379609 w 1757434"/>
                  <a:gd name="connsiteY1450" fmla="*/ 198438 h 2476500"/>
                  <a:gd name="connsiteX1451" fmla="*/ 1385959 w 1757434"/>
                  <a:gd name="connsiteY1451" fmla="*/ 176213 h 2476500"/>
                  <a:gd name="connsiteX1452" fmla="*/ 1387547 w 1757434"/>
                  <a:gd name="connsiteY1452" fmla="*/ 150813 h 2476500"/>
                  <a:gd name="connsiteX1453" fmla="*/ 1392309 w 1757434"/>
                  <a:gd name="connsiteY1453" fmla="*/ 141288 h 2476500"/>
                  <a:gd name="connsiteX1454" fmla="*/ 1393897 w 1757434"/>
                  <a:gd name="connsiteY1454" fmla="*/ 111125 h 2476500"/>
                  <a:gd name="connsiteX1455" fmla="*/ 1395484 w 1757434"/>
                  <a:gd name="connsiteY1455" fmla="*/ 104775 h 2476500"/>
                  <a:gd name="connsiteX1456" fmla="*/ 1398659 w 1757434"/>
                  <a:gd name="connsiteY1456" fmla="*/ 100013 h 2476500"/>
                  <a:gd name="connsiteX1457" fmla="*/ 1405009 w 1757434"/>
                  <a:gd name="connsiteY1457" fmla="*/ 96838 h 2476500"/>
                  <a:gd name="connsiteX1458" fmla="*/ 1405009 w 1757434"/>
                  <a:gd name="connsiteY1458" fmla="*/ 79375 h 2476500"/>
                  <a:gd name="connsiteX1459" fmla="*/ 1406597 w 1757434"/>
                  <a:gd name="connsiteY1459" fmla="*/ 71438 h 2476500"/>
                  <a:gd name="connsiteX1460" fmla="*/ 1408184 w 1757434"/>
                  <a:gd name="connsiteY1460" fmla="*/ 61913 h 2476500"/>
                  <a:gd name="connsiteX1461" fmla="*/ 1416122 w 1757434"/>
                  <a:gd name="connsiteY1461" fmla="*/ 50800 h 2476500"/>
                  <a:gd name="connsiteX1462" fmla="*/ 1424059 w 1757434"/>
                  <a:gd name="connsiteY1462" fmla="*/ 69850 h 2476500"/>
                  <a:gd name="connsiteX1463" fmla="*/ 1435172 w 1757434"/>
                  <a:gd name="connsiteY1463" fmla="*/ 71438 h 2476500"/>
                  <a:gd name="connsiteX1464" fmla="*/ 1430409 w 1757434"/>
                  <a:gd name="connsiteY1464" fmla="*/ 87313 h 2476500"/>
                  <a:gd name="connsiteX1465" fmla="*/ 1428822 w 1757434"/>
                  <a:gd name="connsiteY1465" fmla="*/ 93663 h 2476500"/>
                  <a:gd name="connsiteX1466" fmla="*/ 1424059 w 1757434"/>
                  <a:gd name="connsiteY1466" fmla="*/ 100013 h 2476500"/>
                  <a:gd name="connsiteX1467" fmla="*/ 1425647 w 1757434"/>
                  <a:gd name="connsiteY1467" fmla="*/ 115888 h 2476500"/>
                  <a:gd name="connsiteX1468" fmla="*/ 1435172 w 1757434"/>
                  <a:gd name="connsiteY1468" fmla="*/ 117475 h 2476500"/>
                  <a:gd name="connsiteX1469" fmla="*/ 1436759 w 1757434"/>
                  <a:gd name="connsiteY1469" fmla="*/ 122238 h 2476500"/>
                  <a:gd name="connsiteX1470" fmla="*/ 1441522 w 1757434"/>
                  <a:gd name="connsiteY1470" fmla="*/ 149225 h 2476500"/>
                  <a:gd name="connsiteX1471" fmla="*/ 1446284 w 1757434"/>
                  <a:gd name="connsiteY1471" fmla="*/ 144463 h 2476500"/>
                  <a:gd name="connsiteX1472" fmla="*/ 1449459 w 1757434"/>
                  <a:gd name="connsiteY1472" fmla="*/ 139700 h 2476500"/>
                  <a:gd name="connsiteX1473" fmla="*/ 1460572 w 1757434"/>
                  <a:gd name="connsiteY1473" fmla="*/ 130175 h 2476500"/>
                  <a:gd name="connsiteX1474" fmla="*/ 1465334 w 1757434"/>
                  <a:gd name="connsiteY1474" fmla="*/ 128588 h 2476500"/>
                  <a:gd name="connsiteX1475" fmla="*/ 1470097 w 1757434"/>
                  <a:gd name="connsiteY1475" fmla="*/ 119063 h 2476500"/>
                  <a:gd name="connsiteX1476" fmla="*/ 1471684 w 1757434"/>
                  <a:gd name="connsiteY1476" fmla="*/ 114300 h 2476500"/>
                  <a:gd name="connsiteX1477" fmla="*/ 1462159 w 1757434"/>
                  <a:gd name="connsiteY1477" fmla="*/ 107950 h 2476500"/>
                  <a:gd name="connsiteX1478" fmla="*/ 1463747 w 1757434"/>
                  <a:gd name="connsiteY1478" fmla="*/ 103188 h 2476500"/>
                  <a:gd name="connsiteX1479" fmla="*/ 1471684 w 1757434"/>
                  <a:gd name="connsiteY1479" fmla="*/ 101600 h 2476500"/>
                  <a:gd name="connsiteX1480" fmla="*/ 1478034 w 1757434"/>
                  <a:gd name="connsiteY1480" fmla="*/ 100013 h 2476500"/>
                  <a:gd name="connsiteX1481" fmla="*/ 1476447 w 1757434"/>
                  <a:gd name="connsiteY1481" fmla="*/ 95250 h 2476500"/>
                  <a:gd name="connsiteX1482" fmla="*/ 1471684 w 1757434"/>
                  <a:gd name="connsiteY1482" fmla="*/ 90488 h 2476500"/>
                  <a:gd name="connsiteX1483" fmla="*/ 1468509 w 1757434"/>
                  <a:gd name="connsiteY1483" fmla="*/ 85725 h 2476500"/>
                  <a:gd name="connsiteX1484" fmla="*/ 1470097 w 1757434"/>
                  <a:gd name="connsiteY1484" fmla="*/ 73025 h 2476500"/>
                  <a:gd name="connsiteX1485" fmla="*/ 1473272 w 1757434"/>
                  <a:gd name="connsiteY1485" fmla="*/ 66675 h 2476500"/>
                  <a:gd name="connsiteX1486" fmla="*/ 1471684 w 1757434"/>
                  <a:gd name="connsiteY1486" fmla="*/ 58738 h 2476500"/>
                  <a:gd name="connsiteX1487" fmla="*/ 1473272 w 1757434"/>
                  <a:gd name="connsiteY1487" fmla="*/ 53975 h 2476500"/>
                  <a:gd name="connsiteX1488" fmla="*/ 1481209 w 1757434"/>
                  <a:gd name="connsiteY1488" fmla="*/ 52388 h 2476500"/>
                  <a:gd name="connsiteX1489" fmla="*/ 1476447 w 1757434"/>
                  <a:gd name="connsiteY1489" fmla="*/ 47625 h 2476500"/>
                  <a:gd name="connsiteX1490" fmla="*/ 1465334 w 1757434"/>
                  <a:gd name="connsiteY1490" fmla="*/ 44450 h 2476500"/>
                  <a:gd name="connsiteX1491" fmla="*/ 1460572 w 1757434"/>
                  <a:gd name="connsiteY1491" fmla="*/ 41275 h 2476500"/>
                  <a:gd name="connsiteX1492" fmla="*/ 1458984 w 1757434"/>
                  <a:gd name="connsiteY1492" fmla="*/ 26988 h 2476500"/>
                  <a:gd name="connsiteX1493" fmla="*/ 1463747 w 1757434"/>
                  <a:gd name="connsiteY1493" fmla="*/ 23813 h 2476500"/>
                  <a:gd name="connsiteX1494" fmla="*/ 1470097 w 1757434"/>
                  <a:gd name="connsiteY1494" fmla="*/ 19050 h 2476500"/>
                  <a:gd name="connsiteX1495" fmla="*/ 1474859 w 1757434"/>
                  <a:gd name="connsiteY1495" fmla="*/ 28575 h 2476500"/>
                  <a:gd name="connsiteX1496" fmla="*/ 1479622 w 1757434"/>
                  <a:gd name="connsiteY1496" fmla="*/ 20638 h 2476500"/>
                  <a:gd name="connsiteX1497" fmla="*/ 1481209 w 1757434"/>
                  <a:gd name="connsiteY1497" fmla="*/ 3175 h 2476500"/>
                  <a:gd name="connsiteX1498" fmla="*/ 1487559 w 1757434"/>
                  <a:gd name="connsiteY1498" fmla="*/ 0 h 2476500"/>
                  <a:gd name="connsiteX0" fmla="*/ 569984 w 1757434"/>
                  <a:gd name="connsiteY0" fmla="*/ 1338263 h 2476500"/>
                  <a:gd name="connsiteX1" fmla="*/ 557284 w 1757434"/>
                  <a:gd name="connsiteY1" fmla="*/ 1349375 h 2476500"/>
                  <a:gd name="connsiteX2" fmla="*/ 547759 w 1757434"/>
                  <a:gd name="connsiteY2" fmla="*/ 1362075 h 2476500"/>
                  <a:gd name="connsiteX3" fmla="*/ 538234 w 1757434"/>
                  <a:gd name="connsiteY3" fmla="*/ 1382713 h 2476500"/>
                  <a:gd name="connsiteX4" fmla="*/ 536647 w 1757434"/>
                  <a:gd name="connsiteY4" fmla="*/ 1389063 h 2476500"/>
                  <a:gd name="connsiteX5" fmla="*/ 533472 w 1757434"/>
                  <a:gd name="connsiteY5" fmla="*/ 1404938 h 2476500"/>
                  <a:gd name="connsiteX6" fmla="*/ 523947 w 1757434"/>
                  <a:gd name="connsiteY6" fmla="*/ 1406525 h 2476500"/>
                  <a:gd name="connsiteX7" fmla="*/ 514422 w 1757434"/>
                  <a:gd name="connsiteY7" fmla="*/ 1411288 h 2476500"/>
                  <a:gd name="connsiteX8" fmla="*/ 503309 w 1757434"/>
                  <a:gd name="connsiteY8" fmla="*/ 1416050 h 2476500"/>
                  <a:gd name="connsiteX9" fmla="*/ 500134 w 1757434"/>
                  <a:gd name="connsiteY9" fmla="*/ 1423988 h 2476500"/>
                  <a:gd name="connsiteX10" fmla="*/ 498547 w 1757434"/>
                  <a:gd name="connsiteY10" fmla="*/ 1431925 h 2476500"/>
                  <a:gd name="connsiteX11" fmla="*/ 484259 w 1757434"/>
                  <a:gd name="connsiteY11" fmla="*/ 1438275 h 2476500"/>
                  <a:gd name="connsiteX12" fmla="*/ 495372 w 1757434"/>
                  <a:gd name="connsiteY12" fmla="*/ 1439863 h 2476500"/>
                  <a:gd name="connsiteX13" fmla="*/ 512834 w 1757434"/>
                  <a:gd name="connsiteY13" fmla="*/ 1436688 h 2476500"/>
                  <a:gd name="connsiteX14" fmla="*/ 516009 w 1757434"/>
                  <a:gd name="connsiteY14" fmla="*/ 1441450 h 2476500"/>
                  <a:gd name="connsiteX15" fmla="*/ 508072 w 1757434"/>
                  <a:gd name="connsiteY15" fmla="*/ 1454150 h 2476500"/>
                  <a:gd name="connsiteX16" fmla="*/ 496959 w 1757434"/>
                  <a:gd name="connsiteY16" fmla="*/ 1468438 h 2476500"/>
                  <a:gd name="connsiteX17" fmla="*/ 490609 w 1757434"/>
                  <a:gd name="connsiteY17" fmla="*/ 1471613 h 2476500"/>
                  <a:gd name="connsiteX18" fmla="*/ 473147 w 1757434"/>
                  <a:gd name="connsiteY18" fmla="*/ 1481138 h 2476500"/>
                  <a:gd name="connsiteX19" fmla="*/ 466797 w 1757434"/>
                  <a:gd name="connsiteY19" fmla="*/ 1489075 h 2476500"/>
                  <a:gd name="connsiteX20" fmla="*/ 462034 w 1757434"/>
                  <a:gd name="connsiteY20" fmla="*/ 1490663 h 2476500"/>
                  <a:gd name="connsiteX21" fmla="*/ 454097 w 1757434"/>
                  <a:gd name="connsiteY21" fmla="*/ 1497013 h 2476500"/>
                  <a:gd name="connsiteX22" fmla="*/ 446159 w 1757434"/>
                  <a:gd name="connsiteY22" fmla="*/ 1504950 h 2476500"/>
                  <a:gd name="connsiteX23" fmla="*/ 439809 w 1757434"/>
                  <a:gd name="connsiteY23" fmla="*/ 1500188 h 2476500"/>
                  <a:gd name="connsiteX24" fmla="*/ 436315 w 1757434"/>
                  <a:gd name="connsiteY24" fmla="*/ 1499023 h 2476500"/>
                  <a:gd name="connsiteX25" fmla="*/ 438112 w 1757434"/>
                  <a:gd name="connsiteY25" fmla="*/ 1502403 h 2476500"/>
                  <a:gd name="connsiteX26" fmla="*/ 441397 w 1757434"/>
                  <a:gd name="connsiteY26" fmla="*/ 1509713 h 2476500"/>
                  <a:gd name="connsiteX27" fmla="*/ 444572 w 1757434"/>
                  <a:gd name="connsiteY27" fmla="*/ 1520825 h 2476500"/>
                  <a:gd name="connsiteX28" fmla="*/ 447747 w 1757434"/>
                  <a:gd name="connsiteY28" fmla="*/ 1525588 h 2476500"/>
                  <a:gd name="connsiteX29" fmla="*/ 455684 w 1757434"/>
                  <a:gd name="connsiteY29" fmla="*/ 1528763 h 2476500"/>
                  <a:gd name="connsiteX30" fmla="*/ 463622 w 1757434"/>
                  <a:gd name="connsiteY30" fmla="*/ 1533525 h 2476500"/>
                  <a:gd name="connsiteX31" fmla="*/ 466797 w 1757434"/>
                  <a:gd name="connsiteY31" fmla="*/ 1544638 h 2476500"/>
                  <a:gd name="connsiteX32" fmla="*/ 471559 w 1757434"/>
                  <a:gd name="connsiteY32" fmla="*/ 1546225 h 2476500"/>
                  <a:gd name="connsiteX33" fmla="*/ 469972 w 1757434"/>
                  <a:gd name="connsiteY33" fmla="*/ 1531938 h 2476500"/>
                  <a:gd name="connsiteX34" fmla="*/ 465209 w 1757434"/>
                  <a:gd name="connsiteY34" fmla="*/ 1527175 h 2476500"/>
                  <a:gd name="connsiteX35" fmla="*/ 460447 w 1757434"/>
                  <a:gd name="connsiteY35" fmla="*/ 1520825 h 2476500"/>
                  <a:gd name="connsiteX36" fmla="*/ 466797 w 1757434"/>
                  <a:gd name="connsiteY36" fmla="*/ 1506538 h 2476500"/>
                  <a:gd name="connsiteX37" fmla="*/ 471559 w 1757434"/>
                  <a:gd name="connsiteY37" fmla="*/ 1508125 h 2476500"/>
                  <a:gd name="connsiteX38" fmla="*/ 476322 w 1757434"/>
                  <a:gd name="connsiteY38" fmla="*/ 1514475 h 2476500"/>
                  <a:gd name="connsiteX39" fmla="*/ 503309 w 1757434"/>
                  <a:gd name="connsiteY39" fmla="*/ 1511300 h 2476500"/>
                  <a:gd name="connsiteX40" fmla="*/ 508072 w 1757434"/>
                  <a:gd name="connsiteY40" fmla="*/ 1508125 h 2476500"/>
                  <a:gd name="connsiteX41" fmla="*/ 506484 w 1757434"/>
                  <a:gd name="connsiteY41" fmla="*/ 1500188 h 2476500"/>
                  <a:gd name="connsiteX42" fmla="*/ 511247 w 1757434"/>
                  <a:gd name="connsiteY42" fmla="*/ 1474788 h 2476500"/>
                  <a:gd name="connsiteX43" fmla="*/ 517597 w 1757434"/>
                  <a:gd name="connsiteY43" fmla="*/ 1471613 h 2476500"/>
                  <a:gd name="connsiteX44" fmla="*/ 522378 w 1757434"/>
                  <a:gd name="connsiteY44" fmla="*/ 1470040 h 2476500"/>
                  <a:gd name="connsiteX45" fmla="*/ 524394 w 1757434"/>
                  <a:gd name="connsiteY45" fmla="*/ 1468685 h 2476500"/>
                  <a:gd name="connsiteX46" fmla="*/ 525534 w 1757434"/>
                  <a:gd name="connsiteY46" fmla="*/ 1465263 h 2476500"/>
                  <a:gd name="connsiteX47" fmla="*/ 526329 w 1757434"/>
                  <a:gd name="connsiteY47" fmla="*/ 1464070 h 2476500"/>
                  <a:gd name="connsiteX48" fmla="*/ 524516 w 1757434"/>
                  <a:gd name="connsiteY48" fmla="*/ 1468602 h 2476500"/>
                  <a:gd name="connsiteX49" fmla="*/ 527122 w 1757434"/>
                  <a:gd name="connsiteY49" fmla="*/ 1466850 h 2476500"/>
                  <a:gd name="connsiteX50" fmla="*/ 531884 w 1757434"/>
                  <a:gd name="connsiteY50" fmla="*/ 1457325 h 2476500"/>
                  <a:gd name="connsiteX51" fmla="*/ 541409 w 1757434"/>
                  <a:gd name="connsiteY51" fmla="*/ 1454150 h 2476500"/>
                  <a:gd name="connsiteX52" fmla="*/ 544498 w 1757434"/>
                  <a:gd name="connsiteY52" fmla="*/ 1452091 h 2476500"/>
                  <a:gd name="connsiteX53" fmla="*/ 535059 w 1757434"/>
                  <a:gd name="connsiteY53" fmla="*/ 1452563 h 2476500"/>
                  <a:gd name="connsiteX54" fmla="*/ 530297 w 1757434"/>
                  <a:gd name="connsiteY54" fmla="*/ 1455738 h 2476500"/>
                  <a:gd name="connsiteX55" fmla="*/ 528709 w 1757434"/>
                  <a:gd name="connsiteY55" fmla="*/ 1460500 h 2476500"/>
                  <a:gd name="connsiteX56" fmla="*/ 526329 w 1757434"/>
                  <a:gd name="connsiteY56" fmla="*/ 1464070 h 2476500"/>
                  <a:gd name="connsiteX57" fmla="*/ 527122 w 1757434"/>
                  <a:gd name="connsiteY57" fmla="*/ 1462088 h 2476500"/>
                  <a:gd name="connsiteX58" fmla="*/ 522359 w 1757434"/>
                  <a:gd name="connsiteY58" fmla="*/ 1443038 h 2476500"/>
                  <a:gd name="connsiteX59" fmla="*/ 527122 w 1757434"/>
                  <a:gd name="connsiteY59" fmla="*/ 1436688 h 2476500"/>
                  <a:gd name="connsiteX60" fmla="*/ 531884 w 1757434"/>
                  <a:gd name="connsiteY60" fmla="*/ 1435100 h 2476500"/>
                  <a:gd name="connsiteX61" fmla="*/ 533472 w 1757434"/>
                  <a:gd name="connsiteY61" fmla="*/ 1425575 h 2476500"/>
                  <a:gd name="connsiteX62" fmla="*/ 546001 w 1757434"/>
                  <a:gd name="connsiteY62" fmla="*/ 1429262 h 2476500"/>
                  <a:gd name="connsiteX63" fmla="*/ 552494 w 1757434"/>
                  <a:gd name="connsiteY63" fmla="*/ 1431898 h 2476500"/>
                  <a:gd name="connsiteX64" fmla="*/ 552522 w 1757434"/>
                  <a:gd name="connsiteY64" fmla="*/ 1431925 h 2476500"/>
                  <a:gd name="connsiteX65" fmla="*/ 560459 w 1757434"/>
                  <a:gd name="connsiteY65" fmla="*/ 1435100 h 2476500"/>
                  <a:gd name="connsiteX66" fmla="*/ 554988 w 1757434"/>
                  <a:gd name="connsiteY66" fmla="*/ 1432911 h 2476500"/>
                  <a:gd name="connsiteX67" fmla="*/ 552494 w 1757434"/>
                  <a:gd name="connsiteY67" fmla="*/ 1431898 h 2476500"/>
                  <a:gd name="connsiteX68" fmla="*/ 544393 w 1757434"/>
                  <a:gd name="connsiteY68" fmla="*/ 1424206 h 2476500"/>
                  <a:gd name="connsiteX69" fmla="*/ 539822 w 1757434"/>
                  <a:gd name="connsiteY69" fmla="*/ 1419225 h 2476500"/>
                  <a:gd name="connsiteX70" fmla="*/ 541409 w 1757434"/>
                  <a:gd name="connsiteY70" fmla="*/ 1409700 h 2476500"/>
                  <a:gd name="connsiteX71" fmla="*/ 546172 w 1757434"/>
                  <a:gd name="connsiteY71" fmla="*/ 1406525 h 2476500"/>
                  <a:gd name="connsiteX72" fmla="*/ 565222 w 1757434"/>
                  <a:gd name="connsiteY72" fmla="*/ 1393825 h 2476500"/>
                  <a:gd name="connsiteX73" fmla="*/ 566809 w 1757434"/>
                  <a:gd name="connsiteY73" fmla="*/ 1389063 h 2476500"/>
                  <a:gd name="connsiteX74" fmla="*/ 560459 w 1757434"/>
                  <a:gd name="connsiteY74" fmla="*/ 1377950 h 2476500"/>
                  <a:gd name="connsiteX75" fmla="*/ 574747 w 1757434"/>
                  <a:gd name="connsiteY75" fmla="*/ 1366838 h 2476500"/>
                  <a:gd name="connsiteX76" fmla="*/ 576334 w 1757434"/>
                  <a:gd name="connsiteY76" fmla="*/ 1362075 h 2476500"/>
                  <a:gd name="connsiteX77" fmla="*/ 574747 w 1757434"/>
                  <a:gd name="connsiteY77" fmla="*/ 1352550 h 2476500"/>
                  <a:gd name="connsiteX78" fmla="*/ 565222 w 1757434"/>
                  <a:gd name="connsiteY78" fmla="*/ 1354138 h 2476500"/>
                  <a:gd name="connsiteX79" fmla="*/ 555697 w 1757434"/>
                  <a:gd name="connsiteY79" fmla="*/ 1360488 h 2476500"/>
                  <a:gd name="connsiteX80" fmla="*/ 550934 w 1757434"/>
                  <a:gd name="connsiteY80" fmla="*/ 1362075 h 2476500"/>
                  <a:gd name="connsiteX81" fmla="*/ 558872 w 1757434"/>
                  <a:gd name="connsiteY81" fmla="*/ 1357313 h 2476500"/>
                  <a:gd name="connsiteX82" fmla="*/ 565222 w 1757434"/>
                  <a:gd name="connsiteY82" fmla="*/ 1349375 h 2476500"/>
                  <a:gd name="connsiteX83" fmla="*/ 569984 w 1757434"/>
                  <a:gd name="connsiteY83" fmla="*/ 1338263 h 2476500"/>
                  <a:gd name="connsiteX84" fmla="*/ 1487559 w 1757434"/>
                  <a:gd name="connsiteY84" fmla="*/ 0 h 2476500"/>
                  <a:gd name="connsiteX85" fmla="*/ 1497084 w 1757434"/>
                  <a:gd name="connsiteY85" fmla="*/ 1588 h 2476500"/>
                  <a:gd name="connsiteX86" fmla="*/ 1497084 w 1757434"/>
                  <a:gd name="connsiteY86" fmla="*/ 22225 h 2476500"/>
                  <a:gd name="connsiteX87" fmla="*/ 1501847 w 1757434"/>
                  <a:gd name="connsiteY87" fmla="*/ 26988 h 2476500"/>
                  <a:gd name="connsiteX88" fmla="*/ 1508197 w 1757434"/>
                  <a:gd name="connsiteY88" fmla="*/ 20638 h 2476500"/>
                  <a:gd name="connsiteX89" fmla="*/ 1516134 w 1757434"/>
                  <a:gd name="connsiteY89" fmla="*/ 15875 h 2476500"/>
                  <a:gd name="connsiteX90" fmla="*/ 1511372 w 1757434"/>
                  <a:gd name="connsiteY90" fmla="*/ 34925 h 2476500"/>
                  <a:gd name="connsiteX91" fmla="*/ 1516134 w 1757434"/>
                  <a:gd name="connsiteY91" fmla="*/ 36513 h 2476500"/>
                  <a:gd name="connsiteX92" fmla="*/ 1527247 w 1757434"/>
                  <a:gd name="connsiteY92" fmla="*/ 33338 h 2476500"/>
                  <a:gd name="connsiteX93" fmla="*/ 1530422 w 1757434"/>
                  <a:gd name="connsiteY93" fmla="*/ 47625 h 2476500"/>
                  <a:gd name="connsiteX94" fmla="*/ 1527247 w 1757434"/>
                  <a:gd name="connsiteY94" fmla="*/ 57150 h 2476500"/>
                  <a:gd name="connsiteX95" fmla="*/ 1522484 w 1757434"/>
                  <a:gd name="connsiteY95" fmla="*/ 65088 h 2476500"/>
                  <a:gd name="connsiteX96" fmla="*/ 1519309 w 1757434"/>
                  <a:gd name="connsiteY96" fmla="*/ 71438 h 2476500"/>
                  <a:gd name="connsiteX97" fmla="*/ 1520897 w 1757434"/>
                  <a:gd name="connsiteY97" fmla="*/ 98425 h 2476500"/>
                  <a:gd name="connsiteX98" fmla="*/ 1525659 w 1757434"/>
                  <a:gd name="connsiteY98" fmla="*/ 103188 h 2476500"/>
                  <a:gd name="connsiteX99" fmla="*/ 1530422 w 1757434"/>
                  <a:gd name="connsiteY99" fmla="*/ 111125 h 2476500"/>
                  <a:gd name="connsiteX100" fmla="*/ 1543122 w 1757434"/>
                  <a:gd name="connsiteY100" fmla="*/ 106363 h 2476500"/>
                  <a:gd name="connsiteX101" fmla="*/ 1544709 w 1757434"/>
                  <a:gd name="connsiteY101" fmla="*/ 98425 h 2476500"/>
                  <a:gd name="connsiteX102" fmla="*/ 1541534 w 1757434"/>
                  <a:gd name="connsiteY102" fmla="*/ 66675 h 2476500"/>
                  <a:gd name="connsiteX103" fmla="*/ 1538359 w 1757434"/>
                  <a:gd name="connsiteY103" fmla="*/ 49213 h 2476500"/>
                  <a:gd name="connsiteX104" fmla="*/ 1543122 w 1757434"/>
                  <a:gd name="connsiteY104" fmla="*/ 46038 h 2476500"/>
                  <a:gd name="connsiteX105" fmla="*/ 1544709 w 1757434"/>
                  <a:gd name="connsiteY105" fmla="*/ 52388 h 2476500"/>
                  <a:gd name="connsiteX106" fmla="*/ 1551059 w 1757434"/>
                  <a:gd name="connsiteY106" fmla="*/ 36513 h 2476500"/>
                  <a:gd name="connsiteX107" fmla="*/ 1557409 w 1757434"/>
                  <a:gd name="connsiteY107" fmla="*/ 31750 h 2476500"/>
                  <a:gd name="connsiteX108" fmla="*/ 1568522 w 1757434"/>
                  <a:gd name="connsiteY108" fmla="*/ 26988 h 2476500"/>
                  <a:gd name="connsiteX109" fmla="*/ 1563759 w 1757434"/>
                  <a:gd name="connsiteY109" fmla="*/ 34925 h 2476500"/>
                  <a:gd name="connsiteX110" fmla="*/ 1566934 w 1757434"/>
                  <a:gd name="connsiteY110" fmla="*/ 79375 h 2476500"/>
                  <a:gd name="connsiteX111" fmla="*/ 1573284 w 1757434"/>
                  <a:gd name="connsiteY111" fmla="*/ 77788 h 2476500"/>
                  <a:gd name="connsiteX112" fmla="*/ 1579634 w 1757434"/>
                  <a:gd name="connsiteY112" fmla="*/ 58738 h 2476500"/>
                  <a:gd name="connsiteX113" fmla="*/ 1585984 w 1757434"/>
                  <a:gd name="connsiteY113" fmla="*/ 42863 h 2476500"/>
                  <a:gd name="connsiteX114" fmla="*/ 1592334 w 1757434"/>
                  <a:gd name="connsiteY114" fmla="*/ 36513 h 2476500"/>
                  <a:gd name="connsiteX115" fmla="*/ 1593922 w 1757434"/>
                  <a:gd name="connsiteY115" fmla="*/ 42863 h 2476500"/>
                  <a:gd name="connsiteX116" fmla="*/ 1592334 w 1757434"/>
                  <a:gd name="connsiteY116" fmla="*/ 61913 h 2476500"/>
                  <a:gd name="connsiteX117" fmla="*/ 1617734 w 1757434"/>
                  <a:gd name="connsiteY117" fmla="*/ 46038 h 2476500"/>
                  <a:gd name="connsiteX118" fmla="*/ 1622497 w 1757434"/>
                  <a:gd name="connsiteY118" fmla="*/ 52388 h 2476500"/>
                  <a:gd name="connsiteX119" fmla="*/ 1619322 w 1757434"/>
                  <a:gd name="connsiteY119" fmla="*/ 73025 h 2476500"/>
                  <a:gd name="connsiteX120" fmla="*/ 1622497 w 1757434"/>
                  <a:gd name="connsiteY120" fmla="*/ 84138 h 2476500"/>
                  <a:gd name="connsiteX121" fmla="*/ 1627259 w 1757434"/>
                  <a:gd name="connsiteY121" fmla="*/ 87313 h 2476500"/>
                  <a:gd name="connsiteX122" fmla="*/ 1635197 w 1757434"/>
                  <a:gd name="connsiteY122" fmla="*/ 80963 h 2476500"/>
                  <a:gd name="connsiteX123" fmla="*/ 1641547 w 1757434"/>
                  <a:gd name="connsiteY123" fmla="*/ 69850 h 2476500"/>
                  <a:gd name="connsiteX124" fmla="*/ 1644722 w 1757434"/>
                  <a:gd name="connsiteY124" fmla="*/ 63500 h 2476500"/>
                  <a:gd name="connsiteX125" fmla="*/ 1651072 w 1757434"/>
                  <a:gd name="connsiteY125" fmla="*/ 58738 h 2476500"/>
                  <a:gd name="connsiteX126" fmla="*/ 1659009 w 1757434"/>
                  <a:gd name="connsiteY126" fmla="*/ 63500 h 2476500"/>
                  <a:gd name="connsiteX127" fmla="*/ 1654247 w 1757434"/>
                  <a:gd name="connsiteY127" fmla="*/ 77788 h 2476500"/>
                  <a:gd name="connsiteX128" fmla="*/ 1657422 w 1757434"/>
                  <a:gd name="connsiteY128" fmla="*/ 84138 h 2476500"/>
                  <a:gd name="connsiteX129" fmla="*/ 1662184 w 1757434"/>
                  <a:gd name="connsiteY129" fmla="*/ 77788 h 2476500"/>
                  <a:gd name="connsiteX130" fmla="*/ 1666947 w 1757434"/>
                  <a:gd name="connsiteY130" fmla="*/ 69850 h 2476500"/>
                  <a:gd name="connsiteX131" fmla="*/ 1678059 w 1757434"/>
                  <a:gd name="connsiteY131" fmla="*/ 63500 h 2476500"/>
                  <a:gd name="connsiteX132" fmla="*/ 1692347 w 1757434"/>
                  <a:gd name="connsiteY132" fmla="*/ 65088 h 2476500"/>
                  <a:gd name="connsiteX133" fmla="*/ 1700284 w 1757434"/>
                  <a:gd name="connsiteY133" fmla="*/ 68263 h 2476500"/>
                  <a:gd name="connsiteX134" fmla="*/ 1697109 w 1757434"/>
                  <a:gd name="connsiteY134" fmla="*/ 74613 h 2476500"/>
                  <a:gd name="connsiteX135" fmla="*/ 1689172 w 1757434"/>
                  <a:gd name="connsiteY135" fmla="*/ 79375 h 2476500"/>
                  <a:gd name="connsiteX136" fmla="*/ 1714572 w 1757434"/>
                  <a:gd name="connsiteY136" fmla="*/ 90488 h 2476500"/>
                  <a:gd name="connsiteX137" fmla="*/ 1711397 w 1757434"/>
                  <a:gd name="connsiteY137" fmla="*/ 98425 h 2476500"/>
                  <a:gd name="connsiteX138" fmla="*/ 1700284 w 1757434"/>
                  <a:gd name="connsiteY138" fmla="*/ 106363 h 2476500"/>
                  <a:gd name="connsiteX139" fmla="*/ 1690759 w 1757434"/>
                  <a:gd name="connsiteY139" fmla="*/ 114300 h 2476500"/>
                  <a:gd name="connsiteX140" fmla="*/ 1687584 w 1757434"/>
                  <a:gd name="connsiteY140" fmla="*/ 119063 h 2476500"/>
                  <a:gd name="connsiteX141" fmla="*/ 1685997 w 1757434"/>
                  <a:gd name="connsiteY141" fmla="*/ 123825 h 2476500"/>
                  <a:gd name="connsiteX142" fmla="*/ 1684409 w 1757434"/>
                  <a:gd name="connsiteY142" fmla="*/ 130175 h 2476500"/>
                  <a:gd name="connsiteX143" fmla="*/ 1681234 w 1757434"/>
                  <a:gd name="connsiteY143" fmla="*/ 136525 h 2476500"/>
                  <a:gd name="connsiteX144" fmla="*/ 1674884 w 1757434"/>
                  <a:gd name="connsiteY144" fmla="*/ 138113 h 2476500"/>
                  <a:gd name="connsiteX145" fmla="*/ 1655834 w 1757434"/>
                  <a:gd name="connsiteY145" fmla="*/ 144463 h 2476500"/>
                  <a:gd name="connsiteX146" fmla="*/ 1649484 w 1757434"/>
                  <a:gd name="connsiteY146" fmla="*/ 146050 h 2476500"/>
                  <a:gd name="connsiteX147" fmla="*/ 1641547 w 1757434"/>
                  <a:gd name="connsiteY147" fmla="*/ 149225 h 2476500"/>
                  <a:gd name="connsiteX148" fmla="*/ 1597097 w 1757434"/>
                  <a:gd name="connsiteY148" fmla="*/ 150813 h 2476500"/>
                  <a:gd name="connsiteX149" fmla="*/ 1592334 w 1757434"/>
                  <a:gd name="connsiteY149" fmla="*/ 152400 h 2476500"/>
                  <a:gd name="connsiteX150" fmla="*/ 1593922 w 1757434"/>
                  <a:gd name="connsiteY150" fmla="*/ 158750 h 2476500"/>
                  <a:gd name="connsiteX151" fmla="*/ 1628847 w 1757434"/>
                  <a:gd name="connsiteY151" fmla="*/ 160338 h 2476500"/>
                  <a:gd name="connsiteX152" fmla="*/ 1641547 w 1757434"/>
                  <a:gd name="connsiteY152" fmla="*/ 168275 h 2476500"/>
                  <a:gd name="connsiteX153" fmla="*/ 1643134 w 1757434"/>
                  <a:gd name="connsiteY153" fmla="*/ 177800 h 2476500"/>
                  <a:gd name="connsiteX154" fmla="*/ 1641547 w 1757434"/>
                  <a:gd name="connsiteY154" fmla="*/ 185738 h 2476500"/>
                  <a:gd name="connsiteX155" fmla="*/ 1641547 w 1757434"/>
                  <a:gd name="connsiteY155" fmla="*/ 198438 h 2476500"/>
                  <a:gd name="connsiteX156" fmla="*/ 1646309 w 1757434"/>
                  <a:gd name="connsiteY156" fmla="*/ 200025 h 2476500"/>
                  <a:gd name="connsiteX157" fmla="*/ 1652659 w 1757434"/>
                  <a:gd name="connsiteY157" fmla="*/ 192088 h 2476500"/>
                  <a:gd name="connsiteX158" fmla="*/ 1663772 w 1757434"/>
                  <a:gd name="connsiteY158" fmla="*/ 182563 h 2476500"/>
                  <a:gd name="connsiteX159" fmla="*/ 1666947 w 1757434"/>
                  <a:gd name="connsiteY159" fmla="*/ 187325 h 2476500"/>
                  <a:gd name="connsiteX160" fmla="*/ 1668534 w 1757434"/>
                  <a:gd name="connsiteY160" fmla="*/ 200025 h 2476500"/>
                  <a:gd name="connsiteX161" fmla="*/ 1673297 w 1757434"/>
                  <a:gd name="connsiteY161" fmla="*/ 196850 h 2476500"/>
                  <a:gd name="connsiteX162" fmla="*/ 1681234 w 1757434"/>
                  <a:gd name="connsiteY162" fmla="*/ 195263 h 2476500"/>
                  <a:gd name="connsiteX163" fmla="*/ 1685997 w 1757434"/>
                  <a:gd name="connsiteY163" fmla="*/ 196850 h 2476500"/>
                  <a:gd name="connsiteX164" fmla="*/ 1692347 w 1757434"/>
                  <a:gd name="connsiteY164" fmla="*/ 180975 h 2476500"/>
                  <a:gd name="connsiteX165" fmla="*/ 1695522 w 1757434"/>
                  <a:gd name="connsiteY165" fmla="*/ 176213 h 2476500"/>
                  <a:gd name="connsiteX166" fmla="*/ 1697109 w 1757434"/>
                  <a:gd name="connsiteY166" fmla="*/ 171450 h 2476500"/>
                  <a:gd name="connsiteX167" fmla="*/ 1703459 w 1757434"/>
                  <a:gd name="connsiteY167" fmla="*/ 168275 h 2476500"/>
                  <a:gd name="connsiteX168" fmla="*/ 1705047 w 1757434"/>
                  <a:gd name="connsiteY168" fmla="*/ 184150 h 2476500"/>
                  <a:gd name="connsiteX169" fmla="*/ 1709809 w 1757434"/>
                  <a:gd name="connsiteY169" fmla="*/ 193675 h 2476500"/>
                  <a:gd name="connsiteX170" fmla="*/ 1712984 w 1757434"/>
                  <a:gd name="connsiteY170" fmla="*/ 184150 h 2476500"/>
                  <a:gd name="connsiteX171" fmla="*/ 1717747 w 1757434"/>
                  <a:gd name="connsiteY171" fmla="*/ 180975 h 2476500"/>
                  <a:gd name="connsiteX172" fmla="*/ 1732034 w 1757434"/>
                  <a:gd name="connsiteY172" fmla="*/ 171450 h 2476500"/>
                  <a:gd name="connsiteX173" fmla="*/ 1733622 w 1757434"/>
                  <a:gd name="connsiteY173" fmla="*/ 179388 h 2476500"/>
                  <a:gd name="connsiteX174" fmla="*/ 1736797 w 1757434"/>
                  <a:gd name="connsiteY174" fmla="*/ 184150 h 2476500"/>
                  <a:gd name="connsiteX175" fmla="*/ 1744734 w 1757434"/>
                  <a:gd name="connsiteY175" fmla="*/ 185738 h 2476500"/>
                  <a:gd name="connsiteX176" fmla="*/ 1749497 w 1757434"/>
                  <a:gd name="connsiteY176" fmla="*/ 190500 h 2476500"/>
                  <a:gd name="connsiteX177" fmla="*/ 1754259 w 1757434"/>
                  <a:gd name="connsiteY177" fmla="*/ 192088 h 2476500"/>
                  <a:gd name="connsiteX178" fmla="*/ 1752672 w 1757434"/>
                  <a:gd name="connsiteY178" fmla="*/ 203200 h 2476500"/>
                  <a:gd name="connsiteX179" fmla="*/ 1754259 w 1757434"/>
                  <a:gd name="connsiteY179" fmla="*/ 222250 h 2476500"/>
                  <a:gd name="connsiteX180" fmla="*/ 1757434 w 1757434"/>
                  <a:gd name="connsiteY180" fmla="*/ 233363 h 2476500"/>
                  <a:gd name="connsiteX181" fmla="*/ 1752672 w 1757434"/>
                  <a:gd name="connsiteY181" fmla="*/ 238125 h 2476500"/>
                  <a:gd name="connsiteX182" fmla="*/ 1739972 w 1757434"/>
                  <a:gd name="connsiteY182" fmla="*/ 225425 h 2476500"/>
                  <a:gd name="connsiteX183" fmla="*/ 1709809 w 1757434"/>
                  <a:gd name="connsiteY183" fmla="*/ 223838 h 2476500"/>
                  <a:gd name="connsiteX184" fmla="*/ 1705047 w 1757434"/>
                  <a:gd name="connsiteY184" fmla="*/ 220663 h 2476500"/>
                  <a:gd name="connsiteX185" fmla="*/ 1703459 w 1757434"/>
                  <a:gd name="connsiteY185" fmla="*/ 225425 h 2476500"/>
                  <a:gd name="connsiteX186" fmla="*/ 1698697 w 1757434"/>
                  <a:gd name="connsiteY186" fmla="*/ 244475 h 2476500"/>
                  <a:gd name="connsiteX187" fmla="*/ 1692347 w 1757434"/>
                  <a:gd name="connsiteY187" fmla="*/ 249238 h 2476500"/>
                  <a:gd name="connsiteX188" fmla="*/ 1682822 w 1757434"/>
                  <a:gd name="connsiteY188" fmla="*/ 261938 h 2476500"/>
                  <a:gd name="connsiteX189" fmla="*/ 1676472 w 1757434"/>
                  <a:gd name="connsiteY189" fmla="*/ 269875 h 2476500"/>
                  <a:gd name="connsiteX190" fmla="*/ 1671709 w 1757434"/>
                  <a:gd name="connsiteY190" fmla="*/ 274638 h 2476500"/>
                  <a:gd name="connsiteX191" fmla="*/ 1668534 w 1757434"/>
                  <a:gd name="connsiteY191" fmla="*/ 280988 h 2476500"/>
                  <a:gd name="connsiteX192" fmla="*/ 1670122 w 1757434"/>
                  <a:gd name="connsiteY192" fmla="*/ 319088 h 2476500"/>
                  <a:gd name="connsiteX193" fmla="*/ 1665359 w 1757434"/>
                  <a:gd name="connsiteY193" fmla="*/ 331788 h 2476500"/>
                  <a:gd name="connsiteX194" fmla="*/ 1655834 w 1757434"/>
                  <a:gd name="connsiteY194" fmla="*/ 328613 h 2476500"/>
                  <a:gd name="connsiteX195" fmla="*/ 1643134 w 1757434"/>
                  <a:gd name="connsiteY195" fmla="*/ 323850 h 2476500"/>
                  <a:gd name="connsiteX196" fmla="*/ 1638372 w 1757434"/>
                  <a:gd name="connsiteY196" fmla="*/ 315913 h 2476500"/>
                  <a:gd name="connsiteX197" fmla="*/ 1641547 w 1757434"/>
                  <a:gd name="connsiteY197" fmla="*/ 298450 h 2476500"/>
                  <a:gd name="connsiteX198" fmla="*/ 1644722 w 1757434"/>
                  <a:gd name="connsiteY198" fmla="*/ 290513 h 2476500"/>
                  <a:gd name="connsiteX199" fmla="*/ 1649484 w 1757434"/>
                  <a:gd name="connsiteY199" fmla="*/ 285750 h 2476500"/>
                  <a:gd name="connsiteX200" fmla="*/ 1651072 w 1757434"/>
                  <a:gd name="connsiteY200" fmla="*/ 274638 h 2476500"/>
                  <a:gd name="connsiteX201" fmla="*/ 1654247 w 1757434"/>
                  <a:gd name="connsiteY201" fmla="*/ 268288 h 2476500"/>
                  <a:gd name="connsiteX202" fmla="*/ 1652659 w 1757434"/>
                  <a:gd name="connsiteY202" fmla="*/ 255588 h 2476500"/>
                  <a:gd name="connsiteX203" fmla="*/ 1639959 w 1757434"/>
                  <a:gd name="connsiteY203" fmla="*/ 239713 h 2476500"/>
                  <a:gd name="connsiteX204" fmla="*/ 1628847 w 1757434"/>
                  <a:gd name="connsiteY204" fmla="*/ 236538 h 2476500"/>
                  <a:gd name="connsiteX205" fmla="*/ 1620909 w 1757434"/>
                  <a:gd name="connsiteY205" fmla="*/ 231775 h 2476500"/>
                  <a:gd name="connsiteX206" fmla="*/ 1605034 w 1757434"/>
                  <a:gd name="connsiteY206" fmla="*/ 223838 h 2476500"/>
                  <a:gd name="connsiteX207" fmla="*/ 1597097 w 1757434"/>
                  <a:gd name="connsiteY207" fmla="*/ 217488 h 2476500"/>
                  <a:gd name="connsiteX208" fmla="*/ 1584397 w 1757434"/>
                  <a:gd name="connsiteY208" fmla="*/ 215900 h 2476500"/>
                  <a:gd name="connsiteX209" fmla="*/ 1582809 w 1757434"/>
                  <a:gd name="connsiteY209" fmla="*/ 211138 h 2476500"/>
                  <a:gd name="connsiteX210" fmla="*/ 1579634 w 1757434"/>
                  <a:gd name="connsiteY210" fmla="*/ 204788 h 2476500"/>
                  <a:gd name="connsiteX211" fmla="*/ 1554234 w 1757434"/>
                  <a:gd name="connsiteY211" fmla="*/ 200025 h 2476500"/>
                  <a:gd name="connsiteX212" fmla="*/ 1552647 w 1757434"/>
                  <a:gd name="connsiteY212" fmla="*/ 190500 h 2476500"/>
                  <a:gd name="connsiteX213" fmla="*/ 1543122 w 1757434"/>
                  <a:gd name="connsiteY213" fmla="*/ 184150 h 2476500"/>
                  <a:gd name="connsiteX214" fmla="*/ 1522484 w 1757434"/>
                  <a:gd name="connsiteY214" fmla="*/ 185738 h 2476500"/>
                  <a:gd name="connsiteX215" fmla="*/ 1516134 w 1757434"/>
                  <a:gd name="connsiteY215" fmla="*/ 190500 h 2476500"/>
                  <a:gd name="connsiteX216" fmla="*/ 1511372 w 1757434"/>
                  <a:gd name="connsiteY216" fmla="*/ 193675 h 2476500"/>
                  <a:gd name="connsiteX217" fmla="*/ 1506609 w 1757434"/>
                  <a:gd name="connsiteY217" fmla="*/ 201613 h 2476500"/>
                  <a:gd name="connsiteX218" fmla="*/ 1503434 w 1757434"/>
                  <a:gd name="connsiteY218" fmla="*/ 206375 h 2476500"/>
                  <a:gd name="connsiteX219" fmla="*/ 1500259 w 1757434"/>
                  <a:gd name="connsiteY219" fmla="*/ 214313 h 2476500"/>
                  <a:gd name="connsiteX220" fmla="*/ 1493909 w 1757434"/>
                  <a:gd name="connsiteY220" fmla="*/ 215900 h 2476500"/>
                  <a:gd name="connsiteX221" fmla="*/ 1474859 w 1757434"/>
                  <a:gd name="connsiteY221" fmla="*/ 225425 h 2476500"/>
                  <a:gd name="connsiteX222" fmla="*/ 1460572 w 1757434"/>
                  <a:gd name="connsiteY222" fmla="*/ 233363 h 2476500"/>
                  <a:gd name="connsiteX223" fmla="*/ 1457397 w 1757434"/>
                  <a:gd name="connsiteY223" fmla="*/ 239713 h 2476500"/>
                  <a:gd name="connsiteX224" fmla="*/ 1455809 w 1757434"/>
                  <a:gd name="connsiteY224" fmla="*/ 244475 h 2476500"/>
                  <a:gd name="connsiteX225" fmla="*/ 1451047 w 1757434"/>
                  <a:gd name="connsiteY225" fmla="*/ 249238 h 2476500"/>
                  <a:gd name="connsiteX226" fmla="*/ 1435172 w 1757434"/>
                  <a:gd name="connsiteY226" fmla="*/ 266700 h 2476500"/>
                  <a:gd name="connsiteX227" fmla="*/ 1436759 w 1757434"/>
                  <a:gd name="connsiteY227" fmla="*/ 277813 h 2476500"/>
                  <a:gd name="connsiteX228" fmla="*/ 1441522 w 1757434"/>
                  <a:gd name="connsiteY228" fmla="*/ 287338 h 2476500"/>
                  <a:gd name="connsiteX229" fmla="*/ 1443109 w 1757434"/>
                  <a:gd name="connsiteY229" fmla="*/ 293688 h 2476500"/>
                  <a:gd name="connsiteX230" fmla="*/ 1441522 w 1757434"/>
                  <a:gd name="connsiteY230" fmla="*/ 325438 h 2476500"/>
                  <a:gd name="connsiteX231" fmla="*/ 1441522 w 1757434"/>
                  <a:gd name="connsiteY231" fmla="*/ 360363 h 2476500"/>
                  <a:gd name="connsiteX232" fmla="*/ 1449459 w 1757434"/>
                  <a:gd name="connsiteY232" fmla="*/ 361950 h 2476500"/>
                  <a:gd name="connsiteX233" fmla="*/ 1458984 w 1757434"/>
                  <a:gd name="connsiteY233" fmla="*/ 365125 h 2476500"/>
                  <a:gd name="connsiteX234" fmla="*/ 1458984 w 1757434"/>
                  <a:gd name="connsiteY234" fmla="*/ 409575 h 2476500"/>
                  <a:gd name="connsiteX235" fmla="*/ 1444697 w 1757434"/>
                  <a:gd name="connsiteY235" fmla="*/ 411163 h 2476500"/>
                  <a:gd name="connsiteX236" fmla="*/ 1435172 w 1757434"/>
                  <a:gd name="connsiteY236" fmla="*/ 415925 h 2476500"/>
                  <a:gd name="connsiteX237" fmla="*/ 1436759 w 1757434"/>
                  <a:gd name="connsiteY237" fmla="*/ 423863 h 2476500"/>
                  <a:gd name="connsiteX238" fmla="*/ 1433584 w 1757434"/>
                  <a:gd name="connsiteY238" fmla="*/ 471488 h 2476500"/>
                  <a:gd name="connsiteX239" fmla="*/ 1419297 w 1757434"/>
                  <a:gd name="connsiteY239" fmla="*/ 465138 h 2476500"/>
                  <a:gd name="connsiteX240" fmla="*/ 1412947 w 1757434"/>
                  <a:gd name="connsiteY240" fmla="*/ 461963 h 2476500"/>
                  <a:gd name="connsiteX241" fmla="*/ 1390722 w 1757434"/>
                  <a:gd name="connsiteY241" fmla="*/ 465138 h 2476500"/>
                  <a:gd name="connsiteX242" fmla="*/ 1382784 w 1757434"/>
                  <a:gd name="connsiteY242" fmla="*/ 450850 h 2476500"/>
                  <a:gd name="connsiteX243" fmla="*/ 1378022 w 1757434"/>
                  <a:gd name="connsiteY243" fmla="*/ 447675 h 2476500"/>
                  <a:gd name="connsiteX244" fmla="*/ 1373259 w 1757434"/>
                  <a:gd name="connsiteY244" fmla="*/ 442913 h 2476500"/>
                  <a:gd name="connsiteX245" fmla="*/ 1365322 w 1757434"/>
                  <a:gd name="connsiteY245" fmla="*/ 441325 h 2476500"/>
                  <a:gd name="connsiteX246" fmla="*/ 1360559 w 1757434"/>
                  <a:gd name="connsiteY246" fmla="*/ 439738 h 2476500"/>
                  <a:gd name="connsiteX247" fmla="*/ 1349447 w 1757434"/>
                  <a:gd name="connsiteY247" fmla="*/ 441325 h 2476500"/>
                  <a:gd name="connsiteX248" fmla="*/ 1335159 w 1757434"/>
                  <a:gd name="connsiteY248" fmla="*/ 450850 h 2476500"/>
                  <a:gd name="connsiteX249" fmla="*/ 1328809 w 1757434"/>
                  <a:gd name="connsiteY249" fmla="*/ 461963 h 2476500"/>
                  <a:gd name="connsiteX250" fmla="*/ 1320872 w 1757434"/>
                  <a:gd name="connsiteY250" fmla="*/ 469900 h 2476500"/>
                  <a:gd name="connsiteX251" fmla="*/ 1312934 w 1757434"/>
                  <a:gd name="connsiteY251" fmla="*/ 471488 h 2476500"/>
                  <a:gd name="connsiteX252" fmla="*/ 1308172 w 1757434"/>
                  <a:gd name="connsiteY252" fmla="*/ 474663 h 2476500"/>
                  <a:gd name="connsiteX253" fmla="*/ 1303409 w 1757434"/>
                  <a:gd name="connsiteY253" fmla="*/ 479425 h 2476500"/>
                  <a:gd name="connsiteX254" fmla="*/ 1295472 w 1757434"/>
                  <a:gd name="connsiteY254" fmla="*/ 481013 h 2476500"/>
                  <a:gd name="connsiteX255" fmla="*/ 1287534 w 1757434"/>
                  <a:gd name="connsiteY255" fmla="*/ 484188 h 2476500"/>
                  <a:gd name="connsiteX256" fmla="*/ 1281184 w 1757434"/>
                  <a:gd name="connsiteY256" fmla="*/ 482600 h 2476500"/>
                  <a:gd name="connsiteX257" fmla="*/ 1273247 w 1757434"/>
                  <a:gd name="connsiteY257" fmla="*/ 476250 h 2476500"/>
                  <a:gd name="connsiteX258" fmla="*/ 1266897 w 1757434"/>
                  <a:gd name="connsiteY258" fmla="*/ 471488 h 2476500"/>
                  <a:gd name="connsiteX259" fmla="*/ 1255784 w 1757434"/>
                  <a:gd name="connsiteY259" fmla="*/ 466725 h 2476500"/>
                  <a:gd name="connsiteX260" fmla="*/ 1244672 w 1757434"/>
                  <a:gd name="connsiteY260" fmla="*/ 455613 h 2476500"/>
                  <a:gd name="connsiteX261" fmla="*/ 1238322 w 1757434"/>
                  <a:gd name="connsiteY261" fmla="*/ 449263 h 2476500"/>
                  <a:gd name="connsiteX262" fmla="*/ 1231972 w 1757434"/>
                  <a:gd name="connsiteY262" fmla="*/ 444500 h 2476500"/>
                  <a:gd name="connsiteX263" fmla="*/ 1230384 w 1757434"/>
                  <a:gd name="connsiteY263" fmla="*/ 438150 h 2476500"/>
                  <a:gd name="connsiteX264" fmla="*/ 1225622 w 1757434"/>
                  <a:gd name="connsiteY264" fmla="*/ 433388 h 2476500"/>
                  <a:gd name="connsiteX265" fmla="*/ 1222447 w 1757434"/>
                  <a:gd name="connsiteY265" fmla="*/ 428625 h 2476500"/>
                  <a:gd name="connsiteX266" fmla="*/ 1204984 w 1757434"/>
                  <a:gd name="connsiteY266" fmla="*/ 411163 h 2476500"/>
                  <a:gd name="connsiteX267" fmla="*/ 1197047 w 1757434"/>
                  <a:gd name="connsiteY267" fmla="*/ 409575 h 2476500"/>
                  <a:gd name="connsiteX268" fmla="*/ 1192284 w 1757434"/>
                  <a:gd name="connsiteY268" fmla="*/ 395288 h 2476500"/>
                  <a:gd name="connsiteX269" fmla="*/ 1189109 w 1757434"/>
                  <a:gd name="connsiteY269" fmla="*/ 390525 h 2476500"/>
                  <a:gd name="connsiteX270" fmla="*/ 1184347 w 1757434"/>
                  <a:gd name="connsiteY270" fmla="*/ 388938 h 2476500"/>
                  <a:gd name="connsiteX271" fmla="*/ 1179584 w 1757434"/>
                  <a:gd name="connsiteY271" fmla="*/ 390525 h 2476500"/>
                  <a:gd name="connsiteX272" fmla="*/ 1149422 w 1757434"/>
                  <a:gd name="connsiteY272" fmla="*/ 393700 h 2476500"/>
                  <a:gd name="connsiteX273" fmla="*/ 1157359 w 1757434"/>
                  <a:gd name="connsiteY273" fmla="*/ 438150 h 2476500"/>
                  <a:gd name="connsiteX274" fmla="*/ 1151009 w 1757434"/>
                  <a:gd name="connsiteY274" fmla="*/ 436563 h 2476500"/>
                  <a:gd name="connsiteX275" fmla="*/ 1125609 w 1757434"/>
                  <a:gd name="connsiteY275" fmla="*/ 439738 h 2476500"/>
                  <a:gd name="connsiteX276" fmla="*/ 1116084 w 1757434"/>
                  <a:gd name="connsiteY276" fmla="*/ 447675 h 2476500"/>
                  <a:gd name="connsiteX277" fmla="*/ 1111322 w 1757434"/>
                  <a:gd name="connsiteY277" fmla="*/ 449263 h 2476500"/>
                  <a:gd name="connsiteX278" fmla="*/ 1101797 w 1757434"/>
                  <a:gd name="connsiteY278" fmla="*/ 454025 h 2476500"/>
                  <a:gd name="connsiteX279" fmla="*/ 1095447 w 1757434"/>
                  <a:gd name="connsiteY279" fmla="*/ 458788 h 2476500"/>
                  <a:gd name="connsiteX280" fmla="*/ 1101797 w 1757434"/>
                  <a:gd name="connsiteY280" fmla="*/ 469900 h 2476500"/>
                  <a:gd name="connsiteX281" fmla="*/ 1109734 w 1757434"/>
                  <a:gd name="connsiteY281" fmla="*/ 473075 h 2476500"/>
                  <a:gd name="connsiteX282" fmla="*/ 1114497 w 1757434"/>
                  <a:gd name="connsiteY282" fmla="*/ 477838 h 2476500"/>
                  <a:gd name="connsiteX283" fmla="*/ 1116084 w 1757434"/>
                  <a:gd name="connsiteY283" fmla="*/ 484188 h 2476500"/>
                  <a:gd name="connsiteX284" fmla="*/ 1117672 w 1757434"/>
                  <a:gd name="connsiteY284" fmla="*/ 504825 h 2476500"/>
                  <a:gd name="connsiteX285" fmla="*/ 1117672 w 1757434"/>
                  <a:gd name="connsiteY285" fmla="*/ 547688 h 2476500"/>
                  <a:gd name="connsiteX286" fmla="*/ 1124022 w 1757434"/>
                  <a:gd name="connsiteY286" fmla="*/ 550863 h 2476500"/>
                  <a:gd name="connsiteX287" fmla="*/ 1125609 w 1757434"/>
                  <a:gd name="connsiteY287" fmla="*/ 555625 h 2476500"/>
                  <a:gd name="connsiteX288" fmla="*/ 1130372 w 1757434"/>
                  <a:gd name="connsiteY288" fmla="*/ 557213 h 2476500"/>
                  <a:gd name="connsiteX289" fmla="*/ 1122434 w 1757434"/>
                  <a:gd name="connsiteY289" fmla="*/ 565150 h 2476500"/>
                  <a:gd name="connsiteX290" fmla="*/ 1117672 w 1757434"/>
                  <a:gd name="connsiteY290" fmla="*/ 576263 h 2476500"/>
                  <a:gd name="connsiteX291" fmla="*/ 1112909 w 1757434"/>
                  <a:gd name="connsiteY291" fmla="*/ 584200 h 2476500"/>
                  <a:gd name="connsiteX292" fmla="*/ 1106559 w 1757434"/>
                  <a:gd name="connsiteY292" fmla="*/ 587375 h 2476500"/>
                  <a:gd name="connsiteX293" fmla="*/ 1098622 w 1757434"/>
                  <a:gd name="connsiteY293" fmla="*/ 584200 h 2476500"/>
                  <a:gd name="connsiteX294" fmla="*/ 1093859 w 1757434"/>
                  <a:gd name="connsiteY294" fmla="*/ 579438 h 2476500"/>
                  <a:gd name="connsiteX295" fmla="*/ 1082747 w 1757434"/>
                  <a:gd name="connsiteY295" fmla="*/ 573088 h 2476500"/>
                  <a:gd name="connsiteX296" fmla="*/ 1062109 w 1757434"/>
                  <a:gd name="connsiteY296" fmla="*/ 569913 h 2476500"/>
                  <a:gd name="connsiteX297" fmla="*/ 1047822 w 1757434"/>
                  <a:gd name="connsiteY297" fmla="*/ 565150 h 2476500"/>
                  <a:gd name="connsiteX298" fmla="*/ 1041472 w 1757434"/>
                  <a:gd name="connsiteY298" fmla="*/ 563563 h 2476500"/>
                  <a:gd name="connsiteX299" fmla="*/ 1030359 w 1757434"/>
                  <a:gd name="connsiteY299" fmla="*/ 565150 h 2476500"/>
                  <a:gd name="connsiteX300" fmla="*/ 1017659 w 1757434"/>
                  <a:gd name="connsiteY300" fmla="*/ 571500 h 2476500"/>
                  <a:gd name="connsiteX301" fmla="*/ 1016072 w 1757434"/>
                  <a:gd name="connsiteY301" fmla="*/ 560388 h 2476500"/>
                  <a:gd name="connsiteX302" fmla="*/ 989084 w 1757434"/>
                  <a:gd name="connsiteY302" fmla="*/ 560388 h 2476500"/>
                  <a:gd name="connsiteX303" fmla="*/ 984322 w 1757434"/>
                  <a:gd name="connsiteY303" fmla="*/ 566738 h 2476500"/>
                  <a:gd name="connsiteX304" fmla="*/ 990672 w 1757434"/>
                  <a:gd name="connsiteY304" fmla="*/ 592138 h 2476500"/>
                  <a:gd name="connsiteX305" fmla="*/ 992259 w 1757434"/>
                  <a:gd name="connsiteY305" fmla="*/ 596900 h 2476500"/>
                  <a:gd name="connsiteX306" fmla="*/ 989084 w 1757434"/>
                  <a:gd name="connsiteY306" fmla="*/ 644525 h 2476500"/>
                  <a:gd name="connsiteX307" fmla="*/ 984322 w 1757434"/>
                  <a:gd name="connsiteY307" fmla="*/ 650875 h 2476500"/>
                  <a:gd name="connsiteX308" fmla="*/ 982734 w 1757434"/>
                  <a:gd name="connsiteY308" fmla="*/ 655638 h 2476500"/>
                  <a:gd name="connsiteX309" fmla="*/ 979559 w 1757434"/>
                  <a:gd name="connsiteY309" fmla="*/ 669925 h 2476500"/>
                  <a:gd name="connsiteX310" fmla="*/ 974797 w 1757434"/>
                  <a:gd name="connsiteY310" fmla="*/ 666750 h 2476500"/>
                  <a:gd name="connsiteX311" fmla="*/ 970034 w 1757434"/>
                  <a:gd name="connsiteY311" fmla="*/ 661988 h 2476500"/>
                  <a:gd name="connsiteX312" fmla="*/ 960509 w 1757434"/>
                  <a:gd name="connsiteY312" fmla="*/ 663575 h 2476500"/>
                  <a:gd name="connsiteX313" fmla="*/ 943047 w 1757434"/>
                  <a:gd name="connsiteY313" fmla="*/ 668338 h 2476500"/>
                  <a:gd name="connsiteX314" fmla="*/ 936697 w 1757434"/>
                  <a:gd name="connsiteY314" fmla="*/ 676275 h 2476500"/>
                  <a:gd name="connsiteX315" fmla="*/ 925584 w 1757434"/>
                  <a:gd name="connsiteY315" fmla="*/ 687388 h 2476500"/>
                  <a:gd name="connsiteX316" fmla="*/ 922409 w 1757434"/>
                  <a:gd name="connsiteY316" fmla="*/ 692150 h 2476500"/>
                  <a:gd name="connsiteX317" fmla="*/ 916059 w 1757434"/>
                  <a:gd name="connsiteY317" fmla="*/ 698500 h 2476500"/>
                  <a:gd name="connsiteX318" fmla="*/ 912884 w 1757434"/>
                  <a:gd name="connsiteY318" fmla="*/ 704850 h 2476500"/>
                  <a:gd name="connsiteX319" fmla="*/ 909709 w 1757434"/>
                  <a:gd name="connsiteY319" fmla="*/ 709613 h 2476500"/>
                  <a:gd name="connsiteX320" fmla="*/ 908122 w 1757434"/>
                  <a:gd name="connsiteY320" fmla="*/ 717550 h 2476500"/>
                  <a:gd name="connsiteX321" fmla="*/ 901772 w 1757434"/>
                  <a:gd name="connsiteY321" fmla="*/ 727075 h 2476500"/>
                  <a:gd name="connsiteX322" fmla="*/ 897009 w 1757434"/>
                  <a:gd name="connsiteY322" fmla="*/ 741363 h 2476500"/>
                  <a:gd name="connsiteX323" fmla="*/ 895422 w 1757434"/>
                  <a:gd name="connsiteY323" fmla="*/ 746125 h 2476500"/>
                  <a:gd name="connsiteX324" fmla="*/ 893834 w 1757434"/>
                  <a:gd name="connsiteY324" fmla="*/ 757238 h 2476500"/>
                  <a:gd name="connsiteX325" fmla="*/ 887484 w 1757434"/>
                  <a:gd name="connsiteY325" fmla="*/ 763588 h 2476500"/>
                  <a:gd name="connsiteX326" fmla="*/ 882722 w 1757434"/>
                  <a:gd name="connsiteY326" fmla="*/ 769938 h 2476500"/>
                  <a:gd name="connsiteX327" fmla="*/ 884309 w 1757434"/>
                  <a:gd name="connsiteY327" fmla="*/ 781050 h 2476500"/>
                  <a:gd name="connsiteX328" fmla="*/ 892247 w 1757434"/>
                  <a:gd name="connsiteY328" fmla="*/ 795338 h 2476500"/>
                  <a:gd name="connsiteX329" fmla="*/ 892247 w 1757434"/>
                  <a:gd name="connsiteY329" fmla="*/ 839788 h 2476500"/>
                  <a:gd name="connsiteX330" fmla="*/ 887484 w 1757434"/>
                  <a:gd name="connsiteY330" fmla="*/ 842963 h 2476500"/>
                  <a:gd name="connsiteX331" fmla="*/ 879547 w 1757434"/>
                  <a:gd name="connsiteY331" fmla="*/ 855663 h 2476500"/>
                  <a:gd name="connsiteX332" fmla="*/ 876372 w 1757434"/>
                  <a:gd name="connsiteY332" fmla="*/ 863600 h 2476500"/>
                  <a:gd name="connsiteX333" fmla="*/ 874784 w 1757434"/>
                  <a:gd name="connsiteY333" fmla="*/ 869950 h 2476500"/>
                  <a:gd name="connsiteX334" fmla="*/ 870022 w 1757434"/>
                  <a:gd name="connsiteY334" fmla="*/ 884238 h 2476500"/>
                  <a:gd name="connsiteX335" fmla="*/ 866847 w 1757434"/>
                  <a:gd name="connsiteY335" fmla="*/ 893763 h 2476500"/>
                  <a:gd name="connsiteX336" fmla="*/ 863672 w 1757434"/>
                  <a:gd name="connsiteY336" fmla="*/ 906463 h 2476500"/>
                  <a:gd name="connsiteX337" fmla="*/ 857322 w 1757434"/>
                  <a:gd name="connsiteY337" fmla="*/ 919163 h 2476500"/>
                  <a:gd name="connsiteX338" fmla="*/ 852559 w 1757434"/>
                  <a:gd name="connsiteY338" fmla="*/ 923925 h 2476500"/>
                  <a:gd name="connsiteX339" fmla="*/ 843034 w 1757434"/>
                  <a:gd name="connsiteY339" fmla="*/ 935038 h 2476500"/>
                  <a:gd name="connsiteX340" fmla="*/ 831922 w 1757434"/>
                  <a:gd name="connsiteY340" fmla="*/ 944563 h 2476500"/>
                  <a:gd name="connsiteX341" fmla="*/ 830334 w 1757434"/>
                  <a:gd name="connsiteY341" fmla="*/ 950913 h 2476500"/>
                  <a:gd name="connsiteX342" fmla="*/ 835097 w 1757434"/>
                  <a:gd name="connsiteY342" fmla="*/ 973138 h 2476500"/>
                  <a:gd name="connsiteX343" fmla="*/ 833509 w 1757434"/>
                  <a:gd name="connsiteY343" fmla="*/ 990600 h 2476500"/>
                  <a:gd name="connsiteX344" fmla="*/ 825572 w 1757434"/>
                  <a:gd name="connsiteY344" fmla="*/ 995363 h 2476500"/>
                  <a:gd name="connsiteX345" fmla="*/ 819222 w 1757434"/>
                  <a:gd name="connsiteY345" fmla="*/ 1001713 h 2476500"/>
                  <a:gd name="connsiteX346" fmla="*/ 801759 w 1757434"/>
                  <a:gd name="connsiteY346" fmla="*/ 1016000 h 2476500"/>
                  <a:gd name="connsiteX347" fmla="*/ 782709 w 1757434"/>
                  <a:gd name="connsiteY347" fmla="*/ 1014413 h 2476500"/>
                  <a:gd name="connsiteX348" fmla="*/ 777777 w 1757434"/>
                  <a:gd name="connsiteY348" fmla="*/ 1011206 h 2476500"/>
                  <a:gd name="connsiteX349" fmla="*/ 780808 w 1757434"/>
                  <a:gd name="connsiteY349" fmla="*/ 1009156 h 2476500"/>
                  <a:gd name="connsiteX350" fmla="*/ 782139 w 1757434"/>
                  <a:gd name="connsiteY350" fmla="*/ 1008856 h 2476500"/>
                  <a:gd name="connsiteX351" fmla="*/ 780893 w 1757434"/>
                  <a:gd name="connsiteY351" fmla="*/ 1009099 h 2476500"/>
                  <a:gd name="connsiteX352" fmla="*/ 780808 w 1757434"/>
                  <a:gd name="connsiteY352" fmla="*/ 1009156 h 2476500"/>
                  <a:gd name="connsiteX353" fmla="*/ 771597 w 1757434"/>
                  <a:gd name="connsiteY353" fmla="*/ 1011238 h 2476500"/>
                  <a:gd name="connsiteX354" fmla="*/ 773184 w 1757434"/>
                  <a:gd name="connsiteY354" fmla="*/ 1050925 h 2476500"/>
                  <a:gd name="connsiteX355" fmla="*/ 779534 w 1757434"/>
                  <a:gd name="connsiteY355" fmla="*/ 1063625 h 2476500"/>
                  <a:gd name="connsiteX356" fmla="*/ 781122 w 1757434"/>
                  <a:gd name="connsiteY356" fmla="*/ 1068388 h 2476500"/>
                  <a:gd name="connsiteX357" fmla="*/ 782709 w 1757434"/>
                  <a:gd name="connsiteY357" fmla="*/ 1079500 h 2476500"/>
                  <a:gd name="connsiteX358" fmla="*/ 777947 w 1757434"/>
                  <a:gd name="connsiteY358" fmla="*/ 1093788 h 2476500"/>
                  <a:gd name="connsiteX359" fmla="*/ 773184 w 1757434"/>
                  <a:gd name="connsiteY359" fmla="*/ 1096963 h 2476500"/>
                  <a:gd name="connsiteX360" fmla="*/ 774772 w 1757434"/>
                  <a:gd name="connsiteY360" fmla="*/ 1106488 h 2476500"/>
                  <a:gd name="connsiteX361" fmla="*/ 782709 w 1757434"/>
                  <a:gd name="connsiteY361" fmla="*/ 1116013 h 2476500"/>
                  <a:gd name="connsiteX362" fmla="*/ 784297 w 1757434"/>
                  <a:gd name="connsiteY362" fmla="*/ 1123950 h 2476500"/>
                  <a:gd name="connsiteX363" fmla="*/ 787472 w 1757434"/>
                  <a:gd name="connsiteY363" fmla="*/ 1135063 h 2476500"/>
                  <a:gd name="connsiteX364" fmla="*/ 784297 w 1757434"/>
                  <a:gd name="connsiteY364" fmla="*/ 1157288 h 2476500"/>
                  <a:gd name="connsiteX365" fmla="*/ 781122 w 1757434"/>
                  <a:gd name="connsiteY365" fmla="*/ 1165225 h 2476500"/>
                  <a:gd name="connsiteX366" fmla="*/ 777947 w 1757434"/>
                  <a:gd name="connsiteY366" fmla="*/ 1169988 h 2476500"/>
                  <a:gd name="connsiteX367" fmla="*/ 779534 w 1757434"/>
                  <a:gd name="connsiteY367" fmla="*/ 1177925 h 2476500"/>
                  <a:gd name="connsiteX368" fmla="*/ 776359 w 1757434"/>
                  <a:gd name="connsiteY368" fmla="*/ 1192213 h 2476500"/>
                  <a:gd name="connsiteX369" fmla="*/ 773184 w 1757434"/>
                  <a:gd name="connsiteY369" fmla="*/ 1196975 h 2476500"/>
                  <a:gd name="connsiteX370" fmla="*/ 768422 w 1757434"/>
                  <a:gd name="connsiteY370" fmla="*/ 1206500 h 2476500"/>
                  <a:gd name="connsiteX371" fmla="*/ 763659 w 1757434"/>
                  <a:gd name="connsiteY371" fmla="*/ 1209675 h 2476500"/>
                  <a:gd name="connsiteX372" fmla="*/ 750959 w 1757434"/>
                  <a:gd name="connsiteY372" fmla="*/ 1230313 h 2476500"/>
                  <a:gd name="connsiteX373" fmla="*/ 738259 w 1757434"/>
                  <a:gd name="connsiteY373" fmla="*/ 1235075 h 2476500"/>
                  <a:gd name="connsiteX374" fmla="*/ 749371 w 1757434"/>
                  <a:gd name="connsiteY374" fmla="*/ 1247776 h 2476500"/>
                  <a:gd name="connsiteX375" fmla="*/ 730322 w 1757434"/>
                  <a:gd name="connsiteY375" fmla="*/ 1276350 h 2476500"/>
                  <a:gd name="connsiteX376" fmla="*/ 733497 w 1757434"/>
                  <a:gd name="connsiteY376" fmla="*/ 1293813 h 2476500"/>
                  <a:gd name="connsiteX377" fmla="*/ 738259 w 1757434"/>
                  <a:gd name="connsiteY377" fmla="*/ 1296988 h 2476500"/>
                  <a:gd name="connsiteX378" fmla="*/ 762072 w 1757434"/>
                  <a:gd name="connsiteY378" fmla="*/ 1319213 h 2476500"/>
                  <a:gd name="connsiteX379" fmla="*/ 768422 w 1757434"/>
                  <a:gd name="connsiteY379" fmla="*/ 1322388 h 2476500"/>
                  <a:gd name="connsiteX380" fmla="*/ 766834 w 1757434"/>
                  <a:gd name="connsiteY380" fmla="*/ 1366838 h 2476500"/>
                  <a:gd name="connsiteX381" fmla="*/ 763659 w 1757434"/>
                  <a:gd name="connsiteY381" fmla="*/ 1376363 h 2476500"/>
                  <a:gd name="connsiteX382" fmla="*/ 760484 w 1757434"/>
                  <a:gd name="connsiteY382" fmla="*/ 1384300 h 2476500"/>
                  <a:gd name="connsiteX383" fmla="*/ 758897 w 1757434"/>
                  <a:gd name="connsiteY383" fmla="*/ 1389063 h 2476500"/>
                  <a:gd name="connsiteX384" fmla="*/ 750959 w 1757434"/>
                  <a:gd name="connsiteY384" fmla="*/ 1398588 h 2476500"/>
                  <a:gd name="connsiteX385" fmla="*/ 719209 w 1757434"/>
                  <a:gd name="connsiteY385" fmla="*/ 1397000 h 2476500"/>
                  <a:gd name="connsiteX386" fmla="*/ 714447 w 1757434"/>
                  <a:gd name="connsiteY386" fmla="*/ 1389063 h 2476500"/>
                  <a:gd name="connsiteX387" fmla="*/ 706509 w 1757434"/>
                  <a:gd name="connsiteY387" fmla="*/ 1385888 h 2476500"/>
                  <a:gd name="connsiteX388" fmla="*/ 693809 w 1757434"/>
                  <a:gd name="connsiteY388" fmla="*/ 1389063 h 2476500"/>
                  <a:gd name="connsiteX389" fmla="*/ 685872 w 1757434"/>
                  <a:gd name="connsiteY389" fmla="*/ 1395413 h 2476500"/>
                  <a:gd name="connsiteX390" fmla="*/ 677934 w 1757434"/>
                  <a:gd name="connsiteY390" fmla="*/ 1406525 h 2476500"/>
                  <a:gd name="connsiteX391" fmla="*/ 671584 w 1757434"/>
                  <a:gd name="connsiteY391" fmla="*/ 1409700 h 2476500"/>
                  <a:gd name="connsiteX392" fmla="*/ 657297 w 1757434"/>
                  <a:gd name="connsiteY392" fmla="*/ 1419225 h 2476500"/>
                  <a:gd name="connsiteX393" fmla="*/ 654122 w 1757434"/>
                  <a:gd name="connsiteY393" fmla="*/ 1423988 h 2476500"/>
                  <a:gd name="connsiteX394" fmla="*/ 660472 w 1757434"/>
                  <a:gd name="connsiteY394" fmla="*/ 1430338 h 2476500"/>
                  <a:gd name="connsiteX395" fmla="*/ 662059 w 1757434"/>
                  <a:gd name="connsiteY395" fmla="*/ 1435100 h 2476500"/>
                  <a:gd name="connsiteX396" fmla="*/ 655709 w 1757434"/>
                  <a:gd name="connsiteY396" fmla="*/ 1438275 h 2476500"/>
                  <a:gd name="connsiteX397" fmla="*/ 650947 w 1757434"/>
                  <a:gd name="connsiteY397" fmla="*/ 1443038 h 2476500"/>
                  <a:gd name="connsiteX398" fmla="*/ 643009 w 1757434"/>
                  <a:gd name="connsiteY398" fmla="*/ 1449388 h 2476500"/>
                  <a:gd name="connsiteX399" fmla="*/ 638247 w 1757434"/>
                  <a:gd name="connsiteY399" fmla="*/ 1455738 h 2476500"/>
                  <a:gd name="connsiteX400" fmla="*/ 633484 w 1757434"/>
                  <a:gd name="connsiteY400" fmla="*/ 1458913 h 2476500"/>
                  <a:gd name="connsiteX401" fmla="*/ 623959 w 1757434"/>
                  <a:gd name="connsiteY401" fmla="*/ 1470025 h 2476500"/>
                  <a:gd name="connsiteX402" fmla="*/ 620784 w 1757434"/>
                  <a:gd name="connsiteY402" fmla="*/ 1489075 h 2476500"/>
                  <a:gd name="connsiteX403" fmla="*/ 619197 w 1757434"/>
                  <a:gd name="connsiteY403" fmla="*/ 1498600 h 2476500"/>
                  <a:gd name="connsiteX404" fmla="*/ 612847 w 1757434"/>
                  <a:gd name="connsiteY404" fmla="*/ 1487488 h 2476500"/>
                  <a:gd name="connsiteX405" fmla="*/ 612667 w 1757434"/>
                  <a:gd name="connsiteY405" fmla="*/ 1487193 h 2476500"/>
                  <a:gd name="connsiteX406" fmla="*/ 611259 w 1757434"/>
                  <a:gd name="connsiteY406" fmla="*/ 1509713 h 2476500"/>
                  <a:gd name="connsiteX407" fmla="*/ 603322 w 1757434"/>
                  <a:gd name="connsiteY407" fmla="*/ 1514475 h 2476500"/>
                  <a:gd name="connsiteX408" fmla="*/ 598559 w 1757434"/>
                  <a:gd name="connsiteY408" fmla="*/ 1519238 h 2476500"/>
                  <a:gd name="connsiteX409" fmla="*/ 593797 w 1757434"/>
                  <a:gd name="connsiteY409" fmla="*/ 1530350 h 2476500"/>
                  <a:gd name="connsiteX410" fmla="*/ 603322 w 1757434"/>
                  <a:gd name="connsiteY410" fmla="*/ 1539875 h 2476500"/>
                  <a:gd name="connsiteX411" fmla="*/ 606497 w 1757434"/>
                  <a:gd name="connsiteY411" fmla="*/ 1544638 h 2476500"/>
                  <a:gd name="connsiteX412" fmla="*/ 611259 w 1757434"/>
                  <a:gd name="connsiteY412" fmla="*/ 1550988 h 2476500"/>
                  <a:gd name="connsiteX413" fmla="*/ 612847 w 1757434"/>
                  <a:gd name="connsiteY413" fmla="*/ 1555750 h 2476500"/>
                  <a:gd name="connsiteX414" fmla="*/ 617609 w 1757434"/>
                  <a:gd name="connsiteY414" fmla="*/ 1562100 h 2476500"/>
                  <a:gd name="connsiteX415" fmla="*/ 616022 w 1757434"/>
                  <a:gd name="connsiteY415" fmla="*/ 1593850 h 2476500"/>
                  <a:gd name="connsiteX416" fmla="*/ 614434 w 1757434"/>
                  <a:gd name="connsiteY416" fmla="*/ 1598613 h 2476500"/>
                  <a:gd name="connsiteX417" fmla="*/ 609672 w 1757434"/>
                  <a:gd name="connsiteY417" fmla="*/ 1600200 h 2476500"/>
                  <a:gd name="connsiteX418" fmla="*/ 609672 w 1757434"/>
                  <a:gd name="connsiteY418" fmla="*/ 1635125 h 2476500"/>
                  <a:gd name="connsiteX419" fmla="*/ 612847 w 1757434"/>
                  <a:gd name="connsiteY419" fmla="*/ 1641475 h 2476500"/>
                  <a:gd name="connsiteX420" fmla="*/ 616022 w 1757434"/>
                  <a:gd name="connsiteY420" fmla="*/ 1677988 h 2476500"/>
                  <a:gd name="connsiteX421" fmla="*/ 620784 w 1757434"/>
                  <a:gd name="connsiteY421" fmla="*/ 1682750 h 2476500"/>
                  <a:gd name="connsiteX422" fmla="*/ 624689 w 1757434"/>
                  <a:gd name="connsiteY422" fmla="*/ 1687924 h 2476500"/>
                  <a:gd name="connsiteX423" fmla="*/ 623038 w 1757434"/>
                  <a:gd name="connsiteY423" fmla="*/ 1686677 h 2476500"/>
                  <a:gd name="connsiteX424" fmla="*/ 622473 w 1757434"/>
                  <a:gd name="connsiteY424" fmla="*/ 1686119 h 2476500"/>
                  <a:gd name="connsiteX425" fmla="*/ 622926 w 1757434"/>
                  <a:gd name="connsiteY425" fmla="*/ 1686592 h 2476500"/>
                  <a:gd name="connsiteX426" fmla="*/ 623038 w 1757434"/>
                  <a:gd name="connsiteY426" fmla="*/ 1686677 h 2476500"/>
                  <a:gd name="connsiteX427" fmla="*/ 630309 w 1757434"/>
                  <a:gd name="connsiteY427" fmla="*/ 1693863 h 2476500"/>
                  <a:gd name="connsiteX428" fmla="*/ 630309 w 1757434"/>
                  <a:gd name="connsiteY428" fmla="*/ 1730375 h 2476500"/>
                  <a:gd name="connsiteX429" fmla="*/ 628722 w 1757434"/>
                  <a:gd name="connsiteY429" fmla="*/ 1744663 h 2476500"/>
                  <a:gd name="connsiteX430" fmla="*/ 622372 w 1757434"/>
                  <a:gd name="connsiteY430" fmla="*/ 1754188 h 2476500"/>
                  <a:gd name="connsiteX431" fmla="*/ 622372 w 1757434"/>
                  <a:gd name="connsiteY431" fmla="*/ 1800225 h 2476500"/>
                  <a:gd name="connsiteX432" fmla="*/ 625547 w 1757434"/>
                  <a:gd name="connsiteY432" fmla="*/ 1809750 h 2476500"/>
                  <a:gd name="connsiteX433" fmla="*/ 627134 w 1757434"/>
                  <a:gd name="connsiteY433" fmla="*/ 1814513 h 2476500"/>
                  <a:gd name="connsiteX434" fmla="*/ 636659 w 1757434"/>
                  <a:gd name="connsiteY434" fmla="*/ 1827213 h 2476500"/>
                  <a:gd name="connsiteX435" fmla="*/ 647772 w 1757434"/>
                  <a:gd name="connsiteY435" fmla="*/ 1838325 h 2476500"/>
                  <a:gd name="connsiteX436" fmla="*/ 652534 w 1757434"/>
                  <a:gd name="connsiteY436" fmla="*/ 1839913 h 2476500"/>
                  <a:gd name="connsiteX437" fmla="*/ 666822 w 1757434"/>
                  <a:gd name="connsiteY437" fmla="*/ 1847850 h 2476500"/>
                  <a:gd name="connsiteX438" fmla="*/ 681109 w 1757434"/>
                  <a:gd name="connsiteY438" fmla="*/ 1863725 h 2476500"/>
                  <a:gd name="connsiteX439" fmla="*/ 682697 w 1757434"/>
                  <a:gd name="connsiteY439" fmla="*/ 1873250 h 2476500"/>
                  <a:gd name="connsiteX440" fmla="*/ 685872 w 1757434"/>
                  <a:gd name="connsiteY440" fmla="*/ 1881188 h 2476500"/>
                  <a:gd name="connsiteX441" fmla="*/ 684284 w 1757434"/>
                  <a:gd name="connsiteY441" fmla="*/ 1920875 h 2476500"/>
                  <a:gd name="connsiteX442" fmla="*/ 677934 w 1757434"/>
                  <a:gd name="connsiteY442" fmla="*/ 1925638 h 2476500"/>
                  <a:gd name="connsiteX443" fmla="*/ 674759 w 1757434"/>
                  <a:gd name="connsiteY443" fmla="*/ 1931988 h 2476500"/>
                  <a:gd name="connsiteX444" fmla="*/ 643009 w 1757434"/>
                  <a:gd name="connsiteY444" fmla="*/ 1938338 h 2476500"/>
                  <a:gd name="connsiteX445" fmla="*/ 636659 w 1757434"/>
                  <a:gd name="connsiteY445" fmla="*/ 1943100 h 2476500"/>
                  <a:gd name="connsiteX446" fmla="*/ 636659 w 1757434"/>
                  <a:gd name="connsiteY446" fmla="*/ 1968500 h 2476500"/>
                  <a:gd name="connsiteX447" fmla="*/ 644597 w 1757434"/>
                  <a:gd name="connsiteY447" fmla="*/ 1971675 h 2476500"/>
                  <a:gd name="connsiteX448" fmla="*/ 650947 w 1757434"/>
                  <a:gd name="connsiteY448" fmla="*/ 1974850 h 2476500"/>
                  <a:gd name="connsiteX449" fmla="*/ 652534 w 1757434"/>
                  <a:gd name="connsiteY449" fmla="*/ 1998663 h 2476500"/>
                  <a:gd name="connsiteX450" fmla="*/ 657297 w 1757434"/>
                  <a:gd name="connsiteY450" fmla="*/ 2001838 h 2476500"/>
                  <a:gd name="connsiteX451" fmla="*/ 660472 w 1757434"/>
                  <a:gd name="connsiteY451" fmla="*/ 2006600 h 2476500"/>
                  <a:gd name="connsiteX452" fmla="*/ 666822 w 1757434"/>
                  <a:gd name="connsiteY452" fmla="*/ 2014538 h 2476500"/>
                  <a:gd name="connsiteX453" fmla="*/ 668409 w 1757434"/>
                  <a:gd name="connsiteY453" fmla="*/ 2022475 h 2476500"/>
                  <a:gd name="connsiteX454" fmla="*/ 669997 w 1757434"/>
                  <a:gd name="connsiteY454" fmla="*/ 2027238 h 2476500"/>
                  <a:gd name="connsiteX455" fmla="*/ 671584 w 1757434"/>
                  <a:gd name="connsiteY455" fmla="*/ 2036763 h 2476500"/>
                  <a:gd name="connsiteX456" fmla="*/ 668409 w 1757434"/>
                  <a:gd name="connsiteY456" fmla="*/ 2055813 h 2476500"/>
                  <a:gd name="connsiteX457" fmla="*/ 663647 w 1757434"/>
                  <a:gd name="connsiteY457" fmla="*/ 2062163 h 2476500"/>
                  <a:gd name="connsiteX458" fmla="*/ 665234 w 1757434"/>
                  <a:gd name="connsiteY458" fmla="*/ 2068513 h 2476500"/>
                  <a:gd name="connsiteX459" fmla="*/ 671584 w 1757434"/>
                  <a:gd name="connsiteY459" fmla="*/ 2073275 h 2476500"/>
                  <a:gd name="connsiteX460" fmla="*/ 668409 w 1757434"/>
                  <a:gd name="connsiteY460" fmla="*/ 2098675 h 2476500"/>
                  <a:gd name="connsiteX461" fmla="*/ 663647 w 1757434"/>
                  <a:gd name="connsiteY461" fmla="*/ 2106613 h 2476500"/>
                  <a:gd name="connsiteX462" fmla="*/ 662059 w 1757434"/>
                  <a:gd name="connsiteY462" fmla="*/ 2117725 h 2476500"/>
                  <a:gd name="connsiteX463" fmla="*/ 643009 w 1757434"/>
                  <a:gd name="connsiteY463" fmla="*/ 2136775 h 2476500"/>
                  <a:gd name="connsiteX464" fmla="*/ 633484 w 1757434"/>
                  <a:gd name="connsiteY464" fmla="*/ 2138363 h 2476500"/>
                  <a:gd name="connsiteX465" fmla="*/ 628722 w 1757434"/>
                  <a:gd name="connsiteY465" fmla="*/ 2139950 h 2476500"/>
                  <a:gd name="connsiteX466" fmla="*/ 606497 w 1757434"/>
                  <a:gd name="connsiteY466" fmla="*/ 2141538 h 2476500"/>
                  <a:gd name="connsiteX467" fmla="*/ 600147 w 1757434"/>
                  <a:gd name="connsiteY467" fmla="*/ 2144713 h 2476500"/>
                  <a:gd name="connsiteX468" fmla="*/ 601734 w 1757434"/>
                  <a:gd name="connsiteY468" fmla="*/ 2149475 h 2476500"/>
                  <a:gd name="connsiteX469" fmla="*/ 612847 w 1757434"/>
                  <a:gd name="connsiteY469" fmla="*/ 2154238 h 2476500"/>
                  <a:gd name="connsiteX470" fmla="*/ 614434 w 1757434"/>
                  <a:gd name="connsiteY470" fmla="*/ 2159000 h 2476500"/>
                  <a:gd name="connsiteX471" fmla="*/ 611259 w 1757434"/>
                  <a:gd name="connsiteY471" fmla="*/ 2174875 h 2476500"/>
                  <a:gd name="connsiteX472" fmla="*/ 604909 w 1757434"/>
                  <a:gd name="connsiteY472" fmla="*/ 2181225 h 2476500"/>
                  <a:gd name="connsiteX473" fmla="*/ 600147 w 1757434"/>
                  <a:gd name="connsiteY473" fmla="*/ 2182813 h 2476500"/>
                  <a:gd name="connsiteX474" fmla="*/ 593797 w 1757434"/>
                  <a:gd name="connsiteY474" fmla="*/ 2189163 h 2476500"/>
                  <a:gd name="connsiteX475" fmla="*/ 595384 w 1757434"/>
                  <a:gd name="connsiteY475" fmla="*/ 2198688 h 2476500"/>
                  <a:gd name="connsiteX476" fmla="*/ 603322 w 1757434"/>
                  <a:gd name="connsiteY476" fmla="*/ 2216150 h 2476500"/>
                  <a:gd name="connsiteX477" fmla="*/ 606497 w 1757434"/>
                  <a:gd name="connsiteY477" fmla="*/ 2227263 h 2476500"/>
                  <a:gd name="connsiteX478" fmla="*/ 608084 w 1757434"/>
                  <a:gd name="connsiteY478" fmla="*/ 2232025 h 2476500"/>
                  <a:gd name="connsiteX479" fmla="*/ 608084 w 1757434"/>
                  <a:gd name="connsiteY479" fmla="*/ 2270125 h 2476500"/>
                  <a:gd name="connsiteX480" fmla="*/ 601734 w 1757434"/>
                  <a:gd name="connsiteY480" fmla="*/ 2289175 h 2476500"/>
                  <a:gd name="connsiteX481" fmla="*/ 595384 w 1757434"/>
                  <a:gd name="connsiteY481" fmla="*/ 2300288 h 2476500"/>
                  <a:gd name="connsiteX482" fmla="*/ 592209 w 1757434"/>
                  <a:gd name="connsiteY482" fmla="*/ 2316163 h 2476500"/>
                  <a:gd name="connsiteX483" fmla="*/ 577922 w 1757434"/>
                  <a:gd name="connsiteY483" fmla="*/ 2322513 h 2476500"/>
                  <a:gd name="connsiteX484" fmla="*/ 576334 w 1757434"/>
                  <a:gd name="connsiteY484" fmla="*/ 2308225 h 2476500"/>
                  <a:gd name="connsiteX485" fmla="*/ 568397 w 1757434"/>
                  <a:gd name="connsiteY485" fmla="*/ 2293938 h 2476500"/>
                  <a:gd name="connsiteX486" fmla="*/ 547759 w 1757434"/>
                  <a:gd name="connsiteY486" fmla="*/ 2290763 h 2476500"/>
                  <a:gd name="connsiteX487" fmla="*/ 542997 w 1757434"/>
                  <a:gd name="connsiteY487" fmla="*/ 2271713 h 2476500"/>
                  <a:gd name="connsiteX488" fmla="*/ 538234 w 1757434"/>
                  <a:gd name="connsiteY488" fmla="*/ 2270125 h 2476500"/>
                  <a:gd name="connsiteX489" fmla="*/ 525534 w 1757434"/>
                  <a:gd name="connsiteY489" fmla="*/ 2268538 h 2476500"/>
                  <a:gd name="connsiteX490" fmla="*/ 520772 w 1757434"/>
                  <a:gd name="connsiteY490" fmla="*/ 2265363 h 2476500"/>
                  <a:gd name="connsiteX491" fmla="*/ 514422 w 1757434"/>
                  <a:gd name="connsiteY491" fmla="*/ 2263775 h 2476500"/>
                  <a:gd name="connsiteX492" fmla="*/ 506484 w 1757434"/>
                  <a:gd name="connsiteY492" fmla="*/ 2254250 h 2476500"/>
                  <a:gd name="connsiteX493" fmla="*/ 508072 w 1757434"/>
                  <a:gd name="connsiteY493" fmla="*/ 2241550 h 2476500"/>
                  <a:gd name="connsiteX494" fmla="*/ 509659 w 1757434"/>
                  <a:gd name="connsiteY494" fmla="*/ 2228850 h 2476500"/>
                  <a:gd name="connsiteX495" fmla="*/ 509659 w 1757434"/>
                  <a:gd name="connsiteY495" fmla="*/ 2201863 h 2476500"/>
                  <a:gd name="connsiteX496" fmla="*/ 506484 w 1757434"/>
                  <a:gd name="connsiteY496" fmla="*/ 2197100 h 2476500"/>
                  <a:gd name="connsiteX497" fmla="*/ 503309 w 1757434"/>
                  <a:gd name="connsiteY497" fmla="*/ 2181225 h 2476500"/>
                  <a:gd name="connsiteX498" fmla="*/ 501722 w 1757434"/>
                  <a:gd name="connsiteY498" fmla="*/ 2176463 h 2476500"/>
                  <a:gd name="connsiteX499" fmla="*/ 503309 w 1757434"/>
                  <a:gd name="connsiteY499" fmla="*/ 2171700 h 2476500"/>
                  <a:gd name="connsiteX500" fmla="*/ 519184 w 1757434"/>
                  <a:gd name="connsiteY500" fmla="*/ 2168525 h 2476500"/>
                  <a:gd name="connsiteX501" fmla="*/ 517597 w 1757434"/>
                  <a:gd name="connsiteY501" fmla="*/ 2152650 h 2476500"/>
                  <a:gd name="connsiteX502" fmla="*/ 506484 w 1757434"/>
                  <a:gd name="connsiteY502" fmla="*/ 2154238 h 2476500"/>
                  <a:gd name="connsiteX503" fmla="*/ 501722 w 1757434"/>
                  <a:gd name="connsiteY503" fmla="*/ 2157413 h 2476500"/>
                  <a:gd name="connsiteX504" fmla="*/ 496959 w 1757434"/>
                  <a:gd name="connsiteY504" fmla="*/ 2159000 h 2476500"/>
                  <a:gd name="connsiteX505" fmla="*/ 492197 w 1757434"/>
                  <a:gd name="connsiteY505" fmla="*/ 2168525 h 2476500"/>
                  <a:gd name="connsiteX506" fmla="*/ 496959 w 1757434"/>
                  <a:gd name="connsiteY506" fmla="*/ 2181225 h 2476500"/>
                  <a:gd name="connsiteX507" fmla="*/ 495372 w 1757434"/>
                  <a:gd name="connsiteY507" fmla="*/ 2195513 h 2476500"/>
                  <a:gd name="connsiteX508" fmla="*/ 485847 w 1757434"/>
                  <a:gd name="connsiteY508" fmla="*/ 2184400 h 2476500"/>
                  <a:gd name="connsiteX509" fmla="*/ 481084 w 1757434"/>
                  <a:gd name="connsiteY509" fmla="*/ 2179638 h 2476500"/>
                  <a:gd name="connsiteX510" fmla="*/ 468384 w 1757434"/>
                  <a:gd name="connsiteY510" fmla="*/ 2181225 h 2476500"/>
                  <a:gd name="connsiteX511" fmla="*/ 469972 w 1757434"/>
                  <a:gd name="connsiteY511" fmla="*/ 2185988 h 2476500"/>
                  <a:gd name="connsiteX512" fmla="*/ 476322 w 1757434"/>
                  <a:gd name="connsiteY512" fmla="*/ 2190750 h 2476500"/>
                  <a:gd name="connsiteX513" fmla="*/ 474734 w 1757434"/>
                  <a:gd name="connsiteY513" fmla="*/ 2211388 h 2476500"/>
                  <a:gd name="connsiteX514" fmla="*/ 469972 w 1757434"/>
                  <a:gd name="connsiteY514" fmla="*/ 2214563 h 2476500"/>
                  <a:gd name="connsiteX515" fmla="*/ 474734 w 1757434"/>
                  <a:gd name="connsiteY515" fmla="*/ 2219325 h 2476500"/>
                  <a:gd name="connsiteX516" fmla="*/ 477909 w 1757434"/>
                  <a:gd name="connsiteY516" fmla="*/ 2230438 h 2476500"/>
                  <a:gd name="connsiteX517" fmla="*/ 481084 w 1757434"/>
                  <a:gd name="connsiteY517" fmla="*/ 2236788 h 2476500"/>
                  <a:gd name="connsiteX518" fmla="*/ 477909 w 1757434"/>
                  <a:gd name="connsiteY518" fmla="*/ 2251075 h 2476500"/>
                  <a:gd name="connsiteX519" fmla="*/ 476322 w 1757434"/>
                  <a:gd name="connsiteY519" fmla="*/ 2259013 h 2476500"/>
                  <a:gd name="connsiteX520" fmla="*/ 468384 w 1757434"/>
                  <a:gd name="connsiteY520" fmla="*/ 2257425 h 2476500"/>
                  <a:gd name="connsiteX521" fmla="*/ 460447 w 1757434"/>
                  <a:gd name="connsiteY521" fmla="*/ 2274888 h 2476500"/>
                  <a:gd name="connsiteX522" fmla="*/ 455684 w 1757434"/>
                  <a:gd name="connsiteY522" fmla="*/ 2273300 h 2476500"/>
                  <a:gd name="connsiteX523" fmla="*/ 450922 w 1757434"/>
                  <a:gd name="connsiteY523" fmla="*/ 2282825 h 2476500"/>
                  <a:gd name="connsiteX524" fmla="*/ 449334 w 1757434"/>
                  <a:gd name="connsiteY524" fmla="*/ 2287588 h 2476500"/>
                  <a:gd name="connsiteX525" fmla="*/ 454097 w 1757434"/>
                  <a:gd name="connsiteY525" fmla="*/ 2292350 h 2476500"/>
                  <a:gd name="connsiteX526" fmla="*/ 449334 w 1757434"/>
                  <a:gd name="connsiteY526" fmla="*/ 2290763 h 2476500"/>
                  <a:gd name="connsiteX527" fmla="*/ 444572 w 1757434"/>
                  <a:gd name="connsiteY527" fmla="*/ 2286000 h 2476500"/>
                  <a:gd name="connsiteX528" fmla="*/ 438222 w 1757434"/>
                  <a:gd name="connsiteY528" fmla="*/ 2295525 h 2476500"/>
                  <a:gd name="connsiteX529" fmla="*/ 435047 w 1757434"/>
                  <a:gd name="connsiteY529" fmla="*/ 2308225 h 2476500"/>
                  <a:gd name="connsiteX530" fmla="*/ 428697 w 1757434"/>
                  <a:gd name="connsiteY530" fmla="*/ 2298700 h 2476500"/>
                  <a:gd name="connsiteX531" fmla="*/ 415997 w 1757434"/>
                  <a:gd name="connsiteY531" fmla="*/ 2286000 h 2476500"/>
                  <a:gd name="connsiteX532" fmla="*/ 403297 w 1757434"/>
                  <a:gd name="connsiteY532" fmla="*/ 2284413 h 2476500"/>
                  <a:gd name="connsiteX533" fmla="*/ 409647 w 1757434"/>
                  <a:gd name="connsiteY533" fmla="*/ 2287588 h 2476500"/>
                  <a:gd name="connsiteX534" fmla="*/ 411234 w 1757434"/>
                  <a:gd name="connsiteY534" fmla="*/ 2295525 h 2476500"/>
                  <a:gd name="connsiteX535" fmla="*/ 406472 w 1757434"/>
                  <a:gd name="connsiteY535" fmla="*/ 2308225 h 2476500"/>
                  <a:gd name="connsiteX536" fmla="*/ 393772 w 1757434"/>
                  <a:gd name="connsiteY536" fmla="*/ 2312988 h 2476500"/>
                  <a:gd name="connsiteX537" fmla="*/ 390597 w 1757434"/>
                  <a:gd name="connsiteY537" fmla="*/ 2322513 h 2476500"/>
                  <a:gd name="connsiteX538" fmla="*/ 384247 w 1757434"/>
                  <a:gd name="connsiteY538" fmla="*/ 2328863 h 2476500"/>
                  <a:gd name="connsiteX539" fmla="*/ 381072 w 1757434"/>
                  <a:gd name="connsiteY539" fmla="*/ 2341563 h 2476500"/>
                  <a:gd name="connsiteX540" fmla="*/ 376309 w 1757434"/>
                  <a:gd name="connsiteY540" fmla="*/ 2336800 h 2476500"/>
                  <a:gd name="connsiteX541" fmla="*/ 379484 w 1757434"/>
                  <a:gd name="connsiteY541" fmla="*/ 2341563 h 2476500"/>
                  <a:gd name="connsiteX542" fmla="*/ 382659 w 1757434"/>
                  <a:gd name="connsiteY542" fmla="*/ 2347913 h 2476500"/>
                  <a:gd name="connsiteX543" fmla="*/ 376309 w 1757434"/>
                  <a:gd name="connsiteY543" fmla="*/ 2355850 h 2476500"/>
                  <a:gd name="connsiteX544" fmla="*/ 374722 w 1757434"/>
                  <a:gd name="connsiteY544" fmla="*/ 2360613 h 2476500"/>
                  <a:gd name="connsiteX545" fmla="*/ 355672 w 1757434"/>
                  <a:gd name="connsiteY545" fmla="*/ 2368550 h 2476500"/>
                  <a:gd name="connsiteX546" fmla="*/ 350909 w 1757434"/>
                  <a:gd name="connsiteY546" fmla="*/ 2373313 h 2476500"/>
                  <a:gd name="connsiteX547" fmla="*/ 342972 w 1757434"/>
                  <a:gd name="connsiteY547" fmla="*/ 2376488 h 2476500"/>
                  <a:gd name="connsiteX548" fmla="*/ 336622 w 1757434"/>
                  <a:gd name="connsiteY548" fmla="*/ 2381250 h 2476500"/>
                  <a:gd name="connsiteX549" fmla="*/ 335034 w 1757434"/>
                  <a:gd name="connsiteY549" fmla="*/ 2386013 h 2476500"/>
                  <a:gd name="connsiteX550" fmla="*/ 333447 w 1757434"/>
                  <a:gd name="connsiteY550" fmla="*/ 2393950 h 2476500"/>
                  <a:gd name="connsiteX551" fmla="*/ 327097 w 1757434"/>
                  <a:gd name="connsiteY551" fmla="*/ 2395538 h 2476500"/>
                  <a:gd name="connsiteX552" fmla="*/ 320747 w 1757434"/>
                  <a:gd name="connsiteY552" fmla="*/ 2409825 h 2476500"/>
                  <a:gd name="connsiteX553" fmla="*/ 311222 w 1757434"/>
                  <a:gd name="connsiteY553" fmla="*/ 2411413 h 2476500"/>
                  <a:gd name="connsiteX554" fmla="*/ 312809 w 1757434"/>
                  <a:gd name="connsiteY554" fmla="*/ 2417763 h 2476500"/>
                  <a:gd name="connsiteX555" fmla="*/ 298522 w 1757434"/>
                  <a:gd name="connsiteY555" fmla="*/ 2422525 h 2476500"/>
                  <a:gd name="connsiteX556" fmla="*/ 274709 w 1757434"/>
                  <a:gd name="connsiteY556" fmla="*/ 2433638 h 2476500"/>
                  <a:gd name="connsiteX557" fmla="*/ 269947 w 1757434"/>
                  <a:gd name="connsiteY557" fmla="*/ 2438400 h 2476500"/>
                  <a:gd name="connsiteX558" fmla="*/ 263597 w 1757434"/>
                  <a:gd name="connsiteY558" fmla="*/ 2452688 h 2476500"/>
                  <a:gd name="connsiteX559" fmla="*/ 257247 w 1757434"/>
                  <a:gd name="connsiteY559" fmla="*/ 2459038 h 2476500"/>
                  <a:gd name="connsiteX560" fmla="*/ 241372 w 1757434"/>
                  <a:gd name="connsiteY560" fmla="*/ 2455863 h 2476500"/>
                  <a:gd name="connsiteX561" fmla="*/ 239784 w 1757434"/>
                  <a:gd name="connsiteY561" fmla="*/ 2465388 h 2476500"/>
                  <a:gd name="connsiteX562" fmla="*/ 227084 w 1757434"/>
                  <a:gd name="connsiteY562" fmla="*/ 2468563 h 2476500"/>
                  <a:gd name="connsiteX563" fmla="*/ 184222 w 1757434"/>
                  <a:gd name="connsiteY563" fmla="*/ 2470150 h 2476500"/>
                  <a:gd name="connsiteX564" fmla="*/ 174697 w 1757434"/>
                  <a:gd name="connsiteY564" fmla="*/ 2473325 h 2476500"/>
                  <a:gd name="connsiteX565" fmla="*/ 160409 w 1757434"/>
                  <a:gd name="connsiteY565" fmla="*/ 2476500 h 2476500"/>
                  <a:gd name="connsiteX566" fmla="*/ 158822 w 1757434"/>
                  <a:gd name="connsiteY566" fmla="*/ 2468563 h 2476500"/>
                  <a:gd name="connsiteX567" fmla="*/ 149297 w 1757434"/>
                  <a:gd name="connsiteY567" fmla="*/ 2465388 h 2476500"/>
                  <a:gd name="connsiteX568" fmla="*/ 138184 w 1757434"/>
                  <a:gd name="connsiteY568" fmla="*/ 2459038 h 2476500"/>
                  <a:gd name="connsiteX569" fmla="*/ 128659 w 1757434"/>
                  <a:gd name="connsiteY569" fmla="*/ 2455863 h 2476500"/>
                  <a:gd name="connsiteX570" fmla="*/ 127072 w 1757434"/>
                  <a:gd name="connsiteY570" fmla="*/ 2463800 h 2476500"/>
                  <a:gd name="connsiteX571" fmla="*/ 120722 w 1757434"/>
                  <a:gd name="connsiteY571" fmla="*/ 2465388 h 2476500"/>
                  <a:gd name="connsiteX572" fmla="*/ 114372 w 1757434"/>
                  <a:gd name="connsiteY572" fmla="*/ 2463800 h 2476500"/>
                  <a:gd name="connsiteX573" fmla="*/ 112784 w 1757434"/>
                  <a:gd name="connsiteY573" fmla="*/ 2459038 h 2476500"/>
                  <a:gd name="connsiteX574" fmla="*/ 111197 w 1757434"/>
                  <a:gd name="connsiteY574" fmla="*/ 2452688 h 2476500"/>
                  <a:gd name="connsiteX575" fmla="*/ 114372 w 1757434"/>
                  <a:gd name="connsiteY575" fmla="*/ 2441575 h 2476500"/>
                  <a:gd name="connsiteX576" fmla="*/ 120722 w 1757434"/>
                  <a:gd name="connsiteY576" fmla="*/ 2438400 h 2476500"/>
                  <a:gd name="connsiteX577" fmla="*/ 136597 w 1757434"/>
                  <a:gd name="connsiteY577" fmla="*/ 2430463 h 2476500"/>
                  <a:gd name="connsiteX578" fmla="*/ 135009 w 1757434"/>
                  <a:gd name="connsiteY578" fmla="*/ 2424113 h 2476500"/>
                  <a:gd name="connsiteX579" fmla="*/ 106434 w 1757434"/>
                  <a:gd name="connsiteY579" fmla="*/ 2425700 h 2476500"/>
                  <a:gd name="connsiteX580" fmla="*/ 96909 w 1757434"/>
                  <a:gd name="connsiteY580" fmla="*/ 2430463 h 2476500"/>
                  <a:gd name="connsiteX581" fmla="*/ 87384 w 1757434"/>
                  <a:gd name="connsiteY581" fmla="*/ 2422525 h 2476500"/>
                  <a:gd name="connsiteX582" fmla="*/ 82622 w 1757434"/>
                  <a:gd name="connsiteY582" fmla="*/ 2419350 h 2476500"/>
                  <a:gd name="connsiteX583" fmla="*/ 79447 w 1757434"/>
                  <a:gd name="connsiteY583" fmla="*/ 2414588 h 2476500"/>
                  <a:gd name="connsiteX584" fmla="*/ 28647 w 1757434"/>
                  <a:gd name="connsiteY584" fmla="*/ 2379663 h 2476500"/>
                  <a:gd name="connsiteX585" fmla="*/ 30234 w 1757434"/>
                  <a:gd name="connsiteY585" fmla="*/ 2360613 h 2476500"/>
                  <a:gd name="connsiteX586" fmla="*/ 23884 w 1757434"/>
                  <a:gd name="connsiteY586" fmla="*/ 2354263 h 2476500"/>
                  <a:gd name="connsiteX587" fmla="*/ 20709 w 1757434"/>
                  <a:gd name="connsiteY587" fmla="*/ 2347913 h 2476500"/>
                  <a:gd name="connsiteX588" fmla="*/ 15947 w 1757434"/>
                  <a:gd name="connsiteY588" fmla="*/ 2341563 h 2476500"/>
                  <a:gd name="connsiteX589" fmla="*/ 17534 w 1757434"/>
                  <a:gd name="connsiteY589" fmla="*/ 2328863 h 2476500"/>
                  <a:gd name="connsiteX590" fmla="*/ 19122 w 1757434"/>
                  <a:gd name="connsiteY590" fmla="*/ 2306638 h 2476500"/>
                  <a:gd name="connsiteX591" fmla="*/ 23884 w 1757434"/>
                  <a:gd name="connsiteY591" fmla="*/ 2300288 h 2476500"/>
                  <a:gd name="connsiteX592" fmla="*/ 25472 w 1757434"/>
                  <a:gd name="connsiteY592" fmla="*/ 2295525 h 2476500"/>
                  <a:gd name="connsiteX593" fmla="*/ 41347 w 1757434"/>
                  <a:gd name="connsiteY593" fmla="*/ 2306638 h 2476500"/>
                  <a:gd name="connsiteX594" fmla="*/ 52459 w 1757434"/>
                  <a:gd name="connsiteY594" fmla="*/ 2308225 h 2476500"/>
                  <a:gd name="connsiteX595" fmla="*/ 57222 w 1757434"/>
                  <a:gd name="connsiteY595" fmla="*/ 2312988 h 2476500"/>
                  <a:gd name="connsiteX596" fmla="*/ 71509 w 1757434"/>
                  <a:gd name="connsiteY596" fmla="*/ 2320925 h 2476500"/>
                  <a:gd name="connsiteX597" fmla="*/ 81034 w 1757434"/>
                  <a:gd name="connsiteY597" fmla="*/ 2328863 h 2476500"/>
                  <a:gd name="connsiteX598" fmla="*/ 85797 w 1757434"/>
                  <a:gd name="connsiteY598" fmla="*/ 2332038 h 2476500"/>
                  <a:gd name="connsiteX599" fmla="*/ 92147 w 1757434"/>
                  <a:gd name="connsiteY599" fmla="*/ 2330450 h 2476500"/>
                  <a:gd name="connsiteX600" fmla="*/ 85797 w 1757434"/>
                  <a:gd name="connsiteY600" fmla="*/ 2327275 h 2476500"/>
                  <a:gd name="connsiteX601" fmla="*/ 81034 w 1757434"/>
                  <a:gd name="connsiteY601" fmla="*/ 2324100 h 2476500"/>
                  <a:gd name="connsiteX602" fmla="*/ 77859 w 1757434"/>
                  <a:gd name="connsiteY602" fmla="*/ 2319338 h 2476500"/>
                  <a:gd name="connsiteX603" fmla="*/ 73097 w 1757434"/>
                  <a:gd name="connsiteY603" fmla="*/ 2308225 h 2476500"/>
                  <a:gd name="connsiteX604" fmla="*/ 82622 w 1757434"/>
                  <a:gd name="connsiteY604" fmla="*/ 2303463 h 2476500"/>
                  <a:gd name="connsiteX605" fmla="*/ 87384 w 1757434"/>
                  <a:gd name="connsiteY605" fmla="*/ 2301875 h 2476500"/>
                  <a:gd name="connsiteX606" fmla="*/ 92147 w 1757434"/>
                  <a:gd name="connsiteY606" fmla="*/ 2297113 h 2476500"/>
                  <a:gd name="connsiteX607" fmla="*/ 101672 w 1757434"/>
                  <a:gd name="connsiteY607" fmla="*/ 2293938 h 2476500"/>
                  <a:gd name="connsiteX608" fmla="*/ 125484 w 1757434"/>
                  <a:gd name="connsiteY608" fmla="*/ 2289175 h 2476500"/>
                  <a:gd name="connsiteX609" fmla="*/ 127072 w 1757434"/>
                  <a:gd name="connsiteY609" fmla="*/ 2284413 h 2476500"/>
                  <a:gd name="connsiteX610" fmla="*/ 100084 w 1757434"/>
                  <a:gd name="connsiteY610" fmla="*/ 2292350 h 2476500"/>
                  <a:gd name="connsiteX611" fmla="*/ 95322 w 1757434"/>
                  <a:gd name="connsiteY611" fmla="*/ 2295525 h 2476500"/>
                  <a:gd name="connsiteX612" fmla="*/ 88972 w 1757434"/>
                  <a:gd name="connsiteY612" fmla="*/ 2297113 h 2476500"/>
                  <a:gd name="connsiteX613" fmla="*/ 84209 w 1757434"/>
                  <a:gd name="connsiteY613" fmla="*/ 2298700 h 2476500"/>
                  <a:gd name="connsiteX614" fmla="*/ 68334 w 1757434"/>
                  <a:gd name="connsiteY614" fmla="*/ 2297113 h 2476500"/>
                  <a:gd name="connsiteX615" fmla="*/ 66747 w 1757434"/>
                  <a:gd name="connsiteY615" fmla="*/ 2292350 h 2476500"/>
                  <a:gd name="connsiteX616" fmla="*/ 61984 w 1757434"/>
                  <a:gd name="connsiteY616" fmla="*/ 2287588 h 2476500"/>
                  <a:gd name="connsiteX617" fmla="*/ 58809 w 1757434"/>
                  <a:gd name="connsiteY617" fmla="*/ 2266950 h 2476500"/>
                  <a:gd name="connsiteX618" fmla="*/ 69922 w 1757434"/>
                  <a:gd name="connsiteY618" fmla="*/ 2270125 h 2476500"/>
                  <a:gd name="connsiteX619" fmla="*/ 77859 w 1757434"/>
                  <a:gd name="connsiteY619" fmla="*/ 2273300 h 2476500"/>
                  <a:gd name="connsiteX620" fmla="*/ 79447 w 1757434"/>
                  <a:gd name="connsiteY620" fmla="*/ 2268538 h 2476500"/>
                  <a:gd name="connsiteX621" fmla="*/ 81034 w 1757434"/>
                  <a:gd name="connsiteY621" fmla="*/ 2259013 h 2476500"/>
                  <a:gd name="connsiteX622" fmla="*/ 93734 w 1757434"/>
                  <a:gd name="connsiteY622" fmla="*/ 2247900 h 2476500"/>
                  <a:gd name="connsiteX623" fmla="*/ 100084 w 1757434"/>
                  <a:gd name="connsiteY623" fmla="*/ 2244725 h 2476500"/>
                  <a:gd name="connsiteX624" fmla="*/ 104847 w 1757434"/>
                  <a:gd name="connsiteY624" fmla="*/ 2239963 h 2476500"/>
                  <a:gd name="connsiteX625" fmla="*/ 109609 w 1757434"/>
                  <a:gd name="connsiteY625" fmla="*/ 2236788 h 2476500"/>
                  <a:gd name="connsiteX626" fmla="*/ 85797 w 1757434"/>
                  <a:gd name="connsiteY626" fmla="*/ 2235200 h 2476500"/>
                  <a:gd name="connsiteX627" fmla="*/ 84209 w 1757434"/>
                  <a:gd name="connsiteY627" fmla="*/ 2239963 h 2476500"/>
                  <a:gd name="connsiteX628" fmla="*/ 71509 w 1757434"/>
                  <a:gd name="connsiteY628" fmla="*/ 2239963 h 2476500"/>
                  <a:gd name="connsiteX629" fmla="*/ 69922 w 1757434"/>
                  <a:gd name="connsiteY629" fmla="*/ 2235200 h 2476500"/>
                  <a:gd name="connsiteX630" fmla="*/ 77859 w 1757434"/>
                  <a:gd name="connsiteY630" fmla="*/ 2220913 h 2476500"/>
                  <a:gd name="connsiteX631" fmla="*/ 87384 w 1757434"/>
                  <a:gd name="connsiteY631" fmla="*/ 2214563 h 2476500"/>
                  <a:gd name="connsiteX632" fmla="*/ 98497 w 1757434"/>
                  <a:gd name="connsiteY632" fmla="*/ 2208213 h 2476500"/>
                  <a:gd name="connsiteX633" fmla="*/ 106434 w 1757434"/>
                  <a:gd name="connsiteY633" fmla="*/ 2198688 h 2476500"/>
                  <a:gd name="connsiteX634" fmla="*/ 108022 w 1757434"/>
                  <a:gd name="connsiteY634" fmla="*/ 2193925 h 2476500"/>
                  <a:gd name="connsiteX635" fmla="*/ 95322 w 1757434"/>
                  <a:gd name="connsiteY635" fmla="*/ 2205038 h 2476500"/>
                  <a:gd name="connsiteX636" fmla="*/ 87384 w 1757434"/>
                  <a:gd name="connsiteY636" fmla="*/ 2208213 h 2476500"/>
                  <a:gd name="connsiteX637" fmla="*/ 74684 w 1757434"/>
                  <a:gd name="connsiteY637" fmla="*/ 2206625 h 2476500"/>
                  <a:gd name="connsiteX638" fmla="*/ 63572 w 1757434"/>
                  <a:gd name="connsiteY638" fmla="*/ 2206625 h 2476500"/>
                  <a:gd name="connsiteX639" fmla="*/ 61984 w 1757434"/>
                  <a:gd name="connsiteY639" fmla="*/ 2212975 h 2476500"/>
                  <a:gd name="connsiteX640" fmla="*/ 54047 w 1757434"/>
                  <a:gd name="connsiteY640" fmla="*/ 2214563 h 2476500"/>
                  <a:gd name="connsiteX641" fmla="*/ 49284 w 1757434"/>
                  <a:gd name="connsiteY641" fmla="*/ 2217738 h 2476500"/>
                  <a:gd name="connsiteX642" fmla="*/ 44522 w 1757434"/>
                  <a:gd name="connsiteY642" fmla="*/ 2220913 h 2476500"/>
                  <a:gd name="connsiteX643" fmla="*/ 39759 w 1757434"/>
                  <a:gd name="connsiteY643" fmla="*/ 2225675 h 2476500"/>
                  <a:gd name="connsiteX644" fmla="*/ 31822 w 1757434"/>
                  <a:gd name="connsiteY644" fmla="*/ 2235200 h 2476500"/>
                  <a:gd name="connsiteX645" fmla="*/ 27059 w 1757434"/>
                  <a:gd name="connsiteY645" fmla="*/ 2232025 h 2476500"/>
                  <a:gd name="connsiteX646" fmla="*/ 20709 w 1757434"/>
                  <a:gd name="connsiteY646" fmla="*/ 2233613 h 2476500"/>
                  <a:gd name="connsiteX647" fmla="*/ 12772 w 1757434"/>
                  <a:gd name="connsiteY647" fmla="*/ 2227263 h 2476500"/>
                  <a:gd name="connsiteX648" fmla="*/ 6422 w 1757434"/>
                  <a:gd name="connsiteY648" fmla="*/ 2236788 h 2476500"/>
                  <a:gd name="connsiteX649" fmla="*/ 4834 w 1757434"/>
                  <a:gd name="connsiteY649" fmla="*/ 2230438 h 2476500"/>
                  <a:gd name="connsiteX650" fmla="*/ 8009 w 1757434"/>
                  <a:gd name="connsiteY650" fmla="*/ 2203450 h 2476500"/>
                  <a:gd name="connsiteX651" fmla="*/ 14359 w 1757434"/>
                  <a:gd name="connsiteY651" fmla="*/ 2201863 h 2476500"/>
                  <a:gd name="connsiteX652" fmla="*/ 15947 w 1757434"/>
                  <a:gd name="connsiteY652" fmla="*/ 2192338 h 2476500"/>
                  <a:gd name="connsiteX653" fmla="*/ 17534 w 1757434"/>
                  <a:gd name="connsiteY653" fmla="*/ 2179638 h 2476500"/>
                  <a:gd name="connsiteX654" fmla="*/ 30234 w 1757434"/>
                  <a:gd name="connsiteY654" fmla="*/ 2185988 h 2476500"/>
                  <a:gd name="connsiteX655" fmla="*/ 34997 w 1757434"/>
                  <a:gd name="connsiteY655" fmla="*/ 2176463 h 2476500"/>
                  <a:gd name="connsiteX656" fmla="*/ 38172 w 1757434"/>
                  <a:gd name="connsiteY656" fmla="*/ 2171700 h 2476500"/>
                  <a:gd name="connsiteX657" fmla="*/ 49284 w 1757434"/>
                  <a:gd name="connsiteY657" fmla="*/ 2174875 h 2476500"/>
                  <a:gd name="connsiteX658" fmla="*/ 57222 w 1757434"/>
                  <a:gd name="connsiteY658" fmla="*/ 2171700 h 2476500"/>
                  <a:gd name="connsiteX659" fmla="*/ 66747 w 1757434"/>
                  <a:gd name="connsiteY659" fmla="*/ 2163763 h 2476500"/>
                  <a:gd name="connsiteX660" fmla="*/ 68334 w 1757434"/>
                  <a:gd name="connsiteY660" fmla="*/ 2168525 h 2476500"/>
                  <a:gd name="connsiteX661" fmla="*/ 79447 w 1757434"/>
                  <a:gd name="connsiteY661" fmla="*/ 2160588 h 2476500"/>
                  <a:gd name="connsiteX662" fmla="*/ 82622 w 1757434"/>
                  <a:gd name="connsiteY662" fmla="*/ 2155825 h 2476500"/>
                  <a:gd name="connsiteX663" fmla="*/ 88972 w 1757434"/>
                  <a:gd name="connsiteY663" fmla="*/ 2154238 h 2476500"/>
                  <a:gd name="connsiteX664" fmla="*/ 95322 w 1757434"/>
                  <a:gd name="connsiteY664" fmla="*/ 2151063 h 2476500"/>
                  <a:gd name="connsiteX665" fmla="*/ 100084 w 1757434"/>
                  <a:gd name="connsiteY665" fmla="*/ 2147888 h 2476500"/>
                  <a:gd name="connsiteX666" fmla="*/ 76272 w 1757434"/>
                  <a:gd name="connsiteY666" fmla="*/ 2149475 h 2476500"/>
                  <a:gd name="connsiteX667" fmla="*/ 61984 w 1757434"/>
                  <a:gd name="connsiteY667" fmla="*/ 2147888 h 2476500"/>
                  <a:gd name="connsiteX668" fmla="*/ 52459 w 1757434"/>
                  <a:gd name="connsiteY668" fmla="*/ 2149475 h 2476500"/>
                  <a:gd name="connsiteX669" fmla="*/ 55634 w 1757434"/>
                  <a:gd name="connsiteY669" fmla="*/ 2139950 h 2476500"/>
                  <a:gd name="connsiteX670" fmla="*/ 58809 w 1757434"/>
                  <a:gd name="connsiteY670" fmla="*/ 2133600 h 2476500"/>
                  <a:gd name="connsiteX671" fmla="*/ 65159 w 1757434"/>
                  <a:gd name="connsiteY671" fmla="*/ 2116138 h 2476500"/>
                  <a:gd name="connsiteX672" fmla="*/ 71509 w 1757434"/>
                  <a:gd name="connsiteY672" fmla="*/ 2109788 h 2476500"/>
                  <a:gd name="connsiteX673" fmla="*/ 81034 w 1757434"/>
                  <a:gd name="connsiteY673" fmla="*/ 2101850 h 2476500"/>
                  <a:gd name="connsiteX674" fmla="*/ 82622 w 1757434"/>
                  <a:gd name="connsiteY674" fmla="*/ 2097088 h 2476500"/>
                  <a:gd name="connsiteX675" fmla="*/ 84209 w 1757434"/>
                  <a:gd name="connsiteY675" fmla="*/ 2090738 h 2476500"/>
                  <a:gd name="connsiteX676" fmla="*/ 90559 w 1757434"/>
                  <a:gd name="connsiteY676" fmla="*/ 2087563 h 2476500"/>
                  <a:gd name="connsiteX677" fmla="*/ 96909 w 1757434"/>
                  <a:gd name="connsiteY677" fmla="*/ 2078038 h 2476500"/>
                  <a:gd name="connsiteX678" fmla="*/ 98497 w 1757434"/>
                  <a:gd name="connsiteY678" fmla="*/ 2071688 h 2476500"/>
                  <a:gd name="connsiteX679" fmla="*/ 103259 w 1757434"/>
                  <a:gd name="connsiteY679" fmla="*/ 2062163 h 2476500"/>
                  <a:gd name="connsiteX680" fmla="*/ 108022 w 1757434"/>
                  <a:gd name="connsiteY680" fmla="*/ 2058988 h 2476500"/>
                  <a:gd name="connsiteX681" fmla="*/ 115959 w 1757434"/>
                  <a:gd name="connsiteY681" fmla="*/ 2052638 h 2476500"/>
                  <a:gd name="connsiteX682" fmla="*/ 125484 w 1757434"/>
                  <a:gd name="connsiteY682" fmla="*/ 2055813 h 2476500"/>
                  <a:gd name="connsiteX683" fmla="*/ 127072 w 1757434"/>
                  <a:gd name="connsiteY683" fmla="*/ 2060575 h 2476500"/>
                  <a:gd name="connsiteX684" fmla="*/ 130247 w 1757434"/>
                  <a:gd name="connsiteY684" fmla="*/ 2089150 h 2476500"/>
                  <a:gd name="connsiteX685" fmla="*/ 131834 w 1757434"/>
                  <a:gd name="connsiteY685" fmla="*/ 2098675 h 2476500"/>
                  <a:gd name="connsiteX686" fmla="*/ 135009 w 1757434"/>
                  <a:gd name="connsiteY686" fmla="*/ 2051050 h 2476500"/>
                  <a:gd name="connsiteX687" fmla="*/ 139772 w 1757434"/>
                  <a:gd name="connsiteY687" fmla="*/ 2047875 h 2476500"/>
                  <a:gd name="connsiteX688" fmla="*/ 150884 w 1757434"/>
                  <a:gd name="connsiteY688" fmla="*/ 2036763 h 2476500"/>
                  <a:gd name="connsiteX689" fmla="*/ 155647 w 1757434"/>
                  <a:gd name="connsiteY689" fmla="*/ 2035175 h 2476500"/>
                  <a:gd name="connsiteX690" fmla="*/ 160409 w 1757434"/>
                  <a:gd name="connsiteY690" fmla="*/ 2032000 h 2476500"/>
                  <a:gd name="connsiteX691" fmla="*/ 171522 w 1757434"/>
                  <a:gd name="connsiteY691" fmla="*/ 2028825 h 2476500"/>
                  <a:gd name="connsiteX692" fmla="*/ 174697 w 1757434"/>
                  <a:gd name="connsiteY692" fmla="*/ 2020888 h 2476500"/>
                  <a:gd name="connsiteX693" fmla="*/ 161997 w 1757434"/>
                  <a:gd name="connsiteY693" fmla="*/ 2022475 h 2476500"/>
                  <a:gd name="connsiteX694" fmla="*/ 154059 w 1757434"/>
                  <a:gd name="connsiteY694" fmla="*/ 2025650 h 2476500"/>
                  <a:gd name="connsiteX695" fmla="*/ 146122 w 1757434"/>
                  <a:gd name="connsiteY695" fmla="*/ 2027238 h 2476500"/>
                  <a:gd name="connsiteX696" fmla="*/ 139772 w 1757434"/>
                  <a:gd name="connsiteY696" fmla="*/ 2028825 h 2476500"/>
                  <a:gd name="connsiteX697" fmla="*/ 133422 w 1757434"/>
                  <a:gd name="connsiteY697" fmla="*/ 2032000 h 2476500"/>
                  <a:gd name="connsiteX698" fmla="*/ 119134 w 1757434"/>
                  <a:gd name="connsiteY698" fmla="*/ 2035175 h 2476500"/>
                  <a:gd name="connsiteX699" fmla="*/ 96909 w 1757434"/>
                  <a:gd name="connsiteY699" fmla="*/ 2043113 h 2476500"/>
                  <a:gd name="connsiteX700" fmla="*/ 92147 w 1757434"/>
                  <a:gd name="connsiteY700" fmla="*/ 2054225 h 2476500"/>
                  <a:gd name="connsiteX701" fmla="*/ 87384 w 1757434"/>
                  <a:gd name="connsiteY701" fmla="*/ 2058988 h 2476500"/>
                  <a:gd name="connsiteX702" fmla="*/ 82622 w 1757434"/>
                  <a:gd name="connsiteY702" fmla="*/ 2073275 h 2476500"/>
                  <a:gd name="connsiteX703" fmla="*/ 79447 w 1757434"/>
                  <a:gd name="connsiteY703" fmla="*/ 2079625 h 2476500"/>
                  <a:gd name="connsiteX704" fmla="*/ 76272 w 1757434"/>
                  <a:gd name="connsiteY704" fmla="*/ 2087563 h 2476500"/>
                  <a:gd name="connsiteX705" fmla="*/ 46109 w 1757434"/>
                  <a:gd name="connsiteY705" fmla="*/ 2089150 h 2476500"/>
                  <a:gd name="connsiteX706" fmla="*/ 44522 w 1757434"/>
                  <a:gd name="connsiteY706" fmla="*/ 2095500 h 2476500"/>
                  <a:gd name="connsiteX707" fmla="*/ 38172 w 1757434"/>
                  <a:gd name="connsiteY707" fmla="*/ 2092325 h 2476500"/>
                  <a:gd name="connsiteX708" fmla="*/ 46109 w 1757434"/>
                  <a:gd name="connsiteY708" fmla="*/ 2073275 h 2476500"/>
                  <a:gd name="connsiteX709" fmla="*/ 47697 w 1757434"/>
                  <a:gd name="connsiteY709" fmla="*/ 2068513 h 2476500"/>
                  <a:gd name="connsiteX710" fmla="*/ 49284 w 1757434"/>
                  <a:gd name="connsiteY710" fmla="*/ 2054225 h 2476500"/>
                  <a:gd name="connsiteX711" fmla="*/ 55634 w 1757434"/>
                  <a:gd name="connsiteY711" fmla="*/ 2047875 h 2476500"/>
                  <a:gd name="connsiteX712" fmla="*/ 58809 w 1757434"/>
                  <a:gd name="connsiteY712" fmla="*/ 2043113 h 2476500"/>
                  <a:gd name="connsiteX713" fmla="*/ 44522 w 1757434"/>
                  <a:gd name="connsiteY713" fmla="*/ 2054225 h 2476500"/>
                  <a:gd name="connsiteX714" fmla="*/ 27059 w 1757434"/>
                  <a:gd name="connsiteY714" fmla="*/ 2073275 h 2476500"/>
                  <a:gd name="connsiteX715" fmla="*/ 22297 w 1757434"/>
                  <a:gd name="connsiteY715" fmla="*/ 2071688 h 2476500"/>
                  <a:gd name="connsiteX716" fmla="*/ 20709 w 1757434"/>
                  <a:gd name="connsiteY716" fmla="*/ 2065338 h 2476500"/>
                  <a:gd name="connsiteX717" fmla="*/ 25472 w 1757434"/>
                  <a:gd name="connsiteY717" fmla="*/ 2052638 h 2476500"/>
                  <a:gd name="connsiteX718" fmla="*/ 19122 w 1757434"/>
                  <a:gd name="connsiteY718" fmla="*/ 2049463 h 2476500"/>
                  <a:gd name="connsiteX719" fmla="*/ 12772 w 1757434"/>
                  <a:gd name="connsiteY719" fmla="*/ 2047875 h 2476500"/>
                  <a:gd name="connsiteX720" fmla="*/ 15947 w 1757434"/>
                  <a:gd name="connsiteY720" fmla="*/ 2043113 h 2476500"/>
                  <a:gd name="connsiteX721" fmla="*/ 14359 w 1757434"/>
                  <a:gd name="connsiteY721" fmla="*/ 2036763 h 2476500"/>
                  <a:gd name="connsiteX722" fmla="*/ 30234 w 1757434"/>
                  <a:gd name="connsiteY722" fmla="*/ 2025650 h 2476500"/>
                  <a:gd name="connsiteX723" fmla="*/ 39759 w 1757434"/>
                  <a:gd name="connsiteY723" fmla="*/ 2030413 h 2476500"/>
                  <a:gd name="connsiteX724" fmla="*/ 42934 w 1757434"/>
                  <a:gd name="connsiteY724" fmla="*/ 2035175 h 2476500"/>
                  <a:gd name="connsiteX725" fmla="*/ 50872 w 1757434"/>
                  <a:gd name="connsiteY725" fmla="*/ 2036763 h 2476500"/>
                  <a:gd name="connsiteX726" fmla="*/ 58809 w 1757434"/>
                  <a:gd name="connsiteY726" fmla="*/ 2030413 h 2476500"/>
                  <a:gd name="connsiteX727" fmla="*/ 58809 w 1757434"/>
                  <a:gd name="connsiteY727" fmla="*/ 2014538 h 2476500"/>
                  <a:gd name="connsiteX728" fmla="*/ 50872 w 1757434"/>
                  <a:gd name="connsiteY728" fmla="*/ 2016125 h 2476500"/>
                  <a:gd name="connsiteX729" fmla="*/ 46109 w 1757434"/>
                  <a:gd name="connsiteY729" fmla="*/ 2022475 h 2476500"/>
                  <a:gd name="connsiteX730" fmla="*/ 34997 w 1757434"/>
                  <a:gd name="connsiteY730" fmla="*/ 2020888 h 2476500"/>
                  <a:gd name="connsiteX731" fmla="*/ 31822 w 1757434"/>
                  <a:gd name="connsiteY731" fmla="*/ 2014538 h 2476500"/>
                  <a:gd name="connsiteX732" fmla="*/ 49284 w 1757434"/>
                  <a:gd name="connsiteY732" fmla="*/ 1997075 h 2476500"/>
                  <a:gd name="connsiteX733" fmla="*/ 60397 w 1757434"/>
                  <a:gd name="connsiteY733" fmla="*/ 1992313 h 2476500"/>
                  <a:gd name="connsiteX734" fmla="*/ 50872 w 1757434"/>
                  <a:gd name="connsiteY734" fmla="*/ 1984375 h 2476500"/>
                  <a:gd name="connsiteX735" fmla="*/ 38172 w 1757434"/>
                  <a:gd name="connsiteY735" fmla="*/ 1985963 h 2476500"/>
                  <a:gd name="connsiteX736" fmla="*/ 41347 w 1757434"/>
                  <a:gd name="connsiteY736" fmla="*/ 1979613 h 2476500"/>
                  <a:gd name="connsiteX737" fmla="*/ 46109 w 1757434"/>
                  <a:gd name="connsiteY737" fmla="*/ 1968500 h 2476500"/>
                  <a:gd name="connsiteX738" fmla="*/ 38172 w 1757434"/>
                  <a:gd name="connsiteY738" fmla="*/ 1966913 h 2476500"/>
                  <a:gd name="connsiteX739" fmla="*/ 31822 w 1757434"/>
                  <a:gd name="connsiteY739" fmla="*/ 1968500 h 2476500"/>
                  <a:gd name="connsiteX740" fmla="*/ 33409 w 1757434"/>
                  <a:gd name="connsiteY740" fmla="*/ 1963738 h 2476500"/>
                  <a:gd name="connsiteX741" fmla="*/ 42934 w 1757434"/>
                  <a:gd name="connsiteY741" fmla="*/ 1952625 h 2476500"/>
                  <a:gd name="connsiteX742" fmla="*/ 30234 w 1757434"/>
                  <a:gd name="connsiteY742" fmla="*/ 1954213 h 2476500"/>
                  <a:gd name="connsiteX743" fmla="*/ 8009 w 1757434"/>
                  <a:gd name="connsiteY743" fmla="*/ 1958975 h 2476500"/>
                  <a:gd name="connsiteX744" fmla="*/ 4834 w 1757434"/>
                  <a:gd name="connsiteY744" fmla="*/ 1954213 h 2476500"/>
                  <a:gd name="connsiteX745" fmla="*/ 8009 w 1757434"/>
                  <a:gd name="connsiteY745" fmla="*/ 1920875 h 2476500"/>
                  <a:gd name="connsiteX746" fmla="*/ 11184 w 1757434"/>
                  <a:gd name="connsiteY746" fmla="*/ 1916113 h 2476500"/>
                  <a:gd name="connsiteX747" fmla="*/ 15947 w 1757434"/>
                  <a:gd name="connsiteY747" fmla="*/ 1914525 h 2476500"/>
                  <a:gd name="connsiteX748" fmla="*/ 20709 w 1757434"/>
                  <a:gd name="connsiteY748" fmla="*/ 1916113 h 2476500"/>
                  <a:gd name="connsiteX749" fmla="*/ 25472 w 1757434"/>
                  <a:gd name="connsiteY749" fmla="*/ 1919288 h 2476500"/>
                  <a:gd name="connsiteX750" fmla="*/ 34997 w 1757434"/>
                  <a:gd name="connsiteY750" fmla="*/ 1917700 h 2476500"/>
                  <a:gd name="connsiteX751" fmla="*/ 39759 w 1757434"/>
                  <a:gd name="connsiteY751" fmla="*/ 1914525 h 2476500"/>
                  <a:gd name="connsiteX752" fmla="*/ 49284 w 1757434"/>
                  <a:gd name="connsiteY752" fmla="*/ 1912938 h 2476500"/>
                  <a:gd name="connsiteX753" fmla="*/ 54047 w 1757434"/>
                  <a:gd name="connsiteY753" fmla="*/ 1911747 h 2476500"/>
                  <a:gd name="connsiteX754" fmla="*/ 58077 w 1757434"/>
                  <a:gd name="connsiteY754" fmla="*/ 1911839 h 2476500"/>
                  <a:gd name="connsiteX755" fmla="*/ 63572 w 1757434"/>
                  <a:gd name="connsiteY755" fmla="*/ 1912938 h 2476500"/>
                  <a:gd name="connsiteX756" fmla="*/ 66308 w 1757434"/>
                  <a:gd name="connsiteY756" fmla="*/ 1912026 h 2476500"/>
                  <a:gd name="connsiteX757" fmla="*/ 69847 w 1757434"/>
                  <a:gd name="connsiteY757" fmla="*/ 1912106 h 2476500"/>
                  <a:gd name="connsiteX758" fmla="*/ 74684 w 1757434"/>
                  <a:gd name="connsiteY758" fmla="*/ 1914525 h 2476500"/>
                  <a:gd name="connsiteX759" fmla="*/ 76272 w 1757434"/>
                  <a:gd name="connsiteY759" fmla="*/ 1922463 h 2476500"/>
                  <a:gd name="connsiteX760" fmla="*/ 81034 w 1757434"/>
                  <a:gd name="connsiteY760" fmla="*/ 1919288 h 2476500"/>
                  <a:gd name="connsiteX761" fmla="*/ 82622 w 1757434"/>
                  <a:gd name="connsiteY761" fmla="*/ 1914525 h 2476500"/>
                  <a:gd name="connsiteX762" fmla="*/ 84703 w 1757434"/>
                  <a:gd name="connsiteY762" fmla="*/ 1912444 h 2476500"/>
                  <a:gd name="connsiteX763" fmla="*/ 91336 w 1757434"/>
                  <a:gd name="connsiteY763" fmla="*/ 1912595 h 2476500"/>
                  <a:gd name="connsiteX764" fmla="*/ 90357 w 1757434"/>
                  <a:gd name="connsiteY764" fmla="*/ 1913487 h 2476500"/>
                  <a:gd name="connsiteX765" fmla="*/ 95322 w 1757434"/>
                  <a:gd name="connsiteY765" fmla="*/ 1920875 h 2476500"/>
                  <a:gd name="connsiteX766" fmla="*/ 104847 w 1757434"/>
                  <a:gd name="connsiteY766" fmla="*/ 1922463 h 2476500"/>
                  <a:gd name="connsiteX767" fmla="*/ 109609 w 1757434"/>
                  <a:gd name="connsiteY767" fmla="*/ 1925638 h 2476500"/>
                  <a:gd name="connsiteX768" fmla="*/ 114372 w 1757434"/>
                  <a:gd name="connsiteY768" fmla="*/ 1931988 h 2476500"/>
                  <a:gd name="connsiteX769" fmla="*/ 119134 w 1757434"/>
                  <a:gd name="connsiteY769" fmla="*/ 1930400 h 2476500"/>
                  <a:gd name="connsiteX770" fmla="*/ 136597 w 1757434"/>
                  <a:gd name="connsiteY770" fmla="*/ 1925638 h 2476500"/>
                  <a:gd name="connsiteX771" fmla="*/ 141359 w 1757434"/>
                  <a:gd name="connsiteY771" fmla="*/ 1919288 h 2476500"/>
                  <a:gd name="connsiteX772" fmla="*/ 142947 w 1757434"/>
                  <a:gd name="connsiteY772" fmla="*/ 1912938 h 2476500"/>
                  <a:gd name="connsiteX773" fmla="*/ 147709 w 1757434"/>
                  <a:gd name="connsiteY773" fmla="*/ 1909763 h 2476500"/>
                  <a:gd name="connsiteX774" fmla="*/ 149297 w 1757434"/>
                  <a:gd name="connsiteY774" fmla="*/ 1914525 h 2476500"/>
                  <a:gd name="connsiteX775" fmla="*/ 150884 w 1757434"/>
                  <a:gd name="connsiteY775" fmla="*/ 1924050 h 2476500"/>
                  <a:gd name="connsiteX776" fmla="*/ 157234 w 1757434"/>
                  <a:gd name="connsiteY776" fmla="*/ 1930400 h 2476500"/>
                  <a:gd name="connsiteX777" fmla="*/ 158822 w 1757434"/>
                  <a:gd name="connsiteY777" fmla="*/ 1935163 h 2476500"/>
                  <a:gd name="connsiteX778" fmla="*/ 161997 w 1757434"/>
                  <a:gd name="connsiteY778" fmla="*/ 1939925 h 2476500"/>
                  <a:gd name="connsiteX779" fmla="*/ 165172 w 1757434"/>
                  <a:gd name="connsiteY779" fmla="*/ 1951038 h 2476500"/>
                  <a:gd name="connsiteX780" fmla="*/ 171522 w 1757434"/>
                  <a:gd name="connsiteY780" fmla="*/ 1960563 h 2476500"/>
                  <a:gd name="connsiteX781" fmla="*/ 171522 w 1757434"/>
                  <a:gd name="connsiteY781" fmla="*/ 1963738 h 2476500"/>
                  <a:gd name="connsiteX782" fmla="*/ 174697 w 1757434"/>
                  <a:gd name="connsiteY782" fmla="*/ 1957388 h 2476500"/>
                  <a:gd name="connsiteX783" fmla="*/ 181047 w 1757434"/>
                  <a:gd name="connsiteY783" fmla="*/ 1955800 h 2476500"/>
                  <a:gd name="connsiteX784" fmla="*/ 193747 w 1757434"/>
                  <a:gd name="connsiteY784" fmla="*/ 1955800 h 2476500"/>
                  <a:gd name="connsiteX785" fmla="*/ 187397 w 1757434"/>
                  <a:gd name="connsiteY785" fmla="*/ 1952625 h 2476500"/>
                  <a:gd name="connsiteX786" fmla="*/ 176284 w 1757434"/>
                  <a:gd name="connsiteY786" fmla="*/ 1941513 h 2476500"/>
                  <a:gd name="connsiteX787" fmla="*/ 174697 w 1757434"/>
                  <a:gd name="connsiteY787" fmla="*/ 1935163 h 2476500"/>
                  <a:gd name="connsiteX788" fmla="*/ 169934 w 1757434"/>
                  <a:gd name="connsiteY788" fmla="*/ 1931988 h 2476500"/>
                  <a:gd name="connsiteX789" fmla="*/ 166759 w 1757434"/>
                  <a:gd name="connsiteY789" fmla="*/ 1927225 h 2476500"/>
                  <a:gd name="connsiteX790" fmla="*/ 169934 w 1757434"/>
                  <a:gd name="connsiteY790" fmla="*/ 1917700 h 2476500"/>
                  <a:gd name="connsiteX791" fmla="*/ 188984 w 1757434"/>
                  <a:gd name="connsiteY791" fmla="*/ 1924050 h 2476500"/>
                  <a:gd name="connsiteX792" fmla="*/ 198509 w 1757434"/>
                  <a:gd name="connsiteY792" fmla="*/ 1922463 h 2476500"/>
                  <a:gd name="connsiteX793" fmla="*/ 201684 w 1757434"/>
                  <a:gd name="connsiteY793" fmla="*/ 1909763 h 2476500"/>
                  <a:gd name="connsiteX794" fmla="*/ 204859 w 1757434"/>
                  <a:gd name="connsiteY794" fmla="*/ 1905000 h 2476500"/>
                  <a:gd name="connsiteX795" fmla="*/ 205654 w 1757434"/>
                  <a:gd name="connsiteY795" fmla="*/ 1896263 h 2476500"/>
                  <a:gd name="connsiteX796" fmla="*/ 213721 w 1757434"/>
                  <a:gd name="connsiteY796" fmla="*/ 1888139 h 2476500"/>
                  <a:gd name="connsiteX797" fmla="*/ 212797 w 1757434"/>
                  <a:gd name="connsiteY797" fmla="*/ 1865313 h 2476500"/>
                  <a:gd name="connsiteX798" fmla="*/ 211209 w 1757434"/>
                  <a:gd name="connsiteY798" fmla="*/ 1884363 h 2476500"/>
                  <a:gd name="connsiteX799" fmla="*/ 206447 w 1757434"/>
                  <a:gd name="connsiteY799" fmla="*/ 1887538 h 2476500"/>
                  <a:gd name="connsiteX800" fmla="*/ 205654 w 1757434"/>
                  <a:gd name="connsiteY800" fmla="*/ 1896263 h 2476500"/>
                  <a:gd name="connsiteX801" fmla="*/ 204859 w 1757434"/>
                  <a:gd name="connsiteY801" fmla="*/ 1897063 h 2476500"/>
                  <a:gd name="connsiteX802" fmla="*/ 198509 w 1757434"/>
                  <a:gd name="connsiteY802" fmla="*/ 1908175 h 2476500"/>
                  <a:gd name="connsiteX803" fmla="*/ 182634 w 1757434"/>
                  <a:gd name="connsiteY803" fmla="*/ 1911350 h 2476500"/>
                  <a:gd name="connsiteX804" fmla="*/ 161997 w 1757434"/>
                  <a:gd name="connsiteY804" fmla="*/ 1914525 h 2476500"/>
                  <a:gd name="connsiteX805" fmla="*/ 158822 w 1757434"/>
                  <a:gd name="connsiteY805" fmla="*/ 1909763 h 2476500"/>
                  <a:gd name="connsiteX806" fmla="*/ 146122 w 1757434"/>
                  <a:gd name="connsiteY806" fmla="*/ 1908175 h 2476500"/>
                  <a:gd name="connsiteX807" fmla="*/ 142947 w 1757434"/>
                  <a:gd name="connsiteY807" fmla="*/ 1900238 h 2476500"/>
                  <a:gd name="connsiteX808" fmla="*/ 145179 w 1757434"/>
                  <a:gd name="connsiteY808" fmla="*/ 1890564 h 2476500"/>
                  <a:gd name="connsiteX809" fmla="*/ 150884 w 1757434"/>
                  <a:gd name="connsiteY809" fmla="*/ 1878013 h 2476500"/>
                  <a:gd name="connsiteX810" fmla="*/ 152119 w 1757434"/>
                  <a:gd name="connsiteY810" fmla="*/ 1874309 h 2476500"/>
                  <a:gd name="connsiteX811" fmla="*/ 155647 w 1757434"/>
                  <a:gd name="connsiteY811" fmla="*/ 1870075 h 2476500"/>
                  <a:gd name="connsiteX812" fmla="*/ 157234 w 1757434"/>
                  <a:gd name="connsiteY812" fmla="*/ 1863725 h 2476500"/>
                  <a:gd name="connsiteX813" fmla="*/ 154059 w 1757434"/>
                  <a:gd name="connsiteY813" fmla="*/ 1868488 h 2476500"/>
                  <a:gd name="connsiteX814" fmla="*/ 152119 w 1757434"/>
                  <a:gd name="connsiteY814" fmla="*/ 1874309 h 2476500"/>
                  <a:gd name="connsiteX815" fmla="*/ 147709 w 1757434"/>
                  <a:gd name="connsiteY815" fmla="*/ 1879600 h 2476500"/>
                  <a:gd name="connsiteX816" fmla="*/ 145179 w 1757434"/>
                  <a:gd name="connsiteY816" fmla="*/ 1890564 h 2476500"/>
                  <a:gd name="connsiteX817" fmla="*/ 142947 w 1757434"/>
                  <a:gd name="connsiteY817" fmla="*/ 1895475 h 2476500"/>
                  <a:gd name="connsiteX818" fmla="*/ 135009 w 1757434"/>
                  <a:gd name="connsiteY818" fmla="*/ 1914525 h 2476500"/>
                  <a:gd name="connsiteX819" fmla="*/ 125484 w 1757434"/>
                  <a:gd name="connsiteY819" fmla="*/ 1922463 h 2476500"/>
                  <a:gd name="connsiteX820" fmla="*/ 119134 w 1757434"/>
                  <a:gd name="connsiteY820" fmla="*/ 1919288 h 2476500"/>
                  <a:gd name="connsiteX821" fmla="*/ 111197 w 1757434"/>
                  <a:gd name="connsiteY821" fmla="*/ 1914525 h 2476500"/>
                  <a:gd name="connsiteX822" fmla="*/ 106434 w 1757434"/>
                  <a:gd name="connsiteY822" fmla="*/ 1912938 h 2476500"/>
                  <a:gd name="connsiteX823" fmla="*/ 91336 w 1757434"/>
                  <a:gd name="connsiteY823" fmla="*/ 1912595 h 2476500"/>
                  <a:gd name="connsiteX824" fmla="*/ 92608 w 1757434"/>
                  <a:gd name="connsiteY824" fmla="*/ 1911436 h 2476500"/>
                  <a:gd name="connsiteX825" fmla="*/ 87384 w 1757434"/>
                  <a:gd name="connsiteY825" fmla="*/ 1909763 h 2476500"/>
                  <a:gd name="connsiteX826" fmla="*/ 84703 w 1757434"/>
                  <a:gd name="connsiteY826" fmla="*/ 1912444 h 2476500"/>
                  <a:gd name="connsiteX827" fmla="*/ 69847 w 1757434"/>
                  <a:gd name="connsiteY827" fmla="*/ 1912106 h 2476500"/>
                  <a:gd name="connsiteX828" fmla="*/ 68334 w 1757434"/>
                  <a:gd name="connsiteY828" fmla="*/ 1911350 h 2476500"/>
                  <a:gd name="connsiteX829" fmla="*/ 66308 w 1757434"/>
                  <a:gd name="connsiteY829" fmla="*/ 1912026 h 2476500"/>
                  <a:gd name="connsiteX830" fmla="*/ 58077 w 1757434"/>
                  <a:gd name="connsiteY830" fmla="*/ 1911839 h 2476500"/>
                  <a:gd name="connsiteX831" fmla="*/ 55634 w 1757434"/>
                  <a:gd name="connsiteY831" fmla="*/ 1911350 h 2476500"/>
                  <a:gd name="connsiteX832" fmla="*/ 54047 w 1757434"/>
                  <a:gd name="connsiteY832" fmla="*/ 1911747 h 2476500"/>
                  <a:gd name="connsiteX833" fmla="*/ 36584 w 1757434"/>
                  <a:gd name="connsiteY833" fmla="*/ 1911350 h 2476500"/>
                  <a:gd name="connsiteX834" fmla="*/ 30234 w 1757434"/>
                  <a:gd name="connsiteY834" fmla="*/ 1909763 h 2476500"/>
                  <a:gd name="connsiteX835" fmla="*/ 20709 w 1757434"/>
                  <a:gd name="connsiteY835" fmla="*/ 1909763 h 2476500"/>
                  <a:gd name="connsiteX836" fmla="*/ 15947 w 1757434"/>
                  <a:gd name="connsiteY836" fmla="*/ 1905000 h 2476500"/>
                  <a:gd name="connsiteX837" fmla="*/ 8009 w 1757434"/>
                  <a:gd name="connsiteY837" fmla="*/ 1905000 h 2476500"/>
                  <a:gd name="connsiteX838" fmla="*/ 12772 w 1757434"/>
                  <a:gd name="connsiteY838" fmla="*/ 1893888 h 2476500"/>
                  <a:gd name="connsiteX839" fmla="*/ 19122 w 1757434"/>
                  <a:gd name="connsiteY839" fmla="*/ 1881188 h 2476500"/>
                  <a:gd name="connsiteX840" fmla="*/ 20709 w 1757434"/>
                  <a:gd name="connsiteY840" fmla="*/ 1876425 h 2476500"/>
                  <a:gd name="connsiteX841" fmla="*/ 22297 w 1757434"/>
                  <a:gd name="connsiteY841" fmla="*/ 1863725 h 2476500"/>
                  <a:gd name="connsiteX842" fmla="*/ 27059 w 1757434"/>
                  <a:gd name="connsiteY842" fmla="*/ 1858963 h 2476500"/>
                  <a:gd name="connsiteX843" fmla="*/ 31822 w 1757434"/>
                  <a:gd name="connsiteY843" fmla="*/ 1862138 h 2476500"/>
                  <a:gd name="connsiteX844" fmla="*/ 39759 w 1757434"/>
                  <a:gd name="connsiteY844" fmla="*/ 1865313 h 2476500"/>
                  <a:gd name="connsiteX845" fmla="*/ 50872 w 1757434"/>
                  <a:gd name="connsiteY845" fmla="*/ 1870075 h 2476500"/>
                  <a:gd name="connsiteX846" fmla="*/ 71509 w 1757434"/>
                  <a:gd name="connsiteY846" fmla="*/ 1857375 h 2476500"/>
                  <a:gd name="connsiteX847" fmla="*/ 76272 w 1757434"/>
                  <a:gd name="connsiteY847" fmla="*/ 1855788 h 2476500"/>
                  <a:gd name="connsiteX848" fmla="*/ 52459 w 1757434"/>
                  <a:gd name="connsiteY848" fmla="*/ 1855788 h 2476500"/>
                  <a:gd name="connsiteX849" fmla="*/ 44522 w 1757434"/>
                  <a:gd name="connsiteY849" fmla="*/ 1852613 h 2476500"/>
                  <a:gd name="connsiteX850" fmla="*/ 38172 w 1757434"/>
                  <a:gd name="connsiteY850" fmla="*/ 1838325 h 2476500"/>
                  <a:gd name="connsiteX851" fmla="*/ 25472 w 1757434"/>
                  <a:gd name="connsiteY851" fmla="*/ 1831975 h 2476500"/>
                  <a:gd name="connsiteX852" fmla="*/ 27059 w 1757434"/>
                  <a:gd name="connsiteY852" fmla="*/ 1827213 h 2476500"/>
                  <a:gd name="connsiteX853" fmla="*/ 38172 w 1757434"/>
                  <a:gd name="connsiteY853" fmla="*/ 1817688 h 2476500"/>
                  <a:gd name="connsiteX854" fmla="*/ 34997 w 1757434"/>
                  <a:gd name="connsiteY854" fmla="*/ 1812925 h 2476500"/>
                  <a:gd name="connsiteX855" fmla="*/ 31822 w 1757434"/>
                  <a:gd name="connsiteY855" fmla="*/ 1806575 h 2476500"/>
                  <a:gd name="connsiteX856" fmla="*/ 23884 w 1757434"/>
                  <a:gd name="connsiteY856" fmla="*/ 1808163 h 2476500"/>
                  <a:gd name="connsiteX857" fmla="*/ 17534 w 1757434"/>
                  <a:gd name="connsiteY857" fmla="*/ 1811338 h 2476500"/>
                  <a:gd name="connsiteX858" fmla="*/ 25472 w 1757434"/>
                  <a:gd name="connsiteY858" fmla="*/ 1798638 h 2476500"/>
                  <a:gd name="connsiteX859" fmla="*/ 20709 w 1757434"/>
                  <a:gd name="connsiteY859" fmla="*/ 1790700 h 2476500"/>
                  <a:gd name="connsiteX860" fmla="*/ 17534 w 1757434"/>
                  <a:gd name="connsiteY860" fmla="*/ 1785938 h 2476500"/>
                  <a:gd name="connsiteX861" fmla="*/ 19122 w 1757434"/>
                  <a:gd name="connsiteY861" fmla="*/ 1781175 h 2476500"/>
                  <a:gd name="connsiteX862" fmla="*/ 20709 w 1757434"/>
                  <a:gd name="connsiteY862" fmla="*/ 1770063 h 2476500"/>
                  <a:gd name="connsiteX863" fmla="*/ 23884 w 1757434"/>
                  <a:gd name="connsiteY863" fmla="*/ 1776413 h 2476500"/>
                  <a:gd name="connsiteX864" fmla="*/ 33409 w 1757434"/>
                  <a:gd name="connsiteY864" fmla="*/ 1782763 h 2476500"/>
                  <a:gd name="connsiteX865" fmla="*/ 41347 w 1757434"/>
                  <a:gd name="connsiteY865" fmla="*/ 1762125 h 2476500"/>
                  <a:gd name="connsiteX866" fmla="*/ 47697 w 1757434"/>
                  <a:gd name="connsiteY866" fmla="*/ 1763713 h 2476500"/>
                  <a:gd name="connsiteX867" fmla="*/ 55634 w 1757434"/>
                  <a:gd name="connsiteY867" fmla="*/ 1766888 h 2476500"/>
                  <a:gd name="connsiteX868" fmla="*/ 60397 w 1757434"/>
                  <a:gd name="connsiteY868" fmla="*/ 1763713 h 2476500"/>
                  <a:gd name="connsiteX869" fmla="*/ 63822 w 1757434"/>
                  <a:gd name="connsiteY869" fmla="*/ 1764461 h 2476500"/>
                  <a:gd name="connsiteX870" fmla="*/ 65159 w 1757434"/>
                  <a:gd name="connsiteY870" fmla="*/ 1773238 h 2476500"/>
                  <a:gd name="connsiteX871" fmla="*/ 73357 w 1757434"/>
                  <a:gd name="connsiteY871" fmla="*/ 1774356 h 2476500"/>
                  <a:gd name="connsiteX872" fmla="*/ 76272 w 1757434"/>
                  <a:gd name="connsiteY872" fmla="*/ 1778000 h 2476500"/>
                  <a:gd name="connsiteX873" fmla="*/ 85797 w 1757434"/>
                  <a:gd name="connsiteY873" fmla="*/ 1781175 h 2476500"/>
                  <a:gd name="connsiteX874" fmla="*/ 90559 w 1757434"/>
                  <a:gd name="connsiteY874" fmla="*/ 1782763 h 2476500"/>
                  <a:gd name="connsiteX875" fmla="*/ 103259 w 1757434"/>
                  <a:gd name="connsiteY875" fmla="*/ 1781175 h 2476500"/>
                  <a:gd name="connsiteX876" fmla="*/ 104847 w 1757434"/>
                  <a:gd name="connsiteY876" fmla="*/ 1785938 h 2476500"/>
                  <a:gd name="connsiteX877" fmla="*/ 109609 w 1757434"/>
                  <a:gd name="connsiteY877" fmla="*/ 1789113 h 2476500"/>
                  <a:gd name="connsiteX878" fmla="*/ 106434 w 1757434"/>
                  <a:gd name="connsiteY878" fmla="*/ 1800225 h 2476500"/>
                  <a:gd name="connsiteX879" fmla="*/ 111197 w 1757434"/>
                  <a:gd name="connsiteY879" fmla="*/ 1792288 h 2476500"/>
                  <a:gd name="connsiteX880" fmla="*/ 117547 w 1757434"/>
                  <a:gd name="connsiteY880" fmla="*/ 1793875 h 2476500"/>
                  <a:gd name="connsiteX881" fmla="*/ 123897 w 1757434"/>
                  <a:gd name="connsiteY881" fmla="*/ 1797050 h 2476500"/>
                  <a:gd name="connsiteX882" fmla="*/ 125484 w 1757434"/>
                  <a:gd name="connsiteY882" fmla="*/ 1789113 h 2476500"/>
                  <a:gd name="connsiteX883" fmla="*/ 135009 w 1757434"/>
                  <a:gd name="connsiteY883" fmla="*/ 1793875 h 2476500"/>
                  <a:gd name="connsiteX884" fmla="*/ 142947 w 1757434"/>
                  <a:gd name="connsiteY884" fmla="*/ 1792288 h 2476500"/>
                  <a:gd name="connsiteX885" fmla="*/ 147709 w 1757434"/>
                  <a:gd name="connsiteY885" fmla="*/ 1787525 h 2476500"/>
                  <a:gd name="connsiteX886" fmla="*/ 152472 w 1757434"/>
                  <a:gd name="connsiteY886" fmla="*/ 1778000 h 2476500"/>
                  <a:gd name="connsiteX887" fmla="*/ 160409 w 1757434"/>
                  <a:gd name="connsiteY887" fmla="*/ 1773238 h 2476500"/>
                  <a:gd name="connsiteX888" fmla="*/ 165172 w 1757434"/>
                  <a:gd name="connsiteY888" fmla="*/ 1771650 h 2476500"/>
                  <a:gd name="connsiteX889" fmla="*/ 149297 w 1757434"/>
                  <a:gd name="connsiteY889" fmla="*/ 1776413 h 2476500"/>
                  <a:gd name="connsiteX890" fmla="*/ 142947 w 1757434"/>
                  <a:gd name="connsiteY890" fmla="*/ 1778000 h 2476500"/>
                  <a:gd name="connsiteX891" fmla="*/ 135009 w 1757434"/>
                  <a:gd name="connsiteY891" fmla="*/ 1781175 h 2476500"/>
                  <a:gd name="connsiteX892" fmla="*/ 122309 w 1757434"/>
                  <a:gd name="connsiteY892" fmla="*/ 1784350 h 2476500"/>
                  <a:gd name="connsiteX893" fmla="*/ 117547 w 1757434"/>
                  <a:gd name="connsiteY893" fmla="*/ 1785938 h 2476500"/>
                  <a:gd name="connsiteX894" fmla="*/ 112784 w 1757434"/>
                  <a:gd name="connsiteY894" fmla="*/ 1781175 h 2476500"/>
                  <a:gd name="connsiteX895" fmla="*/ 100084 w 1757434"/>
                  <a:gd name="connsiteY895" fmla="*/ 1778000 h 2476500"/>
                  <a:gd name="connsiteX896" fmla="*/ 73357 w 1757434"/>
                  <a:gd name="connsiteY896" fmla="*/ 1774356 h 2476500"/>
                  <a:gd name="connsiteX897" fmla="*/ 69922 w 1757434"/>
                  <a:gd name="connsiteY897" fmla="*/ 1770063 h 2476500"/>
                  <a:gd name="connsiteX898" fmla="*/ 66515 w 1757434"/>
                  <a:gd name="connsiteY898" fmla="*/ 1765049 h 2476500"/>
                  <a:gd name="connsiteX899" fmla="*/ 63822 w 1757434"/>
                  <a:gd name="connsiteY899" fmla="*/ 1764461 h 2476500"/>
                  <a:gd name="connsiteX900" fmla="*/ 63141 w 1757434"/>
                  <a:gd name="connsiteY900" fmla="*/ 1759987 h 2476500"/>
                  <a:gd name="connsiteX901" fmla="*/ 55634 w 1757434"/>
                  <a:gd name="connsiteY901" fmla="*/ 1757363 h 2476500"/>
                  <a:gd name="connsiteX902" fmla="*/ 50872 w 1757434"/>
                  <a:gd name="connsiteY902" fmla="*/ 1755775 h 2476500"/>
                  <a:gd name="connsiteX903" fmla="*/ 52459 w 1757434"/>
                  <a:gd name="connsiteY903" fmla="*/ 1747838 h 2476500"/>
                  <a:gd name="connsiteX904" fmla="*/ 57222 w 1757434"/>
                  <a:gd name="connsiteY904" fmla="*/ 1730375 h 2476500"/>
                  <a:gd name="connsiteX905" fmla="*/ 61984 w 1757434"/>
                  <a:gd name="connsiteY905" fmla="*/ 1728788 h 2476500"/>
                  <a:gd name="connsiteX906" fmla="*/ 66747 w 1757434"/>
                  <a:gd name="connsiteY906" fmla="*/ 1725613 h 2476500"/>
                  <a:gd name="connsiteX907" fmla="*/ 85858 w 1757434"/>
                  <a:gd name="connsiteY907" fmla="*/ 1728161 h 2476500"/>
                  <a:gd name="connsiteX908" fmla="*/ 85797 w 1757434"/>
                  <a:gd name="connsiteY908" fmla="*/ 1728788 h 2476500"/>
                  <a:gd name="connsiteX909" fmla="*/ 91858 w 1757434"/>
                  <a:gd name="connsiteY909" fmla="*/ 1729654 h 2476500"/>
                  <a:gd name="connsiteX910" fmla="*/ 95322 w 1757434"/>
                  <a:gd name="connsiteY910" fmla="*/ 1731963 h 2476500"/>
                  <a:gd name="connsiteX911" fmla="*/ 103259 w 1757434"/>
                  <a:gd name="connsiteY911" fmla="*/ 1733550 h 2476500"/>
                  <a:gd name="connsiteX912" fmla="*/ 115959 w 1757434"/>
                  <a:gd name="connsiteY912" fmla="*/ 1749425 h 2476500"/>
                  <a:gd name="connsiteX913" fmla="*/ 115959 w 1757434"/>
                  <a:gd name="connsiteY913" fmla="*/ 1733550 h 2476500"/>
                  <a:gd name="connsiteX914" fmla="*/ 108022 w 1757434"/>
                  <a:gd name="connsiteY914" fmla="*/ 1731963 h 2476500"/>
                  <a:gd name="connsiteX915" fmla="*/ 91858 w 1757434"/>
                  <a:gd name="connsiteY915" fmla="*/ 1729654 h 2476500"/>
                  <a:gd name="connsiteX916" fmla="*/ 90559 w 1757434"/>
                  <a:gd name="connsiteY916" fmla="*/ 1728788 h 2476500"/>
                  <a:gd name="connsiteX917" fmla="*/ 85858 w 1757434"/>
                  <a:gd name="connsiteY917" fmla="*/ 1728161 h 2476500"/>
                  <a:gd name="connsiteX918" fmla="*/ 87655 w 1757434"/>
                  <a:gd name="connsiteY918" fmla="*/ 1709614 h 2476500"/>
                  <a:gd name="connsiteX919" fmla="*/ 92147 w 1757434"/>
                  <a:gd name="connsiteY919" fmla="*/ 1695450 h 2476500"/>
                  <a:gd name="connsiteX920" fmla="*/ 95322 w 1757434"/>
                  <a:gd name="connsiteY920" fmla="*/ 1687513 h 2476500"/>
                  <a:gd name="connsiteX921" fmla="*/ 104847 w 1757434"/>
                  <a:gd name="connsiteY921" fmla="*/ 1685925 h 2476500"/>
                  <a:gd name="connsiteX922" fmla="*/ 114372 w 1757434"/>
                  <a:gd name="connsiteY922" fmla="*/ 1682750 h 2476500"/>
                  <a:gd name="connsiteX923" fmla="*/ 125484 w 1757434"/>
                  <a:gd name="connsiteY923" fmla="*/ 1689100 h 2476500"/>
                  <a:gd name="connsiteX924" fmla="*/ 131834 w 1757434"/>
                  <a:gd name="connsiteY924" fmla="*/ 1698625 h 2476500"/>
                  <a:gd name="connsiteX925" fmla="*/ 135009 w 1757434"/>
                  <a:gd name="connsiteY925" fmla="*/ 1704975 h 2476500"/>
                  <a:gd name="connsiteX926" fmla="*/ 141359 w 1757434"/>
                  <a:gd name="connsiteY926" fmla="*/ 1709738 h 2476500"/>
                  <a:gd name="connsiteX927" fmla="*/ 144534 w 1757434"/>
                  <a:gd name="connsiteY927" fmla="*/ 1716088 h 2476500"/>
                  <a:gd name="connsiteX928" fmla="*/ 146122 w 1757434"/>
                  <a:gd name="connsiteY928" fmla="*/ 1720850 h 2476500"/>
                  <a:gd name="connsiteX929" fmla="*/ 151386 w 1757434"/>
                  <a:gd name="connsiteY929" fmla="*/ 1724667 h 2476500"/>
                  <a:gd name="connsiteX930" fmla="*/ 152472 w 1757434"/>
                  <a:gd name="connsiteY930" fmla="*/ 1727200 h 2476500"/>
                  <a:gd name="connsiteX931" fmla="*/ 157234 w 1757434"/>
                  <a:gd name="connsiteY931" fmla="*/ 1731963 h 2476500"/>
                  <a:gd name="connsiteX932" fmla="*/ 155647 w 1757434"/>
                  <a:gd name="connsiteY932" fmla="*/ 1727200 h 2476500"/>
                  <a:gd name="connsiteX933" fmla="*/ 151896 w 1757434"/>
                  <a:gd name="connsiteY933" fmla="*/ 1725037 h 2476500"/>
                  <a:gd name="connsiteX934" fmla="*/ 151386 w 1757434"/>
                  <a:gd name="connsiteY934" fmla="*/ 1724667 h 2476500"/>
                  <a:gd name="connsiteX935" fmla="*/ 147709 w 1757434"/>
                  <a:gd name="connsiteY935" fmla="*/ 1716088 h 2476500"/>
                  <a:gd name="connsiteX936" fmla="*/ 142947 w 1757434"/>
                  <a:gd name="connsiteY936" fmla="*/ 1703388 h 2476500"/>
                  <a:gd name="connsiteX937" fmla="*/ 144534 w 1757434"/>
                  <a:gd name="connsiteY937" fmla="*/ 1692275 h 2476500"/>
                  <a:gd name="connsiteX938" fmla="*/ 154059 w 1757434"/>
                  <a:gd name="connsiteY938" fmla="*/ 1682750 h 2476500"/>
                  <a:gd name="connsiteX939" fmla="*/ 161997 w 1757434"/>
                  <a:gd name="connsiteY939" fmla="*/ 1687513 h 2476500"/>
                  <a:gd name="connsiteX940" fmla="*/ 181047 w 1757434"/>
                  <a:gd name="connsiteY940" fmla="*/ 1693863 h 2476500"/>
                  <a:gd name="connsiteX941" fmla="*/ 184222 w 1757434"/>
                  <a:gd name="connsiteY941" fmla="*/ 1731963 h 2476500"/>
                  <a:gd name="connsiteX942" fmla="*/ 187397 w 1757434"/>
                  <a:gd name="connsiteY942" fmla="*/ 1743075 h 2476500"/>
                  <a:gd name="connsiteX943" fmla="*/ 192159 w 1757434"/>
                  <a:gd name="connsiteY943" fmla="*/ 1720850 h 2476500"/>
                  <a:gd name="connsiteX944" fmla="*/ 200731 w 1757434"/>
                  <a:gd name="connsiteY944" fmla="*/ 1715135 h 2476500"/>
                  <a:gd name="connsiteX945" fmla="*/ 211209 w 1757434"/>
                  <a:gd name="connsiteY945" fmla="*/ 1716088 h 2476500"/>
                  <a:gd name="connsiteX946" fmla="*/ 201684 w 1757434"/>
                  <a:gd name="connsiteY946" fmla="*/ 1714500 h 2476500"/>
                  <a:gd name="connsiteX947" fmla="*/ 200731 w 1757434"/>
                  <a:gd name="connsiteY947" fmla="*/ 1715135 h 2476500"/>
                  <a:gd name="connsiteX948" fmla="*/ 193747 w 1757434"/>
                  <a:gd name="connsiteY948" fmla="*/ 1714500 h 2476500"/>
                  <a:gd name="connsiteX949" fmla="*/ 192159 w 1757434"/>
                  <a:gd name="connsiteY949" fmla="*/ 1708150 h 2476500"/>
                  <a:gd name="connsiteX950" fmla="*/ 185809 w 1757434"/>
                  <a:gd name="connsiteY950" fmla="*/ 1693863 h 2476500"/>
                  <a:gd name="connsiteX951" fmla="*/ 182634 w 1757434"/>
                  <a:gd name="connsiteY951" fmla="*/ 1685925 h 2476500"/>
                  <a:gd name="connsiteX952" fmla="*/ 177872 w 1757434"/>
                  <a:gd name="connsiteY952" fmla="*/ 1682750 h 2476500"/>
                  <a:gd name="connsiteX953" fmla="*/ 171522 w 1757434"/>
                  <a:gd name="connsiteY953" fmla="*/ 1677988 h 2476500"/>
                  <a:gd name="connsiteX954" fmla="*/ 139772 w 1757434"/>
                  <a:gd name="connsiteY954" fmla="*/ 1673225 h 2476500"/>
                  <a:gd name="connsiteX955" fmla="*/ 138184 w 1757434"/>
                  <a:gd name="connsiteY955" fmla="*/ 1665288 h 2476500"/>
                  <a:gd name="connsiteX956" fmla="*/ 144534 w 1757434"/>
                  <a:gd name="connsiteY956" fmla="*/ 1651000 h 2476500"/>
                  <a:gd name="connsiteX957" fmla="*/ 150884 w 1757434"/>
                  <a:gd name="connsiteY957" fmla="*/ 1649413 h 2476500"/>
                  <a:gd name="connsiteX958" fmla="*/ 158822 w 1757434"/>
                  <a:gd name="connsiteY958" fmla="*/ 1646238 h 2476500"/>
                  <a:gd name="connsiteX959" fmla="*/ 163584 w 1757434"/>
                  <a:gd name="connsiteY959" fmla="*/ 1644650 h 2476500"/>
                  <a:gd name="connsiteX960" fmla="*/ 169934 w 1757434"/>
                  <a:gd name="connsiteY960" fmla="*/ 1631950 h 2476500"/>
                  <a:gd name="connsiteX961" fmla="*/ 174697 w 1757434"/>
                  <a:gd name="connsiteY961" fmla="*/ 1630363 h 2476500"/>
                  <a:gd name="connsiteX962" fmla="*/ 192159 w 1757434"/>
                  <a:gd name="connsiteY962" fmla="*/ 1635125 h 2476500"/>
                  <a:gd name="connsiteX963" fmla="*/ 196922 w 1757434"/>
                  <a:gd name="connsiteY963" fmla="*/ 1639888 h 2476500"/>
                  <a:gd name="connsiteX964" fmla="*/ 204859 w 1757434"/>
                  <a:gd name="connsiteY964" fmla="*/ 1644650 h 2476500"/>
                  <a:gd name="connsiteX965" fmla="*/ 214384 w 1757434"/>
                  <a:gd name="connsiteY965" fmla="*/ 1647825 h 2476500"/>
                  <a:gd name="connsiteX966" fmla="*/ 219147 w 1757434"/>
                  <a:gd name="connsiteY966" fmla="*/ 1649413 h 2476500"/>
                  <a:gd name="connsiteX967" fmla="*/ 223909 w 1757434"/>
                  <a:gd name="connsiteY967" fmla="*/ 1658938 h 2476500"/>
                  <a:gd name="connsiteX968" fmla="*/ 246134 w 1757434"/>
                  <a:gd name="connsiteY968" fmla="*/ 1660525 h 2476500"/>
                  <a:gd name="connsiteX969" fmla="*/ 242959 w 1757434"/>
                  <a:gd name="connsiteY969" fmla="*/ 1654175 h 2476500"/>
                  <a:gd name="connsiteX970" fmla="*/ 238197 w 1757434"/>
                  <a:gd name="connsiteY970" fmla="*/ 1649413 h 2476500"/>
                  <a:gd name="connsiteX971" fmla="*/ 246134 w 1757434"/>
                  <a:gd name="connsiteY971" fmla="*/ 1625600 h 2476500"/>
                  <a:gd name="connsiteX972" fmla="*/ 252484 w 1757434"/>
                  <a:gd name="connsiteY972" fmla="*/ 1622425 h 2476500"/>
                  <a:gd name="connsiteX973" fmla="*/ 258834 w 1757434"/>
                  <a:gd name="connsiteY973" fmla="*/ 1627188 h 2476500"/>
                  <a:gd name="connsiteX974" fmla="*/ 271534 w 1757434"/>
                  <a:gd name="connsiteY974" fmla="*/ 1639888 h 2476500"/>
                  <a:gd name="connsiteX975" fmla="*/ 277884 w 1757434"/>
                  <a:gd name="connsiteY975" fmla="*/ 1641475 h 2476500"/>
                  <a:gd name="connsiteX976" fmla="*/ 284234 w 1757434"/>
                  <a:gd name="connsiteY976" fmla="*/ 1624013 h 2476500"/>
                  <a:gd name="connsiteX977" fmla="*/ 284967 w 1757434"/>
                  <a:gd name="connsiteY977" fmla="*/ 1623769 h 2476500"/>
                  <a:gd name="connsiteX978" fmla="*/ 288997 w 1757434"/>
                  <a:gd name="connsiteY978" fmla="*/ 1627188 h 2476500"/>
                  <a:gd name="connsiteX979" fmla="*/ 300109 w 1757434"/>
                  <a:gd name="connsiteY979" fmla="*/ 1631950 h 2476500"/>
                  <a:gd name="connsiteX980" fmla="*/ 308047 w 1757434"/>
                  <a:gd name="connsiteY980" fmla="*/ 1633538 h 2476500"/>
                  <a:gd name="connsiteX981" fmla="*/ 319159 w 1757434"/>
                  <a:gd name="connsiteY981" fmla="*/ 1631950 h 2476500"/>
                  <a:gd name="connsiteX982" fmla="*/ 314397 w 1757434"/>
                  <a:gd name="connsiteY982" fmla="*/ 1628775 h 2476500"/>
                  <a:gd name="connsiteX983" fmla="*/ 288997 w 1757434"/>
                  <a:gd name="connsiteY983" fmla="*/ 1622425 h 2476500"/>
                  <a:gd name="connsiteX984" fmla="*/ 284967 w 1757434"/>
                  <a:gd name="connsiteY984" fmla="*/ 1623769 h 2476500"/>
                  <a:gd name="connsiteX985" fmla="*/ 283600 w 1757434"/>
                  <a:gd name="connsiteY985" fmla="*/ 1622609 h 2476500"/>
                  <a:gd name="connsiteX986" fmla="*/ 277884 w 1757434"/>
                  <a:gd name="connsiteY986" fmla="*/ 1619250 h 2476500"/>
                  <a:gd name="connsiteX987" fmla="*/ 265184 w 1757434"/>
                  <a:gd name="connsiteY987" fmla="*/ 1622425 h 2476500"/>
                  <a:gd name="connsiteX988" fmla="*/ 242959 w 1757434"/>
                  <a:gd name="connsiteY988" fmla="*/ 1619250 h 2476500"/>
                  <a:gd name="connsiteX989" fmla="*/ 217559 w 1757434"/>
                  <a:gd name="connsiteY989" fmla="*/ 1622425 h 2476500"/>
                  <a:gd name="connsiteX990" fmla="*/ 204859 w 1757434"/>
                  <a:gd name="connsiteY990" fmla="*/ 1625600 h 2476500"/>
                  <a:gd name="connsiteX991" fmla="*/ 182634 w 1757434"/>
                  <a:gd name="connsiteY991" fmla="*/ 1627188 h 2476500"/>
                  <a:gd name="connsiteX992" fmla="*/ 188984 w 1757434"/>
                  <a:gd name="connsiteY992" fmla="*/ 1624013 h 2476500"/>
                  <a:gd name="connsiteX993" fmla="*/ 190572 w 1757434"/>
                  <a:gd name="connsiteY993" fmla="*/ 1617663 h 2476500"/>
                  <a:gd name="connsiteX994" fmla="*/ 192159 w 1757434"/>
                  <a:gd name="connsiteY994" fmla="*/ 1585913 h 2476500"/>
                  <a:gd name="connsiteX995" fmla="*/ 204859 w 1757434"/>
                  <a:gd name="connsiteY995" fmla="*/ 1577975 h 2476500"/>
                  <a:gd name="connsiteX996" fmla="*/ 215972 w 1757434"/>
                  <a:gd name="connsiteY996" fmla="*/ 1581150 h 2476500"/>
                  <a:gd name="connsiteX997" fmla="*/ 219147 w 1757434"/>
                  <a:gd name="connsiteY997" fmla="*/ 1587500 h 2476500"/>
                  <a:gd name="connsiteX998" fmla="*/ 223909 w 1757434"/>
                  <a:gd name="connsiteY998" fmla="*/ 1590675 h 2476500"/>
                  <a:gd name="connsiteX999" fmla="*/ 231847 w 1757434"/>
                  <a:gd name="connsiteY999" fmla="*/ 1589088 h 2476500"/>
                  <a:gd name="connsiteX1000" fmla="*/ 255659 w 1757434"/>
                  <a:gd name="connsiteY1000" fmla="*/ 1585913 h 2476500"/>
                  <a:gd name="connsiteX1001" fmla="*/ 265184 w 1757434"/>
                  <a:gd name="connsiteY1001" fmla="*/ 1587500 h 2476500"/>
                  <a:gd name="connsiteX1002" fmla="*/ 285822 w 1757434"/>
                  <a:gd name="connsiteY1002" fmla="*/ 1589088 h 2476500"/>
                  <a:gd name="connsiteX1003" fmla="*/ 288997 w 1757434"/>
                  <a:gd name="connsiteY1003" fmla="*/ 1598613 h 2476500"/>
                  <a:gd name="connsiteX1004" fmla="*/ 298522 w 1757434"/>
                  <a:gd name="connsiteY1004" fmla="*/ 1604963 h 2476500"/>
                  <a:gd name="connsiteX1005" fmla="*/ 319159 w 1757434"/>
                  <a:gd name="connsiteY1005" fmla="*/ 1603375 h 2476500"/>
                  <a:gd name="connsiteX1006" fmla="*/ 325509 w 1757434"/>
                  <a:gd name="connsiteY1006" fmla="*/ 1601788 h 2476500"/>
                  <a:gd name="connsiteX1007" fmla="*/ 306459 w 1757434"/>
                  <a:gd name="connsiteY1007" fmla="*/ 1600200 h 2476500"/>
                  <a:gd name="connsiteX1008" fmla="*/ 304872 w 1757434"/>
                  <a:gd name="connsiteY1008" fmla="*/ 1592263 h 2476500"/>
                  <a:gd name="connsiteX1009" fmla="*/ 300109 w 1757434"/>
                  <a:gd name="connsiteY1009" fmla="*/ 1589088 h 2476500"/>
                  <a:gd name="connsiteX1010" fmla="*/ 290584 w 1757434"/>
                  <a:gd name="connsiteY1010" fmla="*/ 1584325 h 2476500"/>
                  <a:gd name="connsiteX1011" fmla="*/ 263597 w 1757434"/>
                  <a:gd name="connsiteY1011" fmla="*/ 1577975 h 2476500"/>
                  <a:gd name="connsiteX1012" fmla="*/ 265184 w 1757434"/>
                  <a:gd name="connsiteY1012" fmla="*/ 1563688 h 2476500"/>
                  <a:gd name="connsiteX1013" fmla="*/ 293759 w 1757434"/>
                  <a:gd name="connsiteY1013" fmla="*/ 1570038 h 2476500"/>
                  <a:gd name="connsiteX1014" fmla="*/ 303284 w 1757434"/>
                  <a:gd name="connsiteY1014" fmla="*/ 1568450 h 2476500"/>
                  <a:gd name="connsiteX1015" fmla="*/ 311222 w 1757434"/>
                  <a:gd name="connsiteY1015" fmla="*/ 1566863 h 2476500"/>
                  <a:gd name="connsiteX1016" fmla="*/ 296934 w 1757434"/>
                  <a:gd name="connsiteY1016" fmla="*/ 1565275 h 2476500"/>
                  <a:gd name="connsiteX1017" fmla="*/ 298522 w 1757434"/>
                  <a:gd name="connsiteY1017" fmla="*/ 1549400 h 2476500"/>
                  <a:gd name="connsiteX1018" fmla="*/ 309634 w 1757434"/>
                  <a:gd name="connsiteY1018" fmla="*/ 1546225 h 2476500"/>
                  <a:gd name="connsiteX1019" fmla="*/ 339797 w 1757434"/>
                  <a:gd name="connsiteY1019" fmla="*/ 1544638 h 2476500"/>
                  <a:gd name="connsiteX1020" fmla="*/ 336622 w 1757434"/>
                  <a:gd name="connsiteY1020" fmla="*/ 1527175 h 2476500"/>
                  <a:gd name="connsiteX1021" fmla="*/ 342972 w 1757434"/>
                  <a:gd name="connsiteY1021" fmla="*/ 1522413 h 2476500"/>
                  <a:gd name="connsiteX1022" fmla="*/ 350909 w 1757434"/>
                  <a:gd name="connsiteY1022" fmla="*/ 1520825 h 2476500"/>
                  <a:gd name="connsiteX1023" fmla="*/ 355672 w 1757434"/>
                  <a:gd name="connsiteY1023" fmla="*/ 1519238 h 2476500"/>
                  <a:gd name="connsiteX1024" fmla="*/ 371547 w 1757434"/>
                  <a:gd name="connsiteY1024" fmla="*/ 1512888 h 2476500"/>
                  <a:gd name="connsiteX1025" fmla="*/ 384247 w 1757434"/>
                  <a:gd name="connsiteY1025" fmla="*/ 1524000 h 2476500"/>
                  <a:gd name="connsiteX1026" fmla="*/ 377897 w 1757434"/>
                  <a:gd name="connsiteY1026" fmla="*/ 1522413 h 2476500"/>
                  <a:gd name="connsiteX1027" fmla="*/ 379484 w 1757434"/>
                  <a:gd name="connsiteY1027" fmla="*/ 1508125 h 2476500"/>
                  <a:gd name="connsiteX1028" fmla="*/ 381072 w 1757434"/>
                  <a:gd name="connsiteY1028" fmla="*/ 1503363 h 2476500"/>
                  <a:gd name="connsiteX1029" fmla="*/ 382659 w 1757434"/>
                  <a:gd name="connsiteY1029" fmla="*/ 1490663 h 2476500"/>
                  <a:gd name="connsiteX1030" fmla="*/ 387422 w 1757434"/>
                  <a:gd name="connsiteY1030" fmla="*/ 1485900 h 2476500"/>
                  <a:gd name="connsiteX1031" fmla="*/ 395359 w 1757434"/>
                  <a:gd name="connsiteY1031" fmla="*/ 1484313 h 2476500"/>
                  <a:gd name="connsiteX1032" fmla="*/ 406472 w 1757434"/>
                  <a:gd name="connsiteY1032" fmla="*/ 1481138 h 2476500"/>
                  <a:gd name="connsiteX1033" fmla="*/ 422347 w 1757434"/>
                  <a:gd name="connsiteY1033" fmla="*/ 1479550 h 2476500"/>
                  <a:gd name="connsiteX1034" fmla="*/ 425522 w 1757434"/>
                  <a:gd name="connsiteY1034" fmla="*/ 1485900 h 2476500"/>
                  <a:gd name="connsiteX1035" fmla="*/ 426535 w 1757434"/>
                  <a:gd name="connsiteY1035" fmla="*/ 1486660 h 2476500"/>
                  <a:gd name="connsiteX1036" fmla="*/ 425656 w 1757434"/>
                  <a:gd name="connsiteY1036" fmla="*/ 1480532 h 2476500"/>
                  <a:gd name="connsiteX1037" fmla="*/ 427109 w 1757434"/>
                  <a:gd name="connsiteY1037" fmla="*/ 1470025 h 2476500"/>
                  <a:gd name="connsiteX1038" fmla="*/ 431872 w 1757434"/>
                  <a:gd name="connsiteY1038" fmla="*/ 1466850 h 2476500"/>
                  <a:gd name="connsiteX1039" fmla="*/ 436634 w 1757434"/>
                  <a:gd name="connsiteY1039" fmla="*/ 1460500 h 2476500"/>
                  <a:gd name="connsiteX1040" fmla="*/ 415997 w 1757434"/>
                  <a:gd name="connsiteY1040" fmla="*/ 1457325 h 2476500"/>
                  <a:gd name="connsiteX1041" fmla="*/ 412822 w 1757434"/>
                  <a:gd name="connsiteY1041" fmla="*/ 1447800 h 2476500"/>
                  <a:gd name="connsiteX1042" fmla="*/ 420759 w 1757434"/>
                  <a:gd name="connsiteY1042" fmla="*/ 1443038 h 2476500"/>
                  <a:gd name="connsiteX1043" fmla="*/ 411234 w 1757434"/>
                  <a:gd name="connsiteY1043" fmla="*/ 1441450 h 2476500"/>
                  <a:gd name="connsiteX1044" fmla="*/ 431872 w 1757434"/>
                  <a:gd name="connsiteY1044" fmla="*/ 1428750 h 2476500"/>
                  <a:gd name="connsiteX1045" fmla="*/ 436634 w 1757434"/>
                  <a:gd name="connsiteY1045" fmla="*/ 1425575 h 2476500"/>
                  <a:gd name="connsiteX1046" fmla="*/ 439809 w 1757434"/>
                  <a:gd name="connsiteY1046" fmla="*/ 1420813 h 2476500"/>
                  <a:gd name="connsiteX1047" fmla="*/ 446159 w 1757434"/>
                  <a:gd name="connsiteY1047" fmla="*/ 1416050 h 2476500"/>
                  <a:gd name="connsiteX1048" fmla="*/ 447747 w 1757434"/>
                  <a:gd name="connsiteY1048" fmla="*/ 1408113 h 2476500"/>
                  <a:gd name="connsiteX1049" fmla="*/ 449334 w 1757434"/>
                  <a:gd name="connsiteY1049" fmla="*/ 1401763 h 2476500"/>
                  <a:gd name="connsiteX1050" fmla="*/ 454097 w 1757434"/>
                  <a:gd name="connsiteY1050" fmla="*/ 1397000 h 2476500"/>
                  <a:gd name="connsiteX1051" fmla="*/ 455684 w 1757434"/>
                  <a:gd name="connsiteY1051" fmla="*/ 1390650 h 2476500"/>
                  <a:gd name="connsiteX1052" fmla="*/ 454097 w 1757434"/>
                  <a:gd name="connsiteY1052" fmla="*/ 1384300 h 2476500"/>
                  <a:gd name="connsiteX1053" fmla="*/ 457272 w 1757434"/>
                  <a:gd name="connsiteY1053" fmla="*/ 1377950 h 2476500"/>
                  <a:gd name="connsiteX1054" fmla="*/ 465209 w 1757434"/>
                  <a:gd name="connsiteY1054" fmla="*/ 1379538 h 2476500"/>
                  <a:gd name="connsiteX1055" fmla="*/ 473147 w 1757434"/>
                  <a:gd name="connsiteY1055" fmla="*/ 1349375 h 2476500"/>
                  <a:gd name="connsiteX1056" fmla="*/ 489022 w 1757434"/>
                  <a:gd name="connsiteY1056" fmla="*/ 1344613 h 2476500"/>
                  <a:gd name="connsiteX1057" fmla="*/ 490609 w 1757434"/>
                  <a:gd name="connsiteY1057" fmla="*/ 1336675 h 2476500"/>
                  <a:gd name="connsiteX1058" fmla="*/ 493784 w 1757434"/>
                  <a:gd name="connsiteY1058" fmla="*/ 1322388 h 2476500"/>
                  <a:gd name="connsiteX1059" fmla="*/ 501722 w 1757434"/>
                  <a:gd name="connsiteY1059" fmla="*/ 1327150 h 2476500"/>
                  <a:gd name="connsiteX1060" fmla="*/ 503309 w 1757434"/>
                  <a:gd name="connsiteY1060" fmla="*/ 1331913 h 2476500"/>
                  <a:gd name="connsiteX1061" fmla="*/ 506484 w 1757434"/>
                  <a:gd name="connsiteY1061" fmla="*/ 1325563 h 2476500"/>
                  <a:gd name="connsiteX1062" fmla="*/ 516009 w 1757434"/>
                  <a:gd name="connsiteY1062" fmla="*/ 1308100 h 2476500"/>
                  <a:gd name="connsiteX1063" fmla="*/ 517597 w 1757434"/>
                  <a:gd name="connsiteY1063" fmla="*/ 1298575 h 2476500"/>
                  <a:gd name="connsiteX1064" fmla="*/ 522359 w 1757434"/>
                  <a:gd name="connsiteY1064" fmla="*/ 1308100 h 2476500"/>
                  <a:gd name="connsiteX1065" fmla="*/ 525534 w 1757434"/>
                  <a:gd name="connsiteY1065" fmla="*/ 1312863 h 2476500"/>
                  <a:gd name="connsiteX1066" fmla="*/ 533472 w 1757434"/>
                  <a:gd name="connsiteY1066" fmla="*/ 1309688 h 2476500"/>
                  <a:gd name="connsiteX1067" fmla="*/ 539822 w 1757434"/>
                  <a:gd name="connsiteY1067" fmla="*/ 1298575 h 2476500"/>
                  <a:gd name="connsiteX1068" fmla="*/ 542997 w 1757434"/>
                  <a:gd name="connsiteY1068" fmla="*/ 1306513 h 2476500"/>
                  <a:gd name="connsiteX1069" fmla="*/ 544584 w 1757434"/>
                  <a:gd name="connsiteY1069" fmla="*/ 1319213 h 2476500"/>
                  <a:gd name="connsiteX1070" fmla="*/ 549347 w 1757434"/>
                  <a:gd name="connsiteY1070" fmla="*/ 1322388 h 2476500"/>
                  <a:gd name="connsiteX1071" fmla="*/ 557284 w 1757434"/>
                  <a:gd name="connsiteY1071" fmla="*/ 1304925 h 2476500"/>
                  <a:gd name="connsiteX1072" fmla="*/ 562047 w 1757434"/>
                  <a:gd name="connsiteY1072" fmla="*/ 1296988 h 2476500"/>
                  <a:gd name="connsiteX1073" fmla="*/ 563634 w 1757434"/>
                  <a:gd name="connsiteY1073" fmla="*/ 1292225 h 2476500"/>
                  <a:gd name="connsiteX1074" fmla="*/ 565222 w 1757434"/>
                  <a:gd name="connsiteY1074" fmla="*/ 1281113 h 2476500"/>
                  <a:gd name="connsiteX1075" fmla="*/ 568397 w 1757434"/>
                  <a:gd name="connsiteY1075" fmla="*/ 1274763 h 2476500"/>
                  <a:gd name="connsiteX1076" fmla="*/ 576334 w 1757434"/>
                  <a:gd name="connsiteY1076" fmla="*/ 1262063 h 2476500"/>
                  <a:gd name="connsiteX1077" fmla="*/ 584272 w 1757434"/>
                  <a:gd name="connsiteY1077" fmla="*/ 1246188 h 2476500"/>
                  <a:gd name="connsiteX1078" fmla="*/ 589034 w 1757434"/>
                  <a:gd name="connsiteY1078" fmla="*/ 1244600 h 2476500"/>
                  <a:gd name="connsiteX1079" fmla="*/ 601734 w 1757434"/>
                  <a:gd name="connsiteY1079" fmla="*/ 1243013 h 2476500"/>
                  <a:gd name="connsiteX1080" fmla="*/ 614434 w 1757434"/>
                  <a:gd name="connsiteY1080" fmla="*/ 1231900 h 2476500"/>
                  <a:gd name="connsiteX1081" fmla="*/ 616022 w 1757434"/>
                  <a:gd name="connsiteY1081" fmla="*/ 1208088 h 2476500"/>
                  <a:gd name="connsiteX1082" fmla="*/ 622372 w 1757434"/>
                  <a:gd name="connsiteY1082" fmla="*/ 1204913 h 2476500"/>
                  <a:gd name="connsiteX1083" fmla="*/ 627134 w 1757434"/>
                  <a:gd name="connsiteY1083" fmla="*/ 1201738 h 2476500"/>
                  <a:gd name="connsiteX1084" fmla="*/ 635072 w 1757434"/>
                  <a:gd name="connsiteY1084" fmla="*/ 1196975 h 2476500"/>
                  <a:gd name="connsiteX1085" fmla="*/ 639834 w 1757434"/>
                  <a:gd name="connsiteY1085" fmla="*/ 1193800 h 2476500"/>
                  <a:gd name="connsiteX1086" fmla="*/ 650947 w 1757434"/>
                  <a:gd name="connsiteY1086" fmla="*/ 1182688 h 2476500"/>
                  <a:gd name="connsiteX1087" fmla="*/ 654122 w 1757434"/>
                  <a:gd name="connsiteY1087" fmla="*/ 1173163 h 2476500"/>
                  <a:gd name="connsiteX1088" fmla="*/ 630309 w 1757434"/>
                  <a:gd name="connsiteY1088" fmla="*/ 1181100 h 2476500"/>
                  <a:gd name="connsiteX1089" fmla="*/ 622372 w 1757434"/>
                  <a:gd name="connsiteY1089" fmla="*/ 1182688 h 2476500"/>
                  <a:gd name="connsiteX1090" fmla="*/ 617609 w 1757434"/>
                  <a:gd name="connsiteY1090" fmla="*/ 1184275 h 2476500"/>
                  <a:gd name="connsiteX1091" fmla="*/ 611259 w 1757434"/>
                  <a:gd name="connsiteY1091" fmla="*/ 1189038 h 2476500"/>
                  <a:gd name="connsiteX1092" fmla="*/ 609672 w 1757434"/>
                  <a:gd name="connsiteY1092" fmla="*/ 1195388 h 2476500"/>
                  <a:gd name="connsiteX1093" fmla="*/ 598559 w 1757434"/>
                  <a:gd name="connsiteY1093" fmla="*/ 1214438 h 2476500"/>
                  <a:gd name="connsiteX1094" fmla="*/ 593797 w 1757434"/>
                  <a:gd name="connsiteY1094" fmla="*/ 1216025 h 2476500"/>
                  <a:gd name="connsiteX1095" fmla="*/ 598559 w 1757434"/>
                  <a:gd name="connsiteY1095" fmla="*/ 1190625 h 2476500"/>
                  <a:gd name="connsiteX1096" fmla="*/ 600147 w 1757434"/>
                  <a:gd name="connsiteY1096" fmla="*/ 1184275 h 2476500"/>
                  <a:gd name="connsiteX1097" fmla="*/ 601734 w 1757434"/>
                  <a:gd name="connsiteY1097" fmla="*/ 1176338 h 2476500"/>
                  <a:gd name="connsiteX1098" fmla="*/ 608084 w 1757434"/>
                  <a:gd name="connsiteY1098" fmla="*/ 1166813 h 2476500"/>
                  <a:gd name="connsiteX1099" fmla="*/ 620784 w 1757434"/>
                  <a:gd name="connsiteY1099" fmla="*/ 1160463 h 2476500"/>
                  <a:gd name="connsiteX1100" fmla="*/ 619197 w 1757434"/>
                  <a:gd name="connsiteY1100" fmla="*/ 1141413 h 2476500"/>
                  <a:gd name="connsiteX1101" fmla="*/ 623959 w 1757434"/>
                  <a:gd name="connsiteY1101" fmla="*/ 1143000 h 2476500"/>
                  <a:gd name="connsiteX1102" fmla="*/ 628722 w 1757434"/>
                  <a:gd name="connsiteY1102" fmla="*/ 1146175 h 2476500"/>
                  <a:gd name="connsiteX1103" fmla="*/ 630309 w 1757434"/>
                  <a:gd name="connsiteY1103" fmla="*/ 1125538 h 2476500"/>
                  <a:gd name="connsiteX1104" fmla="*/ 622372 w 1757434"/>
                  <a:gd name="connsiteY1104" fmla="*/ 1119188 h 2476500"/>
                  <a:gd name="connsiteX1105" fmla="*/ 625338 w 1757434"/>
                  <a:gd name="connsiteY1105" fmla="*/ 1109604 h 2476500"/>
                  <a:gd name="connsiteX1106" fmla="*/ 630062 w 1757434"/>
                  <a:gd name="connsiteY1106" fmla="*/ 1102117 h 2476500"/>
                  <a:gd name="connsiteX1107" fmla="*/ 635072 w 1757434"/>
                  <a:gd name="connsiteY1107" fmla="*/ 1104900 h 2476500"/>
                  <a:gd name="connsiteX1108" fmla="*/ 646184 w 1757434"/>
                  <a:gd name="connsiteY1108" fmla="*/ 1103313 h 2476500"/>
                  <a:gd name="connsiteX1109" fmla="*/ 630309 w 1757434"/>
                  <a:gd name="connsiteY1109" fmla="*/ 1101725 h 2476500"/>
                  <a:gd name="connsiteX1110" fmla="*/ 630062 w 1757434"/>
                  <a:gd name="connsiteY1110" fmla="*/ 1102117 h 2476500"/>
                  <a:gd name="connsiteX1111" fmla="*/ 620784 w 1757434"/>
                  <a:gd name="connsiteY1111" fmla="*/ 1096963 h 2476500"/>
                  <a:gd name="connsiteX1112" fmla="*/ 623959 w 1757434"/>
                  <a:gd name="connsiteY1112" fmla="*/ 1074738 h 2476500"/>
                  <a:gd name="connsiteX1113" fmla="*/ 633484 w 1757434"/>
                  <a:gd name="connsiteY1113" fmla="*/ 1073150 h 2476500"/>
                  <a:gd name="connsiteX1114" fmla="*/ 638247 w 1757434"/>
                  <a:gd name="connsiteY1114" fmla="*/ 1071563 h 2476500"/>
                  <a:gd name="connsiteX1115" fmla="*/ 644597 w 1757434"/>
                  <a:gd name="connsiteY1115" fmla="*/ 1077913 h 2476500"/>
                  <a:gd name="connsiteX1116" fmla="*/ 646184 w 1757434"/>
                  <a:gd name="connsiteY1116" fmla="*/ 1065213 h 2476500"/>
                  <a:gd name="connsiteX1117" fmla="*/ 652534 w 1757434"/>
                  <a:gd name="connsiteY1117" fmla="*/ 1046163 h 2476500"/>
                  <a:gd name="connsiteX1118" fmla="*/ 662059 w 1757434"/>
                  <a:gd name="connsiteY1118" fmla="*/ 1062038 h 2476500"/>
                  <a:gd name="connsiteX1119" fmla="*/ 669997 w 1757434"/>
                  <a:gd name="connsiteY1119" fmla="*/ 1066800 h 2476500"/>
                  <a:gd name="connsiteX1120" fmla="*/ 677934 w 1757434"/>
                  <a:gd name="connsiteY1120" fmla="*/ 1065213 h 2476500"/>
                  <a:gd name="connsiteX1121" fmla="*/ 666822 w 1757434"/>
                  <a:gd name="connsiteY1121" fmla="*/ 1042988 h 2476500"/>
                  <a:gd name="connsiteX1122" fmla="*/ 660472 w 1757434"/>
                  <a:gd name="connsiteY1122" fmla="*/ 1031875 h 2476500"/>
                  <a:gd name="connsiteX1123" fmla="*/ 654122 w 1757434"/>
                  <a:gd name="connsiteY1123" fmla="*/ 1028700 h 2476500"/>
                  <a:gd name="connsiteX1124" fmla="*/ 668409 w 1757434"/>
                  <a:gd name="connsiteY1124" fmla="*/ 1019175 h 2476500"/>
                  <a:gd name="connsiteX1125" fmla="*/ 676347 w 1757434"/>
                  <a:gd name="connsiteY1125" fmla="*/ 1016000 h 2476500"/>
                  <a:gd name="connsiteX1126" fmla="*/ 684284 w 1757434"/>
                  <a:gd name="connsiteY1126" fmla="*/ 1006475 h 2476500"/>
                  <a:gd name="connsiteX1127" fmla="*/ 692222 w 1757434"/>
                  <a:gd name="connsiteY1127" fmla="*/ 1000125 h 2476500"/>
                  <a:gd name="connsiteX1128" fmla="*/ 695397 w 1757434"/>
                  <a:gd name="connsiteY1128" fmla="*/ 993775 h 2476500"/>
                  <a:gd name="connsiteX1129" fmla="*/ 697575 w 1757434"/>
                  <a:gd name="connsiteY1129" fmla="*/ 989376 h 2476500"/>
                  <a:gd name="connsiteX1130" fmla="*/ 700379 w 1757434"/>
                  <a:gd name="connsiteY1130" fmla="*/ 989843 h 2476500"/>
                  <a:gd name="connsiteX1131" fmla="*/ 701747 w 1757434"/>
                  <a:gd name="connsiteY1131" fmla="*/ 1004888 h 2476500"/>
                  <a:gd name="connsiteX1132" fmla="*/ 708097 w 1757434"/>
                  <a:gd name="connsiteY1132" fmla="*/ 1019175 h 2476500"/>
                  <a:gd name="connsiteX1133" fmla="*/ 716034 w 1757434"/>
                  <a:gd name="connsiteY1133" fmla="*/ 1001713 h 2476500"/>
                  <a:gd name="connsiteX1134" fmla="*/ 720797 w 1757434"/>
                  <a:gd name="connsiteY1134" fmla="*/ 1000125 h 2476500"/>
                  <a:gd name="connsiteX1135" fmla="*/ 728734 w 1757434"/>
                  <a:gd name="connsiteY1135" fmla="*/ 995363 h 2476500"/>
                  <a:gd name="connsiteX1136" fmla="*/ 730322 w 1757434"/>
                  <a:gd name="connsiteY1136" fmla="*/ 989013 h 2476500"/>
                  <a:gd name="connsiteX1137" fmla="*/ 735084 w 1757434"/>
                  <a:gd name="connsiteY1137" fmla="*/ 981075 h 2476500"/>
                  <a:gd name="connsiteX1138" fmla="*/ 728734 w 1757434"/>
                  <a:gd name="connsiteY1138" fmla="*/ 982663 h 2476500"/>
                  <a:gd name="connsiteX1139" fmla="*/ 709684 w 1757434"/>
                  <a:gd name="connsiteY1139" fmla="*/ 989013 h 2476500"/>
                  <a:gd name="connsiteX1140" fmla="*/ 704922 w 1757434"/>
                  <a:gd name="connsiteY1140" fmla="*/ 990600 h 2476500"/>
                  <a:gd name="connsiteX1141" fmla="*/ 700379 w 1757434"/>
                  <a:gd name="connsiteY1141" fmla="*/ 989843 h 2476500"/>
                  <a:gd name="connsiteX1142" fmla="*/ 700159 w 1757434"/>
                  <a:gd name="connsiteY1142" fmla="*/ 987425 h 2476500"/>
                  <a:gd name="connsiteX1143" fmla="*/ 697812 w 1757434"/>
                  <a:gd name="connsiteY1143" fmla="*/ 988897 h 2476500"/>
                  <a:gd name="connsiteX1144" fmla="*/ 697575 w 1757434"/>
                  <a:gd name="connsiteY1144" fmla="*/ 989376 h 2476500"/>
                  <a:gd name="connsiteX1145" fmla="*/ 695397 w 1757434"/>
                  <a:gd name="connsiteY1145" fmla="*/ 989013 h 2476500"/>
                  <a:gd name="connsiteX1146" fmla="*/ 690634 w 1757434"/>
                  <a:gd name="connsiteY1146" fmla="*/ 985838 h 2476500"/>
                  <a:gd name="connsiteX1147" fmla="*/ 658884 w 1757434"/>
                  <a:gd name="connsiteY1147" fmla="*/ 982663 h 2476500"/>
                  <a:gd name="connsiteX1148" fmla="*/ 665234 w 1757434"/>
                  <a:gd name="connsiteY1148" fmla="*/ 947738 h 2476500"/>
                  <a:gd name="connsiteX1149" fmla="*/ 671584 w 1757434"/>
                  <a:gd name="connsiteY1149" fmla="*/ 946150 h 2476500"/>
                  <a:gd name="connsiteX1150" fmla="*/ 674759 w 1757434"/>
                  <a:gd name="connsiteY1150" fmla="*/ 941388 h 2476500"/>
                  <a:gd name="connsiteX1151" fmla="*/ 689047 w 1757434"/>
                  <a:gd name="connsiteY1151" fmla="*/ 935038 h 2476500"/>
                  <a:gd name="connsiteX1152" fmla="*/ 690634 w 1757434"/>
                  <a:gd name="connsiteY1152" fmla="*/ 941388 h 2476500"/>
                  <a:gd name="connsiteX1153" fmla="*/ 693809 w 1757434"/>
                  <a:gd name="connsiteY1153" fmla="*/ 947738 h 2476500"/>
                  <a:gd name="connsiteX1154" fmla="*/ 695397 w 1757434"/>
                  <a:gd name="connsiteY1154" fmla="*/ 930275 h 2476500"/>
                  <a:gd name="connsiteX1155" fmla="*/ 701747 w 1757434"/>
                  <a:gd name="connsiteY1155" fmla="*/ 917575 h 2476500"/>
                  <a:gd name="connsiteX1156" fmla="*/ 708097 w 1757434"/>
                  <a:gd name="connsiteY1156" fmla="*/ 920750 h 2476500"/>
                  <a:gd name="connsiteX1157" fmla="*/ 714105 w 1757434"/>
                  <a:gd name="connsiteY1157" fmla="*/ 909845 h 2476500"/>
                  <a:gd name="connsiteX1158" fmla="*/ 711560 w 1757434"/>
                  <a:gd name="connsiteY1158" fmla="*/ 898249 h 2476500"/>
                  <a:gd name="connsiteX1159" fmla="*/ 716034 w 1757434"/>
                  <a:gd name="connsiteY1159" fmla="*/ 900113 h 2476500"/>
                  <a:gd name="connsiteX1160" fmla="*/ 711272 w 1757434"/>
                  <a:gd name="connsiteY1160" fmla="*/ 896938 h 2476500"/>
                  <a:gd name="connsiteX1161" fmla="*/ 711560 w 1757434"/>
                  <a:gd name="connsiteY1161" fmla="*/ 898249 h 2476500"/>
                  <a:gd name="connsiteX1162" fmla="*/ 696984 w 1757434"/>
                  <a:gd name="connsiteY1162" fmla="*/ 892175 h 2476500"/>
                  <a:gd name="connsiteX1163" fmla="*/ 695397 w 1757434"/>
                  <a:gd name="connsiteY1163" fmla="*/ 868363 h 2476500"/>
                  <a:gd name="connsiteX1164" fmla="*/ 738259 w 1757434"/>
                  <a:gd name="connsiteY1164" fmla="*/ 862013 h 2476500"/>
                  <a:gd name="connsiteX1165" fmla="*/ 731909 w 1757434"/>
                  <a:gd name="connsiteY1165" fmla="*/ 858838 h 2476500"/>
                  <a:gd name="connsiteX1166" fmla="*/ 741434 w 1757434"/>
                  <a:gd name="connsiteY1166" fmla="*/ 852488 h 2476500"/>
                  <a:gd name="connsiteX1167" fmla="*/ 747784 w 1757434"/>
                  <a:gd name="connsiteY1167" fmla="*/ 858838 h 2476500"/>
                  <a:gd name="connsiteX1168" fmla="*/ 746197 w 1757434"/>
                  <a:gd name="connsiteY1168" fmla="*/ 854075 h 2476500"/>
                  <a:gd name="connsiteX1169" fmla="*/ 749372 w 1757434"/>
                  <a:gd name="connsiteY1169" fmla="*/ 838200 h 2476500"/>
                  <a:gd name="connsiteX1170" fmla="*/ 757309 w 1757434"/>
                  <a:gd name="connsiteY1170" fmla="*/ 833438 h 2476500"/>
                  <a:gd name="connsiteX1171" fmla="*/ 758897 w 1757434"/>
                  <a:gd name="connsiteY1171" fmla="*/ 844550 h 2476500"/>
                  <a:gd name="connsiteX1172" fmla="*/ 762072 w 1757434"/>
                  <a:gd name="connsiteY1172" fmla="*/ 849313 h 2476500"/>
                  <a:gd name="connsiteX1173" fmla="*/ 766834 w 1757434"/>
                  <a:gd name="connsiteY1173" fmla="*/ 847725 h 2476500"/>
                  <a:gd name="connsiteX1174" fmla="*/ 763659 w 1757434"/>
                  <a:gd name="connsiteY1174" fmla="*/ 827088 h 2476500"/>
                  <a:gd name="connsiteX1175" fmla="*/ 770009 w 1757434"/>
                  <a:gd name="connsiteY1175" fmla="*/ 812800 h 2476500"/>
                  <a:gd name="connsiteX1176" fmla="*/ 774772 w 1757434"/>
                  <a:gd name="connsiteY1176" fmla="*/ 815975 h 2476500"/>
                  <a:gd name="connsiteX1177" fmla="*/ 782709 w 1757434"/>
                  <a:gd name="connsiteY1177" fmla="*/ 823913 h 2476500"/>
                  <a:gd name="connsiteX1178" fmla="*/ 789059 w 1757434"/>
                  <a:gd name="connsiteY1178" fmla="*/ 819150 h 2476500"/>
                  <a:gd name="connsiteX1179" fmla="*/ 793822 w 1757434"/>
                  <a:gd name="connsiteY1179" fmla="*/ 806450 h 2476500"/>
                  <a:gd name="connsiteX1180" fmla="*/ 806522 w 1757434"/>
                  <a:gd name="connsiteY1180" fmla="*/ 819150 h 2476500"/>
                  <a:gd name="connsiteX1181" fmla="*/ 808109 w 1757434"/>
                  <a:gd name="connsiteY1181" fmla="*/ 831850 h 2476500"/>
                  <a:gd name="connsiteX1182" fmla="*/ 811284 w 1757434"/>
                  <a:gd name="connsiteY1182" fmla="*/ 823913 h 2476500"/>
                  <a:gd name="connsiteX1183" fmla="*/ 820809 w 1757434"/>
                  <a:gd name="connsiteY1183" fmla="*/ 830263 h 2476500"/>
                  <a:gd name="connsiteX1184" fmla="*/ 828747 w 1757434"/>
                  <a:gd name="connsiteY1184" fmla="*/ 828675 h 2476500"/>
                  <a:gd name="connsiteX1185" fmla="*/ 830334 w 1757434"/>
                  <a:gd name="connsiteY1185" fmla="*/ 815975 h 2476500"/>
                  <a:gd name="connsiteX1186" fmla="*/ 831922 w 1757434"/>
                  <a:gd name="connsiteY1186" fmla="*/ 811213 h 2476500"/>
                  <a:gd name="connsiteX1187" fmla="*/ 833509 w 1757434"/>
                  <a:gd name="connsiteY1187" fmla="*/ 796925 h 2476500"/>
                  <a:gd name="connsiteX1188" fmla="*/ 831922 w 1757434"/>
                  <a:gd name="connsiteY1188" fmla="*/ 790575 h 2476500"/>
                  <a:gd name="connsiteX1189" fmla="*/ 830334 w 1757434"/>
                  <a:gd name="connsiteY1189" fmla="*/ 782638 h 2476500"/>
                  <a:gd name="connsiteX1190" fmla="*/ 831922 w 1757434"/>
                  <a:gd name="connsiteY1190" fmla="*/ 760413 h 2476500"/>
                  <a:gd name="connsiteX1191" fmla="*/ 793822 w 1757434"/>
                  <a:gd name="connsiteY1191" fmla="*/ 765175 h 2476500"/>
                  <a:gd name="connsiteX1192" fmla="*/ 804934 w 1757434"/>
                  <a:gd name="connsiteY1192" fmla="*/ 755650 h 2476500"/>
                  <a:gd name="connsiteX1193" fmla="*/ 806522 w 1757434"/>
                  <a:gd name="connsiteY1193" fmla="*/ 750888 h 2476500"/>
                  <a:gd name="connsiteX1194" fmla="*/ 808109 w 1757434"/>
                  <a:gd name="connsiteY1194" fmla="*/ 741363 h 2476500"/>
                  <a:gd name="connsiteX1195" fmla="*/ 812872 w 1757434"/>
                  <a:gd name="connsiteY1195" fmla="*/ 739775 h 2476500"/>
                  <a:gd name="connsiteX1196" fmla="*/ 817634 w 1757434"/>
                  <a:gd name="connsiteY1196" fmla="*/ 735013 h 2476500"/>
                  <a:gd name="connsiteX1197" fmla="*/ 812872 w 1757434"/>
                  <a:gd name="connsiteY1197" fmla="*/ 731838 h 2476500"/>
                  <a:gd name="connsiteX1198" fmla="*/ 796997 w 1757434"/>
                  <a:gd name="connsiteY1198" fmla="*/ 728663 h 2476500"/>
                  <a:gd name="connsiteX1199" fmla="*/ 784297 w 1757434"/>
                  <a:gd name="connsiteY1199" fmla="*/ 727075 h 2476500"/>
                  <a:gd name="connsiteX1200" fmla="*/ 793822 w 1757434"/>
                  <a:gd name="connsiteY1200" fmla="*/ 704850 h 2476500"/>
                  <a:gd name="connsiteX1201" fmla="*/ 801759 w 1757434"/>
                  <a:gd name="connsiteY1201" fmla="*/ 703263 h 2476500"/>
                  <a:gd name="connsiteX1202" fmla="*/ 813273 w 1757434"/>
                  <a:gd name="connsiteY1202" fmla="*/ 704702 h 2476500"/>
                  <a:gd name="connsiteX1203" fmla="*/ 812872 w 1757434"/>
                  <a:gd name="connsiteY1203" fmla="*/ 709613 h 2476500"/>
                  <a:gd name="connsiteX1204" fmla="*/ 814459 w 1757434"/>
                  <a:gd name="connsiteY1204" fmla="*/ 704850 h 2476500"/>
                  <a:gd name="connsiteX1205" fmla="*/ 813273 w 1757434"/>
                  <a:gd name="connsiteY1205" fmla="*/ 704702 h 2476500"/>
                  <a:gd name="connsiteX1206" fmla="*/ 814261 w 1757434"/>
                  <a:gd name="connsiteY1206" fmla="*/ 692608 h 2476500"/>
                  <a:gd name="connsiteX1207" fmla="*/ 816047 w 1757434"/>
                  <a:gd name="connsiteY1207" fmla="*/ 674688 h 2476500"/>
                  <a:gd name="connsiteX1208" fmla="*/ 823984 w 1757434"/>
                  <a:gd name="connsiteY1208" fmla="*/ 684213 h 2476500"/>
                  <a:gd name="connsiteX1209" fmla="*/ 827159 w 1757434"/>
                  <a:gd name="connsiteY1209" fmla="*/ 688975 h 2476500"/>
                  <a:gd name="connsiteX1210" fmla="*/ 830334 w 1757434"/>
                  <a:gd name="connsiteY1210" fmla="*/ 677863 h 2476500"/>
                  <a:gd name="connsiteX1211" fmla="*/ 846209 w 1757434"/>
                  <a:gd name="connsiteY1211" fmla="*/ 669925 h 2476500"/>
                  <a:gd name="connsiteX1212" fmla="*/ 850972 w 1757434"/>
                  <a:gd name="connsiteY1212" fmla="*/ 668338 h 2476500"/>
                  <a:gd name="connsiteX1213" fmla="*/ 850972 w 1757434"/>
                  <a:gd name="connsiteY1213" fmla="*/ 682625 h 2476500"/>
                  <a:gd name="connsiteX1214" fmla="*/ 857322 w 1757434"/>
                  <a:gd name="connsiteY1214" fmla="*/ 674688 h 2476500"/>
                  <a:gd name="connsiteX1215" fmla="*/ 863672 w 1757434"/>
                  <a:gd name="connsiteY1215" fmla="*/ 668338 h 2476500"/>
                  <a:gd name="connsiteX1216" fmla="*/ 865259 w 1757434"/>
                  <a:gd name="connsiteY1216" fmla="*/ 676275 h 2476500"/>
                  <a:gd name="connsiteX1217" fmla="*/ 868434 w 1757434"/>
                  <a:gd name="connsiteY1217" fmla="*/ 682625 h 2476500"/>
                  <a:gd name="connsiteX1218" fmla="*/ 871609 w 1757434"/>
                  <a:gd name="connsiteY1218" fmla="*/ 661988 h 2476500"/>
                  <a:gd name="connsiteX1219" fmla="*/ 876372 w 1757434"/>
                  <a:gd name="connsiteY1219" fmla="*/ 660400 h 2476500"/>
                  <a:gd name="connsiteX1220" fmla="*/ 877959 w 1757434"/>
                  <a:gd name="connsiteY1220" fmla="*/ 655638 h 2476500"/>
                  <a:gd name="connsiteX1221" fmla="*/ 876372 w 1757434"/>
                  <a:gd name="connsiteY1221" fmla="*/ 650875 h 2476500"/>
                  <a:gd name="connsiteX1222" fmla="*/ 874784 w 1757434"/>
                  <a:gd name="connsiteY1222" fmla="*/ 641350 h 2476500"/>
                  <a:gd name="connsiteX1223" fmla="*/ 870022 w 1757434"/>
                  <a:gd name="connsiteY1223" fmla="*/ 638175 h 2476500"/>
                  <a:gd name="connsiteX1224" fmla="*/ 870022 w 1757434"/>
                  <a:gd name="connsiteY1224" fmla="*/ 617538 h 2476500"/>
                  <a:gd name="connsiteX1225" fmla="*/ 873197 w 1757434"/>
                  <a:gd name="connsiteY1225" fmla="*/ 612775 h 2476500"/>
                  <a:gd name="connsiteX1226" fmla="*/ 874784 w 1757434"/>
                  <a:gd name="connsiteY1226" fmla="*/ 601663 h 2476500"/>
                  <a:gd name="connsiteX1227" fmla="*/ 879547 w 1757434"/>
                  <a:gd name="connsiteY1227" fmla="*/ 606425 h 2476500"/>
                  <a:gd name="connsiteX1228" fmla="*/ 882722 w 1757434"/>
                  <a:gd name="connsiteY1228" fmla="*/ 614363 h 2476500"/>
                  <a:gd name="connsiteX1229" fmla="*/ 887484 w 1757434"/>
                  <a:gd name="connsiteY1229" fmla="*/ 617538 h 2476500"/>
                  <a:gd name="connsiteX1230" fmla="*/ 892247 w 1757434"/>
                  <a:gd name="connsiteY1230" fmla="*/ 622300 h 2476500"/>
                  <a:gd name="connsiteX1231" fmla="*/ 903359 w 1757434"/>
                  <a:gd name="connsiteY1231" fmla="*/ 619125 h 2476500"/>
                  <a:gd name="connsiteX1232" fmla="*/ 914472 w 1757434"/>
                  <a:gd name="connsiteY1232" fmla="*/ 604838 h 2476500"/>
                  <a:gd name="connsiteX1233" fmla="*/ 916059 w 1757434"/>
                  <a:gd name="connsiteY1233" fmla="*/ 598488 h 2476500"/>
                  <a:gd name="connsiteX1234" fmla="*/ 920822 w 1757434"/>
                  <a:gd name="connsiteY1234" fmla="*/ 595313 h 2476500"/>
                  <a:gd name="connsiteX1235" fmla="*/ 923997 w 1757434"/>
                  <a:gd name="connsiteY1235" fmla="*/ 603250 h 2476500"/>
                  <a:gd name="connsiteX1236" fmla="*/ 928759 w 1757434"/>
                  <a:gd name="connsiteY1236" fmla="*/ 619125 h 2476500"/>
                  <a:gd name="connsiteX1237" fmla="*/ 933522 w 1757434"/>
                  <a:gd name="connsiteY1237" fmla="*/ 620713 h 2476500"/>
                  <a:gd name="connsiteX1238" fmla="*/ 935109 w 1757434"/>
                  <a:gd name="connsiteY1238" fmla="*/ 625475 h 2476500"/>
                  <a:gd name="connsiteX1239" fmla="*/ 936697 w 1757434"/>
                  <a:gd name="connsiteY1239" fmla="*/ 619125 h 2476500"/>
                  <a:gd name="connsiteX1240" fmla="*/ 938284 w 1757434"/>
                  <a:gd name="connsiteY1240" fmla="*/ 603250 h 2476500"/>
                  <a:gd name="connsiteX1241" fmla="*/ 950984 w 1757434"/>
                  <a:gd name="connsiteY1241" fmla="*/ 590550 h 2476500"/>
                  <a:gd name="connsiteX1242" fmla="*/ 949397 w 1757434"/>
                  <a:gd name="connsiteY1242" fmla="*/ 582613 h 2476500"/>
                  <a:gd name="connsiteX1243" fmla="*/ 936697 w 1757434"/>
                  <a:gd name="connsiteY1243" fmla="*/ 577850 h 2476500"/>
                  <a:gd name="connsiteX1244" fmla="*/ 911297 w 1757434"/>
                  <a:gd name="connsiteY1244" fmla="*/ 579438 h 2476500"/>
                  <a:gd name="connsiteX1245" fmla="*/ 895422 w 1757434"/>
                  <a:gd name="connsiteY1245" fmla="*/ 584200 h 2476500"/>
                  <a:gd name="connsiteX1246" fmla="*/ 887484 w 1757434"/>
                  <a:gd name="connsiteY1246" fmla="*/ 585788 h 2476500"/>
                  <a:gd name="connsiteX1247" fmla="*/ 863672 w 1757434"/>
                  <a:gd name="connsiteY1247" fmla="*/ 582613 h 2476500"/>
                  <a:gd name="connsiteX1248" fmla="*/ 868434 w 1757434"/>
                  <a:gd name="connsiteY1248" fmla="*/ 577850 h 2476500"/>
                  <a:gd name="connsiteX1249" fmla="*/ 876372 w 1757434"/>
                  <a:gd name="connsiteY1249" fmla="*/ 574675 h 2476500"/>
                  <a:gd name="connsiteX1250" fmla="*/ 881134 w 1757434"/>
                  <a:gd name="connsiteY1250" fmla="*/ 571500 h 2476500"/>
                  <a:gd name="connsiteX1251" fmla="*/ 882722 w 1757434"/>
                  <a:gd name="connsiteY1251" fmla="*/ 566738 h 2476500"/>
                  <a:gd name="connsiteX1252" fmla="*/ 887484 w 1757434"/>
                  <a:gd name="connsiteY1252" fmla="*/ 544513 h 2476500"/>
                  <a:gd name="connsiteX1253" fmla="*/ 892247 w 1757434"/>
                  <a:gd name="connsiteY1253" fmla="*/ 541338 h 2476500"/>
                  <a:gd name="connsiteX1254" fmla="*/ 898597 w 1757434"/>
                  <a:gd name="connsiteY1254" fmla="*/ 542925 h 2476500"/>
                  <a:gd name="connsiteX1255" fmla="*/ 911297 w 1757434"/>
                  <a:gd name="connsiteY1255" fmla="*/ 531813 h 2476500"/>
                  <a:gd name="connsiteX1256" fmla="*/ 919234 w 1757434"/>
                  <a:gd name="connsiteY1256" fmla="*/ 530225 h 2476500"/>
                  <a:gd name="connsiteX1257" fmla="*/ 925584 w 1757434"/>
                  <a:gd name="connsiteY1257" fmla="*/ 534988 h 2476500"/>
                  <a:gd name="connsiteX1258" fmla="*/ 928759 w 1757434"/>
                  <a:gd name="connsiteY1258" fmla="*/ 539750 h 2476500"/>
                  <a:gd name="connsiteX1259" fmla="*/ 935109 w 1757434"/>
                  <a:gd name="connsiteY1259" fmla="*/ 544513 h 2476500"/>
                  <a:gd name="connsiteX1260" fmla="*/ 947809 w 1757434"/>
                  <a:gd name="connsiteY1260" fmla="*/ 531813 h 2476500"/>
                  <a:gd name="connsiteX1261" fmla="*/ 952572 w 1757434"/>
                  <a:gd name="connsiteY1261" fmla="*/ 530225 h 2476500"/>
                  <a:gd name="connsiteX1262" fmla="*/ 955747 w 1757434"/>
                  <a:gd name="connsiteY1262" fmla="*/ 522288 h 2476500"/>
                  <a:gd name="connsiteX1263" fmla="*/ 955747 w 1757434"/>
                  <a:gd name="connsiteY1263" fmla="*/ 509588 h 2476500"/>
                  <a:gd name="connsiteX1264" fmla="*/ 950984 w 1757434"/>
                  <a:gd name="connsiteY1264" fmla="*/ 506413 h 2476500"/>
                  <a:gd name="connsiteX1265" fmla="*/ 939872 w 1757434"/>
                  <a:gd name="connsiteY1265" fmla="*/ 508000 h 2476500"/>
                  <a:gd name="connsiteX1266" fmla="*/ 920822 w 1757434"/>
                  <a:gd name="connsiteY1266" fmla="*/ 512763 h 2476500"/>
                  <a:gd name="connsiteX1267" fmla="*/ 919234 w 1757434"/>
                  <a:gd name="connsiteY1267" fmla="*/ 496888 h 2476500"/>
                  <a:gd name="connsiteX1268" fmla="*/ 925584 w 1757434"/>
                  <a:gd name="connsiteY1268" fmla="*/ 495300 h 2476500"/>
                  <a:gd name="connsiteX1269" fmla="*/ 914472 w 1757434"/>
                  <a:gd name="connsiteY1269" fmla="*/ 488950 h 2476500"/>
                  <a:gd name="connsiteX1270" fmla="*/ 908122 w 1757434"/>
                  <a:gd name="connsiteY1270" fmla="*/ 484188 h 2476500"/>
                  <a:gd name="connsiteX1271" fmla="*/ 912884 w 1757434"/>
                  <a:gd name="connsiteY1271" fmla="*/ 481013 h 2476500"/>
                  <a:gd name="connsiteX1272" fmla="*/ 916059 w 1757434"/>
                  <a:gd name="connsiteY1272" fmla="*/ 476250 h 2476500"/>
                  <a:gd name="connsiteX1273" fmla="*/ 920822 w 1757434"/>
                  <a:gd name="connsiteY1273" fmla="*/ 474663 h 2476500"/>
                  <a:gd name="connsiteX1274" fmla="*/ 935109 w 1757434"/>
                  <a:gd name="connsiteY1274" fmla="*/ 473075 h 2476500"/>
                  <a:gd name="connsiteX1275" fmla="*/ 941459 w 1757434"/>
                  <a:gd name="connsiteY1275" fmla="*/ 469900 h 2476500"/>
                  <a:gd name="connsiteX1276" fmla="*/ 958922 w 1757434"/>
                  <a:gd name="connsiteY1276" fmla="*/ 455613 h 2476500"/>
                  <a:gd name="connsiteX1277" fmla="*/ 958922 w 1757434"/>
                  <a:gd name="connsiteY1277" fmla="*/ 422275 h 2476500"/>
                  <a:gd name="connsiteX1278" fmla="*/ 965272 w 1757434"/>
                  <a:gd name="connsiteY1278" fmla="*/ 412750 h 2476500"/>
                  <a:gd name="connsiteX1279" fmla="*/ 968447 w 1757434"/>
                  <a:gd name="connsiteY1279" fmla="*/ 407988 h 2476500"/>
                  <a:gd name="connsiteX1280" fmla="*/ 974797 w 1757434"/>
                  <a:gd name="connsiteY1280" fmla="*/ 406400 h 2476500"/>
                  <a:gd name="connsiteX1281" fmla="*/ 985909 w 1757434"/>
                  <a:gd name="connsiteY1281" fmla="*/ 414338 h 2476500"/>
                  <a:gd name="connsiteX1282" fmla="*/ 981147 w 1757434"/>
                  <a:gd name="connsiteY1282" fmla="*/ 419100 h 2476500"/>
                  <a:gd name="connsiteX1283" fmla="*/ 982734 w 1757434"/>
                  <a:gd name="connsiteY1283" fmla="*/ 430213 h 2476500"/>
                  <a:gd name="connsiteX1284" fmla="*/ 989084 w 1757434"/>
                  <a:gd name="connsiteY1284" fmla="*/ 428625 h 2476500"/>
                  <a:gd name="connsiteX1285" fmla="*/ 1000197 w 1757434"/>
                  <a:gd name="connsiteY1285" fmla="*/ 422275 h 2476500"/>
                  <a:gd name="connsiteX1286" fmla="*/ 1006547 w 1757434"/>
                  <a:gd name="connsiteY1286" fmla="*/ 423863 h 2476500"/>
                  <a:gd name="connsiteX1287" fmla="*/ 1009722 w 1757434"/>
                  <a:gd name="connsiteY1287" fmla="*/ 430213 h 2476500"/>
                  <a:gd name="connsiteX1288" fmla="*/ 1016072 w 1757434"/>
                  <a:gd name="connsiteY1288" fmla="*/ 434975 h 2476500"/>
                  <a:gd name="connsiteX1289" fmla="*/ 1024009 w 1757434"/>
                  <a:gd name="connsiteY1289" fmla="*/ 425450 h 2476500"/>
                  <a:gd name="connsiteX1290" fmla="*/ 1027184 w 1757434"/>
                  <a:gd name="connsiteY1290" fmla="*/ 414338 h 2476500"/>
                  <a:gd name="connsiteX1291" fmla="*/ 1039884 w 1757434"/>
                  <a:gd name="connsiteY1291" fmla="*/ 419100 h 2476500"/>
                  <a:gd name="connsiteX1292" fmla="*/ 1041472 w 1757434"/>
                  <a:gd name="connsiteY1292" fmla="*/ 414338 h 2476500"/>
                  <a:gd name="connsiteX1293" fmla="*/ 1024009 w 1757434"/>
                  <a:gd name="connsiteY1293" fmla="*/ 412750 h 2476500"/>
                  <a:gd name="connsiteX1294" fmla="*/ 1009722 w 1757434"/>
                  <a:gd name="connsiteY1294" fmla="*/ 409575 h 2476500"/>
                  <a:gd name="connsiteX1295" fmla="*/ 1004959 w 1757434"/>
                  <a:gd name="connsiteY1295" fmla="*/ 403225 h 2476500"/>
                  <a:gd name="connsiteX1296" fmla="*/ 1004959 w 1757434"/>
                  <a:gd name="connsiteY1296" fmla="*/ 384175 h 2476500"/>
                  <a:gd name="connsiteX1297" fmla="*/ 1014484 w 1757434"/>
                  <a:gd name="connsiteY1297" fmla="*/ 382588 h 2476500"/>
                  <a:gd name="connsiteX1298" fmla="*/ 1019247 w 1757434"/>
                  <a:gd name="connsiteY1298" fmla="*/ 387350 h 2476500"/>
                  <a:gd name="connsiteX1299" fmla="*/ 1025597 w 1757434"/>
                  <a:gd name="connsiteY1299" fmla="*/ 388938 h 2476500"/>
                  <a:gd name="connsiteX1300" fmla="*/ 1028772 w 1757434"/>
                  <a:gd name="connsiteY1300" fmla="*/ 393700 h 2476500"/>
                  <a:gd name="connsiteX1301" fmla="*/ 1033534 w 1757434"/>
                  <a:gd name="connsiteY1301" fmla="*/ 395288 h 2476500"/>
                  <a:gd name="connsiteX1302" fmla="*/ 1038297 w 1757434"/>
                  <a:gd name="connsiteY1302" fmla="*/ 398463 h 2476500"/>
                  <a:gd name="connsiteX1303" fmla="*/ 1046234 w 1757434"/>
                  <a:gd name="connsiteY1303" fmla="*/ 412750 h 2476500"/>
                  <a:gd name="connsiteX1304" fmla="*/ 1050997 w 1757434"/>
                  <a:gd name="connsiteY1304" fmla="*/ 415925 h 2476500"/>
                  <a:gd name="connsiteX1305" fmla="*/ 1066872 w 1757434"/>
                  <a:gd name="connsiteY1305" fmla="*/ 414338 h 2476500"/>
                  <a:gd name="connsiteX1306" fmla="*/ 1060522 w 1757434"/>
                  <a:gd name="connsiteY1306" fmla="*/ 400050 h 2476500"/>
                  <a:gd name="connsiteX1307" fmla="*/ 1058934 w 1757434"/>
                  <a:gd name="connsiteY1307" fmla="*/ 387350 h 2476500"/>
                  <a:gd name="connsiteX1308" fmla="*/ 1062109 w 1757434"/>
                  <a:gd name="connsiteY1308" fmla="*/ 352425 h 2476500"/>
                  <a:gd name="connsiteX1309" fmla="*/ 1054172 w 1757434"/>
                  <a:gd name="connsiteY1309" fmla="*/ 349250 h 2476500"/>
                  <a:gd name="connsiteX1310" fmla="*/ 1036709 w 1757434"/>
                  <a:gd name="connsiteY1310" fmla="*/ 347663 h 2476500"/>
                  <a:gd name="connsiteX1311" fmla="*/ 1033534 w 1757434"/>
                  <a:gd name="connsiteY1311" fmla="*/ 342900 h 2476500"/>
                  <a:gd name="connsiteX1312" fmla="*/ 1035122 w 1757434"/>
                  <a:gd name="connsiteY1312" fmla="*/ 336550 h 2476500"/>
                  <a:gd name="connsiteX1313" fmla="*/ 1057347 w 1757434"/>
                  <a:gd name="connsiteY1313" fmla="*/ 328613 h 2476500"/>
                  <a:gd name="connsiteX1314" fmla="*/ 1068459 w 1757434"/>
                  <a:gd name="connsiteY1314" fmla="*/ 325438 h 2476500"/>
                  <a:gd name="connsiteX1315" fmla="*/ 1071634 w 1757434"/>
                  <a:gd name="connsiteY1315" fmla="*/ 344488 h 2476500"/>
                  <a:gd name="connsiteX1316" fmla="*/ 1074809 w 1757434"/>
                  <a:gd name="connsiteY1316" fmla="*/ 349250 h 2476500"/>
                  <a:gd name="connsiteX1317" fmla="*/ 1079572 w 1757434"/>
                  <a:gd name="connsiteY1317" fmla="*/ 360363 h 2476500"/>
                  <a:gd name="connsiteX1318" fmla="*/ 1076397 w 1757434"/>
                  <a:gd name="connsiteY1318" fmla="*/ 393700 h 2476500"/>
                  <a:gd name="connsiteX1319" fmla="*/ 1074809 w 1757434"/>
                  <a:gd name="connsiteY1319" fmla="*/ 398463 h 2476500"/>
                  <a:gd name="connsiteX1320" fmla="*/ 1079572 w 1757434"/>
                  <a:gd name="connsiteY1320" fmla="*/ 400050 h 2476500"/>
                  <a:gd name="connsiteX1321" fmla="*/ 1090684 w 1757434"/>
                  <a:gd name="connsiteY1321" fmla="*/ 392113 h 2476500"/>
                  <a:gd name="connsiteX1322" fmla="*/ 1093859 w 1757434"/>
                  <a:gd name="connsiteY1322" fmla="*/ 377825 h 2476500"/>
                  <a:gd name="connsiteX1323" fmla="*/ 1104972 w 1757434"/>
                  <a:gd name="connsiteY1323" fmla="*/ 368300 h 2476500"/>
                  <a:gd name="connsiteX1324" fmla="*/ 1111322 w 1757434"/>
                  <a:gd name="connsiteY1324" fmla="*/ 363538 h 2476500"/>
                  <a:gd name="connsiteX1325" fmla="*/ 1120847 w 1757434"/>
                  <a:gd name="connsiteY1325" fmla="*/ 361950 h 2476500"/>
                  <a:gd name="connsiteX1326" fmla="*/ 1125609 w 1757434"/>
                  <a:gd name="connsiteY1326" fmla="*/ 360363 h 2476500"/>
                  <a:gd name="connsiteX1327" fmla="*/ 1124022 w 1757434"/>
                  <a:gd name="connsiteY1327" fmla="*/ 355600 h 2476500"/>
                  <a:gd name="connsiteX1328" fmla="*/ 1114497 w 1757434"/>
                  <a:gd name="connsiteY1328" fmla="*/ 354013 h 2476500"/>
                  <a:gd name="connsiteX1329" fmla="*/ 1100209 w 1757434"/>
                  <a:gd name="connsiteY1329" fmla="*/ 349250 h 2476500"/>
                  <a:gd name="connsiteX1330" fmla="*/ 1106559 w 1757434"/>
                  <a:gd name="connsiteY1330" fmla="*/ 325438 h 2476500"/>
                  <a:gd name="connsiteX1331" fmla="*/ 1112909 w 1757434"/>
                  <a:gd name="connsiteY1331" fmla="*/ 322263 h 2476500"/>
                  <a:gd name="connsiteX1332" fmla="*/ 1116084 w 1757434"/>
                  <a:gd name="connsiteY1332" fmla="*/ 317500 h 2476500"/>
                  <a:gd name="connsiteX1333" fmla="*/ 1120847 w 1757434"/>
                  <a:gd name="connsiteY1333" fmla="*/ 311150 h 2476500"/>
                  <a:gd name="connsiteX1334" fmla="*/ 1119259 w 1757434"/>
                  <a:gd name="connsiteY1334" fmla="*/ 303213 h 2476500"/>
                  <a:gd name="connsiteX1335" fmla="*/ 1120847 w 1757434"/>
                  <a:gd name="connsiteY1335" fmla="*/ 292100 h 2476500"/>
                  <a:gd name="connsiteX1336" fmla="*/ 1124022 w 1757434"/>
                  <a:gd name="connsiteY1336" fmla="*/ 287338 h 2476500"/>
                  <a:gd name="connsiteX1337" fmla="*/ 1125609 w 1757434"/>
                  <a:gd name="connsiteY1337" fmla="*/ 280988 h 2476500"/>
                  <a:gd name="connsiteX1338" fmla="*/ 1130372 w 1757434"/>
                  <a:gd name="connsiteY1338" fmla="*/ 271463 h 2476500"/>
                  <a:gd name="connsiteX1339" fmla="*/ 1136722 w 1757434"/>
                  <a:gd name="connsiteY1339" fmla="*/ 284163 h 2476500"/>
                  <a:gd name="connsiteX1340" fmla="*/ 1138309 w 1757434"/>
                  <a:gd name="connsiteY1340" fmla="*/ 288925 h 2476500"/>
                  <a:gd name="connsiteX1341" fmla="*/ 1144659 w 1757434"/>
                  <a:gd name="connsiteY1341" fmla="*/ 296863 h 2476500"/>
                  <a:gd name="connsiteX1342" fmla="*/ 1151009 w 1757434"/>
                  <a:gd name="connsiteY1342" fmla="*/ 298450 h 2476500"/>
                  <a:gd name="connsiteX1343" fmla="*/ 1154184 w 1757434"/>
                  <a:gd name="connsiteY1343" fmla="*/ 309563 h 2476500"/>
                  <a:gd name="connsiteX1344" fmla="*/ 1173234 w 1757434"/>
                  <a:gd name="connsiteY1344" fmla="*/ 312738 h 2476500"/>
                  <a:gd name="connsiteX1345" fmla="*/ 1177997 w 1757434"/>
                  <a:gd name="connsiteY1345" fmla="*/ 314325 h 2476500"/>
                  <a:gd name="connsiteX1346" fmla="*/ 1187522 w 1757434"/>
                  <a:gd name="connsiteY1346" fmla="*/ 314325 h 2476500"/>
                  <a:gd name="connsiteX1347" fmla="*/ 1198634 w 1757434"/>
                  <a:gd name="connsiteY1347" fmla="*/ 315913 h 2476500"/>
                  <a:gd name="connsiteX1348" fmla="*/ 1197047 w 1757434"/>
                  <a:gd name="connsiteY1348" fmla="*/ 304800 h 2476500"/>
                  <a:gd name="connsiteX1349" fmla="*/ 1187522 w 1757434"/>
                  <a:gd name="connsiteY1349" fmla="*/ 292100 h 2476500"/>
                  <a:gd name="connsiteX1350" fmla="*/ 1181172 w 1757434"/>
                  <a:gd name="connsiteY1350" fmla="*/ 290513 h 2476500"/>
                  <a:gd name="connsiteX1351" fmla="*/ 1174822 w 1757434"/>
                  <a:gd name="connsiteY1351" fmla="*/ 284163 h 2476500"/>
                  <a:gd name="connsiteX1352" fmla="*/ 1173234 w 1757434"/>
                  <a:gd name="connsiteY1352" fmla="*/ 276225 h 2476500"/>
                  <a:gd name="connsiteX1353" fmla="*/ 1171647 w 1757434"/>
                  <a:gd name="connsiteY1353" fmla="*/ 271463 h 2476500"/>
                  <a:gd name="connsiteX1354" fmla="*/ 1160534 w 1757434"/>
                  <a:gd name="connsiteY1354" fmla="*/ 266700 h 2476500"/>
                  <a:gd name="connsiteX1355" fmla="*/ 1154184 w 1757434"/>
                  <a:gd name="connsiteY1355" fmla="*/ 260350 h 2476500"/>
                  <a:gd name="connsiteX1356" fmla="*/ 1139897 w 1757434"/>
                  <a:gd name="connsiteY1356" fmla="*/ 257175 h 2476500"/>
                  <a:gd name="connsiteX1357" fmla="*/ 1141484 w 1757434"/>
                  <a:gd name="connsiteY1357" fmla="*/ 234950 h 2476500"/>
                  <a:gd name="connsiteX1358" fmla="*/ 1154184 w 1757434"/>
                  <a:gd name="connsiteY1358" fmla="*/ 244475 h 2476500"/>
                  <a:gd name="connsiteX1359" fmla="*/ 1152597 w 1757434"/>
                  <a:gd name="connsiteY1359" fmla="*/ 230188 h 2476500"/>
                  <a:gd name="connsiteX1360" fmla="*/ 1144659 w 1757434"/>
                  <a:gd name="connsiteY1360" fmla="*/ 215900 h 2476500"/>
                  <a:gd name="connsiteX1361" fmla="*/ 1146247 w 1757434"/>
                  <a:gd name="connsiteY1361" fmla="*/ 207963 h 2476500"/>
                  <a:gd name="connsiteX1362" fmla="*/ 1154184 w 1757434"/>
                  <a:gd name="connsiteY1362" fmla="*/ 206375 h 2476500"/>
                  <a:gd name="connsiteX1363" fmla="*/ 1170059 w 1757434"/>
                  <a:gd name="connsiteY1363" fmla="*/ 234950 h 2476500"/>
                  <a:gd name="connsiteX1364" fmla="*/ 1174822 w 1757434"/>
                  <a:gd name="connsiteY1364" fmla="*/ 225425 h 2476500"/>
                  <a:gd name="connsiteX1365" fmla="*/ 1179584 w 1757434"/>
                  <a:gd name="connsiteY1365" fmla="*/ 219075 h 2476500"/>
                  <a:gd name="connsiteX1366" fmla="*/ 1184347 w 1757434"/>
                  <a:gd name="connsiteY1366" fmla="*/ 217488 h 2476500"/>
                  <a:gd name="connsiteX1367" fmla="*/ 1185934 w 1757434"/>
                  <a:gd name="connsiteY1367" fmla="*/ 227013 h 2476500"/>
                  <a:gd name="connsiteX1368" fmla="*/ 1187522 w 1757434"/>
                  <a:gd name="connsiteY1368" fmla="*/ 234950 h 2476500"/>
                  <a:gd name="connsiteX1369" fmla="*/ 1189109 w 1757434"/>
                  <a:gd name="connsiteY1369" fmla="*/ 230188 h 2476500"/>
                  <a:gd name="connsiteX1370" fmla="*/ 1195459 w 1757434"/>
                  <a:gd name="connsiteY1370" fmla="*/ 225425 h 2476500"/>
                  <a:gd name="connsiteX1371" fmla="*/ 1195459 w 1757434"/>
                  <a:gd name="connsiteY1371" fmla="*/ 244475 h 2476500"/>
                  <a:gd name="connsiteX1372" fmla="*/ 1203397 w 1757434"/>
                  <a:gd name="connsiteY1372" fmla="*/ 242888 h 2476500"/>
                  <a:gd name="connsiteX1373" fmla="*/ 1204984 w 1757434"/>
                  <a:gd name="connsiteY1373" fmla="*/ 233363 h 2476500"/>
                  <a:gd name="connsiteX1374" fmla="*/ 1220859 w 1757434"/>
                  <a:gd name="connsiteY1374" fmla="*/ 230188 h 2476500"/>
                  <a:gd name="connsiteX1375" fmla="*/ 1216097 w 1757434"/>
                  <a:gd name="connsiteY1375" fmla="*/ 247650 h 2476500"/>
                  <a:gd name="connsiteX1376" fmla="*/ 1217684 w 1757434"/>
                  <a:gd name="connsiteY1376" fmla="*/ 254000 h 2476500"/>
                  <a:gd name="connsiteX1377" fmla="*/ 1227209 w 1757434"/>
                  <a:gd name="connsiteY1377" fmla="*/ 252413 h 2476500"/>
                  <a:gd name="connsiteX1378" fmla="*/ 1228797 w 1757434"/>
                  <a:gd name="connsiteY1378" fmla="*/ 247650 h 2476500"/>
                  <a:gd name="connsiteX1379" fmla="*/ 1233559 w 1757434"/>
                  <a:gd name="connsiteY1379" fmla="*/ 249238 h 2476500"/>
                  <a:gd name="connsiteX1380" fmla="*/ 1247847 w 1757434"/>
                  <a:gd name="connsiteY1380" fmla="*/ 255588 h 2476500"/>
                  <a:gd name="connsiteX1381" fmla="*/ 1252609 w 1757434"/>
                  <a:gd name="connsiteY1381" fmla="*/ 268288 h 2476500"/>
                  <a:gd name="connsiteX1382" fmla="*/ 1257372 w 1757434"/>
                  <a:gd name="connsiteY1382" fmla="*/ 269875 h 2476500"/>
                  <a:gd name="connsiteX1383" fmla="*/ 1262134 w 1757434"/>
                  <a:gd name="connsiteY1383" fmla="*/ 268288 h 2476500"/>
                  <a:gd name="connsiteX1384" fmla="*/ 1266897 w 1757434"/>
                  <a:gd name="connsiteY1384" fmla="*/ 269875 h 2476500"/>
                  <a:gd name="connsiteX1385" fmla="*/ 1270072 w 1757434"/>
                  <a:gd name="connsiteY1385" fmla="*/ 265113 h 2476500"/>
                  <a:gd name="connsiteX1386" fmla="*/ 1265309 w 1757434"/>
                  <a:gd name="connsiteY1386" fmla="*/ 254000 h 2476500"/>
                  <a:gd name="connsiteX1387" fmla="*/ 1260547 w 1757434"/>
                  <a:gd name="connsiteY1387" fmla="*/ 250825 h 2476500"/>
                  <a:gd name="connsiteX1388" fmla="*/ 1257372 w 1757434"/>
                  <a:gd name="connsiteY1388" fmla="*/ 246063 h 2476500"/>
                  <a:gd name="connsiteX1389" fmla="*/ 1260547 w 1757434"/>
                  <a:gd name="connsiteY1389" fmla="*/ 239713 h 2476500"/>
                  <a:gd name="connsiteX1390" fmla="*/ 1266897 w 1757434"/>
                  <a:gd name="connsiteY1390" fmla="*/ 231775 h 2476500"/>
                  <a:gd name="connsiteX1391" fmla="*/ 1254197 w 1757434"/>
                  <a:gd name="connsiteY1391" fmla="*/ 231775 h 2476500"/>
                  <a:gd name="connsiteX1392" fmla="*/ 1246259 w 1757434"/>
                  <a:gd name="connsiteY1392" fmla="*/ 230188 h 2476500"/>
                  <a:gd name="connsiteX1393" fmla="*/ 1251022 w 1757434"/>
                  <a:gd name="connsiteY1393" fmla="*/ 223838 h 2476500"/>
                  <a:gd name="connsiteX1394" fmla="*/ 1260547 w 1757434"/>
                  <a:gd name="connsiteY1394" fmla="*/ 220663 h 2476500"/>
                  <a:gd name="connsiteX1395" fmla="*/ 1266897 w 1757434"/>
                  <a:gd name="connsiteY1395" fmla="*/ 217488 h 2476500"/>
                  <a:gd name="connsiteX1396" fmla="*/ 1263722 w 1757434"/>
                  <a:gd name="connsiteY1396" fmla="*/ 212725 h 2476500"/>
                  <a:gd name="connsiteX1397" fmla="*/ 1255784 w 1757434"/>
                  <a:gd name="connsiteY1397" fmla="*/ 206375 h 2476500"/>
                  <a:gd name="connsiteX1398" fmla="*/ 1263722 w 1757434"/>
                  <a:gd name="connsiteY1398" fmla="*/ 196850 h 2476500"/>
                  <a:gd name="connsiteX1399" fmla="*/ 1274834 w 1757434"/>
                  <a:gd name="connsiteY1399" fmla="*/ 192088 h 2476500"/>
                  <a:gd name="connsiteX1400" fmla="*/ 1282772 w 1757434"/>
                  <a:gd name="connsiteY1400" fmla="*/ 174625 h 2476500"/>
                  <a:gd name="connsiteX1401" fmla="*/ 1284359 w 1757434"/>
                  <a:gd name="connsiteY1401" fmla="*/ 169863 h 2476500"/>
                  <a:gd name="connsiteX1402" fmla="*/ 1290709 w 1757434"/>
                  <a:gd name="connsiteY1402" fmla="*/ 168275 h 2476500"/>
                  <a:gd name="connsiteX1403" fmla="*/ 1301822 w 1757434"/>
                  <a:gd name="connsiteY1403" fmla="*/ 166688 h 2476500"/>
                  <a:gd name="connsiteX1404" fmla="*/ 1295472 w 1757434"/>
                  <a:gd name="connsiteY1404" fmla="*/ 165100 h 2476500"/>
                  <a:gd name="connsiteX1405" fmla="*/ 1290709 w 1757434"/>
                  <a:gd name="connsiteY1405" fmla="*/ 150813 h 2476500"/>
                  <a:gd name="connsiteX1406" fmla="*/ 1306584 w 1757434"/>
                  <a:gd name="connsiteY1406" fmla="*/ 142875 h 2476500"/>
                  <a:gd name="connsiteX1407" fmla="*/ 1319284 w 1757434"/>
                  <a:gd name="connsiteY1407" fmla="*/ 138113 h 2476500"/>
                  <a:gd name="connsiteX1408" fmla="*/ 1322459 w 1757434"/>
                  <a:gd name="connsiteY1408" fmla="*/ 133350 h 2476500"/>
                  <a:gd name="connsiteX1409" fmla="*/ 1309759 w 1757434"/>
                  <a:gd name="connsiteY1409" fmla="*/ 125413 h 2476500"/>
                  <a:gd name="connsiteX1410" fmla="*/ 1304997 w 1757434"/>
                  <a:gd name="connsiteY1410" fmla="*/ 123825 h 2476500"/>
                  <a:gd name="connsiteX1411" fmla="*/ 1293884 w 1757434"/>
                  <a:gd name="connsiteY1411" fmla="*/ 104775 h 2476500"/>
                  <a:gd name="connsiteX1412" fmla="*/ 1287534 w 1757434"/>
                  <a:gd name="connsiteY1412" fmla="*/ 103188 h 2476500"/>
                  <a:gd name="connsiteX1413" fmla="*/ 1279597 w 1757434"/>
                  <a:gd name="connsiteY1413" fmla="*/ 100013 h 2476500"/>
                  <a:gd name="connsiteX1414" fmla="*/ 1282772 w 1757434"/>
                  <a:gd name="connsiteY1414" fmla="*/ 90488 h 2476500"/>
                  <a:gd name="connsiteX1415" fmla="*/ 1290709 w 1757434"/>
                  <a:gd name="connsiteY1415" fmla="*/ 88900 h 2476500"/>
                  <a:gd name="connsiteX1416" fmla="*/ 1297059 w 1757434"/>
                  <a:gd name="connsiteY1416" fmla="*/ 87313 h 2476500"/>
                  <a:gd name="connsiteX1417" fmla="*/ 1301822 w 1757434"/>
                  <a:gd name="connsiteY1417" fmla="*/ 85725 h 2476500"/>
                  <a:gd name="connsiteX1418" fmla="*/ 1312934 w 1757434"/>
                  <a:gd name="connsiteY1418" fmla="*/ 84138 h 2476500"/>
                  <a:gd name="connsiteX1419" fmla="*/ 1306584 w 1757434"/>
                  <a:gd name="connsiteY1419" fmla="*/ 73025 h 2476500"/>
                  <a:gd name="connsiteX1420" fmla="*/ 1311347 w 1757434"/>
                  <a:gd name="connsiteY1420" fmla="*/ 68263 h 2476500"/>
                  <a:gd name="connsiteX1421" fmla="*/ 1317697 w 1757434"/>
                  <a:gd name="connsiteY1421" fmla="*/ 66675 h 2476500"/>
                  <a:gd name="connsiteX1422" fmla="*/ 1327222 w 1757434"/>
                  <a:gd name="connsiteY1422" fmla="*/ 68263 h 2476500"/>
                  <a:gd name="connsiteX1423" fmla="*/ 1331984 w 1757434"/>
                  <a:gd name="connsiteY1423" fmla="*/ 79375 h 2476500"/>
                  <a:gd name="connsiteX1424" fmla="*/ 1336747 w 1757434"/>
                  <a:gd name="connsiteY1424" fmla="*/ 80963 h 2476500"/>
                  <a:gd name="connsiteX1425" fmla="*/ 1347859 w 1757434"/>
                  <a:gd name="connsiteY1425" fmla="*/ 77788 h 2476500"/>
                  <a:gd name="connsiteX1426" fmla="*/ 1351034 w 1757434"/>
                  <a:gd name="connsiteY1426" fmla="*/ 73025 h 2476500"/>
                  <a:gd name="connsiteX1427" fmla="*/ 1357384 w 1757434"/>
                  <a:gd name="connsiteY1427" fmla="*/ 68263 h 2476500"/>
                  <a:gd name="connsiteX1428" fmla="*/ 1363734 w 1757434"/>
                  <a:gd name="connsiteY1428" fmla="*/ 85725 h 2476500"/>
                  <a:gd name="connsiteX1429" fmla="*/ 1370084 w 1757434"/>
                  <a:gd name="connsiteY1429" fmla="*/ 82550 h 2476500"/>
                  <a:gd name="connsiteX1430" fmla="*/ 1384372 w 1757434"/>
                  <a:gd name="connsiteY1430" fmla="*/ 74613 h 2476500"/>
                  <a:gd name="connsiteX1431" fmla="*/ 1387547 w 1757434"/>
                  <a:gd name="connsiteY1431" fmla="*/ 82550 h 2476500"/>
                  <a:gd name="connsiteX1432" fmla="*/ 1376434 w 1757434"/>
                  <a:gd name="connsiteY1432" fmla="*/ 101600 h 2476500"/>
                  <a:gd name="connsiteX1433" fmla="*/ 1374847 w 1757434"/>
                  <a:gd name="connsiteY1433" fmla="*/ 107950 h 2476500"/>
                  <a:gd name="connsiteX1434" fmla="*/ 1363734 w 1757434"/>
                  <a:gd name="connsiteY1434" fmla="*/ 115888 h 2476500"/>
                  <a:gd name="connsiteX1435" fmla="*/ 1362147 w 1757434"/>
                  <a:gd name="connsiteY1435" fmla="*/ 136525 h 2476500"/>
                  <a:gd name="connsiteX1436" fmla="*/ 1358972 w 1757434"/>
                  <a:gd name="connsiteY1436" fmla="*/ 141288 h 2476500"/>
                  <a:gd name="connsiteX1437" fmla="*/ 1357384 w 1757434"/>
                  <a:gd name="connsiteY1437" fmla="*/ 146050 h 2476500"/>
                  <a:gd name="connsiteX1438" fmla="*/ 1354209 w 1757434"/>
                  <a:gd name="connsiteY1438" fmla="*/ 152400 h 2476500"/>
                  <a:gd name="connsiteX1439" fmla="*/ 1360559 w 1757434"/>
                  <a:gd name="connsiteY1439" fmla="*/ 150813 h 2476500"/>
                  <a:gd name="connsiteX1440" fmla="*/ 1371672 w 1757434"/>
                  <a:gd name="connsiteY1440" fmla="*/ 146050 h 2476500"/>
                  <a:gd name="connsiteX1441" fmla="*/ 1368497 w 1757434"/>
                  <a:gd name="connsiteY1441" fmla="*/ 155575 h 2476500"/>
                  <a:gd name="connsiteX1442" fmla="*/ 1363734 w 1757434"/>
                  <a:gd name="connsiteY1442" fmla="*/ 160338 h 2476500"/>
                  <a:gd name="connsiteX1443" fmla="*/ 1358972 w 1757434"/>
                  <a:gd name="connsiteY1443" fmla="*/ 174625 h 2476500"/>
                  <a:gd name="connsiteX1444" fmla="*/ 1357384 w 1757434"/>
                  <a:gd name="connsiteY1444" fmla="*/ 179388 h 2476500"/>
                  <a:gd name="connsiteX1445" fmla="*/ 1355797 w 1757434"/>
                  <a:gd name="connsiteY1445" fmla="*/ 184150 h 2476500"/>
                  <a:gd name="connsiteX1446" fmla="*/ 1355797 w 1757434"/>
                  <a:gd name="connsiteY1446" fmla="*/ 212725 h 2476500"/>
                  <a:gd name="connsiteX1447" fmla="*/ 1363734 w 1757434"/>
                  <a:gd name="connsiteY1447" fmla="*/ 219075 h 2476500"/>
                  <a:gd name="connsiteX1448" fmla="*/ 1371672 w 1757434"/>
                  <a:gd name="connsiteY1448" fmla="*/ 217488 h 2476500"/>
                  <a:gd name="connsiteX1449" fmla="*/ 1374847 w 1757434"/>
                  <a:gd name="connsiteY1449" fmla="*/ 203200 h 2476500"/>
                  <a:gd name="connsiteX1450" fmla="*/ 1379609 w 1757434"/>
                  <a:gd name="connsiteY1450" fmla="*/ 198438 h 2476500"/>
                  <a:gd name="connsiteX1451" fmla="*/ 1385959 w 1757434"/>
                  <a:gd name="connsiteY1451" fmla="*/ 176213 h 2476500"/>
                  <a:gd name="connsiteX1452" fmla="*/ 1387547 w 1757434"/>
                  <a:gd name="connsiteY1452" fmla="*/ 150813 h 2476500"/>
                  <a:gd name="connsiteX1453" fmla="*/ 1392309 w 1757434"/>
                  <a:gd name="connsiteY1453" fmla="*/ 141288 h 2476500"/>
                  <a:gd name="connsiteX1454" fmla="*/ 1393897 w 1757434"/>
                  <a:gd name="connsiteY1454" fmla="*/ 111125 h 2476500"/>
                  <a:gd name="connsiteX1455" fmla="*/ 1395484 w 1757434"/>
                  <a:gd name="connsiteY1455" fmla="*/ 104775 h 2476500"/>
                  <a:gd name="connsiteX1456" fmla="*/ 1398659 w 1757434"/>
                  <a:gd name="connsiteY1456" fmla="*/ 100013 h 2476500"/>
                  <a:gd name="connsiteX1457" fmla="*/ 1405009 w 1757434"/>
                  <a:gd name="connsiteY1457" fmla="*/ 96838 h 2476500"/>
                  <a:gd name="connsiteX1458" fmla="*/ 1405009 w 1757434"/>
                  <a:gd name="connsiteY1458" fmla="*/ 79375 h 2476500"/>
                  <a:gd name="connsiteX1459" fmla="*/ 1406597 w 1757434"/>
                  <a:gd name="connsiteY1459" fmla="*/ 71438 h 2476500"/>
                  <a:gd name="connsiteX1460" fmla="*/ 1408184 w 1757434"/>
                  <a:gd name="connsiteY1460" fmla="*/ 61913 h 2476500"/>
                  <a:gd name="connsiteX1461" fmla="*/ 1416122 w 1757434"/>
                  <a:gd name="connsiteY1461" fmla="*/ 50800 h 2476500"/>
                  <a:gd name="connsiteX1462" fmla="*/ 1424059 w 1757434"/>
                  <a:gd name="connsiteY1462" fmla="*/ 69850 h 2476500"/>
                  <a:gd name="connsiteX1463" fmla="*/ 1435172 w 1757434"/>
                  <a:gd name="connsiteY1463" fmla="*/ 71438 h 2476500"/>
                  <a:gd name="connsiteX1464" fmla="*/ 1430409 w 1757434"/>
                  <a:gd name="connsiteY1464" fmla="*/ 87313 h 2476500"/>
                  <a:gd name="connsiteX1465" fmla="*/ 1428822 w 1757434"/>
                  <a:gd name="connsiteY1465" fmla="*/ 93663 h 2476500"/>
                  <a:gd name="connsiteX1466" fmla="*/ 1424059 w 1757434"/>
                  <a:gd name="connsiteY1466" fmla="*/ 100013 h 2476500"/>
                  <a:gd name="connsiteX1467" fmla="*/ 1425647 w 1757434"/>
                  <a:gd name="connsiteY1467" fmla="*/ 115888 h 2476500"/>
                  <a:gd name="connsiteX1468" fmla="*/ 1435172 w 1757434"/>
                  <a:gd name="connsiteY1468" fmla="*/ 117475 h 2476500"/>
                  <a:gd name="connsiteX1469" fmla="*/ 1436759 w 1757434"/>
                  <a:gd name="connsiteY1469" fmla="*/ 122238 h 2476500"/>
                  <a:gd name="connsiteX1470" fmla="*/ 1441522 w 1757434"/>
                  <a:gd name="connsiteY1470" fmla="*/ 149225 h 2476500"/>
                  <a:gd name="connsiteX1471" fmla="*/ 1446284 w 1757434"/>
                  <a:gd name="connsiteY1471" fmla="*/ 144463 h 2476500"/>
                  <a:gd name="connsiteX1472" fmla="*/ 1449459 w 1757434"/>
                  <a:gd name="connsiteY1472" fmla="*/ 139700 h 2476500"/>
                  <a:gd name="connsiteX1473" fmla="*/ 1460572 w 1757434"/>
                  <a:gd name="connsiteY1473" fmla="*/ 130175 h 2476500"/>
                  <a:gd name="connsiteX1474" fmla="*/ 1465334 w 1757434"/>
                  <a:gd name="connsiteY1474" fmla="*/ 128588 h 2476500"/>
                  <a:gd name="connsiteX1475" fmla="*/ 1470097 w 1757434"/>
                  <a:gd name="connsiteY1475" fmla="*/ 119063 h 2476500"/>
                  <a:gd name="connsiteX1476" fmla="*/ 1471684 w 1757434"/>
                  <a:gd name="connsiteY1476" fmla="*/ 114300 h 2476500"/>
                  <a:gd name="connsiteX1477" fmla="*/ 1462159 w 1757434"/>
                  <a:gd name="connsiteY1477" fmla="*/ 107950 h 2476500"/>
                  <a:gd name="connsiteX1478" fmla="*/ 1463747 w 1757434"/>
                  <a:gd name="connsiteY1478" fmla="*/ 103188 h 2476500"/>
                  <a:gd name="connsiteX1479" fmla="*/ 1471684 w 1757434"/>
                  <a:gd name="connsiteY1479" fmla="*/ 101600 h 2476500"/>
                  <a:gd name="connsiteX1480" fmla="*/ 1478034 w 1757434"/>
                  <a:gd name="connsiteY1480" fmla="*/ 100013 h 2476500"/>
                  <a:gd name="connsiteX1481" fmla="*/ 1476447 w 1757434"/>
                  <a:gd name="connsiteY1481" fmla="*/ 95250 h 2476500"/>
                  <a:gd name="connsiteX1482" fmla="*/ 1471684 w 1757434"/>
                  <a:gd name="connsiteY1482" fmla="*/ 90488 h 2476500"/>
                  <a:gd name="connsiteX1483" fmla="*/ 1468509 w 1757434"/>
                  <a:gd name="connsiteY1483" fmla="*/ 85725 h 2476500"/>
                  <a:gd name="connsiteX1484" fmla="*/ 1470097 w 1757434"/>
                  <a:gd name="connsiteY1484" fmla="*/ 73025 h 2476500"/>
                  <a:gd name="connsiteX1485" fmla="*/ 1473272 w 1757434"/>
                  <a:gd name="connsiteY1485" fmla="*/ 66675 h 2476500"/>
                  <a:gd name="connsiteX1486" fmla="*/ 1471684 w 1757434"/>
                  <a:gd name="connsiteY1486" fmla="*/ 58738 h 2476500"/>
                  <a:gd name="connsiteX1487" fmla="*/ 1473272 w 1757434"/>
                  <a:gd name="connsiteY1487" fmla="*/ 53975 h 2476500"/>
                  <a:gd name="connsiteX1488" fmla="*/ 1481209 w 1757434"/>
                  <a:gd name="connsiteY1488" fmla="*/ 52388 h 2476500"/>
                  <a:gd name="connsiteX1489" fmla="*/ 1476447 w 1757434"/>
                  <a:gd name="connsiteY1489" fmla="*/ 47625 h 2476500"/>
                  <a:gd name="connsiteX1490" fmla="*/ 1465334 w 1757434"/>
                  <a:gd name="connsiteY1490" fmla="*/ 44450 h 2476500"/>
                  <a:gd name="connsiteX1491" fmla="*/ 1460572 w 1757434"/>
                  <a:gd name="connsiteY1491" fmla="*/ 41275 h 2476500"/>
                  <a:gd name="connsiteX1492" fmla="*/ 1458984 w 1757434"/>
                  <a:gd name="connsiteY1492" fmla="*/ 26988 h 2476500"/>
                  <a:gd name="connsiteX1493" fmla="*/ 1463747 w 1757434"/>
                  <a:gd name="connsiteY1493" fmla="*/ 23813 h 2476500"/>
                  <a:gd name="connsiteX1494" fmla="*/ 1470097 w 1757434"/>
                  <a:gd name="connsiteY1494" fmla="*/ 19050 h 2476500"/>
                  <a:gd name="connsiteX1495" fmla="*/ 1474859 w 1757434"/>
                  <a:gd name="connsiteY1495" fmla="*/ 28575 h 2476500"/>
                  <a:gd name="connsiteX1496" fmla="*/ 1479622 w 1757434"/>
                  <a:gd name="connsiteY1496" fmla="*/ 20638 h 2476500"/>
                  <a:gd name="connsiteX1497" fmla="*/ 1481209 w 1757434"/>
                  <a:gd name="connsiteY1497" fmla="*/ 3175 h 2476500"/>
                  <a:gd name="connsiteX1498" fmla="*/ 1487559 w 1757434"/>
                  <a:gd name="connsiteY1498" fmla="*/ 0 h 2476500"/>
                  <a:gd name="connsiteX0" fmla="*/ 569984 w 1757434"/>
                  <a:gd name="connsiteY0" fmla="*/ 1338263 h 2476500"/>
                  <a:gd name="connsiteX1" fmla="*/ 557284 w 1757434"/>
                  <a:gd name="connsiteY1" fmla="*/ 1349375 h 2476500"/>
                  <a:gd name="connsiteX2" fmla="*/ 547759 w 1757434"/>
                  <a:gd name="connsiteY2" fmla="*/ 1362075 h 2476500"/>
                  <a:gd name="connsiteX3" fmla="*/ 538234 w 1757434"/>
                  <a:gd name="connsiteY3" fmla="*/ 1382713 h 2476500"/>
                  <a:gd name="connsiteX4" fmla="*/ 536647 w 1757434"/>
                  <a:gd name="connsiteY4" fmla="*/ 1389063 h 2476500"/>
                  <a:gd name="connsiteX5" fmla="*/ 533472 w 1757434"/>
                  <a:gd name="connsiteY5" fmla="*/ 1404938 h 2476500"/>
                  <a:gd name="connsiteX6" fmla="*/ 523947 w 1757434"/>
                  <a:gd name="connsiteY6" fmla="*/ 1406525 h 2476500"/>
                  <a:gd name="connsiteX7" fmla="*/ 514422 w 1757434"/>
                  <a:gd name="connsiteY7" fmla="*/ 1411288 h 2476500"/>
                  <a:gd name="connsiteX8" fmla="*/ 503309 w 1757434"/>
                  <a:gd name="connsiteY8" fmla="*/ 1416050 h 2476500"/>
                  <a:gd name="connsiteX9" fmla="*/ 500134 w 1757434"/>
                  <a:gd name="connsiteY9" fmla="*/ 1423988 h 2476500"/>
                  <a:gd name="connsiteX10" fmla="*/ 498547 w 1757434"/>
                  <a:gd name="connsiteY10" fmla="*/ 1431925 h 2476500"/>
                  <a:gd name="connsiteX11" fmla="*/ 484259 w 1757434"/>
                  <a:gd name="connsiteY11" fmla="*/ 1438275 h 2476500"/>
                  <a:gd name="connsiteX12" fmla="*/ 495372 w 1757434"/>
                  <a:gd name="connsiteY12" fmla="*/ 1439863 h 2476500"/>
                  <a:gd name="connsiteX13" fmla="*/ 512834 w 1757434"/>
                  <a:gd name="connsiteY13" fmla="*/ 1436688 h 2476500"/>
                  <a:gd name="connsiteX14" fmla="*/ 516009 w 1757434"/>
                  <a:gd name="connsiteY14" fmla="*/ 1441450 h 2476500"/>
                  <a:gd name="connsiteX15" fmla="*/ 508072 w 1757434"/>
                  <a:gd name="connsiteY15" fmla="*/ 1454150 h 2476500"/>
                  <a:gd name="connsiteX16" fmla="*/ 496959 w 1757434"/>
                  <a:gd name="connsiteY16" fmla="*/ 1468438 h 2476500"/>
                  <a:gd name="connsiteX17" fmla="*/ 490609 w 1757434"/>
                  <a:gd name="connsiteY17" fmla="*/ 1471613 h 2476500"/>
                  <a:gd name="connsiteX18" fmla="*/ 473147 w 1757434"/>
                  <a:gd name="connsiteY18" fmla="*/ 1481138 h 2476500"/>
                  <a:gd name="connsiteX19" fmla="*/ 466797 w 1757434"/>
                  <a:gd name="connsiteY19" fmla="*/ 1489075 h 2476500"/>
                  <a:gd name="connsiteX20" fmla="*/ 462034 w 1757434"/>
                  <a:gd name="connsiteY20" fmla="*/ 1490663 h 2476500"/>
                  <a:gd name="connsiteX21" fmla="*/ 454097 w 1757434"/>
                  <a:gd name="connsiteY21" fmla="*/ 1497013 h 2476500"/>
                  <a:gd name="connsiteX22" fmla="*/ 446159 w 1757434"/>
                  <a:gd name="connsiteY22" fmla="*/ 1504950 h 2476500"/>
                  <a:gd name="connsiteX23" fmla="*/ 439809 w 1757434"/>
                  <a:gd name="connsiteY23" fmla="*/ 1500188 h 2476500"/>
                  <a:gd name="connsiteX24" fmla="*/ 436315 w 1757434"/>
                  <a:gd name="connsiteY24" fmla="*/ 1499023 h 2476500"/>
                  <a:gd name="connsiteX25" fmla="*/ 438112 w 1757434"/>
                  <a:gd name="connsiteY25" fmla="*/ 1502403 h 2476500"/>
                  <a:gd name="connsiteX26" fmla="*/ 441397 w 1757434"/>
                  <a:gd name="connsiteY26" fmla="*/ 1509713 h 2476500"/>
                  <a:gd name="connsiteX27" fmla="*/ 444572 w 1757434"/>
                  <a:gd name="connsiteY27" fmla="*/ 1520825 h 2476500"/>
                  <a:gd name="connsiteX28" fmla="*/ 447747 w 1757434"/>
                  <a:gd name="connsiteY28" fmla="*/ 1525588 h 2476500"/>
                  <a:gd name="connsiteX29" fmla="*/ 455684 w 1757434"/>
                  <a:gd name="connsiteY29" fmla="*/ 1528763 h 2476500"/>
                  <a:gd name="connsiteX30" fmla="*/ 463622 w 1757434"/>
                  <a:gd name="connsiteY30" fmla="*/ 1533525 h 2476500"/>
                  <a:gd name="connsiteX31" fmla="*/ 466797 w 1757434"/>
                  <a:gd name="connsiteY31" fmla="*/ 1544638 h 2476500"/>
                  <a:gd name="connsiteX32" fmla="*/ 471559 w 1757434"/>
                  <a:gd name="connsiteY32" fmla="*/ 1546225 h 2476500"/>
                  <a:gd name="connsiteX33" fmla="*/ 469972 w 1757434"/>
                  <a:gd name="connsiteY33" fmla="*/ 1531938 h 2476500"/>
                  <a:gd name="connsiteX34" fmla="*/ 465209 w 1757434"/>
                  <a:gd name="connsiteY34" fmla="*/ 1527175 h 2476500"/>
                  <a:gd name="connsiteX35" fmla="*/ 460447 w 1757434"/>
                  <a:gd name="connsiteY35" fmla="*/ 1520825 h 2476500"/>
                  <a:gd name="connsiteX36" fmla="*/ 466797 w 1757434"/>
                  <a:gd name="connsiteY36" fmla="*/ 1506538 h 2476500"/>
                  <a:gd name="connsiteX37" fmla="*/ 471559 w 1757434"/>
                  <a:gd name="connsiteY37" fmla="*/ 1508125 h 2476500"/>
                  <a:gd name="connsiteX38" fmla="*/ 476322 w 1757434"/>
                  <a:gd name="connsiteY38" fmla="*/ 1514475 h 2476500"/>
                  <a:gd name="connsiteX39" fmla="*/ 503309 w 1757434"/>
                  <a:gd name="connsiteY39" fmla="*/ 1511300 h 2476500"/>
                  <a:gd name="connsiteX40" fmla="*/ 508072 w 1757434"/>
                  <a:gd name="connsiteY40" fmla="*/ 1508125 h 2476500"/>
                  <a:gd name="connsiteX41" fmla="*/ 506484 w 1757434"/>
                  <a:gd name="connsiteY41" fmla="*/ 1500188 h 2476500"/>
                  <a:gd name="connsiteX42" fmla="*/ 511247 w 1757434"/>
                  <a:gd name="connsiteY42" fmla="*/ 1474788 h 2476500"/>
                  <a:gd name="connsiteX43" fmla="*/ 517597 w 1757434"/>
                  <a:gd name="connsiteY43" fmla="*/ 1471613 h 2476500"/>
                  <a:gd name="connsiteX44" fmla="*/ 522378 w 1757434"/>
                  <a:gd name="connsiteY44" fmla="*/ 1470040 h 2476500"/>
                  <a:gd name="connsiteX45" fmla="*/ 524394 w 1757434"/>
                  <a:gd name="connsiteY45" fmla="*/ 1468685 h 2476500"/>
                  <a:gd name="connsiteX46" fmla="*/ 525534 w 1757434"/>
                  <a:gd name="connsiteY46" fmla="*/ 1465263 h 2476500"/>
                  <a:gd name="connsiteX47" fmla="*/ 526329 w 1757434"/>
                  <a:gd name="connsiteY47" fmla="*/ 1464070 h 2476500"/>
                  <a:gd name="connsiteX48" fmla="*/ 524516 w 1757434"/>
                  <a:gd name="connsiteY48" fmla="*/ 1468602 h 2476500"/>
                  <a:gd name="connsiteX49" fmla="*/ 527122 w 1757434"/>
                  <a:gd name="connsiteY49" fmla="*/ 1466850 h 2476500"/>
                  <a:gd name="connsiteX50" fmla="*/ 531884 w 1757434"/>
                  <a:gd name="connsiteY50" fmla="*/ 1457325 h 2476500"/>
                  <a:gd name="connsiteX51" fmla="*/ 541409 w 1757434"/>
                  <a:gd name="connsiteY51" fmla="*/ 1454150 h 2476500"/>
                  <a:gd name="connsiteX52" fmla="*/ 544498 w 1757434"/>
                  <a:gd name="connsiteY52" fmla="*/ 1452091 h 2476500"/>
                  <a:gd name="connsiteX53" fmla="*/ 535059 w 1757434"/>
                  <a:gd name="connsiteY53" fmla="*/ 1452563 h 2476500"/>
                  <a:gd name="connsiteX54" fmla="*/ 530297 w 1757434"/>
                  <a:gd name="connsiteY54" fmla="*/ 1455738 h 2476500"/>
                  <a:gd name="connsiteX55" fmla="*/ 528709 w 1757434"/>
                  <a:gd name="connsiteY55" fmla="*/ 1460500 h 2476500"/>
                  <a:gd name="connsiteX56" fmla="*/ 526329 w 1757434"/>
                  <a:gd name="connsiteY56" fmla="*/ 1464070 h 2476500"/>
                  <a:gd name="connsiteX57" fmla="*/ 527122 w 1757434"/>
                  <a:gd name="connsiteY57" fmla="*/ 1462088 h 2476500"/>
                  <a:gd name="connsiteX58" fmla="*/ 522359 w 1757434"/>
                  <a:gd name="connsiteY58" fmla="*/ 1443038 h 2476500"/>
                  <a:gd name="connsiteX59" fmla="*/ 527122 w 1757434"/>
                  <a:gd name="connsiteY59" fmla="*/ 1436688 h 2476500"/>
                  <a:gd name="connsiteX60" fmla="*/ 531884 w 1757434"/>
                  <a:gd name="connsiteY60" fmla="*/ 1435100 h 2476500"/>
                  <a:gd name="connsiteX61" fmla="*/ 533472 w 1757434"/>
                  <a:gd name="connsiteY61" fmla="*/ 1425575 h 2476500"/>
                  <a:gd name="connsiteX62" fmla="*/ 546001 w 1757434"/>
                  <a:gd name="connsiteY62" fmla="*/ 1429262 h 2476500"/>
                  <a:gd name="connsiteX63" fmla="*/ 552494 w 1757434"/>
                  <a:gd name="connsiteY63" fmla="*/ 1431898 h 2476500"/>
                  <a:gd name="connsiteX64" fmla="*/ 552522 w 1757434"/>
                  <a:gd name="connsiteY64" fmla="*/ 1431925 h 2476500"/>
                  <a:gd name="connsiteX65" fmla="*/ 560459 w 1757434"/>
                  <a:gd name="connsiteY65" fmla="*/ 1435100 h 2476500"/>
                  <a:gd name="connsiteX66" fmla="*/ 554988 w 1757434"/>
                  <a:gd name="connsiteY66" fmla="*/ 1432911 h 2476500"/>
                  <a:gd name="connsiteX67" fmla="*/ 552494 w 1757434"/>
                  <a:gd name="connsiteY67" fmla="*/ 1431898 h 2476500"/>
                  <a:gd name="connsiteX68" fmla="*/ 544393 w 1757434"/>
                  <a:gd name="connsiteY68" fmla="*/ 1424206 h 2476500"/>
                  <a:gd name="connsiteX69" fmla="*/ 539822 w 1757434"/>
                  <a:gd name="connsiteY69" fmla="*/ 1419225 h 2476500"/>
                  <a:gd name="connsiteX70" fmla="*/ 541409 w 1757434"/>
                  <a:gd name="connsiteY70" fmla="*/ 1409700 h 2476500"/>
                  <a:gd name="connsiteX71" fmla="*/ 546172 w 1757434"/>
                  <a:gd name="connsiteY71" fmla="*/ 1406525 h 2476500"/>
                  <a:gd name="connsiteX72" fmla="*/ 565222 w 1757434"/>
                  <a:gd name="connsiteY72" fmla="*/ 1393825 h 2476500"/>
                  <a:gd name="connsiteX73" fmla="*/ 566809 w 1757434"/>
                  <a:gd name="connsiteY73" fmla="*/ 1389063 h 2476500"/>
                  <a:gd name="connsiteX74" fmla="*/ 560459 w 1757434"/>
                  <a:gd name="connsiteY74" fmla="*/ 1377950 h 2476500"/>
                  <a:gd name="connsiteX75" fmla="*/ 574747 w 1757434"/>
                  <a:gd name="connsiteY75" fmla="*/ 1366838 h 2476500"/>
                  <a:gd name="connsiteX76" fmla="*/ 576334 w 1757434"/>
                  <a:gd name="connsiteY76" fmla="*/ 1362075 h 2476500"/>
                  <a:gd name="connsiteX77" fmla="*/ 574747 w 1757434"/>
                  <a:gd name="connsiteY77" fmla="*/ 1352550 h 2476500"/>
                  <a:gd name="connsiteX78" fmla="*/ 565222 w 1757434"/>
                  <a:gd name="connsiteY78" fmla="*/ 1354138 h 2476500"/>
                  <a:gd name="connsiteX79" fmla="*/ 555697 w 1757434"/>
                  <a:gd name="connsiteY79" fmla="*/ 1360488 h 2476500"/>
                  <a:gd name="connsiteX80" fmla="*/ 550934 w 1757434"/>
                  <a:gd name="connsiteY80" fmla="*/ 1362075 h 2476500"/>
                  <a:gd name="connsiteX81" fmla="*/ 558872 w 1757434"/>
                  <a:gd name="connsiteY81" fmla="*/ 1357313 h 2476500"/>
                  <a:gd name="connsiteX82" fmla="*/ 565222 w 1757434"/>
                  <a:gd name="connsiteY82" fmla="*/ 1349375 h 2476500"/>
                  <a:gd name="connsiteX83" fmla="*/ 569984 w 1757434"/>
                  <a:gd name="connsiteY83" fmla="*/ 1338263 h 2476500"/>
                  <a:gd name="connsiteX84" fmla="*/ 1487559 w 1757434"/>
                  <a:gd name="connsiteY84" fmla="*/ 0 h 2476500"/>
                  <a:gd name="connsiteX85" fmla="*/ 1497084 w 1757434"/>
                  <a:gd name="connsiteY85" fmla="*/ 1588 h 2476500"/>
                  <a:gd name="connsiteX86" fmla="*/ 1497084 w 1757434"/>
                  <a:gd name="connsiteY86" fmla="*/ 22225 h 2476500"/>
                  <a:gd name="connsiteX87" fmla="*/ 1501847 w 1757434"/>
                  <a:gd name="connsiteY87" fmla="*/ 26988 h 2476500"/>
                  <a:gd name="connsiteX88" fmla="*/ 1508197 w 1757434"/>
                  <a:gd name="connsiteY88" fmla="*/ 20638 h 2476500"/>
                  <a:gd name="connsiteX89" fmla="*/ 1516134 w 1757434"/>
                  <a:gd name="connsiteY89" fmla="*/ 15875 h 2476500"/>
                  <a:gd name="connsiteX90" fmla="*/ 1511372 w 1757434"/>
                  <a:gd name="connsiteY90" fmla="*/ 34925 h 2476500"/>
                  <a:gd name="connsiteX91" fmla="*/ 1516134 w 1757434"/>
                  <a:gd name="connsiteY91" fmla="*/ 36513 h 2476500"/>
                  <a:gd name="connsiteX92" fmla="*/ 1527247 w 1757434"/>
                  <a:gd name="connsiteY92" fmla="*/ 33338 h 2476500"/>
                  <a:gd name="connsiteX93" fmla="*/ 1530422 w 1757434"/>
                  <a:gd name="connsiteY93" fmla="*/ 47625 h 2476500"/>
                  <a:gd name="connsiteX94" fmla="*/ 1527247 w 1757434"/>
                  <a:gd name="connsiteY94" fmla="*/ 57150 h 2476500"/>
                  <a:gd name="connsiteX95" fmla="*/ 1522484 w 1757434"/>
                  <a:gd name="connsiteY95" fmla="*/ 65088 h 2476500"/>
                  <a:gd name="connsiteX96" fmla="*/ 1519309 w 1757434"/>
                  <a:gd name="connsiteY96" fmla="*/ 71438 h 2476500"/>
                  <a:gd name="connsiteX97" fmla="*/ 1520897 w 1757434"/>
                  <a:gd name="connsiteY97" fmla="*/ 98425 h 2476500"/>
                  <a:gd name="connsiteX98" fmla="*/ 1525659 w 1757434"/>
                  <a:gd name="connsiteY98" fmla="*/ 103188 h 2476500"/>
                  <a:gd name="connsiteX99" fmla="*/ 1530422 w 1757434"/>
                  <a:gd name="connsiteY99" fmla="*/ 111125 h 2476500"/>
                  <a:gd name="connsiteX100" fmla="*/ 1543122 w 1757434"/>
                  <a:gd name="connsiteY100" fmla="*/ 106363 h 2476500"/>
                  <a:gd name="connsiteX101" fmla="*/ 1544709 w 1757434"/>
                  <a:gd name="connsiteY101" fmla="*/ 98425 h 2476500"/>
                  <a:gd name="connsiteX102" fmla="*/ 1541534 w 1757434"/>
                  <a:gd name="connsiteY102" fmla="*/ 66675 h 2476500"/>
                  <a:gd name="connsiteX103" fmla="*/ 1538359 w 1757434"/>
                  <a:gd name="connsiteY103" fmla="*/ 49213 h 2476500"/>
                  <a:gd name="connsiteX104" fmla="*/ 1543122 w 1757434"/>
                  <a:gd name="connsiteY104" fmla="*/ 46038 h 2476500"/>
                  <a:gd name="connsiteX105" fmla="*/ 1544709 w 1757434"/>
                  <a:gd name="connsiteY105" fmla="*/ 52388 h 2476500"/>
                  <a:gd name="connsiteX106" fmla="*/ 1551059 w 1757434"/>
                  <a:gd name="connsiteY106" fmla="*/ 36513 h 2476500"/>
                  <a:gd name="connsiteX107" fmla="*/ 1557409 w 1757434"/>
                  <a:gd name="connsiteY107" fmla="*/ 31750 h 2476500"/>
                  <a:gd name="connsiteX108" fmla="*/ 1568522 w 1757434"/>
                  <a:gd name="connsiteY108" fmla="*/ 26988 h 2476500"/>
                  <a:gd name="connsiteX109" fmla="*/ 1563759 w 1757434"/>
                  <a:gd name="connsiteY109" fmla="*/ 34925 h 2476500"/>
                  <a:gd name="connsiteX110" fmla="*/ 1566934 w 1757434"/>
                  <a:gd name="connsiteY110" fmla="*/ 79375 h 2476500"/>
                  <a:gd name="connsiteX111" fmla="*/ 1573284 w 1757434"/>
                  <a:gd name="connsiteY111" fmla="*/ 77788 h 2476500"/>
                  <a:gd name="connsiteX112" fmla="*/ 1579634 w 1757434"/>
                  <a:gd name="connsiteY112" fmla="*/ 58738 h 2476500"/>
                  <a:gd name="connsiteX113" fmla="*/ 1585984 w 1757434"/>
                  <a:gd name="connsiteY113" fmla="*/ 42863 h 2476500"/>
                  <a:gd name="connsiteX114" fmla="*/ 1592334 w 1757434"/>
                  <a:gd name="connsiteY114" fmla="*/ 36513 h 2476500"/>
                  <a:gd name="connsiteX115" fmla="*/ 1593922 w 1757434"/>
                  <a:gd name="connsiteY115" fmla="*/ 42863 h 2476500"/>
                  <a:gd name="connsiteX116" fmla="*/ 1592334 w 1757434"/>
                  <a:gd name="connsiteY116" fmla="*/ 61913 h 2476500"/>
                  <a:gd name="connsiteX117" fmla="*/ 1617734 w 1757434"/>
                  <a:gd name="connsiteY117" fmla="*/ 46038 h 2476500"/>
                  <a:gd name="connsiteX118" fmla="*/ 1622497 w 1757434"/>
                  <a:gd name="connsiteY118" fmla="*/ 52388 h 2476500"/>
                  <a:gd name="connsiteX119" fmla="*/ 1619322 w 1757434"/>
                  <a:gd name="connsiteY119" fmla="*/ 73025 h 2476500"/>
                  <a:gd name="connsiteX120" fmla="*/ 1622497 w 1757434"/>
                  <a:gd name="connsiteY120" fmla="*/ 84138 h 2476500"/>
                  <a:gd name="connsiteX121" fmla="*/ 1627259 w 1757434"/>
                  <a:gd name="connsiteY121" fmla="*/ 87313 h 2476500"/>
                  <a:gd name="connsiteX122" fmla="*/ 1635197 w 1757434"/>
                  <a:gd name="connsiteY122" fmla="*/ 80963 h 2476500"/>
                  <a:gd name="connsiteX123" fmla="*/ 1641547 w 1757434"/>
                  <a:gd name="connsiteY123" fmla="*/ 69850 h 2476500"/>
                  <a:gd name="connsiteX124" fmla="*/ 1644722 w 1757434"/>
                  <a:gd name="connsiteY124" fmla="*/ 63500 h 2476500"/>
                  <a:gd name="connsiteX125" fmla="*/ 1651072 w 1757434"/>
                  <a:gd name="connsiteY125" fmla="*/ 58738 h 2476500"/>
                  <a:gd name="connsiteX126" fmla="*/ 1659009 w 1757434"/>
                  <a:gd name="connsiteY126" fmla="*/ 63500 h 2476500"/>
                  <a:gd name="connsiteX127" fmla="*/ 1654247 w 1757434"/>
                  <a:gd name="connsiteY127" fmla="*/ 77788 h 2476500"/>
                  <a:gd name="connsiteX128" fmla="*/ 1657422 w 1757434"/>
                  <a:gd name="connsiteY128" fmla="*/ 84138 h 2476500"/>
                  <a:gd name="connsiteX129" fmla="*/ 1662184 w 1757434"/>
                  <a:gd name="connsiteY129" fmla="*/ 77788 h 2476500"/>
                  <a:gd name="connsiteX130" fmla="*/ 1666947 w 1757434"/>
                  <a:gd name="connsiteY130" fmla="*/ 69850 h 2476500"/>
                  <a:gd name="connsiteX131" fmla="*/ 1678059 w 1757434"/>
                  <a:gd name="connsiteY131" fmla="*/ 63500 h 2476500"/>
                  <a:gd name="connsiteX132" fmla="*/ 1692347 w 1757434"/>
                  <a:gd name="connsiteY132" fmla="*/ 65088 h 2476500"/>
                  <a:gd name="connsiteX133" fmla="*/ 1700284 w 1757434"/>
                  <a:gd name="connsiteY133" fmla="*/ 68263 h 2476500"/>
                  <a:gd name="connsiteX134" fmla="*/ 1697109 w 1757434"/>
                  <a:gd name="connsiteY134" fmla="*/ 74613 h 2476500"/>
                  <a:gd name="connsiteX135" fmla="*/ 1689172 w 1757434"/>
                  <a:gd name="connsiteY135" fmla="*/ 79375 h 2476500"/>
                  <a:gd name="connsiteX136" fmla="*/ 1714572 w 1757434"/>
                  <a:gd name="connsiteY136" fmla="*/ 90488 h 2476500"/>
                  <a:gd name="connsiteX137" fmla="*/ 1711397 w 1757434"/>
                  <a:gd name="connsiteY137" fmla="*/ 98425 h 2476500"/>
                  <a:gd name="connsiteX138" fmla="*/ 1700284 w 1757434"/>
                  <a:gd name="connsiteY138" fmla="*/ 106363 h 2476500"/>
                  <a:gd name="connsiteX139" fmla="*/ 1690759 w 1757434"/>
                  <a:gd name="connsiteY139" fmla="*/ 114300 h 2476500"/>
                  <a:gd name="connsiteX140" fmla="*/ 1687584 w 1757434"/>
                  <a:gd name="connsiteY140" fmla="*/ 119063 h 2476500"/>
                  <a:gd name="connsiteX141" fmla="*/ 1685997 w 1757434"/>
                  <a:gd name="connsiteY141" fmla="*/ 123825 h 2476500"/>
                  <a:gd name="connsiteX142" fmla="*/ 1684409 w 1757434"/>
                  <a:gd name="connsiteY142" fmla="*/ 130175 h 2476500"/>
                  <a:gd name="connsiteX143" fmla="*/ 1681234 w 1757434"/>
                  <a:gd name="connsiteY143" fmla="*/ 136525 h 2476500"/>
                  <a:gd name="connsiteX144" fmla="*/ 1674884 w 1757434"/>
                  <a:gd name="connsiteY144" fmla="*/ 138113 h 2476500"/>
                  <a:gd name="connsiteX145" fmla="*/ 1655834 w 1757434"/>
                  <a:gd name="connsiteY145" fmla="*/ 144463 h 2476500"/>
                  <a:gd name="connsiteX146" fmla="*/ 1649484 w 1757434"/>
                  <a:gd name="connsiteY146" fmla="*/ 146050 h 2476500"/>
                  <a:gd name="connsiteX147" fmla="*/ 1641547 w 1757434"/>
                  <a:gd name="connsiteY147" fmla="*/ 149225 h 2476500"/>
                  <a:gd name="connsiteX148" fmla="*/ 1597097 w 1757434"/>
                  <a:gd name="connsiteY148" fmla="*/ 150813 h 2476500"/>
                  <a:gd name="connsiteX149" fmla="*/ 1592334 w 1757434"/>
                  <a:gd name="connsiteY149" fmla="*/ 152400 h 2476500"/>
                  <a:gd name="connsiteX150" fmla="*/ 1593922 w 1757434"/>
                  <a:gd name="connsiteY150" fmla="*/ 158750 h 2476500"/>
                  <a:gd name="connsiteX151" fmla="*/ 1628847 w 1757434"/>
                  <a:gd name="connsiteY151" fmla="*/ 160338 h 2476500"/>
                  <a:gd name="connsiteX152" fmla="*/ 1641547 w 1757434"/>
                  <a:gd name="connsiteY152" fmla="*/ 168275 h 2476500"/>
                  <a:gd name="connsiteX153" fmla="*/ 1643134 w 1757434"/>
                  <a:gd name="connsiteY153" fmla="*/ 177800 h 2476500"/>
                  <a:gd name="connsiteX154" fmla="*/ 1641547 w 1757434"/>
                  <a:gd name="connsiteY154" fmla="*/ 185738 h 2476500"/>
                  <a:gd name="connsiteX155" fmla="*/ 1641547 w 1757434"/>
                  <a:gd name="connsiteY155" fmla="*/ 198438 h 2476500"/>
                  <a:gd name="connsiteX156" fmla="*/ 1646309 w 1757434"/>
                  <a:gd name="connsiteY156" fmla="*/ 200025 h 2476500"/>
                  <a:gd name="connsiteX157" fmla="*/ 1652659 w 1757434"/>
                  <a:gd name="connsiteY157" fmla="*/ 192088 h 2476500"/>
                  <a:gd name="connsiteX158" fmla="*/ 1663772 w 1757434"/>
                  <a:gd name="connsiteY158" fmla="*/ 182563 h 2476500"/>
                  <a:gd name="connsiteX159" fmla="*/ 1666947 w 1757434"/>
                  <a:gd name="connsiteY159" fmla="*/ 187325 h 2476500"/>
                  <a:gd name="connsiteX160" fmla="*/ 1668534 w 1757434"/>
                  <a:gd name="connsiteY160" fmla="*/ 200025 h 2476500"/>
                  <a:gd name="connsiteX161" fmla="*/ 1673297 w 1757434"/>
                  <a:gd name="connsiteY161" fmla="*/ 196850 h 2476500"/>
                  <a:gd name="connsiteX162" fmla="*/ 1681234 w 1757434"/>
                  <a:gd name="connsiteY162" fmla="*/ 195263 h 2476500"/>
                  <a:gd name="connsiteX163" fmla="*/ 1685997 w 1757434"/>
                  <a:gd name="connsiteY163" fmla="*/ 196850 h 2476500"/>
                  <a:gd name="connsiteX164" fmla="*/ 1692347 w 1757434"/>
                  <a:gd name="connsiteY164" fmla="*/ 180975 h 2476500"/>
                  <a:gd name="connsiteX165" fmla="*/ 1695522 w 1757434"/>
                  <a:gd name="connsiteY165" fmla="*/ 176213 h 2476500"/>
                  <a:gd name="connsiteX166" fmla="*/ 1697109 w 1757434"/>
                  <a:gd name="connsiteY166" fmla="*/ 171450 h 2476500"/>
                  <a:gd name="connsiteX167" fmla="*/ 1703459 w 1757434"/>
                  <a:gd name="connsiteY167" fmla="*/ 168275 h 2476500"/>
                  <a:gd name="connsiteX168" fmla="*/ 1705047 w 1757434"/>
                  <a:gd name="connsiteY168" fmla="*/ 184150 h 2476500"/>
                  <a:gd name="connsiteX169" fmla="*/ 1709809 w 1757434"/>
                  <a:gd name="connsiteY169" fmla="*/ 193675 h 2476500"/>
                  <a:gd name="connsiteX170" fmla="*/ 1712984 w 1757434"/>
                  <a:gd name="connsiteY170" fmla="*/ 184150 h 2476500"/>
                  <a:gd name="connsiteX171" fmla="*/ 1717747 w 1757434"/>
                  <a:gd name="connsiteY171" fmla="*/ 180975 h 2476500"/>
                  <a:gd name="connsiteX172" fmla="*/ 1732034 w 1757434"/>
                  <a:gd name="connsiteY172" fmla="*/ 171450 h 2476500"/>
                  <a:gd name="connsiteX173" fmla="*/ 1733622 w 1757434"/>
                  <a:gd name="connsiteY173" fmla="*/ 179388 h 2476500"/>
                  <a:gd name="connsiteX174" fmla="*/ 1736797 w 1757434"/>
                  <a:gd name="connsiteY174" fmla="*/ 184150 h 2476500"/>
                  <a:gd name="connsiteX175" fmla="*/ 1744734 w 1757434"/>
                  <a:gd name="connsiteY175" fmla="*/ 185738 h 2476500"/>
                  <a:gd name="connsiteX176" fmla="*/ 1749497 w 1757434"/>
                  <a:gd name="connsiteY176" fmla="*/ 190500 h 2476500"/>
                  <a:gd name="connsiteX177" fmla="*/ 1754259 w 1757434"/>
                  <a:gd name="connsiteY177" fmla="*/ 192088 h 2476500"/>
                  <a:gd name="connsiteX178" fmla="*/ 1752672 w 1757434"/>
                  <a:gd name="connsiteY178" fmla="*/ 203200 h 2476500"/>
                  <a:gd name="connsiteX179" fmla="*/ 1754259 w 1757434"/>
                  <a:gd name="connsiteY179" fmla="*/ 222250 h 2476500"/>
                  <a:gd name="connsiteX180" fmla="*/ 1757434 w 1757434"/>
                  <a:gd name="connsiteY180" fmla="*/ 233363 h 2476500"/>
                  <a:gd name="connsiteX181" fmla="*/ 1752672 w 1757434"/>
                  <a:gd name="connsiteY181" fmla="*/ 238125 h 2476500"/>
                  <a:gd name="connsiteX182" fmla="*/ 1739972 w 1757434"/>
                  <a:gd name="connsiteY182" fmla="*/ 225425 h 2476500"/>
                  <a:gd name="connsiteX183" fmla="*/ 1709809 w 1757434"/>
                  <a:gd name="connsiteY183" fmla="*/ 223838 h 2476500"/>
                  <a:gd name="connsiteX184" fmla="*/ 1705047 w 1757434"/>
                  <a:gd name="connsiteY184" fmla="*/ 220663 h 2476500"/>
                  <a:gd name="connsiteX185" fmla="*/ 1703459 w 1757434"/>
                  <a:gd name="connsiteY185" fmla="*/ 225425 h 2476500"/>
                  <a:gd name="connsiteX186" fmla="*/ 1698697 w 1757434"/>
                  <a:gd name="connsiteY186" fmla="*/ 244475 h 2476500"/>
                  <a:gd name="connsiteX187" fmla="*/ 1692347 w 1757434"/>
                  <a:gd name="connsiteY187" fmla="*/ 249238 h 2476500"/>
                  <a:gd name="connsiteX188" fmla="*/ 1682822 w 1757434"/>
                  <a:gd name="connsiteY188" fmla="*/ 261938 h 2476500"/>
                  <a:gd name="connsiteX189" fmla="*/ 1676472 w 1757434"/>
                  <a:gd name="connsiteY189" fmla="*/ 269875 h 2476500"/>
                  <a:gd name="connsiteX190" fmla="*/ 1671709 w 1757434"/>
                  <a:gd name="connsiteY190" fmla="*/ 274638 h 2476500"/>
                  <a:gd name="connsiteX191" fmla="*/ 1668534 w 1757434"/>
                  <a:gd name="connsiteY191" fmla="*/ 280988 h 2476500"/>
                  <a:gd name="connsiteX192" fmla="*/ 1670122 w 1757434"/>
                  <a:gd name="connsiteY192" fmla="*/ 319088 h 2476500"/>
                  <a:gd name="connsiteX193" fmla="*/ 1665359 w 1757434"/>
                  <a:gd name="connsiteY193" fmla="*/ 331788 h 2476500"/>
                  <a:gd name="connsiteX194" fmla="*/ 1655834 w 1757434"/>
                  <a:gd name="connsiteY194" fmla="*/ 328613 h 2476500"/>
                  <a:gd name="connsiteX195" fmla="*/ 1643134 w 1757434"/>
                  <a:gd name="connsiteY195" fmla="*/ 323850 h 2476500"/>
                  <a:gd name="connsiteX196" fmla="*/ 1638372 w 1757434"/>
                  <a:gd name="connsiteY196" fmla="*/ 315913 h 2476500"/>
                  <a:gd name="connsiteX197" fmla="*/ 1641547 w 1757434"/>
                  <a:gd name="connsiteY197" fmla="*/ 298450 h 2476500"/>
                  <a:gd name="connsiteX198" fmla="*/ 1644722 w 1757434"/>
                  <a:gd name="connsiteY198" fmla="*/ 290513 h 2476500"/>
                  <a:gd name="connsiteX199" fmla="*/ 1649484 w 1757434"/>
                  <a:gd name="connsiteY199" fmla="*/ 285750 h 2476500"/>
                  <a:gd name="connsiteX200" fmla="*/ 1651072 w 1757434"/>
                  <a:gd name="connsiteY200" fmla="*/ 274638 h 2476500"/>
                  <a:gd name="connsiteX201" fmla="*/ 1654247 w 1757434"/>
                  <a:gd name="connsiteY201" fmla="*/ 268288 h 2476500"/>
                  <a:gd name="connsiteX202" fmla="*/ 1652659 w 1757434"/>
                  <a:gd name="connsiteY202" fmla="*/ 255588 h 2476500"/>
                  <a:gd name="connsiteX203" fmla="*/ 1639959 w 1757434"/>
                  <a:gd name="connsiteY203" fmla="*/ 239713 h 2476500"/>
                  <a:gd name="connsiteX204" fmla="*/ 1628847 w 1757434"/>
                  <a:gd name="connsiteY204" fmla="*/ 236538 h 2476500"/>
                  <a:gd name="connsiteX205" fmla="*/ 1620909 w 1757434"/>
                  <a:gd name="connsiteY205" fmla="*/ 231775 h 2476500"/>
                  <a:gd name="connsiteX206" fmla="*/ 1605034 w 1757434"/>
                  <a:gd name="connsiteY206" fmla="*/ 223838 h 2476500"/>
                  <a:gd name="connsiteX207" fmla="*/ 1597097 w 1757434"/>
                  <a:gd name="connsiteY207" fmla="*/ 217488 h 2476500"/>
                  <a:gd name="connsiteX208" fmla="*/ 1584397 w 1757434"/>
                  <a:gd name="connsiteY208" fmla="*/ 215900 h 2476500"/>
                  <a:gd name="connsiteX209" fmla="*/ 1582809 w 1757434"/>
                  <a:gd name="connsiteY209" fmla="*/ 211138 h 2476500"/>
                  <a:gd name="connsiteX210" fmla="*/ 1579634 w 1757434"/>
                  <a:gd name="connsiteY210" fmla="*/ 204788 h 2476500"/>
                  <a:gd name="connsiteX211" fmla="*/ 1554234 w 1757434"/>
                  <a:gd name="connsiteY211" fmla="*/ 200025 h 2476500"/>
                  <a:gd name="connsiteX212" fmla="*/ 1552647 w 1757434"/>
                  <a:gd name="connsiteY212" fmla="*/ 190500 h 2476500"/>
                  <a:gd name="connsiteX213" fmla="*/ 1543122 w 1757434"/>
                  <a:gd name="connsiteY213" fmla="*/ 184150 h 2476500"/>
                  <a:gd name="connsiteX214" fmla="*/ 1522484 w 1757434"/>
                  <a:gd name="connsiteY214" fmla="*/ 185738 h 2476500"/>
                  <a:gd name="connsiteX215" fmla="*/ 1516134 w 1757434"/>
                  <a:gd name="connsiteY215" fmla="*/ 190500 h 2476500"/>
                  <a:gd name="connsiteX216" fmla="*/ 1511372 w 1757434"/>
                  <a:gd name="connsiteY216" fmla="*/ 193675 h 2476500"/>
                  <a:gd name="connsiteX217" fmla="*/ 1506609 w 1757434"/>
                  <a:gd name="connsiteY217" fmla="*/ 201613 h 2476500"/>
                  <a:gd name="connsiteX218" fmla="*/ 1503434 w 1757434"/>
                  <a:gd name="connsiteY218" fmla="*/ 206375 h 2476500"/>
                  <a:gd name="connsiteX219" fmla="*/ 1500259 w 1757434"/>
                  <a:gd name="connsiteY219" fmla="*/ 214313 h 2476500"/>
                  <a:gd name="connsiteX220" fmla="*/ 1493909 w 1757434"/>
                  <a:gd name="connsiteY220" fmla="*/ 215900 h 2476500"/>
                  <a:gd name="connsiteX221" fmla="*/ 1474859 w 1757434"/>
                  <a:gd name="connsiteY221" fmla="*/ 225425 h 2476500"/>
                  <a:gd name="connsiteX222" fmla="*/ 1460572 w 1757434"/>
                  <a:gd name="connsiteY222" fmla="*/ 233363 h 2476500"/>
                  <a:gd name="connsiteX223" fmla="*/ 1457397 w 1757434"/>
                  <a:gd name="connsiteY223" fmla="*/ 239713 h 2476500"/>
                  <a:gd name="connsiteX224" fmla="*/ 1455809 w 1757434"/>
                  <a:gd name="connsiteY224" fmla="*/ 244475 h 2476500"/>
                  <a:gd name="connsiteX225" fmla="*/ 1451047 w 1757434"/>
                  <a:gd name="connsiteY225" fmla="*/ 249238 h 2476500"/>
                  <a:gd name="connsiteX226" fmla="*/ 1435172 w 1757434"/>
                  <a:gd name="connsiteY226" fmla="*/ 266700 h 2476500"/>
                  <a:gd name="connsiteX227" fmla="*/ 1436759 w 1757434"/>
                  <a:gd name="connsiteY227" fmla="*/ 277813 h 2476500"/>
                  <a:gd name="connsiteX228" fmla="*/ 1441522 w 1757434"/>
                  <a:gd name="connsiteY228" fmla="*/ 287338 h 2476500"/>
                  <a:gd name="connsiteX229" fmla="*/ 1443109 w 1757434"/>
                  <a:gd name="connsiteY229" fmla="*/ 293688 h 2476500"/>
                  <a:gd name="connsiteX230" fmla="*/ 1441522 w 1757434"/>
                  <a:gd name="connsiteY230" fmla="*/ 325438 h 2476500"/>
                  <a:gd name="connsiteX231" fmla="*/ 1441522 w 1757434"/>
                  <a:gd name="connsiteY231" fmla="*/ 360363 h 2476500"/>
                  <a:gd name="connsiteX232" fmla="*/ 1449459 w 1757434"/>
                  <a:gd name="connsiteY232" fmla="*/ 361950 h 2476500"/>
                  <a:gd name="connsiteX233" fmla="*/ 1458984 w 1757434"/>
                  <a:gd name="connsiteY233" fmla="*/ 365125 h 2476500"/>
                  <a:gd name="connsiteX234" fmla="*/ 1458984 w 1757434"/>
                  <a:gd name="connsiteY234" fmla="*/ 409575 h 2476500"/>
                  <a:gd name="connsiteX235" fmla="*/ 1444697 w 1757434"/>
                  <a:gd name="connsiteY235" fmla="*/ 411163 h 2476500"/>
                  <a:gd name="connsiteX236" fmla="*/ 1435172 w 1757434"/>
                  <a:gd name="connsiteY236" fmla="*/ 415925 h 2476500"/>
                  <a:gd name="connsiteX237" fmla="*/ 1436759 w 1757434"/>
                  <a:gd name="connsiteY237" fmla="*/ 423863 h 2476500"/>
                  <a:gd name="connsiteX238" fmla="*/ 1433584 w 1757434"/>
                  <a:gd name="connsiteY238" fmla="*/ 471488 h 2476500"/>
                  <a:gd name="connsiteX239" fmla="*/ 1419297 w 1757434"/>
                  <a:gd name="connsiteY239" fmla="*/ 465138 h 2476500"/>
                  <a:gd name="connsiteX240" fmla="*/ 1412947 w 1757434"/>
                  <a:gd name="connsiteY240" fmla="*/ 461963 h 2476500"/>
                  <a:gd name="connsiteX241" fmla="*/ 1390722 w 1757434"/>
                  <a:gd name="connsiteY241" fmla="*/ 465138 h 2476500"/>
                  <a:gd name="connsiteX242" fmla="*/ 1382784 w 1757434"/>
                  <a:gd name="connsiteY242" fmla="*/ 450850 h 2476500"/>
                  <a:gd name="connsiteX243" fmla="*/ 1378022 w 1757434"/>
                  <a:gd name="connsiteY243" fmla="*/ 447675 h 2476500"/>
                  <a:gd name="connsiteX244" fmla="*/ 1373259 w 1757434"/>
                  <a:gd name="connsiteY244" fmla="*/ 442913 h 2476500"/>
                  <a:gd name="connsiteX245" fmla="*/ 1365322 w 1757434"/>
                  <a:gd name="connsiteY245" fmla="*/ 441325 h 2476500"/>
                  <a:gd name="connsiteX246" fmla="*/ 1360559 w 1757434"/>
                  <a:gd name="connsiteY246" fmla="*/ 439738 h 2476500"/>
                  <a:gd name="connsiteX247" fmla="*/ 1349447 w 1757434"/>
                  <a:gd name="connsiteY247" fmla="*/ 441325 h 2476500"/>
                  <a:gd name="connsiteX248" fmla="*/ 1335159 w 1757434"/>
                  <a:gd name="connsiteY248" fmla="*/ 450850 h 2476500"/>
                  <a:gd name="connsiteX249" fmla="*/ 1328809 w 1757434"/>
                  <a:gd name="connsiteY249" fmla="*/ 461963 h 2476500"/>
                  <a:gd name="connsiteX250" fmla="*/ 1320872 w 1757434"/>
                  <a:gd name="connsiteY250" fmla="*/ 469900 h 2476500"/>
                  <a:gd name="connsiteX251" fmla="*/ 1312934 w 1757434"/>
                  <a:gd name="connsiteY251" fmla="*/ 471488 h 2476500"/>
                  <a:gd name="connsiteX252" fmla="*/ 1308172 w 1757434"/>
                  <a:gd name="connsiteY252" fmla="*/ 474663 h 2476500"/>
                  <a:gd name="connsiteX253" fmla="*/ 1303409 w 1757434"/>
                  <a:gd name="connsiteY253" fmla="*/ 479425 h 2476500"/>
                  <a:gd name="connsiteX254" fmla="*/ 1295472 w 1757434"/>
                  <a:gd name="connsiteY254" fmla="*/ 481013 h 2476500"/>
                  <a:gd name="connsiteX255" fmla="*/ 1287534 w 1757434"/>
                  <a:gd name="connsiteY255" fmla="*/ 484188 h 2476500"/>
                  <a:gd name="connsiteX256" fmla="*/ 1281184 w 1757434"/>
                  <a:gd name="connsiteY256" fmla="*/ 482600 h 2476500"/>
                  <a:gd name="connsiteX257" fmla="*/ 1273247 w 1757434"/>
                  <a:gd name="connsiteY257" fmla="*/ 476250 h 2476500"/>
                  <a:gd name="connsiteX258" fmla="*/ 1266897 w 1757434"/>
                  <a:gd name="connsiteY258" fmla="*/ 471488 h 2476500"/>
                  <a:gd name="connsiteX259" fmla="*/ 1255784 w 1757434"/>
                  <a:gd name="connsiteY259" fmla="*/ 466725 h 2476500"/>
                  <a:gd name="connsiteX260" fmla="*/ 1244672 w 1757434"/>
                  <a:gd name="connsiteY260" fmla="*/ 455613 h 2476500"/>
                  <a:gd name="connsiteX261" fmla="*/ 1238322 w 1757434"/>
                  <a:gd name="connsiteY261" fmla="*/ 449263 h 2476500"/>
                  <a:gd name="connsiteX262" fmla="*/ 1231972 w 1757434"/>
                  <a:gd name="connsiteY262" fmla="*/ 444500 h 2476500"/>
                  <a:gd name="connsiteX263" fmla="*/ 1230384 w 1757434"/>
                  <a:gd name="connsiteY263" fmla="*/ 438150 h 2476500"/>
                  <a:gd name="connsiteX264" fmla="*/ 1225622 w 1757434"/>
                  <a:gd name="connsiteY264" fmla="*/ 433388 h 2476500"/>
                  <a:gd name="connsiteX265" fmla="*/ 1222447 w 1757434"/>
                  <a:gd name="connsiteY265" fmla="*/ 428625 h 2476500"/>
                  <a:gd name="connsiteX266" fmla="*/ 1204984 w 1757434"/>
                  <a:gd name="connsiteY266" fmla="*/ 411163 h 2476500"/>
                  <a:gd name="connsiteX267" fmla="*/ 1197047 w 1757434"/>
                  <a:gd name="connsiteY267" fmla="*/ 409575 h 2476500"/>
                  <a:gd name="connsiteX268" fmla="*/ 1192284 w 1757434"/>
                  <a:gd name="connsiteY268" fmla="*/ 395288 h 2476500"/>
                  <a:gd name="connsiteX269" fmla="*/ 1189109 w 1757434"/>
                  <a:gd name="connsiteY269" fmla="*/ 390525 h 2476500"/>
                  <a:gd name="connsiteX270" fmla="*/ 1184347 w 1757434"/>
                  <a:gd name="connsiteY270" fmla="*/ 388938 h 2476500"/>
                  <a:gd name="connsiteX271" fmla="*/ 1179584 w 1757434"/>
                  <a:gd name="connsiteY271" fmla="*/ 390525 h 2476500"/>
                  <a:gd name="connsiteX272" fmla="*/ 1149422 w 1757434"/>
                  <a:gd name="connsiteY272" fmla="*/ 393700 h 2476500"/>
                  <a:gd name="connsiteX273" fmla="*/ 1157359 w 1757434"/>
                  <a:gd name="connsiteY273" fmla="*/ 438150 h 2476500"/>
                  <a:gd name="connsiteX274" fmla="*/ 1151009 w 1757434"/>
                  <a:gd name="connsiteY274" fmla="*/ 436563 h 2476500"/>
                  <a:gd name="connsiteX275" fmla="*/ 1125609 w 1757434"/>
                  <a:gd name="connsiteY275" fmla="*/ 439738 h 2476500"/>
                  <a:gd name="connsiteX276" fmla="*/ 1116084 w 1757434"/>
                  <a:gd name="connsiteY276" fmla="*/ 447675 h 2476500"/>
                  <a:gd name="connsiteX277" fmla="*/ 1111322 w 1757434"/>
                  <a:gd name="connsiteY277" fmla="*/ 449263 h 2476500"/>
                  <a:gd name="connsiteX278" fmla="*/ 1101797 w 1757434"/>
                  <a:gd name="connsiteY278" fmla="*/ 454025 h 2476500"/>
                  <a:gd name="connsiteX279" fmla="*/ 1095447 w 1757434"/>
                  <a:gd name="connsiteY279" fmla="*/ 458788 h 2476500"/>
                  <a:gd name="connsiteX280" fmla="*/ 1101797 w 1757434"/>
                  <a:gd name="connsiteY280" fmla="*/ 469900 h 2476500"/>
                  <a:gd name="connsiteX281" fmla="*/ 1109734 w 1757434"/>
                  <a:gd name="connsiteY281" fmla="*/ 473075 h 2476500"/>
                  <a:gd name="connsiteX282" fmla="*/ 1114497 w 1757434"/>
                  <a:gd name="connsiteY282" fmla="*/ 477838 h 2476500"/>
                  <a:gd name="connsiteX283" fmla="*/ 1116084 w 1757434"/>
                  <a:gd name="connsiteY283" fmla="*/ 484188 h 2476500"/>
                  <a:gd name="connsiteX284" fmla="*/ 1117672 w 1757434"/>
                  <a:gd name="connsiteY284" fmla="*/ 504825 h 2476500"/>
                  <a:gd name="connsiteX285" fmla="*/ 1117672 w 1757434"/>
                  <a:gd name="connsiteY285" fmla="*/ 547688 h 2476500"/>
                  <a:gd name="connsiteX286" fmla="*/ 1124022 w 1757434"/>
                  <a:gd name="connsiteY286" fmla="*/ 550863 h 2476500"/>
                  <a:gd name="connsiteX287" fmla="*/ 1125609 w 1757434"/>
                  <a:gd name="connsiteY287" fmla="*/ 555625 h 2476500"/>
                  <a:gd name="connsiteX288" fmla="*/ 1130372 w 1757434"/>
                  <a:gd name="connsiteY288" fmla="*/ 557213 h 2476500"/>
                  <a:gd name="connsiteX289" fmla="*/ 1122434 w 1757434"/>
                  <a:gd name="connsiteY289" fmla="*/ 565150 h 2476500"/>
                  <a:gd name="connsiteX290" fmla="*/ 1117672 w 1757434"/>
                  <a:gd name="connsiteY290" fmla="*/ 576263 h 2476500"/>
                  <a:gd name="connsiteX291" fmla="*/ 1112909 w 1757434"/>
                  <a:gd name="connsiteY291" fmla="*/ 584200 h 2476500"/>
                  <a:gd name="connsiteX292" fmla="*/ 1106559 w 1757434"/>
                  <a:gd name="connsiteY292" fmla="*/ 587375 h 2476500"/>
                  <a:gd name="connsiteX293" fmla="*/ 1098622 w 1757434"/>
                  <a:gd name="connsiteY293" fmla="*/ 584200 h 2476500"/>
                  <a:gd name="connsiteX294" fmla="*/ 1093859 w 1757434"/>
                  <a:gd name="connsiteY294" fmla="*/ 579438 h 2476500"/>
                  <a:gd name="connsiteX295" fmla="*/ 1082747 w 1757434"/>
                  <a:gd name="connsiteY295" fmla="*/ 573088 h 2476500"/>
                  <a:gd name="connsiteX296" fmla="*/ 1062109 w 1757434"/>
                  <a:gd name="connsiteY296" fmla="*/ 569913 h 2476500"/>
                  <a:gd name="connsiteX297" fmla="*/ 1047822 w 1757434"/>
                  <a:gd name="connsiteY297" fmla="*/ 565150 h 2476500"/>
                  <a:gd name="connsiteX298" fmla="*/ 1041472 w 1757434"/>
                  <a:gd name="connsiteY298" fmla="*/ 563563 h 2476500"/>
                  <a:gd name="connsiteX299" fmla="*/ 1030359 w 1757434"/>
                  <a:gd name="connsiteY299" fmla="*/ 565150 h 2476500"/>
                  <a:gd name="connsiteX300" fmla="*/ 1017659 w 1757434"/>
                  <a:gd name="connsiteY300" fmla="*/ 571500 h 2476500"/>
                  <a:gd name="connsiteX301" fmla="*/ 1016072 w 1757434"/>
                  <a:gd name="connsiteY301" fmla="*/ 560388 h 2476500"/>
                  <a:gd name="connsiteX302" fmla="*/ 989084 w 1757434"/>
                  <a:gd name="connsiteY302" fmla="*/ 560388 h 2476500"/>
                  <a:gd name="connsiteX303" fmla="*/ 984322 w 1757434"/>
                  <a:gd name="connsiteY303" fmla="*/ 566738 h 2476500"/>
                  <a:gd name="connsiteX304" fmla="*/ 990672 w 1757434"/>
                  <a:gd name="connsiteY304" fmla="*/ 592138 h 2476500"/>
                  <a:gd name="connsiteX305" fmla="*/ 992259 w 1757434"/>
                  <a:gd name="connsiteY305" fmla="*/ 596900 h 2476500"/>
                  <a:gd name="connsiteX306" fmla="*/ 989084 w 1757434"/>
                  <a:gd name="connsiteY306" fmla="*/ 644525 h 2476500"/>
                  <a:gd name="connsiteX307" fmla="*/ 984322 w 1757434"/>
                  <a:gd name="connsiteY307" fmla="*/ 650875 h 2476500"/>
                  <a:gd name="connsiteX308" fmla="*/ 982734 w 1757434"/>
                  <a:gd name="connsiteY308" fmla="*/ 655638 h 2476500"/>
                  <a:gd name="connsiteX309" fmla="*/ 979559 w 1757434"/>
                  <a:gd name="connsiteY309" fmla="*/ 669925 h 2476500"/>
                  <a:gd name="connsiteX310" fmla="*/ 974797 w 1757434"/>
                  <a:gd name="connsiteY310" fmla="*/ 666750 h 2476500"/>
                  <a:gd name="connsiteX311" fmla="*/ 970034 w 1757434"/>
                  <a:gd name="connsiteY311" fmla="*/ 661988 h 2476500"/>
                  <a:gd name="connsiteX312" fmla="*/ 960509 w 1757434"/>
                  <a:gd name="connsiteY312" fmla="*/ 663575 h 2476500"/>
                  <a:gd name="connsiteX313" fmla="*/ 943047 w 1757434"/>
                  <a:gd name="connsiteY313" fmla="*/ 668338 h 2476500"/>
                  <a:gd name="connsiteX314" fmla="*/ 936697 w 1757434"/>
                  <a:gd name="connsiteY314" fmla="*/ 676275 h 2476500"/>
                  <a:gd name="connsiteX315" fmla="*/ 925584 w 1757434"/>
                  <a:gd name="connsiteY315" fmla="*/ 687388 h 2476500"/>
                  <a:gd name="connsiteX316" fmla="*/ 922409 w 1757434"/>
                  <a:gd name="connsiteY316" fmla="*/ 692150 h 2476500"/>
                  <a:gd name="connsiteX317" fmla="*/ 916059 w 1757434"/>
                  <a:gd name="connsiteY317" fmla="*/ 698500 h 2476500"/>
                  <a:gd name="connsiteX318" fmla="*/ 912884 w 1757434"/>
                  <a:gd name="connsiteY318" fmla="*/ 704850 h 2476500"/>
                  <a:gd name="connsiteX319" fmla="*/ 909709 w 1757434"/>
                  <a:gd name="connsiteY319" fmla="*/ 709613 h 2476500"/>
                  <a:gd name="connsiteX320" fmla="*/ 908122 w 1757434"/>
                  <a:gd name="connsiteY320" fmla="*/ 717550 h 2476500"/>
                  <a:gd name="connsiteX321" fmla="*/ 901772 w 1757434"/>
                  <a:gd name="connsiteY321" fmla="*/ 727075 h 2476500"/>
                  <a:gd name="connsiteX322" fmla="*/ 897009 w 1757434"/>
                  <a:gd name="connsiteY322" fmla="*/ 741363 h 2476500"/>
                  <a:gd name="connsiteX323" fmla="*/ 895422 w 1757434"/>
                  <a:gd name="connsiteY323" fmla="*/ 746125 h 2476500"/>
                  <a:gd name="connsiteX324" fmla="*/ 893834 w 1757434"/>
                  <a:gd name="connsiteY324" fmla="*/ 757238 h 2476500"/>
                  <a:gd name="connsiteX325" fmla="*/ 887484 w 1757434"/>
                  <a:gd name="connsiteY325" fmla="*/ 763588 h 2476500"/>
                  <a:gd name="connsiteX326" fmla="*/ 882722 w 1757434"/>
                  <a:gd name="connsiteY326" fmla="*/ 769938 h 2476500"/>
                  <a:gd name="connsiteX327" fmla="*/ 884309 w 1757434"/>
                  <a:gd name="connsiteY327" fmla="*/ 781050 h 2476500"/>
                  <a:gd name="connsiteX328" fmla="*/ 892247 w 1757434"/>
                  <a:gd name="connsiteY328" fmla="*/ 795338 h 2476500"/>
                  <a:gd name="connsiteX329" fmla="*/ 892247 w 1757434"/>
                  <a:gd name="connsiteY329" fmla="*/ 839788 h 2476500"/>
                  <a:gd name="connsiteX330" fmla="*/ 887484 w 1757434"/>
                  <a:gd name="connsiteY330" fmla="*/ 842963 h 2476500"/>
                  <a:gd name="connsiteX331" fmla="*/ 879547 w 1757434"/>
                  <a:gd name="connsiteY331" fmla="*/ 855663 h 2476500"/>
                  <a:gd name="connsiteX332" fmla="*/ 876372 w 1757434"/>
                  <a:gd name="connsiteY332" fmla="*/ 863600 h 2476500"/>
                  <a:gd name="connsiteX333" fmla="*/ 874784 w 1757434"/>
                  <a:gd name="connsiteY333" fmla="*/ 869950 h 2476500"/>
                  <a:gd name="connsiteX334" fmla="*/ 870022 w 1757434"/>
                  <a:gd name="connsiteY334" fmla="*/ 884238 h 2476500"/>
                  <a:gd name="connsiteX335" fmla="*/ 866847 w 1757434"/>
                  <a:gd name="connsiteY335" fmla="*/ 893763 h 2476500"/>
                  <a:gd name="connsiteX336" fmla="*/ 863672 w 1757434"/>
                  <a:gd name="connsiteY336" fmla="*/ 906463 h 2476500"/>
                  <a:gd name="connsiteX337" fmla="*/ 857322 w 1757434"/>
                  <a:gd name="connsiteY337" fmla="*/ 919163 h 2476500"/>
                  <a:gd name="connsiteX338" fmla="*/ 852559 w 1757434"/>
                  <a:gd name="connsiteY338" fmla="*/ 923925 h 2476500"/>
                  <a:gd name="connsiteX339" fmla="*/ 843034 w 1757434"/>
                  <a:gd name="connsiteY339" fmla="*/ 935038 h 2476500"/>
                  <a:gd name="connsiteX340" fmla="*/ 831922 w 1757434"/>
                  <a:gd name="connsiteY340" fmla="*/ 944563 h 2476500"/>
                  <a:gd name="connsiteX341" fmla="*/ 830334 w 1757434"/>
                  <a:gd name="connsiteY341" fmla="*/ 950913 h 2476500"/>
                  <a:gd name="connsiteX342" fmla="*/ 835097 w 1757434"/>
                  <a:gd name="connsiteY342" fmla="*/ 973138 h 2476500"/>
                  <a:gd name="connsiteX343" fmla="*/ 833509 w 1757434"/>
                  <a:gd name="connsiteY343" fmla="*/ 990600 h 2476500"/>
                  <a:gd name="connsiteX344" fmla="*/ 825572 w 1757434"/>
                  <a:gd name="connsiteY344" fmla="*/ 995363 h 2476500"/>
                  <a:gd name="connsiteX345" fmla="*/ 819222 w 1757434"/>
                  <a:gd name="connsiteY345" fmla="*/ 1001713 h 2476500"/>
                  <a:gd name="connsiteX346" fmla="*/ 801759 w 1757434"/>
                  <a:gd name="connsiteY346" fmla="*/ 1016000 h 2476500"/>
                  <a:gd name="connsiteX347" fmla="*/ 782709 w 1757434"/>
                  <a:gd name="connsiteY347" fmla="*/ 1014413 h 2476500"/>
                  <a:gd name="connsiteX348" fmla="*/ 777777 w 1757434"/>
                  <a:gd name="connsiteY348" fmla="*/ 1011206 h 2476500"/>
                  <a:gd name="connsiteX349" fmla="*/ 780808 w 1757434"/>
                  <a:gd name="connsiteY349" fmla="*/ 1009156 h 2476500"/>
                  <a:gd name="connsiteX350" fmla="*/ 782139 w 1757434"/>
                  <a:gd name="connsiteY350" fmla="*/ 1008856 h 2476500"/>
                  <a:gd name="connsiteX351" fmla="*/ 780893 w 1757434"/>
                  <a:gd name="connsiteY351" fmla="*/ 1009099 h 2476500"/>
                  <a:gd name="connsiteX352" fmla="*/ 780808 w 1757434"/>
                  <a:gd name="connsiteY352" fmla="*/ 1009156 h 2476500"/>
                  <a:gd name="connsiteX353" fmla="*/ 771597 w 1757434"/>
                  <a:gd name="connsiteY353" fmla="*/ 1011238 h 2476500"/>
                  <a:gd name="connsiteX354" fmla="*/ 773184 w 1757434"/>
                  <a:gd name="connsiteY354" fmla="*/ 1050925 h 2476500"/>
                  <a:gd name="connsiteX355" fmla="*/ 779534 w 1757434"/>
                  <a:gd name="connsiteY355" fmla="*/ 1063625 h 2476500"/>
                  <a:gd name="connsiteX356" fmla="*/ 781122 w 1757434"/>
                  <a:gd name="connsiteY356" fmla="*/ 1068388 h 2476500"/>
                  <a:gd name="connsiteX357" fmla="*/ 782709 w 1757434"/>
                  <a:gd name="connsiteY357" fmla="*/ 1079500 h 2476500"/>
                  <a:gd name="connsiteX358" fmla="*/ 777947 w 1757434"/>
                  <a:gd name="connsiteY358" fmla="*/ 1093788 h 2476500"/>
                  <a:gd name="connsiteX359" fmla="*/ 773184 w 1757434"/>
                  <a:gd name="connsiteY359" fmla="*/ 1096963 h 2476500"/>
                  <a:gd name="connsiteX360" fmla="*/ 774772 w 1757434"/>
                  <a:gd name="connsiteY360" fmla="*/ 1106488 h 2476500"/>
                  <a:gd name="connsiteX361" fmla="*/ 782709 w 1757434"/>
                  <a:gd name="connsiteY361" fmla="*/ 1116013 h 2476500"/>
                  <a:gd name="connsiteX362" fmla="*/ 784297 w 1757434"/>
                  <a:gd name="connsiteY362" fmla="*/ 1123950 h 2476500"/>
                  <a:gd name="connsiteX363" fmla="*/ 787472 w 1757434"/>
                  <a:gd name="connsiteY363" fmla="*/ 1135063 h 2476500"/>
                  <a:gd name="connsiteX364" fmla="*/ 784297 w 1757434"/>
                  <a:gd name="connsiteY364" fmla="*/ 1157288 h 2476500"/>
                  <a:gd name="connsiteX365" fmla="*/ 781122 w 1757434"/>
                  <a:gd name="connsiteY365" fmla="*/ 1165225 h 2476500"/>
                  <a:gd name="connsiteX366" fmla="*/ 777947 w 1757434"/>
                  <a:gd name="connsiteY366" fmla="*/ 1169988 h 2476500"/>
                  <a:gd name="connsiteX367" fmla="*/ 779534 w 1757434"/>
                  <a:gd name="connsiteY367" fmla="*/ 1177925 h 2476500"/>
                  <a:gd name="connsiteX368" fmla="*/ 776359 w 1757434"/>
                  <a:gd name="connsiteY368" fmla="*/ 1192213 h 2476500"/>
                  <a:gd name="connsiteX369" fmla="*/ 773184 w 1757434"/>
                  <a:gd name="connsiteY369" fmla="*/ 1196975 h 2476500"/>
                  <a:gd name="connsiteX370" fmla="*/ 768422 w 1757434"/>
                  <a:gd name="connsiteY370" fmla="*/ 1206500 h 2476500"/>
                  <a:gd name="connsiteX371" fmla="*/ 763659 w 1757434"/>
                  <a:gd name="connsiteY371" fmla="*/ 1209675 h 2476500"/>
                  <a:gd name="connsiteX372" fmla="*/ 750959 w 1757434"/>
                  <a:gd name="connsiteY372" fmla="*/ 1230313 h 2476500"/>
                  <a:gd name="connsiteX373" fmla="*/ 743021 w 1757434"/>
                  <a:gd name="connsiteY373" fmla="*/ 1236662 h 2476500"/>
                  <a:gd name="connsiteX374" fmla="*/ 749371 w 1757434"/>
                  <a:gd name="connsiteY374" fmla="*/ 1247776 h 2476500"/>
                  <a:gd name="connsiteX375" fmla="*/ 730322 w 1757434"/>
                  <a:gd name="connsiteY375" fmla="*/ 1276350 h 2476500"/>
                  <a:gd name="connsiteX376" fmla="*/ 733497 w 1757434"/>
                  <a:gd name="connsiteY376" fmla="*/ 1293813 h 2476500"/>
                  <a:gd name="connsiteX377" fmla="*/ 738259 w 1757434"/>
                  <a:gd name="connsiteY377" fmla="*/ 1296988 h 2476500"/>
                  <a:gd name="connsiteX378" fmla="*/ 762072 w 1757434"/>
                  <a:gd name="connsiteY378" fmla="*/ 1319213 h 2476500"/>
                  <a:gd name="connsiteX379" fmla="*/ 768422 w 1757434"/>
                  <a:gd name="connsiteY379" fmla="*/ 1322388 h 2476500"/>
                  <a:gd name="connsiteX380" fmla="*/ 766834 w 1757434"/>
                  <a:gd name="connsiteY380" fmla="*/ 1366838 h 2476500"/>
                  <a:gd name="connsiteX381" fmla="*/ 763659 w 1757434"/>
                  <a:gd name="connsiteY381" fmla="*/ 1376363 h 2476500"/>
                  <a:gd name="connsiteX382" fmla="*/ 760484 w 1757434"/>
                  <a:gd name="connsiteY382" fmla="*/ 1384300 h 2476500"/>
                  <a:gd name="connsiteX383" fmla="*/ 758897 w 1757434"/>
                  <a:gd name="connsiteY383" fmla="*/ 1389063 h 2476500"/>
                  <a:gd name="connsiteX384" fmla="*/ 750959 w 1757434"/>
                  <a:gd name="connsiteY384" fmla="*/ 1398588 h 2476500"/>
                  <a:gd name="connsiteX385" fmla="*/ 719209 w 1757434"/>
                  <a:gd name="connsiteY385" fmla="*/ 1397000 h 2476500"/>
                  <a:gd name="connsiteX386" fmla="*/ 714447 w 1757434"/>
                  <a:gd name="connsiteY386" fmla="*/ 1389063 h 2476500"/>
                  <a:gd name="connsiteX387" fmla="*/ 706509 w 1757434"/>
                  <a:gd name="connsiteY387" fmla="*/ 1385888 h 2476500"/>
                  <a:gd name="connsiteX388" fmla="*/ 693809 w 1757434"/>
                  <a:gd name="connsiteY388" fmla="*/ 1389063 h 2476500"/>
                  <a:gd name="connsiteX389" fmla="*/ 685872 w 1757434"/>
                  <a:gd name="connsiteY389" fmla="*/ 1395413 h 2476500"/>
                  <a:gd name="connsiteX390" fmla="*/ 677934 w 1757434"/>
                  <a:gd name="connsiteY390" fmla="*/ 1406525 h 2476500"/>
                  <a:gd name="connsiteX391" fmla="*/ 671584 w 1757434"/>
                  <a:gd name="connsiteY391" fmla="*/ 1409700 h 2476500"/>
                  <a:gd name="connsiteX392" fmla="*/ 657297 w 1757434"/>
                  <a:gd name="connsiteY392" fmla="*/ 1419225 h 2476500"/>
                  <a:gd name="connsiteX393" fmla="*/ 654122 w 1757434"/>
                  <a:gd name="connsiteY393" fmla="*/ 1423988 h 2476500"/>
                  <a:gd name="connsiteX394" fmla="*/ 660472 w 1757434"/>
                  <a:gd name="connsiteY394" fmla="*/ 1430338 h 2476500"/>
                  <a:gd name="connsiteX395" fmla="*/ 662059 w 1757434"/>
                  <a:gd name="connsiteY395" fmla="*/ 1435100 h 2476500"/>
                  <a:gd name="connsiteX396" fmla="*/ 655709 w 1757434"/>
                  <a:gd name="connsiteY396" fmla="*/ 1438275 h 2476500"/>
                  <a:gd name="connsiteX397" fmla="*/ 650947 w 1757434"/>
                  <a:gd name="connsiteY397" fmla="*/ 1443038 h 2476500"/>
                  <a:gd name="connsiteX398" fmla="*/ 643009 w 1757434"/>
                  <a:gd name="connsiteY398" fmla="*/ 1449388 h 2476500"/>
                  <a:gd name="connsiteX399" fmla="*/ 638247 w 1757434"/>
                  <a:gd name="connsiteY399" fmla="*/ 1455738 h 2476500"/>
                  <a:gd name="connsiteX400" fmla="*/ 633484 w 1757434"/>
                  <a:gd name="connsiteY400" fmla="*/ 1458913 h 2476500"/>
                  <a:gd name="connsiteX401" fmla="*/ 623959 w 1757434"/>
                  <a:gd name="connsiteY401" fmla="*/ 1470025 h 2476500"/>
                  <a:gd name="connsiteX402" fmla="*/ 620784 w 1757434"/>
                  <a:gd name="connsiteY402" fmla="*/ 1489075 h 2476500"/>
                  <a:gd name="connsiteX403" fmla="*/ 619197 w 1757434"/>
                  <a:gd name="connsiteY403" fmla="*/ 1498600 h 2476500"/>
                  <a:gd name="connsiteX404" fmla="*/ 612847 w 1757434"/>
                  <a:gd name="connsiteY404" fmla="*/ 1487488 h 2476500"/>
                  <a:gd name="connsiteX405" fmla="*/ 612667 w 1757434"/>
                  <a:gd name="connsiteY405" fmla="*/ 1487193 h 2476500"/>
                  <a:gd name="connsiteX406" fmla="*/ 611259 w 1757434"/>
                  <a:gd name="connsiteY406" fmla="*/ 1509713 h 2476500"/>
                  <a:gd name="connsiteX407" fmla="*/ 603322 w 1757434"/>
                  <a:gd name="connsiteY407" fmla="*/ 1514475 h 2476500"/>
                  <a:gd name="connsiteX408" fmla="*/ 598559 w 1757434"/>
                  <a:gd name="connsiteY408" fmla="*/ 1519238 h 2476500"/>
                  <a:gd name="connsiteX409" fmla="*/ 593797 w 1757434"/>
                  <a:gd name="connsiteY409" fmla="*/ 1530350 h 2476500"/>
                  <a:gd name="connsiteX410" fmla="*/ 603322 w 1757434"/>
                  <a:gd name="connsiteY410" fmla="*/ 1539875 h 2476500"/>
                  <a:gd name="connsiteX411" fmla="*/ 606497 w 1757434"/>
                  <a:gd name="connsiteY411" fmla="*/ 1544638 h 2476500"/>
                  <a:gd name="connsiteX412" fmla="*/ 611259 w 1757434"/>
                  <a:gd name="connsiteY412" fmla="*/ 1550988 h 2476500"/>
                  <a:gd name="connsiteX413" fmla="*/ 612847 w 1757434"/>
                  <a:gd name="connsiteY413" fmla="*/ 1555750 h 2476500"/>
                  <a:gd name="connsiteX414" fmla="*/ 617609 w 1757434"/>
                  <a:gd name="connsiteY414" fmla="*/ 1562100 h 2476500"/>
                  <a:gd name="connsiteX415" fmla="*/ 616022 w 1757434"/>
                  <a:gd name="connsiteY415" fmla="*/ 1593850 h 2476500"/>
                  <a:gd name="connsiteX416" fmla="*/ 614434 w 1757434"/>
                  <a:gd name="connsiteY416" fmla="*/ 1598613 h 2476500"/>
                  <a:gd name="connsiteX417" fmla="*/ 609672 w 1757434"/>
                  <a:gd name="connsiteY417" fmla="*/ 1600200 h 2476500"/>
                  <a:gd name="connsiteX418" fmla="*/ 609672 w 1757434"/>
                  <a:gd name="connsiteY418" fmla="*/ 1635125 h 2476500"/>
                  <a:gd name="connsiteX419" fmla="*/ 612847 w 1757434"/>
                  <a:gd name="connsiteY419" fmla="*/ 1641475 h 2476500"/>
                  <a:gd name="connsiteX420" fmla="*/ 616022 w 1757434"/>
                  <a:gd name="connsiteY420" fmla="*/ 1677988 h 2476500"/>
                  <a:gd name="connsiteX421" fmla="*/ 620784 w 1757434"/>
                  <a:gd name="connsiteY421" fmla="*/ 1682750 h 2476500"/>
                  <a:gd name="connsiteX422" fmla="*/ 624689 w 1757434"/>
                  <a:gd name="connsiteY422" fmla="*/ 1687924 h 2476500"/>
                  <a:gd name="connsiteX423" fmla="*/ 623038 w 1757434"/>
                  <a:gd name="connsiteY423" fmla="*/ 1686677 h 2476500"/>
                  <a:gd name="connsiteX424" fmla="*/ 622473 w 1757434"/>
                  <a:gd name="connsiteY424" fmla="*/ 1686119 h 2476500"/>
                  <a:gd name="connsiteX425" fmla="*/ 622926 w 1757434"/>
                  <a:gd name="connsiteY425" fmla="*/ 1686592 h 2476500"/>
                  <a:gd name="connsiteX426" fmla="*/ 623038 w 1757434"/>
                  <a:gd name="connsiteY426" fmla="*/ 1686677 h 2476500"/>
                  <a:gd name="connsiteX427" fmla="*/ 630309 w 1757434"/>
                  <a:gd name="connsiteY427" fmla="*/ 1693863 h 2476500"/>
                  <a:gd name="connsiteX428" fmla="*/ 630309 w 1757434"/>
                  <a:gd name="connsiteY428" fmla="*/ 1730375 h 2476500"/>
                  <a:gd name="connsiteX429" fmla="*/ 628722 w 1757434"/>
                  <a:gd name="connsiteY429" fmla="*/ 1744663 h 2476500"/>
                  <a:gd name="connsiteX430" fmla="*/ 622372 w 1757434"/>
                  <a:gd name="connsiteY430" fmla="*/ 1754188 h 2476500"/>
                  <a:gd name="connsiteX431" fmla="*/ 622372 w 1757434"/>
                  <a:gd name="connsiteY431" fmla="*/ 1800225 h 2476500"/>
                  <a:gd name="connsiteX432" fmla="*/ 625547 w 1757434"/>
                  <a:gd name="connsiteY432" fmla="*/ 1809750 h 2476500"/>
                  <a:gd name="connsiteX433" fmla="*/ 627134 w 1757434"/>
                  <a:gd name="connsiteY433" fmla="*/ 1814513 h 2476500"/>
                  <a:gd name="connsiteX434" fmla="*/ 636659 w 1757434"/>
                  <a:gd name="connsiteY434" fmla="*/ 1827213 h 2476500"/>
                  <a:gd name="connsiteX435" fmla="*/ 647772 w 1757434"/>
                  <a:gd name="connsiteY435" fmla="*/ 1838325 h 2476500"/>
                  <a:gd name="connsiteX436" fmla="*/ 652534 w 1757434"/>
                  <a:gd name="connsiteY436" fmla="*/ 1839913 h 2476500"/>
                  <a:gd name="connsiteX437" fmla="*/ 666822 w 1757434"/>
                  <a:gd name="connsiteY437" fmla="*/ 1847850 h 2476500"/>
                  <a:gd name="connsiteX438" fmla="*/ 681109 w 1757434"/>
                  <a:gd name="connsiteY438" fmla="*/ 1863725 h 2476500"/>
                  <a:gd name="connsiteX439" fmla="*/ 682697 w 1757434"/>
                  <a:gd name="connsiteY439" fmla="*/ 1873250 h 2476500"/>
                  <a:gd name="connsiteX440" fmla="*/ 685872 w 1757434"/>
                  <a:gd name="connsiteY440" fmla="*/ 1881188 h 2476500"/>
                  <a:gd name="connsiteX441" fmla="*/ 684284 w 1757434"/>
                  <a:gd name="connsiteY441" fmla="*/ 1920875 h 2476500"/>
                  <a:gd name="connsiteX442" fmla="*/ 677934 w 1757434"/>
                  <a:gd name="connsiteY442" fmla="*/ 1925638 h 2476500"/>
                  <a:gd name="connsiteX443" fmla="*/ 674759 w 1757434"/>
                  <a:gd name="connsiteY443" fmla="*/ 1931988 h 2476500"/>
                  <a:gd name="connsiteX444" fmla="*/ 643009 w 1757434"/>
                  <a:gd name="connsiteY444" fmla="*/ 1938338 h 2476500"/>
                  <a:gd name="connsiteX445" fmla="*/ 636659 w 1757434"/>
                  <a:gd name="connsiteY445" fmla="*/ 1943100 h 2476500"/>
                  <a:gd name="connsiteX446" fmla="*/ 636659 w 1757434"/>
                  <a:gd name="connsiteY446" fmla="*/ 1968500 h 2476500"/>
                  <a:gd name="connsiteX447" fmla="*/ 644597 w 1757434"/>
                  <a:gd name="connsiteY447" fmla="*/ 1971675 h 2476500"/>
                  <a:gd name="connsiteX448" fmla="*/ 650947 w 1757434"/>
                  <a:gd name="connsiteY448" fmla="*/ 1974850 h 2476500"/>
                  <a:gd name="connsiteX449" fmla="*/ 652534 w 1757434"/>
                  <a:gd name="connsiteY449" fmla="*/ 1998663 h 2476500"/>
                  <a:gd name="connsiteX450" fmla="*/ 657297 w 1757434"/>
                  <a:gd name="connsiteY450" fmla="*/ 2001838 h 2476500"/>
                  <a:gd name="connsiteX451" fmla="*/ 660472 w 1757434"/>
                  <a:gd name="connsiteY451" fmla="*/ 2006600 h 2476500"/>
                  <a:gd name="connsiteX452" fmla="*/ 666822 w 1757434"/>
                  <a:gd name="connsiteY452" fmla="*/ 2014538 h 2476500"/>
                  <a:gd name="connsiteX453" fmla="*/ 668409 w 1757434"/>
                  <a:gd name="connsiteY453" fmla="*/ 2022475 h 2476500"/>
                  <a:gd name="connsiteX454" fmla="*/ 669997 w 1757434"/>
                  <a:gd name="connsiteY454" fmla="*/ 2027238 h 2476500"/>
                  <a:gd name="connsiteX455" fmla="*/ 671584 w 1757434"/>
                  <a:gd name="connsiteY455" fmla="*/ 2036763 h 2476500"/>
                  <a:gd name="connsiteX456" fmla="*/ 668409 w 1757434"/>
                  <a:gd name="connsiteY456" fmla="*/ 2055813 h 2476500"/>
                  <a:gd name="connsiteX457" fmla="*/ 663647 w 1757434"/>
                  <a:gd name="connsiteY457" fmla="*/ 2062163 h 2476500"/>
                  <a:gd name="connsiteX458" fmla="*/ 665234 w 1757434"/>
                  <a:gd name="connsiteY458" fmla="*/ 2068513 h 2476500"/>
                  <a:gd name="connsiteX459" fmla="*/ 671584 w 1757434"/>
                  <a:gd name="connsiteY459" fmla="*/ 2073275 h 2476500"/>
                  <a:gd name="connsiteX460" fmla="*/ 668409 w 1757434"/>
                  <a:gd name="connsiteY460" fmla="*/ 2098675 h 2476500"/>
                  <a:gd name="connsiteX461" fmla="*/ 663647 w 1757434"/>
                  <a:gd name="connsiteY461" fmla="*/ 2106613 h 2476500"/>
                  <a:gd name="connsiteX462" fmla="*/ 662059 w 1757434"/>
                  <a:gd name="connsiteY462" fmla="*/ 2117725 h 2476500"/>
                  <a:gd name="connsiteX463" fmla="*/ 643009 w 1757434"/>
                  <a:gd name="connsiteY463" fmla="*/ 2136775 h 2476500"/>
                  <a:gd name="connsiteX464" fmla="*/ 633484 w 1757434"/>
                  <a:gd name="connsiteY464" fmla="*/ 2138363 h 2476500"/>
                  <a:gd name="connsiteX465" fmla="*/ 628722 w 1757434"/>
                  <a:gd name="connsiteY465" fmla="*/ 2139950 h 2476500"/>
                  <a:gd name="connsiteX466" fmla="*/ 606497 w 1757434"/>
                  <a:gd name="connsiteY466" fmla="*/ 2141538 h 2476500"/>
                  <a:gd name="connsiteX467" fmla="*/ 600147 w 1757434"/>
                  <a:gd name="connsiteY467" fmla="*/ 2144713 h 2476500"/>
                  <a:gd name="connsiteX468" fmla="*/ 601734 w 1757434"/>
                  <a:gd name="connsiteY468" fmla="*/ 2149475 h 2476500"/>
                  <a:gd name="connsiteX469" fmla="*/ 612847 w 1757434"/>
                  <a:gd name="connsiteY469" fmla="*/ 2154238 h 2476500"/>
                  <a:gd name="connsiteX470" fmla="*/ 614434 w 1757434"/>
                  <a:gd name="connsiteY470" fmla="*/ 2159000 h 2476500"/>
                  <a:gd name="connsiteX471" fmla="*/ 611259 w 1757434"/>
                  <a:gd name="connsiteY471" fmla="*/ 2174875 h 2476500"/>
                  <a:gd name="connsiteX472" fmla="*/ 604909 w 1757434"/>
                  <a:gd name="connsiteY472" fmla="*/ 2181225 h 2476500"/>
                  <a:gd name="connsiteX473" fmla="*/ 600147 w 1757434"/>
                  <a:gd name="connsiteY473" fmla="*/ 2182813 h 2476500"/>
                  <a:gd name="connsiteX474" fmla="*/ 593797 w 1757434"/>
                  <a:gd name="connsiteY474" fmla="*/ 2189163 h 2476500"/>
                  <a:gd name="connsiteX475" fmla="*/ 595384 w 1757434"/>
                  <a:gd name="connsiteY475" fmla="*/ 2198688 h 2476500"/>
                  <a:gd name="connsiteX476" fmla="*/ 603322 w 1757434"/>
                  <a:gd name="connsiteY476" fmla="*/ 2216150 h 2476500"/>
                  <a:gd name="connsiteX477" fmla="*/ 606497 w 1757434"/>
                  <a:gd name="connsiteY477" fmla="*/ 2227263 h 2476500"/>
                  <a:gd name="connsiteX478" fmla="*/ 608084 w 1757434"/>
                  <a:gd name="connsiteY478" fmla="*/ 2232025 h 2476500"/>
                  <a:gd name="connsiteX479" fmla="*/ 608084 w 1757434"/>
                  <a:gd name="connsiteY479" fmla="*/ 2270125 h 2476500"/>
                  <a:gd name="connsiteX480" fmla="*/ 601734 w 1757434"/>
                  <a:gd name="connsiteY480" fmla="*/ 2289175 h 2476500"/>
                  <a:gd name="connsiteX481" fmla="*/ 595384 w 1757434"/>
                  <a:gd name="connsiteY481" fmla="*/ 2300288 h 2476500"/>
                  <a:gd name="connsiteX482" fmla="*/ 592209 w 1757434"/>
                  <a:gd name="connsiteY482" fmla="*/ 2316163 h 2476500"/>
                  <a:gd name="connsiteX483" fmla="*/ 577922 w 1757434"/>
                  <a:gd name="connsiteY483" fmla="*/ 2322513 h 2476500"/>
                  <a:gd name="connsiteX484" fmla="*/ 576334 w 1757434"/>
                  <a:gd name="connsiteY484" fmla="*/ 2308225 h 2476500"/>
                  <a:gd name="connsiteX485" fmla="*/ 568397 w 1757434"/>
                  <a:gd name="connsiteY485" fmla="*/ 2293938 h 2476500"/>
                  <a:gd name="connsiteX486" fmla="*/ 547759 w 1757434"/>
                  <a:gd name="connsiteY486" fmla="*/ 2290763 h 2476500"/>
                  <a:gd name="connsiteX487" fmla="*/ 542997 w 1757434"/>
                  <a:gd name="connsiteY487" fmla="*/ 2271713 h 2476500"/>
                  <a:gd name="connsiteX488" fmla="*/ 538234 w 1757434"/>
                  <a:gd name="connsiteY488" fmla="*/ 2270125 h 2476500"/>
                  <a:gd name="connsiteX489" fmla="*/ 525534 w 1757434"/>
                  <a:gd name="connsiteY489" fmla="*/ 2268538 h 2476500"/>
                  <a:gd name="connsiteX490" fmla="*/ 520772 w 1757434"/>
                  <a:gd name="connsiteY490" fmla="*/ 2265363 h 2476500"/>
                  <a:gd name="connsiteX491" fmla="*/ 514422 w 1757434"/>
                  <a:gd name="connsiteY491" fmla="*/ 2263775 h 2476500"/>
                  <a:gd name="connsiteX492" fmla="*/ 506484 w 1757434"/>
                  <a:gd name="connsiteY492" fmla="*/ 2254250 h 2476500"/>
                  <a:gd name="connsiteX493" fmla="*/ 508072 w 1757434"/>
                  <a:gd name="connsiteY493" fmla="*/ 2241550 h 2476500"/>
                  <a:gd name="connsiteX494" fmla="*/ 509659 w 1757434"/>
                  <a:gd name="connsiteY494" fmla="*/ 2228850 h 2476500"/>
                  <a:gd name="connsiteX495" fmla="*/ 509659 w 1757434"/>
                  <a:gd name="connsiteY495" fmla="*/ 2201863 h 2476500"/>
                  <a:gd name="connsiteX496" fmla="*/ 506484 w 1757434"/>
                  <a:gd name="connsiteY496" fmla="*/ 2197100 h 2476500"/>
                  <a:gd name="connsiteX497" fmla="*/ 503309 w 1757434"/>
                  <a:gd name="connsiteY497" fmla="*/ 2181225 h 2476500"/>
                  <a:gd name="connsiteX498" fmla="*/ 501722 w 1757434"/>
                  <a:gd name="connsiteY498" fmla="*/ 2176463 h 2476500"/>
                  <a:gd name="connsiteX499" fmla="*/ 503309 w 1757434"/>
                  <a:gd name="connsiteY499" fmla="*/ 2171700 h 2476500"/>
                  <a:gd name="connsiteX500" fmla="*/ 519184 w 1757434"/>
                  <a:gd name="connsiteY500" fmla="*/ 2168525 h 2476500"/>
                  <a:gd name="connsiteX501" fmla="*/ 517597 w 1757434"/>
                  <a:gd name="connsiteY501" fmla="*/ 2152650 h 2476500"/>
                  <a:gd name="connsiteX502" fmla="*/ 506484 w 1757434"/>
                  <a:gd name="connsiteY502" fmla="*/ 2154238 h 2476500"/>
                  <a:gd name="connsiteX503" fmla="*/ 501722 w 1757434"/>
                  <a:gd name="connsiteY503" fmla="*/ 2157413 h 2476500"/>
                  <a:gd name="connsiteX504" fmla="*/ 496959 w 1757434"/>
                  <a:gd name="connsiteY504" fmla="*/ 2159000 h 2476500"/>
                  <a:gd name="connsiteX505" fmla="*/ 492197 w 1757434"/>
                  <a:gd name="connsiteY505" fmla="*/ 2168525 h 2476500"/>
                  <a:gd name="connsiteX506" fmla="*/ 496959 w 1757434"/>
                  <a:gd name="connsiteY506" fmla="*/ 2181225 h 2476500"/>
                  <a:gd name="connsiteX507" fmla="*/ 495372 w 1757434"/>
                  <a:gd name="connsiteY507" fmla="*/ 2195513 h 2476500"/>
                  <a:gd name="connsiteX508" fmla="*/ 485847 w 1757434"/>
                  <a:gd name="connsiteY508" fmla="*/ 2184400 h 2476500"/>
                  <a:gd name="connsiteX509" fmla="*/ 481084 w 1757434"/>
                  <a:gd name="connsiteY509" fmla="*/ 2179638 h 2476500"/>
                  <a:gd name="connsiteX510" fmla="*/ 468384 w 1757434"/>
                  <a:gd name="connsiteY510" fmla="*/ 2181225 h 2476500"/>
                  <a:gd name="connsiteX511" fmla="*/ 469972 w 1757434"/>
                  <a:gd name="connsiteY511" fmla="*/ 2185988 h 2476500"/>
                  <a:gd name="connsiteX512" fmla="*/ 476322 w 1757434"/>
                  <a:gd name="connsiteY512" fmla="*/ 2190750 h 2476500"/>
                  <a:gd name="connsiteX513" fmla="*/ 474734 w 1757434"/>
                  <a:gd name="connsiteY513" fmla="*/ 2211388 h 2476500"/>
                  <a:gd name="connsiteX514" fmla="*/ 469972 w 1757434"/>
                  <a:gd name="connsiteY514" fmla="*/ 2214563 h 2476500"/>
                  <a:gd name="connsiteX515" fmla="*/ 474734 w 1757434"/>
                  <a:gd name="connsiteY515" fmla="*/ 2219325 h 2476500"/>
                  <a:gd name="connsiteX516" fmla="*/ 477909 w 1757434"/>
                  <a:gd name="connsiteY516" fmla="*/ 2230438 h 2476500"/>
                  <a:gd name="connsiteX517" fmla="*/ 481084 w 1757434"/>
                  <a:gd name="connsiteY517" fmla="*/ 2236788 h 2476500"/>
                  <a:gd name="connsiteX518" fmla="*/ 477909 w 1757434"/>
                  <a:gd name="connsiteY518" fmla="*/ 2251075 h 2476500"/>
                  <a:gd name="connsiteX519" fmla="*/ 476322 w 1757434"/>
                  <a:gd name="connsiteY519" fmla="*/ 2259013 h 2476500"/>
                  <a:gd name="connsiteX520" fmla="*/ 468384 w 1757434"/>
                  <a:gd name="connsiteY520" fmla="*/ 2257425 h 2476500"/>
                  <a:gd name="connsiteX521" fmla="*/ 460447 w 1757434"/>
                  <a:gd name="connsiteY521" fmla="*/ 2274888 h 2476500"/>
                  <a:gd name="connsiteX522" fmla="*/ 455684 w 1757434"/>
                  <a:gd name="connsiteY522" fmla="*/ 2273300 h 2476500"/>
                  <a:gd name="connsiteX523" fmla="*/ 450922 w 1757434"/>
                  <a:gd name="connsiteY523" fmla="*/ 2282825 h 2476500"/>
                  <a:gd name="connsiteX524" fmla="*/ 449334 w 1757434"/>
                  <a:gd name="connsiteY524" fmla="*/ 2287588 h 2476500"/>
                  <a:gd name="connsiteX525" fmla="*/ 454097 w 1757434"/>
                  <a:gd name="connsiteY525" fmla="*/ 2292350 h 2476500"/>
                  <a:gd name="connsiteX526" fmla="*/ 449334 w 1757434"/>
                  <a:gd name="connsiteY526" fmla="*/ 2290763 h 2476500"/>
                  <a:gd name="connsiteX527" fmla="*/ 444572 w 1757434"/>
                  <a:gd name="connsiteY527" fmla="*/ 2286000 h 2476500"/>
                  <a:gd name="connsiteX528" fmla="*/ 438222 w 1757434"/>
                  <a:gd name="connsiteY528" fmla="*/ 2295525 h 2476500"/>
                  <a:gd name="connsiteX529" fmla="*/ 435047 w 1757434"/>
                  <a:gd name="connsiteY529" fmla="*/ 2308225 h 2476500"/>
                  <a:gd name="connsiteX530" fmla="*/ 428697 w 1757434"/>
                  <a:gd name="connsiteY530" fmla="*/ 2298700 h 2476500"/>
                  <a:gd name="connsiteX531" fmla="*/ 415997 w 1757434"/>
                  <a:gd name="connsiteY531" fmla="*/ 2286000 h 2476500"/>
                  <a:gd name="connsiteX532" fmla="*/ 403297 w 1757434"/>
                  <a:gd name="connsiteY532" fmla="*/ 2284413 h 2476500"/>
                  <a:gd name="connsiteX533" fmla="*/ 409647 w 1757434"/>
                  <a:gd name="connsiteY533" fmla="*/ 2287588 h 2476500"/>
                  <a:gd name="connsiteX534" fmla="*/ 411234 w 1757434"/>
                  <a:gd name="connsiteY534" fmla="*/ 2295525 h 2476500"/>
                  <a:gd name="connsiteX535" fmla="*/ 406472 w 1757434"/>
                  <a:gd name="connsiteY535" fmla="*/ 2308225 h 2476500"/>
                  <a:gd name="connsiteX536" fmla="*/ 393772 w 1757434"/>
                  <a:gd name="connsiteY536" fmla="*/ 2312988 h 2476500"/>
                  <a:gd name="connsiteX537" fmla="*/ 390597 w 1757434"/>
                  <a:gd name="connsiteY537" fmla="*/ 2322513 h 2476500"/>
                  <a:gd name="connsiteX538" fmla="*/ 384247 w 1757434"/>
                  <a:gd name="connsiteY538" fmla="*/ 2328863 h 2476500"/>
                  <a:gd name="connsiteX539" fmla="*/ 381072 w 1757434"/>
                  <a:gd name="connsiteY539" fmla="*/ 2341563 h 2476500"/>
                  <a:gd name="connsiteX540" fmla="*/ 376309 w 1757434"/>
                  <a:gd name="connsiteY540" fmla="*/ 2336800 h 2476500"/>
                  <a:gd name="connsiteX541" fmla="*/ 379484 w 1757434"/>
                  <a:gd name="connsiteY541" fmla="*/ 2341563 h 2476500"/>
                  <a:gd name="connsiteX542" fmla="*/ 382659 w 1757434"/>
                  <a:gd name="connsiteY542" fmla="*/ 2347913 h 2476500"/>
                  <a:gd name="connsiteX543" fmla="*/ 376309 w 1757434"/>
                  <a:gd name="connsiteY543" fmla="*/ 2355850 h 2476500"/>
                  <a:gd name="connsiteX544" fmla="*/ 374722 w 1757434"/>
                  <a:gd name="connsiteY544" fmla="*/ 2360613 h 2476500"/>
                  <a:gd name="connsiteX545" fmla="*/ 355672 w 1757434"/>
                  <a:gd name="connsiteY545" fmla="*/ 2368550 h 2476500"/>
                  <a:gd name="connsiteX546" fmla="*/ 350909 w 1757434"/>
                  <a:gd name="connsiteY546" fmla="*/ 2373313 h 2476500"/>
                  <a:gd name="connsiteX547" fmla="*/ 342972 w 1757434"/>
                  <a:gd name="connsiteY547" fmla="*/ 2376488 h 2476500"/>
                  <a:gd name="connsiteX548" fmla="*/ 336622 w 1757434"/>
                  <a:gd name="connsiteY548" fmla="*/ 2381250 h 2476500"/>
                  <a:gd name="connsiteX549" fmla="*/ 335034 w 1757434"/>
                  <a:gd name="connsiteY549" fmla="*/ 2386013 h 2476500"/>
                  <a:gd name="connsiteX550" fmla="*/ 333447 w 1757434"/>
                  <a:gd name="connsiteY550" fmla="*/ 2393950 h 2476500"/>
                  <a:gd name="connsiteX551" fmla="*/ 327097 w 1757434"/>
                  <a:gd name="connsiteY551" fmla="*/ 2395538 h 2476500"/>
                  <a:gd name="connsiteX552" fmla="*/ 320747 w 1757434"/>
                  <a:gd name="connsiteY552" fmla="*/ 2409825 h 2476500"/>
                  <a:gd name="connsiteX553" fmla="*/ 311222 w 1757434"/>
                  <a:gd name="connsiteY553" fmla="*/ 2411413 h 2476500"/>
                  <a:gd name="connsiteX554" fmla="*/ 312809 w 1757434"/>
                  <a:gd name="connsiteY554" fmla="*/ 2417763 h 2476500"/>
                  <a:gd name="connsiteX555" fmla="*/ 298522 w 1757434"/>
                  <a:gd name="connsiteY555" fmla="*/ 2422525 h 2476500"/>
                  <a:gd name="connsiteX556" fmla="*/ 274709 w 1757434"/>
                  <a:gd name="connsiteY556" fmla="*/ 2433638 h 2476500"/>
                  <a:gd name="connsiteX557" fmla="*/ 269947 w 1757434"/>
                  <a:gd name="connsiteY557" fmla="*/ 2438400 h 2476500"/>
                  <a:gd name="connsiteX558" fmla="*/ 263597 w 1757434"/>
                  <a:gd name="connsiteY558" fmla="*/ 2452688 h 2476500"/>
                  <a:gd name="connsiteX559" fmla="*/ 257247 w 1757434"/>
                  <a:gd name="connsiteY559" fmla="*/ 2459038 h 2476500"/>
                  <a:gd name="connsiteX560" fmla="*/ 241372 w 1757434"/>
                  <a:gd name="connsiteY560" fmla="*/ 2455863 h 2476500"/>
                  <a:gd name="connsiteX561" fmla="*/ 239784 w 1757434"/>
                  <a:gd name="connsiteY561" fmla="*/ 2465388 h 2476500"/>
                  <a:gd name="connsiteX562" fmla="*/ 227084 w 1757434"/>
                  <a:gd name="connsiteY562" fmla="*/ 2468563 h 2476500"/>
                  <a:gd name="connsiteX563" fmla="*/ 184222 w 1757434"/>
                  <a:gd name="connsiteY563" fmla="*/ 2470150 h 2476500"/>
                  <a:gd name="connsiteX564" fmla="*/ 174697 w 1757434"/>
                  <a:gd name="connsiteY564" fmla="*/ 2473325 h 2476500"/>
                  <a:gd name="connsiteX565" fmla="*/ 160409 w 1757434"/>
                  <a:gd name="connsiteY565" fmla="*/ 2476500 h 2476500"/>
                  <a:gd name="connsiteX566" fmla="*/ 158822 w 1757434"/>
                  <a:gd name="connsiteY566" fmla="*/ 2468563 h 2476500"/>
                  <a:gd name="connsiteX567" fmla="*/ 149297 w 1757434"/>
                  <a:gd name="connsiteY567" fmla="*/ 2465388 h 2476500"/>
                  <a:gd name="connsiteX568" fmla="*/ 138184 w 1757434"/>
                  <a:gd name="connsiteY568" fmla="*/ 2459038 h 2476500"/>
                  <a:gd name="connsiteX569" fmla="*/ 128659 w 1757434"/>
                  <a:gd name="connsiteY569" fmla="*/ 2455863 h 2476500"/>
                  <a:gd name="connsiteX570" fmla="*/ 127072 w 1757434"/>
                  <a:gd name="connsiteY570" fmla="*/ 2463800 h 2476500"/>
                  <a:gd name="connsiteX571" fmla="*/ 120722 w 1757434"/>
                  <a:gd name="connsiteY571" fmla="*/ 2465388 h 2476500"/>
                  <a:gd name="connsiteX572" fmla="*/ 114372 w 1757434"/>
                  <a:gd name="connsiteY572" fmla="*/ 2463800 h 2476500"/>
                  <a:gd name="connsiteX573" fmla="*/ 112784 w 1757434"/>
                  <a:gd name="connsiteY573" fmla="*/ 2459038 h 2476500"/>
                  <a:gd name="connsiteX574" fmla="*/ 111197 w 1757434"/>
                  <a:gd name="connsiteY574" fmla="*/ 2452688 h 2476500"/>
                  <a:gd name="connsiteX575" fmla="*/ 114372 w 1757434"/>
                  <a:gd name="connsiteY575" fmla="*/ 2441575 h 2476500"/>
                  <a:gd name="connsiteX576" fmla="*/ 120722 w 1757434"/>
                  <a:gd name="connsiteY576" fmla="*/ 2438400 h 2476500"/>
                  <a:gd name="connsiteX577" fmla="*/ 136597 w 1757434"/>
                  <a:gd name="connsiteY577" fmla="*/ 2430463 h 2476500"/>
                  <a:gd name="connsiteX578" fmla="*/ 135009 w 1757434"/>
                  <a:gd name="connsiteY578" fmla="*/ 2424113 h 2476500"/>
                  <a:gd name="connsiteX579" fmla="*/ 106434 w 1757434"/>
                  <a:gd name="connsiteY579" fmla="*/ 2425700 h 2476500"/>
                  <a:gd name="connsiteX580" fmla="*/ 96909 w 1757434"/>
                  <a:gd name="connsiteY580" fmla="*/ 2430463 h 2476500"/>
                  <a:gd name="connsiteX581" fmla="*/ 87384 w 1757434"/>
                  <a:gd name="connsiteY581" fmla="*/ 2422525 h 2476500"/>
                  <a:gd name="connsiteX582" fmla="*/ 82622 w 1757434"/>
                  <a:gd name="connsiteY582" fmla="*/ 2419350 h 2476500"/>
                  <a:gd name="connsiteX583" fmla="*/ 79447 w 1757434"/>
                  <a:gd name="connsiteY583" fmla="*/ 2414588 h 2476500"/>
                  <a:gd name="connsiteX584" fmla="*/ 28647 w 1757434"/>
                  <a:gd name="connsiteY584" fmla="*/ 2379663 h 2476500"/>
                  <a:gd name="connsiteX585" fmla="*/ 30234 w 1757434"/>
                  <a:gd name="connsiteY585" fmla="*/ 2360613 h 2476500"/>
                  <a:gd name="connsiteX586" fmla="*/ 23884 w 1757434"/>
                  <a:gd name="connsiteY586" fmla="*/ 2354263 h 2476500"/>
                  <a:gd name="connsiteX587" fmla="*/ 20709 w 1757434"/>
                  <a:gd name="connsiteY587" fmla="*/ 2347913 h 2476500"/>
                  <a:gd name="connsiteX588" fmla="*/ 15947 w 1757434"/>
                  <a:gd name="connsiteY588" fmla="*/ 2341563 h 2476500"/>
                  <a:gd name="connsiteX589" fmla="*/ 17534 w 1757434"/>
                  <a:gd name="connsiteY589" fmla="*/ 2328863 h 2476500"/>
                  <a:gd name="connsiteX590" fmla="*/ 19122 w 1757434"/>
                  <a:gd name="connsiteY590" fmla="*/ 2306638 h 2476500"/>
                  <a:gd name="connsiteX591" fmla="*/ 23884 w 1757434"/>
                  <a:gd name="connsiteY591" fmla="*/ 2300288 h 2476500"/>
                  <a:gd name="connsiteX592" fmla="*/ 25472 w 1757434"/>
                  <a:gd name="connsiteY592" fmla="*/ 2295525 h 2476500"/>
                  <a:gd name="connsiteX593" fmla="*/ 41347 w 1757434"/>
                  <a:gd name="connsiteY593" fmla="*/ 2306638 h 2476500"/>
                  <a:gd name="connsiteX594" fmla="*/ 52459 w 1757434"/>
                  <a:gd name="connsiteY594" fmla="*/ 2308225 h 2476500"/>
                  <a:gd name="connsiteX595" fmla="*/ 57222 w 1757434"/>
                  <a:gd name="connsiteY595" fmla="*/ 2312988 h 2476500"/>
                  <a:gd name="connsiteX596" fmla="*/ 71509 w 1757434"/>
                  <a:gd name="connsiteY596" fmla="*/ 2320925 h 2476500"/>
                  <a:gd name="connsiteX597" fmla="*/ 81034 w 1757434"/>
                  <a:gd name="connsiteY597" fmla="*/ 2328863 h 2476500"/>
                  <a:gd name="connsiteX598" fmla="*/ 85797 w 1757434"/>
                  <a:gd name="connsiteY598" fmla="*/ 2332038 h 2476500"/>
                  <a:gd name="connsiteX599" fmla="*/ 92147 w 1757434"/>
                  <a:gd name="connsiteY599" fmla="*/ 2330450 h 2476500"/>
                  <a:gd name="connsiteX600" fmla="*/ 85797 w 1757434"/>
                  <a:gd name="connsiteY600" fmla="*/ 2327275 h 2476500"/>
                  <a:gd name="connsiteX601" fmla="*/ 81034 w 1757434"/>
                  <a:gd name="connsiteY601" fmla="*/ 2324100 h 2476500"/>
                  <a:gd name="connsiteX602" fmla="*/ 77859 w 1757434"/>
                  <a:gd name="connsiteY602" fmla="*/ 2319338 h 2476500"/>
                  <a:gd name="connsiteX603" fmla="*/ 73097 w 1757434"/>
                  <a:gd name="connsiteY603" fmla="*/ 2308225 h 2476500"/>
                  <a:gd name="connsiteX604" fmla="*/ 82622 w 1757434"/>
                  <a:gd name="connsiteY604" fmla="*/ 2303463 h 2476500"/>
                  <a:gd name="connsiteX605" fmla="*/ 87384 w 1757434"/>
                  <a:gd name="connsiteY605" fmla="*/ 2301875 h 2476500"/>
                  <a:gd name="connsiteX606" fmla="*/ 92147 w 1757434"/>
                  <a:gd name="connsiteY606" fmla="*/ 2297113 h 2476500"/>
                  <a:gd name="connsiteX607" fmla="*/ 101672 w 1757434"/>
                  <a:gd name="connsiteY607" fmla="*/ 2293938 h 2476500"/>
                  <a:gd name="connsiteX608" fmla="*/ 125484 w 1757434"/>
                  <a:gd name="connsiteY608" fmla="*/ 2289175 h 2476500"/>
                  <a:gd name="connsiteX609" fmla="*/ 127072 w 1757434"/>
                  <a:gd name="connsiteY609" fmla="*/ 2284413 h 2476500"/>
                  <a:gd name="connsiteX610" fmla="*/ 100084 w 1757434"/>
                  <a:gd name="connsiteY610" fmla="*/ 2292350 h 2476500"/>
                  <a:gd name="connsiteX611" fmla="*/ 95322 w 1757434"/>
                  <a:gd name="connsiteY611" fmla="*/ 2295525 h 2476500"/>
                  <a:gd name="connsiteX612" fmla="*/ 88972 w 1757434"/>
                  <a:gd name="connsiteY612" fmla="*/ 2297113 h 2476500"/>
                  <a:gd name="connsiteX613" fmla="*/ 84209 w 1757434"/>
                  <a:gd name="connsiteY613" fmla="*/ 2298700 h 2476500"/>
                  <a:gd name="connsiteX614" fmla="*/ 68334 w 1757434"/>
                  <a:gd name="connsiteY614" fmla="*/ 2297113 h 2476500"/>
                  <a:gd name="connsiteX615" fmla="*/ 66747 w 1757434"/>
                  <a:gd name="connsiteY615" fmla="*/ 2292350 h 2476500"/>
                  <a:gd name="connsiteX616" fmla="*/ 61984 w 1757434"/>
                  <a:gd name="connsiteY616" fmla="*/ 2287588 h 2476500"/>
                  <a:gd name="connsiteX617" fmla="*/ 58809 w 1757434"/>
                  <a:gd name="connsiteY617" fmla="*/ 2266950 h 2476500"/>
                  <a:gd name="connsiteX618" fmla="*/ 69922 w 1757434"/>
                  <a:gd name="connsiteY618" fmla="*/ 2270125 h 2476500"/>
                  <a:gd name="connsiteX619" fmla="*/ 77859 w 1757434"/>
                  <a:gd name="connsiteY619" fmla="*/ 2273300 h 2476500"/>
                  <a:gd name="connsiteX620" fmla="*/ 79447 w 1757434"/>
                  <a:gd name="connsiteY620" fmla="*/ 2268538 h 2476500"/>
                  <a:gd name="connsiteX621" fmla="*/ 81034 w 1757434"/>
                  <a:gd name="connsiteY621" fmla="*/ 2259013 h 2476500"/>
                  <a:gd name="connsiteX622" fmla="*/ 93734 w 1757434"/>
                  <a:gd name="connsiteY622" fmla="*/ 2247900 h 2476500"/>
                  <a:gd name="connsiteX623" fmla="*/ 100084 w 1757434"/>
                  <a:gd name="connsiteY623" fmla="*/ 2244725 h 2476500"/>
                  <a:gd name="connsiteX624" fmla="*/ 104847 w 1757434"/>
                  <a:gd name="connsiteY624" fmla="*/ 2239963 h 2476500"/>
                  <a:gd name="connsiteX625" fmla="*/ 109609 w 1757434"/>
                  <a:gd name="connsiteY625" fmla="*/ 2236788 h 2476500"/>
                  <a:gd name="connsiteX626" fmla="*/ 85797 w 1757434"/>
                  <a:gd name="connsiteY626" fmla="*/ 2235200 h 2476500"/>
                  <a:gd name="connsiteX627" fmla="*/ 84209 w 1757434"/>
                  <a:gd name="connsiteY627" fmla="*/ 2239963 h 2476500"/>
                  <a:gd name="connsiteX628" fmla="*/ 71509 w 1757434"/>
                  <a:gd name="connsiteY628" fmla="*/ 2239963 h 2476500"/>
                  <a:gd name="connsiteX629" fmla="*/ 69922 w 1757434"/>
                  <a:gd name="connsiteY629" fmla="*/ 2235200 h 2476500"/>
                  <a:gd name="connsiteX630" fmla="*/ 77859 w 1757434"/>
                  <a:gd name="connsiteY630" fmla="*/ 2220913 h 2476500"/>
                  <a:gd name="connsiteX631" fmla="*/ 87384 w 1757434"/>
                  <a:gd name="connsiteY631" fmla="*/ 2214563 h 2476500"/>
                  <a:gd name="connsiteX632" fmla="*/ 98497 w 1757434"/>
                  <a:gd name="connsiteY632" fmla="*/ 2208213 h 2476500"/>
                  <a:gd name="connsiteX633" fmla="*/ 106434 w 1757434"/>
                  <a:gd name="connsiteY633" fmla="*/ 2198688 h 2476500"/>
                  <a:gd name="connsiteX634" fmla="*/ 108022 w 1757434"/>
                  <a:gd name="connsiteY634" fmla="*/ 2193925 h 2476500"/>
                  <a:gd name="connsiteX635" fmla="*/ 95322 w 1757434"/>
                  <a:gd name="connsiteY635" fmla="*/ 2205038 h 2476500"/>
                  <a:gd name="connsiteX636" fmla="*/ 87384 w 1757434"/>
                  <a:gd name="connsiteY636" fmla="*/ 2208213 h 2476500"/>
                  <a:gd name="connsiteX637" fmla="*/ 74684 w 1757434"/>
                  <a:gd name="connsiteY637" fmla="*/ 2206625 h 2476500"/>
                  <a:gd name="connsiteX638" fmla="*/ 63572 w 1757434"/>
                  <a:gd name="connsiteY638" fmla="*/ 2206625 h 2476500"/>
                  <a:gd name="connsiteX639" fmla="*/ 61984 w 1757434"/>
                  <a:gd name="connsiteY639" fmla="*/ 2212975 h 2476500"/>
                  <a:gd name="connsiteX640" fmla="*/ 54047 w 1757434"/>
                  <a:gd name="connsiteY640" fmla="*/ 2214563 h 2476500"/>
                  <a:gd name="connsiteX641" fmla="*/ 49284 w 1757434"/>
                  <a:gd name="connsiteY641" fmla="*/ 2217738 h 2476500"/>
                  <a:gd name="connsiteX642" fmla="*/ 44522 w 1757434"/>
                  <a:gd name="connsiteY642" fmla="*/ 2220913 h 2476500"/>
                  <a:gd name="connsiteX643" fmla="*/ 39759 w 1757434"/>
                  <a:gd name="connsiteY643" fmla="*/ 2225675 h 2476500"/>
                  <a:gd name="connsiteX644" fmla="*/ 31822 w 1757434"/>
                  <a:gd name="connsiteY644" fmla="*/ 2235200 h 2476500"/>
                  <a:gd name="connsiteX645" fmla="*/ 27059 w 1757434"/>
                  <a:gd name="connsiteY645" fmla="*/ 2232025 h 2476500"/>
                  <a:gd name="connsiteX646" fmla="*/ 20709 w 1757434"/>
                  <a:gd name="connsiteY646" fmla="*/ 2233613 h 2476500"/>
                  <a:gd name="connsiteX647" fmla="*/ 12772 w 1757434"/>
                  <a:gd name="connsiteY647" fmla="*/ 2227263 h 2476500"/>
                  <a:gd name="connsiteX648" fmla="*/ 6422 w 1757434"/>
                  <a:gd name="connsiteY648" fmla="*/ 2236788 h 2476500"/>
                  <a:gd name="connsiteX649" fmla="*/ 4834 w 1757434"/>
                  <a:gd name="connsiteY649" fmla="*/ 2230438 h 2476500"/>
                  <a:gd name="connsiteX650" fmla="*/ 8009 w 1757434"/>
                  <a:gd name="connsiteY650" fmla="*/ 2203450 h 2476500"/>
                  <a:gd name="connsiteX651" fmla="*/ 14359 w 1757434"/>
                  <a:gd name="connsiteY651" fmla="*/ 2201863 h 2476500"/>
                  <a:gd name="connsiteX652" fmla="*/ 15947 w 1757434"/>
                  <a:gd name="connsiteY652" fmla="*/ 2192338 h 2476500"/>
                  <a:gd name="connsiteX653" fmla="*/ 17534 w 1757434"/>
                  <a:gd name="connsiteY653" fmla="*/ 2179638 h 2476500"/>
                  <a:gd name="connsiteX654" fmla="*/ 30234 w 1757434"/>
                  <a:gd name="connsiteY654" fmla="*/ 2185988 h 2476500"/>
                  <a:gd name="connsiteX655" fmla="*/ 34997 w 1757434"/>
                  <a:gd name="connsiteY655" fmla="*/ 2176463 h 2476500"/>
                  <a:gd name="connsiteX656" fmla="*/ 38172 w 1757434"/>
                  <a:gd name="connsiteY656" fmla="*/ 2171700 h 2476500"/>
                  <a:gd name="connsiteX657" fmla="*/ 49284 w 1757434"/>
                  <a:gd name="connsiteY657" fmla="*/ 2174875 h 2476500"/>
                  <a:gd name="connsiteX658" fmla="*/ 57222 w 1757434"/>
                  <a:gd name="connsiteY658" fmla="*/ 2171700 h 2476500"/>
                  <a:gd name="connsiteX659" fmla="*/ 66747 w 1757434"/>
                  <a:gd name="connsiteY659" fmla="*/ 2163763 h 2476500"/>
                  <a:gd name="connsiteX660" fmla="*/ 68334 w 1757434"/>
                  <a:gd name="connsiteY660" fmla="*/ 2168525 h 2476500"/>
                  <a:gd name="connsiteX661" fmla="*/ 79447 w 1757434"/>
                  <a:gd name="connsiteY661" fmla="*/ 2160588 h 2476500"/>
                  <a:gd name="connsiteX662" fmla="*/ 82622 w 1757434"/>
                  <a:gd name="connsiteY662" fmla="*/ 2155825 h 2476500"/>
                  <a:gd name="connsiteX663" fmla="*/ 88972 w 1757434"/>
                  <a:gd name="connsiteY663" fmla="*/ 2154238 h 2476500"/>
                  <a:gd name="connsiteX664" fmla="*/ 95322 w 1757434"/>
                  <a:gd name="connsiteY664" fmla="*/ 2151063 h 2476500"/>
                  <a:gd name="connsiteX665" fmla="*/ 100084 w 1757434"/>
                  <a:gd name="connsiteY665" fmla="*/ 2147888 h 2476500"/>
                  <a:gd name="connsiteX666" fmla="*/ 76272 w 1757434"/>
                  <a:gd name="connsiteY666" fmla="*/ 2149475 h 2476500"/>
                  <a:gd name="connsiteX667" fmla="*/ 61984 w 1757434"/>
                  <a:gd name="connsiteY667" fmla="*/ 2147888 h 2476500"/>
                  <a:gd name="connsiteX668" fmla="*/ 52459 w 1757434"/>
                  <a:gd name="connsiteY668" fmla="*/ 2149475 h 2476500"/>
                  <a:gd name="connsiteX669" fmla="*/ 55634 w 1757434"/>
                  <a:gd name="connsiteY669" fmla="*/ 2139950 h 2476500"/>
                  <a:gd name="connsiteX670" fmla="*/ 58809 w 1757434"/>
                  <a:gd name="connsiteY670" fmla="*/ 2133600 h 2476500"/>
                  <a:gd name="connsiteX671" fmla="*/ 65159 w 1757434"/>
                  <a:gd name="connsiteY671" fmla="*/ 2116138 h 2476500"/>
                  <a:gd name="connsiteX672" fmla="*/ 71509 w 1757434"/>
                  <a:gd name="connsiteY672" fmla="*/ 2109788 h 2476500"/>
                  <a:gd name="connsiteX673" fmla="*/ 81034 w 1757434"/>
                  <a:gd name="connsiteY673" fmla="*/ 2101850 h 2476500"/>
                  <a:gd name="connsiteX674" fmla="*/ 82622 w 1757434"/>
                  <a:gd name="connsiteY674" fmla="*/ 2097088 h 2476500"/>
                  <a:gd name="connsiteX675" fmla="*/ 84209 w 1757434"/>
                  <a:gd name="connsiteY675" fmla="*/ 2090738 h 2476500"/>
                  <a:gd name="connsiteX676" fmla="*/ 90559 w 1757434"/>
                  <a:gd name="connsiteY676" fmla="*/ 2087563 h 2476500"/>
                  <a:gd name="connsiteX677" fmla="*/ 96909 w 1757434"/>
                  <a:gd name="connsiteY677" fmla="*/ 2078038 h 2476500"/>
                  <a:gd name="connsiteX678" fmla="*/ 98497 w 1757434"/>
                  <a:gd name="connsiteY678" fmla="*/ 2071688 h 2476500"/>
                  <a:gd name="connsiteX679" fmla="*/ 103259 w 1757434"/>
                  <a:gd name="connsiteY679" fmla="*/ 2062163 h 2476500"/>
                  <a:gd name="connsiteX680" fmla="*/ 108022 w 1757434"/>
                  <a:gd name="connsiteY680" fmla="*/ 2058988 h 2476500"/>
                  <a:gd name="connsiteX681" fmla="*/ 115959 w 1757434"/>
                  <a:gd name="connsiteY681" fmla="*/ 2052638 h 2476500"/>
                  <a:gd name="connsiteX682" fmla="*/ 125484 w 1757434"/>
                  <a:gd name="connsiteY682" fmla="*/ 2055813 h 2476500"/>
                  <a:gd name="connsiteX683" fmla="*/ 127072 w 1757434"/>
                  <a:gd name="connsiteY683" fmla="*/ 2060575 h 2476500"/>
                  <a:gd name="connsiteX684" fmla="*/ 130247 w 1757434"/>
                  <a:gd name="connsiteY684" fmla="*/ 2089150 h 2476500"/>
                  <a:gd name="connsiteX685" fmla="*/ 131834 w 1757434"/>
                  <a:gd name="connsiteY685" fmla="*/ 2098675 h 2476500"/>
                  <a:gd name="connsiteX686" fmla="*/ 135009 w 1757434"/>
                  <a:gd name="connsiteY686" fmla="*/ 2051050 h 2476500"/>
                  <a:gd name="connsiteX687" fmla="*/ 139772 w 1757434"/>
                  <a:gd name="connsiteY687" fmla="*/ 2047875 h 2476500"/>
                  <a:gd name="connsiteX688" fmla="*/ 150884 w 1757434"/>
                  <a:gd name="connsiteY688" fmla="*/ 2036763 h 2476500"/>
                  <a:gd name="connsiteX689" fmla="*/ 155647 w 1757434"/>
                  <a:gd name="connsiteY689" fmla="*/ 2035175 h 2476500"/>
                  <a:gd name="connsiteX690" fmla="*/ 160409 w 1757434"/>
                  <a:gd name="connsiteY690" fmla="*/ 2032000 h 2476500"/>
                  <a:gd name="connsiteX691" fmla="*/ 171522 w 1757434"/>
                  <a:gd name="connsiteY691" fmla="*/ 2028825 h 2476500"/>
                  <a:gd name="connsiteX692" fmla="*/ 174697 w 1757434"/>
                  <a:gd name="connsiteY692" fmla="*/ 2020888 h 2476500"/>
                  <a:gd name="connsiteX693" fmla="*/ 161997 w 1757434"/>
                  <a:gd name="connsiteY693" fmla="*/ 2022475 h 2476500"/>
                  <a:gd name="connsiteX694" fmla="*/ 154059 w 1757434"/>
                  <a:gd name="connsiteY694" fmla="*/ 2025650 h 2476500"/>
                  <a:gd name="connsiteX695" fmla="*/ 146122 w 1757434"/>
                  <a:gd name="connsiteY695" fmla="*/ 2027238 h 2476500"/>
                  <a:gd name="connsiteX696" fmla="*/ 139772 w 1757434"/>
                  <a:gd name="connsiteY696" fmla="*/ 2028825 h 2476500"/>
                  <a:gd name="connsiteX697" fmla="*/ 133422 w 1757434"/>
                  <a:gd name="connsiteY697" fmla="*/ 2032000 h 2476500"/>
                  <a:gd name="connsiteX698" fmla="*/ 119134 w 1757434"/>
                  <a:gd name="connsiteY698" fmla="*/ 2035175 h 2476500"/>
                  <a:gd name="connsiteX699" fmla="*/ 96909 w 1757434"/>
                  <a:gd name="connsiteY699" fmla="*/ 2043113 h 2476500"/>
                  <a:gd name="connsiteX700" fmla="*/ 92147 w 1757434"/>
                  <a:gd name="connsiteY700" fmla="*/ 2054225 h 2476500"/>
                  <a:gd name="connsiteX701" fmla="*/ 87384 w 1757434"/>
                  <a:gd name="connsiteY701" fmla="*/ 2058988 h 2476500"/>
                  <a:gd name="connsiteX702" fmla="*/ 82622 w 1757434"/>
                  <a:gd name="connsiteY702" fmla="*/ 2073275 h 2476500"/>
                  <a:gd name="connsiteX703" fmla="*/ 79447 w 1757434"/>
                  <a:gd name="connsiteY703" fmla="*/ 2079625 h 2476500"/>
                  <a:gd name="connsiteX704" fmla="*/ 76272 w 1757434"/>
                  <a:gd name="connsiteY704" fmla="*/ 2087563 h 2476500"/>
                  <a:gd name="connsiteX705" fmla="*/ 46109 w 1757434"/>
                  <a:gd name="connsiteY705" fmla="*/ 2089150 h 2476500"/>
                  <a:gd name="connsiteX706" fmla="*/ 44522 w 1757434"/>
                  <a:gd name="connsiteY706" fmla="*/ 2095500 h 2476500"/>
                  <a:gd name="connsiteX707" fmla="*/ 38172 w 1757434"/>
                  <a:gd name="connsiteY707" fmla="*/ 2092325 h 2476500"/>
                  <a:gd name="connsiteX708" fmla="*/ 46109 w 1757434"/>
                  <a:gd name="connsiteY708" fmla="*/ 2073275 h 2476500"/>
                  <a:gd name="connsiteX709" fmla="*/ 47697 w 1757434"/>
                  <a:gd name="connsiteY709" fmla="*/ 2068513 h 2476500"/>
                  <a:gd name="connsiteX710" fmla="*/ 49284 w 1757434"/>
                  <a:gd name="connsiteY710" fmla="*/ 2054225 h 2476500"/>
                  <a:gd name="connsiteX711" fmla="*/ 55634 w 1757434"/>
                  <a:gd name="connsiteY711" fmla="*/ 2047875 h 2476500"/>
                  <a:gd name="connsiteX712" fmla="*/ 58809 w 1757434"/>
                  <a:gd name="connsiteY712" fmla="*/ 2043113 h 2476500"/>
                  <a:gd name="connsiteX713" fmla="*/ 44522 w 1757434"/>
                  <a:gd name="connsiteY713" fmla="*/ 2054225 h 2476500"/>
                  <a:gd name="connsiteX714" fmla="*/ 27059 w 1757434"/>
                  <a:gd name="connsiteY714" fmla="*/ 2073275 h 2476500"/>
                  <a:gd name="connsiteX715" fmla="*/ 22297 w 1757434"/>
                  <a:gd name="connsiteY715" fmla="*/ 2071688 h 2476500"/>
                  <a:gd name="connsiteX716" fmla="*/ 20709 w 1757434"/>
                  <a:gd name="connsiteY716" fmla="*/ 2065338 h 2476500"/>
                  <a:gd name="connsiteX717" fmla="*/ 25472 w 1757434"/>
                  <a:gd name="connsiteY717" fmla="*/ 2052638 h 2476500"/>
                  <a:gd name="connsiteX718" fmla="*/ 19122 w 1757434"/>
                  <a:gd name="connsiteY718" fmla="*/ 2049463 h 2476500"/>
                  <a:gd name="connsiteX719" fmla="*/ 12772 w 1757434"/>
                  <a:gd name="connsiteY719" fmla="*/ 2047875 h 2476500"/>
                  <a:gd name="connsiteX720" fmla="*/ 15947 w 1757434"/>
                  <a:gd name="connsiteY720" fmla="*/ 2043113 h 2476500"/>
                  <a:gd name="connsiteX721" fmla="*/ 14359 w 1757434"/>
                  <a:gd name="connsiteY721" fmla="*/ 2036763 h 2476500"/>
                  <a:gd name="connsiteX722" fmla="*/ 30234 w 1757434"/>
                  <a:gd name="connsiteY722" fmla="*/ 2025650 h 2476500"/>
                  <a:gd name="connsiteX723" fmla="*/ 39759 w 1757434"/>
                  <a:gd name="connsiteY723" fmla="*/ 2030413 h 2476500"/>
                  <a:gd name="connsiteX724" fmla="*/ 42934 w 1757434"/>
                  <a:gd name="connsiteY724" fmla="*/ 2035175 h 2476500"/>
                  <a:gd name="connsiteX725" fmla="*/ 50872 w 1757434"/>
                  <a:gd name="connsiteY725" fmla="*/ 2036763 h 2476500"/>
                  <a:gd name="connsiteX726" fmla="*/ 58809 w 1757434"/>
                  <a:gd name="connsiteY726" fmla="*/ 2030413 h 2476500"/>
                  <a:gd name="connsiteX727" fmla="*/ 58809 w 1757434"/>
                  <a:gd name="connsiteY727" fmla="*/ 2014538 h 2476500"/>
                  <a:gd name="connsiteX728" fmla="*/ 50872 w 1757434"/>
                  <a:gd name="connsiteY728" fmla="*/ 2016125 h 2476500"/>
                  <a:gd name="connsiteX729" fmla="*/ 46109 w 1757434"/>
                  <a:gd name="connsiteY729" fmla="*/ 2022475 h 2476500"/>
                  <a:gd name="connsiteX730" fmla="*/ 34997 w 1757434"/>
                  <a:gd name="connsiteY730" fmla="*/ 2020888 h 2476500"/>
                  <a:gd name="connsiteX731" fmla="*/ 31822 w 1757434"/>
                  <a:gd name="connsiteY731" fmla="*/ 2014538 h 2476500"/>
                  <a:gd name="connsiteX732" fmla="*/ 49284 w 1757434"/>
                  <a:gd name="connsiteY732" fmla="*/ 1997075 h 2476500"/>
                  <a:gd name="connsiteX733" fmla="*/ 60397 w 1757434"/>
                  <a:gd name="connsiteY733" fmla="*/ 1992313 h 2476500"/>
                  <a:gd name="connsiteX734" fmla="*/ 50872 w 1757434"/>
                  <a:gd name="connsiteY734" fmla="*/ 1984375 h 2476500"/>
                  <a:gd name="connsiteX735" fmla="*/ 38172 w 1757434"/>
                  <a:gd name="connsiteY735" fmla="*/ 1985963 h 2476500"/>
                  <a:gd name="connsiteX736" fmla="*/ 41347 w 1757434"/>
                  <a:gd name="connsiteY736" fmla="*/ 1979613 h 2476500"/>
                  <a:gd name="connsiteX737" fmla="*/ 46109 w 1757434"/>
                  <a:gd name="connsiteY737" fmla="*/ 1968500 h 2476500"/>
                  <a:gd name="connsiteX738" fmla="*/ 38172 w 1757434"/>
                  <a:gd name="connsiteY738" fmla="*/ 1966913 h 2476500"/>
                  <a:gd name="connsiteX739" fmla="*/ 31822 w 1757434"/>
                  <a:gd name="connsiteY739" fmla="*/ 1968500 h 2476500"/>
                  <a:gd name="connsiteX740" fmla="*/ 33409 w 1757434"/>
                  <a:gd name="connsiteY740" fmla="*/ 1963738 h 2476500"/>
                  <a:gd name="connsiteX741" fmla="*/ 42934 w 1757434"/>
                  <a:gd name="connsiteY741" fmla="*/ 1952625 h 2476500"/>
                  <a:gd name="connsiteX742" fmla="*/ 30234 w 1757434"/>
                  <a:gd name="connsiteY742" fmla="*/ 1954213 h 2476500"/>
                  <a:gd name="connsiteX743" fmla="*/ 8009 w 1757434"/>
                  <a:gd name="connsiteY743" fmla="*/ 1958975 h 2476500"/>
                  <a:gd name="connsiteX744" fmla="*/ 4834 w 1757434"/>
                  <a:gd name="connsiteY744" fmla="*/ 1954213 h 2476500"/>
                  <a:gd name="connsiteX745" fmla="*/ 8009 w 1757434"/>
                  <a:gd name="connsiteY745" fmla="*/ 1920875 h 2476500"/>
                  <a:gd name="connsiteX746" fmla="*/ 11184 w 1757434"/>
                  <a:gd name="connsiteY746" fmla="*/ 1916113 h 2476500"/>
                  <a:gd name="connsiteX747" fmla="*/ 15947 w 1757434"/>
                  <a:gd name="connsiteY747" fmla="*/ 1914525 h 2476500"/>
                  <a:gd name="connsiteX748" fmla="*/ 20709 w 1757434"/>
                  <a:gd name="connsiteY748" fmla="*/ 1916113 h 2476500"/>
                  <a:gd name="connsiteX749" fmla="*/ 25472 w 1757434"/>
                  <a:gd name="connsiteY749" fmla="*/ 1919288 h 2476500"/>
                  <a:gd name="connsiteX750" fmla="*/ 34997 w 1757434"/>
                  <a:gd name="connsiteY750" fmla="*/ 1917700 h 2476500"/>
                  <a:gd name="connsiteX751" fmla="*/ 39759 w 1757434"/>
                  <a:gd name="connsiteY751" fmla="*/ 1914525 h 2476500"/>
                  <a:gd name="connsiteX752" fmla="*/ 49284 w 1757434"/>
                  <a:gd name="connsiteY752" fmla="*/ 1912938 h 2476500"/>
                  <a:gd name="connsiteX753" fmla="*/ 54047 w 1757434"/>
                  <a:gd name="connsiteY753" fmla="*/ 1911747 h 2476500"/>
                  <a:gd name="connsiteX754" fmla="*/ 58077 w 1757434"/>
                  <a:gd name="connsiteY754" fmla="*/ 1911839 h 2476500"/>
                  <a:gd name="connsiteX755" fmla="*/ 63572 w 1757434"/>
                  <a:gd name="connsiteY755" fmla="*/ 1912938 h 2476500"/>
                  <a:gd name="connsiteX756" fmla="*/ 66308 w 1757434"/>
                  <a:gd name="connsiteY756" fmla="*/ 1912026 h 2476500"/>
                  <a:gd name="connsiteX757" fmla="*/ 69847 w 1757434"/>
                  <a:gd name="connsiteY757" fmla="*/ 1912106 h 2476500"/>
                  <a:gd name="connsiteX758" fmla="*/ 74684 w 1757434"/>
                  <a:gd name="connsiteY758" fmla="*/ 1914525 h 2476500"/>
                  <a:gd name="connsiteX759" fmla="*/ 76272 w 1757434"/>
                  <a:gd name="connsiteY759" fmla="*/ 1922463 h 2476500"/>
                  <a:gd name="connsiteX760" fmla="*/ 81034 w 1757434"/>
                  <a:gd name="connsiteY760" fmla="*/ 1919288 h 2476500"/>
                  <a:gd name="connsiteX761" fmla="*/ 82622 w 1757434"/>
                  <a:gd name="connsiteY761" fmla="*/ 1914525 h 2476500"/>
                  <a:gd name="connsiteX762" fmla="*/ 84703 w 1757434"/>
                  <a:gd name="connsiteY762" fmla="*/ 1912444 h 2476500"/>
                  <a:gd name="connsiteX763" fmla="*/ 91336 w 1757434"/>
                  <a:gd name="connsiteY763" fmla="*/ 1912595 h 2476500"/>
                  <a:gd name="connsiteX764" fmla="*/ 90357 w 1757434"/>
                  <a:gd name="connsiteY764" fmla="*/ 1913487 h 2476500"/>
                  <a:gd name="connsiteX765" fmla="*/ 95322 w 1757434"/>
                  <a:gd name="connsiteY765" fmla="*/ 1920875 h 2476500"/>
                  <a:gd name="connsiteX766" fmla="*/ 104847 w 1757434"/>
                  <a:gd name="connsiteY766" fmla="*/ 1922463 h 2476500"/>
                  <a:gd name="connsiteX767" fmla="*/ 109609 w 1757434"/>
                  <a:gd name="connsiteY767" fmla="*/ 1925638 h 2476500"/>
                  <a:gd name="connsiteX768" fmla="*/ 114372 w 1757434"/>
                  <a:gd name="connsiteY768" fmla="*/ 1931988 h 2476500"/>
                  <a:gd name="connsiteX769" fmla="*/ 119134 w 1757434"/>
                  <a:gd name="connsiteY769" fmla="*/ 1930400 h 2476500"/>
                  <a:gd name="connsiteX770" fmla="*/ 136597 w 1757434"/>
                  <a:gd name="connsiteY770" fmla="*/ 1925638 h 2476500"/>
                  <a:gd name="connsiteX771" fmla="*/ 141359 w 1757434"/>
                  <a:gd name="connsiteY771" fmla="*/ 1919288 h 2476500"/>
                  <a:gd name="connsiteX772" fmla="*/ 142947 w 1757434"/>
                  <a:gd name="connsiteY772" fmla="*/ 1912938 h 2476500"/>
                  <a:gd name="connsiteX773" fmla="*/ 147709 w 1757434"/>
                  <a:gd name="connsiteY773" fmla="*/ 1909763 h 2476500"/>
                  <a:gd name="connsiteX774" fmla="*/ 149297 w 1757434"/>
                  <a:gd name="connsiteY774" fmla="*/ 1914525 h 2476500"/>
                  <a:gd name="connsiteX775" fmla="*/ 150884 w 1757434"/>
                  <a:gd name="connsiteY775" fmla="*/ 1924050 h 2476500"/>
                  <a:gd name="connsiteX776" fmla="*/ 157234 w 1757434"/>
                  <a:gd name="connsiteY776" fmla="*/ 1930400 h 2476500"/>
                  <a:gd name="connsiteX777" fmla="*/ 158822 w 1757434"/>
                  <a:gd name="connsiteY777" fmla="*/ 1935163 h 2476500"/>
                  <a:gd name="connsiteX778" fmla="*/ 161997 w 1757434"/>
                  <a:gd name="connsiteY778" fmla="*/ 1939925 h 2476500"/>
                  <a:gd name="connsiteX779" fmla="*/ 165172 w 1757434"/>
                  <a:gd name="connsiteY779" fmla="*/ 1951038 h 2476500"/>
                  <a:gd name="connsiteX780" fmla="*/ 171522 w 1757434"/>
                  <a:gd name="connsiteY780" fmla="*/ 1960563 h 2476500"/>
                  <a:gd name="connsiteX781" fmla="*/ 171522 w 1757434"/>
                  <a:gd name="connsiteY781" fmla="*/ 1963738 h 2476500"/>
                  <a:gd name="connsiteX782" fmla="*/ 174697 w 1757434"/>
                  <a:gd name="connsiteY782" fmla="*/ 1957388 h 2476500"/>
                  <a:gd name="connsiteX783" fmla="*/ 181047 w 1757434"/>
                  <a:gd name="connsiteY783" fmla="*/ 1955800 h 2476500"/>
                  <a:gd name="connsiteX784" fmla="*/ 193747 w 1757434"/>
                  <a:gd name="connsiteY784" fmla="*/ 1955800 h 2476500"/>
                  <a:gd name="connsiteX785" fmla="*/ 187397 w 1757434"/>
                  <a:gd name="connsiteY785" fmla="*/ 1952625 h 2476500"/>
                  <a:gd name="connsiteX786" fmla="*/ 176284 w 1757434"/>
                  <a:gd name="connsiteY786" fmla="*/ 1941513 h 2476500"/>
                  <a:gd name="connsiteX787" fmla="*/ 174697 w 1757434"/>
                  <a:gd name="connsiteY787" fmla="*/ 1935163 h 2476500"/>
                  <a:gd name="connsiteX788" fmla="*/ 169934 w 1757434"/>
                  <a:gd name="connsiteY788" fmla="*/ 1931988 h 2476500"/>
                  <a:gd name="connsiteX789" fmla="*/ 166759 w 1757434"/>
                  <a:gd name="connsiteY789" fmla="*/ 1927225 h 2476500"/>
                  <a:gd name="connsiteX790" fmla="*/ 169934 w 1757434"/>
                  <a:gd name="connsiteY790" fmla="*/ 1917700 h 2476500"/>
                  <a:gd name="connsiteX791" fmla="*/ 188984 w 1757434"/>
                  <a:gd name="connsiteY791" fmla="*/ 1924050 h 2476500"/>
                  <a:gd name="connsiteX792" fmla="*/ 198509 w 1757434"/>
                  <a:gd name="connsiteY792" fmla="*/ 1922463 h 2476500"/>
                  <a:gd name="connsiteX793" fmla="*/ 201684 w 1757434"/>
                  <a:gd name="connsiteY793" fmla="*/ 1909763 h 2476500"/>
                  <a:gd name="connsiteX794" fmla="*/ 204859 w 1757434"/>
                  <a:gd name="connsiteY794" fmla="*/ 1905000 h 2476500"/>
                  <a:gd name="connsiteX795" fmla="*/ 205654 w 1757434"/>
                  <a:gd name="connsiteY795" fmla="*/ 1896263 h 2476500"/>
                  <a:gd name="connsiteX796" fmla="*/ 213721 w 1757434"/>
                  <a:gd name="connsiteY796" fmla="*/ 1888139 h 2476500"/>
                  <a:gd name="connsiteX797" fmla="*/ 212797 w 1757434"/>
                  <a:gd name="connsiteY797" fmla="*/ 1865313 h 2476500"/>
                  <a:gd name="connsiteX798" fmla="*/ 211209 w 1757434"/>
                  <a:gd name="connsiteY798" fmla="*/ 1884363 h 2476500"/>
                  <a:gd name="connsiteX799" fmla="*/ 206447 w 1757434"/>
                  <a:gd name="connsiteY799" fmla="*/ 1887538 h 2476500"/>
                  <a:gd name="connsiteX800" fmla="*/ 205654 w 1757434"/>
                  <a:gd name="connsiteY800" fmla="*/ 1896263 h 2476500"/>
                  <a:gd name="connsiteX801" fmla="*/ 204859 w 1757434"/>
                  <a:gd name="connsiteY801" fmla="*/ 1897063 h 2476500"/>
                  <a:gd name="connsiteX802" fmla="*/ 198509 w 1757434"/>
                  <a:gd name="connsiteY802" fmla="*/ 1908175 h 2476500"/>
                  <a:gd name="connsiteX803" fmla="*/ 182634 w 1757434"/>
                  <a:gd name="connsiteY803" fmla="*/ 1911350 h 2476500"/>
                  <a:gd name="connsiteX804" fmla="*/ 161997 w 1757434"/>
                  <a:gd name="connsiteY804" fmla="*/ 1914525 h 2476500"/>
                  <a:gd name="connsiteX805" fmla="*/ 158822 w 1757434"/>
                  <a:gd name="connsiteY805" fmla="*/ 1909763 h 2476500"/>
                  <a:gd name="connsiteX806" fmla="*/ 146122 w 1757434"/>
                  <a:gd name="connsiteY806" fmla="*/ 1908175 h 2476500"/>
                  <a:gd name="connsiteX807" fmla="*/ 142947 w 1757434"/>
                  <a:gd name="connsiteY807" fmla="*/ 1900238 h 2476500"/>
                  <a:gd name="connsiteX808" fmla="*/ 145179 w 1757434"/>
                  <a:gd name="connsiteY808" fmla="*/ 1890564 h 2476500"/>
                  <a:gd name="connsiteX809" fmla="*/ 150884 w 1757434"/>
                  <a:gd name="connsiteY809" fmla="*/ 1878013 h 2476500"/>
                  <a:gd name="connsiteX810" fmla="*/ 152119 w 1757434"/>
                  <a:gd name="connsiteY810" fmla="*/ 1874309 h 2476500"/>
                  <a:gd name="connsiteX811" fmla="*/ 155647 w 1757434"/>
                  <a:gd name="connsiteY811" fmla="*/ 1870075 h 2476500"/>
                  <a:gd name="connsiteX812" fmla="*/ 157234 w 1757434"/>
                  <a:gd name="connsiteY812" fmla="*/ 1863725 h 2476500"/>
                  <a:gd name="connsiteX813" fmla="*/ 154059 w 1757434"/>
                  <a:gd name="connsiteY813" fmla="*/ 1868488 h 2476500"/>
                  <a:gd name="connsiteX814" fmla="*/ 152119 w 1757434"/>
                  <a:gd name="connsiteY814" fmla="*/ 1874309 h 2476500"/>
                  <a:gd name="connsiteX815" fmla="*/ 147709 w 1757434"/>
                  <a:gd name="connsiteY815" fmla="*/ 1879600 h 2476500"/>
                  <a:gd name="connsiteX816" fmla="*/ 145179 w 1757434"/>
                  <a:gd name="connsiteY816" fmla="*/ 1890564 h 2476500"/>
                  <a:gd name="connsiteX817" fmla="*/ 142947 w 1757434"/>
                  <a:gd name="connsiteY817" fmla="*/ 1895475 h 2476500"/>
                  <a:gd name="connsiteX818" fmla="*/ 135009 w 1757434"/>
                  <a:gd name="connsiteY818" fmla="*/ 1914525 h 2476500"/>
                  <a:gd name="connsiteX819" fmla="*/ 125484 w 1757434"/>
                  <a:gd name="connsiteY819" fmla="*/ 1922463 h 2476500"/>
                  <a:gd name="connsiteX820" fmla="*/ 119134 w 1757434"/>
                  <a:gd name="connsiteY820" fmla="*/ 1919288 h 2476500"/>
                  <a:gd name="connsiteX821" fmla="*/ 111197 w 1757434"/>
                  <a:gd name="connsiteY821" fmla="*/ 1914525 h 2476500"/>
                  <a:gd name="connsiteX822" fmla="*/ 106434 w 1757434"/>
                  <a:gd name="connsiteY822" fmla="*/ 1912938 h 2476500"/>
                  <a:gd name="connsiteX823" fmla="*/ 91336 w 1757434"/>
                  <a:gd name="connsiteY823" fmla="*/ 1912595 h 2476500"/>
                  <a:gd name="connsiteX824" fmla="*/ 92608 w 1757434"/>
                  <a:gd name="connsiteY824" fmla="*/ 1911436 h 2476500"/>
                  <a:gd name="connsiteX825" fmla="*/ 87384 w 1757434"/>
                  <a:gd name="connsiteY825" fmla="*/ 1909763 h 2476500"/>
                  <a:gd name="connsiteX826" fmla="*/ 84703 w 1757434"/>
                  <a:gd name="connsiteY826" fmla="*/ 1912444 h 2476500"/>
                  <a:gd name="connsiteX827" fmla="*/ 69847 w 1757434"/>
                  <a:gd name="connsiteY827" fmla="*/ 1912106 h 2476500"/>
                  <a:gd name="connsiteX828" fmla="*/ 68334 w 1757434"/>
                  <a:gd name="connsiteY828" fmla="*/ 1911350 h 2476500"/>
                  <a:gd name="connsiteX829" fmla="*/ 66308 w 1757434"/>
                  <a:gd name="connsiteY829" fmla="*/ 1912026 h 2476500"/>
                  <a:gd name="connsiteX830" fmla="*/ 58077 w 1757434"/>
                  <a:gd name="connsiteY830" fmla="*/ 1911839 h 2476500"/>
                  <a:gd name="connsiteX831" fmla="*/ 55634 w 1757434"/>
                  <a:gd name="connsiteY831" fmla="*/ 1911350 h 2476500"/>
                  <a:gd name="connsiteX832" fmla="*/ 54047 w 1757434"/>
                  <a:gd name="connsiteY832" fmla="*/ 1911747 h 2476500"/>
                  <a:gd name="connsiteX833" fmla="*/ 36584 w 1757434"/>
                  <a:gd name="connsiteY833" fmla="*/ 1911350 h 2476500"/>
                  <a:gd name="connsiteX834" fmla="*/ 30234 w 1757434"/>
                  <a:gd name="connsiteY834" fmla="*/ 1909763 h 2476500"/>
                  <a:gd name="connsiteX835" fmla="*/ 20709 w 1757434"/>
                  <a:gd name="connsiteY835" fmla="*/ 1909763 h 2476500"/>
                  <a:gd name="connsiteX836" fmla="*/ 15947 w 1757434"/>
                  <a:gd name="connsiteY836" fmla="*/ 1905000 h 2476500"/>
                  <a:gd name="connsiteX837" fmla="*/ 8009 w 1757434"/>
                  <a:gd name="connsiteY837" fmla="*/ 1905000 h 2476500"/>
                  <a:gd name="connsiteX838" fmla="*/ 12772 w 1757434"/>
                  <a:gd name="connsiteY838" fmla="*/ 1893888 h 2476500"/>
                  <a:gd name="connsiteX839" fmla="*/ 19122 w 1757434"/>
                  <a:gd name="connsiteY839" fmla="*/ 1881188 h 2476500"/>
                  <a:gd name="connsiteX840" fmla="*/ 20709 w 1757434"/>
                  <a:gd name="connsiteY840" fmla="*/ 1876425 h 2476500"/>
                  <a:gd name="connsiteX841" fmla="*/ 22297 w 1757434"/>
                  <a:gd name="connsiteY841" fmla="*/ 1863725 h 2476500"/>
                  <a:gd name="connsiteX842" fmla="*/ 27059 w 1757434"/>
                  <a:gd name="connsiteY842" fmla="*/ 1858963 h 2476500"/>
                  <a:gd name="connsiteX843" fmla="*/ 31822 w 1757434"/>
                  <a:gd name="connsiteY843" fmla="*/ 1862138 h 2476500"/>
                  <a:gd name="connsiteX844" fmla="*/ 39759 w 1757434"/>
                  <a:gd name="connsiteY844" fmla="*/ 1865313 h 2476500"/>
                  <a:gd name="connsiteX845" fmla="*/ 50872 w 1757434"/>
                  <a:gd name="connsiteY845" fmla="*/ 1870075 h 2476500"/>
                  <a:gd name="connsiteX846" fmla="*/ 71509 w 1757434"/>
                  <a:gd name="connsiteY846" fmla="*/ 1857375 h 2476500"/>
                  <a:gd name="connsiteX847" fmla="*/ 76272 w 1757434"/>
                  <a:gd name="connsiteY847" fmla="*/ 1855788 h 2476500"/>
                  <a:gd name="connsiteX848" fmla="*/ 52459 w 1757434"/>
                  <a:gd name="connsiteY848" fmla="*/ 1855788 h 2476500"/>
                  <a:gd name="connsiteX849" fmla="*/ 44522 w 1757434"/>
                  <a:gd name="connsiteY849" fmla="*/ 1852613 h 2476500"/>
                  <a:gd name="connsiteX850" fmla="*/ 38172 w 1757434"/>
                  <a:gd name="connsiteY850" fmla="*/ 1838325 h 2476500"/>
                  <a:gd name="connsiteX851" fmla="*/ 25472 w 1757434"/>
                  <a:gd name="connsiteY851" fmla="*/ 1831975 h 2476500"/>
                  <a:gd name="connsiteX852" fmla="*/ 27059 w 1757434"/>
                  <a:gd name="connsiteY852" fmla="*/ 1827213 h 2476500"/>
                  <a:gd name="connsiteX853" fmla="*/ 38172 w 1757434"/>
                  <a:gd name="connsiteY853" fmla="*/ 1817688 h 2476500"/>
                  <a:gd name="connsiteX854" fmla="*/ 34997 w 1757434"/>
                  <a:gd name="connsiteY854" fmla="*/ 1812925 h 2476500"/>
                  <a:gd name="connsiteX855" fmla="*/ 31822 w 1757434"/>
                  <a:gd name="connsiteY855" fmla="*/ 1806575 h 2476500"/>
                  <a:gd name="connsiteX856" fmla="*/ 23884 w 1757434"/>
                  <a:gd name="connsiteY856" fmla="*/ 1808163 h 2476500"/>
                  <a:gd name="connsiteX857" fmla="*/ 17534 w 1757434"/>
                  <a:gd name="connsiteY857" fmla="*/ 1811338 h 2476500"/>
                  <a:gd name="connsiteX858" fmla="*/ 25472 w 1757434"/>
                  <a:gd name="connsiteY858" fmla="*/ 1798638 h 2476500"/>
                  <a:gd name="connsiteX859" fmla="*/ 20709 w 1757434"/>
                  <a:gd name="connsiteY859" fmla="*/ 1790700 h 2476500"/>
                  <a:gd name="connsiteX860" fmla="*/ 17534 w 1757434"/>
                  <a:gd name="connsiteY860" fmla="*/ 1785938 h 2476500"/>
                  <a:gd name="connsiteX861" fmla="*/ 19122 w 1757434"/>
                  <a:gd name="connsiteY861" fmla="*/ 1781175 h 2476500"/>
                  <a:gd name="connsiteX862" fmla="*/ 20709 w 1757434"/>
                  <a:gd name="connsiteY862" fmla="*/ 1770063 h 2476500"/>
                  <a:gd name="connsiteX863" fmla="*/ 23884 w 1757434"/>
                  <a:gd name="connsiteY863" fmla="*/ 1776413 h 2476500"/>
                  <a:gd name="connsiteX864" fmla="*/ 33409 w 1757434"/>
                  <a:gd name="connsiteY864" fmla="*/ 1782763 h 2476500"/>
                  <a:gd name="connsiteX865" fmla="*/ 41347 w 1757434"/>
                  <a:gd name="connsiteY865" fmla="*/ 1762125 h 2476500"/>
                  <a:gd name="connsiteX866" fmla="*/ 47697 w 1757434"/>
                  <a:gd name="connsiteY866" fmla="*/ 1763713 h 2476500"/>
                  <a:gd name="connsiteX867" fmla="*/ 55634 w 1757434"/>
                  <a:gd name="connsiteY867" fmla="*/ 1766888 h 2476500"/>
                  <a:gd name="connsiteX868" fmla="*/ 60397 w 1757434"/>
                  <a:gd name="connsiteY868" fmla="*/ 1763713 h 2476500"/>
                  <a:gd name="connsiteX869" fmla="*/ 63822 w 1757434"/>
                  <a:gd name="connsiteY869" fmla="*/ 1764461 h 2476500"/>
                  <a:gd name="connsiteX870" fmla="*/ 65159 w 1757434"/>
                  <a:gd name="connsiteY870" fmla="*/ 1773238 h 2476500"/>
                  <a:gd name="connsiteX871" fmla="*/ 73357 w 1757434"/>
                  <a:gd name="connsiteY871" fmla="*/ 1774356 h 2476500"/>
                  <a:gd name="connsiteX872" fmla="*/ 76272 w 1757434"/>
                  <a:gd name="connsiteY872" fmla="*/ 1778000 h 2476500"/>
                  <a:gd name="connsiteX873" fmla="*/ 85797 w 1757434"/>
                  <a:gd name="connsiteY873" fmla="*/ 1781175 h 2476500"/>
                  <a:gd name="connsiteX874" fmla="*/ 90559 w 1757434"/>
                  <a:gd name="connsiteY874" fmla="*/ 1782763 h 2476500"/>
                  <a:gd name="connsiteX875" fmla="*/ 103259 w 1757434"/>
                  <a:gd name="connsiteY875" fmla="*/ 1781175 h 2476500"/>
                  <a:gd name="connsiteX876" fmla="*/ 104847 w 1757434"/>
                  <a:gd name="connsiteY876" fmla="*/ 1785938 h 2476500"/>
                  <a:gd name="connsiteX877" fmla="*/ 109609 w 1757434"/>
                  <a:gd name="connsiteY877" fmla="*/ 1789113 h 2476500"/>
                  <a:gd name="connsiteX878" fmla="*/ 106434 w 1757434"/>
                  <a:gd name="connsiteY878" fmla="*/ 1800225 h 2476500"/>
                  <a:gd name="connsiteX879" fmla="*/ 111197 w 1757434"/>
                  <a:gd name="connsiteY879" fmla="*/ 1792288 h 2476500"/>
                  <a:gd name="connsiteX880" fmla="*/ 117547 w 1757434"/>
                  <a:gd name="connsiteY880" fmla="*/ 1793875 h 2476500"/>
                  <a:gd name="connsiteX881" fmla="*/ 123897 w 1757434"/>
                  <a:gd name="connsiteY881" fmla="*/ 1797050 h 2476500"/>
                  <a:gd name="connsiteX882" fmla="*/ 125484 w 1757434"/>
                  <a:gd name="connsiteY882" fmla="*/ 1789113 h 2476500"/>
                  <a:gd name="connsiteX883" fmla="*/ 135009 w 1757434"/>
                  <a:gd name="connsiteY883" fmla="*/ 1793875 h 2476500"/>
                  <a:gd name="connsiteX884" fmla="*/ 142947 w 1757434"/>
                  <a:gd name="connsiteY884" fmla="*/ 1792288 h 2476500"/>
                  <a:gd name="connsiteX885" fmla="*/ 147709 w 1757434"/>
                  <a:gd name="connsiteY885" fmla="*/ 1787525 h 2476500"/>
                  <a:gd name="connsiteX886" fmla="*/ 152472 w 1757434"/>
                  <a:gd name="connsiteY886" fmla="*/ 1778000 h 2476500"/>
                  <a:gd name="connsiteX887" fmla="*/ 160409 w 1757434"/>
                  <a:gd name="connsiteY887" fmla="*/ 1773238 h 2476500"/>
                  <a:gd name="connsiteX888" fmla="*/ 165172 w 1757434"/>
                  <a:gd name="connsiteY888" fmla="*/ 1771650 h 2476500"/>
                  <a:gd name="connsiteX889" fmla="*/ 149297 w 1757434"/>
                  <a:gd name="connsiteY889" fmla="*/ 1776413 h 2476500"/>
                  <a:gd name="connsiteX890" fmla="*/ 142947 w 1757434"/>
                  <a:gd name="connsiteY890" fmla="*/ 1778000 h 2476500"/>
                  <a:gd name="connsiteX891" fmla="*/ 135009 w 1757434"/>
                  <a:gd name="connsiteY891" fmla="*/ 1781175 h 2476500"/>
                  <a:gd name="connsiteX892" fmla="*/ 122309 w 1757434"/>
                  <a:gd name="connsiteY892" fmla="*/ 1784350 h 2476500"/>
                  <a:gd name="connsiteX893" fmla="*/ 117547 w 1757434"/>
                  <a:gd name="connsiteY893" fmla="*/ 1785938 h 2476500"/>
                  <a:gd name="connsiteX894" fmla="*/ 112784 w 1757434"/>
                  <a:gd name="connsiteY894" fmla="*/ 1781175 h 2476500"/>
                  <a:gd name="connsiteX895" fmla="*/ 100084 w 1757434"/>
                  <a:gd name="connsiteY895" fmla="*/ 1778000 h 2476500"/>
                  <a:gd name="connsiteX896" fmla="*/ 73357 w 1757434"/>
                  <a:gd name="connsiteY896" fmla="*/ 1774356 h 2476500"/>
                  <a:gd name="connsiteX897" fmla="*/ 69922 w 1757434"/>
                  <a:gd name="connsiteY897" fmla="*/ 1770063 h 2476500"/>
                  <a:gd name="connsiteX898" fmla="*/ 66515 w 1757434"/>
                  <a:gd name="connsiteY898" fmla="*/ 1765049 h 2476500"/>
                  <a:gd name="connsiteX899" fmla="*/ 63822 w 1757434"/>
                  <a:gd name="connsiteY899" fmla="*/ 1764461 h 2476500"/>
                  <a:gd name="connsiteX900" fmla="*/ 63141 w 1757434"/>
                  <a:gd name="connsiteY900" fmla="*/ 1759987 h 2476500"/>
                  <a:gd name="connsiteX901" fmla="*/ 55634 w 1757434"/>
                  <a:gd name="connsiteY901" fmla="*/ 1757363 h 2476500"/>
                  <a:gd name="connsiteX902" fmla="*/ 50872 w 1757434"/>
                  <a:gd name="connsiteY902" fmla="*/ 1755775 h 2476500"/>
                  <a:gd name="connsiteX903" fmla="*/ 52459 w 1757434"/>
                  <a:gd name="connsiteY903" fmla="*/ 1747838 h 2476500"/>
                  <a:gd name="connsiteX904" fmla="*/ 57222 w 1757434"/>
                  <a:gd name="connsiteY904" fmla="*/ 1730375 h 2476500"/>
                  <a:gd name="connsiteX905" fmla="*/ 61984 w 1757434"/>
                  <a:gd name="connsiteY905" fmla="*/ 1728788 h 2476500"/>
                  <a:gd name="connsiteX906" fmla="*/ 66747 w 1757434"/>
                  <a:gd name="connsiteY906" fmla="*/ 1725613 h 2476500"/>
                  <a:gd name="connsiteX907" fmla="*/ 85858 w 1757434"/>
                  <a:gd name="connsiteY907" fmla="*/ 1728161 h 2476500"/>
                  <a:gd name="connsiteX908" fmla="*/ 85797 w 1757434"/>
                  <a:gd name="connsiteY908" fmla="*/ 1728788 h 2476500"/>
                  <a:gd name="connsiteX909" fmla="*/ 91858 w 1757434"/>
                  <a:gd name="connsiteY909" fmla="*/ 1729654 h 2476500"/>
                  <a:gd name="connsiteX910" fmla="*/ 95322 w 1757434"/>
                  <a:gd name="connsiteY910" fmla="*/ 1731963 h 2476500"/>
                  <a:gd name="connsiteX911" fmla="*/ 103259 w 1757434"/>
                  <a:gd name="connsiteY911" fmla="*/ 1733550 h 2476500"/>
                  <a:gd name="connsiteX912" fmla="*/ 115959 w 1757434"/>
                  <a:gd name="connsiteY912" fmla="*/ 1749425 h 2476500"/>
                  <a:gd name="connsiteX913" fmla="*/ 115959 w 1757434"/>
                  <a:gd name="connsiteY913" fmla="*/ 1733550 h 2476500"/>
                  <a:gd name="connsiteX914" fmla="*/ 108022 w 1757434"/>
                  <a:gd name="connsiteY914" fmla="*/ 1731963 h 2476500"/>
                  <a:gd name="connsiteX915" fmla="*/ 91858 w 1757434"/>
                  <a:gd name="connsiteY915" fmla="*/ 1729654 h 2476500"/>
                  <a:gd name="connsiteX916" fmla="*/ 90559 w 1757434"/>
                  <a:gd name="connsiteY916" fmla="*/ 1728788 h 2476500"/>
                  <a:gd name="connsiteX917" fmla="*/ 85858 w 1757434"/>
                  <a:gd name="connsiteY917" fmla="*/ 1728161 h 2476500"/>
                  <a:gd name="connsiteX918" fmla="*/ 87655 w 1757434"/>
                  <a:gd name="connsiteY918" fmla="*/ 1709614 h 2476500"/>
                  <a:gd name="connsiteX919" fmla="*/ 92147 w 1757434"/>
                  <a:gd name="connsiteY919" fmla="*/ 1695450 h 2476500"/>
                  <a:gd name="connsiteX920" fmla="*/ 95322 w 1757434"/>
                  <a:gd name="connsiteY920" fmla="*/ 1687513 h 2476500"/>
                  <a:gd name="connsiteX921" fmla="*/ 104847 w 1757434"/>
                  <a:gd name="connsiteY921" fmla="*/ 1685925 h 2476500"/>
                  <a:gd name="connsiteX922" fmla="*/ 114372 w 1757434"/>
                  <a:gd name="connsiteY922" fmla="*/ 1682750 h 2476500"/>
                  <a:gd name="connsiteX923" fmla="*/ 125484 w 1757434"/>
                  <a:gd name="connsiteY923" fmla="*/ 1689100 h 2476500"/>
                  <a:gd name="connsiteX924" fmla="*/ 131834 w 1757434"/>
                  <a:gd name="connsiteY924" fmla="*/ 1698625 h 2476500"/>
                  <a:gd name="connsiteX925" fmla="*/ 135009 w 1757434"/>
                  <a:gd name="connsiteY925" fmla="*/ 1704975 h 2476500"/>
                  <a:gd name="connsiteX926" fmla="*/ 141359 w 1757434"/>
                  <a:gd name="connsiteY926" fmla="*/ 1709738 h 2476500"/>
                  <a:gd name="connsiteX927" fmla="*/ 144534 w 1757434"/>
                  <a:gd name="connsiteY927" fmla="*/ 1716088 h 2476500"/>
                  <a:gd name="connsiteX928" fmla="*/ 146122 w 1757434"/>
                  <a:gd name="connsiteY928" fmla="*/ 1720850 h 2476500"/>
                  <a:gd name="connsiteX929" fmla="*/ 151386 w 1757434"/>
                  <a:gd name="connsiteY929" fmla="*/ 1724667 h 2476500"/>
                  <a:gd name="connsiteX930" fmla="*/ 152472 w 1757434"/>
                  <a:gd name="connsiteY930" fmla="*/ 1727200 h 2476500"/>
                  <a:gd name="connsiteX931" fmla="*/ 157234 w 1757434"/>
                  <a:gd name="connsiteY931" fmla="*/ 1731963 h 2476500"/>
                  <a:gd name="connsiteX932" fmla="*/ 155647 w 1757434"/>
                  <a:gd name="connsiteY932" fmla="*/ 1727200 h 2476500"/>
                  <a:gd name="connsiteX933" fmla="*/ 151896 w 1757434"/>
                  <a:gd name="connsiteY933" fmla="*/ 1725037 h 2476500"/>
                  <a:gd name="connsiteX934" fmla="*/ 151386 w 1757434"/>
                  <a:gd name="connsiteY934" fmla="*/ 1724667 h 2476500"/>
                  <a:gd name="connsiteX935" fmla="*/ 147709 w 1757434"/>
                  <a:gd name="connsiteY935" fmla="*/ 1716088 h 2476500"/>
                  <a:gd name="connsiteX936" fmla="*/ 142947 w 1757434"/>
                  <a:gd name="connsiteY936" fmla="*/ 1703388 h 2476500"/>
                  <a:gd name="connsiteX937" fmla="*/ 144534 w 1757434"/>
                  <a:gd name="connsiteY937" fmla="*/ 1692275 h 2476500"/>
                  <a:gd name="connsiteX938" fmla="*/ 154059 w 1757434"/>
                  <a:gd name="connsiteY938" fmla="*/ 1682750 h 2476500"/>
                  <a:gd name="connsiteX939" fmla="*/ 161997 w 1757434"/>
                  <a:gd name="connsiteY939" fmla="*/ 1687513 h 2476500"/>
                  <a:gd name="connsiteX940" fmla="*/ 181047 w 1757434"/>
                  <a:gd name="connsiteY940" fmla="*/ 1693863 h 2476500"/>
                  <a:gd name="connsiteX941" fmla="*/ 184222 w 1757434"/>
                  <a:gd name="connsiteY941" fmla="*/ 1731963 h 2476500"/>
                  <a:gd name="connsiteX942" fmla="*/ 187397 w 1757434"/>
                  <a:gd name="connsiteY942" fmla="*/ 1743075 h 2476500"/>
                  <a:gd name="connsiteX943" fmla="*/ 192159 w 1757434"/>
                  <a:gd name="connsiteY943" fmla="*/ 1720850 h 2476500"/>
                  <a:gd name="connsiteX944" fmla="*/ 200731 w 1757434"/>
                  <a:gd name="connsiteY944" fmla="*/ 1715135 h 2476500"/>
                  <a:gd name="connsiteX945" fmla="*/ 211209 w 1757434"/>
                  <a:gd name="connsiteY945" fmla="*/ 1716088 h 2476500"/>
                  <a:gd name="connsiteX946" fmla="*/ 201684 w 1757434"/>
                  <a:gd name="connsiteY946" fmla="*/ 1714500 h 2476500"/>
                  <a:gd name="connsiteX947" fmla="*/ 200731 w 1757434"/>
                  <a:gd name="connsiteY947" fmla="*/ 1715135 h 2476500"/>
                  <a:gd name="connsiteX948" fmla="*/ 193747 w 1757434"/>
                  <a:gd name="connsiteY948" fmla="*/ 1714500 h 2476500"/>
                  <a:gd name="connsiteX949" fmla="*/ 192159 w 1757434"/>
                  <a:gd name="connsiteY949" fmla="*/ 1708150 h 2476500"/>
                  <a:gd name="connsiteX950" fmla="*/ 185809 w 1757434"/>
                  <a:gd name="connsiteY950" fmla="*/ 1693863 h 2476500"/>
                  <a:gd name="connsiteX951" fmla="*/ 182634 w 1757434"/>
                  <a:gd name="connsiteY951" fmla="*/ 1685925 h 2476500"/>
                  <a:gd name="connsiteX952" fmla="*/ 177872 w 1757434"/>
                  <a:gd name="connsiteY952" fmla="*/ 1682750 h 2476500"/>
                  <a:gd name="connsiteX953" fmla="*/ 171522 w 1757434"/>
                  <a:gd name="connsiteY953" fmla="*/ 1677988 h 2476500"/>
                  <a:gd name="connsiteX954" fmla="*/ 139772 w 1757434"/>
                  <a:gd name="connsiteY954" fmla="*/ 1673225 h 2476500"/>
                  <a:gd name="connsiteX955" fmla="*/ 138184 w 1757434"/>
                  <a:gd name="connsiteY955" fmla="*/ 1665288 h 2476500"/>
                  <a:gd name="connsiteX956" fmla="*/ 144534 w 1757434"/>
                  <a:gd name="connsiteY956" fmla="*/ 1651000 h 2476500"/>
                  <a:gd name="connsiteX957" fmla="*/ 150884 w 1757434"/>
                  <a:gd name="connsiteY957" fmla="*/ 1649413 h 2476500"/>
                  <a:gd name="connsiteX958" fmla="*/ 158822 w 1757434"/>
                  <a:gd name="connsiteY958" fmla="*/ 1646238 h 2476500"/>
                  <a:gd name="connsiteX959" fmla="*/ 163584 w 1757434"/>
                  <a:gd name="connsiteY959" fmla="*/ 1644650 h 2476500"/>
                  <a:gd name="connsiteX960" fmla="*/ 169934 w 1757434"/>
                  <a:gd name="connsiteY960" fmla="*/ 1631950 h 2476500"/>
                  <a:gd name="connsiteX961" fmla="*/ 174697 w 1757434"/>
                  <a:gd name="connsiteY961" fmla="*/ 1630363 h 2476500"/>
                  <a:gd name="connsiteX962" fmla="*/ 192159 w 1757434"/>
                  <a:gd name="connsiteY962" fmla="*/ 1635125 h 2476500"/>
                  <a:gd name="connsiteX963" fmla="*/ 196922 w 1757434"/>
                  <a:gd name="connsiteY963" fmla="*/ 1639888 h 2476500"/>
                  <a:gd name="connsiteX964" fmla="*/ 204859 w 1757434"/>
                  <a:gd name="connsiteY964" fmla="*/ 1644650 h 2476500"/>
                  <a:gd name="connsiteX965" fmla="*/ 214384 w 1757434"/>
                  <a:gd name="connsiteY965" fmla="*/ 1647825 h 2476500"/>
                  <a:gd name="connsiteX966" fmla="*/ 219147 w 1757434"/>
                  <a:gd name="connsiteY966" fmla="*/ 1649413 h 2476500"/>
                  <a:gd name="connsiteX967" fmla="*/ 223909 w 1757434"/>
                  <a:gd name="connsiteY967" fmla="*/ 1658938 h 2476500"/>
                  <a:gd name="connsiteX968" fmla="*/ 246134 w 1757434"/>
                  <a:gd name="connsiteY968" fmla="*/ 1660525 h 2476500"/>
                  <a:gd name="connsiteX969" fmla="*/ 242959 w 1757434"/>
                  <a:gd name="connsiteY969" fmla="*/ 1654175 h 2476500"/>
                  <a:gd name="connsiteX970" fmla="*/ 238197 w 1757434"/>
                  <a:gd name="connsiteY970" fmla="*/ 1649413 h 2476500"/>
                  <a:gd name="connsiteX971" fmla="*/ 246134 w 1757434"/>
                  <a:gd name="connsiteY971" fmla="*/ 1625600 h 2476500"/>
                  <a:gd name="connsiteX972" fmla="*/ 252484 w 1757434"/>
                  <a:gd name="connsiteY972" fmla="*/ 1622425 h 2476500"/>
                  <a:gd name="connsiteX973" fmla="*/ 258834 w 1757434"/>
                  <a:gd name="connsiteY973" fmla="*/ 1627188 h 2476500"/>
                  <a:gd name="connsiteX974" fmla="*/ 271534 w 1757434"/>
                  <a:gd name="connsiteY974" fmla="*/ 1639888 h 2476500"/>
                  <a:gd name="connsiteX975" fmla="*/ 277884 w 1757434"/>
                  <a:gd name="connsiteY975" fmla="*/ 1641475 h 2476500"/>
                  <a:gd name="connsiteX976" fmla="*/ 284234 w 1757434"/>
                  <a:gd name="connsiteY976" fmla="*/ 1624013 h 2476500"/>
                  <a:gd name="connsiteX977" fmla="*/ 284967 w 1757434"/>
                  <a:gd name="connsiteY977" fmla="*/ 1623769 h 2476500"/>
                  <a:gd name="connsiteX978" fmla="*/ 288997 w 1757434"/>
                  <a:gd name="connsiteY978" fmla="*/ 1627188 h 2476500"/>
                  <a:gd name="connsiteX979" fmla="*/ 300109 w 1757434"/>
                  <a:gd name="connsiteY979" fmla="*/ 1631950 h 2476500"/>
                  <a:gd name="connsiteX980" fmla="*/ 308047 w 1757434"/>
                  <a:gd name="connsiteY980" fmla="*/ 1633538 h 2476500"/>
                  <a:gd name="connsiteX981" fmla="*/ 319159 w 1757434"/>
                  <a:gd name="connsiteY981" fmla="*/ 1631950 h 2476500"/>
                  <a:gd name="connsiteX982" fmla="*/ 314397 w 1757434"/>
                  <a:gd name="connsiteY982" fmla="*/ 1628775 h 2476500"/>
                  <a:gd name="connsiteX983" fmla="*/ 288997 w 1757434"/>
                  <a:gd name="connsiteY983" fmla="*/ 1622425 h 2476500"/>
                  <a:gd name="connsiteX984" fmla="*/ 284967 w 1757434"/>
                  <a:gd name="connsiteY984" fmla="*/ 1623769 h 2476500"/>
                  <a:gd name="connsiteX985" fmla="*/ 283600 w 1757434"/>
                  <a:gd name="connsiteY985" fmla="*/ 1622609 h 2476500"/>
                  <a:gd name="connsiteX986" fmla="*/ 277884 w 1757434"/>
                  <a:gd name="connsiteY986" fmla="*/ 1619250 h 2476500"/>
                  <a:gd name="connsiteX987" fmla="*/ 265184 w 1757434"/>
                  <a:gd name="connsiteY987" fmla="*/ 1622425 h 2476500"/>
                  <a:gd name="connsiteX988" fmla="*/ 242959 w 1757434"/>
                  <a:gd name="connsiteY988" fmla="*/ 1619250 h 2476500"/>
                  <a:gd name="connsiteX989" fmla="*/ 217559 w 1757434"/>
                  <a:gd name="connsiteY989" fmla="*/ 1622425 h 2476500"/>
                  <a:gd name="connsiteX990" fmla="*/ 204859 w 1757434"/>
                  <a:gd name="connsiteY990" fmla="*/ 1625600 h 2476500"/>
                  <a:gd name="connsiteX991" fmla="*/ 182634 w 1757434"/>
                  <a:gd name="connsiteY991" fmla="*/ 1627188 h 2476500"/>
                  <a:gd name="connsiteX992" fmla="*/ 188984 w 1757434"/>
                  <a:gd name="connsiteY992" fmla="*/ 1624013 h 2476500"/>
                  <a:gd name="connsiteX993" fmla="*/ 190572 w 1757434"/>
                  <a:gd name="connsiteY993" fmla="*/ 1617663 h 2476500"/>
                  <a:gd name="connsiteX994" fmla="*/ 192159 w 1757434"/>
                  <a:gd name="connsiteY994" fmla="*/ 1585913 h 2476500"/>
                  <a:gd name="connsiteX995" fmla="*/ 204859 w 1757434"/>
                  <a:gd name="connsiteY995" fmla="*/ 1577975 h 2476500"/>
                  <a:gd name="connsiteX996" fmla="*/ 215972 w 1757434"/>
                  <a:gd name="connsiteY996" fmla="*/ 1581150 h 2476500"/>
                  <a:gd name="connsiteX997" fmla="*/ 219147 w 1757434"/>
                  <a:gd name="connsiteY997" fmla="*/ 1587500 h 2476500"/>
                  <a:gd name="connsiteX998" fmla="*/ 223909 w 1757434"/>
                  <a:gd name="connsiteY998" fmla="*/ 1590675 h 2476500"/>
                  <a:gd name="connsiteX999" fmla="*/ 231847 w 1757434"/>
                  <a:gd name="connsiteY999" fmla="*/ 1589088 h 2476500"/>
                  <a:gd name="connsiteX1000" fmla="*/ 255659 w 1757434"/>
                  <a:gd name="connsiteY1000" fmla="*/ 1585913 h 2476500"/>
                  <a:gd name="connsiteX1001" fmla="*/ 265184 w 1757434"/>
                  <a:gd name="connsiteY1001" fmla="*/ 1587500 h 2476500"/>
                  <a:gd name="connsiteX1002" fmla="*/ 285822 w 1757434"/>
                  <a:gd name="connsiteY1002" fmla="*/ 1589088 h 2476500"/>
                  <a:gd name="connsiteX1003" fmla="*/ 288997 w 1757434"/>
                  <a:gd name="connsiteY1003" fmla="*/ 1598613 h 2476500"/>
                  <a:gd name="connsiteX1004" fmla="*/ 298522 w 1757434"/>
                  <a:gd name="connsiteY1004" fmla="*/ 1604963 h 2476500"/>
                  <a:gd name="connsiteX1005" fmla="*/ 319159 w 1757434"/>
                  <a:gd name="connsiteY1005" fmla="*/ 1603375 h 2476500"/>
                  <a:gd name="connsiteX1006" fmla="*/ 325509 w 1757434"/>
                  <a:gd name="connsiteY1006" fmla="*/ 1601788 h 2476500"/>
                  <a:gd name="connsiteX1007" fmla="*/ 306459 w 1757434"/>
                  <a:gd name="connsiteY1007" fmla="*/ 1600200 h 2476500"/>
                  <a:gd name="connsiteX1008" fmla="*/ 304872 w 1757434"/>
                  <a:gd name="connsiteY1008" fmla="*/ 1592263 h 2476500"/>
                  <a:gd name="connsiteX1009" fmla="*/ 300109 w 1757434"/>
                  <a:gd name="connsiteY1009" fmla="*/ 1589088 h 2476500"/>
                  <a:gd name="connsiteX1010" fmla="*/ 290584 w 1757434"/>
                  <a:gd name="connsiteY1010" fmla="*/ 1584325 h 2476500"/>
                  <a:gd name="connsiteX1011" fmla="*/ 263597 w 1757434"/>
                  <a:gd name="connsiteY1011" fmla="*/ 1577975 h 2476500"/>
                  <a:gd name="connsiteX1012" fmla="*/ 265184 w 1757434"/>
                  <a:gd name="connsiteY1012" fmla="*/ 1563688 h 2476500"/>
                  <a:gd name="connsiteX1013" fmla="*/ 293759 w 1757434"/>
                  <a:gd name="connsiteY1013" fmla="*/ 1570038 h 2476500"/>
                  <a:gd name="connsiteX1014" fmla="*/ 303284 w 1757434"/>
                  <a:gd name="connsiteY1014" fmla="*/ 1568450 h 2476500"/>
                  <a:gd name="connsiteX1015" fmla="*/ 311222 w 1757434"/>
                  <a:gd name="connsiteY1015" fmla="*/ 1566863 h 2476500"/>
                  <a:gd name="connsiteX1016" fmla="*/ 296934 w 1757434"/>
                  <a:gd name="connsiteY1016" fmla="*/ 1565275 h 2476500"/>
                  <a:gd name="connsiteX1017" fmla="*/ 298522 w 1757434"/>
                  <a:gd name="connsiteY1017" fmla="*/ 1549400 h 2476500"/>
                  <a:gd name="connsiteX1018" fmla="*/ 309634 w 1757434"/>
                  <a:gd name="connsiteY1018" fmla="*/ 1546225 h 2476500"/>
                  <a:gd name="connsiteX1019" fmla="*/ 339797 w 1757434"/>
                  <a:gd name="connsiteY1019" fmla="*/ 1544638 h 2476500"/>
                  <a:gd name="connsiteX1020" fmla="*/ 336622 w 1757434"/>
                  <a:gd name="connsiteY1020" fmla="*/ 1527175 h 2476500"/>
                  <a:gd name="connsiteX1021" fmla="*/ 342972 w 1757434"/>
                  <a:gd name="connsiteY1021" fmla="*/ 1522413 h 2476500"/>
                  <a:gd name="connsiteX1022" fmla="*/ 350909 w 1757434"/>
                  <a:gd name="connsiteY1022" fmla="*/ 1520825 h 2476500"/>
                  <a:gd name="connsiteX1023" fmla="*/ 355672 w 1757434"/>
                  <a:gd name="connsiteY1023" fmla="*/ 1519238 h 2476500"/>
                  <a:gd name="connsiteX1024" fmla="*/ 371547 w 1757434"/>
                  <a:gd name="connsiteY1024" fmla="*/ 1512888 h 2476500"/>
                  <a:gd name="connsiteX1025" fmla="*/ 384247 w 1757434"/>
                  <a:gd name="connsiteY1025" fmla="*/ 1524000 h 2476500"/>
                  <a:gd name="connsiteX1026" fmla="*/ 377897 w 1757434"/>
                  <a:gd name="connsiteY1026" fmla="*/ 1522413 h 2476500"/>
                  <a:gd name="connsiteX1027" fmla="*/ 379484 w 1757434"/>
                  <a:gd name="connsiteY1027" fmla="*/ 1508125 h 2476500"/>
                  <a:gd name="connsiteX1028" fmla="*/ 381072 w 1757434"/>
                  <a:gd name="connsiteY1028" fmla="*/ 1503363 h 2476500"/>
                  <a:gd name="connsiteX1029" fmla="*/ 382659 w 1757434"/>
                  <a:gd name="connsiteY1029" fmla="*/ 1490663 h 2476500"/>
                  <a:gd name="connsiteX1030" fmla="*/ 387422 w 1757434"/>
                  <a:gd name="connsiteY1030" fmla="*/ 1485900 h 2476500"/>
                  <a:gd name="connsiteX1031" fmla="*/ 395359 w 1757434"/>
                  <a:gd name="connsiteY1031" fmla="*/ 1484313 h 2476500"/>
                  <a:gd name="connsiteX1032" fmla="*/ 406472 w 1757434"/>
                  <a:gd name="connsiteY1032" fmla="*/ 1481138 h 2476500"/>
                  <a:gd name="connsiteX1033" fmla="*/ 422347 w 1757434"/>
                  <a:gd name="connsiteY1033" fmla="*/ 1479550 h 2476500"/>
                  <a:gd name="connsiteX1034" fmla="*/ 425522 w 1757434"/>
                  <a:gd name="connsiteY1034" fmla="*/ 1485900 h 2476500"/>
                  <a:gd name="connsiteX1035" fmla="*/ 426535 w 1757434"/>
                  <a:gd name="connsiteY1035" fmla="*/ 1486660 h 2476500"/>
                  <a:gd name="connsiteX1036" fmla="*/ 425656 w 1757434"/>
                  <a:gd name="connsiteY1036" fmla="*/ 1480532 h 2476500"/>
                  <a:gd name="connsiteX1037" fmla="*/ 427109 w 1757434"/>
                  <a:gd name="connsiteY1037" fmla="*/ 1470025 h 2476500"/>
                  <a:gd name="connsiteX1038" fmla="*/ 431872 w 1757434"/>
                  <a:gd name="connsiteY1038" fmla="*/ 1466850 h 2476500"/>
                  <a:gd name="connsiteX1039" fmla="*/ 436634 w 1757434"/>
                  <a:gd name="connsiteY1039" fmla="*/ 1460500 h 2476500"/>
                  <a:gd name="connsiteX1040" fmla="*/ 415997 w 1757434"/>
                  <a:gd name="connsiteY1040" fmla="*/ 1457325 h 2476500"/>
                  <a:gd name="connsiteX1041" fmla="*/ 412822 w 1757434"/>
                  <a:gd name="connsiteY1041" fmla="*/ 1447800 h 2476500"/>
                  <a:gd name="connsiteX1042" fmla="*/ 420759 w 1757434"/>
                  <a:gd name="connsiteY1042" fmla="*/ 1443038 h 2476500"/>
                  <a:gd name="connsiteX1043" fmla="*/ 411234 w 1757434"/>
                  <a:gd name="connsiteY1043" fmla="*/ 1441450 h 2476500"/>
                  <a:gd name="connsiteX1044" fmla="*/ 431872 w 1757434"/>
                  <a:gd name="connsiteY1044" fmla="*/ 1428750 h 2476500"/>
                  <a:gd name="connsiteX1045" fmla="*/ 436634 w 1757434"/>
                  <a:gd name="connsiteY1045" fmla="*/ 1425575 h 2476500"/>
                  <a:gd name="connsiteX1046" fmla="*/ 439809 w 1757434"/>
                  <a:gd name="connsiteY1046" fmla="*/ 1420813 h 2476500"/>
                  <a:gd name="connsiteX1047" fmla="*/ 446159 w 1757434"/>
                  <a:gd name="connsiteY1047" fmla="*/ 1416050 h 2476500"/>
                  <a:gd name="connsiteX1048" fmla="*/ 447747 w 1757434"/>
                  <a:gd name="connsiteY1048" fmla="*/ 1408113 h 2476500"/>
                  <a:gd name="connsiteX1049" fmla="*/ 449334 w 1757434"/>
                  <a:gd name="connsiteY1049" fmla="*/ 1401763 h 2476500"/>
                  <a:gd name="connsiteX1050" fmla="*/ 454097 w 1757434"/>
                  <a:gd name="connsiteY1050" fmla="*/ 1397000 h 2476500"/>
                  <a:gd name="connsiteX1051" fmla="*/ 455684 w 1757434"/>
                  <a:gd name="connsiteY1051" fmla="*/ 1390650 h 2476500"/>
                  <a:gd name="connsiteX1052" fmla="*/ 454097 w 1757434"/>
                  <a:gd name="connsiteY1052" fmla="*/ 1384300 h 2476500"/>
                  <a:gd name="connsiteX1053" fmla="*/ 457272 w 1757434"/>
                  <a:gd name="connsiteY1053" fmla="*/ 1377950 h 2476500"/>
                  <a:gd name="connsiteX1054" fmla="*/ 465209 w 1757434"/>
                  <a:gd name="connsiteY1054" fmla="*/ 1379538 h 2476500"/>
                  <a:gd name="connsiteX1055" fmla="*/ 473147 w 1757434"/>
                  <a:gd name="connsiteY1055" fmla="*/ 1349375 h 2476500"/>
                  <a:gd name="connsiteX1056" fmla="*/ 489022 w 1757434"/>
                  <a:gd name="connsiteY1056" fmla="*/ 1344613 h 2476500"/>
                  <a:gd name="connsiteX1057" fmla="*/ 490609 w 1757434"/>
                  <a:gd name="connsiteY1057" fmla="*/ 1336675 h 2476500"/>
                  <a:gd name="connsiteX1058" fmla="*/ 493784 w 1757434"/>
                  <a:gd name="connsiteY1058" fmla="*/ 1322388 h 2476500"/>
                  <a:gd name="connsiteX1059" fmla="*/ 501722 w 1757434"/>
                  <a:gd name="connsiteY1059" fmla="*/ 1327150 h 2476500"/>
                  <a:gd name="connsiteX1060" fmla="*/ 503309 w 1757434"/>
                  <a:gd name="connsiteY1060" fmla="*/ 1331913 h 2476500"/>
                  <a:gd name="connsiteX1061" fmla="*/ 506484 w 1757434"/>
                  <a:gd name="connsiteY1061" fmla="*/ 1325563 h 2476500"/>
                  <a:gd name="connsiteX1062" fmla="*/ 516009 w 1757434"/>
                  <a:gd name="connsiteY1062" fmla="*/ 1308100 h 2476500"/>
                  <a:gd name="connsiteX1063" fmla="*/ 517597 w 1757434"/>
                  <a:gd name="connsiteY1063" fmla="*/ 1298575 h 2476500"/>
                  <a:gd name="connsiteX1064" fmla="*/ 522359 w 1757434"/>
                  <a:gd name="connsiteY1064" fmla="*/ 1308100 h 2476500"/>
                  <a:gd name="connsiteX1065" fmla="*/ 525534 w 1757434"/>
                  <a:gd name="connsiteY1065" fmla="*/ 1312863 h 2476500"/>
                  <a:gd name="connsiteX1066" fmla="*/ 533472 w 1757434"/>
                  <a:gd name="connsiteY1066" fmla="*/ 1309688 h 2476500"/>
                  <a:gd name="connsiteX1067" fmla="*/ 539822 w 1757434"/>
                  <a:gd name="connsiteY1067" fmla="*/ 1298575 h 2476500"/>
                  <a:gd name="connsiteX1068" fmla="*/ 542997 w 1757434"/>
                  <a:gd name="connsiteY1068" fmla="*/ 1306513 h 2476500"/>
                  <a:gd name="connsiteX1069" fmla="*/ 544584 w 1757434"/>
                  <a:gd name="connsiteY1069" fmla="*/ 1319213 h 2476500"/>
                  <a:gd name="connsiteX1070" fmla="*/ 549347 w 1757434"/>
                  <a:gd name="connsiteY1070" fmla="*/ 1322388 h 2476500"/>
                  <a:gd name="connsiteX1071" fmla="*/ 557284 w 1757434"/>
                  <a:gd name="connsiteY1071" fmla="*/ 1304925 h 2476500"/>
                  <a:gd name="connsiteX1072" fmla="*/ 562047 w 1757434"/>
                  <a:gd name="connsiteY1072" fmla="*/ 1296988 h 2476500"/>
                  <a:gd name="connsiteX1073" fmla="*/ 563634 w 1757434"/>
                  <a:gd name="connsiteY1073" fmla="*/ 1292225 h 2476500"/>
                  <a:gd name="connsiteX1074" fmla="*/ 565222 w 1757434"/>
                  <a:gd name="connsiteY1074" fmla="*/ 1281113 h 2476500"/>
                  <a:gd name="connsiteX1075" fmla="*/ 568397 w 1757434"/>
                  <a:gd name="connsiteY1075" fmla="*/ 1274763 h 2476500"/>
                  <a:gd name="connsiteX1076" fmla="*/ 576334 w 1757434"/>
                  <a:gd name="connsiteY1076" fmla="*/ 1262063 h 2476500"/>
                  <a:gd name="connsiteX1077" fmla="*/ 584272 w 1757434"/>
                  <a:gd name="connsiteY1077" fmla="*/ 1246188 h 2476500"/>
                  <a:gd name="connsiteX1078" fmla="*/ 589034 w 1757434"/>
                  <a:gd name="connsiteY1078" fmla="*/ 1244600 h 2476500"/>
                  <a:gd name="connsiteX1079" fmla="*/ 601734 w 1757434"/>
                  <a:gd name="connsiteY1079" fmla="*/ 1243013 h 2476500"/>
                  <a:gd name="connsiteX1080" fmla="*/ 614434 w 1757434"/>
                  <a:gd name="connsiteY1080" fmla="*/ 1231900 h 2476500"/>
                  <a:gd name="connsiteX1081" fmla="*/ 616022 w 1757434"/>
                  <a:gd name="connsiteY1081" fmla="*/ 1208088 h 2476500"/>
                  <a:gd name="connsiteX1082" fmla="*/ 622372 w 1757434"/>
                  <a:gd name="connsiteY1082" fmla="*/ 1204913 h 2476500"/>
                  <a:gd name="connsiteX1083" fmla="*/ 627134 w 1757434"/>
                  <a:gd name="connsiteY1083" fmla="*/ 1201738 h 2476500"/>
                  <a:gd name="connsiteX1084" fmla="*/ 635072 w 1757434"/>
                  <a:gd name="connsiteY1084" fmla="*/ 1196975 h 2476500"/>
                  <a:gd name="connsiteX1085" fmla="*/ 639834 w 1757434"/>
                  <a:gd name="connsiteY1085" fmla="*/ 1193800 h 2476500"/>
                  <a:gd name="connsiteX1086" fmla="*/ 650947 w 1757434"/>
                  <a:gd name="connsiteY1086" fmla="*/ 1182688 h 2476500"/>
                  <a:gd name="connsiteX1087" fmla="*/ 654122 w 1757434"/>
                  <a:gd name="connsiteY1087" fmla="*/ 1173163 h 2476500"/>
                  <a:gd name="connsiteX1088" fmla="*/ 630309 w 1757434"/>
                  <a:gd name="connsiteY1088" fmla="*/ 1181100 h 2476500"/>
                  <a:gd name="connsiteX1089" fmla="*/ 622372 w 1757434"/>
                  <a:gd name="connsiteY1089" fmla="*/ 1182688 h 2476500"/>
                  <a:gd name="connsiteX1090" fmla="*/ 617609 w 1757434"/>
                  <a:gd name="connsiteY1090" fmla="*/ 1184275 h 2476500"/>
                  <a:gd name="connsiteX1091" fmla="*/ 611259 w 1757434"/>
                  <a:gd name="connsiteY1091" fmla="*/ 1189038 h 2476500"/>
                  <a:gd name="connsiteX1092" fmla="*/ 609672 w 1757434"/>
                  <a:gd name="connsiteY1092" fmla="*/ 1195388 h 2476500"/>
                  <a:gd name="connsiteX1093" fmla="*/ 598559 w 1757434"/>
                  <a:gd name="connsiteY1093" fmla="*/ 1214438 h 2476500"/>
                  <a:gd name="connsiteX1094" fmla="*/ 593797 w 1757434"/>
                  <a:gd name="connsiteY1094" fmla="*/ 1216025 h 2476500"/>
                  <a:gd name="connsiteX1095" fmla="*/ 598559 w 1757434"/>
                  <a:gd name="connsiteY1095" fmla="*/ 1190625 h 2476500"/>
                  <a:gd name="connsiteX1096" fmla="*/ 600147 w 1757434"/>
                  <a:gd name="connsiteY1096" fmla="*/ 1184275 h 2476500"/>
                  <a:gd name="connsiteX1097" fmla="*/ 601734 w 1757434"/>
                  <a:gd name="connsiteY1097" fmla="*/ 1176338 h 2476500"/>
                  <a:gd name="connsiteX1098" fmla="*/ 608084 w 1757434"/>
                  <a:gd name="connsiteY1098" fmla="*/ 1166813 h 2476500"/>
                  <a:gd name="connsiteX1099" fmla="*/ 620784 w 1757434"/>
                  <a:gd name="connsiteY1099" fmla="*/ 1160463 h 2476500"/>
                  <a:gd name="connsiteX1100" fmla="*/ 619197 w 1757434"/>
                  <a:gd name="connsiteY1100" fmla="*/ 1141413 h 2476500"/>
                  <a:gd name="connsiteX1101" fmla="*/ 623959 w 1757434"/>
                  <a:gd name="connsiteY1101" fmla="*/ 1143000 h 2476500"/>
                  <a:gd name="connsiteX1102" fmla="*/ 628722 w 1757434"/>
                  <a:gd name="connsiteY1102" fmla="*/ 1146175 h 2476500"/>
                  <a:gd name="connsiteX1103" fmla="*/ 630309 w 1757434"/>
                  <a:gd name="connsiteY1103" fmla="*/ 1125538 h 2476500"/>
                  <a:gd name="connsiteX1104" fmla="*/ 622372 w 1757434"/>
                  <a:gd name="connsiteY1104" fmla="*/ 1119188 h 2476500"/>
                  <a:gd name="connsiteX1105" fmla="*/ 625338 w 1757434"/>
                  <a:gd name="connsiteY1105" fmla="*/ 1109604 h 2476500"/>
                  <a:gd name="connsiteX1106" fmla="*/ 630062 w 1757434"/>
                  <a:gd name="connsiteY1106" fmla="*/ 1102117 h 2476500"/>
                  <a:gd name="connsiteX1107" fmla="*/ 635072 w 1757434"/>
                  <a:gd name="connsiteY1107" fmla="*/ 1104900 h 2476500"/>
                  <a:gd name="connsiteX1108" fmla="*/ 646184 w 1757434"/>
                  <a:gd name="connsiteY1108" fmla="*/ 1103313 h 2476500"/>
                  <a:gd name="connsiteX1109" fmla="*/ 630309 w 1757434"/>
                  <a:gd name="connsiteY1109" fmla="*/ 1101725 h 2476500"/>
                  <a:gd name="connsiteX1110" fmla="*/ 630062 w 1757434"/>
                  <a:gd name="connsiteY1110" fmla="*/ 1102117 h 2476500"/>
                  <a:gd name="connsiteX1111" fmla="*/ 620784 w 1757434"/>
                  <a:gd name="connsiteY1111" fmla="*/ 1096963 h 2476500"/>
                  <a:gd name="connsiteX1112" fmla="*/ 623959 w 1757434"/>
                  <a:gd name="connsiteY1112" fmla="*/ 1074738 h 2476500"/>
                  <a:gd name="connsiteX1113" fmla="*/ 633484 w 1757434"/>
                  <a:gd name="connsiteY1113" fmla="*/ 1073150 h 2476500"/>
                  <a:gd name="connsiteX1114" fmla="*/ 638247 w 1757434"/>
                  <a:gd name="connsiteY1114" fmla="*/ 1071563 h 2476500"/>
                  <a:gd name="connsiteX1115" fmla="*/ 644597 w 1757434"/>
                  <a:gd name="connsiteY1115" fmla="*/ 1077913 h 2476500"/>
                  <a:gd name="connsiteX1116" fmla="*/ 646184 w 1757434"/>
                  <a:gd name="connsiteY1116" fmla="*/ 1065213 h 2476500"/>
                  <a:gd name="connsiteX1117" fmla="*/ 652534 w 1757434"/>
                  <a:gd name="connsiteY1117" fmla="*/ 1046163 h 2476500"/>
                  <a:gd name="connsiteX1118" fmla="*/ 662059 w 1757434"/>
                  <a:gd name="connsiteY1118" fmla="*/ 1062038 h 2476500"/>
                  <a:gd name="connsiteX1119" fmla="*/ 669997 w 1757434"/>
                  <a:gd name="connsiteY1119" fmla="*/ 1066800 h 2476500"/>
                  <a:gd name="connsiteX1120" fmla="*/ 677934 w 1757434"/>
                  <a:gd name="connsiteY1120" fmla="*/ 1065213 h 2476500"/>
                  <a:gd name="connsiteX1121" fmla="*/ 666822 w 1757434"/>
                  <a:gd name="connsiteY1121" fmla="*/ 1042988 h 2476500"/>
                  <a:gd name="connsiteX1122" fmla="*/ 660472 w 1757434"/>
                  <a:gd name="connsiteY1122" fmla="*/ 1031875 h 2476500"/>
                  <a:gd name="connsiteX1123" fmla="*/ 654122 w 1757434"/>
                  <a:gd name="connsiteY1123" fmla="*/ 1028700 h 2476500"/>
                  <a:gd name="connsiteX1124" fmla="*/ 668409 w 1757434"/>
                  <a:gd name="connsiteY1124" fmla="*/ 1019175 h 2476500"/>
                  <a:gd name="connsiteX1125" fmla="*/ 676347 w 1757434"/>
                  <a:gd name="connsiteY1125" fmla="*/ 1016000 h 2476500"/>
                  <a:gd name="connsiteX1126" fmla="*/ 684284 w 1757434"/>
                  <a:gd name="connsiteY1126" fmla="*/ 1006475 h 2476500"/>
                  <a:gd name="connsiteX1127" fmla="*/ 692222 w 1757434"/>
                  <a:gd name="connsiteY1127" fmla="*/ 1000125 h 2476500"/>
                  <a:gd name="connsiteX1128" fmla="*/ 695397 w 1757434"/>
                  <a:gd name="connsiteY1128" fmla="*/ 993775 h 2476500"/>
                  <a:gd name="connsiteX1129" fmla="*/ 697575 w 1757434"/>
                  <a:gd name="connsiteY1129" fmla="*/ 989376 h 2476500"/>
                  <a:gd name="connsiteX1130" fmla="*/ 700379 w 1757434"/>
                  <a:gd name="connsiteY1130" fmla="*/ 989843 h 2476500"/>
                  <a:gd name="connsiteX1131" fmla="*/ 701747 w 1757434"/>
                  <a:gd name="connsiteY1131" fmla="*/ 1004888 h 2476500"/>
                  <a:gd name="connsiteX1132" fmla="*/ 708097 w 1757434"/>
                  <a:gd name="connsiteY1132" fmla="*/ 1019175 h 2476500"/>
                  <a:gd name="connsiteX1133" fmla="*/ 716034 w 1757434"/>
                  <a:gd name="connsiteY1133" fmla="*/ 1001713 h 2476500"/>
                  <a:gd name="connsiteX1134" fmla="*/ 720797 w 1757434"/>
                  <a:gd name="connsiteY1134" fmla="*/ 1000125 h 2476500"/>
                  <a:gd name="connsiteX1135" fmla="*/ 728734 w 1757434"/>
                  <a:gd name="connsiteY1135" fmla="*/ 995363 h 2476500"/>
                  <a:gd name="connsiteX1136" fmla="*/ 730322 w 1757434"/>
                  <a:gd name="connsiteY1136" fmla="*/ 989013 h 2476500"/>
                  <a:gd name="connsiteX1137" fmla="*/ 735084 w 1757434"/>
                  <a:gd name="connsiteY1137" fmla="*/ 981075 h 2476500"/>
                  <a:gd name="connsiteX1138" fmla="*/ 728734 w 1757434"/>
                  <a:gd name="connsiteY1138" fmla="*/ 982663 h 2476500"/>
                  <a:gd name="connsiteX1139" fmla="*/ 709684 w 1757434"/>
                  <a:gd name="connsiteY1139" fmla="*/ 989013 h 2476500"/>
                  <a:gd name="connsiteX1140" fmla="*/ 704922 w 1757434"/>
                  <a:gd name="connsiteY1140" fmla="*/ 990600 h 2476500"/>
                  <a:gd name="connsiteX1141" fmla="*/ 700379 w 1757434"/>
                  <a:gd name="connsiteY1141" fmla="*/ 989843 h 2476500"/>
                  <a:gd name="connsiteX1142" fmla="*/ 700159 w 1757434"/>
                  <a:gd name="connsiteY1142" fmla="*/ 987425 h 2476500"/>
                  <a:gd name="connsiteX1143" fmla="*/ 697812 w 1757434"/>
                  <a:gd name="connsiteY1143" fmla="*/ 988897 h 2476500"/>
                  <a:gd name="connsiteX1144" fmla="*/ 697575 w 1757434"/>
                  <a:gd name="connsiteY1144" fmla="*/ 989376 h 2476500"/>
                  <a:gd name="connsiteX1145" fmla="*/ 695397 w 1757434"/>
                  <a:gd name="connsiteY1145" fmla="*/ 989013 h 2476500"/>
                  <a:gd name="connsiteX1146" fmla="*/ 690634 w 1757434"/>
                  <a:gd name="connsiteY1146" fmla="*/ 985838 h 2476500"/>
                  <a:gd name="connsiteX1147" fmla="*/ 658884 w 1757434"/>
                  <a:gd name="connsiteY1147" fmla="*/ 982663 h 2476500"/>
                  <a:gd name="connsiteX1148" fmla="*/ 665234 w 1757434"/>
                  <a:gd name="connsiteY1148" fmla="*/ 947738 h 2476500"/>
                  <a:gd name="connsiteX1149" fmla="*/ 671584 w 1757434"/>
                  <a:gd name="connsiteY1149" fmla="*/ 946150 h 2476500"/>
                  <a:gd name="connsiteX1150" fmla="*/ 674759 w 1757434"/>
                  <a:gd name="connsiteY1150" fmla="*/ 941388 h 2476500"/>
                  <a:gd name="connsiteX1151" fmla="*/ 689047 w 1757434"/>
                  <a:gd name="connsiteY1151" fmla="*/ 935038 h 2476500"/>
                  <a:gd name="connsiteX1152" fmla="*/ 690634 w 1757434"/>
                  <a:gd name="connsiteY1152" fmla="*/ 941388 h 2476500"/>
                  <a:gd name="connsiteX1153" fmla="*/ 693809 w 1757434"/>
                  <a:gd name="connsiteY1153" fmla="*/ 947738 h 2476500"/>
                  <a:gd name="connsiteX1154" fmla="*/ 695397 w 1757434"/>
                  <a:gd name="connsiteY1154" fmla="*/ 930275 h 2476500"/>
                  <a:gd name="connsiteX1155" fmla="*/ 701747 w 1757434"/>
                  <a:gd name="connsiteY1155" fmla="*/ 917575 h 2476500"/>
                  <a:gd name="connsiteX1156" fmla="*/ 708097 w 1757434"/>
                  <a:gd name="connsiteY1156" fmla="*/ 920750 h 2476500"/>
                  <a:gd name="connsiteX1157" fmla="*/ 714105 w 1757434"/>
                  <a:gd name="connsiteY1157" fmla="*/ 909845 h 2476500"/>
                  <a:gd name="connsiteX1158" fmla="*/ 711560 w 1757434"/>
                  <a:gd name="connsiteY1158" fmla="*/ 898249 h 2476500"/>
                  <a:gd name="connsiteX1159" fmla="*/ 716034 w 1757434"/>
                  <a:gd name="connsiteY1159" fmla="*/ 900113 h 2476500"/>
                  <a:gd name="connsiteX1160" fmla="*/ 711272 w 1757434"/>
                  <a:gd name="connsiteY1160" fmla="*/ 896938 h 2476500"/>
                  <a:gd name="connsiteX1161" fmla="*/ 711560 w 1757434"/>
                  <a:gd name="connsiteY1161" fmla="*/ 898249 h 2476500"/>
                  <a:gd name="connsiteX1162" fmla="*/ 696984 w 1757434"/>
                  <a:gd name="connsiteY1162" fmla="*/ 892175 h 2476500"/>
                  <a:gd name="connsiteX1163" fmla="*/ 695397 w 1757434"/>
                  <a:gd name="connsiteY1163" fmla="*/ 868363 h 2476500"/>
                  <a:gd name="connsiteX1164" fmla="*/ 738259 w 1757434"/>
                  <a:gd name="connsiteY1164" fmla="*/ 862013 h 2476500"/>
                  <a:gd name="connsiteX1165" fmla="*/ 731909 w 1757434"/>
                  <a:gd name="connsiteY1165" fmla="*/ 858838 h 2476500"/>
                  <a:gd name="connsiteX1166" fmla="*/ 741434 w 1757434"/>
                  <a:gd name="connsiteY1166" fmla="*/ 852488 h 2476500"/>
                  <a:gd name="connsiteX1167" fmla="*/ 747784 w 1757434"/>
                  <a:gd name="connsiteY1167" fmla="*/ 858838 h 2476500"/>
                  <a:gd name="connsiteX1168" fmla="*/ 746197 w 1757434"/>
                  <a:gd name="connsiteY1168" fmla="*/ 854075 h 2476500"/>
                  <a:gd name="connsiteX1169" fmla="*/ 749372 w 1757434"/>
                  <a:gd name="connsiteY1169" fmla="*/ 838200 h 2476500"/>
                  <a:gd name="connsiteX1170" fmla="*/ 757309 w 1757434"/>
                  <a:gd name="connsiteY1170" fmla="*/ 833438 h 2476500"/>
                  <a:gd name="connsiteX1171" fmla="*/ 758897 w 1757434"/>
                  <a:gd name="connsiteY1171" fmla="*/ 844550 h 2476500"/>
                  <a:gd name="connsiteX1172" fmla="*/ 762072 w 1757434"/>
                  <a:gd name="connsiteY1172" fmla="*/ 849313 h 2476500"/>
                  <a:gd name="connsiteX1173" fmla="*/ 766834 w 1757434"/>
                  <a:gd name="connsiteY1173" fmla="*/ 847725 h 2476500"/>
                  <a:gd name="connsiteX1174" fmla="*/ 763659 w 1757434"/>
                  <a:gd name="connsiteY1174" fmla="*/ 827088 h 2476500"/>
                  <a:gd name="connsiteX1175" fmla="*/ 770009 w 1757434"/>
                  <a:gd name="connsiteY1175" fmla="*/ 812800 h 2476500"/>
                  <a:gd name="connsiteX1176" fmla="*/ 774772 w 1757434"/>
                  <a:gd name="connsiteY1176" fmla="*/ 815975 h 2476500"/>
                  <a:gd name="connsiteX1177" fmla="*/ 782709 w 1757434"/>
                  <a:gd name="connsiteY1177" fmla="*/ 823913 h 2476500"/>
                  <a:gd name="connsiteX1178" fmla="*/ 789059 w 1757434"/>
                  <a:gd name="connsiteY1178" fmla="*/ 819150 h 2476500"/>
                  <a:gd name="connsiteX1179" fmla="*/ 793822 w 1757434"/>
                  <a:gd name="connsiteY1179" fmla="*/ 806450 h 2476500"/>
                  <a:gd name="connsiteX1180" fmla="*/ 806522 w 1757434"/>
                  <a:gd name="connsiteY1180" fmla="*/ 819150 h 2476500"/>
                  <a:gd name="connsiteX1181" fmla="*/ 808109 w 1757434"/>
                  <a:gd name="connsiteY1181" fmla="*/ 831850 h 2476500"/>
                  <a:gd name="connsiteX1182" fmla="*/ 811284 w 1757434"/>
                  <a:gd name="connsiteY1182" fmla="*/ 823913 h 2476500"/>
                  <a:gd name="connsiteX1183" fmla="*/ 820809 w 1757434"/>
                  <a:gd name="connsiteY1183" fmla="*/ 830263 h 2476500"/>
                  <a:gd name="connsiteX1184" fmla="*/ 828747 w 1757434"/>
                  <a:gd name="connsiteY1184" fmla="*/ 828675 h 2476500"/>
                  <a:gd name="connsiteX1185" fmla="*/ 830334 w 1757434"/>
                  <a:gd name="connsiteY1185" fmla="*/ 815975 h 2476500"/>
                  <a:gd name="connsiteX1186" fmla="*/ 831922 w 1757434"/>
                  <a:gd name="connsiteY1186" fmla="*/ 811213 h 2476500"/>
                  <a:gd name="connsiteX1187" fmla="*/ 833509 w 1757434"/>
                  <a:gd name="connsiteY1187" fmla="*/ 796925 h 2476500"/>
                  <a:gd name="connsiteX1188" fmla="*/ 831922 w 1757434"/>
                  <a:gd name="connsiteY1188" fmla="*/ 790575 h 2476500"/>
                  <a:gd name="connsiteX1189" fmla="*/ 830334 w 1757434"/>
                  <a:gd name="connsiteY1189" fmla="*/ 782638 h 2476500"/>
                  <a:gd name="connsiteX1190" fmla="*/ 831922 w 1757434"/>
                  <a:gd name="connsiteY1190" fmla="*/ 760413 h 2476500"/>
                  <a:gd name="connsiteX1191" fmla="*/ 793822 w 1757434"/>
                  <a:gd name="connsiteY1191" fmla="*/ 765175 h 2476500"/>
                  <a:gd name="connsiteX1192" fmla="*/ 804934 w 1757434"/>
                  <a:gd name="connsiteY1192" fmla="*/ 755650 h 2476500"/>
                  <a:gd name="connsiteX1193" fmla="*/ 806522 w 1757434"/>
                  <a:gd name="connsiteY1193" fmla="*/ 750888 h 2476500"/>
                  <a:gd name="connsiteX1194" fmla="*/ 808109 w 1757434"/>
                  <a:gd name="connsiteY1194" fmla="*/ 741363 h 2476500"/>
                  <a:gd name="connsiteX1195" fmla="*/ 812872 w 1757434"/>
                  <a:gd name="connsiteY1195" fmla="*/ 739775 h 2476500"/>
                  <a:gd name="connsiteX1196" fmla="*/ 817634 w 1757434"/>
                  <a:gd name="connsiteY1196" fmla="*/ 735013 h 2476500"/>
                  <a:gd name="connsiteX1197" fmla="*/ 812872 w 1757434"/>
                  <a:gd name="connsiteY1197" fmla="*/ 731838 h 2476500"/>
                  <a:gd name="connsiteX1198" fmla="*/ 796997 w 1757434"/>
                  <a:gd name="connsiteY1198" fmla="*/ 728663 h 2476500"/>
                  <a:gd name="connsiteX1199" fmla="*/ 784297 w 1757434"/>
                  <a:gd name="connsiteY1199" fmla="*/ 727075 h 2476500"/>
                  <a:gd name="connsiteX1200" fmla="*/ 793822 w 1757434"/>
                  <a:gd name="connsiteY1200" fmla="*/ 704850 h 2476500"/>
                  <a:gd name="connsiteX1201" fmla="*/ 801759 w 1757434"/>
                  <a:gd name="connsiteY1201" fmla="*/ 703263 h 2476500"/>
                  <a:gd name="connsiteX1202" fmla="*/ 813273 w 1757434"/>
                  <a:gd name="connsiteY1202" fmla="*/ 704702 h 2476500"/>
                  <a:gd name="connsiteX1203" fmla="*/ 812872 w 1757434"/>
                  <a:gd name="connsiteY1203" fmla="*/ 709613 h 2476500"/>
                  <a:gd name="connsiteX1204" fmla="*/ 814459 w 1757434"/>
                  <a:gd name="connsiteY1204" fmla="*/ 704850 h 2476500"/>
                  <a:gd name="connsiteX1205" fmla="*/ 813273 w 1757434"/>
                  <a:gd name="connsiteY1205" fmla="*/ 704702 h 2476500"/>
                  <a:gd name="connsiteX1206" fmla="*/ 814261 w 1757434"/>
                  <a:gd name="connsiteY1206" fmla="*/ 692608 h 2476500"/>
                  <a:gd name="connsiteX1207" fmla="*/ 816047 w 1757434"/>
                  <a:gd name="connsiteY1207" fmla="*/ 674688 h 2476500"/>
                  <a:gd name="connsiteX1208" fmla="*/ 823984 w 1757434"/>
                  <a:gd name="connsiteY1208" fmla="*/ 684213 h 2476500"/>
                  <a:gd name="connsiteX1209" fmla="*/ 827159 w 1757434"/>
                  <a:gd name="connsiteY1209" fmla="*/ 688975 h 2476500"/>
                  <a:gd name="connsiteX1210" fmla="*/ 830334 w 1757434"/>
                  <a:gd name="connsiteY1210" fmla="*/ 677863 h 2476500"/>
                  <a:gd name="connsiteX1211" fmla="*/ 846209 w 1757434"/>
                  <a:gd name="connsiteY1211" fmla="*/ 669925 h 2476500"/>
                  <a:gd name="connsiteX1212" fmla="*/ 850972 w 1757434"/>
                  <a:gd name="connsiteY1212" fmla="*/ 668338 h 2476500"/>
                  <a:gd name="connsiteX1213" fmla="*/ 850972 w 1757434"/>
                  <a:gd name="connsiteY1213" fmla="*/ 682625 h 2476500"/>
                  <a:gd name="connsiteX1214" fmla="*/ 857322 w 1757434"/>
                  <a:gd name="connsiteY1214" fmla="*/ 674688 h 2476500"/>
                  <a:gd name="connsiteX1215" fmla="*/ 863672 w 1757434"/>
                  <a:gd name="connsiteY1215" fmla="*/ 668338 h 2476500"/>
                  <a:gd name="connsiteX1216" fmla="*/ 865259 w 1757434"/>
                  <a:gd name="connsiteY1216" fmla="*/ 676275 h 2476500"/>
                  <a:gd name="connsiteX1217" fmla="*/ 868434 w 1757434"/>
                  <a:gd name="connsiteY1217" fmla="*/ 682625 h 2476500"/>
                  <a:gd name="connsiteX1218" fmla="*/ 871609 w 1757434"/>
                  <a:gd name="connsiteY1218" fmla="*/ 661988 h 2476500"/>
                  <a:gd name="connsiteX1219" fmla="*/ 876372 w 1757434"/>
                  <a:gd name="connsiteY1219" fmla="*/ 660400 h 2476500"/>
                  <a:gd name="connsiteX1220" fmla="*/ 877959 w 1757434"/>
                  <a:gd name="connsiteY1220" fmla="*/ 655638 h 2476500"/>
                  <a:gd name="connsiteX1221" fmla="*/ 876372 w 1757434"/>
                  <a:gd name="connsiteY1221" fmla="*/ 650875 h 2476500"/>
                  <a:gd name="connsiteX1222" fmla="*/ 874784 w 1757434"/>
                  <a:gd name="connsiteY1222" fmla="*/ 641350 h 2476500"/>
                  <a:gd name="connsiteX1223" fmla="*/ 870022 w 1757434"/>
                  <a:gd name="connsiteY1223" fmla="*/ 638175 h 2476500"/>
                  <a:gd name="connsiteX1224" fmla="*/ 870022 w 1757434"/>
                  <a:gd name="connsiteY1224" fmla="*/ 617538 h 2476500"/>
                  <a:gd name="connsiteX1225" fmla="*/ 873197 w 1757434"/>
                  <a:gd name="connsiteY1225" fmla="*/ 612775 h 2476500"/>
                  <a:gd name="connsiteX1226" fmla="*/ 874784 w 1757434"/>
                  <a:gd name="connsiteY1226" fmla="*/ 601663 h 2476500"/>
                  <a:gd name="connsiteX1227" fmla="*/ 879547 w 1757434"/>
                  <a:gd name="connsiteY1227" fmla="*/ 606425 h 2476500"/>
                  <a:gd name="connsiteX1228" fmla="*/ 882722 w 1757434"/>
                  <a:gd name="connsiteY1228" fmla="*/ 614363 h 2476500"/>
                  <a:gd name="connsiteX1229" fmla="*/ 887484 w 1757434"/>
                  <a:gd name="connsiteY1229" fmla="*/ 617538 h 2476500"/>
                  <a:gd name="connsiteX1230" fmla="*/ 892247 w 1757434"/>
                  <a:gd name="connsiteY1230" fmla="*/ 622300 h 2476500"/>
                  <a:gd name="connsiteX1231" fmla="*/ 903359 w 1757434"/>
                  <a:gd name="connsiteY1231" fmla="*/ 619125 h 2476500"/>
                  <a:gd name="connsiteX1232" fmla="*/ 914472 w 1757434"/>
                  <a:gd name="connsiteY1232" fmla="*/ 604838 h 2476500"/>
                  <a:gd name="connsiteX1233" fmla="*/ 916059 w 1757434"/>
                  <a:gd name="connsiteY1233" fmla="*/ 598488 h 2476500"/>
                  <a:gd name="connsiteX1234" fmla="*/ 920822 w 1757434"/>
                  <a:gd name="connsiteY1234" fmla="*/ 595313 h 2476500"/>
                  <a:gd name="connsiteX1235" fmla="*/ 923997 w 1757434"/>
                  <a:gd name="connsiteY1235" fmla="*/ 603250 h 2476500"/>
                  <a:gd name="connsiteX1236" fmla="*/ 928759 w 1757434"/>
                  <a:gd name="connsiteY1236" fmla="*/ 619125 h 2476500"/>
                  <a:gd name="connsiteX1237" fmla="*/ 933522 w 1757434"/>
                  <a:gd name="connsiteY1237" fmla="*/ 620713 h 2476500"/>
                  <a:gd name="connsiteX1238" fmla="*/ 935109 w 1757434"/>
                  <a:gd name="connsiteY1238" fmla="*/ 625475 h 2476500"/>
                  <a:gd name="connsiteX1239" fmla="*/ 936697 w 1757434"/>
                  <a:gd name="connsiteY1239" fmla="*/ 619125 h 2476500"/>
                  <a:gd name="connsiteX1240" fmla="*/ 938284 w 1757434"/>
                  <a:gd name="connsiteY1240" fmla="*/ 603250 h 2476500"/>
                  <a:gd name="connsiteX1241" fmla="*/ 950984 w 1757434"/>
                  <a:gd name="connsiteY1241" fmla="*/ 590550 h 2476500"/>
                  <a:gd name="connsiteX1242" fmla="*/ 949397 w 1757434"/>
                  <a:gd name="connsiteY1242" fmla="*/ 582613 h 2476500"/>
                  <a:gd name="connsiteX1243" fmla="*/ 936697 w 1757434"/>
                  <a:gd name="connsiteY1243" fmla="*/ 577850 h 2476500"/>
                  <a:gd name="connsiteX1244" fmla="*/ 911297 w 1757434"/>
                  <a:gd name="connsiteY1244" fmla="*/ 579438 h 2476500"/>
                  <a:gd name="connsiteX1245" fmla="*/ 895422 w 1757434"/>
                  <a:gd name="connsiteY1245" fmla="*/ 584200 h 2476500"/>
                  <a:gd name="connsiteX1246" fmla="*/ 887484 w 1757434"/>
                  <a:gd name="connsiteY1246" fmla="*/ 585788 h 2476500"/>
                  <a:gd name="connsiteX1247" fmla="*/ 863672 w 1757434"/>
                  <a:gd name="connsiteY1247" fmla="*/ 582613 h 2476500"/>
                  <a:gd name="connsiteX1248" fmla="*/ 868434 w 1757434"/>
                  <a:gd name="connsiteY1248" fmla="*/ 577850 h 2476500"/>
                  <a:gd name="connsiteX1249" fmla="*/ 876372 w 1757434"/>
                  <a:gd name="connsiteY1249" fmla="*/ 574675 h 2476500"/>
                  <a:gd name="connsiteX1250" fmla="*/ 881134 w 1757434"/>
                  <a:gd name="connsiteY1250" fmla="*/ 571500 h 2476500"/>
                  <a:gd name="connsiteX1251" fmla="*/ 882722 w 1757434"/>
                  <a:gd name="connsiteY1251" fmla="*/ 566738 h 2476500"/>
                  <a:gd name="connsiteX1252" fmla="*/ 887484 w 1757434"/>
                  <a:gd name="connsiteY1252" fmla="*/ 544513 h 2476500"/>
                  <a:gd name="connsiteX1253" fmla="*/ 892247 w 1757434"/>
                  <a:gd name="connsiteY1253" fmla="*/ 541338 h 2476500"/>
                  <a:gd name="connsiteX1254" fmla="*/ 898597 w 1757434"/>
                  <a:gd name="connsiteY1254" fmla="*/ 542925 h 2476500"/>
                  <a:gd name="connsiteX1255" fmla="*/ 911297 w 1757434"/>
                  <a:gd name="connsiteY1255" fmla="*/ 531813 h 2476500"/>
                  <a:gd name="connsiteX1256" fmla="*/ 919234 w 1757434"/>
                  <a:gd name="connsiteY1256" fmla="*/ 530225 h 2476500"/>
                  <a:gd name="connsiteX1257" fmla="*/ 925584 w 1757434"/>
                  <a:gd name="connsiteY1257" fmla="*/ 534988 h 2476500"/>
                  <a:gd name="connsiteX1258" fmla="*/ 928759 w 1757434"/>
                  <a:gd name="connsiteY1258" fmla="*/ 539750 h 2476500"/>
                  <a:gd name="connsiteX1259" fmla="*/ 935109 w 1757434"/>
                  <a:gd name="connsiteY1259" fmla="*/ 544513 h 2476500"/>
                  <a:gd name="connsiteX1260" fmla="*/ 947809 w 1757434"/>
                  <a:gd name="connsiteY1260" fmla="*/ 531813 h 2476500"/>
                  <a:gd name="connsiteX1261" fmla="*/ 952572 w 1757434"/>
                  <a:gd name="connsiteY1261" fmla="*/ 530225 h 2476500"/>
                  <a:gd name="connsiteX1262" fmla="*/ 955747 w 1757434"/>
                  <a:gd name="connsiteY1262" fmla="*/ 522288 h 2476500"/>
                  <a:gd name="connsiteX1263" fmla="*/ 955747 w 1757434"/>
                  <a:gd name="connsiteY1263" fmla="*/ 509588 h 2476500"/>
                  <a:gd name="connsiteX1264" fmla="*/ 950984 w 1757434"/>
                  <a:gd name="connsiteY1264" fmla="*/ 506413 h 2476500"/>
                  <a:gd name="connsiteX1265" fmla="*/ 939872 w 1757434"/>
                  <a:gd name="connsiteY1265" fmla="*/ 508000 h 2476500"/>
                  <a:gd name="connsiteX1266" fmla="*/ 920822 w 1757434"/>
                  <a:gd name="connsiteY1266" fmla="*/ 512763 h 2476500"/>
                  <a:gd name="connsiteX1267" fmla="*/ 919234 w 1757434"/>
                  <a:gd name="connsiteY1267" fmla="*/ 496888 h 2476500"/>
                  <a:gd name="connsiteX1268" fmla="*/ 925584 w 1757434"/>
                  <a:gd name="connsiteY1268" fmla="*/ 495300 h 2476500"/>
                  <a:gd name="connsiteX1269" fmla="*/ 914472 w 1757434"/>
                  <a:gd name="connsiteY1269" fmla="*/ 488950 h 2476500"/>
                  <a:gd name="connsiteX1270" fmla="*/ 908122 w 1757434"/>
                  <a:gd name="connsiteY1270" fmla="*/ 484188 h 2476500"/>
                  <a:gd name="connsiteX1271" fmla="*/ 912884 w 1757434"/>
                  <a:gd name="connsiteY1271" fmla="*/ 481013 h 2476500"/>
                  <a:gd name="connsiteX1272" fmla="*/ 916059 w 1757434"/>
                  <a:gd name="connsiteY1272" fmla="*/ 476250 h 2476500"/>
                  <a:gd name="connsiteX1273" fmla="*/ 920822 w 1757434"/>
                  <a:gd name="connsiteY1273" fmla="*/ 474663 h 2476500"/>
                  <a:gd name="connsiteX1274" fmla="*/ 935109 w 1757434"/>
                  <a:gd name="connsiteY1274" fmla="*/ 473075 h 2476500"/>
                  <a:gd name="connsiteX1275" fmla="*/ 941459 w 1757434"/>
                  <a:gd name="connsiteY1275" fmla="*/ 469900 h 2476500"/>
                  <a:gd name="connsiteX1276" fmla="*/ 958922 w 1757434"/>
                  <a:gd name="connsiteY1276" fmla="*/ 455613 h 2476500"/>
                  <a:gd name="connsiteX1277" fmla="*/ 958922 w 1757434"/>
                  <a:gd name="connsiteY1277" fmla="*/ 422275 h 2476500"/>
                  <a:gd name="connsiteX1278" fmla="*/ 965272 w 1757434"/>
                  <a:gd name="connsiteY1278" fmla="*/ 412750 h 2476500"/>
                  <a:gd name="connsiteX1279" fmla="*/ 968447 w 1757434"/>
                  <a:gd name="connsiteY1279" fmla="*/ 407988 h 2476500"/>
                  <a:gd name="connsiteX1280" fmla="*/ 974797 w 1757434"/>
                  <a:gd name="connsiteY1280" fmla="*/ 406400 h 2476500"/>
                  <a:gd name="connsiteX1281" fmla="*/ 985909 w 1757434"/>
                  <a:gd name="connsiteY1281" fmla="*/ 414338 h 2476500"/>
                  <a:gd name="connsiteX1282" fmla="*/ 981147 w 1757434"/>
                  <a:gd name="connsiteY1282" fmla="*/ 419100 h 2476500"/>
                  <a:gd name="connsiteX1283" fmla="*/ 982734 w 1757434"/>
                  <a:gd name="connsiteY1283" fmla="*/ 430213 h 2476500"/>
                  <a:gd name="connsiteX1284" fmla="*/ 989084 w 1757434"/>
                  <a:gd name="connsiteY1284" fmla="*/ 428625 h 2476500"/>
                  <a:gd name="connsiteX1285" fmla="*/ 1000197 w 1757434"/>
                  <a:gd name="connsiteY1285" fmla="*/ 422275 h 2476500"/>
                  <a:gd name="connsiteX1286" fmla="*/ 1006547 w 1757434"/>
                  <a:gd name="connsiteY1286" fmla="*/ 423863 h 2476500"/>
                  <a:gd name="connsiteX1287" fmla="*/ 1009722 w 1757434"/>
                  <a:gd name="connsiteY1287" fmla="*/ 430213 h 2476500"/>
                  <a:gd name="connsiteX1288" fmla="*/ 1016072 w 1757434"/>
                  <a:gd name="connsiteY1288" fmla="*/ 434975 h 2476500"/>
                  <a:gd name="connsiteX1289" fmla="*/ 1024009 w 1757434"/>
                  <a:gd name="connsiteY1289" fmla="*/ 425450 h 2476500"/>
                  <a:gd name="connsiteX1290" fmla="*/ 1027184 w 1757434"/>
                  <a:gd name="connsiteY1290" fmla="*/ 414338 h 2476500"/>
                  <a:gd name="connsiteX1291" fmla="*/ 1039884 w 1757434"/>
                  <a:gd name="connsiteY1291" fmla="*/ 419100 h 2476500"/>
                  <a:gd name="connsiteX1292" fmla="*/ 1041472 w 1757434"/>
                  <a:gd name="connsiteY1292" fmla="*/ 414338 h 2476500"/>
                  <a:gd name="connsiteX1293" fmla="*/ 1024009 w 1757434"/>
                  <a:gd name="connsiteY1293" fmla="*/ 412750 h 2476500"/>
                  <a:gd name="connsiteX1294" fmla="*/ 1009722 w 1757434"/>
                  <a:gd name="connsiteY1294" fmla="*/ 409575 h 2476500"/>
                  <a:gd name="connsiteX1295" fmla="*/ 1004959 w 1757434"/>
                  <a:gd name="connsiteY1295" fmla="*/ 403225 h 2476500"/>
                  <a:gd name="connsiteX1296" fmla="*/ 1004959 w 1757434"/>
                  <a:gd name="connsiteY1296" fmla="*/ 384175 h 2476500"/>
                  <a:gd name="connsiteX1297" fmla="*/ 1014484 w 1757434"/>
                  <a:gd name="connsiteY1297" fmla="*/ 382588 h 2476500"/>
                  <a:gd name="connsiteX1298" fmla="*/ 1019247 w 1757434"/>
                  <a:gd name="connsiteY1298" fmla="*/ 387350 h 2476500"/>
                  <a:gd name="connsiteX1299" fmla="*/ 1025597 w 1757434"/>
                  <a:gd name="connsiteY1299" fmla="*/ 388938 h 2476500"/>
                  <a:gd name="connsiteX1300" fmla="*/ 1028772 w 1757434"/>
                  <a:gd name="connsiteY1300" fmla="*/ 393700 h 2476500"/>
                  <a:gd name="connsiteX1301" fmla="*/ 1033534 w 1757434"/>
                  <a:gd name="connsiteY1301" fmla="*/ 395288 h 2476500"/>
                  <a:gd name="connsiteX1302" fmla="*/ 1038297 w 1757434"/>
                  <a:gd name="connsiteY1302" fmla="*/ 398463 h 2476500"/>
                  <a:gd name="connsiteX1303" fmla="*/ 1046234 w 1757434"/>
                  <a:gd name="connsiteY1303" fmla="*/ 412750 h 2476500"/>
                  <a:gd name="connsiteX1304" fmla="*/ 1050997 w 1757434"/>
                  <a:gd name="connsiteY1304" fmla="*/ 415925 h 2476500"/>
                  <a:gd name="connsiteX1305" fmla="*/ 1066872 w 1757434"/>
                  <a:gd name="connsiteY1305" fmla="*/ 414338 h 2476500"/>
                  <a:gd name="connsiteX1306" fmla="*/ 1060522 w 1757434"/>
                  <a:gd name="connsiteY1306" fmla="*/ 400050 h 2476500"/>
                  <a:gd name="connsiteX1307" fmla="*/ 1058934 w 1757434"/>
                  <a:gd name="connsiteY1307" fmla="*/ 387350 h 2476500"/>
                  <a:gd name="connsiteX1308" fmla="*/ 1062109 w 1757434"/>
                  <a:gd name="connsiteY1308" fmla="*/ 352425 h 2476500"/>
                  <a:gd name="connsiteX1309" fmla="*/ 1054172 w 1757434"/>
                  <a:gd name="connsiteY1309" fmla="*/ 349250 h 2476500"/>
                  <a:gd name="connsiteX1310" fmla="*/ 1036709 w 1757434"/>
                  <a:gd name="connsiteY1310" fmla="*/ 347663 h 2476500"/>
                  <a:gd name="connsiteX1311" fmla="*/ 1033534 w 1757434"/>
                  <a:gd name="connsiteY1311" fmla="*/ 342900 h 2476500"/>
                  <a:gd name="connsiteX1312" fmla="*/ 1035122 w 1757434"/>
                  <a:gd name="connsiteY1312" fmla="*/ 336550 h 2476500"/>
                  <a:gd name="connsiteX1313" fmla="*/ 1057347 w 1757434"/>
                  <a:gd name="connsiteY1313" fmla="*/ 328613 h 2476500"/>
                  <a:gd name="connsiteX1314" fmla="*/ 1068459 w 1757434"/>
                  <a:gd name="connsiteY1314" fmla="*/ 325438 h 2476500"/>
                  <a:gd name="connsiteX1315" fmla="*/ 1071634 w 1757434"/>
                  <a:gd name="connsiteY1315" fmla="*/ 344488 h 2476500"/>
                  <a:gd name="connsiteX1316" fmla="*/ 1074809 w 1757434"/>
                  <a:gd name="connsiteY1316" fmla="*/ 349250 h 2476500"/>
                  <a:gd name="connsiteX1317" fmla="*/ 1079572 w 1757434"/>
                  <a:gd name="connsiteY1317" fmla="*/ 360363 h 2476500"/>
                  <a:gd name="connsiteX1318" fmla="*/ 1076397 w 1757434"/>
                  <a:gd name="connsiteY1318" fmla="*/ 393700 h 2476500"/>
                  <a:gd name="connsiteX1319" fmla="*/ 1074809 w 1757434"/>
                  <a:gd name="connsiteY1319" fmla="*/ 398463 h 2476500"/>
                  <a:gd name="connsiteX1320" fmla="*/ 1079572 w 1757434"/>
                  <a:gd name="connsiteY1320" fmla="*/ 400050 h 2476500"/>
                  <a:gd name="connsiteX1321" fmla="*/ 1090684 w 1757434"/>
                  <a:gd name="connsiteY1321" fmla="*/ 392113 h 2476500"/>
                  <a:gd name="connsiteX1322" fmla="*/ 1093859 w 1757434"/>
                  <a:gd name="connsiteY1322" fmla="*/ 377825 h 2476500"/>
                  <a:gd name="connsiteX1323" fmla="*/ 1104972 w 1757434"/>
                  <a:gd name="connsiteY1323" fmla="*/ 368300 h 2476500"/>
                  <a:gd name="connsiteX1324" fmla="*/ 1111322 w 1757434"/>
                  <a:gd name="connsiteY1324" fmla="*/ 363538 h 2476500"/>
                  <a:gd name="connsiteX1325" fmla="*/ 1120847 w 1757434"/>
                  <a:gd name="connsiteY1325" fmla="*/ 361950 h 2476500"/>
                  <a:gd name="connsiteX1326" fmla="*/ 1125609 w 1757434"/>
                  <a:gd name="connsiteY1326" fmla="*/ 360363 h 2476500"/>
                  <a:gd name="connsiteX1327" fmla="*/ 1124022 w 1757434"/>
                  <a:gd name="connsiteY1327" fmla="*/ 355600 h 2476500"/>
                  <a:gd name="connsiteX1328" fmla="*/ 1114497 w 1757434"/>
                  <a:gd name="connsiteY1328" fmla="*/ 354013 h 2476500"/>
                  <a:gd name="connsiteX1329" fmla="*/ 1100209 w 1757434"/>
                  <a:gd name="connsiteY1329" fmla="*/ 349250 h 2476500"/>
                  <a:gd name="connsiteX1330" fmla="*/ 1106559 w 1757434"/>
                  <a:gd name="connsiteY1330" fmla="*/ 325438 h 2476500"/>
                  <a:gd name="connsiteX1331" fmla="*/ 1112909 w 1757434"/>
                  <a:gd name="connsiteY1331" fmla="*/ 322263 h 2476500"/>
                  <a:gd name="connsiteX1332" fmla="*/ 1116084 w 1757434"/>
                  <a:gd name="connsiteY1332" fmla="*/ 317500 h 2476500"/>
                  <a:gd name="connsiteX1333" fmla="*/ 1120847 w 1757434"/>
                  <a:gd name="connsiteY1333" fmla="*/ 311150 h 2476500"/>
                  <a:gd name="connsiteX1334" fmla="*/ 1119259 w 1757434"/>
                  <a:gd name="connsiteY1334" fmla="*/ 303213 h 2476500"/>
                  <a:gd name="connsiteX1335" fmla="*/ 1120847 w 1757434"/>
                  <a:gd name="connsiteY1335" fmla="*/ 292100 h 2476500"/>
                  <a:gd name="connsiteX1336" fmla="*/ 1124022 w 1757434"/>
                  <a:gd name="connsiteY1336" fmla="*/ 287338 h 2476500"/>
                  <a:gd name="connsiteX1337" fmla="*/ 1125609 w 1757434"/>
                  <a:gd name="connsiteY1337" fmla="*/ 280988 h 2476500"/>
                  <a:gd name="connsiteX1338" fmla="*/ 1130372 w 1757434"/>
                  <a:gd name="connsiteY1338" fmla="*/ 271463 h 2476500"/>
                  <a:gd name="connsiteX1339" fmla="*/ 1136722 w 1757434"/>
                  <a:gd name="connsiteY1339" fmla="*/ 284163 h 2476500"/>
                  <a:gd name="connsiteX1340" fmla="*/ 1138309 w 1757434"/>
                  <a:gd name="connsiteY1340" fmla="*/ 288925 h 2476500"/>
                  <a:gd name="connsiteX1341" fmla="*/ 1144659 w 1757434"/>
                  <a:gd name="connsiteY1341" fmla="*/ 296863 h 2476500"/>
                  <a:gd name="connsiteX1342" fmla="*/ 1151009 w 1757434"/>
                  <a:gd name="connsiteY1342" fmla="*/ 298450 h 2476500"/>
                  <a:gd name="connsiteX1343" fmla="*/ 1154184 w 1757434"/>
                  <a:gd name="connsiteY1343" fmla="*/ 309563 h 2476500"/>
                  <a:gd name="connsiteX1344" fmla="*/ 1173234 w 1757434"/>
                  <a:gd name="connsiteY1344" fmla="*/ 312738 h 2476500"/>
                  <a:gd name="connsiteX1345" fmla="*/ 1177997 w 1757434"/>
                  <a:gd name="connsiteY1345" fmla="*/ 314325 h 2476500"/>
                  <a:gd name="connsiteX1346" fmla="*/ 1187522 w 1757434"/>
                  <a:gd name="connsiteY1346" fmla="*/ 314325 h 2476500"/>
                  <a:gd name="connsiteX1347" fmla="*/ 1198634 w 1757434"/>
                  <a:gd name="connsiteY1347" fmla="*/ 315913 h 2476500"/>
                  <a:gd name="connsiteX1348" fmla="*/ 1197047 w 1757434"/>
                  <a:gd name="connsiteY1348" fmla="*/ 304800 h 2476500"/>
                  <a:gd name="connsiteX1349" fmla="*/ 1187522 w 1757434"/>
                  <a:gd name="connsiteY1349" fmla="*/ 292100 h 2476500"/>
                  <a:gd name="connsiteX1350" fmla="*/ 1181172 w 1757434"/>
                  <a:gd name="connsiteY1350" fmla="*/ 290513 h 2476500"/>
                  <a:gd name="connsiteX1351" fmla="*/ 1174822 w 1757434"/>
                  <a:gd name="connsiteY1351" fmla="*/ 284163 h 2476500"/>
                  <a:gd name="connsiteX1352" fmla="*/ 1173234 w 1757434"/>
                  <a:gd name="connsiteY1352" fmla="*/ 276225 h 2476500"/>
                  <a:gd name="connsiteX1353" fmla="*/ 1171647 w 1757434"/>
                  <a:gd name="connsiteY1353" fmla="*/ 271463 h 2476500"/>
                  <a:gd name="connsiteX1354" fmla="*/ 1160534 w 1757434"/>
                  <a:gd name="connsiteY1354" fmla="*/ 266700 h 2476500"/>
                  <a:gd name="connsiteX1355" fmla="*/ 1154184 w 1757434"/>
                  <a:gd name="connsiteY1355" fmla="*/ 260350 h 2476500"/>
                  <a:gd name="connsiteX1356" fmla="*/ 1139897 w 1757434"/>
                  <a:gd name="connsiteY1356" fmla="*/ 257175 h 2476500"/>
                  <a:gd name="connsiteX1357" fmla="*/ 1141484 w 1757434"/>
                  <a:gd name="connsiteY1357" fmla="*/ 234950 h 2476500"/>
                  <a:gd name="connsiteX1358" fmla="*/ 1154184 w 1757434"/>
                  <a:gd name="connsiteY1358" fmla="*/ 244475 h 2476500"/>
                  <a:gd name="connsiteX1359" fmla="*/ 1152597 w 1757434"/>
                  <a:gd name="connsiteY1359" fmla="*/ 230188 h 2476500"/>
                  <a:gd name="connsiteX1360" fmla="*/ 1144659 w 1757434"/>
                  <a:gd name="connsiteY1360" fmla="*/ 215900 h 2476500"/>
                  <a:gd name="connsiteX1361" fmla="*/ 1146247 w 1757434"/>
                  <a:gd name="connsiteY1361" fmla="*/ 207963 h 2476500"/>
                  <a:gd name="connsiteX1362" fmla="*/ 1154184 w 1757434"/>
                  <a:gd name="connsiteY1362" fmla="*/ 206375 h 2476500"/>
                  <a:gd name="connsiteX1363" fmla="*/ 1170059 w 1757434"/>
                  <a:gd name="connsiteY1363" fmla="*/ 234950 h 2476500"/>
                  <a:gd name="connsiteX1364" fmla="*/ 1174822 w 1757434"/>
                  <a:gd name="connsiteY1364" fmla="*/ 225425 h 2476500"/>
                  <a:gd name="connsiteX1365" fmla="*/ 1179584 w 1757434"/>
                  <a:gd name="connsiteY1365" fmla="*/ 219075 h 2476500"/>
                  <a:gd name="connsiteX1366" fmla="*/ 1184347 w 1757434"/>
                  <a:gd name="connsiteY1366" fmla="*/ 217488 h 2476500"/>
                  <a:gd name="connsiteX1367" fmla="*/ 1185934 w 1757434"/>
                  <a:gd name="connsiteY1367" fmla="*/ 227013 h 2476500"/>
                  <a:gd name="connsiteX1368" fmla="*/ 1187522 w 1757434"/>
                  <a:gd name="connsiteY1368" fmla="*/ 234950 h 2476500"/>
                  <a:gd name="connsiteX1369" fmla="*/ 1189109 w 1757434"/>
                  <a:gd name="connsiteY1369" fmla="*/ 230188 h 2476500"/>
                  <a:gd name="connsiteX1370" fmla="*/ 1195459 w 1757434"/>
                  <a:gd name="connsiteY1370" fmla="*/ 225425 h 2476500"/>
                  <a:gd name="connsiteX1371" fmla="*/ 1195459 w 1757434"/>
                  <a:gd name="connsiteY1371" fmla="*/ 244475 h 2476500"/>
                  <a:gd name="connsiteX1372" fmla="*/ 1203397 w 1757434"/>
                  <a:gd name="connsiteY1372" fmla="*/ 242888 h 2476500"/>
                  <a:gd name="connsiteX1373" fmla="*/ 1204984 w 1757434"/>
                  <a:gd name="connsiteY1373" fmla="*/ 233363 h 2476500"/>
                  <a:gd name="connsiteX1374" fmla="*/ 1220859 w 1757434"/>
                  <a:gd name="connsiteY1374" fmla="*/ 230188 h 2476500"/>
                  <a:gd name="connsiteX1375" fmla="*/ 1216097 w 1757434"/>
                  <a:gd name="connsiteY1375" fmla="*/ 247650 h 2476500"/>
                  <a:gd name="connsiteX1376" fmla="*/ 1217684 w 1757434"/>
                  <a:gd name="connsiteY1376" fmla="*/ 254000 h 2476500"/>
                  <a:gd name="connsiteX1377" fmla="*/ 1227209 w 1757434"/>
                  <a:gd name="connsiteY1377" fmla="*/ 252413 h 2476500"/>
                  <a:gd name="connsiteX1378" fmla="*/ 1228797 w 1757434"/>
                  <a:gd name="connsiteY1378" fmla="*/ 247650 h 2476500"/>
                  <a:gd name="connsiteX1379" fmla="*/ 1233559 w 1757434"/>
                  <a:gd name="connsiteY1379" fmla="*/ 249238 h 2476500"/>
                  <a:gd name="connsiteX1380" fmla="*/ 1247847 w 1757434"/>
                  <a:gd name="connsiteY1380" fmla="*/ 255588 h 2476500"/>
                  <a:gd name="connsiteX1381" fmla="*/ 1252609 w 1757434"/>
                  <a:gd name="connsiteY1381" fmla="*/ 268288 h 2476500"/>
                  <a:gd name="connsiteX1382" fmla="*/ 1257372 w 1757434"/>
                  <a:gd name="connsiteY1382" fmla="*/ 269875 h 2476500"/>
                  <a:gd name="connsiteX1383" fmla="*/ 1262134 w 1757434"/>
                  <a:gd name="connsiteY1383" fmla="*/ 268288 h 2476500"/>
                  <a:gd name="connsiteX1384" fmla="*/ 1266897 w 1757434"/>
                  <a:gd name="connsiteY1384" fmla="*/ 269875 h 2476500"/>
                  <a:gd name="connsiteX1385" fmla="*/ 1270072 w 1757434"/>
                  <a:gd name="connsiteY1385" fmla="*/ 265113 h 2476500"/>
                  <a:gd name="connsiteX1386" fmla="*/ 1265309 w 1757434"/>
                  <a:gd name="connsiteY1386" fmla="*/ 254000 h 2476500"/>
                  <a:gd name="connsiteX1387" fmla="*/ 1260547 w 1757434"/>
                  <a:gd name="connsiteY1387" fmla="*/ 250825 h 2476500"/>
                  <a:gd name="connsiteX1388" fmla="*/ 1257372 w 1757434"/>
                  <a:gd name="connsiteY1388" fmla="*/ 246063 h 2476500"/>
                  <a:gd name="connsiteX1389" fmla="*/ 1260547 w 1757434"/>
                  <a:gd name="connsiteY1389" fmla="*/ 239713 h 2476500"/>
                  <a:gd name="connsiteX1390" fmla="*/ 1266897 w 1757434"/>
                  <a:gd name="connsiteY1390" fmla="*/ 231775 h 2476500"/>
                  <a:gd name="connsiteX1391" fmla="*/ 1254197 w 1757434"/>
                  <a:gd name="connsiteY1391" fmla="*/ 231775 h 2476500"/>
                  <a:gd name="connsiteX1392" fmla="*/ 1246259 w 1757434"/>
                  <a:gd name="connsiteY1392" fmla="*/ 230188 h 2476500"/>
                  <a:gd name="connsiteX1393" fmla="*/ 1251022 w 1757434"/>
                  <a:gd name="connsiteY1393" fmla="*/ 223838 h 2476500"/>
                  <a:gd name="connsiteX1394" fmla="*/ 1260547 w 1757434"/>
                  <a:gd name="connsiteY1394" fmla="*/ 220663 h 2476500"/>
                  <a:gd name="connsiteX1395" fmla="*/ 1266897 w 1757434"/>
                  <a:gd name="connsiteY1395" fmla="*/ 217488 h 2476500"/>
                  <a:gd name="connsiteX1396" fmla="*/ 1263722 w 1757434"/>
                  <a:gd name="connsiteY1396" fmla="*/ 212725 h 2476500"/>
                  <a:gd name="connsiteX1397" fmla="*/ 1255784 w 1757434"/>
                  <a:gd name="connsiteY1397" fmla="*/ 206375 h 2476500"/>
                  <a:gd name="connsiteX1398" fmla="*/ 1263722 w 1757434"/>
                  <a:gd name="connsiteY1398" fmla="*/ 196850 h 2476500"/>
                  <a:gd name="connsiteX1399" fmla="*/ 1274834 w 1757434"/>
                  <a:gd name="connsiteY1399" fmla="*/ 192088 h 2476500"/>
                  <a:gd name="connsiteX1400" fmla="*/ 1282772 w 1757434"/>
                  <a:gd name="connsiteY1400" fmla="*/ 174625 h 2476500"/>
                  <a:gd name="connsiteX1401" fmla="*/ 1284359 w 1757434"/>
                  <a:gd name="connsiteY1401" fmla="*/ 169863 h 2476500"/>
                  <a:gd name="connsiteX1402" fmla="*/ 1290709 w 1757434"/>
                  <a:gd name="connsiteY1402" fmla="*/ 168275 h 2476500"/>
                  <a:gd name="connsiteX1403" fmla="*/ 1301822 w 1757434"/>
                  <a:gd name="connsiteY1403" fmla="*/ 166688 h 2476500"/>
                  <a:gd name="connsiteX1404" fmla="*/ 1295472 w 1757434"/>
                  <a:gd name="connsiteY1404" fmla="*/ 165100 h 2476500"/>
                  <a:gd name="connsiteX1405" fmla="*/ 1290709 w 1757434"/>
                  <a:gd name="connsiteY1405" fmla="*/ 150813 h 2476500"/>
                  <a:gd name="connsiteX1406" fmla="*/ 1306584 w 1757434"/>
                  <a:gd name="connsiteY1406" fmla="*/ 142875 h 2476500"/>
                  <a:gd name="connsiteX1407" fmla="*/ 1319284 w 1757434"/>
                  <a:gd name="connsiteY1407" fmla="*/ 138113 h 2476500"/>
                  <a:gd name="connsiteX1408" fmla="*/ 1322459 w 1757434"/>
                  <a:gd name="connsiteY1408" fmla="*/ 133350 h 2476500"/>
                  <a:gd name="connsiteX1409" fmla="*/ 1309759 w 1757434"/>
                  <a:gd name="connsiteY1409" fmla="*/ 125413 h 2476500"/>
                  <a:gd name="connsiteX1410" fmla="*/ 1304997 w 1757434"/>
                  <a:gd name="connsiteY1410" fmla="*/ 123825 h 2476500"/>
                  <a:gd name="connsiteX1411" fmla="*/ 1293884 w 1757434"/>
                  <a:gd name="connsiteY1411" fmla="*/ 104775 h 2476500"/>
                  <a:gd name="connsiteX1412" fmla="*/ 1287534 w 1757434"/>
                  <a:gd name="connsiteY1412" fmla="*/ 103188 h 2476500"/>
                  <a:gd name="connsiteX1413" fmla="*/ 1279597 w 1757434"/>
                  <a:gd name="connsiteY1413" fmla="*/ 100013 h 2476500"/>
                  <a:gd name="connsiteX1414" fmla="*/ 1282772 w 1757434"/>
                  <a:gd name="connsiteY1414" fmla="*/ 90488 h 2476500"/>
                  <a:gd name="connsiteX1415" fmla="*/ 1290709 w 1757434"/>
                  <a:gd name="connsiteY1415" fmla="*/ 88900 h 2476500"/>
                  <a:gd name="connsiteX1416" fmla="*/ 1297059 w 1757434"/>
                  <a:gd name="connsiteY1416" fmla="*/ 87313 h 2476500"/>
                  <a:gd name="connsiteX1417" fmla="*/ 1301822 w 1757434"/>
                  <a:gd name="connsiteY1417" fmla="*/ 85725 h 2476500"/>
                  <a:gd name="connsiteX1418" fmla="*/ 1312934 w 1757434"/>
                  <a:gd name="connsiteY1418" fmla="*/ 84138 h 2476500"/>
                  <a:gd name="connsiteX1419" fmla="*/ 1306584 w 1757434"/>
                  <a:gd name="connsiteY1419" fmla="*/ 73025 h 2476500"/>
                  <a:gd name="connsiteX1420" fmla="*/ 1311347 w 1757434"/>
                  <a:gd name="connsiteY1420" fmla="*/ 68263 h 2476500"/>
                  <a:gd name="connsiteX1421" fmla="*/ 1317697 w 1757434"/>
                  <a:gd name="connsiteY1421" fmla="*/ 66675 h 2476500"/>
                  <a:gd name="connsiteX1422" fmla="*/ 1327222 w 1757434"/>
                  <a:gd name="connsiteY1422" fmla="*/ 68263 h 2476500"/>
                  <a:gd name="connsiteX1423" fmla="*/ 1331984 w 1757434"/>
                  <a:gd name="connsiteY1423" fmla="*/ 79375 h 2476500"/>
                  <a:gd name="connsiteX1424" fmla="*/ 1336747 w 1757434"/>
                  <a:gd name="connsiteY1424" fmla="*/ 80963 h 2476500"/>
                  <a:gd name="connsiteX1425" fmla="*/ 1347859 w 1757434"/>
                  <a:gd name="connsiteY1425" fmla="*/ 77788 h 2476500"/>
                  <a:gd name="connsiteX1426" fmla="*/ 1351034 w 1757434"/>
                  <a:gd name="connsiteY1426" fmla="*/ 73025 h 2476500"/>
                  <a:gd name="connsiteX1427" fmla="*/ 1357384 w 1757434"/>
                  <a:gd name="connsiteY1427" fmla="*/ 68263 h 2476500"/>
                  <a:gd name="connsiteX1428" fmla="*/ 1363734 w 1757434"/>
                  <a:gd name="connsiteY1428" fmla="*/ 85725 h 2476500"/>
                  <a:gd name="connsiteX1429" fmla="*/ 1370084 w 1757434"/>
                  <a:gd name="connsiteY1429" fmla="*/ 82550 h 2476500"/>
                  <a:gd name="connsiteX1430" fmla="*/ 1384372 w 1757434"/>
                  <a:gd name="connsiteY1430" fmla="*/ 74613 h 2476500"/>
                  <a:gd name="connsiteX1431" fmla="*/ 1387547 w 1757434"/>
                  <a:gd name="connsiteY1431" fmla="*/ 82550 h 2476500"/>
                  <a:gd name="connsiteX1432" fmla="*/ 1376434 w 1757434"/>
                  <a:gd name="connsiteY1432" fmla="*/ 101600 h 2476500"/>
                  <a:gd name="connsiteX1433" fmla="*/ 1374847 w 1757434"/>
                  <a:gd name="connsiteY1433" fmla="*/ 107950 h 2476500"/>
                  <a:gd name="connsiteX1434" fmla="*/ 1363734 w 1757434"/>
                  <a:gd name="connsiteY1434" fmla="*/ 115888 h 2476500"/>
                  <a:gd name="connsiteX1435" fmla="*/ 1362147 w 1757434"/>
                  <a:gd name="connsiteY1435" fmla="*/ 136525 h 2476500"/>
                  <a:gd name="connsiteX1436" fmla="*/ 1358972 w 1757434"/>
                  <a:gd name="connsiteY1436" fmla="*/ 141288 h 2476500"/>
                  <a:gd name="connsiteX1437" fmla="*/ 1357384 w 1757434"/>
                  <a:gd name="connsiteY1437" fmla="*/ 146050 h 2476500"/>
                  <a:gd name="connsiteX1438" fmla="*/ 1354209 w 1757434"/>
                  <a:gd name="connsiteY1438" fmla="*/ 152400 h 2476500"/>
                  <a:gd name="connsiteX1439" fmla="*/ 1360559 w 1757434"/>
                  <a:gd name="connsiteY1439" fmla="*/ 150813 h 2476500"/>
                  <a:gd name="connsiteX1440" fmla="*/ 1371672 w 1757434"/>
                  <a:gd name="connsiteY1440" fmla="*/ 146050 h 2476500"/>
                  <a:gd name="connsiteX1441" fmla="*/ 1368497 w 1757434"/>
                  <a:gd name="connsiteY1441" fmla="*/ 155575 h 2476500"/>
                  <a:gd name="connsiteX1442" fmla="*/ 1363734 w 1757434"/>
                  <a:gd name="connsiteY1442" fmla="*/ 160338 h 2476500"/>
                  <a:gd name="connsiteX1443" fmla="*/ 1358972 w 1757434"/>
                  <a:gd name="connsiteY1443" fmla="*/ 174625 h 2476500"/>
                  <a:gd name="connsiteX1444" fmla="*/ 1357384 w 1757434"/>
                  <a:gd name="connsiteY1444" fmla="*/ 179388 h 2476500"/>
                  <a:gd name="connsiteX1445" fmla="*/ 1355797 w 1757434"/>
                  <a:gd name="connsiteY1445" fmla="*/ 184150 h 2476500"/>
                  <a:gd name="connsiteX1446" fmla="*/ 1355797 w 1757434"/>
                  <a:gd name="connsiteY1446" fmla="*/ 212725 h 2476500"/>
                  <a:gd name="connsiteX1447" fmla="*/ 1363734 w 1757434"/>
                  <a:gd name="connsiteY1447" fmla="*/ 219075 h 2476500"/>
                  <a:gd name="connsiteX1448" fmla="*/ 1371672 w 1757434"/>
                  <a:gd name="connsiteY1448" fmla="*/ 217488 h 2476500"/>
                  <a:gd name="connsiteX1449" fmla="*/ 1374847 w 1757434"/>
                  <a:gd name="connsiteY1449" fmla="*/ 203200 h 2476500"/>
                  <a:gd name="connsiteX1450" fmla="*/ 1379609 w 1757434"/>
                  <a:gd name="connsiteY1450" fmla="*/ 198438 h 2476500"/>
                  <a:gd name="connsiteX1451" fmla="*/ 1385959 w 1757434"/>
                  <a:gd name="connsiteY1451" fmla="*/ 176213 h 2476500"/>
                  <a:gd name="connsiteX1452" fmla="*/ 1387547 w 1757434"/>
                  <a:gd name="connsiteY1452" fmla="*/ 150813 h 2476500"/>
                  <a:gd name="connsiteX1453" fmla="*/ 1392309 w 1757434"/>
                  <a:gd name="connsiteY1453" fmla="*/ 141288 h 2476500"/>
                  <a:gd name="connsiteX1454" fmla="*/ 1393897 w 1757434"/>
                  <a:gd name="connsiteY1454" fmla="*/ 111125 h 2476500"/>
                  <a:gd name="connsiteX1455" fmla="*/ 1395484 w 1757434"/>
                  <a:gd name="connsiteY1455" fmla="*/ 104775 h 2476500"/>
                  <a:gd name="connsiteX1456" fmla="*/ 1398659 w 1757434"/>
                  <a:gd name="connsiteY1456" fmla="*/ 100013 h 2476500"/>
                  <a:gd name="connsiteX1457" fmla="*/ 1405009 w 1757434"/>
                  <a:gd name="connsiteY1457" fmla="*/ 96838 h 2476500"/>
                  <a:gd name="connsiteX1458" fmla="*/ 1405009 w 1757434"/>
                  <a:gd name="connsiteY1458" fmla="*/ 79375 h 2476500"/>
                  <a:gd name="connsiteX1459" fmla="*/ 1406597 w 1757434"/>
                  <a:gd name="connsiteY1459" fmla="*/ 71438 h 2476500"/>
                  <a:gd name="connsiteX1460" fmla="*/ 1408184 w 1757434"/>
                  <a:gd name="connsiteY1460" fmla="*/ 61913 h 2476500"/>
                  <a:gd name="connsiteX1461" fmla="*/ 1416122 w 1757434"/>
                  <a:gd name="connsiteY1461" fmla="*/ 50800 h 2476500"/>
                  <a:gd name="connsiteX1462" fmla="*/ 1424059 w 1757434"/>
                  <a:gd name="connsiteY1462" fmla="*/ 69850 h 2476500"/>
                  <a:gd name="connsiteX1463" fmla="*/ 1435172 w 1757434"/>
                  <a:gd name="connsiteY1463" fmla="*/ 71438 h 2476500"/>
                  <a:gd name="connsiteX1464" fmla="*/ 1430409 w 1757434"/>
                  <a:gd name="connsiteY1464" fmla="*/ 87313 h 2476500"/>
                  <a:gd name="connsiteX1465" fmla="*/ 1428822 w 1757434"/>
                  <a:gd name="connsiteY1465" fmla="*/ 93663 h 2476500"/>
                  <a:gd name="connsiteX1466" fmla="*/ 1424059 w 1757434"/>
                  <a:gd name="connsiteY1466" fmla="*/ 100013 h 2476500"/>
                  <a:gd name="connsiteX1467" fmla="*/ 1425647 w 1757434"/>
                  <a:gd name="connsiteY1467" fmla="*/ 115888 h 2476500"/>
                  <a:gd name="connsiteX1468" fmla="*/ 1435172 w 1757434"/>
                  <a:gd name="connsiteY1468" fmla="*/ 117475 h 2476500"/>
                  <a:gd name="connsiteX1469" fmla="*/ 1436759 w 1757434"/>
                  <a:gd name="connsiteY1469" fmla="*/ 122238 h 2476500"/>
                  <a:gd name="connsiteX1470" fmla="*/ 1441522 w 1757434"/>
                  <a:gd name="connsiteY1470" fmla="*/ 149225 h 2476500"/>
                  <a:gd name="connsiteX1471" fmla="*/ 1446284 w 1757434"/>
                  <a:gd name="connsiteY1471" fmla="*/ 144463 h 2476500"/>
                  <a:gd name="connsiteX1472" fmla="*/ 1449459 w 1757434"/>
                  <a:gd name="connsiteY1472" fmla="*/ 139700 h 2476500"/>
                  <a:gd name="connsiteX1473" fmla="*/ 1460572 w 1757434"/>
                  <a:gd name="connsiteY1473" fmla="*/ 130175 h 2476500"/>
                  <a:gd name="connsiteX1474" fmla="*/ 1465334 w 1757434"/>
                  <a:gd name="connsiteY1474" fmla="*/ 128588 h 2476500"/>
                  <a:gd name="connsiteX1475" fmla="*/ 1470097 w 1757434"/>
                  <a:gd name="connsiteY1475" fmla="*/ 119063 h 2476500"/>
                  <a:gd name="connsiteX1476" fmla="*/ 1471684 w 1757434"/>
                  <a:gd name="connsiteY1476" fmla="*/ 114300 h 2476500"/>
                  <a:gd name="connsiteX1477" fmla="*/ 1462159 w 1757434"/>
                  <a:gd name="connsiteY1477" fmla="*/ 107950 h 2476500"/>
                  <a:gd name="connsiteX1478" fmla="*/ 1463747 w 1757434"/>
                  <a:gd name="connsiteY1478" fmla="*/ 103188 h 2476500"/>
                  <a:gd name="connsiteX1479" fmla="*/ 1471684 w 1757434"/>
                  <a:gd name="connsiteY1479" fmla="*/ 101600 h 2476500"/>
                  <a:gd name="connsiteX1480" fmla="*/ 1478034 w 1757434"/>
                  <a:gd name="connsiteY1480" fmla="*/ 100013 h 2476500"/>
                  <a:gd name="connsiteX1481" fmla="*/ 1476447 w 1757434"/>
                  <a:gd name="connsiteY1481" fmla="*/ 95250 h 2476500"/>
                  <a:gd name="connsiteX1482" fmla="*/ 1471684 w 1757434"/>
                  <a:gd name="connsiteY1482" fmla="*/ 90488 h 2476500"/>
                  <a:gd name="connsiteX1483" fmla="*/ 1468509 w 1757434"/>
                  <a:gd name="connsiteY1483" fmla="*/ 85725 h 2476500"/>
                  <a:gd name="connsiteX1484" fmla="*/ 1470097 w 1757434"/>
                  <a:gd name="connsiteY1484" fmla="*/ 73025 h 2476500"/>
                  <a:gd name="connsiteX1485" fmla="*/ 1473272 w 1757434"/>
                  <a:gd name="connsiteY1485" fmla="*/ 66675 h 2476500"/>
                  <a:gd name="connsiteX1486" fmla="*/ 1471684 w 1757434"/>
                  <a:gd name="connsiteY1486" fmla="*/ 58738 h 2476500"/>
                  <a:gd name="connsiteX1487" fmla="*/ 1473272 w 1757434"/>
                  <a:gd name="connsiteY1487" fmla="*/ 53975 h 2476500"/>
                  <a:gd name="connsiteX1488" fmla="*/ 1481209 w 1757434"/>
                  <a:gd name="connsiteY1488" fmla="*/ 52388 h 2476500"/>
                  <a:gd name="connsiteX1489" fmla="*/ 1476447 w 1757434"/>
                  <a:gd name="connsiteY1489" fmla="*/ 47625 h 2476500"/>
                  <a:gd name="connsiteX1490" fmla="*/ 1465334 w 1757434"/>
                  <a:gd name="connsiteY1490" fmla="*/ 44450 h 2476500"/>
                  <a:gd name="connsiteX1491" fmla="*/ 1460572 w 1757434"/>
                  <a:gd name="connsiteY1491" fmla="*/ 41275 h 2476500"/>
                  <a:gd name="connsiteX1492" fmla="*/ 1458984 w 1757434"/>
                  <a:gd name="connsiteY1492" fmla="*/ 26988 h 2476500"/>
                  <a:gd name="connsiteX1493" fmla="*/ 1463747 w 1757434"/>
                  <a:gd name="connsiteY1493" fmla="*/ 23813 h 2476500"/>
                  <a:gd name="connsiteX1494" fmla="*/ 1470097 w 1757434"/>
                  <a:gd name="connsiteY1494" fmla="*/ 19050 h 2476500"/>
                  <a:gd name="connsiteX1495" fmla="*/ 1474859 w 1757434"/>
                  <a:gd name="connsiteY1495" fmla="*/ 28575 h 2476500"/>
                  <a:gd name="connsiteX1496" fmla="*/ 1479622 w 1757434"/>
                  <a:gd name="connsiteY1496" fmla="*/ 20638 h 2476500"/>
                  <a:gd name="connsiteX1497" fmla="*/ 1481209 w 1757434"/>
                  <a:gd name="connsiteY1497" fmla="*/ 3175 h 2476500"/>
                  <a:gd name="connsiteX1498" fmla="*/ 1487559 w 1757434"/>
                  <a:gd name="connsiteY1498" fmla="*/ 0 h 2476500"/>
                  <a:gd name="connsiteX0" fmla="*/ 569984 w 1757434"/>
                  <a:gd name="connsiteY0" fmla="*/ 1338263 h 2476500"/>
                  <a:gd name="connsiteX1" fmla="*/ 557284 w 1757434"/>
                  <a:gd name="connsiteY1" fmla="*/ 1349375 h 2476500"/>
                  <a:gd name="connsiteX2" fmla="*/ 547759 w 1757434"/>
                  <a:gd name="connsiteY2" fmla="*/ 1362075 h 2476500"/>
                  <a:gd name="connsiteX3" fmla="*/ 538234 w 1757434"/>
                  <a:gd name="connsiteY3" fmla="*/ 1382713 h 2476500"/>
                  <a:gd name="connsiteX4" fmla="*/ 536647 w 1757434"/>
                  <a:gd name="connsiteY4" fmla="*/ 1389063 h 2476500"/>
                  <a:gd name="connsiteX5" fmla="*/ 533472 w 1757434"/>
                  <a:gd name="connsiteY5" fmla="*/ 1404938 h 2476500"/>
                  <a:gd name="connsiteX6" fmla="*/ 523947 w 1757434"/>
                  <a:gd name="connsiteY6" fmla="*/ 1406525 h 2476500"/>
                  <a:gd name="connsiteX7" fmla="*/ 514422 w 1757434"/>
                  <a:gd name="connsiteY7" fmla="*/ 1411288 h 2476500"/>
                  <a:gd name="connsiteX8" fmla="*/ 503309 w 1757434"/>
                  <a:gd name="connsiteY8" fmla="*/ 1416050 h 2476500"/>
                  <a:gd name="connsiteX9" fmla="*/ 500134 w 1757434"/>
                  <a:gd name="connsiteY9" fmla="*/ 1423988 h 2476500"/>
                  <a:gd name="connsiteX10" fmla="*/ 498547 w 1757434"/>
                  <a:gd name="connsiteY10" fmla="*/ 1431925 h 2476500"/>
                  <a:gd name="connsiteX11" fmla="*/ 484259 w 1757434"/>
                  <a:gd name="connsiteY11" fmla="*/ 1438275 h 2476500"/>
                  <a:gd name="connsiteX12" fmla="*/ 495372 w 1757434"/>
                  <a:gd name="connsiteY12" fmla="*/ 1439863 h 2476500"/>
                  <a:gd name="connsiteX13" fmla="*/ 512834 w 1757434"/>
                  <a:gd name="connsiteY13" fmla="*/ 1436688 h 2476500"/>
                  <a:gd name="connsiteX14" fmla="*/ 516009 w 1757434"/>
                  <a:gd name="connsiteY14" fmla="*/ 1441450 h 2476500"/>
                  <a:gd name="connsiteX15" fmla="*/ 508072 w 1757434"/>
                  <a:gd name="connsiteY15" fmla="*/ 1454150 h 2476500"/>
                  <a:gd name="connsiteX16" fmla="*/ 496959 w 1757434"/>
                  <a:gd name="connsiteY16" fmla="*/ 1468438 h 2476500"/>
                  <a:gd name="connsiteX17" fmla="*/ 490609 w 1757434"/>
                  <a:gd name="connsiteY17" fmla="*/ 1471613 h 2476500"/>
                  <a:gd name="connsiteX18" fmla="*/ 473147 w 1757434"/>
                  <a:gd name="connsiteY18" fmla="*/ 1481138 h 2476500"/>
                  <a:gd name="connsiteX19" fmla="*/ 466797 w 1757434"/>
                  <a:gd name="connsiteY19" fmla="*/ 1489075 h 2476500"/>
                  <a:gd name="connsiteX20" fmla="*/ 462034 w 1757434"/>
                  <a:gd name="connsiteY20" fmla="*/ 1490663 h 2476500"/>
                  <a:gd name="connsiteX21" fmla="*/ 454097 w 1757434"/>
                  <a:gd name="connsiteY21" fmla="*/ 1497013 h 2476500"/>
                  <a:gd name="connsiteX22" fmla="*/ 446159 w 1757434"/>
                  <a:gd name="connsiteY22" fmla="*/ 1504950 h 2476500"/>
                  <a:gd name="connsiteX23" fmla="*/ 439809 w 1757434"/>
                  <a:gd name="connsiteY23" fmla="*/ 1500188 h 2476500"/>
                  <a:gd name="connsiteX24" fmla="*/ 436315 w 1757434"/>
                  <a:gd name="connsiteY24" fmla="*/ 1499023 h 2476500"/>
                  <a:gd name="connsiteX25" fmla="*/ 438112 w 1757434"/>
                  <a:gd name="connsiteY25" fmla="*/ 1502403 h 2476500"/>
                  <a:gd name="connsiteX26" fmla="*/ 441397 w 1757434"/>
                  <a:gd name="connsiteY26" fmla="*/ 1509713 h 2476500"/>
                  <a:gd name="connsiteX27" fmla="*/ 444572 w 1757434"/>
                  <a:gd name="connsiteY27" fmla="*/ 1520825 h 2476500"/>
                  <a:gd name="connsiteX28" fmla="*/ 447747 w 1757434"/>
                  <a:gd name="connsiteY28" fmla="*/ 1525588 h 2476500"/>
                  <a:gd name="connsiteX29" fmla="*/ 455684 w 1757434"/>
                  <a:gd name="connsiteY29" fmla="*/ 1528763 h 2476500"/>
                  <a:gd name="connsiteX30" fmla="*/ 463622 w 1757434"/>
                  <a:gd name="connsiteY30" fmla="*/ 1533525 h 2476500"/>
                  <a:gd name="connsiteX31" fmla="*/ 466797 w 1757434"/>
                  <a:gd name="connsiteY31" fmla="*/ 1544638 h 2476500"/>
                  <a:gd name="connsiteX32" fmla="*/ 471559 w 1757434"/>
                  <a:gd name="connsiteY32" fmla="*/ 1546225 h 2476500"/>
                  <a:gd name="connsiteX33" fmla="*/ 469972 w 1757434"/>
                  <a:gd name="connsiteY33" fmla="*/ 1531938 h 2476500"/>
                  <a:gd name="connsiteX34" fmla="*/ 465209 w 1757434"/>
                  <a:gd name="connsiteY34" fmla="*/ 1527175 h 2476500"/>
                  <a:gd name="connsiteX35" fmla="*/ 460447 w 1757434"/>
                  <a:gd name="connsiteY35" fmla="*/ 1520825 h 2476500"/>
                  <a:gd name="connsiteX36" fmla="*/ 466797 w 1757434"/>
                  <a:gd name="connsiteY36" fmla="*/ 1506538 h 2476500"/>
                  <a:gd name="connsiteX37" fmla="*/ 471559 w 1757434"/>
                  <a:gd name="connsiteY37" fmla="*/ 1508125 h 2476500"/>
                  <a:gd name="connsiteX38" fmla="*/ 476322 w 1757434"/>
                  <a:gd name="connsiteY38" fmla="*/ 1514475 h 2476500"/>
                  <a:gd name="connsiteX39" fmla="*/ 503309 w 1757434"/>
                  <a:gd name="connsiteY39" fmla="*/ 1511300 h 2476500"/>
                  <a:gd name="connsiteX40" fmla="*/ 508072 w 1757434"/>
                  <a:gd name="connsiteY40" fmla="*/ 1508125 h 2476500"/>
                  <a:gd name="connsiteX41" fmla="*/ 506484 w 1757434"/>
                  <a:gd name="connsiteY41" fmla="*/ 1500188 h 2476500"/>
                  <a:gd name="connsiteX42" fmla="*/ 511247 w 1757434"/>
                  <a:gd name="connsiteY42" fmla="*/ 1474788 h 2476500"/>
                  <a:gd name="connsiteX43" fmla="*/ 517597 w 1757434"/>
                  <a:gd name="connsiteY43" fmla="*/ 1471613 h 2476500"/>
                  <a:gd name="connsiteX44" fmla="*/ 522378 w 1757434"/>
                  <a:gd name="connsiteY44" fmla="*/ 1470040 h 2476500"/>
                  <a:gd name="connsiteX45" fmla="*/ 524394 w 1757434"/>
                  <a:gd name="connsiteY45" fmla="*/ 1468685 h 2476500"/>
                  <a:gd name="connsiteX46" fmla="*/ 525534 w 1757434"/>
                  <a:gd name="connsiteY46" fmla="*/ 1465263 h 2476500"/>
                  <a:gd name="connsiteX47" fmla="*/ 526329 w 1757434"/>
                  <a:gd name="connsiteY47" fmla="*/ 1464070 h 2476500"/>
                  <a:gd name="connsiteX48" fmla="*/ 524516 w 1757434"/>
                  <a:gd name="connsiteY48" fmla="*/ 1468602 h 2476500"/>
                  <a:gd name="connsiteX49" fmla="*/ 527122 w 1757434"/>
                  <a:gd name="connsiteY49" fmla="*/ 1466850 h 2476500"/>
                  <a:gd name="connsiteX50" fmla="*/ 531884 w 1757434"/>
                  <a:gd name="connsiteY50" fmla="*/ 1457325 h 2476500"/>
                  <a:gd name="connsiteX51" fmla="*/ 541409 w 1757434"/>
                  <a:gd name="connsiteY51" fmla="*/ 1454150 h 2476500"/>
                  <a:gd name="connsiteX52" fmla="*/ 544498 w 1757434"/>
                  <a:gd name="connsiteY52" fmla="*/ 1452091 h 2476500"/>
                  <a:gd name="connsiteX53" fmla="*/ 535059 w 1757434"/>
                  <a:gd name="connsiteY53" fmla="*/ 1452563 h 2476500"/>
                  <a:gd name="connsiteX54" fmla="*/ 530297 w 1757434"/>
                  <a:gd name="connsiteY54" fmla="*/ 1455738 h 2476500"/>
                  <a:gd name="connsiteX55" fmla="*/ 528709 w 1757434"/>
                  <a:gd name="connsiteY55" fmla="*/ 1460500 h 2476500"/>
                  <a:gd name="connsiteX56" fmla="*/ 526329 w 1757434"/>
                  <a:gd name="connsiteY56" fmla="*/ 1464070 h 2476500"/>
                  <a:gd name="connsiteX57" fmla="*/ 527122 w 1757434"/>
                  <a:gd name="connsiteY57" fmla="*/ 1462088 h 2476500"/>
                  <a:gd name="connsiteX58" fmla="*/ 522359 w 1757434"/>
                  <a:gd name="connsiteY58" fmla="*/ 1443038 h 2476500"/>
                  <a:gd name="connsiteX59" fmla="*/ 527122 w 1757434"/>
                  <a:gd name="connsiteY59" fmla="*/ 1436688 h 2476500"/>
                  <a:gd name="connsiteX60" fmla="*/ 531884 w 1757434"/>
                  <a:gd name="connsiteY60" fmla="*/ 1435100 h 2476500"/>
                  <a:gd name="connsiteX61" fmla="*/ 533472 w 1757434"/>
                  <a:gd name="connsiteY61" fmla="*/ 1425575 h 2476500"/>
                  <a:gd name="connsiteX62" fmla="*/ 546001 w 1757434"/>
                  <a:gd name="connsiteY62" fmla="*/ 1429262 h 2476500"/>
                  <a:gd name="connsiteX63" fmla="*/ 552494 w 1757434"/>
                  <a:gd name="connsiteY63" fmla="*/ 1431898 h 2476500"/>
                  <a:gd name="connsiteX64" fmla="*/ 552522 w 1757434"/>
                  <a:gd name="connsiteY64" fmla="*/ 1431925 h 2476500"/>
                  <a:gd name="connsiteX65" fmla="*/ 560459 w 1757434"/>
                  <a:gd name="connsiteY65" fmla="*/ 1435100 h 2476500"/>
                  <a:gd name="connsiteX66" fmla="*/ 554988 w 1757434"/>
                  <a:gd name="connsiteY66" fmla="*/ 1432911 h 2476500"/>
                  <a:gd name="connsiteX67" fmla="*/ 552494 w 1757434"/>
                  <a:gd name="connsiteY67" fmla="*/ 1431898 h 2476500"/>
                  <a:gd name="connsiteX68" fmla="*/ 544393 w 1757434"/>
                  <a:gd name="connsiteY68" fmla="*/ 1424206 h 2476500"/>
                  <a:gd name="connsiteX69" fmla="*/ 539822 w 1757434"/>
                  <a:gd name="connsiteY69" fmla="*/ 1419225 h 2476500"/>
                  <a:gd name="connsiteX70" fmla="*/ 541409 w 1757434"/>
                  <a:gd name="connsiteY70" fmla="*/ 1409700 h 2476500"/>
                  <a:gd name="connsiteX71" fmla="*/ 546172 w 1757434"/>
                  <a:gd name="connsiteY71" fmla="*/ 1406525 h 2476500"/>
                  <a:gd name="connsiteX72" fmla="*/ 565222 w 1757434"/>
                  <a:gd name="connsiteY72" fmla="*/ 1393825 h 2476500"/>
                  <a:gd name="connsiteX73" fmla="*/ 566809 w 1757434"/>
                  <a:gd name="connsiteY73" fmla="*/ 1389063 h 2476500"/>
                  <a:gd name="connsiteX74" fmla="*/ 560459 w 1757434"/>
                  <a:gd name="connsiteY74" fmla="*/ 1377950 h 2476500"/>
                  <a:gd name="connsiteX75" fmla="*/ 574747 w 1757434"/>
                  <a:gd name="connsiteY75" fmla="*/ 1366838 h 2476500"/>
                  <a:gd name="connsiteX76" fmla="*/ 576334 w 1757434"/>
                  <a:gd name="connsiteY76" fmla="*/ 1362075 h 2476500"/>
                  <a:gd name="connsiteX77" fmla="*/ 574747 w 1757434"/>
                  <a:gd name="connsiteY77" fmla="*/ 1352550 h 2476500"/>
                  <a:gd name="connsiteX78" fmla="*/ 565222 w 1757434"/>
                  <a:gd name="connsiteY78" fmla="*/ 1354138 h 2476500"/>
                  <a:gd name="connsiteX79" fmla="*/ 555697 w 1757434"/>
                  <a:gd name="connsiteY79" fmla="*/ 1360488 h 2476500"/>
                  <a:gd name="connsiteX80" fmla="*/ 550934 w 1757434"/>
                  <a:gd name="connsiteY80" fmla="*/ 1362075 h 2476500"/>
                  <a:gd name="connsiteX81" fmla="*/ 558872 w 1757434"/>
                  <a:gd name="connsiteY81" fmla="*/ 1357313 h 2476500"/>
                  <a:gd name="connsiteX82" fmla="*/ 565222 w 1757434"/>
                  <a:gd name="connsiteY82" fmla="*/ 1349375 h 2476500"/>
                  <a:gd name="connsiteX83" fmla="*/ 569984 w 1757434"/>
                  <a:gd name="connsiteY83" fmla="*/ 1338263 h 2476500"/>
                  <a:gd name="connsiteX84" fmla="*/ 1487559 w 1757434"/>
                  <a:gd name="connsiteY84" fmla="*/ 0 h 2476500"/>
                  <a:gd name="connsiteX85" fmla="*/ 1497084 w 1757434"/>
                  <a:gd name="connsiteY85" fmla="*/ 1588 h 2476500"/>
                  <a:gd name="connsiteX86" fmla="*/ 1497084 w 1757434"/>
                  <a:gd name="connsiteY86" fmla="*/ 22225 h 2476500"/>
                  <a:gd name="connsiteX87" fmla="*/ 1501847 w 1757434"/>
                  <a:gd name="connsiteY87" fmla="*/ 26988 h 2476500"/>
                  <a:gd name="connsiteX88" fmla="*/ 1508197 w 1757434"/>
                  <a:gd name="connsiteY88" fmla="*/ 20638 h 2476500"/>
                  <a:gd name="connsiteX89" fmla="*/ 1516134 w 1757434"/>
                  <a:gd name="connsiteY89" fmla="*/ 15875 h 2476500"/>
                  <a:gd name="connsiteX90" fmla="*/ 1511372 w 1757434"/>
                  <a:gd name="connsiteY90" fmla="*/ 34925 h 2476500"/>
                  <a:gd name="connsiteX91" fmla="*/ 1516134 w 1757434"/>
                  <a:gd name="connsiteY91" fmla="*/ 36513 h 2476500"/>
                  <a:gd name="connsiteX92" fmla="*/ 1527247 w 1757434"/>
                  <a:gd name="connsiteY92" fmla="*/ 33338 h 2476500"/>
                  <a:gd name="connsiteX93" fmla="*/ 1530422 w 1757434"/>
                  <a:gd name="connsiteY93" fmla="*/ 47625 h 2476500"/>
                  <a:gd name="connsiteX94" fmla="*/ 1527247 w 1757434"/>
                  <a:gd name="connsiteY94" fmla="*/ 57150 h 2476500"/>
                  <a:gd name="connsiteX95" fmla="*/ 1522484 w 1757434"/>
                  <a:gd name="connsiteY95" fmla="*/ 65088 h 2476500"/>
                  <a:gd name="connsiteX96" fmla="*/ 1519309 w 1757434"/>
                  <a:gd name="connsiteY96" fmla="*/ 71438 h 2476500"/>
                  <a:gd name="connsiteX97" fmla="*/ 1520897 w 1757434"/>
                  <a:gd name="connsiteY97" fmla="*/ 98425 h 2476500"/>
                  <a:gd name="connsiteX98" fmla="*/ 1525659 w 1757434"/>
                  <a:gd name="connsiteY98" fmla="*/ 103188 h 2476500"/>
                  <a:gd name="connsiteX99" fmla="*/ 1530422 w 1757434"/>
                  <a:gd name="connsiteY99" fmla="*/ 111125 h 2476500"/>
                  <a:gd name="connsiteX100" fmla="*/ 1543122 w 1757434"/>
                  <a:gd name="connsiteY100" fmla="*/ 106363 h 2476500"/>
                  <a:gd name="connsiteX101" fmla="*/ 1544709 w 1757434"/>
                  <a:gd name="connsiteY101" fmla="*/ 98425 h 2476500"/>
                  <a:gd name="connsiteX102" fmla="*/ 1541534 w 1757434"/>
                  <a:gd name="connsiteY102" fmla="*/ 66675 h 2476500"/>
                  <a:gd name="connsiteX103" fmla="*/ 1538359 w 1757434"/>
                  <a:gd name="connsiteY103" fmla="*/ 49213 h 2476500"/>
                  <a:gd name="connsiteX104" fmla="*/ 1543122 w 1757434"/>
                  <a:gd name="connsiteY104" fmla="*/ 46038 h 2476500"/>
                  <a:gd name="connsiteX105" fmla="*/ 1544709 w 1757434"/>
                  <a:gd name="connsiteY105" fmla="*/ 52388 h 2476500"/>
                  <a:gd name="connsiteX106" fmla="*/ 1551059 w 1757434"/>
                  <a:gd name="connsiteY106" fmla="*/ 36513 h 2476500"/>
                  <a:gd name="connsiteX107" fmla="*/ 1557409 w 1757434"/>
                  <a:gd name="connsiteY107" fmla="*/ 31750 h 2476500"/>
                  <a:gd name="connsiteX108" fmla="*/ 1568522 w 1757434"/>
                  <a:gd name="connsiteY108" fmla="*/ 26988 h 2476500"/>
                  <a:gd name="connsiteX109" fmla="*/ 1563759 w 1757434"/>
                  <a:gd name="connsiteY109" fmla="*/ 34925 h 2476500"/>
                  <a:gd name="connsiteX110" fmla="*/ 1566934 w 1757434"/>
                  <a:gd name="connsiteY110" fmla="*/ 79375 h 2476500"/>
                  <a:gd name="connsiteX111" fmla="*/ 1573284 w 1757434"/>
                  <a:gd name="connsiteY111" fmla="*/ 77788 h 2476500"/>
                  <a:gd name="connsiteX112" fmla="*/ 1579634 w 1757434"/>
                  <a:gd name="connsiteY112" fmla="*/ 58738 h 2476500"/>
                  <a:gd name="connsiteX113" fmla="*/ 1585984 w 1757434"/>
                  <a:gd name="connsiteY113" fmla="*/ 42863 h 2476500"/>
                  <a:gd name="connsiteX114" fmla="*/ 1592334 w 1757434"/>
                  <a:gd name="connsiteY114" fmla="*/ 36513 h 2476500"/>
                  <a:gd name="connsiteX115" fmla="*/ 1593922 w 1757434"/>
                  <a:gd name="connsiteY115" fmla="*/ 42863 h 2476500"/>
                  <a:gd name="connsiteX116" fmla="*/ 1592334 w 1757434"/>
                  <a:gd name="connsiteY116" fmla="*/ 61913 h 2476500"/>
                  <a:gd name="connsiteX117" fmla="*/ 1617734 w 1757434"/>
                  <a:gd name="connsiteY117" fmla="*/ 46038 h 2476500"/>
                  <a:gd name="connsiteX118" fmla="*/ 1622497 w 1757434"/>
                  <a:gd name="connsiteY118" fmla="*/ 52388 h 2476500"/>
                  <a:gd name="connsiteX119" fmla="*/ 1619322 w 1757434"/>
                  <a:gd name="connsiteY119" fmla="*/ 73025 h 2476500"/>
                  <a:gd name="connsiteX120" fmla="*/ 1622497 w 1757434"/>
                  <a:gd name="connsiteY120" fmla="*/ 84138 h 2476500"/>
                  <a:gd name="connsiteX121" fmla="*/ 1627259 w 1757434"/>
                  <a:gd name="connsiteY121" fmla="*/ 87313 h 2476500"/>
                  <a:gd name="connsiteX122" fmla="*/ 1635197 w 1757434"/>
                  <a:gd name="connsiteY122" fmla="*/ 80963 h 2476500"/>
                  <a:gd name="connsiteX123" fmla="*/ 1641547 w 1757434"/>
                  <a:gd name="connsiteY123" fmla="*/ 69850 h 2476500"/>
                  <a:gd name="connsiteX124" fmla="*/ 1644722 w 1757434"/>
                  <a:gd name="connsiteY124" fmla="*/ 63500 h 2476500"/>
                  <a:gd name="connsiteX125" fmla="*/ 1651072 w 1757434"/>
                  <a:gd name="connsiteY125" fmla="*/ 58738 h 2476500"/>
                  <a:gd name="connsiteX126" fmla="*/ 1659009 w 1757434"/>
                  <a:gd name="connsiteY126" fmla="*/ 63500 h 2476500"/>
                  <a:gd name="connsiteX127" fmla="*/ 1654247 w 1757434"/>
                  <a:gd name="connsiteY127" fmla="*/ 77788 h 2476500"/>
                  <a:gd name="connsiteX128" fmla="*/ 1657422 w 1757434"/>
                  <a:gd name="connsiteY128" fmla="*/ 84138 h 2476500"/>
                  <a:gd name="connsiteX129" fmla="*/ 1662184 w 1757434"/>
                  <a:gd name="connsiteY129" fmla="*/ 77788 h 2476500"/>
                  <a:gd name="connsiteX130" fmla="*/ 1666947 w 1757434"/>
                  <a:gd name="connsiteY130" fmla="*/ 69850 h 2476500"/>
                  <a:gd name="connsiteX131" fmla="*/ 1678059 w 1757434"/>
                  <a:gd name="connsiteY131" fmla="*/ 63500 h 2476500"/>
                  <a:gd name="connsiteX132" fmla="*/ 1692347 w 1757434"/>
                  <a:gd name="connsiteY132" fmla="*/ 65088 h 2476500"/>
                  <a:gd name="connsiteX133" fmla="*/ 1700284 w 1757434"/>
                  <a:gd name="connsiteY133" fmla="*/ 68263 h 2476500"/>
                  <a:gd name="connsiteX134" fmla="*/ 1697109 w 1757434"/>
                  <a:gd name="connsiteY134" fmla="*/ 74613 h 2476500"/>
                  <a:gd name="connsiteX135" fmla="*/ 1689172 w 1757434"/>
                  <a:gd name="connsiteY135" fmla="*/ 79375 h 2476500"/>
                  <a:gd name="connsiteX136" fmla="*/ 1714572 w 1757434"/>
                  <a:gd name="connsiteY136" fmla="*/ 90488 h 2476500"/>
                  <a:gd name="connsiteX137" fmla="*/ 1711397 w 1757434"/>
                  <a:gd name="connsiteY137" fmla="*/ 98425 h 2476500"/>
                  <a:gd name="connsiteX138" fmla="*/ 1700284 w 1757434"/>
                  <a:gd name="connsiteY138" fmla="*/ 106363 h 2476500"/>
                  <a:gd name="connsiteX139" fmla="*/ 1690759 w 1757434"/>
                  <a:gd name="connsiteY139" fmla="*/ 114300 h 2476500"/>
                  <a:gd name="connsiteX140" fmla="*/ 1687584 w 1757434"/>
                  <a:gd name="connsiteY140" fmla="*/ 119063 h 2476500"/>
                  <a:gd name="connsiteX141" fmla="*/ 1685997 w 1757434"/>
                  <a:gd name="connsiteY141" fmla="*/ 123825 h 2476500"/>
                  <a:gd name="connsiteX142" fmla="*/ 1684409 w 1757434"/>
                  <a:gd name="connsiteY142" fmla="*/ 130175 h 2476500"/>
                  <a:gd name="connsiteX143" fmla="*/ 1681234 w 1757434"/>
                  <a:gd name="connsiteY143" fmla="*/ 136525 h 2476500"/>
                  <a:gd name="connsiteX144" fmla="*/ 1674884 w 1757434"/>
                  <a:gd name="connsiteY144" fmla="*/ 138113 h 2476500"/>
                  <a:gd name="connsiteX145" fmla="*/ 1655834 w 1757434"/>
                  <a:gd name="connsiteY145" fmla="*/ 144463 h 2476500"/>
                  <a:gd name="connsiteX146" fmla="*/ 1649484 w 1757434"/>
                  <a:gd name="connsiteY146" fmla="*/ 146050 h 2476500"/>
                  <a:gd name="connsiteX147" fmla="*/ 1641547 w 1757434"/>
                  <a:gd name="connsiteY147" fmla="*/ 149225 h 2476500"/>
                  <a:gd name="connsiteX148" fmla="*/ 1597097 w 1757434"/>
                  <a:gd name="connsiteY148" fmla="*/ 150813 h 2476500"/>
                  <a:gd name="connsiteX149" fmla="*/ 1592334 w 1757434"/>
                  <a:gd name="connsiteY149" fmla="*/ 152400 h 2476500"/>
                  <a:gd name="connsiteX150" fmla="*/ 1593922 w 1757434"/>
                  <a:gd name="connsiteY150" fmla="*/ 158750 h 2476500"/>
                  <a:gd name="connsiteX151" fmla="*/ 1628847 w 1757434"/>
                  <a:gd name="connsiteY151" fmla="*/ 160338 h 2476500"/>
                  <a:gd name="connsiteX152" fmla="*/ 1641547 w 1757434"/>
                  <a:gd name="connsiteY152" fmla="*/ 168275 h 2476500"/>
                  <a:gd name="connsiteX153" fmla="*/ 1643134 w 1757434"/>
                  <a:gd name="connsiteY153" fmla="*/ 177800 h 2476500"/>
                  <a:gd name="connsiteX154" fmla="*/ 1641547 w 1757434"/>
                  <a:gd name="connsiteY154" fmla="*/ 185738 h 2476500"/>
                  <a:gd name="connsiteX155" fmla="*/ 1641547 w 1757434"/>
                  <a:gd name="connsiteY155" fmla="*/ 198438 h 2476500"/>
                  <a:gd name="connsiteX156" fmla="*/ 1646309 w 1757434"/>
                  <a:gd name="connsiteY156" fmla="*/ 200025 h 2476500"/>
                  <a:gd name="connsiteX157" fmla="*/ 1652659 w 1757434"/>
                  <a:gd name="connsiteY157" fmla="*/ 192088 h 2476500"/>
                  <a:gd name="connsiteX158" fmla="*/ 1663772 w 1757434"/>
                  <a:gd name="connsiteY158" fmla="*/ 182563 h 2476500"/>
                  <a:gd name="connsiteX159" fmla="*/ 1666947 w 1757434"/>
                  <a:gd name="connsiteY159" fmla="*/ 187325 h 2476500"/>
                  <a:gd name="connsiteX160" fmla="*/ 1668534 w 1757434"/>
                  <a:gd name="connsiteY160" fmla="*/ 200025 h 2476500"/>
                  <a:gd name="connsiteX161" fmla="*/ 1673297 w 1757434"/>
                  <a:gd name="connsiteY161" fmla="*/ 196850 h 2476500"/>
                  <a:gd name="connsiteX162" fmla="*/ 1681234 w 1757434"/>
                  <a:gd name="connsiteY162" fmla="*/ 195263 h 2476500"/>
                  <a:gd name="connsiteX163" fmla="*/ 1685997 w 1757434"/>
                  <a:gd name="connsiteY163" fmla="*/ 196850 h 2476500"/>
                  <a:gd name="connsiteX164" fmla="*/ 1692347 w 1757434"/>
                  <a:gd name="connsiteY164" fmla="*/ 180975 h 2476500"/>
                  <a:gd name="connsiteX165" fmla="*/ 1695522 w 1757434"/>
                  <a:gd name="connsiteY165" fmla="*/ 176213 h 2476500"/>
                  <a:gd name="connsiteX166" fmla="*/ 1697109 w 1757434"/>
                  <a:gd name="connsiteY166" fmla="*/ 171450 h 2476500"/>
                  <a:gd name="connsiteX167" fmla="*/ 1703459 w 1757434"/>
                  <a:gd name="connsiteY167" fmla="*/ 168275 h 2476500"/>
                  <a:gd name="connsiteX168" fmla="*/ 1705047 w 1757434"/>
                  <a:gd name="connsiteY168" fmla="*/ 184150 h 2476500"/>
                  <a:gd name="connsiteX169" fmla="*/ 1709809 w 1757434"/>
                  <a:gd name="connsiteY169" fmla="*/ 193675 h 2476500"/>
                  <a:gd name="connsiteX170" fmla="*/ 1712984 w 1757434"/>
                  <a:gd name="connsiteY170" fmla="*/ 184150 h 2476500"/>
                  <a:gd name="connsiteX171" fmla="*/ 1717747 w 1757434"/>
                  <a:gd name="connsiteY171" fmla="*/ 180975 h 2476500"/>
                  <a:gd name="connsiteX172" fmla="*/ 1732034 w 1757434"/>
                  <a:gd name="connsiteY172" fmla="*/ 171450 h 2476500"/>
                  <a:gd name="connsiteX173" fmla="*/ 1733622 w 1757434"/>
                  <a:gd name="connsiteY173" fmla="*/ 179388 h 2476500"/>
                  <a:gd name="connsiteX174" fmla="*/ 1736797 w 1757434"/>
                  <a:gd name="connsiteY174" fmla="*/ 184150 h 2476500"/>
                  <a:gd name="connsiteX175" fmla="*/ 1744734 w 1757434"/>
                  <a:gd name="connsiteY175" fmla="*/ 185738 h 2476500"/>
                  <a:gd name="connsiteX176" fmla="*/ 1749497 w 1757434"/>
                  <a:gd name="connsiteY176" fmla="*/ 190500 h 2476500"/>
                  <a:gd name="connsiteX177" fmla="*/ 1754259 w 1757434"/>
                  <a:gd name="connsiteY177" fmla="*/ 192088 h 2476500"/>
                  <a:gd name="connsiteX178" fmla="*/ 1752672 w 1757434"/>
                  <a:gd name="connsiteY178" fmla="*/ 203200 h 2476500"/>
                  <a:gd name="connsiteX179" fmla="*/ 1754259 w 1757434"/>
                  <a:gd name="connsiteY179" fmla="*/ 222250 h 2476500"/>
                  <a:gd name="connsiteX180" fmla="*/ 1757434 w 1757434"/>
                  <a:gd name="connsiteY180" fmla="*/ 233363 h 2476500"/>
                  <a:gd name="connsiteX181" fmla="*/ 1752672 w 1757434"/>
                  <a:gd name="connsiteY181" fmla="*/ 238125 h 2476500"/>
                  <a:gd name="connsiteX182" fmla="*/ 1739972 w 1757434"/>
                  <a:gd name="connsiteY182" fmla="*/ 225425 h 2476500"/>
                  <a:gd name="connsiteX183" fmla="*/ 1709809 w 1757434"/>
                  <a:gd name="connsiteY183" fmla="*/ 223838 h 2476500"/>
                  <a:gd name="connsiteX184" fmla="*/ 1705047 w 1757434"/>
                  <a:gd name="connsiteY184" fmla="*/ 220663 h 2476500"/>
                  <a:gd name="connsiteX185" fmla="*/ 1703459 w 1757434"/>
                  <a:gd name="connsiteY185" fmla="*/ 225425 h 2476500"/>
                  <a:gd name="connsiteX186" fmla="*/ 1698697 w 1757434"/>
                  <a:gd name="connsiteY186" fmla="*/ 244475 h 2476500"/>
                  <a:gd name="connsiteX187" fmla="*/ 1692347 w 1757434"/>
                  <a:gd name="connsiteY187" fmla="*/ 249238 h 2476500"/>
                  <a:gd name="connsiteX188" fmla="*/ 1682822 w 1757434"/>
                  <a:gd name="connsiteY188" fmla="*/ 261938 h 2476500"/>
                  <a:gd name="connsiteX189" fmla="*/ 1676472 w 1757434"/>
                  <a:gd name="connsiteY189" fmla="*/ 269875 h 2476500"/>
                  <a:gd name="connsiteX190" fmla="*/ 1671709 w 1757434"/>
                  <a:gd name="connsiteY190" fmla="*/ 274638 h 2476500"/>
                  <a:gd name="connsiteX191" fmla="*/ 1668534 w 1757434"/>
                  <a:gd name="connsiteY191" fmla="*/ 280988 h 2476500"/>
                  <a:gd name="connsiteX192" fmla="*/ 1670122 w 1757434"/>
                  <a:gd name="connsiteY192" fmla="*/ 319088 h 2476500"/>
                  <a:gd name="connsiteX193" fmla="*/ 1665359 w 1757434"/>
                  <a:gd name="connsiteY193" fmla="*/ 331788 h 2476500"/>
                  <a:gd name="connsiteX194" fmla="*/ 1655834 w 1757434"/>
                  <a:gd name="connsiteY194" fmla="*/ 328613 h 2476500"/>
                  <a:gd name="connsiteX195" fmla="*/ 1643134 w 1757434"/>
                  <a:gd name="connsiteY195" fmla="*/ 323850 h 2476500"/>
                  <a:gd name="connsiteX196" fmla="*/ 1638372 w 1757434"/>
                  <a:gd name="connsiteY196" fmla="*/ 315913 h 2476500"/>
                  <a:gd name="connsiteX197" fmla="*/ 1641547 w 1757434"/>
                  <a:gd name="connsiteY197" fmla="*/ 298450 h 2476500"/>
                  <a:gd name="connsiteX198" fmla="*/ 1644722 w 1757434"/>
                  <a:gd name="connsiteY198" fmla="*/ 290513 h 2476500"/>
                  <a:gd name="connsiteX199" fmla="*/ 1649484 w 1757434"/>
                  <a:gd name="connsiteY199" fmla="*/ 285750 h 2476500"/>
                  <a:gd name="connsiteX200" fmla="*/ 1651072 w 1757434"/>
                  <a:gd name="connsiteY200" fmla="*/ 274638 h 2476500"/>
                  <a:gd name="connsiteX201" fmla="*/ 1654247 w 1757434"/>
                  <a:gd name="connsiteY201" fmla="*/ 268288 h 2476500"/>
                  <a:gd name="connsiteX202" fmla="*/ 1652659 w 1757434"/>
                  <a:gd name="connsiteY202" fmla="*/ 255588 h 2476500"/>
                  <a:gd name="connsiteX203" fmla="*/ 1639959 w 1757434"/>
                  <a:gd name="connsiteY203" fmla="*/ 239713 h 2476500"/>
                  <a:gd name="connsiteX204" fmla="*/ 1628847 w 1757434"/>
                  <a:gd name="connsiteY204" fmla="*/ 236538 h 2476500"/>
                  <a:gd name="connsiteX205" fmla="*/ 1620909 w 1757434"/>
                  <a:gd name="connsiteY205" fmla="*/ 231775 h 2476500"/>
                  <a:gd name="connsiteX206" fmla="*/ 1605034 w 1757434"/>
                  <a:gd name="connsiteY206" fmla="*/ 223838 h 2476500"/>
                  <a:gd name="connsiteX207" fmla="*/ 1597097 w 1757434"/>
                  <a:gd name="connsiteY207" fmla="*/ 217488 h 2476500"/>
                  <a:gd name="connsiteX208" fmla="*/ 1584397 w 1757434"/>
                  <a:gd name="connsiteY208" fmla="*/ 215900 h 2476500"/>
                  <a:gd name="connsiteX209" fmla="*/ 1582809 w 1757434"/>
                  <a:gd name="connsiteY209" fmla="*/ 211138 h 2476500"/>
                  <a:gd name="connsiteX210" fmla="*/ 1579634 w 1757434"/>
                  <a:gd name="connsiteY210" fmla="*/ 204788 h 2476500"/>
                  <a:gd name="connsiteX211" fmla="*/ 1554234 w 1757434"/>
                  <a:gd name="connsiteY211" fmla="*/ 200025 h 2476500"/>
                  <a:gd name="connsiteX212" fmla="*/ 1552647 w 1757434"/>
                  <a:gd name="connsiteY212" fmla="*/ 190500 h 2476500"/>
                  <a:gd name="connsiteX213" fmla="*/ 1543122 w 1757434"/>
                  <a:gd name="connsiteY213" fmla="*/ 184150 h 2476500"/>
                  <a:gd name="connsiteX214" fmla="*/ 1522484 w 1757434"/>
                  <a:gd name="connsiteY214" fmla="*/ 185738 h 2476500"/>
                  <a:gd name="connsiteX215" fmla="*/ 1516134 w 1757434"/>
                  <a:gd name="connsiteY215" fmla="*/ 190500 h 2476500"/>
                  <a:gd name="connsiteX216" fmla="*/ 1511372 w 1757434"/>
                  <a:gd name="connsiteY216" fmla="*/ 193675 h 2476500"/>
                  <a:gd name="connsiteX217" fmla="*/ 1506609 w 1757434"/>
                  <a:gd name="connsiteY217" fmla="*/ 201613 h 2476500"/>
                  <a:gd name="connsiteX218" fmla="*/ 1503434 w 1757434"/>
                  <a:gd name="connsiteY218" fmla="*/ 206375 h 2476500"/>
                  <a:gd name="connsiteX219" fmla="*/ 1500259 w 1757434"/>
                  <a:gd name="connsiteY219" fmla="*/ 214313 h 2476500"/>
                  <a:gd name="connsiteX220" fmla="*/ 1493909 w 1757434"/>
                  <a:gd name="connsiteY220" fmla="*/ 215900 h 2476500"/>
                  <a:gd name="connsiteX221" fmla="*/ 1474859 w 1757434"/>
                  <a:gd name="connsiteY221" fmla="*/ 225425 h 2476500"/>
                  <a:gd name="connsiteX222" fmla="*/ 1460572 w 1757434"/>
                  <a:gd name="connsiteY222" fmla="*/ 233363 h 2476500"/>
                  <a:gd name="connsiteX223" fmla="*/ 1457397 w 1757434"/>
                  <a:gd name="connsiteY223" fmla="*/ 239713 h 2476500"/>
                  <a:gd name="connsiteX224" fmla="*/ 1455809 w 1757434"/>
                  <a:gd name="connsiteY224" fmla="*/ 244475 h 2476500"/>
                  <a:gd name="connsiteX225" fmla="*/ 1451047 w 1757434"/>
                  <a:gd name="connsiteY225" fmla="*/ 249238 h 2476500"/>
                  <a:gd name="connsiteX226" fmla="*/ 1435172 w 1757434"/>
                  <a:gd name="connsiteY226" fmla="*/ 266700 h 2476500"/>
                  <a:gd name="connsiteX227" fmla="*/ 1436759 w 1757434"/>
                  <a:gd name="connsiteY227" fmla="*/ 277813 h 2476500"/>
                  <a:gd name="connsiteX228" fmla="*/ 1441522 w 1757434"/>
                  <a:gd name="connsiteY228" fmla="*/ 287338 h 2476500"/>
                  <a:gd name="connsiteX229" fmla="*/ 1443109 w 1757434"/>
                  <a:gd name="connsiteY229" fmla="*/ 293688 h 2476500"/>
                  <a:gd name="connsiteX230" fmla="*/ 1441522 w 1757434"/>
                  <a:gd name="connsiteY230" fmla="*/ 325438 h 2476500"/>
                  <a:gd name="connsiteX231" fmla="*/ 1441522 w 1757434"/>
                  <a:gd name="connsiteY231" fmla="*/ 360363 h 2476500"/>
                  <a:gd name="connsiteX232" fmla="*/ 1449459 w 1757434"/>
                  <a:gd name="connsiteY232" fmla="*/ 361950 h 2476500"/>
                  <a:gd name="connsiteX233" fmla="*/ 1458984 w 1757434"/>
                  <a:gd name="connsiteY233" fmla="*/ 365125 h 2476500"/>
                  <a:gd name="connsiteX234" fmla="*/ 1458984 w 1757434"/>
                  <a:gd name="connsiteY234" fmla="*/ 409575 h 2476500"/>
                  <a:gd name="connsiteX235" fmla="*/ 1444697 w 1757434"/>
                  <a:gd name="connsiteY235" fmla="*/ 411163 h 2476500"/>
                  <a:gd name="connsiteX236" fmla="*/ 1435172 w 1757434"/>
                  <a:gd name="connsiteY236" fmla="*/ 415925 h 2476500"/>
                  <a:gd name="connsiteX237" fmla="*/ 1436759 w 1757434"/>
                  <a:gd name="connsiteY237" fmla="*/ 423863 h 2476500"/>
                  <a:gd name="connsiteX238" fmla="*/ 1433584 w 1757434"/>
                  <a:gd name="connsiteY238" fmla="*/ 471488 h 2476500"/>
                  <a:gd name="connsiteX239" fmla="*/ 1419297 w 1757434"/>
                  <a:gd name="connsiteY239" fmla="*/ 465138 h 2476500"/>
                  <a:gd name="connsiteX240" fmla="*/ 1412947 w 1757434"/>
                  <a:gd name="connsiteY240" fmla="*/ 461963 h 2476500"/>
                  <a:gd name="connsiteX241" fmla="*/ 1390722 w 1757434"/>
                  <a:gd name="connsiteY241" fmla="*/ 465138 h 2476500"/>
                  <a:gd name="connsiteX242" fmla="*/ 1382784 w 1757434"/>
                  <a:gd name="connsiteY242" fmla="*/ 450850 h 2476500"/>
                  <a:gd name="connsiteX243" fmla="*/ 1378022 w 1757434"/>
                  <a:gd name="connsiteY243" fmla="*/ 447675 h 2476500"/>
                  <a:gd name="connsiteX244" fmla="*/ 1373259 w 1757434"/>
                  <a:gd name="connsiteY244" fmla="*/ 442913 h 2476500"/>
                  <a:gd name="connsiteX245" fmla="*/ 1365322 w 1757434"/>
                  <a:gd name="connsiteY245" fmla="*/ 441325 h 2476500"/>
                  <a:gd name="connsiteX246" fmla="*/ 1360559 w 1757434"/>
                  <a:gd name="connsiteY246" fmla="*/ 439738 h 2476500"/>
                  <a:gd name="connsiteX247" fmla="*/ 1349447 w 1757434"/>
                  <a:gd name="connsiteY247" fmla="*/ 441325 h 2476500"/>
                  <a:gd name="connsiteX248" fmla="*/ 1335159 w 1757434"/>
                  <a:gd name="connsiteY248" fmla="*/ 450850 h 2476500"/>
                  <a:gd name="connsiteX249" fmla="*/ 1328809 w 1757434"/>
                  <a:gd name="connsiteY249" fmla="*/ 461963 h 2476500"/>
                  <a:gd name="connsiteX250" fmla="*/ 1320872 w 1757434"/>
                  <a:gd name="connsiteY250" fmla="*/ 469900 h 2476500"/>
                  <a:gd name="connsiteX251" fmla="*/ 1312934 w 1757434"/>
                  <a:gd name="connsiteY251" fmla="*/ 471488 h 2476500"/>
                  <a:gd name="connsiteX252" fmla="*/ 1308172 w 1757434"/>
                  <a:gd name="connsiteY252" fmla="*/ 474663 h 2476500"/>
                  <a:gd name="connsiteX253" fmla="*/ 1303409 w 1757434"/>
                  <a:gd name="connsiteY253" fmla="*/ 479425 h 2476500"/>
                  <a:gd name="connsiteX254" fmla="*/ 1295472 w 1757434"/>
                  <a:gd name="connsiteY254" fmla="*/ 481013 h 2476500"/>
                  <a:gd name="connsiteX255" fmla="*/ 1287534 w 1757434"/>
                  <a:gd name="connsiteY255" fmla="*/ 484188 h 2476500"/>
                  <a:gd name="connsiteX256" fmla="*/ 1281184 w 1757434"/>
                  <a:gd name="connsiteY256" fmla="*/ 482600 h 2476500"/>
                  <a:gd name="connsiteX257" fmla="*/ 1273247 w 1757434"/>
                  <a:gd name="connsiteY257" fmla="*/ 476250 h 2476500"/>
                  <a:gd name="connsiteX258" fmla="*/ 1266897 w 1757434"/>
                  <a:gd name="connsiteY258" fmla="*/ 471488 h 2476500"/>
                  <a:gd name="connsiteX259" fmla="*/ 1255784 w 1757434"/>
                  <a:gd name="connsiteY259" fmla="*/ 466725 h 2476500"/>
                  <a:gd name="connsiteX260" fmla="*/ 1244672 w 1757434"/>
                  <a:gd name="connsiteY260" fmla="*/ 455613 h 2476500"/>
                  <a:gd name="connsiteX261" fmla="*/ 1238322 w 1757434"/>
                  <a:gd name="connsiteY261" fmla="*/ 449263 h 2476500"/>
                  <a:gd name="connsiteX262" fmla="*/ 1231972 w 1757434"/>
                  <a:gd name="connsiteY262" fmla="*/ 444500 h 2476500"/>
                  <a:gd name="connsiteX263" fmla="*/ 1230384 w 1757434"/>
                  <a:gd name="connsiteY263" fmla="*/ 438150 h 2476500"/>
                  <a:gd name="connsiteX264" fmla="*/ 1225622 w 1757434"/>
                  <a:gd name="connsiteY264" fmla="*/ 433388 h 2476500"/>
                  <a:gd name="connsiteX265" fmla="*/ 1222447 w 1757434"/>
                  <a:gd name="connsiteY265" fmla="*/ 428625 h 2476500"/>
                  <a:gd name="connsiteX266" fmla="*/ 1204984 w 1757434"/>
                  <a:gd name="connsiteY266" fmla="*/ 411163 h 2476500"/>
                  <a:gd name="connsiteX267" fmla="*/ 1197047 w 1757434"/>
                  <a:gd name="connsiteY267" fmla="*/ 409575 h 2476500"/>
                  <a:gd name="connsiteX268" fmla="*/ 1192284 w 1757434"/>
                  <a:gd name="connsiteY268" fmla="*/ 395288 h 2476500"/>
                  <a:gd name="connsiteX269" fmla="*/ 1189109 w 1757434"/>
                  <a:gd name="connsiteY269" fmla="*/ 390525 h 2476500"/>
                  <a:gd name="connsiteX270" fmla="*/ 1184347 w 1757434"/>
                  <a:gd name="connsiteY270" fmla="*/ 388938 h 2476500"/>
                  <a:gd name="connsiteX271" fmla="*/ 1179584 w 1757434"/>
                  <a:gd name="connsiteY271" fmla="*/ 390525 h 2476500"/>
                  <a:gd name="connsiteX272" fmla="*/ 1149422 w 1757434"/>
                  <a:gd name="connsiteY272" fmla="*/ 393700 h 2476500"/>
                  <a:gd name="connsiteX273" fmla="*/ 1157359 w 1757434"/>
                  <a:gd name="connsiteY273" fmla="*/ 438150 h 2476500"/>
                  <a:gd name="connsiteX274" fmla="*/ 1151009 w 1757434"/>
                  <a:gd name="connsiteY274" fmla="*/ 436563 h 2476500"/>
                  <a:gd name="connsiteX275" fmla="*/ 1125609 w 1757434"/>
                  <a:gd name="connsiteY275" fmla="*/ 439738 h 2476500"/>
                  <a:gd name="connsiteX276" fmla="*/ 1116084 w 1757434"/>
                  <a:gd name="connsiteY276" fmla="*/ 447675 h 2476500"/>
                  <a:gd name="connsiteX277" fmla="*/ 1111322 w 1757434"/>
                  <a:gd name="connsiteY277" fmla="*/ 449263 h 2476500"/>
                  <a:gd name="connsiteX278" fmla="*/ 1101797 w 1757434"/>
                  <a:gd name="connsiteY278" fmla="*/ 454025 h 2476500"/>
                  <a:gd name="connsiteX279" fmla="*/ 1095447 w 1757434"/>
                  <a:gd name="connsiteY279" fmla="*/ 458788 h 2476500"/>
                  <a:gd name="connsiteX280" fmla="*/ 1101797 w 1757434"/>
                  <a:gd name="connsiteY280" fmla="*/ 469900 h 2476500"/>
                  <a:gd name="connsiteX281" fmla="*/ 1109734 w 1757434"/>
                  <a:gd name="connsiteY281" fmla="*/ 473075 h 2476500"/>
                  <a:gd name="connsiteX282" fmla="*/ 1114497 w 1757434"/>
                  <a:gd name="connsiteY282" fmla="*/ 477838 h 2476500"/>
                  <a:gd name="connsiteX283" fmla="*/ 1116084 w 1757434"/>
                  <a:gd name="connsiteY283" fmla="*/ 484188 h 2476500"/>
                  <a:gd name="connsiteX284" fmla="*/ 1117672 w 1757434"/>
                  <a:gd name="connsiteY284" fmla="*/ 504825 h 2476500"/>
                  <a:gd name="connsiteX285" fmla="*/ 1117672 w 1757434"/>
                  <a:gd name="connsiteY285" fmla="*/ 547688 h 2476500"/>
                  <a:gd name="connsiteX286" fmla="*/ 1124022 w 1757434"/>
                  <a:gd name="connsiteY286" fmla="*/ 550863 h 2476500"/>
                  <a:gd name="connsiteX287" fmla="*/ 1125609 w 1757434"/>
                  <a:gd name="connsiteY287" fmla="*/ 555625 h 2476500"/>
                  <a:gd name="connsiteX288" fmla="*/ 1130372 w 1757434"/>
                  <a:gd name="connsiteY288" fmla="*/ 557213 h 2476500"/>
                  <a:gd name="connsiteX289" fmla="*/ 1122434 w 1757434"/>
                  <a:gd name="connsiteY289" fmla="*/ 565150 h 2476500"/>
                  <a:gd name="connsiteX290" fmla="*/ 1117672 w 1757434"/>
                  <a:gd name="connsiteY290" fmla="*/ 576263 h 2476500"/>
                  <a:gd name="connsiteX291" fmla="*/ 1112909 w 1757434"/>
                  <a:gd name="connsiteY291" fmla="*/ 584200 h 2476500"/>
                  <a:gd name="connsiteX292" fmla="*/ 1106559 w 1757434"/>
                  <a:gd name="connsiteY292" fmla="*/ 587375 h 2476500"/>
                  <a:gd name="connsiteX293" fmla="*/ 1098622 w 1757434"/>
                  <a:gd name="connsiteY293" fmla="*/ 584200 h 2476500"/>
                  <a:gd name="connsiteX294" fmla="*/ 1093859 w 1757434"/>
                  <a:gd name="connsiteY294" fmla="*/ 579438 h 2476500"/>
                  <a:gd name="connsiteX295" fmla="*/ 1082747 w 1757434"/>
                  <a:gd name="connsiteY295" fmla="*/ 573088 h 2476500"/>
                  <a:gd name="connsiteX296" fmla="*/ 1062109 w 1757434"/>
                  <a:gd name="connsiteY296" fmla="*/ 569913 h 2476500"/>
                  <a:gd name="connsiteX297" fmla="*/ 1047822 w 1757434"/>
                  <a:gd name="connsiteY297" fmla="*/ 565150 h 2476500"/>
                  <a:gd name="connsiteX298" fmla="*/ 1041472 w 1757434"/>
                  <a:gd name="connsiteY298" fmla="*/ 563563 h 2476500"/>
                  <a:gd name="connsiteX299" fmla="*/ 1030359 w 1757434"/>
                  <a:gd name="connsiteY299" fmla="*/ 565150 h 2476500"/>
                  <a:gd name="connsiteX300" fmla="*/ 1017659 w 1757434"/>
                  <a:gd name="connsiteY300" fmla="*/ 571500 h 2476500"/>
                  <a:gd name="connsiteX301" fmla="*/ 1016072 w 1757434"/>
                  <a:gd name="connsiteY301" fmla="*/ 560388 h 2476500"/>
                  <a:gd name="connsiteX302" fmla="*/ 989084 w 1757434"/>
                  <a:gd name="connsiteY302" fmla="*/ 560388 h 2476500"/>
                  <a:gd name="connsiteX303" fmla="*/ 984322 w 1757434"/>
                  <a:gd name="connsiteY303" fmla="*/ 566738 h 2476500"/>
                  <a:gd name="connsiteX304" fmla="*/ 990672 w 1757434"/>
                  <a:gd name="connsiteY304" fmla="*/ 592138 h 2476500"/>
                  <a:gd name="connsiteX305" fmla="*/ 992259 w 1757434"/>
                  <a:gd name="connsiteY305" fmla="*/ 596900 h 2476500"/>
                  <a:gd name="connsiteX306" fmla="*/ 989084 w 1757434"/>
                  <a:gd name="connsiteY306" fmla="*/ 644525 h 2476500"/>
                  <a:gd name="connsiteX307" fmla="*/ 984322 w 1757434"/>
                  <a:gd name="connsiteY307" fmla="*/ 650875 h 2476500"/>
                  <a:gd name="connsiteX308" fmla="*/ 982734 w 1757434"/>
                  <a:gd name="connsiteY308" fmla="*/ 655638 h 2476500"/>
                  <a:gd name="connsiteX309" fmla="*/ 979559 w 1757434"/>
                  <a:gd name="connsiteY309" fmla="*/ 669925 h 2476500"/>
                  <a:gd name="connsiteX310" fmla="*/ 974797 w 1757434"/>
                  <a:gd name="connsiteY310" fmla="*/ 666750 h 2476500"/>
                  <a:gd name="connsiteX311" fmla="*/ 970034 w 1757434"/>
                  <a:gd name="connsiteY311" fmla="*/ 661988 h 2476500"/>
                  <a:gd name="connsiteX312" fmla="*/ 960509 w 1757434"/>
                  <a:gd name="connsiteY312" fmla="*/ 663575 h 2476500"/>
                  <a:gd name="connsiteX313" fmla="*/ 943047 w 1757434"/>
                  <a:gd name="connsiteY313" fmla="*/ 668338 h 2476500"/>
                  <a:gd name="connsiteX314" fmla="*/ 936697 w 1757434"/>
                  <a:gd name="connsiteY314" fmla="*/ 676275 h 2476500"/>
                  <a:gd name="connsiteX315" fmla="*/ 925584 w 1757434"/>
                  <a:gd name="connsiteY315" fmla="*/ 687388 h 2476500"/>
                  <a:gd name="connsiteX316" fmla="*/ 922409 w 1757434"/>
                  <a:gd name="connsiteY316" fmla="*/ 692150 h 2476500"/>
                  <a:gd name="connsiteX317" fmla="*/ 916059 w 1757434"/>
                  <a:gd name="connsiteY317" fmla="*/ 698500 h 2476500"/>
                  <a:gd name="connsiteX318" fmla="*/ 912884 w 1757434"/>
                  <a:gd name="connsiteY318" fmla="*/ 704850 h 2476500"/>
                  <a:gd name="connsiteX319" fmla="*/ 909709 w 1757434"/>
                  <a:gd name="connsiteY319" fmla="*/ 709613 h 2476500"/>
                  <a:gd name="connsiteX320" fmla="*/ 908122 w 1757434"/>
                  <a:gd name="connsiteY320" fmla="*/ 717550 h 2476500"/>
                  <a:gd name="connsiteX321" fmla="*/ 901772 w 1757434"/>
                  <a:gd name="connsiteY321" fmla="*/ 727075 h 2476500"/>
                  <a:gd name="connsiteX322" fmla="*/ 897009 w 1757434"/>
                  <a:gd name="connsiteY322" fmla="*/ 741363 h 2476500"/>
                  <a:gd name="connsiteX323" fmla="*/ 895422 w 1757434"/>
                  <a:gd name="connsiteY323" fmla="*/ 746125 h 2476500"/>
                  <a:gd name="connsiteX324" fmla="*/ 893834 w 1757434"/>
                  <a:gd name="connsiteY324" fmla="*/ 757238 h 2476500"/>
                  <a:gd name="connsiteX325" fmla="*/ 887484 w 1757434"/>
                  <a:gd name="connsiteY325" fmla="*/ 763588 h 2476500"/>
                  <a:gd name="connsiteX326" fmla="*/ 882722 w 1757434"/>
                  <a:gd name="connsiteY326" fmla="*/ 769938 h 2476500"/>
                  <a:gd name="connsiteX327" fmla="*/ 884309 w 1757434"/>
                  <a:gd name="connsiteY327" fmla="*/ 781050 h 2476500"/>
                  <a:gd name="connsiteX328" fmla="*/ 892247 w 1757434"/>
                  <a:gd name="connsiteY328" fmla="*/ 795338 h 2476500"/>
                  <a:gd name="connsiteX329" fmla="*/ 892247 w 1757434"/>
                  <a:gd name="connsiteY329" fmla="*/ 839788 h 2476500"/>
                  <a:gd name="connsiteX330" fmla="*/ 887484 w 1757434"/>
                  <a:gd name="connsiteY330" fmla="*/ 842963 h 2476500"/>
                  <a:gd name="connsiteX331" fmla="*/ 879547 w 1757434"/>
                  <a:gd name="connsiteY331" fmla="*/ 855663 h 2476500"/>
                  <a:gd name="connsiteX332" fmla="*/ 876372 w 1757434"/>
                  <a:gd name="connsiteY332" fmla="*/ 863600 h 2476500"/>
                  <a:gd name="connsiteX333" fmla="*/ 874784 w 1757434"/>
                  <a:gd name="connsiteY333" fmla="*/ 869950 h 2476500"/>
                  <a:gd name="connsiteX334" fmla="*/ 870022 w 1757434"/>
                  <a:gd name="connsiteY334" fmla="*/ 884238 h 2476500"/>
                  <a:gd name="connsiteX335" fmla="*/ 866847 w 1757434"/>
                  <a:gd name="connsiteY335" fmla="*/ 893763 h 2476500"/>
                  <a:gd name="connsiteX336" fmla="*/ 863672 w 1757434"/>
                  <a:gd name="connsiteY336" fmla="*/ 906463 h 2476500"/>
                  <a:gd name="connsiteX337" fmla="*/ 857322 w 1757434"/>
                  <a:gd name="connsiteY337" fmla="*/ 919163 h 2476500"/>
                  <a:gd name="connsiteX338" fmla="*/ 852559 w 1757434"/>
                  <a:gd name="connsiteY338" fmla="*/ 923925 h 2476500"/>
                  <a:gd name="connsiteX339" fmla="*/ 843034 w 1757434"/>
                  <a:gd name="connsiteY339" fmla="*/ 935038 h 2476500"/>
                  <a:gd name="connsiteX340" fmla="*/ 831922 w 1757434"/>
                  <a:gd name="connsiteY340" fmla="*/ 944563 h 2476500"/>
                  <a:gd name="connsiteX341" fmla="*/ 830334 w 1757434"/>
                  <a:gd name="connsiteY341" fmla="*/ 950913 h 2476500"/>
                  <a:gd name="connsiteX342" fmla="*/ 835097 w 1757434"/>
                  <a:gd name="connsiteY342" fmla="*/ 973138 h 2476500"/>
                  <a:gd name="connsiteX343" fmla="*/ 833509 w 1757434"/>
                  <a:gd name="connsiteY343" fmla="*/ 990600 h 2476500"/>
                  <a:gd name="connsiteX344" fmla="*/ 825572 w 1757434"/>
                  <a:gd name="connsiteY344" fmla="*/ 995363 h 2476500"/>
                  <a:gd name="connsiteX345" fmla="*/ 819222 w 1757434"/>
                  <a:gd name="connsiteY345" fmla="*/ 1001713 h 2476500"/>
                  <a:gd name="connsiteX346" fmla="*/ 801759 w 1757434"/>
                  <a:gd name="connsiteY346" fmla="*/ 1016000 h 2476500"/>
                  <a:gd name="connsiteX347" fmla="*/ 782709 w 1757434"/>
                  <a:gd name="connsiteY347" fmla="*/ 1014413 h 2476500"/>
                  <a:gd name="connsiteX348" fmla="*/ 777777 w 1757434"/>
                  <a:gd name="connsiteY348" fmla="*/ 1011206 h 2476500"/>
                  <a:gd name="connsiteX349" fmla="*/ 780808 w 1757434"/>
                  <a:gd name="connsiteY349" fmla="*/ 1009156 h 2476500"/>
                  <a:gd name="connsiteX350" fmla="*/ 782139 w 1757434"/>
                  <a:gd name="connsiteY350" fmla="*/ 1008856 h 2476500"/>
                  <a:gd name="connsiteX351" fmla="*/ 780893 w 1757434"/>
                  <a:gd name="connsiteY351" fmla="*/ 1009099 h 2476500"/>
                  <a:gd name="connsiteX352" fmla="*/ 780808 w 1757434"/>
                  <a:gd name="connsiteY352" fmla="*/ 1009156 h 2476500"/>
                  <a:gd name="connsiteX353" fmla="*/ 771597 w 1757434"/>
                  <a:gd name="connsiteY353" fmla="*/ 1011238 h 2476500"/>
                  <a:gd name="connsiteX354" fmla="*/ 773184 w 1757434"/>
                  <a:gd name="connsiteY354" fmla="*/ 1050925 h 2476500"/>
                  <a:gd name="connsiteX355" fmla="*/ 779534 w 1757434"/>
                  <a:gd name="connsiteY355" fmla="*/ 1063625 h 2476500"/>
                  <a:gd name="connsiteX356" fmla="*/ 781122 w 1757434"/>
                  <a:gd name="connsiteY356" fmla="*/ 1068388 h 2476500"/>
                  <a:gd name="connsiteX357" fmla="*/ 782709 w 1757434"/>
                  <a:gd name="connsiteY357" fmla="*/ 1079500 h 2476500"/>
                  <a:gd name="connsiteX358" fmla="*/ 777947 w 1757434"/>
                  <a:gd name="connsiteY358" fmla="*/ 1093788 h 2476500"/>
                  <a:gd name="connsiteX359" fmla="*/ 773184 w 1757434"/>
                  <a:gd name="connsiteY359" fmla="*/ 1096963 h 2476500"/>
                  <a:gd name="connsiteX360" fmla="*/ 774772 w 1757434"/>
                  <a:gd name="connsiteY360" fmla="*/ 1106488 h 2476500"/>
                  <a:gd name="connsiteX361" fmla="*/ 782709 w 1757434"/>
                  <a:gd name="connsiteY361" fmla="*/ 1116013 h 2476500"/>
                  <a:gd name="connsiteX362" fmla="*/ 784297 w 1757434"/>
                  <a:gd name="connsiteY362" fmla="*/ 1123950 h 2476500"/>
                  <a:gd name="connsiteX363" fmla="*/ 787472 w 1757434"/>
                  <a:gd name="connsiteY363" fmla="*/ 1135063 h 2476500"/>
                  <a:gd name="connsiteX364" fmla="*/ 784297 w 1757434"/>
                  <a:gd name="connsiteY364" fmla="*/ 1157288 h 2476500"/>
                  <a:gd name="connsiteX365" fmla="*/ 781122 w 1757434"/>
                  <a:gd name="connsiteY365" fmla="*/ 1165225 h 2476500"/>
                  <a:gd name="connsiteX366" fmla="*/ 777947 w 1757434"/>
                  <a:gd name="connsiteY366" fmla="*/ 1169988 h 2476500"/>
                  <a:gd name="connsiteX367" fmla="*/ 779534 w 1757434"/>
                  <a:gd name="connsiteY367" fmla="*/ 1177925 h 2476500"/>
                  <a:gd name="connsiteX368" fmla="*/ 776359 w 1757434"/>
                  <a:gd name="connsiteY368" fmla="*/ 1192213 h 2476500"/>
                  <a:gd name="connsiteX369" fmla="*/ 773184 w 1757434"/>
                  <a:gd name="connsiteY369" fmla="*/ 1196975 h 2476500"/>
                  <a:gd name="connsiteX370" fmla="*/ 768422 w 1757434"/>
                  <a:gd name="connsiteY370" fmla="*/ 1206500 h 2476500"/>
                  <a:gd name="connsiteX371" fmla="*/ 763659 w 1757434"/>
                  <a:gd name="connsiteY371" fmla="*/ 1209675 h 2476500"/>
                  <a:gd name="connsiteX372" fmla="*/ 750959 w 1757434"/>
                  <a:gd name="connsiteY372" fmla="*/ 1230313 h 2476500"/>
                  <a:gd name="connsiteX373" fmla="*/ 743021 w 1757434"/>
                  <a:gd name="connsiteY373" fmla="*/ 1236662 h 2476500"/>
                  <a:gd name="connsiteX374" fmla="*/ 755721 w 1757434"/>
                  <a:gd name="connsiteY374" fmla="*/ 1247776 h 2476500"/>
                  <a:gd name="connsiteX375" fmla="*/ 730322 w 1757434"/>
                  <a:gd name="connsiteY375" fmla="*/ 1276350 h 2476500"/>
                  <a:gd name="connsiteX376" fmla="*/ 733497 w 1757434"/>
                  <a:gd name="connsiteY376" fmla="*/ 1293813 h 2476500"/>
                  <a:gd name="connsiteX377" fmla="*/ 738259 w 1757434"/>
                  <a:gd name="connsiteY377" fmla="*/ 1296988 h 2476500"/>
                  <a:gd name="connsiteX378" fmla="*/ 762072 w 1757434"/>
                  <a:gd name="connsiteY378" fmla="*/ 1319213 h 2476500"/>
                  <a:gd name="connsiteX379" fmla="*/ 768422 w 1757434"/>
                  <a:gd name="connsiteY379" fmla="*/ 1322388 h 2476500"/>
                  <a:gd name="connsiteX380" fmla="*/ 766834 w 1757434"/>
                  <a:gd name="connsiteY380" fmla="*/ 1366838 h 2476500"/>
                  <a:gd name="connsiteX381" fmla="*/ 763659 w 1757434"/>
                  <a:gd name="connsiteY381" fmla="*/ 1376363 h 2476500"/>
                  <a:gd name="connsiteX382" fmla="*/ 760484 w 1757434"/>
                  <a:gd name="connsiteY382" fmla="*/ 1384300 h 2476500"/>
                  <a:gd name="connsiteX383" fmla="*/ 758897 w 1757434"/>
                  <a:gd name="connsiteY383" fmla="*/ 1389063 h 2476500"/>
                  <a:gd name="connsiteX384" fmla="*/ 750959 w 1757434"/>
                  <a:gd name="connsiteY384" fmla="*/ 1398588 h 2476500"/>
                  <a:gd name="connsiteX385" fmla="*/ 719209 w 1757434"/>
                  <a:gd name="connsiteY385" fmla="*/ 1397000 h 2476500"/>
                  <a:gd name="connsiteX386" fmla="*/ 714447 w 1757434"/>
                  <a:gd name="connsiteY386" fmla="*/ 1389063 h 2476500"/>
                  <a:gd name="connsiteX387" fmla="*/ 706509 w 1757434"/>
                  <a:gd name="connsiteY387" fmla="*/ 1385888 h 2476500"/>
                  <a:gd name="connsiteX388" fmla="*/ 693809 w 1757434"/>
                  <a:gd name="connsiteY388" fmla="*/ 1389063 h 2476500"/>
                  <a:gd name="connsiteX389" fmla="*/ 685872 w 1757434"/>
                  <a:gd name="connsiteY389" fmla="*/ 1395413 h 2476500"/>
                  <a:gd name="connsiteX390" fmla="*/ 677934 w 1757434"/>
                  <a:gd name="connsiteY390" fmla="*/ 1406525 h 2476500"/>
                  <a:gd name="connsiteX391" fmla="*/ 671584 w 1757434"/>
                  <a:gd name="connsiteY391" fmla="*/ 1409700 h 2476500"/>
                  <a:gd name="connsiteX392" fmla="*/ 657297 w 1757434"/>
                  <a:gd name="connsiteY392" fmla="*/ 1419225 h 2476500"/>
                  <a:gd name="connsiteX393" fmla="*/ 654122 w 1757434"/>
                  <a:gd name="connsiteY393" fmla="*/ 1423988 h 2476500"/>
                  <a:gd name="connsiteX394" fmla="*/ 660472 w 1757434"/>
                  <a:gd name="connsiteY394" fmla="*/ 1430338 h 2476500"/>
                  <a:gd name="connsiteX395" fmla="*/ 662059 w 1757434"/>
                  <a:gd name="connsiteY395" fmla="*/ 1435100 h 2476500"/>
                  <a:gd name="connsiteX396" fmla="*/ 655709 w 1757434"/>
                  <a:gd name="connsiteY396" fmla="*/ 1438275 h 2476500"/>
                  <a:gd name="connsiteX397" fmla="*/ 650947 w 1757434"/>
                  <a:gd name="connsiteY397" fmla="*/ 1443038 h 2476500"/>
                  <a:gd name="connsiteX398" fmla="*/ 643009 w 1757434"/>
                  <a:gd name="connsiteY398" fmla="*/ 1449388 h 2476500"/>
                  <a:gd name="connsiteX399" fmla="*/ 638247 w 1757434"/>
                  <a:gd name="connsiteY399" fmla="*/ 1455738 h 2476500"/>
                  <a:gd name="connsiteX400" fmla="*/ 633484 w 1757434"/>
                  <a:gd name="connsiteY400" fmla="*/ 1458913 h 2476500"/>
                  <a:gd name="connsiteX401" fmla="*/ 623959 w 1757434"/>
                  <a:gd name="connsiteY401" fmla="*/ 1470025 h 2476500"/>
                  <a:gd name="connsiteX402" fmla="*/ 620784 w 1757434"/>
                  <a:gd name="connsiteY402" fmla="*/ 1489075 h 2476500"/>
                  <a:gd name="connsiteX403" fmla="*/ 619197 w 1757434"/>
                  <a:gd name="connsiteY403" fmla="*/ 1498600 h 2476500"/>
                  <a:gd name="connsiteX404" fmla="*/ 612847 w 1757434"/>
                  <a:gd name="connsiteY404" fmla="*/ 1487488 h 2476500"/>
                  <a:gd name="connsiteX405" fmla="*/ 612667 w 1757434"/>
                  <a:gd name="connsiteY405" fmla="*/ 1487193 h 2476500"/>
                  <a:gd name="connsiteX406" fmla="*/ 611259 w 1757434"/>
                  <a:gd name="connsiteY406" fmla="*/ 1509713 h 2476500"/>
                  <a:gd name="connsiteX407" fmla="*/ 603322 w 1757434"/>
                  <a:gd name="connsiteY407" fmla="*/ 1514475 h 2476500"/>
                  <a:gd name="connsiteX408" fmla="*/ 598559 w 1757434"/>
                  <a:gd name="connsiteY408" fmla="*/ 1519238 h 2476500"/>
                  <a:gd name="connsiteX409" fmla="*/ 593797 w 1757434"/>
                  <a:gd name="connsiteY409" fmla="*/ 1530350 h 2476500"/>
                  <a:gd name="connsiteX410" fmla="*/ 603322 w 1757434"/>
                  <a:gd name="connsiteY410" fmla="*/ 1539875 h 2476500"/>
                  <a:gd name="connsiteX411" fmla="*/ 606497 w 1757434"/>
                  <a:gd name="connsiteY411" fmla="*/ 1544638 h 2476500"/>
                  <a:gd name="connsiteX412" fmla="*/ 611259 w 1757434"/>
                  <a:gd name="connsiteY412" fmla="*/ 1550988 h 2476500"/>
                  <a:gd name="connsiteX413" fmla="*/ 612847 w 1757434"/>
                  <a:gd name="connsiteY413" fmla="*/ 1555750 h 2476500"/>
                  <a:gd name="connsiteX414" fmla="*/ 617609 w 1757434"/>
                  <a:gd name="connsiteY414" fmla="*/ 1562100 h 2476500"/>
                  <a:gd name="connsiteX415" fmla="*/ 616022 w 1757434"/>
                  <a:gd name="connsiteY415" fmla="*/ 1593850 h 2476500"/>
                  <a:gd name="connsiteX416" fmla="*/ 614434 w 1757434"/>
                  <a:gd name="connsiteY416" fmla="*/ 1598613 h 2476500"/>
                  <a:gd name="connsiteX417" fmla="*/ 609672 w 1757434"/>
                  <a:gd name="connsiteY417" fmla="*/ 1600200 h 2476500"/>
                  <a:gd name="connsiteX418" fmla="*/ 609672 w 1757434"/>
                  <a:gd name="connsiteY418" fmla="*/ 1635125 h 2476500"/>
                  <a:gd name="connsiteX419" fmla="*/ 612847 w 1757434"/>
                  <a:gd name="connsiteY419" fmla="*/ 1641475 h 2476500"/>
                  <a:gd name="connsiteX420" fmla="*/ 616022 w 1757434"/>
                  <a:gd name="connsiteY420" fmla="*/ 1677988 h 2476500"/>
                  <a:gd name="connsiteX421" fmla="*/ 620784 w 1757434"/>
                  <a:gd name="connsiteY421" fmla="*/ 1682750 h 2476500"/>
                  <a:gd name="connsiteX422" fmla="*/ 624689 w 1757434"/>
                  <a:gd name="connsiteY422" fmla="*/ 1687924 h 2476500"/>
                  <a:gd name="connsiteX423" fmla="*/ 623038 w 1757434"/>
                  <a:gd name="connsiteY423" fmla="*/ 1686677 h 2476500"/>
                  <a:gd name="connsiteX424" fmla="*/ 622473 w 1757434"/>
                  <a:gd name="connsiteY424" fmla="*/ 1686119 h 2476500"/>
                  <a:gd name="connsiteX425" fmla="*/ 622926 w 1757434"/>
                  <a:gd name="connsiteY425" fmla="*/ 1686592 h 2476500"/>
                  <a:gd name="connsiteX426" fmla="*/ 623038 w 1757434"/>
                  <a:gd name="connsiteY426" fmla="*/ 1686677 h 2476500"/>
                  <a:gd name="connsiteX427" fmla="*/ 630309 w 1757434"/>
                  <a:gd name="connsiteY427" fmla="*/ 1693863 h 2476500"/>
                  <a:gd name="connsiteX428" fmla="*/ 630309 w 1757434"/>
                  <a:gd name="connsiteY428" fmla="*/ 1730375 h 2476500"/>
                  <a:gd name="connsiteX429" fmla="*/ 628722 w 1757434"/>
                  <a:gd name="connsiteY429" fmla="*/ 1744663 h 2476500"/>
                  <a:gd name="connsiteX430" fmla="*/ 622372 w 1757434"/>
                  <a:gd name="connsiteY430" fmla="*/ 1754188 h 2476500"/>
                  <a:gd name="connsiteX431" fmla="*/ 622372 w 1757434"/>
                  <a:gd name="connsiteY431" fmla="*/ 1800225 h 2476500"/>
                  <a:gd name="connsiteX432" fmla="*/ 625547 w 1757434"/>
                  <a:gd name="connsiteY432" fmla="*/ 1809750 h 2476500"/>
                  <a:gd name="connsiteX433" fmla="*/ 627134 w 1757434"/>
                  <a:gd name="connsiteY433" fmla="*/ 1814513 h 2476500"/>
                  <a:gd name="connsiteX434" fmla="*/ 636659 w 1757434"/>
                  <a:gd name="connsiteY434" fmla="*/ 1827213 h 2476500"/>
                  <a:gd name="connsiteX435" fmla="*/ 647772 w 1757434"/>
                  <a:gd name="connsiteY435" fmla="*/ 1838325 h 2476500"/>
                  <a:gd name="connsiteX436" fmla="*/ 652534 w 1757434"/>
                  <a:gd name="connsiteY436" fmla="*/ 1839913 h 2476500"/>
                  <a:gd name="connsiteX437" fmla="*/ 666822 w 1757434"/>
                  <a:gd name="connsiteY437" fmla="*/ 1847850 h 2476500"/>
                  <a:gd name="connsiteX438" fmla="*/ 681109 w 1757434"/>
                  <a:gd name="connsiteY438" fmla="*/ 1863725 h 2476500"/>
                  <a:gd name="connsiteX439" fmla="*/ 682697 w 1757434"/>
                  <a:gd name="connsiteY439" fmla="*/ 1873250 h 2476500"/>
                  <a:gd name="connsiteX440" fmla="*/ 685872 w 1757434"/>
                  <a:gd name="connsiteY440" fmla="*/ 1881188 h 2476500"/>
                  <a:gd name="connsiteX441" fmla="*/ 684284 w 1757434"/>
                  <a:gd name="connsiteY441" fmla="*/ 1920875 h 2476500"/>
                  <a:gd name="connsiteX442" fmla="*/ 677934 w 1757434"/>
                  <a:gd name="connsiteY442" fmla="*/ 1925638 h 2476500"/>
                  <a:gd name="connsiteX443" fmla="*/ 674759 w 1757434"/>
                  <a:gd name="connsiteY443" fmla="*/ 1931988 h 2476500"/>
                  <a:gd name="connsiteX444" fmla="*/ 643009 w 1757434"/>
                  <a:gd name="connsiteY444" fmla="*/ 1938338 h 2476500"/>
                  <a:gd name="connsiteX445" fmla="*/ 636659 w 1757434"/>
                  <a:gd name="connsiteY445" fmla="*/ 1943100 h 2476500"/>
                  <a:gd name="connsiteX446" fmla="*/ 636659 w 1757434"/>
                  <a:gd name="connsiteY446" fmla="*/ 1968500 h 2476500"/>
                  <a:gd name="connsiteX447" fmla="*/ 644597 w 1757434"/>
                  <a:gd name="connsiteY447" fmla="*/ 1971675 h 2476500"/>
                  <a:gd name="connsiteX448" fmla="*/ 650947 w 1757434"/>
                  <a:gd name="connsiteY448" fmla="*/ 1974850 h 2476500"/>
                  <a:gd name="connsiteX449" fmla="*/ 652534 w 1757434"/>
                  <a:gd name="connsiteY449" fmla="*/ 1998663 h 2476500"/>
                  <a:gd name="connsiteX450" fmla="*/ 657297 w 1757434"/>
                  <a:gd name="connsiteY450" fmla="*/ 2001838 h 2476500"/>
                  <a:gd name="connsiteX451" fmla="*/ 660472 w 1757434"/>
                  <a:gd name="connsiteY451" fmla="*/ 2006600 h 2476500"/>
                  <a:gd name="connsiteX452" fmla="*/ 666822 w 1757434"/>
                  <a:gd name="connsiteY452" fmla="*/ 2014538 h 2476500"/>
                  <a:gd name="connsiteX453" fmla="*/ 668409 w 1757434"/>
                  <a:gd name="connsiteY453" fmla="*/ 2022475 h 2476500"/>
                  <a:gd name="connsiteX454" fmla="*/ 669997 w 1757434"/>
                  <a:gd name="connsiteY454" fmla="*/ 2027238 h 2476500"/>
                  <a:gd name="connsiteX455" fmla="*/ 671584 w 1757434"/>
                  <a:gd name="connsiteY455" fmla="*/ 2036763 h 2476500"/>
                  <a:gd name="connsiteX456" fmla="*/ 668409 w 1757434"/>
                  <a:gd name="connsiteY456" fmla="*/ 2055813 h 2476500"/>
                  <a:gd name="connsiteX457" fmla="*/ 663647 w 1757434"/>
                  <a:gd name="connsiteY457" fmla="*/ 2062163 h 2476500"/>
                  <a:gd name="connsiteX458" fmla="*/ 665234 w 1757434"/>
                  <a:gd name="connsiteY458" fmla="*/ 2068513 h 2476500"/>
                  <a:gd name="connsiteX459" fmla="*/ 671584 w 1757434"/>
                  <a:gd name="connsiteY459" fmla="*/ 2073275 h 2476500"/>
                  <a:gd name="connsiteX460" fmla="*/ 668409 w 1757434"/>
                  <a:gd name="connsiteY460" fmla="*/ 2098675 h 2476500"/>
                  <a:gd name="connsiteX461" fmla="*/ 663647 w 1757434"/>
                  <a:gd name="connsiteY461" fmla="*/ 2106613 h 2476500"/>
                  <a:gd name="connsiteX462" fmla="*/ 662059 w 1757434"/>
                  <a:gd name="connsiteY462" fmla="*/ 2117725 h 2476500"/>
                  <a:gd name="connsiteX463" fmla="*/ 643009 w 1757434"/>
                  <a:gd name="connsiteY463" fmla="*/ 2136775 h 2476500"/>
                  <a:gd name="connsiteX464" fmla="*/ 633484 w 1757434"/>
                  <a:gd name="connsiteY464" fmla="*/ 2138363 h 2476500"/>
                  <a:gd name="connsiteX465" fmla="*/ 628722 w 1757434"/>
                  <a:gd name="connsiteY465" fmla="*/ 2139950 h 2476500"/>
                  <a:gd name="connsiteX466" fmla="*/ 606497 w 1757434"/>
                  <a:gd name="connsiteY466" fmla="*/ 2141538 h 2476500"/>
                  <a:gd name="connsiteX467" fmla="*/ 600147 w 1757434"/>
                  <a:gd name="connsiteY467" fmla="*/ 2144713 h 2476500"/>
                  <a:gd name="connsiteX468" fmla="*/ 601734 w 1757434"/>
                  <a:gd name="connsiteY468" fmla="*/ 2149475 h 2476500"/>
                  <a:gd name="connsiteX469" fmla="*/ 612847 w 1757434"/>
                  <a:gd name="connsiteY469" fmla="*/ 2154238 h 2476500"/>
                  <a:gd name="connsiteX470" fmla="*/ 614434 w 1757434"/>
                  <a:gd name="connsiteY470" fmla="*/ 2159000 h 2476500"/>
                  <a:gd name="connsiteX471" fmla="*/ 611259 w 1757434"/>
                  <a:gd name="connsiteY471" fmla="*/ 2174875 h 2476500"/>
                  <a:gd name="connsiteX472" fmla="*/ 604909 w 1757434"/>
                  <a:gd name="connsiteY472" fmla="*/ 2181225 h 2476500"/>
                  <a:gd name="connsiteX473" fmla="*/ 600147 w 1757434"/>
                  <a:gd name="connsiteY473" fmla="*/ 2182813 h 2476500"/>
                  <a:gd name="connsiteX474" fmla="*/ 593797 w 1757434"/>
                  <a:gd name="connsiteY474" fmla="*/ 2189163 h 2476500"/>
                  <a:gd name="connsiteX475" fmla="*/ 595384 w 1757434"/>
                  <a:gd name="connsiteY475" fmla="*/ 2198688 h 2476500"/>
                  <a:gd name="connsiteX476" fmla="*/ 603322 w 1757434"/>
                  <a:gd name="connsiteY476" fmla="*/ 2216150 h 2476500"/>
                  <a:gd name="connsiteX477" fmla="*/ 606497 w 1757434"/>
                  <a:gd name="connsiteY477" fmla="*/ 2227263 h 2476500"/>
                  <a:gd name="connsiteX478" fmla="*/ 608084 w 1757434"/>
                  <a:gd name="connsiteY478" fmla="*/ 2232025 h 2476500"/>
                  <a:gd name="connsiteX479" fmla="*/ 608084 w 1757434"/>
                  <a:gd name="connsiteY479" fmla="*/ 2270125 h 2476500"/>
                  <a:gd name="connsiteX480" fmla="*/ 601734 w 1757434"/>
                  <a:gd name="connsiteY480" fmla="*/ 2289175 h 2476500"/>
                  <a:gd name="connsiteX481" fmla="*/ 595384 w 1757434"/>
                  <a:gd name="connsiteY481" fmla="*/ 2300288 h 2476500"/>
                  <a:gd name="connsiteX482" fmla="*/ 592209 w 1757434"/>
                  <a:gd name="connsiteY482" fmla="*/ 2316163 h 2476500"/>
                  <a:gd name="connsiteX483" fmla="*/ 577922 w 1757434"/>
                  <a:gd name="connsiteY483" fmla="*/ 2322513 h 2476500"/>
                  <a:gd name="connsiteX484" fmla="*/ 576334 w 1757434"/>
                  <a:gd name="connsiteY484" fmla="*/ 2308225 h 2476500"/>
                  <a:gd name="connsiteX485" fmla="*/ 568397 w 1757434"/>
                  <a:gd name="connsiteY485" fmla="*/ 2293938 h 2476500"/>
                  <a:gd name="connsiteX486" fmla="*/ 547759 w 1757434"/>
                  <a:gd name="connsiteY486" fmla="*/ 2290763 h 2476500"/>
                  <a:gd name="connsiteX487" fmla="*/ 542997 w 1757434"/>
                  <a:gd name="connsiteY487" fmla="*/ 2271713 h 2476500"/>
                  <a:gd name="connsiteX488" fmla="*/ 538234 w 1757434"/>
                  <a:gd name="connsiteY488" fmla="*/ 2270125 h 2476500"/>
                  <a:gd name="connsiteX489" fmla="*/ 525534 w 1757434"/>
                  <a:gd name="connsiteY489" fmla="*/ 2268538 h 2476500"/>
                  <a:gd name="connsiteX490" fmla="*/ 520772 w 1757434"/>
                  <a:gd name="connsiteY490" fmla="*/ 2265363 h 2476500"/>
                  <a:gd name="connsiteX491" fmla="*/ 514422 w 1757434"/>
                  <a:gd name="connsiteY491" fmla="*/ 2263775 h 2476500"/>
                  <a:gd name="connsiteX492" fmla="*/ 506484 w 1757434"/>
                  <a:gd name="connsiteY492" fmla="*/ 2254250 h 2476500"/>
                  <a:gd name="connsiteX493" fmla="*/ 508072 w 1757434"/>
                  <a:gd name="connsiteY493" fmla="*/ 2241550 h 2476500"/>
                  <a:gd name="connsiteX494" fmla="*/ 509659 w 1757434"/>
                  <a:gd name="connsiteY494" fmla="*/ 2228850 h 2476500"/>
                  <a:gd name="connsiteX495" fmla="*/ 509659 w 1757434"/>
                  <a:gd name="connsiteY495" fmla="*/ 2201863 h 2476500"/>
                  <a:gd name="connsiteX496" fmla="*/ 506484 w 1757434"/>
                  <a:gd name="connsiteY496" fmla="*/ 2197100 h 2476500"/>
                  <a:gd name="connsiteX497" fmla="*/ 503309 w 1757434"/>
                  <a:gd name="connsiteY497" fmla="*/ 2181225 h 2476500"/>
                  <a:gd name="connsiteX498" fmla="*/ 501722 w 1757434"/>
                  <a:gd name="connsiteY498" fmla="*/ 2176463 h 2476500"/>
                  <a:gd name="connsiteX499" fmla="*/ 503309 w 1757434"/>
                  <a:gd name="connsiteY499" fmla="*/ 2171700 h 2476500"/>
                  <a:gd name="connsiteX500" fmla="*/ 519184 w 1757434"/>
                  <a:gd name="connsiteY500" fmla="*/ 2168525 h 2476500"/>
                  <a:gd name="connsiteX501" fmla="*/ 517597 w 1757434"/>
                  <a:gd name="connsiteY501" fmla="*/ 2152650 h 2476500"/>
                  <a:gd name="connsiteX502" fmla="*/ 506484 w 1757434"/>
                  <a:gd name="connsiteY502" fmla="*/ 2154238 h 2476500"/>
                  <a:gd name="connsiteX503" fmla="*/ 501722 w 1757434"/>
                  <a:gd name="connsiteY503" fmla="*/ 2157413 h 2476500"/>
                  <a:gd name="connsiteX504" fmla="*/ 496959 w 1757434"/>
                  <a:gd name="connsiteY504" fmla="*/ 2159000 h 2476500"/>
                  <a:gd name="connsiteX505" fmla="*/ 492197 w 1757434"/>
                  <a:gd name="connsiteY505" fmla="*/ 2168525 h 2476500"/>
                  <a:gd name="connsiteX506" fmla="*/ 496959 w 1757434"/>
                  <a:gd name="connsiteY506" fmla="*/ 2181225 h 2476500"/>
                  <a:gd name="connsiteX507" fmla="*/ 495372 w 1757434"/>
                  <a:gd name="connsiteY507" fmla="*/ 2195513 h 2476500"/>
                  <a:gd name="connsiteX508" fmla="*/ 485847 w 1757434"/>
                  <a:gd name="connsiteY508" fmla="*/ 2184400 h 2476500"/>
                  <a:gd name="connsiteX509" fmla="*/ 481084 w 1757434"/>
                  <a:gd name="connsiteY509" fmla="*/ 2179638 h 2476500"/>
                  <a:gd name="connsiteX510" fmla="*/ 468384 w 1757434"/>
                  <a:gd name="connsiteY510" fmla="*/ 2181225 h 2476500"/>
                  <a:gd name="connsiteX511" fmla="*/ 469972 w 1757434"/>
                  <a:gd name="connsiteY511" fmla="*/ 2185988 h 2476500"/>
                  <a:gd name="connsiteX512" fmla="*/ 476322 w 1757434"/>
                  <a:gd name="connsiteY512" fmla="*/ 2190750 h 2476500"/>
                  <a:gd name="connsiteX513" fmla="*/ 474734 w 1757434"/>
                  <a:gd name="connsiteY513" fmla="*/ 2211388 h 2476500"/>
                  <a:gd name="connsiteX514" fmla="*/ 469972 w 1757434"/>
                  <a:gd name="connsiteY514" fmla="*/ 2214563 h 2476500"/>
                  <a:gd name="connsiteX515" fmla="*/ 474734 w 1757434"/>
                  <a:gd name="connsiteY515" fmla="*/ 2219325 h 2476500"/>
                  <a:gd name="connsiteX516" fmla="*/ 477909 w 1757434"/>
                  <a:gd name="connsiteY516" fmla="*/ 2230438 h 2476500"/>
                  <a:gd name="connsiteX517" fmla="*/ 481084 w 1757434"/>
                  <a:gd name="connsiteY517" fmla="*/ 2236788 h 2476500"/>
                  <a:gd name="connsiteX518" fmla="*/ 477909 w 1757434"/>
                  <a:gd name="connsiteY518" fmla="*/ 2251075 h 2476500"/>
                  <a:gd name="connsiteX519" fmla="*/ 476322 w 1757434"/>
                  <a:gd name="connsiteY519" fmla="*/ 2259013 h 2476500"/>
                  <a:gd name="connsiteX520" fmla="*/ 468384 w 1757434"/>
                  <a:gd name="connsiteY520" fmla="*/ 2257425 h 2476500"/>
                  <a:gd name="connsiteX521" fmla="*/ 460447 w 1757434"/>
                  <a:gd name="connsiteY521" fmla="*/ 2274888 h 2476500"/>
                  <a:gd name="connsiteX522" fmla="*/ 455684 w 1757434"/>
                  <a:gd name="connsiteY522" fmla="*/ 2273300 h 2476500"/>
                  <a:gd name="connsiteX523" fmla="*/ 450922 w 1757434"/>
                  <a:gd name="connsiteY523" fmla="*/ 2282825 h 2476500"/>
                  <a:gd name="connsiteX524" fmla="*/ 449334 w 1757434"/>
                  <a:gd name="connsiteY524" fmla="*/ 2287588 h 2476500"/>
                  <a:gd name="connsiteX525" fmla="*/ 454097 w 1757434"/>
                  <a:gd name="connsiteY525" fmla="*/ 2292350 h 2476500"/>
                  <a:gd name="connsiteX526" fmla="*/ 449334 w 1757434"/>
                  <a:gd name="connsiteY526" fmla="*/ 2290763 h 2476500"/>
                  <a:gd name="connsiteX527" fmla="*/ 444572 w 1757434"/>
                  <a:gd name="connsiteY527" fmla="*/ 2286000 h 2476500"/>
                  <a:gd name="connsiteX528" fmla="*/ 438222 w 1757434"/>
                  <a:gd name="connsiteY528" fmla="*/ 2295525 h 2476500"/>
                  <a:gd name="connsiteX529" fmla="*/ 435047 w 1757434"/>
                  <a:gd name="connsiteY529" fmla="*/ 2308225 h 2476500"/>
                  <a:gd name="connsiteX530" fmla="*/ 428697 w 1757434"/>
                  <a:gd name="connsiteY530" fmla="*/ 2298700 h 2476500"/>
                  <a:gd name="connsiteX531" fmla="*/ 415997 w 1757434"/>
                  <a:gd name="connsiteY531" fmla="*/ 2286000 h 2476500"/>
                  <a:gd name="connsiteX532" fmla="*/ 403297 w 1757434"/>
                  <a:gd name="connsiteY532" fmla="*/ 2284413 h 2476500"/>
                  <a:gd name="connsiteX533" fmla="*/ 409647 w 1757434"/>
                  <a:gd name="connsiteY533" fmla="*/ 2287588 h 2476500"/>
                  <a:gd name="connsiteX534" fmla="*/ 411234 w 1757434"/>
                  <a:gd name="connsiteY534" fmla="*/ 2295525 h 2476500"/>
                  <a:gd name="connsiteX535" fmla="*/ 406472 w 1757434"/>
                  <a:gd name="connsiteY535" fmla="*/ 2308225 h 2476500"/>
                  <a:gd name="connsiteX536" fmla="*/ 393772 w 1757434"/>
                  <a:gd name="connsiteY536" fmla="*/ 2312988 h 2476500"/>
                  <a:gd name="connsiteX537" fmla="*/ 390597 w 1757434"/>
                  <a:gd name="connsiteY537" fmla="*/ 2322513 h 2476500"/>
                  <a:gd name="connsiteX538" fmla="*/ 384247 w 1757434"/>
                  <a:gd name="connsiteY538" fmla="*/ 2328863 h 2476500"/>
                  <a:gd name="connsiteX539" fmla="*/ 381072 w 1757434"/>
                  <a:gd name="connsiteY539" fmla="*/ 2341563 h 2476500"/>
                  <a:gd name="connsiteX540" fmla="*/ 376309 w 1757434"/>
                  <a:gd name="connsiteY540" fmla="*/ 2336800 h 2476500"/>
                  <a:gd name="connsiteX541" fmla="*/ 379484 w 1757434"/>
                  <a:gd name="connsiteY541" fmla="*/ 2341563 h 2476500"/>
                  <a:gd name="connsiteX542" fmla="*/ 382659 w 1757434"/>
                  <a:gd name="connsiteY542" fmla="*/ 2347913 h 2476500"/>
                  <a:gd name="connsiteX543" fmla="*/ 376309 w 1757434"/>
                  <a:gd name="connsiteY543" fmla="*/ 2355850 h 2476500"/>
                  <a:gd name="connsiteX544" fmla="*/ 374722 w 1757434"/>
                  <a:gd name="connsiteY544" fmla="*/ 2360613 h 2476500"/>
                  <a:gd name="connsiteX545" fmla="*/ 355672 w 1757434"/>
                  <a:gd name="connsiteY545" fmla="*/ 2368550 h 2476500"/>
                  <a:gd name="connsiteX546" fmla="*/ 350909 w 1757434"/>
                  <a:gd name="connsiteY546" fmla="*/ 2373313 h 2476500"/>
                  <a:gd name="connsiteX547" fmla="*/ 342972 w 1757434"/>
                  <a:gd name="connsiteY547" fmla="*/ 2376488 h 2476500"/>
                  <a:gd name="connsiteX548" fmla="*/ 336622 w 1757434"/>
                  <a:gd name="connsiteY548" fmla="*/ 2381250 h 2476500"/>
                  <a:gd name="connsiteX549" fmla="*/ 335034 w 1757434"/>
                  <a:gd name="connsiteY549" fmla="*/ 2386013 h 2476500"/>
                  <a:gd name="connsiteX550" fmla="*/ 333447 w 1757434"/>
                  <a:gd name="connsiteY550" fmla="*/ 2393950 h 2476500"/>
                  <a:gd name="connsiteX551" fmla="*/ 327097 w 1757434"/>
                  <a:gd name="connsiteY551" fmla="*/ 2395538 h 2476500"/>
                  <a:gd name="connsiteX552" fmla="*/ 320747 w 1757434"/>
                  <a:gd name="connsiteY552" fmla="*/ 2409825 h 2476500"/>
                  <a:gd name="connsiteX553" fmla="*/ 311222 w 1757434"/>
                  <a:gd name="connsiteY553" fmla="*/ 2411413 h 2476500"/>
                  <a:gd name="connsiteX554" fmla="*/ 312809 w 1757434"/>
                  <a:gd name="connsiteY554" fmla="*/ 2417763 h 2476500"/>
                  <a:gd name="connsiteX555" fmla="*/ 298522 w 1757434"/>
                  <a:gd name="connsiteY555" fmla="*/ 2422525 h 2476500"/>
                  <a:gd name="connsiteX556" fmla="*/ 274709 w 1757434"/>
                  <a:gd name="connsiteY556" fmla="*/ 2433638 h 2476500"/>
                  <a:gd name="connsiteX557" fmla="*/ 269947 w 1757434"/>
                  <a:gd name="connsiteY557" fmla="*/ 2438400 h 2476500"/>
                  <a:gd name="connsiteX558" fmla="*/ 263597 w 1757434"/>
                  <a:gd name="connsiteY558" fmla="*/ 2452688 h 2476500"/>
                  <a:gd name="connsiteX559" fmla="*/ 257247 w 1757434"/>
                  <a:gd name="connsiteY559" fmla="*/ 2459038 h 2476500"/>
                  <a:gd name="connsiteX560" fmla="*/ 241372 w 1757434"/>
                  <a:gd name="connsiteY560" fmla="*/ 2455863 h 2476500"/>
                  <a:gd name="connsiteX561" fmla="*/ 239784 w 1757434"/>
                  <a:gd name="connsiteY561" fmla="*/ 2465388 h 2476500"/>
                  <a:gd name="connsiteX562" fmla="*/ 227084 w 1757434"/>
                  <a:gd name="connsiteY562" fmla="*/ 2468563 h 2476500"/>
                  <a:gd name="connsiteX563" fmla="*/ 184222 w 1757434"/>
                  <a:gd name="connsiteY563" fmla="*/ 2470150 h 2476500"/>
                  <a:gd name="connsiteX564" fmla="*/ 174697 w 1757434"/>
                  <a:gd name="connsiteY564" fmla="*/ 2473325 h 2476500"/>
                  <a:gd name="connsiteX565" fmla="*/ 160409 w 1757434"/>
                  <a:gd name="connsiteY565" fmla="*/ 2476500 h 2476500"/>
                  <a:gd name="connsiteX566" fmla="*/ 158822 w 1757434"/>
                  <a:gd name="connsiteY566" fmla="*/ 2468563 h 2476500"/>
                  <a:gd name="connsiteX567" fmla="*/ 149297 w 1757434"/>
                  <a:gd name="connsiteY567" fmla="*/ 2465388 h 2476500"/>
                  <a:gd name="connsiteX568" fmla="*/ 138184 w 1757434"/>
                  <a:gd name="connsiteY568" fmla="*/ 2459038 h 2476500"/>
                  <a:gd name="connsiteX569" fmla="*/ 128659 w 1757434"/>
                  <a:gd name="connsiteY569" fmla="*/ 2455863 h 2476500"/>
                  <a:gd name="connsiteX570" fmla="*/ 127072 w 1757434"/>
                  <a:gd name="connsiteY570" fmla="*/ 2463800 h 2476500"/>
                  <a:gd name="connsiteX571" fmla="*/ 120722 w 1757434"/>
                  <a:gd name="connsiteY571" fmla="*/ 2465388 h 2476500"/>
                  <a:gd name="connsiteX572" fmla="*/ 114372 w 1757434"/>
                  <a:gd name="connsiteY572" fmla="*/ 2463800 h 2476500"/>
                  <a:gd name="connsiteX573" fmla="*/ 112784 w 1757434"/>
                  <a:gd name="connsiteY573" fmla="*/ 2459038 h 2476500"/>
                  <a:gd name="connsiteX574" fmla="*/ 111197 w 1757434"/>
                  <a:gd name="connsiteY574" fmla="*/ 2452688 h 2476500"/>
                  <a:gd name="connsiteX575" fmla="*/ 114372 w 1757434"/>
                  <a:gd name="connsiteY575" fmla="*/ 2441575 h 2476500"/>
                  <a:gd name="connsiteX576" fmla="*/ 120722 w 1757434"/>
                  <a:gd name="connsiteY576" fmla="*/ 2438400 h 2476500"/>
                  <a:gd name="connsiteX577" fmla="*/ 136597 w 1757434"/>
                  <a:gd name="connsiteY577" fmla="*/ 2430463 h 2476500"/>
                  <a:gd name="connsiteX578" fmla="*/ 135009 w 1757434"/>
                  <a:gd name="connsiteY578" fmla="*/ 2424113 h 2476500"/>
                  <a:gd name="connsiteX579" fmla="*/ 106434 w 1757434"/>
                  <a:gd name="connsiteY579" fmla="*/ 2425700 h 2476500"/>
                  <a:gd name="connsiteX580" fmla="*/ 96909 w 1757434"/>
                  <a:gd name="connsiteY580" fmla="*/ 2430463 h 2476500"/>
                  <a:gd name="connsiteX581" fmla="*/ 87384 w 1757434"/>
                  <a:gd name="connsiteY581" fmla="*/ 2422525 h 2476500"/>
                  <a:gd name="connsiteX582" fmla="*/ 82622 w 1757434"/>
                  <a:gd name="connsiteY582" fmla="*/ 2419350 h 2476500"/>
                  <a:gd name="connsiteX583" fmla="*/ 79447 w 1757434"/>
                  <a:gd name="connsiteY583" fmla="*/ 2414588 h 2476500"/>
                  <a:gd name="connsiteX584" fmla="*/ 28647 w 1757434"/>
                  <a:gd name="connsiteY584" fmla="*/ 2379663 h 2476500"/>
                  <a:gd name="connsiteX585" fmla="*/ 30234 w 1757434"/>
                  <a:gd name="connsiteY585" fmla="*/ 2360613 h 2476500"/>
                  <a:gd name="connsiteX586" fmla="*/ 23884 w 1757434"/>
                  <a:gd name="connsiteY586" fmla="*/ 2354263 h 2476500"/>
                  <a:gd name="connsiteX587" fmla="*/ 20709 w 1757434"/>
                  <a:gd name="connsiteY587" fmla="*/ 2347913 h 2476500"/>
                  <a:gd name="connsiteX588" fmla="*/ 15947 w 1757434"/>
                  <a:gd name="connsiteY588" fmla="*/ 2341563 h 2476500"/>
                  <a:gd name="connsiteX589" fmla="*/ 17534 w 1757434"/>
                  <a:gd name="connsiteY589" fmla="*/ 2328863 h 2476500"/>
                  <a:gd name="connsiteX590" fmla="*/ 19122 w 1757434"/>
                  <a:gd name="connsiteY590" fmla="*/ 2306638 h 2476500"/>
                  <a:gd name="connsiteX591" fmla="*/ 23884 w 1757434"/>
                  <a:gd name="connsiteY591" fmla="*/ 2300288 h 2476500"/>
                  <a:gd name="connsiteX592" fmla="*/ 25472 w 1757434"/>
                  <a:gd name="connsiteY592" fmla="*/ 2295525 h 2476500"/>
                  <a:gd name="connsiteX593" fmla="*/ 41347 w 1757434"/>
                  <a:gd name="connsiteY593" fmla="*/ 2306638 h 2476500"/>
                  <a:gd name="connsiteX594" fmla="*/ 52459 w 1757434"/>
                  <a:gd name="connsiteY594" fmla="*/ 2308225 h 2476500"/>
                  <a:gd name="connsiteX595" fmla="*/ 57222 w 1757434"/>
                  <a:gd name="connsiteY595" fmla="*/ 2312988 h 2476500"/>
                  <a:gd name="connsiteX596" fmla="*/ 71509 w 1757434"/>
                  <a:gd name="connsiteY596" fmla="*/ 2320925 h 2476500"/>
                  <a:gd name="connsiteX597" fmla="*/ 81034 w 1757434"/>
                  <a:gd name="connsiteY597" fmla="*/ 2328863 h 2476500"/>
                  <a:gd name="connsiteX598" fmla="*/ 85797 w 1757434"/>
                  <a:gd name="connsiteY598" fmla="*/ 2332038 h 2476500"/>
                  <a:gd name="connsiteX599" fmla="*/ 92147 w 1757434"/>
                  <a:gd name="connsiteY599" fmla="*/ 2330450 h 2476500"/>
                  <a:gd name="connsiteX600" fmla="*/ 85797 w 1757434"/>
                  <a:gd name="connsiteY600" fmla="*/ 2327275 h 2476500"/>
                  <a:gd name="connsiteX601" fmla="*/ 81034 w 1757434"/>
                  <a:gd name="connsiteY601" fmla="*/ 2324100 h 2476500"/>
                  <a:gd name="connsiteX602" fmla="*/ 77859 w 1757434"/>
                  <a:gd name="connsiteY602" fmla="*/ 2319338 h 2476500"/>
                  <a:gd name="connsiteX603" fmla="*/ 73097 w 1757434"/>
                  <a:gd name="connsiteY603" fmla="*/ 2308225 h 2476500"/>
                  <a:gd name="connsiteX604" fmla="*/ 82622 w 1757434"/>
                  <a:gd name="connsiteY604" fmla="*/ 2303463 h 2476500"/>
                  <a:gd name="connsiteX605" fmla="*/ 87384 w 1757434"/>
                  <a:gd name="connsiteY605" fmla="*/ 2301875 h 2476500"/>
                  <a:gd name="connsiteX606" fmla="*/ 92147 w 1757434"/>
                  <a:gd name="connsiteY606" fmla="*/ 2297113 h 2476500"/>
                  <a:gd name="connsiteX607" fmla="*/ 101672 w 1757434"/>
                  <a:gd name="connsiteY607" fmla="*/ 2293938 h 2476500"/>
                  <a:gd name="connsiteX608" fmla="*/ 125484 w 1757434"/>
                  <a:gd name="connsiteY608" fmla="*/ 2289175 h 2476500"/>
                  <a:gd name="connsiteX609" fmla="*/ 127072 w 1757434"/>
                  <a:gd name="connsiteY609" fmla="*/ 2284413 h 2476500"/>
                  <a:gd name="connsiteX610" fmla="*/ 100084 w 1757434"/>
                  <a:gd name="connsiteY610" fmla="*/ 2292350 h 2476500"/>
                  <a:gd name="connsiteX611" fmla="*/ 95322 w 1757434"/>
                  <a:gd name="connsiteY611" fmla="*/ 2295525 h 2476500"/>
                  <a:gd name="connsiteX612" fmla="*/ 88972 w 1757434"/>
                  <a:gd name="connsiteY612" fmla="*/ 2297113 h 2476500"/>
                  <a:gd name="connsiteX613" fmla="*/ 84209 w 1757434"/>
                  <a:gd name="connsiteY613" fmla="*/ 2298700 h 2476500"/>
                  <a:gd name="connsiteX614" fmla="*/ 68334 w 1757434"/>
                  <a:gd name="connsiteY614" fmla="*/ 2297113 h 2476500"/>
                  <a:gd name="connsiteX615" fmla="*/ 66747 w 1757434"/>
                  <a:gd name="connsiteY615" fmla="*/ 2292350 h 2476500"/>
                  <a:gd name="connsiteX616" fmla="*/ 61984 w 1757434"/>
                  <a:gd name="connsiteY616" fmla="*/ 2287588 h 2476500"/>
                  <a:gd name="connsiteX617" fmla="*/ 58809 w 1757434"/>
                  <a:gd name="connsiteY617" fmla="*/ 2266950 h 2476500"/>
                  <a:gd name="connsiteX618" fmla="*/ 69922 w 1757434"/>
                  <a:gd name="connsiteY618" fmla="*/ 2270125 h 2476500"/>
                  <a:gd name="connsiteX619" fmla="*/ 77859 w 1757434"/>
                  <a:gd name="connsiteY619" fmla="*/ 2273300 h 2476500"/>
                  <a:gd name="connsiteX620" fmla="*/ 79447 w 1757434"/>
                  <a:gd name="connsiteY620" fmla="*/ 2268538 h 2476500"/>
                  <a:gd name="connsiteX621" fmla="*/ 81034 w 1757434"/>
                  <a:gd name="connsiteY621" fmla="*/ 2259013 h 2476500"/>
                  <a:gd name="connsiteX622" fmla="*/ 93734 w 1757434"/>
                  <a:gd name="connsiteY622" fmla="*/ 2247900 h 2476500"/>
                  <a:gd name="connsiteX623" fmla="*/ 100084 w 1757434"/>
                  <a:gd name="connsiteY623" fmla="*/ 2244725 h 2476500"/>
                  <a:gd name="connsiteX624" fmla="*/ 104847 w 1757434"/>
                  <a:gd name="connsiteY624" fmla="*/ 2239963 h 2476500"/>
                  <a:gd name="connsiteX625" fmla="*/ 109609 w 1757434"/>
                  <a:gd name="connsiteY625" fmla="*/ 2236788 h 2476500"/>
                  <a:gd name="connsiteX626" fmla="*/ 85797 w 1757434"/>
                  <a:gd name="connsiteY626" fmla="*/ 2235200 h 2476500"/>
                  <a:gd name="connsiteX627" fmla="*/ 84209 w 1757434"/>
                  <a:gd name="connsiteY627" fmla="*/ 2239963 h 2476500"/>
                  <a:gd name="connsiteX628" fmla="*/ 71509 w 1757434"/>
                  <a:gd name="connsiteY628" fmla="*/ 2239963 h 2476500"/>
                  <a:gd name="connsiteX629" fmla="*/ 69922 w 1757434"/>
                  <a:gd name="connsiteY629" fmla="*/ 2235200 h 2476500"/>
                  <a:gd name="connsiteX630" fmla="*/ 77859 w 1757434"/>
                  <a:gd name="connsiteY630" fmla="*/ 2220913 h 2476500"/>
                  <a:gd name="connsiteX631" fmla="*/ 87384 w 1757434"/>
                  <a:gd name="connsiteY631" fmla="*/ 2214563 h 2476500"/>
                  <a:gd name="connsiteX632" fmla="*/ 98497 w 1757434"/>
                  <a:gd name="connsiteY632" fmla="*/ 2208213 h 2476500"/>
                  <a:gd name="connsiteX633" fmla="*/ 106434 w 1757434"/>
                  <a:gd name="connsiteY633" fmla="*/ 2198688 h 2476500"/>
                  <a:gd name="connsiteX634" fmla="*/ 108022 w 1757434"/>
                  <a:gd name="connsiteY634" fmla="*/ 2193925 h 2476500"/>
                  <a:gd name="connsiteX635" fmla="*/ 95322 w 1757434"/>
                  <a:gd name="connsiteY635" fmla="*/ 2205038 h 2476500"/>
                  <a:gd name="connsiteX636" fmla="*/ 87384 w 1757434"/>
                  <a:gd name="connsiteY636" fmla="*/ 2208213 h 2476500"/>
                  <a:gd name="connsiteX637" fmla="*/ 74684 w 1757434"/>
                  <a:gd name="connsiteY637" fmla="*/ 2206625 h 2476500"/>
                  <a:gd name="connsiteX638" fmla="*/ 63572 w 1757434"/>
                  <a:gd name="connsiteY638" fmla="*/ 2206625 h 2476500"/>
                  <a:gd name="connsiteX639" fmla="*/ 61984 w 1757434"/>
                  <a:gd name="connsiteY639" fmla="*/ 2212975 h 2476500"/>
                  <a:gd name="connsiteX640" fmla="*/ 54047 w 1757434"/>
                  <a:gd name="connsiteY640" fmla="*/ 2214563 h 2476500"/>
                  <a:gd name="connsiteX641" fmla="*/ 49284 w 1757434"/>
                  <a:gd name="connsiteY641" fmla="*/ 2217738 h 2476500"/>
                  <a:gd name="connsiteX642" fmla="*/ 44522 w 1757434"/>
                  <a:gd name="connsiteY642" fmla="*/ 2220913 h 2476500"/>
                  <a:gd name="connsiteX643" fmla="*/ 39759 w 1757434"/>
                  <a:gd name="connsiteY643" fmla="*/ 2225675 h 2476500"/>
                  <a:gd name="connsiteX644" fmla="*/ 31822 w 1757434"/>
                  <a:gd name="connsiteY644" fmla="*/ 2235200 h 2476500"/>
                  <a:gd name="connsiteX645" fmla="*/ 27059 w 1757434"/>
                  <a:gd name="connsiteY645" fmla="*/ 2232025 h 2476500"/>
                  <a:gd name="connsiteX646" fmla="*/ 20709 w 1757434"/>
                  <a:gd name="connsiteY646" fmla="*/ 2233613 h 2476500"/>
                  <a:gd name="connsiteX647" fmla="*/ 12772 w 1757434"/>
                  <a:gd name="connsiteY647" fmla="*/ 2227263 h 2476500"/>
                  <a:gd name="connsiteX648" fmla="*/ 6422 w 1757434"/>
                  <a:gd name="connsiteY648" fmla="*/ 2236788 h 2476500"/>
                  <a:gd name="connsiteX649" fmla="*/ 4834 w 1757434"/>
                  <a:gd name="connsiteY649" fmla="*/ 2230438 h 2476500"/>
                  <a:gd name="connsiteX650" fmla="*/ 8009 w 1757434"/>
                  <a:gd name="connsiteY650" fmla="*/ 2203450 h 2476500"/>
                  <a:gd name="connsiteX651" fmla="*/ 14359 w 1757434"/>
                  <a:gd name="connsiteY651" fmla="*/ 2201863 h 2476500"/>
                  <a:gd name="connsiteX652" fmla="*/ 15947 w 1757434"/>
                  <a:gd name="connsiteY652" fmla="*/ 2192338 h 2476500"/>
                  <a:gd name="connsiteX653" fmla="*/ 17534 w 1757434"/>
                  <a:gd name="connsiteY653" fmla="*/ 2179638 h 2476500"/>
                  <a:gd name="connsiteX654" fmla="*/ 30234 w 1757434"/>
                  <a:gd name="connsiteY654" fmla="*/ 2185988 h 2476500"/>
                  <a:gd name="connsiteX655" fmla="*/ 34997 w 1757434"/>
                  <a:gd name="connsiteY655" fmla="*/ 2176463 h 2476500"/>
                  <a:gd name="connsiteX656" fmla="*/ 38172 w 1757434"/>
                  <a:gd name="connsiteY656" fmla="*/ 2171700 h 2476500"/>
                  <a:gd name="connsiteX657" fmla="*/ 49284 w 1757434"/>
                  <a:gd name="connsiteY657" fmla="*/ 2174875 h 2476500"/>
                  <a:gd name="connsiteX658" fmla="*/ 57222 w 1757434"/>
                  <a:gd name="connsiteY658" fmla="*/ 2171700 h 2476500"/>
                  <a:gd name="connsiteX659" fmla="*/ 66747 w 1757434"/>
                  <a:gd name="connsiteY659" fmla="*/ 2163763 h 2476500"/>
                  <a:gd name="connsiteX660" fmla="*/ 68334 w 1757434"/>
                  <a:gd name="connsiteY660" fmla="*/ 2168525 h 2476500"/>
                  <a:gd name="connsiteX661" fmla="*/ 79447 w 1757434"/>
                  <a:gd name="connsiteY661" fmla="*/ 2160588 h 2476500"/>
                  <a:gd name="connsiteX662" fmla="*/ 82622 w 1757434"/>
                  <a:gd name="connsiteY662" fmla="*/ 2155825 h 2476500"/>
                  <a:gd name="connsiteX663" fmla="*/ 88972 w 1757434"/>
                  <a:gd name="connsiteY663" fmla="*/ 2154238 h 2476500"/>
                  <a:gd name="connsiteX664" fmla="*/ 95322 w 1757434"/>
                  <a:gd name="connsiteY664" fmla="*/ 2151063 h 2476500"/>
                  <a:gd name="connsiteX665" fmla="*/ 100084 w 1757434"/>
                  <a:gd name="connsiteY665" fmla="*/ 2147888 h 2476500"/>
                  <a:gd name="connsiteX666" fmla="*/ 76272 w 1757434"/>
                  <a:gd name="connsiteY666" fmla="*/ 2149475 h 2476500"/>
                  <a:gd name="connsiteX667" fmla="*/ 61984 w 1757434"/>
                  <a:gd name="connsiteY667" fmla="*/ 2147888 h 2476500"/>
                  <a:gd name="connsiteX668" fmla="*/ 52459 w 1757434"/>
                  <a:gd name="connsiteY668" fmla="*/ 2149475 h 2476500"/>
                  <a:gd name="connsiteX669" fmla="*/ 55634 w 1757434"/>
                  <a:gd name="connsiteY669" fmla="*/ 2139950 h 2476500"/>
                  <a:gd name="connsiteX670" fmla="*/ 58809 w 1757434"/>
                  <a:gd name="connsiteY670" fmla="*/ 2133600 h 2476500"/>
                  <a:gd name="connsiteX671" fmla="*/ 65159 w 1757434"/>
                  <a:gd name="connsiteY671" fmla="*/ 2116138 h 2476500"/>
                  <a:gd name="connsiteX672" fmla="*/ 71509 w 1757434"/>
                  <a:gd name="connsiteY672" fmla="*/ 2109788 h 2476500"/>
                  <a:gd name="connsiteX673" fmla="*/ 81034 w 1757434"/>
                  <a:gd name="connsiteY673" fmla="*/ 2101850 h 2476500"/>
                  <a:gd name="connsiteX674" fmla="*/ 82622 w 1757434"/>
                  <a:gd name="connsiteY674" fmla="*/ 2097088 h 2476500"/>
                  <a:gd name="connsiteX675" fmla="*/ 84209 w 1757434"/>
                  <a:gd name="connsiteY675" fmla="*/ 2090738 h 2476500"/>
                  <a:gd name="connsiteX676" fmla="*/ 90559 w 1757434"/>
                  <a:gd name="connsiteY676" fmla="*/ 2087563 h 2476500"/>
                  <a:gd name="connsiteX677" fmla="*/ 96909 w 1757434"/>
                  <a:gd name="connsiteY677" fmla="*/ 2078038 h 2476500"/>
                  <a:gd name="connsiteX678" fmla="*/ 98497 w 1757434"/>
                  <a:gd name="connsiteY678" fmla="*/ 2071688 h 2476500"/>
                  <a:gd name="connsiteX679" fmla="*/ 103259 w 1757434"/>
                  <a:gd name="connsiteY679" fmla="*/ 2062163 h 2476500"/>
                  <a:gd name="connsiteX680" fmla="*/ 108022 w 1757434"/>
                  <a:gd name="connsiteY680" fmla="*/ 2058988 h 2476500"/>
                  <a:gd name="connsiteX681" fmla="*/ 115959 w 1757434"/>
                  <a:gd name="connsiteY681" fmla="*/ 2052638 h 2476500"/>
                  <a:gd name="connsiteX682" fmla="*/ 125484 w 1757434"/>
                  <a:gd name="connsiteY682" fmla="*/ 2055813 h 2476500"/>
                  <a:gd name="connsiteX683" fmla="*/ 127072 w 1757434"/>
                  <a:gd name="connsiteY683" fmla="*/ 2060575 h 2476500"/>
                  <a:gd name="connsiteX684" fmla="*/ 130247 w 1757434"/>
                  <a:gd name="connsiteY684" fmla="*/ 2089150 h 2476500"/>
                  <a:gd name="connsiteX685" fmla="*/ 131834 w 1757434"/>
                  <a:gd name="connsiteY685" fmla="*/ 2098675 h 2476500"/>
                  <a:gd name="connsiteX686" fmla="*/ 135009 w 1757434"/>
                  <a:gd name="connsiteY686" fmla="*/ 2051050 h 2476500"/>
                  <a:gd name="connsiteX687" fmla="*/ 139772 w 1757434"/>
                  <a:gd name="connsiteY687" fmla="*/ 2047875 h 2476500"/>
                  <a:gd name="connsiteX688" fmla="*/ 150884 w 1757434"/>
                  <a:gd name="connsiteY688" fmla="*/ 2036763 h 2476500"/>
                  <a:gd name="connsiteX689" fmla="*/ 155647 w 1757434"/>
                  <a:gd name="connsiteY689" fmla="*/ 2035175 h 2476500"/>
                  <a:gd name="connsiteX690" fmla="*/ 160409 w 1757434"/>
                  <a:gd name="connsiteY690" fmla="*/ 2032000 h 2476500"/>
                  <a:gd name="connsiteX691" fmla="*/ 171522 w 1757434"/>
                  <a:gd name="connsiteY691" fmla="*/ 2028825 h 2476500"/>
                  <a:gd name="connsiteX692" fmla="*/ 174697 w 1757434"/>
                  <a:gd name="connsiteY692" fmla="*/ 2020888 h 2476500"/>
                  <a:gd name="connsiteX693" fmla="*/ 161997 w 1757434"/>
                  <a:gd name="connsiteY693" fmla="*/ 2022475 h 2476500"/>
                  <a:gd name="connsiteX694" fmla="*/ 154059 w 1757434"/>
                  <a:gd name="connsiteY694" fmla="*/ 2025650 h 2476500"/>
                  <a:gd name="connsiteX695" fmla="*/ 146122 w 1757434"/>
                  <a:gd name="connsiteY695" fmla="*/ 2027238 h 2476500"/>
                  <a:gd name="connsiteX696" fmla="*/ 139772 w 1757434"/>
                  <a:gd name="connsiteY696" fmla="*/ 2028825 h 2476500"/>
                  <a:gd name="connsiteX697" fmla="*/ 133422 w 1757434"/>
                  <a:gd name="connsiteY697" fmla="*/ 2032000 h 2476500"/>
                  <a:gd name="connsiteX698" fmla="*/ 119134 w 1757434"/>
                  <a:gd name="connsiteY698" fmla="*/ 2035175 h 2476500"/>
                  <a:gd name="connsiteX699" fmla="*/ 96909 w 1757434"/>
                  <a:gd name="connsiteY699" fmla="*/ 2043113 h 2476500"/>
                  <a:gd name="connsiteX700" fmla="*/ 92147 w 1757434"/>
                  <a:gd name="connsiteY700" fmla="*/ 2054225 h 2476500"/>
                  <a:gd name="connsiteX701" fmla="*/ 87384 w 1757434"/>
                  <a:gd name="connsiteY701" fmla="*/ 2058988 h 2476500"/>
                  <a:gd name="connsiteX702" fmla="*/ 82622 w 1757434"/>
                  <a:gd name="connsiteY702" fmla="*/ 2073275 h 2476500"/>
                  <a:gd name="connsiteX703" fmla="*/ 79447 w 1757434"/>
                  <a:gd name="connsiteY703" fmla="*/ 2079625 h 2476500"/>
                  <a:gd name="connsiteX704" fmla="*/ 76272 w 1757434"/>
                  <a:gd name="connsiteY704" fmla="*/ 2087563 h 2476500"/>
                  <a:gd name="connsiteX705" fmla="*/ 46109 w 1757434"/>
                  <a:gd name="connsiteY705" fmla="*/ 2089150 h 2476500"/>
                  <a:gd name="connsiteX706" fmla="*/ 44522 w 1757434"/>
                  <a:gd name="connsiteY706" fmla="*/ 2095500 h 2476500"/>
                  <a:gd name="connsiteX707" fmla="*/ 38172 w 1757434"/>
                  <a:gd name="connsiteY707" fmla="*/ 2092325 h 2476500"/>
                  <a:gd name="connsiteX708" fmla="*/ 46109 w 1757434"/>
                  <a:gd name="connsiteY708" fmla="*/ 2073275 h 2476500"/>
                  <a:gd name="connsiteX709" fmla="*/ 47697 w 1757434"/>
                  <a:gd name="connsiteY709" fmla="*/ 2068513 h 2476500"/>
                  <a:gd name="connsiteX710" fmla="*/ 49284 w 1757434"/>
                  <a:gd name="connsiteY710" fmla="*/ 2054225 h 2476500"/>
                  <a:gd name="connsiteX711" fmla="*/ 55634 w 1757434"/>
                  <a:gd name="connsiteY711" fmla="*/ 2047875 h 2476500"/>
                  <a:gd name="connsiteX712" fmla="*/ 58809 w 1757434"/>
                  <a:gd name="connsiteY712" fmla="*/ 2043113 h 2476500"/>
                  <a:gd name="connsiteX713" fmla="*/ 44522 w 1757434"/>
                  <a:gd name="connsiteY713" fmla="*/ 2054225 h 2476500"/>
                  <a:gd name="connsiteX714" fmla="*/ 27059 w 1757434"/>
                  <a:gd name="connsiteY714" fmla="*/ 2073275 h 2476500"/>
                  <a:gd name="connsiteX715" fmla="*/ 22297 w 1757434"/>
                  <a:gd name="connsiteY715" fmla="*/ 2071688 h 2476500"/>
                  <a:gd name="connsiteX716" fmla="*/ 20709 w 1757434"/>
                  <a:gd name="connsiteY716" fmla="*/ 2065338 h 2476500"/>
                  <a:gd name="connsiteX717" fmla="*/ 25472 w 1757434"/>
                  <a:gd name="connsiteY717" fmla="*/ 2052638 h 2476500"/>
                  <a:gd name="connsiteX718" fmla="*/ 19122 w 1757434"/>
                  <a:gd name="connsiteY718" fmla="*/ 2049463 h 2476500"/>
                  <a:gd name="connsiteX719" fmla="*/ 12772 w 1757434"/>
                  <a:gd name="connsiteY719" fmla="*/ 2047875 h 2476500"/>
                  <a:gd name="connsiteX720" fmla="*/ 15947 w 1757434"/>
                  <a:gd name="connsiteY720" fmla="*/ 2043113 h 2476500"/>
                  <a:gd name="connsiteX721" fmla="*/ 14359 w 1757434"/>
                  <a:gd name="connsiteY721" fmla="*/ 2036763 h 2476500"/>
                  <a:gd name="connsiteX722" fmla="*/ 30234 w 1757434"/>
                  <a:gd name="connsiteY722" fmla="*/ 2025650 h 2476500"/>
                  <a:gd name="connsiteX723" fmla="*/ 39759 w 1757434"/>
                  <a:gd name="connsiteY723" fmla="*/ 2030413 h 2476500"/>
                  <a:gd name="connsiteX724" fmla="*/ 42934 w 1757434"/>
                  <a:gd name="connsiteY724" fmla="*/ 2035175 h 2476500"/>
                  <a:gd name="connsiteX725" fmla="*/ 50872 w 1757434"/>
                  <a:gd name="connsiteY725" fmla="*/ 2036763 h 2476500"/>
                  <a:gd name="connsiteX726" fmla="*/ 58809 w 1757434"/>
                  <a:gd name="connsiteY726" fmla="*/ 2030413 h 2476500"/>
                  <a:gd name="connsiteX727" fmla="*/ 58809 w 1757434"/>
                  <a:gd name="connsiteY727" fmla="*/ 2014538 h 2476500"/>
                  <a:gd name="connsiteX728" fmla="*/ 50872 w 1757434"/>
                  <a:gd name="connsiteY728" fmla="*/ 2016125 h 2476500"/>
                  <a:gd name="connsiteX729" fmla="*/ 46109 w 1757434"/>
                  <a:gd name="connsiteY729" fmla="*/ 2022475 h 2476500"/>
                  <a:gd name="connsiteX730" fmla="*/ 34997 w 1757434"/>
                  <a:gd name="connsiteY730" fmla="*/ 2020888 h 2476500"/>
                  <a:gd name="connsiteX731" fmla="*/ 31822 w 1757434"/>
                  <a:gd name="connsiteY731" fmla="*/ 2014538 h 2476500"/>
                  <a:gd name="connsiteX732" fmla="*/ 49284 w 1757434"/>
                  <a:gd name="connsiteY732" fmla="*/ 1997075 h 2476500"/>
                  <a:gd name="connsiteX733" fmla="*/ 60397 w 1757434"/>
                  <a:gd name="connsiteY733" fmla="*/ 1992313 h 2476500"/>
                  <a:gd name="connsiteX734" fmla="*/ 50872 w 1757434"/>
                  <a:gd name="connsiteY734" fmla="*/ 1984375 h 2476500"/>
                  <a:gd name="connsiteX735" fmla="*/ 38172 w 1757434"/>
                  <a:gd name="connsiteY735" fmla="*/ 1985963 h 2476500"/>
                  <a:gd name="connsiteX736" fmla="*/ 41347 w 1757434"/>
                  <a:gd name="connsiteY736" fmla="*/ 1979613 h 2476500"/>
                  <a:gd name="connsiteX737" fmla="*/ 46109 w 1757434"/>
                  <a:gd name="connsiteY737" fmla="*/ 1968500 h 2476500"/>
                  <a:gd name="connsiteX738" fmla="*/ 38172 w 1757434"/>
                  <a:gd name="connsiteY738" fmla="*/ 1966913 h 2476500"/>
                  <a:gd name="connsiteX739" fmla="*/ 31822 w 1757434"/>
                  <a:gd name="connsiteY739" fmla="*/ 1968500 h 2476500"/>
                  <a:gd name="connsiteX740" fmla="*/ 33409 w 1757434"/>
                  <a:gd name="connsiteY740" fmla="*/ 1963738 h 2476500"/>
                  <a:gd name="connsiteX741" fmla="*/ 42934 w 1757434"/>
                  <a:gd name="connsiteY741" fmla="*/ 1952625 h 2476500"/>
                  <a:gd name="connsiteX742" fmla="*/ 30234 w 1757434"/>
                  <a:gd name="connsiteY742" fmla="*/ 1954213 h 2476500"/>
                  <a:gd name="connsiteX743" fmla="*/ 8009 w 1757434"/>
                  <a:gd name="connsiteY743" fmla="*/ 1958975 h 2476500"/>
                  <a:gd name="connsiteX744" fmla="*/ 4834 w 1757434"/>
                  <a:gd name="connsiteY744" fmla="*/ 1954213 h 2476500"/>
                  <a:gd name="connsiteX745" fmla="*/ 8009 w 1757434"/>
                  <a:gd name="connsiteY745" fmla="*/ 1920875 h 2476500"/>
                  <a:gd name="connsiteX746" fmla="*/ 11184 w 1757434"/>
                  <a:gd name="connsiteY746" fmla="*/ 1916113 h 2476500"/>
                  <a:gd name="connsiteX747" fmla="*/ 15947 w 1757434"/>
                  <a:gd name="connsiteY747" fmla="*/ 1914525 h 2476500"/>
                  <a:gd name="connsiteX748" fmla="*/ 20709 w 1757434"/>
                  <a:gd name="connsiteY748" fmla="*/ 1916113 h 2476500"/>
                  <a:gd name="connsiteX749" fmla="*/ 25472 w 1757434"/>
                  <a:gd name="connsiteY749" fmla="*/ 1919288 h 2476500"/>
                  <a:gd name="connsiteX750" fmla="*/ 34997 w 1757434"/>
                  <a:gd name="connsiteY750" fmla="*/ 1917700 h 2476500"/>
                  <a:gd name="connsiteX751" fmla="*/ 39759 w 1757434"/>
                  <a:gd name="connsiteY751" fmla="*/ 1914525 h 2476500"/>
                  <a:gd name="connsiteX752" fmla="*/ 49284 w 1757434"/>
                  <a:gd name="connsiteY752" fmla="*/ 1912938 h 2476500"/>
                  <a:gd name="connsiteX753" fmla="*/ 54047 w 1757434"/>
                  <a:gd name="connsiteY753" fmla="*/ 1911747 h 2476500"/>
                  <a:gd name="connsiteX754" fmla="*/ 58077 w 1757434"/>
                  <a:gd name="connsiteY754" fmla="*/ 1911839 h 2476500"/>
                  <a:gd name="connsiteX755" fmla="*/ 63572 w 1757434"/>
                  <a:gd name="connsiteY755" fmla="*/ 1912938 h 2476500"/>
                  <a:gd name="connsiteX756" fmla="*/ 66308 w 1757434"/>
                  <a:gd name="connsiteY756" fmla="*/ 1912026 h 2476500"/>
                  <a:gd name="connsiteX757" fmla="*/ 69847 w 1757434"/>
                  <a:gd name="connsiteY757" fmla="*/ 1912106 h 2476500"/>
                  <a:gd name="connsiteX758" fmla="*/ 74684 w 1757434"/>
                  <a:gd name="connsiteY758" fmla="*/ 1914525 h 2476500"/>
                  <a:gd name="connsiteX759" fmla="*/ 76272 w 1757434"/>
                  <a:gd name="connsiteY759" fmla="*/ 1922463 h 2476500"/>
                  <a:gd name="connsiteX760" fmla="*/ 81034 w 1757434"/>
                  <a:gd name="connsiteY760" fmla="*/ 1919288 h 2476500"/>
                  <a:gd name="connsiteX761" fmla="*/ 82622 w 1757434"/>
                  <a:gd name="connsiteY761" fmla="*/ 1914525 h 2476500"/>
                  <a:gd name="connsiteX762" fmla="*/ 84703 w 1757434"/>
                  <a:gd name="connsiteY762" fmla="*/ 1912444 h 2476500"/>
                  <a:gd name="connsiteX763" fmla="*/ 91336 w 1757434"/>
                  <a:gd name="connsiteY763" fmla="*/ 1912595 h 2476500"/>
                  <a:gd name="connsiteX764" fmla="*/ 90357 w 1757434"/>
                  <a:gd name="connsiteY764" fmla="*/ 1913487 h 2476500"/>
                  <a:gd name="connsiteX765" fmla="*/ 95322 w 1757434"/>
                  <a:gd name="connsiteY765" fmla="*/ 1920875 h 2476500"/>
                  <a:gd name="connsiteX766" fmla="*/ 104847 w 1757434"/>
                  <a:gd name="connsiteY766" fmla="*/ 1922463 h 2476500"/>
                  <a:gd name="connsiteX767" fmla="*/ 109609 w 1757434"/>
                  <a:gd name="connsiteY767" fmla="*/ 1925638 h 2476500"/>
                  <a:gd name="connsiteX768" fmla="*/ 114372 w 1757434"/>
                  <a:gd name="connsiteY768" fmla="*/ 1931988 h 2476500"/>
                  <a:gd name="connsiteX769" fmla="*/ 119134 w 1757434"/>
                  <a:gd name="connsiteY769" fmla="*/ 1930400 h 2476500"/>
                  <a:gd name="connsiteX770" fmla="*/ 136597 w 1757434"/>
                  <a:gd name="connsiteY770" fmla="*/ 1925638 h 2476500"/>
                  <a:gd name="connsiteX771" fmla="*/ 141359 w 1757434"/>
                  <a:gd name="connsiteY771" fmla="*/ 1919288 h 2476500"/>
                  <a:gd name="connsiteX772" fmla="*/ 142947 w 1757434"/>
                  <a:gd name="connsiteY772" fmla="*/ 1912938 h 2476500"/>
                  <a:gd name="connsiteX773" fmla="*/ 147709 w 1757434"/>
                  <a:gd name="connsiteY773" fmla="*/ 1909763 h 2476500"/>
                  <a:gd name="connsiteX774" fmla="*/ 149297 w 1757434"/>
                  <a:gd name="connsiteY774" fmla="*/ 1914525 h 2476500"/>
                  <a:gd name="connsiteX775" fmla="*/ 150884 w 1757434"/>
                  <a:gd name="connsiteY775" fmla="*/ 1924050 h 2476500"/>
                  <a:gd name="connsiteX776" fmla="*/ 157234 w 1757434"/>
                  <a:gd name="connsiteY776" fmla="*/ 1930400 h 2476500"/>
                  <a:gd name="connsiteX777" fmla="*/ 158822 w 1757434"/>
                  <a:gd name="connsiteY777" fmla="*/ 1935163 h 2476500"/>
                  <a:gd name="connsiteX778" fmla="*/ 161997 w 1757434"/>
                  <a:gd name="connsiteY778" fmla="*/ 1939925 h 2476500"/>
                  <a:gd name="connsiteX779" fmla="*/ 165172 w 1757434"/>
                  <a:gd name="connsiteY779" fmla="*/ 1951038 h 2476500"/>
                  <a:gd name="connsiteX780" fmla="*/ 171522 w 1757434"/>
                  <a:gd name="connsiteY780" fmla="*/ 1960563 h 2476500"/>
                  <a:gd name="connsiteX781" fmla="*/ 171522 w 1757434"/>
                  <a:gd name="connsiteY781" fmla="*/ 1963738 h 2476500"/>
                  <a:gd name="connsiteX782" fmla="*/ 174697 w 1757434"/>
                  <a:gd name="connsiteY782" fmla="*/ 1957388 h 2476500"/>
                  <a:gd name="connsiteX783" fmla="*/ 181047 w 1757434"/>
                  <a:gd name="connsiteY783" fmla="*/ 1955800 h 2476500"/>
                  <a:gd name="connsiteX784" fmla="*/ 193747 w 1757434"/>
                  <a:gd name="connsiteY784" fmla="*/ 1955800 h 2476500"/>
                  <a:gd name="connsiteX785" fmla="*/ 187397 w 1757434"/>
                  <a:gd name="connsiteY785" fmla="*/ 1952625 h 2476500"/>
                  <a:gd name="connsiteX786" fmla="*/ 176284 w 1757434"/>
                  <a:gd name="connsiteY786" fmla="*/ 1941513 h 2476500"/>
                  <a:gd name="connsiteX787" fmla="*/ 174697 w 1757434"/>
                  <a:gd name="connsiteY787" fmla="*/ 1935163 h 2476500"/>
                  <a:gd name="connsiteX788" fmla="*/ 169934 w 1757434"/>
                  <a:gd name="connsiteY788" fmla="*/ 1931988 h 2476500"/>
                  <a:gd name="connsiteX789" fmla="*/ 166759 w 1757434"/>
                  <a:gd name="connsiteY789" fmla="*/ 1927225 h 2476500"/>
                  <a:gd name="connsiteX790" fmla="*/ 169934 w 1757434"/>
                  <a:gd name="connsiteY790" fmla="*/ 1917700 h 2476500"/>
                  <a:gd name="connsiteX791" fmla="*/ 188984 w 1757434"/>
                  <a:gd name="connsiteY791" fmla="*/ 1924050 h 2476500"/>
                  <a:gd name="connsiteX792" fmla="*/ 198509 w 1757434"/>
                  <a:gd name="connsiteY792" fmla="*/ 1922463 h 2476500"/>
                  <a:gd name="connsiteX793" fmla="*/ 201684 w 1757434"/>
                  <a:gd name="connsiteY793" fmla="*/ 1909763 h 2476500"/>
                  <a:gd name="connsiteX794" fmla="*/ 204859 w 1757434"/>
                  <a:gd name="connsiteY794" fmla="*/ 1905000 h 2476500"/>
                  <a:gd name="connsiteX795" fmla="*/ 205654 w 1757434"/>
                  <a:gd name="connsiteY795" fmla="*/ 1896263 h 2476500"/>
                  <a:gd name="connsiteX796" fmla="*/ 213721 w 1757434"/>
                  <a:gd name="connsiteY796" fmla="*/ 1888139 h 2476500"/>
                  <a:gd name="connsiteX797" fmla="*/ 212797 w 1757434"/>
                  <a:gd name="connsiteY797" fmla="*/ 1865313 h 2476500"/>
                  <a:gd name="connsiteX798" fmla="*/ 211209 w 1757434"/>
                  <a:gd name="connsiteY798" fmla="*/ 1884363 h 2476500"/>
                  <a:gd name="connsiteX799" fmla="*/ 206447 w 1757434"/>
                  <a:gd name="connsiteY799" fmla="*/ 1887538 h 2476500"/>
                  <a:gd name="connsiteX800" fmla="*/ 205654 w 1757434"/>
                  <a:gd name="connsiteY800" fmla="*/ 1896263 h 2476500"/>
                  <a:gd name="connsiteX801" fmla="*/ 204859 w 1757434"/>
                  <a:gd name="connsiteY801" fmla="*/ 1897063 h 2476500"/>
                  <a:gd name="connsiteX802" fmla="*/ 198509 w 1757434"/>
                  <a:gd name="connsiteY802" fmla="*/ 1908175 h 2476500"/>
                  <a:gd name="connsiteX803" fmla="*/ 182634 w 1757434"/>
                  <a:gd name="connsiteY803" fmla="*/ 1911350 h 2476500"/>
                  <a:gd name="connsiteX804" fmla="*/ 161997 w 1757434"/>
                  <a:gd name="connsiteY804" fmla="*/ 1914525 h 2476500"/>
                  <a:gd name="connsiteX805" fmla="*/ 158822 w 1757434"/>
                  <a:gd name="connsiteY805" fmla="*/ 1909763 h 2476500"/>
                  <a:gd name="connsiteX806" fmla="*/ 146122 w 1757434"/>
                  <a:gd name="connsiteY806" fmla="*/ 1908175 h 2476500"/>
                  <a:gd name="connsiteX807" fmla="*/ 142947 w 1757434"/>
                  <a:gd name="connsiteY807" fmla="*/ 1900238 h 2476500"/>
                  <a:gd name="connsiteX808" fmla="*/ 145179 w 1757434"/>
                  <a:gd name="connsiteY808" fmla="*/ 1890564 h 2476500"/>
                  <a:gd name="connsiteX809" fmla="*/ 150884 w 1757434"/>
                  <a:gd name="connsiteY809" fmla="*/ 1878013 h 2476500"/>
                  <a:gd name="connsiteX810" fmla="*/ 152119 w 1757434"/>
                  <a:gd name="connsiteY810" fmla="*/ 1874309 h 2476500"/>
                  <a:gd name="connsiteX811" fmla="*/ 155647 w 1757434"/>
                  <a:gd name="connsiteY811" fmla="*/ 1870075 h 2476500"/>
                  <a:gd name="connsiteX812" fmla="*/ 157234 w 1757434"/>
                  <a:gd name="connsiteY812" fmla="*/ 1863725 h 2476500"/>
                  <a:gd name="connsiteX813" fmla="*/ 154059 w 1757434"/>
                  <a:gd name="connsiteY813" fmla="*/ 1868488 h 2476500"/>
                  <a:gd name="connsiteX814" fmla="*/ 152119 w 1757434"/>
                  <a:gd name="connsiteY814" fmla="*/ 1874309 h 2476500"/>
                  <a:gd name="connsiteX815" fmla="*/ 147709 w 1757434"/>
                  <a:gd name="connsiteY815" fmla="*/ 1879600 h 2476500"/>
                  <a:gd name="connsiteX816" fmla="*/ 145179 w 1757434"/>
                  <a:gd name="connsiteY816" fmla="*/ 1890564 h 2476500"/>
                  <a:gd name="connsiteX817" fmla="*/ 142947 w 1757434"/>
                  <a:gd name="connsiteY817" fmla="*/ 1895475 h 2476500"/>
                  <a:gd name="connsiteX818" fmla="*/ 135009 w 1757434"/>
                  <a:gd name="connsiteY818" fmla="*/ 1914525 h 2476500"/>
                  <a:gd name="connsiteX819" fmla="*/ 125484 w 1757434"/>
                  <a:gd name="connsiteY819" fmla="*/ 1922463 h 2476500"/>
                  <a:gd name="connsiteX820" fmla="*/ 119134 w 1757434"/>
                  <a:gd name="connsiteY820" fmla="*/ 1919288 h 2476500"/>
                  <a:gd name="connsiteX821" fmla="*/ 111197 w 1757434"/>
                  <a:gd name="connsiteY821" fmla="*/ 1914525 h 2476500"/>
                  <a:gd name="connsiteX822" fmla="*/ 106434 w 1757434"/>
                  <a:gd name="connsiteY822" fmla="*/ 1912938 h 2476500"/>
                  <a:gd name="connsiteX823" fmla="*/ 91336 w 1757434"/>
                  <a:gd name="connsiteY823" fmla="*/ 1912595 h 2476500"/>
                  <a:gd name="connsiteX824" fmla="*/ 92608 w 1757434"/>
                  <a:gd name="connsiteY824" fmla="*/ 1911436 h 2476500"/>
                  <a:gd name="connsiteX825" fmla="*/ 87384 w 1757434"/>
                  <a:gd name="connsiteY825" fmla="*/ 1909763 h 2476500"/>
                  <a:gd name="connsiteX826" fmla="*/ 84703 w 1757434"/>
                  <a:gd name="connsiteY826" fmla="*/ 1912444 h 2476500"/>
                  <a:gd name="connsiteX827" fmla="*/ 69847 w 1757434"/>
                  <a:gd name="connsiteY827" fmla="*/ 1912106 h 2476500"/>
                  <a:gd name="connsiteX828" fmla="*/ 68334 w 1757434"/>
                  <a:gd name="connsiteY828" fmla="*/ 1911350 h 2476500"/>
                  <a:gd name="connsiteX829" fmla="*/ 66308 w 1757434"/>
                  <a:gd name="connsiteY829" fmla="*/ 1912026 h 2476500"/>
                  <a:gd name="connsiteX830" fmla="*/ 58077 w 1757434"/>
                  <a:gd name="connsiteY830" fmla="*/ 1911839 h 2476500"/>
                  <a:gd name="connsiteX831" fmla="*/ 55634 w 1757434"/>
                  <a:gd name="connsiteY831" fmla="*/ 1911350 h 2476500"/>
                  <a:gd name="connsiteX832" fmla="*/ 54047 w 1757434"/>
                  <a:gd name="connsiteY832" fmla="*/ 1911747 h 2476500"/>
                  <a:gd name="connsiteX833" fmla="*/ 36584 w 1757434"/>
                  <a:gd name="connsiteY833" fmla="*/ 1911350 h 2476500"/>
                  <a:gd name="connsiteX834" fmla="*/ 30234 w 1757434"/>
                  <a:gd name="connsiteY834" fmla="*/ 1909763 h 2476500"/>
                  <a:gd name="connsiteX835" fmla="*/ 20709 w 1757434"/>
                  <a:gd name="connsiteY835" fmla="*/ 1909763 h 2476500"/>
                  <a:gd name="connsiteX836" fmla="*/ 15947 w 1757434"/>
                  <a:gd name="connsiteY836" fmla="*/ 1905000 h 2476500"/>
                  <a:gd name="connsiteX837" fmla="*/ 8009 w 1757434"/>
                  <a:gd name="connsiteY837" fmla="*/ 1905000 h 2476500"/>
                  <a:gd name="connsiteX838" fmla="*/ 12772 w 1757434"/>
                  <a:gd name="connsiteY838" fmla="*/ 1893888 h 2476500"/>
                  <a:gd name="connsiteX839" fmla="*/ 19122 w 1757434"/>
                  <a:gd name="connsiteY839" fmla="*/ 1881188 h 2476500"/>
                  <a:gd name="connsiteX840" fmla="*/ 20709 w 1757434"/>
                  <a:gd name="connsiteY840" fmla="*/ 1876425 h 2476500"/>
                  <a:gd name="connsiteX841" fmla="*/ 22297 w 1757434"/>
                  <a:gd name="connsiteY841" fmla="*/ 1863725 h 2476500"/>
                  <a:gd name="connsiteX842" fmla="*/ 27059 w 1757434"/>
                  <a:gd name="connsiteY842" fmla="*/ 1858963 h 2476500"/>
                  <a:gd name="connsiteX843" fmla="*/ 31822 w 1757434"/>
                  <a:gd name="connsiteY843" fmla="*/ 1862138 h 2476500"/>
                  <a:gd name="connsiteX844" fmla="*/ 39759 w 1757434"/>
                  <a:gd name="connsiteY844" fmla="*/ 1865313 h 2476500"/>
                  <a:gd name="connsiteX845" fmla="*/ 50872 w 1757434"/>
                  <a:gd name="connsiteY845" fmla="*/ 1870075 h 2476500"/>
                  <a:gd name="connsiteX846" fmla="*/ 71509 w 1757434"/>
                  <a:gd name="connsiteY846" fmla="*/ 1857375 h 2476500"/>
                  <a:gd name="connsiteX847" fmla="*/ 76272 w 1757434"/>
                  <a:gd name="connsiteY847" fmla="*/ 1855788 h 2476500"/>
                  <a:gd name="connsiteX848" fmla="*/ 52459 w 1757434"/>
                  <a:gd name="connsiteY848" fmla="*/ 1855788 h 2476500"/>
                  <a:gd name="connsiteX849" fmla="*/ 44522 w 1757434"/>
                  <a:gd name="connsiteY849" fmla="*/ 1852613 h 2476500"/>
                  <a:gd name="connsiteX850" fmla="*/ 38172 w 1757434"/>
                  <a:gd name="connsiteY850" fmla="*/ 1838325 h 2476500"/>
                  <a:gd name="connsiteX851" fmla="*/ 25472 w 1757434"/>
                  <a:gd name="connsiteY851" fmla="*/ 1831975 h 2476500"/>
                  <a:gd name="connsiteX852" fmla="*/ 27059 w 1757434"/>
                  <a:gd name="connsiteY852" fmla="*/ 1827213 h 2476500"/>
                  <a:gd name="connsiteX853" fmla="*/ 38172 w 1757434"/>
                  <a:gd name="connsiteY853" fmla="*/ 1817688 h 2476500"/>
                  <a:gd name="connsiteX854" fmla="*/ 34997 w 1757434"/>
                  <a:gd name="connsiteY854" fmla="*/ 1812925 h 2476500"/>
                  <a:gd name="connsiteX855" fmla="*/ 31822 w 1757434"/>
                  <a:gd name="connsiteY855" fmla="*/ 1806575 h 2476500"/>
                  <a:gd name="connsiteX856" fmla="*/ 23884 w 1757434"/>
                  <a:gd name="connsiteY856" fmla="*/ 1808163 h 2476500"/>
                  <a:gd name="connsiteX857" fmla="*/ 17534 w 1757434"/>
                  <a:gd name="connsiteY857" fmla="*/ 1811338 h 2476500"/>
                  <a:gd name="connsiteX858" fmla="*/ 25472 w 1757434"/>
                  <a:gd name="connsiteY858" fmla="*/ 1798638 h 2476500"/>
                  <a:gd name="connsiteX859" fmla="*/ 20709 w 1757434"/>
                  <a:gd name="connsiteY859" fmla="*/ 1790700 h 2476500"/>
                  <a:gd name="connsiteX860" fmla="*/ 17534 w 1757434"/>
                  <a:gd name="connsiteY860" fmla="*/ 1785938 h 2476500"/>
                  <a:gd name="connsiteX861" fmla="*/ 19122 w 1757434"/>
                  <a:gd name="connsiteY861" fmla="*/ 1781175 h 2476500"/>
                  <a:gd name="connsiteX862" fmla="*/ 20709 w 1757434"/>
                  <a:gd name="connsiteY862" fmla="*/ 1770063 h 2476500"/>
                  <a:gd name="connsiteX863" fmla="*/ 23884 w 1757434"/>
                  <a:gd name="connsiteY863" fmla="*/ 1776413 h 2476500"/>
                  <a:gd name="connsiteX864" fmla="*/ 33409 w 1757434"/>
                  <a:gd name="connsiteY864" fmla="*/ 1782763 h 2476500"/>
                  <a:gd name="connsiteX865" fmla="*/ 41347 w 1757434"/>
                  <a:gd name="connsiteY865" fmla="*/ 1762125 h 2476500"/>
                  <a:gd name="connsiteX866" fmla="*/ 47697 w 1757434"/>
                  <a:gd name="connsiteY866" fmla="*/ 1763713 h 2476500"/>
                  <a:gd name="connsiteX867" fmla="*/ 55634 w 1757434"/>
                  <a:gd name="connsiteY867" fmla="*/ 1766888 h 2476500"/>
                  <a:gd name="connsiteX868" fmla="*/ 60397 w 1757434"/>
                  <a:gd name="connsiteY868" fmla="*/ 1763713 h 2476500"/>
                  <a:gd name="connsiteX869" fmla="*/ 63822 w 1757434"/>
                  <a:gd name="connsiteY869" fmla="*/ 1764461 h 2476500"/>
                  <a:gd name="connsiteX870" fmla="*/ 65159 w 1757434"/>
                  <a:gd name="connsiteY870" fmla="*/ 1773238 h 2476500"/>
                  <a:gd name="connsiteX871" fmla="*/ 73357 w 1757434"/>
                  <a:gd name="connsiteY871" fmla="*/ 1774356 h 2476500"/>
                  <a:gd name="connsiteX872" fmla="*/ 76272 w 1757434"/>
                  <a:gd name="connsiteY872" fmla="*/ 1778000 h 2476500"/>
                  <a:gd name="connsiteX873" fmla="*/ 85797 w 1757434"/>
                  <a:gd name="connsiteY873" fmla="*/ 1781175 h 2476500"/>
                  <a:gd name="connsiteX874" fmla="*/ 90559 w 1757434"/>
                  <a:gd name="connsiteY874" fmla="*/ 1782763 h 2476500"/>
                  <a:gd name="connsiteX875" fmla="*/ 103259 w 1757434"/>
                  <a:gd name="connsiteY875" fmla="*/ 1781175 h 2476500"/>
                  <a:gd name="connsiteX876" fmla="*/ 104847 w 1757434"/>
                  <a:gd name="connsiteY876" fmla="*/ 1785938 h 2476500"/>
                  <a:gd name="connsiteX877" fmla="*/ 109609 w 1757434"/>
                  <a:gd name="connsiteY877" fmla="*/ 1789113 h 2476500"/>
                  <a:gd name="connsiteX878" fmla="*/ 106434 w 1757434"/>
                  <a:gd name="connsiteY878" fmla="*/ 1800225 h 2476500"/>
                  <a:gd name="connsiteX879" fmla="*/ 111197 w 1757434"/>
                  <a:gd name="connsiteY879" fmla="*/ 1792288 h 2476500"/>
                  <a:gd name="connsiteX880" fmla="*/ 117547 w 1757434"/>
                  <a:gd name="connsiteY880" fmla="*/ 1793875 h 2476500"/>
                  <a:gd name="connsiteX881" fmla="*/ 123897 w 1757434"/>
                  <a:gd name="connsiteY881" fmla="*/ 1797050 h 2476500"/>
                  <a:gd name="connsiteX882" fmla="*/ 125484 w 1757434"/>
                  <a:gd name="connsiteY882" fmla="*/ 1789113 h 2476500"/>
                  <a:gd name="connsiteX883" fmla="*/ 135009 w 1757434"/>
                  <a:gd name="connsiteY883" fmla="*/ 1793875 h 2476500"/>
                  <a:gd name="connsiteX884" fmla="*/ 142947 w 1757434"/>
                  <a:gd name="connsiteY884" fmla="*/ 1792288 h 2476500"/>
                  <a:gd name="connsiteX885" fmla="*/ 147709 w 1757434"/>
                  <a:gd name="connsiteY885" fmla="*/ 1787525 h 2476500"/>
                  <a:gd name="connsiteX886" fmla="*/ 152472 w 1757434"/>
                  <a:gd name="connsiteY886" fmla="*/ 1778000 h 2476500"/>
                  <a:gd name="connsiteX887" fmla="*/ 160409 w 1757434"/>
                  <a:gd name="connsiteY887" fmla="*/ 1773238 h 2476500"/>
                  <a:gd name="connsiteX888" fmla="*/ 165172 w 1757434"/>
                  <a:gd name="connsiteY888" fmla="*/ 1771650 h 2476500"/>
                  <a:gd name="connsiteX889" fmla="*/ 149297 w 1757434"/>
                  <a:gd name="connsiteY889" fmla="*/ 1776413 h 2476500"/>
                  <a:gd name="connsiteX890" fmla="*/ 142947 w 1757434"/>
                  <a:gd name="connsiteY890" fmla="*/ 1778000 h 2476500"/>
                  <a:gd name="connsiteX891" fmla="*/ 135009 w 1757434"/>
                  <a:gd name="connsiteY891" fmla="*/ 1781175 h 2476500"/>
                  <a:gd name="connsiteX892" fmla="*/ 122309 w 1757434"/>
                  <a:gd name="connsiteY892" fmla="*/ 1784350 h 2476500"/>
                  <a:gd name="connsiteX893" fmla="*/ 117547 w 1757434"/>
                  <a:gd name="connsiteY893" fmla="*/ 1785938 h 2476500"/>
                  <a:gd name="connsiteX894" fmla="*/ 112784 w 1757434"/>
                  <a:gd name="connsiteY894" fmla="*/ 1781175 h 2476500"/>
                  <a:gd name="connsiteX895" fmla="*/ 100084 w 1757434"/>
                  <a:gd name="connsiteY895" fmla="*/ 1778000 h 2476500"/>
                  <a:gd name="connsiteX896" fmla="*/ 73357 w 1757434"/>
                  <a:gd name="connsiteY896" fmla="*/ 1774356 h 2476500"/>
                  <a:gd name="connsiteX897" fmla="*/ 69922 w 1757434"/>
                  <a:gd name="connsiteY897" fmla="*/ 1770063 h 2476500"/>
                  <a:gd name="connsiteX898" fmla="*/ 66515 w 1757434"/>
                  <a:gd name="connsiteY898" fmla="*/ 1765049 h 2476500"/>
                  <a:gd name="connsiteX899" fmla="*/ 63822 w 1757434"/>
                  <a:gd name="connsiteY899" fmla="*/ 1764461 h 2476500"/>
                  <a:gd name="connsiteX900" fmla="*/ 63141 w 1757434"/>
                  <a:gd name="connsiteY900" fmla="*/ 1759987 h 2476500"/>
                  <a:gd name="connsiteX901" fmla="*/ 55634 w 1757434"/>
                  <a:gd name="connsiteY901" fmla="*/ 1757363 h 2476500"/>
                  <a:gd name="connsiteX902" fmla="*/ 50872 w 1757434"/>
                  <a:gd name="connsiteY902" fmla="*/ 1755775 h 2476500"/>
                  <a:gd name="connsiteX903" fmla="*/ 52459 w 1757434"/>
                  <a:gd name="connsiteY903" fmla="*/ 1747838 h 2476500"/>
                  <a:gd name="connsiteX904" fmla="*/ 57222 w 1757434"/>
                  <a:gd name="connsiteY904" fmla="*/ 1730375 h 2476500"/>
                  <a:gd name="connsiteX905" fmla="*/ 61984 w 1757434"/>
                  <a:gd name="connsiteY905" fmla="*/ 1728788 h 2476500"/>
                  <a:gd name="connsiteX906" fmla="*/ 66747 w 1757434"/>
                  <a:gd name="connsiteY906" fmla="*/ 1725613 h 2476500"/>
                  <a:gd name="connsiteX907" fmla="*/ 85858 w 1757434"/>
                  <a:gd name="connsiteY907" fmla="*/ 1728161 h 2476500"/>
                  <a:gd name="connsiteX908" fmla="*/ 85797 w 1757434"/>
                  <a:gd name="connsiteY908" fmla="*/ 1728788 h 2476500"/>
                  <a:gd name="connsiteX909" fmla="*/ 91858 w 1757434"/>
                  <a:gd name="connsiteY909" fmla="*/ 1729654 h 2476500"/>
                  <a:gd name="connsiteX910" fmla="*/ 95322 w 1757434"/>
                  <a:gd name="connsiteY910" fmla="*/ 1731963 h 2476500"/>
                  <a:gd name="connsiteX911" fmla="*/ 103259 w 1757434"/>
                  <a:gd name="connsiteY911" fmla="*/ 1733550 h 2476500"/>
                  <a:gd name="connsiteX912" fmla="*/ 115959 w 1757434"/>
                  <a:gd name="connsiteY912" fmla="*/ 1749425 h 2476500"/>
                  <a:gd name="connsiteX913" fmla="*/ 115959 w 1757434"/>
                  <a:gd name="connsiteY913" fmla="*/ 1733550 h 2476500"/>
                  <a:gd name="connsiteX914" fmla="*/ 108022 w 1757434"/>
                  <a:gd name="connsiteY914" fmla="*/ 1731963 h 2476500"/>
                  <a:gd name="connsiteX915" fmla="*/ 91858 w 1757434"/>
                  <a:gd name="connsiteY915" fmla="*/ 1729654 h 2476500"/>
                  <a:gd name="connsiteX916" fmla="*/ 90559 w 1757434"/>
                  <a:gd name="connsiteY916" fmla="*/ 1728788 h 2476500"/>
                  <a:gd name="connsiteX917" fmla="*/ 85858 w 1757434"/>
                  <a:gd name="connsiteY917" fmla="*/ 1728161 h 2476500"/>
                  <a:gd name="connsiteX918" fmla="*/ 87655 w 1757434"/>
                  <a:gd name="connsiteY918" fmla="*/ 1709614 h 2476500"/>
                  <a:gd name="connsiteX919" fmla="*/ 92147 w 1757434"/>
                  <a:gd name="connsiteY919" fmla="*/ 1695450 h 2476500"/>
                  <a:gd name="connsiteX920" fmla="*/ 95322 w 1757434"/>
                  <a:gd name="connsiteY920" fmla="*/ 1687513 h 2476500"/>
                  <a:gd name="connsiteX921" fmla="*/ 104847 w 1757434"/>
                  <a:gd name="connsiteY921" fmla="*/ 1685925 h 2476500"/>
                  <a:gd name="connsiteX922" fmla="*/ 114372 w 1757434"/>
                  <a:gd name="connsiteY922" fmla="*/ 1682750 h 2476500"/>
                  <a:gd name="connsiteX923" fmla="*/ 125484 w 1757434"/>
                  <a:gd name="connsiteY923" fmla="*/ 1689100 h 2476500"/>
                  <a:gd name="connsiteX924" fmla="*/ 131834 w 1757434"/>
                  <a:gd name="connsiteY924" fmla="*/ 1698625 h 2476500"/>
                  <a:gd name="connsiteX925" fmla="*/ 135009 w 1757434"/>
                  <a:gd name="connsiteY925" fmla="*/ 1704975 h 2476500"/>
                  <a:gd name="connsiteX926" fmla="*/ 141359 w 1757434"/>
                  <a:gd name="connsiteY926" fmla="*/ 1709738 h 2476500"/>
                  <a:gd name="connsiteX927" fmla="*/ 144534 w 1757434"/>
                  <a:gd name="connsiteY927" fmla="*/ 1716088 h 2476500"/>
                  <a:gd name="connsiteX928" fmla="*/ 146122 w 1757434"/>
                  <a:gd name="connsiteY928" fmla="*/ 1720850 h 2476500"/>
                  <a:gd name="connsiteX929" fmla="*/ 151386 w 1757434"/>
                  <a:gd name="connsiteY929" fmla="*/ 1724667 h 2476500"/>
                  <a:gd name="connsiteX930" fmla="*/ 152472 w 1757434"/>
                  <a:gd name="connsiteY930" fmla="*/ 1727200 h 2476500"/>
                  <a:gd name="connsiteX931" fmla="*/ 157234 w 1757434"/>
                  <a:gd name="connsiteY931" fmla="*/ 1731963 h 2476500"/>
                  <a:gd name="connsiteX932" fmla="*/ 155647 w 1757434"/>
                  <a:gd name="connsiteY932" fmla="*/ 1727200 h 2476500"/>
                  <a:gd name="connsiteX933" fmla="*/ 151896 w 1757434"/>
                  <a:gd name="connsiteY933" fmla="*/ 1725037 h 2476500"/>
                  <a:gd name="connsiteX934" fmla="*/ 151386 w 1757434"/>
                  <a:gd name="connsiteY934" fmla="*/ 1724667 h 2476500"/>
                  <a:gd name="connsiteX935" fmla="*/ 147709 w 1757434"/>
                  <a:gd name="connsiteY935" fmla="*/ 1716088 h 2476500"/>
                  <a:gd name="connsiteX936" fmla="*/ 142947 w 1757434"/>
                  <a:gd name="connsiteY936" fmla="*/ 1703388 h 2476500"/>
                  <a:gd name="connsiteX937" fmla="*/ 144534 w 1757434"/>
                  <a:gd name="connsiteY937" fmla="*/ 1692275 h 2476500"/>
                  <a:gd name="connsiteX938" fmla="*/ 154059 w 1757434"/>
                  <a:gd name="connsiteY938" fmla="*/ 1682750 h 2476500"/>
                  <a:gd name="connsiteX939" fmla="*/ 161997 w 1757434"/>
                  <a:gd name="connsiteY939" fmla="*/ 1687513 h 2476500"/>
                  <a:gd name="connsiteX940" fmla="*/ 181047 w 1757434"/>
                  <a:gd name="connsiteY940" fmla="*/ 1693863 h 2476500"/>
                  <a:gd name="connsiteX941" fmla="*/ 184222 w 1757434"/>
                  <a:gd name="connsiteY941" fmla="*/ 1731963 h 2476500"/>
                  <a:gd name="connsiteX942" fmla="*/ 187397 w 1757434"/>
                  <a:gd name="connsiteY942" fmla="*/ 1743075 h 2476500"/>
                  <a:gd name="connsiteX943" fmla="*/ 192159 w 1757434"/>
                  <a:gd name="connsiteY943" fmla="*/ 1720850 h 2476500"/>
                  <a:gd name="connsiteX944" fmla="*/ 200731 w 1757434"/>
                  <a:gd name="connsiteY944" fmla="*/ 1715135 h 2476500"/>
                  <a:gd name="connsiteX945" fmla="*/ 211209 w 1757434"/>
                  <a:gd name="connsiteY945" fmla="*/ 1716088 h 2476500"/>
                  <a:gd name="connsiteX946" fmla="*/ 201684 w 1757434"/>
                  <a:gd name="connsiteY946" fmla="*/ 1714500 h 2476500"/>
                  <a:gd name="connsiteX947" fmla="*/ 200731 w 1757434"/>
                  <a:gd name="connsiteY947" fmla="*/ 1715135 h 2476500"/>
                  <a:gd name="connsiteX948" fmla="*/ 193747 w 1757434"/>
                  <a:gd name="connsiteY948" fmla="*/ 1714500 h 2476500"/>
                  <a:gd name="connsiteX949" fmla="*/ 192159 w 1757434"/>
                  <a:gd name="connsiteY949" fmla="*/ 1708150 h 2476500"/>
                  <a:gd name="connsiteX950" fmla="*/ 185809 w 1757434"/>
                  <a:gd name="connsiteY950" fmla="*/ 1693863 h 2476500"/>
                  <a:gd name="connsiteX951" fmla="*/ 182634 w 1757434"/>
                  <a:gd name="connsiteY951" fmla="*/ 1685925 h 2476500"/>
                  <a:gd name="connsiteX952" fmla="*/ 177872 w 1757434"/>
                  <a:gd name="connsiteY952" fmla="*/ 1682750 h 2476500"/>
                  <a:gd name="connsiteX953" fmla="*/ 171522 w 1757434"/>
                  <a:gd name="connsiteY953" fmla="*/ 1677988 h 2476500"/>
                  <a:gd name="connsiteX954" fmla="*/ 139772 w 1757434"/>
                  <a:gd name="connsiteY954" fmla="*/ 1673225 h 2476500"/>
                  <a:gd name="connsiteX955" fmla="*/ 138184 w 1757434"/>
                  <a:gd name="connsiteY955" fmla="*/ 1665288 h 2476500"/>
                  <a:gd name="connsiteX956" fmla="*/ 144534 w 1757434"/>
                  <a:gd name="connsiteY956" fmla="*/ 1651000 h 2476500"/>
                  <a:gd name="connsiteX957" fmla="*/ 150884 w 1757434"/>
                  <a:gd name="connsiteY957" fmla="*/ 1649413 h 2476500"/>
                  <a:gd name="connsiteX958" fmla="*/ 158822 w 1757434"/>
                  <a:gd name="connsiteY958" fmla="*/ 1646238 h 2476500"/>
                  <a:gd name="connsiteX959" fmla="*/ 163584 w 1757434"/>
                  <a:gd name="connsiteY959" fmla="*/ 1644650 h 2476500"/>
                  <a:gd name="connsiteX960" fmla="*/ 169934 w 1757434"/>
                  <a:gd name="connsiteY960" fmla="*/ 1631950 h 2476500"/>
                  <a:gd name="connsiteX961" fmla="*/ 174697 w 1757434"/>
                  <a:gd name="connsiteY961" fmla="*/ 1630363 h 2476500"/>
                  <a:gd name="connsiteX962" fmla="*/ 192159 w 1757434"/>
                  <a:gd name="connsiteY962" fmla="*/ 1635125 h 2476500"/>
                  <a:gd name="connsiteX963" fmla="*/ 196922 w 1757434"/>
                  <a:gd name="connsiteY963" fmla="*/ 1639888 h 2476500"/>
                  <a:gd name="connsiteX964" fmla="*/ 204859 w 1757434"/>
                  <a:gd name="connsiteY964" fmla="*/ 1644650 h 2476500"/>
                  <a:gd name="connsiteX965" fmla="*/ 214384 w 1757434"/>
                  <a:gd name="connsiteY965" fmla="*/ 1647825 h 2476500"/>
                  <a:gd name="connsiteX966" fmla="*/ 219147 w 1757434"/>
                  <a:gd name="connsiteY966" fmla="*/ 1649413 h 2476500"/>
                  <a:gd name="connsiteX967" fmla="*/ 223909 w 1757434"/>
                  <a:gd name="connsiteY967" fmla="*/ 1658938 h 2476500"/>
                  <a:gd name="connsiteX968" fmla="*/ 246134 w 1757434"/>
                  <a:gd name="connsiteY968" fmla="*/ 1660525 h 2476500"/>
                  <a:gd name="connsiteX969" fmla="*/ 242959 w 1757434"/>
                  <a:gd name="connsiteY969" fmla="*/ 1654175 h 2476500"/>
                  <a:gd name="connsiteX970" fmla="*/ 238197 w 1757434"/>
                  <a:gd name="connsiteY970" fmla="*/ 1649413 h 2476500"/>
                  <a:gd name="connsiteX971" fmla="*/ 246134 w 1757434"/>
                  <a:gd name="connsiteY971" fmla="*/ 1625600 h 2476500"/>
                  <a:gd name="connsiteX972" fmla="*/ 252484 w 1757434"/>
                  <a:gd name="connsiteY972" fmla="*/ 1622425 h 2476500"/>
                  <a:gd name="connsiteX973" fmla="*/ 258834 w 1757434"/>
                  <a:gd name="connsiteY973" fmla="*/ 1627188 h 2476500"/>
                  <a:gd name="connsiteX974" fmla="*/ 271534 w 1757434"/>
                  <a:gd name="connsiteY974" fmla="*/ 1639888 h 2476500"/>
                  <a:gd name="connsiteX975" fmla="*/ 277884 w 1757434"/>
                  <a:gd name="connsiteY975" fmla="*/ 1641475 h 2476500"/>
                  <a:gd name="connsiteX976" fmla="*/ 284234 w 1757434"/>
                  <a:gd name="connsiteY976" fmla="*/ 1624013 h 2476500"/>
                  <a:gd name="connsiteX977" fmla="*/ 284967 w 1757434"/>
                  <a:gd name="connsiteY977" fmla="*/ 1623769 h 2476500"/>
                  <a:gd name="connsiteX978" fmla="*/ 288997 w 1757434"/>
                  <a:gd name="connsiteY978" fmla="*/ 1627188 h 2476500"/>
                  <a:gd name="connsiteX979" fmla="*/ 300109 w 1757434"/>
                  <a:gd name="connsiteY979" fmla="*/ 1631950 h 2476500"/>
                  <a:gd name="connsiteX980" fmla="*/ 308047 w 1757434"/>
                  <a:gd name="connsiteY980" fmla="*/ 1633538 h 2476500"/>
                  <a:gd name="connsiteX981" fmla="*/ 319159 w 1757434"/>
                  <a:gd name="connsiteY981" fmla="*/ 1631950 h 2476500"/>
                  <a:gd name="connsiteX982" fmla="*/ 314397 w 1757434"/>
                  <a:gd name="connsiteY982" fmla="*/ 1628775 h 2476500"/>
                  <a:gd name="connsiteX983" fmla="*/ 288997 w 1757434"/>
                  <a:gd name="connsiteY983" fmla="*/ 1622425 h 2476500"/>
                  <a:gd name="connsiteX984" fmla="*/ 284967 w 1757434"/>
                  <a:gd name="connsiteY984" fmla="*/ 1623769 h 2476500"/>
                  <a:gd name="connsiteX985" fmla="*/ 283600 w 1757434"/>
                  <a:gd name="connsiteY985" fmla="*/ 1622609 h 2476500"/>
                  <a:gd name="connsiteX986" fmla="*/ 277884 w 1757434"/>
                  <a:gd name="connsiteY986" fmla="*/ 1619250 h 2476500"/>
                  <a:gd name="connsiteX987" fmla="*/ 265184 w 1757434"/>
                  <a:gd name="connsiteY987" fmla="*/ 1622425 h 2476500"/>
                  <a:gd name="connsiteX988" fmla="*/ 242959 w 1757434"/>
                  <a:gd name="connsiteY988" fmla="*/ 1619250 h 2476500"/>
                  <a:gd name="connsiteX989" fmla="*/ 217559 w 1757434"/>
                  <a:gd name="connsiteY989" fmla="*/ 1622425 h 2476500"/>
                  <a:gd name="connsiteX990" fmla="*/ 204859 w 1757434"/>
                  <a:gd name="connsiteY990" fmla="*/ 1625600 h 2476500"/>
                  <a:gd name="connsiteX991" fmla="*/ 182634 w 1757434"/>
                  <a:gd name="connsiteY991" fmla="*/ 1627188 h 2476500"/>
                  <a:gd name="connsiteX992" fmla="*/ 188984 w 1757434"/>
                  <a:gd name="connsiteY992" fmla="*/ 1624013 h 2476500"/>
                  <a:gd name="connsiteX993" fmla="*/ 190572 w 1757434"/>
                  <a:gd name="connsiteY993" fmla="*/ 1617663 h 2476500"/>
                  <a:gd name="connsiteX994" fmla="*/ 192159 w 1757434"/>
                  <a:gd name="connsiteY994" fmla="*/ 1585913 h 2476500"/>
                  <a:gd name="connsiteX995" fmla="*/ 204859 w 1757434"/>
                  <a:gd name="connsiteY995" fmla="*/ 1577975 h 2476500"/>
                  <a:gd name="connsiteX996" fmla="*/ 215972 w 1757434"/>
                  <a:gd name="connsiteY996" fmla="*/ 1581150 h 2476500"/>
                  <a:gd name="connsiteX997" fmla="*/ 219147 w 1757434"/>
                  <a:gd name="connsiteY997" fmla="*/ 1587500 h 2476500"/>
                  <a:gd name="connsiteX998" fmla="*/ 223909 w 1757434"/>
                  <a:gd name="connsiteY998" fmla="*/ 1590675 h 2476500"/>
                  <a:gd name="connsiteX999" fmla="*/ 231847 w 1757434"/>
                  <a:gd name="connsiteY999" fmla="*/ 1589088 h 2476500"/>
                  <a:gd name="connsiteX1000" fmla="*/ 255659 w 1757434"/>
                  <a:gd name="connsiteY1000" fmla="*/ 1585913 h 2476500"/>
                  <a:gd name="connsiteX1001" fmla="*/ 265184 w 1757434"/>
                  <a:gd name="connsiteY1001" fmla="*/ 1587500 h 2476500"/>
                  <a:gd name="connsiteX1002" fmla="*/ 285822 w 1757434"/>
                  <a:gd name="connsiteY1002" fmla="*/ 1589088 h 2476500"/>
                  <a:gd name="connsiteX1003" fmla="*/ 288997 w 1757434"/>
                  <a:gd name="connsiteY1003" fmla="*/ 1598613 h 2476500"/>
                  <a:gd name="connsiteX1004" fmla="*/ 298522 w 1757434"/>
                  <a:gd name="connsiteY1004" fmla="*/ 1604963 h 2476500"/>
                  <a:gd name="connsiteX1005" fmla="*/ 319159 w 1757434"/>
                  <a:gd name="connsiteY1005" fmla="*/ 1603375 h 2476500"/>
                  <a:gd name="connsiteX1006" fmla="*/ 325509 w 1757434"/>
                  <a:gd name="connsiteY1006" fmla="*/ 1601788 h 2476500"/>
                  <a:gd name="connsiteX1007" fmla="*/ 306459 w 1757434"/>
                  <a:gd name="connsiteY1007" fmla="*/ 1600200 h 2476500"/>
                  <a:gd name="connsiteX1008" fmla="*/ 304872 w 1757434"/>
                  <a:gd name="connsiteY1008" fmla="*/ 1592263 h 2476500"/>
                  <a:gd name="connsiteX1009" fmla="*/ 300109 w 1757434"/>
                  <a:gd name="connsiteY1009" fmla="*/ 1589088 h 2476500"/>
                  <a:gd name="connsiteX1010" fmla="*/ 290584 w 1757434"/>
                  <a:gd name="connsiteY1010" fmla="*/ 1584325 h 2476500"/>
                  <a:gd name="connsiteX1011" fmla="*/ 263597 w 1757434"/>
                  <a:gd name="connsiteY1011" fmla="*/ 1577975 h 2476500"/>
                  <a:gd name="connsiteX1012" fmla="*/ 265184 w 1757434"/>
                  <a:gd name="connsiteY1012" fmla="*/ 1563688 h 2476500"/>
                  <a:gd name="connsiteX1013" fmla="*/ 293759 w 1757434"/>
                  <a:gd name="connsiteY1013" fmla="*/ 1570038 h 2476500"/>
                  <a:gd name="connsiteX1014" fmla="*/ 303284 w 1757434"/>
                  <a:gd name="connsiteY1014" fmla="*/ 1568450 h 2476500"/>
                  <a:gd name="connsiteX1015" fmla="*/ 311222 w 1757434"/>
                  <a:gd name="connsiteY1015" fmla="*/ 1566863 h 2476500"/>
                  <a:gd name="connsiteX1016" fmla="*/ 296934 w 1757434"/>
                  <a:gd name="connsiteY1016" fmla="*/ 1565275 h 2476500"/>
                  <a:gd name="connsiteX1017" fmla="*/ 298522 w 1757434"/>
                  <a:gd name="connsiteY1017" fmla="*/ 1549400 h 2476500"/>
                  <a:gd name="connsiteX1018" fmla="*/ 309634 w 1757434"/>
                  <a:gd name="connsiteY1018" fmla="*/ 1546225 h 2476500"/>
                  <a:gd name="connsiteX1019" fmla="*/ 339797 w 1757434"/>
                  <a:gd name="connsiteY1019" fmla="*/ 1544638 h 2476500"/>
                  <a:gd name="connsiteX1020" fmla="*/ 336622 w 1757434"/>
                  <a:gd name="connsiteY1020" fmla="*/ 1527175 h 2476500"/>
                  <a:gd name="connsiteX1021" fmla="*/ 342972 w 1757434"/>
                  <a:gd name="connsiteY1021" fmla="*/ 1522413 h 2476500"/>
                  <a:gd name="connsiteX1022" fmla="*/ 350909 w 1757434"/>
                  <a:gd name="connsiteY1022" fmla="*/ 1520825 h 2476500"/>
                  <a:gd name="connsiteX1023" fmla="*/ 355672 w 1757434"/>
                  <a:gd name="connsiteY1023" fmla="*/ 1519238 h 2476500"/>
                  <a:gd name="connsiteX1024" fmla="*/ 371547 w 1757434"/>
                  <a:gd name="connsiteY1024" fmla="*/ 1512888 h 2476500"/>
                  <a:gd name="connsiteX1025" fmla="*/ 384247 w 1757434"/>
                  <a:gd name="connsiteY1025" fmla="*/ 1524000 h 2476500"/>
                  <a:gd name="connsiteX1026" fmla="*/ 377897 w 1757434"/>
                  <a:gd name="connsiteY1026" fmla="*/ 1522413 h 2476500"/>
                  <a:gd name="connsiteX1027" fmla="*/ 379484 w 1757434"/>
                  <a:gd name="connsiteY1027" fmla="*/ 1508125 h 2476500"/>
                  <a:gd name="connsiteX1028" fmla="*/ 381072 w 1757434"/>
                  <a:gd name="connsiteY1028" fmla="*/ 1503363 h 2476500"/>
                  <a:gd name="connsiteX1029" fmla="*/ 382659 w 1757434"/>
                  <a:gd name="connsiteY1029" fmla="*/ 1490663 h 2476500"/>
                  <a:gd name="connsiteX1030" fmla="*/ 387422 w 1757434"/>
                  <a:gd name="connsiteY1030" fmla="*/ 1485900 h 2476500"/>
                  <a:gd name="connsiteX1031" fmla="*/ 395359 w 1757434"/>
                  <a:gd name="connsiteY1031" fmla="*/ 1484313 h 2476500"/>
                  <a:gd name="connsiteX1032" fmla="*/ 406472 w 1757434"/>
                  <a:gd name="connsiteY1032" fmla="*/ 1481138 h 2476500"/>
                  <a:gd name="connsiteX1033" fmla="*/ 422347 w 1757434"/>
                  <a:gd name="connsiteY1033" fmla="*/ 1479550 h 2476500"/>
                  <a:gd name="connsiteX1034" fmla="*/ 425522 w 1757434"/>
                  <a:gd name="connsiteY1034" fmla="*/ 1485900 h 2476500"/>
                  <a:gd name="connsiteX1035" fmla="*/ 426535 w 1757434"/>
                  <a:gd name="connsiteY1035" fmla="*/ 1486660 h 2476500"/>
                  <a:gd name="connsiteX1036" fmla="*/ 425656 w 1757434"/>
                  <a:gd name="connsiteY1036" fmla="*/ 1480532 h 2476500"/>
                  <a:gd name="connsiteX1037" fmla="*/ 427109 w 1757434"/>
                  <a:gd name="connsiteY1037" fmla="*/ 1470025 h 2476500"/>
                  <a:gd name="connsiteX1038" fmla="*/ 431872 w 1757434"/>
                  <a:gd name="connsiteY1038" fmla="*/ 1466850 h 2476500"/>
                  <a:gd name="connsiteX1039" fmla="*/ 436634 w 1757434"/>
                  <a:gd name="connsiteY1039" fmla="*/ 1460500 h 2476500"/>
                  <a:gd name="connsiteX1040" fmla="*/ 415997 w 1757434"/>
                  <a:gd name="connsiteY1040" fmla="*/ 1457325 h 2476500"/>
                  <a:gd name="connsiteX1041" fmla="*/ 412822 w 1757434"/>
                  <a:gd name="connsiteY1041" fmla="*/ 1447800 h 2476500"/>
                  <a:gd name="connsiteX1042" fmla="*/ 420759 w 1757434"/>
                  <a:gd name="connsiteY1042" fmla="*/ 1443038 h 2476500"/>
                  <a:gd name="connsiteX1043" fmla="*/ 411234 w 1757434"/>
                  <a:gd name="connsiteY1043" fmla="*/ 1441450 h 2476500"/>
                  <a:gd name="connsiteX1044" fmla="*/ 431872 w 1757434"/>
                  <a:gd name="connsiteY1044" fmla="*/ 1428750 h 2476500"/>
                  <a:gd name="connsiteX1045" fmla="*/ 436634 w 1757434"/>
                  <a:gd name="connsiteY1045" fmla="*/ 1425575 h 2476500"/>
                  <a:gd name="connsiteX1046" fmla="*/ 439809 w 1757434"/>
                  <a:gd name="connsiteY1046" fmla="*/ 1420813 h 2476500"/>
                  <a:gd name="connsiteX1047" fmla="*/ 446159 w 1757434"/>
                  <a:gd name="connsiteY1047" fmla="*/ 1416050 h 2476500"/>
                  <a:gd name="connsiteX1048" fmla="*/ 447747 w 1757434"/>
                  <a:gd name="connsiteY1048" fmla="*/ 1408113 h 2476500"/>
                  <a:gd name="connsiteX1049" fmla="*/ 449334 w 1757434"/>
                  <a:gd name="connsiteY1049" fmla="*/ 1401763 h 2476500"/>
                  <a:gd name="connsiteX1050" fmla="*/ 454097 w 1757434"/>
                  <a:gd name="connsiteY1050" fmla="*/ 1397000 h 2476500"/>
                  <a:gd name="connsiteX1051" fmla="*/ 455684 w 1757434"/>
                  <a:gd name="connsiteY1051" fmla="*/ 1390650 h 2476500"/>
                  <a:gd name="connsiteX1052" fmla="*/ 454097 w 1757434"/>
                  <a:gd name="connsiteY1052" fmla="*/ 1384300 h 2476500"/>
                  <a:gd name="connsiteX1053" fmla="*/ 457272 w 1757434"/>
                  <a:gd name="connsiteY1053" fmla="*/ 1377950 h 2476500"/>
                  <a:gd name="connsiteX1054" fmla="*/ 465209 w 1757434"/>
                  <a:gd name="connsiteY1054" fmla="*/ 1379538 h 2476500"/>
                  <a:gd name="connsiteX1055" fmla="*/ 473147 w 1757434"/>
                  <a:gd name="connsiteY1055" fmla="*/ 1349375 h 2476500"/>
                  <a:gd name="connsiteX1056" fmla="*/ 489022 w 1757434"/>
                  <a:gd name="connsiteY1056" fmla="*/ 1344613 h 2476500"/>
                  <a:gd name="connsiteX1057" fmla="*/ 490609 w 1757434"/>
                  <a:gd name="connsiteY1057" fmla="*/ 1336675 h 2476500"/>
                  <a:gd name="connsiteX1058" fmla="*/ 493784 w 1757434"/>
                  <a:gd name="connsiteY1058" fmla="*/ 1322388 h 2476500"/>
                  <a:gd name="connsiteX1059" fmla="*/ 501722 w 1757434"/>
                  <a:gd name="connsiteY1059" fmla="*/ 1327150 h 2476500"/>
                  <a:gd name="connsiteX1060" fmla="*/ 503309 w 1757434"/>
                  <a:gd name="connsiteY1060" fmla="*/ 1331913 h 2476500"/>
                  <a:gd name="connsiteX1061" fmla="*/ 506484 w 1757434"/>
                  <a:gd name="connsiteY1061" fmla="*/ 1325563 h 2476500"/>
                  <a:gd name="connsiteX1062" fmla="*/ 516009 w 1757434"/>
                  <a:gd name="connsiteY1062" fmla="*/ 1308100 h 2476500"/>
                  <a:gd name="connsiteX1063" fmla="*/ 517597 w 1757434"/>
                  <a:gd name="connsiteY1063" fmla="*/ 1298575 h 2476500"/>
                  <a:gd name="connsiteX1064" fmla="*/ 522359 w 1757434"/>
                  <a:gd name="connsiteY1064" fmla="*/ 1308100 h 2476500"/>
                  <a:gd name="connsiteX1065" fmla="*/ 525534 w 1757434"/>
                  <a:gd name="connsiteY1065" fmla="*/ 1312863 h 2476500"/>
                  <a:gd name="connsiteX1066" fmla="*/ 533472 w 1757434"/>
                  <a:gd name="connsiteY1066" fmla="*/ 1309688 h 2476500"/>
                  <a:gd name="connsiteX1067" fmla="*/ 539822 w 1757434"/>
                  <a:gd name="connsiteY1067" fmla="*/ 1298575 h 2476500"/>
                  <a:gd name="connsiteX1068" fmla="*/ 542997 w 1757434"/>
                  <a:gd name="connsiteY1068" fmla="*/ 1306513 h 2476500"/>
                  <a:gd name="connsiteX1069" fmla="*/ 544584 w 1757434"/>
                  <a:gd name="connsiteY1069" fmla="*/ 1319213 h 2476500"/>
                  <a:gd name="connsiteX1070" fmla="*/ 549347 w 1757434"/>
                  <a:gd name="connsiteY1070" fmla="*/ 1322388 h 2476500"/>
                  <a:gd name="connsiteX1071" fmla="*/ 557284 w 1757434"/>
                  <a:gd name="connsiteY1071" fmla="*/ 1304925 h 2476500"/>
                  <a:gd name="connsiteX1072" fmla="*/ 562047 w 1757434"/>
                  <a:gd name="connsiteY1072" fmla="*/ 1296988 h 2476500"/>
                  <a:gd name="connsiteX1073" fmla="*/ 563634 w 1757434"/>
                  <a:gd name="connsiteY1073" fmla="*/ 1292225 h 2476500"/>
                  <a:gd name="connsiteX1074" fmla="*/ 565222 w 1757434"/>
                  <a:gd name="connsiteY1074" fmla="*/ 1281113 h 2476500"/>
                  <a:gd name="connsiteX1075" fmla="*/ 568397 w 1757434"/>
                  <a:gd name="connsiteY1075" fmla="*/ 1274763 h 2476500"/>
                  <a:gd name="connsiteX1076" fmla="*/ 576334 w 1757434"/>
                  <a:gd name="connsiteY1076" fmla="*/ 1262063 h 2476500"/>
                  <a:gd name="connsiteX1077" fmla="*/ 584272 w 1757434"/>
                  <a:gd name="connsiteY1077" fmla="*/ 1246188 h 2476500"/>
                  <a:gd name="connsiteX1078" fmla="*/ 589034 w 1757434"/>
                  <a:gd name="connsiteY1078" fmla="*/ 1244600 h 2476500"/>
                  <a:gd name="connsiteX1079" fmla="*/ 601734 w 1757434"/>
                  <a:gd name="connsiteY1079" fmla="*/ 1243013 h 2476500"/>
                  <a:gd name="connsiteX1080" fmla="*/ 614434 w 1757434"/>
                  <a:gd name="connsiteY1080" fmla="*/ 1231900 h 2476500"/>
                  <a:gd name="connsiteX1081" fmla="*/ 616022 w 1757434"/>
                  <a:gd name="connsiteY1081" fmla="*/ 1208088 h 2476500"/>
                  <a:gd name="connsiteX1082" fmla="*/ 622372 w 1757434"/>
                  <a:gd name="connsiteY1082" fmla="*/ 1204913 h 2476500"/>
                  <a:gd name="connsiteX1083" fmla="*/ 627134 w 1757434"/>
                  <a:gd name="connsiteY1083" fmla="*/ 1201738 h 2476500"/>
                  <a:gd name="connsiteX1084" fmla="*/ 635072 w 1757434"/>
                  <a:gd name="connsiteY1084" fmla="*/ 1196975 h 2476500"/>
                  <a:gd name="connsiteX1085" fmla="*/ 639834 w 1757434"/>
                  <a:gd name="connsiteY1085" fmla="*/ 1193800 h 2476500"/>
                  <a:gd name="connsiteX1086" fmla="*/ 650947 w 1757434"/>
                  <a:gd name="connsiteY1086" fmla="*/ 1182688 h 2476500"/>
                  <a:gd name="connsiteX1087" fmla="*/ 654122 w 1757434"/>
                  <a:gd name="connsiteY1087" fmla="*/ 1173163 h 2476500"/>
                  <a:gd name="connsiteX1088" fmla="*/ 630309 w 1757434"/>
                  <a:gd name="connsiteY1088" fmla="*/ 1181100 h 2476500"/>
                  <a:gd name="connsiteX1089" fmla="*/ 622372 w 1757434"/>
                  <a:gd name="connsiteY1089" fmla="*/ 1182688 h 2476500"/>
                  <a:gd name="connsiteX1090" fmla="*/ 617609 w 1757434"/>
                  <a:gd name="connsiteY1090" fmla="*/ 1184275 h 2476500"/>
                  <a:gd name="connsiteX1091" fmla="*/ 611259 w 1757434"/>
                  <a:gd name="connsiteY1091" fmla="*/ 1189038 h 2476500"/>
                  <a:gd name="connsiteX1092" fmla="*/ 609672 w 1757434"/>
                  <a:gd name="connsiteY1092" fmla="*/ 1195388 h 2476500"/>
                  <a:gd name="connsiteX1093" fmla="*/ 598559 w 1757434"/>
                  <a:gd name="connsiteY1093" fmla="*/ 1214438 h 2476500"/>
                  <a:gd name="connsiteX1094" fmla="*/ 593797 w 1757434"/>
                  <a:gd name="connsiteY1094" fmla="*/ 1216025 h 2476500"/>
                  <a:gd name="connsiteX1095" fmla="*/ 598559 w 1757434"/>
                  <a:gd name="connsiteY1095" fmla="*/ 1190625 h 2476500"/>
                  <a:gd name="connsiteX1096" fmla="*/ 600147 w 1757434"/>
                  <a:gd name="connsiteY1096" fmla="*/ 1184275 h 2476500"/>
                  <a:gd name="connsiteX1097" fmla="*/ 601734 w 1757434"/>
                  <a:gd name="connsiteY1097" fmla="*/ 1176338 h 2476500"/>
                  <a:gd name="connsiteX1098" fmla="*/ 608084 w 1757434"/>
                  <a:gd name="connsiteY1098" fmla="*/ 1166813 h 2476500"/>
                  <a:gd name="connsiteX1099" fmla="*/ 620784 w 1757434"/>
                  <a:gd name="connsiteY1099" fmla="*/ 1160463 h 2476500"/>
                  <a:gd name="connsiteX1100" fmla="*/ 619197 w 1757434"/>
                  <a:gd name="connsiteY1100" fmla="*/ 1141413 h 2476500"/>
                  <a:gd name="connsiteX1101" fmla="*/ 623959 w 1757434"/>
                  <a:gd name="connsiteY1101" fmla="*/ 1143000 h 2476500"/>
                  <a:gd name="connsiteX1102" fmla="*/ 628722 w 1757434"/>
                  <a:gd name="connsiteY1102" fmla="*/ 1146175 h 2476500"/>
                  <a:gd name="connsiteX1103" fmla="*/ 630309 w 1757434"/>
                  <a:gd name="connsiteY1103" fmla="*/ 1125538 h 2476500"/>
                  <a:gd name="connsiteX1104" fmla="*/ 622372 w 1757434"/>
                  <a:gd name="connsiteY1104" fmla="*/ 1119188 h 2476500"/>
                  <a:gd name="connsiteX1105" fmla="*/ 625338 w 1757434"/>
                  <a:gd name="connsiteY1105" fmla="*/ 1109604 h 2476500"/>
                  <a:gd name="connsiteX1106" fmla="*/ 630062 w 1757434"/>
                  <a:gd name="connsiteY1106" fmla="*/ 1102117 h 2476500"/>
                  <a:gd name="connsiteX1107" fmla="*/ 635072 w 1757434"/>
                  <a:gd name="connsiteY1107" fmla="*/ 1104900 h 2476500"/>
                  <a:gd name="connsiteX1108" fmla="*/ 646184 w 1757434"/>
                  <a:gd name="connsiteY1108" fmla="*/ 1103313 h 2476500"/>
                  <a:gd name="connsiteX1109" fmla="*/ 630309 w 1757434"/>
                  <a:gd name="connsiteY1109" fmla="*/ 1101725 h 2476500"/>
                  <a:gd name="connsiteX1110" fmla="*/ 630062 w 1757434"/>
                  <a:gd name="connsiteY1110" fmla="*/ 1102117 h 2476500"/>
                  <a:gd name="connsiteX1111" fmla="*/ 620784 w 1757434"/>
                  <a:gd name="connsiteY1111" fmla="*/ 1096963 h 2476500"/>
                  <a:gd name="connsiteX1112" fmla="*/ 623959 w 1757434"/>
                  <a:gd name="connsiteY1112" fmla="*/ 1074738 h 2476500"/>
                  <a:gd name="connsiteX1113" fmla="*/ 633484 w 1757434"/>
                  <a:gd name="connsiteY1113" fmla="*/ 1073150 h 2476500"/>
                  <a:gd name="connsiteX1114" fmla="*/ 638247 w 1757434"/>
                  <a:gd name="connsiteY1114" fmla="*/ 1071563 h 2476500"/>
                  <a:gd name="connsiteX1115" fmla="*/ 644597 w 1757434"/>
                  <a:gd name="connsiteY1115" fmla="*/ 1077913 h 2476500"/>
                  <a:gd name="connsiteX1116" fmla="*/ 646184 w 1757434"/>
                  <a:gd name="connsiteY1116" fmla="*/ 1065213 h 2476500"/>
                  <a:gd name="connsiteX1117" fmla="*/ 652534 w 1757434"/>
                  <a:gd name="connsiteY1117" fmla="*/ 1046163 h 2476500"/>
                  <a:gd name="connsiteX1118" fmla="*/ 662059 w 1757434"/>
                  <a:gd name="connsiteY1118" fmla="*/ 1062038 h 2476500"/>
                  <a:gd name="connsiteX1119" fmla="*/ 669997 w 1757434"/>
                  <a:gd name="connsiteY1119" fmla="*/ 1066800 h 2476500"/>
                  <a:gd name="connsiteX1120" fmla="*/ 677934 w 1757434"/>
                  <a:gd name="connsiteY1120" fmla="*/ 1065213 h 2476500"/>
                  <a:gd name="connsiteX1121" fmla="*/ 666822 w 1757434"/>
                  <a:gd name="connsiteY1121" fmla="*/ 1042988 h 2476500"/>
                  <a:gd name="connsiteX1122" fmla="*/ 660472 w 1757434"/>
                  <a:gd name="connsiteY1122" fmla="*/ 1031875 h 2476500"/>
                  <a:gd name="connsiteX1123" fmla="*/ 654122 w 1757434"/>
                  <a:gd name="connsiteY1123" fmla="*/ 1028700 h 2476500"/>
                  <a:gd name="connsiteX1124" fmla="*/ 668409 w 1757434"/>
                  <a:gd name="connsiteY1124" fmla="*/ 1019175 h 2476500"/>
                  <a:gd name="connsiteX1125" fmla="*/ 676347 w 1757434"/>
                  <a:gd name="connsiteY1125" fmla="*/ 1016000 h 2476500"/>
                  <a:gd name="connsiteX1126" fmla="*/ 684284 w 1757434"/>
                  <a:gd name="connsiteY1126" fmla="*/ 1006475 h 2476500"/>
                  <a:gd name="connsiteX1127" fmla="*/ 692222 w 1757434"/>
                  <a:gd name="connsiteY1127" fmla="*/ 1000125 h 2476500"/>
                  <a:gd name="connsiteX1128" fmla="*/ 695397 w 1757434"/>
                  <a:gd name="connsiteY1128" fmla="*/ 993775 h 2476500"/>
                  <a:gd name="connsiteX1129" fmla="*/ 697575 w 1757434"/>
                  <a:gd name="connsiteY1129" fmla="*/ 989376 h 2476500"/>
                  <a:gd name="connsiteX1130" fmla="*/ 700379 w 1757434"/>
                  <a:gd name="connsiteY1130" fmla="*/ 989843 h 2476500"/>
                  <a:gd name="connsiteX1131" fmla="*/ 701747 w 1757434"/>
                  <a:gd name="connsiteY1131" fmla="*/ 1004888 h 2476500"/>
                  <a:gd name="connsiteX1132" fmla="*/ 708097 w 1757434"/>
                  <a:gd name="connsiteY1132" fmla="*/ 1019175 h 2476500"/>
                  <a:gd name="connsiteX1133" fmla="*/ 716034 w 1757434"/>
                  <a:gd name="connsiteY1133" fmla="*/ 1001713 h 2476500"/>
                  <a:gd name="connsiteX1134" fmla="*/ 720797 w 1757434"/>
                  <a:gd name="connsiteY1134" fmla="*/ 1000125 h 2476500"/>
                  <a:gd name="connsiteX1135" fmla="*/ 728734 w 1757434"/>
                  <a:gd name="connsiteY1135" fmla="*/ 995363 h 2476500"/>
                  <a:gd name="connsiteX1136" fmla="*/ 730322 w 1757434"/>
                  <a:gd name="connsiteY1136" fmla="*/ 989013 h 2476500"/>
                  <a:gd name="connsiteX1137" fmla="*/ 735084 w 1757434"/>
                  <a:gd name="connsiteY1137" fmla="*/ 981075 h 2476500"/>
                  <a:gd name="connsiteX1138" fmla="*/ 728734 w 1757434"/>
                  <a:gd name="connsiteY1138" fmla="*/ 982663 h 2476500"/>
                  <a:gd name="connsiteX1139" fmla="*/ 709684 w 1757434"/>
                  <a:gd name="connsiteY1139" fmla="*/ 989013 h 2476500"/>
                  <a:gd name="connsiteX1140" fmla="*/ 704922 w 1757434"/>
                  <a:gd name="connsiteY1140" fmla="*/ 990600 h 2476500"/>
                  <a:gd name="connsiteX1141" fmla="*/ 700379 w 1757434"/>
                  <a:gd name="connsiteY1141" fmla="*/ 989843 h 2476500"/>
                  <a:gd name="connsiteX1142" fmla="*/ 700159 w 1757434"/>
                  <a:gd name="connsiteY1142" fmla="*/ 987425 h 2476500"/>
                  <a:gd name="connsiteX1143" fmla="*/ 697812 w 1757434"/>
                  <a:gd name="connsiteY1143" fmla="*/ 988897 h 2476500"/>
                  <a:gd name="connsiteX1144" fmla="*/ 697575 w 1757434"/>
                  <a:gd name="connsiteY1144" fmla="*/ 989376 h 2476500"/>
                  <a:gd name="connsiteX1145" fmla="*/ 695397 w 1757434"/>
                  <a:gd name="connsiteY1145" fmla="*/ 989013 h 2476500"/>
                  <a:gd name="connsiteX1146" fmla="*/ 690634 w 1757434"/>
                  <a:gd name="connsiteY1146" fmla="*/ 985838 h 2476500"/>
                  <a:gd name="connsiteX1147" fmla="*/ 658884 w 1757434"/>
                  <a:gd name="connsiteY1147" fmla="*/ 982663 h 2476500"/>
                  <a:gd name="connsiteX1148" fmla="*/ 665234 w 1757434"/>
                  <a:gd name="connsiteY1148" fmla="*/ 947738 h 2476500"/>
                  <a:gd name="connsiteX1149" fmla="*/ 671584 w 1757434"/>
                  <a:gd name="connsiteY1149" fmla="*/ 946150 h 2476500"/>
                  <a:gd name="connsiteX1150" fmla="*/ 674759 w 1757434"/>
                  <a:gd name="connsiteY1150" fmla="*/ 941388 h 2476500"/>
                  <a:gd name="connsiteX1151" fmla="*/ 689047 w 1757434"/>
                  <a:gd name="connsiteY1151" fmla="*/ 935038 h 2476500"/>
                  <a:gd name="connsiteX1152" fmla="*/ 690634 w 1757434"/>
                  <a:gd name="connsiteY1152" fmla="*/ 941388 h 2476500"/>
                  <a:gd name="connsiteX1153" fmla="*/ 693809 w 1757434"/>
                  <a:gd name="connsiteY1153" fmla="*/ 947738 h 2476500"/>
                  <a:gd name="connsiteX1154" fmla="*/ 695397 w 1757434"/>
                  <a:gd name="connsiteY1154" fmla="*/ 930275 h 2476500"/>
                  <a:gd name="connsiteX1155" fmla="*/ 701747 w 1757434"/>
                  <a:gd name="connsiteY1155" fmla="*/ 917575 h 2476500"/>
                  <a:gd name="connsiteX1156" fmla="*/ 708097 w 1757434"/>
                  <a:gd name="connsiteY1156" fmla="*/ 920750 h 2476500"/>
                  <a:gd name="connsiteX1157" fmla="*/ 714105 w 1757434"/>
                  <a:gd name="connsiteY1157" fmla="*/ 909845 h 2476500"/>
                  <a:gd name="connsiteX1158" fmla="*/ 711560 w 1757434"/>
                  <a:gd name="connsiteY1158" fmla="*/ 898249 h 2476500"/>
                  <a:gd name="connsiteX1159" fmla="*/ 716034 w 1757434"/>
                  <a:gd name="connsiteY1159" fmla="*/ 900113 h 2476500"/>
                  <a:gd name="connsiteX1160" fmla="*/ 711272 w 1757434"/>
                  <a:gd name="connsiteY1160" fmla="*/ 896938 h 2476500"/>
                  <a:gd name="connsiteX1161" fmla="*/ 711560 w 1757434"/>
                  <a:gd name="connsiteY1161" fmla="*/ 898249 h 2476500"/>
                  <a:gd name="connsiteX1162" fmla="*/ 696984 w 1757434"/>
                  <a:gd name="connsiteY1162" fmla="*/ 892175 h 2476500"/>
                  <a:gd name="connsiteX1163" fmla="*/ 695397 w 1757434"/>
                  <a:gd name="connsiteY1163" fmla="*/ 868363 h 2476500"/>
                  <a:gd name="connsiteX1164" fmla="*/ 738259 w 1757434"/>
                  <a:gd name="connsiteY1164" fmla="*/ 862013 h 2476500"/>
                  <a:gd name="connsiteX1165" fmla="*/ 731909 w 1757434"/>
                  <a:gd name="connsiteY1165" fmla="*/ 858838 h 2476500"/>
                  <a:gd name="connsiteX1166" fmla="*/ 741434 w 1757434"/>
                  <a:gd name="connsiteY1166" fmla="*/ 852488 h 2476500"/>
                  <a:gd name="connsiteX1167" fmla="*/ 747784 w 1757434"/>
                  <a:gd name="connsiteY1167" fmla="*/ 858838 h 2476500"/>
                  <a:gd name="connsiteX1168" fmla="*/ 746197 w 1757434"/>
                  <a:gd name="connsiteY1168" fmla="*/ 854075 h 2476500"/>
                  <a:gd name="connsiteX1169" fmla="*/ 749372 w 1757434"/>
                  <a:gd name="connsiteY1169" fmla="*/ 838200 h 2476500"/>
                  <a:gd name="connsiteX1170" fmla="*/ 757309 w 1757434"/>
                  <a:gd name="connsiteY1170" fmla="*/ 833438 h 2476500"/>
                  <a:gd name="connsiteX1171" fmla="*/ 758897 w 1757434"/>
                  <a:gd name="connsiteY1171" fmla="*/ 844550 h 2476500"/>
                  <a:gd name="connsiteX1172" fmla="*/ 762072 w 1757434"/>
                  <a:gd name="connsiteY1172" fmla="*/ 849313 h 2476500"/>
                  <a:gd name="connsiteX1173" fmla="*/ 766834 w 1757434"/>
                  <a:gd name="connsiteY1173" fmla="*/ 847725 h 2476500"/>
                  <a:gd name="connsiteX1174" fmla="*/ 763659 w 1757434"/>
                  <a:gd name="connsiteY1174" fmla="*/ 827088 h 2476500"/>
                  <a:gd name="connsiteX1175" fmla="*/ 770009 w 1757434"/>
                  <a:gd name="connsiteY1175" fmla="*/ 812800 h 2476500"/>
                  <a:gd name="connsiteX1176" fmla="*/ 774772 w 1757434"/>
                  <a:gd name="connsiteY1176" fmla="*/ 815975 h 2476500"/>
                  <a:gd name="connsiteX1177" fmla="*/ 782709 w 1757434"/>
                  <a:gd name="connsiteY1177" fmla="*/ 823913 h 2476500"/>
                  <a:gd name="connsiteX1178" fmla="*/ 789059 w 1757434"/>
                  <a:gd name="connsiteY1178" fmla="*/ 819150 h 2476500"/>
                  <a:gd name="connsiteX1179" fmla="*/ 793822 w 1757434"/>
                  <a:gd name="connsiteY1179" fmla="*/ 806450 h 2476500"/>
                  <a:gd name="connsiteX1180" fmla="*/ 806522 w 1757434"/>
                  <a:gd name="connsiteY1180" fmla="*/ 819150 h 2476500"/>
                  <a:gd name="connsiteX1181" fmla="*/ 808109 w 1757434"/>
                  <a:gd name="connsiteY1181" fmla="*/ 831850 h 2476500"/>
                  <a:gd name="connsiteX1182" fmla="*/ 811284 w 1757434"/>
                  <a:gd name="connsiteY1182" fmla="*/ 823913 h 2476500"/>
                  <a:gd name="connsiteX1183" fmla="*/ 820809 w 1757434"/>
                  <a:gd name="connsiteY1183" fmla="*/ 830263 h 2476500"/>
                  <a:gd name="connsiteX1184" fmla="*/ 828747 w 1757434"/>
                  <a:gd name="connsiteY1184" fmla="*/ 828675 h 2476500"/>
                  <a:gd name="connsiteX1185" fmla="*/ 830334 w 1757434"/>
                  <a:gd name="connsiteY1185" fmla="*/ 815975 h 2476500"/>
                  <a:gd name="connsiteX1186" fmla="*/ 831922 w 1757434"/>
                  <a:gd name="connsiteY1186" fmla="*/ 811213 h 2476500"/>
                  <a:gd name="connsiteX1187" fmla="*/ 833509 w 1757434"/>
                  <a:gd name="connsiteY1187" fmla="*/ 796925 h 2476500"/>
                  <a:gd name="connsiteX1188" fmla="*/ 831922 w 1757434"/>
                  <a:gd name="connsiteY1188" fmla="*/ 790575 h 2476500"/>
                  <a:gd name="connsiteX1189" fmla="*/ 830334 w 1757434"/>
                  <a:gd name="connsiteY1189" fmla="*/ 782638 h 2476500"/>
                  <a:gd name="connsiteX1190" fmla="*/ 831922 w 1757434"/>
                  <a:gd name="connsiteY1190" fmla="*/ 760413 h 2476500"/>
                  <a:gd name="connsiteX1191" fmla="*/ 793822 w 1757434"/>
                  <a:gd name="connsiteY1191" fmla="*/ 765175 h 2476500"/>
                  <a:gd name="connsiteX1192" fmla="*/ 804934 w 1757434"/>
                  <a:gd name="connsiteY1192" fmla="*/ 755650 h 2476500"/>
                  <a:gd name="connsiteX1193" fmla="*/ 806522 w 1757434"/>
                  <a:gd name="connsiteY1193" fmla="*/ 750888 h 2476500"/>
                  <a:gd name="connsiteX1194" fmla="*/ 808109 w 1757434"/>
                  <a:gd name="connsiteY1194" fmla="*/ 741363 h 2476500"/>
                  <a:gd name="connsiteX1195" fmla="*/ 812872 w 1757434"/>
                  <a:gd name="connsiteY1195" fmla="*/ 739775 h 2476500"/>
                  <a:gd name="connsiteX1196" fmla="*/ 817634 w 1757434"/>
                  <a:gd name="connsiteY1196" fmla="*/ 735013 h 2476500"/>
                  <a:gd name="connsiteX1197" fmla="*/ 812872 w 1757434"/>
                  <a:gd name="connsiteY1197" fmla="*/ 731838 h 2476500"/>
                  <a:gd name="connsiteX1198" fmla="*/ 796997 w 1757434"/>
                  <a:gd name="connsiteY1198" fmla="*/ 728663 h 2476500"/>
                  <a:gd name="connsiteX1199" fmla="*/ 784297 w 1757434"/>
                  <a:gd name="connsiteY1199" fmla="*/ 727075 h 2476500"/>
                  <a:gd name="connsiteX1200" fmla="*/ 793822 w 1757434"/>
                  <a:gd name="connsiteY1200" fmla="*/ 704850 h 2476500"/>
                  <a:gd name="connsiteX1201" fmla="*/ 801759 w 1757434"/>
                  <a:gd name="connsiteY1201" fmla="*/ 703263 h 2476500"/>
                  <a:gd name="connsiteX1202" fmla="*/ 813273 w 1757434"/>
                  <a:gd name="connsiteY1202" fmla="*/ 704702 h 2476500"/>
                  <a:gd name="connsiteX1203" fmla="*/ 812872 w 1757434"/>
                  <a:gd name="connsiteY1203" fmla="*/ 709613 h 2476500"/>
                  <a:gd name="connsiteX1204" fmla="*/ 814459 w 1757434"/>
                  <a:gd name="connsiteY1204" fmla="*/ 704850 h 2476500"/>
                  <a:gd name="connsiteX1205" fmla="*/ 813273 w 1757434"/>
                  <a:gd name="connsiteY1205" fmla="*/ 704702 h 2476500"/>
                  <a:gd name="connsiteX1206" fmla="*/ 814261 w 1757434"/>
                  <a:gd name="connsiteY1206" fmla="*/ 692608 h 2476500"/>
                  <a:gd name="connsiteX1207" fmla="*/ 816047 w 1757434"/>
                  <a:gd name="connsiteY1207" fmla="*/ 674688 h 2476500"/>
                  <a:gd name="connsiteX1208" fmla="*/ 823984 w 1757434"/>
                  <a:gd name="connsiteY1208" fmla="*/ 684213 h 2476500"/>
                  <a:gd name="connsiteX1209" fmla="*/ 827159 w 1757434"/>
                  <a:gd name="connsiteY1209" fmla="*/ 688975 h 2476500"/>
                  <a:gd name="connsiteX1210" fmla="*/ 830334 w 1757434"/>
                  <a:gd name="connsiteY1210" fmla="*/ 677863 h 2476500"/>
                  <a:gd name="connsiteX1211" fmla="*/ 846209 w 1757434"/>
                  <a:gd name="connsiteY1211" fmla="*/ 669925 h 2476500"/>
                  <a:gd name="connsiteX1212" fmla="*/ 850972 w 1757434"/>
                  <a:gd name="connsiteY1212" fmla="*/ 668338 h 2476500"/>
                  <a:gd name="connsiteX1213" fmla="*/ 850972 w 1757434"/>
                  <a:gd name="connsiteY1213" fmla="*/ 682625 h 2476500"/>
                  <a:gd name="connsiteX1214" fmla="*/ 857322 w 1757434"/>
                  <a:gd name="connsiteY1214" fmla="*/ 674688 h 2476500"/>
                  <a:gd name="connsiteX1215" fmla="*/ 863672 w 1757434"/>
                  <a:gd name="connsiteY1215" fmla="*/ 668338 h 2476500"/>
                  <a:gd name="connsiteX1216" fmla="*/ 865259 w 1757434"/>
                  <a:gd name="connsiteY1216" fmla="*/ 676275 h 2476500"/>
                  <a:gd name="connsiteX1217" fmla="*/ 868434 w 1757434"/>
                  <a:gd name="connsiteY1217" fmla="*/ 682625 h 2476500"/>
                  <a:gd name="connsiteX1218" fmla="*/ 871609 w 1757434"/>
                  <a:gd name="connsiteY1218" fmla="*/ 661988 h 2476500"/>
                  <a:gd name="connsiteX1219" fmla="*/ 876372 w 1757434"/>
                  <a:gd name="connsiteY1219" fmla="*/ 660400 h 2476500"/>
                  <a:gd name="connsiteX1220" fmla="*/ 877959 w 1757434"/>
                  <a:gd name="connsiteY1220" fmla="*/ 655638 h 2476500"/>
                  <a:gd name="connsiteX1221" fmla="*/ 876372 w 1757434"/>
                  <a:gd name="connsiteY1221" fmla="*/ 650875 h 2476500"/>
                  <a:gd name="connsiteX1222" fmla="*/ 874784 w 1757434"/>
                  <a:gd name="connsiteY1222" fmla="*/ 641350 h 2476500"/>
                  <a:gd name="connsiteX1223" fmla="*/ 870022 w 1757434"/>
                  <a:gd name="connsiteY1223" fmla="*/ 638175 h 2476500"/>
                  <a:gd name="connsiteX1224" fmla="*/ 870022 w 1757434"/>
                  <a:gd name="connsiteY1224" fmla="*/ 617538 h 2476500"/>
                  <a:gd name="connsiteX1225" fmla="*/ 873197 w 1757434"/>
                  <a:gd name="connsiteY1225" fmla="*/ 612775 h 2476500"/>
                  <a:gd name="connsiteX1226" fmla="*/ 874784 w 1757434"/>
                  <a:gd name="connsiteY1226" fmla="*/ 601663 h 2476500"/>
                  <a:gd name="connsiteX1227" fmla="*/ 879547 w 1757434"/>
                  <a:gd name="connsiteY1227" fmla="*/ 606425 h 2476500"/>
                  <a:gd name="connsiteX1228" fmla="*/ 882722 w 1757434"/>
                  <a:gd name="connsiteY1228" fmla="*/ 614363 h 2476500"/>
                  <a:gd name="connsiteX1229" fmla="*/ 887484 w 1757434"/>
                  <a:gd name="connsiteY1229" fmla="*/ 617538 h 2476500"/>
                  <a:gd name="connsiteX1230" fmla="*/ 892247 w 1757434"/>
                  <a:gd name="connsiteY1230" fmla="*/ 622300 h 2476500"/>
                  <a:gd name="connsiteX1231" fmla="*/ 903359 w 1757434"/>
                  <a:gd name="connsiteY1231" fmla="*/ 619125 h 2476500"/>
                  <a:gd name="connsiteX1232" fmla="*/ 914472 w 1757434"/>
                  <a:gd name="connsiteY1232" fmla="*/ 604838 h 2476500"/>
                  <a:gd name="connsiteX1233" fmla="*/ 916059 w 1757434"/>
                  <a:gd name="connsiteY1233" fmla="*/ 598488 h 2476500"/>
                  <a:gd name="connsiteX1234" fmla="*/ 920822 w 1757434"/>
                  <a:gd name="connsiteY1234" fmla="*/ 595313 h 2476500"/>
                  <a:gd name="connsiteX1235" fmla="*/ 923997 w 1757434"/>
                  <a:gd name="connsiteY1235" fmla="*/ 603250 h 2476500"/>
                  <a:gd name="connsiteX1236" fmla="*/ 928759 w 1757434"/>
                  <a:gd name="connsiteY1236" fmla="*/ 619125 h 2476500"/>
                  <a:gd name="connsiteX1237" fmla="*/ 933522 w 1757434"/>
                  <a:gd name="connsiteY1237" fmla="*/ 620713 h 2476500"/>
                  <a:gd name="connsiteX1238" fmla="*/ 935109 w 1757434"/>
                  <a:gd name="connsiteY1238" fmla="*/ 625475 h 2476500"/>
                  <a:gd name="connsiteX1239" fmla="*/ 936697 w 1757434"/>
                  <a:gd name="connsiteY1239" fmla="*/ 619125 h 2476500"/>
                  <a:gd name="connsiteX1240" fmla="*/ 938284 w 1757434"/>
                  <a:gd name="connsiteY1240" fmla="*/ 603250 h 2476500"/>
                  <a:gd name="connsiteX1241" fmla="*/ 950984 w 1757434"/>
                  <a:gd name="connsiteY1241" fmla="*/ 590550 h 2476500"/>
                  <a:gd name="connsiteX1242" fmla="*/ 949397 w 1757434"/>
                  <a:gd name="connsiteY1242" fmla="*/ 582613 h 2476500"/>
                  <a:gd name="connsiteX1243" fmla="*/ 936697 w 1757434"/>
                  <a:gd name="connsiteY1243" fmla="*/ 577850 h 2476500"/>
                  <a:gd name="connsiteX1244" fmla="*/ 911297 w 1757434"/>
                  <a:gd name="connsiteY1244" fmla="*/ 579438 h 2476500"/>
                  <a:gd name="connsiteX1245" fmla="*/ 895422 w 1757434"/>
                  <a:gd name="connsiteY1245" fmla="*/ 584200 h 2476500"/>
                  <a:gd name="connsiteX1246" fmla="*/ 887484 w 1757434"/>
                  <a:gd name="connsiteY1246" fmla="*/ 585788 h 2476500"/>
                  <a:gd name="connsiteX1247" fmla="*/ 863672 w 1757434"/>
                  <a:gd name="connsiteY1247" fmla="*/ 582613 h 2476500"/>
                  <a:gd name="connsiteX1248" fmla="*/ 868434 w 1757434"/>
                  <a:gd name="connsiteY1248" fmla="*/ 577850 h 2476500"/>
                  <a:gd name="connsiteX1249" fmla="*/ 876372 w 1757434"/>
                  <a:gd name="connsiteY1249" fmla="*/ 574675 h 2476500"/>
                  <a:gd name="connsiteX1250" fmla="*/ 881134 w 1757434"/>
                  <a:gd name="connsiteY1250" fmla="*/ 571500 h 2476500"/>
                  <a:gd name="connsiteX1251" fmla="*/ 882722 w 1757434"/>
                  <a:gd name="connsiteY1251" fmla="*/ 566738 h 2476500"/>
                  <a:gd name="connsiteX1252" fmla="*/ 887484 w 1757434"/>
                  <a:gd name="connsiteY1252" fmla="*/ 544513 h 2476500"/>
                  <a:gd name="connsiteX1253" fmla="*/ 892247 w 1757434"/>
                  <a:gd name="connsiteY1253" fmla="*/ 541338 h 2476500"/>
                  <a:gd name="connsiteX1254" fmla="*/ 898597 w 1757434"/>
                  <a:gd name="connsiteY1254" fmla="*/ 542925 h 2476500"/>
                  <a:gd name="connsiteX1255" fmla="*/ 911297 w 1757434"/>
                  <a:gd name="connsiteY1255" fmla="*/ 531813 h 2476500"/>
                  <a:gd name="connsiteX1256" fmla="*/ 919234 w 1757434"/>
                  <a:gd name="connsiteY1256" fmla="*/ 530225 h 2476500"/>
                  <a:gd name="connsiteX1257" fmla="*/ 925584 w 1757434"/>
                  <a:gd name="connsiteY1257" fmla="*/ 534988 h 2476500"/>
                  <a:gd name="connsiteX1258" fmla="*/ 928759 w 1757434"/>
                  <a:gd name="connsiteY1258" fmla="*/ 539750 h 2476500"/>
                  <a:gd name="connsiteX1259" fmla="*/ 935109 w 1757434"/>
                  <a:gd name="connsiteY1259" fmla="*/ 544513 h 2476500"/>
                  <a:gd name="connsiteX1260" fmla="*/ 947809 w 1757434"/>
                  <a:gd name="connsiteY1260" fmla="*/ 531813 h 2476500"/>
                  <a:gd name="connsiteX1261" fmla="*/ 952572 w 1757434"/>
                  <a:gd name="connsiteY1261" fmla="*/ 530225 h 2476500"/>
                  <a:gd name="connsiteX1262" fmla="*/ 955747 w 1757434"/>
                  <a:gd name="connsiteY1262" fmla="*/ 522288 h 2476500"/>
                  <a:gd name="connsiteX1263" fmla="*/ 955747 w 1757434"/>
                  <a:gd name="connsiteY1263" fmla="*/ 509588 h 2476500"/>
                  <a:gd name="connsiteX1264" fmla="*/ 950984 w 1757434"/>
                  <a:gd name="connsiteY1264" fmla="*/ 506413 h 2476500"/>
                  <a:gd name="connsiteX1265" fmla="*/ 939872 w 1757434"/>
                  <a:gd name="connsiteY1265" fmla="*/ 508000 h 2476500"/>
                  <a:gd name="connsiteX1266" fmla="*/ 920822 w 1757434"/>
                  <a:gd name="connsiteY1266" fmla="*/ 512763 h 2476500"/>
                  <a:gd name="connsiteX1267" fmla="*/ 919234 w 1757434"/>
                  <a:gd name="connsiteY1267" fmla="*/ 496888 h 2476500"/>
                  <a:gd name="connsiteX1268" fmla="*/ 925584 w 1757434"/>
                  <a:gd name="connsiteY1268" fmla="*/ 495300 h 2476500"/>
                  <a:gd name="connsiteX1269" fmla="*/ 914472 w 1757434"/>
                  <a:gd name="connsiteY1269" fmla="*/ 488950 h 2476500"/>
                  <a:gd name="connsiteX1270" fmla="*/ 908122 w 1757434"/>
                  <a:gd name="connsiteY1270" fmla="*/ 484188 h 2476500"/>
                  <a:gd name="connsiteX1271" fmla="*/ 912884 w 1757434"/>
                  <a:gd name="connsiteY1271" fmla="*/ 481013 h 2476500"/>
                  <a:gd name="connsiteX1272" fmla="*/ 916059 w 1757434"/>
                  <a:gd name="connsiteY1272" fmla="*/ 476250 h 2476500"/>
                  <a:gd name="connsiteX1273" fmla="*/ 920822 w 1757434"/>
                  <a:gd name="connsiteY1273" fmla="*/ 474663 h 2476500"/>
                  <a:gd name="connsiteX1274" fmla="*/ 935109 w 1757434"/>
                  <a:gd name="connsiteY1274" fmla="*/ 473075 h 2476500"/>
                  <a:gd name="connsiteX1275" fmla="*/ 941459 w 1757434"/>
                  <a:gd name="connsiteY1275" fmla="*/ 469900 h 2476500"/>
                  <a:gd name="connsiteX1276" fmla="*/ 958922 w 1757434"/>
                  <a:gd name="connsiteY1276" fmla="*/ 455613 h 2476500"/>
                  <a:gd name="connsiteX1277" fmla="*/ 958922 w 1757434"/>
                  <a:gd name="connsiteY1277" fmla="*/ 422275 h 2476500"/>
                  <a:gd name="connsiteX1278" fmla="*/ 965272 w 1757434"/>
                  <a:gd name="connsiteY1278" fmla="*/ 412750 h 2476500"/>
                  <a:gd name="connsiteX1279" fmla="*/ 968447 w 1757434"/>
                  <a:gd name="connsiteY1279" fmla="*/ 407988 h 2476500"/>
                  <a:gd name="connsiteX1280" fmla="*/ 974797 w 1757434"/>
                  <a:gd name="connsiteY1280" fmla="*/ 406400 h 2476500"/>
                  <a:gd name="connsiteX1281" fmla="*/ 985909 w 1757434"/>
                  <a:gd name="connsiteY1281" fmla="*/ 414338 h 2476500"/>
                  <a:gd name="connsiteX1282" fmla="*/ 981147 w 1757434"/>
                  <a:gd name="connsiteY1282" fmla="*/ 419100 h 2476500"/>
                  <a:gd name="connsiteX1283" fmla="*/ 982734 w 1757434"/>
                  <a:gd name="connsiteY1283" fmla="*/ 430213 h 2476500"/>
                  <a:gd name="connsiteX1284" fmla="*/ 989084 w 1757434"/>
                  <a:gd name="connsiteY1284" fmla="*/ 428625 h 2476500"/>
                  <a:gd name="connsiteX1285" fmla="*/ 1000197 w 1757434"/>
                  <a:gd name="connsiteY1285" fmla="*/ 422275 h 2476500"/>
                  <a:gd name="connsiteX1286" fmla="*/ 1006547 w 1757434"/>
                  <a:gd name="connsiteY1286" fmla="*/ 423863 h 2476500"/>
                  <a:gd name="connsiteX1287" fmla="*/ 1009722 w 1757434"/>
                  <a:gd name="connsiteY1287" fmla="*/ 430213 h 2476500"/>
                  <a:gd name="connsiteX1288" fmla="*/ 1016072 w 1757434"/>
                  <a:gd name="connsiteY1288" fmla="*/ 434975 h 2476500"/>
                  <a:gd name="connsiteX1289" fmla="*/ 1024009 w 1757434"/>
                  <a:gd name="connsiteY1289" fmla="*/ 425450 h 2476500"/>
                  <a:gd name="connsiteX1290" fmla="*/ 1027184 w 1757434"/>
                  <a:gd name="connsiteY1290" fmla="*/ 414338 h 2476500"/>
                  <a:gd name="connsiteX1291" fmla="*/ 1039884 w 1757434"/>
                  <a:gd name="connsiteY1291" fmla="*/ 419100 h 2476500"/>
                  <a:gd name="connsiteX1292" fmla="*/ 1041472 w 1757434"/>
                  <a:gd name="connsiteY1292" fmla="*/ 414338 h 2476500"/>
                  <a:gd name="connsiteX1293" fmla="*/ 1024009 w 1757434"/>
                  <a:gd name="connsiteY1293" fmla="*/ 412750 h 2476500"/>
                  <a:gd name="connsiteX1294" fmla="*/ 1009722 w 1757434"/>
                  <a:gd name="connsiteY1294" fmla="*/ 409575 h 2476500"/>
                  <a:gd name="connsiteX1295" fmla="*/ 1004959 w 1757434"/>
                  <a:gd name="connsiteY1295" fmla="*/ 403225 h 2476500"/>
                  <a:gd name="connsiteX1296" fmla="*/ 1004959 w 1757434"/>
                  <a:gd name="connsiteY1296" fmla="*/ 384175 h 2476500"/>
                  <a:gd name="connsiteX1297" fmla="*/ 1014484 w 1757434"/>
                  <a:gd name="connsiteY1297" fmla="*/ 382588 h 2476500"/>
                  <a:gd name="connsiteX1298" fmla="*/ 1019247 w 1757434"/>
                  <a:gd name="connsiteY1298" fmla="*/ 387350 h 2476500"/>
                  <a:gd name="connsiteX1299" fmla="*/ 1025597 w 1757434"/>
                  <a:gd name="connsiteY1299" fmla="*/ 388938 h 2476500"/>
                  <a:gd name="connsiteX1300" fmla="*/ 1028772 w 1757434"/>
                  <a:gd name="connsiteY1300" fmla="*/ 393700 h 2476500"/>
                  <a:gd name="connsiteX1301" fmla="*/ 1033534 w 1757434"/>
                  <a:gd name="connsiteY1301" fmla="*/ 395288 h 2476500"/>
                  <a:gd name="connsiteX1302" fmla="*/ 1038297 w 1757434"/>
                  <a:gd name="connsiteY1302" fmla="*/ 398463 h 2476500"/>
                  <a:gd name="connsiteX1303" fmla="*/ 1046234 w 1757434"/>
                  <a:gd name="connsiteY1303" fmla="*/ 412750 h 2476500"/>
                  <a:gd name="connsiteX1304" fmla="*/ 1050997 w 1757434"/>
                  <a:gd name="connsiteY1304" fmla="*/ 415925 h 2476500"/>
                  <a:gd name="connsiteX1305" fmla="*/ 1066872 w 1757434"/>
                  <a:gd name="connsiteY1305" fmla="*/ 414338 h 2476500"/>
                  <a:gd name="connsiteX1306" fmla="*/ 1060522 w 1757434"/>
                  <a:gd name="connsiteY1306" fmla="*/ 400050 h 2476500"/>
                  <a:gd name="connsiteX1307" fmla="*/ 1058934 w 1757434"/>
                  <a:gd name="connsiteY1307" fmla="*/ 387350 h 2476500"/>
                  <a:gd name="connsiteX1308" fmla="*/ 1062109 w 1757434"/>
                  <a:gd name="connsiteY1308" fmla="*/ 352425 h 2476500"/>
                  <a:gd name="connsiteX1309" fmla="*/ 1054172 w 1757434"/>
                  <a:gd name="connsiteY1309" fmla="*/ 349250 h 2476500"/>
                  <a:gd name="connsiteX1310" fmla="*/ 1036709 w 1757434"/>
                  <a:gd name="connsiteY1310" fmla="*/ 347663 h 2476500"/>
                  <a:gd name="connsiteX1311" fmla="*/ 1033534 w 1757434"/>
                  <a:gd name="connsiteY1311" fmla="*/ 342900 h 2476500"/>
                  <a:gd name="connsiteX1312" fmla="*/ 1035122 w 1757434"/>
                  <a:gd name="connsiteY1312" fmla="*/ 336550 h 2476500"/>
                  <a:gd name="connsiteX1313" fmla="*/ 1057347 w 1757434"/>
                  <a:gd name="connsiteY1313" fmla="*/ 328613 h 2476500"/>
                  <a:gd name="connsiteX1314" fmla="*/ 1068459 w 1757434"/>
                  <a:gd name="connsiteY1314" fmla="*/ 325438 h 2476500"/>
                  <a:gd name="connsiteX1315" fmla="*/ 1071634 w 1757434"/>
                  <a:gd name="connsiteY1315" fmla="*/ 344488 h 2476500"/>
                  <a:gd name="connsiteX1316" fmla="*/ 1074809 w 1757434"/>
                  <a:gd name="connsiteY1316" fmla="*/ 349250 h 2476500"/>
                  <a:gd name="connsiteX1317" fmla="*/ 1079572 w 1757434"/>
                  <a:gd name="connsiteY1317" fmla="*/ 360363 h 2476500"/>
                  <a:gd name="connsiteX1318" fmla="*/ 1076397 w 1757434"/>
                  <a:gd name="connsiteY1318" fmla="*/ 393700 h 2476500"/>
                  <a:gd name="connsiteX1319" fmla="*/ 1074809 w 1757434"/>
                  <a:gd name="connsiteY1319" fmla="*/ 398463 h 2476500"/>
                  <a:gd name="connsiteX1320" fmla="*/ 1079572 w 1757434"/>
                  <a:gd name="connsiteY1320" fmla="*/ 400050 h 2476500"/>
                  <a:gd name="connsiteX1321" fmla="*/ 1090684 w 1757434"/>
                  <a:gd name="connsiteY1321" fmla="*/ 392113 h 2476500"/>
                  <a:gd name="connsiteX1322" fmla="*/ 1093859 w 1757434"/>
                  <a:gd name="connsiteY1322" fmla="*/ 377825 h 2476500"/>
                  <a:gd name="connsiteX1323" fmla="*/ 1104972 w 1757434"/>
                  <a:gd name="connsiteY1323" fmla="*/ 368300 h 2476500"/>
                  <a:gd name="connsiteX1324" fmla="*/ 1111322 w 1757434"/>
                  <a:gd name="connsiteY1324" fmla="*/ 363538 h 2476500"/>
                  <a:gd name="connsiteX1325" fmla="*/ 1120847 w 1757434"/>
                  <a:gd name="connsiteY1325" fmla="*/ 361950 h 2476500"/>
                  <a:gd name="connsiteX1326" fmla="*/ 1125609 w 1757434"/>
                  <a:gd name="connsiteY1326" fmla="*/ 360363 h 2476500"/>
                  <a:gd name="connsiteX1327" fmla="*/ 1124022 w 1757434"/>
                  <a:gd name="connsiteY1327" fmla="*/ 355600 h 2476500"/>
                  <a:gd name="connsiteX1328" fmla="*/ 1114497 w 1757434"/>
                  <a:gd name="connsiteY1328" fmla="*/ 354013 h 2476500"/>
                  <a:gd name="connsiteX1329" fmla="*/ 1100209 w 1757434"/>
                  <a:gd name="connsiteY1329" fmla="*/ 349250 h 2476500"/>
                  <a:gd name="connsiteX1330" fmla="*/ 1106559 w 1757434"/>
                  <a:gd name="connsiteY1330" fmla="*/ 325438 h 2476500"/>
                  <a:gd name="connsiteX1331" fmla="*/ 1112909 w 1757434"/>
                  <a:gd name="connsiteY1331" fmla="*/ 322263 h 2476500"/>
                  <a:gd name="connsiteX1332" fmla="*/ 1116084 w 1757434"/>
                  <a:gd name="connsiteY1332" fmla="*/ 317500 h 2476500"/>
                  <a:gd name="connsiteX1333" fmla="*/ 1120847 w 1757434"/>
                  <a:gd name="connsiteY1333" fmla="*/ 311150 h 2476500"/>
                  <a:gd name="connsiteX1334" fmla="*/ 1119259 w 1757434"/>
                  <a:gd name="connsiteY1334" fmla="*/ 303213 h 2476500"/>
                  <a:gd name="connsiteX1335" fmla="*/ 1120847 w 1757434"/>
                  <a:gd name="connsiteY1335" fmla="*/ 292100 h 2476500"/>
                  <a:gd name="connsiteX1336" fmla="*/ 1124022 w 1757434"/>
                  <a:gd name="connsiteY1336" fmla="*/ 287338 h 2476500"/>
                  <a:gd name="connsiteX1337" fmla="*/ 1125609 w 1757434"/>
                  <a:gd name="connsiteY1337" fmla="*/ 280988 h 2476500"/>
                  <a:gd name="connsiteX1338" fmla="*/ 1130372 w 1757434"/>
                  <a:gd name="connsiteY1338" fmla="*/ 271463 h 2476500"/>
                  <a:gd name="connsiteX1339" fmla="*/ 1136722 w 1757434"/>
                  <a:gd name="connsiteY1339" fmla="*/ 284163 h 2476500"/>
                  <a:gd name="connsiteX1340" fmla="*/ 1138309 w 1757434"/>
                  <a:gd name="connsiteY1340" fmla="*/ 288925 h 2476500"/>
                  <a:gd name="connsiteX1341" fmla="*/ 1144659 w 1757434"/>
                  <a:gd name="connsiteY1341" fmla="*/ 296863 h 2476500"/>
                  <a:gd name="connsiteX1342" fmla="*/ 1151009 w 1757434"/>
                  <a:gd name="connsiteY1342" fmla="*/ 298450 h 2476500"/>
                  <a:gd name="connsiteX1343" fmla="*/ 1154184 w 1757434"/>
                  <a:gd name="connsiteY1343" fmla="*/ 309563 h 2476500"/>
                  <a:gd name="connsiteX1344" fmla="*/ 1173234 w 1757434"/>
                  <a:gd name="connsiteY1344" fmla="*/ 312738 h 2476500"/>
                  <a:gd name="connsiteX1345" fmla="*/ 1177997 w 1757434"/>
                  <a:gd name="connsiteY1345" fmla="*/ 314325 h 2476500"/>
                  <a:gd name="connsiteX1346" fmla="*/ 1187522 w 1757434"/>
                  <a:gd name="connsiteY1346" fmla="*/ 314325 h 2476500"/>
                  <a:gd name="connsiteX1347" fmla="*/ 1198634 w 1757434"/>
                  <a:gd name="connsiteY1347" fmla="*/ 315913 h 2476500"/>
                  <a:gd name="connsiteX1348" fmla="*/ 1197047 w 1757434"/>
                  <a:gd name="connsiteY1348" fmla="*/ 304800 h 2476500"/>
                  <a:gd name="connsiteX1349" fmla="*/ 1187522 w 1757434"/>
                  <a:gd name="connsiteY1349" fmla="*/ 292100 h 2476500"/>
                  <a:gd name="connsiteX1350" fmla="*/ 1181172 w 1757434"/>
                  <a:gd name="connsiteY1350" fmla="*/ 290513 h 2476500"/>
                  <a:gd name="connsiteX1351" fmla="*/ 1174822 w 1757434"/>
                  <a:gd name="connsiteY1351" fmla="*/ 284163 h 2476500"/>
                  <a:gd name="connsiteX1352" fmla="*/ 1173234 w 1757434"/>
                  <a:gd name="connsiteY1352" fmla="*/ 276225 h 2476500"/>
                  <a:gd name="connsiteX1353" fmla="*/ 1171647 w 1757434"/>
                  <a:gd name="connsiteY1353" fmla="*/ 271463 h 2476500"/>
                  <a:gd name="connsiteX1354" fmla="*/ 1160534 w 1757434"/>
                  <a:gd name="connsiteY1354" fmla="*/ 266700 h 2476500"/>
                  <a:gd name="connsiteX1355" fmla="*/ 1154184 w 1757434"/>
                  <a:gd name="connsiteY1355" fmla="*/ 260350 h 2476500"/>
                  <a:gd name="connsiteX1356" fmla="*/ 1139897 w 1757434"/>
                  <a:gd name="connsiteY1356" fmla="*/ 257175 h 2476500"/>
                  <a:gd name="connsiteX1357" fmla="*/ 1141484 w 1757434"/>
                  <a:gd name="connsiteY1357" fmla="*/ 234950 h 2476500"/>
                  <a:gd name="connsiteX1358" fmla="*/ 1154184 w 1757434"/>
                  <a:gd name="connsiteY1358" fmla="*/ 244475 h 2476500"/>
                  <a:gd name="connsiteX1359" fmla="*/ 1152597 w 1757434"/>
                  <a:gd name="connsiteY1359" fmla="*/ 230188 h 2476500"/>
                  <a:gd name="connsiteX1360" fmla="*/ 1144659 w 1757434"/>
                  <a:gd name="connsiteY1360" fmla="*/ 215900 h 2476500"/>
                  <a:gd name="connsiteX1361" fmla="*/ 1146247 w 1757434"/>
                  <a:gd name="connsiteY1361" fmla="*/ 207963 h 2476500"/>
                  <a:gd name="connsiteX1362" fmla="*/ 1154184 w 1757434"/>
                  <a:gd name="connsiteY1362" fmla="*/ 206375 h 2476500"/>
                  <a:gd name="connsiteX1363" fmla="*/ 1170059 w 1757434"/>
                  <a:gd name="connsiteY1363" fmla="*/ 234950 h 2476500"/>
                  <a:gd name="connsiteX1364" fmla="*/ 1174822 w 1757434"/>
                  <a:gd name="connsiteY1364" fmla="*/ 225425 h 2476500"/>
                  <a:gd name="connsiteX1365" fmla="*/ 1179584 w 1757434"/>
                  <a:gd name="connsiteY1365" fmla="*/ 219075 h 2476500"/>
                  <a:gd name="connsiteX1366" fmla="*/ 1184347 w 1757434"/>
                  <a:gd name="connsiteY1366" fmla="*/ 217488 h 2476500"/>
                  <a:gd name="connsiteX1367" fmla="*/ 1185934 w 1757434"/>
                  <a:gd name="connsiteY1367" fmla="*/ 227013 h 2476500"/>
                  <a:gd name="connsiteX1368" fmla="*/ 1187522 w 1757434"/>
                  <a:gd name="connsiteY1368" fmla="*/ 234950 h 2476500"/>
                  <a:gd name="connsiteX1369" fmla="*/ 1189109 w 1757434"/>
                  <a:gd name="connsiteY1369" fmla="*/ 230188 h 2476500"/>
                  <a:gd name="connsiteX1370" fmla="*/ 1195459 w 1757434"/>
                  <a:gd name="connsiteY1370" fmla="*/ 225425 h 2476500"/>
                  <a:gd name="connsiteX1371" fmla="*/ 1195459 w 1757434"/>
                  <a:gd name="connsiteY1371" fmla="*/ 244475 h 2476500"/>
                  <a:gd name="connsiteX1372" fmla="*/ 1203397 w 1757434"/>
                  <a:gd name="connsiteY1372" fmla="*/ 242888 h 2476500"/>
                  <a:gd name="connsiteX1373" fmla="*/ 1204984 w 1757434"/>
                  <a:gd name="connsiteY1373" fmla="*/ 233363 h 2476500"/>
                  <a:gd name="connsiteX1374" fmla="*/ 1220859 w 1757434"/>
                  <a:gd name="connsiteY1374" fmla="*/ 230188 h 2476500"/>
                  <a:gd name="connsiteX1375" fmla="*/ 1216097 w 1757434"/>
                  <a:gd name="connsiteY1375" fmla="*/ 247650 h 2476500"/>
                  <a:gd name="connsiteX1376" fmla="*/ 1217684 w 1757434"/>
                  <a:gd name="connsiteY1376" fmla="*/ 254000 h 2476500"/>
                  <a:gd name="connsiteX1377" fmla="*/ 1227209 w 1757434"/>
                  <a:gd name="connsiteY1377" fmla="*/ 252413 h 2476500"/>
                  <a:gd name="connsiteX1378" fmla="*/ 1228797 w 1757434"/>
                  <a:gd name="connsiteY1378" fmla="*/ 247650 h 2476500"/>
                  <a:gd name="connsiteX1379" fmla="*/ 1233559 w 1757434"/>
                  <a:gd name="connsiteY1379" fmla="*/ 249238 h 2476500"/>
                  <a:gd name="connsiteX1380" fmla="*/ 1247847 w 1757434"/>
                  <a:gd name="connsiteY1380" fmla="*/ 255588 h 2476500"/>
                  <a:gd name="connsiteX1381" fmla="*/ 1252609 w 1757434"/>
                  <a:gd name="connsiteY1381" fmla="*/ 268288 h 2476500"/>
                  <a:gd name="connsiteX1382" fmla="*/ 1257372 w 1757434"/>
                  <a:gd name="connsiteY1382" fmla="*/ 269875 h 2476500"/>
                  <a:gd name="connsiteX1383" fmla="*/ 1262134 w 1757434"/>
                  <a:gd name="connsiteY1383" fmla="*/ 268288 h 2476500"/>
                  <a:gd name="connsiteX1384" fmla="*/ 1266897 w 1757434"/>
                  <a:gd name="connsiteY1384" fmla="*/ 269875 h 2476500"/>
                  <a:gd name="connsiteX1385" fmla="*/ 1270072 w 1757434"/>
                  <a:gd name="connsiteY1385" fmla="*/ 265113 h 2476500"/>
                  <a:gd name="connsiteX1386" fmla="*/ 1265309 w 1757434"/>
                  <a:gd name="connsiteY1386" fmla="*/ 254000 h 2476500"/>
                  <a:gd name="connsiteX1387" fmla="*/ 1260547 w 1757434"/>
                  <a:gd name="connsiteY1387" fmla="*/ 250825 h 2476500"/>
                  <a:gd name="connsiteX1388" fmla="*/ 1257372 w 1757434"/>
                  <a:gd name="connsiteY1388" fmla="*/ 246063 h 2476500"/>
                  <a:gd name="connsiteX1389" fmla="*/ 1260547 w 1757434"/>
                  <a:gd name="connsiteY1389" fmla="*/ 239713 h 2476500"/>
                  <a:gd name="connsiteX1390" fmla="*/ 1266897 w 1757434"/>
                  <a:gd name="connsiteY1390" fmla="*/ 231775 h 2476500"/>
                  <a:gd name="connsiteX1391" fmla="*/ 1254197 w 1757434"/>
                  <a:gd name="connsiteY1391" fmla="*/ 231775 h 2476500"/>
                  <a:gd name="connsiteX1392" fmla="*/ 1246259 w 1757434"/>
                  <a:gd name="connsiteY1392" fmla="*/ 230188 h 2476500"/>
                  <a:gd name="connsiteX1393" fmla="*/ 1251022 w 1757434"/>
                  <a:gd name="connsiteY1393" fmla="*/ 223838 h 2476500"/>
                  <a:gd name="connsiteX1394" fmla="*/ 1260547 w 1757434"/>
                  <a:gd name="connsiteY1394" fmla="*/ 220663 h 2476500"/>
                  <a:gd name="connsiteX1395" fmla="*/ 1266897 w 1757434"/>
                  <a:gd name="connsiteY1395" fmla="*/ 217488 h 2476500"/>
                  <a:gd name="connsiteX1396" fmla="*/ 1263722 w 1757434"/>
                  <a:gd name="connsiteY1396" fmla="*/ 212725 h 2476500"/>
                  <a:gd name="connsiteX1397" fmla="*/ 1255784 w 1757434"/>
                  <a:gd name="connsiteY1397" fmla="*/ 206375 h 2476500"/>
                  <a:gd name="connsiteX1398" fmla="*/ 1263722 w 1757434"/>
                  <a:gd name="connsiteY1398" fmla="*/ 196850 h 2476500"/>
                  <a:gd name="connsiteX1399" fmla="*/ 1274834 w 1757434"/>
                  <a:gd name="connsiteY1399" fmla="*/ 192088 h 2476500"/>
                  <a:gd name="connsiteX1400" fmla="*/ 1282772 w 1757434"/>
                  <a:gd name="connsiteY1400" fmla="*/ 174625 h 2476500"/>
                  <a:gd name="connsiteX1401" fmla="*/ 1284359 w 1757434"/>
                  <a:gd name="connsiteY1401" fmla="*/ 169863 h 2476500"/>
                  <a:gd name="connsiteX1402" fmla="*/ 1290709 w 1757434"/>
                  <a:gd name="connsiteY1402" fmla="*/ 168275 h 2476500"/>
                  <a:gd name="connsiteX1403" fmla="*/ 1301822 w 1757434"/>
                  <a:gd name="connsiteY1403" fmla="*/ 166688 h 2476500"/>
                  <a:gd name="connsiteX1404" fmla="*/ 1295472 w 1757434"/>
                  <a:gd name="connsiteY1404" fmla="*/ 165100 h 2476500"/>
                  <a:gd name="connsiteX1405" fmla="*/ 1290709 w 1757434"/>
                  <a:gd name="connsiteY1405" fmla="*/ 150813 h 2476500"/>
                  <a:gd name="connsiteX1406" fmla="*/ 1306584 w 1757434"/>
                  <a:gd name="connsiteY1406" fmla="*/ 142875 h 2476500"/>
                  <a:gd name="connsiteX1407" fmla="*/ 1319284 w 1757434"/>
                  <a:gd name="connsiteY1407" fmla="*/ 138113 h 2476500"/>
                  <a:gd name="connsiteX1408" fmla="*/ 1322459 w 1757434"/>
                  <a:gd name="connsiteY1408" fmla="*/ 133350 h 2476500"/>
                  <a:gd name="connsiteX1409" fmla="*/ 1309759 w 1757434"/>
                  <a:gd name="connsiteY1409" fmla="*/ 125413 h 2476500"/>
                  <a:gd name="connsiteX1410" fmla="*/ 1304997 w 1757434"/>
                  <a:gd name="connsiteY1410" fmla="*/ 123825 h 2476500"/>
                  <a:gd name="connsiteX1411" fmla="*/ 1293884 w 1757434"/>
                  <a:gd name="connsiteY1411" fmla="*/ 104775 h 2476500"/>
                  <a:gd name="connsiteX1412" fmla="*/ 1287534 w 1757434"/>
                  <a:gd name="connsiteY1412" fmla="*/ 103188 h 2476500"/>
                  <a:gd name="connsiteX1413" fmla="*/ 1279597 w 1757434"/>
                  <a:gd name="connsiteY1413" fmla="*/ 100013 h 2476500"/>
                  <a:gd name="connsiteX1414" fmla="*/ 1282772 w 1757434"/>
                  <a:gd name="connsiteY1414" fmla="*/ 90488 h 2476500"/>
                  <a:gd name="connsiteX1415" fmla="*/ 1290709 w 1757434"/>
                  <a:gd name="connsiteY1415" fmla="*/ 88900 h 2476500"/>
                  <a:gd name="connsiteX1416" fmla="*/ 1297059 w 1757434"/>
                  <a:gd name="connsiteY1416" fmla="*/ 87313 h 2476500"/>
                  <a:gd name="connsiteX1417" fmla="*/ 1301822 w 1757434"/>
                  <a:gd name="connsiteY1417" fmla="*/ 85725 h 2476500"/>
                  <a:gd name="connsiteX1418" fmla="*/ 1312934 w 1757434"/>
                  <a:gd name="connsiteY1418" fmla="*/ 84138 h 2476500"/>
                  <a:gd name="connsiteX1419" fmla="*/ 1306584 w 1757434"/>
                  <a:gd name="connsiteY1419" fmla="*/ 73025 h 2476500"/>
                  <a:gd name="connsiteX1420" fmla="*/ 1311347 w 1757434"/>
                  <a:gd name="connsiteY1420" fmla="*/ 68263 h 2476500"/>
                  <a:gd name="connsiteX1421" fmla="*/ 1317697 w 1757434"/>
                  <a:gd name="connsiteY1421" fmla="*/ 66675 h 2476500"/>
                  <a:gd name="connsiteX1422" fmla="*/ 1327222 w 1757434"/>
                  <a:gd name="connsiteY1422" fmla="*/ 68263 h 2476500"/>
                  <a:gd name="connsiteX1423" fmla="*/ 1331984 w 1757434"/>
                  <a:gd name="connsiteY1423" fmla="*/ 79375 h 2476500"/>
                  <a:gd name="connsiteX1424" fmla="*/ 1336747 w 1757434"/>
                  <a:gd name="connsiteY1424" fmla="*/ 80963 h 2476500"/>
                  <a:gd name="connsiteX1425" fmla="*/ 1347859 w 1757434"/>
                  <a:gd name="connsiteY1425" fmla="*/ 77788 h 2476500"/>
                  <a:gd name="connsiteX1426" fmla="*/ 1351034 w 1757434"/>
                  <a:gd name="connsiteY1426" fmla="*/ 73025 h 2476500"/>
                  <a:gd name="connsiteX1427" fmla="*/ 1357384 w 1757434"/>
                  <a:gd name="connsiteY1427" fmla="*/ 68263 h 2476500"/>
                  <a:gd name="connsiteX1428" fmla="*/ 1363734 w 1757434"/>
                  <a:gd name="connsiteY1428" fmla="*/ 85725 h 2476500"/>
                  <a:gd name="connsiteX1429" fmla="*/ 1370084 w 1757434"/>
                  <a:gd name="connsiteY1429" fmla="*/ 82550 h 2476500"/>
                  <a:gd name="connsiteX1430" fmla="*/ 1384372 w 1757434"/>
                  <a:gd name="connsiteY1430" fmla="*/ 74613 h 2476500"/>
                  <a:gd name="connsiteX1431" fmla="*/ 1387547 w 1757434"/>
                  <a:gd name="connsiteY1431" fmla="*/ 82550 h 2476500"/>
                  <a:gd name="connsiteX1432" fmla="*/ 1376434 w 1757434"/>
                  <a:gd name="connsiteY1432" fmla="*/ 101600 h 2476500"/>
                  <a:gd name="connsiteX1433" fmla="*/ 1374847 w 1757434"/>
                  <a:gd name="connsiteY1433" fmla="*/ 107950 h 2476500"/>
                  <a:gd name="connsiteX1434" fmla="*/ 1363734 w 1757434"/>
                  <a:gd name="connsiteY1434" fmla="*/ 115888 h 2476500"/>
                  <a:gd name="connsiteX1435" fmla="*/ 1362147 w 1757434"/>
                  <a:gd name="connsiteY1435" fmla="*/ 136525 h 2476500"/>
                  <a:gd name="connsiteX1436" fmla="*/ 1358972 w 1757434"/>
                  <a:gd name="connsiteY1436" fmla="*/ 141288 h 2476500"/>
                  <a:gd name="connsiteX1437" fmla="*/ 1357384 w 1757434"/>
                  <a:gd name="connsiteY1437" fmla="*/ 146050 h 2476500"/>
                  <a:gd name="connsiteX1438" fmla="*/ 1354209 w 1757434"/>
                  <a:gd name="connsiteY1438" fmla="*/ 152400 h 2476500"/>
                  <a:gd name="connsiteX1439" fmla="*/ 1360559 w 1757434"/>
                  <a:gd name="connsiteY1439" fmla="*/ 150813 h 2476500"/>
                  <a:gd name="connsiteX1440" fmla="*/ 1371672 w 1757434"/>
                  <a:gd name="connsiteY1440" fmla="*/ 146050 h 2476500"/>
                  <a:gd name="connsiteX1441" fmla="*/ 1368497 w 1757434"/>
                  <a:gd name="connsiteY1441" fmla="*/ 155575 h 2476500"/>
                  <a:gd name="connsiteX1442" fmla="*/ 1363734 w 1757434"/>
                  <a:gd name="connsiteY1442" fmla="*/ 160338 h 2476500"/>
                  <a:gd name="connsiteX1443" fmla="*/ 1358972 w 1757434"/>
                  <a:gd name="connsiteY1443" fmla="*/ 174625 h 2476500"/>
                  <a:gd name="connsiteX1444" fmla="*/ 1357384 w 1757434"/>
                  <a:gd name="connsiteY1444" fmla="*/ 179388 h 2476500"/>
                  <a:gd name="connsiteX1445" fmla="*/ 1355797 w 1757434"/>
                  <a:gd name="connsiteY1445" fmla="*/ 184150 h 2476500"/>
                  <a:gd name="connsiteX1446" fmla="*/ 1355797 w 1757434"/>
                  <a:gd name="connsiteY1446" fmla="*/ 212725 h 2476500"/>
                  <a:gd name="connsiteX1447" fmla="*/ 1363734 w 1757434"/>
                  <a:gd name="connsiteY1447" fmla="*/ 219075 h 2476500"/>
                  <a:gd name="connsiteX1448" fmla="*/ 1371672 w 1757434"/>
                  <a:gd name="connsiteY1448" fmla="*/ 217488 h 2476500"/>
                  <a:gd name="connsiteX1449" fmla="*/ 1374847 w 1757434"/>
                  <a:gd name="connsiteY1449" fmla="*/ 203200 h 2476500"/>
                  <a:gd name="connsiteX1450" fmla="*/ 1379609 w 1757434"/>
                  <a:gd name="connsiteY1450" fmla="*/ 198438 h 2476500"/>
                  <a:gd name="connsiteX1451" fmla="*/ 1385959 w 1757434"/>
                  <a:gd name="connsiteY1451" fmla="*/ 176213 h 2476500"/>
                  <a:gd name="connsiteX1452" fmla="*/ 1387547 w 1757434"/>
                  <a:gd name="connsiteY1452" fmla="*/ 150813 h 2476500"/>
                  <a:gd name="connsiteX1453" fmla="*/ 1392309 w 1757434"/>
                  <a:gd name="connsiteY1453" fmla="*/ 141288 h 2476500"/>
                  <a:gd name="connsiteX1454" fmla="*/ 1393897 w 1757434"/>
                  <a:gd name="connsiteY1454" fmla="*/ 111125 h 2476500"/>
                  <a:gd name="connsiteX1455" fmla="*/ 1395484 w 1757434"/>
                  <a:gd name="connsiteY1455" fmla="*/ 104775 h 2476500"/>
                  <a:gd name="connsiteX1456" fmla="*/ 1398659 w 1757434"/>
                  <a:gd name="connsiteY1456" fmla="*/ 100013 h 2476500"/>
                  <a:gd name="connsiteX1457" fmla="*/ 1405009 w 1757434"/>
                  <a:gd name="connsiteY1457" fmla="*/ 96838 h 2476500"/>
                  <a:gd name="connsiteX1458" fmla="*/ 1405009 w 1757434"/>
                  <a:gd name="connsiteY1458" fmla="*/ 79375 h 2476500"/>
                  <a:gd name="connsiteX1459" fmla="*/ 1406597 w 1757434"/>
                  <a:gd name="connsiteY1459" fmla="*/ 71438 h 2476500"/>
                  <a:gd name="connsiteX1460" fmla="*/ 1408184 w 1757434"/>
                  <a:gd name="connsiteY1460" fmla="*/ 61913 h 2476500"/>
                  <a:gd name="connsiteX1461" fmla="*/ 1416122 w 1757434"/>
                  <a:gd name="connsiteY1461" fmla="*/ 50800 h 2476500"/>
                  <a:gd name="connsiteX1462" fmla="*/ 1424059 w 1757434"/>
                  <a:gd name="connsiteY1462" fmla="*/ 69850 h 2476500"/>
                  <a:gd name="connsiteX1463" fmla="*/ 1435172 w 1757434"/>
                  <a:gd name="connsiteY1463" fmla="*/ 71438 h 2476500"/>
                  <a:gd name="connsiteX1464" fmla="*/ 1430409 w 1757434"/>
                  <a:gd name="connsiteY1464" fmla="*/ 87313 h 2476500"/>
                  <a:gd name="connsiteX1465" fmla="*/ 1428822 w 1757434"/>
                  <a:gd name="connsiteY1465" fmla="*/ 93663 h 2476500"/>
                  <a:gd name="connsiteX1466" fmla="*/ 1424059 w 1757434"/>
                  <a:gd name="connsiteY1466" fmla="*/ 100013 h 2476500"/>
                  <a:gd name="connsiteX1467" fmla="*/ 1425647 w 1757434"/>
                  <a:gd name="connsiteY1467" fmla="*/ 115888 h 2476500"/>
                  <a:gd name="connsiteX1468" fmla="*/ 1435172 w 1757434"/>
                  <a:gd name="connsiteY1468" fmla="*/ 117475 h 2476500"/>
                  <a:gd name="connsiteX1469" fmla="*/ 1436759 w 1757434"/>
                  <a:gd name="connsiteY1469" fmla="*/ 122238 h 2476500"/>
                  <a:gd name="connsiteX1470" fmla="*/ 1441522 w 1757434"/>
                  <a:gd name="connsiteY1470" fmla="*/ 149225 h 2476500"/>
                  <a:gd name="connsiteX1471" fmla="*/ 1446284 w 1757434"/>
                  <a:gd name="connsiteY1471" fmla="*/ 144463 h 2476500"/>
                  <a:gd name="connsiteX1472" fmla="*/ 1449459 w 1757434"/>
                  <a:gd name="connsiteY1472" fmla="*/ 139700 h 2476500"/>
                  <a:gd name="connsiteX1473" fmla="*/ 1460572 w 1757434"/>
                  <a:gd name="connsiteY1473" fmla="*/ 130175 h 2476500"/>
                  <a:gd name="connsiteX1474" fmla="*/ 1465334 w 1757434"/>
                  <a:gd name="connsiteY1474" fmla="*/ 128588 h 2476500"/>
                  <a:gd name="connsiteX1475" fmla="*/ 1470097 w 1757434"/>
                  <a:gd name="connsiteY1475" fmla="*/ 119063 h 2476500"/>
                  <a:gd name="connsiteX1476" fmla="*/ 1471684 w 1757434"/>
                  <a:gd name="connsiteY1476" fmla="*/ 114300 h 2476500"/>
                  <a:gd name="connsiteX1477" fmla="*/ 1462159 w 1757434"/>
                  <a:gd name="connsiteY1477" fmla="*/ 107950 h 2476500"/>
                  <a:gd name="connsiteX1478" fmla="*/ 1463747 w 1757434"/>
                  <a:gd name="connsiteY1478" fmla="*/ 103188 h 2476500"/>
                  <a:gd name="connsiteX1479" fmla="*/ 1471684 w 1757434"/>
                  <a:gd name="connsiteY1479" fmla="*/ 101600 h 2476500"/>
                  <a:gd name="connsiteX1480" fmla="*/ 1478034 w 1757434"/>
                  <a:gd name="connsiteY1480" fmla="*/ 100013 h 2476500"/>
                  <a:gd name="connsiteX1481" fmla="*/ 1476447 w 1757434"/>
                  <a:gd name="connsiteY1481" fmla="*/ 95250 h 2476500"/>
                  <a:gd name="connsiteX1482" fmla="*/ 1471684 w 1757434"/>
                  <a:gd name="connsiteY1482" fmla="*/ 90488 h 2476500"/>
                  <a:gd name="connsiteX1483" fmla="*/ 1468509 w 1757434"/>
                  <a:gd name="connsiteY1483" fmla="*/ 85725 h 2476500"/>
                  <a:gd name="connsiteX1484" fmla="*/ 1470097 w 1757434"/>
                  <a:gd name="connsiteY1484" fmla="*/ 73025 h 2476500"/>
                  <a:gd name="connsiteX1485" fmla="*/ 1473272 w 1757434"/>
                  <a:gd name="connsiteY1485" fmla="*/ 66675 h 2476500"/>
                  <a:gd name="connsiteX1486" fmla="*/ 1471684 w 1757434"/>
                  <a:gd name="connsiteY1486" fmla="*/ 58738 h 2476500"/>
                  <a:gd name="connsiteX1487" fmla="*/ 1473272 w 1757434"/>
                  <a:gd name="connsiteY1487" fmla="*/ 53975 h 2476500"/>
                  <a:gd name="connsiteX1488" fmla="*/ 1481209 w 1757434"/>
                  <a:gd name="connsiteY1488" fmla="*/ 52388 h 2476500"/>
                  <a:gd name="connsiteX1489" fmla="*/ 1476447 w 1757434"/>
                  <a:gd name="connsiteY1489" fmla="*/ 47625 h 2476500"/>
                  <a:gd name="connsiteX1490" fmla="*/ 1465334 w 1757434"/>
                  <a:gd name="connsiteY1490" fmla="*/ 44450 h 2476500"/>
                  <a:gd name="connsiteX1491" fmla="*/ 1460572 w 1757434"/>
                  <a:gd name="connsiteY1491" fmla="*/ 41275 h 2476500"/>
                  <a:gd name="connsiteX1492" fmla="*/ 1458984 w 1757434"/>
                  <a:gd name="connsiteY1492" fmla="*/ 26988 h 2476500"/>
                  <a:gd name="connsiteX1493" fmla="*/ 1463747 w 1757434"/>
                  <a:gd name="connsiteY1493" fmla="*/ 23813 h 2476500"/>
                  <a:gd name="connsiteX1494" fmla="*/ 1470097 w 1757434"/>
                  <a:gd name="connsiteY1494" fmla="*/ 19050 h 2476500"/>
                  <a:gd name="connsiteX1495" fmla="*/ 1474859 w 1757434"/>
                  <a:gd name="connsiteY1495" fmla="*/ 28575 h 2476500"/>
                  <a:gd name="connsiteX1496" fmla="*/ 1479622 w 1757434"/>
                  <a:gd name="connsiteY1496" fmla="*/ 20638 h 2476500"/>
                  <a:gd name="connsiteX1497" fmla="*/ 1481209 w 1757434"/>
                  <a:gd name="connsiteY1497" fmla="*/ 3175 h 2476500"/>
                  <a:gd name="connsiteX1498" fmla="*/ 1487559 w 1757434"/>
                  <a:gd name="connsiteY1498" fmla="*/ 0 h 2476500"/>
                  <a:gd name="connsiteX0" fmla="*/ 569984 w 1757434"/>
                  <a:gd name="connsiteY0" fmla="*/ 1338263 h 2476500"/>
                  <a:gd name="connsiteX1" fmla="*/ 557284 w 1757434"/>
                  <a:gd name="connsiteY1" fmla="*/ 1349375 h 2476500"/>
                  <a:gd name="connsiteX2" fmla="*/ 547759 w 1757434"/>
                  <a:gd name="connsiteY2" fmla="*/ 1362075 h 2476500"/>
                  <a:gd name="connsiteX3" fmla="*/ 538234 w 1757434"/>
                  <a:gd name="connsiteY3" fmla="*/ 1382713 h 2476500"/>
                  <a:gd name="connsiteX4" fmla="*/ 536647 w 1757434"/>
                  <a:gd name="connsiteY4" fmla="*/ 1389063 h 2476500"/>
                  <a:gd name="connsiteX5" fmla="*/ 533472 w 1757434"/>
                  <a:gd name="connsiteY5" fmla="*/ 1404938 h 2476500"/>
                  <a:gd name="connsiteX6" fmla="*/ 523947 w 1757434"/>
                  <a:gd name="connsiteY6" fmla="*/ 1406525 h 2476500"/>
                  <a:gd name="connsiteX7" fmla="*/ 514422 w 1757434"/>
                  <a:gd name="connsiteY7" fmla="*/ 1411288 h 2476500"/>
                  <a:gd name="connsiteX8" fmla="*/ 503309 w 1757434"/>
                  <a:gd name="connsiteY8" fmla="*/ 1416050 h 2476500"/>
                  <a:gd name="connsiteX9" fmla="*/ 500134 w 1757434"/>
                  <a:gd name="connsiteY9" fmla="*/ 1423988 h 2476500"/>
                  <a:gd name="connsiteX10" fmla="*/ 498547 w 1757434"/>
                  <a:gd name="connsiteY10" fmla="*/ 1431925 h 2476500"/>
                  <a:gd name="connsiteX11" fmla="*/ 484259 w 1757434"/>
                  <a:gd name="connsiteY11" fmla="*/ 1438275 h 2476500"/>
                  <a:gd name="connsiteX12" fmla="*/ 495372 w 1757434"/>
                  <a:gd name="connsiteY12" fmla="*/ 1439863 h 2476500"/>
                  <a:gd name="connsiteX13" fmla="*/ 512834 w 1757434"/>
                  <a:gd name="connsiteY13" fmla="*/ 1436688 h 2476500"/>
                  <a:gd name="connsiteX14" fmla="*/ 516009 w 1757434"/>
                  <a:gd name="connsiteY14" fmla="*/ 1441450 h 2476500"/>
                  <a:gd name="connsiteX15" fmla="*/ 508072 w 1757434"/>
                  <a:gd name="connsiteY15" fmla="*/ 1454150 h 2476500"/>
                  <a:gd name="connsiteX16" fmla="*/ 496959 w 1757434"/>
                  <a:gd name="connsiteY16" fmla="*/ 1468438 h 2476500"/>
                  <a:gd name="connsiteX17" fmla="*/ 490609 w 1757434"/>
                  <a:gd name="connsiteY17" fmla="*/ 1471613 h 2476500"/>
                  <a:gd name="connsiteX18" fmla="*/ 473147 w 1757434"/>
                  <a:gd name="connsiteY18" fmla="*/ 1481138 h 2476500"/>
                  <a:gd name="connsiteX19" fmla="*/ 466797 w 1757434"/>
                  <a:gd name="connsiteY19" fmla="*/ 1489075 h 2476500"/>
                  <a:gd name="connsiteX20" fmla="*/ 462034 w 1757434"/>
                  <a:gd name="connsiteY20" fmla="*/ 1490663 h 2476500"/>
                  <a:gd name="connsiteX21" fmla="*/ 454097 w 1757434"/>
                  <a:gd name="connsiteY21" fmla="*/ 1497013 h 2476500"/>
                  <a:gd name="connsiteX22" fmla="*/ 446159 w 1757434"/>
                  <a:gd name="connsiteY22" fmla="*/ 1504950 h 2476500"/>
                  <a:gd name="connsiteX23" fmla="*/ 439809 w 1757434"/>
                  <a:gd name="connsiteY23" fmla="*/ 1500188 h 2476500"/>
                  <a:gd name="connsiteX24" fmla="*/ 436315 w 1757434"/>
                  <a:gd name="connsiteY24" fmla="*/ 1499023 h 2476500"/>
                  <a:gd name="connsiteX25" fmla="*/ 438112 w 1757434"/>
                  <a:gd name="connsiteY25" fmla="*/ 1502403 h 2476500"/>
                  <a:gd name="connsiteX26" fmla="*/ 441397 w 1757434"/>
                  <a:gd name="connsiteY26" fmla="*/ 1509713 h 2476500"/>
                  <a:gd name="connsiteX27" fmla="*/ 444572 w 1757434"/>
                  <a:gd name="connsiteY27" fmla="*/ 1520825 h 2476500"/>
                  <a:gd name="connsiteX28" fmla="*/ 447747 w 1757434"/>
                  <a:gd name="connsiteY28" fmla="*/ 1525588 h 2476500"/>
                  <a:gd name="connsiteX29" fmla="*/ 455684 w 1757434"/>
                  <a:gd name="connsiteY29" fmla="*/ 1528763 h 2476500"/>
                  <a:gd name="connsiteX30" fmla="*/ 463622 w 1757434"/>
                  <a:gd name="connsiteY30" fmla="*/ 1533525 h 2476500"/>
                  <a:gd name="connsiteX31" fmla="*/ 466797 w 1757434"/>
                  <a:gd name="connsiteY31" fmla="*/ 1544638 h 2476500"/>
                  <a:gd name="connsiteX32" fmla="*/ 471559 w 1757434"/>
                  <a:gd name="connsiteY32" fmla="*/ 1546225 h 2476500"/>
                  <a:gd name="connsiteX33" fmla="*/ 469972 w 1757434"/>
                  <a:gd name="connsiteY33" fmla="*/ 1531938 h 2476500"/>
                  <a:gd name="connsiteX34" fmla="*/ 465209 w 1757434"/>
                  <a:gd name="connsiteY34" fmla="*/ 1527175 h 2476500"/>
                  <a:gd name="connsiteX35" fmla="*/ 460447 w 1757434"/>
                  <a:gd name="connsiteY35" fmla="*/ 1520825 h 2476500"/>
                  <a:gd name="connsiteX36" fmla="*/ 466797 w 1757434"/>
                  <a:gd name="connsiteY36" fmla="*/ 1506538 h 2476500"/>
                  <a:gd name="connsiteX37" fmla="*/ 471559 w 1757434"/>
                  <a:gd name="connsiteY37" fmla="*/ 1508125 h 2476500"/>
                  <a:gd name="connsiteX38" fmla="*/ 476322 w 1757434"/>
                  <a:gd name="connsiteY38" fmla="*/ 1514475 h 2476500"/>
                  <a:gd name="connsiteX39" fmla="*/ 503309 w 1757434"/>
                  <a:gd name="connsiteY39" fmla="*/ 1511300 h 2476500"/>
                  <a:gd name="connsiteX40" fmla="*/ 508072 w 1757434"/>
                  <a:gd name="connsiteY40" fmla="*/ 1508125 h 2476500"/>
                  <a:gd name="connsiteX41" fmla="*/ 506484 w 1757434"/>
                  <a:gd name="connsiteY41" fmla="*/ 1500188 h 2476500"/>
                  <a:gd name="connsiteX42" fmla="*/ 511247 w 1757434"/>
                  <a:gd name="connsiteY42" fmla="*/ 1474788 h 2476500"/>
                  <a:gd name="connsiteX43" fmla="*/ 517597 w 1757434"/>
                  <a:gd name="connsiteY43" fmla="*/ 1471613 h 2476500"/>
                  <a:gd name="connsiteX44" fmla="*/ 522378 w 1757434"/>
                  <a:gd name="connsiteY44" fmla="*/ 1470040 h 2476500"/>
                  <a:gd name="connsiteX45" fmla="*/ 524394 w 1757434"/>
                  <a:gd name="connsiteY45" fmla="*/ 1468685 h 2476500"/>
                  <a:gd name="connsiteX46" fmla="*/ 525534 w 1757434"/>
                  <a:gd name="connsiteY46" fmla="*/ 1465263 h 2476500"/>
                  <a:gd name="connsiteX47" fmla="*/ 526329 w 1757434"/>
                  <a:gd name="connsiteY47" fmla="*/ 1464070 h 2476500"/>
                  <a:gd name="connsiteX48" fmla="*/ 524516 w 1757434"/>
                  <a:gd name="connsiteY48" fmla="*/ 1468602 h 2476500"/>
                  <a:gd name="connsiteX49" fmla="*/ 527122 w 1757434"/>
                  <a:gd name="connsiteY49" fmla="*/ 1466850 h 2476500"/>
                  <a:gd name="connsiteX50" fmla="*/ 531884 w 1757434"/>
                  <a:gd name="connsiteY50" fmla="*/ 1457325 h 2476500"/>
                  <a:gd name="connsiteX51" fmla="*/ 541409 w 1757434"/>
                  <a:gd name="connsiteY51" fmla="*/ 1454150 h 2476500"/>
                  <a:gd name="connsiteX52" fmla="*/ 544498 w 1757434"/>
                  <a:gd name="connsiteY52" fmla="*/ 1452091 h 2476500"/>
                  <a:gd name="connsiteX53" fmla="*/ 535059 w 1757434"/>
                  <a:gd name="connsiteY53" fmla="*/ 1452563 h 2476500"/>
                  <a:gd name="connsiteX54" fmla="*/ 530297 w 1757434"/>
                  <a:gd name="connsiteY54" fmla="*/ 1455738 h 2476500"/>
                  <a:gd name="connsiteX55" fmla="*/ 528709 w 1757434"/>
                  <a:gd name="connsiteY55" fmla="*/ 1460500 h 2476500"/>
                  <a:gd name="connsiteX56" fmla="*/ 526329 w 1757434"/>
                  <a:gd name="connsiteY56" fmla="*/ 1464070 h 2476500"/>
                  <a:gd name="connsiteX57" fmla="*/ 527122 w 1757434"/>
                  <a:gd name="connsiteY57" fmla="*/ 1462088 h 2476500"/>
                  <a:gd name="connsiteX58" fmla="*/ 522359 w 1757434"/>
                  <a:gd name="connsiteY58" fmla="*/ 1443038 h 2476500"/>
                  <a:gd name="connsiteX59" fmla="*/ 527122 w 1757434"/>
                  <a:gd name="connsiteY59" fmla="*/ 1436688 h 2476500"/>
                  <a:gd name="connsiteX60" fmla="*/ 531884 w 1757434"/>
                  <a:gd name="connsiteY60" fmla="*/ 1435100 h 2476500"/>
                  <a:gd name="connsiteX61" fmla="*/ 533472 w 1757434"/>
                  <a:gd name="connsiteY61" fmla="*/ 1425575 h 2476500"/>
                  <a:gd name="connsiteX62" fmla="*/ 546001 w 1757434"/>
                  <a:gd name="connsiteY62" fmla="*/ 1429262 h 2476500"/>
                  <a:gd name="connsiteX63" fmla="*/ 552494 w 1757434"/>
                  <a:gd name="connsiteY63" fmla="*/ 1431898 h 2476500"/>
                  <a:gd name="connsiteX64" fmla="*/ 552522 w 1757434"/>
                  <a:gd name="connsiteY64" fmla="*/ 1431925 h 2476500"/>
                  <a:gd name="connsiteX65" fmla="*/ 560459 w 1757434"/>
                  <a:gd name="connsiteY65" fmla="*/ 1435100 h 2476500"/>
                  <a:gd name="connsiteX66" fmla="*/ 554988 w 1757434"/>
                  <a:gd name="connsiteY66" fmla="*/ 1432911 h 2476500"/>
                  <a:gd name="connsiteX67" fmla="*/ 552494 w 1757434"/>
                  <a:gd name="connsiteY67" fmla="*/ 1431898 h 2476500"/>
                  <a:gd name="connsiteX68" fmla="*/ 544393 w 1757434"/>
                  <a:gd name="connsiteY68" fmla="*/ 1424206 h 2476500"/>
                  <a:gd name="connsiteX69" fmla="*/ 539822 w 1757434"/>
                  <a:gd name="connsiteY69" fmla="*/ 1419225 h 2476500"/>
                  <a:gd name="connsiteX70" fmla="*/ 541409 w 1757434"/>
                  <a:gd name="connsiteY70" fmla="*/ 1409700 h 2476500"/>
                  <a:gd name="connsiteX71" fmla="*/ 546172 w 1757434"/>
                  <a:gd name="connsiteY71" fmla="*/ 1406525 h 2476500"/>
                  <a:gd name="connsiteX72" fmla="*/ 565222 w 1757434"/>
                  <a:gd name="connsiteY72" fmla="*/ 1393825 h 2476500"/>
                  <a:gd name="connsiteX73" fmla="*/ 566809 w 1757434"/>
                  <a:gd name="connsiteY73" fmla="*/ 1389063 h 2476500"/>
                  <a:gd name="connsiteX74" fmla="*/ 560459 w 1757434"/>
                  <a:gd name="connsiteY74" fmla="*/ 1377950 h 2476500"/>
                  <a:gd name="connsiteX75" fmla="*/ 574747 w 1757434"/>
                  <a:gd name="connsiteY75" fmla="*/ 1366838 h 2476500"/>
                  <a:gd name="connsiteX76" fmla="*/ 576334 w 1757434"/>
                  <a:gd name="connsiteY76" fmla="*/ 1362075 h 2476500"/>
                  <a:gd name="connsiteX77" fmla="*/ 574747 w 1757434"/>
                  <a:gd name="connsiteY77" fmla="*/ 1352550 h 2476500"/>
                  <a:gd name="connsiteX78" fmla="*/ 565222 w 1757434"/>
                  <a:gd name="connsiteY78" fmla="*/ 1354138 h 2476500"/>
                  <a:gd name="connsiteX79" fmla="*/ 555697 w 1757434"/>
                  <a:gd name="connsiteY79" fmla="*/ 1360488 h 2476500"/>
                  <a:gd name="connsiteX80" fmla="*/ 550934 w 1757434"/>
                  <a:gd name="connsiteY80" fmla="*/ 1362075 h 2476500"/>
                  <a:gd name="connsiteX81" fmla="*/ 558872 w 1757434"/>
                  <a:gd name="connsiteY81" fmla="*/ 1357313 h 2476500"/>
                  <a:gd name="connsiteX82" fmla="*/ 565222 w 1757434"/>
                  <a:gd name="connsiteY82" fmla="*/ 1349375 h 2476500"/>
                  <a:gd name="connsiteX83" fmla="*/ 569984 w 1757434"/>
                  <a:gd name="connsiteY83" fmla="*/ 1338263 h 2476500"/>
                  <a:gd name="connsiteX84" fmla="*/ 1487559 w 1757434"/>
                  <a:gd name="connsiteY84" fmla="*/ 0 h 2476500"/>
                  <a:gd name="connsiteX85" fmla="*/ 1497084 w 1757434"/>
                  <a:gd name="connsiteY85" fmla="*/ 1588 h 2476500"/>
                  <a:gd name="connsiteX86" fmla="*/ 1497084 w 1757434"/>
                  <a:gd name="connsiteY86" fmla="*/ 22225 h 2476500"/>
                  <a:gd name="connsiteX87" fmla="*/ 1501847 w 1757434"/>
                  <a:gd name="connsiteY87" fmla="*/ 26988 h 2476500"/>
                  <a:gd name="connsiteX88" fmla="*/ 1508197 w 1757434"/>
                  <a:gd name="connsiteY88" fmla="*/ 20638 h 2476500"/>
                  <a:gd name="connsiteX89" fmla="*/ 1516134 w 1757434"/>
                  <a:gd name="connsiteY89" fmla="*/ 15875 h 2476500"/>
                  <a:gd name="connsiteX90" fmla="*/ 1511372 w 1757434"/>
                  <a:gd name="connsiteY90" fmla="*/ 34925 h 2476500"/>
                  <a:gd name="connsiteX91" fmla="*/ 1516134 w 1757434"/>
                  <a:gd name="connsiteY91" fmla="*/ 36513 h 2476500"/>
                  <a:gd name="connsiteX92" fmla="*/ 1527247 w 1757434"/>
                  <a:gd name="connsiteY92" fmla="*/ 33338 h 2476500"/>
                  <a:gd name="connsiteX93" fmla="*/ 1530422 w 1757434"/>
                  <a:gd name="connsiteY93" fmla="*/ 47625 h 2476500"/>
                  <a:gd name="connsiteX94" fmla="*/ 1527247 w 1757434"/>
                  <a:gd name="connsiteY94" fmla="*/ 57150 h 2476500"/>
                  <a:gd name="connsiteX95" fmla="*/ 1522484 w 1757434"/>
                  <a:gd name="connsiteY95" fmla="*/ 65088 h 2476500"/>
                  <a:gd name="connsiteX96" fmla="*/ 1519309 w 1757434"/>
                  <a:gd name="connsiteY96" fmla="*/ 71438 h 2476500"/>
                  <a:gd name="connsiteX97" fmla="*/ 1520897 w 1757434"/>
                  <a:gd name="connsiteY97" fmla="*/ 98425 h 2476500"/>
                  <a:gd name="connsiteX98" fmla="*/ 1525659 w 1757434"/>
                  <a:gd name="connsiteY98" fmla="*/ 103188 h 2476500"/>
                  <a:gd name="connsiteX99" fmla="*/ 1530422 w 1757434"/>
                  <a:gd name="connsiteY99" fmla="*/ 111125 h 2476500"/>
                  <a:gd name="connsiteX100" fmla="*/ 1543122 w 1757434"/>
                  <a:gd name="connsiteY100" fmla="*/ 106363 h 2476500"/>
                  <a:gd name="connsiteX101" fmla="*/ 1544709 w 1757434"/>
                  <a:gd name="connsiteY101" fmla="*/ 98425 h 2476500"/>
                  <a:gd name="connsiteX102" fmla="*/ 1541534 w 1757434"/>
                  <a:gd name="connsiteY102" fmla="*/ 66675 h 2476500"/>
                  <a:gd name="connsiteX103" fmla="*/ 1538359 w 1757434"/>
                  <a:gd name="connsiteY103" fmla="*/ 49213 h 2476500"/>
                  <a:gd name="connsiteX104" fmla="*/ 1543122 w 1757434"/>
                  <a:gd name="connsiteY104" fmla="*/ 46038 h 2476500"/>
                  <a:gd name="connsiteX105" fmla="*/ 1544709 w 1757434"/>
                  <a:gd name="connsiteY105" fmla="*/ 52388 h 2476500"/>
                  <a:gd name="connsiteX106" fmla="*/ 1551059 w 1757434"/>
                  <a:gd name="connsiteY106" fmla="*/ 36513 h 2476500"/>
                  <a:gd name="connsiteX107" fmla="*/ 1557409 w 1757434"/>
                  <a:gd name="connsiteY107" fmla="*/ 31750 h 2476500"/>
                  <a:gd name="connsiteX108" fmla="*/ 1568522 w 1757434"/>
                  <a:gd name="connsiteY108" fmla="*/ 26988 h 2476500"/>
                  <a:gd name="connsiteX109" fmla="*/ 1563759 w 1757434"/>
                  <a:gd name="connsiteY109" fmla="*/ 34925 h 2476500"/>
                  <a:gd name="connsiteX110" fmla="*/ 1566934 w 1757434"/>
                  <a:gd name="connsiteY110" fmla="*/ 79375 h 2476500"/>
                  <a:gd name="connsiteX111" fmla="*/ 1573284 w 1757434"/>
                  <a:gd name="connsiteY111" fmla="*/ 77788 h 2476500"/>
                  <a:gd name="connsiteX112" fmla="*/ 1579634 w 1757434"/>
                  <a:gd name="connsiteY112" fmla="*/ 58738 h 2476500"/>
                  <a:gd name="connsiteX113" fmla="*/ 1585984 w 1757434"/>
                  <a:gd name="connsiteY113" fmla="*/ 42863 h 2476500"/>
                  <a:gd name="connsiteX114" fmla="*/ 1592334 w 1757434"/>
                  <a:gd name="connsiteY114" fmla="*/ 36513 h 2476500"/>
                  <a:gd name="connsiteX115" fmla="*/ 1593922 w 1757434"/>
                  <a:gd name="connsiteY115" fmla="*/ 42863 h 2476500"/>
                  <a:gd name="connsiteX116" fmla="*/ 1592334 w 1757434"/>
                  <a:gd name="connsiteY116" fmla="*/ 61913 h 2476500"/>
                  <a:gd name="connsiteX117" fmla="*/ 1617734 w 1757434"/>
                  <a:gd name="connsiteY117" fmla="*/ 46038 h 2476500"/>
                  <a:gd name="connsiteX118" fmla="*/ 1622497 w 1757434"/>
                  <a:gd name="connsiteY118" fmla="*/ 52388 h 2476500"/>
                  <a:gd name="connsiteX119" fmla="*/ 1619322 w 1757434"/>
                  <a:gd name="connsiteY119" fmla="*/ 73025 h 2476500"/>
                  <a:gd name="connsiteX120" fmla="*/ 1622497 w 1757434"/>
                  <a:gd name="connsiteY120" fmla="*/ 84138 h 2476500"/>
                  <a:gd name="connsiteX121" fmla="*/ 1627259 w 1757434"/>
                  <a:gd name="connsiteY121" fmla="*/ 87313 h 2476500"/>
                  <a:gd name="connsiteX122" fmla="*/ 1635197 w 1757434"/>
                  <a:gd name="connsiteY122" fmla="*/ 80963 h 2476500"/>
                  <a:gd name="connsiteX123" fmla="*/ 1641547 w 1757434"/>
                  <a:gd name="connsiteY123" fmla="*/ 69850 h 2476500"/>
                  <a:gd name="connsiteX124" fmla="*/ 1644722 w 1757434"/>
                  <a:gd name="connsiteY124" fmla="*/ 63500 h 2476500"/>
                  <a:gd name="connsiteX125" fmla="*/ 1651072 w 1757434"/>
                  <a:gd name="connsiteY125" fmla="*/ 58738 h 2476500"/>
                  <a:gd name="connsiteX126" fmla="*/ 1659009 w 1757434"/>
                  <a:gd name="connsiteY126" fmla="*/ 63500 h 2476500"/>
                  <a:gd name="connsiteX127" fmla="*/ 1654247 w 1757434"/>
                  <a:gd name="connsiteY127" fmla="*/ 77788 h 2476500"/>
                  <a:gd name="connsiteX128" fmla="*/ 1657422 w 1757434"/>
                  <a:gd name="connsiteY128" fmla="*/ 84138 h 2476500"/>
                  <a:gd name="connsiteX129" fmla="*/ 1662184 w 1757434"/>
                  <a:gd name="connsiteY129" fmla="*/ 77788 h 2476500"/>
                  <a:gd name="connsiteX130" fmla="*/ 1666947 w 1757434"/>
                  <a:gd name="connsiteY130" fmla="*/ 69850 h 2476500"/>
                  <a:gd name="connsiteX131" fmla="*/ 1678059 w 1757434"/>
                  <a:gd name="connsiteY131" fmla="*/ 63500 h 2476500"/>
                  <a:gd name="connsiteX132" fmla="*/ 1692347 w 1757434"/>
                  <a:gd name="connsiteY132" fmla="*/ 65088 h 2476500"/>
                  <a:gd name="connsiteX133" fmla="*/ 1700284 w 1757434"/>
                  <a:gd name="connsiteY133" fmla="*/ 68263 h 2476500"/>
                  <a:gd name="connsiteX134" fmla="*/ 1697109 w 1757434"/>
                  <a:gd name="connsiteY134" fmla="*/ 74613 h 2476500"/>
                  <a:gd name="connsiteX135" fmla="*/ 1689172 w 1757434"/>
                  <a:gd name="connsiteY135" fmla="*/ 79375 h 2476500"/>
                  <a:gd name="connsiteX136" fmla="*/ 1714572 w 1757434"/>
                  <a:gd name="connsiteY136" fmla="*/ 90488 h 2476500"/>
                  <a:gd name="connsiteX137" fmla="*/ 1711397 w 1757434"/>
                  <a:gd name="connsiteY137" fmla="*/ 98425 h 2476500"/>
                  <a:gd name="connsiteX138" fmla="*/ 1700284 w 1757434"/>
                  <a:gd name="connsiteY138" fmla="*/ 106363 h 2476500"/>
                  <a:gd name="connsiteX139" fmla="*/ 1690759 w 1757434"/>
                  <a:gd name="connsiteY139" fmla="*/ 114300 h 2476500"/>
                  <a:gd name="connsiteX140" fmla="*/ 1687584 w 1757434"/>
                  <a:gd name="connsiteY140" fmla="*/ 119063 h 2476500"/>
                  <a:gd name="connsiteX141" fmla="*/ 1685997 w 1757434"/>
                  <a:gd name="connsiteY141" fmla="*/ 123825 h 2476500"/>
                  <a:gd name="connsiteX142" fmla="*/ 1684409 w 1757434"/>
                  <a:gd name="connsiteY142" fmla="*/ 130175 h 2476500"/>
                  <a:gd name="connsiteX143" fmla="*/ 1681234 w 1757434"/>
                  <a:gd name="connsiteY143" fmla="*/ 136525 h 2476500"/>
                  <a:gd name="connsiteX144" fmla="*/ 1674884 w 1757434"/>
                  <a:gd name="connsiteY144" fmla="*/ 138113 h 2476500"/>
                  <a:gd name="connsiteX145" fmla="*/ 1655834 w 1757434"/>
                  <a:gd name="connsiteY145" fmla="*/ 144463 h 2476500"/>
                  <a:gd name="connsiteX146" fmla="*/ 1649484 w 1757434"/>
                  <a:gd name="connsiteY146" fmla="*/ 146050 h 2476500"/>
                  <a:gd name="connsiteX147" fmla="*/ 1641547 w 1757434"/>
                  <a:gd name="connsiteY147" fmla="*/ 149225 h 2476500"/>
                  <a:gd name="connsiteX148" fmla="*/ 1597097 w 1757434"/>
                  <a:gd name="connsiteY148" fmla="*/ 150813 h 2476500"/>
                  <a:gd name="connsiteX149" fmla="*/ 1592334 w 1757434"/>
                  <a:gd name="connsiteY149" fmla="*/ 152400 h 2476500"/>
                  <a:gd name="connsiteX150" fmla="*/ 1593922 w 1757434"/>
                  <a:gd name="connsiteY150" fmla="*/ 158750 h 2476500"/>
                  <a:gd name="connsiteX151" fmla="*/ 1628847 w 1757434"/>
                  <a:gd name="connsiteY151" fmla="*/ 160338 h 2476500"/>
                  <a:gd name="connsiteX152" fmla="*/ 1641547 w 1757434"/>
                  <a:gd name="connsiteY152" fmla="*/ 168275 h 2476500"/>
                  <a:gd name="connsiteX153" fmla="*/ 1643134 w 1757434"/>
                  <a:gd name="connsiteY153" fmla="*/ 177800 h 2476500"/>
                  <a:gd name="connsiteX154" fmla="*/ 1641547 w 1757434"/>
                  <a:gd name="connsiteY154" fmla="*/ 185738 h 2476500"/>
                  <a:gd name="connsiteX155" fmla="*/ 1641547 w 1757434"/>
                  <a:gd name="connsiteY155" fmla="*/ 198438 h 2476500"/>
                  <a:gd name="connsiteX156" fmla="*/ 1646309 w 1757434"/>
                  <a:gd name="connsiteY156" fmla="*/ 200025 h 2476500"/>
                  <a:gd name="connsiteX157" fmla="*/ 1652659 w 1757434"/>
                  <a:gd name="connsiteY157" fmla="*/ 192088 h 2476500"/>
                  <a:gd name="connsiteX158" fmla="*/ 1663772 w 1757434"/>
                  <a:gd name="connsiteY158" fmla="*/ 182563 h 2476500"/>
                  <a:gd name="connsiteX159" fmla="*/ 1666947 w 1757434"/>
                  <a:gd name="connsiteY159" fmla="*/ 187325 h 2476500"/>
                  <a:gd name="connsiteX160" fmla="*/ 1668534 w 1757434"/>
                  <a:gd name="connsiteY160" fmla="*/ 200025 h 2476500"/>
                  <a:gd name="connsiteX161" fmla="*/ 1673297 w 1757434"/>
                  <a:gd name="connsiteY161" fmla="*/ 196850 h 2476500"/>
                  <a:gd name="connsiteX162" fmla="*/ 1681234 w 1757434"/>
                  <a:gd name="connsiteY162" fmla="*/ 195263 h 2476500"/>
                  <a:gd name="connsiteX163" fmla="*/ 1685997 w 1757434"/>
                  <a:gd name="connsiteY163" fmla="*/ 196850 h 2476500"/>
                  <a:gd name="connsiteX164" fmla="*/ 1692347 w 1757434"/>
                  <a:gd name="connsiteY164" fmla="*/ 180975 h 2476500"/>
                  <a:gd name="connsiteX165" fmla="*/ 1695522 w 1757434"/>
                  <a:gd name="connsiteY165" fmla="*/ 176213 h 2476500"/>
                  <a:gd name="connsiteX166" fmla="*/ 1697109 w 1757434"/>
                  <a:gd name="connsiteY166" fmla="*/ 171450 h 2476500"/>
                  <a:gd name="connsiteX167" fmla="*/ 1703459 w 1757434"/>
                  <a:gd name="connsiteY167" fmla="*/ 168275 h 2476500"/>
                  <a:gd name="connsiteX168" fmla="*/ 1705047 w 1757434"/>
                  <a:gd name="connsiteY168" fmla="*/ 184150 h 2476500"/>
                  <a:gd name="connsiteX169" fmla="*/ 1709809 w 1757434"/>
                  <a:gd name="connsiteY169" fmla="*/ 193675 h 2476500"/>
                  <a:gd name="connsiteX170" fmla="*/ 1712984 w 1757434"/>
                  <a:gd name="connsiteY170" fmla="*/ 184150 h 2476500"/>
                  <a:gd name="connsiteX171" fmla="*/ 1717747 w 1757434"/>
                  <a:gd name="connsiteY171" fmla="*/ 180975 h 2476500"/>
                  <a:gd name="connsiteX172" fmla="*/ 1732034 w 1757434"/>
                  <a:gd name="connsiteY172" fmla="*/ 171450 h 2476500"/>
                  <a:gd name="connsiteX173" fmla="*/ 1733622 w 1757434"/>
                  <a:gd name="connsiteY173" fmla="*/ 179388 h 2476500"/>
                  <a:gd name="connsiteX174" fmla="*/ 1736797 w 1757434"/>
                  <a:gd name="connsiteY174" fmla="*/ 184150 h 2476500"/>
                  <a:gd name="connsiteX175" fmla="*/ 1744734 w 1757434"/>
                  <a:gd name="connsiteY175" fmla="*/ 185738 h 2476500"/>
                  <a:gd name="connsiteX176" fmla="*/ 1749497 w 1757434"/>
                  <a:gd name="connsiteY176" fmla="*/ 190500 h 2476500"/>
                  <a:gd name="connsiteX177" fmla="*/ 1754259 w 1757434"/>
                  <a:gd name="connsiteY177" fmla="*/ 192088 h 2476500"/>
                  <a:gd name="connsiteX178" fmla="*/ 1752672 w 1757434"/>
                  <a:gd name="connsiteY178" fmla="*/ 203200 h 2476500"/>
                  <a:gd name="connsiteX179" fmla="*/ 1754259 w 1757434"/>
                  <a:gd name="connsiteY179" fmla="*/ 222250 h 2476500"/>
                  <a:gd name="connsiteX180" fmla="*/ 1757434 w 1757434"/>
                  <a:gd name="connsiteY180" fmla="*/ 233363 h 2476500"/>
                  <a:gd name="connsiteX181" fmla="*/ 1752672 w 1757434"/>
                  <a:gd name="connsiteY181" fmla="*/ 238125 h 2476500"/>
                  <a:gd name="connsiteX182" fmla="*/ 1739972 w 1757434"/>
                  <a:gd name="connsiteY182" fmla="*/ 225425 h 2476500"/>
                  <a:gd name="connsiteX183" fmla="*/ 1709809 w 1757434"/>
                  <a:gd name="connsiteY183" fmla="*/ 223838 h 2476500"/>
                  <a:gd name="connsiteX184" fmla="*/ 1705047 w 1757434"/>
                  <a:gd name="connsiteY184" fmla="*/ 220663 h 2476500"/>
                  <a:gd name="connsiteX185" fmla="*/ 1703459 w 1757434"/>
                  <a:gd name="connsiteY185" fmla="*/ 225425 h 2476500"/>
                  <a:gd name="connsiteX186" fmla="*/ 1698697 w 1757434"/>
                  <a:gd name="connsiteY186" fmla="*/ 244475 h 2476500"/>
                  <a:gd name="connsiteX187" fmla="*/ 1692347 w 1757434"/>
                  <a:gd name="connsiteY187" fmla="*/ 249238 h 2476500"/>
                  <a:gd name="connsiteX188" fmla="*/ 1682822 w 1757434"/>
                  <a:gd name="connsiteY188" fmla="*/ 261938 h 2476500"/>
                  <a:gd name="connsiteX189" fmla="*/ 1676472 w 1757434"/>
                  <a:gd name="connsiteY189" fmla="*/ 269875 h 2476500"/>
                  <a:gd name="connsiteX190" fmla="*/ 1671709 w 1757434"/>
                  <a:gd name="connsiteY190" fmla="*/ 274638 h 2476500"/>
                  <a:gd name="connsiteX191" fmla="*/ 1668534 w 1757434"/>
                  <a:gd name="connsiteY191" fmla="*/ 280988 h 2476500"/>
                  <a:gd name="connsiteX192" fmla="*/ 1670122 w 1757434"/>
                  <a:gd name="connsiteY192" fmla="*/ 319088 h 2476500"/>
                  <a:gd name="connsiteX193" fmla="*/ 1665359 w 1757434"/>
                  <a:gd name="connsiteY193" fmla="*/ 331788 h 2476500"/>
                  <a:gd name="connsiteX194" fmla="*/ 1655834 w 1757434"/>
                  <a:gd name="connsiteY194" fmla="*/ 328613 h 2476500"/>
                  <a:gd name="connsiteX195" fmla="*/ 1643134 w 1757434"/>
                  <a:gd name="connsiteY195" fmla="*/ 323850 h 2476500"/>
                  <a:gd name="connsiteX196" fmla="*/ 1638372 w 1757434"/>
                  <a:gd name="connsiteY196" fmla="*/ 315913 h 2476500"/>
                  <a:gd name="connsiteX197" fmla="*/ 1641547 w 1757434"/>
                  <a:gd name="connsiteY197" fmla="*/ 298450 h 2476500"/>
                  <a:gd name="connsiteX198" fmla="*/ 1644722 w 1757434"/>
                  <a:gd name="connsiteY198" fmla="*/ 290513 h 2476500"/>
                  <a:gd name="connsiteX199" fmla="*/ 1649484 w 1757434"/>
                  <a:gd name="connsiteY199" fmla="*/ 285750 h 2476500"/>
                  <a:gd name="connsiteX200" fmla="*/ 1651072 w 1757434"/>
                  <a:gd name="connsiteY200" fmla="*/ 274638 h 2476500"/>
                  <a:gd name="connsiteX201" fmla="*/ 1654247 w 1757434"/>
                  <a:gd name="connsiteY201" fmla="*/ 268288 h 2476500"/>
                  <a:gd name="connsiteX202" fmla="*/ 1652659 w 1757434"/>
                  <a:gd name="connsiteY202" fmla="*/ 255588 h 2476500"/>
                  <a:gd name="connsiteX203" fmla="*/ 1639959 w 1757434"/>
                  <a:gd name="connsiteY203" fmla="*/ 239713 h 2476500"/>
                  <a:gd name="connsiteX204" fmla="*/ 1628847 w 1757434"/>
                  <a:gd name="connsiteY204" fmla="*/ 236538 h 2476500"/>
                  <a:gd name="connsiteX205" fmla="*/ 1620909 w 1757434"/>
                  <a:gd name="connsiteY205" fmla="*/ 231775 h 2476500"/>
                  <a:gd name="connsiteX206" fmla="*/ 1605034 w 1757434"/>
                  <a:gd name="connsiteY206" fmla="*/ 223838 h 2476500"/>
                  <a:gd name="connsiteX207" fmla="*/ 1597097 w 1757434"/>
                  <a:gd name="connsiteY207" fmla="*/ 217488 h 2476500"/>
                  <a:gd name="connsiteX208" fmla="*/ 1584397 w 1757434"/>
                  <a:gd name="connsiteY208" fmla="*/ 215900 h 2476500"/>
                  <a:gd name="connsiteX209" fmla="*/ 1582809 w 1757434"/>
                  <a:gd name="connsiteY209" fmla="*/ 211138 h 2476500"/>
                  <a:gd name="connsiteX210" fmla="*/ 1579634 w 1757434"/>
                  <a:gd name="connsiteY210" fmla="*/ 204788 h 2476500"/>
                  <a:gd name="connsiteX211" fmla="*/ 1554234 w 1757434"/>
                  <a:gd name="connsiteY211" fmla="*/ 200025 h 2476500"/>
                  <a:gd name="connsiteX212" fmla="*/ 1552647 w 1757434"/>
                  <a:gd name="connsiteY212" fmla="*/ 190500 h 2476500"/>
                  <a:gd name="connsiteX213" fmla="*/ 1543122 w 1757434"/>
                  <a:gd name="connsiteY213" fmla="*/ 184150 h 2476500"/>
                  <a:gd name="connsiteX214" fmla="*/ 1522484 w 1757434"/>
                  <a:gd name="connsiteY214" fmla="*/ 185738 h 2476500"/>
                  <a:gd name="connsiteX215" fmla="*/ 1516134 w 1757434"/>
                  <a:gd name="connsiteY215" fmla="*/ 190500 h 2476500"/>
                  <a:gd name="connsiteX216" fmla="*/ 1511372 w 1757434"/>
                  <a:gd name="connsiteY216" fmla="*/ 193675 h 2476500"/>
                  <a:gd name="connsiteX217" fmla="*/ 1506609 w 1757434"/>
                  <a:gd name="connsiteY217" fmla="*/ 201613 h 2476500"/>
                  <a:gd name="connsiteX218" fmla="*/ 1503434 w 1757434"/>
                  <a:gd name="connsiteY218" fmla="*/ 206375 h 2476500"/>
                  <a:gd name="connsiteX219" fmla="*/ 1500259 w 1757434"/>
                  <a:gd name="connsiteY219" fmla="*/ 214313 h 2476500"/>
                  <a:gd name="connsiteX220" fmla="*/ 1493909 w 1757434"/>
                  <a:gd name="connsiteY220" fmla="*/ 215900 h 2476500"/>
                  <a:gd name="connsiteX221" fmla="*/ 1474859 w 1757434"/>
                  <a:gd name="connsiteY221" fmla="*/ 225425 h 2476500"/>
                  <a:gd name="connsiteX222" fmla="*/ 1460572 w 1757434"/>
                  <a:gd name="connsiteY222" fmla="*/ 233363 h 2476500"/>
                  <a:gd name="connsiteX223" fmla="*/ 1457397 w 1757434"/>
                  <a:gd name="connsiteY223" fmla="*/ 239713 h 2476500"/>
                  <a:gd name="connsiteX224" fmla="*/ 1455809 w 1757434"/>
                  <a:gd name="connsiteY224" fmla="*/ 244475 h 2476500"/>
                  <a:gd name="connsiteX225" fmla="*/ 1451047 w 1757434"/>
                  <a:gd name="connsiteY225" fmla="*/ 249238 h 2476500"/>
                  <a:gd name="connsiteX226" fmla="*/ 1435172 w 1757434"/>
                  <a:gd name="connsiteY226" fmla="*/ 266700 h 2476500"/>
                  <a:gd name="connsiteX227" fmla="*/ 1436759 w 1757434"/>
                  <a:gd name="connsiteY227" fmla="*/ 277813 h 2476500"/>
                  <a:gd name="connsiteX228" fmla="*/ 1441522 w 1757434"/>
                  <a:gd name="connsiteY228" fmla="*/ 287338 h 2476500"/>
                  <a:gd name="connsiteX229" fmla="*/ 1443109 w 1757434"/>
                  <a:gd name="connsiteY229" fmla="*/ 293688 h 2476500"/>
                  <a:gd name="connsiteX230" fmla="*/ 1441522 w 1757434"/>
                  <a:gd name="connsiteY230" fmla="*/ 325438 h 2476500"/>
                  <a:gd name="connsiteX231" fmla="*/ 1441522 w 1757434"/>
                  <a:gd name="connsiteY231" fmla="*/ 360363 h 2476500"/>
                  <a:gd name="connsiteX232" fmla="*/ 1449459 w 1757434"/>
                  <a:gd name="connsiteY232" fmla="*/ 361950 h 2476500"/>
                  <a:gd name="connsiteX233" fmla="*/ 1458984 w 1757434"/>
                  <a:gd name="connsiteY233" fmla="*/ 365125 h 2476500"/>
                  <a:gd name="connsiteX234" fmla="*/ 1458984 w 1757434"/>
                  <a:gd name="connsiteY234" fmla="*/ 409575 h 2476500"/>
                  <a:gd name="connsiteX235" fmla="*/ 1444697 w 1757434"/>
                  <a:gd name="connsiteY235" fmla="*/ 411163 h 2476500"/>
                  <a:gd name="connsiteX236" fmla="*/ 1435172 w 1757434"/>
                  <a:gd name="connsiteY236" fmla="*/ 415925 h 2476500"/>
                  <a:gd name="connsiteX237" fmla="*/ 1436759 w 1757434"/>
                  <a:gd name="connsiteY237" fmla="*/ 423863 h 2476500"/>
                  <a:gd name="connsiteX238" fmla="*/ 1433584 w 1757434"/>
                  <a:gd name="connsiteY238" fmla="*/ 471488 h 2476500"/>
                  <a:gd name="connsiteX239" fmla="*/ 1419297 w 1757434"/>
                  <a:gd name="connsiteY239" fmla="*/ 465138 h 2476500"/>
                  <a:gd name="connsiteX240" fmla="*/ 1412947 w 1757434"/>
                  <a:gd name="connsiteY240" fmla="*/ 461963 h 2476500"/>
                  <a:gd name="connsiteX241" fmla="*/ 1390722 w 1757434"/>
                  <a:gd name="connsiteY241" fmla="*/ 465138 h 2476500"/>
                  <a:gd name="connsiteX242" fmla="*/ 1382784 w 1757434"/>
                  <a:gd name="connsiteY242" fmla="*/ 450850 h 2476500"/>
                  <a:gd name="connsiteX243" fmla="*/ 1378022 w 1757434"/>
                  <a:gd name="connsiteY243" fmla="*/ 447675 h 2476500"/>
                  <a:gd name="connsiteX244" fmla="*/ 1373259 w 1757434"/>
                  <a:gd name="connsiteY244" fmla="*/ 442913 h 2476500"/>
                  <a:gd name="connsiteX245" fmla="*/ 1365322 w 1757434"/>
                  <a:gd name="connsiteY245" fmla="*/ 441325 h 2476500"/>
                  <a:gd name="connsiteX246" fmla="*/ 1360559 w 1757434"/>
                  <a:gd name="connsiteY246" fmla="*/ 439738 h 2476500"/>
                  <a:gd name="connsiteX247" fmla="*/ 1349447 w 1757434"/>
                  <a:gd name="connsiteY247" fmla="*/ 441325 h 2476500"/>
                  <a:gd name="connsiteX248" fmla="*/ 1335159 w 1757434"/>
                  <a:gd name="connsiteY248" fmla="*/ 450850 h 2476500"/>
                  <a:gd name="connsiteX249" fmla="*/ 1328809 w 1757434"/>
                  <a:gd name="connsiteY249" fmla="*/ 461963 h 2476500"/>
                  <a:gd name="connsiteX250" fmla="*/ 1320872 w 1757434"/>
                  <a:gd name="connsiteY250" fmla="*/ 469900 h 2476500"/>
                  <a:gd name="connsiteX251" fmla="*/ 1312934 w 1757434"/>
                  <a:gd name="connsiteY251" fmla="*/ 471488 h 2476500"/>
                  <a:gd name="connsiteX252" fmla="*/ 1308172 w 1757434"/>
                  <a:gd name="connsiteY252" fmla="*/ 474663 h 2476500"/>
                  <a:gd name="connsiteX253" fmla="*/ 1303409 w 1757434"/>
                  <a:gd name="connsiteY253" fmla="*/ 479425 h 2476500"/>
                  <a:gd name="connsiteX254" fmla="*/ 1295472 w 1757434"/>
                  <a:gd name="connsiteY254" fmla="*/ 481013 h 2476500"/>
                  <a:gd name="connsiteX255" fmla="*/ 1287534 w 1757434"/>
                  <a:gd name="connsiteY255" fmla="*/ 484188 h 2476500"/>
                  <a:gd name="connsiteX256" fmla="*/ 1281184 w 1757434"/>
                  <a:gd name="connsiteY256" fmla="*/ 482600 h 2476500"/>
                  <a:gd name="connsiteX257" fmla="*/ 1273247 w 1757434"/>
                  <a:gd name="connsiteY257" fmla="*/ 476250 h 2476500"/>
                  <a:gd name="connsiteX258" fmla="*/ 1266897 w 1757434"/>
                  <a:gd name="connsiteY258" fmla="*/ 471488 h 2476500"/>
                  <a:gd name="connsiteX259" fmla="*/ 1255784 w 1757434"/>
                  <a:gd name="connsiteY259" fmla="*/ 466725 h 2476500"/>
                  <a:gd name="connsiteX260" fmla="*/ 1244672 w 1757434"/>
                  <a:gd name="connsiteY260" fmla="*/ 455613 h 2476500"/>
                  <a:gd name="connsiteX261" fmla="*/ 1238322 w 1757434"/>
                  <a:gd name="connsiteY261" fmla="*/ 449263 h 2476500"/>
                  <a:gd name="connsiteX262" fmla="*/ 1231972 w 1757434"/>
                  <a:gd name="connsiteY262" fmla="*/ 444500 h 2476500"/>
                  <a:gd name="connsiteX263" fmla="*/ 1230384 w 1757434"/>
                  <a:gd name="connsiteY263" fmla="*/ 438150 h 2476500"/>
                  <a:gd name="connsiteX264" fmla="*/ 1225622 w 1757434"/>
                  <a:gd name="connsiteY264" fmla="*/ 433388 h 2476500"/>
                  <a:gd name="connsiteX265" fmla="*/ 1222447 w 1757434"/>
                  <a:gd name="connsiteY265" fmla="*/ 428625 h 2476500"/>
                  <a:gd name="connsiteX266" fmla="*/ 1204984 w 1757434"/>
                  <a:gd name="connsiteY266" fmla="*/ 411163 h 2476500"/>
                  <a:gd name="connsiteX267" fmla="*/ 1197047 w 1757434"/>
                  <a:gd name="connsiteY267" fmla="*/ 409575 h 2476500"/>
                  <a:gd name="connsiteX268" fmla="*/ 1192284 w 1757434"/>
                  <a:gd name="connsiteY268" fmla="*/ 395288 h 2476500"/>
                  <a:gd name="connsiteX269" fmla="*/ 1189109 w 1757434"/>
                  <a:gd name="connsiteY269" fmla="*/ 390525 h 2476500"/>
                  <a:gd name="connsiteX270" fmla="*/ 1184347 w 1757434"/>
                  <a:gd name="connsiteY270" fmla="*/ 388938 h 2476500"/>
                  <a:gd name="connsiteX271" fmla="*/ 1179584 w 1757434"/>
                  <a:gd name="connsiteY271" fmla="*/ 390525 h 2476500"/>
                  <a:gd name="connsiteX272" fmla="*/ 1149422 w 1757434"/>
                  <a:gd name="connsiteY272" fmla="*/ 393700 h 2476500"/>
                  <a:gd name="connsiteX273" fmla="*/ 1157359 w 1757434"/>
                  <a:gd name="connsiteY273" fmla="*/ 438150 h 2476500"/>
                  <a:gd name="connsiteX274" fmla="*/ 1151009 w 1757434"/>
                  <a:gd name="connsiteY274" fmla="*/ 436563 h 2476500"/>
                  <a:gd name="connsiteX275" fmla="*/ 1125609 w 1757434"/>
                  <a:gd name="connsiteY275" fmla="*/ 439738 h 2476500"/>
                  <a:gd name="connsiteX276" fmla="*/ 1116084 w 1757434"/>
                  <a:gd name="connsiteY276" fmla="*/ 447675 h 2476500"/>
                  <a:gd name="connsiteX277" fmla="*/ 1111322 w 1757434"/>
                  <a:gd name="connsiteY277" fmla="*/ 449263 h 2476500"/>
                  <a:gd name="connsiteX278" fmla="*/ 1101797 w 1757434"/>
                  <a:gd name="connsiteY278" fmla="*/ 454025 h 2476500"/>
                  <a:gd name="connsiteX279" fmla="*/ 1095447 w 1757434"/>
                  <a:gd name="connsiteY279" fmla="*/ 458788 h 2476500"/>
                  <a:gd name="connsiteX280" fmla="*/ 1101797 w 1757434"/>
                  <a:gd name="connsiteY280" fmla="*/ 469900 h 2476500"/>
                  <a:gd name="connsiteX281" fmla="*/ 1109734 w 1757434"/>
                  <a:gd name="connsiteY281" fmla="*/ 473075 h 2476500"/>
                  <a:gd name="connsiteX282" fmla="*/ 1114497 w 1757434"/>
                  <a:gd name="connsiteY282" fmla="*/ 477838 h 2476500"/>
                  <a:gd name="connsiteX283" fmla="*/ 1116084 w 1757434"/>
                  <a:gd name="connsiteY283" fmla="*/ 484188 h 2476500"/>
                  <a:gd name="connsiteX284" fmla="*/ 1117672 w 1757434"/>
                  <a:gd name="connsiteY284" fmla="*/ 504825 h 2476500"/>
                  <a:gd name="connsiteX285" fmla="*/ 1117672 w 1757434"/>
                  <a:gd name="connsiteY285" fmla="*/ 547688 h 2476500"/>
                  <a:gd name="connsiteX286" fmla="*/ 1124022 w 1757434"/>
                  <a:gd name="connsiteY286" fmla="*/ 550863 h 2476500"/>
                  <a:gd name="connsiteX287" fmla="*/ 1125609 w 1757434"/>
                  <a:gd name="connsiteY287" fmla="*/ 555625 h 2476500"/>
                  <a:gd name="connsiteX288" fmla="*/ 1130372 w 1757434"/>
                  <a:gd name="connsiteY288" fmla="*/ 557213 h 2476500"/>
                  <a:gd name="connsiteX289" fmla="*/ 1122434 w 1757434"/>
                  <a:gd name="connsiteY289" fmla="*/ 565150 h 2476500"/>
                  <a:gd name="connsiteX290" fmla="*/ 1117672 w 1757434"/>
                  <a:gd name="connsiteY290" fmla="*/ 576263 h 2476500"/>
                  <a:gd name="connsiteX291" fmla="*/ 1112909 w 1757434"/>
                  <a:gd name="connsiteY291" fmla="*/ 584200 h 2476500"/>
                  <a:gd name="connsiteX292" fmla="*/ 1106559 w 1757434"/>
                  <a:gd name="connsiteY292" fmla="*/ 587375 h 2476500"/>
                  <a:gd name="connsiteX293" fmla="*/ 1098622 w 1757434"/>
                  <a:gd name="connsiteY293" fmla="*/ 584200 h 2476500"/>
                  <a:gd name="connsiteX294" fmla="*/ 1093859 w 1757434"/>
                  <a:gd name="connsiteY294" fmla="*/ 579438 h 2476500"/>
                  <a:gd name="connsiteX295" fmla="*/ 1082747 w 1757434"/>
                  <a:gd name="connsiteY295" fmla="*/ 573088 h 2476500"/>
                  <a:gd name="connsiteX296" fmla="*/ 1062109 w 1757434"/>
                  <a:gd name="connsiteY296" fmla="*/ 569913 h 2476500"/>
                  <a:gd name="connsiteX297" fmla="*/ 1047822 w 1757434"/>
                  <a:gd name="connsiteY297" fmla="*/ 565150 h 2476500"/>
                  <a:gd name="connsiteX298" fmla="*/ 1041472 w 1757434"/>
                  <a:gd name="connsiteY298" fmla="*/ 563563 h 2476500"/>
                  <a:gd name="connsiteX299" fmla="*/ 1030359 w 1757434"/>
                  <a:gd name="connsiteY299" fmla="*/ 565150 h 2476500"/>
                  <a:gd name="connsiteX300" fmla="*/ 1017659 w 1757434"/>
                  <a:gd name="connsiteY300" fmla="*/ 571500 h 2476500"/>
                  <a:gd name="connsiteX301" fmla="*/ 1016072 w 1757434"/>
                  <a:gd name="connsiteY301" fmla="*/ 560388 h 2476500"/>
                  <a:gd name="connsiteX302" fmla="*/ 989084 w 1757434"/>
                  <a:gd name="connsiteY302" fmla="*/ 560388 h 2476500"/>
                  <a:gd name="connsiteX303" fmla="*/ 984322 w 1757434"/>
                  <a:gd name="connsiteY303" fmla="*/ 566738 h 2476500"/>
                  <a:gd name="connsiteX304" fmla="*/ 990672 w 1757434"/>
                  <a:gd name="connsiteY304" fmla="*/ 592138 h 2476500"/>
                  <a:gd name="connsiteX305" fmla="*/ 992259 w 1757434"/>
                  <a:gd name="connsiteY305" fmla="*/ 596900 h 2476500"/>
                  <a:gd name="connsiteX306" fmla="*/ 989084 w 1757434"/>
                  <a:gd name="connsiteY306" fmla="*/ 644525 h 2476500"/>
                  <a:gd name="connsiteX307" fmla="*/ 984322 w 1757434"/>
                  <a:gd name="connsiteY307" fmla="*/ 650875 h 2476500"/>
                  <a:gd name="connsiteX308" fmla="*/ 982734 w 1757434"/>
                  <a:gd name="connsiteY308" fmla="*/ 655638 h 2476500"/>
                  <a:gd name="connsiteX309" fmla="*/ 979559 w 1757434"/>
                  <a:gd name="connsiteY309" fmla="*/ 669925 h 2476500"/>
                  <a:gd name="connsiteX310" fmla="*/ 974797 w 1757434"/>
                  <a:gd name="connsiteY310" fmla="*/ 666750 h 2476500"/>
                  <a:gd name="connsiteX311" fmla="*/ 970034 w 1757434"/>
                  <a:gd name="connsiteY311" fmla="*/ 661988 h 2476500"/>
                  <a:gd name="connsiteX312" fmla="*/ 960509 w 1757434"/>
                  <a:gd name="connsiteY312" fmla="*/ 663575 h 2476500"/>
                  <a:gd name="connsiteX313" fmla="*/ 943047 w 1757434"/>
                  <a:gd name="connsiteY313" fmla="*/ 668338 h 2476500"/>
                  <a:gd name="connsiteX314" fmla="*/ 936697 w 1757434"/>
                  <a:gd name="connsiteY314" fmla="*/ 676275 h 2476500"/>
                  <a:gd name="connsiteX315" fmla="*/ 925584 w 1757434"/>
                  <a:gd name="connsiteY315" fmla="*/ 687388 h 2476500"/>
                  <a:gd name="connsiteX316" fmla="*/ 922409 w 1757434"/>
                  <a:gd name="connsiteY316" fmla="*/ 692150 h 2476500"/>
                  <a:gd name="connsiteX317" fmla="*/ 916059 w 1757434"/>
                  <a:gd name="connsiteY317" fmla="*/ 698500 h 2476500"/>
                  <a:gd name="connsiteX318" fmla="*/ 912884 w 1757434"/>
                  <a:gd name="connsiteY318" fmla="*/ 704850 h 2476500"/>
                  <a:gd name="connsiteX319" fmla="*/ 909709 w 1757434"/>
                  <a:gd name="connsiteY319" fmla="*/ 709613 h 2476500"/>
                  <a:gd name="connsiteX320" fmla="*/ 908122 w 1757434"/>
                  <a:gd name="connsiteY320" fmla="*/ 717550 h 2476500"/>
                  <a:gd name="connsiteX321" fmla="*/ 901772 w 1757434"/>
                  <a:gd name="connsiteY321" fmla="*/ 727075 h 2476500"/>
                  <a:gd name="connsiteX322" fmla="*/ 897009 w 1757434"/>
                  <a:gd name="connsiteY322" fmla="*/ 741363 h 2476500"/>
                  <a:gd name="connsiteX323" fmla="*/ 895422 w 1757434"/>
                  <a:gd name="connsiteY323" fmla="*/ 746125 h 2476500"/>
                  <a:gd name="connsiteX324" fmla="*/ 893834 w 1757434"/>
                  <a:gd name="connsiteY324" fmla="*/ 757238 h 2476500"/>
                  <a:gd name="connsiteX325" fmla="*/ 887484 w 1757434"/>
                  <a:gd name="connsiteY325" fmla="*/ 763588 h 2476500"/>
                  <a:gd name="connsiteX326" fmla="*/ 882722 w 1757434"/>
                  <a:gd name="connsiteY326" fmla="*/ 769938 h 2476500"/>
                  <a:gd name="connsiteX327" fmla="*/ 884309 w 1757434"/>
                  <a:gd name="connsiteY327" fmla="*/ 781050 h 2476500"/>
                  <a:gd name="connsiteX328" fmla="*/ 892247 w 1757434"/>
                  <a:gd name="connsiteY328" fmla="*/ 795338 h 2476500"/>
                  <a:gd name="connsiteX329" fmla="*/ 892247 w 1757434"/>
                  <a:gd name="connsiteY329" fmla="*/ 839788 h 2476500"/>
                  <a:gd name="connsiteX330" fmla="*/ 887484 w 1757434"/>
                  <a:gd name="connsiteY330" fmla="*/ 842963 h 2476500"/>
                  <a:gd name="connsiteX331" fmla="*/ 879547 w 1757434"/>
                  <a:gd name="connsiteY331" fmla="*/ 855663 h 2476500"/>
                  <a:gd name="connsiteX332" fmla="*/ 876372 w 1757434"/>
                  <a:gd name="connsiteY332" fmla="*/ 863600 h 2476500"/>
                  <a:gd name="connsiteX333" fmla="*/ 874784 w 1757434"/>
                  <a:gd name="connsiteY333" fmla="*/ 869950 h 2476500"/>
                  <a:gd name="connsiteX334" fmla="*/ 870022 w 1757434"/>
                  <a:gd name="connsiteY334" fmla="*/ 884238 h 2476500"/>
                  <a:gd name="connsiteX335" fmla="*/ 866847 w 1757434"/>
                  <a:gd name="connsiteY335" fmla="*/ 893763 h 2476500"/>
                  <a:gd name="connsiteX336" fmla="*/ 863672 w 1757434"/>
                  <a:gd name="connsiteY336" fmla="*/ 906463 h 2476500"/>
                  <a:gd name="connsiteX337" fmla="*/ 857322 w 1757434"/>
                  <a:gd name="connsiteY337" fmla="*/ 919163 h 2476500"/>
                  <a:gd name="connsiteX338" fmla="*/ 852559 w 1757434"/>
                  <a:gd name="connsiteY338" fmla="*/ 923925 h 2476500"/>
                  <a:gd name="connsiteX339" fmla="*/ 843034 w 1757434"/>
                  <a:gd name="connsiteY339" fmla="*/ 935038 h 2476500"/>
                  <a:gd name="connsiteX340" fmla="*/ 831922 w 1757434"/>
                  <a:gd name="connsiteY340" fmla="*/ 944563 h 2476500"/>
                  <a:gd name="connsiteX341" fmla="*/ 830334 w 1757434"/>
                  <a:gd name="connsiteY341" fmla="*/ 950913 h 2476500"/>
                  <a:gd name="connsiteX342" fmla="*/ 835097 w 1757434"/>
                  <a:gd name="connsiteY342" fmla="*/ 973138 h 2476500"/>
                  <a:gd name="connsiteX343" fmla="*/ 833509 w 1757434"/>
                  <a:gd name="connsiteY343" fmla="*/ 990600 h 2476500"/>
                  <a:gd name="connsiteX344" fmla="*/ 825572 w 1757434"/>
                  <a:gd name="connsiteY344" fmla="*/ 995363 h 2476500"/>
                  <a:gd name="connsiteX345" fmla="*/ 819222 w 1757434"/>
                  <a:gd name="connsiteY345" fmla="*/ 1001713 h 2476500"/>
                  <a:gd name="connsiteX346" fmla="*/ 801759 w 1757434"/>
                  <a:gd name="connsiteY346" fmla="*/ 1016000 h 2476500"/>
                  <a:gd name="connsiteX347" fmla="*/ 782709 w 1757434"/>
                  <a:gd name="connsiteY347" fmla="*/ 1014413 h 2476500"/>
                  <a:gd name="connsiteX348" fmla="*/ 777777 w 1757434"/>
                  <a:gd name="connsiteY348" fmla="*/ 1011206 h 2476500"/>
                  <a:gd name="connsiteX349" fmla="*/ 780808 w 1757434"/>
                  <a:gd name="connsiteY349" fmla="*/ 1009156 h 2476500"/>
                  <a:gd name="connsiteX350" fmla="*/ 782139 w 1757434"/>
                  <a:gd name="connsiteY350" fmla="*/ 1008856 h 2476500"/>
                  <a:gd name="connsiteX351" fmla="*/ 780893 w 1757434"/>
                  <a:gd name="connsiteY351" fmla="*/ 1009099 h 2476500"/>
                  <a:gd name="connsiteX352" fmla="*/ 780808 w 1757434"/>
                  <a:gd name="connsiteY352" fmla="*/ 1009156 h 2476500"/>
                  <a:gd name="connsiteX353" fmla="*/ 771597 w 1757434"/>
                  <a:gd name="connsiteY353" fmla="*/ 1011238 h 2476500"/>
                  <a:gd name="connsiteX354" fmla="*/ 773184 w 1757434"/>
                  <a:gd name="connsiteY354" fmla="*/ 1050925 h 2476500"/>
                  <a:gd name="connsiteX355" fmla="*/ 779534 w 1757434"/>
                  <a:gd name="connsiteY355" fmla="*/ 1063625 h 2476500"/>
                  <a:gd name="connsiteX356" fmla="*/ 781122 w 1757434"/>
                  <a:gd name="connsiteY356" fmla="*/ 1068388 h 2476500"/>
                  <a:gd name="connsiteX357" fmla="*/ 782709 w 1757434"/>
                  <a:gd name="connsiteY357" fmla="*/ 1079500 h 2476500"/>
                  <a:gd name="connsiteX358" fmla="*/ 777947 w 1757434"/>
                  <a:gd name="connsiteY358" fmla="*/ 1093788 h 2476500"/>
                  <a:gd name="connsiteX359" fmla="*/ 773184 w 1757434"/>
                  <a:gd name="connsiteY359" fmla="*/ 1096963 h 2476500"/>
                  <a:gd name="connsiteX360" fmla="*/ 774772 w 1757434"/>
                  <a:gd name="connsiteY360" fmla="*/ 1106488 h 2476500"/>
                  <a:gd name="connsiteX361" fmla="*/ 782709 w 1757434"/>
                  <a:gd name="connsiteY361" fmla="*/ 1116013 h 2476500"/>
                  <a:gd name="connsiteX362" fmla="*/ 784297 w 1757434"/>
                  <a:gd name="connsiteY362" fmla="*/ 1123950 h 2476500"/>
                  <a:gd name="connsiteX363" fmla="*/ 787472 w 1757434"/>
                  <a:gd name="connsiteY363" fmla="*/ 1135063 h 2476500"/>
                  <a:gd name="connsiteX364" fmla="*/ 784297 w 1757434"/>
                  <a:gd name="connsiteY364" fmla="*/ 1157288 h 2476500"/>
                  <a:gd name="connsiteX365" fmla="*/ 781122 w 1757434"/>
                  <a:gd name="connsiteY365" fmla="*/ 1165225 h 2476500"/>
                  <a:gd name="connsiteX366" fmla="*/ 777947 w 1757434"/>
                  <a:gd name="connsiteY366" fmla="*/ 1169988 h 2476500"/>
                  <a:gd name="connsiteX367" fmla="*/ 779534 w 1757434"/>
                  <a:gd name="connsiteY367" fmla="*/ 1177925 h 2476500"/>
                  <a:gd name="connsiteX368" fmla="*/ 776359 w 1757434"/>
                  <a:gd name="connsiteY368" fmla="*/ 1192213 h 2476500"/>
                  <a:gd name="connsiteX369" fmla="*/ 773184 w 1757434"/>
                  <a:gd name="connsiteY369" fmla="*/ 1196975 h 2476500"/>
                  <a:gd name="connsiteX370" fmla="*/ 768422 w 1757434"/>
                  <a:gd name="connsiteY370" fmla="*/ 1206500 h 2476500"/>
                  <a:gd name="connsiteX371" fmla="*/ 763659 w 1757434"/>
                  <a:gd name="connsiteY371" fmla="*/ 1209675 h 2476500"/>
                  <a:gd name="connsiteX372" fmla="*/ 750959 w 1757434"/>
                  <a:gd name="connsiteY372" fmla="*/ 1230313 h 2476500"/>
                  <a:gd name="connsiteX373" fmla="*/ 743021 w 1757434"/>
                  <a:gd name="connsiteY373" fmla="*/ 1236662 h 2476500"/>
                  <a:gd name="connsiteX374" fmla="*/ 744609 w 1757434"/>
                  <a:gd name="connsiteY374" fmla="*/ 1258889 h 2476500"/>
                  <a:gd name="connsiteX375" fmla="*/ 730322 w 1757434"/>
                  <a:gd name="connsiteY375" fmla="*/ 1276350 h 2476500"/>
                  <a:gd name="connsiteX376" fmla="*/ 733497 w 1757434"/>
                  <a:gd name="connsiteY376" fmla="*/ 1293813 h 2476500"/>
                  <a:gd name="connsiteX377" fmla="*/ 738259 w 1757434"/>
                  <a:gd name="connsiteY377" fmla="*/ 1296988 h 2476500"/>
                  <a:gd name="connsiteX378" fmla="*/ 762072 w 1757434"/>
                  <a:gd name="connsiteY378" fmla="*/ 1319213 h 2476500"/>
                  <a:gd name="connsiteX379" fmla="*/ 768422 w 1757434"/>
                  <a:gd name="connsiteY379" fmla="*/ 1322388 h 2476500"/>
                  <a:gd name="connsiteX380" fmla="*/ 766834 w 1757434"/>
                  <a:gd name="connsiteY380" fmla="*/ 1366838 h 2476500"/>
                  <a:gd name="connsiteX381" fmla="*/ 763659 w 1757434"/>
                  <a:gd name="connsiteY381" fmla="*/ 1376363 h 2476500"/>
                  <a:gd name="connsiteX382" fmla="*/ 760484 w 1757434"/>
                  <a:gd name="connsiteY382" fmla="*/ 1384300 h 2476500"/>
                  <a:gd name="connsiteX383" fmla="*/ 758897 w 1757434"/>
                  <a:gd name="connsiteY383" fmla="*/ 1389063 h 2476500"/>
                  <a:gd name="connsiteX384" fmla="*/ 750959 w 1757434"/>
                  <a:gd name="connsiteY384" fmla="*/ 1398588 h 2476500"/>
                  <a:gd name="connsiteX385" fmla="*/ 719209 w 1757434"/>
                  <a:gd name="connsiteY385" fmla="*/ 1397000 h 2476500"/>
                  <a:gd name="connsiteX386" fmla="*/ 714447 w 1757434"/>
                  <a:gd name="connsiteY386" fmla="*/ 1389063 h 2476500"/>
                  <a:gd name="connsiteX387" fmla="*/ 706509 w 1757434"/>
                  <a:gd name="connsiteY387" fmla="*/ 1385888 h 2476500"/>
                  <a:gd name="connsiteX388" fmla="*/ 693809 w 1757434"/>
                  <a:gd name="connsiteY388" fmla="*/ 1389063 h 2476500"/>
                  <a:gd name="connsiteX389" fmla="*/ 685872 w 1757434"/>
                  <a:gd name="connsiteY389" fmla="*/ 1395413 h 2476500"/>
                  <a:gd name="connsiteX390" fmla="*/ 677934 w 1757434"/>
                  <a:gd name="connsiteY390" fmla="*/ 1406525 h 2476500"/>
                  <a:gd name="connsiteX391" fmla="*/ 671584 w 1757434"/>
                  <a:gd name="connsiteY391" fmla="*/ 1409700 h 2476500"/>
                  <a:gd name="connsiteX392" fmla="*/ 657297 w 1757434"/>
                  <a:gd name="connsiteY392" fmla="*/ 1419225 h 2476500"/>
                  <a:gd name="connsiteX393" fmla="*/ 654122 w 1757434"/>
                  <a:gd name="connsiteY393" fmla="*/ 1423988 h 2476500"/>
                  <a:gd name="connsiteX394" fmla="*/ 660472 w 1757434"/>
                  <a:gd name="connsiteY394" fmla="*/ 1430338 h 2476500"/>
                  <a:gd name="connsiteX395" fmla="*/ 662059 w 1757434"/>
                  <a:gd name="connsiteY395" fmla="*/ 1435100 h 2476500"/>
                  <a:gd name="connsiteX396" fmla="*/ 655709 w 1757434"/>
                  <a:gd name="connsiteY396" fmla="*/ 1438275 h 2476500"/>
                  <a:gd name="connsiteX397" fmla="*/ 650947 w 1757434"/>
                  <a:gd name="connsiteY397" fmla="*/ 1443038 h 2476500"/>
                  <a:gd name="connsiteX398" fmla="*/ 643009 w 1757434"/>
                  <a:gd name="connsiteY398" fmla="*/ 1449388 h 2476500"/>
                  <a:gd name="connsiteX399" fmla="*/ 638247 w 1757434"/>
                  <a:gd name="connsiteY399" fmla="*/ 1455738 h 2476500"/>
                  <a:gd name="connsiteX400" fmla="*/ 633484 w 1757434"/>
                  <a:gd name="connsiteY400" fmla="*/ 1458913 h 2476500"/>
                  <a:gd name="connsiteX401" fmla="*/ 623959 w 1757434"/>
                  <a:gd name="connsiteY401" fmla="*/ 1470025 h 2476500"/>
                  <a:gd name="connsiteX402" fmla="*/ 620784 w 1757434"/>
                  <a:gd name="connsiteY402" fmla="*/ 1489075 h 2476500"/>
                  <a:gd name="connsiteX403" fmla="*/ 619197 w 1757434"/>
                  <a:gd name="connsiteY403" fmla="*/ 1498600 h 2476500"/>
                  <a:gd name="connsiteX404" fmla="*/ 612847 w 1757434"/>
                  <a:gd name="connsiteY404" fmla="*/ 1487488 h 2476500"/>
                  <a:gd name="connsiteX405" fmla="*/ 612667 w 1757434"/>
                  <a:gd name="connsiteY405" fmla="*/ 1487193 h 2476500"/>
                  <a:gd name="connsiteX406" fmla="*/ 611259 w 1757434"/>
                  <a:gd name="connsiteY406" fmla="*/ 1509713 h 2476500"/>
                  <a:gd name="connsiteX407" fmla="*/ 603322 w 1757434"/>
                  <a:gd name="connsiteY407" fmla="*/ 1514475 h 2476500"/>
                  <a:gd name="connsiteX408" fmla="*/ 598559 w 1757434"/>
                  <a:gd name="connsiteY408" fmla="*/ 1519238 h 2476500"/>
                  <a:gd name="connsiteX409" fmla="*/ 593797 w 1757434"/>
                  <a:gd name="connsiteY409" fmla="*/ 1530350 h 2476500"/>
                  <a:gd name="connsiteX410" fmla="*/ 603322 w 1757434"/>
                  <a:gd name="connsiteY410" fmla="*/ 1539875 h 2476500"/>
                  <a:gd name="connsiteX411" fmla="*/ 606497 w 1757434"/>
                  <a:gd name="connsiteY411" fmla="*/ 1544638 h 2476500"/>
                  <a:gd name="connsiteX412" fmla="*/ 611259 w 1757434"/>
                  <a:gd name="connsiteY412" fmla="*/ 1550988 h 2476500"/>
                  <a:gd name="connsiteX413" fmla="*/ 612847 w 1757434"/>
                  <a:gd name="connsiteY413" fmla="*/ 1555750 h 2476500"/>
                  <a:gd name="connsiteX414" fmla="*/ 617609 w 1757434"/>
                  <a:gd name="connsiteY414" fmla="*/ 1562100 h 2476500"/>
                  <a:gd name="connsiteX415" fmla="*/ 616022 w 1757434"/>
                  <a:gd name="connsiteY415" fmla="*/ 1593850 h 2476500"/>
                  <a:gd name="connsiteX416" fmla="*/ 614434 w 1757434"/>
                  <a:gd name="connsiteY416" fmla="*/ 1598613 h 2476500"/>
                  <a:gd name="connsiteX417" fmla="*/ 609672 w 1757434"/>
                  <a:gd name="connsiteY417" fmla="*/ 1600200 h 2476500"/>
                  <a:gd name="connsiteX418" fmla="*/ 609672 w 1757434"/>
                  <a:gd name="connsiteY418" fmla="*/ 1635125 h 2476500"/>
                  <a:gd name="connsiteX419" fmla="*/ 612847 w 1757434"/>
                  <a:gd name="connsiteY419" fmla="*/ 1641475 h 2476500"/>
                  <a:gd name="connsiteX420" fmla="*/ 616022 w 1757434"/>
                  <a:gd name="connsiteY420" fmla="*/ 1677988 h 2476500"/>
                  <a:gd name="connsiteX421" fmla="*/ 620784 w 1757434"/>
                  <a:gd name="connsiteY421" fmla="*/ 1682750 h 2476500"/>
                  <a:gd name="connsiteX422" fmla="*/ 624689 w 1757434"/>
                  <a:gd name="connsiteY422" fmla="*/ 1687924 h 2476500"/>
                  <a:gd name="connsiteX423" fmla="*/ 623038 w 1757434"/>
                  <a:gd name="connsiteY423" fmla="*/ 1686677 h 2476500"/>
                  <a:gd name="connsiteX424" fmla="*/ 622473 w 1757434"/>
                  <a:gd name="connsiteY424" fmla="*/ 1686119 h 2476500"/>
                  <a:gd name="connsiteX425" fmla="*/ 622926 w 1757434"/>
                  <a:gd name="connsiteY425" fmla="*/ 1686592 h 2476500"/>
                  <a:gd name="connsiteX426" fmla="*/ 623038 w 1757434"/>
                  <a:gd name="connsiteY426" fmla="*/ 1686677 h 2476500"/>
                  <a:gd name="connsiteX427" fmla="*/ 630309 w 1757434"/>
                  <a:gd name="connsiteY427" fmla="*/ 1693863 h 2476500"/>
                  <a:gd name="connsiteX428" fmla="*/ 630309 w 1757434"/>
                  <a:gd name="connsiteY428" fmla="*/ 1730375 h 2476500"/>
                  <a:gd name="connsiteX429" fmla="*/ 628722 w 1757434"/>
                  <a:gd name="connsiteY429" fmla="*/ 1744663 h 2476500"/>
                  <a:gd name="connsiteX430" fmla="*/ 622372 w 1757434"/>
                  <a:gd name="connsiteY430" fmla="*/ 1754188 h 2476500"/>
                  <a:gd name="connsiteX431" fmla="*/ 622372 w 1757434"/>
                  <a:gd name="connsiteY431" fmla="*/ 1800225 h 2476500"/>
                  <a:gd name="connsiteX432" fmla="*/ 625547 w 1757434"/>
                  <a:gd name="connsiteY432" fmla="*/ 1809750 h 2476500"/>
                  <a:gd name="connsiteX433" fmla="*/ 627134 w 1757434"/>
                  <a:gd name="connsiteY433" fmla="*/ 1814513 h 2476500"/>
                  <a:gd name="connsiteX434" fmla="*/ 636659 w 1757434"/>
                  <a:gd name="connsiteY434" fmla="*/ 1827213 h 2476500"/>
                  <a:gd name="connsiteX435" fmla="*/ 647772 w 1757434"/>
                  <a:gd name="connsiteY435" fmla="*/ 1838325 h 2476500"/>
                  <a:gd name="connsiteX436" fmla="*/ 652534 w 1757434"/>
                  <a:gd name="connsiteY436" fmla="*/ 1839913 h 2476500"/>
                  <a:gd name="connsiteX437" fmla="*/ 666822 w 1757434"/>
                  <a:gd name="connsiteY437" fmla="*/ 1847850 h 2476500"/>
                  <a:gd name="connsiteX438" fmla="*/ 681109 w 1757434"/>
                  <a:gd name="connsiteY438" fmla="*/ 1863725 h 2476500"/>
                  <a:gd name="connsiteX439" fmla="*/ 682697 w 1757434"/>
                  <a:gd name="connsiteY439" fmla="*/ 1873250 h 2476500"/>
                  <a:gd name="connsiteX440" fmla="*/ 685872 w 1757434"/>
                  <a:gd name="connsiteY440" fmla="*/ 1881188 h 2476500"/>
                  <a:gd name="connsiteX441" fmla="*/ 684284 w 1757434"/>
                  <a:gd name="connsiteY441" fmla="*/ 1920875 h 2476500"/>
                  <a:gd name="connsiteX442" fmla="*/ 677934 w 1757434"/>
                  <a:gd name="connsiteY442" fmla="*/ 1925638 h 2476500"/>
                  <a:gd name="connsiteX443" fmla="*/ 674759 w 1757434"/>
                  <a:gd name="connsiteY443" fmla="*/ 1931988 h 2476500"/>
                  <a:gd name="connsiteX444" fmla="*/ 643009 w 1757434"/>
                  <a:gd name="connsiteY444" fmla="*/ 1938338 h 2476500"/>
                  <a:gd name="connsiteX445" fmla="*/ 636659 w 1757434"/>
                  <a:gd name="connsiteY445" fmla="*/ 1943100 h 2476500"/>
                  <a:gd name="connsiteX446" fmla="*/ 636659 w 1757434"/>
                  <a:gd name="connsiteY446" fmla="*/ 1968500 h 2476500"/>
                  <a:gd name="connsiteX447" fmla="*/ 644597 w 1757434"/>
                  <a:gd name="connsiteY447" fmla="*/ 1971675 h 2476500"/>
                  <a:gd name="connsiteX448" fmla="*/ 650947 w 1757434"/>
                  <a:gd name="connsiteY448" fmla="*/ 1974850 h 2476500"/>
                  <a:gd name="connsiteX449" fmla="*/ 652534 w 1757434"/>
                  <a:gd name="connsiteY449" fmla="*/ 1998663 h 2476500"/>
                  <a:gd name="connsiteX450" fmla="*/ 657297 w 1757434"/>
                  <a:gd name="connsiteY450" fmla="*/ 2001838 h 2476500"/>
                  <a:gd name="connsiteX451" fmla="*/ 660472 w 1757434"/>
                  <a:gd name="connsiteY451" fmla="*/ 2006600 h 2476500"/>
                  <a:gd name="connsiteX452" fmla="*/ 666822 w 1757434"/>
                  <a:gd name="connsiteY452" fmla="*/ 2014538 h 2476500"/>
                  <a:gd name="connsiteX453" fmla="*/ 668409 w 1757434"/>
                  <a:gd name="connsiteY453" fmla="*/ 2022475 h 2476500"/>
                  <a:gd name="connsiteX454" fmla="*/ 669997 w 1757434"/>
                  <a:gd name="connsiteY454" fmla="*/ 2027238 h 2476500"/>
                  <a:gd name="connsiteX455" fmla="*/ 671584 w 1757434"/>
                  <a:gd name="connsiteY455" fmla="*/ 2036763 h 2476500"/>
                  <a:gd name="connsiteX456" fmla="*/ 668409 w 1757434"/>
                  <a:gd name="connsiteY456" fmla="*/ 2055813 h 2476500"/>
                  <a:gd name="connsiteX457" fmla="*/ 663647 w 1757434"/>
                  <a:gd name="connsiteY457" fmla="*/ 2062163 h 2476500"/>
                  <a:gd name="connsiteX458" fmla="*/ 665234 w 1757434"/>
                  <a:gd name="connsiteY458" fmla="*/ 2068513 h 2476500"/>
                  <a:gd name="connsiteX459" fmla="*/ 671584 w 1757434"/>
                  <a:gd name="connsiteY459" fmla="*/ 2073275 h 2476500"/>
                  <a:gd name="connsiteX460" fmla="*/ 668409 w 1757434"/>
                  <a:gd name="connsiteY460" fmla="*/ 2098675 h 2476500"/>
                  <a:gd name="connsiteX461" fmla="*/ 663647 w 1757434"/>
                  <a:gd name="connsiteY461" fmla="*/ 2106613 h 2476500"/>
                  <a:gd name="connsiteX462" fmla="*/ 662059 w 1757434"/>
                  <a:gd name="connsiteY462" fmla="*/ 2117725 h 2476500"/>
                  <a:gd name="connsiteX463" fmla="*/ 643009 w 1757434"/>
                  <a:gd name="connsiteY463" fmla="*/ 2136775 h 2476500"/>
                  <a:gd name="connsiteX464" fmla="*/ 633484 w 1757434"/>
                  <a:gd name="connsiteY464" fmla="*/ 2138363 h 2476500"/>
                  <a:gd name="connsiteX465" fmla="*/ 628722 w 1757434"/>
                  <a:gd name="connsiteY465" fmla="*/ 2139950 h 2476500"/>
                  <a:gd name="connsiteX466" fmla="*/ 606497 w 1757434"/>
                  <a:gd name="connsiteY466" fmla="*/ 2141538 h 2476500"/>
                  <a:gd name="connsiteX467" fmla="*/ 600147 w 1757434"/>
                  <a:gd name="connsiteY467" fmla="*/ 2144713 h 2476500"/>
                  <a:gd name="connsiteX468" fmla="*/ 601734 w 1757434"/>
                  <a:gd name="connsiteY468" fmla="*/ 2149475 h 2476500"/>
                  <a:gd name="connsiteX469" fmla="*/ 612847 w 1757434"/>
                  <a:gd name="connsiteY469" fmla="*/ 2154238 h 2476500"/>
                  <a:gd name="connsiteX470" fmla="*/ 614434 w 1757434"/>
                  <a:gd name="connsiteY470" fmla="*/ 2159000 h 2476500"/>
                  <a:gd name="connsiteX471" fmla="*/ 611259 w 1757434"/>
                  <a:gd name="connsiteY471" fmla="*/ 2174875 h 2476500"/>
                  <a:gd name="connsiteX472" fmla="*/ 604909 w 1757434"/>
                  <a:gd name="connsiteY472" fmla="*/ 2181225 h 2476500"/>
                  <a:gd name="connsiteX473" fmla="*/ 600147 w 1757434"/>
                  <a:gd name="connsiteY473" fmla="*/ 2182813 h 2476500"/>
                  <a:gd name="connsiteX474" fmla="*/ 593797 w 1757434"/>
                  <a:gd name="connsiteY474" fmla="*/ 2189163 h 2476500"/>
                  <a:gd name="connsiteX475" fmla="*/ 595384 w 1757434"/>
                  <a:gd name="connsiteY475" fmla="*/ 2198688 h 2476500"/>
                  <a:gd name="connsiteX476" fmla="*/ 603322 w 1757434"/>
                  <a:gd name="connsiteY476" fmla="*/ 2216150 h 2476500"/>
                  <a:gd name="connsiteX477" fmla="*/ 606497 w 1757434"/>
                  <a:gd name="connsiteY477" fmla="*/ 2227263 h 2476500"/>
                  <a:gd name="connsiteX478" fmla="*/ 608084 w 1757434"/>
                  <a:gd name="connsiteY478" fmla="*/ 2232025 h 2476500"/>
                  <a:gd name="connsiteX479" fmla="*/ 608084 w 1757434"/>
                  <a:gd name="connsiteY479" fmla="*/ 2270125 h 2476500"/>
                  <a:gd name="connsiteX480" fmla="*/ 601734 w 1757434"/>
                  <a:gd name="connsiteY480" fmla="*/ 2289175 h 2476500"/>
                  <a:gd name="connsiteX481" fmla="*/ 595384 w 1757434"/>
                  <a:gd name="connsiteY481" fmla="*/ 2300288 h 2476500"/>
                  <a:gd name="connsiteX482" fmla="*/ 592209 w 1757434"/>
                  <a:gd name="connsiteY482" fmla="*/ 2316163 h 2476500"/>
                  <a:gd name="connsiteX483" fmla="*/ 577922 w 1757434"/>
                  <a:gd name="connsiteY483" fmla="*/ 2322513 h 2476500"/>
                  <a:gd name="connsiteX484" fmla="*/ 576334 w 1757434"/>
                  <a:gd name="connsiteY484" fmla="*/ 2308225 h 2476500"/>
                  <a:gd name="connsiteX485" fmla="*/ 568397 w 1757434"/>
                  <a:gd name="connsiteY485" fmla="*/ 2293938 h 2476500"/>
                  <a:gd name="connsiteX486" fmla="*/ 547759 w 1757434"/>
                  <a:gd name="connsiteY486" fmla="*/ 2290763 h 2476500"/>
                  <a:gd name="connsiteX487" fmla="*/ 542997 w 1757434"/>
                  <a:gd name="connsiteY487" fmla="*/ 2271713 h 2476500"/>
                  <a:gd name="connsiteX488" fmla="*/ 538234 w 1757434"/>
                  <a:gd name="connsiteY488" fmla="*/ 2270125 h 2476500"/>
                  <a:gd name="connsiteX489" fmla="*/ 525534 w 1757434"/>
                  <a:gd name="connsiteY489" fmla="*/ 2268538 h 2476500"/>
                  <a:gd name="connsiteX490" fmla="*/ 520772 w 1757434"/>
                  <a:gd name="connsiteY490" fmla="*/ 2265363 h 2476500"/>
                  <a:gd name="connsiteX491" fmla="*/ 514422 w 1757434"/>
                  <a:gd name="connsiteY491" fmla="*/ 2263775 h 2476500"/>
                  <a:gd name="connsiteX492" fmla="*/ 506484 w 1757434"/>
                  <a:gd name="connsiteY492" fmla="*/ 2254250 h 2476500"/>
                  <a:gd name="connsiteX493" fmla="*/ 508072 w 1757434"/>
                  <a:gd name="connsiteY493" fmla="*/ 2241550 h 2476500"/>
                  <a:gd name="connsiteX494" fmla="*/ 509659 w 1757434"/>
                  <a:gd name="connsiteY494" fmla="*/ 2228850 h 2476500"/>
                  <a:gd name="connsiteX495" fmla="*/ 509659 w 1757434"/>
                  <a:gd name="connsiteY495" fmla="*/ 2201863 h 2476500"/>
                  <a:gd name="connsiteX496" fmla="*/ 506484 w 1757434"/>
                  <a:gd name="connsiteY496" fmla="*/ 2197100 h 2476500"/>
                  <a:gd name="connsiteX497" fmla="*/ 503309 w 1757434"/>
                  <a:gd name="connsiteY497" fmla="*/ 2181225 h 2476500"/>
                  <a:gd name="connsiteX498" fmla="*/ 501722 w 1757434"/>
                  <a:gd name="connsiteY498" fmla="*/ 2176463 h 2476500"/>
                  <a:gd name="connsiteX499" fmla="*/ 503309 w 1757434"/>
                  <a:gd name="connsiteY499" fmla="*/ 2171700 h 2476500"/>
                  <a:gd name="connsiteX500" fmla="*/ 519184 w 1757434"/>
                  <a:gd name="connsiteY500" fmla="*/ 2168525 h 2476500"/>
                  <a:gd name="connsiteX501" fmla="*/ 517597 w 1757434"/>
                  <a:gd name="connsiteY501" fmla="*/ 2152650 h 2476500"/>
                  <a:gd name="connsiteX502" fmla="*/ 506484 w 1757434"/>
                  <a:gd name="connsiteY502" fmla="*/ 2154238 h 2476500"/>
                  <a:gd name="connsiteX503" fmla="*/ 501722 w 1757434"/>
                  <a:gd name="connsiteY503" fmla="*/ 2157413 h 2476500"/>
                  <a:gd name="connsiteX504" fmla="*/ 496959 w 1757434"/>
                  <a:gd name="connsiteY504" fmla="*/ 2159000 h 2476500"/>
                  <a:gd name="connsiteX505" fmla="*/ 492197 w 1757434"/>
                  <a:gd name="connsiteY505" fmla="*/ 2168525 h 2476500"/>
                  <a:gd name="connsiteX506" fmla="*/ 496959 w 1757434"/>
                  <a:gd name="connsiteY506" fmla="*/ 2181225 h 2476500"/>
                  <a:gd name="connsiteX507" fmla="*/ 495372 w 1757434"/>
                  <a:gd name="connsiteY507" fmla="*/ 2195513 h 2476500"/>
                  <a:gd name="connsiteX508" fmla="*/ 485847 w 1757434"/>
                  <a:gd name="connsiteY508" fmla="*/ 2184400 h 2476500"/>
                  <a:gd name="connsiteX509" fmla="*/ 481084 w 1757434"/>
                  <a:gd name="connsiteY509" fmla="*/ 2179638 h 2476500"/>
                  <a:gd name="connsiteX510" fmla="*/ 468384 w 1757434"/>
                  <a:gd name="connsiteY510" fmla="*/ 2181225 h 2476500"/>
                  <a:gd name="connsiteX511" fmla="*/ 469972 w 1757434"/>
                  <a:gd name="connsiteY511" fmla="*/ 2185988 h 2476500"/>
                  <a:gd name="connsiteX512" fmla="*/ 476322 w 1757434"/>
                  <a:gd name="connsiteY512" fmla="*/ 2190750 h 2476500"/>
                  <a:gd name="connsiteX513" fmla="*/ 474734 w 1757434"/>
                  <a:gd name="connsiteY513" fmla="*/ 2211388 h 2476500"/>
                  <a:gd name="connsiteX514" fmla="*/ 469972 w 1757434"/>
                  <a:gd name="connsiteY514" fmla="*/ 2214563 h 2476500"/>
                  <a:gd name="connsiteX515" fmla="*/ 474734 w 1757434"/>
                  <a:gd name="connsiteY515" fmla="*/ 2219325 h 2476500"/>
                  <a:gd name="connsiteX516" fmla="*/ 477909 w 1757434"/>
                  <a:gd name="connsiteY516" fmla="*/ 2230438 h 2476500"/>
                  <a:gd name="connsiteX517" fmla="*/ 481084 w 1757434"/>
                  <a:gd name="connsiteY517" fmla="*/ 2236788 h 2476500"/>
                  <a:gd name="connsiteX518" fmla="*/ 477909 w 1757434"/>
                  <a:gd name="connsiteY518" fmla="*/ 2251075 h 2476500"/>
                  <a:gd name="connsiteX519" fmla="*/ 476322 w 1757434"/>
                  <a:gd name="connsiteY519" fmla="*/ 2259013 h 2476500"/>
                  <a:gd name="connsiteX520" fmla="*/ 468384 w 1757434"/>
                  <a:gd name="connsiteY520" fmla="*/ 2257425 h 2476500"/>
                  <a:gd name="connsiteX521" fmla="*/ 460447 w 1757434"/>
                  <a:gd name="connsiteY521" fmla="*/ 2274888 h 2476500"/>
                  <a:gd name="connsiteX522" fmla="*/ 455684 w 1757434"/>
                  <a:gd name="connsiteY522" fmla="*/ 2273300 h 2476500"/>
                  <a:gd name="connsiteX523" fmla="*/ 450922 w 1757434"/>
                  <a:gd name="connsiteY523" fmla="*/ 2282825 h 2476500"/>
                  <a:gd name="connsiteX524" fmla="*/ 449334 w 1757434"/>
                  <a:gd name="connsiteY524" fmla="*/ 2287588 h 2476500"/>
                  <a:gd name="connsiteX525" fmla="*/ 454097 w 1757434"/>
                  <a:gd name="connsiteY525" fmla="*/ 2292350 h 2476500"/>
                  <a:gd name="connsiteX526" fmla="*/ 449334 w 1757434"/>
                  <a:gd name="connsiteY526" fmla="*/ 2290763 h 2476500"/>
                  <a:gd name="connsiteX527" fmla="*/ 444572 w 1757434"/>
                  <a:gd name="connsiteY527" fmla="*/ 2286000 h 2476500"/>
                  <a:gd name="connsiteX528" fmla="*/ 438222 w 1757434"/>
                  <a:gd name="connsiteY528" fmla="*/ 2295525 h 2476500"/>
                  <a:gd name="connsiteX529" fmla="*/ 435047 w 1757434"/>
                  <a:gd name="connsiteY529" fmla="*/ 2308225 h 2476500"/>
                  <a:gd name="connsiteX530" fmla="*/ 428697 w 1757434"/>
                  <a:gd name="connsiteY530" fmla="*/ 2298700 h 2476500"/>
                  <a:gd name="connsiteX531" fmla="*/ 415997 w 1757434"/>
                  <a:gd name="connsiteY531" fmla="*/ 2286000 h 2476500"/>
                  <a:gd name="connsiteX532" fmla="*/ 403297 w 1757434"/>
                  <a:gd name="connsiteY532" fmla="*/ 2284413 h 2476500"/>
                  <a:gd name="connsiteX533" fmla="*/ 409647 w 1757434"/>
                  <a:gd name="connsiteY533" fmla="*/ 2287588 h 2476500"/>
                  <a:gd name="connsiteX534" fmla="*/ 411234 w 1757434"/>
                  <a:gd name="connsiteY534" fmla="*/ 2295525 h 2476500"/>
                  <a:gd name="connsiteX535" fmla="*/ 406472 w 1757434"/>
                  <a:gd name="connsiteY535" fmla="*/ 2308225 h 2476500"/>
                  <a:gd name="connsiteX536" fmla="*/ 393772 w 1757434"/>
                  <a:gd name="connsiteY536" fmla="*/ 2312988 h 2476500"/>
                  <a:gd name="connsiteX537" fmla="*/ 390597 w 1757434"/>
                  <a:gd name="connsiteY537" fmla="*/ 2322513 h 2476500"/>
                  <a:gd name="connsiteX538" fmla="*/ 384247 w 1757434"/>
                  <a:gd name="connsiteY538" fmla="*/ 2328863 h 2476500"/>
                  <a:gd name="connsiteX539" fmla="*/ 381072 w 1757434"/>
                  <a:gd name="connsiteY539" fmla="*/ 2341563 h 2476500"/>
                  <a:gd name="connsiteX540" fmla="*/ 376309 w 1757434"/>
                  <a:gd name="connsiteY540" fmla="*/ 2336800 h 2476500"/>
                  <a:gd name="connsiteX541" fmla="*/ 379484 w 1757434"/>
                  <a:gd name="connsiteY541" fmla="*/ 2341563 h 2476500"/>
                  <a:gd name="connsiteX542" fmla="*/ 382659 w 1757434"/>
                  <a:gd name="connsiteY542" fmla="*/ 2347913 h 2476500"/>
                  <a:gd name="connsiteX543" fmla="*/ 376309 w 1757434"/>
                  <a:gd name="connsiteY543" fmla="*/ 2355850 h 2476500"/>
                  <a:gd name="connsiteX544" fmla="*/ 374722 w 1757434"/>
                  <a:gd name="connsiteY544" fmla="*/ 2360613 h 2476500"/>
                  <a:gd name="connsiteX545" fmla="*/ 355672 w 1757434"/>
                  <a:gd name="connsiteY545" fmla="*/ 2368550 h 2476500"/>
                  <a:gd name="connsiteX546" fmla="*/ 350909 w 1757434"/>
                  <a:gd name="connsiteY546" fmla="*/ 2373313 h 2476500"/>
                  <a:gd name="connsiteX547" fmla="*/ 342972 w 1757434"/>
                  <a:gd name="connsiteY547" fmla="*/ 2376488 h 2476500"/>
                  <a:gd name="connsiteX548" fmla="*/ 336622 w 1757434"/>
                  <a:gd name="connsiteY548" fmla="*/ 2381250 h 2476500"/>
                  <a:gd name="connsiteX549" fmla="*/ 335034 w 1757434"/>
                  <a:gd name="connsiteY549" fmla="*/ 2386013 h 2476500"/>
                  <a:gd name="connsiteX550" fmla="*/ 333447 w 1757434"/>
                  <a:gd name="connsiteY550" fmla="*/ 2393950 h 2476500"/>
                  <a:gd name="connsiteX551" fmla="*/ 327097 w 1757434"/>
                  <a:gd name="connsiteY551" fmla="*/ 2395538 h 2476500"/>
                  <a:gd name="connsiteX552" fmla="*/ 320747 w 1757434"/>
                  <a:gd name="connsiteY552" fmla="*/ 2409825 h 2476500"/>
                  <a:gd name="connsiteX553" fmla="*/ 311222 w 1757434"/>
                  <a:gd name="connsiteY553" fmla="*/ 2411413 h 2476500"/>
                  <a:gd name="connsiteX554" fmla="*/ 312809 w 1757434"/>
                  <a:gd name="connsiteY554" fmla="*/ 2417763 h 2476500"/>
                  <a:gd name="connsiteX555" fmla="*/ 298522 w 1757434"/>
                  <a:gd name="connsiteY555" fmla="*/ 2422525 h 2476500"/>
                  <a:gd name="connsiteX556" fmla="*/ 274709 w 1757434"/>
                  <a:gd name="connsiteY556" fmla="*/ 2433638 h 2476500"/>
                  <a:gd name="connsiteX557" fmla="*/ 269947 w 1757434"/>
                  <a:gd name="connsiteY557" fmla="*/ 2438400 h 2476500"/>
                  <a:gd name="connsiteX558" fmla="*/ 263597 w 1757434"/>
                  <a:gd name="connsiteY558" fmla="*/ 2452688 h 2476500"/>
                  <a:gd name="connsiteX559" fmla="*/ 257247 w 1757434"/>
                  <a:gd name="connsiteY559" fmla="*/ 2459038 h 2476500"/>
                  <a:gd name="connsiteX560" fmla="*/ 241372 w 1757434"/>
                  <a:gd name="connsiteY560" fmla="*/ 2455863 h 2476500"/>
                  <a:gd name="connsiteX561" fmla="*/ 239784 w 1757434"/>
                  <a:gd name="connsiteY561" fmla="*/ 2465388 h 2476500"/>
                  <a:gd name="connsiteX562" fmla="*/ 227084 w 1757434"/>
                  <a:gd name="connsiteY562" fmla="*/ 2468563 h 2476500"/>
                  <a:gd name="connsiteX563" fmla="*/ 184222 w 1757434"/>
                  <a:gd name="connsiteY563" fmla="*/ 2470150 h 2476500"/>
                  <a:gd name="connsiteX564" fmla="*/ 174697 w 1757434"/>
                  <a:gd name="connsiteY564" fmla="*/ 2473325 h 2476500"/>
                  <a:gd name="connsiteX565" fmla="*/ 160409 w 1757434"/>
                  <a:gd name="connsiteY565" fmla="*/ 2476500 h 2476500"/>
                  <a:gd name="connsiteX566" fmla="*/ 158822 w 1757434"/>
                  <a:gd name="connsiteY566" fmla="*/ 2468563 h 2476500"/>
                  <a:gd name="connsiteX567" fmla="*/ 149297 w 1757434"/>
                  <a:gd name="connsiteY567" fmla="*/ 2465388 h 2476500"/>
                  <a:gd name="connsiteX568" fmla="*/ 138184 w 1757434"/>
                  <a:gd name="connsiteY568" fmla="*/ 2459038 h 2476500"/>
                  <a:gd name="connsiteX569" fmla="*/ 128659 w 1757434"/>
                  <a:gd name="connsiteY569" fmla="*/ 2455863 h 2476500"/>
                  <a:gd name="connsiteX570" fmla="*/ 127072 w 1757434"/>
                  <a:gd name="connsiteY570" fmla="*/ 2463800 h 2476500"/>
                  <a:gd name="connsiteX571" fmla="*/ 120722 w 1757434"/>
                  <a:gd name="connsiteY571" fmla="*/ 2465388 h 2476500"/>
                  <a:gd name="connsiteX572" fmla="*/ 114372 w 1757434"/>
                  <a:gd name="connsiteY572" fmla="*/ 2463800 h 2476500"/>
                  <a:gd name="connsiteX573" fmla="*/ 112784 w 1757434"/>
                  <a:gd name="connsiteY573" fmla="*/ 2459038 h 2476500"/>
                  <a:gd name="connsiteX574" fmla="*/ 111197 w 1757434"/>
                  <a:gd name="connsiteY574" fmla="*/ 2452688 h 2476500"/>
                  <a:gd name="connsiteX575" fmla="*/ 114372 w 1757434"/>
                  <a:gd name="connsiteY575" fmla="*/ 2441575 h 2476500"/>
                  <a:gd name="connsiteX576" fmla="*/ 120722 w 1757434"/>
                  <a:gd name="connsiteY576" fmla="*/ 2438400 h 2476500"/>
                  <a:gd name="connsiteX577" fmla="*/ 136597 w 1757434"/>
                  <a:gd name="connsiteY577" fmla="*/ 2430463 h 2476500"/>
                  <a:gd name="connsiteX578" fmla="*/ 135009 w 1757434"/>
                  <a:gd name="connsiteY578" fmla="*/ 2424113 h 2476500"/>
                  <a:gd name="connsiteX579" fmla="*/ 106434 w 1757434"/>
                  <a:gd name="connsiteY579" fmla="*/ 2425700 h 2476500"/>
                  <a:gd name="connsiteX580" fmla="*/ 96909 w 1757434"/>
                  <a:gd name="connsiteY580" fmla="*/ 2430463 h 2476500"/>
                  <a:gd name="connsiteX581" fmla="*/ 87384 w 1757434"/>
                  <a:gd name="connsiteY581" fmla="*/ 2422525 h 2476500"/>
                  <a:gd name="connsiteX582" fmla="*/ 82622 w 1757434"/>
                  <a:gd name="connsiteY582" fmla="*/ 2419350 h 2476500"/>
                  <a:gd name="connsiteX583" fmla="*/ 79447 w 1757434"/>
                  <a:gd name="connsiteY583" fmla="*/ 2414588 h 2476500"/>
                  <a:gd name="connsiteX584" fmla="*/ 28647 w 1757434"/>
                  <a:gd name="connsiteY584" fmla="*/ 2379663 h 2476500"/>
                  <a:gd name="connsiteX585" fmla="*/ 30234 w 1757434"/>
                  <a:gd name="connsiteY585" fmla="*/ 2360613 h 2476500"/>
                  <a:gd name="connsiteX586" fmla="*/ 23884 w 1757434"/>
                  <a:gd name="connsiteY586" fmla="*/ 2354263 h 2476500"/>
                  <a:gd name="connsiteX587" fmla="*/ 20709 w 1757434"/>
                  <a:gd name="connsiteY587" fmla="*/ 2347913 h 2476500"/>
                  <a:gd name="connsiteX588" fmla="*/ 15947 w 1757434"/>
                  <a:gd name="connsiteY588" fmla="*/ 2341563 h 2476500"/>
                  <a:gd name="connsiteX589" fmla="*/ 17534 w 1757434"/>
                  <a:gd name="connsiteY589" fmla="*/ 2328863 h 2476500"/>
                  <a:gd name="connsiteX590" fmla="*/ 19122 w 1757434"/>
                  <a:gd name="connsiteY590" fmla="*/ 2306638 h 2476500"/>
                  <a:gd name="connsiteX591" fmla="*/ 23884 w 1757434"/>
                  <a:gd name="connsiteY591" fmla="*/ 2300288 h 2476500"/>
                  <a:gd name="connsiteX592" fmla="*/ 25472 w 1757434"/>
                  <a:gd name="connsiteY592" fmla="*/ 2295525 h 2476500"/>
                  <a:gd name="connsiteX593" fmla="*/ 41347 w 1757434"/>
                  <a:gd name="connsiteY593" fmla="*/ 2306638 h 2476500"/>
                  <a:gd name="connsiteX594" fmla="*/ 52459 w 1757434"/>
                  <a:gd name="connsiteY594" fmla="*/ 2308225 h 2476500"/>
                  <a:gd name="connsiteX595" fmla="*/ 57222 w 1757434"/>
                  <a:gd name="connsiteY595" fmla="*/ 2312988 h 2476500"/>
                  <a:gd name="connsiteX596" fmla="*/ 71509 w 1757434"/>
                  <a:gd name="connsiteY596" fmla="*/ 2320925 h 2476500"/>
                  <a:gd name="connsiteX597" fmla="*/ 81034 w 1757434"/>
                  <a:gd name="connsiteY597" fmla="*/ 2328863 h 2476500"/>
                  <a:gd name="connsiteX598" fmla="*/ 85797 w 1757434"/>
                  <a:gd name="connsiteY598" fmla="*/ 2332038 h 2476500"/>
                  <a:gd name="connsiteX599" fmla="*/ 92147 w 1757434"/>
                  <a:gd name="connsiteY599" fmla="*/ 2330450 h 2476500"/>
                  <a:gd name="connsiteX600" fmla="*/ 85797 w 1757434"/>
                  <a:gd name="connsiteY600" fmla="*/ 2327275 h 2476500"/>
                  <a:gd name="connsiteX601" fmla="*/ 81034 w 1757434"/>
                  <a:gd name="connsiteY601" fmla="*/ 2324100 h 2476500"/>
                  <a:gd name="connsiteX602" fmla="*/ 77859 w 1757434"/>
                  <a:gd name="connsiteY602" fmla="*/ 2319338 h 2476500"/>
                  <a:gd name="connsiteX603" fmla="*/ 73097 w 1757434"/>
                  <a:gd name="connsiteY603" fmla="*/ 2308225 h 2476500"/>
                  <a:gd name="connsiteX604" fmla="*/ 82622 w 1757434"/>
                  <a:gd name="connsiteY604" fmla="*/ 2303463 h 2476500"/>
                  <a:gd name="connsiteX605" fmla="*/ 87384 w 1757434"/>
                  <a:gd name="connsiteY605" fmla="*/ 2301875 h 2476500"/>
                  <a:gd name="connsiteX606" fmla="*/ 92147 w 1757434"/>
                  <a:gd name="connsiteY606" fmla="*/ 2297113 h 2476500"/>
                  <a:gd name="connsiteX607" fmla="*/ 101672 w 1757434"/>
                  <a:gd name="connsiteY607" fmla="*/ 2293938 h 2476500"/>
                  <a:gd name="connsiteX608" fmla="*/ 125484 w 1757434"/>
                  <a:gd name="connsiteY608" fmla="*/ 2289175 h 2476500"/>
                  <a:gd name="connsiteX609" fmla="*/ 127072 w 1757434"/>
                  <a:gd name="connsiteY609" fmla="*/ 2284413 h 2476500"/>
                  <a:gd name="connsiteX610" fmla="*/ 100084 w 1757434"/>
                  <a:gd name="connsiteY610" fmla="*/ 2292350 h 2476500"/>
                  <a:gd name="connsiteX611" fmla="*/ 95322 w 1757434"/>
                  <a:gd name="connsiteY611" fmla="*/ 2295525 h 2476500"/>
                  <a:gd name="connsiteX612" fmla="*/ 88972 w 1757434"/>
                  <a:gd name="connsiteY612" fmla="*/ 2297113 h 2476500"/>
                  <a:gd name="connsiteX613" fmla="*/ 84209 w 1757434"/>
                  <a:gd name="connsiteY613" fmla="*/ 2298700 h 2476500"/>
                  <a:gd name="connsiteX614" fmla="*/ 68334 w 1757434"/>
                  <a:gd name="connsiteY614" fmla="*/ 2297113 h 2476500"/>
                  <a:gd name="connsiteX615" fmla="*/ 66747 w 1757434"/>
                  <a:gd name="connsiteY615" fmla="*/ 2292350 h 2476500"/>
                  <a:gd name="connsiteX616" fmla="*/ 61984 w 1757434"/>
                  <a:gd name="connsiteY616" fmla="*/ 2287588 h 2476500"/>
                  <a:gd name="connsiteX617" fmla="*/ 58809 w 1757434"/>
                  <a:gd name="connsiteY617" fmla="*/ 2266950 h 2476500"/>
                  <a:gd name="connsiteX618" fmla="*/ 69922 w 1757434"/>
                  <a:gd name="connsiteY618" fmla="*/ 2270125 h 2476500"/>
                  <a:gd name="connsiteX619" fmla="*/ 77859 w 1757434"/>
                  <a:gd name="connsiteY619" fmla="*/ 2273300 h 2476500"/>
                  <a:gd name="connsiteX620" fmla="*/ 79447 w 1757434"/>
                  <a:gd name="connsiteY620" fmla="*/ 2268538 h 2476500"/>
                  <a:gd name="connsiteX621" fmla="*/ 81034 w 1757434"/>
                  <a:gd name="connsiteY621" fmla="*/ 2259013 h 2476500"/>
                  <a:gd name="connsiteX622" fmla="*/ 93734 w 1757434"/>
                  <a:gd name="connsiteY622" fmla="*/ 2247900 h 2476500"/>
                  <a:gd name="connsiteX623" fmla="*/ 100084 w 1757434"/>
                  <a:gd name="connsiteY623" fmla="*/ 2244725 h 2476500"/>
                  <a:gd name="connsiteX624" fmla="*/ 104847 w 1757434"/>
                  <a:gd name="connsiteY624" fmla="*/ 2239963 h 2476500"/>
                  <a:gd name="connsiteX625" fmla="*/ 109609 w 1757434"/>
                  <a:gd name="connsiteY625" fmla="*/ 2236788 h 2476500"/>
                  <a:gd name="connsiteX626" fmla="*/ 85797 w 1757434"/>
                  <a:gd name="connsiteY626" fmla="*/ 2235200 h 2476500"/>
                  <a:gd name="connsiteX627" fmla="*/ 84209 w 1757434"/>
                  <a:gd name="connsiteY627" fmla="*/ 2239963 h 2476500"/>
                  <a:gd name="connsiteX628" fmla="*/ 71509 w 1757434"/>
                  <a:gd name="connsiteY628" fmla="*/ 2239963 h 2476500"/>
                  <a:gd name="connsiteX629" fmla="*/ 69922 w 1757434"/>
                  <a:gd name="connsiteY629" fmla="*/ 2235200 h 2476500"/>
                  <a:gd name="connsiteX630" fmla="*/ 77859 w 1757434"/>
                  <a:gd name="connsiteY630" fmla="*/ 2220913 h 2476500"/>
                  <a:gd name="connsiteX631" fmla="*/ 87384 w 1757434"/>
                  <a:gd name="connsiteY631" fmla="*/ 2214563 h 2476500"/>
                  <a:gd name="connsiteX632" fmla="*/ 98497 w 1757434"/>
                  <a:gd name="connsiteY632" fmla="*/ 2208213 h 2476500"/>
                  <a:gd name="connsiteX633" fmla="*/ 106434 w 1757434"/>
                  <a:gd name="connsiteY633" fmla="*/ 2198688 h 2476500"/>
                  <a:gd name="connsiteX634" fmla="*/ 108022 w 1757434"/>
                  <a:gd name="connsiteY634" fmla="*/ 2193925 h 2476500"/>
                  <a:gd name="connsiteX635" fmla="*/ 95322 w 1757434"/>
                  <a:gd name="connsiteY635" fmla="*/ 2205038 h 2476500"/>
                  <a:gd name="connsiteX636" fmla="*/ 87384 w 1757434"/>
                  <a:gd name="connsiteY636" fmla="*/ 2208213 h 2476500"/>
                  <a:gd name="connsiteX637" fmla="*/ 74684 w 1757434"/>
                  <a:gd name="connsiteY637" fmla="*/ 2206625 h 2476500"/>
                  <a:gd name="connsiteX638" fmla="*/ 63572 w 1757434"/>
                  <a:gd name="connsiteY638" fmla="*/ 2206625 h 2476500"/>
                  <a:gd name="connsiteX639" fmla="*/ 61984 w 1757434"/>
                  <a:gd name="connsiteY639" fmla="*/ 2212975 h 2476500"/>
                  <a:gd name="connsiteX640" fmla="*/ 54047 w 1757434"/>
                  <a:gd name="connsiteY640" fmla="*/ 2214563 h 2476500"/>
                  <a:gd name="connsiteX641" fmla="*/ 49284 w 1757434"/>
                  <a:gd name="connsiteY641" fmla="*/ 2217738 h 2476500"/>
                  <a:gd name="connsiteX642" fmla="*/ 44522 w 1757434"/>
                  <a:gd name="connsiteY642" fmla="*/ 2220913 h 2476500"/>
                  <a:gd name="connsiteX643" fmla="*/ 39759 w 1757434"/>
                  <a:gd name="connsiteY643" fmla="*/ 2225675 h 2476500"/>
                  <a:gd name="connsiteX644" fmla="*/ 31822 w 1757434"/>
                  <a:gd name="connsiteY644" fmla="*/ 2235200 h 2476500"/>
                  <a:gd name="connsiteX645" fmla="*/ 27059 w 1757434"/>
                  <a:gd name="connsiteY645" fmla="*/ 2232025 h 2476500"/>
                  <a:gd name="connsiteX646" fmla="*/ 20709 w 1757434"/>
                  <a:gd name="connsiteY646" fmla="*/ 2233613 h 2476500"/>
                  <a:gd name="connsiteX647" fmla="*/ 12772 w 1757434"/>
                  <a:gd name="connsiteY647" fmla="*/ 2227263 h 2476500"/>
                  <a:gd name="connsiteX648" fmla="*/ 6422 w 1757434"/>
                  <a:gd name="connsiteY648" fmla="*/ 2236788 h 2476500"/>
                  <a:gd name="connsiteX649" fmla="*/ 4834 w 1757434"/>
                  <a:gd name="connsiteY649" fmla="*/ 2230438 h 2476500"/>
                  <a:gd name="connsiteX650" fmla="*/ 8009 w 1757434"/>
                  <a:gd name="connsiteY650" fmla="*/ 2203450 h 2476500"/>
                  <a:gd name="connsiteX651" fmla="*/ 14359 w 1757434"/>
                  <a:gd name="connsiteY651" fmla="*/ 2201863 h 2476500"/>
                  <a:gd name="connsiteX652" fmla="*/ 15947 w 1757434"/>
                  <a:gd name="connsiteY652" fmla="*/ 2192338 h 2476500"/>
                  <a:gd name="connsiteX653" fmla="*/ 17534 w 1757434"/>
                  <a:gd name="connsiteY653" fmla="*/ 2179638 h 2476500"/>
                  <a:gd name="connsiteX654" fmla="*/ 30234 w 1757434"/>
                  <a:gd name="connsiteY654" fmla="*/ 2185988 h 2476500"/>
                  <a:gd name="connsiteX655" fmla="*/ 34997 w 1757434"/>
                  <a:gd name="connsiteY655" fmla="*/ 2176463 h 2476500"/>
                  <a:gd name="connsiteX656" fmla="*/ 38172 w 1757434"/>
                  <a:gd name="connsiteY656" fmla="*/ 2171700 h 2476500"/>
                  <a:gd name="connsiteX657" fmla="*/ 49284 w 1757434"/>
                  <a:gd name="connsiteY657" fmla="*/ 2174875 h 2476500"/>
                  <a:gd name="connsiteX658" fmla="*/ 57222 w 1757434"/>
                  <a:gd name="connsiteY658" fmla="*/ 2171700 h 2476500"/>
                  <a:gd name="connsiteX659" fmla="*/ 66747 w 1757434"/>
                  <a:gd name="connsiteY659" fmla="*/ 2163763 h 2476500"/>
                  <a:gd name="connsiteX660" fmla="*/ 68334 w 1757434"/>
                  <a:gd name="connsiteY660" fmla="*/ 2168525 h 2476500"/>
                  <a:gd name="connsiteX661" fmla="*/ 79447 w 1757434"/>
                  <a:gd name="connsiteY661" fmla="*/ 2160588 h 2476500"/>
                  <a:gd name="connsiteX662" fmla="*/ 82622 w 1757434"/>
                  <a:gd name="connsiteY662" fmla="*/ 2155825 h 2476500"/>
                  <a:gd name="connsiteX663" fmla="*/ 88972 w 1757434"/>
                  <a:gd name="connsiteY663" fmla="*/ 2154238 h 2476500"/>
                  <a:gd name="connsiteX664" fmla="*/ 95322 w 1757434"/>
                  <a:gd name="connsiteY664" fmla="*/ 2151063 h 2476500"/>
                  <a:gd name="connsiteX665" fmla="*/ 100084 w 1757434"/>
                  <a:gd name="connsiteY665" fmla="*/ 2147888 h 2476500"/>
                  <a:gd name="connsiteX666" fmla="*/ 76272 w 1757434"/>
                  <a:gd name="connsiteY666" fmla="*/ 2149475 h 2476500"/>
                  <a:gd name="connsiteX667" fmla="*/ 61984 w 1757434"/>
                  <a:gd name="connsiteY667" fmla="*/ 2147888 h 2476500"/>
                  <a:gd name="connsiteX668" fmla="*/ 52459 w 1757434"/>
                  <a:gd name="connsiteY668" fmla="*/ 2149475 h 2476500"/>
                  <a:gd name="connsiteX669" fmla="*/ 55634 w 1757434"/>
                  <a:gd name="connsiteY669" fmla="*/ 2139950 h 2476500"/>
                  <a:gd name="connsiteX670" fmla="*/ 58809 w 1757434"/>
                  <a:gd name="connsiteY670" fmla="*/ 2133600 h 2476500"/>
                  <a:gd name="connsiteX671" fmla="*/ 65159 w 1757434"/>
                  <a:gd name="connsiteY671" fmla="*/ 2116138 h 2476500"/>
                  <a:gd name="connsiteX672" fmla="*/ 71509 w 1757434"/>
                  <a:gd name="connsiteY672" fmla="*/ 2109788 h 2476500"/>
                  <a:gd name="connsiteX673" fmla="*/ 81034 w 1757434"/>
                  <a:gd name="connsiteY673" fmla="*/ 2101850 h 2476500"/>
                  <a:gd name="connsiteX674" fmla="*/ 82622 w 1757434"/>
                  <a:gd name="connsiteY674" fmla="*/ 2097088 h 2476500"/>
                  <a:gd name="connsiteX675" fmla="*/ 84209 w 1757434"/>
                  <a:gd name="connsiteY675" fmla="*/ 2090738 h 2476500"/>
                  <a:gd name="connsiteX676" fmla="*/ 90559 w 1757434"/>
                  <a:gd name="connsiteY676" fmla="*/ 2087563 h 2476500"/>
                  <a:gd name="connsiteX677" fmla="*/ 96909 w 1757434"/>
                  <a:gd name="connsiteY677" fmla="*/ 2078038 h 2476500"/>
                  <a:gd name="connsiteX678" fmla="*/ 98497 w 1757434"/>
                  <a:gd name="connsiteY678" fmla="*/ 2071688 h 2476500"/>
                  <a:gd name="connsiteX679" fmla="*/ 103259 w 1757434"/>
                  <a:gd name="connsiteY679" fmla="*/ 2062163 h 2476500"/>
                  <a:gd name="connsiteX680" fmla="*/ 108022 w 1757434"/>
                  <a:gd name="connsiteY680" fmla="*/ 2058988 h 2476500"/>
                  <a:gd name="connsiteX681" fmla="*/ 115959 w 1757434"/>
                  <a:gd name="connsiteY681" fmla="*/ 2052638 h 2476500"/>
                  <a:gd name="connsiteX682" fmla="*/ 125484 w 1757434"/>
                  <a:gd name="connsiteY682" fmla="*/ 2055813 h 2476500"/>
                  <a:gd name="connsiteX683" fmla="*/ 127072 w 1757434"/>
                  <a:gd name="connsiteY683" fmla="*/ 2060575 h 2476500"/>
                  <a:gd name="connsiteX684" fmla="*/ 130247 w 1757434"/>
                  <a:gd name="connsiteY684" fmla="*/ 2089150 h 2476500"/>
                  <a:gd name="connsiteX685" fmla="*/ 131834 w 1757434"/>
                  <a:gd name="connsiteY685" fmla="*/ 2098675 h 2476500"/>
                  <a:gd name="connsiteX686" fmla="*/ 135009 w 1757434"/>
                  <a:gd name="connsiteY686" fmla="*/ 2051050 h 2476500"/>
                  <a:gd name="connsiteX687" fmla="*/ 139772 w 1757434"/>
                  <a:gd name="connsiteY687" fmla="*/ 2047875 h 2476500"/>
                  <a:gd name="connsiteX688" fmla="*/ 150884 w 1757434"/>
                  <a:gd name="connsiteY688" fmla="*/ 2036763 h 2476500"/>
                  <a:gd name="connsiteX689" fmla="*/ 155647 w 1757434"/>
                  <a:gd name="connsiteY689" fmla="*/ 2035175 h 2476500"/>
                  <a:gd name="connsiteX690" fmla="*/ 160409 w 1757434"/>
                  <a:gd name="connsiteY690" fmla="*/ 2032000 h 2476500"/>
                  <a:gd name="connsiteX691" fmla="*/ 171522 w 1757434"/>
                  <a:gd name="connsiteY691" fmla="*/ 2028825 h 2476500"/>
                  <a:gd name="connsiteX692" fmla="*/ 174697 w 1757434"/>
                  <a:gd name="connsiteY692" fmla="*/ 2020888 h 2476500"/>
                  <a:gd name="connsiteX693" fmla="*/ 161997 w 1757434"/>
                  <a:gd name="connsiteY693" fmla="*/ 2022475 h 2476500"/>
                  <a:gd name="connsiteX694" fmla="*/ 154059 w 1757434"/>
                  <a:gd name="connsiteY694" fmla="*/ 2025650 h 2476500"/>
                  <a:gd name="connsiteX695" fmla="*/ 146122 w 1757434"/>
                  <a:gd name="connsiteY695" fmla="*/ 2027238 h 2476500"/>
                  <a:gd name="connsiteX696" fmla="*/ 139772 w 1757434"/>
                  <a:gd name="connsiteY696" fmla="*/ 2028825 h 2476500"/>
                  <a:gd name="connsiteX697" fmla="*/ 133422 w 1757434"/>
                  <a:gd name="connsiteY697" fmla="*/ 2032000 h 2476500"/>
                  <a:gd name="connsiteX698" fmla="*/ 119134 w 1757434"/>
                  <a:gd name="connsiteY698" fmla="*/ 2035175 h 2476500"/>
                  <a:gd name="connsiteX699" fmla="*/ 96909 w 1757434"/>
                  <a:gd name="connsiteY699" fmla="*/ 2043113 h 2476500"/>
                  <a:gd name="connsiteX700" fmla="*/ 92147 w 1757434"/>
                  <a:gd name="connsiteY700" fmla="*/ 2054225 h 2476500"/>
                  <a:gd name="connsiteX701" fmla="*/ 87384 w 1757434"/>
                  <a:gd name="connsiteY701" fmla="*/ 2058988 h 2476500"/>
                  <a:gd name="connsiteX702" fmla="*/ 82622 w 1757434"/>
                  <a:gd name="connsiteY702" fmla="*/ 2073275 h 2476500"/>
                  <a:gd name="connsiteX703" fmla="*/ 79447 w 1757434"/>
                  <a:gd name="connsiteY703" fmla="*/ 2079625 h 2476500"/>
                  <a:gd name="connsiteX704" fmla="*/ 76272 w 1757434"/>
                  <a:gd name="connsiteY704" fmla="*/ 2087563 h 2476500"/>
                  <a:gd name="connsiteX705" fmla="*/ 46109 w 1757434"/>
                  <a:gd name="connsiteY705" fmla="*/ 2089150 h 2476500"/>
                  <a:gd name="connsiteX706" fmla="*/ 44522 w 1757434"/>
                  <a:gd name="connsiteY706" fmla="*/ 2095500 h 2476500"/>
                  <a:gd name="connsiteX707" fmla="*/ 38172 w 1757434"/>
                  <a:gd name="connsiteY707" fmla="*/ 2092325 h 2476500"/>
                  <a:gd name="connsiteX708" fmla="*/ 46109 w 1757434"/>
                  <a:gd name="connsiteY708" fmla="*/ 2073275 h 2476500"/>
                  <a:gd name="connsiteX709" fmla="*/ 47697 w 1757434"/>
                  <a:gd name="connsiteY709" fmla="*/ 2068513 h 2476500"/>
                  <a:gd name="connsiteX710" fmla="*/ 49284 w 1757434"/>
                  <a:gd name="connsiteY710" fmla="*/ 2054225 h 2476500"/>
                  <a:gd name="connsiteX711" fmla="*/ 55634 w 1757434"/>
                  <a:gd name="connsiteY711" fmla="*/ 2047875 h 2476500"/>
                  <a:gd name="connsiteX712" fmla="*/ 58809 w 1757434"/>
                  <a:gd name="connsiteY712" fmla="*/ 2043113 h 2476500"/>
                  <a:gd name="connsiteX713" fmla="*/ 44522 w 1757434"/>
                  <a:gd name="connsiteY713" fmla="*/ 2054225 h 2476500"/>
                  <a:gd name="connsiteX714" fmla="*/ 27059 w 1757434"/>
                  <a:gd name="connsiteY714" fmla="*/ 2073275 h 2476500"/>
                  <a:gd name="connsiteX715" fmla="*/ 22297 w 1757434"/>
                  <a:gd name="connsiteY715" fmla="*/ 2071688 h 2476500"/>
                  <a:gd name="connsiteX716" fmla="*/ 20709 w 1757434"/>
                  <a:gd name="connsiteY716" fmla="*/ 2065338 h 2476500"/>
                  <a:gd name="connsiteX717" fmla="*/ 25472 w 1757434"/>
                  <a:gd name="connsiteY717" fmla="*/ 2052638 h 2476500"/>
                  <a:gd name="connsiteX718" fmla="*/ 19122 w 1757434"/>
                  <a:gd name="connsiteY718" fmla="*/ 2049463 h 2476500"/>
                  <a:gd name="connsiteX719" fmla="*/ 12772 w 1757434"/>
                  <a:gd name="connsiteY719" fmla="*/ 2047875 h 2476500"/>
                  <a:gd name="connsiteX720" fmla="*/ 15947 w 1757434"/>
                  <a:gd name="connsiteY720" fmla="*/ 2043113 h 2476500"/>
                  <a:gd name="connsiteX721" fmla="*/ 14359 w 1757434"/>
                  <a:gd name="connsiteY721" fmla="*/ 2036763 h 2476500"/>
                  <a:gd name="connsiteX722" fmla="*/ 30234 w 1757434"/>
                  <a:gd name="connsiteY722" fmla="*/ 2025650 h 2476500"/>
                  <a:gd name="connsiteX723" fmla="*/ 39759 w 1757434"/>
                  <a:gd name="connsiteY723" fmla="*/ 2030413 h 2476500"/>
                  <a:gd name="connsiteX724" fmla="*/ 42934 w 1757434"/>
                  <a:gd name="connsiteY724" fmla="*/ 2035175 h 2476500"/>
                  <a:gd name="connsiteX725" fmla="*/ 50872 w 1757434"/>
                  <a:gd name="connsiteY725" fmla="*/ 2036763 h 2476500"/>
                  <a:gd name="connsiteX726" fmla="*/ 58809 w 1757434"/>
                  <a:gd name="connsiteY726" fmla="*/ 2030413 h 2476500"/>
                  <a:gd name="connsiteX727" fmla="*/ 58809 w 1757434"/>
                  <a:gd name="connsiteY727" fmla="*/ 2014538 h 2476500"/>
                  <a:gd name="connsiteX728" fmla="*/ 50872 w 1757434"/>
                  <a:gd name="connsiteY728" fmla="*/ 2016125 h 2476500"/>
                  <a:gd name="connsiteX729" fmla="*/ 46109 w 1757434"/>
                  <a:gd name="connsiteY729" fmla="*/ 2022475 h 2476500"/>
                  <a:gd name="connsiteX730" fmla="*/ 34997 w 1757434"/>
                  <a:gd name="connsiteY730" fmla="*/ 2020888 h 2476500"/>
                  <a:gd name="connsiteX731" fmla="*/ 31822 w 1757434"/>
                  <a:gd name="connsiteY731" fmla="*/ 2014538 h 2476500"/>
                  <a:gd name="connsiteX732" fmla="*/ 49284 w 1757434"/>
                  <a:gd name="connsiteY732" fmla="*/ 1997075 h 2476500"/>
                  <a:gd name="connsiteX733" fmla="*/ 60397 w 1757434"/>
                  <a:gd name="connsiteY733" fmla="*/ 1992313 h 2476500"/>
                  <a:gd name="connsiteX734" fmla="*/ 50872 w 1757434"/>
                  <a:gd name="connsiteY734" fmla="*/ 1984375 h 2476500"/>
                  <a:gd name="connsiteX735" fmla="*/ 38172 w 1757434"/>
                  <a:gd name="connsiteY735" fmla="*/ 1985963 h 2476500"/>
                  <a:gd name="connsiteX736" fmla="*/ 41347 w 1757434"/>
                  <a:gd name="connsiteY736" fmla="*/ 1979613 h 2476500"/>
                  <a:gd name="connsiteX737" fmla="*/ 46109 w 1757434"/>
                  <a:gd name="connsiteY737" fmla="*/ 1968500 h 2476500"/>
                  <a:gd name="connsiteX738" fmla="*/ 38172 w 1757434"/>
                  <a:gd name="connsiteY738" fmla="*/ 1966913 h 2476500"/>
                  <a:gd name="connsiteX739" fmla="*/ 31822 w 1757434"/>
                  <a:gd name="connsiteY739" fmla="*/ 1968500 h 2476500"/>
                  <a:gd name="connsiteX740" fmla="*/ 33409 w 1757434"/>
                  <a:gd name="connsiteY740" fmla="*/ 1963738 h 2476500"/>
                  <a:gd name="connsiteX741" fmla="*/ 42934 w 1757434"/>
                  <a:gd name="connsiteY741" fmla="*/ 1952625 h 2476500"/>
                  <a:gd name="connsiteX742" fmla="*/ 30234 w 1757434"/>
                  <a:gd name="connsiteY742" fmla="*/ 1954213 h 2476500"/>
                  <a:gd name="connsiteX743" fmla="*/ 8009 w 1757434"/>
                  <a:gd name="connsiteY743" fmla="*/ 1958975 h 2476500"/>
                  <a:gd name="connsiteX744" fmla="*/ 4834 w 1757434"/>
                  <a:gd name="connsiteY744" fmla="*/ 1954213 h 2476500"/>
                  <a:gd name="connsiteX745" fmla="*/ 8009 w 1757434"/>
                  <a:gd name="connsiteY745" fmla="*/ 1920875 h 2476500"/>
                  <a:gd name="connsiteX746" fmla="*/ 11184 w 1757434"/>
                  <a:gd name="connsiteY746" fmla="*/ 1916113 h 2476500"/>
                  <a:gd name="connsiteX747" fmla="*/ 15947 w 1757434"/>
                  <a:gd name="connsiteY747" fmla="*/ 1914525 h 2476500"/>
                  <a:gd name="connsiteX748" fmla="*/ 20709 w 1757434"/>
                  <a:gd name="connsiteY748" fmla="*/ 1916113 h 2476500"/>
                  <a:gd name="connsiteX749" fmla="*/ 25472 w 1757434"/>
                  <a:gd name="connsiteY749" fmla="*/ 1919288 h 2476500"/>
                  <a:gd name="connsiteX750" fmla="*/ 34997 w 1757434"/>
                  <a:gd name="connsiteY750" fmla="*/ 1917700 h 2476500"/>
                  <a:gd name="connsiteX751" fmla="*/ 39759 w 1757434"/>
                  <a:gd name="connsiteY751" fmla="*/ 1914525 h 2476500"/>
                  <a:gd name="connsiteX752" fmla="*/ 49284 w 1757434"/>
                  <a:gd name="connsiteY752" fmla="*/ 1912938 h 2476500"/>
                  <a:gd name="connsiteX753" fmla="*/ 54047 w 1757434"/>
                  <a:gd name="connsiteY753" fmla="*/ 1911747 h 2476500"/>
                  <a:gd name="connsiteX754" fmla="*/ 58077 w 1757434"/>
                  <a:gd name="connsiteY754" fmla="*/ 1911839 h 2476500"/>
                  <a:gd name="connsiteX755" fmla="*/ 63572 w 1757434"/>
                  <a:gd name="connsiteY755" fmla="*/ 1912938 h 2476500"/>
                  <a:gd name="connsiteX756" fmla="*/ 66308 w 1757434"/>
                  <a:gd name="connsiteY756" fmla="*/ 1912026 h 2476500"/>
                  <a:gd name="connsiteX757" fmla="*/ 69847 w 1757434"/>
                  <a:gd name="connsiteY757" fmla="*/ 1912106 h 2476500"/>
                  <a:gd name="connsiteX758" fmla="*/ 74684 w 1757434"/>
                  <a:gd name="connsiteY758" fmla="*/ 1914525 h 2476500"/>
                  <a:gd name="connsiteX759" fmla="*/ 76272 w 1757434"/>
                  <a:gd name="connsiteY759" fmla="*/ 1922463 h 2476500"/>
                  <a:gd name="connsiteX760" fmla="*/ 81034 w 1757434"/>
                  <a:gd name="connsiteY760" fmla="*/ 1919288 h 2476500"/>
                  <a:gd name="connsiteX761" fmla="*/ 82622 w 1757434"/>
                  <a:gd name="connsiteY761" fmla="*/ 1914525 h 2476500"/>
                  <a:gd name="connsiteX762" fmla="*/ 84703 w 1757434"/>
                  <a:gd name="connsiteY762" fmla="*/ 1912444 h 2476500"/>
                  <a:gd name="connsiteX763" fmla="*/ 91336 w 1757434"/>
                  <a:gd name="connsiteY763" fmla="*/ 1912595 h 2476500"/>
                  <a:gd name="connsiteX764" fmla="*/ 90357 w 1757434"/>
                  <a:gd name="connsiteY764" fmla="*/ 1913487 h 2476500"/>
                  <a:gd name="connsiteX765" fmla="*/ 95322 w 1757434"/>
                  <a:gd name="connsiteY765" fmla="*/ 1920875 h 2476500"/>
                  <a:gd name="connsiteX766" fmla="*/ 104847 w 1757434"/>
                  <a:gd name="connsiteY766" fmla="*/ 1922463 h 2476500"/>
                  <a:gd name="connsiteX767" fmla="*/ 109609 w 1757434"/>
                  <a:gd name="connsiteY767" fmla="*/ 1925638 h 2476500"/>
                  <a:gd name="connsiteX768" fmla="*/ 114372 w 1757434"/>
                  <a:gd name="connsiteY768" fmla="*/ 1931988 h 2476500"/>
                  <a:gd name="connsiteX769" fmla="*/ 119134 w 1757434"/>
                  <a:gd name="connsiteY769" fmla="*/ 1930400 h 2476500"/>
                  <a:gd name="connsiteX770" fmla="*/ 136597 w 1757434"/>
                  <a:gd name="connsiteY770" fmla="*/ 1925638 h 2476500"/>
                  <a:gd name="connsiteX771" fmla="*/ 141359 w 1757434"/>
                  <a:gd name="connsiteY771" fmla="*/ 1919288 h 2476500"/>
                  <a:gd name="connsiteX772" fmla="*/ 142947 w 1757434"/>
                  <a:gd name="connsiteY772" fmla="*/ 1912938 h 2476500"/>
                  <a:gd name="connsiteX773" fmla="*/ 147709 w 1757434"/>
                  <a:gd name="connsiteY773" fmla="*/ 1909763 h 2476500"/>
                  <a:gd name="connsiteX774" fmla="*/ 149297 w 1757434"/>
                  <a:gd name="connsiteY774" fmla="*/ 1914525 h 2476500"/>
                  <a:gd name="connsiteX775" fmla="*/ 150884 w 1757434"/>
                  <a:gd name="connsiteY775" fmla="*/ 1924050 h 2476500"/>
                  <a:gd name="connsiteX776" fmla="*/ 157234 w 1757434"/>
                  <a:gd name="connsiteY776" fmla="*/ 1930400 h 2476500"/>
                  <a:gd name="connsiteX777" fmla="*/ 158822 w 1757434"/>
                  <a:gd name="connsiteY777" fmla="*/ 1935163 h 2476500"/>
                  <a:gd name="connsiteX778" fmla="*/ 161997 w 1757434"/>
                  <a:gd name="connsiteY778" fmla="*/ 1939925 h 2476500"/>
                  <a:gd name="connsiteX779" fmla="*/ 165172 w 1757434"/>
                  <a:gd name="connsiteY779" fmla="*/ 1951038 h 2476500"/>
                  <a:gd name="connsiteX780" fmla="*/ 171522 w 1757434"/>
                  <a:gd name="connsiteY780" fmla="*/ 1960563 h 2476500"/>
                  <a:gd name="connsiteX781" fmla="*/ 171522 w 1757434"/>
                  <a:gd name="connsiteY781" fmla="*/ 1963738 h 2476500"/>
                  <a:gd name="connsiteX782" fmla="*/ 174697 w 1757434"/>
                  <a:gd name="connsiteY782" fmla="*/ 1957388 h 2476500"/>
                  <a:gd name="connsiteX783" fmla="*/ 181047 w 1757434"/>
                  <a:gd name="connsiteY783" fmla="*/ 1955800 h 2476500"/>
                  <a:gd name="connsiteX784" fmla="*/ 193747 w 1757434"/>
                  <a:gd name="connsiteY784" fmla="*/ 1955800 h 2476500"/>
                  <a:gd name="connsiteX785" fmla="*/ 187397 w 1757434"/>
                  <a:gd name="connsiteY785" fmla="*/ 1952625 h 2476500"/>
                  <a:gd name="connsiteX786" fmla="*/ 176284 w 1757434"/>
                  <a:gd name="connsiteY786" fmla="*/ 1941513 h 2476500"/>
                  <a:gd name="connsiteX787" fmla="*/ 174697 w 1757434"/>
                  <a:gd name="connsiteY787" fmla="*/ 1935163 h 2476500"/>
                  <a:gd name="connsiteX788" fmla="*/ 169934 w 1757434"/>
                  <a:gd name="connsiteY788" fmla="*/ 1931988 h 2476500"/>
                  <a:gd name="connsiteX789" fmla="*/ 166759 w 1757434"/>
                  <a:gd name="connsiteY789" fmla="*/ 1927225 h 2476500"/>
                  <a:gd name="connsiteX790" fmla="*/ 169934 w 1757434"/>
                  <a:gd name="connsiteY790" fmla="*/ 1917700 h 2476500"/>
                  <a:gd name="connsiteX791" fmla="*/ 188984 w 1757434"/>
                  <a:gd name="connsiteY791" fmla="*/ 1924050 h 2476500"/>
                  <a:gd name="connsiteX792" fmla="*/ 198509 w 1757434"/>
                  <a:gd name="connsiteY792" fmla="*/ 1922463 h 2476500"/>
                  <a:gd name="connsiteX793" fmla="*/ 201684 w 1757434"/>
                  <a:gd name="connsiteY793" fmla="*/ 1909763 h 2476500"/>
                  <a:gd name="connsiteX794" fmla="*/ 204859 w 1757434"/>
                  <a:gd name="connsiteY794" fmla="*/ 1905000 h 2476500"/>
                  <a:gd name="connsiteX795" fmla="*/ 205654 w 1757434"/>
                  <a:gd name="connsiteY795" fmla="*/ 1896263 h 2476500"/>
                  <a:gd name="connsiteX796" fmla="*/ 213721 w 1757434"/>
                  <a:gd name="connsiteY796" fmla="*/ 1888139 h 2476500"/>
                  <a:gd name="connsiteX797" fmla="*/ 212797 w 1757434"/>
                  <a:gd name="connsiteY797" fmla="*/ 1865313 h 2476500"/>
                  <a:gd name="connsiteX798" fmla="*/ 211209 w 1757434"/>
                  <a:gd name="connsiteY798" fmla="*/ 1884363 h 2476500"/>
                  <a:gd name="connsiteX799" fmla="*/ 206447 w 1757434"/>
                  <a:gd name="connsiteY799" fmla="*/ 1887538 h 2476500"/>
                  <a:gd name="connsiteX800" fmla="*/ 205654 w 1757434"/>
                  <a:gd name="connsiteY800" fmla="*/ 1896263 h 2476500"/>
                  <a:gd name="connsiteX801" fmla="*/ 204859 w 1757434"/>
                  <a:gd name="connsiteY801" fmla="*/ 1897063 h 2476500"/>
                  <a:gd name="connsiteX802" fmla="*/ 198509 w 1757434"/>
                  <a:gd name="connsiteY802" fmla="*/ 1908175 h 2476500"/>
                  <a:gd name="connsiteX803" fmla="*/ 182634 w 1757434"/>
                  <a:gd name="connsiteY803" fmla="*/ 1911350 h 2476500"/>
                  <a:gd name="connsiteX804" fmla="*/ 161997 w 1757434"/>
                  <a:gd name="connsiteY804" fmla="*/ 1914525 h 2476500"/>
                  <a:gd name="connsiteX805" fmla="*/ 158822 w 1757434"/>
                  <a:gd name="connsiteY805" fmla="*/ 1909763 h 2476500"/>
                  <a:gd name="connsiteX806" fmla="*/ 146122 w 1757434"/>
                  <a:gd name="connsiteY806" fmla="*/ 1908175 h 2476500"/>
                  <a:gd name="connsiteX807" fmla="*/ 142947 w 1757434"/>
                  <a:gd name="connsiteY807" fmla="*/ 1900238 h 2476500"/>
                  <a:gd name="connsiteX808" fmla="*/ 145179 w 1757434"/>
                  <a:gd name="connsiteY808" fmla="*/ 1890564 h 2476500"/>
                  <a:gd name="connsiteX809" fmla="*/ 150884 w 1757434"/>
                  <a:gd name="connsiteY809" fmla="*/ 1878013 h 2476500"/>
                  <a:gd name="connsiteX810" fmla="*/ 152119 w 1757434"/>
                  <a:gd name="connsiteY810" fmla="*/ 1874309 h 2476500"/>
                  <a:gd name="connsiteX811" fmla="*/ 155647 w 1757434"/>
                  <a:gd name="connsiteY811" fmla="*/ 1870075 h 2476500"/>
                  <a:gd name="connsiteX812" fmla="*/ 157234 w 1757434"/>
                  <a:gd name="connsiteY812" fmla="*/ 1863725 h 2476500"/>
                  <a:gd name="connsiteX813" fmla="*/ 154059 w 1757434"/>
                  <a:gd name="connsiteY813" fmla="*/ 1868488 h 2476500"/>
                  <a:gd name="connsiteX814" fmla="*/ 152119 w 1757434"/>
                  <a:gd name="connsiteY814" fmla="*/ 1874309 h 2476500"/>
                  <a:gd name="connsiteX815" fmla="*/ 147709 w 1757434"/>
                  <a:gd name="connsiteY815" fmla="*/ 1879600 h 2476500"/>
                  <a:gd name="connsiteX816" fmla="*/ 145179 w 1757434"/>
                  <a:gd name="connsiteY816" fmla="*/ 1890564 h 2476500"/>
                  <a:gd name="connsiteX817" fmla="*/ 142947 w 1757434"/>
                  <a:gd name="connsiteY817" fmla="*/ 1895475 h 2476500"/>
                  <a:gd name="connsiteX818" fmla="*/ 135009 w 1757434"/>
                  <a:gd name="connsiteY818" fmla="*/ 1914525 h 2476500"/>
                  <a:gd name="connsiteX819" fmla="*/ 125484 w 1757434"/>
                  <a:gd name="connsiteY819" fmla="*/ 1922463 h 2476500"/>
                  <a:gd name="connsiteX820" fmla="*/ 119134 w 1757434"/>
                  <a:gd name="connsiteY820" fmla="*/ 1919288 h 2476500"/>
                  <a:gd name="connsiteX821" fmla="*/ 111197 w 1757434"/>
                  <a:gd name="connsiteY821" fmla="*/ 1914525 h 2476500"/>
                  <a:gd name="connsiteX822" fmla="*/ 106434 w 1757434"/>
                  <a:gd name="connsiteY822" fmla="*/ 1912938 h 2476500"/>
                  <a:gd name="connsiteX823" fmla="*/ 91336 w 1757434"/>
                  <a:gd name="connsiteY823" fmla="*/ 1912595 h 2476500"/>
                  <a:gd name="connsiteX824" fmla="*/ 92608 w 1757434"/>
                  <a:gd name="connsiteY824" fmla="*/ 1911436 h 2476500"/>
                  <a:gd name="connsiteX825" fmla="*/ 87384 w 1757434"/>
                  <a:gd name="connsiteY825" fmla="*/ 1909763 h 2476500"/>
                  <a:gd name="connsiteX826" fmla="*/ 84703 w 1757434"/>
                  <a:gd name="connsiteY826" fmla="*/ 1912444 h 2476500"/>
                  <a:gd name="connsiteX827" fmla="*/ 69847 w 1757434"/>
                  <a:gd name="connsiteY827" fmla="*/ 1912106 h 2476500"/>
                  <a:gd name="connsiteX828" fmla="*/ 68334 w 1757434"/>
                  <a:gd name="connsiteY828" fmla="*/ 1911350 h 2476500"/>
                  <a:gd name="connsiteX829" fmla="*/ 66308 w 1757434"/>
                  <a:gd name="connsiteY829" fmla="*/ 1912026 h 2476500"/>
                  <a:gd name="connsiteX830" fmla="*/ 58077 w 1757434"/>
                  <a:gd name="connsiteY830" fmla="*/ 1911839 h 2476500"/>
                  <a:gd name="connsiteX831" fmla="*/ 55634 w 1757434"/>
                  <a:gd name="connsiteY831" fmla="*/ 1911350 h 2476500"/>
                  <a:gd name="connsiteX832" fmla="*/ 54047 w 1757434"/>
                  <a:gd name="connsiteY832" fmla="*/ 1911747 h 2476500"/>
                  <a:gd name="connsiteX833" fmla="*/ 36584 w 1757434"/>
                  <a:gd name="connsiteY833" fmla="*/ 1911350 h 2476500"/>
                  <a:gd name="connsiteX834" fmla="*/ 30234 w 1757434"/>
                  <a:gd name="connsiteY834" fmla="*/ 1909763 h 2476500"/>
                  <a:gd name="connsiteX835" fmla="*/ 20709 w 1757434"/>
                  <a:gd name="connsiteY835" fmla="*/ 1909763 h 2476500"/>
                  <a:gd name="connsiteX836" fmla="*/ 15947 w 1757434"/>
                  <a:gd name="connsiteY836" fmla="*/ 1905000 h 2476500"/>
                  <a:gd name="connsiteX837" fmla="*/ 8009 w 1757434"/>
                  <a:gd name="connsiteY837" fmla="*/ 1905000 h 2476500"/>
                  <a:gd name="connsiteX838" fmla="*/ 12772 w 1757434"/>
                  <a:gd name="connsiteY838" fmla="*/ 1893888 h 2476500"/>
                  <a:gd name="connsiteX839" fmla="*/ 19122 w 1757434"/>
                  <a:gd name="connsiteY839" fmla="*/ 1881188 h 2476500"/>
                  <a:gd name="connsiteX840" fmla="*/ 20709 w 1757434"/>
                  <a:gd name="connsiteY840" fmla="*/ 1876425 h 2476500"/>
                  <a:gd name="connsiteX841" fmla="*/ 22297 w 1757434"/>
                  <a:gd name="connsiteY841" fmla="*/ 1863725 h 2476500"/>
                  <a:gd name="connsiteX842" fmla="*/ 27059 w 1757434"/>
                  <a:gd name="connsiteY842" fmla="*/ 1858963 h 2476500"/>
                  <a:gd name="connsiteX843" fmla="*/ 31822 w 1757434"/>
                  <a:gd name="connsiteY843" fmla="*/ 1862138 h 2476500"/>
                  <a:gd name="connsiteX844" fmla="*/ 39759 w 1757434"/>
                  <a:gd name="connsiteY844" fmla="*/ 1865313 h 2476500"/>
                  <a:gd name="connsiteX845" fmla="*/ 50872 w 1757434"/>
                  <a:gd name="connsiteY845" fmla="*/ 1870075 h 2476500"/>
                  <a:gd name="connsiteX846" fmla="*/ 71509 w 1757434"/>
                  <a:gd name="connsiteY846" fmla="*/ 1857375 h 2476500"/>
                  <a:gd name="connsiteX847" fmla="*/ 76272 w 1757434"/>
                  <a:gd name="connsiteY847" fmla="*/ 1855788 h 2476500"/>
                  <a:gd name="connsiteX848" fmla="*/ 52459 w 1757434"/>
                  <a:gd name="connsiteY848" fmla="*/ 1855788 h 2476500"/>
                  <a:gd name="connsiteX849" fmla="*/ 44522 w 1757434"/>
                  <a:gd name="connsiteY849" fmla="*/ 1852613 h 2476500"/>
                  <a:gd name="connsiteX850" fmla="*/ 38172 w 1757434"/>
                  <a:gd name="connsiteY850" fmla="*/ 1838325 h 2476500"/>
                  <a:gd name="connsiteX851" fmla="*/ 25472 w 1757434"/>
                  <a:gd name="connsiteY851" fmla="*/ 1831975 h 2476500"/>
                  <a:gd name="connsiteX852" fmla="*/ 27059 w 1757434"/>
                  <a:gd name="connsiteY852" fmla="*/ 1827213 h 2476500"/>
                  <a:gd name="connsiteX853" fmla="*/ 38172 w 1757434"/>
                  <a:gd name="connsiteY853" fmla="*/ 1817688 h 2476500"/>
                  <a:gd name="connsiteX854" fmla="*/ 34997 w 1757434"/>
                  <a:gd name="connsiteY854" fmla="*/ 1812925 h 2476500"/>
                  <a:gd name="connsiteX855" fmla="*/ 31822 w 1757434"/>
                  <a:gd name="connsiteY855" fmla="*/ 1806575 h 2476500"/>
                  <a:gd name="connsiteX856" fmla="*/ 23884 w 1757434"/>
                  <a:gd name="connsiteY856" fmla="*/ 1808163 h 2476500"/>
                  <a:gd name="connsiteX857" fmla="*/ 17534 w 1757434"/>
                  <a:gd name="connsiteY857" fmla="*/ 1811338 h 2476500"/>
                  <a:gd name="connsiteX858" fmla="*/ 25472 w 1757434"/>
                  <a:gd name="connsiteY858" fmla="*/ 1798638 h 2476500"/>
                  <a:gd name="connsiteX859" fmla="*/ 20709 w 1757434"/>
                  <a:gd name="connsiteY859" fmla="*/ 1790700 h 2476500"/>
                  <a:gd name="connsiteX860" fmla="*/ 17534 w 1757434"/>
                  <a:gd name="connsiteY860" fmla="*/ 1785938 h 2476500"/>
                  <a:gd name="connsiteX861" fmla="*/ 19122 w 1757434"/>
                  <a:gd name="connsiteY861" fmla="*/ 1781175 h 2476500"/>
                  <a:gd name="connsiteX862" fmla="*/ 20709 w 1757434"/>
                  <a:gd name="connsiteY862" fmla="*/ 1770063 h 2476500"/>
                  <a:gd name="connsiteX863" fmla="*/ 23884 w 1757434"/>
                  <a:gd name="connsiteY863" fmla="*/ 1776413 h 2476500"/>
                  <a:gd name="connsiteX864" fmla="*/ 33409 w 1757434"/>
                  <a:gd name="connsiteY864" fmla="*/ 1782763 h 2476500"/>
                  <a:gd name="connsiteX865" fmla="*/ 41347 w 1757434"/>
                  <a:gd name="connsiteY865" fmla="*/ 1762125 h 2476500"/>
                  <a:gd name="connsiteX866" fmla="*/ 47697 w 1757434"/>
                  <a:gd name="connsiteY866" fmla="*/ 1763713 h 2476500"/>
                  <a:gd name="connsiteX867" fmla="*/ 55634 w 1757434"/>
                  <a:gd name="connsiteY867" fmla="*/ 1766888 h 2476500"/>
                  <a:gd name="connsiteX868" fmla="*/ 60397 w 1757434"/>
                  <a:gd name="connsiteY868" fmla="*/ 1763713 h 2476500"/>
                  <a:gd name="connsiteX869" fmla="*/ 63822 w 1757434"/>
                  <a:gd name="connsiteY869" fmla="*/ 1764461 h 2476500"/>
                  <a:gd name="connsiteX870" fmla="*/ 65159 w 1757434"/>
                  <a:gd name="connsiteY870" fmla="*/ 1773238 h 2476500"/>
                  <a:gd name="connsiteX871" fmla="*/ 73357 w 1757434"/>
                  <a:gd name="connsiteY871" fmla="*/ 1774356 h 2476500"/>
                  <a:gd name="connsiteX872" fmla="*/ 76272 w 1757434"/>
                  <a:gd name="connsiteY872" fmla="*/ 1778000 h 2476500"/>
                  <a:gd name="connsiteX873" fmla="*/ 85797 w 1757434"/>
                  <a:gd name="connsiteY873" fmla="*/ 1781175 h 2476500"/>
                  <a:gd name="connsiteX874" fmla="*/ 90559 w 1757434"/>
                  <a:gd name="connsiteY874" fmla="*/ 1782763 h 2476500"/>
                  <a:gd name="connsiteX875" fmla="*/ 103259 w 1757434"/>
                  <a:gd name="connsiteY875" fmla="*/ 1781175 h 2476500"/>
                  <a:gd name="connsiteX876" fmla="*/ 104847 w 1757434"/>
                  <a:gd name="connsiteY876" fmla="*/ 1785938 h 2476500"/>
                  <a:gd name="connsiteX877" fmla="*/ 109609 w 1757434"/>
                  <a:gd name="connsiteY877" fmla="*/ 1789113 h 2476500"/>
                  <a:gd name="connsiteX878" fmla="*/ 106434 w 1757434"/>
                  <a:gd name="connsiteY878" fmla="*/ 1800225 h 2476500"/>
                  <a:gd name="connsiteX879" fmla="*/ 111197 w 1757434"/>
                  <a:gd name="connsiteY879" fmla="*/ 1792288 h 2476500"/>
                  <a:gd name="connsiteX880" fmla="*/ 117547 w 1757434"/>
                  <a:gd name="connsiteY880" fmla="*/ 1793875 h 2476500"/>
                  <a:gd name="connsiteX881" fmla="*/ 123897 w 1757434"/>
                  <a:gd name="connsiteY881" fmla="*/ 1797050 h 2476500"/>
                  <a:gd name="connsiteX882" fmla="*/ 125484 w 1757434"/>
                  <a:gd name="connsiteY882" fmla="*/ 1789113 h 2476500"/>
                  <a:gd name="connsiteX883" fmla="*/ 135009 w 1757434"/>
                  <a:gd name="connsiteY883" fmla="*/ 1793875 h 2476500"/>
                  <a:gd name="connsiteX884" fmla="*/ 142947 w 1757434"/>
                  <a:gd name="connsiteY884" fmla="*/ 1792288 h 2476500"/>
                  <a:gd name="connsiteX885" fmla="*/ 147709 w 1757434"/>
                  <a:gd name="connsiteY885" fmla="*/ 1787525 h 2476500"/>
                  <a:gd name="connsiteX886" fmla="*/ 152472 w 1757434"/>
                  <a:gd name="connsiteY886" fmla="*/ 1778000 h 2476500"/>
                  <a:gd name="connsiteX887" fmla="*/ 160409 w 1757434"/>
                  <a:gd name="connsiteY887" fmla="*/ 1773238 h 2476500"/>
                  <a:gd name="connsiteX888" fmla="*/ 165172 w 1757434"/>
                  <a:gd name="connsiteY888" fmla="*/ 1771650 h 2476500"/>
                  <a:gd name="connsiteX889" fmla="*/ 149297 w 1757434"/>
                  <a:gd name="connsiteY889" fmla="*/ 1776413 h 2476500"/>
                  <a:gd name="connsiteX890" fmla="*/ 142947 w 1757434"/>
                  <a:gd name="connsiteY890" fmla="*/ 1778000 h 2476500"/>
                  <a:gd name="connsiteX891" fmla="*/ 135009 w 1757434"/>
                  <a:gd name="connsiteY891" fmla="*/ 1781175 h 2476500"/>
                  <a:gd name="connsiteX892" fmla="*/ 122309 w 1757434"/>
                  <a:gd name="connsiteY892" fmla="*/ 1784350 h 2476500"/>
                  <a:gd name="connsiteX893" fmla="*/ 117547 w 1757434"/>
                  <a:gd name="connsiteY893" fmla="*/ 1785938 h 2476500"/>
                  <a:gd name="connsiteX894" fmla="*/ 112784 w 1757434"/>
                  <a:gd name="connsiteY894" fmla="*/ 1781175 h 2476500"/>
                  <a:gd name="connsiteX895" fmla="*/ 100084 w 1757434"/>
                  <a:gd name="connsiteY895" fmla="*/ 1778000 h 2476500"/>
                  <a:gd name="connsiteX896" fmla="*/ 73357 w 1757434"/>
                  <a:gd name="connsiteY896" fmla="*/ 1774356 h 2476500"/>
                  <a:gd name="connsiteX897" fmla="*/ 69922 w 1757434"/>
                  <a:gd name="connsiteY897" fmla="*/ 1770063 h 2476500"/>
                  <a:gd name="connsiteX898" fmla="*/ 66515 w 1757434"/>
                  <a:gd name="connsiteY898" fmla="*/ 1765049 h 2476500"/>
                  <a:gd name="connsiteX899" fmla="*/ 63822 w 1757434"/>
                  <a:gd name="connsiteY899" fmla="*/ 1764461 h 2476500"/>
                  <a:gd name="connsiteX900" fmla="*/ 63141 w 1757434"/>
                  <a:gd name="connsiteY900" fmla="*/ 1759987 h 2476500"/>
                  <a:gd name="connsiteX901" fmla="*/ 55634 w 1757434"/>
                  <a:gd name="connsiteY901" fmla="*/ 1757363 h 2476500"/>
                  <a:gd name="connsiteX902" fmla="*/ 50872 w 1757434"/>
                  <a:gd name="connsiteY902" fmla="*/ 1755775 h 2476500"/>
                  <a:gd name="connsiteX903" fmla="*/ 52459 w 1757434"/>
                  <a:gd name="connsiteY903" fmla="*/ 1747838 h 2476500"/>
                  <a:gd name="connsiteX904" fmla="*/ 57222 w 1757434"/>
                  <a:gd name="connsiteY904" fmla="*/ 1730375 h 2476500"/>
                  <a:gd name="connsiteX905" fmla="*/ 61984 w 1757434"/>
                  <a:gd name="connsiteY905" fmla="*/ 1728788 h 2476500"/>
                  <a:gd name="connsiteX906" fmla="*/ 66747 w 1757434"/>
                  <a:gd name="connsiteY906" fmla="*/ 1725613 h 2476500"/>
                  <a:gd name="connsiteX907" fmla="*/ 85858 w 1757434"/>
                  <a:gd name="connsiteY907" fmla="*/ 1728161 h 2476500"/>
                  <a:gd name="connsiteX908" fmla="*/ 85797 w 1757434"/>
                  <a:gd name="connsiteY908" fmla="*/ 1728788 h 2476500"/>
                  <a:gd name="connsiteX909" fmla="*/ 91858 w 1757434"/>
                  <a:gd name="connsiteY909" fmla="*/ 1729654 h 2476500"/>
                  <a:gd name="connsiteX910" fmla="*/ 95322 w 1757434"/>
                  <a:gd name="connsiteY910" fmla="*/ 1731963 h 2476500"/>
                  <a:gd name="connsiteX911" fmla="*/ 103259 w 1757434"/>
                  <a:gd name="connsiteY911" fmla="*/ 1733550 h 2476500"/>
                  <a:gd name="connsiteX912" fmla="*/ 115959 w 1757434"/>
                  <a:gd name="connsiteY912" fmla="*/ 1749425 h 2476500"/>
                  <a:gd name="connsiteX913" fmla="*/ 115959 w 1757434"/>
                  <a:gd name="connsiteY913" fmla="*/ 1733550 h 2476500"/>
                  <a:gd name="connsiteX914" fmla="*/ 108022 w 1757434"/>
                  <a:gd name="connsiteY914" fmla="*/ 1731963 h 2476500"/>
                  <a:gd name="connsiteX915" fmla="*/ 91858 w 1757434"/>
                  <a:gd name="connsiteY915" fmla="*/ 1729654 h 2476500"/>
                  <a:gd name="connsiteX916" fmla="*/ 90559 w 1757434"/>
                  <a:gd name="connsiteY916" fmla="*/ 1728788 h 2476500"/>
                  <a:gd name="connsiteX917" fmla="*/ 85858 w 1757434"/>
                  <a:gd name="connsiteY917" fmla="*/ 1728161 h 2476500"/>
                  <a:gd name="connsiteX918" fmla="*/ 87655 w 1757434"/>
                  <a:gd name="connsiteY918" fmla="*/ 1709614 h 2476500"/>
                  <a:gd name="connsiteX919" fmla="*/ 92147 w 1757434"/>
                  <a:gd name="connsiteY919" fmla="*/ 1695450 h 2476500"/>
                  <a:gd name="connsiteX920" fmla="*/ 95322 w 1757434"/>
                  <a:gd name="connsiteY920" fmla="*/ 1687513 h 2476500"/>
                  <a:gd name="connsiteX921" fmla="*/ 104847 w 1757434"/>
                  <a:gd name="connsiteY921" fmla="*/ 1685925 h 2476500"/>
                  <a:gd name="connsiteX922" fmla="*/ 114372 w 1757434"/>
                  <a:gd name="connsiteY922" fmla="*/ 1682750 h 2476500"/>
                  <a:gd name="connsiteX923" fmla="*/ 125484 w 1757434"/>
                  <a:gd name="connsiteY923" fmla="*/ 1689100 h 2476500"/>
                  <a:gd name="connsiteX924" fmla="*/ 131834 w 1757434"/>
                  <a:gd name="connsiteY924" fmla="*/ 1698625 h 2476500"/>
                  <a:gd name="connsiteX925" fmla="*/ 135009 w 1757434"/>
                  <a:gd name="connsiteY925" fmla="*/ 1704975 h 2476500"/>
                  <a:gd name="connsiteX926" fmla="*/ 141359 w 1757434"/>
                  <a:gd name="connsiteY926" fmla="*/ 1709738 h 2476500"/>
                  <a:gd name="connsiteX927" fmla="*/ 144534 w 1757434"/>
                  <a:gd name="connsiteY927" fmla="*/ 1716088 h 2476500"/>
                  <a:gd name="connsiteX928" fmla="*/ 146122 w 1757434"/>
                  <a:gd name="connsiteY928" fmla="*/ 1720850 h 2476500"/>
                  <a:gd name="connsiteX929" fmla="*/ 151386 w 1757434"/>
                  <a:gd name="connsiteY929" fmla="*/ 1724667 h 2476500"/>
                  <a:gd name="connsiteX930" fmla="*/ 152472 w 1757434"/>
                  <a:gd name="connsiteY930" fmla="*/ 1727200 h 2476500"/>
                  <a:gd name="connsiteX931" fmla="*/ 157234 w 1757434"/>
                  <a:gd name="connsiteY931" fmla="*/ 1731963 h 2476500"/>
                  <a:gd name="connsiteX932" fmla="*/ 155647 w 1757434"/>
                  <a:gd name="connsiteY932" fmla="*/ 1727200 h 2476500"/>
                  <a:gd name="connsiteX933" fmla="*/ 151896 w 1757434"/>
                  <a:gd name="connsiteY933" fmla="*/ 1725037 h 2476500"/>
                  <a:gd name="connsiteX934" fmla="*/ 151386 w 1757434"/>
                  <a:gd name="connsiteY934" fmla="*/ 1724667 h 2476500"/>
                  <a:gd name="connsiteX935" fmla="*/ 147709 w 1757434"/>
                  <a:gd name="connsiteY935" fmla="*/ 1716088 h 2476500"/>
                  <a:gd name="connsiteX936" fmla="*/ 142947 w 1757434"/>
                  <a:gd name="connsiteY936" fmla="*/ 1703388 h 2476500"/>
                  <a:gd name="connsiteX937" fmla="*/ 144534 w 1757434"/>
                  <a:gd name="connsiteY937" fmla="*/ 1692275 h 2476500"/>
                  <a:gd name="connsiteX938" fmla="*/ 154059 w 1757434"/>
                  <a:gd name="connsiteY938" fmla="*/ 1682750 h 2476500"/>
                  <a:gd name="connsiteX939" fmla="*/ 161997 w 1757434"/>
                  <a:gd name="connsiteY939" fmla="*/ 1687513 h 2476500"/>
                  <a:gd name="connsiteX940" fmla="*/ 181047 w 1757434"/>
                  <a:gd name="connsiteY940" fmla="*/ 1693863 h 2476500"/>
                  <a:gd name="connsiteX941" fmla="*/ 184222 w 1757434"/>
                  <a:gd name="connsiteY941" fmla="*/ 1731963 h 2476500"/>
                  <a:gd name="connsiteX942" fmla="*/ 187397 w 1757434"/>
                  <a:gd name="connsiteY942" fmla="*/ 1743075 h 2476500"/>
                  <a:gd name="connsiteX943" fmla="*/ 192159 w 1757434"/>
                  <a:gd name="connsiteY943" fmla="*/ 1720850 h 2476500"/>
                  <a:gd name="connsiteX944" fmla="*/ 200731 w 1757434"/>
                  <a:gd name="connsiteY944" fmla="*/ 1715135 h 2476500"/>
                  <a:gd name="connsiteX945" fmla="*/ 211209 w 1757434"/>
                  <a:gd name="connsiteY945" fmla="*/ 1716088 h 2476500"/>
                  <a:gd name="connsiteX946" fmla="*/ 201684 w 1757434"/>
                  <a:gd name="connsiteY946" fmla="*/ 1714500 h 2476500"/>
                  <a:gd name="connsiteX947" fmla="*/ 200731 w 1757434"/>
                  <a:gd name="connsiteY947" fmla="*/ 1715135 h 2476500"/>
                  <a:gd name="connsiteX948" fmla="*/ 193747 w 1757434"/>
                  <a:gd name="connsiteY948" fmla="*/ 1714500 h 2476500"/>
                  <a:gd name="connsiteX949" fmla="*/ 192159 w 1757434"/>
                  <a:gd name="connsiteY949" fmla="*/ 1708150 h 2476500"/>
                  <a:gd name="connsiteX950" fmla="*/ 185809 w 1757434"/>
                  <a:gd name="connsiteY950" fmla="*/ 1693863 h 2476500"/>
                  <a:gd name="connsiteX951" fmla="*/ 182634 w 1757434"/>
                  <a:gd name="connsiteY951" fmla="*/ 1685925 h 2476500"/>
                  <a:gd name="connsiteX952" fmla="*/ 177872 w 1757434"/>
                  <a:gd name="connsiteY952" fmla="*/ 1682750 h 2476500"/>
                  <a:gd name="connsiteX953" fmla="*/ 171522 w 1757434"/>
                  <a:gd name="connsiteY953" fmla="*/ 1677988 h 2476500"/>
                  <a:gd name="connsiteX954" fmla="*/ 139772 w 1757434"/>
                  <a:gd name="connsiteY954" fmla="*/ 1673225 h 2476500"/>
                  <a:gd name="connsiteX955" fmla="*/ 138184 w 1757434"/>
                  <a:gd name="connsiteY955" fmla="*/ 1665288 h 2476500"/>
                  <a:gd name="connsiteX956" fmla="*/ 144534 w 1757434"/>
                  <a:gd name="connsiteY956" fmla="*/ 1651000 h 2476500"/>
                  <a:gd name="connsiteX957" fmla="*/ 150884 w 1757434"/>
                  <a:gd name="connsiteY957" fmla="*/ 1649413 h 2476500"/>
                  <a:gd name="connsiteX958" fmla="*/ 158822 w 1757434"/>
                  <a:gd name="connsiteY958" fmla="*/ 1646238 h 2476500"/>
                  <a:gd name="connsiteX959" fmla="*/ 163584 w 1757434"/>
                  <a:gd name="connsiteY959" fmla="*/ 1644650 h 2476500"/>
                  <a:gd name="connsiteX960" fmla="*/ 169934 w 1757434"/>
                  <a:gd name="connsiteY960" fmla="*/ 1631950 h 2476500"/>
                  <a:gd name="connsiteX961" fmla="*/ 174697 w 1757434"/>
                  <a:gd name="connsiteY961" fmla="*/ 1630363 h 2476500"/>
                  <a:gd name="connsiteX962" fmla="*/ 192159 w 1757434"/>
                  <a:gd name="connsiteY962" fmla="*/ 1635125 h 2476500"/>
                  <a:gd name="connsiteX963" fmla="*/ 196922 w 1757434"/>
                  <a:gd name="connsiteY963" fmla="*/ 1639888 h 2476500"/>
                  <a:gd name="connsiteX964" fmla="*/ 204859 w 1757434"/>
                  <a:gd name="connsiteY964" fmla="*/ 1644650 h 2476500"/>
                  <a:gd name="connsiteX965" fmla="*/ 214384 w 1757434"/>
                  <a:gd name="connsiteY965" fmla="*/ 1647825 h 2476500"/>
                  <a:gd name="connsiteX966" fmla="*/ 219147 w 1757434"/>
                  <a:gd name="connsiteY966" fmla="*/ 1649413 h 2476500"/>
                  <a:gd name="connsiteX967" fmla="*/ 223909 w 1757434"/>
                  <a:gd name="connsiteY967" fmla="*/ 1658938 h 2476500"/>
                  <a:gd name="connsiteX968" fmla="*/ 246134 w 1757434"/>
                  <a:gd name="connsiteY968" fmla="*/ 1660525 h 2476500"/>
                  <a:gd name="connsiteX969" fmla="*/ 242959 w 1757434"/>
                  <a:gd name="connsiteY969" fmla="*/ 1654175 h 2476500"/>
                  <a:gd name="connsiteX970" fmla="*/ 238197 w 1757434"/>
                  <a:gd name="connsiteY970" fmla="*/ 1649413 h 2476500"/>
                  <a:gd name="connsiteX971" fmla="*/ 246134 w 1757434"/>
                  <a:gd name="connsiteY971" fmla="*/ 1625600 h 2476500"/>
                  <a:gd name="connsiteX972" fmla="*/ 252484 w 1757434"/>
                  <a:gd name="connsiteY972" fmla="*/ 1622425 h 2476500"/>
                  <a:gd name="connsiteX973" fmla="*/ 258834 w 1757434"/>
                  <a:gd name="connsiteY973" fmla="*/ 1627188 h 2476500"/>
                  <a:gd name="connsiteX974" fmla="*/ 271534 w 1757434"/>
                  <a:gd name="connsiteY974" fmla="*/ 1639888 h 2476500"/>
                  <a:gd name="connsiteX975" fmla="*/ 277884 w 1757434"/>
                  <a:gd name="connsiteY975" fmla="*/ 1641475 h 2476500"/>
                  <a:gd name="connsiteX976" fmla="*/ 284234 w 1757434"/>
                  <a:gd name="connsiteY976" fmla="*/ 1624013 h 2476500"/>
                  <a:gd name="connsiteX977" fmla="*/ 284967 w 1757434"/>
                  <a:gd name="connsiteY977" fmla="*/ 1623769 h 2476500"/>
                  <a:gd name="connsiteX978" fmla="*/ 288997 w 1757434"/>
                  <a:gd name="connsiteY978" fmla="*/ 1627188 h 2476500"/>
                  <a:gd name="connsiteX979" fmla="*/ 300109 w 1757434"/>
                  <a:gd name="connsiteY979" fmla="*/ 1631950 h 2476500"/>
                  <a:gd name="connsiteX980" fmla="*/ 308047 w 1757434"/>
                  <a:gd name="connsiteY980" fmla="*/ 1633538 h 2476500"/>
                  <a:gd name="connsiteX981" fmla="*/ 319159 w 1757434"/>
                  <a:gd name="connsiteY981" fmla="*/ 1631950 h 2476500"/>
                  <a:gd name="connsiteX982" fmla="*/ 314397 w 1757434"/>
                  <a:gd name="connsiteY982" fmla="*/ 1628775 h 2476500"/>
                  <a:gd name="connsiteX983" fmla="*/ 288997 w 1757434"/>
                  <a:gd name="connsiteY983" fmla="*/ 1622425 h 2476500"/>
                  <a:gd name="connsiteX984" fmla="*/ 284967 w 1757434"/>
                  <a:gd name="connsiteY984" fmla="*/ 1623769 h 2476500"/>
                  <a:gd name="connsiteX985" fmla="*/ 283600 w 1757434"/>
                  <a:gd name="connsiteY985" fmla="*/ 1622609 h 2476500"/>
                  <a:gd name="connsiteX986" fmla="*/ 277884 w 1757434"/>
                  <a:gd name="connsiteY986" fmla="*/ 1619250 h 2476500"/>
                  <a:gd name="connsiteX987" fmla="*/ 265184 w 1757434"/>
                  <a:gd name="connsiteY987" fmla="*/ 1622425 h 2476500"/>
                  <a:gd name="connsiteX988" fmla="*/ 242959 w 1757434"/>
                  <a:gd name="connsiteY988" fmla="*/ 1619250 h 2476500"/>
                  <a:gd name="connsiteX989" fmla="*/ 217559 w 1757434"/>
                  <a:gd name="connsiteY989" fmla="*/ 1622425 h 2476500"/>
                  <a:gd name="connsiteX990" fmla="*/ 204859 w 1757434"/>
                  <a:gd name="connsiteY990" fmla="*/ 1625600 h 2476500"/>
                  <a:gd name="connsiteX991" fmla="*/ 182634 w 1757434"/>
                  <a:gd name="connsiteY991" fmla="*/ 1627188 h 2476500"/>
                  <a:gd name="connsiteX992" fmla="*/ 188984 w 1757434"/>
                  <a:gd name="connsiteY992" fmla="*/ 1624013 h 2476500"/>
                  <a:gd name="connsiteX993" fmla="*/ 190572 w 1757434"/>
                  <a:gd name="connsiteY993" fmla="*/ 1617663 h 2476500"/>
                  <a:gd name="connsiteX994" fmla="*/ 192159 w 1757434"/>
                  <a:gd name="connsiteY994" fmla="*/ 1585913 h 2476500"/>
                  <a:gd name="connsiteX995" fmla="*/ 204859 w 1757434"/>
                  <a:gd name="connsiteY995" fmla="*/ 1577975 h 2476500"/>
                  <a:gd name="connsiteX996" fmla="*/ 215972 w 1757434"/>
                  <a:gd name="connsiteY996" fmla="*/ 1581150 h 2476500"/>
                  <a:gd name="connsiteX997" fmla="*/ 219147 w 1757434"/>
                  <a:gd name="connsiteY997" fmla="*/ 1587500 h 2476500"/>
                  <a:gd name="connsiteX998" fmla="*/ 223909 w 1757434"/>
                  <a:gd name="connsiteY998" fmla="*/ 1590675 h 2476500"/>
                  <a:gd name="connsiteX999" fmla="*/ 231847 w 1757434"/>
                  <a:gd name="connsiteY999" fmla="*/ 1589088 h 2476500"/>
                  <a:gd name="connsiteX1000" fmla="*/ 255659 w 1757434"/>
                  <a:gd name="connsiteY1000" fmla="*/ 1585913 h 2476500"/>
                  <a:gd name="connsiteX1001" fmla="*/ 265184 w 1757434"/>
                  <a:gd name="connsiteY1001" fmla="*/ 1587500 h 2476500"/>
                  <a:gd name="connsiteX1002" fmla="*/ 285822 w 1757434"/>
                  <a:gd name="connsiteY1002" fmla="*/ 1589088 h 2476500"/>
                  <a:gd name="connsiteX1003" fmla="*/ 288997 w 1757434"/>
                  <a:gd name="connsiteY1003" fmla="*/ 1598613 h 2476500"/>
                  <a:gd name="connsiteX1004" fmla="*/ 298522 w 1757434"/>
                  <a:gd name="connsiteY1004" fmla="*/ 1604963 h 2476500"/>
                  <a:gd name="connsiteX1005" fmla="*/ 319159 w 1757434"/>
                  <a:gd name="connsiteY1005" fmla="*/ 1603375 h 2476500"/>
                  <a:gd name="connsiteX1006" fmla="*/ 325509 w 1757434"/>
                  <a:gd name="connsiteY1006" fmla="*/ 1601788 h 2476500"/>
                  <a:gd name="connsiteX1007" fmla="*/ 306459 w 1757434"/>
                  <a:gd name="connsiteY1007" fmla="*/ 1600200 h 2476500"/>
                  <a:gd name="connsiteX1008" fmla="*/ 304872 w 1757434"/>
                  <a:gd name="connsiteY1008" fmla="*/ 1592263 h 2476500"/>
                  <a:gd name="connsiteX1009" fmla="*/ 300109 w 1757434"/>
                  <a:gd name="connsiteY1009" fmla="*/ 1589088 h 2476500"/>
                  <a:gd name="connsiteX1010" fmla="*/ 290584 w 1757434"/>
                  <a:gd name="connsiteY1010" fmla="*/ 1584325 h 2476500"/>
                  <a:gd name="connsiteX1011" fmla="*/ 263597 w 1757434"/>
                  <a:gd name="connsiteY1011" fmla="*/ 1577975 h 2476500"/>
                  <a:gd name="connsiteX1012" fmla="*/ 265184 w 1757434"/>
                  <a:gd name="connsiteY1012" fmla="*/ 1563688 h 2476500"/>
                  <a:gd name="connsiteX1013" fmla="*/ 293759 w 1757434"/>
                  <a:gd name="connsiteY1013" fmla="*/ 1570038 h 2476500"/>
                  <a:gd name="connsiteX1014" fmla="*/ 303284 w 1757434"/>
                  <a:gd name="connsiteY1014" fmla="*/ 1568450 h 2476500"/>
                  <a:gd name="connsiteX1015" fmla="*/ 311222 w 1757434"/>
                  <a:gd name="connsiteY1015" fmla="*/ 1566863 h 2476500"/>
                  <a:gd name="connsiteX1016" fmla="*/ 296934 w 1757434"/>
                  <a:gd name="connsiteY1016" fmla="*/ 1565275 h 2476500"/>
                  <a:gd name="connsiteX1017" fmla="*/ 298522 w 1757434"/>
                  <a:gd name="connsiteY1017" fmla="*/ 1549400 h 2476500"/>
                  <a:gd name="connsiteX1018" fmla="*/ 309634 w 1757434"/>
                  <a:gd name="connsiteY1018" fmla="*/ 1546225 h 2476500"/>
                  <a:gd name="connsiteX1019" fmla="*/ 339797 w 1757434"/>
                  <a:gd name="connsiteY1019" fmla="*/ 1544638 h 2476500"/>
                  <a:gd name="connsiteX1020" fmla="*/ 336622 w 1757434"/>
                  <a:gd name="connsiteY1020" fmla="*/ 1527175 h 2476500"/>
                  <a:gd name="connsiteX1021" fmla="*/ 342972 w 1757434"/>
                  <a:gd name="connsiteY1021" fmla="*/ 1522413 h 2476500"/>
                  <a:gd name="connsiteX1022" fmla="*/ 350909 w 1757434"/>
                  <a:gd name="connsiteY1022" fmla="*/ 1520825 h 2476500"/>
                  <a:gd name="connsiteX1023" fmla="*/ 355672 w 1757434"/>
                  <a:gd name="connsiteY1023" fmla="*/ 1519238 h 2476500"/>
                  <a:gd name="connsiteX1024" fmla="*/ 371547 w 1757434"/>
                  <a:gd name="connsiteY1024" fmla="*/ 1512888 h 2476500"/>
                  <a:gd name="connsiteX1025" fmla="*/ 384247 w 1757434"/>
                  <a:gd name="connsiteY1025" fmla="*/ 1524000 h 2476500"/>
                  <a:gd name="connsiteX1026" fmla="*/ 377897 w 1757434"/>
                  <a:gd name="connsiteY1026" fmla="*/ 1522413 h 2476500"/>
                  <a:gd name="connsiteX1027" fmla="*/ 379484 w 1757434"/>
                  <a:gd name="connsiteY1027" fmla="*/ 1508125 h 2476500"/>
                  <a:gd name="connsiteX1028" fmla="*/ 381072 w 1757434"/>
                  <a:gd name="connsiteY1028" fmla="*/ 1503363 h 2476500"/>
                  <a:gd name="connsiteX1029" fmla="*/ 382659 w 1757434"/>
                  <a:gd name="connsiteY1029" fmla="*/ 1490663 h 2476500"/>
                  <a:gd name="connsiteX1030" fmla="*/ 387422 w 1757434"/>
                  <a:gd name="connsiteY1030" fmla="*/ 1485900 h 2476500"/>
                  <a:gd name="connsiteX1031" fmla="*/ 395359 w 1757434"/>
                  <a:gd name="connsiteY1031" fmla="*/ 1484313 h 2476500"/>
                  <a:gd name="connsiteX1032" fmla="*/ 406472 w 1757434"/>
                  <a:gd name="connsiteY1032" fmla="*/ 1481138 h 2476500"/>
                  <a:gd name="connsiteX1033" fmla="*/ 422347 w 1757434"/>
                  <a:gd name="connsiteY1033" fmla="*/ 1479550 h 2476500"/>
                  <a:gd name="connsiteX1034" fmla="*/ 425522 w 1757434"/>
                  <a:gd name="connsiteY1034" fmla="*/ 1485900 h 2476500"/>
                  <a:gd name="connsiteX1035" fmla="*/ 426535 w 1757434"/>
                  <a:gd name="connsiteY1035" fmla="*/ 1486660 h 2476500"/>
                  <a:gd name="connsiteX1036" fmla="*/ 425656 w 1757434"/>
                  <a:gd name="connsiteY1036" fmla="*/ 1480532 h 2476500"/>
                  <a:gd name="connsiteX1037" fmla="*/ 427109 w 1757434"/>
                  <a:gd name="connsiteY1037" fmla="*/ 1470025 h 2476500"/>
                  <a:gd name="connsiteX1038" fmla="*/ 431872 w 1757434"/>
                  <a:gd name="connsiteY1038" fmla="*/ 1466850 h 2476500"/>
                  <a:gd name="connsiteX1039" fmla="*/ 436634 w 1757434"/>
                  <a:gd name="connsiteY1039" fmla="*/ 1460500 h 2476500"/>
                  <a:gd name="connsiteX1040" fmla="*/ 415997 w 1757434"/>
                  <a:gd name="connsiteY1040" fmla="*/ 1457325 h 2476500"/>
                  <a:gd name="connsiteX1041" fmla="*/ 412822 w 1757434"/>
                  <a:gd name="connsiteY1041" fmla="*/ 1447800 h 2476500"/>
                  <a:gd name="connsiteX1042" fmla="*/ 420759 w 1757434"/>
                  <a:gd name="connsiteY1042" fmla="*/ 1443038 h 2476500"/>
                  <a:gd name="connsiteX1043" fmla="*/ 411234 w 1757434"/>
                  <a:gd name="connsiteY1043" fmla="*/ 1441450 h 2476500"/>
                  <a:gd name="connsiteX1044" fmla="*/ 431872 w 1757434"/>
                  <a:gd name="connsiteY1044" fmla="*/ 1428750 h 2476500"/>
                  <a:gd name="connsiteX1045" fmla="*/ 436634 w 1757434"/>
                  <a:gd name="connsiteY1045" fmla="*/ 1425575 h 2476500"/>
                  <a:gd name="connsiteX1046" fmla="*/ 439809 w 1757434"/>
                  <a:gd name="connsiteY1046" fmla="*/ 1420813 h 2476500"/>
                  <a:gd name="connsiteX1047" fmla="*/ 446159 w 1757434"/>
                  <a:gd name="connsiteY1047" fmla="*/ 1416050 h 2476500"/>
                  <a:gd name="connsiteX1048" fmla="*/ 447747 w 1757434"/>
                  <a:gd name="connsiteY1048" fmla="*/ 1408113 h 2476500"/>
                  <a:gd name="connsiteX1049" fmla="*/ 449334 w 1757434"/>
                  <a:gd name="connsiteY1049" fmla="*/ 1401763 h 2476500"/>
                  <a:gd name="connsiteX1050" fmla="*/ 454097 w 1757434"/>
                  <a:gd name="connsiteY1050" fmla="*/ 1397000 h 2476500"/>
                  <a:gd name="connsiteX1051" fmla="*/ 455684 w 1757434"/>
                  <a:gd name="connsiteY1051" fmla="*/ 1390650 h 2476500"/>
                  <a:gd name="connsiteX1052" fmla="*/ 454097 w 1757434"/>
                  <a:gd name="connsiteY1052" fmla="*/ 1384300 h 2476500"/>
                  <a:gd name="connsiteX1053" fmla="*/ 457272 w 1757434"/>
                  <a:gd name="connsiteY1053" fmla="*/ 1377950 h 2476500"/>
                  <a:gd name="connsiteX1054" fmla="*/ 465209 w 1757434"/>
                  <a:gd name="connsiteY1054" fmla="*/ 1379538 h 2476500"/>
                  <a:gd name="connsiteX1055" fmla="*/ 473147 w 1757434"/>
                  <a:gd name="connsiteY1055" fmla="*/ 1349375 h 2476500"/>
                  <a:gd name="connsiteX1056" fmla="*/ 489022 w 1757434"/>
                  <a:gd name="connsiteY1056" fmla="*/ 1344613 h 2476500"/>
                  <a:gd name="connsiteX1057" fmla="*/ 490609 w 1757434"/>
                  <a:gd name="connsiteY1057" fmla="*/ 1336675 h 2476500"/>
                  <a:gd name="connsiteX1058" fmla="*/ 493784 w 1757434"/>
                  <a:gd name="connsiteY1058" fmla="*/ 1322388 h 2476500"/>
                  <a:gd name="connsiteX1059" fmla="*/ 501722 w 1757434"/>
                  <a:gd name="connsiteY1059" fmla="*/ 1327150 h 2476500"/>
                  <a:gd name="connsiteX1060" fmla="*/ 503309 w 1757434"/>
                  <a:gd name="connsiteY1060" fmla="*/ 1331913 h 2476500"/>
                  <a:gd name="connsiteX1061" fmla="*/ 506484 w 1757434"/>
                  <a:gd name="connsiteY1061" fmla="*/ 1325563 h 2476500"/>
                  <a:gd name="connsiteX1062" fmla="*/ 516009 w 1757434"/>
                  <a:gd name="connsiteY1062" fmla="*/ 1308100 h 2476500"/>
                  <a:gd name="connsiteX1063" fmla="*/ 517597 w 1757434"/>
                  <a:gd name="connsiteY1063" fmla="*/ 1298575 h 2476500"/>
                  <a:gd name="connsiteX1064" fmla="*/ 522359 w 1757434"/>
                  <a:gd name="connsiteY1064" fmla="*/ 1308100 h 2476500"/>
                  <a:gd name="connsiteX1065" fmla="*/ 525534 w 1757434"/>
                  <a:gd name="connsiteY1065" fmla="*/ 1312863 h 2476500"/>
                  <a:gd name="connsiteX1066" fmla="*/ 533472 w 1757434"/>
                  <a:gd name="connsiteY1066" fmla="*/ 1309688 h 2476500"/>
                  <a:gd name="connsiteX1067" fmla="*/ 539822 w 1757434"/>
                  <a:gd name="connsiteY1067" fmla="*/ 1298575 h 2476500"/>
                  <a:gd name="connsiteX1068" fmla="*/ 542997 w 1757434"/>
                  <a:gd name="connsiteY1068" fmla="*/ 1306513 h 2476500"/>
                  <a:gd name="connsiteX1069" fmla="*/ 544584 w 1757434"/>
                  <a:gd name="connsiteY1069" fmla="*/ 1319213 h 2476500"/>
                  <a:gd name="connsiteX1070" fmla="*/ 549347 w 1757434"/>
                  <a:gd name="connsiteY1070" fmla="*/ 1322388 h 2476500"/>
                  <a:gd name="connsiteX1071" fmla="*/ 557284 w 1757434"/>
                  <a:gd name="connsiteY1071" fmla="*/ 1304925 h 2476500"/>
                  <a:gd name="connsiteX1072" fmla="*/ 562047 w 1757434"/>
                  <a:gd name="connsiteY1072" fmla="*/ 1296988 h 2476500"/>
                  <a:gd name="connsiteX1073" fmla="*/ 563634 w 1757434"/>
                  <a:gd name="connsiteY1073" fmla="*/ 1292225 h 2476500"/>
                  <a:gd name="connsiteX1074" fmla="*/ 565222 w 1757434"/>
                  <a:gd name="connsiteY1074" fmla="*/ 1281113 h 2476500"/>
                  <a:gd name="connsiteX1075" fmla="*/ 568397 w 1757434"/>
                  <a:gd name="connsiteY1075" fmla="*/ 1274763 h 2476500"/>
                  <a:gd name="connsiteX1076" fmla="*/ 576334 w 1757434"/>
                  <a:gd name="connsiteY1076" fmla="*/ 1262063 h 2476500"/>
                  <a:gd name="connsiteX1077" fmla="*/ 584272 w 1757434"/>
                  <a:gd name="connsiteY1077" fmla="*/ 1246188 h 2476500"/>
                  <a:gd name="connsiteX1078" fmla="*/ 589034 w 1757434"/>
                  <a:gd name="connsiteY1078" fmla="*/ 1244600 h 2476500"/>
                  <a:gd name="connsiteX1079" fmla="*/ 601734 w 1757434"/>
                  <a:gd name="connsiteY1079" fmla="*/ 1243013 h 2476500"/>
                  <a:gd name="connsiteX1080" fmla="*/ 614434 w 1757434"/>
                  <a:gd name="connsiteY1080" fmla="*/ 1231900 h 2476500"/>
                  <a:gd name="connsiteX1081" fmla="*/ 616022 w 1757434"/>
                  <a:gd name="connsiteY1081" fmla="*/ 1208088 h 2476500"/>
                  <a:gd name="connsiteX1082" fmla="*/ 622372 w 1757434"/>
                  <a:gd name="connsiteY1082" fmla="*/ 1204913 h 2476500"/>
                  <a:gd name="connsiteX1083" fmla="*/ 627134 w 1757434"/>
                  <a:gd name="connsiteY1083" fmla="*/ 1201738 h 2476500"/>
                  <a:gd name="connsiteX1084" fmla="*/ 635072 w 1757434"/>
                  <a:gd name="connsiteY1084" fmla="*/ 1196975 h 2476500"/>
                  <a:gd name="connsiteX1085" fmla="*/ 639834 w 1757434"/>
                  <a:gd name="connsiteY1085" fmla="*/ 1193800 h 2476500"/>
                  <a:gd name="connsiteX1086" fmla="*/ 650947 w 1757434"/>
                  <a:gd name="connsiteY1086" fmla="*/ 1182688 h 2476500"/>
                  <a:gd name="connsiteX1087" fmla="*/ 654122 w 1757434"/>
                  <a:gd name="connsiteY1087" fmla="*/ 1173163 h 2476500"/>
                  <a:gd name="connsiteX1088" fmla="*/ 630309 w 1757434"/>
                  <a:gd name="connsiteY1088" fmla="*/ 1181100 h 2476500"/>
                  <a:gd name="connsiteX1089" fmla="*/ 622372 w 1757434"/>
                  <a:gd name="connsiteY1089" fmla="*/ 1182688 h 2476500"/>
                  <a:gd name="connsiteX1090" fmla="*/ 617609 w 1757434"/>
                  <a:gd name="connsiteY1090" fmla="*/ 1184275 h 2476500"/>
                  <a:gd name="connsiteX1091" fmla="*/ 611259 w 1757434"/>
                  <a:gd name="connsiteY1091" fmla="*/ 1189038 h 2476500"/>
                  <a:gd name="connsiteX1092" fmla="*/ 609672 w 1757434"/>
                  <a:gd name="connsiteY1092" fmla="*/ 1195388 h 2476500"/>
                  <a:gd name="connsiteX1093" fmla="*/ 598559 w 1757434"/>
                  <a:gd name="connsiteY1093" fmla="*/ 1214438 h 2476500"/>
                  <a:gd name="connsiteX1094" fmla="*/ 593797 w 1757434"/>
                  <a:gd name="connsiteY1094" fmla="*/ 1216025 h 2476500"/>
                  <a:gd name="connsiteX1095" fmla="*/ 598559 w 1757434"/>
                  <a:gd name="connsiteY1095" fmla="*/ 1190625 h 2476500"/>
                  <a:gd name="connsiteX1096" fmla="*/ 600147 w 1757434"/>
                  <a:gd name="connsiteY1096" fmla="*/ 1184275 h 2476500"/>
                  <a:gd name="connsiteX1097" fmla="*/ 601734 w 1757434"/>
                  <a:gd name="connsiteY1097" fmla="*/ 1176338 h 2476500"/>
                  <a:gd name="connsiteX1098" fmla="*/ 608084 w 1757434"/>
                  <a:gd name="connsiteY1098" fmla="*/ 1166813 h 2476500"/>
                  <a:gd name="connsiteX1099" fmla="*/ 620784 w 1757434"/>
                  <a:gd name="connsiteY1099" fmla="*/ 1160463 h 2476500"/>
                  <a:gd name="connsiteX1100" fmla="*/ 619197 w 1757434"/>
                  <a:gd name="connsiteY1100" fmla="*/ 1141413 h 2476500"/>
                  <a:gd name="connsiteX1101" fmla="*/ 623959 w 1757434"/>
                  <a:gd name="connsiteY1101" fmla="*/ 1143000 h 2476500"/>
                  <a:gd name="connsiteX1102" fmla="*/ 628722 w 1757434"/>
                  <a:gd name="connsiteY1102" fmla="*/ 1146175 h 2476500"/>
                  <a:gd name="connsiteX1103" fmla="*/ 630309 w 1757434"/>
                  <a:gd name="connsiteY1103" fmla="*/ 1125538 h 2476500"/>
                  <a:gd name="connsiteX1104" fmla="*/ 622372 w 1757434"/>
                  <a:gd name="connsiteY1104" fmla="*/ 1119188 h 2476500"/>
                  <a:gd name="connsiteX1105" fmla="*/ 625338 w 1757434"/>
                  <a:gd name="connsiteY1105" fmla="*/ 1109604 h 2476500"/>
                  <a:gd name="connsiteX1106" fmla="*/ 630062 w 1757434"/>
                  <a:gd name="connsiteY1106" fmla="*/ 1102117 h 2476500"/>
                  <a:gd name="connsiteX1107" fmla="*/ 635072 w 1757434"/>
                  <a:gd name="connsiteY1107" fmla="*/ 1104900 h 2476500"/>
                  <a:gd name="connsiteX1108" fmla="*/ 646184 w 1757434"/>
                  <a:gd name="connsiteY1108" fmla="*/ 1103313 h 2476500"/>
                  <a:gd name="connsiteX1109" fmla="*/ 630309 w 1757434"/>
                  <a:gd name="connsiteY1109" fmla="*/ 1101725 h 2476500"/>
                  <a:gd name="connsiteX1110" fmla="*/ 630062 w 1757434"/>
                  <a:gd name="connsiteY1110" fmla="*/ 1102117 h 2476500"/>
                  <a:gd name="connsiteX1111" fmla="*/ 620784 w 1757434"/>
                  <a:gd name="connsiteY1111" fmla="*/ 1096963 h 2476500"/>
                  <a:gd name="connsiteX1112" fmla="*/ 623959 w 1757434"/>
                  <a:gd name="connsiteY1112" fmla="*/ 1074738 h 2476500"/>
                  <a:gd name="connsiteX1113" fmla="*/ 633484 w 1757434"/>
                  <a:gd name="connsiteY1113" fmla="*/ 1073150 h 2476500"/>
                  <a:gd name="connsiteX1114" fmla="*/ 638247 w 1757434"/>
                  <a:gd name="connsiteY1114" fmla="*/ 1071563 h 2476500"/>
                  <a:gd name="connsiteX1115" fmla="*/ 644597 w 1757434"/>
                  <a:gd name="connsiteY1115" fmla="*/ 1077913 h 2476500"/>
                  <a:gd name="connsiteX1116" fmla="*/ 646184 w 1757434"/>
                  <a:gd name="connsiteY1116" fmla="*/ 1065213 h 2476500"/>
                  <a:gd name="connsiteX1117" fmla="*/ 652534 w 1757434"/>
                  <a:gd name="connsiteY1117" fmla="*/ 1046163 h 2476500"/>
                  <a:gd name="connsiteX1118" fmla="*/ 662059 w 1757434"/>
                  <a:gd name="connsiteY1118" fmla="*/ 1062038 h 2476500"/>
                  <a:gd name="connsiteX1119" fmla="*/ 669997 w 1757434"/>
                  <a:gd name="connsiteY1119" fmla="*/ 1066800 h 2476500"/>
                  <a:gd name="connsiteX1120" fmla="*/ 677934 w 1757434"/>
                  <a:gd name="connsiteY1120" fmla="*/ 1065213 h 2476500"/>
                  <a:gd name="connsiteX1121" fmla="*/ 666822 w 1757434"/>
                  <a:gd name="connsiteY1121" fmla="*/ 1042988 h 2476500"/>
                  <a:gd name="connsiteX1122" fmla="*/ 660472 w 1757434"/>
                  <a:gd name="connsiteY1122" fmla="*/ 1031875 h 2476500"/>
                  <a:gd name="connsiteX1123" fmla="*/ 654122 w 1757434"/>
                  <a:gd name="connsiteY1123" fmla="*/ 1028700 h 2476500"/>
                  <a:gd name="connsiteX1124" fmla="*/ 668409 w 1757434"/>
                  <a:gd name="connsiteY1124" fmla="*/ 1019175 h 2476500"/>
                  <a:gd name="connsiteX1125" fmla="*/ 676347 w 1757434"/>
                  <a:gd name="connsiteY1125" fmla="*/ 1016000 h 2476500"/>
                  <a:gd name="connsiteX1126" fmla="*/ 684284 w 1757434"/>
                  <a:gd name="connsiteY1126" fmla="*/ 1006475 h 2476500"/>
                  <a:gd name="connsiteX1127" fmla="*/ 692222 w 1757434"/>
                  <a:gd name="connsiteY1127" fmla="*/ 1000125 h 2476500"/>
                  <a:gd name="connsiteX1128" fmla="*/ 695397 w 1757434"/>
                  <a:gd name="connsiteY1128" fmla="*/ 993775 h 2476500"/>
                  <a:gd name="connsiteX1129" fmla="*/ 697575 w 1757434"/>
                  <a:gd name="connsiteY1129" fmla="*/ 989376 h 2476500"/>
                  <a:gd name="connsiteX1130" fmla="*/ 700379 w 1757434"/>
                  <a:gd name="connsiteY1130" fmla="*/ 989843 h 2476500"/>
                  <a:gd name="connsiteX1131" fmla="*/ 701747 w 1757434"/>
                  <a:gd name="connsiteY1131" fmla="*/ 1004888 h 2476500"/>
                  <a:gd name="connsiteX1132" fmla="*/ 708097 w 1757434"/>
                  <a:gd name="connsiteY1132" fmla="*/ 1019175 h 2476500"/>
                  <a:gd name="connsiteX1133" fmla="*/ 716034 w 1757434"/>
                  <a:gd name="connsiteY1133" fmla="*/ 1001713 h 2476500"/>
                  <a:gd name="connsiteX1134" fmla="*/ 720797 w 1757434"/>
                  <a:gd name="connsiteY1134" fmla="*/ 1000125 h 2476500"/>
                  <a:gd name="connsiteX1135" fmla="*/ 728734 w 1757434"/>
                  <a:gd name="connsiteY1135" fmla="*/ 995363 h 2476500"/>
                  <a:gd name="connsiteX1136" fmla="*/ 730322 w 1757434"/>
                  <a:gd name="connsiteY1136" fmla="*/ 989013 h 2476500"/>
                  <a:gd name="connsiteX1137" fmla="*/ 735084 w 1757434"/>
                  <a:gd name="connsiteY1137" fmla="*/ 981075 h 2476500"/>
                  <a:gd name="connsiteX1138" fmla="*/ 728734 w 1757434"/>
                  <a:gd name="connsiteY1138" fmla="*/ 982663 h 2476500"/>
                  <a:gd name="connsiteX1139" fmla="*/ 709684 w 1757434"/>
                  <a:gd name="connsiteY1139" fmla="*/ 989013 h 2476500"/>
                  <a:gd name="connsiteX1140" fmla="*/ 704922 w 1757434"/>
                  <a:gd name="connsiteY1140" fmla="*/ 990600 h 2476500"/>
                  <a:gd name="connsiteX1141" fmla="*/ 700379 w 1757434"/>
                  <a:gd name="connsiteY1141" fmla="*/ 989843 h 2476500"/>
                  <a:gd name="connsiteX1142" fmla="*/ 700159 w 1757434"/>
                  <a:gd name="connsiteY1142" fmla="*/ 987425 h 2476500"/>
                  <a:gd name="connsiteX1143" fmla="*/ 697812 w 1757434"/>
                  <a:gd name="connsiteY1143" fmla="*/ 988897 h 2476500"/>
                  <a:gd name="connsiteX1144" fmla="*/ 697575 w 1757434"/>
                  <a:gd name="connsiteY1144" fmla="*/ 989376 h 2476500"/>
                  <a:gd name="connsiteX1145" fmla="*/ 695397 w 1757434"/>
                  <a:gd name="connsiteY1145" fmla="*/ 989013 h 2476500"/>
                  <a:gd name="connsiteX1146" fmla="*/ 690634 w 1757434"/>
                  <a:gd name="connsiteY1146" fmla="*/ 985838 h 2476500"/>
                  <a:gd name="connsiteX1147" fmla="*/ 658884 w 1757434"/>
                  <a:gd name="connsiteY1147" fmla="*/ 982663 h 2476500"/>
                  <a:gd name="connsiteX1148" fmla="*/ 665234 w 1757434"/>
                  <a:gd name="connsiteY1148" fmla="*/ 947738 h 2476500"/>
                  <a:gd name="connsiteX1149" fmla="*/ 671584 w 1757434"/>
                  <a:gd name="connsiteY1149" fmla="*/ 946150 h 2476500"/>
                  <a:gd name="connsiteX1150" fmla="*/ 674759 w 1757434"/>
                  <a:gd name="connsiteY1150" fmla="*/ 941388 h 2476500"/>
                  <a:gd name="connsiteX1151" fmla="*/ 689047 w 1757434"/>
                  <a:gd name="connsiteY1151" fmla="*/ 935038 h 2476500"/>
                  <a:gd name="connsiteX1152" fmla="*/ 690634 w 1757434"/>
                  <a:gd name="connsiteY1152" fmla="*/ 941388 h 2476500"/>
                  <a:gd name="connsiteX1153" fmla="*/ 693809 w 1757434"/>
                  <a:gd name="connsiteY1153" fmla="*/ 947738 h 2476500"/>
                  <a:gd name="connsiteX1154" fmla="*/ 695397 w 1757434"/>
                  <a:gd name="connsiteY1154" fmla="*/ 930275 h 2476500"/>
                  <a:gd name="connsiteX1155" fmla="*/ 701747 w 1757434"/>
                  <a:gd name="connsiteY1155" fmla="*/ 917575 h 2476500"/>
                  <a:gd name="connsiteX1156" fmla="*/ 708097 w 1757434"/>
                  <a:gd name="connsiteY1156" fmla="*/ 920750 h 2476500"/>
                  <a:gd name="connsiteX1157" fmla="*/ 714105 w 1757434"/>
                  <a:gd name="connsiteY1157" fmla="*/ 909845 h 2476500"/>
                  <a:gd name="connsiteX1158" fmla="*/ 711560 w 1757434"/>
                  <a:gd name="connsiteY1158" fmla="*/ 898249 h 2476500"/>
                  <a:gd name="connsiteX1159" fmla="*/ 716034 w 1757434"/>
                  <a:gd name="connsiteY1159" fmla="*/ 900113 h 2476500"/>
                  <a:gd name="connsiteX1160" fmla="*/ 711272 w 1757434"/>
                  <a:gd name="connsiteY1160" fmla="*/ 896938 h 2476500"/>
                  <a:gd name="connsiteX1161" fmla="*/ 711560 w 1757434"/>
                  <a:gd name="connsiteY1161" fmla="*/ 898249 h 2476500"/>
                  <a:gd name="connsiteX1162" fmla="*/ 696984 w 1757434"/>
                  <a:gd name="connsiteY1162" fmla="*/ 892175 h 2476500"/>
                  <a:gd name="connsiteX1163" fmla="*/ 695397 w 1757434"/>
                  <a:gd name="connsiteY1163" fmla="*/ 868363 h 2476500"/>
                  <a:gd name="connsiteX1164" fmla="*/ 738259 w 1757434"/>
                  <a:gd name="connsiteY1164" fmla="*/ 862013 h 2476500"/>
                  <a:gd name="connsiteX1165" fmla="*/ 731909 w 1757434"/>
                  <a:gd name="connsiteY1165" fmla="*/ 858838 h 2476500"/>
                  <a:gd name="connsiteX1166" fmla="*/ 741434 w 1757434"/>
                  <a:gd name="connsiteY1166" fmla="*/ 852488 h 2476500"/>
                  <a:gd name="connsiteX1167" fmla="*/ 747784 w 1757434"/>
                  <a:gd name="connsiteY1167" fmla="*/ 858838 h 2476500"/>
                  <a:gd name="connsiteX1168" fmla="*/ 746197 w 1757434"/>
                  <a:gd name="connsiteY1168" fmla="*/ 854075 h 2476500"/>
                  <a:gd name="connsiteX1169" fmla="*/ 749372 w 1757434"/>
                  <a:gd name="connsiteY1169" fmla="*/ 838200 h 2476500"/>
                  <a:gd name="connsiteX1170" fmla="*/ 757309 w 1757434"/>
                  <a:gd name="connsiteY1170" fmla="*/ 833438 h 2476500"/>
                  <a:gd name="connsiteX1171" fmla="*/ 758897 w 1757434"/>
                  <a:gd name="connsiteY1171" fmla="*/ 844550 h 2476500"/>
                  <a:gd name="connsiteX1172" fmla="*/ 762072 w 1757434"/>
                  <a:gd name="connsiteY1172" fmla="*/ 849313 h 2476500"/>
                  <a:gd name="connsiteX1173" fmla="*/ 766834 w 1757434"/>
                  <a:gd name="connsiteY1173" fmla="*/ 847725 h 2476500"/>
                  <a:gd name="connsiteX1174" fmla="*/ 763659 w 1757434"/>
                  <a:gd name="connsiteY1174" fmla="*/ 827088 h 2476500"/>
                  <a:gd name="connsiteX1175" fmla="*/ 770009 w 1757434"/>
                  <a:gd name="connsiteY1175" fmla="*/ 812800 h 2476500"/>
                  <a:gd name="connsiteX1176" fmla="*/ 774772 w 1757434"/>
                  <a:gd name="connsiteY1176" fmla="*/ 815975 h 2476500"/>
                  <a:gd name="connsiteX1177" fmla="*/ 782709 w 1757434"/>
                  <a:gd name="connsiteY1177" fmla="*/ 823913 h 2476500"/>
                  <a:gd name="connsiteX1178" fmla="*/ 789059 w 1757434"/>
                  <a:gd name="connsiteY1178" fmla="*/ 819150 h 2476500"/>
                  <a:gd name="connsiteX1179" fmla="*/ 793822 w 1757434"/>
                  <a:gd name="connsiteY1179" fmla="*/ 806450 h 2476500"/>
                  <a:gd name="connsiteX1180" fmla="*/ 806522 w 1757434"/>
                  <a:gd name="connsiteY1180" fmla="*/ 819150 h 2476500"/>
                  <a:gd name="connsiteX1181" fmla="*/ 808109 w 1757434"/>
                  <a:gd name="connsiteY1181" fmla="*/ 831850 h 2476500"/>
                  <a:gd name="connsiteX1182" fmla="*/ 811284 w 1757434"/>
                  <a:gd name="connsiteY1182" fmla="*/ 823913 h 2476500"/>
                  <a:gd name="connsiteX1183" fmla="*/ 820809 w 1757434"/>
                  <a:gd name="connsiteY1183" fmla="*/ 830263 h 2476500"/>
                  <a:gd name="connsiteX1184" fmla="*/ 828747 w 1757434"/>
                  <a:gd name="connsiteY1184" fmla="*/ 828675 h 2476500"/>
                  <a:gd name="connsiteX1185" fmla="*/ 830334 w 1757434"/>
                  <a:gd name="connsiteY1185" fmla="*/ 815975 h 2476500"/>
                  <a:gd name="connsiteX1186" fmla="*/ 831922 w 1757434"/>
                  <a:gd name="connsiteY1186" fmla="*/ 811213 h 2476500"/>
                  <a:gd name="connsiteX1187" fmla="*/ 833509 w 1757434"/>
                  <a:gd name="connsiteY1187" fmla="*/ 796925 h 2476500"/>
                  <a:gd name="connsiteX1188" fmla="*/ 831922 w 1757434"/>
                  <a:gd name="connsiteY1188" fmla="*/ 790575 h 2476500"/>
                  <a:gd name="connsiteX1189" fmla="*/ 830334 w 1757434"/>
                  <a:gd name="connsiteY1189" fmla="*/ 782638 h 2476500"/>
                  <a:gd name="connsiteX1190" fmla="*/ 831922 w 1757434"/>
                  <a:gd name="connsiteY1190" fmla="*/ 760413 h 2476500"/>
                  <a:gd name="connsiteX1191" fmla="*/ 793822 w 1757434"/>
                  <a:gd name="connsiteY1191" fmla="*/ 765175 h 2476500"/>
                  <a:gd name="connsiteX1192" fmla="*/ 804934 w 1757434"/>
                  <a:gd name="connsiteY1192" fmla="*/ 755650 h 2476500"/>
                  <a:gd name="connsiteX1193" fmla="*/ 806522 w 1757434"/>
                  <a:gd name="connsiteY1193" fmla="*/ 750888 h 2476500"/>
                  <a:gd name="connsiteX1194" fmla="*/ 808109 w 1757434"/>
                  <a:gd name="connsiteY1194" fmla="*/ 741363 h 2476500"/>
                  <a:gd name="connsiteX1195" fmla="*/ 812872 w 1757434"/>
                  <a:gd name="connsiteY1195" fmla="*/ 739775 h 2476500"/>
                  <a:gd name="connsiteX1196" fmla="*/ 817634 w 1757434"/>
                  <a:gd name="connsiteY1196" fmla="*/ 735013 h 2476500"/>
                  <a:gd name="connsiteX1197" fmla="*/ 812872 w 1757434"/>
                  <a:gd name="connsiteY1197" fmla="*/ 731838 h 2476500"/>
                  <a:gd name="connsiteX1198" fmla="*/ 796997 w 1757434"/>
                  <a:gd name="connsiteY1198" fmla="*/ 728663 h 2476500"/>
                  <a:gd name="connsiteX1199" fmla="*/ 784297 w 1757434"/>
                  <a:gd name="connsiteY1199" fmla="*/ 727075 h 2476500"/>
                  <a:gd name="connsiteX1200" fmla="*/ 793822 w 1757434"/>
                  <a:gd name="connsiteY1200" fmla="*/ 704850 h 2476500"/>
                  <a:gd name="connsiteX1201" fmla="*/ 801759 w 1757434"/>
                  <a:gd name="connsiteY1201" fmla="*/ 703263 h 2476500"/>
                  <a:gd name="connsiteX1202" fmla="*/ 813273 w 1757434"/>
                  <a:gd name="connsiteY1202" fmla="*/ 704702 h 2476500"/>
                  <a:gd name="connsiteX1203" fmla="*/ 812872 w 1757434"/>
                  <a:gd name="connsiteY1203" fmla="*/ 709613 h 2476500"/>
                  <a:gd name="connsiteX1204" fmla="*/ 814459 w 1757434"/>
                  <a:gd name="connsiteY1204" fmla="*/ 704850 h 2476500"/>
                  <a:gd name="connsiteX1205" fmla="*/ 813273 w 1757434"/>
                  <a:gd name="connsiteY1205" fmla="*/ 704702 h 2476500"/>
                  <a:gd name="connsiteX1206" fmla="*/ 814261 w 1757434"/>
                  <a:gd name="connsiteY1206" fmla="*/ 692608 h 2476500"/>
                  <a:gd name="connsiteX1207" fmla="*/ 816047 w 1757434"/>
                  <a:gd name="connsiteY1207" fmla="*/ 674688 h 2476500"/>
                  <a:gd name="connsiteX1208" fmla="*/ 823984 w 1757434"/>
                  <a:gd name="connsiteY1208" fmla="*/ 684213 h 2476500"/>
                  <a:gd name="connsiteX1209" fmla="*/ 827159 w 1757434"/>
                  <a:gd name="connsiteY1209" fmla="*/ 688975 h 2476500"/>
                  <a:gd name="connsiteX1210" fmla="*/ 830334 w 1757434"/>
                  <a:gd name="connsiteY1210" fmla="*/ 677863 h 2476500"/>
                  <a:gd name="connsiteX1211" fmla="*/ 846209 w 1757434"/>
                  <a:gd name="connsiteY1211" fmla="*/ 669925 h 2476500"/>
                  <a:gd name="connsiteX1212" fmla="*/ 850972 w 1757434"/>
                  <a:gd name="connsiteY1212" fmla="*/ 668338 h 2476500"/>
                  <a:gd name="connsiteX1213" fmla="*/ 850972 w 1757434"/>
                  <a:gd name="connsiteY1213" fmla="*/ 682625 h 2476500"/>
                  <a:gd name="connsiteX1214" fmla="*/ 857322 w 1757434"/>
                  <a:gd name="connsiteY1214" fmla="*/ 674688 h 2476500"/>
                  <a:gd name="connsiteX1215" fmla="*/ 863672 w 1757434"/>
                  <a:gd name="connsiteY1215" fmla="*/ 668338 h 2476500"/>
                  <a:gd name="connsiteX1216" fmla="*/ 865259 w 1757434"/>
                  <a:gd name="connsiteY1216" fmla="*/ 676275 h 2476500"/>
                  <a:gd name="connsiteX1217" fmla="*/ 868434 w 1757434"/>
                  <a:gd name="connsiteY1217" fmla="*/ 682625 h 2476500"/>
                  <a:gd name="connsiteX1218" fmla="*/ 871609 w 1757434"/>
                  <a:gd name="connsiteY1218" fmla="*/ 661988 h 2476500"/>
                  <a:gd name="connsiteX1219" fmla="*/ 876372 w 1757434"/>
                  <a:gd name="connsiteY1219" fmla="*/ 660400 h 2476500"/>
                  <a:gd name="connsiteX1220" fmla="*/ 877959 w 1757434"/>
                  <a:gd name="connsiteY1220" fmla="*/ 655638 h 2476500"/>
                  <a:gd name="connsiteX1221" fmla="*/ 876372 w 1757434"/>
                  <a:gd name="connsiteY1221" fmla="*/ 650875 h 2476500"/>
                  <a:gd name="connsiteX1222" fmla="*/ 874784 w 1757434"/>
                  <a:gd name="connsiteY1222" fmla="*/ 641350 h 2476500"/>
                  <a:gd name="connsiteX1223" fmla="*/ 870022 w 1757434"/>
                  <a:gd name="connsiteY1223" fmla="*/ 638175 h 2476500"/>
                  <a:gd name="connsiteX1224" fmla="*/ 870022 w 1757434"/>
                  <a:gd name="connsiteY1224" fmla="*/ 617538 h 2476500"/>
                  <a:gd name="connsiteX1225" fmla="*/ 873197 w 1757434"/>
                  <a:gd name="connsiteY1225" fmla="*/ 612775 h 2476500"/>
                  <a:gd name="connsiteX1226" fmla="*/ 874784 w 1757434"/>
                  <a:gd name="connsiteY1226" fmla="*/ 601663 h 2476500"/>
                  <a:gd name="connsiteX1227" fmla="*/ 879547 w 1757434"/>
                  <a:gd name="connsiteY1227" fmla="*/ 606425 h 2476500"/>
                  <a:gd name="connsiteX1228" fmla="*/ 882722 w 1757434"/>
                  <a:gd name="connsiteY1228" fmla="*/ 614363 h 2476500"/>
                  <a:gd name="connsiteX1229" fmla="*/ 887484 w 1757434"/>
                  <a:gd name="connsiteY1229" fmla="*/ 617538 h 2476500"/>
                  <a:gd name="connsiteX1230" fmla="*/ 892247 w 1757434"/>
                  <a:gd name="connsiteY1230" fmla="*/ 622300 h 2476500"/>
                  <a:gd name="connsiteX1231" fmla="*/ 903359 w 1757434"/>
                  <a:gd name="connsiteY1231" fmla="*/ 619125 h 2476500"/>
                  <a:gd name="connsiteX1232" fmla="*/ 914472 w 1757434"/>
                  <a:gd name="connsiteY1232" fmla="*/ 604838 h 2476500"/>
                  <a:gd name="connsiteX1233" fmla="*/ 916059 w 1757434"/>
                  <a:gd name="connsiteY1233" fmla="*/ 598488 h 2476500"/>
                  <a:gd name="connsiteX1234" fmla="*/ 920822 w 1757434"/>
                  <a:gd name="connsiteY1234" fmla="*/ 595313 h 2476500"/>
                  <a:gd name="connsiteX1235" fmla="*/ 923997 w 1757434"/>
                  <a:gd name="connsiteY1235" fmla="*/ 603250 h 2476500"/>
                  <a:gd name="connsiteX1236" fmla="*/ 928759 w 1757434"/>
                  <a:gd name="connsiteY1236" fmla="*/ 619125 h 2476500"/>
                  <a:gd name="connsiteX1237" fmla="*/ 933522 w 1757434"/>
                  <a:gd name="connsiteY1237" fmla="*/ 620713 h 2476500"/>
                  <a:gd name="connsiteX1238" fmla="*/ 935109 w 1757434"/>
                  <a:gd name="connsiteY1238" fmla="*/ 625475 h 2476500"/>
                  <a:gd name="connsiteX1239" fmla="*/ 936697 w 1757434"/>
                  <a:gd name="connsiteY1239" fmla="*/ 619125 h 2476500"/>
                  <a:gd name="connsiteX1240" fmla="*/ 938284 w 1757434"/>
                  <a:gd name="connsiteY1240" fmla="*/ 603250 h 2476500"/>
                  <a:gd name="connsiteX1241" fmla="*/ 950984 w 1757434"/>
                  <a:gd name="connsiteY1241" fmla="*/ 590550 h 2476500"/>
                  <a:gd name="connsiteX1242" fmla="*/ 949397 w 1757434"/>
                  <a:gd name="connsiteY1242" fmla="*/ 582613 h 2476500"/>
                  <a:gd name="connsiteX1243" fmla="*/ 936697 w 1757434"/>
                  <a:gd name="connsiteY1243" fmla="*/ 577850 h 2476500"/>
                  <a:gd name="connsiteX1244" fmla="*/ 911297 w 1757434"/>
                  <a:gd name="connsiteY1244" fmla="*/ 579438 h 2476500"/>
                  <a:gd name="connsiteX1245" fmla="*/ 895422 w 1757434"/>
                  <a:gd name="connsiteY1245" fmla="*/ 584200 h 2476500"/>
                  <a:gd name="connsiteX1246" fmla="*/ 887484 w 1757434"/>
                  <a:gd name="connsiteY1246" fmla="*/ 585788 h 2476500"/>
                  <a:gd name="connsiteX1247" fmla="*/ 863672 w 1757434"/>
                  <a:gd name="connsiteY1247" fmla="*/ 582613 h 2476500"/>
                  <a:gd name="connsiteX1248" fmla="*/ 868434 w 1757434"/>
                  <a:gd name="connsiteY1248" fmla="*/ 577850 h 2476500"/>
                  <a:gd name="connsiteX1249" fmla="*/ 876372 w 1757434"/>
                  <a:gd name="connsiteY1249" fmla="*/ 574675 h 2476500"/>
                  <a:gd name="connsiteX1250" fmla="*/ 881134 w 1757434"/>
                  <a:gd name="connsiteY1250" fmla="*/ 571500 h 2476500"/>
                  <a:gd name="connsiteX1251" fmla="*/ 882722 w 1757434"/>
                  <a:gd name="connsiteY1251" fmla="*/ 566738 h 2476500"/>
                  <a:gd name="connsiteX1252" fmla="*/ 887484 w 1757434"/>
                  <a:gd name="connsiteY1252" fmla="*/ 544513 h 2476500"/>
                  <a:gd name="connsiteX1253" fmla="*/ 892247 w 1757434"/>
                  <a:gd name="connsiteY1253" fmla="*/ 541338 h 2476500"/>
                  <a:gd name="connsiteX1254" fmla="*/ 898597 w 1757434"/>
                  <a:gd name="connsiteY1254" fmla="*/ 542925 h 2476500"/>
                  <a:gd name="connsiteX1255" fmla="*/ 911297 w 1757434"/>
                  <a:gd name="connsiteY1255" fmla="*/ 531813 h 2476500"/>
                  <a:gd name="connsiteX1256" fmla="*/ 919234 w 1757434"/>
                  <a:gd name="connsiteY1256" fmla="*/ 530225 h 2476500"/>
                  <a:gd name="connsiteX1257" fmla="*/ 925584 w 1757434"/>
                  <a:gd name="connsiteY1257" fmla="*/ 534988 h 2476500"/>
                  <a:gd name="connsiteX1258" fmla="*/ 928759 w 1757434"/>
                  <a:gd name="connsiteY1258" fmla="*/ 539750 h 2476500"/>
                  <a:gd name="connsiteX1259" fmla="*/ 935109 w 1757434"/>
                  <a:gd name="connsiteY1259" fmla="*/ 544513 h 2476500"/>
                  <a:gd name="connsiteX1260" fmla="*/ 947809 w 1757434"/>
                  <a:gd name="connsiteY1260" fmla="*/ 531813 h 2476500"/>
                  <a:gd name="connsiteX1261" fmla="*/ 952572 w 1757434"/>
                  <a:gd name="connsiteY1261" fmla="*/ 530225 h 2476500"/>
                  <a:gd name="connsiteX1262" fmla="*/ 955747 w 1757434"/>
                  <a:gd name="connsiteY1262" fmla="*/ 522288 h 2476500"/>
                  <a:gd name="connsiteX1263" fmla="*/ 955747 w 1757434"/>
                  <a:gd name="connsiteY1263" fmla="*/ 509588 h 2476500"/>
                  <a:gd name="connsiteX1264" fmla="*/ 950984 w 1757434"/>
                  <a:gd name="connsiteY1264" fmla="*/ 506413 h 2476500"/>
                  <a:gd name="connsiteX1265" fmla="*/ 939872 w 1757434"/>
                  <a:gd name="connsiteY1265" fmla="*/ 508000 h 2476500"/>
                  <a:gd name="connsiteX1266" fmla="*/ 920822 w 1757434"/>
                  <a:gd name="connsiteY1266" fmla="*/ 512763 h 2476500"/>
                  <a:gd name="connsiteX1267" fmla="*/ 919234 w 1757434"/>
                  <a:gd name="connsiteY1267" fmla="*/ 496888 h 2476500"/>
                  <a:gd name="connsiteX1268" fmla="*/ 925584 w 1757434"/>
                  <a:gd name="connsiteY1268" fmla="*/ 495300 h 2476500"/>
                  <a:gd name="connsiteX1269" fmla="*/ 914472 w 1757434"/>
                  <a:gd name="connsiteY1269" fmla="*/ 488950 h 2476500"/>
                  <a:gd name="connsiteX1270" fmla="*/ 908122 w 1757434"/>
                  <a:gd name="connsiteY1270" fmla="*/ 484188 h 2476500"/>
                  <a:gd name="connsiteX1271" fmla="*/ 912884 w 1757434"/>
                  <a:gd name="connsiteY1271" fmla="*/ 481013 h 2476500"/>
                  <a:gd name="connsiteX1272" fmla="*/ 916059 w 1757434"/>
                  <a:gd name="connsiteY1272" fmla="*/ 476250 h 2476500"/>
                  <a:gd name="connsiteX1273" fmla="*/ 920822 w 1757434"/>
                  <a:gd name="connsiteY1273" fmla="*/ 474663 h 2476500"/>
                  <a:gd name="connsiteX1274" fmla="*/ 935109 w 1757434"/>
                  <a:gd name="connsiteY1274" fmla="*/ 473075 h 2476500"/>
                  <a:gd name="connsiteX1275" fmla="*/ 941459 w 1757434"/>
                  <a:gd name="connsiteY1275" fmla="*/ 469900 h 2476500"/>
                  <a:gd name="connsiteX1276" fmla="*/ 958922 w 1757434"/>
                  <a:gd name="connsiteY1276" fmla="*/ 455613 h 2476500"/>
                  <a:gd name="connsiteX1277" fmla="*/ 958922 w 1757434"/>
                  <a:gd name="connsiteY1277" fmla="*/ 422275 h 2476500"/>
                  <a:gd name="connsiteX1278" fmla="*/ 965272 w 1757434"/>
                  <a:gd name="connsiteY1278" fmla="*/ 412750 h 2476500"/>
                  <a:gd name="connsiteX1279" fmla="*/ 968447 w 1757434"/>
                  <a:gd name="connsiteY1279" fmla="*/ 407988 h 2476500"/>
                  <a:gd name="connsiteX1280" fmla="*/ 974797 w 1757434"/>
                  <a:gd name="connsiteY1280" fmla="*/ 406400 h 2476500"/>
                  <a:gd name="connsiteX1281" fmla="*/ 985909 w 1757434"/>
                  <a:gd name="connsiteY1281" fmla="*/ 414338 h 2476500"/>
                  <a:gd name="connsiteX1282" fmla="*/ 981147 w 1757434"/>
                  <a:gd name="connsiteY1282" fmla="*/ 419100 h 2476500"/>
                  <a:gd name="connsiteX1283" fmla="*/ 982734 w 1757434"/>
                  <a:gd name="connsiteY1283" fmla="*/ 430213 h 2476500"/>
                  <a:gd name="connsiteX1284" fmla="*/ 989084 w 1757434"/>
                  <a:gd name="connsiteY1284" fmla="*/ 428625 h 2476500"/>
                  <a:gd name="connsiteX1285" fmla="*/ 1000197 w 1757434"/>
                  <a:gd name="connsiteY1285" fmla="*/ 422275 h 2476500"/>
                  <a:gd name="connsiteX1286" fmla="*/ 1006547 w 1757434"/>
                  <a:gd name="connsiteY1286" fmla="*/ 423863 h 2476500"/>
                  <a:gd name="connsiteX1287" fmla="*/ 1009722 w 1757434"/>
                  <a:gd name="connsiteY1287" fmla="*/ 430213 h 2476500"/>
                  <a:gd name="connsiteX1288" fmla="*/ 1016072 w 1757434"/>
                  <a:gd name="connsiteY1288" fmla="*/ 434975 h 2476500"/>
                  <a:gd name="connsiteX1289" fmla="*/ 1024009 w 1757434"/>
                  <a:gd name="connsiteY1289" fmla="*/ 425450 h 2476500"/>
                  <a:gd name="connsiteX1290" fmla="*/ 1027184 w 1757434"/>
                  <a:gd name="connsiteY1290" fmla="*/ 414338 h 2476500"/>
                  <a:gd name="connsiteX1291" fmla="*/ 1039884 w 1757434"/>
                  <a:gd name="connsiteY1291" fmla="*/ 419100 h 2476500"/>
                  <a:gd name="connsiteX1292" fmla="*/ 1041472 w 1757434"/>
                  <a:gd name="connsiteY1292" fmla="*/ 414338 h 2476500"/>
                  <a:gd name="connsiteX1293" fmla="*/ 1024009 w 1757434"/>
                  <a:gd name="connsiteY1293" fmla="*/ 412750 h 2476500"/>
                  <a:gd name="connsiteX1294" fmla="*/ 1009722 w 1757434"/>
                  <a:gd name="connsiteY1294" fmla="*/ 409575 h 2476500"/>
                  <a:gd name="connsiteX1295" fmla="*/ 1004959 w 1757434"/>
                  <a:gd name="connsiteY1295" fmla="*/ 403225 h 2476500"/>
                  <a:gd name="connsiteX1296" fmla="*/ 1004959 w 1757434"/>
                  <a:gd name="connsiteY1296" fmla="*/ 384175 h 2476500"/>
                  <a:gd name="connsiteX1297" fmla="*/ 1014484 w 1757434"/>
                  <a:gd name="connsiteY1297" fmla="*/ 382588 h 2476500"/>
                  <a:gd name="connsiteX1298" fmla="*/ 1019247 w 1757434"/>
                  <a:gd name="connsiteY1298" fmla="*/ 387350 h 2476500"/>
                  <a:gd name="connsiteX1299" fmla="*/ 1025597 w 1757434"/>
                  <a:gd name="connsiteY1299" fmla="*/ 388938 h 2476500"/>
                  <a:gd name="connsiteX1300" fmla="*/ 1028772 w 1757434"/>
                  <a:gd name="connsiteY1300" fmla="*/ 393700 h 2476500"/>
                  <a:gd name="connsiteX1301" fmla="*/ 1033534 w 1757434"/>
                  <a:gd name="connsiteY1301" fmla="*/ 395288 h 2476500"/>
                  <a:gd name="connsiteX1302" fmla="*/ 1038297 w 1757434"/>
                  <a:gd name="connsiteY1302" fmla="*/ 398463 h 2476500"/>
                  <a:gd name="connsiteX1303" fmla="*/ 1046234 w 1757434"/>
                  <a:gd name="connsiteY1303" fmla="*/ 412750 h 2476500"/>
                  <a:gd name="connsiteX1304" fmla="*/ 1050997 w 1757434"/>
                  <a:gd name="connsiteY1304" fmla="*/ 415925 h 2476500"/>
                  <a:gd name="connsiteX1305" fmla="*/ 1066872 w 1757434"/>
                  <a:gd name="connsiteY1305" fmla="*/ 414338 h 2476500"/>
                  <a:gd name="connsiteX1306" fmla="*/ 1060522 w 1757434"/>
                  <a:gd name="connsiteY1306" fmla="*/ 400050 h 2476500"/>
                  <a:gd name="connsiteX1307" fmla="*/ 1058934 w 1757434"/>
                  <a:gd name="connsiteY1307" fmla="*/ 387350 h 2476500"/>
                  <a:gd name="connsiteX1308" fmla="*/ 1062109 w 1757434"/>
                  <a:gd name="connsiteY1308" fmla="*/ 352425 h 2476500"/>
                  <a:gd name="connsiteX1309" fmla="*/ 1054172 w 1757434"/>
                  <a:gd name="connsiteY1309" fmla="*/ 349250 h 2476500"/>
                  <a:gd name="connsiteX1310" fmla="*/ 1036709 w 1757434"/>
                  <a:gd name="connsiteY1310" fmla="*/ 347663 h 2476500"/>
                  <a:gd name="connsiteX1311" fmla="*/ 1033534 w 1757434"/>
                  <a:gd name="connsiteY1311" fmla="*/ 342900 h 2476500"/>
                  <a:gd name="connsiteX1312" fmla="*/ 1035122 w 1757434"/>
                  <a:gd name="connsiteY1312" fmla="*/ 336550 h 2476500"/>
                  <a:gd name="connsiteX1313" fmla="*/ 1057347 w 1757434"/>
                  <a:gd name="connsiteY1313" fmla="*/ 328613 h 2476500"/>
                  <a:gd name="connsiteX1314" fmla="*/ 1068459 w 1757434"/>
                  <a:gd name="connsiteY1314" fmla="*/ 325438 h 2476500"/>
                  <a:gd name="connsiteX1315" fmla="*/ 1071634 w 1757434"/>
                  <a:gd name="connsiteY1315" fmla="*/ 344488 h 2476500"/>
                  <a:gd name="connsiteX1316" fmla="*/ 1074809 w 1757434"/>
                  <a:gd name="connsiteY1316" fmla="*/ 349250 h 2476500"/>
                  <a:gd name="connsiteX1317" fmla="*/ 1079572 w 1757434"/>
                  <a:gd name="connsiteY1317" fmla="*/ 360363 h 2476500"/>
                  <a:gd name="connsiteX1318" fmla="*/ 1076397 w 1757434"/>
                  <a:gd name="connsiteY1318" fmla="*/ 393700 h 2476500"/>
                  <a:gd name="connsiteX1319" fmla="*/ 1074809 w 1757434"/>
                  <a:gd name="connsiteY1319" fmla="*/ 398463 h 2476500"/>
                  <a:gd name="connsiteX1320" fmla="*/ 1079572 w 1757434"/>
                  <a:gd name="connsiteY1320" fmla="*/ 400050 h 2476500"/>
                  <a:gd name="connsiteX1321" fmla="*/ 1090684 w 1757434"/>
                  <a:gd name="connsiteY1321" fmla="*/ 392113 h 2476500"/>
                  <a:gd name="connsiteX1322" fmla="*/ 1093859 w 1757434"/>
                  <a:gd name="connsiteY1322" fmla="*/ 377825 h 2476500"/>
                  <a:gd name="connsiteX1323" fmla="*/ 1104972 w 1757434"/>
                  <a:gd name="connsiteY1323" fmla="*/ 368300 h 2476500"/>
                  <a:gd name="connsiteX1324" fmla="*/ 1111322 w 1757434"/>
                  <a:gd name="connsiteY1324" fmla="*/ 363538 h 2476500"/>
                  <a:gd name="connsiteX1325" fmla="*/ 1120847 w 1757434"/>
                  <a:gd name="connsiteY1325" fmla="*/ 361950 h 2476500"/>
                  <a:gd name="connsiteX1326" fmla="*/ 1125609 w 1757434"/>
                  <a:gd name="connsiteY1326" fmla="*/ 360363 h 2476500"/>
                  <a:gd name="connsiteX1327" fmla="*/ 1124022 w 1757434"/>
                  <a:gd name="connsiteY1327" fmla="*/ 355600 h 2476500"/>
                  <a:gd name="connsiteX1328" fmla="*/ 1114497 w 1757434"/>
                  <a:gd name="connsiteY1328" fmla="*/ 354013 h 2476500"/>
                  <a:gd name="connsiteX1329" fmla="*/ 1100209 w 1757434"/>
                  <a:gd name="connsiteY1329" fmla="*/ 349250 h 2476500"/>
                  <a:gd name="connsiteX1330" fmla="*/ 1106559 w 1757434"/>
                  <a:gd name="connsiteY1330" fmla="*/ 325438 h 2476500"/>
                  <a:gd name="connsiteX1331" fmla="*/ 1112909 w 1757434"/>
                  <a:gd name="connsiteY1331" fmla="*/ 322263 h 2476500"/>
                  <a:gd name="connsiteX1332" fmla="*/ 1116084 w 1757434"/>
                  <a:gd name="connsiteY1332" fmla="*/ 317500 h 2476500"/>
                  <a:gd name="connsiteX1333" fmla="*/ 1120847 w 1757434"/>
                  <a:gd name="connsiteY1333" fmla="*/ 311150 h 2476500"/>
                  <a:gd name="connsiteX1334" fmla="*/ 1119259 w 1757434"/>
                  <a:gd name="connsiteY1334" fmla="*/ 303213 h 2476500"/>
                  <a:gd name="connsiteX1335" fmla="*/ 1120847 w 1757434"/>
                  <a:gd name="connsiteY1335" fmla="*/ 292100 h 2476500"/>
                  <a:gd name="connsiteX1336" fmla="*/ 1124022 w 1757434"/>
                  <a:gd name="connsiteY1336" fmla="*/ 287338 h 2476500"/>
                  <a:gd name="connsiteX1337" fmla="*/ 1125609 w 1757434"/>
                  <a:gd name="connsiteY1337" fmla="*/ 280988 h 2476500"/>
                  <a:gd name="connsiteX1338" fmla="*/ 1130372 w 1757434"/>
                  <a:gd name="connsiteY1338" fmla="*/ 271463 h 2476500"/>
                  <a:gd name="connsiteX1339" fmla="*/ 1136722 w 1757434"/>
                  <a:gd name="connsiteY1339" fmla="*/ 284163 h 2476500"/>
                  <a:gd name="connsiteX1340" fmla="*/ 1138309 w 1757434"/>
                  <a:gd name="connsiteY1340" fmla="*/ 288925 h 2476500"/>
                  <a:gd name="connsiteX1341" fmla="*/ 1144659 w 1757434"/>
                  <a:gd name="connsiteY1341" fmla="*/ 296863 h 2476500"/>
                  <a:gd name="connsiteX1342" fmla="*/ 1151009 w 1757434"/>
                  <a:gd name="connsiteY1342" fmla="*/ 298450 h 2476500"/>
                  <a:gd name="connsiteX1343" fmla="*/ 1154184 w 1757434"/>
                  <a:gd name="connsiteY1343" fmla="*/ 309563 h 2476500"/>
                  <a:gd name="connsiteX1344" fmla="*/ 1173234 w 1757434"/>
                  <a:gd name="connsiteY1344" fmla="*/ 312738 h 2476500"/>
                  <a:gd name="connsiteX1345" fmla="*/ 1177997 w 1757434"/>
                  <a:gd name="connsiteY1345" fmla="*/ 314325 h 2476500"/>
                  <a:gd name="connsiteX1346" fmla="*/ 1187522 w 1757434"/>
                  <a:gd name="connsiteY1346" fmla="*/ 314325 h 2476500"/>
                  <a:gd name="connsiteX1347" fmla="*/ 1198634 w 1757434"/>
                  <a:gd name="connsiteY1347" fmla="*/ 315913 h 2476500"/>
                  <a:gd name="connsiteX1348" fmla="*/ 1197047 w 1757434"/>
                  <a:gd name="connsiteY1348" fmla="*/ 304800 h 2476500"/>
                  <a:gd name="connsiteX1349" fmla="*/ 1187522 w 1757434"/>
                  <a:gd name="connsiteY1349" fmla="*/ 292100 h 2476500"/>
                  <a:gd name="connsiteX1350" fmla="*/ 1181172 w 1757434"/>
                  <a:gd name="connsiteY1350" fmla="*/ 290513 h 2476500"/>
                  <a:gd name="connsiteX1351" fmla="*/ 1174822 w 1757434"/>
                  <a:gd name="connsiteY1351" fmla="*/ 284163 h 2476500"/>
                  <a:gd name="connsiteX1352" fmla="*/ 1173234 w 1757434"/>
                  <a:gd name="connsiteY1352" fmla="*/ 276225 h 2476500"/>
                  <a:gd name="connsiteX1353" fmla="*/ 1171647 w 1757434"/>
                  <a:gd name="connsiteY1353" fmla="*/ 271463 h 2476500"/>
                  <a:gd name="connsiteX1354" fmla="*/ 1160534 w 1757434"/>
                  <a:gd name="connsiteY1354" fmla="*/ 266700 h 2476500"/>
                  <a:gd name="connsiteX1355" fmla="*/ 1154184 w 1757434"/>
                  <a:gd name="connsiteY1355" fmla="*/ 260350 h 2476500"/>
                  <a:gd name="connsiteX1356" fmla="*/ 1139897 w 1757434"/>
                  <a:gd name="connsiteY1356" fmla="*/ 257175 h 2476500"/>
                  <a:gd name="connsiteX1357" fmla="*/ 1141484 w 1757434"/>
                  <a:gd name="connsiteY1357" fmla="*/ 234950 h 2476500"/>
                  <a:gd name="connsiteX1358" fmla="*/ 1154184 w 1757434"/>
                  <a:gd name="connsiteY1358" fmla="*/ 244475 h 2476500"/>
                  <a:gd name="connsiteX1359" fmla="*/ 1152597 w 1757434"/>
                  <a:gd name="connsiteY1359" fmla="*/ 230188 h 2476500"/>
                  <a:gd name="connsiteX1360" fmla="*/ 1144659 w 1757434"/>
                  <a:gd name="connsiteY1360" fmla="*/ 215900 h 2476500"/>
                  <a:gd name="connsiteX1361" fmla="*/ 1146247 w 1757434"/>
                  <a:gd name="connsiteY1361" fmla="*/ 207963 h 2476500"/>
                  <a:gd name="connsiteX1362" fmla="*/ 1154184 w 1757434"/>
                  <a:gd name="connsiteY1362" fmla="*/ 206375 h 2476500"/>
                  <a:gd name="connsiteX1363" fmla="*/ 1170059 w 1757434"/>
                  <a:gd name="connsiteY1363" fmla="*/ 234950 h 2476500"/>
                  <a:gd name="connsiteX1364" fmla="*/ 1174822 w 1757434"/>
                  <a:gd name="connsiteY1364" fmla="*/ 225425 h 2476500"/>
                  <a:gd name="connsiteX1365" fmla="*/ 1179584 w 1757434"/>
                  <a:gd name="connsiteY1365" fmla="*/ 219075 h 2476500"/>
                  <a:gd name="connsiteX1366" fmla="*/ 1184347 w 1757434"/>
                  <a:gd name="connsiteY1366" fmla="*/ 217488 h 2476500"/>
                  <a:gd name="connsiteX1367" fmla="*/ 1185934 w 1757434"/>
                  <a:gd name="connsiteY1367" fmla="*/ 227013 h 2476500"/>
                  <a:gd name="connsiteX1368" fmla="*/ 1187522 w 1757434"/>
                  <a:gd name="connsiteY1368" fmla="*/ 234950 h 2476500"/>
                  <a:gd name="connsiteX1369" fmla="*/ 1189109 w 1757434"/>
                  <a:gd name="connsiteY1369" fmla="*/ 230188 h 2476500"/>
                  <a:gd name="connsiteX1370" fmla="*/ 1195459 w 1757434"/>
                  <a:gd name="connsiteY1370" fmla="*/ 225425 h 2476500"/>
                  <a:gd name="connsiteX1371" fmla="*/ 1195459 w 1757434"/>
                  <a:gd name="connsiteY1371" fmla="*/ 244475 h 2476500"/>
                  <a:gd name="connsiteX1372" fmla="*/ 1203397 w 1757434"/>
                  <a:gd name="connsiteY1372" fmla="*/ 242888 h 2476500"/>
                  <a:gd name="connsiteX1373" fmla="*/ 1204984 w 1757434"/>
                  <a:gd name="connsiteY1373" fmla="*/ 233363 h 2476500"/>
                  <a:gd name="connsiteX1374" fmla="*/ 1220859 w 1757434"/>
                  <a:gd name="connsiteY1374" fmla="*/ 230188 h 2476500"/>
                  <a:gd name="connsiteX1375" fmla="*/ 1216097 w 1757434"/>
                  <a:gd name="connsiteY1375" fmla="*/ 247650 h 2476500"/>
                  <a:gd name="connsiteX1376" fmla="*/ 1217684 w 1757434"/>
                  <a:gd name="connsiteY1376" fmla="*/ 254000 h 2476500"/>
                  <a:gd name="connsiteX1377" fmla="*/ 1227209 w 1757434"/>
                  <a:gd name="connsiteY1377" fmla="*/ 252413 h 2476500"/>
                  <a:gd name="connsiteX1378" fmla="*/ 1228797 w 1757434"/>
                  <a:gd name="connsiteY1378" fmla="*/ 247650 h 2476500"/>
                  <a:gd name="connsiteX1379" fmla="*/ 1233559 w 1757434"/>
                  <a:gd name="connsiteY1379" fmla="*/ 249238 h 2476500"/>
                  <a:gd name="connsiteX1380" fmla="*/ 1247847 w 1757434"/>
                  <a:gd name="connsiteY1380" fmla="*/ 255588 h 2476500"/>
                  <a:gd name="connsiteX1381" fmla="*/ 1252609 w 1757434"/>
                  <a:gd name="connsiteY1381" fmla="*/ 268288 h 2476500"/>
                  <a:gd name="connsiteX1382" fmla="*/ 1257372 w 1757434"/>
                  <a:gd name="connsiteY1382" fmla="*/ 269875 h 2476500"/>
                  <a:gd name="connsiteX1383" fmla="*/ 1262134 w 1757434"/>
                  <a:gd name="connsiteY1383" fmla="*/ 268288 h 2476500"/>
                  <a:gd name="connsiteX1384" fmla="*/ 1266897 w 1757434"/>
                  <a:gd name="connsiteY1384" fmla="*/ 269875 h 2476500"/>
                  <a:gd name="connsiteX1385" fmla="*/ 1270072 w 1757434"/>
                  <a:gd name="connsiteY1385" fmla="*/ 265113 h 2476500"/>
                  <a:gd name="connsiteX1386" fmla="*/ 1265309 w 1757434"/>
                  <a:gd name="connsiteY1386" fmla="*/ 254000 h 2476500"/>
                  <a:gd name="connsiteX1387" fmla="*/ 1260547 w 1757434"/>
                  <a:gd name="connsiteY1387" fmla="*/ 250825 h 2476500"/>
                  <a:gd name="connsiteX1388" fmla="*/ 1257372 w 1757434"/>
                  <a:gd name="connsiteY1388" fmla="*/ 246063 h 2476500"/>
                  <a:gd name="connsiteX1389" fmla="*/ 1260547 w 1757434"/>
                  <a:gd name="connsiteY1389" fmla="*/ 239713 h 2476500"/>
                  <a:gd name="connsiteX1390" fmla="*/ 1266897 w 1757434"/>
                  <a:gd name="connsiteY1390" fmla="*/ 231775 h 2476500"/>
                  <a:gd name="connsiteX1391" fmla="*/ 1254197 w 1757434"/>
                  <a:gd name="connsiteY1391" fmla="*/ 231775 h 2476500"/>
                  <a:gd name="connsiteX1392" fmla="*/ 1246259 w 1757434"/>
                  <a:gd name="connsiteY1392" fmla="*/ 230188 h 2476500"/>
                  <a:gd name="connsiteX1393" fmla="*/ 1251022 w 1757434"/>
                  <a:gd name="connsiteY1393" fmla="*/ 223838 h 2476500"/>
                  <a:gd name="connsiteX1394" fmla="*/ 1260547 w 1757434"/>
                  <a:gd name="connsiteY1394" fmla="*/ 220663 h 2476500"/>
                  <a:gd name="connsiteX1395" fmla="*/ 1266897 w 1757434"/>
                  <a:gd name="connsiteY1395" fmla="*/ 217488 h 2476500"/>
                  <a:gd name="connsiteX1396" fmla="*/ 1263722 w 1757434"/>
                  <a:gd name="connsiteY1396" fmla="*/ 212725 h 2476500"/>
                  <a:gd name="connsiteX1397" fmla="*/ 1255784 w 1757434"/>
                  <a:gd name="connsiteY1397" fmla="*/ 206375 h 2476500"/>
                  <a:gd name="connsiteX1398" fmla="*/ 1263722 w 1757434"/>
                  <a:gd name="connsiteY1398" fmla="*/ 196850 h 2476500"/>
                  <a:gd name="connsiteX1399" fmla="*/ 1274834 w 1757434"/>
                  <a:gd name="connsiteY1399" fmla="*/ 192088 h 2476500"/>
                  <a:gd name="connsiteX1400" fmla="*/ 1282772 w 1757434"/>
                  <a:gd name="connsiteY1400" fmla="*/ 174625 h 2476500"/>
                  <a:gd name="connsiteX1401" fmla="*/ 1284359 w 1757434"/>
                  <a:gd name="connsiteY1401" fmla="*/ 169863 h 2476500"/>
                  <a:gd name="connsiteX1402" fmla="*/ 1290709 w 1757434"/>
                  <a:gd name="connsiteY1402" fmla="*/ 168275 h 2476500"/>
                  <a:gd name="connsiteX1403" fmla="*/ 1301822 w 1757434"/>
                  <a:gd name="connsiteY1403" fmla="*/ 166688 h 2476500"/>
                  <a:gd name="connsiteX1404" fmla="*/ 1295472 w 1757434"/>
                  <a:gd name="connsiteY1404" fmla="*/ 165100 h 2476500"/>
                  <a:gd name="connsiteX1405" fmla="*/ 1290709 w 1757434"/>
                  <a:gd name="connsiteY1405" fmla="*/ 150813 h 2476500"/>
                  <a:gd name="connsiteX1406" fmla="*/ 1306584 w 1757434"/>
                  <a:gd name="connsiteY1406" fmla="*/ 142875 h 2476500"/>
                  <a:gd name="connsiteX1407" fmla="*/ 1319284 w 1757434"/>
                  <a:gd name="connsiteY1407" fmla="*/ 138113 h 2476500"/>
                  <a:gd name="connsiteX1408" fmla="*/ 1322459 w 1757434"/>
                  <a:gd name="connsiteY1408" fmla="*/ 133350 h 2476500"/>
                  <a:gd name="connsiteX1409" fmla="*/ 1309759 w 1757434"/>
                  <a:gd name="connsiteY1409" fmla="*/ 125413 h 2476500"/>
                  <a:gd name="connsiteX1410" fmla="*/ 1304997 w 1757434"/>
                  <a:gd name="connsiteY1410" fmla="*/ 123825 h 2476500"/>
                  <a:gd name="connsiteX1411" fmla="*/ 1293884 w 1757434"/>
                  <a:gd name="connsiteY1411" fmla="*/ 104775 h 2476500"/>
                  <a:gd name="connsiteX1412" fmla="*/ 1287534 w 1757434"/>
                  <a:gd name="connsiteY1412" fmla="*/ 103188 h 2476500"/>
                  <a:gd name="connsiteX1413" fmla="*/ 1279597 w 1757434"/>
                  <a:gd name="connsiteY1413" fmla="*/ 100013 h 2476500"/>
                  <a:gd name="connsiteX1414" fmla="*/ 1282772 w 1757434"/>
                  <a:gd name="connsiteY1414" fmla="*/ 90488 h 2476500"/>
                  <a:gd name="connsiteX1415" fmla="*/ 1290709 w 1757434"/>
                  <a:gd name="connsiteY1415" fmla="*/ 88900 h 2476500"/>
                  <a:gd name="connsiteX1416" fmla="*/ 1297059 w 1757434"/>
                  <a:gd name="connsiteY1416" fmla="*/ 87313 h 2476500"/>
                  <a:gd name="connsiteX1417" fmla="*/ 1301822 w 1757434"/>
                  <a:gd name="connsiteY1417" fmla="*/ 85725 h 2476500"/>
                  <a:gd name="connsiteX1418" fmla="*/ 1312934 w 1757434"/>
                  <a:gd name="connsiteY1418" fmla="*/ 84138 h 2476500"/>
                  <a:gd name="connsiteX1419" fmla="*/ 1306584 w 1757434"/>
                  <a:gd name="connsiteY1419" fmla="*/ 73025 h 2476500"/>
                  <a:gd name="connsiteX1420" fmla="*/ 1311347 w 1757434"/>
                  <a:gd name="connsiteY1420" fmla="*/ 68263 h 2476500"/>
                  <a:gd name="connsiteX1421" fmla="*/ 1317697 w 1757434"/>
                  <a:gd name="connsiteY1421" fmla="*/ 66675 h 2476500"/>
                  <a:gd name="connsiteX1422" fmla="*/ 1327222 w 1757434"/>
                  <a:gd name="connsiteY1422" fmla="*/ 68263 h 2476500"/>
                  <a:gd name="connsiteX1423" fmla="*/ 1331984 w 1757434"/>
                  <a:gd name="connsiteY1423" fmla="*/ 79375 h 2476500"/>
                  <a:gd name="connsiteX1424" fmla="*/ 1336747 w 1757434"/>
                  <a:gd name="connsiteY1424" fmla="*/ 80963 h 2476500"/>
                  <a:gd name="connsiteX1425" fmla="*/ 1347859 w 1757434"/>
                  <a:gd name="connsiteY1425" fmla="*/ 77788 h 2476500"/>
                  <a:gd name="connsiteX1426" fmla="*/ 1351034 w 1757434"/>
                  <a:gd name="connsiteY1426" fmla="*/ 73025 h 2476500"/>
                  <a:gd name="connsiteX1427" fmla="*/ 1357384 w 1757434"/>
                  <a:gd name="connsiteY1427" fmla="*/ 68263 h 2476500"/>
                  <a:gd name="connsiteX1428" fmla="*/ 1363734 w 1757434"/>
                  <a:gd name="connsiteY1428" fmla="*/ 85725 h 2476500"/>
                  <a:gd name="connsiteX1429" fmla="*/ 1370084 w 1757434"/>
                  <a:gd name="connsiteY1429" fmla="*/ 82550 h 2476500"/>
                  <a:gd name="connsiteX1430" fmla="*/ 1384372 w 1757434"/>
                  <a:gd name="connsiteY1430" fmla="*/ 74613 h 2476500"/>
                  <a:gd name="connsiteX1431" fmla="*/ 1387547 w 1757434"/>
                  <a:gd name="connsiteY1431" fmla="*/ 82550 h 2476500"/>
                  <a:gd name="connsiteX1432" fmla="*/ 1376434 w 1757434"/>
                  <a:gd name="connsiteY1432" fmla="*/ 101600 h 2476500"/>
                  <a:gd name="connsiteX1433" fmla="*/ 1374847 w 1757434"/>
                  <a:gd name="connsiteY1433" fmla="*/ 107950 h 2476500"/>
                  <a:gd name="connsiteX1434" fmla="*/ 1363734 w 1757434"/>
                  <a:gd name="connsiteY1434" fmla="*/ 115888 h 2476500"/>
                  <a:gd name="connsiteX1435" fmla="*/ 1362147 w 1757434"/>
                  <a:gd name="connsiteY1435" fmla="*/ 136525 h 2476500"/>
                  <a:gd name="connsiteX1436" fmla="*/ 1358972 w 1757434"/>
                  <a:gd name="connsiteY1436" fmla="*/ 141288 h 2476500"/>
                  <a:gd name="connsiteX1437" fmla="*/ 1357384 w 1757434"/>
                  <a:gd name="connsiteY1437" fmla="*/ 146050 h 2476500"/>
                  <a:gd name="connsiteX1438" fmla="*/ 1354209 w 1757434"/>
                  <a:gd name="connsiteY1438" fmla="*/ 152400 h 2476500"/>
                  <a:gd name="connsiteX1439" fmla="*/ 1360559 w 1757434"/>
                  <a:gd name="connsiteY1439" fmla="*/ 150813 h 2476500"/>
                  <a:gd name="connsiteX1440" fmla="*/ 1371672 w 1757434"/>
                  <a:gd name="connsiteY1440" fmla="*/ 146050 h 2476500"/>
                  <a:gd name="connsiteX1441" fmla="*/ 1368497 w 1757434"/>
                  <a:gd name="connsiteY1441" fmla="*/ 155575 h 2476500"/>
                  <a:gd name="connsiteX1442" fmla="*/ 1363734 w 1757434"/>
                  <a:gd name="connsiteY1442" fmla="*/ 160338 h 2476500"/>
                  <a:gd name="connsiteX1443" fmla="*/ 1358972 w 1757434"/>
                  <a:gd name="connsiteY1443" fmla="*/ 174625 h 2476500"/>
                  <a:gd name="connsiteX1444" fmla="*/ 1357384 w 1757434"/>
                  <a:gd name="connsiteY1444" fmla="*/ 179388 h 2476500"/>
                  <a:gd name="connsiteX1445" fmla="*/ 1355797 w 1757434"/>
                  <a:gd name="connsiteY1445" fmla="*/ 184150 h 2476500"/>
                  <a:gd name="connsiteX1446" fmla="*/ 1355797 w 1757434"/>
                  <a:gd name="connsiteY1446" fmla="*/ 212725 h 2476500"/>
                  <a:gd name="connsiteX1447" fmla="*/ 1363734 w 1757434"/>
                  <a:gd name="connsiteY1447" fmla="*/ 219075 h 2476500"/>
                  <a:gd name="connsiteX1448" fmla="*/ 1371672 w 1757434"/>
                  <a:gd name="connsiteY1448" fmla="*/ 217488 h 2476500"/>
                  <a:gd name="connsiteX1449" fmla="*/ 1374847 w 1757434"/>
                  <a:gd name="connsiteY1449" fmla="*/ 203200 h 2476500"/>
                  <a:gd name="connsiteX1450" fmla="*/ 1379609 w 1757434"/>
                  <a:gd name="connsiteY1450" fmla="*/ 198438 h 2476500"/>
                  <a:gd name="connsiteX1451" fmla="*/ 1385959 w 1757434"/>
                  <a:gd name="connsiteY1451" fmla="*/ 176213 h 2476500"/>
                  <a:gd name="connsiteX1452" fmla="*/ 1387547 w 1757434"/>
                  <a:gd name="connsiteY1452" fmla="*/ 150813 h 2476500"/>
                  <a:gd name="connsiteX1453" fmla="*/ 1392309 w 1757434"/>
                  <a:gd name="connsiteY1453" fmla="*/ 141288 h 2476500"/>
                  <a:gd name="connsiteX1454" fmla="*/ 1393897 w 1757434"/>
                  <a:gd name="connsiteY1454" fmla="*/ 111125 h 2476500"/>
                  <a:gd name="connsiteX1455" fmla="*/ 1395484 w 1757434"/>
                  <a:gd name="connsiteY1455" fmla="*/ 104775 h 2476500"/>
                  <a:gd name="connsiteX1456" fmla="*/ 1398659 w 1757434"/>
                  <a:gd name="connsiteY1456" fmla="*/ 100013 h 2476500"/>
                  <a:gd name="connsiteX1457" fmla="*/ 1405009 w 1757434"/>
                  <a:gd name="connsiteY1457" fmla="*/ 96838 h 2476500"/>
                  <a:gd name="connsiteX1458" fmla="*/ 1405009 w 1757434"/>
                  <a:gd name="connsiteY1458" fmla="*/ 79375 h 2476500"/>
                  <a:gd name="connsiteX1459" fmla="*/ 1406597 w 1757434"/>
                  <a:gd name="connsiteY1459" fmla="*/ 71438 h 2476500"/>
                  <a:gd name="connsiteX1460" fmla="*/ 1408184 w 1757434"/>
                  <a:gd name="connsiteY1460" fmla="*/ 61913 h 2476500"/>
                  <a:gd name="connsiteX1461" fmla="*/ 1416122 w 1757434"/>
                  <a:gd name="connsiteY1461" fmla="*/ 50800 h 2476500"/>
                  <a:gd name="connsiteX1462" fmla="*/ 1424059 w 1757434"/>
                  <a:gd name="connsiteY1462" fmla="*/ 69850 h 2476500"/>
                  <a:gd name="connsiteX1463" fmla="*/ 1435172 w 1757434"/>
                  <a:gd name="connsiteY1463" fmla="*/ 71438 h 2476500"/>
                  <a:gd name="connsiteX1464" fmla="*/ 1430409 w 1757434"/>
                  <a:gd name="connsiteY1464" fmla="*/ 87313 h 2476500"/>
                  <a:gd name="connsiteX1465" fmla="*/ 1428822 w 1757434"/>
                  <a:gd name="connsiteY1465" fmla="*/ 93663 h 2476500"/>
                  <a:gd name="connsiteX1466" fmla="*/ 1424059 w 1757434"/>
                  <a:gd name="connsiteY1466" fmla="*/ 100013 h 2476500"/>
                  <a:gd name="connsiteX1467" fmla="*/ 1425647 w 1757434"/>
                  <a:gd name="connsiteY1467" fmla="*/ 115888 h 2476500"/>
                  <a:gd name="connsiteX1468" fmla="*/ 1435172 w 1757434"/>
                  <a:gd name="connsiteY1468" fmla="*/ 117475 h 2476500"/>
                  <a:gd name="connsiteX1469" fmla="*/ 1436759 w 1757434"/>
                  <a:gd name="connsiteY1469" fmla="*/ 122238 h 2476500"/>
                  <a:gd name="connsiteX1470" fmla="*/ 1441522 w 1757434"/>
                  <a:gd name="connsiteY1470" fmla="*/ 149225 h 2476500"/>
                  <a:gd name="connsiteX1471" fmla="*/ 1446284 w 1757434"/>
                  <a:gd name="connsiteY1471" fmla="*/ 144463 h 2476500"/>
                  <a:gd name="connsiteX1472" fmla="*/ 1449459 w 1757434"/>
                  <a:gd name="connsiteY1472" fmla="*/ 139700 h 2476500"/>
                  <a:gd name="connsiteX1473" fmla="*/ 1460572 w 1757434"/>
                  <a:gd name="connsiteY1473" fmla="*/ 130175 h 2476500"/>
                  <a:gd name="connsiteX1474" fmla="*/ 1465334 w 1757434"/>
                  <a:gd name="connsiteY1474" fmla="*/ 128588 h 2476500"/>
                  <a:gd name="connsiteX1475" fmla="*/ 1470097 w 1757434"/>
                  <a:gd name="connsiteY1475" fmla="*/ 119063 h 2476500"/>
                  <a:gd name="connsiteX1476" fmla="*/ 1471684 w 1757434"/>
                  <a:gd name="connsiteY1476" fmla="*/ 114300 h 2476500"/>
                  <a:gd name="connsiteX1477" fmla="*/ 1462159 w 1757434"/>
                  <a:gd name="connsiteY1477" fmla="*/ 107950 h 2476500"/>
                  <a:gd name="connsiteX1478" fmla="*/ 1463747 w 1757434"/>
                  <a:gd name="connsiteY1478" fmla="*/ 103188 h 2476500"/>
                  <a:gd name="connsiteX1479" fmla="*/ 1471684 w 1757434"/>
                  <a:gd name="connsiteY1479" fmla="*/ 101600 h 2476500"/>
                  <a:gd name="connsiteX1480" fmla="*/ 1478034 w 1757434"/>
                  <a:gd name="connsiteY1480" fmla="*/ 100013 h 2476500"/>
                  <a:gd name="connsiteX1481" fmla="*/ 1476447 w 1757434"/>
                  <a:gd name="connsiteY1481" fmla="*/ 95250 h 2476500"/>
                  <a:gd name="connsiteX1482" fmla="*/ 1471684 w 1757434"/>
                  <a:gd name="connsiteY1482" fmla="*/ 90488 h 2476500"/>
                  <a:gd name="connsiteX1483" fmla="*/ 1468509 w 1757434"/>
                  <a:gd name="connsiteY1483" fmla="*/ 85725 h 2476500"/>
                  <a:gd name="connsiteX1484" fmla="*/ 1470097 w 1757434"/>
                  <a:gd name="connsiteY1484" fmla="*/ 73025 h 2476500"/>
                  <a:gd name="connsiteX1485" fmla="*/ 1473272 w 1757434"/>
                  <a:gd name="connsiteY1485" fmla="*/ 66675 h 2476500"/>
                  <a:gd name="connsiteX1486" fmla="*/ 1471684 w 1757434"/>
                  <a:gd name="connsiteY1486" fmla="*/ 58738 h 2476500"/>
                  <a:gd name="connsiteX1487" fmla="*/ 1473272 w 1757434"/>
                  <a:gd name="connsiteY1487" fmla="*/ 53975 h 2476500"/>
                  <a:gd name="connsiteX1488" fmla="*/ 1481209 w 1757434"/>
                  <a:gd name="connsiteY1488" fmla="*/ 52388 h 2476500"/>
                  <a:gd name="connsiteX1489" fmla="*/ 1476447 w 1757434"/>
                  <a:gd name="connsiteY1489" fmla="*/ 47625 h 2476500"/>
                  <a:gd name="connsiteX1490" fmla="*/ 1465334 w 1757434"/>
                  <a:gd name="connsiteY1490" fmla="*/ 44450 h 2476500"/>
                  <a:gd name="connsiteX1491" fmla="*/ 1460572 w 1757434"/>
                  <a:gd name="connsiteY1491" fmla="*/ 41275 h 2476500"/>
                  <a:gd name="connsiteX1492" fmla="*/ 1458984 w 1757434"/>
                  <a:gd name="connsiteY1492" fmla="*/ 26988 h 2476500"/>
                  <a:gd name="connsiteX1493" fmla="*/ 1463747 w 1757434"/>
                  <a:gd name="connsiteY1493" fmla="*/ 23813 h 2476500"/>
                  <a:gd name="connsiteX1494" fmla="*/ 1470097 w 1757434"/>
                  <a:gd name="connsiteY1494" fmla="*/ 19050 h 2476500"/>
                  <a:gd name="connsiteX1495" fmla="*/ 1474859 w 1757434"/>
                  <a:gd name="connsiteY1495" fmla="*/ 28575 h 2476500"/>
                  <a:gd name="connsiteX1496" fmla="*/ 1479622 w 1757434"/>
                  <a:gd name="connsiteY1496" fmla="*/ 20638 h 2476500"/>
                  <a:gd name="connsiteX1497" fmla="*/ 1481209 w 1757434"/>
                  <a:gd name="connsiteY1497" fmla="*/ 3175 h 2476500"/>
                  <a:gd name="connsiteX1498" fmla="*/ 1487559 w 1757434"/>
                  <a:gd name="connsiteY1498" fmla="*/ 0 h 2476500"/>
                  <a:gd name="connsiteX0" fmla="*/ 569984 w 1757434"/>
                  <a:gd name="connsiteY0" fmla="*/ 1338263 h 2476500"/>
                  <a:gd name="connsiteX1" fmla="*/ 557284 w 1757434"/>
                  <a:gd name="connsiteY1" fmla="*/ 1349375 h 2476500"/>
                  <a:gd name="connsiteX2" fmla="*/ 547759 w 1757434"/>
                  <a:gd name="connsiteY2" fmla="*/ 1362075 h 2476500"/>
                  <a:gd name="connsiteX3" fmla="*/ 538234 w 1757434"/>
                  <a:gd name="connsiteY3" fmla="*/ 1382713 h 2476500"/>
                  <a:gd name="connsiteX4" fmla="*/ 536647 w 1757434"/>
                  <a:gd name="connsiteY4" fmla="*/ 1389063 h 2476500"/>
                  <a:gd name="connsiteX5" fmla="*/ 533472 w 1757434"/>
                  <a:gd name="connsiteY5" fmla="*/ 1404938 h 2476500"/>
                  <a:gd name="connsiteX6" fmla="*/ 523947 w 1757434"/>
                  <a:gd name="connsiteY6" fmla="*/ 1406525 h 2476500"/>
                  <a:gd name="connsiteX7" fmla="*/ 514422 w 1757434"/>
                  <a:gd name="connsiteY7" fmla="*/ 1411288 h 2476500"/>
                  <a:gd name="connsiteX8" fmla="*/ 503309 w 1757434"/>
                  <a:gd name="connsiteY8" fmla="*/ 1416050 h 2476500"/>
                  <a:gd name="connsiteX9" fmla="*/ 500134 w 1757434"/>
                  <a:gd name="connsiteY9" fmla="*/ 1423988 h 2476500"/>
                  <a:gd name="connsiteX10" fmla="*/ 498547 w 1757434"/>
                  <a:gd name="connsiteY10" fmla="*/ 1431925 h 2476500"/>
                  <a:gd name="connsiteX11" fmla="*/ 484259 w 1757434"/>
                  <a:gd name="connsiteY11" fmla="*/ 1438275 h 2476500"/>
                  <a:gd name="connsiteX12" fmla="*/ 495372 w 1757434"/>
                  <a:gd name="connsiteY12" fmla="*/ 1439863 h 2476500"/>
                  <a:gd name="connsiteX13" fmla="*/ 512834 w 1757434"/>
                  <a:gd name="connsiteY13" fmla="*/ 1436688 h 2476500"/>
                  <a:gd name="connsiteX14" fmla="*/ 516009 w 1757434"/>
                  <a:gd name="connsiteY14" fmla="*/ 1441450 h 2476500"/>
                  <a:gd name="connsiteX15" fmla="*/ 508072 w 1757434"/>
                  <a:gd name="connsiteY15" fmla="*/ 1454150 h 2476500"/>
                  <a:gd name="connsiteX16" fmla="*/ 496959 w 1757434"/>
                  <a:gd name="connsiteY16" fmla="*/ 1468438 h 2476500"/>
                  <a:gd name="connsiteX17" fmla="*/ 490609 w 1757434"/>
                  <a:gd name="connsiteY17" fmla="*/ 1471613 h 2476500"/>
                  <a:gd name="connsiteX18" fmla="*/ 473147 w 1757434"/>
                  <a:gd name="connsiteY18" fmla="*/ 1481138 h 2476500"/>
                  <a:gd name="connsiteX19" fmla="*/ 466797 w 1757434"/>
                  <a:gd name="connsiteY19" fmla="*/ 1489075 h 2476500"/>
                  <a:gd name="connsiteX20" fmla="*/ 462034 w 1757434"/>
                  <a:gd name="connsiteY20" fmla="*/ 1490663 h 2476500"/>
                  <a:gd name="connsiteX21" fmla="*/ 454097 w 1757434"/>
                  <a:gd name="connsiteY21" fmla="*/ 1497013 h 2476500"/>
                  <a:gd name="connsiteX22" fmla="*/ 446159 w 1757434"/>
                  <a:gd name="connsiteY22" fmla="*/ 1504950 h 2476500"/>
                  <a:gd name="connsiteX23" fmla="*/ 439809 w 1757434"/>
                  <a:gd name="connsiteY23" fmla="*/ 1500188 h 2476500"/>
                  <a:gd name="connsiteX24" fmla="*/ 436315 w 1757434"/>
                  <a:gd name="connsiteY24" fmla="*/ 1499023 h 2476500"/>
                  <a:gd name="connsiteX25" fmla="*/ 438112 w 1757434"/>
                  <a:gd name="connsiteY25" fmla="*/ 1502403 h 2476500"/>
                  <a:gd name="connsiteX26" fmla="*/ 441397 w 1757434"/>
                  <a:gd name="connsiteY26" fmla="*/ 1509713 h 2476500"/>
                  <a:gd name="connsiteX27" fmla="*/ 444572 w 1757434"/>
                  <a:gd name="connsiteY27" fmla="*/ 1520825 h 2476500"/>
                  <a:gd name="connsiteX28" fmla="*/ 447747 w 1757434"/>
                  <a:gd name="connsiteY28" fmla="*/ 1525588 h 2476500"/>
                  <a:gd name="connsiteX29" fmla="*/ 455684 w 1757434"/>
                  <a:gd name="connsiteY29" fmla="*/ 1528763 h 2476500"/>
                  <a:gd name="connsiteX30" fmla="*/ 463622 w 1757434"/>
                  <a:gd name="connsiteY30" fmla="*/ 1533525 h 2476500"/>
                  <a:gd name="connsiteX31" fmla="*/ 466797 w 1757434"/>
                  <a:gd name="connsiteY31" fmla="*/ 1544638 h 2476500"/>
                  <a:gd name="connsiteX32" fmla="*/ 471559 w 1757434"/>
                  <a:gd name="connsiteY32" fmla="*/ 1546225 h 2476500"/>
                  <a:gd name="connsiteX33" fmla="*/ 469972 w 1757434"/>
                  <a:gd name="connsiteY33" fmla="*/ 1531938 h 2476500"/>
                  <a:gd name="connsiteX34" fmla="*/ 465209 w 1757434"/>
                  <a:gd name="connsiteY34" fmla="*/ 1527175 h 2476500"/>
                  <a:gd name="connsiteX35" fmla="*/ 460447 w 1757434"/>
                  <a:gd name="connsiteY35" fmla="*/ 1520825 h 2476500"/>
                  <a:gd name="connsiteX36" fmla="*/ 466797 w 1757434"/>
                  <a:gd name="connsiteY36" fmla="*/ 1506538 h 2476500"/>
                  <a:gd name="connsiteX37" fmla="*/ 471559 w 1757434"/>
                  <a:gd name="connsiteY37" fmla="*/ 1508125 h 2476500"/>
                  <a:gd name="connsiteX38" fmla="*/ 476322 w 1757434"/>
                  <a:gd name="connsiteY38" fmla="*/ 1514475 h 2476500"/>
                  <a:gd name="connsiteX39" fmla="*/ 503309 w 1757434"/>
                  <a:gd name="connsiteY39" fmla="*/ 1511300 h 2476500"/>
                  <a:gd name="connsiteX40" fmla="*/ 508072 w 1757434"/>
                  <a:gd name="connsiteY40" fmla="*/ 1508125 h 2476500"/>
                  <a:gd name="connsiteX41" fmla="*/ 506484 w 1757434"/>
                  <a:gd name="connsiteY41" fmla="*/ 1500188 h 2476500"/>
                  <a:gd name="connsiteX42" fmla="*/ 511247 w 1757434"/>
                  <a:gd name="connsiteY42" fmla="*/ 1474788 h 2476500"/>
                  <a:gd name="connsiteX43" fmla="*/ 517597 w 1757434"/>
                  <a:gd name="connsiteY43" fmla="*/ 1471613 h 2476500"/>
                  <a:gd name="connsiteX44" fmla="*/ 522378 w 1757434"/>
                  <a:gd name="connsiteY44" fmla="*/ 1470040 h 2476500"/>
                  <a:gd name="connsiteX45" fmla="*/ 524394 w 1757434"/>
                  <a:gd name="connsiteY45" fmla="*/ 1468685 h 2476500"/>
                  <a:gd name="connsiteX46" fmla="*/ 525534 w 1757434"/>
                  <a:gd name="connsiteY46" fmla="*/ 1465263 h 2476500"/>
                  <a:gd name="connsiteX47" fmla="*/ 526329 w 1757434"/>
                  <a:gd name="connsiteY47" fmla="*/ 1464070 h 2476500"/>
                  <a:gd name="connsiteX48" fmla="*/ 524516 w 1757434"/>
                  <a:gd name="connsiteY48" fmla="*/ 1468602 h 2476500"/>
                  <a:gd name="connsiteX49" fmla="*/ 527122 w 1757434"/>
                  <a:gd name="connsiteY49" fmla="*/ 1466850 h 2476500"/>
                  <a:gd name="connsiteX50" fmla="*/ 531884 w 1757434"/>
                  <a:gd name="connsiteY50" fmla="*/ 1457325 h 2476500"/>
                  <a:gd name="connsiteX51" fmla="*/ 541409 w 1757434"/>
                  <a:gd name="connsiteY51" fmla="*/ 1454150 h 2476500"/>
                  <a:gd name="connsiteX52" fmla="*/ 544498 w 1757434"/>
                  <a:gd name="connsiteY52" fmla="*/ 1452091 h 2476500"/>
                  <a:gd name="connsiteX53" fmla="*/ 535059 w 1757434"/>
                  <a:gd name="connsiteY53" fmla="*/ 1452563 h 2476500"/>
                  <a:gd name="connsiteX54" fmla="*/ 530297 w 1757434"/>
                  <a:gd name="connsiteY54" fmla="*/ 1455738 h 2476500"/>
                  <a:gd name="connsiteX55" fmla="*/ 528709 w 1757434"/>
                  <a:gd name="connsiteY55" fmla="*/ 1460500 h 2476500"/>
                  <a:gd name="connsiteX56" fmla="*/ 526329 w 1757434"/>
                  <a:gd name="connsiteY56" fmla="*/ 1464070 h 2476500"/>
                  <a:gd name="connsiteX57" fmla="*/ 527122 w 1757434"/>
                  <a:gd name="connsiteY57" fmla="*/ 1462088 h 2476500"/>
                  <a:gd name="connsiteX58" fmla="*/ 522359 w 1757434"/>
                  <a:gd name="connsiteY58" fmla="*/ 1443038 h 2476500"/>
                  <a:gd name="connsiteX59" fmla="*/ 527122 w 1757434"/>
                  <a:gd name="connsiteY59" fmla="*/ 1436688 h 2476500"/>
                  <a:gd name="connsiteX60" fmla="*/ 531884 w 1757434"/>
                  <a:gd name="connsiteY60" fmla="*/ 1435100 h 2476500"/>
                  <a:gd name="connsiteX61" fmla="*/ 533472 w 1757434"/>
                  <a:gd name="connsiteY61" fmla="*/ 1425575 h 2476500"/>
                  <a:gd name="connsiteX62" fmla="*/ 546001 w 1757434"/>
                  <a:gd name="connsiteY62" fmla="*/ 1429262 h 2476500"/>
                  <a:gd name="connsiteX63" fmla="*/ 552494 w 1757434"/>
                  <a:gd name="connsiteY63" fmla="*/ 1431898 h 2476500"/>
                  <a:gd name="connsiteX64" fmla="*/ 552522 w 1757434"/>
                  <a:gd name="connsiteY64" fmla="*/ 1431925 h 2476500"/>
                  <a:gd name="connsiteX65" fmla="*/ 560459 w 1757434"/>
                  <a:gd name="connsiteY65" fmla="*/ 1435100 h 2476500"/>
                  <a:gd name="connsiteX66" fmla="*/ 554988 w 1757434"/>
                  <a:gd name="connsiteY66" fmla="*/ 1432911 h 2476500"/>
                  <a:gd name="connsiteX67" fmla="*/ 552494 w 1757434"/>
                  <a:gd name="connsiteY67" fmla="*/ 1431898 h 2476500"/>
                  <a:gd name="connsiteX68" fmla="*/ 544393 w 1757434"/>
                  <a:gd name="connsiteY68" fmla="*/ 1424206 h 2476500"/>
                  <a:gd name="connsiteX69" fmla="*/ 539822 w 1757434"/>
                  <a:gd name="connsiteY69" fmla="*/ 1419225 h 2476500"/>
                  <a:gd name="connsiteX70" fmla="*/ 541409 w 1757434"/>
                  <a:gd name="connsiteY70" fmla="*/ 1409700 h 2476500"/>
                  <a:gd name="connsiteX71" fmla="*/ 546172 w 1757434"/>
                  <a:gd name="connsiteY71" fmla="*/ 1406525 h 2476500"/>
                  <a:gd name="connsiteX72" fmla="*/ 565222 w 1757434"/>
                  <a:gd name="connsiteY72" fmla="*/ 1393825 h 2476500"/>
                  <a:gd name="connsiteX73" fmla="*/ 566809 w 1757434"/>
                  <a:gd name="connsiteY73" fmla="*/ 1389063 h 2476500"/>
                  <a:gd name="connsiteX74" fmla="*/ 560459 w 1757434"/>
                  <a:gd name="connsiteY74" fmla="*/ 1377950 h 2476500"/>
                  <a:gd name="connsiteX75" fmla="*/ 574747 w 1757434"/>
                  <a:gd name="connsiteY75" fmla="*/ 1366838 h 2476500"/>
                  <a:gd name="connsiteX76" fmla="*/ 576334 w 1757434"/>
                  <a:gd name="connsiteY76" fmla="*/ 1362075 h 2476500"/>
                  <a:gd name="connsiteX77" fmla="*/ 574747 w 1757434"/>
                  <a:gd name="connsiteY77" fmla="*/ 1352550 h 2476500"/>
                  <a:gd name="connsiteX78" fmla="*/ 565222 w 1757434"/>
                  <a:gd name="connsiteY78" fmla="*/ 1354138 h 2476500"/>
                  <a:gd name="connsiteX79" fmla="*/ 555697 w 1757434"/>
                  <a:gd name="connsiteY79" fmla="*/ 1360488 h 2476500"/>
                  <a:gd name="connsiteX80" fmla="*/ 550934 w 1757434"/>
                  <a:gd name="connsiteY80" fmla="*/ 1362075 h 2476500"/>
                  <a:gd name="connsiteX81" fmla="*/ 558872 w 1757434"/>
                  <a:gd name="connsiteY81" fmla="*/ 1357313 h 2476500"/>
                  <a:gd name="connsiteX82" fmla="*/ 565222 w 1757434"/>
                  <a:gd name="connsiteY82" fmla="*/ 1349375 h 2476500"/>
                  <a:gd name="connsiteX83" fmla="*/ 569984 w 1757434"/>
                  <a:gd name="connsiteY83" fmla="*/ 1338263 h 2476500"/>
                  <a:gd name="connsiteX84" fmla="*/ 1487559 w 1757434"/>
                  <a:gd name="connsiteY84" fmla="*/ 0 h 2476500"/>
                  <a:gd name="connsiteX85" fmla="*/ 1497084 w 1757434"/>
                  <a:gd name="connsiteY85" fmla="*/ 1588 h 2476500"/>
                  <a:gd name="connsiteX86" fmla="*/ 1497084 w 1757434"/>
                  <a:gd name="connsiteY86" fmla="*/ 22225 h 2476500"/>
                  <a:gd name="connsiteX87" fmla="*/ 1501847 w 1757434"/>
                  <a:gd name="connsiteY87" fmla="*/ 26988 h 2476500"/>
                  <a:gd name="connsiteX88" fmla="*/ 1508197 w 1757434"/>
                  <a:gd name="connsiteY88" fmla="*/ 20638 h 2476500"/>
                  <a:gd name="connsiteX89" fmla="*/ 1516134 w 1757434"/>
                  <a:gd name="connsiteY89" fmla="*/ 15875 h 2476500"/>
                  <a:gd name="connsiteX90" fmla="*/ 1511372 w 1757434"/>
                  <a:gd name="connsiteY90" fmla="*/ 34925 h 2476500"/>
                  <a:gd name="connsiteX91" fmla="*/ 1516134 w 1757434"/>
                  <a:gd name="connsiteY91" fmla="*/ 36513 h 2476500"/>
                  <a:gd name="connsiteX92" fmla="*/ 1527247 w 1757434"/>
                  <a:gd name="connsiteY92" fmla="*/ 33338 h 2476500"/>
                  <a:gd name="connsiteX93" fmla="*/ 1530422 w 1757434"/>
                  <a:gd name="connsiteY93" fmla="*/ 47625 h 2476500"/>
                  <a:gd name="connsiteX94" fmla="*/ 1527247 w 1757434"/>
                  <a:gd name="connsiteY94" fmla="*/ 57150 h 2476500"/>
                  <a:gd name="connsiteX95" fmla="*/ 1522484 w 1757434"/>
                  <a:gd name="connsiteY95" fmla="*/ 65088 h 2476500"/>
                  <a:gd name="connsiteX96" fmla="*/ 1519309 w 1757434"/>
                  <a:gd name="connsiteY96" fmla="*/ 71438 h 2476500"/>
                  <a:gd name="connsiteX97" fmla="*/ 1520897 w 1757434"/>
                  <a:gd name="connsiteY97" fmla="*/ 98425 h 2476500"/>
                  <a:gd name="connsiteX98" fmla="*/ 1525659 w 1757434"/>
                  <a:gd name="connsiteY98" fmla="*/ 103188 h 2476500"/>
                  <a:gd name="connsiteX99" fmla="*/ 1530422 w 1757434"/>
                  <a:gd name="connsiteY99" fmla="*/ 111125 h 2476500"/>
                  <a:gd name="connsiteX100" fmla="*/ 1543122 w 1757434"/>
                  <a:gd name="connsiteY100" fmla="*/ 106363 h 2476500"/>
                  <a:gd name="connsiteX101" fmla="*/ 1544709 w 1757434"/>
                  <a:gd name="connsiteY101" fmla="*/ 98425 h 2476500"/>
                  <a:gd name="connsiteX102" fmla="*/ 1541534 w 1757434"/>
                  <a:gd name="connsiteY102" fmla="*/ 66675 h 2476500"/>
                  <a:gd name="connsiteX103" fmla="*/ 1538359 w 1757434"/>
                  <a:gd name="connsiteY103" fmla="*/ 49213 h 2476500"/>
                  <a:gd name="connsiteX104" fmla="*/ 1543122 w 1757434"/>
                  <a:gd name="connsiteY104" fmla="*/ 46038 h 2476500"/>
                  <a:gd name="connsiteX105" fmla="*/ 1544709 w 1757434"/>
                  <a:gd name="connsiteY105" fmla="*/ 52388 h 2476500"/>
                  <a:gd name="connsiteX106" fmla="*/ 1551059 w 1757434"/>
                  <a:gd name="connsiteY106" fmla="*/ 36513 h 2476500"/>
                  <a:gd name="connsiteX107" fmla="*/ 1557409 w 1757434"/>
                  <a:gd name="connsiteY107" fmla="*/ 31750 h 2476500"/>
                  <a:gd name="connsiteX108" fmla="*/ 1568522 w 1757434"/>
                  <a:gd name="connsiteY108" fmla="*/ 26988 h 2476500"/>
                  <a:gd name="connsiteX109" fmla="*/ 1563759 w 1757434"/>
                  <a:gd name="connsiteY109" fmla="*/ 34925 h 2476500"/>
                  <a:gd name="connsiteX110" fmla="*/ 1566934 w 1757434"/>
                  <a:gd name="connsiteY110" fmla="*/ 79375 h 2476500"/>
                  <a:gd name="connsiteX111" fmla="*/ 1573284 w 1757434"/>
                  <a:gd name="connsiteY111" fmla="*/ 77788 h 2476500"/>
                  <a:gd name="connsiteX112" fmla="*/ 1579634 w 1757434"/>
                  <a:gd name="connsiteY112" fmla="*/ 58738 h 2476500"/>
                  <a:gd name="connsiteX113" fmla="*/ 1585984 w 1757434"/>
                  <a:gd name="connsiteY113" fmla="*/ 42863 h 2476500"/>
                  <a:gd name="connsiteX114" fmla="*/ 1592334 w 1757434"/>
                  <a:gd name="connsiteY114" fmla="*/ 36513 h 2476500"/>
                  <a:gd name="connsiteX115" fmla="*/ 1593922 w 1757434"/>
                  <a:gd name="connsiteY115" fmla="*/ 42863 h 2476500"/>
                  <a:gd name="connsiteX116" fmla="*/ 1592334 w 1757434"/>
                  <a:gd name="connsiteY116" fmla="*/ 61913 h 2476500"/>
                  <a:gd name="connsiteX117" fmla="*/ 1617734 w 1757434"/>
                  <a:gd name="connsiteY117" fmla="*/ 46038 h 2476500"/>
                  <a:gd name="connsiteX118" fmla="*/ 1622497 w 1757434"/>
                  <a:gd name="connsiteY118" fmla="*/ 52388 h 2476500"/>
                  <a:gd name="connsiteX119" fmla="*/ 1619322 w 1757434"/>
                  <a:gd name="connsiteY119" fmla="*/ 73025 h 2476500"/>
                  <a:gd name="connsiteX120" fmla="*/ 1622497 w 1757434"/>
                  <a:gd name="connsiteY120" fmla="*/ 84138 h 2476500"/>
                  <a:gd name="connsiteX121" fmla="*/ 1627259 w 1757434"/>
                  <a:gd name="connsiteY121" fmla="*/ 87313 h 2476500"/>
                  <a:gd name="connsiteX122" fmla="*/ 1635197 w 1757434"/>
                  <a:gd name="connsiteY122" fmla="*/ 80963 h 2476500"/>
                  <a:gd name="connsiteX123" fmla="*/ 1641547 w 1757434"/>
                  <a:gd name="connsiteY123" fmla="*/ 69850 h 2476500"/>
                  <a:gd name="connsiteX124" fmla="*/ 1644722 w 1757434"/>
                  <a:gd name="connsiteY124" fmla="*/ 63500 h 2476500"/>
                  <a:gd name="connsiteX125" fmla="*/ 1651072 w 1757434"/>
                  <a:gd name="connsiteY125" fmla="*/ 58738 h 2476500"/>
                  <a:gd name="connsiteX126" fmla="*/ 1659009 w 1757434"/>
                  <a:gd name="connsiteY126" fmla="*/ 63500 h 2476500"/>
                  <a:gd name="connsiteX127" fmla="*/ 1654247 w 1757434"/>
                  <a:gd name="connsiteY127" fmla="*/ 77788 h 2476500"/>
                  <a:gd name="connsiteX128" fmla="*/ 1657422 w 1757434"/>
                  <a:gd name="connsiteY128" fmla="*/ 84138 h 2476500"/>
                  <a:gd name="connsiteX129" fmla="*/ 1662184 w 1757434"/>
                  <a:gd name="connsiteY129" fmla="*/ 77788 h 2476500"/>
                  <a:gd name="connsiteX130" fmla="*/ 1666947 w 1757434"/>
                  <a:gd name="connsiteY130" fmla="*/ 69850 h 2476500"/>
                  <a:gd name="connsiteX131" fmla="*/ 1678059 w 1757434"/>
                  <a:gd name="connsiteY131" fmla="*/ 63500 h 2476500"/>
                  <a:gd name="connsiteX132" fmla="*/ 1692347 w 1757434"/>
                  <a:gd name="connsiteY132" fmla="*/ 65088 h 2476500"/>
                  <a:gd name="connsiteX133" fmla="*/ 1700284 w 1757434"/>
                  <a:gd name="connsiteY133" fmla="*/ 68263 h 2476500"/>
                  <a:gd name="connsiteX134" fmla="*/ 1697109 w 1757434"/>
                  <a:gd name="connsiteY134" fmla="*/ 74613 h 2476500"/>
                  <a:gd name="connsiteX135" fmla="*/ 1689172 w 1757434"/>
                  <a:gd name="connsiteY135" fmla="*/ 79375 h 2476500"/>
                  <a:gd name="connsiteX136" fmla="*/ 1714572 w 1757434"/>
                  <a:gd name="connsiteY136" fmla="*/ 90488 h 2476500"/>
                  <a:gd name="connsiteX137" fmla="*/ 1711397 w 1757434"/>
                  <a:gd name="connsiteY137" fmla="*/ 98425 h 2476500"/>
                  <a:gd name="connsiteX138" fmla="*/ 1700284 w 1757434"/>
                  <a:gd name="connsiteY138" fmla="*/ 106363 h 2476500"/>
                  <a:gd name="connsiteX139" fmla="*/ 1690759 w 1757434"/>
                  <a:gd name="connsiteY139" fmla="*/ 114300 h 2476500"/>
                  <a:gd name="connsiteX140" fmla="*/ 1687584 w 1757434"/>
                  <a:gd name="connsiteY140" fmla="*/ 119063 h 2476500"/>
                  <a:gd name="connsiteX141" fmla="*/ 1685997 w 1757434"/>
                  <a:gd name="connsiteY141" fmla="*/ 123825 h 2476500"/>
                  <a:gd name="connsiteX142" fmla="*/ 1684409 w 1757434"/>
                  <a:gd name="connsiteY142" fmla="*/ 130175 h 2476500"/>
                  <a:gd name="connsiteX143" fmla="*/ 1681234 w 1757434"/>
                  <a:gd name="connsiteY143" fmla="*/ 136525 h 2476500"/>
                  <a:gd name="connsiteX144" fmla="*/ 1674884 w 1757434"/>
                  <a:gd name="connsiteY144" fmla="*/ 138113 h 2476500"/>
                  <a:gd name="connsiteX145" fmla="*/ 1655834 w 1757434"/>
                  <a:gd name="connsiteY145" fmla="*/ 144463 h 2476500"/>
                  <a:gd name="connsiteX146" fmla="*/ 1649484 w 1757434"/>
                  <a:gd name="connsiteY146" fmla="*/ 146050 h 2476500"/>
                  <a:gd name="connsiteX147" fmla="*/ 1641547 w 1757434"/>
                  <a:gd name="connsiteY147" fmla="*/ 149225 h 2476500"/>
                  <a:gd name="connsiteX148" fmla="*/ 1597097 w 1757434"/>
                  <a:gd name="connsiteY148" fmla="*/ 150813 h 2476500"/>
                  <a:gd name="connsiteX149" fmla="*/ 1592334 w 1757434"/>
                  <a:gd name="connsiteY149" fmla="*/ 152400 h 2476500"/>
                  <a:gd name="connsiteX150" fmla="*/ 1593922 w 1757434"/>
                  <a:gd name="connsiteY150" fmla="*/ 158750 h 2476500"/>
                  <a:gd name="connsiteX151" fmla="*/ 1628847 w 1757434"/>
                  <a:gd name="connsiteY151" fmla="*/ 160338 h 2476500"/>
                  <a:gd name="connsiteX152" fmla="*/ 1641547 w 1757434"/>
                  <a:gd name="connsiteY152" fmla="*/ 168275 h 2476500"/>
                  <a:gd name="connsiteX153" fmla="*/ 1643134 w 1757434"/>
                  <a:gd name="connsiteY153" fmla="*/ 177800 h 2476500"/>
                  <a:gd name="connsiteX154" fmla="*/ 1641547 w 1757434"/>
                  <a:gd name="connsiteY154" fmla="*/ 185738 h 2476500"/>
                  <a:gd name="connsiteX155" fmla="*/ 1641547 w 1757434"/>
                  <a:gd name="connsiteY155" fmla="*/ 198438 h 2476500"/>
                  <a:gd name="connsiteX156" fmla="*/ 1646309 w 1757434"/>
                  <a:gd name="connsiteY156" fmla="*/ 200025 h 2476500"/>
                  <a:gd name="connsiteX157" fmla="*/ 1652659 w 1757434"/>
                  <a:gd name="connsiteY157" fmla="*/ 192088 h 2476500"/>
                  <a:gd name="connsiteX158" fmla="*/ 1663772 w 1757434"/>
                  <a:gd name="connsiteY158" fmla="*/ 182563 h 2476500"/>
                  <a:gd name="connsiteX159" fmla="*/ 1666947 w 1757434"/>
                  <a:gd name="connsiteY159" fmla="*/ 187325 h 2476500"/>
                  <a:gd name="connsiteX160" fmla="*/ 1668534 w 1757434"/>
                  <a:gd name="connsiteY160" fmla="*/ 200025 h 2476500"/>
                  <a:gd name="connsiteX161" fmla="*/ 1673297 w 1757434"/>
                  <a:gd name="connsiteY161" fmla="*/ 196850 h 2476500"/>
                  <a:gd name="connsiteX162" fmla="*/ 1681234 w 1757434"/>
                  <a:gd name="connsiteY162" fmla="*/ 195263 h 2476500"/>
                  <a:gd name="connsiteX163" fmla="*/ 1685997 w 1757434"/>
                  <a:gd name="connsiteY163" fmla="*/ 196850 h 2476500"/>
                  <a:gd name="connsiteX164" fmla="*/ 1692347 w 1757434"/>
                  <a:gd name="connsiteY164" fmla="*/ 180975 h 2476500"/>
                  <a:gd name="connsiteX165" fmla="*/ 1695522 w 1757434"/>
                  <a:gd name="connsiteY165" fmla="*/ 176213 h 2476500"/>
                  <a:gd name="connsiteX166" fmla="*/ 1697109 w 1757434"/>
                  <a:gd name="connsiteY166" fmla="*/ 171450 h 2476500"/>
                  <a:gd name="connsiteX167" fmla="*/ 1703459 w 1757434"/>
                  <a:gd name="connsiteY167" fmla="*/ 168275 h 2476500"/>
                  <a:gd name="connsiteX168" fmla="*/ 1705047 w 1757434"/>
                  <a:gd name="connsiteY168" fmla="*/ 184150 h 2476500"/>
                  <a:gd name="connsiteX169" fmla="*/ 1709809 w 1757434"/>
                  <a:gd name="connsiteY169" fmla="*/ 193675 h 2476500"/>
                  <a:gd name="connsiteX170" fmla="*/ 1712984 w 1757434"/>
                  <a:gd name="connsiteY170" fmla="*/ 184150 h 2476500"/>
                  <a:gd name="connsiteX171" fmla="*/ 1717747 w 1757434"/>
                  <a:gd name="connsiteY171" fmla="*/ 180975 h 2476500"/>
                  <a:gd name="connsiteX172" fmla="*/ 1732034 w 1757434"/>
                  <a:gd name="connsiteY172" fmla="*/ 171450 h 2476500"/>
                  <a:gd name="connsiteX173" fmla="*/ 1733622 w 1757434"/>
                  <a:gd name="connsiteY173" fmla="*/ 179388 h 2476500"/>
                  <a:gd name="connsiteX174" fmla="*/ 1736797 w 1757434"/>
                  <a:gd name="connsiteY174" fmla="*/ 184150 h 2476500"/>
                  <a:gd name="connsiteX175" fmla="*/ 1744734 w 1757434"/>
                  <a:gd name="connsiteY175" fmla="*/ 185738 h 2476500"/>
                  <a:gd name="connsiteX176" fmla="*/ 1749497 w 1757434"/>
                  <a:gd name="connsiteY176" fmla="*/ 190500 h 2476500"/>
                  <a:gd name="connsiteX177" fmla="*/ 1754259 w 1757434"/>
                  <a:gd name="connsiteY177" fmla="*/ 192088 h 2476500"/>
                  <a:gd name="connsiteX178" fmla="*/ 1752672 w 1757434"/>
                  <a:gd name="connsiteY178" fmla="*/ 203200 h 2476500"/>
                  <a:gd name="connsiteX179" fmla="*/ 1754259 w 1757434"/>
                  <a:gd name="connsiteY179" fmla="*/ 222250 h 2476500"/>
                  <a:gd name="connsiteX180" fmla="*/ 1757434 w 1757434"/>
                  <a:gd name="connsiteY180" fmla="*/ 233363 h 2476500"/>
                  <a:gd name="connsiteX181" fmla="*/ 1752672 w 1757434"/>
                  <a:gd name="connsiteY181" fmla="*/ 238125 h 2476500"/>
                  <a:gd name="connsiteX182" fmla="*/ 1739972 w 1757434"/>
                  <a:gd name="connsiteY182" fmla="*/ 225425 h 2476500"/>
                  <a:gd name="connsiteX183" fmla="*/ 1709809 w 1757434"/>
                  <a:gd name="connsiteY183" fmla="*/ 223838 h 2476500"/>
                  <a:gd name="connsiteX184" fmla="*/ 1705047 w 1757434"/>
                  <a:gd name="connsiteY184" fmla="*/ 220663 h 2476500"/>
                  <a:gd name="connsiteX185" fmla="*/ 1703459 w 1757434"/>
                  <a:gd name="connsiteY185" fmla="*/ 225425 h 2476500"/>
                  <a:gd name="connsiteX186" fmla="*/ 1698697 w 1757434"/>
                  <a:gd name="connsiteY186" fmla="*/ 244475 h 2476500"/>
                  <a:gd name="connsiteX187" fmla="*/ 1692347 w 1757434"/>
                  <a:gd name="connsiteY187" fmla="*/ 249238 h 2476500"/>
                  <a:gd name="connsiteX188" fmla="*/ 1682822 w 1757434"/>
                  <a:gd name="connsiteY188" fmla="*/ 261938 h 2476500"/>
                  <a:gd name="connsiteX189" fmla="*/ 1676472 w 1757434"/>
                  <a:gd name="connsiteY189" fmla="*/ 269875 h 2476500"/>
                  <a:gd name="connsiteX190" fmla="*/ 1671709 w 1757434"/>
                  <a:gd name="connsiteY190" fmla="*/ 274638 h 2476500"/>
                  <a:gd name="connsiteX191" fmla="*/ 1668534 w 1757434"/>
                  <a:gd name="connsiteY191" fmla="*/ 280988 h 2476500"/>
                  <a:gd name="connsiteX192" fmla="*/ 1670122 w 1757434"/>
                  <a:gd name="connsiteY192" fmla="*/ 319088 h 2476500"/>
                  <a:gd name="connsiteX193" fmla="*/ 1665359 w 1757434"/>
                  <a:gd name="connsiteY193" fmla="*/ 331788 h 2476500"/>
                  <a:gd name="connsiteX194" fmla="*/ 1655834 w 1757434"/>
                  <a:gd name="connsiteY194" fmla="*/ 328613 h 2476500"/>
                  <a:gd name="connsiteX195" fmla="*/ 1643134 w 1757434"/>
                  <a:gd name="connsiteY195" fmla="*/ 323850 h 2476500"/>
                  <a:gd name="connsiteX196" fmla="*/ 1638372 w 1757434"/>
                  <a:gd name="connsiteY196" fmla="*/ 315913 h 2476500"/>
                  <a:gd name="connsiteX197" fmla="*/ 1641547 w 1757434"/>
                  <a:gd name="connsiteY197" fmla="*/ 298450 h 2476500"/>
                  <a:gd name="connsiteX198" fmla="*/ 1644722 w 1757434"/>
                  <a:gd name="connsiteY198" fmla="*/ 290513 h 2476500"/>
                  <a:gd name="connsiteX199" fmla="*/ 1649484 w 1757434"/>
                  <a:gd name="connsiteY199" fmla="*/ 285750 h 2476500"/>
                  <a:gd name="connsiteX200" fmla="*/ 1651072 w 1757434"/>
                  <a:gd name="connsiteY200" fmla="*/ 274638 h 2476500"/>
                  <a:gd name="connsiteX201" fmla="*/ 1654247 w 1757434"/>
                  <a:gd name="connsiteY201" fmla="*/ 268288 h 2476500"/>
                  <a:gd name="connsiteX202" fmla="*/ 1652659 w 1757434"/>
                  <a:gd name="connsiteY202" fmla="*/ 255588 h 2476500"/>
                  <a:gd name="connsiteX203" fmla="*/ 1639959 w 1757434"/>
                  <a:gd name="connsiteY203" fmla="*/ 239713 h 2476500"/>
                  <a:gd name="connsiteX204" fmla="*/ 1628847 w 1757434"/>
                  <a:gd name="connsiteY204" fmla="*/ 236538 h 2476500"/>
                  <a:gd name="connsiteX205" fmla="*/ 1620909 w 1757434"/>
                  <a:gd name="connsiteY205" fmla="*/ 231775 h 2476500"/>
                  <a:gd name="connsiteX206" fmla="*/ 1605034 w 1757434"/>
                  <a:gd name="connsiteY206" fmla="*/ 223838 h 2476500"/>
                  <a:gd name="connsiteX207" fmla="*/ 1597097 w 1757434"/>
                  <a:gd name="connsiteY207" fmla="*/ 217488 h 2476500"/>
                  <a:gd name="connsiteX208" fmla="*/ 1584397 w 1757434"/>
                  <a:gd name="connsiteY208" fmla="*/ 215900 h 2476500"/>
                  <a:gd name="connsiteX209" fmla="*/ 1582809 w 1757434"/>
                  <a:gd name="connsiteY209" fmla="*/ 211138 h 2476500"/>
                  <a:gd name="connsiteX210" fmla="*/ 1579634 w 1757434"/>
                  <a:gd name="connsiteY210" fmla="*/ 204788 h 2476500"/>
                  <a:gd name="connsiteX211" fmla="*/ 1554234 w 1757434"/>
                  <a:gd name="connsiteY211" fmla="*/ 200025 h 2476500"/>
                  <a:gd name="connsiteX212" fmla="*/ 1552647 w 1757434"/>
                  <a:gd name="connsiteY212" fmla="*/ 190500 h 2476500"/>
                  <a:gd name="connsiteX213" fmla="*/ 1543122 w 1757434"/>
                  <a:gd name="connsiteY213" fmla="*/ 184150 h 2476500"/>
                  <a:gd name="connsiteX214" fmla="*/ 1522484 w 1757434"/>
                  <a:gd name="connsiteY214" fmla="*/ 185738 h 2476500"/>
                  <a:gd name="connsiteX215" fmla="*/ 1516134 w 1757434"/>
                  <a:gd name="connsiteY215" fmla="*/ 190500 h 2476500"/>
                  <a:gd name="connsiteX216" fmla="*/ 1511372 w 1757434"/>
                  <a:gd name="connsiteY216" fmla="*/ 193675 h 2476500"/>
                  <a:gd name="connsiteX217" fmla="*/ 1506609 w 1757434"/>
                  <a:gd name="connsiteY217" fmla="*/ 201613 h 2476500"/>
                  <a:gd name="connsiteX218" fmla="*/ 1503434 w 1757434"/>
                  <a:gd name="connsiteY218" fmla="*/ 206375 h 2476500"/>
                  <a:gd name="connsiteX219" fmla="*/ 1500259 w 1757434"/>
                  <a:gd name="connsiteY219" fmla="*/ 214313 h 2476500"/>
                  <a:gd name="connsiteX220" fmla="*/ 1493909 w 1757434"/>
                  <a:gd name="connsiteY220" fmla="*/ 215900 h 2476500"/>
                  <a:gd name="connsiteX221" fmla="*/ 1474859 w 1757434"/>
                  <a:gd name="connsiteY221" fmla="*/ 225425 h 2476500"/>
                  <a:gd name="connsiteX222" fmla="*/ 1460572 w 1757434"/>
                  <a:gd name="connsiteY222" fmla="*/ 233363 h 2476500"/>
                  <a:gd name="connsiteX223" fmla="*/ 1457397 w 1757434"/>
                  <a:gd name="connsiteY223" fmla="*/ 239713 h 2476500"/>
                  <a:gd name="connsiteX224" fmla="*/ 1455809 w 1757434"/>
                  <a:gd name="connsiteY224" fmla="*/ 244475 h 2476500"/>
                  <a:gd name="connsiteX225" fmla="*/ 1451047 w 1757434"/>
                  <a:gd name="connsiteY225" fmla="*/ 249238 h 2476500"/>
                  <a:gd name="connsiteX226" fmla="*/ 1435172 w 1757434"/>
                  <a:gd name="connsiteY226" fmla="*/ 266700 h 2476500"/>
                  <a:gd name="connsiteX227" fmla="*/ 1436759 w 1757434"/>
                  <a:gd name="connsiteY227" fmla="*/ 277813 h 2476500"/>
                  <a:gd name="connsiteX228" fmla="*/ 1441522 w 1757434"/>
                  <a:gd name="connsiteY228" fmla="*/ 287338 h 2476500"/>
                  <a:gd name="connsiteX229" fmla="*/ 1443109 w 1757434"/>
                  <a:gd name="connsiteY229" fmla="*/ 293688 h 2476500"/>
                  <a:gd name="connsiteX230" fmla="*/ 1441522 w 1757434"/>
                  <a:gd name="connsiteY230" fmla="*/ 325438 h 2476500"/>
                  <a:gd name="connsiteX231" fmla="*/ 1441522 w 1757434"/>
                  <a:gd name="connsiteY231" fmla="*/ 360363 h 2476500"/>
                  <a:gd name="connsiteX232" fmla="*/ 1449459 w 1757434"/>
                  <a:gd name="connsiteY232" fmla="*/ 361950 h 2476500"/>
                  <a:gd name="connsiteX233" fmla="*/ 1458984 w 1757434"/>
                  <a:gd name="connsiteY233" fmla="*/ 365125 h 2476500"/>
                  <a:gd name="connsiteX234" fmla="*/ 1458984 w 1757434"/>
                  <a:gd name="connsiteY234" fmla="*/ 409575 h 2476500"/>
                  <a:gd name="connsiteX235" fmla="*/ 1444697 w 1757434"/>
                  <a:gd name="connsiteY235" fmla="*/ 411163 h 2476500"/>
                  <a:gd name="connsiteX236" fmla="*/ 1435172 w 1757434"/>
                  <a:gd name="connsiteY236" fmla="*/ 415925 h 2476500"/>
                  <a:gd name="connsiteX237" fmla="*/ 1436759 w 1757434"/>
                  <a:gd name="connsiteY237" fmla="*/ 423863 h 2476500"/>
                  <a:gd name="connsiteX238" fmla="*/ 1433584 w 1757434"/>
                  <a:gd name="connsiteY238" fmla="*/ 471488 h 2476500"/>
                  <a:gd name="connsiteX239" fmla="*/ 1419297 w 1757434"/>
                  <a:gd name="connsiteY239" fmla="*/ 465138 h 2476500"/>
                  <a:gd name="connsiteX240" fmla="*/ 1412947 w 1757434"/>
                  <a:gd name="connsiteY240" fmla="*/ 461963 h 2476500"/>
                  <a:gd name="connsiteX241" fmla="*/ 1390722 w 1757434"/>
                  <a:gd name="connsiteY241" fmla="*/ 465138 h 2476500"/>
                  <a:gd name="connsiteX242" fmla="*/ 1382784 w 1757434"/>
                  <a:gd name="connsiteY242" fmla="*/ 450850 h 2476500"/>
                  <a:gd name="connsiteX243" fmla="*/ 1378022 w 1757434"/>
                  <a:gd name="connsiteY243" fmla="*/ 447675 h 2476500"/>
                  <a:gd name="connsiteX244" fmla="*/ 1373259 w 1757434"/>
                  <a:gd name="connsiteY244" fmla="*/ 442913 h 2476500"/>
                  <a:gd name="connsiteX245" fmla="*/ 1365322 w 1757434"/>
                  <a:gd name="connsiteY245" fmla="*/ 441325 h 2476500"/>
                  <a:gd name="connsiteX246" fmla="*/ 1360559 w 1757434"/>
                  <a:gd name="connsiteY246" fmla="*/ 439738 h 2476500"/>
                  <a:gd name="connsiteX247" fmla="*/ 1349447 w 1757434"/>
                  <a:gd name="connsiteY247" fmla="*/ 441325 h 2476500"/>
                  <a:gd name="connsiteX248" fmla="*/ 1335159 w 1757434"/>
                  <a:gd name="connsiteY248" fmla="*/ 450850 h 2476500"/>
                  <a:gd name="connsiteX249" fmla="*/ 1328809 w 1757434"/>
                  <a:gd name="connsiteY249" fmla="*/ 461963 h 2476500"/>
                  <a:gd name="connsiteX250" fmla="*/ 1320872 w 1757434"/>
                  <a:gd name="connsiteY250" fmla="*/ 469900 h 2476500"/>
                  <a:gd name="connsiteX251" fmla="*/ 1312934 w 1757434"/>
                  <a:gd name="connsiteY251" fmla="*/ 471488 h 2476500"/>
                  <a:gd name="connsiteX252" fmla="*/ 1308172 w 1757434"/>
                  <a:gd name="connsiteY252" fmla="*/ 474663 h 2476500"/>
                  <a:gd name="connsiteX253" fmla="*/ 1303409 w 1757434"/>
                  <a:gd name="connsiteY253" fmla="*/ 479425 h 2476500"/>
                  <a:gd name="connsiteX254" fmla="*/ 1295472 w 1757434"/>
                  <a:gd name="connsiteY254" fmla="*/ 481013 h 2476500"/>
                  <a:gd name="connsiteX255" fmla="*/ 1287534 w 1757434"/>
                  <a:gd name="connsiteY255" fmla="*/ 484188 h 2476500"/>
                  <a:gd name="connsiteX256" fmla="*/ 1281184 w 1757434"/>
                  <a:gd name="connsiteY256" fmla="*/ 482600 h 2476500"/>
                  <a:gd name="connsiteX257" fmla="*/ 1273247 w 1757434"/>
                  <a:gd name="connsiteY257" fmla="*/ 476250 h 2476500"/>
                  <a:gd name="connsiteX258" fmla="*/ 1266897 w 1757434"/>
                  <a:gd name="connsiteY258" fmla="*/ 471488 h 2476500"/>
                  <a:gd name="connsiteX259" fmla="*/ 1255784 w 1757434"/>
                  <a:gd name="connsiteY259" fmla="*/ 466725 h 2476500"/>
                  <a:gd name="connsiteX260" fmla="*/ 1244672 w 1757434"/>
                  <a:gd name="connsiteY260" fmla="*/ 455613 h 2476500"/>
                  <a:gd name="connsiteX261" fmla="*/ 1238322 w 1757434"/>
                  <a:gd name="connsiteY261" fmla="*/ 449263 h 2476500"/>
                  <a:gd name="connsiteX262" fmla="*/ 1231972 w 1757434"/>
                  <a:gd name="connsiteY262" fmla="*/ 444500 h 2476500"/>
                  <a:gd name="connsiteX263" fmla="*/ 1230384 w 1757434"/>
                  <a:gd name="connsiteY263" fmla="*/ 438150 h 2476500"/>
                  <a:gd name="connsiteX264" fmla="*/ 1225622 w 1757434"/>
                  <a:gd name="connsiteY264" fmla="*/ 433388 h 2476500"/>
                  <a:gd name="connsiteX265" fmla="*/ 1222447 w 1757434"/>
                  <a:gd name="connsiteY265" fmla="*/ 428625 h 2476500"/>
                  <a:gd name="connsiteX266" fmla="*/ 1204984 w 1757434"/>
                  <a:gd name="connsiteY266" fmla="*/ 411163 h 2476500"/>
                  <a:gd name="connsiteX267" fmla="*/ 1197047 w 1757434"/>
                  <a:gd name="connsiteY267" fmla="*/ 409575 h 2476500"/>
                  <a:gd name="connsiteX268" fmla="*/ 1192284 w 1757434"/>
                  <a:gd name="connsiteY268" fmla="*/ 395288 h 2476500"/>
                  <a:gd name="connsiteX269" fmla="*/ 1189109 w 1757434"/>
                  <a:gd name="connsiteY269" fmla="*/ 390525 h 2476500"/>
                  <a:gd name="connsiteX270" fmla="*/ 1184347 w 1757434"/>
                  <a:gd name="connsiteY270" fmla="*/ 388938 h 2476500"/>
                  <a:gd name="connsiteX271" fmla="*/ 1179584 w 1757434"/>
                  <a:gd name="connsiteY271" fmla="*/ 390525 h 2476500"/>
                  <a:gd name="connsiteX272" fmla="*/ 1149422 w 1757434"/>
                  <a:gd name="connsiteY272" fmla="*/ 393700 h 2476500"/>
                  <a:gd name="connsiteX273" fmla="*/ 1157359 w 1757434"/>
                  <a:gd name="connsiteY273" fmla="*/ 438150 h 2476500"/>
                  <a:gd name="connsiteX274" fmla="*/ 1151009 w 1757434"/>
                  <a:gd name="connsiteY274" fmla="*/ 436563 h 2476500"/>
                  <a:gd name="connsiteX275" fmla="*/ 1125609 w 1757434"/>
                  <a:gd name="connsiteY275" fmla="*/ 439738 h 2476500"/>
                  <a:gd name="connsiteX276" fmla="*/ 1116084 w 1757434"/>
                  <a:gd name="connsiteY276" fmla="*/ 447675 h 2476500"/>
                  <a:gd name="connsiteX277" fmla="*/ 1111322 w 1757434"/>
                  <a:gd name="connsiteY277" fmla="*/ 449263 h 2476500"/>
                  <a:gd name="connsiteX278" fmla="*/ 1101797 w 1757434"/>
                  <a:gd name="connsiteY278" fmla="*/ 454025 h 2476500"/>
                  <a:gd name="connsiteX279" fmla="*/ 1095447 w 1757434"/>
                  <a:gd name="connsiteY279" fmla="*/ 458788 h 2476500"/>
                  <a:gd name="connsiteX280" fmla="*/ 1101797 w 1757434"/>
                  <a:gd name="connsiteY280" fmla="*/ 469900 h 2476500"/>
                  <a:gd name="connsiteX281" fmla="*/ 1109734 w 1757434"/>
                  <a:gd name="connsiteY281" fmla="*/ 473075 h 2476500"/>
                  <a:gd name="connsiteX282" fmla="*/ 1114497 w 1757434"/>
                  <a:gd name="connsiteY282" fmla="*/ 477838 h 2476500"/>
                  <a:gd name="connsiteX283" fmla="*/ 1116084 w 1757434"/>
                  <a:gd name="connsiteY283" fmla="*/ 484188 h 2476500"/>
                  <a:gd name="connsiteX284" fmla="*/ 1117672 w 1757434"/>
                  <a:gd name="connsiteY284" fmla="*/ 504825 h 2476500"/>
                  <a:gd name="connsiteX285" fmla="*/ 1117672 w 1757434"/>
                  <a:gd name="connsiteY285" fmla="*/ 547688 h 2476500"/>
                  <a:gd name="connsiteX286" fmla="*/ 1124022 w 1757434"/>
                  <a:gd name="connsiteY286" fmla="*/ 550863 h 2476500"/>
                  <a:gd name="connsiteX287" fmla="*/ 1125609 w 1757434"/>
                  <a:gd name="connsiteY287" fmla="*/ 555625 h 2476500"/>
                  <a:gd name="connsiteX288" fmla="*/ 1130372 w 1757434"/>
                  <a:gd name="connsiteY288" fmla="*/ 557213 h 2476500"/>
                  <a:gd name="connsiteX289" fmla="*/ 1122434 w 1757434"/>
                  <a:gd name="connsiteY289" fmla="*/ 565150 h 2476500"/>
                  <a:gd name="connsiteX290" fmla="*/ 1117672 w 1757434"/>
                  <a:gd name="connsiteY290" fmla="*/ 576263 h 2476500"/>
                  <a:gd name="connsiteX291" fmla="*/ 1112909 w 1757434"/>
                  <a:gd name="connsiteY291" fmla="*/ 584200 h 2476500"/>
                  <a:gd name="connsiteX292" fmla="*/ 1106559 w 1757434"/>
                  <a:gd name="connsiteY292" fmla="*/ 587375 h 2476500"/>
                  <a:gd name="connsiteX293" fmla="*/ 1098622 w 1757434"/>
                  <a:gd name="connsiteY293" fmla="*/ 584200 h 2476500"/>
                  <a:gd name="connsiteX294" fmla="*/ 1093859 w 1757434"/>
                  <a:gd name="connsiteY294" fmla="*/ 579438 h 2476500"/>
                  <a:gd name="connsiteX295" fmla="*/ 1082747 w 1757434"/>
                  <a:gd name="connsiteY295" fmla="*/ 573088 h 2476500"/>
                  <a:gd name="connsiteX296" fmla="*/ 1062109 w 1757434"/>
                  <a:gd name="connsiteY296" fmla="*/ 569913 h 2476500"/>
                  <a:gd name="connsiteX297" fmla="*/ 1047822 w 1757434"/>
                  <a:gd name="connsiteY297" fmla="*/ 565150 h 2476500"/>
                  <a:gd name="connsiteX298" fmla="*/ 1041472 w 1757434"/>
                  <a:gd name="connsiteY298" fmla="*/ 563563 h 2476500"/>
                  <a:gd name="connsiteX299" fmla="*/ 1030359 w 1757434"/>
                  <a:gd name="connsiteY299" fmla="*/ 565150 h 2476500"/>
                  <a:gd name="connsiteX300" fmla="*/ 1017659 w 1757434"/>
                  <a:gd name="connsiteY300" fmla="*/ 571500 h 2476500"/>
                  <a:gd name="connsiteX301" fmla="*/ 1016072 w 1757434"/>
                  <a:gd name="connsiteY301" fmla="*/ 560388 h 2476500"/>
                  <a:gd name="connsiteX302" fmla="*/ 989084 w 1757434"/>
                  <a:gd name="connsiteY302" fmla="*/ 560388 h 2476500"/>
                  <a:gd name="connsiteX303" fmla="*/ 984322 w 1757434"/>
                  <a:gd name="connsiteY303" fmla="*/ 566738 h 2476500"/>
                  <a:gd name="connsiteX304" fmla="*/ 990672 w 1757434"/>
                  <a:gd name="connsiteY304" fmla="*/ 592138 h 2476500"/>
                  <a:gd name="connsiteX305" fmla="*/ 992259 w 1757434"/>
                  <a:gd name="connsiteY305" fmla="*/ 596900 h 2476500"/>
                  <a:gd name="connsiteX306" fmla="*/ 989084 w 1757434"/>
                  <a:gd name="connsiteY306" fmla="*/ 644525 h 2476500"/>
                  <a:gd name="connsiteX307" fmla="*/ 984322 w 1757434"/>
                  <a:gd name="connsiteY307" fmla="*/ 650875 h 2476500"/>
                  <a:gd name="connsiteX308" fmla="*/ 982734 w 1757434"/>
                  <a:gd name="connsiteY308" fmla="*/ 655638 h 2476500"/>
                  <a:gd name="connsiteX309" fmla="*/ 979559 w 1757434"/>
                  <a:gd name="connsiteY309" fmla="*/ 669925 h 2476500"/>
                  <a:gd name="connsiteX310" fmla="*/ 974797 w 1757434"/>
                  <a:gd name="connsiteY310" fmla="*/ 666750 h 2476500"/>
                  <a:gd name="connsiteX311" fmla="*/ 970034 w 1757434"/>
                  <a:gd name="connsiteY311" fmla="*/ 661988 h 2476500"/>
                  <a:gd name="connsiteX312" fmla="*/ 960509 w 1757434"/>
                  <a:gd name="connsiteY312" fmla="*/ 663575 h 2476500"/>
                  <a:gd name="connsiteX313" fmla="*/ 943047 w 1757434"/>
                  <a:gd name="connsiteY313" fmla="*/ 668338 h 2476500"/>
                  <a:gd name="connsiteX314" fmla="*/ 936697 w 1757434"/>
                  <a:gd name="connsiteY314" fmla="*/ 676275 h 2476500"/>
                  <a:gd name="connsiteX315" fmla="*/ 925584 w 1757434"/>
                  <a:gd name="connsiteY315" fmla="*/ 687388 h 2476500"/>
                  <a:gd name="connsiteX316" fmla="*/ 922409 w 1757434"/>
                  <a:gd name="connsiteY316" fmla="*/ 692150 h 2476500"/>
                  <a:gd name="connsiteX317" fmla="*/ 916059 w 1757434"/>
                  <a:gd name="connsiteY317" fmla="*/ 698500 h 2476500"/>
                  <a:gd name="connsiteX318" fmla="*/ 912884 w 1757434"/>
                  <a:gd name="connsiteY318" fmla="*/ 704850 h 2476500"/>
                  <a:gd name="connsiteX319" fmla="*/ 909709 w 1757434"/>
                  <a:gd name="connsiteY319" fmla="*/ 709613 h 2476500"/>
                  <a:gd name="connsiteX320" fmla="*/ 908122 w 1757434"/>
                  <a:gd name="connsiteY320" fmla="*/ 717550 h 2476500"/>
                  <a:gd name="connsiteX321" fmla="*/ 901772 w 1757434"/>
                  <a:gd name="connsiteY321" fmla="*/ 727075 h 2476500"/>
                  <a:gd name="connsiteX322" fmla="*/ 897009 w 1757434"/>
                  <a:gd name="connsiteY322" fmla="*/ 741363 h 2476500"/>
                  <a:gd name="connsiteX323" fmla="*/ 895422 w 1757434"/>
                  <a:gd name="connsiteY323" fmla="*/ 746125 h 2476500"/>
                  <a:gd name="connsiteX324" fmla="*/ 893834 w 1757434"/>
                  <a:gd name="connsiteY324" fmla="*/ 757238 h 2476500"/>
                  <a:gd name="connsiteX325" fmla="*/ 887484 w 1757434"/>
                  <a:gd name="connsiteY325" fmla="*/ 763588 h 2476500"/>
                  <a:gd name="connsiteX326" fmla="*/ 882722 w 1757434"/>
                  <a:gd name="connsiteY326" fmla="*/ 769938 h 2476500"/>
                  <a:gd name="connsiteX327" fmla="*/ 884309 w 1757434"/>
                  <a:gd name="connsiteY327" fmla="*/ 781050 h 2476500"/>
                  <a:gd name="connsiteX328" fmla="*/ 892247 w 1757434"/>
                  <a:gd name="connsiteY328" fmla="*/ 795338 h 2476500"/>
                  <a:gd name="connsiteX329" fmla="*/ 892247 w 1757434"/>
                  <a:gd name="connsiteY329" fmla="*/ 839788 h 2476500"/>
                  <a:gd name="connsiteX330" fmla="*/ 887484 w 1757434"/>
                  <a:gd name="connsiteY330" fmla="*/ 842963 h 2476500"/>
                  <a:gd name="connsiteX331" fmla="*/ 879547 w 1757434"/>
                  <a:gd name="connsiteY331" fmla="*/ 855663 h 2476500"/>
                  <a:gd name="connsiteX332" fmla="*/ 876372 w 1757434"/>
                  <a:gd name="connsiteY332" fmla="*/ 863600 h 2476500"/>
                  <a:gd name="connsiteX333" fmla="*/ 874784 w 1757434"/>
                  <a:gd name="connsiteY333" fmla="*/ 869950 h 2476500"/>
                  <a:gd name="connsiteX334" fmla="*/ 870022 w 1757434"/>
                  <a:gd name="connsiteY334" fmla="*/ 884238 h 2476500"/>
                  <a:gd name="connsiteX335" fmla="*/ 866847 w 1757434"/>
                  <a:gd name="connsiteY335" fmla="*/ 893763 h 2476500"/>
                  <a:gd name="connsiteX336" fmla="*/ 863672 w 1757434"/>
                  <a:gd name="connsiteY336" fmla="*/ 906463 h 2476500"/>
                  <a:gd name="connsiteX337" fmla="*/ 857322 w 1757434"/>
                  <a:gd name="connsiteY337" fmla="*/ 919163 h 2476500"/>
                  <a:gd name="connsiteX338" fmla="*/ 852559 w 1757434"/>
                  <a:gd name="connsiteY338" fmla="*/ 923925 h 2476500"/>
                  <a:gd name="connsiteX339" fmla="*/ 843034 w 1757434"/>
                  <a:gd name="connsiteY339" fmla="*/ 935038 h 2476500"/>
                  <a:gd name="connsiteX340" fmla="*/ 831922 w 1757434"/>
                  <a:gd name="connsiteY340" fmla="*/ 944563 h 2476500"/>
                  <a:gd name="connsiteX341" fmla="*/ 830334 w 1757434"/>
                  <a:gd name="connsiteY341" fmla="*/ 950913 h 2476500"/>
                  <a:gd name="connsiteX342" fmla="*/ 835097 w 1757434"/>
                  <a:gd name="connsiteY342" fmla="*/ 973138 h 2476500"/>
                  <a:gd name="connsiteX343" fmla="*/ 833509 w 1757434"/>
                  <a:gd name="connsiteY343" fmla="*/ 990600 h 2476500"/>
                  <a:gd name="connsiteX344" fmla="*/ 825572 w 1757434"/>
                  <a:gd name="connsiteY344" fmla="*/ 995363 h 2476500"/>
                  <a:gd name="connsiteX345" fmla="*/ 819222 w 1757434"/>
                  <a:gd name="connsiteY345" fmla="*/ 1001713 h 2476500"/>
                  <a:gd name="connsiteX346" fmla="*/ 801759 w 1757434"/>
                  <a:gd name="connsiteY346" fmla="*/ 1016000 h 2476500"/>
                  <a:gd name="connsiteX347" fmla="*/ 782709 w 1757434"/>
                  <a:gd name="connsiteY347" fmla="*/ 1014413 h 2476500"/>
                  <a:gd name="connsiteX348" fmla="*/ 777777 w 1757434"/>
                  <a:gd name="connsiteY348" fmla="*/ 1011206 h 2476500"/>
                  <a:gd name="connsiteX349" fmla="*/ 780808 w 1757434"/>
                  <a:gd name="connsiteY349" fmla="*/ 1009156 h 2476500"/>
                  <a:gd name="connsiteX350" fmla="*/ 782139 w 1757434"/>
                  <a:gd name="connsiteY350" fmla="*/ 1008856 h 2476500"/>
                  <a:gd name="connsiteX351" fmla="*/ 780893 w 1757434"/>
                  <a:gd name="connsiteY351" fmla="*/ 1009099 h 2476500"/>
                  <a:gd name="connsiteX352" fmla="*/ 780808 w 1757434"/>
                  <a:gd name="connsiteY352" fmla="*/ 1009156 h 2476500"/>
                  <a:gd name="connsiteX353" fmla="*/ 771597 w 1757434"/>
                  <a:gd name="connsiteY353" fmla="*/ 1011238 h 2476500"/>
                  <a:gd name="connsiteX354" fmla="*/ 773184 w 1757434"/>
                  <a:gd name="connsiteY354" fmla="*/ 1050925 h 2476500"/>
                  <a:gd name="connsiteX355" fmla="*/ 779534 w 1757434"/>
                  <a:gd name="connsiteY355" fmla="*/ 1063625 h 2476500"/>
                  <a:gd name="connsiteX356" fmla="*/ 781122 w 1757434"/>
                  <a:gd name="connsiteY356" fmla="*/ 1068388 h 2476500"/>
                  <a:gd name="connsiteX357" fmla="*/ 782709 w 1757434"/>
                  <a:gd name="connsiteY357" fmla="*/ 1079500 h 2476500"/>
                  <a:gd name="connsiteX358" fmla="*/ 777947 w 1757434"/>
                  <a:gd name="connsiteY358" fmla="*/ 1093788 h 2476500"/>
                  <a:gd name="connsiteX359" fmla="*/ 773184 w 1757434"/>
                  <a:gd name="connsiteY359" fmla="*/ 1096963 h 2476500"/>
                  <a:gd name="connsiteX360" fmla="*/ 774772 w 1757434"/>
                  <a:gd name="connsiteY360" fmla="*/ 1106488 h 2476500"/>
                  <a:gd name="connsiteX361" fmla="*/ 782709 w 1757434"/>
                  <a:gd name="connsiteY361" fmla="*/ 1116013 h 2476500"/>
                  <a:gd name="connsiteX362" fmla="*/ 784297 w 1757434"/>
                  <a:gd name="connsiteY362" fmla="*/ 1123950 h 2476500"/>
                  <a:gd name="connsiteX363" fmla="*/ 787472 w 1757434"/>
                  <a:gd name="connsiteY363" fmla="*/ 1135063 h 2476500"/>
                  <a:gd name="connsiteX364" fmla="*/ 784297 w 1757434"/>
                  <a:gd name="connsiteY364" fmla="*/ 1157288 h 2476500"/>
                  <a:gd name="connsiteX365" fmla="*/ 781122 w 1757434"/>
                  <a:gd name="connsiteY365" fmla="*/ 1165225 h 2476500"/>
                  <a:gd name="connsiteX366" fmla="*/ 777947 w 1757434"/>
                  <a:gd name="connsiteY366" fmla="*/ 1169988 h 2476500"/>
                  <a:gd name="connsiteX367" fmla="*/ 779534 w 1757434"/>
                  <a:gd name="connsiteY367" fmla="*/ 1177925 h 2476500"/>
                  <a:gd name="connsiteX368" fmla="*/ 776359 w 1757434"/>
                  <a:gd name="connsiteY368" fmla="*/ 1192213 h 2476500"/>
                  <a:gd name="connsiteX369" fmla="*/ 773184 w 1757434"/>
                  <a:gd name="connsiteY369" fmla="*/ 1196975 h 2476500"/>
                  <a:gd name="connsiteX370" fmla="*/ 768422 w 1757434"/>
                  <a:gd name="connsiteY370" fmla="*/ 1206500 h 2476500"/>
                  <a:gd name="connsiteX371" fmla="*/ 763659 w 1757434"/>
                  <a:gd name="connsiteY371" fmla="*/ 1209675 h 2476500"/>
                  <a:gd name="connsiteX372" fmla="*/ 750959 w 1757434"/>
                  <a:gd name="connsiteY372" fmla="*/ 1230313 h 2476500"/>
                  <a:gd name="connsiteX373" fmla="*/ 752546 w 1757434"/>
                  <a:gd name="connsiteY373" fmla="*/ 1238250 h 2476500"/>
                  <a:gd name="connsiteX374" fmla="*/ 744609 w 1757434"/>
                  <a:gd name="connsiteY374" fmla="*/ 1258889 h 2476500"/>
                  <a:gd name="connsiteX375" fmla="*/ 730322 w 1757434"/>
                  <a:gd name="connsiteY375" fmla="*/ 1276350 h 2476500"/>
                  <a:gd name="connsiteX376" fmla="*/ 733497 w 1757434"/>
                  <a:gd name="connsiteY376" fmla="*/ 1293813 h 2476500"/>
                  <a:gd name="connsiteX377" fmla="*/ 738259 w 1757434"/>
                  <a:gd name="connsiteY377" fmla="*/ 1296988 h 2476500"/>
                  <a:gd name="connsiteX378" fmla="*/ 762072 w 1757434"/>
                  <a:gd name="connsiteY378" fmla="*/ 1319213 h 2476500"/>
                  <a:gd name="connsiteX379" fmla="*/ 768422 w 1757434"/>
                  <a:gd name="connsiteY379" fmla="*/ 1322388 h 2476500"/>
                  <a:gd name="connsiteX380" fmla="*/ 766834 w 1757434"/>
                  <a:gd name="connsiteY380" fmla="*/ 1366838 h 2476500"/>
                  <a:gd name="connsiteX381" fmla="*/ 763659 w 1757434"/>
                  <a:gd name="connsiteY381" fmla="*/ 1376363 h 2476500"/>
                  <a:gd name="connsiteX382" fmla="*/ 760484 w 1757434"/>
                  <a:gd name="connsiteY382" fmla="*/ 1384300 h 2476500"/>
                  <a:gd name="connsiteX383" fmla="*/ 758897 w 1757434"/>
                  <a:gd name="connsiteY383" fmla="*/ 1389063 h 2476500"/>
                  <a:gd name="connsiteX384" fmla="*/ 750959 w 1757434"/>
                  <a:gd name="connsiteY384" fmla="*/ 1398588 h 2476500"/>
                  <a:gd name="connsiteX385" fmla="*/ 719209 w 1757434"/>
                  <a:gd name="connsiteY385" fmla="*/ 1397000 h 2476500"/>
                  <a:gd name="connsiteX386" fmla="*/ 714447 w 1757434"/>
                  <a:gd name="connsiteY386" fmla="*/ 1389063 h 2476500"/>
                  <a:gd name="connsiteX387" fmla="*/ 706509 w 1757434"/>
                  <a:gd name="connsiteY387" fmla="*/ 1385888 h 2476500"/>
                  <a:gd name="connsiteX388" fmla="*/ 693809 w 1757434"/>
                  <a:gd name="connsiteY388" fmla="*/ 1389063 h 2476500"/>
                  <a:gd name="connsiteX389" fmla="*/ 685872 w 1757434"/>
                  <a:gd name="connsiteY389" fmla="*/ 1395413 h 2476500"/>
                  <a:gd name="connsiteX390" fmla="*/ 677934 w 1757434"/>
                  <a:gd name="connsiteY390" fmla="*/ 1406525 h 2476500"/>
                  <a:gd name="connsiteX391" fmla="*/ 671584 w 1757434"/>
                  <a:gd name="connsiteY391" fmla="*/ 1409700 h 2476500"/>
                  <a:gd name="connsiteX392" fmla="*/ 657297 w 1757434"/>
                  <a:gd name="connsiteY392" fmla="*/ 1419225 h 2476500"/>
                  <a:gd name="connsiteX393" fmla="*/ 654122 w 1757434"/>
                  <a:gd name="connsiteY393" fmla="*/ 1423988 h 2476500"/>
                  <a:gd name="connsiteX394" fmla="*/ 660472 w 1757434"/>
                  <a:gd name="connsiteY394" fmla="*/ 1430338 h 2476500"/>
                  <a:gd name="connsiteX395" fmla="*/ 662059 w 1757434"/>
                  <a:gd name="connsiteY395" fmla="*/ 1435100 h 2476500"/>
                  <a:gd name="connsiteX396" fmla="*/ 655709 w 1757434"/>
                  <a:gd name="connsiteY396" fmla="*/ 1438275 h 2476500"/>
                  <a:gd name="connsiteX397" fmla="*/ 650947 w 1757434"/>
                  <a:gd name="connsiteY397" fmla="*/ 1443038 h 2476500"/>
                  <a:gd name="connsiteX398" fmla="*/ 643009 w 1757434"/>
                  <a:gd name="connsiteY398" fmla="*/ 1449388 h 2476500"/>
                  <a:gd name="connsiteX399" fmla="*/ 638247 w 1757434"/>
                  <a:gd name="connsiteY399" fmla="*/ 1455738 h 2476500"/>
                  <a:gd name="connsiteX400" fmla="*/ 633484 w 1757434"/>
                  <a:gd name="connsiteY400" fmla="*/ 1458913 h 2476500"/>
                  <a:gd name="connsiteX401" fmla="*/ 623959 w 1757434"/>
                  <a:gd name="connsiteY401" fmla="*/ 1470025 h 2476500"/>
                  <a:gd name="connsiteX402" fmla="*/ 620784 w 1757434"/>
                  <a:gd name="connsiteY402" fmla="*/ 1489075 h 2476500"/>
                  <a:gd name="connsiteX403" fmla="*/ 619197 w 1757434"/>
                  <a:gd name="connsiteY403" fmla="*/ 1498600 h 2476500"/>
                  <a:gd name="connsiteX404" fmla="*/ 612847 w 1757434"/>
                  <a:gd name="connsiteY404" fmla="*/ 1487488 h 2476500"/>
                  <a:gd name="connsiteX405" fmla="*/ 612667 w 1757434"/>
                  <a:gd name="connsiteY405" fmla="*/ 1487193 h 2476500"/>
                  <a:gd name="connsiteX406" fmla="*/ 611259 w 1757434"/>
                  <a:gd name="connsiteY406" fmla="*/ 1509713 h 2476500"/>
                  <a:gd name="connsiteX407" fmla="*/ 603322 w 1757434"/>
                  <a:gd name="connsiteY407" fmla="*/ 1514475 h 2476500"/>
                  <a:gd name="connsiteX408" fmla="*/ 598559 w 1757434"/>
                  <a:gd name="connsiteY408" fmla="*/ 1519238 h 2476500"/>
                  <a:gd name="connsiteX409" fmla="*/ 593797 w 1757434"/>
                  <a:gd name="connsiteY409" fmla="*/ 1530350 h 2476500"/>
                  <a:gd name="connsiteX410" fmla="*/ 603322 w 1757434"/>
                  <a:gd name="connsiteY410" fmla="*/ 1539875 h 2476500"/>
                  <a:gd name="connsiteX411" fmla="*/ 606497 w 1757434"/>
                  <a:gd name="connsiteY411" fmla="*/ 1544638 h 2476500"/>
                  <a:gd name="connsiteX412" fmla="*/ 611259 w 1757434"/>
                  <a:gd name="connsiteY412" fmla="*/ 1550988 h 2476500"/>
                  <a:gd name="connsiteX413" fmla="*/ 612847 w 1757434"/>
                  <a:gd name="connsiteY413" fmla="*/ 1555750 h 2476500"/>
                  <a:gd name="connsiteX414" fmla="*/ 617609 w 1757434"/>
                  <a:gd name="connsiteY414" fmla="*/ 1562100 h 2476500"/>
                  <a:gd name="connsiteX415" fmla="*/ 616022 w 1757434"/>
                  <a:gd name="connsiteY415" fmla="*/ 1593850 h 2476500"/>
                  <a:gd name="connsiteX416" fmla="*/ 614434 w 1757434"/>
                  <a:gd name="connsiteY416" fmla="*/ 1598613 h 2476500"/>
                  <a:gd name="connsiteX417" fmla="*/ 609672 w 1757434"/>
                  <a:gd name="connsiteY417" fmla="*/ 1600200 h 2476500"/>
                  <a:gd name="connsiteX418" fmla="*/ 609672 w 1757434"/>
                  <a:gd name="connsiteY418" fmla="*/ 1635125 h 2476500"/>
                  <a:gd name="connsiteX419" fmla="*/ 612847 w 1757434"/>
                  <a:gd name="connsiteY419" fmla="*/ 1641475 h 2476500"/>
                  <a:gd name="connsiteX420" fmla="*/ 616022 w 1757434"/>
                  <a:gd name="connsiteY420" fmla="*/ 1677988 h 2476500"/>
                  <a:gd name="connsiteX421" fmla="*/ 620784 w 1757434"/>
                  <a:gd name="connsiteY421" fmla="*/ 1682750 h 2476500"/>
                  <a:gd name="connsiteX422" fmla="*/ 624689 w 1757434"/>
                  <a:gd name="connsiteY422" fmla="*/ 1687924 h 2476500"/>
                  <a:gd name="connsiteX423" fmla="*/ 623038 w 1757434"/>
                  <a:gd name="connsiteY423" fmla="*/ 1686677 h 2476500"/>
                  <a:gd name="connsiteX424" fmla="*/ 622473 w 1757434"/>
                  <a:gd name="connsiteY424" fmla="*/ 1686119 h 2476500"/>
                  <a:gd name="connsiteX425" fmla="*/ 622926 w 1757434"/>
                  <a:gd name="connsiteY425" fmla="*/ 1686592 h 2476500"/>
                  <a:gd name="connsiteX426" fmla="*/ 623038 w 1757434"/>
                  <a:gd name="connsiteY426" fmla="*/ 1686677 h 2476500"/>
                  <a:gd name="connsiteX427" fmla="*/ 630309 w 1757434"/>
                  <a:gd name="connsiteY427" fmla="*/ 1693863 h 2476500"/>
                  <a:gd name="connsiteX428" fmla="*/ 630309 w 1757434"/>
                  <a:gd name="connsiteY428" fmla="*/ 1730375 h 2476500"/>
                  <a:gd name="connsiteX429" fmla="*/ 628722 w 1757434"/>
                  <a:gd name="connsiteY429" fmla="*/ 1744663 h 2476500"/>
                  <a:gd name="connsiteX430" fmla="*/ 622372 w 1757434"/>
                  <a:gd name="connsiteY430" fmla="*/ 1754188 h 2476500"/>
                  <a:gd name="connsiteX431" fmla="*/ 622372 w 1757434"/>
                  <a:gd name="connsiteY431" fmla="*/ 1800225 h 2476500"/>
                  <a:gd name="connsiteX432" fmla="*/ 625547 w 1757434"/>
                  <a:gd name="connsiteY432" fmla="*/ 1809750 h 2476500"/>
                  <a:gd name="connsiteX433" fmla="*/ 627134 w 1757434"/>
                  <a:gd name="connsiteY433" fmla="*/ 1814513 h 2476500"/>
                  <a:gd name="connsiteX434" fmla="*/ 636659 w 1757434"/>
                  <a:gd name="connsiteY434" fmla="*/ 1827213 h 2476500"/>
                  <a:gd name="connsiteX435" fmla="*/ 647772 w 1757434"/>
                  <a:gd name="connsiteY435" fmla="*/ 1838325 h 2476500"/>
                  <a:gd name="connsiteX436" fmla="*/ 652534 w 1757434"/>
                  <a:gd name="connsiteY436" fmla="*/ 1839913 h 2476500"/>
                  <a:gd name="connsiteX437" fmla="*/ 666822 w 1757434"/>
                  <a:gd name="connsiteY437" fmla="*/ 1847850 h 2476500"/>
                  <a:gd name="connsiteX438" fmla="*/ 681109 w 1757434"/>
                  <a:gd name="connsiteY438" fmla="*/ 1863725 h 2476500"/>
                  <a:gd name="connsiteX439" fmla="*/ 682697 w 1757434"/>
                  <a:gd name="connsiteY439" fmla="*/ 1873250 h 2476500"/>
                  <a:gd name="connsiteX440" fmla="*/ 685872 w 1757434"/>
                  <a:gd name="connsiteY440" fmla="*/ 1881188 h 2476500"/>
                  <a:gd name="connsiteX441" fmla="*/ 684284 w 1757434"/>
                  <a:gd name="connsiteY441" fmla="*/ 1920875 h 2476500"/>
                  <a:gd name="connsiteX442" fmla="*/ 677934 w 1757434"/>
                  <a:gd name="connsiteY442" fmla="*/ 1925638 h 2476500"/>
                  <a:gd name="connsiteX443" fmla="*/ 674759 w 1757434"/>
                  <a:gd name="connsiteY443" fmla="*/ 1931988 h 2476500"/>
                  <a:gd name="connsiteX444" fmla="*/ 643009 w 1757434"/>
                  <a:gd name="connsiteY444" fmla="*/ 1938338 h 2476500"/>
                  <a:gd name="connsiteX445" fmla="*/ 636659 w 1757434"/>
                  <a:gd name="connsiteY445" fmla="*/ 1943100 h 2476500"/>
                  <a:gd name="connsiteX446" fmla="*/ 636659 w 1757434"/>
                  <a:gd name="connsiteY446" fmla="*/ 1968500 h 2476500"/>
                  <a:gd name="connsiteX447" fmla="*/ 644597 w 1757434"/>
                  <a:gd name="connsiteY447" fmla="*/ 1971675 h 2476500"/>
                  <a:gd name="connsiteX448" fmla="*/ 650947 w 1757434"/>
                  <a:gd name="connsiteY448" fmla="*/ 1974850 h 2476500"/>
                  <a:gd name="connsiteX449" fmla="*/ 652534 w 1757434"/>
                  <a:gd name="connsiteY449" fmla="*/ 1998663 h 2476500"/>
                  <a:gd name="connsiteX450" fmla="*/ 657297 w 1757434"/>
                  <a:gd name="connsiteY450" fmla="*/ 2001838 h 2476500"/>
                  <a:gd name="connsiteX451" fmla="*/ 660472 w 1757434"/>
                  <a:gd name="connsiteY451" fmla="*/ 2006600 h 2476500"/>
                  <a:gd name="connsiteX452" fmla="*/ 666822 w 1757434"/>
                  <a:gd name="connsiteY452" fmla="*/ 2014538 h 2476500"/>
                  <a:gd name="connsiteX453" fmla="*/ 668409 w 1757434"/>
                  <a:gd name="connsiteY453" fmla="*/ 2022475 h 2476500"/>
                  <a:gd name="connsiteX454" fmla="*/ 669997 w 1757434"/>
                  <a:gd name="connsiteY454" fmla="*/ 2027238 h 2476500"/>
                  <a:gd name="connsiteX455" fmla="*/ 671584 w 1757434"/>
                  <a:gd name="connsiteY455" fmla="*/ 2036763 h 2476500"/>
                  <a:gd name="connsiteX456" fmla="*/ 668409 w 1757434"/>
                  <a:gd name="connsiteY456" fmla="*/ 2055813 h 2476500"/>
                  <a:gd name="connsiteX457" fmla="*/ 663647 w 1757434"/>
                  <a:gd name="connsiteY457" fmla="*/ 2062163 h 2476500"/>
                  <a:gd name="connsiteX458" fmla="*/ 665234 w 1757434"/>
                  <a:gd name="connsiteY458" fmla="*/ 2068513 h 2476500"/>
                  <a:gd name="connsiteX459" fmla="*/ 671584 w 1757434"/>
                  <a:gd name="connsiteY459" fmla="*/ 2073275 h 2476500"/>
                  <a:gd name="connsiteX460" fmla="*/ 668409 w 1757434"/>
                  <a:gd name="connsiteY460" fmla="*/ 2098675 h 2476500"/>
                  <a:gd name="connsiteX461" fmla="*/ 663647 w 1757434"/>
                  <a:gd name="connsiteY461" fmla="*/ 2106613 h 2476500"/>
                  <a:gd name="connsiteX462" fmla="*/ 662059 w 1757434"/>
                  <a:gd name="connsiteY462" fmla="*/ 2117725 h 2476500"/>
                  <a:gd name="connsiteX463" fmla="*/ 643009 w 1757434"/>
                  <a:gd name="connsiteY463" fmla="*/ 2136775 h 2476500"/>
                  <a:gd name="connsiteX464" fmla="*/ 633484 w 1757434"/>
                  <a:gd name="connsiteY464" fmla="*/ 2138363 h 2476500"/>
                  <a:gd name="connsiteX465" fmla="*/ 628722 w 1757434"/>
                  <a:gd name="connsiteY465" fmla="*/ 2139950 h 2476500"/>
                  <a:gd name="connsiteX466" fmla="*/ 606497 w 1757434"/>
                  <a:gd name="connsiteY466" fmla="*/ 2141538 h 2476500"/>
                  <a:gd name="connsiteX467" fmla="*/ 600147 w 1757434"/>
                  <a:gd name="connsiteY467" fmla="*/ 2144713 h 2476500"/>
                  <a:gd name="connsiteX468" fmla="*/ 601734 w 1757434"/>
                  <a:gd name="connsiteY468" fmla="*/ 2149475 h 2476500"/>
                  <a:gd name="connsiteX469" fmla="*/ 612847 w 1757434"/>
                  <a:gd name="connsiteY469" fmla="*/ 2154238 h 2476500"/>
                  <a:gd name="connsiteX470" fmla="*/ 614434 w 1757434"/>
                  <a:gd name="connsiteY470" fmla="*/ 2159000 h 2476500"/>
                  <a:gd name="connsiteX471" fmla="*/ 611259 w 1757434"/>
                  <a:gd name="connsiteY471" fmla="*/ 2174875 h 2476500"/>
                  <a:gd name="connsiteX472" fmla="*/ 604909 w 1757434"/>
                  <a:gd name="connsiteY472" fmla="*/ 2181225 h 2476500"/>
                  <a:gd name="connsiteX473" fmla="*/ 600147 w 1757434"/>
                  <a:gd name="connsiteY473" fmla="*/ 2182813 h 2476500"/>
                  <a:gd name="connsiteX474" fmla="*/ 593797 w 1757434"/>
                  <a:gd name="connsiteY474" fmla="*/ 2189163 h 2476500"/>
                  <a:gd name="connsiteX475" fmla="*/ 595384 w 1757434"/>
                  <a:gd name="connsiteY475" fmla="*/ 2198688 h 2476500"/>
                  <a:gd name="connsiteX476" fmla="*/ 603322 w 1757434"/>
                  <a:gd name="connsiteY476" fmla="*/ 2216150 h 2476500"/>
                  <a:gd name="connsiteX477" fmla="*/ 606497 w 1757434"/>
                  <a:gd name="connsiteY477" fmla="*/ 2227263 h 2476500"/>
                  <a:gd name="connsiteX478" fmla="*/ 608084 w 1757434"/>
                  <a:gd name="connsiteY478" fmla="*/ 2232025 h 2476500"/>
                  <a:gd name="connsiteX479" fmla="*/ 608084 w 1757434"/>
                  <a:gd name="connsiteY479" fmla="*/ 2270125 h 2476500"/>
                  <a:gd name="connsiteX480" fmla="*/ 601734 w 1757434"/>
                  <a:gd name="connsiteY480" fmla="*/ 2289175 h 2476500"/>
                  <a:gd name="connsiteX481" fmla="*/ 595384 w 1757434"/>
                  <a:gd name="connsiteY481" fmla="*/ 2300288 h 2476500"/>
                  <a:gd name="connsiteX482" fmla="*/ 592209 w 1757434"/>
                  <a:gd name="connsiteY482" fmla="*/ 2316163 h 2476500"/>
                  <a:gd name="connsiteX483" fmla="*/ 577922 w 1757434"/>
                  <a:gd name="connsiteY483" fmla="*/ 2322513 h 2476500"/>
                  <a:gd name="connsiteX484" fmla="*/ 576334 w 1757434"/>
                  <a:gd name="connsiteY484" fmla="*/ 2308225 h 2476500"/>
                  <a:gd name="connsiteX485" fmla="*/ 568397 w 1757434"/>
                  <a:gd name="connsiteY485" fmla="*/ 2293938 h 2476500"/>
                  <a:gd name="connsiteX486" fmla="*/ 547759 w 1757434"/>
                  <a:gd name="connsiteY486" fmla="*/ 2290763 h 2476500"/>
                  <a:gd name="connsiteX487" fmla="*/ 542997 w 1757434"/>
                  <a:gd name="connsiteY487" fmla="*/ 2271713 h 2476500"/>
                  <a:gd name="connsiteX488" fmla="*/ 538234 w 1757434"/>
                  <a:gd name="connsiteY488" fmla="*/ 2270125 h 2476500"/>
                  <a:gd name="connsiteX489" fmla="*/ 525534 w 1757434"/>
                  <a:gd name="connsiteY489" fmla="*/ 2268538 h 2476500"/>
                  <a:gd name="connsiteX490" fmla="*/ 520772 w 1757434"/>
                  <a:gd name="connsiteY490" fmla="*/ 2265363 h 2476500"/>
                  <a:gd name="connsiteX491" fmla="*/ 514422 w 1757434"/>
                  <a:gd name="connsiteY491" fmla="*/ 2263775 h 2476500"/>
                  <a:gd name="connsiteX492" fmla="*/ 506484 w 1757434"/>
                  <a:gd name="connsiteY492" fmla="*/ 2254250 h 2476500"/>
                  <a:gd name="connsiteX493" fmla="*/ 508072 w 1757434"/>
                  <a:gd name="connsiteY493" fmla="*/ 2241550 h 2476500"/>
                  <a:gd name="connsiteX494" fmla="*/ 509659 w 1757434"/>
                  <a:gd name="connsiteY494" fmla="*/ 2228850 h 2476500"/>
                  <a:gd name="connsiteX495" fmla="*/ 509659 w 1757434"/>
                  <a:gd name="connsiteY495" fmla="*/ 2201863 h 2476500"/>
                  <a:gd name="connsiteX496" fmla="*/ 506484 w 1757434"/>
                  <a:gd name="connsiteY496" fmla="*/ 2197100 h 2476500"/>
                  <a:gd name="connsiteX497" fmla="*/ 503309 w 1757434"/>
                  <a:gd name="connsiteY497" fmla="*/ 2181225 h 2476500"/>
                  <a:gd name="connsiteX498" fmla="*/ 501722 w 1757434"/>
                  <a:gd name="connsiteY498" fmla="*/ 2176463 h 2476500"/>
                  <a:gd name="connsiteX499" fmla="*/ 503309 w 1757434"/>
                  <a:gd name="connsiteY499" fmla="*/ 2171700 h 2476500"/>
                  <a:gd name="connsiteX500" fmla="*/ 519184 w 1757434"/>
                  <a:gd name="connsiteY500" fmla="*/ 2168525 h 2476500"/>
                  <a:gd name="connsiteX501" fmla="*/ 517597 w 1757434"/>
                  <a:gd name="connsiteY501" fmla="*/ 2152650 h 2476500"/>
                  <a:gd name="connsiteX502" fmla="*/ 506484 w 1757434"/>
                  <a:gd name="connsiteY502" fmla="*/ 2154238 h 2476500"/>
                  <a:gd name="connsiteX503" fmla="*/ 501722 w 1757434"/>
                  <a:gd name="connsiteY503" fmla="*/ 2157413 h 2476500"/>
                  <a:gd name="connsiteX504" fmla="*/ 496959 w 1757434"/>
                  <a:gd name="connsiteY504" fmla="*/ 2159000 h 2476500"/>
                  <a:gd name="connsiteX505" fmla="*/ 492197 w 1757434"/>
                  <a:gd name="connsiteY505" fmla="*/ 2168525 h 2476500"/>
                  <a:gd name="connsiteX506" fmla="*/ 496959 w 1757434"/>
                  <a:gd name="connsiteY506" fmla="*/ 2181225 h 2476500"/>
                  <a:gd name="connsiteX507" fmla="*/ 495372 w 1757434"/>
                  <a:gd name="connsiteY507" fmla="*/ 2195513 h 2476500"/>
                  <a:gd name="connsiteX508" fmla="*/ 485847 w 1757434"/>
                  <a:gd name="connsiteY508" fmla="*/ 2184400 h 2476500"/>
                  <a:gd name="connsiteX509" fmla="*/ 481084 w 1757434"/>
                  <a:gd name="connsiteY509" fmla="*/ 2179638 h 2476500"/>
                  <a:gd name="connsiteX510" fmla="*/ 468384 w 1757434"/>
                  <a:gd name="connsiteY510" fmla="*/ 2181225 h 2476500"/>
                  <a:gd name="connsiteX511" fmla="*/ 469972 w 1757434"/>
                  <a:gd name="connsiteY511" fmla="*/ 2185988 h 2476500"/>
                  <a:gd name="connsiteX512" fmla="*/ 476322 w 1757434"/>
                  <a:gd name="connsiteY512" fmla="*/ 2190750 h 2476500"/>
                  <a:gd name="connsiteX513" fmla="*/ 474734 w 1757434"/>
                  <a:gd name="connsiteY513" fmla="*/ 2211388 h 2476500"/>
                  <a:gd name="connsiteX514" fmla="*/ 469972 w 1757434"/>
                  <a:gd name="connsiteY514" fmla="*/ 2214563 h 2476500"/>
                  <a:gd name="connsiteX515" fmla="*/ 474734 w 1757434"/>
                  <a:gd name="connsiteY515" fmla="*/ 2219325 h 2476500"/>
                  <a:gd name="connsiteX516" fmla="*/ 477909 w 1757434"/>
                  <a:gd name="connsiteY516" fmla="*/ 2230438 h 2476500"/>
                  <a:gd name="connsiteX517" fmla="*/ 481084 w 1757434"/>
                  <a:gd name="connsiteY517" fmla="*/ 2236788 h 2476500"/>
                  <a:gd name="connsiteX518" fmla="*/ 477909 w 1757434"/>
                  <a:gd name="connsiteY518" fmla="*/ 2251075 h 2476500"/>
                  <a:gd name="connsiteX519" fmla="*/ 476322 w 1757434"/>
                  <a:gd name="connsiteY519" fmla="*/ 2259013 h 2476500"/>
                  <a:gd name="connsiteX520" fmla="*/ 468384 w 1757434"/>
                  <a:gd name="connsiteY520" fmla="*/ 2257425 h 2476500"/>
                  <a:gd name="connsiteX521" fmla="*/ 460447 w 1757434"/>
                  <a:gd name="connsiteY521" fmla="*/ 2274888 h 2476500"/>
                  <a:gd name="connsiteX522" fmla="*/ 455684 w 1757434"/>
                  <a:gd name="connsiteY522" fmla="*/ 2273300 h 2476500"/>
                  <a:gd name="connsiteX523" fmla="*/ 450922 w 1757434"/>
                  <a:gd name="connsiteY523" fmla="*/ 2282825 h 2476500"/>
                  <a:gd name="connsiteX524" fmla="*/ 449334 w 1757434"/>
                  <a:gd name="connsiteY524" fmla="*/ 2287588 h 2476500"/>
                  <a:gd name="connsiteX525" fmla="*/ 454097 w 1757434"/>
                  <a:gd name="connsiteY525" fmla="*/ 2292350 h 2476500"/>
                  <a:gd name="connsiteX526" fmla="*/ 449334 w 1757434"/>
                  <a:gd name="connsiteY526" fmla="*/ 2290763 h 2476500"/>
                  <a:gd name="connsiteX527" fmla="*/ 444572 w 1757434"/>
                  <a:gd name="connsiteY527" fmla="*/ 2286000 h 2476500"/>
                  <a:gd name="connsiteX528" fmla="*/ 438222 w 1757434"/>
                  <a:gd name="connsiteY528" fmla="*/ 2295525 h 2476500"/>
                  <a:gd name="connsiteX529" fmla="*/ 435047 w 1757434"/>
                  <a:gd name="connsiteY529" fmla="*/ 2308225 h 2476500"/>
                  <a:gd name="connsiteX530" fmla="*/ 428697 w 1757434"/>
                  <a:gd name="connsiteY530" fmla="*/ 2298700 h 2476500"/>
                  <a:gd name="connsiteX531" fmla="*/ 415997 w 1757434"/>
                  <a:gd name="connsiteY531" fmla="*/ 2286000 h 2476500"/>
                  <a:gd name="connsiteX532" fmla="*/ 403297 w 1757434"/>
                  <a:gd name="connsiteY532" fmla="*/ 2284413 h 2476500"/>
                  <a:gd name="connsiteX533" fmla="*/ 409647 w 1757434"/>
                  <a:gd name="connsiteY533" fmla="*/ 2287588 h 2476500"/>
                  <a:gd name="connsiteX534" fmla="*/ 411234 w 1757434"/>
                  <a:gd name="connsiteY534" fmla="*/ 2295525 h 2476500"/>
                  <a:gd name="connsiteX535" fmla="*/ 406472 w 1757434"/>
                  <a:gd name="connsiteY535" fmla="*/ 2308225 h 2476500"/>
                  <a:gd name="connsiteX536" fmla="*/ 393772 w 1757434"/>
                  <a:gd name="connsiteY536" fmla="*/ 2312988 h 2476500"/>
                  <a:gd name="connsiteX537" fmla="*/ 390597 w 1757434"/>
                  <a:gd name="connsiteY537" fmla="*/ 2322513 h 2476500"/>
                  <a:gd name="connsiteX538" fmla="*/ 384247 w 1757434"/>
                  <a:gd name="connsiteY538" fmla="*/ 2328863 h 2476500"/>
                  <a:gd name="connsiteX539" fmla="*/ 381072 w 1757434"/>
                  <a:gd name="connsiteY539" fmla="*/ 2341563 h 2476500"/>
                  <a:gd name="connsiteX540" fmla="*/ 376309 w 1757434"/>
                  <a:gd name="connsiteY540" fmla="*/ 2336800 h 2476500"/>
                  <a:gd name="connsiteX541" fmla="*/ 379484 w 1757434"/>
                  <a:gd name="connsiteY541" fmla="*/ 2341563 h 2476500"/>
                  <a:gd name="connsiteX542" fmla="*/ 382659 w 1757434"/>
                  <a:gd name="connsiteY542" fmla="*/ 2347913 h 2476500"/>
                  <a:gd name="connsiteX543" fmla="*/ 376309 w 1757434"/>
                  <a:gd name="connsiteY543" fmla="*/ 2355850 h 2476500"/>
                  <a:gd name="connsiteX544" fmla="*/ 374722 w 1757434"/>
                  <a:gd name="connsiteY544" fmla="*/ 2360613 h 2476500"/>
                  <a:gd name="connsiteX545" fmla="*/ 355672 w 1757434"/>
                  <a:gd name="connsiteY545" fmla="*/ 2368550 h 2476500"/>
                  <a:gd name="connsiteX546" fmla="*/ 350909 w 1757434"/>
                  <a:gd name="connsiteY546" fmla="*/ 2373313 h 2476500"/>
                  <a:gd name="connsiteX547" fmla="*/ 342972 w 1757434"/>
                  <a:gd name="connsiteY547" fmla="*/ 2376488 h 2476500"/>
                  <a:gd name="connsiteX548" fmla="*/ 336622 w 1757434"/>
                  <a:gd name="connsiteY548" fmla="*/ 2381250 h 2476500"/>
                  <a:gd name="connsiteX549" fmla="*/ 335034 w 1757434"/>
                  <a:gd name="connsiteY549" fmla="*/ 2386013 h 2476500"/>
                  <a:gd name="connsiteX550" fmla="*/ 333447 w 1757434"/>
                  <a:gd name="connsiteY550" fmla="*/ 2393950 h 2476500"/>
                  <a:gd name="connsiteX551" fmla="*/ 327097 w 1757434"/>
                  <a:gd name="connsiteY551" fmla="*/ 2395538 h 2476500"/>
                  <a:gd name="connsiteX552" fmla="*/ 320747 w 1757434"/>
                  <a:gd name="connsiteY552" fmla="*/ 2409825 h 2476500"/>
                  <a:gd name="connsiteX553" fmla="*/ 311222 w 1757434"/>
                  <a:gd name="connsiteY553" fmla="*/ 2411413 h 2476500"/>
                  <a:gd name="connsiteX554" fmla="*/ 312809 w 1757434"/>
                  <a:gd name="connsiteY554" fmla="*/ 2417763 h 2476500"/>
                  <a:gd name="connsiteX555" fmla="*/ 298522 w 1757434"/>
                  <a:gd name="connsiteY555" fmla="*/ 2422525 h 2476500"/>
                  <a:gd name="connsiteX556" fmla="*/ 274709 w 1757434"/>
                  <a:gd name="connsiteY556" fmla="*/ 2433638 h 2476500"/>
                  <a:gd name="connsiteX557" fmla="*/ 269947 w 1757434"/>
                  <a:gd name="connsiteY557" fmla="*/ 2438400 h 2476500"/>
                  <a:gd name="connsiteX558" fmla="*/ 263597 w 1757434"/>
                  <a:gd name="connsiteY558" fmla="*/ 2452688 h 2476500"/>
                  <a:gd name="connsiteX559" fmla="*/ 257247 w 1757434"/>
                  <a:gd name="connsiteY559" fmla="*/ 2459038 h 2476500"/>
                  <a:gd name="connsiteX560" fmla="*/ 241372 w 1757434"/>
                  <a:gd name="connsiteY560" fmla="*/ 2455863 h 2476500"/>
                  <a:gd name="connsiteX561" fmla="*/ 239784 w 1757434"/>
                  <a:gd name="connsiteY561" fmla="*/ 2465388 h 2476500"/>
                  <a:gd name="connsiteX562" fmla="*/ 227084 w 1757434"/>
                  <a:gd name="connsiteY562" fmla="*/ 2468563 h 2476500"/>
                  <a:gd name="connsiteX563" fmla="*/ 184222 w 1757434"/>
                  <a:gd name="connsiteY563" fmla="*/ 2470150 h 2476500"/>
                  <a:gd name="connsiteX564" fmla="*/ 174697 w 1757434"/>
                  <a:gd name="connsiteY564" fmla="*/ 2473325 h 2476500"/>
                  <a:gd name="connsiteX565" fmla="*/ 160409 w 1757434"/>
                  <a:gd name="connsiteY565" fmla="*/ 2476500 h 2476500"/>
                  <a:gd name="connsiteX566" fmla="*/ 158822 w 1757434"/>
                  <a:gd name="connsiteY566" fmla="*/ 2468563 h 2476500"/>
                  <a:gd name="connsiteX567" fmla="*/ 149297 w 1757434"/>
                  <a:gd name="connsiteY567" fmla="*/ 2465388 h 2476500"/>
                  <a:gd name="connsiteX568" fmla="*/ 138184 w 1757434"/>
                  <a:gd name="connsiteY568" fmla="*/ 2459038 h 2476500"/>
                  <a:gd name="connsiteX569" fmla="*/ 128659 w 1757434"/>
                  <a:gd name="connsiteY569" fmla="*/ 2455863 h 2476500"/>
                  <a:gd name="connsiteX570" fmla="*/ 127072 w 1757434"/>
                  <a:gd name="connsiteY570" fmla="*/ 2463800 h 2476500"/>
                  <a:gd name="connsiteX571" fmla="*/ 120722 w 1757434"/>
                  <a:gd name="connsiteY571" fmla="*/ 2465388 h 2476500"/>
                  <a:gd name="connsiteX572" fmla="*/ 114372 w 1757434"/>
                  <a:gd name="connsiteY572" fmla="*/ 2463800 h 2476500"/>
                  <a:gd name="connsiteX573" fmla="*/ 112784 w 1757434"/>
                  <a:gd name="connsiteY573" fmla="*/ 2459038 h 2476500"/>
                  <a:gd name="connsiteX574" fmla="*/ 111197 w 1757434"/>
                  <a:gd name="connsiteY574" fmla="*/ 2452688 h 2476500"/>
                  <a:gd name="connsiteX575" fmla="*/ 114372 w 1757434"/>
                  <a:gd name="connsiteY575" fmla="*/ 2441575 h 2476500"/>
                  <a:gd name="connsiteX576" fmla="*/ 120722 w 1757434"/>
                  <a:gd name="connsiteY576" fmla="*/ 2438400 h 2476500"/>
                  <a:gd name="connsiteX577" fmla="*/ 136597 w 1757434"/>
                  <a:gd name="connsiteY577" fmla="*/ 2430463 h 2476500"/>
                  <a:gd name="connsiteX578" fmla="*/ 135009 w 1757434"/>
                  <a:gd name="connsiteY578" fmla="*/ 2424113 h 2476500"/>
                  <a:gd name="connsiteX579" fmla="*/ 106434 w 1757434"/>
                  <a:gd name="connsiteY579" fmla="*/ 2425700 h 2476500"/>
                  <a:gd name="connsiteX580" fmla="*/ 96909 w 1757434"/>
                  <a:gd name="connsiteY580" fmla="*/ 2430463 h 2476500"/>
                  <a:gd name="connsiteX581" fmla="*/ 87384 w 1757434"/>
                  <a:gd name="connsiteY581" fmla="*/ 2422525 h 2476500"/>
                  <a:gd name="connsiteX582" fmla="*/ 82622 w 1757434"/>
                  <a:gd name="connsiteY582" fmla="*/ 2419350 h 2476500"/>
                  <a:gd name="connsiteX583" fmla="*/ 79447 w 1757434"/>
                  <a:gd name="connsiteY583" fmla="*/ 2414588 h 2476500"/>
                  <a:gd name="connsiteX584" fmla="*/ 28647 w 1757434"/>
                  <a:gd name="connsiteY584" fmla="*/ 2379663 h 2476500"/>
                  <a:gd name="connsiteX585" fmla="*/ 30234 w 1757434"/>
                  <a:gd name="connsiteY585" fmla="*/ 2360613 h 2476500"/>
                  <a:gd name="connsiteX586" fmla="*/ 23884 w 1757434"/>
                  <a:gd name="connsiteY586" fmla="*/ 2354263 h 2476500"/>
                  <a:gd name="connsiteX587" fmla="*/ 20709 w 1757434"/>
                  <a:gd name="connsiteY587" fmla="*/ 2347913 h 2476500"/>
                  <a:gd name="connsiteX588" fmla="*/ 15947 w 1757434"/>
                  <a:gd name="connsiteY588" fmla="*/ 2341563 h 2476500"/>
                  <a:gd name="connsiteX589" fmla="*/ 17534 w 1757434"/>
                  <a:gd name="connsiteY589" fmla="*/ 2328863 h 2476500"/>
                  <a:gd name="connsiteX590" fmla="*/ 19122 w 1757434"/>
                  <a:gd name="connsiteY590" fmla="*/ 2306638 h 2476500"/>
                  <a:gd name="connsiteX591" fmla="*/ 23884 w 1757434"/>
                  <a:gd name="connsiteY591" fmla="*/ 2300288 h 2476500"/>
                  <a:gd name="connsiteX592" fmla="*/ 25472 w 1757434"/>
                  <a:gd name="connsiteY592" fmla="*/ 2295525 h 2476500"/>
                  <a:gd name="connsiteX593" fmla="*/ 41347 w 1757434"/>
                  <a:gd name="connsiteY593" fmla="*/ 2306638 h 2476500"/>
                  <a:gd name="connsiteX594" fmla="*/ 52459 w 1757434"/>
                  <a:gd name="connsiteY594" fmla="*/ 2308225 h 2476500"/>
                  <a:gd name="connsiteX595" fmla="*/ 57222 w 1757434"/>
                  <a:gd name="connsiteY595" fmla="*/ 2312988 h 2476500"/>
                  <a:gd name="connsiteX596" fmla="*/ 71509 w 1757434"/>
                  <a:gd name="connsiteY596" fmla="*/ 2320925 h 2476500"/>
                  <a:gd name="connsiteX597" fmla="*/ 81034 w 1757434"/>
                  <a:gd name="connsiteY597" fmla="*/ 2328863 h 2476500"/>
                  <a:gd name="connsiteX598" fmla="*/ 85797 w 1757434"/>
                  <a:gd name="connsiteY598" fmla="*/ 2332038 h 2476500"/>
                  <a:gd name="connsiteX599" fmla="*/ 92147 w 1757434"/>
                  <a:gd name="connsiteY599" fmla="*/ 2330450 h 2476500"/>
                  <a:gd name="connsiteX600" fmla="*/ 85797 w 1757434"/>
                  <a:gd name="connsiteY600" fmla="*/ 2327275 h 2476500"/>
                  <a:gd name="connsiteX601" fmla="*/ 81034 w 1757434"/>
                  <a:gd name="connsiteY601" fmla="*/ 2324100 h 2476500"/>
                  <a:gd name="connsiteX602" fmla="*/ 77859 w 1757434"/>
                  <a:gd name="connsiteY602" fmla="*/ 2319338 h 2476500"/>
                  <a:gd name="connsiteX603" fmla="*/ 73097 w 1757434"/>
                  <a:gd name="connsiteY603" fmla="*/ 2308225 h 2476500"/>
                  <a:gd name="connsiteX604" fmla="*/ 82622 w 1757434"/>
                  <a:gd name="connsiteY604" fmla="*/ 2303463 h 2476500"/>
                  <a:gd name="connsiteX605" fmla="*/ 87384 w 1757434"/>
                  <a:gd name="connsiteY605" fmla="*/ 2301875 h 2476500"/>
                  <a:gd name="connsiteX606" fmla="*/ 92147 w 1757434"/>
                  <a:gd name="connsiteY606" fmla="*/ 2297113 h 2476500"/>
                  <a:gd name="connsiteX607" fmla="*/ 101672 w 1757434"/>
                  <a:gd name="connsiteY607" fmla="*/ 2293938 h 2476500"/>
                  <a:gd name="connsiteX608" fmla="*/ 125484 w 1757434"/>
                  <a:gd name="connsiteY608" fmla="*/ 2289175 h 2476500"/>
                  <a:gd name="connsiteX609" fmla="*/ 127072 w 1757434"/>
                  <a:gd name="connsiteY609" fmla="*/ 2284413 h 2476500"/>
                  <a:gd name="connsiteX610" fmla="*/ 100084 w 1757434"/>
                  <a:gd name="connsiteY610" fmla="*/ 2292350 h 2476500"/>
                  <a:gd name="connsiteX611" fmla="*/ 95322 w 1757434"/>
                  <a:gd name="connsiteY611" fmla="*/ 2295525 h 2476500"/>
                  <a:gd name="connsiteX612" fmla="*/ 88972 w 1757434"/>
                  <a:gd name="connsiteY612" fmla="*/ 2297113 h 2476500"/>
                  <a:gd name="connsiteX613" fmla="*/ 84209 w 1757434"/>
                  <a:gd name="connsiteY613" fmla="*/ 2298700 h 2476500"/>
                  <a:gd name="connsiteX614" fmla="*/ 68334 w 1757434"/>
                  <a:gd name="connsiteY614" fmla="*/ 2297113 h 2476500"/>
                  <a:gd name="connsiteX615" fmla="*/ 66747 w 1757434"/>
                  <a:gd name="connsiteY615" fmla="*/ 2292350 h 2476500"/>
                  <a:gd name="connsiteX616" fmla="*/ 61984 w 1757434"/>
                  <a:gd name="connsiteY616" fmla="*/ 2287588 h 2476500"/>
                  <a:gd name="connsiteX617" fmla="*/ 58809 w 1757434"/>
                  <a:gd name="connsiteY617" fmla="*/ 2266950 h 2476500"/>
                  <a:gd name="connsiteX618" fmla="*/ 69922 w 1757434"/>
                  <a:gd name="connsiteY618" fmla="*/ 2270125 h 2476500"/>
                  <a:gd name="connsiteX619" fmla="*/ 77859 w 1757434"/>
                  <a:gd name="connsiteY619" fmla="*/ 2273300 h 2476500"/>
                  <a:gd name="connsiteX620" fmla="*/ 79447 w 1757434"/>
                  <a:gd name="connsiteY620" fmla="*/ 2268538 h 2476500"/>
                  <a:gd name="connsiteX621" fmla="*/ 81034 w 1757434"/>
                  <a:gd name="connsiteY621" fmla="*/ 2259013 h 2476500"/>
                  <a:gd name="connsiteX622" fmla="*/ 93734 w 1757434"/>
                  <a:gd name="connsiteY622" fmla="*/ 2247900 h 2476500"/>
                  <a:gd name="connsiteX623" fmla="*/ 100084 w 1757434"/>
                  <a:gd name="connsiteY623" fmla="*/ 2244725 h 2476500"/>
                  <a:gd name="connsiteX624" fmla="*/ 104847 w 1757434"/>
                  <a:gd name="connsiteY624" fmla="*/ 2239963 h 2476500"/>
                  <a:gd name="connsiteX625" fmla="*/ 109609 w 1757434"/>
                  <a:gd name="connsiteY625" fmla="*/ 2236788 h 2476500"/>
                  <a:gd name="connsiteX626" fmla="*/ 85797 w 1757434"/>
                  <a:gd name="connsiteY626" fmla="*/ 2235200 h 2476500"/>
                  <a:gd name="connsiteX627" fmla="*/ 84209 w 1757434"/>
                  <a:gd name="connsiteY627" fmla="*/ 2239963 h 2476500"/>
                  <a:gd name="connsiteX628" fmla="*/ 71509 w 1757434"/>
                  <a:gd name="connsiteY628" fmla="*/ 2239963 h 2476500"/>
                  <a:gd name="connsiteX629" fmla="*/ 69922 w 1757434"/>
                  <a:gd name="connsiteY629" fmla="*/ 2235200 h 2476500"/>
                  <a:gd name="connsiteX630" fmla="*/ 77859 w 1757434"/>
                  <a:gd name="connsiteY630" fmla="*/ 2220913 h 2476500"/>
                  <a:gd name="connsiteX631" fmla="*/ 87384 w 1757434"/>
                  <a:gd name="connsiteY631" fmla="*/ 2214563 h 2476500"/>
                  <a:gd name="connsiteX632" fmla="*/ 98497 w 1757434"/>
                  <a:gd name="connsiteY632" fmla="*/ 2208213 h 2476500"/>
                  <a:gd name="connsiteX633" fmla="*/ 106434 w 1757434"/>
                  <a:gd name="connsiteY633" fmla="*/ 2198688 h 2476500"/>
                  <a:gd name="connsiteX634" fmla="*/ 108022 w 1757434"/>
                  <a:gd name="connsiteY634" fmla="*/ 2193925 h 2476500"/>
                  <a:gd name="connsiteX635" fmla="*/ 95322 w 1757434"/>
                  <a:gd name="connsiteY635" fmla="*/ 2205038 h 2476500"/>
                  <a:gd name="connsiteX636" fmla="*/ 87384 w 1757434"/>
                  <a:gd name="connsiteY636" fmla="*/ 2208213 h 2476500"/>
                  <a:gd name="connsiteX637" fmla="*/ 74684 w 1757434"/>
                  <a:gd name="connsiteY637" fmla="*/ 2206625 h 2476500"/>
                  <a:gd name="connsiteX638" fmla="*/ 63572 w 1757434"/>
                  <a:gd name="connsiteY638" fmla="*/ 2206625 h 2476500"/>
                  <a:gd name="connsiteX639" fmla="*/ 61984 w 1757434"/>
                  <a:gd name="connsiteY639" fmla="*/ 2212975 h 2476500"/>
                  <a:gd name="connsiteX640" fmla="*/ 54047 w 1757434"/>
                  <a:gd name="connsiteY640" fmla="*/ 2214563 h 2476500"/>
                  <a:gd name="connsiteX641" fmla="*/ 49284 w 1757434"/>
                  <a:gd name="connsiteY641" fmla="*/ 2217738 h 2476500"/>
                  <a:gd name="connsiteX642" fmla="*/ 44522 w 1757434"/>
                  <a:gd name="connsiteY642" fmla="*/ 2220913 h 2476500"/>
                  <a:gd name="connsiteX643" fmla="*/ 39759 w 1757434"/>
                  <a:gd name="connsiteY643" fmla="*/ 2225675 h 2476500"/>
                  <a:gd name="connsiteX644" fmla="*/ 31822 w 1757434"/>
                  <a:gd name="connsiteY644" fmla="*/ 2235200 h 2476500"/>
                  <a:gd name="connsiteX645" fmla="*/ 27059 w 1757434"/>
                  <a:gd name="connsiteY645" fmla="*/ 2232025 h 2476500"/>
                  <a:gd name="connsiteX646" fmla="*/ 20709 w 1757434"/>
                  <a:gd name="connsiteY646" fmla="*/ 2233613 h 2476500"/>
                  <a:gd name="connsiteX647" fmla="*/ 12772 w 1757434"/>
                  <a:gd name="connsiteY647" fmla="*/ 2227263 h 2476500"/>
                  <a:gd name="connsiteX648" fmla="*/ 6422 w 1757434"/>
                  <a:gd name="connsiteY648" fmla="*/ 2236788 h 2476500"/>
                  <a:gd name="connsiteX649" fmla="*/ 4834 w 1757434"/>
                  <a:gd name="connsiteY649" fmla="*/ 2230438 h 2476500"/>
                  <a:gd name="connsiteX650" fmla="*/ 8009 w 1757434"/>
                  <a:gd name="connsiteY650" fmla="*/ 2203450 h 2476500"/>
                  <a:gd name="connsiteX651" fmla="*/ 14359 w 1757434"/>
                  <a:gd name="connsiteY651" fmla="*/ 2201863 h 2476500"/>
                  <a:gd name="connsiteX652" fmla="*/ 15947 w 1757434"/>
                  <a:gd name="connsiteY652" fmla="*/ 2192338 h 2476500"/>
                  <a:gd name="connsiteX653" fmla="*/ 17534 w 1757434"/>
                  <a:gd name="connsiteY653" fmla="*/ 2179638 h 2476500"/>
                  <a:gd name="connsiteX654" fmla="*/ 30234 w 1757434"/>
                  <a:gd name="connsiteY654" fmla="*/ 2185988 h 2476500"/>
                  <a:gd name="connsiteX655" fmla="*/ 34997 w 1757434"/>
                  <a:gd name="connsiteY655" fmla="*/ 2176463 h 2476500"/>
                  <a:gd name="connsiteX656" fmla="*/ 38172 w 1757434"/>
                  <a:gd name="connsiteY656" fmla="*/ 2171700 h 2476500"/>
                  <a:gd name="connsiteX657" fmla="*/ 49284 w 1757434"/>
                  <a:gd name="connsiteY657" fmla="*/ 2174875 h 2476500"/>
                  <a:gd name="connsiteX658" fmla="*/ 57222 w 1757434"/>
                  <a:gd name="connsiteY658" fmla="*/ 2171700 h 2476500"/>
                  <a:gd name="connsiteX659" fmla="*/ 66747 w 1757434"/>
                  <a:gd name="connsiteY659" fmla="*/ 2163763 h 2476500"/>
                  <a:gd name="connsiteX660" fmla="*/ 68334 w 1757434"/>
                  <a:gd name="connsiteY660" fmla="*/ 2168525 h 2476500"/>
                  <a:gd name="connsiteX661" fmla="*/ 79447 w 1757434"/>
                  <a:gd name="connsiteY661" fmla="*/ 2160588 h 2476500"/>
                  <a:gd name="connsiteX662" fmla="*/ 82622 w 1757434"/>
                  <a:gd name="connsiteY662" fmla="*/ 2155825 h 2476500"/>
                  <a:gd name="connsiteX663" fmla="*/ 88972 w 1757434"/>
                  <a:gd name="connsiteY663" fmla="*/ 2154238 h 2476500"/>
                  <a:gd name="connsiteX664" fmla="*/ 95322 w 1757434"/>
                  <a:gd name="connsiteY664" fmla="*/ 2151063 h 2476500"/>
                  <a:gd name="connsiteX665" fmla="*/ 100084 w 1757434"/>
                  <a:gd name="connsiteY665" fmla="*/ 2147888 h 2476500"/>
                  <a:gd name="connsiteX666" fmla="*/ 76272 w 1757434"/>
                  <a:gd name="connsiteY666" fmla="*/ 2149475 h 2476500"/>
                  <a:gd name="connsiteX667" fmla="*/ 61984 w 1757434"/>
                  <a:gd name="connsiteY667" fmla="*/ 2147888 h 2476500"/>
                  <a:gd name="connsiteX668" fmla="*/ 52459 w 1757434"/>
                  <a:gd name="connsiteY668" fmla="*/ 2149475 h 2476500"/>
                  <a:gd name="connsiteX669" fmla="*/ 55634 w 1757434"/>
                  <a:gd name="connsiteY669" fmla="*/ 2139950 h 2476500"/>
                  <a:gd name="connsiteX670" fmla="*/ 58809 w 1757434"/>
                  <a:gd name="connsiteY670" fmla="*/ 2133600 h 2476500"/>
                  <a:gd name="connsiteX671" fmla="*/ 65159 w 1757434"/>
                  <a:gd name="connsiteY671" fmla="*/ 2116138 h 2476500"/>
                  <a:gd name="connsiteX672" fmla="*/ 71509 w 1757434"/>
                  <a:gd name="connsiteY672" fmla="*/ 2109788 h 2476500"/>
                  <a:gd name="connsiteX673" fmla="*/ 81034 w 1757434"/>
                  <a:gd name="connsiteY673" fmla="*/ 2101850 h 2476500"/>
                  <a:gd name="connsiteX674" fmla="*/ 82622 w 1757434"/>
                  <a:gd name="connsiteY674" fmla="*/ 2097088 h 2476500"/>
                  <a:gd name="connsiteX675" fmla="*/ 84209 w 1757434"/>
                  <a:gd name="connsiteY675" fmla="*/ 2090738 h 2476500"/>
                  <a:gd name="connsiteX676" fmla="*/ 90559 w 1757434"/>
                  <a:gd name="connsiteY676" fmla="*/ 2087563 h 2476500"/>
                  <a:gd name="connsiteX677" fmla="*/ 96909 w 1757434"/>
                  <a:gd name="connsiteY677" fmla="*/ 2078038 h 2476500"/>
                  <a:gd name="connsiteX678" fmla="*/ 98497 w 1757434"/>
                  <a:gd name="connsiteY678" fmla="*/ 2071688 h 2476500"/>
                  <a:gd name="connsiteX679" fmla="*/ 103259 w 1757434"/>
                  <a:gd name="connsiteY679" fmla="*/ 2062163 h 2476500"/>
                  <a:gd name="connsiteX680" fmla="*/ 108022 w 1757434"/>
                  <a:gd name="connsiteY680" fmla="*/ 2058988 h 2476500"/>
                  <a:gd name="connsiteX681" fmla="*/ 115959 w 1757434"/>
                  <a:gd name="connsiteY681" fmla="*/ 2052638 h 2476500"/>
                  <a:gd name="connsiteX682" fmla="*/ 125484 w 1757434"/>
                  <a:gd name="connsiteY682" fmla="*/ 2055813 h 2476500"/>
                  <a:gd name="connsiteX683" fmla="*/ 127072 w 1757434"/>
                  <a:gd name="connsiteY683" fmla="*/ 2060575 h 2476500"/>
                  <a:gd name="connsiteX684" fmla="*/ 130247 w 1757434"/>
                  <a:gd name="connsiteY684" fmla="*/ 2089150 h 2476500"/>
                  <a:gd name="connsiteX685" fmla="*/ 131834 w 1757434"/>
                  <a:gd name="connsiteY685" fmla="*/ 2098675 h 2476500"/>
                  <a:gd name="connsiteX686" fmla="*/ 135009 w 1757434"/>
                  <a:gd name="connsiteY686" fmla="*/ 2051050 h 2476500"/>
                  <a:gd name="connsiteX687" fmla="*/ 139772 w 1757434"/>
                  <a:gd name="connsiteY687" fmla="*/ 2047875 h 2476500"/>
                  <a:gd name="connsiteX688" fmla="*/ 150884 w 1757434"/>
                  <a:gd name="connsiteY688" fmla="*/ 2036763 h 2476500"/>
                  <a:gd name="connsiteX689" fmla="*/ 155647 w 1757434"/>
                  <a:gd name="connsiteY689" fmla="*/ 2035175 h 2476500"/>
                  <a:gd name="connsiteX690" fmla="*/ 160409 w 1757434"/>
                  <a:gd name="connsiteY690" fmla="*/ 2032000 h 2476500"/>
                  <a:gd name="connsiteX691" fmla="*/ 171522 w 1757434"/>
                  <a:gd name="connsiteY691" fmla="*/ 2028825 h 2476500"/>
                  <a:gd name="connsiteX692" fmla="*/ 174697 w 1757434"/>
                  <a:gd name="connsiteY692" fmla="*/ 2020888 h 2476500"/>
                  <a:gd name="connsiteX693" fmla="*/ 161997 w 1757434"/>
                  <a:gd name="connsiteY693" fmla="*/ 2022475 h 2476500"/>
                  <a:gd name="connsiteX694" fmla="*/ 154059 w 1757434"/>
                  <a:gd name="connsiteY694" fmla="*/ 2025650 h 2476500"/>
                  <a:gd name="connsiteX695" fmla="*/ 146122 w 1757434"/>
                  <a:gd name="connsiteY695" fmla="*/ 2027238 h 2476500"/>
                  <a:gd name="connsiteX696" fmla="*/ 139772 w 1757434"/>
                  <a:gd name="connsiteY696" fmla="*/ 2028825 h 2476500"/>
                  <a:gd name="connsiteX697" fmla="*/ 133422 w 1757434"/>
                  <a:gd name="connsiteY697" fmla="*/ 2032000 h 2476500"/>
                  <a:gd name="connsiteX698" fmla="*/ 119134 w 1757434"/>
                  <a:gd name="connsiteY698" fmla="*/ 2035175 h 2476500"/>
                  <a:gd name="connsiteX699" fmla="*/ 96909 w 1757434"/>
                  <a:gd name="connsiteY699" fmla="*/ 2043113 h 2476500"/>
                  <a:gd name="connsiteX700" fmla="*/ 92147 w 1757434"/>
                  <a:gd name="connsiteY700" fmla="*/ 2054225 h 2476500"/>
                  <a:gd name="connsiteX701" fmla="*/ 87384 w 1757434"/>
                  <a:gd name="connsiteY701" fmla="*/ 2058988 h 2476500"/>
                  <a:gd name="connsiteX702" fmla="*/ 82622 w 1757434"/>
                  <a:gd name="connsiteY702" fmla="*/ 2073275 h 2476500"/>
                  <a:gd name="connsiteX703" fmla="*/ 79447 w 1757434"/>
                  <a:gd name="connsiteY703" fmla="*/ 2079625 h 2476500"/>
                  <a:gd name="connsiteX704" fmla="*/ 76272 w 1757434"/>
                  <a:gd name="connsiteY704" fmla="*/ 2087563 h 2476500"/>
                  <a:gd name="connsiteX705" fmla="*/ 46109 w 1757434"/>
                  <a:gd name="connsiteY705" fmla="*/ 2089150 h 2476500"/>
                  <a:gd name="connsiteX706" fmla="*/ 44522 w 1757434"/>
                  <a:gd name="connsiteY706" fmla="*/ 2095500 h 2476500"/>
                  <a:gd name="connsiteX707" fmla="*/ 38172 w 1757434"/>
                  <a:gd name="connsiteY707" fmla="*/ 2092325 h 2476500"/>
                  <a:gd name="connsiteX708" fmla="*/ 46109 w 1757434"/>
                  <a:gd name="connsiteY708" fmla="*/ 2073275 h 2476500"/>
                  <a:gd name="connsiteX709" fmla="*/ 47697 w 1757434"/>
                  <a:gd name="connsiteY709" fmla="*/ 2068513 h 2476500"/>
                  <a:gd name="connsiteX710" fmla="*/ 49284 w 1757434"/>
                  <a:gd name="connsiteY710" fmla="*/ 2054225 h 2476500"/>
                  <a:gd name="connsiteX711" fmla="*/ 55634 w 1757434"/>
                  <a:gd name="connsiteY711" fmla="*/ 2047875 h 2476500"/>
                  <a:gd name="connsiteX712" fmla="*/ 58809 w 1757434"/>
                  <a:gd name="connsiteY712" fmla="*/ 2043113 h 2476500"/>
                  <a:gd name="connsiteX713" fmla="*/ 44522 w 1757434"/>
                  <a:gd name="connsiteY713" fmla="*/ 2054225 h 2476500"/>
                  <a:gd name="connsiteX714" fmla="*/ 27059 w 1757434"/>
                  <a:gd name="connsiteY714" fmla="*/ 2073275 h 2476500"/>
                  <a:gd name="connsiteX715" fmla="*/ 22297 w 1757434"/>
                  <a:gd name="connsiteY715" fmla="*/ 2071688 h 2476500"/>
                  <a:gd name="connsiteX716" fmla="*/ 20709 w 1757434"/>
                  <a:gd name="connsiteY716" fmla="*/ 2065338 h 2476500"/>
                  <a:gd name="connsiteX717" fmla="*/ 25472 w 1757434"/>
                  <a:gd name="connsiteY717" fmla="*/ 2052638 h 2476500"/>
                  <a:gd name="connsiteX718" fmla="*/ 19122 w 1757434"/>
                  <a:gd name="connsiteY718" fmla="*/ 2049463 h 2476500"/>
                  <a:gd name="connsiteX719" fmla="*/ 12772 w 1757434"/>
                  <a:gd name="connsiteY719" fmla="*/ 2047875 h 2476500"/>
                  <a:gd name="connsiteX720" fmla="*/ 15947 w 1757434"/>
                  <a:gd name="connsiteY720" fmla="*/ 2043113 h 2476500"/>
                  <a:gd name="connsiteX721" fmla="*/ 14359 w 1757434"/>
                  <a:gd name="connsiteY721" fmla="*/ 2036763 h 2476500"/>
                  <a:gd name="connsiteX722" fmla="*/ 30234 w 1757434"/>
                  <a:gd name="connsiteY722" fmla="*/ 2025650 h 2476500"/>
                  <a:gd name="connsiteX723" fmla="*/ 39759 w 1757434"/>
                  <a:gd name="connsiteY723" fmla="*/ 2030413 h 2476500"/>
                  <a:gd name="connsiteX724" fmla="*/ 42934 w 1757434"/>
                  <a:gd name="connsiteY724" fmla="*/ 2035175 h 2476500"/>
                  <a:gd name="connsiteX725" fmla="*/ 50872 w 1757434"/>
                  <a:gd name="connsiteY725" fmla="*/ 2036763 h 2476500"/>
                  <a:gd name="connsiteX726" fmla="*/ 58809 w 1757434"/>
                  <a:gd name="connsiteY726" fmla="*/ 2030413 h 2476500"/>
                  <a:gd name="connsiteX727" fmla="*/ 58809 w 1757434"/>
                  <a:gd name="connsiteY727" fmla="*/ 2014538 h 2476500"/>
                  <a:gd name="connsiteX728" fmla="*/ 50872 w 1757434"/>
                  <a:gd name="connsiteY728" fmla="*/ 2016125 h 2476500"/>
                  <a:gd name="connsiteX729" fmla="*/ 46109 w 1757434"/>
                  <a:gd name="connsiteY729" fmla="*/ 2022475 h 2476500"/>
                  <a:gd name="connsiteX730" fmla="*/ 34997 w 1757434"/>
                  <a:gd name="connsiteY730" fmla="*/ 2020888 h 2476500"/>
                  <a:gd name="connsiteX731" fmla="*/ 31822 w 1757434"/>
                  <a:gd name="connsiteY731" fmla="*/ 2014538 h 2476500"/>
                  <a:gd name="connsiteX732" fmla="*/ 49284 w 1757434"/>
                  <a:gd name="connsiteY732" fmla="*/ 1997075 h 2476500"/>
                  <a:gd name="connsiteX733" fmla="*/ 60397 w 1757434"/>
                  <a:gd name="connsiteY733" fmla="*/ 1992313 h 2476500"/>
                  <a:gd name="connsiteX734" fmla="*/ 50872 w 1757434"/>
                  <a:gd name="connsiteY734" fmla="*/ 1984375 h 2476500"/>
                  <a:gd name="connsiteX735" fmla="*/ 38172 w 1757434"/>
                  <a:gd name="connsiteY735" fmla="*/ 1985963 h 2476500"/>
                  <a:gd name="connsiteX736" fmla="*/ 41347 w 1757434"/>
                  <a:gd name="connsiteY736" fmla="*/ 1979613 h 2476500"/>
                  <a:gd name="connsiteX737" fmla="*/ 46109 w 1757434"/>
                  <a:gd name="connsiteY737" fmla="*/ 1968500 h 2476500"/>
                  <a:gd name="connsiteX738" fmla="*/ 38172 w 1757434"/>
                  <a:gd name="connsiteY738" fmla="*/ 1966913 h 2476500"/>
                  <a:gd name="connsiteX739" fmla="*/ 31822 w 1757434"/>
                  <a:gd name="connsiteY739" fmla="*/ 1968500 h 2476500"/>
                  <a:gd name="connsiteX740" fmla="*/ 33409 w 1757434"/>
                  <a:gd name="connsiteY740" fmla="*/ 1963738 h 2476500"/>
                  <a:gd name="connsiteX741" fmla="*/ 42934 w 1757434"/>
                  <a:gd name="connsiteY741" fmla="*/ 1952625 h 2476500"/>
                  <a:gd name="connsiteX742" fmla="*/ 30234 w 1757434"/>
                  <a:gd name="connsiteY742" fmla="*/ 1954213 h 2476500"/>
                  <a:gd name="connsiteX743" fmla="*/ 8009 w 1757434"/>
                  <a:gd name="connsiteY743" fmla="*/ 1958975 h 2476500"/>
                  <a:gd name="connsiteX744" fmla="*/ 4834 w 1757434"/>
                  <a:gd name="connsiteY744" fmla="*/ 1954213 h 2476500"/>
                  <a:gd name="connsiteX745" fmla="*/ 8009 w 1757434"/>
                  <a:gd name="connsiteY745" fmla="*/ 1920875 h 2476500"/>
                  <a:gd name="connsiteX746" fmla="*/ 11184 w 1757434"/>
                  <a:gd name="connsiteY746" fmla="*/ 1916113 h 2476500"/>
                  <a:gd name="connsiteX747" fmla="*/ 15947 w 1757434"/>
                  <a:gd name="connsiteY747" fmla="*/ 1914525 h 2476500"/>
                  <a:gd name="connsiteX748" fmla="*/ 20709 w 1757434"/>
                  <a:gd name="connsiteY748" fmla="*/ 1916113 h 2476500"/>
                  <a:gd name="connsiteX749" fmla="*/ 25472 w 1757434"/>
                  <a:gd name="connsiteY749" fmla="*/ 1919288 h 2476500"/>
                  <a:gd name="connsiteX750" fmla="*/ 34997 w 1757434"/>
                  <a:gd name="connsiteY750" fmla="*/ 1917700 h 2476500"/>
                  <a:gd name="connsiteX751" fmla="*/ 39759 w 1757434"/>
                  <a:gd name="connsiteY751" fmla="*/ 1914525 h 2476500"/>
                  <a:gd name="connsiteX752" fmla="*/ 49284 w 1757434"/>
                  <a:gd name="connsiteY752" fmla="*/ 1912938 h 2476500"/>
                  <a:gd name="connsiteX753" fmla="*/ 54047 w 1757434"/>
                  <a:gd name="connsiteY753" fmla="*/ 1911747 h 2476500"/>
                  <a:gd name="connsiteX754" fmla="*/ 58077 w 1757434"/>
                  <a:gd name="connsiteY754" fmla="*/ 1911839 h 2476500"/>
                  <a:gd name="connsiteX755" fmla="*/ 63572 w 1757434"/>
                  <a:gd name="connsiteY755" fmla="*/ 1912938 h 2476500"/>
                  <a:gd name="connsiteX756" fmla="*/ 66308 w 1757434"/>
                  <a:gd name="connsiteY756" fmla="*/ 1912026 h 2476500"/>
                  <a:gd name="connsiteX757" fmla="*/ 69847 w 1757434"/>
                  <a:gd name="connsiteY757" fmla="*/ 1912106 h 2476500"/>
                  <a:gd name="connsiteX758" fmla="*/ 74684 w 1757434"/>
                  <a:gd name="connsiteY758" fmla="*/ 1914525 h 2476500"/>
                  <a:gd name="connsiteX759" fmla="*/ 76272 w 1757434"/>
                  <a:gd name="connsiteY759" fmla="*/ 1922463 h 2476500"/>
                  <a:gd name="connsiteX760" fmla="*/ 81034 w 1757434"/>
                  <a:gd name="connsiteY760" fmla="*/ 1919288 h 2476500"/>
                  <a:gd name="connsiteX761" fmla="*/ 82622 w 1757434"/>
                  <a:gd name="connsiteY761" fmla="*/ 1914525 h 2476500"/>
                  <a:gd name="connsiteX762" fmla="*/ 84703 w 1757434"/>
                  <a:gd name="connsiteY762" fmla="*/ 1912444 h 2476500"/>
                  <a:gd name="connsiteX763" fmla="*/ 91336 w 1757434"/>
                  <a:gd name="connsiteY763" fmla="*/ 1912595 h 2476500"/>
                  <a:gd name="connsiteX764" fmla="*/ 90357 w 1757434"/>
                  <a:gd name="connsiteY764" fmla="*/ 1913487 h 2476500"/>
                  <a:gd name="connsiteX765" fmla="*/ 95322 w 1757434"/>
                  <a:gd name="connsiteY765" fmla="*/ 1920875 h 2476500"/>
                  <a:gd name="connsiteX766" fmla="*/ 104847 w 1757434"/>
                  <a:gd name="connsiteY766" fmla="*/ 1922463 h 2476500"/>
                  <a:gd name="connsiteX767" fmla="*/ 109609 w 1757434"/>
                  <a:gd name="connsiteY767" fmla="*/ 1925638 h 2476500"/>
                  <a:gd name="connsiteX768" fmla="*/ 114372 w 1757434"/>
                  <a:gd name="connsiteY768" fmla="*/ 1931988 h 2476500"/>
                  <a:gd name="connsiteX769" fmla="*/ 119134 w 1757434"/>
                  <a:gd name="connsiteY769" fmla="*/ 1930400 h 2476500"/>
                  <a:gd name="connsiteX770" fmla="*/ 136597 w 1757434"/>
                  <a:gd name="connsiteY770" fmla="*/ 1925638 h 2476500"/>
                  <a:gd name="connsiteX771" fmla="*/ 141359 w 1757434"/>
                  <a:gd name="connsiteY771" fmla="*/ 1919288 h 2476500"/>
                  <a:gd name="connsiteX772" fmla="*/ 142947 w 1757434"/>
                  <a:gd name="connsiteY772" fmla="*/ 1912938 h 2476500"/>
                  <a:gd name="connsiteX773" fmla="*/ 147709 w 1757434"/>
                  <a:gd name="connsiteY773" fmla="*/ 1909763 h 2476500"/>
                  <a:gd name="connsiteX774" fmla="*/ 149297 w 1757434"/>
                  <a:gd name="connsiteY774" fmla="*/ 1914525 h 2476500"/>
                  <a:gd name="connsiteX775" fmla="*/ 150884 w 1757434"/>
                  <a:gd name="connsiteY775" fmla="*/ 1924050 h 2476500"/>
                  <a:gd name="connsiteX776" fmla="*/ 157234 w 1757434"/>
                  <a:gd name="connsiteY776" fmla="*/ 1930400 h 2476500"/>
                  <a:gd name="connsiteX777" fmla="*/ 158822 w 1757434"/>
                  <a:gd name="connsiteY777" fmla="*/ 1935163 h 2476500"/>
                  <a:gd name="connsiteX778" fmla="*/ 161997 w 1757434"/>
                  <a:gd name="connsiteY778" fmla="*/ 1939925 h 2476500"/>
                  <a:gd name="connsiteX779" fmla="*/ 165172 w 1757434"/>
                  <a:gd name="connsiteY779" fmla="*/ 1951038 h 2476500"/>
                  <a:gd name="connsiteX780" fmla="*/ 171522 w 1757434"/>
                  <a:gd name="connsiteY780" fmla="*/ 1960563 h 2476500"/>
                  <a:gd name="connsiteX781" fmla="*/ 171522 w 1757434"/>
                  <a:gd name="connsiteY781" fmla="*/ 1963738 h 2476500"/>
                  <a:gd name="connsiteX782" fmla="*/ 174697 w 1757434"/>
                  <a:gd name="connsiteY782" fmla="*/ 1957388 h 2476500"/>
                  <a:gd name="connsiteX783" fmla="*/ 181047 w 1757434"/>
                  <a:gd name="connsiteY783" fmla="*/ 1955800 h 2476500"/>
                  <a:gd name="connsiteX784" fmla="*/ 193747 w 1757434"/>
                  <a:gd name="connsiteY784" fmla="*/ 1955800 h 2476500"/>
                  <a:gd name="connsiteX785" fmla="*/ 187397 w 1757434"/>
                  <a:gd name="connsiteY785" fmla="*/ 1952625 h 2476500"/>
                  <a:gd name="connsiteX786" fmla="*/ 176284 w 1757434"/>
                  <a:gd name="connsiteY786" fmla="*/ 1941513 h 2476500"/>
                  <a:gd name="connsiteX787" fmla="*/ 174697 w 1757434"/>
                  <a:gd name="connsiteY787" fmla="*/ 1935163 h 2476500"/>
                  <a:gd name="connsiteX788" fmla="*/ 169934 w 1757434"/>
                  <a:gd name="connsiteY788" fmla="*/ 1931988 h 2476500"/>
                  <a:gd name="connsiteX789" fmla="*/ 166759 w 1757434"/>
                  <a:gd name="connsiteY789" fmla="*/ 1927225 h 2476500"/>
                  <a:gd name="connsiteX790" fmla="*/ 169934 w 1757434"/>
                  <a:gd name="connsiteY790" fmla="*/ 1917700 h 2476500"/>
                  <a:gd name="connsiteX791" fmla="*/ 188984 w 1757434"/>
                  <a:gd name="connsiteY791" fmla="*/ 1924050 h 2476500"/>
                  <a:gd name="connsiteX792" fmla="*/ 198509 w 1757434"/>
                  <a:gd name="connsiteY792" fmla="*/ 1922463 h 2476500"/>
                  <a:gd name="connsiteX793" fmla="*/ 201684 w 1757434"/>
                  <a:gd name="connsiteY793" fmla="*/ 1909763 h 2476500"/>
                  <a:gd name="connsiteX794" fmla="*/ 204859 w 1757434"/>
                  <a:gd name="connsiteY794" fmla="*/ 1905000 h 2476500"/>
                  <a:gd name="connsiteX795" fmla="*/ 205654 w 1757434"/>
                  <a:gd name="connsiteY795" fmla="*/ 1896263 h 2476500"/>
                  <a:gd name="connsiteX796" fmla="*/ 213721 w 1757434"/>
                  <a:gd name="connsiteY796" fmla="*/ 1888139 h 2476500"/>
                  <a:gd name="connsiteX797" fmla="*/ 212797 w 1757434"/>
                  <a:gd name="connsiteY797" fmla="*/ 1865313 h 2476500"/>
                  <a:gd name="connsiteX798" fmla="*/ 211209 w 1757434"/>
                  <a:gd name="connsiteY798" fmla="*/ 1884363 h 2476500"/>
                  <a:gd name="connsiteX799" fmla="*/ 206447 w 1757434"/>
                  <a:gd name="connsiteY799" fmla="*/ 1887538 h 2476500"/>
                  <a:gd name="connsiteX800" fmla="*/ 205654 w 1757434"/>
                  <a:gd name="connsiteY800" fmla="*/ 1896263 h 2476500"/>
                  <a:gd name="connsiteX801" fmla="*/ 204859 w 1757434"/>
                  <a:gd name="connsiteY801" fmla="*/ 1897063 h 2476500"/>
                  <a:gd name="connsiteX802" fmla="*/ 198509 w 1757434"/>
                  <a:gd name="connsiteY802" fmla="*/ 1908175 h 2476500"/>
                  <a:gd name="connsiteX803" fmla="*/ 182634 w 1757434"/>
                  <a:gd name="connsiteY803" fmla="*/ 1911350 h 2476500"/>
                  <a:gd name="connsiteX804" fmla="*/ 161997 w 1757434"/>
                  <a:gd name="connsiteY804" fmla="*/ 1914525 h 2476500"/>
                  <a:gd name="connsiteX805" fmla="*/ 158822 w 1757434"/>
                  <a:gd name="connsiteY805" fmla="*/ 1909763 h 2476500"/>
                  <a:gd name="connsiteX806" fmla="*/ 146122 w 1757434"/>
                  <a:gd name="connsiteY806" fmla="*/ 1908175 h 2476500"/>
                  <a:gd name="connsiteX807" fmla="*/ 142947 w 1757434"/>
                  <a:gd name="connsiteY807" fmla="*/ 1900238 h 2476500"/>
                  <a:gd name="connsiteX808" fmla="*/ 145179 w 1757434"/>
                  <a:gd name="connsiteY808" fmla="*/ 1890564 h 2476500"/>
                  <a:gd name="connsiteX809" fmla="*/ 150884 w 1757434"/>
                  <a:gd name="connsiteY809" fmla="*/ 1878013 h 2476500"/>
                  <a:gd name="connsiteX810" fmla="*/ 152119 w 1757434"/>
                  <a:gd name="connsiteY810" fmla="*/ 1874309 h 2476500"/>
                  <a:gd name="connsiteX811" fmla="*/ 155647 w 1757434"/>
                  <a:gd name="connsiteY811" fmla="*/ 1870075 h 2476500"/>
                  <a:gd name="connsiteX812" fmla="*/ 157234 w 1757434"/>
                  <a:gd name="connsiteY812" fmla="*/ 1863725 h 2476500"/>
                  <a:gd name="connsiteX813" fmla="*/ 154059 w 1757434"/>
                  <a:gd name="connsiteY813" fmla="*/ 1868488 h 2476500"/>
                  <a:gd name="connsiteX814" fmla="*/ 152119 w 1757434"/>
                  <a:gd name="connsiteY814" fmla="*/ 1874309 h 2476500"/>
                  <a:gd name="connsiteX815" fmla="*/ 147709 w 1757434"/>
                  <a:gd name="connsiteY815" fmla="*/ 1879600 h 2476500"/>
                  <a:gd name="connsiteX816" fmla="*/ 145179 w 1757434"/>
                  <a:gd name="connsiteY816" fmla="*/ 1890564 h 2476500"/>
                  <a:gd name="connsiteX817" fmla="*/ 142947 w 1757434"/>
                  <a:gd name="connsiteY817" fmla="*/ 1895475 h 2476500"/>
                  <a:gd name="connsiteX818" fmla="*/ 135009 w 1757434"/>
                  <a:gd name="connsiteY818" fmla="*/ 1914525 h 2476500"/>
                  <a:gd name="connsiteX819" fmla="*/ 125484 w 1757434"/>
                  <a:gd name="connsiteY819" fmla="*/ 1922463 h 2476500"/>
                  <a:gd name="connsiteX820" fmla="*/ 119134 w 1757434"/>
                  <a:gd name="connsiteY820" fmla="*/ 1919288 h 2476500"/>
                  <a:gd name="connsiteX821" fmla="*/ 111197 w 1757434"/>
                  <a:gd name="connsiteY821" fmla="*/ 1914525 h 2476500"/>
                  <a:gd name="connsiteX822" fmla="*/ 106434 w 1757434"/>
                  <a:gd name="connsiteY822" fmla="*/ 1912938 h 2476500"/>
                  <a:gd name="connsiteX823" fmla="*/ 91336 w 1757434"/>
                  <a:gd name="connsiteY823" fmla="*/ 1912595 h 2476500"/>
                  <a:gd name="connsiteX824" fmla="*/ 92608 w 1757434"/>
                  <a:gd name="connsiteY824" fmla="*/ 1911436 h 2476500"/>
                  <a:gd name="connsiteX825" fmla="*/ 87384 w 1757434"/>
                  <a:gd name="connsiteY825" fmla="*/ 1909763 h 2476500"/>
                  <a:gd name="connsiteX826" fmla="*/ 84703 w 1757434"/>
                  <a:gd name="connsiteY826" fmla="*/ 1912444 h 2476500"/>
                  <a:gd name="connsiteX827" fmla="*/ 69847 w 1757434"/>
                  <a:gd name="connsiteY827" fmla="*/ 1912106 h 2476500"/>
                  <a:gd name="connsiteX828" fmla="*/ 68334 w 1757434"/>
                  <a:gd name="connsiteY828" fmla="*/ 1911350 h 2476500"/>
                  <a:gd name="connsiteX829" fmla="*/ 66308 w 1757434"/>
                  <a:gd name="connsiteY829" fmla="*/ 1912026 h 2476500"/>
                  <a:gd name="connsiteX830" fmla="*/ 58077 w 1757434"/>
                  <a:gd name="connsiteY830" fmla="*/ 1911839 h 2476500"/>
                  <a:gd name="connsiteX831" fmla="*/ 55634 w 1757434"/>
                  <a:gd name="connsiteY831" fmla="*/ 1911350 h 2476500"/>
                  <a:gd name="connsiteX832" fmla="*/ 54047 w 1757434"/>
                  <a:gd name="connsiteY832" fmla="*/ 1911747 h 2476500"/>
                  <a:gd name="connsiteX833" fmla="*/ 36584 w 1757434"/>
                  <a:gd name="connsiteY833" fmla="*/ 1911350 h 2476500"/>
                  <a:gd name="connsiteX834" fmla="*/ 30234 w 1757434"/>
                  <a:gd name="connsiteY834" fmla="*/ 1909763 h 2476500"/>
                  <a:gd name="connsiteX835" fmla="*/ 20709 w 1757434"/>
                  <a:gd name="connsiteY835" fmla="*/ 1909763 h 2476500"/>
                  <a:gd name="connsiteX836" fmla="*/ 15947 w 1757434"/>
                  <a:gd name="connsiteY836" fmla="*/ 1905000 h 2476500"/>
                  <a:gd name="connsiteX837" fmla="*/ 8009 w 1757434"/>
                  <a:gd name="connsiteY837" fmla="*/ 1905000 h 2476500"/>
                  <a:gd name="connsiteX838" fmla="*/ 12772 w 1757434"/>
                  <a:gd name="connsiteY838" fmla="*/ 1893888 h 2476500"/>
                  <a:gd name="connsiteX839" fmla="*/ 19122 w 1757434"/>
                  <a:gd name="connsiteY839" fmla="*/ 1881188 h 2476500"/>
                  <a:gd name="connsiteX840" fmla="*/ 20709 w 1757434"/>
                  <a:gd name="connsiteY840" fmla="*/ 1876425 h 2476500"/>
                  <a:gd name="connsiteX841" fmla="*/ 22297 w 1757434"/>
                  <a:gd name="connsiteY841" fmla="*/ 1863725 h 2476500"/>
                  <a:gd name="connsiteX842" fmla="*/ 27059 w 1757434"/>
                  <a:gd name="connsiteY842" fmla="*/ 1858963 h 2476500"/>
                  <a:gd name="connsiteX843" fmla="*/ 31822 w 1757434"/>
                  <a:gd name="connsiteY843" fmla="*/ 1862138 h 2476500"/>
                  <a:gd name="connsiteX844" fmla="*/ 39759 w 1757434"/>
                  <a:gd name="connsiteY844" fmla="*/ 1865313 h 2476500"/>
                  <a:gd name="connsiteX845" fmla="*/ 50872 w 1757434"/>
                  <a:gd name="connsiteY845" fmla="*/ 1870075 h 2476500"/>
                  <a:gd name="connsiteX846" fmla="*/ 71509 w 1757434"/>
                  <a:gd name="connsiteY846" fmla="*/ 1857375 h 2476500"/>
                  <a:gd name="connsiteX847" fmla="*/ 76272 w 1757434"/>
                  <a:gd name="connsiteY847" fmla="*/ 1855788 h 2476500"/>
                  <a:gd name="connsiteX848" fmla="*/ 52459 w 1757434"/>
                  <a:gd name="connsiteY848" fmla="*/ 1855788 h 2476500"/>
                  <a:gd name="connsiteX849" fmla="*/ 44522 w 1757434"/>
                  <a:gd name="connsiteY849" fmla="*/ 1852613 h 2476500"/>
                  <a:gd name="connsiteX850" fmla="*/ 38172 w 1757434"/>
                  <a:gd name="connsiteY850" fmla="*/ 1838325 h 2476500"/>
                  <a:gd name="connsiteX851" fmla="*/ 25472 w 1757434"/>
                  <a:gd name="connsiteY851" fmla="*/ 1831975 h 2476500"/>
                  <a:gd name="connsiteX852" fmla="*/ 27059 w 1757434"/>
                  <a:gd name="connsiteY852" fmla="*/ 1827213 h 2476500"/>
                  <a:gd name="connsiteX853" fmla="*/ 38172 w 1757434"/>
                  <a:gd name="connsiteY853" fmla="*/ 1817688 h 2476500"/>
                  <a:gd name="connsiteX854" fmla="*/ 34997 w 1757434"/>
                  <a:gd name="connsiteY854" fmla="*/ 1812925 h 2476500"/>
                  <a:gd name="connsiteX855" fmla="*/ 31822 w 1757434"/>
                  <a:gd name="connsiteY855" fmla="*/ 1806575 h 2476500"/>
                  <a:gd name="connsiteX856" fmla="*/ 23884 w 1757434"/>
                  <a:gd name="connsiteY856" fmla="*/ 1808163 h 2476500"/>
                  <a:gd name="connsiteX857" fmla="*/ 17534 w 1757434"/>
                  <a:gd name="connsiteY857" fmla="*/ 1811338 h 2476500"/>
                  <a:gd name="connsiteX858" fmla="*/ 25472 w 1757434"/>
                  <a:gd name="connsiteY858" fmla="*/ 1798638 h 2476500"/>
                  <a:gd name="connsiteX859" fmla="*/ 20709 w 1757434"/>
                  <a:gd name="connsiteY859" fmla="*/ 1790700 h 2476500"/>
                  <a:gd name="connsiteX860" fmla="*/ 17534 w 1757434"/>
                  <a:gd name="connsiteY860" fmla="*/ 1785938 h 2476500"/>
                  <a:gd name="connsiteX861" fmla="*/ 19122 w 1757434"/>
                  <a:gd name="connsiteY861" fmla="*/ 1781175 h 2476500"/>
                  <a:gd name="connsiteX862" fmla="*/ 20709 w 1757434"/>
                  <a:gd name="connsiteY862" fmla="*/ 1770063 h 2476500"/>
                  <a:gd name="connsiteX863" fmla="*/ 23884 w 1757434"/>
                  <a:gd name="connsiteY863" fmla="*/ 1776413 h 2476500"/>
                  <a:gd name="connsiteX864" fmla="*/ 33409 w 1757434"/>
                  <a:gd name="connsiteY864" fmla="*/ 1782763 h 2476500"/>
                  <a:gd name="connsiteX865" fmla="*/ 41347 w 1757434"/>
                  <a:gd name="connsiteY865" fmla="*/ 1762125 h 2476500"/>
                  <a:gd name="connsiteX866" fmla="*/ 47697 w 1757434"/>
                  <a:gd name="connsiteY866" fmla="*/ 1763713 h 2476500"/>
                  <a:gd name="connsiteX867" fmla="*/ 55634 w 1757434"/>
                  <a:gd name="connsiteY867" fmla="*/ 1766888 h 2476500"/>
                  <a:gd name="connsiteX868" fmla="*/ 60397 w 1757434"/>
                  <a:gd name="connsiteY868" fmla="*/ 1763713 h 2476500"/>
                  <a:gd name="connsiteX869" fmla="*/ 63822 w 1757434"/>
                  <a:gd name="connsiteY869" fmla="*/ 1764461 h 2476500"/>
                  <a:gd name="connsiteX870" fmla="*/ 65159 w 1757434"/>
                  <a:gd name="connsiteY870" fmla="*/ 1773238 h 2476500"/>
                  <a:gd name="connsiteX871" fmla="*/ 73357 w 1757434"/>
                  <a:gd name="connsiteY871" fmla="*/ 1774356 h 2476500"/>
                  <a:gd name="connsiteX872" fmla="*/ 76272 w 1757434"/>
                  <a:gd name="connsiteY872" fmla="*/ 1778000 h 2476500"/>
                  <a:gd name="connsiteX873" fmla="*/ 85797 w 1757434"/>
                  <a:gd name="connsiteY873" fmla="*/ 1781175 h 2476500"/>
                  <a:gd name="connsiteX874" fmla="*/ 90559 w 1757434"/>
                  <a:gd name="connsiteY874" fmla="*/ 1782763 h 2476500"/>
                  <a:gd name="connsiteX875" fmla="*/ 103259 w 1757434"/>
                  <a:gd name="connsiteY875" fmla="*/ 1781175 h 2476500"/>
                  <a:gd name="connsiteX876" fmla="*/ 104847 w 1757434"/>
                  <a:gd name="connsiteY876" fmla="*/ 1785938 h 2476500"/>
                  <a:gd name="connsiteX877" fmla="*/ 109609 w 1757434"/>
                  <a:gd name="connsiteY877" fmla="*/ 1789113 h 2476500"/>
                  <a:gd name="connsiteX878" fmla="*/ 106434 w 1757434"/>
                  <a:gd name="connsiteY878" fmla="*/ 1800225 h 2476500"/>
                  <a:gd name="connsiteX879" fmla="*/ 111197 w 1757434"/>
                  <a:gd name="connsiteY879" fmla="*/ 1792288 h 2476500"/>
                  <a:gd name="connsiteX880" fmla="*/ 117547 w 1757434"/>
                  <a:gd name="connsiteY880" fmla="*/ 1793875 h 2476500"/>
                  <a:gd name="connsiteX881" fmla="*/ 123897 w 1757434"/>
                  <a:gd name="connsiteY881" fmla="*/ 1797050 h 2476500"/>
                  <a:gd name="connsiteX882" fmla="*/ 125484 w 1757434"/>
                  <a:gd name="connsiteY882" fmla="*/ 1789113 h 2476500"/>
                  <a:gd name="connsiteX883" fmla="*/ 135009 w 1757434"/>
                  <a:gd name="connsiteY883" fmla="*/ 1793875 h 2476500"/>
                  <a:gd name="connsiteX884" fmla="*/ 142947 w 1757434"/>
                  <a:gd name="connsiteY884" fmla="*/ 1792288 h 2476500"/>
                  <a:gd name="connsiteX885" fmla="*/ 147709 w 1757434"/>
                  <a:gd name="connsiteY885" fmla="*/ 1787525 h 2476500"/>
                  <a:gd name="connsiteX886" fmla="*/ 152472 w 1757434"/>
                  <a:gd name="connsiteY886" fmla="*/ 1778000 h 2476500"/>
                  <a:gd name="connsiteX887" fmla="*/ 160409 w 1757434"/>
                  <a:gd name="connsiteY887" fmla="*/ 1773238 h 2476500"/>
                  <a:gd name="connsiteX888" fmla="*/ 165172 w 1757434"/>
                  <a:gd name="connsiteY888" fmla="*/ 1771650 h 2476500"/>
                  <a:gd name="connsiteX889" fmla="*/ 149297 w 1757434"/>
                  <a:gd name="connsiteY889" fmla="*/ 1776413 h 2476500"/>
                  <a:gd name="connsiteX890" fmla="*/ 142947 w 1757434"/>
                  <a:gd name="connsiteY890" fmla="*/ 1778000 h 2476500"/>
                  <a:gd name="connsiteX891" fmla="*/ 135009 w 1757434"/>
                  <a:gd name="connsiteY891" fmla="*/ 1781175 h 2476500"/>
                  <a:gd name="connsiteX892" fmla="*/ 122309 w 1757434"/>
                  <a:gd name="connsiteY892" fmla="*/ 1784350 h 2476500"/>
                  <a:gd name="connsiteX893" fmla="*/ 117547 w 1757434"/>
                  <a:gd name="connsiteY893" fmla="*/ 1785938 h 2476500"/>
                  <a:gd name="connsiteX894" fmla="*/ 112784 w 1757434"/>
                  <a:gd name="connsiteY894" fmla="*/ 1781175 h 2476500"/>
                  <a:gd name="connsiteX895" fmla="*/ 100084 w 1757434"/>
                  <a:gd name="connsiteY895" fmla="*/ 1778000 h 2476500"/>
                  <a:gd name="connsiteX896" fmla="*/ 73357 w 1757434"/>
                  <a:gd name="connsiteY896" fmla="*/ 1774356 h 2476500"/>
                  <a:gd name="connsiteX897" fmla="*/ 69922 w 1757434"/>
                  <a:gd name="connsiteY897" fmla="*/ 1770063 h 2476500"/>
                  <a:gd name="connsiteX898" fmla="*/ 66515 w 1757434"/>
                  <a:gd name="connsiteY898" fmla="*/ 1765049 h 2476500"/>
                  <a:gd name="connsiteX899" fmla="*/ 63822 w 1757434"/>
                  <a:gd name="connsiteY899" fmla="*/ 1764461 h 2476500"/>
                  <a:gd name="connsiteX900" fmla="*/ 63141 w 1757434"/>
                  <a:gd name="connsiteY900" fmla="*/ 1759987 h 2476500"/>
                  <a:gd name="connsiteX901" fmla="*/ 55634 w 1757434"/>
                  <a:gd name="connsiteY901" fmla="*/ 1757363 h 2476500"/>
                  <a:gd name="connsiteX902" fmla="*/ 50872 w 1757434"/>
                  <a:gd name="connsiteY902" fmla="*/ 1755775 h 2476500"/>
                  <a:gd name="connsiteX903" fmla="*/ 52459 w 1757434"/>
                  <a:gd name="connsiteY903" fmla="*/ 1747838 h 2476500"/>
                  <a:gd name="connsiteX904" fmla="*/ 57222 w 1757434"/>
                  <a:gd name="connsiteY904" fmla="*/ 1730375 h 2476500"/>
                  <a:gd name="connsiteX905" fmla="*/ 61984 w 1757434"/>
                  <a:gd name="connsiteY905" fmla="*/ 1728788 h 2476500"/>
                  <a:gd name="connsiteX906" fmla="*/ 66747 w 1757434"/>
                  <a:gd name="connsiteY906" fmla="*/ 1725613 h 2476500"/>
                  <a:gd name="connsiteX907" fmla="*/ 85858 w 1757434"/>
                  <a:gd name="connsiteY907" fmla="*/ 1728161 h 2476500"/>
                  <a:gd name="connsiteX908" fmla="*/ 85797 w 1757434"/>
                  <a:gd name="connsiteY908" fmla="*/ 1728788 h 2476500"/>
                  <a:gd name="connsiteX909" fmla="*/ 91858 w 1757434"/>
                  <a:gd name="connsiteY909" fmla="*/ 1729654 h 2476500"/>
                  <a:gd name="connsiteX910" fmla="*/ 95322 w 1757434"/>
                  <a:gd name="connsiteY910" fmla="*/ 1731963 h 2476500"/>
                  <a:gd name="connsiteX911" fmla="*/ 103259 w 1757434"/>
                  <a:gd name="connsiteY911" fmla="*/ 1733550 h 2476500"/>
                  <a:gd name="connsiteX912" fmla="*/ 115959 w 1757434"/>
                  <a:gd name="connsiteY912" fmla="*/ 1749425 h 2476500"/>
                  <a:gd name="connsiteX913" fmla="*/ 115959 w 1757434"/>
                  <a:gd name="connsiteY913" fmla="*/ 1733550 h 2476500"/>
                  <a:gd name="connsiteX914" fmla="*/ 108022 w 1757434"/>
                  <a:gd name="connsiteY914" fmla="*/ 1731963 h 2476500"/>
                  <a:gd name="connsiteX915" fmla="*/ 91858 w 1757434"/>
                  <a:gd name="connsiteY915" fmla="*/ 1729654 h 2476500"/>
                  <a:gd name="connsiteX916" fmla="*/ 90559 w 1757434"/>
                  <a:gd name="connsiteY916" fmla="*/ 1728788 h 2476500"/>
                  <a:gd name="connsiteX917" fmla="*/ 85858 w 1757434"/>
                  <a:gd name="connsiteY917" fmla="*/ 1728161 h 2476500"/>
                  <a:gd name="connsiteX918" fmla="*/ 87655 w 1757434"/>
                  <a:gd name="connsiteY918" fmla="*/ 1709614 h 2476500"/>
                  <a:gd name="connsiteX919" fmla="*/ 92147 w 1757434"/>
                  <a:gd name="connsiteY919" fmla="*/ 1695450 h 2476500"/>
                  <a:gd name="connsiteX920" fmla="*/ 95322 w 1757434"/>
                  <a:gd name="connsiteY920" fmla="*/ 1687513 h 2476500"/>
                  <a:gd name="connsiteX921" fmla="*/ 104847 w 1757434"/>
                  <a:gd name="connsiteY921" fmla="*/ 1685925 h 2476500"/>
                  <a:gd name="connsiteX922" fmla="*/ 114372 w 1757434"/>
                  <a:gd name="connsiteY922" fmla="*/ 1682750 h 2476500"/>
                  <a:gd name="connsiteX923" fmla="*/ 125484 w 1757434"/>
                  <a:gd name="connsiteY923" fmla="*/ 1689100 h 2476500"/>
                  <a:gd name="connsiteX924" fmla="*/ 131834 w 1757434"/>
                  <a:gd name="connsiteY924" fmla="*/ 1698625 h 2476500"/>
                  <a:gd name="connsiteX925" fmla="*/ 135009 w 1757434"/>
                  <a:gd name="connsiteY925" fmla="*/ 1704975 h 2476500"/>
                  <a:gd name="connsiteX926" fmla="*/ 141359 w 1757434"/>
                  <a:gd name="connsiteY926" fmla="*/ 1709738 h 2476500"/>
                  <a:gd name="connsiteX927" fmla="*/ 144534 w 1757434"/>
                  <a:gd name="connsiteY927" fmla="*/ 1716088 h 2476500"/>
                  <a:gd name="connsiteX928" fmla="*/ 146122 w 1757434"/>
                  <a:gd name="connsiteY928" fmla="*/ 1720850 h 2476500"/>
                  <a:gd name="connsiteX929" fmla="*/ 151386 w 1757434"/>
                  <a:gd name="connsiteY929" fmla="*/ 1724667 h 2476500"/>
                  <a:gd name="connsiteX930" fmla="*/ 152472 w 1757434"/>
                  <a:gd name="connsiteY930" fmla="*/ 1727200 h 2476500"/>
                  <a:gd name="connsiteX931" fmla="*/ 157234 w 1757434"/>
                  <a:gd name="connsiteY931" fmla="*/ 1731963 h 2476500"/>
                  <a:gd name="connsiteX932" fmla="*/ 155647 w 1757434"/>
                  <a:gd name="connsiteY932" fmla="*/ 1727200 h 2476500"/>
                  <a:gd name="connsiteX933" fmla="*/ 151896 w 1757434"/>
                  <a:gd name="connsiteY933" fmla="*/ 1725037 h 2476500"/>
                  <a:gd name="connsiteX934" fmla="*/ 151386 w 1757434"/>
                  <a:gd name="connsiteY934" fmla="*/ 1724667 h 2476500"/>
                  <a:gd name="connsiteX935" fmla="*/ 147709 w 1757434"/>
                  <a:gd name="connsiteY935" fmla="*/ 1716088 h 2476500"/>
                  <a:gd name="connsiteX936" fmla="*/ 142947 w 1757434"/>
                  <a:gd name="connsiteY936" fmla="*/ 1703388 h 2476500"/>
                  <a:gd name="connsiteX937" fmla="*/ 144534 w 1757434"/>
                  <a:gd name="connsiteY937" fmla="*/ 1692275 h 2476500"/>
                  <a:gd name="connsiteX938" fmla="*/ 154059 w 1757434"/>
                  <a:gd name="connsiteY938" fmla="*/ 1682750 h 2476500"/>
                  <a:gd name="connsiteX939" fmla="*/ 161997 w 1757434"/>
                  <a:gd name="connsiteY939" fmla="*/ 1687513 h 2476500"/>
                  <a:gd name="connsiteX940" fmla="*/ 181047 w 1757434"/>
                  <a:gd name="connsiteY940" fmla="*/ 1693863 h 2476500"/>
                  <a:gd name="connsiteX941" fmla="*/ 184222 w 1757434"/>
                  <a:gd name="connsiteY941" fmla="*/ 1731963 h 2476500"/>
                  <a:gd name="connsiteX942" fmla="*/ 187397 w 1757434"/>
                  <a:gd name="connsiteY942" fmla="*/ 1743075 h 2476500"/>
                  <a:gd name="connsiteX943" fmla="*/ 192159 w 1757434"/>
                  <a:gd name="connsiteY943" fmla="*/ 1720850 h 2476500"/>
                  <a:gd name="connsiteX944" fmla="*/ 200731 w 1757434"/>
                  <a:gd name="connsiteY944" fmla="*/ 1715135 h 2476500"/>
                  <a:gd name="connsiteX945" fmla="*/ 211209 w 1757434"/>
                  <a:gd name="connsiteY945" fmla="*/ 1716088 h 2476500"/>
                  <a:gd name="connsiteX946" fmla="*/ 201684 w 1757434"/>
                  <a:gd name="connsiteY946" fmla="*/ 1714500 h 2476500"/>
                  <a:gd name="connsiteX947" fmla="*/ 200731 w 1757434"/>
                  <a:gd name="connsiteY947" fmla="*/ 1715135 h 2476500"/>
                  <a:gd name="connsiteX948" fmla="*/ 193747 w 1757434"/>
                  <a:gd name="connsiteY948" fmla="*/ 1714500 h 2476500"/>
                  <a:gd name="connsiteX949" fmla="*/ 192159 w 1757434"/>
                  <a:gd name="connsiteY949" fmla="*/ 1708150 h 2476500"/>
                  <a:gd name="connsiteX950" fmla="*/ 185809 w 1757434"/>
                  <a:gd name="connsiteY950" fmla="*/ 1693863 h 2476500"/>
                  <a:gd name="connsiteX951" fmla="*/ 182634 w 1757434"/>
                  <a:gd name="connsiteY951" fmla="*/ 1685925 h 2476500"/>
                  <a:gd name="connsiteX952" fmla="*/ 177872 w 1757434"/>
                  <a:gd name="connsiteY952" fmla="*/ 1682750 h 2476500"/>
                  <a:gd name="connsiteX953" fmla="*/ 171522 w 1757434"/>
                  <a:gd name="connsiteY953" fmla="*/ 1677988 h 2476500"/>
                  <a:gd name="connsiteX954" fmla="*/ 139772 w 1757434"/>
                  <a:gd name="connsiteY954" fmla="*/ 1673225 h 2476500"/>
                  <a:gd name="connsiteX955" fmla="*/ 138184 w 1757434"/>
                  <a:gd name="connsiteY955" fmla="*/ 1665288 h 2476500"/>
                  <a:gd name="connsiteX956" fmla="*/ 144534 w 1757434"/>
                  <a:gd name="connsiteY956" fmla="*/ 1651000 h 2476500"/>
                  <a:gd name="connsiteX957" fmla="*/ 150884 w 1757434"/>
                  <a:gd name="connsiteY957" fmla="*/ 1649413 h 2476500"/>
                  <a:gd name="connsiteX958" fmla="*/ 158822 w 1757434"/>
                  <a:gd name="connsiteY958" fmla="*/ 1646238 h 2476500"/>
                  <a:gd name="connsiteX959" fmla="*/ 163584 w 1757434"/>
                  <a:gd name="connsiteY959" fmla="*/ 1644650 h 2476500"/>
                  <a:gd name="connsiteX960" fmla="*/ 169934 w 1757434"/>
                  <a:gd name="connsiteY960" fmla="*/ 1631950 h 2476500"/>
                  <a:gd name="connsiteX961" fmla="*/ 174697 w 1757434"/>
                  <a:gd name="connsiteY961" fmla="*/ 1630363 h 2476500"/>
                  <a:gd name="connsiteX962" fmla="*/ 192159 w 1757434"/>
                  <a:gd name="connsiteY962" fmla="*/ 1635125 h 2476500"/>
                  <a:gd name="connsiteX963" fmla="*/ 196922 w 1757434"/>
                  <a:gd name="connsiteY963" fmla="*/ 1639888 h 2476500"/>
                  <a:gd name="connsiteX964" fmla="*/ 204859 w 1757434"/>
                  <a:gd name="connsiteY964" fmla="*/ 1644650 h 2476500"/>
                  <a:gd name="connsiteX965" fmla="*/ 214384 w 1757434"/>
                  <a:gd name="connsiteY965" fmla="*/ 1647825 h 2476500"/>
                  <a:gd name="connsiteX966" fmla="*/ 219147 w 1757434"/>
                  <a:gd name="connsiteY966" fmla="*/ 1649413 h 2476500"/>
                  <a:gd name="connsiteX967" fmla="*/ 223909 w 1757434"/>
                  <a:gd name="connsiteY967" fmla="*/ 1658938 h 2476500"/>
                  <a:gd name="connsiteX968" fmla="*/ 246134 w 1757434"/>
                  <a:gd name="connsiteY968" fmla="*/ 1660525 h 2476500"/>
                  <a:gd name="connsiteX969" fmla="*/ 242959 w 1757434"/>
                  <a:gd name="connsiteY969" fmla="*/ 1654175 h 2476500"/>
                  <a:gd name="connsiteX970" fmla="*/ 238197 w 1757434"/>
                  <a:gd name="connsiteY970" fmla="*/ 1649413 h 2476500"/>
                  <a:gd name="connsiteX971" fmla="*/ 246134 w 1757434"/>
                  <a:gd name="connsiteY971" fmla="*/ 1625600 h 2476500"/>
                  <a:gd name="connsiteX972" fmla="*/ 252484 w 1757434"/>
                  <a:gd name="connsiteY972" fmla="*/ 1622425 h 2476500"/>
                  <a:gd name="connsiteX973" fmla="*/ 258834 w 1757434"/>
                  <a:gd name="connsiteY973" fmla="*/ 1627188 h 2476500"/>
                  <a:gd name="connsiteX974" fmla="*/ 271534 w 1757434"/>
                  <a:gd name="connsiteY974" fmla="*/ 1639888 h 2476500"/>
                  <a:gd name="connsiteX975" fmla="*/ 277884 w 1757434"/>
                  <a:gd name="connsiteY975" fmla="*/ 1641475 h 2476500"/>
                  <a:gd name="connsiteX976" fmla="*/ 284234 w 1757434"/>
                  <a:gd name="connsiteY976" fmla="*/ 1624013 h 2476500"/>
                  <a:gd name="connsiteX977" fmla="*/ 284967 w 1757434"/>
                  <a:gd name="connsiteY977" fmla="*/ 1623769 h 2476500"/>
                  <a:gd name="connsiteX978" fmla="*/ 288997 w 1757434"/>
                  <a:gd name="connsiteY978" fmla="*/ 1627188 h 2476500"/>
                  <a:gd name="connsiteX979" fmla="*/ 300109 w 1757434"/>
                  <a:gd name="connsiteY979" fmla="*/ 1631950 h 2476500"/>
                  <a:gd name="connsiteX980" fmla="*/ 308047 w 1757434"/>
                  <a:gd name="connsiteY980" fmla="*/ 1633538 h 2476500"/>
                  <a:gd name="connsiteX981" fmla="*/ 319159 w 1757434"/>
                  <a:gd name="connsiteY981" fmla="*/ 1631950 h 2476500"/>
                  <a:gd name="connsiteX982" fmla="*/ 314397 w 1757434"/>
                  <a:gd name="connsiteY982" fmla="*/ 1628775 h 2476500"/>
                  <a:gd name="connsiteX983" fmla="*/ 288997 w 1757434"/>
                  <a:gd name="connsiteY983" fmla="*/ 1622425 h 2476500"/>
                  <a:gd name="connsiteX984" fmla="*/ 284967 w 1757434"/>
                  <a:gd name="connsiteY984" fmla="*/ 1623769 h 2476500"/>
                  <a:gd name="connsiteX985" fmla="*/ 283600 w 1757434"/>
                  <a:gd name="connsiteY985" fmla="*/ 1622609 h 2476500"/>
                  <a:gd name="connsiteX986" fmla="*/ 277884 w 1757434"/>
                  <a:gd name="connsiteY986" fmla="*/ 1619250 h 2476500"/>
                  <a:gd name="connsiteX987" fmla="*/ 265184 w 1757434"/>
                  <a:gd name="connsiteY987" fmla="*/ 1622425 h 2476500"/>
                  <a:gd name="connsiteX988" fmla="*/ 242959 w 1757434"/>
                  <a:gd name="connsiteY988" fmla="*/ 1619250 h 2476500"/>
                  <a:gd name="connsiteX989" fmla="*/ 217559 w 1757434"/>
                  <a:gd name="connsiteY989" fmla="*/ 1622425 h 2476500"/>
                  <a:gd name="connsiteX990" fmla="*/ 204859 w 1757434"/>
                  <a:gd name="connsiteY990" fmla="*/ 1625600 h 2476500"/>
                  <a:gd name="connsiteX991" fmla="*/ 182634 w 1757434"/>
                  <a:gd name="connsiteY991" fmla="*/ 1627188 h 2476500"/>
                  <a:gd name="connsiteX992" fmla="*/ 188984 w 1757434"/>
                  <a:gd name="connsiteY992" fmla="*/ 1624013 h 2476500"/>
                  <a:gd name="connsiteX993" fmla="*/ 190572 w 1757434"/>
                  <a:gd name="connsiteY993" fmla="*/ 1617663 h 2476500"/>
                  <a:gd name="connsiteX994" fmla="*/ 192159 w 1757434"/>
                  <a:gd name="connsiteY994" fmla="*/ 1585913 h 2476500"/>
                  <a:gd name="connsiteX995" fmla="*/ 204859 w 1757434"/>
                  <a:gd name="connsiteY995" fmla="*/ 1577975 h 2476500"/>
                  <a:gd name="connsiteX996" fmla="*/ 215972 w 1757434"/>
                  <a:gd name="connsiteY996" fmla="*/ 1581150 h 2476500"/>
                  <a:gd name="connsiteX997" fmla="*/ 219147 w 1757434"/>
                  <a:gd name="connsiteY997" fmla="*/ 1587500 h 2476500"/>
                  <a:gd name="connsiteX998" fmla="*/ 223909 w 1757434"/>
                  <a:gd name="connsiteY998" fmla="*/ 1590675 h 2476500"/>
                  <a:gd name="connsiteX999" fmla="*/ 231847 w 1757434"/>
                  <a:gd name="connsiteY999" fmla="*/ 1589088 h 2476500"/>
                  <a:gd name="connsiteX1000" fmla="*/ 255659 w 1757434"/>
                  <a:gd name="connsiteY1000" fmla="*/ 1585913 h 2476500"/>
                  <a:gd name="connsiteX1001" fmla="*/ 265184 w 1757434"/>
                  <a:gd name="connsiteY1001" fmla="*/ 1587500 h 2476500"/>
                  <a:gd name="connsiteX1002" fmla="*/ 285822 w 1757434"/>
                  <a:gd name="connsiteY1002" fmla="*/ 1589088 h 2476500"/>
                  <a:gd name="connsiteX1003" fmla="*/ 288997 w 1757434"/>
                  <a:gd name="connsiteY1003" fmla="*/ 1598613 h 2476500"/>
                  <a:gd name="connsiteX1004" fmla="*/ 298522 w 1757434"/>
                  <a:gd name="connsiteY1004" fmla="*/ 1604963 h 2476500"/>
                  <a:gd name="connsiteX1005" fmla="*/ 319159 w 1757434"/>
                  <a:gd name="connsiteY1005" fmla="*/ 1603375 h 2476500"/>
                  <a:gd name="connsiteX1006" fmla="*/ 325509 w 1757434"/>
                  <a:gd name="connsiteY1006" fmla="*/ 1601788 h 2476500"/>
                  <a:gd name="connsiteX1007" fmla="*/ 306459 w 1757434"/>
                  <a:gd name="connsiteY1007" fmla="*/ 1600200 h 2476500"/>
                  <a:gd name="connsiteX1008" fmla="*/ 304872 w 1757434"/>
                  <a:gd name="connsiteY1008" fmla="*/ 1592263 h 2476500"/>
                  <a:gd name="connsiteX1009" fmla="*/ 300109 w 1757434"/>
                  <a:gd name="connsiteY1009" fmla="*/ 1589088 h 2476500"/>
                  <a:gd name="connsiteX1010" fmla="*/ 290584 w 1757434"/>
                  <a:gd name="connsiteY1010" fmla="*/ 1584325 h 2476500"/>
                  <a:gd name="connsiteX1011" fmla="*/ 263597 w 1757434"/>
                  <a:gd name="connsiteY1011" fmla="*/ 1577975 h 2476500"/>
                  <a:gd name="connsiteX1012" fmla="*/ 265184 w 1757434"/>
                  <a:gd name="connsiteY1012" fmla="*/ 1563688 h 2476500"/>
                  <a:gd name="connsiteX1013" fmla="*/ 293759 w 1757434"/>
                  <a:gd name="connsiteY1013" fmla="*/ 1570038 h 2476500"/>
                  <a:gd name="connsiteX1014" fmla="*/ 303284 w 1757434"/>
                  <a:gd name="connsiteY1014" fmla="*/ 1568450 h 2476500"/>
                  <a:gd name="connsiteX1015" fmla="*/ 311222 w 1757434"/>
                  <a:gd name="connsiteY1015" fmla="*/ 1566863 h 2476500"/>
                  <a:gd name="connsiteX1016" fmla="*/ 296934 w 1757434"/>
                  <a:gd name="connsiteY1016" fmla="*/ 1565275 h 2476500"/>
                  <a:gd name="connsiteX1017" fmla="*/ 298522 w 1757434"/>
                  <a:gd name="connsiteY1017" fmla="*/ 1549400 h 2476500"/>
                  <a:gd name="connsiteX1018" fmla="*/ 309634 w 1757434"/>
                  <a:gd name="connsiteY1018" fmla="*/ 1546225 h 2476500"/>
                  <a:gd name="connsiteX1019" fmla="*/ 339797 w 1757434"/>
                  <a:gd name="connsiteY1019" fmla="*/ 1544638 h 2476500"/>
                  <a:gd name="connsiteX1020" fmla="*/ 336622 w 1757434"/>
                  <a:gd name="connsiteY1020" fmla="*/ 1527175 h 2476500"/>
                  <a:gd name="connsiteX1021" fmla="*/ 342972 w 1757434"/>
                  <a:gd name="connsiteY1021" fmla="*/ 1522413 h 2476500"/>
                  <a:gd name="connsiteX1022" fmla="*/ 350909 w 1757434"/>
                  <a:gd name="connsiteY1022" fmla="*/ 1520825 h 2476500"/>
                  <a:gd name="connsiteX1023" fmla="*/ 355672 w 1757434"/>
                  <a:gd name="connsiteY1023" fmla="*/ 1519238 h 2476500"/>
                  <a:gd name="connsiteX1024" fmla="*/ 371547 w 1757434"/>
                  <a:gd name="connsiteY1024" fmla="*/ 1512888 h 2476500"/>
                  <a:gd name="connsiteX1025" fmla="*/ 384247 w 1757434"/>
                  <a:gd name="connsiteY1025" fmla="*/ 1524000 h 2476500"/>
                  <a:gd name="connsiteX1026" fmla="*/ 377897 w 1757434"/>
                  <a:gd name="connsiteY1026" fmla="*/ 1522413 h 2476500"/>
                  <a:gd name="connsiteX1027" fmla="*/ 379484 w 1757434"/>
                  <a:gd name="connsiteY1027" fmla="*/ 1508125 h 2476500"/>
                  <a:gd name="connsiteX1028" fmla="*/ 381072 w 1757434"/>
                  <a:gd name="connsiteY1028" fmla="*/ 1503363 h 2476500"/>
                  <a:gd name="connsiteX1029" fmla="*/ 382659 w 1757434"/>
                  <a:gd name="connsiteY1029" fmla="*/ 1490663 h 2476500"/>
                  <a:gd name="connsiteX1030" fmla="*/ 387422 w 1757434"/>
                  <a:gd name="connsiteY1030" fmla="*/ 1485900 h 2476500"/>
                  <a:gd name="connsiteX1031" fmla="*/ 395359 w 1757434"/>
                  <a:gd name="connsiteY1031" fmla="*/ 1484313 h 2476500"/>
                  <a:gd name="connsiteX1032" fmla="*/ 406472 w 1757434"/>
                  <a:gd name="connsiteY1032" fmla="*/ 1481138 h 2476500"/>
                  <a:gd name="connsiteX1033" fmla="*/ 422347 w 1757434"/>
                  <a:gd name="connsiteY1033" fmla="*/ 1479550 h 2476500"/>
                  <a:gd name="connsiteX1034" fmla="*/ 425522 w 1757434"/>
                  <a:gd name="connsiteY1034" fmla="*/ 1485900 h 2476500"/>
                  <a:gd name="connsiteX1035" fmla="*/ 426535 w 1757434"/>
                  <a:gd name="connsiteY1035" fmla="*/ 1486660 h 2476500"/>
                  <a:gd name="connsiteX1036" fmla="*/ 425656 w 1757434"/>
                  <a:gd name="connsiteY1036" fmla="*/ 1480532 h 2476500"/>
                  <a:gd name="connsiteX1037" fmla="*/ 427109 w 1757434"/>
                  <a:gd name="connsiteY1037" fmla="*/ 1470025 h 2476500"/>
                  <a:gd name="connsiteX1038" fmla="*/ 431872 w 1757434"/>
                  <a:gd name="connsiteY1038" fmla="*/ 1466850 h 2476500"/>
                  <a:gd name="connsiteX1039" fmla="*/ 436634 w 1757434"/>
                  <a:gd name="connsiteY1039" fmla="*/ 1460500 h 2476500"/>
                  <a:gd name="connsiteX1040" fmla="*/ 415997 w 1757434"/>
                  <a:gd name="connsiteY1040" fmla="*/ 1457325 h 2476500"/>
                  <a:gd name="connsiteX1041" fmla="*/ 412822 w 1757434"/>
                  <a:gd name="connsiteY1041" fmla="*/ 1447800 h 2476500"/>
                  <a:gd name="connsiteX1042" fmla="*/ 420759 w 1757434"/>
                  <a:gd name="connsiteY1042" fmla="*/ 1443038 h 2476500"/>
                  <a:gd name="connsiteX1043" fmla="*/ 411234 w 1757434"/>
                  <a:gd name="connsiteY1043" fmla="*/ 1441450 h 2476500"/>
                  <a:gd name="connsiteX1044" fmla="*/ 431872 w 1757434"/>
                  <a:gd name="connsiteY1044" fmla="*/ 1428750 h 2476500"/>
                  <a:gd name="connsiteX1045" fmla="*/ 436634 w 1757434"/>
                  <a:gd name="connsiteY1045" fmla="*/ 1425575 h 2476500"/>
                  <a:gd name="connsiteX1046" fmla="*/ 439809 w 1757434"/>
                  <a:gd name="connsiteY1046" fmla="*/ 1420813 h 2476500"/>
                  <a:gd name="connsiteX1047" fmla="*/ 446159 w 1757434"/>
                  <a:gd name="connsiteY1047" fmla="*/ 1416050 h 2476500"/>
                  <a:gd name="connsiteX1048" fmla="*/ 447747 w 1757434"/>
                  <a:gd name="connsiteY1048" fmla="*/ 1408113 h 2476500"/>
                  <a:gd name="connsiteX1049" fmla="*/ 449334 w 1757434"/>
                  <a:gd name="connsiteY1049" fmla="*/ 1401763 h 2476500"/>
                  <a:gd name="connsiteX1050" fmla="*/ 454097 w 1757434"/>
                  <a:gd name="connsiteY1050" fmla="*/ 1397000 h 2476500"/>
                  <a:gd name="connsiteX1051" fmla="*/ 455684 w 1757434"/>
                  <a:gd name="connsiteY1051" fmla="*/ 1390650 h 2476500"/>
                  <a:gd name="connsiteX1052" fmla="*/ 454097 w 1757434"/>
                  <a:gd name="connsiteY1052" fmla="*/ 1384300 h 2476500"/>
                  <a:gd name="connsiteX1053" fmla="*/ 457272 w 1757434"/>
                  <a:gd name="connsiteY1053" fmla="*/ 1377950 h 2476500"/>
                  <a:gd name="connsiteX1054" fmla="*/ 465209 w 1757434"/>
                  <a:gd name="connsiteY1054" fmla="*/ 1379538 h 2476500"/>
                  <a:gd name="connsiteX1055" fmla="*/ 473147 w 1757434"/>
                  <a:gd name="connsiteY1055" fmla="*/ 1349375 h 2476500"/>
                  <a:gd name="connsiteX1056" fmla="*/ 489022 w 1757434"/>
                  <a:gd name="connsiteY1056" fmla="*/ 1344613 h 2476500"/>
                  <a:gd name="connsiteX1057" fmla="*/ 490609 w 1757434"/>
                  <a:gd name="connsiteY1057" fmla="*/ 1336675 h 2476500"/>
                  <a:gd name="connsiteX1058" fmla="*/ 493784 w 1757434"/>
                  <a:gd name="connsiteY1058" fmla="*/ 1322388 h 2476500"/>
                  <a:gd name="connsiteX1059" fmla="*/ 501722 w 1757434"/>
                  <a:gd name="connsiteY1059" fmla="*/ 1327150 h 2476500"/>
                  <a:gd name="connsiteX1060" fmla="*/ 503309 w 1757434"/>
                  <a:gd name="connsiteY1060" fmla="*/ 1331913 h 2476500"/>
                  <a:gd name="connsiteX1061" fmla="*/ 506484 w 1757434"/>
                  <a:gd name="connsiteY1061" fmla="*/ 1325563 h 2476500"/>
                  <a:gd name="connsiteX1062" fmla="*/ 516009 w 1757434"/>
                  <a:gd name="connsiteY1062" fmla="*/ 1308100 h 2476500"/>
                  <a:gd name="connsiteX1063" fmla="*/ 517597 w 1757434"/>
                  <a:gd name="connsiteY1063" fmla="*/ 1298575 h 2476500"/>
                  <a:gd name="connsiteX1064" fmla="*/ 522359 w 1757434"/>
                  <a:gd name="connsiteY1064" fmla="*/ 1308100 h 2476500"/>
                  <a:gd name="connsiteX1065" fmla="*/ 525534 w 1757434"/>
                  <a:gd name="connsiteY1065" fmla="*/ 1312863 h 2476500"/>
                  <a:gd name="connsiteX1066" fmla="*/ 533472 w 1757434"/>
                  <a:gd name="connsiteY1066" fmla="*/ 1309688 h 2476500"/>
                  <a:gd name="connsiteX1067" fmla="*/ 539822 w 1757434"/>
                  <a:gd name="connsiteY1067" fmla="*/ 1298575 h 2476500"/>
                  <a:gd name="connsiteX1068" fmla="*/ 542997 w 1757434"/>
                  <a:gd name="connsiteY1068" fmla="*/ 1306513 h 2476500"/>
                  <a:gd name="connsiteX1069" fmla="*/ 544584 w 1757434"/>
                  <a:gd name="connsiteY1069" fmla="*/ 1319213 h 2476500"/>
                  <a:gd name="connsiteX1070" fmla="*/ 549347 w 1757434"/>
                  <a:gd name="connsiteY1070" fmla="*/ 1322388 h 2476500"/>
                  <a:gd name="connsiteX1071" fmla="*/ 557284 w 1757434"/>
                  <a:gd name="connsiteY1071" fmla="*/ 1304925 h 2476500"/>
                  <a:gd name="connsiteX1072" fmla="*/ 562047 w 1757434"/>
                  <a:gd name="connsiteY1072" fmla="*/ 1296988 h 2476500"/>
                  <a:gd name="connsiteX1073" fmla="*/ 563634 w 1757434"/>
                  <a:gd name="connsiteY1073" fmla="*/ 1292225 h 2476500"/>
                  <a:gd name="connsiteX1074" fmla="*/ 565222 w 1757434"/>
                  <a:gd name="connsiteY1074" fmla="*/ 1281113 h 2476500"/>
                  <a:gd name="connsiteX1075" fmla="*/ 568397 w 1757434"/>
                  <a:gd name="connsiteY1075" fmla="*/ 1274763 h 2476500"/>
                  <a:gd name="connsiteX1076" fmla="*/ 576334 w 1757434"/>
                  <a:gd name="connsiteY1076" fmla="*/ 1262063 h 2476500"/>
                  <a:gd name="connsiteX1077" fmla="*/ 584272 w 1757434"/>
                  <a:gd name="connsiteY1077" fmla="*/ 1246188 h 2476500"/>
                  <a:gd name="connsiteX1078" fmla="*/ 589034 w 1757434"/>
                  <a:gd name="connsiteY1078" fmla="*/ 1244600 h 2476500"/>
                  <a:gd name="connsiteX1079" fmla="*/ 601734 w 1757434"/>
                  <a:gd name="connsiteY1079" fmla="*/ 1243013 h 2476500"/>
                  <a:gd name="connsiteX1080" fmla="*/ 614434 w 1757434"/>
                  <a:gd name="connsiteY1080" fmla="*/ 1231900 h 2476500"/>
                  <a:gd name="connsiteX1081" fmla="*/ 616022 w 1757434"/>
                  <a:gd name="connsiteY1081" fmla="*/ 1208088 h 2476500"/>
                  <a:gd name="connsiteX1082" fmla="*/ 622372 w 1757434"/>
                  <a:gd name="connsiteY1082" fmla="*/ 1204913 h 2476500"/>
                  <a:gd name="connsiteX1083" fmla="*/ 627134 w 1757434"/>
                  <a:gd name="connsiteY1083" fmla="*/ 1201738 h 2476500"/>
                  <a:gd name="connsiteX1084" fmla="*/ 635072 w 1757434"/>
                  <a:gd name="connsiteY1084" fmla="*/ 1196975 h 2476500"/>
                  <a:gd name="connsiteX1085" fmla="*/ 639834 w 1757434"/>
                  <a:gd name="connsiteY1085" fmla="*/ 1193800 h 2476500"/>
                  <a:gd name="connsiteX1086" fmla="*/ 650947 w 1757434"/>
                  <a:gd name="connsiteY1086" fmla="*/ 1182688 h 2476500"/>
                  <a:gd name="connsiteX1087" fmla="*/ 654122 w 1757434"/>
                  <a:gd name="connsiteY1087" fmla="*/ 1173163 h 2476500"/>
                  <a:gd name="connsiteX1088" fmla="*/ 630309 w 1757434"/>
                  <a:gd name="connsiteY1088" fmla="*/ 1181100 h 2476500"/>
                  <a:gd name="connsiteX1089" fmla="*/ 622372 w 1757434"/>
                  <a:gd name="connsiteY1089" fmla="*/ 1182688 h 2476500"/>
                  <a:gd name="connsiteX1090" fmla="*/ 617609 w 1757434"/>
                  <a:gd name="connsiteY1090" fmla="*/ 1184275 h 2476500"/>
                  <a:gd name="connsiteX1091" fmla="*/ 611259 w 1757434"/>
                  <a:gd name="connsiteY1091" fmla="*/ 1189038 h 2476500"/>
                  <a:gd name="connsiteX1092" fmla="*/ 609672 w 1757434"/>
                  <a:gd name="connsiteY1092" fmla="*/ 1195388 h 2476500"/>
                  <a:gd name="connsiteX1093" fmla="*/ 598559 w 1757434"/>
                  <a:gd name="connsiteY1093" fmla="*/ 1214438 h 2476500"/>
                  <a:gd name="connsiteX1094" fmla="*/ 593797 w 1757434"/>
                  <a:gd name="connsiteY1094" fmla="*/ 1216025 h 2476500"/>
                  <a:gd name="connsiteX1095" fmla="*/ 598559 w 1757434"/>
                  <a:gd name="connsiteY1095" fmla="*/ 1190625 h 2476500"/>
                  <a:gd name="connsiteX1096" fmla="*/ 600147 w 1757434"/>
                  <a:gd name="connsiteY1096" fmla="*/ 1184275 h 2476500"/>
                  <a:gd name="connsiteX1097" fmla="*/ 601734 w 1757434"/>
                  <a:gd name="connsiteY1097" fmla="*/ 1176338 h 2476500"/>
                  <a:gd name="connsiteX1098" fmla="*/ 608084 w 1757434"/>
                  <a:gd name="connsiteY1098" fmla="*/ 1166813 h 2476500"/>
                  <a:gd name="connsiteX1099" fmla="*/ 620784 w 1757434"/>
                  <a:gd name="connsiteY1099" fmla="*/ 1160463 h 2476500"/>
                  <a:gd name="connsiteX1100" fmla="*/ 619197 w 1757434"/>
                  <a:gd name="connsiteY1100" fmla="*/ 1141413 h 2476500"/>
                  <a:gd name="connsiteX1101" fmla="*/ 623959 w 1757434"/>
                  <a:gd name="connsiteY1101" fmla="*/ 1143000 h 2476500"/>
                  <a:gd name="connsiteX1102" fmla="*/ 628722 w 1757434"/>
                  <a:gd name="connsiteY1102" fmla="*/ 1146175 h 2476500"/>
                  <a:gd name="connsiteX1103" fmla="*/ 630309 w 1757434"/>
                  <a:gd name="connsiteY1103" fmla="*/ 1125538 h 2476500"/>
                  <a:gd name="connsiteX1104" fmla="*/ 622372 w 1757434"/>
                  <a:gd name="connsiteY1104" fmla="*/ 1119188 h 2476500"/>
                  <a:gd name="connsiteX1105" fmla="*/ 625338 w 1757434"/>
                  <a:gd name="connsiteY1105" fmla="*/ 1109604 h 2476500"/>
                  <a:gd name="connsiteX1106" fmla="*/ 630062 w 1757434"/>
                  <a:gd name="connsiteY1106" fmla="*/ 1102117 h 2476500"/>
                  <a:gd name="connsiteX1107" fmla="*/ 635072 w 1757434"/>
                  <a:gd name="connsiteY1107" fmla="*/ 1104900 h 2476500"/>
                  <a:gd name="connsiteX1108" fmla="*/ 646184 w 1757434"/>
                  <a:gd name="connsiteY1108" fmla="*/ 1103313 h 2476500"/>
                  <a:gd name="connsiteX1109" fmla="*/ 630309 w 1757434"/>
                  <a:gd name="connsiteY1109" fmla="*/ 1101725 h 2476500"/>
                  <a:gd name="connsiteX1110" fmla="*/ 630062 w 1757434"/>
                  <a:gd name="connsiteY1110" fmla="*/ 1102117 h 2476500"/>
                  <a:gd name="connsiteX1111" fmla="*/ 620784 w 1757434"/>
                  <a:gd name="connsiteY1111" fmla="*/ 1096963 h 2476500"/>
                  <a:gd name="connsiteX1112" fmla="*/ 623959 w 1757434"/>
                  <a:gd name="connsiteY1112" fmla="*/ 1074738 h 2476500"/>
                  <a:gd name="connsiteX1113" fmla="*/ 633484 w 1757434"/>
                  <a:gd name="connsiteY1113" fmla="*/ 1073150 h 2476500"/>
                  <a:gd name="connsiteX1114" fmla="*/ 638247 w 1757434"/>
                  <a:gd name="connsiteY1114" fmla="*/ 1071563 h 2476500"/>
                  <a:gd name="connsiteX1115" fmla="*/ 644597 w 1757434"/>
                  <a:gd name="connsiteY1115" fmla="*/ 1077913 h 2476500"/>
                  <a:gd name="connsiteX1116" fmla="*/ 646184 w 1757434"/>
                  <a:gd name="connsiteY1116" fmla="*/ 1065213 h 2476500"/>
                  <a:gd name="connsiteX1117" fmla="*/ 652534 w 1757434"/>
                  <a:gd name="connsiteY1117" fmla="*/ 1046163 h 2476500"/>
                  <a:gd name="connsiteX1118" fmla="*/ 662059 w 1757434"/>
                  <a:gd name="connsiteY1118" fmla="*/ 1062038 h 2476500"/>
                  <a:gd name="connsiteX1119" fmla="*/ 669997 w 1757434"/>
                  <a:gd name="connsiteY1119" fmla="*/ 1066800 h 2476500"/>
                  <a:gd name="connsiteX1120" fmla="*/ 677934 w 1757434"/>
                  <a:gd name="connsiteY1120" fmla="*/ 1065213 h 2476500"/>
                  <a:gd name="connsiteX1121" fmla="*/ 666822 w 1757434"/>
                  <a:gd name="connsiteY1121" fmla="*/ 1042988 h 2476500"/>
                  <a:gd name="connsiteX1122" fmla="*/ 660472 w 1757434"/>
                  <a:gd name="connsiteY1122" fmla="*/ 1031875 h 2476500"/>
                  <a:gd name="connsiteX1123" fmla="*/ 654122 w 1757434"/>
                  <a:gd name="connsiteY1123" fmla="*/ 1028700 h 2476500"/>
                  <a:gd name="connsiteX1124" fmla="*/ 668409 w 1757434"/>
                  <a:gd name="connsiteY1124" fmla="*/ 1019175 h 2476500"/>
                  <a:gd name="connsiteX1125" fmla="*/ 676347 w 1757434"/>
                  <a:gd name="connsiteY1125" fmla="*/ 1016000 h 2476500"/>
                  <a:gd name="connsiteX1126" fmla="*/ 684284 w 1757434"/>
                  <a:gd name="connsiteY1126" fmla="*/ 1006475 h 2476500"/>
                  <a:gd name="connsiteX1127" fmla="*/ 692222 w 1757434"/>
                  <a:gd name="connsiteY1127" fmla="*/ 1000125 h 2476500"/>
                  <a:gd name="connsiteX1128" fmla="*/ 695397 w 1757434"/>
                  <a:gd name="connsiteY1128" fmla="*/ 993775 h 2476500"/>
                  <a:gd name="connsiteX1129" fmla="*/ 697575 w 1757434"/>
                  <a:gd name="connsiteY1129" fmla="*/ 989376 h 2476500"/>
                  <a:gd name="connsiteX1130" fmla="*/ 700379 w 1757434"/>
                  <a:gd name="connsiteY1130" fmla="*/ 989843 h 2476500"/>
                  <a:gd name="connsiteX1131" fmla="*/ 701747 w 1757434"/>
                  <a:gd name="connsiteY1131" fmla="*/ 1004888 h 2476500"/>
                  <a:gd name="connsiteX1132" fmla="*/ 708097 w 1757434"/>
                  <a:gd name="connsiteY1132" fmla="*/ 1019175 h 2476500"/>
                  <a:gd name="connsiteX1133" fmla="*/ 716034 w 1757434"/>
                  <a:gd name="connsiteY1133" fmla="*/ 1001713 h 2476500"/>
                  <a:gd name="connsiteX1134" fmla="*/ 720797 w 1757434"/>
                  <a:gd name="connsiteY1134" fmla="*/ 1000125 h 2476500"/>
                  <a:gd name="connsiteX1135" fmla="*/ 728734 w 1757434"/>
                  <a:gd name="connsiteY1135" fmla="*/ 995363 h 2476500"/>
                  <a:gd name="connsiteX1136" fmla="*/ 730322 w 1757434"/>
                  <a:gd name="connsiteY1136" fmla="*/ 989013 h 2476500"/>
                  <a:gd name="connsiteX1137" fmla="*/ 735084 w 1757434"/>
                  <a:gd name="connsiteY1137" fmla="*/ 981075 h 2476500"/>
                  <a:gd name="connsiteX1138" fmla="*/ 728734 w 1757434"/>
                  <a:gd name="connsiteY1138" fmla="*/ 982663 h 2476500"/>
                  <a:gd name="connsiteX1139" fmla="*/ 709684 w 1757434"/>
                  <a:gd name="connsiteY1139" fmla="*/ 989013 h 2476500"/>
                  <a:gd name="connsiteX1140" fmla="*/ 704922 w 1757434"/>
                  <a:gd name="connsiteY1140" fmla="*/ 990600 h 2476500"/>
                  <a:gd name="connsiteX1141" fmla="*/ 700379 w 1757434"/>
                  <a:gd name="connsiteY1141" fmla="*/ 989843 h 2476500"/>
                  <a:gd name="connsiteX1142" fmla="*/ 700159 w 1757434"/>
                  <a:gd name="connsiteY1142" fmla="*/ 987425 h 2476500"/>
                  <a:gd name="connsiteX1143" fmla="*/ 697812 w 1757434"/>
                  <a:gd name="connsiteY1143" fmla="*/ 988897 h 2476500"/>
                  <a:gd name="connsiteX1144" fmla="*/ 697575 w 1757434"/>
                  <a:gd name="connsiteY1144" fmla="*/ 989376 h 2476500"/>
                  <a:gd name="connsiteX1145" fmla="*/ 695397 w 1757434"/>
                  <a:gd name="connsiteY1145" fmla="*/ 989013 h 2476500"/>
                  <a:gd name="connsiteX1146" fmla="*/ 690634 w 1757434"/>
                  <a:gd name="connsiteY1146" fmla="*/ 985838 h 2476500"/>
                  <a:gd name="connsiteX1147" fmla="*/ 658884 w 1757434"/>
                  <a:gd name="connsiteY1147" fmla="*/ 982663 h 2476500"/>
                  <a:gd name="connsiteX1148" fmla="*/ 665234 w 1757434"/>
                  <a:gd name="connsiteY1148" fmla="*/ 947738 h 2476500"/>
                  <a:gd name="connsiteX1149" fmla="*/ 671584 w 1757434"/>
                  <a:gd name="connsiteY1149" fmla="*/ 946150 h 2476500"/>
                  <a:gd name="connsiteX1150" fmla="*/ 674759 w 1757434"/>
                  <a:gd name="connsiteY1150" fmla="*/ 941388 h 2476500"/>
                  <a:gd name="connsiteX1151" fmla="*/ 689047 w 1757434"/>
                  <a:gd name="connsiteY1151" fmla="*/ 935038 h 2476500"/>
                  <a:gd name="connsiteX1152" fmla="*/ 690634 w 1757434"/>
                  <a:gd name="connsiteY1152" fmla="*/ 941388 h 2476500"/>
                  <a:gd name="connsiteX1153" fmla="*/ 693809 w 1757434"/>
                  <a:gd name="connsiteY1153" fmla="*/ 947738 h 2476500"/>
                  <a:gd name="connsiteX1154" fmla="*/ 695397 w 1757434"/>
                  <a:gd name="connsiteY1154" fmla="*/ 930275 h 2476500"/>
                  <a:gd name="connsiteX1155" fmla="*/ 701747 w 1757434"/>
                  <a:gd name="connsiteY1155" fmla="*/ 917575 h 2476500"/>
                  <a:gd name="connsiteX1156" fmla="*/ 708097 w 1757434"/>
                  <a:gd name="connsiteY1156" fmla="*/ 920750 h 2476500"/>
                  <a:gd name="connsiteX1157" fmla="*/ 714105 w 1757434"/>
                  <a:gd name="connsiteY1157" fmla="*/ 909845 h 2476500"/>
                  <a:gd name="connsiteX1158" fmla="*/ 711560 w 1757434"/>
                  <a:gd name="connsiteY1158" fmla="*/ 898249 h 2476500"/>
                  <a:gd name="connsiteX1159" fmla="*/ 716034 w 1757434"/>
                  <a:gd name="connsiteY1159" fmla="*/ 900113 h 2476500"/>
                  <a:gd name="connsiteX1160" fmla="*/ 711272 w 1757434"/>
                  <a:gd name="connsiteY1160" fmla="*/ 896938 h 2476500"/>
                  <a:gd name="connsiteX1161" fmla="*/ 711560 w 1757434"/>
                  <a:gd name="connsiteY1161" fmla="*/ 898249 h 2476500"/>
                  <a:gd name="connsiteX1162" fmla="*/ 696984 w 1757434"/>
                  <a:gd name="connsiteY1162" fmla="*/ 892175 h 2476500"/>
                  <a:gd name="connsiteX1163" fmla="*/ 695397 w 1757434"/>
                  <a:gd name="connsiteY1163" fmla="*/ 868363 h 2476500"/>
                  <a:gd name="connsiteX1164" fmla="*/ 738259 w 1757434"/>
                  <a:gd name="connsiteY1164" fmla="*/ 862013 h 2476500"/>
                  <a:gd name="connsiteX1165" fmla="*/ 731909 w 1757434"/>
                  <a:gd name="connsiteY1165" fmla="*/ 858838 h 2476500"/>
                  <a:gd name="connsiteX1166" fmla="*/ 741434 w 1757434"/>
                  <a:gd name="connsiteY1166" fmla="*/ 852488 h 2476500"/>
                  <a:gd name="connsiteX1167" fmla="*/ 747784 w 1757434"/>
                  <a:gd name="connsiteY1167" fmla="*/ 858838 h 2476500"/>
                  <a:gd name="connsiteX1168" fmla="*/ 746197 w 1757434"/>
                  <a:gd name="connsiteY1168" fmla="*/ 854075 h 2476500"/>
                  <a:gd name="connsiteX1169" fmla="*/ 749372 w 1757434"/>
                  <a:gd name="connsiteY1169" fmla="*/ 838200 h 2476500"/>
                  <a:gd name="connsiteX1170" fmla="*/ 757309 w 1757434"/>
                  <a:gd name="connsiteY1170" fmla="*/ 833438 h 2476500"/>
                  <a:gd name="connsiteX1171" fmla="*/ 758897 w 1757434"/>
                  <a:gd name="connsiteY1171" fmla="*/ 844550 h 2476500"/>
                  <a:gd name="connsiteX1172" fmla="*/ 762072 w 1757434"/>
                  <a:gd name="connsiteY1172" fmla="*/ 849313 h 2476500"/>
                  <a:gd name="connsiteX1173" fmla="*/ 766834 w 1757434"/>
                  <a:gd name="connsiteY1173" fmla="*/ 847725 h 2476500"/>
                  <a:gd name="connsiteX1174" fmla="*/ 763659 w 1757434"/>
                  <a:gd name="connsiteY1174" fmla="*/ 827088 h 2476500"/>
                  <a:gd name="connsiteX1175" fmla="*/ 770009 w 1757434"/>
                  <a:gd name="connsiteY1175" fmla="*/ 812800 h 2476500"/>
                  <a:gd name="connsiteX1176" fmla="*/ 774772 w 1757434"/>
                  <a:gd name="connsiteY1176" fmla="*/ 815975 h 2476500"/>
                  <a:gd name="connsiteX1177" fmla="*/ 782709 w 1757434"/>
                  <a:gd name="connsiteY1177" fmla="*/ 823913 h 2476500"/>
                  <a:gd name="connsiteX1178" fmla="*/ 789059 w 1757434"/>
                  <a:gd name="connsiteY1178" fmla="*/ 819150 h 2476500"/>
                  <a:gd name="connsiteX1179" fmla="*/ 793822 w 1757434"/>
                  <a:gd name="connsiteY1179" fmla="*/ 806450 h 2476500"/>
                  <a:gd name="connsiteX1180" fmla="*/ 806522 w 1757434"/>
                  <a:gd name="connsiteY1180" fmla="*/ 819150 h 2476500"/>
                  <a:gd name="connsiteX1181" fmla="*/ 808109 w 1757434"/>
                  <a:gd name="connsiteY1181" fmla="*/ 831850 h 2476500"/>
                  <a:gd name="connsiteX1182" fmla="*/ 811284 w 1757434"/>
                  <a:gd name="connsiteY1182" fmla="*/ 823913 h 2476500"/>
                  <a:gd name="connsiteX1183" fmla="*/ 820809 w 1757434"/>
                  <a:gd name="connsiteY1183" fmla="*/ 830263 h 2476500"/>
                  <a:gd name="connsiteX1184" fmla="*/ 828747 w 1757434"/>
                  <a:gd name="connsiteY1184" fmla="*/ 828675 h 2476500"/>
                  <a:gd name="connsiteX1185" fmla="*/ 830334 w 1757434"/>
                  <a:gd name="connsiteY1185" fmla="*/ 815975 h 2476500"/>
                  <a:gd name="connsiteX1186" fmla="*/ 831922 w 1757434"/>
                  <a:gd name="connsiteY1186" fmla="*/ 811213 h 2476500"/>
                  <a:gd name="connsiteX1187" fmla="*/ 833509 w 1757434"/>
                  <a:gd name="connsiteY1187" fmla="*/ 796925 h 2476500"/>
                  <a:gd name="connsiteX1188" fmla="*/ 831922 w 1757434"/>
                  <a:gd name="connsiteY1188" fmla="*/ 790575 h 2476500"/>
                  <a:gd name="connsiteX1189" fmla="*/ 830334 w 1757434"/>
                  <a:gd name="connsiteY1189" fmla="*/ 782638 h 2476500"/>
                  <a:gd name="connsiteX1190" fmla="*/ 831922 w 1757434"/>
                  <a:gd name="connsiteY1190" fmla="*/ 760413 h 2476500"/>
                  <a:gd name="connsiteX1191" fmla="*/ 793822 w 1757434"/>
                  <a:gd name="connsiteY1191" fmla="*/ 765175 h 2476500"/>
                  <a:gd name="connsiteX1192" fmla="*/ 804934 w 1757434"/>
                  <a:gd name="connsiteY1192" fmla="*/ 755650 h 2476500"/>
                  <a:gd name="connsiteX1193" fmla="*/ 806522 w 1757434"/>
                  <a:gd name="connsiteY1193" fmla="*/ 750888 h 2476500"/>
                  <a:gd name="connsiteX1194" fmla="*/ 808109 w 1757434"/>
                  <a:gd name="connsiteY1194" fmla="*/ 741363 h 2476500"/>
                  <a:gd name="connsiteX1195" fmla="*/ 812872 w 1757434"/>
                  <a:gd name="connsiteY1195" fmla="*/ 739775 h 2476500"/>
                  <a:gd name="connsiteX1196" fmla="*/ 817634 w 1757434"/>
                  <a:gd name="connsiteY1196" fmla="*/ 735013 h 2476500"/>
                  <a:gd name="connsiteX1197" fmla="*/ 812872 w 1757434"/>
                  <a:gd name="connsiteY1197" fmla="*/ 731838 h 2476500"/>
                  <a:gd name="connsiteX1198" fmla="*/ 796997 w 1757434"/>
                  <a:gd name="connsiteY1198" fmla="*/ 728663 h 2476500"/>
                  <a:gd name="connsiteX1199" fmla="*/ 784297 w 1757434"/>
                  <a:gd name="connsiteY1199" fmla="*/ 727075 h 2476500"/>
                  <a:gd name="connsiteX1200" fmla="*/ 793822 w 1757434"/>
                  <a:gd name="connsiteY1200" fmla="*/ 704850 h 2476500"/>
                  <a:gd name="connsiteX1201" fmla="*/ 801759 w 1757434"/>
                  <a:gd name="connsiteY1201" fmla="*/ 703263 h 2476500"/>
                  <a:gd name="connsiteX1202" fmla="*/ 813273 w 1757434"/>
                  <a:gd name="connsiteY1202" fmla="*/ 704702 h 2476500"/>
                  <a:gd name="connsiteX1203" fmla="*/ 812872 w 1757434"/>
                  <a:gd name="connsiteY1203" fmla="*/ 709613 h 2476500"/>
                  <a:gd name="connsiteX1204" fmla="*/ 814459 w 1757434"/>
                  <a:gd name="connsiteY1204" fmla="*/ 704850 h 2476500"/>
                  <a:gd name="connsiteX1205" fmla="*/ 813273 w 1757434"/>
                  <a:gd name="connsiteY1205" fmla="*/ 704702 h 2476500"/>
                  <a:gd name="connsiteX1206" fmla="*/ 814261 w 1757434"/>
                  <a:gd name="connsiteY1206" fmla="*/ 692608 h 2476500"/>
                  <a:gd name="connsiteX1207" fmla="*/ 816047 w 1757434"/>
                  <a:gd name="connsiteY1207" fmla="*/ 674688 h 2476500"/>
                  <a:gd name="connsiteX1208" fmla="*/ 823984 w 1757434"/>
                  <a:gd name="connsiteY1208" fmla="*/ 684213 h 2476500"/>
                  <a:gd name="connsiteX1209" fmla="*/ 827159 w 1757434"/>
                  <a:gd name="connsiteY1209" fmla="*/ 688975 h 2476500"/>
                  <a:gd name="connsiteX1210" fmla="*/ 830334 w 1757434"/>
                  <a:gd name="connsiteY1210" fmla="*/ 677863 h 2476500"/>
                  <a:gd name="connsiteX1211" fmla="*/ 846209 w 1757434"/>
                  <a:gd name="connsiteY1211" fmla="*/ 669925 h 2476500"/>
                  <a:gd name="connsiteX1212" fmla="*/ 850972 w 1757434"/>
                  <a:gd name="connsiteY1212" fmla="*/ 668338 h 2476500"/>
                  <a:gd name="connsiteX1213" fmla="*/ 850972 w 1757434"/>
                  <a:gd name="connsiteY1213" fmla="*/ 682625 h 2476500"/>
                  <a:gd name="connsiteX1214" fmla="*/ 857322 w 1757434"/>
                  <a:gd name="connsiteY1214" fmla="*/ 674688 h 2476500"/>
                  <a:gd name="connsiteX1215" fmla="*/ 863672 w 1757434"/>
                  <a:gd name="connsiteY1215" fmla="*/ 668338 h 2476500"/>
                  <a:gd name="connsiteX1216" fmla="*/ 865259 w 1757434"/>
                  <a:gd name="connsiteY1216" fmla="*/ 676275 h 2476500"/>
                  <a:gd name="connsiteX1217" fmla="*/ 868434 w 1757434"/>
                  <a:gd name="connsiteY1217" fmla="*/ 682625 h 2476500"/>
                  <a:gd name="connsiteX1218" fmla="*/ 871609 w 1757434"/>
                  <a:gd name="connsiteY1218" fmla="*/ 661988 h 2476500"/>
                  <a:gd name="connsiteX1219" fmla="*/ 876372 w 1757434"/>
                  <a:gd name="connsiteY1219" fmla="*/ 660400 h 2476500"/>
                  <a:gd name="connsiteX1220" fmla="*/ 877959 w 1757434"/>
                  <a:gd name="connsiteY1220" fmla="*/ 655638 h 2476500"/>
                  <a:gd name="connsiteX1221" fmla="*/ 876372 w 1757434"/>
                  <a:gd name="connsiteY1221" fmla="*/ 650875 h 2476500"/>
                  <a:gd name="connsiteX1222" fmla="*/ 874784 w 1757434"/>
                  <a:gd name="connsiteY1222" fmla="*/ 641350 h 2476500"/>
                  <a:gd name="connsiteX1223" fmla="*/ 870022 w 1757434"/>
                  <a:gd name="connsiteY1223" fmla="*/ 638175 h 2476500"/>
                  <a:gd name="connsiteX1224" fmla="*/ 870022 w 1757434"/>
                  <a:gd name="connsiteY1224" fmla="*/ 617538 h 2476500"/>
                  <a:gd name="connsiteX1225" fmla="*/ 873197 w 1757434"/>
                  <a:gd name="connsiteY1225" fmla="*/ 612775 h 2476500"/>
                  <a:gd name="connsiteX1226" fmla="*/ 874784 w 1757434"/>
                  <a:gd name="connsiteY1226" fmla="*/ 601663 h 2476500"/>
                  <a:gd name="connsiteX1227" fmla="*/ 879547 w 1757434"/>
                  <a:gd name="connsiteY1227" fmla="*/ 606425 h 2476500"/>
                  <a:gd name="connsiteX1228" fmla="*/ 882722 w 1757434"/>
                  <a:gd name="connsiteY1228" fmla="*/ 614363 h 2476500"/>
                  <a:gd name="connsiteX1229" fmla="*/ 887484 w 1757434"/>
                  <a:gd name="connsiteY1229" fmla="*/ 617538 h 2476500"/>
                  <a:gd name="connsiteX1230" fmla="*/ 892247 w 1757434"/>
                  <a:gd name="connsiteY1230" fmla="*/ 622300 h 2476500"/>
                  <a:gd name="connsiteX1231" fmla="*/ 903359 w 1757434"/>
                  <a:gd name="connsiteY1231" fmla="*/ 619125 h 2476500"/>
                  <a:gd name="connsiteX1232" fmla="*/ 914472 w 1757434"/>
                  <a:gd name="connsiteY1232" fmla="*/ 604838 h 2476500"/>
                  <a:gd name="connsiteX1233" fmla="*/ 916059 w 1757434"/>
                  <a:gd name="connsiteY1233" fmla="*/ 598488 h 2476500"/>
                  <a:gd name="connsiteX1234" fmla="*/ 920822 w 1757434"/>
                  <a:gd name="connsiteY1234" fmla="*/ 595313 h 2476500"/>
                  <a:gd name="connsiteX1235" fmla="*/ 923997 w 1757434"/>
                  <a:gd name="connsiteY1235" fmla="*/ 603250 h 2476500"/>
                  <a:gd name="connsiteX1236" fmla="*/ 928759 w 1757434"/>
                  <a:gd name="connsiteY1236" fmla="*/ 619125 h 2476500"/>
                  <a:gd name="connsiteX1237" fmla="*/ 933522 w 1757434"/>
                  <a:gd name="connsiteY1237" fmla="*/ 620713 h 2476500"/>
                  <a:gd name="connsiteX1238" fmla="*/ 935109 w 1757434"/>
                  <a:gd name="connsiteY1238" fmla="*/ 625475 h 2476500"/>
                  <a:gd name="connsiteX1239" fmla="*/ 936697 w 1757434"/>
                  <a:gd name="connsiteY1239" fmla="*/ 619125 h 2476500"/>
                  <a:gd name="connsiteX1240" fmla="*/ 938284 w 1757434"/>
                  <a:gd name="connsiteY1240" fmla="*/ 603250 h 2476500"/>
                  <a:gd name="connsiteX1241" fmla="*/ 950984 w 1757434"/>
                  <a:gd name="connsiteY1241" fmla="*/ 590550 h 2476500"/>
                  <a:gd name="connsiteX1242" fmla="*/ 949397 w 1757434"/>
                  <a:gd name="connsiteY1242" fmla="*/ 582613 h 2476500"/>
                  <a:gd name="connsiteX1243" fmla="*/ 936697 w 1757434"/>
                  <a:gd name="connsiteY1243" fmla="*/ 577850 h 2476500"/>
                  <a:gd name="connsiteX1244" fmla="*/ 911297 w 1757434"/>
                  <a:gd name="connsiteY1244" fmla="*/ 579438 h 2476500"/>
                  <a:gd name="connsiteX1245" fmla="*/ 895422 w 1757434"/>
                  <a:gd name="connsiteY1245" fmla="*/ 584200 h 2476500"/>
                  <a:gd name="connsiteX1246" fmla="*/ 887484 w 1757434"/>
                  <a:gd name="connsiteY1246" fmla="*/ 585788 h 2476500"/>
                  <a:gd name="connsiteX1247" fmla="*/ 863672 w 1757434"/>
                  <a:gd name="connsiteY1247" fmla="*/ 582613 h 2476500"/>
                  <a:gd name="connsiteX1248" fmla="*/ 868434 w 1757434"/>
                  <a:gd name="connsiteY1248" fmla="*/ 577850 h 2476500"/>
                  <a:gd name="connsiteX1249" fmla="*/ 876372 w 1757434"/>
                  <a:gd name="connsiteY1249" fmla="*/ 574675 h 2476500"/>
                  <a:gd name="connsiteX1250" fmla="*/ 881134 w 1757434"/>
                  <a:gd name="connsiteY1250" fmla="*/ 571500 h 2476500"/>
                  <a:gd name="connsiteX1251" fmla="*/ 882722 w 1757434"/>
                  <a:gd name="connsiteY1251" fmla="*/ 566738 h 2476500"/>
                  <a:gd name="connsiteX1252" fmla="*/ 887484 w 1757434"/>
                  <a:gd name="connsiteY1252" fmla="*/ 544513 h 2476500"/>
                  <a:gd name="connsiteX1253" fmla="*/ 892247 w 1757434"/>
                  <a:gd name="connsiteY1253" fmla="*/ 541338 h 2476500"/>
                  <a:gd name="connsiteX1254" fmla="*/ 898597 w 1757434"/>
                  <a:gd name="connsiteY1254" fmla="*/ 542925 h 2476500"/>
                  <a:gd name="connsiteX1255" fmla="*/ 911297 w 1757434"/>
                  <a:gd name="connsiteY1255" fmla="*/ 531813 h 2476500"/>
                  <a:gd name="connsiteX1256" fmla="*/ 919234 w 1757434"/>
                  <a:gd name="connsiteY1256" fmla="*/ 530225 h 2476500"/>
                  <a:gd name="connsiteX1257" fmla="*/ 925584 w 1757434"/>
                  <a:gd name="connsiteY1257" fmla="*/ 534988 h 2476500"/>
                  <a:gd name="connsiteX1258" fmla="*/ 928759 w 1757434"/>
                  <a:gd name="connsiteY1258" fmla="*/ 539750 h 2476500"/>
                  <a:gd name="connsiteX1259" fmla="*/ 935109 w 1757434"/>
                  <a:gd name="connsiteY1259" fmla="*/ 544513 h 2476500"/>
                  <a:gd name="connsiteX1260" fmla="*/ 947809 w 1757434"/>
                  <a:gd name="connsiteY1260" fmla="*/ 531813 h 2476500"/>
                  <a:gd name="connsiteX1261" fmla="*/ 952572 w 1757434"/>
                  <a:gd name="connsiteY1261" fmla="*/ 530225 h 2476500"/>
                  <a:gd name="connsiteX1262" fmla="*/ 955747 w 1757434"/>
                  <a:gd name="connsiteY1262" fmla="*/ 522288 h 2476500"/>
                  <a:gd name="connsiteX1263" fmla="*/ 955747 w 1757434"/>
                  <a:gd name="connsiteY1263" fmla="*/ 509588 h 2476500"/>
                  <a:gd name="connsiteX1264" fmla="*/ 950984 w 1757434"/>
                  <a:gd name="connsiteY1264" fmla="*/ 506413 h 2476500"/>
                  <a:gd name="connsiteX1265" fmla="*/ 939872 w 1757434"/>
                  <a:gd name="connsiteY1265" fmla="*/ 508000 h 2476500"/>
                  <a:gd name="connsiteX1266" fmla="*/ 920822 w 1757434"/>
                  <a:gd name="connsiteY1266" fmla="*/ 512763 h 2476500"/>
                  <a:gd name="connsiteX1267" fmla="*/ 919234 w 1757434"/>
                  <a:gd name="connsiteY1267" fmla="*/ 496888 h 2476500"/>
                  <a:gd name="connsiteX1268" fmla="*/ 925584 w 1757434"/>
                  <a:gd name="connsiteY1268" fmla="*/ 495300 h 2476500"/>
                  <a:gd name="connsiteX1269" fmla="*/ 914472 w 1757434"/>
                  <a:gd name="connsiteY1269" fmla="*/ 488950 h 2476500"/>
                  <a:gd name="connsiteX1270" fmla="*/ 908122 w 1757434"/>
                  <a:gd name="connsiteY1270" fmla="*/ 484188 h 2476500"/>
                  <a:gd name="connsiteX1271" fmla="*/ 912884 w 1757434"/>
                  <a:gd name="connsiteY1271" fmla="*/ 481013 h 2476500"/>
                  <a:gd name="connsiteX1272" fmla="*/ 916059 w 1757434"/>
                  <a:gd name="connsiteY1272" fmla="*/ 476250 h 2476500"/>
                  <a:gd name="connsiteX1273" fmla="*/ 920822 w 1757434"/>
                  <a:gd name="connsiteY1273" fmla="*/ 474663 h 2476500"/>
                  <a:gd name="connsiteX1274" fmla="*/ 935109 w 1757434"/>
                  <a:gd name="connsiteY1274" fmla="*/ 473075 h 2476500"/>
                  <a:gd name="connsiteX1275" fmla="*/ 941459 w 1757434"/>
                  <a:gd name="connsiteY1275" fmla="*/ 469900 h 2476500"/>
                  <a:gd name="connsiteX1276" fmla="*/ 958922 w 1757434"/>
                  <a:gd name="connsiteY1276" fmla="*/ 455613 h 2476500"/>
                  <a:gd name="connsiteX1277" fmla="*/ 958922 w 1757434"/>
                  <a:gd name="connsiteY1277" fmla="*/ 422275 h 2476500"/>
                  <a:gd name="connsiteX1278" fmla="*/ 965272 w 1757434"/>
                  <a:gd name="connsiteY1278" fmla="*/ 412750 h 2476500"/>
                  <a:gd name="connsiteX1279" fmla="*/ 968447 w 1757434"/>
                  <a:gd name="connsiteY1279" fmla="*/ 407988 h 2476500"/>
                  <a:gd name="connsiteX1280" fmla="*/ 974797 w 1757434"/>
                  <a:gd name="connsiteY1280" fmla="*/ 406400 h 2476500"/>
                  <a:gd name="connsiteX1281" fmla="*/ 985909 w 1757434"/>
                  <a:gd name="connsiteY1281" fmla="*/ 414338 h 2476500"/>
                  <a:gd name="connsiteX1282" fmla="*/ 981147 w 1757434"/>
                  <a:gd name="connsiteY1282" fmla="*/ 419100 h 2476500"/>
                  <a:gd name="connsiteX1283" fmla="*/ 982734 w 1757434"/>
                  <a:gd name="connsiteY1283" fmla="*/ 430213 h 2476500"/>
                  <a:gd name="connsiteX1284" fmla="*/ 989084 w 1757434"/>
                  <a:gd name="connsiteY1284" fmla="*/ 428625 h 2476500"/>
                  <a:gd name="connsiteX1285" fmla="*/ 1000197 w 1757434"/>
                  <a:gd name="connsiteY1285" fmla="*/ 422275 h 2476500"/>
                  <a:gd name="connsiteX1286" fmla="*/ 1006547 w 1757434"/>
                  <a:gd name="connsiteY1286" fmla="*/ 423863 h 2476500"/>
                  <a:gd name="connsiteX1287" fmla="*/ 1009722 w 1757434"/>
                  <a:gd name="connsiteY1287" fmla="*/ 430213 h 2476500"/>
                  <a:gd name="connsiteX1288" fmla="*/ 1016072 w 1757434"/>
                  <a:gd name="connsiteY1288" fmla="*/ 434975 h 2476500"/>
                  <a:gd name="connsiteX1289" fmla="*/ 1024009 w 1757434"/>
                  <a:gd name="connsiteY1289" fmla="*/ 425450 h 2476500"/>
                  <a:gd name="connsiteX1290" fmla="*/ 1027184 w 1757434"/>
                  <a:gd name="connsiteY1290" fmla="*/ 414338 h 2476500"/>
                  <a:gd name="connsiteX1291" fmla="*/ 1039884 w 1757434"/>
                  <a:gd name="connsiteY1291" fmla="*/ 419100 h 2476500"/>
                  <a:gd name="connsiteX1292" fmla="*/ 1041472 w 1757434"/>
                  <a:gd name="connsiteY1292" fmla="*/ 414338 h 2476500"/>
                  <a:gd name="connsiteX1293" fmla="*/ 1024009 w 1757434"/>
                  <a:gd name="connsiteY1293" fmla="*/ 412750 h 2476500"/>
                  <a:gd name="connsiteX1294" fmla="*/ 1009722 w 1757434"/>
                  <a:gd name="connsiteY1294" fmla="*/ 409575 h 2476500"/>
                  <a:gd name="connsiteX1295" fmla="*/ 1004959 w 1757434"/>
                  <a:gd name="connsiteY1295" fmla="*/ 403225 h 2476500"/>
                  <a:gd name="connsiteX1296" fmla="*/ 1004959 w 1757434"/>
                  <a:gd name="connsiteY1296" fmla="*/ 384175 h 2476500"/>
                  <a:gd name="connsiteX1297" fmla="*/ 1014484 w 1757434"/>
                  <a:gd name="connsiteY1297" fmla="*/ 382588 h 2476500"/>
                  <a:gd name="connsiteX1298" fmla="*/ 1019247 w 1757434"/>
                  <a:gd name="connsiteY1298" fmla="*/ 387350 h 2476500"/>
                  <a:gd name="connsiteX1299" fmla="*/ 1025597 w 1757434"/>
                  <a:gd name="connsiteY1299" fmla="*/ 388938 h 2476500"/>
                  <a:gd name="connsiteX1300" fmla="*/ 1028772 w 1757434"/>
                  <a:gd name="connsiteY1300" fmla="*/ 393700 h 2476500"/>
                  <a:gd name="connsiteX1301" fmla="*/ 1033534 w 1757434"/>
                  <a:gd name="connsiteY1301" fmla="*/ 395288 h 2476500"/>
                  <a:gd name="connsiteX1302" fmla="*/ 1038297 w 1757434"/>
                  <a:gd name="connsiteY1302" fmla="*/ 398463 h 2476500"/>
                  <a:gd name="connsiteX1303" fmla="*/ 1046234 w 1757434"/>
                  <a:gd name="connsiteY1303" fmla="*/ 412750 h 2476500"/>
                  <a:gd name="connsiteX1304" fmla="*/ 1050997 w 1757434"/>
                  <a:gd name="connsiteY1304" fmla="*/ 415925 h 2476500"/>
                  <a:gd name="connsiteX1305" fmla="*/ 1066872 w 1757434"/>
                  <a:gd name="connsiteY1305" fmla="*/ 414338 h 2476500"/>
                  <a:gd name="connsiteX1306" fmla="*/ 1060522 w 1757434"/>
                  <a:gd name="connsiteY1306" fmla="*/ 400050 h 2476500"/>
                  <a:gd name="connsiteX1307" fmla="*/ 1058934 w 1757434"/>
                  <a:gd name="connsiteY1307" fmla="*/ 387350 h 2476500"/>
                  <a:gd name="connsiteX1308" fmla="*/ 1062109 w 1757434"/>
                  <a:gd name="connsiteY1308" fmla="*/ 352425 h 2476500"/>
                  <a:gd name="connsiteX1309" fmla="*/ 1054172 w 1757434"/>
                  <a:gd name="connsiteY1309" fmla="*/ 349250 h 2476500"/>
                  <a:gd name="connsiteX1310" fmla="*/ 1036709 w 1757434"/>
                  <a:gd name="connsiteY1310" fmla="*/ 347663 h 2476500"/>
                  <a:gd name="connsiteX1311" fmla="*/ 1033534 w 1757434"/>
                  <a:gd name="connsiteY1311" fmla="*/ 342900 h 2476500"/>
                  <a:gd name="connsiteX1312" fmla="*/ 1035122 w 1757434"/>
                  <a:gd name="connsiteY1312" fmla="*/ 336550 h 2476500"/>
                  <a:gd name="connsiteX1313" fmla="*/ 1057347 w 1757434"/>
                  <a:gd name="connsiteY1313" fmla="*/ 328613 h 2476500"/>
                  <a:gd name="connsiteX1314" fmla="*/ 1068459 w 1757434"/>
                  <a:gd name="connsiteY1314" fmla="*/ 325438 h 2476500"/>
                  <a:gd name="connsiteX1315" fmla="*/ 1071634 w 1757434"/>
                  <a:gd name="connsiteY1315" fmla="*/ 344488 h 2476500"/>
                  <a:gd name="connsiteX1316" fmla="*/ 1074809 w 1757434"/>
                  <a:gd name="connsiteY1316" fmla="*/ 349250 h 2476500"/>
                  <a:gd name="connsiteX1317" fmla="*/ 1079572 w 1757434"/>
                  <a:gd name="connsiteY1317" fmla="*/ 360363 h 2476500"/>
                  <a:gd name="connsiteX1318" fmla="*/ 1076397 w 1757434"/>
                  <a:gd name="connsiteY1318" fmla="*/ 393700 h 2476500"/>
                  <a:gd name="connsiteX1319" fmla="*/ 1074809 w 1757434"/>
                  <a:gd name="connsiteY1319" fmla="*/ 398463 h 2476500"/>
                  <a:gd name="connsiteX1320" fmla="*/ 1079572 w 1757434"/>
                  <a:gd name="connsiteY1320" fmla="*/ 400050 h 2476500"/>
                  <a:gd name="connsiteX1321" fmla="*/ 1090684 w 1757434"/>
                  <a:gd name="connsiteY1321" fmla="*/ 392113 h 2476500"/>
                  <a:gd name="connsiteX1322" fmla="*/ 1093859 w 1757434"/>
                  <a:gd name="connsiteY1322" fmla="*/ 377825 h 2476500"/>
                  <a:gd name="connsiteX1323" fmla="*/ 1104972 w 1757434"/>
                  <a:gd name="connsiteY1323" fmla="*/ 368300 h 2476500"/>
                  <a:gd name="connsiteX1324" fmla="*/ 1111322 w 1757434"/>
                  <a:gd name="connsiteY1324" fmla="*/ 363538 h 2476500"/>
                  <a:gd name="connsiteX1325" fmla="*/ 1120847 w 1757434"/>
                  <a:gd name="connsiteY1325" fmla="*/ 361950 h 2476500"/>
                  <a:gd name="connsiteX1326" fmla="*/ 1125609 w 1757434"/>
                  <a:gd name="connsiteY1326" fmla="*/ 360363 h 2476500"/>
                  <a:gd name="connsiteX1327" fmla="*/ 1124022 w 1757434"/>
                  <a:gd name="connsiteY1327" fmla="*/ 355600 h 2476500"/>
                  <a:gd name="connsiteX1328" fmla="*/ 1114497 w 1757434"/>
                  <a:gd name="connsiteY1328" fmla="*/ 354013 h 2476500"/>
                  <a:gd name="connsiteX1329" fmla="*/ 1100209 w 1757434"/>
                  <a:gd name="connsiteY1329" fmla="*/ 349250 h 2476500"/>
                  <a:gd name="connsiteX1330" fmla="*/ 1106559 w 1757434"/>
                  <a:gd name="connsiteY1330" fmla="*/ 325438 h 2476500"/>
                  <a:gd name="connsiteX1331" fmla="*/ 1112909 w 1757434"/>
                  <a:gd name="connsiteY1331" fmla="*/ 322263 h 2476500"/>
                  <a:gd name="connsiteX1332" fmla="*/ 1116084 w 1757434"/>
                  <a:gd name="connsiteY1332" fmla="*/ 317500 h 2476500"/>
                  <a:gd name="connsiteX1333" fmla="*/ 1120847 w 1757434"/>
                  <a:gd name="connsiteY1333" fmla="*/ 311150 h 2476500"/>
                  <a:gd name="connsiteX1334" fmla="*/ 1119259 w 1757434"/>
                  <a:gd name="connsiteY1334" fmla="*/ 303213 h 2476500"/>
                  <a:gd name="connsiteX1335" fmla="*/ 1120847 w 1757434"/>
                  <a:gd name="connsiteY1335" fmla="*/ 292100 h 2476500"/>
                  <a:gd name="connsiteX1336" fmla="*/ 1124022 w 1757434"/>
                  <a:gd name="connsiteY1336" fmla="*/ 287338 h 2476500"/>
                  <a:gd name="connsiteX1337" fmla="*/ 1125609 w 1757434"/>
                  <a:gd name="connsiteY1337" fmla="*/ 280988 h 2476500"/>
                  <a:gd name="connsiteX1338" fmla="*/ 1130372 w 1757434"/>
                  <a:gd name="connsiteY1338" fmla="*/ 271463 h 2476500"/>
                  <a:gd name="connsiteX1339" fmla="*/ 1136722 w 1757434"/>
                  <a:gd name="connsiteY1339" fmla="*/ 284163 h 2476500"/>
                  <a:gd name="connsiteX1340" fmla="*/ 1138309 w 1757434"/>
                  <a:gd name="connsiteY1340" fmla="*/ 288925 h 2476500"/>
                  <a:gd name="connsiteX1341" fmla="*/ 1144659 w 1757434"/>
                  <a:gd name="connsiteY1341" fmla="*/ 296863 h 2476500"/>
                  <a:gd name="connsiteX1342" fmla="*/ 1151009 w 1757434"/>
                  <a:gd name="connsiteY1342" fmla="*/ 298450 h 2476500"/>
                  <a:gd name="connsiteX1343" fmla="*/ 1154184 w 1757434"/>
                  <a:gd name="connsiteY1343" fmla="*/ 309563 h 2476500"/>
                  <a:gd name="connsiteX1344" fmla="*/ 1173234 w 1757434"/>
                  <a:gd name="connsiteY1344" fmla="*/ 312738 h 2476500"/>
                  <a:gd name="connsiteX1345" fmla="*/ 1177997 w 1757434"/>
                  <a:gd name="connsiteY1345" fmla="*/ 314325 h 2476500"/>
                  <a:gd name="connsiteX1346" fmla="*/ 1187522 w 1757434"/>
                  <a:gd name="connsiteY1346" fmla="*/ 314325 h 2476500"/>
                  <a:gd name="connsiteX1347" fmla="*/ 1198634 w 1757434"/>
                  <a:gd name="connsiteY1347" fmla="*/ 315913 h 2476500"/>
                  <a:gd name="connsiteX1348" fmla="*/ 1197047 w 1757434"/>
                  <a:gd name="connsiteY1348" fmla="*/ 304800 h 2476500"/>
                  <a:gd name="connsiteX1349" fmla="*/ 1187522 w 1757434"/>
                  <a:gd name="connsiteY1349" fmla="*/ 292100 h 2476500"/>
                  <a:gd name="connsiteX1350" fmla="*/ 1181172 w 1757434"/>
                  <a:gd name="connsiteY1350" fmla="*/ 290513 h 2476500"/>
                  <a:gd name="connsiteX1351" fmla="*/ 1174822 w 1757434"/>
                  <a:gd name="connsiteY1351" fmla="*/ 284163 h 2476500"/>
                  <a:gd name="connsiteX1352" fmla="*/ 1173234 w 1757434"/>
                  <a:gd name="connsiteY1352" fmla="*/ 276225 h 2476500"/>
                  <a:gd name="connsiteX1353" fmla="*/ 1171647 w 1757434"/>
                  <a:gd name="connsiteY1353" fmla="*/ 271463 h 2476500"/>
                  <a:gd name="connsiteX1354" fmla="*/ 1160534 w 1757434"/>
                  <a:gd name="connsiteY1354" fmla="*/ 266700 h 2476500"/>
                  <a:gd name="connsiteX1355" fmla="*/ 1154184 w 1757434"/>
                  <a:gd name="connsiteY1355" fmla="*/ 260350 h 2476500"/>
                  <a:gd name="connsiteX1356" fmla="*/ 1139897 w 1757434"/>
                  <a:gd name="connsiteY1356" fmla="*/ 257175 h 2476500"/>
                  <a:gd name="connsiteX1357" fmla="*/ 1141484 w 1757434"/>
                  <a:gd name="connsiteY1357" fmla="*/ 234950 h 2476500"/>
                  <a:gd name="connsiteX1358" fmla="*/ 1154184 w 1757434"/>
                  <a:gd name="connsiteY1358" fmla="*/ 244475 h 2476500"/>
                  <a:gd name="connsiteX1359" fmla="*/ 1152597 w 1757434"/>
                  <a:gd name="connsiteY1359" fmla="*/ 230188 h 2476500"/>
                  <a:gd name="connsiteX1360" fmla="*/ 1144659 w 1757434"/>
                  <a:gd name="connsiteY1360" fmla="*/ 215900 h 2476500"/>
                  <a:gd name="connsiteX1361" fmla="*/ 1146247 w 1757434"/>
                  <a:gd name="connsiteY1361" fmla="*/ 207963 h 2476500"/>
                  <a:gd name="connsiteX1362" fmla="*/ 1154184 w 1757434"/>
                  <a:gd name="connsiteY1362" fmla="*/ 206375 h 2476500"/>
                  <a:gd name="connsiteX1363" fmla="*/ 1170059 w 1757434"/>
                  <a:gd name="connsiteY1363" fmla="*/ 234950 h 2476500"/>
                  <a:gd name="connsiteX1364" fmla="*/ 1174822 w 1757434"/>
                  <a:gd name="connsiteY1364" fmla="*/ 225425 h 2476500"/>
                  <a:gd name="connsiteX1365" fmla="*/ 1179584 w 1757434"/>
                  <a:gd name="connsiteY1365" fmla="*/ 219075 h 2476500"/>
                  <a:gd name="connsiteX1366" fmla="*/ 1184347 w 1757434"/>
                  <a:gd name="connsiteY1366" fmla="*/ 217488 h 2476500"/>
                  <a:gd name="connsiteX1367" fmla="*/ 1185934 w 1757434"/>
                  <a:gd name="connsiteY1367" fmla="*/ 227013 h 2476500"/>
                  <a:gd name="connsiteX1368" fmla="*/ 1187522 w 1757434"/>
                  <a:gd name="connsiteY1368" fmla="*/ 234950 h 2476500"/>
                  <a:gd name="connsiteX1369" fmla="*/ 1189109 w 1757434"/>
                  <a:gd name="connsiteY1369" fmla="*/ 230188 h 2476500"/>
                  <a:gd name="connsiteX1370" fmla="*/ 1195459 w 1757434"/>
                  <a:gd name="connsiteY1370" fmla="*/ 225425 h 2476500"/>
                  <a:gd name="connsiteX1371" fmla="*/ 1195459 w 1757434"/>
                  <a:gd name="connsiteY1371" fmla="*/ 244475 h 2476500"/>
                  <a:gd name="connsiteX1372" fmla="*/ 1203397 w 1757434"/>
                  <a:gd name="connsiteY1372" fmla="*/ 242888 h 2476500"/>
                  <a:gd name="connsiteX1373" fmla="*/ 1204984 w 1757434"/>
                  <a:gd name="connsiteY1373" fmla="*/ 233363 h 2476500"/>
                  <a:gd name="connsiteX1374" fmla="*/ 1220859 w 1757434"/>
                  <a:gd name="connsiteY1374" fmla="*/ 230188 h 2476500"/>
                  <a:gd name="connsiteX1375" fmla="*/ 1216097 w 1757434"/>
                  <a:gd name="connsiteY1375" fmla="*/ 247650 h 2476500"/>
                  <a:gd name="connsiteX1376" fmla="*/ 1217684 w 1757434"/>
                  <a:gd name="connsiteY1376" fmla="*/ 254000 h 2476500"/>
                  <a:gd name="connsiteX1377" fmla="*/ 1227209 w 1757434"/>
                  <a:gd name="connsiteY1377" fmla="*/ 252413 h 2476500"/>
                  <a:gd name="connsiteX1378" fmla="*/ 1228797 w 1757434"/>
                  <a:gd name="connsiteY1378" fmla="*/ 247650 h 2476500"/>
                  <a:gd name="connsiteX1379" fmla="*/ 1233559 w 1757434"/>
                  <a:gd name="connsiteY1379" fmla="*/ 249238 h 2476500"/>
                  <a:gd name="connsiteX1380" fmla="*/ 1247847 w 1757434"/>
                  <a:gd name="connsiteY1380" fmla="*/ 255588 h 2476500"/>
                  <a:gd name="connsiteX1381" fmla="*/ 1252609 w 1757434"/>
                  <a:gd name="connsiteY1381" fmla="*/ 268288 h 2476500"/>
                  <a:gd name="connsiteX1382" fmla="*/ 1257372 w 1757434"/>
                  <a:gd name="connsiteY1382" fmla="*/ 269875 h 2476500"/>
                  <a:gd name="connsiteX1383" fmla="*/ 1262134 w 1757434"/>
                  <a:gd name="connsiteY1383" fmla="*/ 268288 h 2476500"/>
                  <a:gd name="connsiteX1384" fmla="*/ 1266897 w 1757434"/>
                  <a:gd name="connsiteY1384" fmla="*/ 269875 h 2476500"/>
                  <a:gd name="connsiteX1385" fmla="*/ 1270072 w 1757434"/>
                  <a:gd name="connsiteY1385" fmla="*/ 265113 h 2476500"/>
                  <a:gd name="connsiteX1386" fmla="*/ 1265309 w 1757434"/>
                  <a:gd name="connsiteY1386" fmla="*/ 254000 h 2476500"/>
                  <a:gd name="connsiteX1387" fmla="*/ 1260547 w 1757434"/>
                  <a:gd name="connsiteY1387" fmla="*/ 250825 h 2476500"/>
                  <a:gd name="connsiteX1388" fmla="*/ 1257372 w 1757434"/>
                  <a:gd name="connsiteY1388" fmla="*/ 246063 h 2476500"/>
                  <a:gd name="connsiteX1389" fmla="*/ 1260547 w 1757434"/>
                  <a:gd name="connsiteY1389" fmla="*/ 239713 h 2476500"/>
                  <a:gd name="connsiteX1390" fmla="*/ 1266897 w 1757434"/>
                  <a:gd name="connsiteY1390" fmla="*/ 231775 h 2476500"/>
                  <a:gd name="connsiteX1391" fmla="*/ 1254197 w 1757434"/>
                  <a:gd name="connsiteY1391" fmla="*/ 231775 h 2476500"/>
                  <a:gd name="connsiteX1392" fmla="*/ 1246259 w 1757434"/>
                  <a:gd name="connsiteY1392" fmla="*/ 230188 h 2476500"/>
                  <a:gd name="connsiteX1393" fmla="*/ 1251022 w 1757434"/>
                  <a:gd name="connsiteY1393" fmla="*/ 223838 h 2476500"/>
                  <a:gd name="connsiteX1394" fmla="*/ 1260547 w 1757434"/>
                  <a:gd name="connsiteY1394" fmla="*/ 220663 h 2476500"/>
                  <a:gd name="connsiteX1395" fmla="*/ 1266897 w 1757434"/>
                  <a:gd name="connsiteY1395" fmla="*/ 217488 h 2476500"/>
                  <a:gd name="connsiteX1396" fmla="*/ 1263722 w 1757434"/>
                  <a:gd name="connsiteY1396" fmla="*/ 212725 h 2476500"/>
                  <a:gd name="connsiteX1397" fmla="*/ 1255784 w 1757434"/>
                  <a:gd name="connsiteY1397" fmla="*/ 206375 h 2476500"/>
                  <a:gd name="connsiteX1398" fmla="*/ 1263722 w 1757434"/>
                  <a:gd name="connsiteY1398" fmla="*/ 196850 h 2476500"/>
                  <a:gd name="connsiteX1399" fmla="*/ 1274834 w 1757434"/>
                  <a:gd name="connsiteY1399" fmla="*/ 192088 h 2476500"/>
                  <a:gd name="connsiteX1400" fmla="*/ 1282772 w 1757434"/>
                  <a:gd name="connsiteY1400" fmla="*/ 174625 h 2476500"/>
                  <a:gd name="connsiteX1401" fmla="*/ 1284359 w 1757434"/>
                  <a:gd name="connsiteY1401" fmla="*/ 169863 h 2476500"/>
                  <a:gd name="connsiteX1402" fmla="*/ 1290709 w 1757434"/>
                  <a:gd name="connsiteY1402" fmla="*/ 168275 h 2476500"/>
                  <a:gd name="connsiteX1403" fmla="*/ 1301822 w 1757434"/>
                  <a:gd name="connsiteY1403" fmla="*/ 166688 h 2476500"/>
                  <a:gd name="connsiteX1404" fmla="*/ 1295472 w 1757434"/>
                  <a:gd name="connsiteY1404" fmla="*/ 165100 h 2476500"/>
                  <a:gd name="connsiteX1405" fmla="*/ 1290709 w 1757434"/>
                  <a:gd name="connsiteY1405" fmla="*/ 150813 h 2476500"/>
                  <a:gd name="connsiteX1406" fmla="*/ 1306584 w 1757434"/>
                  <a:gd name="connsiteY1406" fmla="*/ 142875 h 2476500"/>
                  <a:gd name="connsiteX1407" fmla="*/ 1319284 w 1757434"/>
                  <a:gd name="connsiteY1407" fmla="*/ 138113 h 2476500"/>
                  <a:gd name="connsiteX1408" fmla="*/ 1322459 w 1757434"/>
                  <a:gd name="connsiteY1408" fmla="*/ 133350 h 2476500"/>
                  <a:gd name="connsiteX1409" fmla="*/ 1309759 w 1757434"/>
                  <a:gd name="connsiteY1409" fmla="*/ 125413 h 2476500"/>
                  <a:gd name="connsiteX1410" fmla="*/ 1304997 w 1757434"/>
                  <a:gd name="connsiteY1410" fmla="*/ 123825 h 2476500"/>
                  <a:gd name="connsiteX1411" fmla="*/ 1293884 w 1757434"/>
                  <a:gd name="connsiteY1411" fmla="*/ 104775 h 2476500"/>
                  <a:gd name="connsiteX1412" fmla="*/ 1287534 w 1757434"/>
                  <a:gd name="connsiteY1412" fmla="*/ 103188 h 2476500"/>
                  <a:gd name="connsiteX1413" fmla="*/ 1279597 w 1757434"/>
                  <a:gd name="connsiteY1413" fmla="*/ 100013 h 2476500"/>
                  <a:gd name="connsiteX1414" fmla="*/ 1282772 w 1757434"/>
                  <a:gd name="connsiteY1414" fmla="*/ 90488 h 2476500"/>
                  <a:gd name="connsiteX1415" fmla="*/ 1290709 w 1757434"/>
                  <a:gd name="connsiteY1415" fmla="*/ 88900 h 2476500"/>
                  <a:gd name="connsiteX1416" fmla="*/ 1297059 w 1757434"/>
                  <a:gd name="connsiteY1416" fmla="*/ 87313 h 2476500"/>
                  <a:gd name="connsiteX1417" fmla="*/ 1301822 w 1757434"/>
                  <a:gd name="connsiteY1417" fmla="*/ 85725 h 2476500"/>
                  <a:gd name="connsiteX1418" fmla="*/ 1312934 w 1757434"/>
                  <a:gd name="connsiteY1418" fmla="*/ 84138 h 2476500"/>
                  <a:gd name="connsiteX1419" fmla="*/ 1306584 w 1757434"/>
                  <a:gd name="connsiteY1419" fmla="*/ 73025 h 2476500"/>
                  <a:gd name="connsiteX1420" fmla="*/ 1311347 w 1757434"/>
                  <a:gd name="connsiteY1420" fmla="*/ 68263 h 2476500"/>
                  <a:gd name="connsiteX1421" fmla="*/ 1317697 w 1757434"/>
                  <a:gd name="connsiteY1421" fmla="*/ 66675 h 2476500"/>
                  <a:gd name="connsiteX1422" fmla="*/ 1327222 w 1757434"/>
                  <a:gd name="connsiteY1422" fmla="*/ 68263 h 2476500"/>
                  <a:gd name="connsiteX1423" fmla="*/ 1331984 w 1757434"/>
                  <a:gd name="connsiteY1423" fmla="*/ 79375 h 2476500"/>
                  <a:gd name="connsiteX1424" fmla="*/ 1336747 w 1757434"/>
                  <a:gd name="connsiteY1424" fmla="*/ 80963 h 2476500"/>
                  <a:gd name="connsiteX1425" fmla="*/ 1347859 w 1757434"/>
                  <a:gd name="connsiteY1425" fmla="*/ 77788 h 2476500"/>
                  <a:gd name="connsiteX1426" fmla="*/ 1351034 w 1757434"/>
                  <a:gd name="connsiteY1426" fmla="*/ 73025 h 2476500"/>
                  <a:gd name="connsiteX1427" fmla="*/ 1357384 w 1757434"/>
                  <a:gd name="connsiteY1427" fmla="*/ 68263 h 2476500"/>
                  <a:gd name="connsiteX1428" fmla="*/ 1363734 w 1757434"/>
                  <a:gd name="connsiteY1428" fmla="*/ 85725 h 2476500"/>
                  <a:gd name="connsiteX1429" fmla="*/ 1370084 w 1757434"/>
                  <a:gd name="connsiteY1429" fmla="*/ 82550 h 2476500"/>
                  <a:gd name="connsiteX1430" fmla="*/ 1384372 w 1757434"/>
                  <a:gd name="connsiteY1430" fmla="*/ 74613 h 2476500"/>
                  <a:gd name="connsiteX1431" fmla="*/ 1387547 w 1757434"/>
                  <a:gd name="connsiteY1431" fmla="*/ 82550 h 2476500"/>
                  <a:gd name="connsiteX1432" fmla="*/ 1376434 w 1757434"/>
                  <a:gd name="connsiteY1432" fmla="*/ 101600 h 2476500"/>
                  <a:gd name="connsiteX1433" fmla="*/ 1374847 w 1757434"/>
                  <a:gd name="connsiteY1433" fmla="*/ 107950 h 2476500"/>
                  <a:gd name="connsiteX1434" fmla="*/ 1363734 w 1757434"/>
                  <a:gd name="connsiteY1434" fmla="*/ 115888 h 2476500"/>
                  <a:gd name="connsiteX1435" fmla="*/ 1362147 w 1757434"/>
                  <a:gd name="connsiteY1435" fmla="*/ 136525 h 2476500"/>
                  <a:gd name="connsiteX1436" fmla="*/ 1358972 w 1757434"/>
                  <a:gd name="connsiteY1436" fmla="*/ 141288 h 2476500"/>
                  <a:gd name="connsiteX1437" fmla="*/ 1357384 w 1757434"/>
                  <a:gd name="connsiteY1437" fmla="*/ 146050 h 2476500"/>
                  <a:gd name="connsiteX1438" fmla="*/ 1354209 w 1757434"/>
                  <a:gd name="connsiteY1438" fmla="*/ 152400 h 2476500"/>
                  <a:gd name="connsiteX1439" fmla="*/ 1360559 w 1757434"/>
                  <a:gd name="connsiteY1439" fmla="*/ 150813 h 2476500"/>
                  <a:gd name="connsiteX1440" fmla="*/ 1371672 w 1757434"/>
                  <a:gd name="connsiteY1440" fmla="*/ 146050 h 2476500"/>
                  <a:gd name="connsiteX1441" fmla="*/ 1368497 w 1757434"/>
                  <a:gd name="connsiteY1441" fmla="*/ 155575 h 2476500"/>
                  <a:gd name="connsiteX1442" fmla="*/ 1363734 w 1757434"/>
                  <a:gd name="connsiteY1442" fmla="*/ 160338 h 2476500"/>
                  <a:gd name="connsiteX1443" fmla="*/ 1358972 w 1757434"/>
                  <a:gd name="connsiteY1443" fmla="*/ 174625 h 2476500"/>
                  <a:gd name="connsiteX1444" fmla="*/ 1357384 w 1757434"/>
                  <a:gd name="connsiteY1444" fmla="*/ 179388 h 2476500"/>
                  <a:gd name="connsiteX1445" fmla="*/ 1355797 w 1757434"/>
                  <a:gd name="connsiteY1445" fmla="*/ 184150 h 2476500"/>
                  <a:gd name="connsiteX1446" fmla="*/ 1355797 w 1757434"/>
                  <a:gd name="connsiteY1446" fmla="*/ 212725 h 2476500"/>
                  <a:gd name="connsiteX1447" fmla="*/ 1363734 w 1757434"/>
                  <a:gd name="connsiteY1447" fmla="*/ 219075 h 2476500"/>
                  <a:gd name="connsiteX1448" fmla="*/ 1371672 w 1757434"/>
                  <a:gd name="connsiteY1448" fmla="*/ 217488 h 2476500"/>
                  <a:gd name="connsiteX1449" fmla="*/ 1374847 w 1757434"/>
                  <a:gd name="connsiteY1449" fmla="*/ 203200 h 2476500"/>
                  <a:gd name="connsiteX1450" fmla="*/ 1379609 w 1757434"/>
                  <a:gd name="connsiteY1450" fmla="*/ 198438 h 2476500"/>
                  <a:gd name="connsiteX1451" fmla="*/ 1385959 w 1757434"/>
                  <a:gd name="connsiteY1451" fmla="*/ 176213 h 2476500"/>
                  <a:gd name="connsiteX1452" fmla="*/ 1387547 w 1757434"/>
                  <a:gd name="connsiteY1452" fmla="*/ 150813 h 2476500"/>
                  <a:gd name="connsiteX1453" fmla="*/ 1392309 w 1757434"/>
                  <a:gd name="connsiteY1453" fmla="*/ 141288 h 2476500"/>
                  <a:gd name="connsiteX1454" fmla="*/ 1393897 w 1757434"/>
                  <a:gd name="connsiteY1454" fmla="*/ 111125 h 2476500"/>
                  <a:gd name="connsiteX1455" fmla="*/ 1395484 w 1757434"/>
                  <a:gd name="connsiteY1455" fmla="*/ 104775 h 2476500"/>
                  <a:gd name="connsiteX1456" fmla="*/ 1398659 w 1757434"/>
                  <a:gd name="connsiteY1456" fmla="*/ 100013 h 2476500"/>
                  <a:gd name="connsiteX1457" fmla="*/ 1405009 w 1757434"/>
                  <a:gd name="connsiteY1457" fmla="*/ 96838 h 2476500"/>
                  <a:gd name="connsiteX1458" fmla="*/ 1405009 w 1757434"/>
                  <a:gd name="connsiteY1458" fmla="*/ 79375 h 2476500"/>
                  <a:gd name="connsiteX1459" fmla="*/ 1406597 w 1757434"/>
                  <a:gd name="connsiteY1459" fmla="*/ 71438 h 2476500"/>
                  <a:gd name="connsiteX1460" fmla="*/ 1408184 w 1757434"/>
                  <a:gd name="connsiteY1460" fmla="*/ 61913 h 2476500"/>
                  <a:gd name="connsiteX1461" fmla="*/ 1416122 w 1757434"/>
                  <a:gd name="connsiteY1461" fmla="*/ 50800 h 2476500"/>
                  <a:gd name="connsiteX1462" fmla="*/ 1424059 w 1757434"/>
                  <a:gd name="connsiteY1462" fmla="*/ 69850 h 2476500"/>
                  <a:gd name="connsiteX1463" fmla="*/ 1435172 w 1757434"/>
                  <a:gd name="connsiteY1463" fmla="*/ 71438 h 2476500"/>
                  <a:gd name="connsiteX1464" fmla="*/ 1430409 w 1757434"/>
                  <a:gd name="connsiteY1464" fmla="*/ 87313 h 2476500"/>
                  <a:gd name="connsiteX1465" fmla="*/ 1428822 w 1757434"/>
                  <a:gd name="connsiteY1465" fmla="*/ 93663 h 2476500"/>
                  <a:gd name="connsiteX1466" fmla="*/ 1424059 w 1757434"/>
                  <a:gd name="connsiteY1466" fmla="*/ 100013 h 2476500"/>
                  <a:gd name="connsiteX1467" fmla="*/ 1425647 w 1757434"/>
                  <a:gd name="connsiteY1467" fmla="*/ 115888 h 2476500"/>
                  <a:gd name="connsiteX1468" fmla="*/ 1435172 w 1757434"/>
                  <a:gd name="connsiteY1468" fmla="*/ 117475 h 2476500"/>
                  <a:gd name="connsiteX1469" fmla="*/ 1436759 w 1757434"/>
                  <a:gd name="connsiteY1469" fmla="*/ 122238 h 2476500"/>
                  <a:gd name="connsiteX1470" fmla="*/ 1441522 w 1757434"/>
                  <a:gd name="connsiteY1470" fmla="*/ 149225 h 2476500"/>
                  <a:gd name="connsiteX1471" fmla="*/ 1446284 w 1757434"/>
                  <a:gd name="connsiteY1471" fmla="*/ 144463 h 2476500"/>
                  <a:gd name="connsiteX1472" fmla="*/ 1449459 w 1757434"/>
                  <a:gd name="connsiteY1472" fmla="*/ 139700 h 2476500"/>
                  <a:gd name="connsiteX1473" fmla="*/ 1460572 w 1757434"/>
                  <a:gd name="connsiteY1473" fmla="*/ 130175 h 2476500"/>
                  <a:gd name="connsiteX1474" fmla="*/ 1465334 w 1757434"/>
                  <a:gd name="connsiteY1474" fmla="*/ 128588 h 2476500"/>
                  <a:gd name="connsiteX1475" fmla="*/ 1470097 w 1757434"/>
                  <a:gd name="connsiteY1475" fmla="*/ 119063 h 2476500"/>
                  <a:gd name="connsiteX1476" fmla="*/ 1471684 w 1757434"/>
                  <a:gd name="connsiteY1476" fmla="*/ 114300 h 2476500"/>
                  <a:gd name="connsiteX1477" fmla="*/ 1462159 w 1757434"/>
                  <a:gd name="connsiteY1477" fmla="*/ 107950 h 2476500"/>
                  <a:gd name="connsiteX1478" fmla="*/ 1463747 w 1757434"/>
                  <a:gd name="connsiteY1478" fmla="*/ 103188 h 2476500"/>
                  <a:gd name="connsiteX1479" fmla="*/ 1471684 w 1757434"/>
                  <a:gd name="connsiteY1479" fmla="*/ 101600 h 2476500"/>
                  <a:gd name="connsiteX1480" fmla="*/ 1478034 w 1757434"/>
                  <a:gd name="connsiteY1480" fmla="*/ 100013 h 2476500"/>
                  <a:gd name="connsiteX1481" fmla="*/ 1476447 w 1757434"/>
                  <a:gd name="connsiteY1481" fmla="*/ 95250 h 2476500"/>
                  <a:gd name="connsiteX1482" fmla="*/ 1471684 w 1757434"/>
                  <a:gd name="connsiteY1482" fmla="*/ 90488 h 2476500"/>
                  <a:gd name="connsiteX1483" fmla="*/ 1468509 w 1757434"/>
                  <a:gd name="connsiteY1483" fmla="*/ 85725 h 2476500"/>
                  <a:gd name="connsiteX1484" fmla="*/ 1470097 w 1757434"/>
                  <a:gd name="connsiteY1484" fmla="*/ 73025 h 2476500"/>
                  <a:gd name="connsiteX1485" fmla="*/ 1473272 w 1757434"/>
                  <a:gd name="connsiteY1485" fmla="*/ 66675 h 2476500"/>
                  <a:gd name="connsiteX1486" fmla="*/ 1471684 w 1757434"/>
                  <a:gd name="connsiteY1486" fmla="*/ 58738 h 2476500"/>
                  <a:gd name="connsiteX1487" fmla="*/ 1473272 w 1757434"/>
                  <a:gd name="connsiteY1487" fmla="*/ 53975 h 2476500"/>
                  <a:gd name="connsiteX1488" fmla="*/ 1481209 w 1757434"/>
                  <a:gd name="connsiteY1488" fmla="*/ 52388 h 2476500"/>
                  <a:gd name="connsiteX1489" fmla="*/ 1476447 w 1757434"/>
                  <a:gd name="connsiteY1489" fmla="*/ 47625 h 2476500"/>
                  <a:gd name="connsiteX1490" fmla="*/ 1465334 w 1757434"/>
                  <a:gd name="connsiteY1490" fmla="*/ 44450 h 2476500"/>
                  <a:gd name="connsiteX1491" fmla="*/ 1460572 w 1757434"/>
                  <a:gd name="connsiteY1491" fmla="*/ 41275 h 2476500"/>
                  <a:gd name="connsiteX1492" fmla="*/ 1458984 w 1757434"/>
                  <a:gd name="connsiteY1492" fmla="*/ 26988 h 2476500"/>
                  <a:gd name="connsiteX1493" fmla="*/ 1463747 w 1757434"/>
                  <a:gd name="connsiteY1493" fmla="*/ 23813 h 2476500"/>
                  <a:gd name="connsiteX1494" fmla="*/ 1470097 w 1757434"/>
                  <a:gd name="connsiteY1494" fmla="*/ 19050 h 2476500"/>
                  <a:gd name="connsiteX1495" fmla="*/ 1474859 w 1757434"/>
                  <a:gd name="connsiteY1495" fmla="*/ 28575 h 2476500"/>
                  <a:gd name="connsiteX1496" fmla="*/ 1479622 w 1757434"/>
                  <a:gd name="connsiteY1496" fmla="*/ 20638 h 2476500"/>
                  <a:gd name="connsiteX1497" fmla="*/ 1481209 w 1757434"/>
                  <a:gd name="connsiteY1497" fmla="*/ 3175 h 2476500"/>
                  <a:gd name="connsiteX1498" fmla="*/ 1487559 w 1757434"/>
                  <a:gd name="connsiteY1498" fmla="*/ 0 h 2476500"/>
                  <a:gd name="connsiteX0" fmla="*/ 569984 w 1757434"/>
                  <a:gd name="connsiteY0" fmla="*/ 1338263 h 2476500"/>
                  <a:gd name="connsiteX1" fmla="*/ 557284 w 1757434"/>
                  <a:gd name="connsiteY1" fmla="*/ 1349375 h 2476500"/>
                  <a:gd name="connsiteX2" fmla="*/ 547759 w 1757434"/>
                  <a:gd name="connsiteY2" fmla="*/ 1362075 h 2476500"/>
                  <a:gd name="connsiteX3" fmla="*/ 538234 w 1757434"/>
                  <a:gd name="connsiteY3" fmla="*/ 1382713 h 2476500"/>
                  <a:gd name="connsiteX4" fmla="*/ 536647 w 1757434"/>
                  <a:gd name="connsiteY4" fmla="*/ 1389063 h 2476500"/>
                  <a:gd name="connsiteX5" fmla="*/ 533472 w 1757434"/>
                  <a:gd name="connsiteY5" fmla="*/ 1404938 h 2476500"/>
                  <a:gd name="connsiteX6" fmla="*/ 523947 w 1757434"/>
                  <a:gd name="connsiteY6" fmla="*/ 1406525 h 2476500"/>
                  <a:gd name="connsiteX7" fmla="*/ 514422 w 1757434"/>
                  <a:gd name="connsiteY7" fmla="*/ 1411288 h 2476500"/>
                  <a:gd name="connsiteX8" fmla="*/ 503309 w 1757434"/>
                  <a:gd name="connsiteY8" fmla="*/ 1416050 h 2476500"/>
                  <a:gd name="connsiteX9" fmla="*/ 500134 w 1757434"/>
                  <a:gd name="connsiteY9" fmla="*/ 1423988 h 2476500"/>
                  <a:gd name="connsiteX10" fmla="*/ 498547 w 1757434"/>
                  <a:gd name="connsiteY10" fmla="*/ 1431925 h 2476500"/>
                  <a:gd name="connsiteX11" fmla="*/ 484259 w 1757434"/>
                  <a:gd name="connsiteY11" fmla="*/ 1438275 h 2476500"/>
                  <a:gd name="connsiteX12" fmla="*/ 495372 w 1757434"/>
                  <a:gd name="connsiteY12" fmla="*/ 1439863 h 2476500"/>
                  <a:gd name="connsiteX13" fmla="*/ 512834 w 1757434"/>
                  <a:gd name="connsiteY13" fmla="*/ 1436688 h 2476500"/>
                  <a:gd name="connsiteX14" fmla="*/ 516009 w 1757434"/>
                  <a:gd name="connsiteY14" fmla="*/ 1441450 h 2476500"/>
                  <a:gd name="connsiteX15" fmla="*/ 508072 w 1757434"/>
                  <a:gd name="connsiteY15" fmla="*/ 1454150 h 2476500"/>
                  <a:gd name="connsiteX16" fmla="*/ 496959 w 1757434"/>
                  <a:gd name="connsiteY16" fmla="*/ 1468438 h 2476500"/>
                  <a:gd name="connsiteX17" fmla="*/ 490609 w 1757434"/>
                  <a:gd name="connsiteY17" fmla="*/ 1471613 h 2476500"/>
                  <a:gd name="connsiteX18" fmla="*/ 473147 w 1757434"/>
                  <a:gd name="connsiteY18" fmla="*/ 1481138 h 2476500"/>
                  <a:gd name="connsiteX19" fmla="*/ 466797 w 1757434"/>
                  <a:gd name="connsiteY19" fmla="*/ 1489075 h 2476500"/>
                  <a:gd name="connsiteX20" fmla="*/ 462034 w 1757434"/>
                  <a:gd name="connsiteY20" fmla="*/ 1490663 h 2476500"/>
                  <a:gd name="connsiteX21" fmla="*/ 454097 w 1757434"/>
                  <a:gd name="connsiteY21" fmla="*/ 1497013 h 2476500"/>
                  <a:gd name="connsiteX22" fmla="*/ 446159 w 1757434"/>
                  <a:gd name="connsiteY22" fmla="*/ 1504950 h 2476500"/>
                  <a:gd name="connsiteX23" fmla="*/ 439809 w 1757434"/>
                  <a:gd name="connsiteY23" fmla="*/ 1500188 h 2476500"/>
                  <a:gd name="connsiteX24" fmla="*/ 436315 w 1757434"/>
                  <a:gd name="connsiteY24" fmla="*/ 1499023 h 2476500"/>
                  <a:gd name="connsiteX25" fmla="*/ 438112 w 1757434"/>
                  <a:gd name="connsiteY25" fmla="*/ 1502403 h 2476500"/>
                  <a:gd name="connsiteX26" fmla="*/ 441397 w 1757434"/>
                  <a:gd name="connsiteY26" fmla="*/ 1509713 h 2476500"/>
                  <a:gd name="connsiteX27" fmla="*/ 444572 w 1757434"/>
                  <a:gd name="connsiteY27" fmla="*/ 1520825 h 2476500"/>
                  <a:gd name="connsiteX28" fmla="*/ 447747 w 1757434"/>
                  <a:gd name="connsiteY28" fmla="*/ 1525588 h 2476500"/>
                  <a:gd name="connsiteX29" fmla="*/ 455684 w 1757434"/>
                  <a:gd name="connsiteY29" fmla="*/ 1528763 h 2476500"/>
                  <a:gd name="connsiteX30" fmla="*/ 463622 w 1757434"/>
                  <a:gd name="connsiteY30" fmla="*/ 1533525 h 2476500"/>
                  <a:gd name="connsiteX31" fmla="*/ 466797 w 1757434"/>
                  <a:gd name="connsiteY31" fmla="*/ 1544638 h 2476500"/>
                  <a:gd name="connsiteX32" fmla="*/ 471559 w 1757434"/>
                  <a:gd name="connsiteY32" fmla="*/ 1546225 h 2476500"/>
                  <a:gd name="connsiteX33" fmla="*/ 469972 w 1757434"/>
                  <a:gd name="connsiteY33" fmla="*/ 1531938 h 2476500"/>
                  <a:gd name="connsiteX34" fmla="*/ 465209 w 1757434"/>
                  <a:gd name="connsiteY34" fmla="*/ 1527175 h 2476500"/>
                  <a:gd name="connsiteX35" fmla="*/ 460447 w 1757434"/>
                  <a:gd name="connsiteY35" fmla="*/ 1520825 h 2476500"/>
                  <a:gd name="connsiteX36" fmla="*/ 466797 w 1757434"/>
                  <a:gd name="connsiteY36" fmla="*/ 1506538 h 2476500"/>
                  <a:gd name="connsiteX37" fmla="*/ 471559 w 1757434"/>
                  <a:gd name="connsiteY37" fmla="*/ 1508125 h 2476500"/>
                  <a:gd name="connsiteX38" fmla="*/ 476322 w 1757434"/>
                  <a:gd name="connsiteY38" fmla="*/ 1514475 h 2476500"/>
                  <a:gd name="connsiteX39" fmla="*/ 503309 w 1757434"/>
                  <a:gd name="connsiteY39" fmla="*/ 1511300 h 2476500"/>
                  <a:gd name="connsiteX40" fmla="*/ 508072 w 1757434"/>
                  <a:gd name="connsiteY40" fmla="*/ 1508125 h 2476500"/>
                  <a:gd name="connsiteX41" fmla="*/ 506484 w 1757434"/>
                  <a:gd name="connsiteY41" fmla="*/ 1500188 h 2476500"/>
                  <a:gd name="connsiteX42" fmla="*/ 511247 w 1757434"/>
                  <a:gd name="connsiteY42" fmla="*/ 1474788 h 2476500"/>
                  <a:gd name="connsiteX43" fmla="*/ 517597 w 1757434"/>
                  <a:gd name="connsiteY43" fmla="*/ 1471613 h 2476500"/>
                  <a:gd name="connsiteX44" fmla="*/ 522378 w 1757434"/>
                  <a:gd name="connsiteY44" fmla="*/ 1470040 h 2476500"/>
                  <a:gd name="connsiteX45" fmla="*/ 524394 w 1757434"/>
                  <a:gd name="connsiteY45" fmla="*/ 1468685 h 2476500"/>
                  <a:gd name="connsiteX46" fmla="*/ 525534 w 1757434"/>
                  <a:gd name="connsiteY46" fmla="*/ 1465263 h 2476500"/>
                  <a:gd name="connsiteX47" fmla="*/ 526329 w 1757434"/>
                  <a:gd name="connsiteY47" fmla="*/ 1464070 h 2476500"/>
                  <a:gd name="connsiteX48" fmla="*/ 524516 w 1757434"/>
                  <a:gd name="connsiteY48" fmla="*/ 1468602 h 2476500"/>
                  <a:gd name="connsiteX49" fmla="*/ 527122 w 1757434"/>
                  <a:gd name="connsiteY49" fmla="*/ 1466850 h 2476500"/>
                  <a:gd name="connsiteX50" fmla="*/ 531884 w 1757434"/>
                  <a:gd name="connsiteY50" fmla="*/ 1457325 h 2476500"/>
                  <a:gd name="connsiteX51" fmla="*/ 541409 w 1757434"/>
                  <a:gd name="connsiteY51" fmla="*/ 1454150 h 2476500"/>
                  <a:gd name="connsiteX52" fmla="*/ 544498 w 1757434"/>
                  <a:gd name="connsiteY52" fmla="*/ 1452091 h 2476500"/>
                  <a:gd name="connsiteX53" fmla="*/ 535059 w 1757434"/>
                  <a:gd name="connsiteY53" fmla="*/ 1452563 h 2476500"/>
                  <a:gd name="connsiteX54" fmla="*/ 530297 w 1757434"/>
                  <a:gd name="connsiteY54" fmla="*/ 1455738 h 2476500"/>
                  <a:gd name="connsiteX55" fmla="*/ 528709 w 1757434"/>
                  <a:gd name="connsiteY55" fmla="*/ 1460500 h 2476500"/>
                  <a:gd name="connsiteX56" fmla="*/ 526329 w 1757434"/>
                  <a:gd name="connsiteY56" fmla="*/ 1464070 h 2476500"/>
                  <a:gd name="connsiteX57" fmla="*/ 527122 w 1757434"/>
                  <a:gd name="connsiteY57" fmla="*/ 1462088 h 2476500"/>
                  <a:gd name="connsiteX58" fmla="*/ 522359 w 1757434"/>
                  <a:gd name="connsiteY58" fmla="*/ 1443038 h 2476500"/>
                  <a:gd name="connsiteX59" fmla="*/ 527122 w 1757434"/>
                  <a:gd name="connsiteY59" fmla="*/ 1436688 h 2476500"/>
                  <a:gd name="connsiteX60" fmla="*/ 531884 w 1757434"/>
                  <a:gd name="connsiteY60" fmla="*/ 1435100 h 2476500"/>
                  <a:gd name="connsiteX61" fmla="*/ 533472 w 1757434"/>
                  <a:gd name="connsiteY61" fmla="*/ 1425575 h 2476500"/>
                  <a:gd name="connsiteX62" fmla="*/ 546001 w 1757434"/>
                  <a:gd name="connsiteY62" fmla="*/ 1429262 h 2476500"/>
                  <a:gd name="connsiteX63" fmla="*/ 552494 w 1757434"/>
                  <a:gd name="connsiteY63" fmla="*/ 1431898 h 2476500"/>
                  <a:gd name="connsiteX64" fmla="*/ 552522 w 1757434"/>
                  <a:gd name="connsiteY64" fmla="*/ 1431925 h 2476500"/>
                  <a:gd name="connsiteX65" fmla="*/ 560459 w 1757434"/>
                  <a:gd name="connsiteY65" fmla="*/ 1435100 h 2476500"/>
                  <a:gd name="connsiteX66" fmla="*/ 554988 w 1757434"/>
                  <a:gd name="connsiteY66" fmla="*/ 1432911 h 2476500"/>
                  <a:gd name="connsiteX67" fmla="*/ 552494 w 1757434"/>
                  <a:gd name="connsiteY67" fmla="*/ 1431898 h 2476500"/>
                  <a:gd name="connsiteX68" fmla="*/ 544393 w 1757434"/>
                  <a:gd name="connsiteY68" fmla="*/ 1424206 h 2476500"/>
                  <a:gd name="connsiteX69" fmla="*/ 539822 w 1757434"/>
                  <a:gd name="connsiteY69" fmla="*/ 1419225 h 2476500"/>
                  <a:gd name="connsiteX70" fmla="*/ 541409 w 1757434"/>
                  <a:gd name="connsiteY70" fmla="*/ 1409700 h 2476500"/>
                  <a:gd name="connsiteX71" fmla="*/ 546172 w 1757434"/>
                  <a:gd name="connsiteY71" fmla="*/ 1406525 h 2476500"/>
                  <a:gd name="connsiteX72" fmla="*/ 565222 w 1757434"/>
                  <a:gd name="connsiteY72" fmla="*/ 1393825 h 2476500"/>
                  <a:gd name="connsiteX73" fmla="*/ 566809 w 1757434"/>
                  <a:gd name="connsiteY73" fmla="*/ 1389063 h 2476500"/>
                  <a:gd name="connsiteX74" fmla="*/ 560459 w 1757434"/>
                  <a:gd name="connsiteY74" fmla="*/ 1377950 h 2476500"/>
                  <a:gd name="connsiteX75" fmla="*/ 574747 w 1757434"/>
                  <a:gd name="connsiteY75" fmla="*/ 1366838 h 2476500"/>
                  <a:gd name="connsiteX76" fmla="*/ 576334 w 1757434"/>
                  <a:gd name="connsiteY76" fmla="*/ 1362075 h 2476500"/>
                  <a:gd name="connsiteX77" fmla="*/ 574747 w 1757434"/>
                  <a:gd name="connsiteY77" fmla="*/ 1352550 h 2476500"/>
                  <a:gd name="connsiteX78" fmla="*/ 565222 w 1757434"/>
                  <a:gd name="connsiteY78" fmla="*/ 1354138 h 2476500"/>
                  <a:gd name="connsiteX79" fmla="*/ 555697 w 1757434"/>
                  <a:gd name="connsiteY79" fmla="*/ 1360488 h 2476500"/>
                  <a:gd name="connsiteX80" fmla="*/ 550934 w 1757434"/>
                  <a:gd name="connsiteY80" fmla="*/ 1362075 h 2476500"/>
                  <a:gd name="connsiteX81" fmla="*/ 558872 w 1757434"/>
                  <a:gd name="connsiteY81" fmla="*/ 1357313 h 2476500"/>
                  <a:gd name="connsiteX82" fmla="*/ 565222 w 1757434"/>
                  <a:gd name="connsiteY82" fmla="*/ 1349375 h 2476500"/>
                  <a:gd name="connsiteX83" fmla="*/ 569984 w 1757434"/>
                  <a:gd name="connsiteY83" fmla="*/ 1338263 h 2476500"/>
                  <a:gd name="connsiteX84" fmla="*/ 1487559 w 1757434"/>
                  <a:gd name="connsiteY84" fmla="*/ 0 h 2476500"/>
                  <a:gd name="connsiteX85" fmla="*/ 1497084 w 1757434"/>
                  <a:gd name="connsiteY85" fmla="*/ 1588 h 2476500"/>
                  <a:gd name="connsiteX86" fmla="*/ 1497084 w 1757434"/>
                  <a:gd name="connsiteY86" fmla="*/ 22225 h 2476500"/>
                  <a:gd name="connsiteX87" fmla="*/ 1501847 w 1757434"/>
                  <a:gd name="connsiteY87" fmla="*/ 26988 h 2476500"/>
                  <a:gd name="connsiteX88" fmla="*/ 1508197 w 1757434"/>
                  <a:gd name="connsiteY88" fmla="*/ 20638 h 2476500"/>
                  <a:gd name="connsiteX89" fmla="*/ 1516134 w 1757434"/>
                  <a:gd name="connsiteY89" fmla="*/ 15875 h 2476500"/>
                  <a:gd name="connsiteX90" fmla="*/ 1511372 w 1757434"/>
                  <a:gd name="connsiteY90" fmla="*/ 34925 h 2476500"/>
                  <a:gd name="connsiteX91" fmla="*/ 1516134 w 1757434"/>
                  <a:gd name="connsiteY91" fmla="*/ 36513 h 2476500"/>
                  <a:gd name="connsiteX92" fmla="*/ 1527247 w 1757434"/>
                  <a:gd name="connsiteY92" fmla="*/ 33338 h 2476500"/>
                  <a:gd name="connsiteX93" fmla="*/ 1530422 w 1757434"/>
                  <a:gd name="connsiteY93" fmla="*/ 47625 h 2476500"/>
                  <a:gd name="connsiteX94" fmla="*/ 1527247 w 1757434"/>
                  <a:gd name="connsiteY94" fmla="*/ 57150 h 2476500"/>
                  <a:gd name="connsiteX95" fmla="*/ 1522484 w 1757434"/>
                  <a:gd name="connsiteY95" fmla="*/ 65088 h 2476500"/>
                  <a:gd name="connsiteX96" fmla="*/ 1519309 w 1757434"/>
                  <a:gd name="connsiteY96" fmla="*/ 71438 h 2476500"/>
                  <a:gd name="connsiteX97" fmla="*/ 1520897 w 1757434"/>
                  <a:gd name="connsiteY97" fmla="*/ 98425 h 2476500"/>
                  <a:gd name="connsiteX98" fmla="*/ 1525659 w 1757434"/>
                  <a:gd name="connsiteY98" fmla="*/ 103188 h 2476500"/>
                  <a:gd name="connsiteX99" fmla="*/ 1530422 w 1757434"/>
                  <a:gd name="connsiteY99" fmla="*/ 111125 h 2476500"/>
                  <a:gd name="connsiteX100" fmla="*/ 1543122 w 1757434"/>
                  <a:gd name="connsiteY100" fmla="*/ 106363 h 2476500"/>
                  <a:gd name="connsiteX101" fmla="*/ 1544709 w 1757434"/>
                  <a:gd name="connsiteY101" fmla="*/ 98425 h 2476500"/>
                  <a:gd name="connsiteX102" fmla="*/ 1541534 w 1757434"/>
                  <a:gd name="connsiteY102" fmla="*/ 66675 h 2476500"/>
                  <a:gd name="connsiteX103" fmla="*/ 1538359 w 1757434"/>
                  <a:gd name="connsiteY103" fmla="*/ 49213 h 2476500"/>
                  <a:gd name="connsiteX104" fmla="*/ 1543122 w 1757434"/>
                  <a:gd name="connsiteY104" fmla="*/ 46038 h 2476500"/>
                  <a:gd name="connsiteX105" fmla="*/ 1544709 w 1757434"/>
                  <a:gd name="connsiteY105" fmla="*/ 52388 h 2476500"/>
                  <a:gd name="connsiteX106" fmla="*/ 1551059 w 1757434"/>
                  <a:gd name="connsiteY106" fmla="*/ 36513 h 2476500"/>
                  <a:gd name="connsiteX107" fmla="*/ 1557409 w 1757434"/>
                  <a:gd name="connsiteY107" fmla="*/ 31750 h 2476500"/>
                  <a:gd name="connsiteX108" fmla="*/ 1568522 w 1757434"/>
                  <a:gd name="connsiteY108" fmla="*/ 26988 h 2476500"/>
                  <a:gd name="connsiteX109" fmla="*/ 1563759 w 1757434"/>
                  <a:gd name="connsiteY109" fmla="*/ 34925 h 2476500"/>
                  <a:gd name="connsiteX110" fmla="*/ 1566934 w 1757434"/>
                  <a:gd name="connsiteY110" fmla="*/ 79375 h 2476500"/>
                  <a:gd name="connsiteX111" fmla="*/ 1573284 w 1757434"/>
                  <a:gd name="connsiteY111" fmla="*/ 77788 h 2476500"/>
                  <a:gd name="connsiteX112" fmla="*/ 1579634 w 1757434"/>
                  <a:gd name="connsiteY112" fmla="*/ 58738 h 2476500"/>
                  <a:gd name="connsiteX113" fmla="*/ 1585984 w 1757434"/>
                  <a:gd name="connsiteY113" fmla="*/ 42863 h 2476500"/>
                  <a:gd name="connsiteX114" fmla="*/ 1592334 w 1757434"/>
                  <a:gd name="connsiteY114" fmla="*/ 36513 h 2476500"/>
                  <a:gd name="connsiteX115" fmla="*/ 1593922 w 1757434"/>
                  <a:gd name="connsiteY115" fmla="*/ 42863 h 2476500"/>
                  <a:gd name="connsiteX116" fmla="*/ 1592334 w 1757434"/>
                  <a:gd name="connsiteY116" fmla="*/ 61913 h 2476500"/>
                  <a:gd name="connsiteX117" fmla="*/ 1617734 w 1757434"/>
                  <a:gd name="connsiteY117" fmla="*/ 46038 h 2476500"/>
                  <a:gd name="connsiteX118" fmla="*/ 1622497 w 1757434"/>
                  <a:gd name="connsiteY118" fmla="*/ 52388 h 2476500"/>
                  <a:gd name="connsiteX119" fmla="*/ 1619322 w 1757434"/>
                  <a:gd name="connsiteY119" fmla="*/ 73025 h 2476500"/>
                  <a:gd name="connsiteX120" fmla="*/ 1622497 w 1757434"/>
                  <a:gd name="connsiteY120" fmla="*/ 84138 h 2476500"/>
                  <a:gd name="connsiteX121" fmla="*/ 1627259 w 1757434"/>
                  <a:gd name="connsiteY121" fmla="*/ 87313 h 2476500"/>
                  <a:gd name="connsiteX122" fmla="*/ 1635197 w 1757434"/>
                  <a:gd name="connsiteY122" fmla="*/ 80963 h 2476500"/>
                  <a:gd name="connsiteX123" fmla="*/ 1641547 w 1757434"/>
                  <a:gd name="connsiteY123" fmla="*/ 69850 h 2476500"/>
                  <a:gd name="connsiteX124" fmla="*/ 1644722 w 1757434"/>
                  <a:gd name="connsiteY124" fmla="*/ 63500 h 2476500"/>
                  <a:gd name="connsiteX125" fmla="*/ 1651072 w 1757434"/>
                  <a:gd name="connsiteY125" fmla="*/ 58738 h 2476500"/>
                  <a:gd name="connsiteX126" fmla="*/ 1659009 w 1757434"/>
                  <a:gd name="connsiteY126" fmla="*/ 63500 h 2476500"/>
                  <a:gd name="connsiteX127" fmla="*/ 1654247 w 1757434"/>
                  <a:gd name="connsiteY127" fmla="*/ 77788 h 2476500"/>
                  <a:gd name="connsiteX128" fmla="*/ 1657422 w 1757434"/>
                  <a:gd name="connsiteY128" fmla="*/ 84138 h 2476500"/>
                  <a:gd name="connsiteX129" fmla="*/ 1662184 w 1757434"/>
                  <a:gd name="connsiteY129" fmla="*/ 77788 h 2476500"/>
                  <a:gd name="connsiteX130" fmla="*/ 1666947 w 1757434"/>
                  <a:gd name="connsiteY130" fmla="*/ 69850 h 2476500"/>
                  <a:gd name="connsiteX131" fmla="*/ 1678059 w 1757434"/>
                  <a:gd name="connsiteY131" fmla="*/ 63500 h 2476500"/>
                  <a:gd name="connsiteX132" fmla="*/ 1692347 w 1757434"/>
                  <a:gd name="connsiteY132" fmla="*/ 65088 h 2476500"/>
                  <a:gd name="connsiteX133" fmla="*/ 1700284 w 1757434"/>
                  <a:gd name="connsiteY133" fmla="*/ 68263 h 2476500"/>
                  <a:gd name="connsiteX134" fmla="*/ 1697109 w 1757434"/>
                  <a:gd name="connsiteY134" fmla="*/ 74613 h 2476500"/>
                  <a:gd name="connsiteX135" fmla="*/ 1689172 w 1757434"/>
                  <a:gd name="connsiteY135" fmla="*/ 79375 h 2476500"/>
                  <a:gd name="connsiteX136" fmla="*/ 1714572 w 1757434"/>
                  <a:gd name="connsiteY136" fmla="*/ 90488 h 2476500"/>
                  <a:gd name="connsiteX137" fmla="*/ 1711397 w 1757434"/>
                  <a:gd name="connsiteY137" fmla="*/ 98425 h 2476500"/>
                  <a:gd name="connsiteX138" fmla="*/ 1700284 w 1757434"/>
                  <a:gd name="connsiteY138" fmla="*/ 106363 h 2476500"/>
                  <a:gd name="connsiteX139" fmla="*/ 1690759 w 1757434"/>
                  <a:gd name="connsiteY139" fmla="*/ 114300 h 2476500"/>
                  <a:gd name="connsiteX140" fmla="*/ 1687584 w 1757434"/>
                  <a:gd name="connsiteY140" fmla="*/ 119063 h 2476500"/>
                  <a:gd name="connsiteX141" fmla="*/ 1685997 w 1757434"/>
                  <a:gd name="connsiteY141" fmla="*/ 123825 h 2476500"/>
                  <a:gd name="connsiteX142" fmla="*/ 1684409 w 1757434"/>
                  <a:gd name="connsiteY142" fmla="*/ 130175 h 2476500"/>
                  <a:gd name="connsiteX143" fmla="*/ 1681234 w 1757434"/>
                  <a:gd name="connsiteY143" fmla="*/ 136525 h 2476500"/>
                  <a:gd name="connsiteX144" fmla="*/ 1674884 w 1757434"/>
                  <a:gd name="connsiteY144" fmla="*/ 138113 h 2476500"/>
                  <a:gd name="connsiteX145" fmla="*/ 1655834 w 1757434"/>
                  <a:gd name="connsiteY145" fmla="*/ 144463 h 2476500"/>
                  <a:gd name="connsiteX146" fmla="*/ 1649484 w 1757434"/>
                  <a:gd name="connsiteY146" fmla="*/ 146050 h 2476500"/>
                  <a:gd name="connsiteX147" fmla="*/ 1641547 w 1757434"/>
                  <a:gd name="connsiteY147" fmla="*/ 149225 h 2476500"/>
                  <a:gd name="connsiteX148" fmla="*/ 1597097 w 1757434"/>
                  <a:gd name="connsiteY148" fmla="*/ 150813 h 2476500"/>
                  <a:gd name="connsiteX149" fmla="*/ 1592334 w 1757434"/>
                  <a:gd name="connsiteY149" fmla="*/ 152400 h 2476500"/>
                  <a:gd name="connsiteX150" fmla="*/ 1593922 w 1757434"/>
                  <a:gd name="connsiteY150" fmla="*/ 158750 h 2476500"/>
                  <a:gd name="connsiteX151" fmla="*/ 1628847 w 1757434"/>
                  <a:gd name="connsiteY151" fmla="*/ 160338 h 2476500"/>
                  <a:gd name="connsiteX152" fmla="*/ 1641547 w 1757434"/>
                  <a:gd name="connsiteY152" fmla="*/ 168275 h 2476500"/>
                  <a:gd name="connsiteX153" fmla="*/ 1643134 w 1757434"/>
                  <a:gd name="connsiteY153" fmla="*/ 177800 h 2476500"/>
                  <a:gd name="connsiteX154" fmla="*/ 1641547 w 1757434"/>
                  <a:gd name="connsiteY154" fmla="*/ 185738 h 2476500"/>
                  <a:gd name="connsiteX155" fmla="*/ 1641547 w 1757434"/>
                  <a:gd name="connsiteY155" fmla="*/ 198438 h 2476500"/>
                  <a:gd name="connsiteX156" fmla="*/ 1646309 w 1757434"/>
                  <a:gd name="connsiteY156" fmla="*/ 200025 h 2476500"/>
                  <a:gd name="connsiteX157" fmla="*/ 1652659 w 1757434"/>
                  <a:gd name="connsiteY157" fmla="*/ 192088 h 2476500"/>
                  <a:gd name="connsiteX158" fmla="*/ 1663772 w 1757434"/>
                  <a:gd name="connsiteY158" fmla="*/ 182563 h 2476500"/>
                  <a:gd name="connsiteX159" fmla="*/ 1666947 w 1757434"/>
                  <a:gd name="connsiteY159" fmla="*/ 187325 h 2476500"/>
                  <a:gd name="connsiteX160" fmla="*/ 1668534 w 1757434"/>
                  <a:gd name="connsiteY160" fmla="*/ 200025 h 2476500"/>
                  <a:gd name="connsiteX161" fmla="*/ 1673297 w 1757434"/>
                  <a:gd name="connsiteY161" fmla="*/ 196850 h 2476500"/>
                  <a:gd name="connsiteX162" fmla="*/ 1681234 w 1757434"/>
                  <a:gd name="connsiteY162" fmla="*/ 195263 h 2476500"/>
                  <a:gd name="connsiteX163" fmla="*/ 1685997 w 1757434"/>
                  <a:gd name="connsiteY163" fmla="*/ 196850 h 2476500"/>
                  <a:gd name="connsiteX164" fmla="*/ 1692347 w 1757434"/>
                  <a:gd name="connsiteY164" fmla="*/ 180975 h 2476500"/>
                  <a:gd name="connsiteX165" fmla="*/ 1695522 w 1757434"/>
                  <a:gd name="connsiteY165" fmla="*/ 176213 h 2476500"/>
                  <a:gd name="connsiteX166" fmla="*/ 1697109 w 1757434"/>
                  <a:gd name="connsiteY166" fmla="*/ 171450 h 2476500"/>
                  <a:gd name="connsiteX167" fmla="*/ 1703459 w 1757434"/>
                  <a:gd name="connsiteY167" fmla="*/ 168275 h 2476500"/>
                  <a:gd name="connsiteX168" fmla="*/ 1705047 w 1757434"/>
                  <a:gd name="connsiteY168" fmla="*/ 184150 h 2476500"/>
                  <a:gd name="connsiteX169" fmla="*/ 1709809 w 1757434"/>
                  <a:gd name="connsiteY169" fmla="*/ 193675 h 2476500"/>
                  <a:gd name="connsiteX170" fmla="*/ 1712984 w 1757434"/>
                  <a:gd name="connsiteY170" fmla="*/ 184150 h 2476500"/>
                  <a:gd name="connsiteX171" fmla="*/ 1717747 w 1757434"/>
                  <a:gd name="connsiteY171" fmla="*/ 180975 h 2476500"/>
                  <a:gd name="connsiteX172" fmla="*/ 1732034 w 1757434"/>
                  <a:gd name="connsiteY172" fmla="*/ 171450 h 2476500"/>
                  <a:gd name="connsiteX173" fmla="*/ 1733622 w 1757434"/>
                  <a:gd name="connsiteY173" fmla="*/ 179388 h 2476500"/>
                  <a:gd name="connsiteX174" fmla="*/ 1736797 w 1757434"/>
                  <a:gd name="connsiteY174" fmla="*/ 184150 h 2476500"/>
                  <a:gd name="connsiteX175" fmla="*/ 1744734 w 1757434"/>
                  <a:gd name="connsiteY175" fmla="*/ 185738 h 2476500"/>
                  <a:gd name="connsiteX176" fmla="*/ 1749497 w 1757434"/>
                  <a:gd name="connsiteY176" fmla="*/ 190500 h 2476500"/>
                  <a:gd name="connsiteX177" fmla="*/ 1754259 w 1757434"/>
                  <a:gd name="connsiteY177" fmla="*/ 192088 h 2476500"/>
                  <a:gd name="connsiteX178" fmla="*/ 1752672 w 1757434"/>
                  <a:gd name="connsiteY178" fmla="*/ 203200 h 2476500"/>
                  <a:gd name="connsiteX179" fmla="*/ 1754259 w 1757434"/>
                  <a:gd name="connsiteY179" fmla="*/ 222250 h 2476500"/>
                  <a:gd name="connsiteX180" fmla="*/ 1757434 w 1757434"/>
                  <a:gd name="connsiteY180" fmla="*/ 233363 h 2476500"/>
                  <a:gd name="connsiteX181" fmla="*/ 1739972 w 1757434"/>
                  <a:gd name="connsiteY181" fmla="*/ 225425 h 2476500"/>
                  <a:gd name="connsiteX182" fmla="*/ 1709809 w 1757434"/>
                  <a:gd name="connsiteY182" fmla="*/ 223838 h 2476500"/>
                  <a:gd name="connsiteX183" fmla="*/ 1705047 w 1757434"/>
                  <a:gd name="connsiteY183" fmla="*/ 220663 h 2476500"/>
                  <a:gd name="connsiteX184" fmla="*/ 1703459 w 1757434"/>
                  <a:gd name="connsiteY184" fmla="*/ 225425 h 2476500"/>
                  <a:gd name="connsiteX185" fmla="*/ 1698697 w 1757434"/>
                  <a:gd name="connsiteY185" fmla="*/ 244475 h 2476500"/>
                  <a:gd name="connsiteX186" fmla="*/ 1692347 w 1757434"/>
                  <a:gd name="connsiteY186" fmla="*/ 249238 h 2476500"/>
                  <a:gd name="connsiteX187" fmla="*/ 1682822 w 1757434"/>
                  <a:gd name="connsiteY187" fmla="*/ 261938 h 2476500"/>
                  <a:gd name="connsiteX188" fmla="*/ 1676472 w 1757434"/>
                  <a:gd name="connsiteY188" fmla="*/ 269875 h 2476500"/>
                  <a:gd name="connsiteX189" fmla="*/ 1671709 w 1757434"/>
                  <a:gd name="connsiteY189" fmla="*/ 274638 h 2476500"/>
                  <a:gd name="connsiteX190" fmla="*/ 1668534 w 1757434"/>
                  <a:gd name="connsiteY190" fmla="*/ 280988 h 2476500"/>
                  <a:gd name="connsiteX191" fmla="*/ 1670122 w 1757434"/>
                  <a:gd name="connsiteY191" fmla="*/ 319088 h 2476500"/>
                  <a:gd name="connsiteX192" fmla="*/ 1665359 w 1757434"/>
                  <a:gd name="connsiteY192" fmla="*/ 331788 h 2476500"/>
                  <a:gd name="connsiteX193" fmla="*/ 1655834 w 1757434"/>
                  <a:gd name="connsiteY193" fmla="*/ 328613 h 2476500"/>
                  <a:gd name="connsiteX194" fmla="*/ 1643134 w 1757434"/>
                  <a:gd name="connsiteY194" fmla="*/ 323850 h 2476500"/>
                  <a:gd name="connsiteX195" fmla="*/ 1638372 w 1757434"/>
                  <a:gd name="connsiteY195" fmla="*/ 315913 h 2476500"/>
                  <a:gd name="connsiteX196" fmla="*/ 1641547 w 1757434"/>
                  <a:gd name="connsiteY196" fmla="*/ 298450 h 2476500"/>
                  <a:gd name="connsiteX197" fmla="*/ 1644722 w 1757434"/>
                  <a:gd name="connsiteY197" fmla="*/ 290513 h 2476500"/>
                  <a:gd name="connsiteX198" fmla="*/ 1649484 w 1757434"/>
                  <a:gd name="connsiteY198" fmla="*/ 285750 h 2476500"/>
                  <a:gd name="connsiteX199" fmla="*/ 1651072 w 1757434"/>
                  <a:gd name="connsiteY199" fmla="*/ 274638 h 2476500"/>
                  <a:gd name="connsiteX200" fmla="*/ 1654247 w 1757434"/>
                  <a:gd name="connsiteY200" fmla="*/ 268288 h 2476500"/>
                  <a:gd name="connsiteX201" fmla="*/ 1652659 w 1757434"/>
                  <a:gd name="connsiteY201" fmla="*/ 255588 h 2476500"/>
                  <a:gd name="connsiteX202" fmla="*/ 1639959 w 1757434"/>
                  <a:gd name="connsiteY202" fmla="*/ 239713 h 2476500"/>
                  <a:gd name="connsiteX203" fmla="*/ 1628847 w 1757434"/>
                  <a:gd name="connsiteY203" fmla="*/ 236538 h 2476500"/>
                  <a:gd name="connsiteX204" fmla="*/ 1620909 w 1757434"/>
                  <a:gd name="connsiteY204" fmla="*/ 231775 h 2476500"/>
                  <a:gd name="connsiteX205" fmla="*/ 1605034 w 1757434"/>
                  <a:gd name="connsiteY205" fmla="*/ 223838 h 2476500"/>
                  <a:gd name="connsiteX206" fmla="*/ 1597097 w 1757434"/>
                  <a:gd name="connsiteY206" fmla="*/ 217488 h 2476500"/>
                  <a:gd name="connsiteX207" fmla="*/ 1584397 w 1757434"/>
                  <a:gd name="connsiteY207" fmla="*/ 215900 h 2476500"/>
                  <a:gd name="connsiteX208" fmla="*/ 1582809 w 1757434"/>
                  <a:gd name="connsiteY208" fmla="*/ 211138 h 2476500"/>
                  <a:gd name="connsiteX209" fmla="*/ 1579634 w 1757434"/>
                  <a:gd name="connsiteY209" fmla="*/ 204788 h 2476500"/>
                  <a:gd name="connsiteX210" fmla="*/ 1554234 w 1757434"/>
                  <a:gd name="connsiteY210" fmla="*/ 200025 h 2476500"/>
                  <a:gd name="connsiteX211" fmla="*/ 1552647 w 1757434"/>
                  <a:gd name="connsiteY211" fmla="*/ 190500 h 2476500"/>
                  <a:gd name="connsiteX212" fmla="*/ 1543122 w 1757434"/>
                  <a:gd name="connsiteY212" fmla="*/ 184150 h 2476500"/>
                  <a:gd name="connsiteX213" fmla="*/ 1522484 w 1757434"/>
                  <a:gd name="connsiteY213" fmla="*/ 185738 h 2476500"/>
                  <a:gd name="connsiteX214" fmla="*/ 1516134 w 1757434"/>
                  <a:gd name="connsiteY214" fmla="*/ 190500 h 2476500"/>
                  <a:gd name="connsiteX215" fmla="*/ 1511372 w 1757434"/>
                  <a:gd name="connsiteY215" fmla="*/ 193675 h 2476500"/>
                  <a:gd name="connsiteX216" fmla="*/ 1506609 w 1757434"/>
                  <a:gd name="connsiteY216" fmla="*/ 201613 h 2476500"/>
                  <a:gd name="connsiteX217" fmla="*/ 1503434 w 1757434"/>
                  <a:gd name="connsiteY217" fmla="*/ 206375 h 2476500"/>
                  <a:gd name="connsiteX218" fmla="*/ 1500259 w 1757434"/>
                  <a:gd name="connsiteY218" fmla="*/ 214313 h 2476500"/>
                  <a:gd name="connsiteX219" fmla="*/ 1493909 w 1757434"/>
                  <a:gd name="connsiteY219" fmla="*/ 215900 h 2476500"/>
                  <a:gd name="connsiteX220" fmla="*/ 1474859 w 1757434"/>
                  <a:gd name="connsiteY220" fmla="*/ 225425 h 2476500"/>
                  <a:gd name="connsiteX221" fmla="*/ 1460572 w 1757434"/>
                  <a:gd name="connsiteY221" fmla="*/ 233363 h 2476500"/>
                  <a:gd name="connsiteX222" fmla="*/ 1457397 w 1757434"/>
                  <a:gd name="connsiteY222" fmla="*/ 239713 h 2476500"/>
                  <a:gd name="connsiteX223" fmla="*/ 1455809 w 1757434"/>
                  <a:gd name="connsiteY223" fmla="*/ 244475 h 2476500"/>
                  <a:gd name="connsiteX224" fmla="*/ 1451047 w 1757434"/>
                  <a:gd name="connsiteY224" fmla="*/ 249238 h 2476500"/>
                  <a:gd name="connsiteX225" fmla="*/ 1435172 w 1757434"/>
                  <a:gd name="connsiteY225" fmla="*/ 266700 h 2476500"/>
                  <a:gd name="connsiteX226" fmla="*/ 1436759 w 1757434"/>
                  <a:gd name="connsiteY226" fmla="*/ 277813 h 2476500"/>
                  <a:gd name="connsiteX227" fmla="*/ 1441522 w 1757434"/>
                  <a:gd name="connsiteY227" fmla="*/ 287338 h 2476500"/>
                  <a:gd name="connsiteX228" fmla="*/ 1443109 w 1757434"/>
                  <a:gd name="connsiteY228" fmla="*/ 293688 h 2476500"/>
                  <a:gd name="connsiteX229" fmla="*/ 1441522 w 1757434"/>
                  <a:gd name="connsiteY229" fmla="*/ 325438 h 2476500"/>
                  <a:gd name="connsiteX230" fmla="*/ 1441522 w 1757434"/>
                  <a:gd name="connsiteY230" fmla="*/ 360363 h 2476500"/>
                  <a:gd name="connsiteX231" fmla="*/ 1449459 w 1757434"/>
                  <a:gd name="connsiteY231" fmla="*/ 361950 h 2476500"/>
                  <a:gd name="connsiteX232" fmla="*/ 1458984 w 1757434"/>
                  <a:gd name="connsiteY232" fmla="*/ 365125 h 2476500"/>
                  <a:gd name="connsiteX233" fmla="*/ 1458984 w 1757434"/>
                  <a:gd name="connsiteY233" fmla="*/ 409575 h 2476500"/>
                  <a:gd name="connsiteX234" fmla="*/ 1444697 w 1757434"/>
                  <a:gd name="connsiteY234" fmla="*/ 411163 h 2476500"/>
                  <a:gd name="connsiteX235" fmla="*/ 1435172 w 1757434"/>
                  <a:gd name="connsiteY235" fmla="*/ 415925 h 2476500"/>
                  <a:gd name="connsiteX236" fmla="*/ 1436759 w 1757434"/>
                  <a:gd name="connsiteY236" fmla="*/ 423863 h 2476500"/>
                  <a:gd name="connsiteX237" fmla="*/ 1433584 w 1757434"/>
                  <a:gd name="connsiteY237" fmla="*/ 471488 h 2476500"/>
                  <a:gd name="connsiteX238" fmla="*/ 1419297 w 1757434"/>
                  <a:gd name="connsiteY238" fmla="*/ 465138 h 2476500"/>
                  <a:gd name="connsiteX239" fmla="*/ 1412947 w 1757434"/>
                  <a:gd name="connsiteY239" fmla="*/ 461963 h 2476500"/>
                  <a:gd name="connsiteX240" fmla="*/ 1390722 w 1757434"/>
                  <a:gd name="connsiteY240" fmla="*/ 465138 h 2476500"/>
                  <a:gd name="connsiteX241" fmla="*/ 1382784 w 1757434"/>
                  <a:gd name="connsiteY241" fmla="*/ 450850 h 2476500"/>
                  <a:gd name="connsiteX242" fmla="*/ 1378022 w 1757434"/>
                  <a:gd name="connsiteY242" fmla="*/ 447675 h 2476500"/>
                  <a:gd name="connsiteX243" fmla="*/ 1373259 w 1757434"/>
                  <a:gd name="connsiteY243" fmla="*/ 442913 h 2476500"/>
                  <a:gd name="connsiteX244" fmla="*/ 1365322 w 1757434"/>
                  <a:gd name="connsiteY244" fmla="*/ 441325 h 2476500"/>
                  <a:gd name="connsiteX245" fmla="*/ 1360559 w 1757434"/>
                  <a:gd name="connsiteY245" fmla="*/ 439738 h 2476500"/>
                  <a:gd name="connsiteX246" fmla="*/ 1349447 w 1757434"/>
                  <a:gd name="connsiteY246" fmla="*/ 441325 h 2476500"/>
                  <a:gd name="connsiteX247" fmla="*/ 1335159 w 1757434"/>
                  <a:gd name="connsiteY247" fmla="*/ 450850 h 2476500"/>
                  <a:gd name="connsiteX248" fmla="*/ 1328809 w 1757434"/>
                  <a:gd name="connsiteY248" fmla="*/ 461963 h 2476500"/>
                  <a:gd name="connsiteX249" fmla="*/ 1320872 w 1757434"/>
                  <a:gd name="connsiteY249" fmla="*/ 469900 h 2476500"/>
                  <a:gd name="connsiteX250" fmla="*/ 1312934 w 1757434"/>
                  <a:gd name="connsiteY250" fmla="*/ 471488 h 2476500"/>
                  <a:gd name="connsiteX251" fmla="*/ 1308172 w 1757434"/>
                  <a:gd name="connsiteY251" fmla="*/ 474663 h 2476500"/>
                  <a:gd name="connsiteX252" fmla="*/ 1303409 w 1757434"/>
                  <a:gd name="connsiteY252" fmla="*/ 479425 h 2476500"/>
                  <a:gd name="connsiteX253" fmla="*/ 1295472 w 1757434"/>
                  <a:gd name="connsiteY253" fmla="*/ 481013 h 2476500"/>
                  <a:gd name="connsiteX254" fmla="*/ 1287534 w 1757434"/>
                  <a:gd name="connsiteY254" fmla="*/ 484188 h 2476500"/>
                  <a:gd name="connsiteX255" fmla="*/ 1281184 w 1757434"/>
                  <a:gd name="connsiteY255" fmla="*/ 482600 h 2476500"/>
                  <a:gd name="connsiteX256" fmla="*/ 1273247 w 1757434"/>
                  <a:gd name="connsiteY256" fmla="*/ 476250 h 2476500"/>
                  <a:gd name="connsiteX257" fmla="*/ 1266897 w 1757434"/>
                  <a:gd name="connsiteY257" fmla="*/ 471488 h 2476500"/>
                  <a:gd name="connsiteX258" fmla="*/ 1255784 w 1757434"/>
                  <a:gd name="connsiteY258" fmla="*/ 466725 h 2476500"/>
                  <a:gd name="connsiteX259" fmla="*/ 1244672 w 1757434"/>
                  <a:gd name="connsiteY259" fmla="*/ 455613 h 2476500"/>
                  <a:gd name="connsiteX260" fmla="*/ 1238322 w 1757434"/>
                  <a:gd name="connsiteY260" fmla="*/ 449263 h 2476500"/>
                  <a:gd name="connsiteX261" fmla="*/ 1231972 w 1757434"/>
                  <a:gd name="connsiteY261" fmla="*/ 444500 h 2476500"/>
                  <a:gd name="connsiteX262" fmla="*/ 1230384 w 1757434"/>
                  <a:gd name="connsiteY262" fmla="*/ 438150 h 2476500"/>
                  <a:gd name="connsiteX263" fmla="*/ 1225622 w 1757434"/>
                  <a:gd name="connsiteY263" fmla="*/ 433388 h 2476500"/>
                  <a:gd name="connsiteX264" fmla="*/ 1222447 w 1757434"/>
                  <a:gd name="connsiteY264" fmla="*/ 428625 h 2476500"/>
                  <a:gd name="connsiteX265" fmla="*/ 1204984 w 1757434"/>
                  <a:gd name="connsiteY265" fmla="*/ 411163 h 2476500"/>
                  <a:gd name="connsiteX266" fmla="*/ 1197047 w 1757434"/>
                  <a:gd name="connsiteY266" fmla="*/ 409575 h 2476500"/>
                  <a:gd name="connsiteX267" fmla="*/ 1192284 w 1757434"/>
                  <a:gd name="connsiteY267" fmla="*/ 395288 h 2476500"/>
                  <a:gd name="connsiteX268" fmla="*/ 1189109 w 1757434"/>
                  <a:gd name="connsiteY268" fmla="*/ 390525 h 2476500"/>
                  <a:gd name="connsiteX269" fmla="*/ 1184347 w 1757434"/>
                  <a:gd name="connsiteY269" fmla="*/ 388938 h 2476500"/>
                  <a:gd name="connsiteX270" fmla="*/ 1179584 w 1757434"/>
                  <a:gd name="connsiteY270" fmla="*/ 390525 h 2476500"/>
                  <a:gd name="connsiteX271" fmla="*/ 1149422 w 1757434"/>
                  <a:gd name="connsiteY271" fmla="*/ 393700 h 2476500"/>
                  <a:gd name="connsiteX272" fmla="*/ 1157359 w 1757434"/>
                  <a:gd name="connsiteY272" fmla="*/ 438150 h 2476500"/>
                  <a:gd name="connsiteX273" fmla="*/ 1151009 w 1757434"/>
                  <a:gd name="connsiteY273" fmla="*/ 436563 h 2476500"/>
                  <a:gd name="connsiteX274" fmla="*/ 1125609 w 1757434"/>
                  <a:gd name="connsiteY274" fmla="*/ 439738 h 2476500"/>
                  <a:gd name="connsiteX275" fmla="*/ 1116084 w 1757434"/>
                  <a:gd name="connsiteY275" fmla="*/ 447675 h 2476500"/>
                  <a:gd name="connsiteX276" fmla="*/ 1111322 w 1757434"/>
                  <a:gd name="connsiteY276" fmla="*/ 449263 h 2476500"/>
                  <a:gd name="connsiteX277" fmla="*/ 1101797 w 1757434"/>
                  <a:gd name="connsiteY277" fmla="*/ 454025 h 2476500"/>
                  <a:gd name="connsiteX278" fmla="*/ 1095447 w 1757434"/>
                  <a:gd name="connsiteY278" fmla="*/ 458788 h 2476500"/>
                  <a:gd name="connsiteX279" fmla="*/ 1101797 w 1757434"/>
                  <a:gd name="connsiteY279" fmla="*/ 469900 h 2476500"/>
                  <a:gd name="connsiteX280" fmla="*/ 1109734 w 1757434"/>
                  <a:gd name="connsiteY280" fmla="*/ 473075 h 2476500"/>
                  <a:gd name="connsiteX281" fmla="*/ 1114497 w 1757434"/>
                  <a:gd name="connsiteY281" fmla="*/ 477838 h 2476500"/>
                  <a:gd name="connsiteX282" fmla="*/ 1116084 w 1757434"/>
                  <a:gd name="connsiteY282" fmla="*/ 484188 h 2476500"/>
                  <a:gd name="connsiteX283" fmla="*/ 1117672 w 1757434"/>
                  <a:gd name="connsiteY283" fmla="*/ 504825 h 2476500"/>
                  <a:gd name="connsiteX284" fmla="*/ 1117672 w 1757434"/>
                  <a:gd name="connsiteY284" fmla="*/ 547688 h 2476500"/>
                  <a:gd name="connsiteX285" fmla="*/ 1124022 w 1757434"/>
                  <a:gd name="connsiteY285" fmla="*/ 550863 h 2476500"/>
                  <a:gd name="connsiteX286" fmla="*/ 1125609 w 1757434"/>
                  <a:gd name="connsiteY286" fmla="*/ 555625 h 2476500"/>
                  <a:gd name="connsiteX287" fmla="*/ 1130372 w 1757434"/>
                  <a:gd name="connsiteY287" fmla="*/ 557213 h 2476500"/>
                  <a:gd name="connsiteX288" fmla="*/ 1122434 w 1757434"/>
                  <a:gd name="connsiteY288" fmla="*/ 565150 h 2476500"/>
                  <a:gd name="connsiteX289" fmla="*/ 1117672 w 1757434"/>
                  <a:gd name="connsiteY289" fmla="*/ 576263 h 2476500"/>
                  <a:gd name="connsiteX290" fmla="*/ 1112909 w 1757434"/>
                  <a:gd name="connsiteY290" fmla="*/ 584200 h 2476500"/>
                  <a:gd name="connsiteX291" fmla="*/ 1106559 w 1757434"/>
                  <a:gd name="connsiteY291" fmla="*/ 587375 h 2476500"/>
                  <a:gd name="connsiteX292" fmla="*/ 1098622 w 1757434"/>
                  <a:gd name="connsiteY292" fmla="*/ 584200 h 2476500"/>
                  <a:gd name="connsiteX293" fmla="*/ 1093859 w 1757434"/>
                  <a:gd name="connsiteY293" fmla="*/ 579438 h 2476500"/>
                  <a:gd name="connsiteX294" fmla="*/ 1082747 w 1757434"/>
                  <a:gd name="connsiteY294" fmla="*/ 573088 h 2476500"/>
                  <a:gd name="connsiteX295" fmla="*/ 1062109 w 1757434"/>
                  <a:gd name="connsiteY295" fmla="*/ 569913 h 2476500"/>
                  <a:gd name="connsiteX296" fmla="*/ 1047822 w 1757434"/>
                  <a:gd name="connsiteY296" fmla="*/ 565150 h 2476500"/>
                  <a:gd name="connsiteX297" fmla="*/ 1041472 w 1757434"/>
                  <a:gd name="connsiteY297" fmla="*/ 563563 h 2476500"/>
                  <a:gd name="connsiteX298" fmla="*/ 1030359 w 1757434"/>
                  <a:gd name="connsiteY298" fmla="*/ 565150 h 2476500"/>
                  <a:gd name="connsiteX299" fmla="*/ 1017659 w 1757434"/>
                  <a:gd name="connsiteY299" fmla="*/ 571500 h 2476500"/>
                  <a:gd name="connsiteX300" fmla="*/ 1016072 w 1757434"/>
                  <a:gd name="connsiteY300" fmla="*/ 560388 h 2476500"/>
                  <a:gd name="connsiteX301" fmla="*/ 989084 w 1757434"/>
                  <a:gd name="connsiteY301" fmla="*/ 560388 h 2476500"/>
                  <a:gd name="connsiteX302" fmla="*/ 984322 w 1757434"/>
                  <a:gd name="connsiteY302" fmla="*/ 566738 h 2476500"/>
                  <a:gd name="connsiteX303" fmla="*/ 990672 w 1757434"/>
                  <a:gd name="connsiteY303" fmla="*/ 592138 h 2476500"/>
                  <a:gd name="connsiteX304" fmla="*/ 992259 w 1757434"/>
                  <a:gd name="connsiteY304" fmla="*/ 596900 h 2476500"/>
                  <a:gd name="connsiteX305" fmla="*/ 989084 w 1757434"/>
                  <a:gd name="connsiteY305" fmla="*/ 644525 h 2476500"/>
                  <a:gd name="connsiteX306" fmla="*/ 984322 w 1757434"/>
                  <a:gd name="connsiteY306" fmla="*/ 650875 h 2476500"/>
                  <a:gd name="connsiteX307" fmla="*/ 982734 w 1757434"/>
                  <a:gd name="connsiteY307" fmla="*/ 655638 h 2476500"/>
                  <a:gd name="connsiteX308" fmla="*/ 979559 w 1757434"/>
                  <a:gd name="connsiteY308" fmla="*/ 669925 h 2476500"/>
                  <a:gd name="connsiteX309" fmla="*/ 974797 w 1757434"/>
                  <a:gd name="connsiteY309" fmla="*/ 666750 h 2476500"/>
                  <a:gd name="connsiteX310" fmla="*/ 970034 w 1757434"/>
                  <a:gd name="connsiteY310" fmla="*/ 661988 h 2476500"/>
                  <a:gd name="connsiteX311" fmla="*/ 960509 w 1757434"/>
                  <a:gd name="connsiteY311" fmla="*/ 663575 h 2476500"/>
                  <a:gd name="connsiteX312" fmla="*/ 943047 w 1757434"/>
                  <a:gd name="connsiteY312" fmla="*/ 668338 h 2476500"/>
                  <a:gd name="connsiteX313" fmla="*/ 936697 w 1757434"/>
                  <a:gd name="connsiteY313" fmla="*/ 676275 h 2476500"/>
                  <a:gd name="connsiteX314" fmla="*/ 925584 w 1757434"/>
                  <a:gd name="connsiteY314" fmla="*/ 687388 h 2476500"/>
                  <a:gd name="connsiteX315" fmla="*/ 922409 w 1757434"/>
                  <a:gd name="connsiteY315" fmla="*/ 692150 h 2476500"/>
                  <a:gd name="connsiteX316" fmla="*/ 916059 w 1757434"/>
                  <a:gd name="connsiteY316" fmla="*/ 698500 h 2476500"/>
                  <a:gd name="connsiteX317" fmla="*/ 912884 w 1757434"/>
                  <a:gd name="connsiteY317" fmla="*/ 704850 h 2476500"/>
                  <a:gd name="connsiteX318" fmla="*/ 909709 w 1757434"/>
                  <a:gd name="connsiteY318" fmla="*/ 709613 h 2476500"/>
                  <a:gd name="connsiteX319" fmla="*/ 908122 w 1757434"/>
                  <a:gd name="connsiteY319" fmla="*/ 717550 h 2476500"/>
                  <a:gd name="connsiteX320" fmla="*/ 901772 w 1757434"/>
                  <a:gd name="connsiteY320" fmla="*/ 727075 h 2476500"/>
                  <a:gd name="connsiteX321" fmla="*/ 897009 w 1757434"/>
                  <a:gd name="connsiteY321" fmla="*/ 741363 h 2476500"/>
                  <a:gd name="connsiteX322" fmla="*/ 895422 w 1757434"/>
                  <a:gd name="connsiteY322" fmla="*/ 746125 h 2476500"/>
                  <a:gd name="connsiteX323" fmla="*/ 893834 w 1757434"/>
                  <a:gd name="connsiteY323" fmla="*/ 757238 h 2476500"/>
                  <a:gd name="connsiteX324" fmla="*/ 887484 w 1757434"/>
                  <a:gd name="connsiteY324" fmla="*/ 763588 h 2476500"/>
                  <a:gd name="connsiteX325" fmla="*/ 882722 w 1757434"/>
                  <a:gd name="connsiteY325" fmla="*/ 769938 h 2476500"/>
                  <a:gd name="connsiteX326" fmla="*/ 884309 w 1757434"/>
                  <a:gd name="connsiteY326" fmla="*/ 781050 h 2476500"/>
                  <a:gd name="connsiteX327" fmla="*/ 892247 w 1757434"/>
                  <a:gd name="connsiteY327" fmla="*/ 795338 h 2476500"/>
                  <a:gd name="connsiteX328" fmla="*/ 892247 w 1757434"/>
                  <a:gd name="connsiteY328" fmla="*/ 839788 h 2476500"/>
                  <a:gd name="connsiteX329" fmla="*/ 887484 w 1757434"/>
                  <a:gd name="connsiteY329" fmla="*/ 842963 h 2476500"/>
                  <a:gd name="connsiteX330" fmla="*/ 879547 w 1757434"/>
                  <a:gd name="connsiteY330" fmla="*/ 855663 h 2476500"/>
                  <a:gd name="connsiteX331" fmla="*/ 876372 w 1757434"/>
                  <a:gd name="connsiteY331" fmla="*/ 863600 h 2476500"/>
                  <a:gd name="connsiteX332" fmla="*/ 874784 w 1757434"/>
                  <a:gd name="connsiteY332" fmla="*/ 869950 h 2476500"/>
                  <a:gd name="connsiteX333" fmla="*/ 870022 w 1757434"/>
                  <a:gd name="connsiteY333" fmla="*/ 884238 h 2476500"/>
                  <a:gd name="connsiteX334" fmla="*/ 866847 w 1757434"/>
                  <a:gd name="connsiteY334" fmla="*/ 893763 h 2476500"/>
                  <a:gd name="connsiteX335" fmla="*/ 863672 w 1757434"/>
                  <a:gd name="connsiteY335" fmla="*/ 906463 h 2476500"/>
                  <a:gd name="connsiteX336" fmla="*/ 857322 w 1757434"/>
                  <a:gd name="connsiteY336" fmla="*/ 919163 h 2476500"/>
                  <a:gd name="connsiteX337" fmla="*/ 852559 w 1757434"/>
                  <a:gd name="connsiteY337" fmla="*/ 923925 h 2476500"/>
                  <a:gd name="connsiteX338" fmla="*/ 843034 w 1757434"/>
                  <a:gd name="connsiteY338" fmla="*/ 935038 h 2476500"/>
                  <a:gd name="connsiteX339" fmla="*/ 831922 w 1757434"/>
                  <a:gd name="connsiteY339" fmla="*/ 944563 h 2476500"/>
                  <a:gd name="connsiteX340" fmla="*/ 830334 w 1757434"/>
                  <a:gd name="connsiteY340" fmla="*/ 950913 h 2476500"/>
                  <a:gd name="connsiteX341" fmla="*/ 835097 w 1757434"/>
                  <a:gd name="connsiteY341" fmla="*/ 973138 h 2476500"/>
                  <a:gd name="connsiteX342" fmla="*/ 833509 w 1757434"/>
                  <a:gd name="connsiteY342" fmla="*/ 990600 h 2476500"/>
                  <a:gd name="connsiteX343" fmla="*/ 825572 w 1757434"/>
                  <a:gd name="connsiteY343" fmla="*/ 995363 h 2476500"/>
                  <a:gd name="connsiteX344" fmla="*/ 819222 w 1757434"/>
                  <a:gd name="connsiteY344" fmla="*/ 1001713 h 2476500"/>
                  <a:gd name="connsiteX345" fmla="*/ 801759 w 1757434"/>
                  <a:gd name="connsiteY345" fmla="*/ 1016000 h 2476500"/>
                  <a:gd name="connsiteX346" fmla="*/ 782709 w 1757434"/>
                  <a:gd name="connsiteY346" fmla="*/ 1014413 h 2476500"/>
                  <a:gd name="connsiteX347" fmla="*/ 777777 w 1757434"/>
                  <a:gd name="connsiteY347" fmla="*/ 1011206 h 2476500"/>
                  <a:gd name="connsiteX348" fmla="*/ 780808 w 1757434"/>
                  <a:gd name="connsiteY348" fmla="*/ 1009156 h 2476500"/>
                  <a:gd name="connsiteX349" fmla="*/ 782139 w 1757434"/>
                  <a:gd name="connsiteY349" fmla="*/ 1008856 h 2476500"/>
                  <a:gd name="connsiteX350" fmla="*/ 780893 w 1757434"/>
                  <a:gd name="connsiteY350" fmla="*/ 1009099 h 2476500"/>
                  <a:gd name="connsiteX351" fmla="*/ 780808 w 1757434"/>
                  <a:gd name="connsiteY351" fmla="*/ 1009156 h 2476500"/>
                  <a:gd name="connsiteX352" fmla="*/ 771597 w 1757434"/>
                  <a:gd name="connsiteY352" fmla="*/ 1011238 h 2476500"/>
                  <a:gd name="connsiteX353" fmla="*/ 773184 w 1757434"/>
                  <a:gd name="connsiteY353" fmla="*/ 1050925 h 2476500"/>
                  <a:gd name="connsiteX354" fmla="*/ 779534 w 1757434"/>
                  <a:gd name="connsiteY354" fmla="*/ 1063625 h 2476500"/>
                  <a:gd name="connsiteX355" fmla="*/ 781122 w 1757434"/>
                  <a:gd name="connsiteY355" fmla="*/ 1068388 h 2476500"/>
                  <a:gd name="connsiteX356" fmla="*/ 782709 w 1757434"/>
                  <a:gd name="connsiteY356" fmla="*/ 1079500 h 2476500"/>
                  <a:gd name="connsiteX357" fmla="*/ 777947 w 1757434"/>
                  <a:gd name="connsiteY357" fmla="*/ 1093788 h 2476500"/>
                  <a:gd name="connsiteX358" fmla="*/ 773184 w 1757434"/>
                  <a:gd name="connsiteY358" fmla="*/ 1096963 h 2476500"/>
                  <a:gd name="connsiteX359" fmla="*/ 774772 w 1757434"/>
                  <a:gd name="connsiteY359" fmla="*/ 1106488 h 2476500"/>
                  <a:gd name="connsiteX360" fmla="*/ 782709 w 1757434"/>
                  <a:gd name="connsiteY360" fmla="*/ 1116013 h 2476500"/>
                  <a:gd name="connsiteX361" fmla="*/ 784297 w 1757434"/>
                  <a:gd name="connsiteY361" fmla="*/ 1123950 h 2476500"/>
                  <a:gd name="connsiteX362" fmla="*/ 787472 w 1757434"/>
                  <a:gd name="connsiteY362" fmla="*/ 1135063 h 2476500"/>
                  <a:gd name="connsiteX363" fmla="*/ 784297 w 1757434"/>
                  <a:gd name="connsiteY363" fmla="*/ 1157288 h 2476500"/>
                  <a:gd name="connsiteX364" fmla="*/ 781122 w 1757434"/>
                  <a:gd name="connsiteY364" fmla="*/ 1165225 h 2476500"/>
                  <a:gd name="connsiteX365" fmla="*/ 777947 w 1757434"/>
                  <a:gd name="connsiteY365" fmla="*/ 1169988 h 2476500"/>
                  <a:gd name="connsiteX366" fmla="*/ 779534 w 1757434"/>
                  <a:gd name="connsiteY366" fmla="*/ 1177925 h 2476500"/>
                  <a:gd name="connsiteX367" fmla="*/ 776359 w 1757434"/>
                  <a:gd name="connsiteY367" fmla="*/ 1192213 h 2476500"/>
                  <a:gd name="connsiteX368" fmla="*/ 773184 w 1757434"/>
                  <a:gd name="connsiteY368" fmla="*/ 1196975 h 2476500"/>
                  <a:gd name="connsiteX369" fmla="*/ 768422 w 1757434"/>
                  <a:gd name="connsiteY369" fmla="*/ 1206500 h 2476500"/>
                  <a:gd name="connsiteX370" fmla="*/ 763659 w 1757434"/>
                  <a:gd name="connsiteY370" fmla="*/ 1209675 h 2476500"/>
                  <a:gd name="connsiteX371" fmla="*/ 750959 w 1757434"/>
                  <a:gd name="connsiteY371" fmla="*/ 1230313 h 2476500"/>
                  <a:gd name="connsiteX372" fmla="*/ 752546 w 1757434"/>
                  <a:gd name="connsiteY372" fmla="*/ 1238250 h 2476500"/>
                  <a:gd name="connsiteX373" fmla="*/ 744609 w 1757434"/>
                  <a:gd name="connsiteY373" fmla="*/ 1258889 h 2476500"/>
                  <a:gd name="connsiteX374" fmla="*/ 730322 w 1757434"/>
                  <a:gd name="connsiteY374" fmla="*/ 1276350 h 2476500"/>
                  <a:gd name="connsiteX375" fmla="*/ 733497 w 1757434"/>
                  <a:gd name="connsiteY375" fmla="*/ 1293813 h 2476500"/>
                  <a:gd name="connsiteX376" fmla="*/ 738259 w 1757434"/>
                  <a:gd name="connsiteY376" fmla="*/ 1296988 h 2476500"/>
                  <a:gd name="connsiteX377" fmla="*/ 762072 w 1757434"/>
                  <a:gd name="connsiteY377" fmla="*/ 1319213 h 2476500"/>
                  <a:gd name="connsiteX378" fmla="*/ 768422 w 1757434"/>
                  <a:gd name="connsiteY378" fmla="*/ 1322388 h 2476500"/>
                  <a:gd name="connsiteX379" fmla="*/ 766834 w 1757434"/>
                  <a:gd name="connsiteY379" fmla="*/ 1366838 h 2476500"/>
                  <a:gd name="connsiteX380" fmla="*/ 763659 w 1757434"/>
                  <a:gd name="connsiteY380" fmla="*/ 1376363 h 2476500"/>
                  <a:gd name="connsiteX381" fmla="*/ 760484 w 1757434"/>
                  <a:gd name="connsiteY381" fmla="*/ 1384300 h 2476500"/>
                  <a:gd name="connsiteX382" fmla="*/ 758897 w 1757434"/>
                  <a:gd name="connsiteY382" fmla="*/ 1389063 h 2476500"/>
                  <a:gd name="connsiteX383" fmla="*/ 750959 w 1757434"/>
                  <a:gd name="connsiteY383" fmla="*/ 1398588 h 2476500"/>
                  <a:gd name="connsiteX384" fmla="*/ 719209 w 1757434"/>
                  <a:gd name="connsiteY384" fmla="*/ 1397000 h 2476500"/>
                  <a:gd name="connsiteX385" fmla="*/ 714447 w 1757434"/>
                  <a:gd name="connsiteY385" fmla="*/ 1389063 h 2476500"/>
                  <a:gd name="connsiteX386" fmla="*/ 706509 w 1757434"/>
                  <a:gd name="connsiteY386" fmla="*/ 1385888 h 2476500"/>
                  <a:gd name="connsiteX387" fmla="*/ 693809 w 1757434"/>
                  <a:gd name="connsiteY387" fmla="*/ 1389063 h 2476500"/>
                  <a:gd name="connsiteX388" fmla="*/ 685872 w 1757434"/>
                  <a:gd name="connsiteY388" fmla="*/ 1395413 h 2476500"/>
                  <a:gd name="connsiteX389" fmla="*/ 677934 w 1757434"/>
                  <a:gd name="connsiteY389" fmla="*/ 1406525 h 2476500"/>
                  <a:gd name="connsiteX390" fmla="*/ 671584 w 1757434"/>
                  <a:gd name="connsiteY390" fmla="*/ 1409700 h 2476500"/>
                  <a:gd name="connsiteX391" fmla="*/ 657297 w 1757434"/>
                  <a:gd name="connsiteY391" fmla="*/ 1419225 h 2476500"/>
                  <a:gd name="connsiteX392" fmla="*/ 654122 w 1757434"/>
                  <a:gd name="connsiteY392" fmla="*/ 1423988 h 2476500"/>
                  <a:gd name="connsiteX393" fmla="*/ 660472 w 1757434"/>
                  <a:gd name="connsiteY393" fmla="*/ 1430338 h 2476500"/>
                  <a:gd name="connsiteX394" fmla="*/ 662059 w 1757434"/>
                  <a:gd name="connsiteY394" fmla="*/ 1435100 h 2476500"/>
                  <a:gd name="connsiteX395" fmla="*/ 655709 w 1757434"/>
                  <a:gd name="connsiteY395" fmla="*/ 1438275 h 2476500"/>
                  <a:gd name="connsiteX396" fmla="*/ 650947 w 1757434"/>
                  <a:gd name="connsiteY396" fmla="*/ 1443038 h 2476500"/>
                  <a:gd name="connsiteX397" fmla="*/ 643009 w 1757434"/>
                  <a:gd name="connsiteY397" fmla="*/ 1449388 h 2476500"/>
                  <a:gd name="connsiteX398" fmla="*/ 638247 w 1757434"/>
                  <a:gd name="connsiteY398" fmla="*/ 1455738 h 2476500"/>
                  <a:gd name="connsiteX399" fmla="*/ 633484 w 1757434"/>
                  <a:gd name="connsiteY399" fmla="*/ 1458913 h 2476500"/>
                  <a:gd name="connsiteX400" fmla="*/ 623959 w 1757434"/>
                  <a:gd name="connsiteY400" fmla="*/ 1470025 h 2476500"/>
                  <a:gd name="connsiteX401" fmla="*/ 620784 w 1757434"/>
                  <a:gd name="connsiteY401" fmla="*/ 1489075 h 2476500"/>
                  <a:gd name="connsiteX402" fmla="*/ 619197 w 1757434"/>
                  <a:gd name="connsiteY402" fmla="*/ 1498600 h 2476500"/>
                  <a:gd name="connsiteX403" fmla="*/ 612847 w 1757434"/>
                  <a:gd name="connsiteY403" fmla="*/ 1487488 h 2476500"/>
                  <a:gd name="connsiteX404" fmla="*/ 612667 w 1757434"/>
                  <a:gd name="connsiteY404" fmla="*/ 1487193 h 2476500"/>
                  <a:gd name="connsiteX405" fmla="*/ 611259 w 1757434"/>
                  <a:gd name="connsiteY405" fmla="*/ 1509713 h 2476500"/>
                  <a:gd name="connsiteX406" fmla="*/ 603322 w 1757434"/>
                  <a:gd name="connsiteY406" fmla="*/ 1514475 h 2476500"/>
                  <a:gd name="connsiteX407" fmla="*/ 598559 w 1757434"/>
                  <a:gd name="connsiteY407" fmla="*/ 1519238 h 2476500"/>
                  <a:gd name="connsiteX408" fmla="*/ 593797 w 1757434"/>
                  <a:gd name="connsiteY408" fmla="*/ 1530350 h 2476500"/>
                  <a:gd name="connsiteX409" fmla="*/ 603322 w 1757434"/>
                  <a:gd name="connsiteY409" fmla="*/ 1539875 h 2476500"/>
                  <a:gd name="connsiteX410" fmla="*/ 606497 w 1757434"/>
                  <a:gd name="connsiteY410" fmla="*/ 1544638 h 2476500"/>
                  <a:gd name="connsiteX411" fmla="*/ 611259 w 1757434"/>
                  <a:gd name="connsiteY411" fmla="*/ 1550988 h 2476500"/>
                  <a:gd name="connsiteX412" fmla="*/ 612847 w 1757434"/>
                  <a:gd name="connsiteY412" fmla="*/ 1555750 h 2476500"/>
                  <a:gd name="connsiteX413" fmla="*/ 617609 w 1757434"/>
                  <a:gd name="connsiteY413" fmla="*/ 1562100 h 2476500"/>
                  <a:gd name="connsiteX414" fmla="*/ 616022 w 1757434"/>
                  <a:gd name="connsiteY414" fmla="*/ 1593850 h 2476500"/>
                  <a:gd name="connsiteX415" fmla="*/ 614434 w 1757434"/>
                  <a:gd name="connsiteY415" fmla="*/ 1598613 h 2476500"/>
                  <a:gd name="connsiteX416" fmla="*/ 609672 w 1757434"/>
                  <a:gd name="connsiteY416" fmla="*/ 1600200 h 2476500"/>
                  <a:gd name="connsiteX417" fmla="*/ 609672 w 1757434"/>
                  <a:gd name="connsiteY417" fmla="*/ 1635125 h 2476500"/>
                  <a:gd name="connsiteX418" fmla="*/ 612847 w 1757434"/>
                  <a:gd name="connsiteY418" fmla="*/ 1641475 h 2476500"/>
                  <a:gd name="connsiteX419" fmla="*/ 616022 w 1757434"/>
                  <a:gd name="connsiteY419" fmla="*/ 1677988 h 2476500"/>
                  <a:gd name="connsiteX420" fmla="*/ 620784 w 1757434"/>
                  <a:gd name="connsiteY420" fmla="*/ 1682750 h 2476500"/>
                  <a:gd name="connsiteX421" fmla="*/ 624689 w 1757434"/>
                  <a:gd name="connsiteY421" fmla="*/ 1687924 h 2476500"/>
                  <a:gd name="connsiteX422" fmla="*/ 623038 w 1757434"/>
                  <a:gd name="connsiteY422" fmla="*/ 1686677 h 2476500"/>
                  <a:gd name="connsiteX423" fmla="*/ 622473 w 1757434"/>
                  <a:gd name="connsiteY423" fmla="*/ 1686119 h 2476500"/>
                  <a:gd name="connsiteX424" fmla="*/ 622926 w 1757434"/>
                  <a:gd name="connsiteY424" fmla="*/ 1686592 h 2476500"/>
                  <a:gd name="connsiteX425" fmla="*/ 623038 w 1757434"/>
                  <a:gd name="connsiteY425" fmla="*/ 1686677 h 2476500"/>
                  <a:gd name="connsiteX426" fmla="*/ 630309 w 1757434"/>
                  <a:gd name="connsiteY426" fmla="*/ 1693863 h 2476500"/>
                  <a:gd name="connsiteX427" fmla="*/ 630309 w 1757434"/>
                  <a:gd name="connsiteY427" fmla="*/ 1730375 h 2476500"/>
                  <a:gd name="connsiteX428" fmla="*/ 628722 w 1757434"/>
                  <a:gd name="connsiteY428" fmla="*/ 1744663 h 2476500"/>
                  <a:gd name="connsiteX429" fmla="*/ 622372 w 1757434"/>
                  <a:gd name="connsiteY429" fmla="*/ 1754188 h 2476500"/>
                  <a:gd name="connsiteX430" fmla="*/ 622372 w 1757434"/>
                  <a:gd name="connsiteY430" fmla="*/ 1800225 h 2476500"/>
                  <a:gd name="connsiteX431" fmla="*/ 625547 w 1757434"/>
                  <a:gd name="connsiteY431" fmla="*/ 1809750 h 2476500"/>
                  <a:gd name="connsiteX432" fmla="*/ 627134 w 1757434"/>
                  <a:gd name="connsiteY432" fmla="*/ 1814513 h 2476500"/>
                  <a:gd name="connsiteX433" fmla="*/ 636659 w 1757434"/>
                  <a:gd name="connsiteY433" fmla="*/ 1827213 h 2476500"/>
                  <a:gd name="connsiteX434" fmla="*/ 647772 w 1757434"/>
                  <a:gd name="connsiteY434" fmla="*/ 1838325 h 2476500"/>
                  <a:gd name="connsiteX435" fmla="*/ 652534 w 1757434"/>
                  <a:gd name="connsiteY435" fmla="*/ 1839913 h 2476500"/>
                  <a:gd name="connsiteX436" fmla="*/ 666822 w 1757434"/>
                  <a:gd name="connsiteY436" fmla="*/ 1847850 h 2476500"/>
                  <a:gd name="connsiteX437" fmla="*/ 681109 w 1757434"/>
                  <a:gd name="connsiteY437" fmla="*/ 1863725 h 2476500"/>
                  <a:gd name="connsiteX438" fmla="*/ 682697 w 1757434"/>
                  <a:gd name="connsiteY438" fmla="*/ 1873250 h 2476500"/>
                  <a:gd name="connsiteX439" fmla="*/ 685872 w 1757434"/>
                  <a:gd name="connsiteY439" fmla="*/ 1881188 h 2476500"/>
                  <a:gd name="connsiteX440" fmla="*/ 684284 w 1757434"/>
                  <a:gd name="connsiteY440" fmla="*/ 1920875 h 2476500"/>
                  <a:gd name="connsiteX441" fmla="*/ 677934 w 1757434"/>
                  <a:gd name="connsiteY441" fmla="*/ 1925638 h 2476500"/>
                  <a:gd name="connsiteX442" fmla="*/ 674759 w 1757434"/>
                  <a:gd name="connsiteY442" fmla="*/ 1931988 h 2476500"/>
                  <a:gd name="connsiteX443" fmla="*/ 643009 w 1757434"/>
                  <a:gd name="connsiteY443" fmla="*/ 1938338 h 2476500"/>
                  <a:gd name="connsiteX444" fmla="*/ 636659 w 1757434"/>
                  <a:gd name="connsiteY444" fmla="*/ 1943100 h 2476500"/>
                  <a:gd name="connsiteX445" fmla="*/ 636659 w 1757434"/>
                  <a:gd name="connsiteY445" fmla="*/ 1968500 h 2476500"/>
                  <a:gd name="connsiteX446" fmla="*/ 644597 w 1757434"/>
                  <a:gd name="connsiteY446" fmla="*/ 1971675 h 2476500"/>
                  <a:gd name="connsiteX447" fmla="*/ 650947 w 1757434"/>
                  <a:gd name="connsiteY447" fmla="*/ 1974850 h 2476500"/>
                  <a:gd name="connsiteX448" fmla="*/ 652534 w 1757434"/>
                  <a:gd name="connsiteY448" fmla="*/ 1998663 h 2476500"/>
                  <a:gd name="connsiteX449" fmla="*/ 657297 w 1757434"/>
                  <a:gd name="connsiteY449" fmla="*/ 2001838 h 2476500"/>
                  <a:gd name="connsiteX450" fmla="*/ 660472 w 1757434"/>
                  <a:gd name="connsiteY450" fmla="*/ 2006600 h 2476500"/>
                  <a:gd name="connsiteX451" fmla="*/ 666822 w 1757434"/>
                  <a:gd name="connsiteY451" fmla="*/ 2014538 h 2476500"/>
                  <a:gd name="connsiteX452" fmla="*/ 668409 w 1757434"/>
                  <a:gd name="connsiteY452" fmla="*/ 2022475 h 2476500"/>
                  <a:gd name="connsiteX453" fmla="*/ 669997 w 1757434"/>
                  <a:gd name="connsiteY453" fmla="*/ 2027238 h 2476500"/>
                  <a:gd name="connsiteX454" fmla="*/ 671584 w 1757434"/>
                  <a:gd name="connsiteY454" fmla="*/ 2036763 h 2476500"/>
                  <a:gd name="connsiteX455" fmla="*/ 668409 w 1757434"/>
                  <a:gd name="connsiteY455" fmla="*/ 2055813 h 2476500"/>
                  <a:gd name="connsiteX456" fmla="*/ 663647 w 1757434"/>
                  <a:gd name="connsiteY456" fmla="*/ 2062163 h 2476500"/>
                  <a:gd name="connsiteX457" fmla="*/ 665234 w 1757434"/>
                  <a:gd name="connsiteY457" fmla="*/ 2068513 h 2476500"/>
                  <a:gd name="connsiteX458" fmla="*/ 671584 w 1757434"/>
                  <a:gd name="connsiteY458" fmla="*/ 2073275 h 2476500"/>
                  <a:gd name="connsiteX459" fmla="*/ 668409 w 1757434"/>
                  <a:gd name="connsiteY459" fmla="*/ 2098675 h 2476500"/>
                  <a:gd name="connsiteX460" fmla="*/ 663647 w 1757434"/>
                  <a:gd name="connsiteY460" fmla="*/ 2106613 h 2476500"/>
                  <a:gd name="connsiteX461" fmla="*/ 662059 w 1757434"/>
                  <a:gd name="connsiteY461" fmla="*/ 2117725 h 2476500"/>
                  <a:gd name="connsiteX462" fmla="*/ 643009 w 1757434"/>
                  <a:gd name="connsiteY462" fmla="*/ 2136775 h 2476500"/>
                  <a:gd name="connsiteX463" fmla="*/ 633484 w 1757434"/>
                  <a:gd name="connsiteY463" fmla="*/ 2138363 h 2476500"/>
                  <a:gd name="connsiteX464" fmla="*/ 628722 w 1757434"/>
                  <a:gd name="connsiteY464" fmla="*/ 2139950 h 2476500"/>
                  <a:gd name="connsiteX465" fmla="*/ 606497 w 1757434"/>
                  <a:gd name="connsiteY465" fmla="*/ 2141538 h 2476500"/>
                  <a:gd name="connsiteX466" fmla="*/ 600147 w 1757434"/>
                  <a:gd name="connsiteY466" fmla="*/ 2144713 h 2476500"/>
                  <a:gd name="connsiteX467" fmla="*/ 601734 w 1757434"/>
                  <a:gd name="connsiteY467" fmla="*/ 2149475 h 2476500"/>
                  <a:gd name="connsiteX468" fmla="*/ 612847 w 1757434"/>
                  <a:gd name="connsiteY468" fmla="*/ 2154238 h 2476500"/>
                  <a:gd name="connsiteX469" fmla="*/ 614434 w 1757434"/>
                  <a:gd name="connsiteY469" fmla="*/ 2159000 h 2476500"/>
                  <a:gd name="connsiteX470" fmla="*/ 611259 w 1757434"/>
                  <a:gd name="connsiteY470" fmla="*/ 2174875 h 2476500"/>
                  <a:gd name="connsiteX471" fmla="*/ 604909 w 1757434"/>
                  <a:gd name="connsiteY471" fmla="*/ 2181225 h 2476500"/>
                  <a:gd name="connsiteX472" fmla="*/ 600147 w 1757434"/>
                  <a:gd name="connsiteY472" fmla="*/ 2182813 h 2476500"/>
                  <a:gd name="connsiteX473" fmla="*/ 593797 w 1757434"/>
                  <a:gd name="connsiteY473" fmla="*/ 2189163 h 2476500"/>
                  <a:gd name="connsiteX474" fmla="*/ 595384 w 1757434"/>
                  <a:gd name="connsiteY474" fmla="*/ 2198688 h 2476500"/>
                  <a:gd name="connsiteX475" fmla="*/ 603322 w 1757434"/>
                  <a:gd name="connsiteY475" fmla="*/ 2216150 h 2476500"/>
                  <a:gd name="connsiteX476" fmla="*/ 606497 w 1757434"/>
                  <a:gd name="connsiteY476" fmla="*/ 2227263 h 2476500"/>
                  <a:gd name="connsiteX477" fmla="*/ 608084 w 1757434"/>
                  <a:gd name="connsiteY477" fmla="*/ 2232025 h 2476500"/>
                  <a:gd name="connsiteX478" fmla="*/ 608084 w 1757434"/>
                  <a:gd name="connsiteY478" fmla="*/ 2270125 h 2476500"/>
                  <a:gd name="connsiteX479" fmla="*/ 601734 w 1757434"/>
                  <a:gd name="connsiteY479" fmla="*/ 2289175 h 2476500"/>
                  <a:gd name="connsiteX480" fmla="*/ 595384 w 1757434"/>
                  <a:gd name="connsiteY480" fmla="*/ 2300288 h 2476500"/>
                  <a:gd name="connsiteX481" fmla="*/ 592209 w 1757434"/>
                  <a:gd name="connsiteY481" fmla="*/ 2316163 h 2476500"/>
                  <a:gd name="connsiteX482" fmla="*/ 577922 w 1757434"/>
                  <a:gd name="connsiteY482" fmla="*/ 2322513 h 2476500"/>
                  <a:gd name="connsiteX483" fmla="*/ 576334 w 1757434"/>
                  <a:gd name="connsiteY483" fmla="*/ 2308225 h 2476500"/>
                  <a:gd name="connsiteX484" fmla="*/ 568397 w 1757434"/>
                  <a:gd name="connsiteY484" fmla="*/ 2293938 h 2476500"/>
                  <a:gd name="connsiteX485" fmla="*/ 547759 w 1757434"/>
                  <a:gd name="connsiteY485" fmla="*/ 2290763 h 2476500"/>
                  <a:gd name="connsiteX486" fmla="*/ 542997 w 1757434"/>
                  <a:gd name="connsiteY486" fmla="*/ 2271713 h 2476500"/>
                  <a:gd name="connsiteX487" fmla="*/ 538234 w 1757434"/>
                  <a:gd name="connsiteY487" fmla="*/ 2270125 h 2476500"/>
                  <a:gd name="connsiteX488" fmla="*/ 525534 w 1757434"/>
                  <a:gd name="connsiteY488" fmla="*/ 2268538 h 2476500"/>
                  <a:gd name="connsiteX489" fmla="*/ 520772 w 1757434"/>
                  <a:gd name="connsiteY489" fmla="*/ 2265363 h 2476500"/>
                  <a:gd name="connsiteX490" fmla="*/ 514422 w 1757434"/>
                  <a:gd name="connsiteY490" fmla="*/ 2263775 h 2476500"/>
                  <a:gd name="connsiteX491" fmla="*/ 506484 w 1757434"/>
                  <a:gd name="connsiteY491" fmla="*/ 2254250 h 2476500"/>
                  <a:gd name="connsiteX492" fmla="*/ 508072 w 1757434"/>
                  <a:gd name="connsiteY492" fmla="*/ 2241550 h 2476500"/>
                  <a:gd name="connsiteX493" fmla="*/ 509659 w 1757434"/>
                  <a:gd name="connsiteY493" fmla="*/ 2228850 h 2476500"/>
                  <a:gd name="connsiteX494" fmla="*/ 509659 w 1757434"/>
                  <a:gd name="connsiteY494" fmla="*/ 2201863 h 2476500"/>
                  <a:gd name="connsiteX495" fmla="*/ 506484 w 1757434"/>
                  <a:gd name="connsiteY495" fmla="*/ 2197100 h 2476500"/>
                  <a:gd name="connsiteX496" fmla="*/ 503309 w 1757434"/>
                  <a:gd name="connsiteY496" fmla="*/ 2181225 h 2476500"/>
                  <a:gd name="connsiteX497" fmla="*/ 501722 w 1757434"/>
                  <a:gd name="connsiteY497" fmla="*/ 2176463 h 2476500"/>
                  <a:gd name="connsiteX498" fmla="*/ 503309 w 1757434"/>
                  <a:gd name="connsiteY498" fmla="*/ 2171700 h 2476500"/>
                  <a:gd name="connsiteX499" fmla="*/ 519184 w 1757434"/>
                  <a:gd name="connsiteY499" fmla="*/ 2168525 h 2476500"/>
                  <a:gd name="connsiteX500" fmla="*/ 517597 w 1757434"/>
                  <a:gd name="connsiteY500" fmla="*/ 2152650 h 2476500"/>
                  <a:gd name="connsiteX501" fmla="*/ 506484 w 1757434"/>
                  <a:gd name="connsiteY501" fmla="*/ 2154238 h 2476500"/>
                  <a:gd name="connsiteX502" fmla="*/ 501722 w 1757434"/>
                  <a:gd name="connsiteY502" fmla="*/ 2157413 h 2476500"/>
                  <a:gd name="connsiteX503" fmla="*/ 496959 w 1757434"/>
                  <a:gd name="connsiteY503" fmla="*/ 2159000 h 2476500"/>
                  <a:gd name="connsiteX504" fmla="*/ 492197 w 1757434"/>
                  <a:gd name="connsiteY504" fmla="*/ 2168525 h 2476500"/>
                  <a:gd name="connsiteX505" fmla="*/ 496959 w 1757434"/>
                  <a:gd name="connsiteY505" fmla="*/ 2181225 h 2476500"/>
                  <a:gd name="connsiteX506" fmla="*/ 495372 w 1757434"/>
                  <a:gd name="connsiteY506" fmla="*/ 2195513 h 2476500"/>
                  <a:gd name="connsiteX507" fmla="*/ 485847 w 1757434"/>
                  <a:gd name="connsiteY507" fmla="*/ 2184400 h 2476500"/>
                  <a:gd name="connsiteX508" fmla="*/ 481084 w 1757434"/>
                  <a:gd name="connsiteY508" fmla="*/ 2179638 h 2476500"/>
                  <a:gd name="connsiteX509" fmla="*/ 468384 w 1757434"/>
                  <a:gd name="connsiteY509" fmla="*/ 2181225 h 2476500"/>
                  <a:gd name="connsiteX510" fmla="*/ 469972 w 1757434"/>
                  <a:gd name="connsiteY510" fmla="*/ 2185988 h 2476500"/>
                  <a:gd name="connsiteX511" fmla="*/ 476322 w 1757434"/>
                  <a:gd name="connsiteY511" fmla="*/ 2190750 h 2476500"/>
                  <a:gd name="connsiteX512" fmla="*/ 474734 w 1757434"/>
                  <a:gd name="connsiteY512" fmla="*/ 2211388 h 2476500"/>
                  <a:gd name="connsiteX513" fmla="*/ 469972 w 1757434"/>
                  <a:gd name="connsiteY513" fmla="*/ 2214563 h 2476500"/>
                  <a:gd name="connsiteX514" fmla="*/ 474734 w 1757434"/>
                  <a:gd name="connsiteY514" fmla="*/ 2219325 h 2476500"/>
                  <a:gd name="connsiteX515" fmla="*/ 477909 w 1757434"/>
                  <a:gd name="connsiteY515" fmla="*/ 2230438 h 2476500"/>
                  <a:gd name="connsiteX516" fmla="*/ 481084 w 1757434"/>
                  <a:gd name="connsiteY516" fmla="*/ 2236788 h 2476500"/>
                  <a:gd name="connsiteX517" fmla="*/ 477909 w 1757434"/>
                  <a:gd name="connsiteY517" fmla="*/ 2251075 h 2476500"/>
                  <a:gd name="connsiteX518" fmla="*/ 476322 w 1757434"/>
                  <a:gd name="connsiteY518" fmla="*/ 2259013 h 2476500"/>
                  <a:gd name="connsiteX519" fmla="*/ 468384 w 1757434"/>
                  <a:gd name="connsiteY519" fmla="*/ 2257425 h 2476500"/>
                  <a:gd name="connsiteX520" fmla="*/ 460447 w 1757434"/>
                  <a:gd name="connsiteY520" fmla="*/ 2274888 h 2476500"/>
                  <a:gd name="connsiteX521" fmla="*/ 455684 w 1757434"/>
                  <a:gd name="connsiteY521" fmla="*/ 2273300 h 2476500"/>
                  <a:gd name="connsiteX522" fmla="*/ 450922 w 1757434"/>
                  <a:gd name="connsiteY522" fmla="*/ 2282825 h 2476500"/>
                  <a:gd name="connsiteX523" fmla="*/ 449334 w 1757434"/>
                  <a:gd name="connsiteY523" fmla="*/ 2287588 h 2476500"/>
                  <a:gd name="connsiteX524" fmla="*/ 454097 w 1757434"/>
                  <a:gd name="connsiteY524" fmla="*/ 2292350 h 2476500"/>
                  <a:gd name="connsiteX525" fmla="*/ 449334 w 1757434"/>
                  <a:gd name="connsiteY525" fmla="*/ 2290763 h 2476500"/>
                  <a:gd name="connsiteX526" fmla="*/ 444572 w 1757434"/>
                  <a:gd name="connsiteY526" fmla="*/ 2286000 h 2476500"/>
                  <a:gd name="connsiteX527" fmla="*/ 438222 w 1757434"/>
                  <a:gd name="connsiteY527" fmla="*/ 2295525 h 2476500"/>
                  <a:gd name="connsiteX528" fmla="*/ 435047 w 1757434"/>
                  <a:gd name="connsiteY528" fmla="*/ 2308225 h 2476500"/>
                  <a:gd name="connsiteX529" fmla="*/ 428697 w 1757434"/>
                  <a:gd name="connsiteY529" fmla="*/ 2298700 h 2476500"/>
                  <a:gd name="connsiteX530" fmla="*/ 415997 w 1757434"/>
                  <a:gd name="connsiteY530" fmla="*/ 2286000 h 2476500"/>
                  <a:gd name="connsiteX531" fmla="*/ 403297 w 1757434"/>
                  <a:gd name="connsiteY531" fmla="*/ 2284413 h 2476500"/>
                  <a:gd name="connsiteX532" fmla="*/ 409647 w 1757434"/>
                  <a:gd name="connsiteY532" fmla="*/ 2287588 h 2476500"/>
                  <a:gd name="connsiteX533" fmla="*/ 411234 w 1757434"/>
                  <a:gd name="connsiteY533" fmla="*/ 2295525 h 2476500"/>
                  <a:gd name="connsiteX534" fmla="*/ 406472 w 1757434"/>
                  <a:gd name="connsiteY534" fmla="*/ 2308225 h 2476500"/>
                  <a:gd name="connsiteX535" fmla="*/ 393772 w 1757434"/>
                  <a:gd name="connsiteY535" fmla="*/ 2312988 h 2476500"/>
                  <a:gd name="connsiteX536" fmla="*/ 390597 w 1757434"/>
                  <a:gd name="connsiteY536" fmla="*/ 2322513 h 2476500"/>
                  <a:gd name="connsiteX537" fmla="*/ 384247 w 1757434"/>
                  <a:gd name="connsiteY537" fmla="*/ 2328863 h 2476500"/>
                  <a:gd name="connsiteX538" fmla="*/ 381072 w 1757434"/>
                  <a:gd name="connsiteY538" fmla="*/ 2341563 h 2476500"/>
                  <a:gd name="connsiteX539" fmla="*/ 376309 w 1757434"/>
                  <a:gd name="connsiteY539" fmla="*/ 2336800 h 2476500"/>
                  <a:gd name="connsiteX540" fmla="*/ 379484 w 1757434"/>
                  <a:gd name="connsiteY540" fmla="*/ 2341563 h 2476500"/>
                  <a:gd name="connsiteX541" fmla="*/ 382659 w 1757434"/>
                  <a:gd name="connsiteY541" fmla="*/ 2347913 h 2476500"/>
                  <a:gd name="connsiteX542" fmla="*/ 376309 w 1757434"/>
                  <a:gd name="connsiteY542" fmla="*/ 2355850 h 2476500"/>
                  <a:gd name="connsiteX543" fmla="*/ 374722 w 1757434"/>
                  <a:gd name="connsiteY543" fmla="*/ 2360613 h 2476500"/>
                  <a:gd name="connsiteX544" fmla="*/ 355672 w 1757434"/>
                  <a:gd name="connsiteY544" fmla="*/ 2368550 h 2476500"/>
                  <a:gd name="connsiteX545" fmla="*/ 350909 w 1757434"/>
                  <a:gd name="connsiteY545" fmla="*/ 2373313 h 2476500"/>
                  <a:gd name="connsiteX546" fmla="*/ 342972 w 1757434"/>
                  <a:gd name="connsiteY546" fmla="*/ 2376488 h 2476500"/>
                  <a:gd name="connsiteX547" fmla="*/ 336622 w 1757434"/>
                  <a:gd name="connsiteY547" fmla="*/ 2381250 h 2476500"/>
                  <a:gd name="connsiteX548" fmla="*/ 335034 w 1757434"/>
                  <a:gd name="connsiteY548" fmla="*/ 2386013 h 2476500"/>
                  <a:gd name="connsiteX549" fmla="*/ 333447 w 1757434"/>
                  <a:gd name="connsiteY549" fmla="*/ 2393950 h 2476500"/>
                  <a:gd name="connsiteX550" fmla="*/ 327097 w 1757434"/>
                  <a:gd name="connsiteY550" fmla="*/ 2395538 h 2476500"/>
                  <a:gd name="connsiteX551" fmla="*/ 320747 w 1757434"/>
                  <a:gd name="connsiteY551" fmla="*/ 2409825 h 2476500"/>
                  <a:gd name="connsiteX552" fmla="*/ 311222 w 1757434"/>
                  <a:gd name="connsiteY552" fmla="*/ 2411413 h 2476500"/>
                  <a:gd name="connsiteX553" fmla="*/ 312809 w 1757434"/>
                  <a:gd name="connsiteY553" fmla="*/ 2417763 h 2476500"/>
                  <a:gd name="connsiteX554" fmla="*/ 298522 w 1757434"/>
                  <a:gd name="connsiteY554" fmla="*/ 2422525 h 2476500"/>
                  <a:gd name="connsiteX555" fmla="*/ 274709 w 1757434"/>
                  <a:gd name="connsiteY555" fmla="*/ 2433638 h 2476500"/>
                  <a:gd name="connsiteX556" fmla="*/ 269947 w 1757434"/>
                  <a:gd name="connsiteY556" fmla="*/ 2438400 h 2476500"/>
                  <a:gd name="connsiteX557" fmla="*/ 263597 w 1757434"/>
                  <a:gd name="connsiteY557" fmla="*/ 2452688 h 2476500"/>
                  <a:gd name="connsiteX558" fmla="*/ 257247 w 1757434"/>
                  <a:gd name="connsiteY558" fmla="*/ 2459038 h 2476500"/>
                  <a:gd name="connsiteX559" fmla="*/ 241372 w 1757434"/>
                  <a:gd name="connsiteY559" fmla="*/ 2455863 h 2476500"/>
                  <a:gd name="connsiteX560" fmla="*/ 239784 w 1757434"/>
                  <a:gd name="connsiteY560" fmla="*/ 2465388 h 2476500"/>
                  <a:gd name="connsiteX561" fmla="*/ 227084 w 1757434"/>
                  <a:gd name="connsiteY561" fmla="*/ 2468563 h 2476500"/>
                  <a:gd name="connsiteX562" fmla="*/ 184222 w 1757434"/>
                  <a:gd name="connsiteY562" fmla="*/ 2470150 h 2476500"/>
                  <a:gd name="connsiteX563" fmla="*/ 174697 w 1757434"/>
                  <a:gd name="connsiteY563" fmla="*/ 2473325 h 2476500"/>
                  <a:gd name="connsiteX564" fmla="*/ 160409 w 1757434"/>
                  <a:gd name="connsiteY564" fmla="*/ 2476500 h 2476500"/>
                  <a:gd name="connsiteX565" fmla="*/ 158822 w 1757434"/>
                  <a:gd name="connsiteY565" fmla="*/ 2468563 h 2476500"/>
                  <a:gd name="connsiteX566" fmla="*/ 149297 w 1757434"/>
                  <a:gd name="connsiteY566" fmla="*/ 2465388 h 2476500"/>
                  <a:gd name="connsiteX567" fmla="*/ 138184 w 1757434"/>
                  <a:gd name="connsiteY567" fmla="*/ 2459038 h 2476500"/>
                  <a:gd name="connsiteX568" fmla="*/ 128659 w 1757434"/>
                  <a:gd name="connsiteY568" fmla="*/ 2455863 h 2476500"/>
                  <a:gd name="connsiteX569" fmla="*/ 127072 w 1757434"/>
                  <a:gd name="connsiteY569" fmla="*/ 2463800 h 2476500"/>
                  <a:gd name="connsiteX570" fmla="*/ 120722 w 1757434"/>
                  <a:gd name="connsiteY570" fmla="*/ 2465388 h 2476500"/>
                  <a:gd name="connsiteX571" fmla="*/ 114372 w 1757434"/>
                  <a:gd name="connsiteY571" fmla="*/ 2463800 h 2476500"/>
                  <a:gd name="connsiteX572" fmla="*/ 112784 w 1757434"/>
                  <a:gd name="connsiteY572" fmla="*/ 2459038 h 2476500"/>
                  <a:gd name="connsiteX573" fmla="*/ 111197 w 1757434"/>
                  <a:gd name="connsiteY573" fmla="*/ 2452688 h 2476500"/>
                  <a:gd name="connsiteX574" fmla="*/ 114372 w 1757434"/>
                  <a:gd name="connsiteY574" fmla="*/ 2441575 h 2476500"/>
                  <a:gd name="connsiteX575" fmla="*/ 120722 w 1757434"/>
                  <a:gd name="connsiteY575" fmla="*/ 2438400 h 2476500"/>
                  <a:gd name="connsiteX576" fmla="*/ 136597 w 1757434"/>
                  <a:gd name="connsiteY576" fmla="*/ 2430463 h 2476500"/>
                  <a:gd name="connsiteX577" fmla="*/ 135009 w 1757434"/>
                  <a:gd name="connsiteY577" fmla="*/ 2424113 h 2476500"/>
                  <a:gd name="connsiteX578" fmla="*/ 106434 w 1757434"/>
                  <a:gd name="connsiteY578" fmla="*/ 2425700 h 2476500"/>
                  <a:gd name="connsiteX579" fmla="*/ 96909 w 1757434"/>
                  <a:gd name="connsiteY579" fmla="*/ 2430463 h 2476500"/>
                  <a:gd name="connsiteX580" fmla="*/ 87384 w 1757434"/>
                  <a:gd name="connsiteY580" fmla="*/ 2422525 h 2476500"/>
                  <a:gd name="connsiteX581" fmla="*/ 82622 w 1757434"/>
                  <a:gd name="connsiteY581" fmla="*/ 2419350 h 2476500"/>
                  <a:gd name="connsiteX582" fmla="*/ 79447 w 1757434"/>
                  <a:gd name="connsiteY582" fmla="*/ 2414588 h 2476500"/>
                  <a:gd name="connsiteX583" fmla="*/ 28647 w 1757434"/>
                  <a:gd name="connsiteY583" fmla="*/ 2379663 h 2476500"/>
                  <a:gd name="connsiteX584" fmla="*/ 30234 w 1757434"/>
                  <a:gd name="connsiteY584" fmla="*/ 2360613 h 2476500"/>
                  <a:gd name="connsiteX585" fmla="*/ 23884 w 1757434"/>
                  <a:gd name="connsiteY585" fmla="*/ 2354263 h 2476500"/>
                  <a:gd name="connsiteX586" fmla="*/ 20709 w 1757434"/>
                  <a:gd name="connsiteY586" fmla="*/ 2347913 h 2476500"/>
                  <a:gd name="connsiteX587" fmla="*/ 15947 w 1757434"/>
                  <a:gd name="connsiteY587" fmla="*/ 2341563 h 2476500"/>
                  <a:gd name="connsiteX588" fmla="*/ 17534 w 1757434"/>
                  <a:gd name="connsiteY588" fmla="*/ 2328863 h 2476500"/>
                  <a:gd name="connsiteX589" fmla="*/ 19122 w 1757434"/>
                  <a:gd name="connsiteY589" fmla="*/ 2306638 h 2476500"/>
                  <a:gd name="connsiteX590" fmla="*/ 23884 w 1757434"/>
                  <a:gd name="connsiteY590" fmla="*/ 2300288 h 2476500"/>
                  <a:gd name="connsiteX591" fmla="*/ 25472 w 1757434"/>
                  <a:gd name="connsiteY591" fmla="*/ 2295525 h 2476500"/>
                  <a:gd name="connsiteX592" fmla="*/ 41347 w 1757434"/>
                  <a:gd name="connsiteY592" fmla="*/ 2306638 h 2476500"/>
                  <a:gd name="connsiteX593" fmla="*/ 52459 w 1757434"/>
                  <a:gd name="connsiteY593" fmla="*/ 2308225 h 2476500"/>
                  <a:gd name="connsiteX594" fmla="*/ 57222 w 1757434"/>
                  <a:gd name="connsiteY594" fmla="*/ 2312988 h 2476500"/>
                  <a:gd name="connsiteX595" fmla="*/ 71509 w 1757434"/>
                  <a:gd name="connsiteY595" fmla="*/ 2320925 h 2476500"/>
                  <a:gd name="connsiteX596" fmla="*/ 81034 w 1757434"/>
                  <a:gd name="connsiteY596" fmla="*/ 2328863 h 2476500"/>
                  <a:gd name="connsiteX597" fmla="*/ 85797 w 1757434"/>
                  <a:gd name="connsiteY597" fmla="*/ 2332038 h 2476500"/>
                  <a:gd name="connsiteX598" fmla="*/ 92147 w 1757434"/>
                  <a:gd name="connsiteY598" fmla="*/ 2330450 h 2476500"/>
                  <a:gd name="connsiteX599" fmla="*/ 85797 w 1757434"/>
                  <a:gd name="connsiteY599" fmla="*/ 2327275 h 2476500"/>
                  <a:gd name="connsiteX600" fmla="*/ 81034 w 1757434"/>
                  <a:gd name="connsiteY600" fmla="*/ 2324100 h 2476500"/>
                  <a:gd name="connsiteX601" fmla="*/ 77859 w 1757434"/>
                  <a:gd name="connsiteY601" fmla="*/ 2319338 h 2476500"/>
                  <a:gd name="connsiteX602" fmla="*/ 73097 w 1757434"/>
                  <a:gd name="connsiteY602" fmla="*/ 2308225 h 2476500"/>
                  <a:gd name="connsiteX603" fmla="*/ 82622 w 1757434"/>
                  <a:gd name="connsiteY603" fmla="*/ 2303463 h 2476500"/>
                  <a:gd name="connsiteX604" fmla="*/ 87384 w 1757434"/>
                  <a:gd name="connsiteY604" fmla="*/ 2301875 h 2476500"/>
                  <a:gd name="connsiteX605" fmla="*/ 92147 w 1757434"/>
                  <a:gd name="connsiteY605" fmla="*/ 2297113 h 2476500"/>
                  <a:gd name="connsiteX606" fmla="*/ 101672 w 1757434"/>
                  <a:gd name="connsiteY606" fmla="*/ 2293938 h 2476500"/>
                  <a:gd name="connsiteX607" fmla="*/ 125484 w 1757434"/>
                  <a:gd name="connsiteY607" fmla="*/ 2289175 h 2476500"/>
                  <a:gd name="connsiteX608" fmla="*/ 127072 w 1757434"/>
                  <a:gd name="connsiteY608" fmla="*/ 2284413 h 2476500"/>
                  <a:gd name="connsiteX609" fmla="*/ 100084 w 1757434"/>
                  <a:gd name="connsiteY609" fmla="*/ 2292350 h 2476500"/>
                  <a:gd name="connsiteX610" fmla="*/ 95322 w 1757434"/>
                  <a:gd name="connsiteY610" fmla="*/ 2295525 h 2476500"/>
                  <a:gd name="connsiteX611" fmla="*/ 88972 w 1757434"/>
                  <a:gd name="connsiteY611" fmla="*/ 2297113 h 2476500"/>
                  <a:gd name="connsiteX612" fmla="*/ 84209 w 1757434"/>
                  <a:gd name="connsiteY612" fmla="*/ 2298700 h 2476500"/>
                  <a:gd name="connsiteX613" fmla="*/ 68334 w 1757434"/>
                  <a:gd name="connsiteY613" fmla="*/ 2297113 h 2476500"/>
                  <a:gd name="connsiteX614" fmla="*/ 66747 w 1757434"/>
                  <a:gd name="connsiteY614" fmla="*/ 2292350 h 2476500"/>
                  <a:gd name="connsiteX615" fmla="*/ 61984 w 1757434"/>
                  <a:gd name="connsiteY615" fmla="*/ 2287588 h 2476500"/>
                  <a:gd name="connsiteX616" fmla="*/ 58809 w 1757434"/>
                  <a:gd name="connsiteY616" fmla="*/ 2266950 h 2476500"/>
                  <a:gd name="connsiteX617" fmla="*/ 69922 w 1757434"/>
                  <a:gd name="connsiteY617" fmla="*/ 2270125 h 2476500"/>
                  <a:gd name="connsiteX618" fmla="*/ 77859 w 1757434"/>
                  <a:gd name="connsiteY618" fmla="*/ 2273300 h 2476500"/>
                  <a:gd name="connsiteX619" fmla="*/ 79447 w 1757434"/>
                  <a:gd name="connsiteY619" fmla="*/ 2268538 h 2476500"/>
                  <a:gd name="connsiteX620" fmla="*/ 81034 w 1757434"/>
                  <a:gd name="connsiteY620" fmla="*/ 2259013 h 2476500"/>
                  <a:gd name="connsiteX621" fmla="*/ 93734 w 1757434"/>
                  <a:gd name="connsiteY621" fmla="*/ 2247900 h 2476500"/>
                  <a:gd name="connsiteX622" fmla="*/ 100084 w 1757434"/>
                  <a:gd name="connsiteY622" fmla="*/ 2244725 h 2476500"/>
                  <a:gd name="connsiteX623" fmla="*/ 104847 w 1757434"/>
                  <a:gd name="connsiteY623" fmla="*/ 2239963 h 2476500"/>
                  <a:gd name="connsiteX624" fmla="*/ 109609 w 1757434"/>
                  <a:gd name="connsiteY624" fmla="*/ 2236788 h 2476500"/>
                  <a:gd name="connsiteX625" fmla="*/ 85797 w 1757434"/>
                  <a:gd name="connsiteY625" fmla="*/ 2235200 h 2476500"/>
                  <a:gd name="connsiteX626" fmla="*/ 84209 w 1757434"/>
                  <a:gd name="connsiteY626" fmla="*/ 2239963 h 2476500"/>
                  <a:gd name="connsiteX627" fmla="*/ 71509 w 1757434"/>
                  <a:gd name="connsiteY627" fmla="*/ 2239963 h 2476500"/>
                  <a:gd name="connsiteX628" fmla="*/ 69922 w 1757434"/>
                  <a:gd name="connsiteY628" fmla="*/ 2235200 h 2476500"/>
                  <a:gd name="connsiteX629" fmla="*/ 77859 w 1757434"/>
                  <a:gd name="connsiteY629" fmla="*/ 2220913 h 2476500"/>
                  <a:gd name="connsiteX630" fmla="*/ 87384 w 1757434"/>
                  <a:gd name="connsiteY630" fmla="*/ 2214563 h 2476500"/>
                  <a:gd name="connsiteX631" fmla="*/ 98497 w 1757434"/>
                  <a:gd name="connsiteY631" fmla="*/ 2208213 h 2476500"/>
                  <a:gd name="connsiteX632" fmla="*/ 106434 w 1757434"/>
                  <a:gd name="connsiteY632" fmla="*/ 2198688 h 2476500"/>
                  <a:gd name="connsiteX633" fmla="*/ 108022 w 1757434"/>
                  <a:gd name="connsiteY633" fmla="*/ 2193925 h 2476500"/>
                  <a:gd name="connsiteX634" fmla="*/ 95322 w 1757434"/>
                  <a:gd name="connsiteY634" fmla="*/ 2205038 h 2476500"/>
                  <a:gd name="connsiteX635" fmla="*/ 87384 w 1757434"/>
                  <a:gd name="connsiteY635" fmla="*/ 2208213 h 2476500"/>
                  <a:gd name="connsiteX636" fmla="*/ 74684 w 1757434"/>
                  <a:gd name="connsiteY636" fmla="*/ 2206625 h 2476500"/>
                  <a:gd name="connsiteX637" fmla="*/ 63572 w 1757434"/>
                  <a:gd name="connsiteY637" fmla="*/ 2206625 h 2476500"/>
                  <a:gd name="connsiteX638" fmla="*/ 61984 w 1757434"/>
                  <a:gd name="connsiteY638" fmla="*/ 2212975 h 2476500"/>
                  <a:gd name="connsiteX639" fmla="*/ 54047 w 1757434"/>
                  <a:gd name="connsiteY639" fmla="*/ 2214563 h 2476500"/>
                  <a:gd name="connsiteX640" fmla="*/ 49284 w 1757434"/>
                  <a:gd name="connsiteY640" fmla="*/ 2217738 h 2476500"/>
                  <a:gd name="connsiteX641" fmla="*/ 44522 w 1757434"/>
                  <a:gd name="connsiteY641" fmla="*/ 2220913 h 2476500"/>
                  <a:gd name="connsiteX642" fmla="*/ 39759 w 1757434"/>
                  <a:gd name="connsiteY642" fmla="*/ 2225675 h 2476500"/>
                  <a:gd name="connsiteX643" fmla="*/ 31822 w 1757434"/>
                  <a:gd name="connsiteY643" fmla="*/ 2235200 h 2476500"/>
                  <a:gd name="connsiteX644" fmla="*/ 27059 w 1757434"/>
                  <a:gd name="connsiteY644" fmla="*/ 2232025 h 2476500"/>
                  <a:gd name="connsiteX645" fmla="*/ 20709 w 1757434"/>
                  <a:gd name="connsiteY645" fmla="*/ 2233613 h 2476500"/>
                  <a:gd name="connsiteX646" fmla="*/ 12772 w 1757434"/>
                  <a:gd name="connsiteY646" fmla="*/ 2227263 h 2476500"/>
                  <a:gd name="connsiteX647" fmla="*/ 6422 w 1757434"/>
                  <a:gd name="connsiteY647" fmla="*/ 2236788 h 2476500"/>
                  <a:gd name="connsiteX648" fmla="*/ 4834 w 1757434"/>
                  <a:gd name="connsiteY648" fmla="*/ 2230438 h 2476500"/>
                  <a:gd name="connsiteX649" fmla="*/ 8009 w 1757434"/>
                  <a:gd name="connsiteY649" fmla="*/ 2203450 h 2476500"/>
                  <a:gd name="connsiteX650" fmla="*/ 14359 w 1757434"/>
                  <a:gd name="connsiteY650" fmla="*/ 2201863 h 2476500"/>
                  <a:gd name="connsiteX651" fmla="*/ 15947 w 1757434"/>
                  <a:gd name="connsiteY651" fmla="*/ 2192338 h 2476500"/>
                  <a:gd name="connsiteX652" fmla="*/ 17534 w 1757434"/>
                  <a:gd name="connsiteY652" fmla="*/ 2179638 h 2476500"/>
                  <a:gd name="connsiteX653" fmla="*/ 30234 w 1757434"/>
                  <a:gd name="connsiteY653" fmla="*/ 2185988 h 2476500"/>
                  <a:gd name="connsiteX654" fmla="*/ 34997 w 1757434"/>
                  <a:gd name="connsiteY654" fmla="*/ 2176463 h 2476500"/>
                  <a:gd name="connsiteX655" fmla="*/ 38172 w 1757434"/>
                  <a:gd name="connsiteY655" fmla="*/ 2171700 h 2476500"/>
                  <a:gd name="connsiteX656" fmla="*/ 49284 w 1757434"/>
                  <a:gd name="connsiteY656" fmla="*/ 2174875 h 2476500"/>
                  <a:gd name="connsiteX657" fmla="*/ 57222 w 1757434"/>
                  <a:gd name="connsiteY657" fmla="*/ 2171700 h 2476500"/>
                  <a:gd name="connsiteX658" fmla="*/ 66747 w 1757434"/>
                  <a:gd name="connsiteY658" fmla="*/ 2163763 h 2476500"/>
                  <a:gd name="connsiteX659" fmla="*/ 68334 w 1757434"/>
                  <a:gd name="connsiteY659" fmla="*/ 2168525 h 2476500"/>
                  <a:gd name="connsiteX660" fmla="*/ 79447 w 1757434"/>
                  <a:gd name="connsiteY660" fmla="*/ 2160588 h 2476500"/>
                  <a:gd name="connsiteX661" fmla="*/ 82622 w 1757434"/>
                  <a:gd name="connsiteY661" fmla="*/ 2155825 h 2476500"/>
                  <a:gd name="connsiteX662" fmla="*/ 88972 w 1757434"/>
                  <a:gd name="connsiteY662" fmla="*/ 2154238 h 2476500"/>
                  <a:gd name="connsiteX663" fmla="*/ 95322 w 1757434"/>
                  <a:gd name="connsiteY663" fmla="*/ 2151063 h 2476500"/>
                  <a:gd name="connsiteX664" fmla="*/ 100084 w 1757434"/>
                  <a:gd name="connsiteY664" fmla="*/ 2147888 h 2476500"/>
                  <a:gd name="connsiteX665" fmla="*/ 76272 w 1757434"/>
                  <a:gd name="connsiteY665" fmla="*/ 2149475 h 2476500"/>
                  <a:gd name="connsiteX666" fmla="*/ 61984 w 1757434"/>
                  <a:gd name="connsiteY666" fmla="*/ 2147888 h 2476500"/>
                  <a:gd name="connsiteX667" fmla="*/ 52459 w 1757434"/>
                  <a:gd name="connsiteY667" fmla="*/ 2149475 h 2476500"/>
                  <a:gd name="connsiteX668" fmla="*/ 55634 w 1757434"/>
                  <a:gd name="connsiteY668" fmla="*/ 2139950 h 2476500"/>
                  <a:gd name="connsiteX669" fmla="*/ 58809 w 1757434"/>
                  <a:gd name="connsiteY669" fmla="*/ 2133600 h 2476500"/>
                  <a:gd name="connsiteX670" fmla="*/ 65159 w 1757434"/>
                  <a:gd name="connsiteY670" fmla="*/ 2116138 h 2476500"/>
                  <a:gd name="connsiteX671" fmla="*/ 71509 w 1757434"/>
                  <a:gd name="connsiteY671" fmla="*/ 2109788 h 2476500"/>
                  <a:gd name="connsiteX672" fmla="*/ 81034 w 1757434"/>
                  <a:gd name="connsiteY672" fmla="*/ 2101850 h 2476500"/>
                  <a:gd name="connsiteX673" fmla="*/ 82622 w 1757434"/>
                  <a:gd name="connsiteY673" fmla="*/ 2097088 h 2476500"/>
                  <a:gd name="connsiteX674" fmla="*/ 84209 w 1757434"/>
                  <a:gd name="connsiteY674" fmla="*/ 2090738 h 2476500"/>
                  <a:gd name="connsiteX675" fmla="*/ 90559 w 1757434"/>
                  <a:gd name="connsiteY675" fmla="*/ 2087563 h 2476500"/>
                  <a:gd name="connsiteX676" fmla="*/ 96909 w 1757434"/>
                  <a:gd name="connsiteY676" fmla="*/ 2078038 h 2476500"/>
                  <a:gd name="connsiteX677" fmla="*/ 98497 w 1757434"/>
                  <a:gd name="connsiteY677" fmla="*/ 2071688 h 2476500"/>
                  <a:gd name="connsiteX678" fmla="*/ 103259 w 1757434"/>
                  <a:gd name="connsiteY678" fmla="*/ 2062163 h 2476500"/>
                  <a:gd name="connsiteX679" fmla="*/ 108022 w 1757434"/>
                  <a:gd name="connsiteY679" fmla="*/ 2058988 h 2476500"/>
                  <a:gd name="connsiteX680" fmla="*/ 115959 w 1757434"/>
                  <a:gd name="connsiteY680" fmla="*/ 2052638 h 2476500"/>
                  <a:gd name="connsiteX681" fmla="*/ 125484 w 1757434"/>
                  <a:gd name="connsiteY681" fmla="*/ 2055813 h 2476500"/>
                  <a:gd name="connsiteX682" fmla="*/ 127072 w 1757434"/>
                  <a:gd name="connsiteY682" fmla="*/ 2060575 h 2476500"/>
                  <a:gd name="connsiteX683" fmla="*/ 130247 w 1757434"/>
                  <a:gd name="connsiteY683" fmla="*/ 2089150 h 2476500"/>
                  <a:gd name="connsiteX684" fmla="*/ 131834 w 1757434"/>
                  <a:gd name="connsiteY684" fmla="*/ 2098675 h 2476500"/>
                  <a:gd name="connsiteX685" fmla="*/ 135009 w 1757434"/>
                  <a:gd name="connsiteY685" fmla="*/ 2051050 h 2476500"/>
                  <a:gd name="connsiteX686" fmla="*/ 139772 w 1757434"/>
                  <a:gd name="connsiteY686" fmla="*/ 2047875 h 2476500"/>
                  <a:gd name="connsiteX687" fmla="*/ 150884 w 1757434"/>
                  <a:gd name="connsiteY687" fmla="*/ 2036763 h 2476500"/>
                  <a:gd name="connsiteX688" fmla="*/ 155647 w 1757434"/>
                  <a:gd name="connsiteY688" fmla="*/ 2035175 h 2476500"/>
                  <a:gd name="connsiteX689" fmla="*/ 160409 w 1757434"/>
                  <a:gd name="connsiteY689" fmla="*/ 2032000 h 2476500"/>
                  <a:gd name="connsiteX690" fmla="*/ 171522 w 1757434"/>
                  <a:gd name="connsiteY690" fmla="*/ 2028825 h 2476500"/>
                  <a:gd name="connsiteX691" fmla="*/ 174697 w 1757434"/>
                  <a:gd name="connsiteY691" fmla="*/ 2020888 h 2476500"/>
                  <a:gd name="connsiteX692" fmla="*/ 161997 w 1757434"/>
                  <a:gd name="connsiteY692" fmla="*/ 2022475 h 2476500"/>
                  <a:gd name="connsiteX693" fmla="*/ 154059 w 1757434"/>
                  <a:gd name="connsiteY693" fmla="*/ 2025650 h 2476500"/>
                  <a:gd name="connsiteX694" fmla="*/ 146122 w 1757434"/>
                  <a:gd name="connsiteY694" fmla="*/ 2027238 h 2476500"/>
                  <a:gd name="connsiteX695" fmla="*/ 139772 w 1757434"/>
                  <a:gd name="connsiteY695" fmla="*/ 2028825 h 2476500"/>
                  <a:gd name="connsiteX696" fmla="*/ 133422 w 1757434"/>
                  <a:gd name="connsiteY696" fmla="*/ 2032000 h 2476500"/>
                  <a:gd name="connsiteX697" fmla="*/ 119134 w 1757434"/>
                  <a:gd name="connsiteY697" fmla="*/ 2035175 h 2476500"/>
                  <a:gd name="connsiteX698" fmla="*/ 96909 w 1757434"/>
                  <a:gd name="connsiteY698" fmla="*/ 2043113 h 2476500"/>
                  <a:gd name="connsiteX699" fmla="*/ 92147 w 1757434"/>
                  <a:gd name="connsiteY699" fmla="*/ 2054225 h 2476500"/>
                  <a:gd name="connsiteX700" fmla="*/ 87384 w 1757434"/>
                  <a:gd name="connsiteY700" fmla="*/ 2058988 h 2476500"/>
                  <a:gd name="connsiteX701" fmla="*/ 82622 w 1757434"/>
                  <a:gd name="connsiteY701" fmla="*/ 2073275 h 2476500"/>
                  <a:gd name="connsiteX702" fmla="*/ 79447 w 1757434"/>
                  <a:gd name="connsiteY702" fmla="*/ 2079625 h 2476500"/>
                  <a:gd name="connsiteX703" fmla="*/ 76272 w 1757434"/>
                  <a:gd name="connsiteY703" fmla="*/ 2087563 h 2476500"/>
                  <a:gd name="connsiteX704" fmla="*/ 46109 w 1757434"/>
                  <a:gd name="connsiteY704" fmla="*/ 2089150 h 2476500"/>
                  <a:gd name="connsiteX705" fmla="*/ 44522 w 1757434"/>
                  <a:gd name="connsiteY705" fmla="*/ 2095500 h 2476500"/>
                  <a:gd name="connsiteX706" fmla="*/ 38172 w 1757434"/>
                  <a:gd name="connsiteY706" fmla="*/ 2092325 h 2476500"/>
                  <a:gd name="connsiteX707" fmla="*/ 46109 w 1757434"/>
                  <a:gd name="connsiteY707" fmla="*/ 2073275 h 2476500"/>
                  <a:gd name="connsiteX708" fmla="*/ 47697 w 1757434"/>
                  <a:gd name="connsiteY708" fmla="*/ 2068513 h 2476500"/>
                  <a:gd name="connsiteX709" fmla="*/ 49284 w 1757434"/>
                  <a:gd name="connsiteY709" fmla="*/ 2054225 h 2476500"/>
                  <a:gd name="connsiteX710" fmla="*/ 55634 w 1757434"/>
                  <a:gd name="connsiteY710" fmla="*/ 2047875 h 2476500"/>
                  <a:gd name="connsiteX711" fmla="*/ 58809 w 1757434"/>
                  <a:gd name="connsiteY711" fmla="*/ 2043113 h 2476500"/>
                  <a:gd name="connsiteX712" fmla="*/ 44522 w 1757434"/>
                  <a:gd name="connsiteY712" fmla="*/ 2054225 h 2476500"/>
                  <a:gd name="connsiteX713" fmla="*/ 27059 w 1757434"/>
                  <a:gd name="connsiteY713" fmla="*/ 2073275 h 2476500"/>
                  <a:gd name="connsiteX714" fmla="*/ 22297 w 1757434"/>
                  <a:gd name="connsiteY714" fmla="*/ 2071688 h 2476500"/>
                  <a:gd name="connsiteX715" fmla="*/ 20709 w 1757434"/>
                  <a:gd name="connsiteY715" fmla="*/ 2065338 h 2476500"/>
                  <a:gd name="connsiteX716" fmla="*/ 25472 w 1757434"/>
                  <a:gd name="connsiteY716" fmla="*/ 2052638 h 2476500"/>
                  <a:gd name="connsiteX717" fmla="*/ 19122 w 1757434"/>
                  <a:gd name="connsiteY717" fmla="*/ 2049463 h 2476500"/>
                  <a:gd name="connsiteX718" fmla="*/ 12772 w 1757434"/>
                  <a:gd name="connsiteY718" fmla="*/ 2047875 h 2476500"/>
                  <a:gd name="connsiteX719" fmla="*/ 15947 w 1757434"/>
                  <a:gd name="connsiteY719" fmla="*/ 2043113 h 2476500"/>
                  <a:gd name="connsiteX720" fmla="*/ 14359 w 1757434"/>
                  <a:gd name="connsiteY720" fmla="*/ 2036763 h 2476500"/>
                  <a:gd name="connsiteX721" fmla="*/ 30234 w 1757434"/>
                  <a:gd name="connsiteY721" fmla="*/ 2025650 h 2476500"/>
                  <a:gd name="connsiteX722" fmla="*/ 39759 w 1757434"/>
                  <a:gd name="connsiteY722" fmla="*/ 2030413 h 2476500"/>
                  <a:gd name="connsiteX723" fmla="*/ 42934 w 1757434"/>
                  <a:gd name="connsiteY723" fmla="*/ 2035175 h 2476500"/>
                  <a:gd name="connsiteX724" fmla="*/ 50872 w 1757434"/>
                  <a:gd name="connsiteY724" fmla="*/ 2036763 h 2476500"/>
                  <a:gd name="connsiteX725" fmla="*/ 58809 w 1757434"/>
                  <a:gd name="connsiteY725" fmla="*/ 2030413 h 2476500"/>
                  <a:gd name="connsiteX726" fmla="*/ 58809 w 1757434"/>
                  <a:gd name="connsiteY726" fmla="*/ 2014538 h 2476500"/>
                  <a:gd name="connsiteX727" fmla="*/ 50872 w 1757434"/>
                  <a:gd name="connsiteY727" fmla="*/ 2016125 h 2476500"/>
                  <a:gd name="connsiteX728" fmla="*/ 46109 w 1757434"/>
                  <a:gd name="connsiteY728" fmla="*/ 2022475 h 2476500"/>
                  <a:gd name="connsiteX729" fmla="*/ 34997 w 1757434"/>
                  <a:gd name="connsiteY729" fmla="*/ 2020888 h 2476500"/>
                  <a:gd name="connsiteX730" fmla="*/ 31822 w 1757434"/>
                  <a:gd name="connsiteY730" fmla="*/ 2014538 h 2476500"/>
                  <a:gd name="connsiteX731" fmla="*/ 49284 w 1757434"/>
                  <a:gd name="connsiteY731" fmla="*/ 1997075 h 2476500"/>
                  <a:gd name="connsiteX732" fmla="*/ 60397 w 1757434"/>
                  <a:gd name="connsiteY732" fmla="*/ 1992313 h 2476500"/>
                  <a:gd name="connsiteX733" fmla="*/ 50872 w 1757434"/>
                  <a:gd name="connsiteY733" fmla="*/ 1984375 h 2476500"/>
                  <a:gd name="connsiteX734" fmla="*/ 38172 w 1757434"/>
                  <a:gd name="connsiteY734" fmla="*/ 1985963 h 2476500"/>
                  <a:gd name="connsiteX735" fmla="*/ 41347 w 1757434"/>
                  <a:gd name="connsiteY735" fmla="*/ 1979613 h 2476500"/>
                  <a:gd name="connsiteX736" fmla="*/ 46109 w 1757434"/>
                  <a:gd name="connsiteY736" fmla="*/ 1968500 h 2476500"/>
                  <a:gd name="connsiteX737" fmla="*/ 38172 w 1757434"/>
                  <a:gd name="connsiteY737" fmla="*/ 1966913 h 2476500"/>
                  <a:gd name="connsiteX738" fmla="*/ 31822 w 1757434"/>
                  <a:gd name="connsiteY738" fmla="*/ 1968500 h 2476500"/>
                  <a:gd name="connsiteX739" fmla="*/ 33409 w 1757434"/>
                  <a:gd name="connsiteY739" fmla="*/ 1963738 h 2476500"/>
                  <a:gd name="connsiteX740" fmla="*/ 42934 w 1757434"/>
                  <a:gd name="connsiteY740" fmla="*/ 1952625 h 2476500"/>
                  <a:gd name="connsiteX741" fmla="*/ 30234 w 1757434"/>
                  <a:gd name="connsiteY741" fmla="*/ 1954213 h 2476500"/>
                  <a:gd name="connsiteX742" fmla="*/ 8009 w 1757434"/>
                  <a:gd name="connsiteY742" fmla="*/ 1958975 h 2476500"/>
                  <a:gd name="connsiteX743" fmla="*/ 4834 w 1757434"/>
                  <a:gd name="connsiteY743" fmla="*/ 1954213 h 2476500"/>
                  <a:gd name="connsiteX744" fmla="*/ 8009 w 1757434"/>
                  <a:gd name="connsiteY744" fmla="*/ 1920875 h 2476500"/>
                  <a:gd name="connsiteX745" fmla="*/ 11184 w 1757434"/>
                  <a:gd name="connsiteY745" fmla="*/ 1916113 h 2476500"/>
                  <a:gd name="connsiteX746" fmla="*/ 15947 w 1757434"/>
                  <a:gd name="connsiteY746" fmla="*/ 1914525 h 2476500"/>
                  <a:gd name="connsiteX747" fmla="*/ 20709 w 1757434"/>
                  <a:gd name="connsiteY747" fmla="*/ 1916113 h 2476500"/>
                  <a:gd name="connsiteX748" fmla="*/ 25472 w 1757434"/>
                  <a:gd name="connsiteY748" fmla="*/ 1919288 h 2476500"/>
                  <a:gd name="connsiteX749" fmla="*/ 34997 w 1757434"/>
                  <a:gd name="connsiteY749" fmla="*/ 1917700 h 2476500"/>
                  <a:gd name="connsiteX750" fmla="*/ 39759 w 1757434"/>
                  <a:gd name="connsiteY750" fmla="*/ 1914525 h 2476500"/>
                  <a:gd name="connsiteX751" fmla="*/ 49284 w 1757434"/>
                  <a:gd name="connsiteY751" fmla="*/ 1912938 h 2476500"/>
                  <a:gd name="connsiteX752" fmla="*/ 54047 w 1757434"/>
                  <a:gd name="connsiteY752" fmla="*/ 1911747 h 2476500"/>
                  <a:gd name="connsiteX753" fmla="*/ 58077 w 1757434"/>
                  <a:gd name="connsiteY753" fmla="*/ 1911839 h 2476500"/>
                  <a:gd name="connsiteX754" fmla="*/ 63572 w 1757434"/>
                  <a:gd name="connsiteY754" fmla="*/ 1912938 h 2476500"/>
                  <a:gd name="connsiteX755" fmla="*/ 66308 w 1757434"/>
                  <a:gd name="connsiteY755" fmla="*/ 1912026 h 2476500"/>
                  <a:gd name="connsiteX756" fmla="*/ 69847 w 1757434"/>
                  <a:gd name="connsiteY756" fmla="*/ 1912106 h 2476500"/>
                  <a:gd name="connsiteX757" fmla="*/ 74684 w 1757434"/>
                  <a:gd name="connsiteY757" fmla="*/ 1914525 h 2476500"/>
                  <a:gd name="connsiteX758" fmla="*/ 76272 w 1757434"/>
                  <a:gd name="connsiteY758" fmla="*/ 1922463 h 2476500"/>
                  <a:gd name="connsiteX759" fmla="*/ 81034 w 1757434"/>
                  <a:gd name="connsiteY759" fmla="*/ 1919288 h 2476500"/>
                  <a:gd name="connsiteX760" fmla="*/ 82622 w 1757434"/>
                  <a:gd name="connsiteY760" fmla="*/ 1914525 h 2476500"/>
                  <a:gd name="connsiteX761" fmla="*/ 84703 w 1757434"/>
                  <a:gd name="connsiteY761" fmla="*/ 1912444 h 2476500"/>
                  <a:gd name="connsiteX762" fmla="*/ 91336 w 1757434"/>
                  <a:gd name="connsiteY762" fmla="*/ 1912595 h 2476500"/>
                  <a:gd name="connsiteX763" fmla="*/ 90357 w 1757434"/>
                  <a:gd name="connsiteY763" fmla="*/ 1913487 h 2476500"/>
                  <a:gd name="connsiteX764" fmla="*/ 95322 w 1757434"/>
                  <a:gd name="connsiteY764" fmla="*/ 1920875 h 2476500"/>
                  <a:gd name="connsiteX765" fmla="*/ 104847 w 1757434"/>
                  <a:gd name="connsiteY765" fmla="*/ 1922463 h 2476500"/>
                  <a:gd name="connsiteX766" fmla="*/ 109609 w 1757434"/>
                  <a:gd name="connsiteY766" fmla="*/ 1925638 h 2476500"/>
                  <a:gd name="connsiteX767" fmla="*/ 114372 w 1757434"/>
                  <a:gd name="connsiteY767" fmla="*/ 1931988 h 2476500"/>
                  <a:gd name="connsiteX768" fmla="*/ 119134 w 1757434"/>
                  <a:gd name="connsiteY768" fmla="*/ 1930400 h 2476500"/>
                  <a:gd name="connsiteX769" fmla="*/ 136597 w 1757434"/>
                  <a:gd name="connsiteY769" fmla="*/ 1925638 h 2476500"/>
                  <a:gd name="connsiteX770" fmla="*/ 141359 w 1757434"/>
                  <a:gd name="connsiteY770" fmla="*/ 1919288 h 2476500"/>
                  <a:gd name="connsiteX771" fmla="*/ 142947 w 1757434"/>
                  <a:gd name="connsiteY771" fmla="*/ 1912938 h 2476500"/>
                  <a:gd name="connsiteX772" fmla="*/ 147709 w 1757434"/>
                  <a:gd name="connsiteY772" fmla="*/ 1909763 h 2476500"/>
                  <a:gd name="connsiteX773" fmla="*/ 149297 w 1757434"/>
                  <a:gd name="connsiteY773" fmla="*/ 1914525 h 2476500"/>
                  <a:gd name="connsiteX774" fmla="*/ 150884 w 1757434"/>
                  <a:gd name="connsiteY774" fmla="*/ 1924050 h 2476500"/>
                  <a:gd name="connsiteX775" fmla="*/ 157234 w 1757434"/>
                  <a:gd name="connsiteY775" fmla="*/ 1930400 h 2476500"/>
                  <a:gd name="connsiteX776" fmla="*/ 158822 w 1757434"/>
                  <a:gd name="connsiteY776" fmla="*/ 1935163 h 2476500"/>
                  <a:gd name="connsiteX777" fmla="*/ 161997 w 1757434"/>
                  <a:gd name="connsiteY777" fmla="*/ 1939925 h 2476500"/>
                  <a:gd name="connsiteX778" fmla="*/ 165172 w 1757434"/>
                  <a:gd name="connsiteY778" fmla="*/ 1951038 h 2476500"/>
                  <a:gd name="connsiteX779" fmla="*/ 171522 w 1757434"/>
                  <a:gd name="connsiteY779" fmla="*/ 1960563 h 2476500"/>
                  <a:gd name="connsiteX780" fmla="*/ 171522 w 1757434"/>
                  <a:gd name="connsiteY780" fmla="*/ 1963738 h 2476500"/>
                  <a:gd name="connsiteX781" fmla="*/ 174697 w 1757434"/>
                  <a:gd name="connsiteY781" fmla="*/ 1957388 h 2476500"/>
                  <a:gd name="connsiteX782" fmla="*/ 181047 w 1757434"/>
                  <a:gd name="connsiteY782" fmla="*/ 1955800 h 2476500"/>
                  <a:gd name="connsiteX783" fmla="*/ 193747 w 1757434"/>
                  <a:gd name="connsiteY783" fmla="*/ 1955800 h 2476500"/>
                  <a:gd name="connsiteX784" fmla="*/ 187397 w 1757434"/>
                  <a:gd name="connsiteY784" fmla="*/ 1952625 h 2476500"/>
                  <a:gd name="connsiteX785" fmla="*/ 176284 w 1757434"/>
                  <a:gd name="connsiteY785" fmla="*/ 1941513 h 2476500"/>
                  <a:gd name="connsiteX786" fmla="*/ 174697 w 1757434"/>
                  <a:gd name="connsiteY786" fmla="*/ 1935163 h 2476500"/>
                  <a:gd name="connsiteX787" fmla="*/ 169934 w 1757434"/>
                  <a:gd name="connsiteY787" fmla="*/ 1931988 h 2476500"/>
                  <a:gd name="connsiteX788" fmla="*/ 166759 w 1757434"/>
                  <a:gd name="connsiteY788" fmla="*/ 1927225 h 2476500"/>
                  <a:gd name="connsiteX789" fmla="*/ 169934 w 1757434"/>
                  <a:gd name="connsiteY789" fmla="*/ 1917700 h 2476500"/>
                  <a:gd name="connsiteX790" fmla="*/ 188984 w 1757434"/>
                  <a:gd name="connsiteY790" fmla="*/ 1924050 h 2476500"/>
                  <a:gd name="connsiteX791" fmla="*/ 198509 w 1757434"/>
                  <a:gd name="connsiteY791" fmla="*/ 1922463 h 2476500"/>
                  <a:gd name="connsiteX792" fmla="*/ 201684 w 1757434"/>
                  <a:gd name="connsiteY792" fmla="*/ 1909763 h 2476500"/>
                  <a:gd name="connsiteX793" fmla="*/ 204859 w 1757434"/>
                  <a:gd name="connsiteY793" fmla="*/ 1905000 h 2476500"/>
                  <a:gd name="connsiteX794" fmla="*/ 205654 w 1757434"/>
                  <a:gd name="connsiteY794" fmla="*/ 1896263 h 2476500"/>
                  <a:gd name="connsiteX795" fmla="*/ 213721 w 1757434"/>
                  <a:gd name="connsiteY795" fmla="*/ 1888139 h 2476500"/>
                  <a:gd name="connsiteX796" fmla="*/ 212797 w 1757434"/>
                  <a:gd name="connsiteY796" fmla="*/ 1865313 h 2476500"/>
                  <a:gd name="connsiteX797" fmla="*/ 211209 w 1757434"/>
                  <a:gd name="connsiteY797" fmla="*/ 1884363 h 2476500"/>
                  <a:gd name="connsiteX798" fmla="*/ 206447 w 1757434"/>
                  <a:gd name="connsiteY798" fmla="*/ 1887538 h 2476500"/>
                  <a:gd name="connsiteX799" fmla="*/ 205654 w 1757434"/>
                  <a:gd name="connsiteY799" fmla="*/ 1896263 h 2476500"/>
                  <a:gd name="connsiteX800" fmla="*/ 204859 w 1757434"/>
                  <a:gd name="connsiteY800" fmla="*/ 1897063 h 2476500"/>
                  <a:gd name="connsiteX801" fmla="*/ 198509 w 1757434"/>
                  <a:gd name="connsiteY801" fmla="*/ 1908175 h 2476500"/>
                  <a:gd name="connsiteX802" fmla="*/ 182634 w 1757434"/>
                  <a:gd name="connsiteY802" fmla="*/ 1911350 h 2476500"/>
                  <a:gd name="connsiteX803" fmla="*/ 161997 w 1757434"/>
                  <a:gd name="connsiteY803" fmla="*/ 1914525 h 2476500"/>
                  <a:gd name="connsiteX804" fmla="*/ 158822 w 1757434"/>
                  <a:gd name="connsiteY804" fmla="*/ 1909763 h 2476500"/>
                  <a:gd name="connsiteX805" fmla="*/ 146122 w 1757434"/>
                  <a:gd name="connsiteY805" fmla="*/ 1908175 h 2476500"/>
                  <a:gd name="connsiteX806" fmla="*/ 142947 w 1757434"/>
                  <a:gd name="connsiteY806" fmla="*/ 1900238 h 2476500"/>
                  <a:gd name="connsiteX807" fmla="*/ 145179 w 1757434"/>
                  <a:gd name="connsiteY807" fmla="*/ 1890564 h 2476500"/>
                  <a:gd name="connsiteX808" fmla="*/ 150884 w 1757434"/>
                  <a:gd name="connsiteY808" fmla="*/ 1878013 h 2476500"/>
                  <a:gd name="connsiteX809" fmla="*/ 152119 w 1757434"/>
                  <a:gd name="connsiteY809" fmla="*/ 1874309 h 2476500"/>
                  <a:gd name="connsiteX810" fmla="*/ 155647 w 1757434"/>
                  <a:gd name="connsiteY810" fmla="*/ 1870075 h 2476500"/>
                  <a:gd name="connsiteX811" fmla="*/ 157234 w 1757434"/>
                  <a:gd name="connsiteY811" fmla="*/ 1863725 h 2476500"/>
                  <a:gd name="connsiteX812" fmla="*/ 154059 w 1757434"/>
                  <a:gd name="connsiteY812" fmla="*/ 1868488 h 2476500"/>
                  <a:gd name="connsiteX813" fmla="*/ 152119 w 1757434"/>
                  <a:gd name="connsiteY813" fmla="*/ 1874309 h 2476500"/>
                  <a:gd name="connsiteX814" fmla="*/ 147709 w 1757434"/>
                  <a:gd name="connsiteY814" fmla="*/ 1879600 h 2476500"/>
                  <a:gd name="connsiteX815" fmla="*/ 145179 w 1757434"/>
                  <a:gd name="connsiteY815" fmla="*/ 1890564 h 2476500"/>
                  <a:gd name="connsiteX816" fmla="*/ 142947 w 1757434"/>
                  <a:gd name="connsiteY816" fmla="*/ 1895475 h 2476500"/>
                  <a:gd name="connsiteX817" fmla="*/ 135009 w 1757434"/>
                  <a:gd name="connsiteY817" fmla="*/ 1914525 h 2476500"/>
                  <a:gd name="connsiteX818" fmla="*/ 125484 w 1757434"/>
                  <a:gd name="connsiteY818" fmla="*/ 1922463 h 2476500"/>
                  <a:gd name="connsiteX819" fmla="*/ 119134 w 1757434"/>
                  <a:gd name="connsiteY819" fmla="*/ 1919288 h 2476500"/>
                  <a:gd name="connsiteX820" fmla="*/ 111197 w 1757434"/>
                  <a:gd name="connsiteY820" fmla="*/ 1914525 h 2476500"/>
                  <a:gd name="connsiteX821" fmla="*/ 106434 w 1757434"/>
                  <a:gd name="connsiteY821" fmla="*/ 1912938 h 2476500"/>
                  <a:gd name="connsiteX822" fmla="*/ 91336 w 1757434"/>
                  <a:gd name="connsiteY822" fmla="*/ 1912595 h 2476500"/>
                  <a:gd name="connsiteX823" fmla="*/ 92608 w 1757434"/>
                  <a:gd name="connsiteY823" fmla="*/ 1911436 h 2476500"/>
                  <a:gd name="connsiteX824" fmla="*/ 87384 w 1757434"/>
                  <a:gd name="connsiteY824" fmla="*/ 1909763 h 2476500"/>
                  <a:gd name="connsiteX825" fmla="*/ 84703 w 1757434"/>
                  <a:gd name="connsiteY825" fmla="*/ 1912444 h 2476500"/>
                  <a:gd name="connsiteX826" fmla="*/ 69847 w 1757434"/>
                  <a:gd name="connsiteY826" fmla="*/ 1912106 h 2476500"/>
                  <a:gd name="connsiteX827" fmla="*/ 68334 w 1757434"/>
                  <a:gd name="connsiteY827" fmla="*/ 1911350 h 2476500"/>
                  <a:gd name="connsiteX828" fmla="*/ 66308 w 1757434"/>
                  <a:gd name="connsiteY828" fmla="*/ 1912026 h 2476500"/>
                  <a:gd name="connsiteX829" fmla="*/ 58077 w 1757434"/>
                  <a:gd name="connsiteY829" fmla="*/ 1911839 h 2476500"/>
                  <a:gd name="connsiteX830" fmla="*/ 55634 w 1757434"/>
                  <a:gd name="connsiteY830" fmla="*/ 1911350 h 2476500"/>
                  <a:gd name="connsiteX831" fmla="*/ 54047 w 1757434"/>
                  <a:gd name="connsiteY831" fmla="*/ 1911747 h 2476500"/>
                  <a:gd name="connsiteX832" fmla="*/ 36584 w 1757434"/>
                  <a:gd name="connsiteY832" fmla="*/ 1911350 h 2476500"/>
                  <a:gd name="connsiteX833" fmla="*/ 30234 w 1757434"/>
                  <a:gd name="connsiteY833" fmla="*/ 1909763 h 2476500"/>
                  <a:gd name="connsiteX834" fmla="*/ 20709 w 1757434"/>
                  <a:gd name="connsiteY834" fmla="*/ 1909763 h 2476500"/>
                  <a:gd name="connsiteX835" fmla="*/ 15947 w 1757434"/>
                  <a:gd name="connsiteY835" fmla="*/ 1905000 h 2476500"/>
                  <a:gd name="connsiteX836" fmla="*/ 8009 w 1757434"/>
                  <a:gd name="connsiteY836" fmla="*/ 1905000 h 2476500"/>
                  <a:gd name="connsiteX837" fmla="*/ 12772 w 1757434"/>
                  <a:gd name="connsiteY837" fmla="*/ 1893888 h 2476500"/>
                  <a:gd name="connsiteX838" fmla="*/ 19122 w 1757434"/>
                  <a:gd name="connsiteY838" fmla="*/ 1881188 h 2476500"/>
                  <a:gd name="connsiteX839" fmla="*/ 20709 w 1757434"/>
                  <a:gd name="connsiteY839" fmla="*/ 1876425 h 2476500"/>
                  <a:gd name="connsiteX840" fmla="*/ 22297 w 1757434"/>
                  <a:gd name="connsiteY840" fmla="*/ 1863725 h 2476500"/>
                  <a:gd name="connsiteX841" fmla="*/ 27059 w 1757434"/>
                  <a:gd name="connsiteY841" fmla="*/ 1858963 h 2476500"/>
                  <a:gd name="connsiteX842" fmla="*/ 31822 w 1757434"/>
                  <a:gd name="connsiteY842" fmla="*/ 1862138 h 2476500"/>
                  <a:gd name="connsiteX843" fmla="*/ 39759 w 1757434"/>
                  <a:gd name="connsiteY843" fmla="*/ 1865313 h 2476500"/>
                  <a:gd name="connsiteX844" fmla="*/ 50872 w 1757434"/>
                  <a:gd name="connsiteY844" fmla="*/ 1870075 h 2476500"/>
                  <a:gd name="connsiteX845" fmla="*/ 71509 w 1757434"/>
                  <a:gd name="connsiteY845" fmla="*/ 1857375 h 2476500"/>
                  <a:gd name="connsiteX846" fmla="*/ 76272 w 1757434"/>
                  <a:gd name="connsiteY846" fmla="*/ 1855788 h 2476500"/>
                  <a:gd name="connsiteX847" fmla="*/ 52459 w 1757434"/>
                  <a:gd name="connsiteY847" fmla="*/ 1855788 h 2476500"/>
                  <a:gd name="connsiteX848" fmla="*/ 44522 w 1757434"/>
                  <a:gd name="connsiteY848" fmla="*/ 1852613 h 2476500"/>
                  <a:gd name="connsiteX849" fmla="*/ 38172 w 1757434"/>
                  <a:gd name="connsiteY849" fmla="*/ 1838325 h 2476500"/>
                  <a:gd name="connsiteX850" fmla="*/ 25472 w 1757434"/>
                  <a:gd name="connsiteY850" fmla="*/ 1831975 h 2476500"/>
                  <a:gd name="connsiteX851" fmla="*/ 27059 w 1757434"/>
                  <a:gd name="connsiteY851" fmla="*/ 1827213 h 2476500"/>
                  <a:gd name="connsiteX852" fmla="*/ 38172 w 1757434"/>
                  <a:gd name="connsiteY852" fmla="*/ 1817688 h 2476500"/>
                  <a:gd name="connsiteX853" fmla="*/ 34997 w 1757434"/>
                  <a:gd name="connsiteY853" fmla="*/ 1812925 h 2476500"/>
                  <a:gd name="connsiteX854" fmla="*/ 31822 w 1757434"/>
                  <a:gd name="connsiteY854" fmla="*/ 1806575 h 2476500"/>
                  <a:gd name="connsiteX855" fmla="*/ 23884 w 1757434"/>
                  <a:gd name="connsiteY855" fmla="*/ 1808163 h 2476500"/>
                  <a:gd name="connsiteX856" fmla="*/ 17534 w 1757434"/>
                  <a:gd name="connsiteY856" fmla="*/ 1811338 h 2476500"/>
                  <a:gd name="connsiteX857" fmla="*/ 25472 w 1757434"/>
                  <a:gd name="connsiteY857" fmla="*/ 1798638 h 2476500"/>
                  <a:gd name="connsiteX858" fmla="*/ 20709 w 1757434"/>
                  <a:gd name="connsiteY858" fmla="*/ 1790700 h 2476500"/>
                  <a:gd name="connsiteX859" fmla="*/ 17534 w 1757434"/>
                  <a:gd name="connsiteY859" fmla="*/ 1785938 h 2476500"/>
                  <a:gd name="connsiteX860" fmla="*/ 19122 w 1757434"/>
                  <a:gd name="connsiteY860" fmla="*/ 1781175 h 2476500"/>
                  <a:gd name="connsiteX861" fmla="*/ 20709 w 1757434"/>
                  <a:gd name="connsiteY861" fmla="*/ 1770063 h 2476500"/>
                  <a:gd name="connsiteX862" fmla="*/ 23884 w 1757434"/>
                  <a:gd name="connsiteY862" fmla="*/ 1776413 h 2476500"/>
                  <a:gd name="connsiteX863" fmla="*/ 33409 w 1757434"/>
                  <a:gd name="connsiteY863" fmla="*/ 1782763 h 2476500"/>
                  <a:gd name="connsiteX864" fmla="*/ 41347 w 1757434"/>
                  <a:gd name="connsiteY864" fmla="*/ 1762125 h 2476500"/>
                  <a:gd name="connsiteX865" fmla="*/ 47697 w 1757434"/>
                  <a:gd name="connsiteY865" fmla="*/ 1763713 h 2476500"/>
                  <a:gd name="connsiteX866" fmla="*/ 55634 w 1757434"/>
                  <a:gd name="connsiteY866" fmla="*/ 1766888 h 2476500"/>
                  <a:gd name="connsiteX867" fmla="*/ 60397 w 1757434"/>
                  <a:gd name="connsiteY867" fmla="*/ 1763713 h 2476500"/>
                  <a:gd name="connsiteX868" fmla="*/ 63822 w 1757434"/>
                  <a:gd name="connsiteY868" fmla="*/ 1764461 h 2476500"/>
                  <a:gd name="connsiteX869" fmla="*/ 65159 w 1757434"/>
                  <a:gd name="connsiteY869" fmla="*/ 1773238 h 2476500"/>
                  <a:gd name="connsiteX870" fmla="*/ 73357 w 1757434"/>
                  <a:gd name="connsiteY870" fmla="*/ 1774356 h 2476500"/>
                  <a:gd name="connsiteX871" fmla="*/ 76272 w 1757434"/>
                  <a:gd name="connsiteY871" fmla="*/ 1778000 h 2476500"/>
                  <a:gd name="connsiteX872" fmla="*/ 85797 w 1757434"/>
                  <a:gd name="connsiteY872" fmla="*/ 1781175 h 2476500"/>
                  <a:gd name="connsiteX873" fmla="*/ 90559 w 1757434"/>
                  <a:gd name="connsiteY873" fmla="*/ 1782763 h 2476500"/>
                  <a:gd name="connsiteX874" fmla="*/ 103259 w 1757434"/>
                  <a:gd name="connsiteY874" fmla="*/ 1781175 h 2476500"/>
                  <a:gd name="connsiteX875" fmla="*/ 104847 w 1757434"/>
                  <a:gd name="connsiteY875" fmla="*/ 1785938 h 2476500"/>
                  <a:gd name="connsiteX876" fmla="*/ 109609 w 1757434"/>
                  <a:gd name="connsiteY876" fmla="*/ 1789113 h 2476500"/>
                  <a:gd name="connsiteX877" fmla="*/ 106434 w 1757434"/>
                  <a:gd name="connsiteY877" fmla="*/ 1800225 h 2476500"/>
                  <a:gd name="connsiteX878" fmla="*/ 111197 w 1757434"/>
                  <a:gd name="connsiteY878" fmla="*/ 1792288 h 2476500"/>
                  <a:gd name="connsiteX879" fmla="*/ 117547 w 1757434"/>
                  <a:gd name="connsiteY879" fmla="*/ 1793875 h 2476500"/>
                  <a:gd name="connsiteX880" fmla="*/ 123897 w 1757434"/>
                  <a:gd name="connsiteY880" fmla="*/ 1797050 h 2476500"/>
                  <a:gd name="connsiteX881" fmla="*/ 125484 w 1757434"/>
                  <a:gd name="connsiteY881" fmla="*/ 1789113 h 2476500"/>
                  <a:gd name="connsiteX882" fmla="*/ 135009 w 1757434"/>
                  <a:gd name="connsiteY882" fmla="*/ 1793875 h 2476500"/>
                  <a:gd name="connsiteX883" fmla="*/ 142947 w 1757434"/>
                  <a:gd name="connsiteY883" fmla="*/ 1792288 h 2476500"/>
                  <a:gd name="connsiteX884" fmla="*/ 147709 w 1757434"/>
                  <a:gd name="connsiteY884" fmla="*/ 1787525 h 2476500"/>
                  <a:gd name="connsiteX885" fmla="*/ 152472 w 1757434"/>
                  <a:gd name="connsiteY885" fmla="*/ 1778000 h 2476500"/>
                  <a:gd name="connsiteX886" fmla="*/ 160409 w 1757434"/>
                  <a:gd name="connsiteY886" fmla="*/ 1773238 h 2476500"/>
                  <a:gd name="connsiteX887" fmla="*/ 165172 w 1757434"/>
                  <a:gd name="connsiteY887" fmla="*/ 1771650 h 2476500"/>
                  <a:gd name="connsiteX888" fmla="*/ 149297 w 1757434"/>
                  <a:gd name="connsiteY888" fmla="*/ 1776413 h 2476500"/>
                  <a:gd name="connsiteX889" fmla="*/ 142947 w 1757434"/>
                  <a:gd name="connsiteY889" fmla="*/ 1778000 h 2476500"/>
                  <a:gd name="connsiteX890" fmla="*/ 135009 w 1757434"/>
                  <a:gd name="connsiteY890" fmla="*/ 1781175 h 2476500"/>
                  <a:gd name="connsiteX891" fmla="*/ 122309 w 1757434"/>
                  <a:gd name="connsiteY891" fmla="*/ 1784350 h 2476500"/>
                  <a:gd name="connsiteX892" fmla="*/ 117547 w 1757434"/>
                  <a:gd name="connsiteY892" fmla="*/ 1785938 h 2476500"/>
                  <a:gd name="connsiteX893" fmla="*/ 112784 w 1757434"/>
                  <a:gd name="connsiteY893" fmla="*/ 1781175 h 2476500"/>
                  <a:gd name="connsiteX894" fmla="*/ 100084 w 1757434"/>
                  <a:gd name="connsiteY894" fmla="*/ 1778000 h 2476500"/>
                  <a:gd name="connsiteX895" fmla="*/ 73357 w 1757434"/>
                  <a:gd name="connsiteY895" fmla="*/ 1774356 h 2476500"/>
                  <a:gd name="connsiteX896" fmla="*/ 69922 w 1757434"/>
                  <a:gd name="connsiteY896" fmla="*/ 1770063 h 2476500"/>
                  <a:gd name="connsiteX897" fmla="*/ 66515 w 1757434"/>
                  <a:gd name="connsiteY897" fmla="*/ 1765049 h 2476500"/>
                  <a:gd name="connsiteX898" fmla="*/ 63822 w 1757434"/>
                  <a:gd name="connsiteY898" fmla="*/ 1764461 h 2476500"/>
                  <a:gd name="connsiteX899" fmla="*/ 63141 w 1757434"/>
                  <a:gd name="connsiteY899" fmla="*/ 1759987 h 2476500"/>
                  <a:gd name="connsiteX900" fmla="*/ 55634 w 1757434"/>
                  <a:gd name="connsiteY900" fmla="*/ 1757363 h 2476500"/>
                  <a:gd name="connsiteX901" fmla="*/ 50872 w 1757434"/>
                  <a:gd name="connsiteY901" fmla="*/ 1755775 h 2476500"/>
                  <a:gd name="connsiteX902" fmla="*/ 52459 w 1757434"/>
                  <a:gd name="connsiteY902" fmla="*/ 1747838 h 2476500"/>
                  <a:gd name="connsiteX903" fmla="*/ 57222 w 1757434"/>
                  <a:gd name="connsiteY903" fmla="*/ 1730375 h 2476500"/>
                  <a:gd name="connsiteX904" fmla="*/ 61984 w 1757434"/>
                  <a:gd name="connsiteY904" fmla="*/ 1728788 h 2476500"/>
                  <a:gd name="connsiteX905" fmla="*/ 66747 w 1757434"/>
                  <a:gd name="connsiteY905" fmla="*/ 1725613 h 2476500"/>
                  <a:gd name="connsiteX906" fmla="*/ 85858 w 1757434"/>
                  <a:gd name="connsiteY906" fmla="*/ 1728161 h 2476500"/>
                  <a:gd name="connsiteX907" fmla="*/ 85797 w 1757434"/>
                  <a:gd name="connsiteY907" fmla="*/ 1728788 h 2476500"/>
                  <a:gd name="connsiteX908" fmla="*/ 91858 w 1757434"/>
                  <a:gd name="connsiteY908" fmla="*/ 1729654 h 2476500"/>
                  <a:gd name="connsiteX909" fmla="*/ 95322 w 1757434"/>
                  <a:gd name="connsiteY909" fmla="*/ 1731963 h 2476500"/>
                  <a:gd name="connsiteX910" fmla="*/ 103259 w 1757434"/>
                  <a:gd name="connsiteY910" fmla="*/ 1733550 h 2476500"/>
                  <a:gd name="connsiteX911" fmla="*/ 115959 w 1757434"/>
                  <a:gd name="connsiteY911" fmla="*/ 1749425 h 2476500"/>
                  <a:gd name="connsiteX912" fmla="*/ 115959 w 1757434"/>
                  <a:gd name="connsiteY912" fmla="*/ 1733550 h 2476500"/>
                  <a:gd name="connsiteX913" fmla="*/ 108022 w 1757434"/>
                  <a:gd name="connsiteY913" fmla="*/ 1731963 h 2476500"/>
                  <a:gd name="connsiteX914" fmla="*/ 91858 w 1757434"/>
                  <a:gd name="connsiteY914" fmla="*/ 1729654 h 2476500"/>
                  <a:gd name="connsiteX915" fmla="*/ 90559 w 1757434"/>
                  <a:gd name="connsiteY915" fmla="*/ 1728788 h 2476500"/>
                  <a:gd name="connsiteX916" fmla="*/ 85858 w 1757434"/>
                  <a:gd name="connsiteY916" fmla="*/ 1728161 h 2476500"/>
                  <a:gd name="connsiteX917" fmla="*/ 87655 w 1757434"/>
                  <a:gd name="connsiteY917" fmla="*/ 1709614 h 2476500"/>
                  <a:gd name="connsiteX918" fmla="*/ 92147 w 1757434"/>
                  <a:gd name="connsiteY918" fmla="*/ 1695450 h 2476500"/>
                  <a:gd name="connsiteX919" fmla="*/ 95322 w 1757434"/>
                  <a:gd name="connsiteY919" fmla="*/ 1687513 h 2476500"/>
                  <a:gd name="connsiteX920" fmla="*/ 104847 w 1757434"/>
                  <a:gd name="connsiteY920" fmla="*/ 1685925 h 2476500"/>
                  <a:gd name="connsiteX921" fmla="*/ 114372 w 1757434"/>
                  <a:gd name="connsiteY921" fmla="*/ 1682750 h 2476500"/>
                  <a:gd name="connsiteX922" fmla="*/ 125484 w 1757434"/>
                  <a:gd name="connsiteY922" fmla="*/ 1689100 h 2476500"/>
                  <a:gd name="connsiteX923" fmla="*/ 131834 w 1757434"/>
                  <a:gd name="connsiteY923" fmla="*/ 1698625 h 2476500"/>
                  <a:gd name="connsiteX924" fmla="*/ 135009 w 1757434"/>
                  <a:gd name="connsiteY924" fmla="*/ 1704975 h 2476500"/>
                  <a:gd name="connsiteX925" fmla="*/ 141359 w 1757434"/>
                  <a:gd name="connsiteY925" fmla="*/ 1709738 h 2476500"/>
                  <a:gd name="connsiteX926" fmla="*/ 144534 w 1757434"/>
                  <a:gd name="connsiteY926" fmla="*/ 1716088 h 2476500"/>
                  <a:gd name="connsiteX927" fmla="*/ 146122 w 1757434"/>
                  <a:gd name="connsiteY927" fmla="*/ 1720850 h 2476500"/>
                  <a:gd name="connsiteX928" fmla="*/ 151386 w 1757434"/>
                  <a:gd name="connsiteY928" fmla="*/ 1724667 h 2476500"/>
                  <a:gd name="connsiteX929" fmla="*/ 152472 w 1757434"/>
                  <a:gd name="connsiteY929" fmla="*/ 1727200 h 2476500"/>
                  <a:gd name="connsiteX930" fmla="*/ 157234 w 1757434"/>
                  <a:gd name="connsiteY930" fmla="*/ 1731963 h 2476500"/>
                  <a:gd name="connsiteX931" fmla="*/ 155647 w 1757434"/>
                  <a:gd name="connsiteY931" fmla="*/ 1727200 h 2476500"/>
                  <a:gd name="connsiteX932" fmla="*/ 151896 w 1757434"/>
                  <a:gd name="connsiteY932" fmla="*/ 1725037 h 2476500"/>
                  <a:gd name="connsiteX933" fmla="*/ 151386 w 1757434"/>
                  <a:gd name="connsiteY933" fmla="*/ 1724667 h 2476500"/>
                  <a:gd name="connsiteX934" fmla="*/ 147709 w 1757434"/>
                  <a:gd name="connsiteY934" fmla="*/ 1716088 h 2476500"/>
                  <a:gd name="connsiteX935" fmla="*/ 142947 w 1757434"/>
                  <a:gd name="connsiteY935" fmla="*/ 1703388 h 2476500"/>
                  <a:gd name="connsiteX936" fmla="*/ 144534 w 1757434"/>
                  <a:gd name="connsiteY936" fmla="*/ 1692275 h 2476500"/>
                  <a:gd name="connsiteX937" fmla="*/ 154059 w 1757434"/>
                  <a:gd name="connsiteY937" fmla="*/ 1682750 h 2476500"/>
                  <a:gd name="connsiteX938" fmla="*/ 161997 w 1757434"/>
                  <a:gd name="connsiteY938" fmla="*/ 1687513 h 2476500"/>
                  <a:gd name="connsiteX939" fmla="*/ 181047 w 1757434"/>
                  <a:gd name="connsiteY939" fmla="*/ 1693863 h 2476500"/>
                  <a:gd name="connsiteX940" fmla="*/ 184222 w 1757434"/>
                  <a:gd name="connsiteY940" fmla="*/ 1731963 h 2476500"/>
                  <a:gd name="connsiteX941" fmla="*/ 187397 w 1757434"/>
                  <a:gd name="connsiteY941" fmla="*/ 1743075 h 2476500"/>
                  <a:gd name="connsiteX942" fmla="*/ 192159 w 1757434"/>
                  <a:gd name="connsiteY942" fmla="*/ 1720850 h 2476500"/>
                  <a:gd name="connsiteX943" fmla="*/ 200731 w 1757434"/>
                  <a:gd name="connsiteY943" fmla="*/ 1715135 h 2476500"/>
                  <a:gd name="connsiteX944" fmla="*/ 211209 w 1757434"/>
                  <a:gd name="connsiteY944" fmla="*/ 1716088 h 2476500"/>
                  <a:gd name="connsiteX945" fmla="*/ 201684 w 1757434"/>
                  <a:gd name="connsiteY945" fmla="*/ 1714500 h 2476500"/>
                  <a:gd name="connsiteX946" fmla="*/ 200731 w 1757434"/>
                  <a:gd name="connsiteY946" fmla="*/ 1715135 h 2476500"/>
                  <a:gd name="connsiteX947" fmla="*/ 193747 w 1757434"/>
                  <a:gd name="connsiteY947" fmla="*/ 1714500 h 2476500"/>
                  <a:gd name="connsiteX948" fmla="*/ 192159 w 1757434"/>
                  <a:gd name="connsiteY948" fmla="*/ 1708150 h 2476500"/>
                  <a:gd name="connsiteX949" fmla="*/ 185809 w 1757434"/>
                  <a:gd name="connsiteY949" fmla="*/ 1693863 h 2476500"/>
                  <a:gd name="connsiteX950" fmla="*/ 182634 w 1757434"/>
                  <a:gd name="connsiteY950" fmla="*/ 1685925 h 2476500"/>
                  <a:gd name="connsiteX951" fmla="*/ 177872 w 1757434"/>
                  <a:gd name="connsiteY951" fmla="*/ 1682750 h 2476500"/>
                  <a:gd name="connsiteX952" fmla="*/ 171522 w 1757434"/>
                  <a:gd name="connsiteY952" fmla="*/ 1677988 h 2476500"/>
                  <a:gd name="connsiteX953" fmla="*/ 139772 w 1757434"/>
                  <a:gd name="connsiteY953" fmla="*/ 1673225 h 2476500"/>
                  <a:gd name="connsiteX954" fmla="*/ 138184 w 1757434"/>
                  <a:gd name="connsiteY954" fmla="*/ 1665288 h 2476500"/>
                  <a:gd name="connsiteX955" fmla="*/ 144534 w 1757434"/>
                  <a:gd name="connsiteY955" fmla="*/ 1651000 h 2476500"/>
                  <a:gd name="connsiteX956" fmla="*/ 150884 w 1757434"/>
                  <a:gd name="connsiteY956" fmla="*/ 1649413 h 2476500"/>
                  <a:gd name="connsiteX957" fmla="*/ 158822 w 1757434"/>
                  <a:gd name="connsiteY957" fmla="*/ 1646238 h 2476500"/>
                  <a:gd name="connsiteX958" fmla="*/ 163584 w 1757434"/>
                  <a:gd name="connsiteY958" fmla="*/ 1644650 h 2476500"/>
                  <a:gd name="connsiteX959" fmla="*/ 169934 w 1757434"/>
                  <a:gd name="connsiteY959" fmla="*/ 1631950 h 2476500"/>
                  <a:gd name="connsiteX960" fmla="*/ 174697 w 1757434"/>
                  <a:gd name="connsiteY960" fmla="*/ 1630363 h 2476500"/>
                  <a:gd name="connsiteX961" fmla="*/ 192159 w 1757434"/>
                  <a:gd name="connsiteY961" fmla="*/ 1635125 h 2476500"/>
                  <a:gd name="connsiteX962" fmla="*/ 196922 w 1757434"/>
                  <a:gd name="connsiteY962" fmla="*/ 1639888 h 2476500"/>
                  <a:gd name="connsiteX963" fmla="*/ 204859 w 1757434"/>
                  <a:gd name="connsiteY963" fmla="*/ 1644650 h 2476500"/>
                  <a:gd name="connsiteX964" fmla="*/ 214384 w 1757434"/>
                  <a:gd name="connsiteY964" fmla="*/ 1647825 h 2476500"/>
                  <a:gd name="connsiteX965" fmla="*/ 219147 w 1757434"/>
                  <a:gd name="connsiteY965" fmla="*/ 1649413 h 2476500"/>
                  <a:gd name="connsiteX966" fmla="*/ 223909 w 1757434"/>
                  <a:gd name="connsiteY966" fmla="*/ 1658938 h 2476500"/>
                  <a:gd name="connsiteX967" fmla="*/ 246134 w 1757434"/>
                  <a:gd name="connsiteY967" fmla="*/ 1660525 h 2476500"/>
                  <a:gd name="connsiteX968" fmla="*/ 242959 w 1757434"/>
                  <a:gd name="connsiteY968" fmla="*/ 1654175 h 2476500"/>
                  <a:gd name="connsiteX969" fmla="*/ 238197 w 1757434"/>
                  <a:gd name="connsiteY969" fmla="*/ 1649413 h 2476500"/>
                  <a:gd name="connsiteX970" fmla="*/ 246134 w 1757434"/>
                  <a:gd name="connsiteY970" fmla="*/ 1625600 h 2476500"/>
                  <a:gd name="connsiteX971" fmla="*/ 252484 w 1757434"/>
                  <a:gd name="connsiteY971" fmla="*/ 1622425 h 2476500"/>
                  <a:gd name="connsiteX972" fmla="*/ 258834 w 1757434"/>
                  <a:gd name="connsiteY972" fmla="*/ 1627188 h 2476500"/>
                  <a:gd name="connsiteX973" fmla="*/ 271534 w 1757434"/>
                  <a:gd name="connsiteY973" fmla="*/ 1639888 h 2476500"/>
                  <a:gd name="connsiteX974" fmla="*/ 277884 w 1757434"/>
                  <a:gd name="connsiteY974" fmla="*/ 1641475 h 2476500"/>
                  <a:gd name="connsiteX975" fmla="*/ 284234 w 1757434"/>
                  <a:gd name="connsiteY975" fmla="*/ 1624013 h 2476500"/>
                  <a:gd name="connsiteX976" fmla="*/ 284967 w 1757434"/>
                  <a:gd name="connsiteY976" fmla="*/ 1623769 h 2476500"/>
                  <a:gd name="connsiteX977" fmla="*/ 288997 w 1757434"/>
                  <a:gd name="connsiteY977" fmla="*/ 1627188 h 2476500"/>
                  <a:gd name="connsiteX978" fmla="*/ 300109 w 1757434"/>
                  <a:gd name="connsiteY978" fmla="*/ 1631950 h 2476500"/>
                  <a:gd name="connsiteX979" fmla="*/ 308047 w 1757434"/>
                  <a:gd name="connsiteY979" fmla="*/ 1633538 h 2476500"/>
                  <a:gd name="connsiteX980" fmla="*/ 319159 w 1757434"/>
                  <a:gd name="connsiteY980" fmla="*/ 1631950 h 2476500"/>
                  <a:gd name="connsiteX981" fmla="*/ 314397 w 1757434"/>
                  <a:gd name="connsiteY981" fmla="*/ 1628775 h 2476500"/>
                  <a:gd name="connsiteX982" fmla="*/ 288997 w 1757434"/>
                  <a:gd name="connsiteY982" fmla="*/ 1622425 h 2476500"/>
                  <a:gd name="connsiteX983" fmla="*/ 284967 w 1757434"/>
                  <a:gd name="connsiteY983" fmla="*/ 1623769 h 2476500"/>
                  <a:gd name="connsiteX984" fmla="*/ 283600 w 1757434"/>
                  <a:gd name="connsiteY984" fmla="*/ 1622609 h 2476500"/>
                  <a:gd name="connsiteX985" fmla="*/ 277884 w 1757434"/>
                  <a:gd name="connsiteY985" fmla="*/ 1619250 h 2476500"/>
                  <a:gd name="connsiteX986" fmla="*/ 265184 w 1757434"/>
                  <a:gd name="connsiteY986" fmla="*/ 1622425 h 2476500"/>
                  <a:gd name="connsiteX987" fmla="*/ 242959 w 1757434"/>
                  <a:gd name="connsiteY987" fmla="*/ 1619250 h 2476500"/>
                  <a:gd name="connsiteX988" fmla="*/ 217559 w 1757434"/>
                  <a:gd name="connsiteY988" fmla="*/ 1622425 h 2476500"/>
                  <a:gd name="connsiteX989" fmla="*/ 204859 w 1757434"/>
                  <a:gd name="connsiteY989" fmla="*/ 1625600 h 2476500"/>
                  <a:gd name="connsiteX990" fmla="*/ 182634 w 1757434"/>
                  <a:gd name="connsiteY990" fmla="*/ 1627188 h 2476500"/>
                  <a:gd name="connsiteX991" fmla="*/ 188984 w 1757434"/>
                  <a:gd name="connsiteY991" fmla="*/ 1624013 h 2476500"/>
                  <a:gd name="connsiteX992" fmla="*/ 190572 w 1757434"/>
                  <a:gd name="connsiteY992" fmla="*/ 1617663 h 2476500"/>
                  <a:gd name="connsiteX993" fmla="*/ 192159 w 1757434"/>
                  <a:gd name="connsiteY993" fmla="*/ 1585913 h 2476500"/>
                  <a:gd name="connsiteX994" fmla="*/ 204859 w 1757434"/>
                  <a:gd name="connsiteY994" fmla="*/ 1577975 h 2476500"/>
                  <a:gd name="connsiteX995" fmla="*/ 215972 w 1757434"/>
                  <a:gd name="connsiteY995" fmla="*/ 1581150 h 2476500"/>
                  <a:gd name="connsiteX996" fmla="*/ 219147 w 1757434"/>
                  <a:gd name="connsiteY996" fmla="*/ 1587500 h 2476500"/>
                  <a:gd name="connsiteX997" fmla="*/ 223909 w 1757434"/>
                  <a:gd name="connsiteY997" fmla="*/ 1590675 h 2476500"/>
                  <a:gd name="connsiteX998" fmla="*/ 231847 w 1757434"/>
                  <a:gd name="connsiteY998" fmla="*/ 1589088 h 2476500"/>
                  <a:gd name="connsiteX999" fmla="*/ 255659 w 1757434"/>
                  <a:gd name="connsiteY999" fmla="*/ 1585913 h 2476500"/>
                  <a:gd name="connsiteX1000" fmla="*/ 265184 w 1757434"/>
                  <a:gd name="connsiteY1000" fmla="*/ 1587500 h 2476500"/>
                  <a:gd name="connsiteX1001" fmla="*/ 285822 w 1757434"/>
                  <a:gd name="connsiteY1001" fmla="*/ 1589088 h 2476500"/>
                  <a:gd name="connsiteX1002" fmla="*/ 288997 w 1757434"/>
                  <a:gd name="connsiteY1002" fmla="*/ 1598613 h 2476500"/>
                  <a:gd name="connsiteX1003" fmla="*/ 298522 w 1757434"/>
                  <a:gd name="connsiteY1003" fmla="*/ 1604963 h 2476500"/>
                  <a:gd name="connsiteX1004" fmla="*/ 319159 w 1757434"/>
                  <a:gd name="connsiteY1004" fmla="*/ 1603375 h 2476500"/>
                  <a:gd name="connsiteX1005" fmla="*/ 325509 w 1757434"/>
                  <a:gd name="connsiteY1005" fmla="*/ 1601788 h 2476500"/>
                  <a:gd name="connsiteX1006" fmla="*/ 306459 w 1757434"/>
                  <a:gd name="connsiteY1006" fmla="*/ 1600200 h 2476500"/>
                  <a:gd name="connsiteX1007" fmla="*/ 304872 w 1757434"/>
                  <a:gd name="connsiteY1007" fmla="*/ 1592263 h 2476500"/>
                  <a:gd name="connsiteX1008" fmla="*/ 300109 w 1757434"/>
                  <a:gd name="connsiteY1008" fmla="*/ 1589088 h 2476500"/>
                  <a:gd name="connsiteX1009" fmla="*/ 290584 w 1757434"/>
                  <a:gd name="connsiteY1009" fmla="*/ 1584325 h 2476500"/>
                  <a:gd name="connsiteX1010" fmla="*/ 263597 w 1757434"/>
                  <a:gd name="connsiteY1010" fmla="*/ 1577975 h 2476500"/>
                  <a:gd name="connsiteX1011" fmla="*/ 265184 w 1757434"/>
                  <a:gd name="connsiteY1011" fmla="*/ 1563688 h 2476500"/>
                  <a:gd name="connsiteX1012" fmla="*/ 293759 w 1757434"/>
                  <a:gd name="connsiteY1012" fmla="*/ 1570038 h 2476500"/>
                  <a:gd name="connsiteX1013" fmla="*/ 303284 w 1757434"/>
                  <a:gd name="connsiteY1013" fmla="*/ 1568450 h 2476500"/>
                  <a:gd name="connsiteX1014" fmla="*/ 311222 w 1757434"/>
                  <a:gd name="connsiteY1014" fmla="*/ 1566863 h 2476500"/>
                  <a:gd name="connsiteX1015" fmla="*/ 296934 w 1757434"/>
                  <a:gd name="connsiteY1015" fmla="*/ 1565275 h 2476500"/>
                  <a:gd name="connsiteX1016" fmla="*/ 298522 w 1757434"/>
                  <a:gd name="connsiteY1016" fmla="*/ 1549400 h 2476500"/>
                  <a:gd name="connsiteX1017" fmla="*/ 309634 w 1757434"/>
                  <a:gd name="connsiteY1017" fmla="*/ 1546225 h 2476500"/>
                  <a:gd name="connsiteX1018" fmla="*/ 339797 w 1757434"/>
                  <a:gd name="connsiteY1018" fmla="*/ 1544638 h 2476500"/>
                  <a:gd name="connsiteX1019" fmla="*/ 336622 w 1757434"/>
                  <a:gd name="connsiteY1019" fmla="*/ 1527175 h 2476500"/>
                  <a:gd name="connsiteX1020" fmla="*/ 342972 w 1757434"/>
                  <a:gd name="connsiteY1020" fmla="*/ 1522413 h 2476500"/>
                  <a:gd name="connsiteX1021" fmla="*/ 350909 w 1757434"/>
                  <a:gd name="connsiteY1021" fmla="*/ 1520825 h 2476500"/>
                  <a:gd name="connsiteX1022" fmla="*/ 355672 w 1757434"/>
                  <a:gd name="connsiteY1022" fmla="*/ 1519238 h 2476500"/>
                  <a:gd name="connsiteX1023" fmla="*/ 371547 w 1757434"/>
                  <a:gd name="connsiteY1023" fmla="*/ 1512888 h 2476500"/>
                  <a:gd name="connsiteX1024" fmla="*/ 384247 w 1757434"/>
                  <a:gd name="connsiteY1024" fmla="*/ 1524000 h 2476500"/>
                  <a:gd name="connsiteX1025" fmla="*/ 377897 w 1757434"/>
                  <a:gd name="connsiteY1025" fmla="*/ 1522413 h 2476500"/>
                  <a:gd name="connsiteX1026" fmla="*/ 379484 w 1757434"/>
                  <a:gd name="connsiteY1026" fmla="*/ 1508125 h 2476500"/>
                  <a:gd name="connsiteX1027" fmla="*/ 381072 w 1757434"/>
                  <a:gd name="connsiteY1027" fmla="*/ 1503363 h 2476500"/>
                  <a:gd name="connsiteX1028" fmla="*/ 382659 w 1757434"/>
                  <a:gd name="connsiteY1028" fmla="*/ 1490663 h 2476500"/>
                  <a:gd name="connsiteX1029" fmla="*/ 387422 w 1757434"/>
                  <a:gd name="connsiteY1029" fmla="*/ 1485900 h 2476500"/>
                  <a:gd name="connsiteX1030" fmla="*/ 395359 w 1757434"/>
                  <a:gd name="connsiteY1030" fmla="*/ 1484313 h 2476500"/>
                  <a:gd name="connsiteX1031" fmla="*/ 406472 w 1757434"/>
                  <a:gd name="connsiteY1031" fmla="*/ 1481138 h 2476500"/>
                  <a:gd name="connsiteX1032" fmla="*/ 422347 w 1757434"/>
                  <a:gd name="connsiteY1032" fmla="*/ 1479550 h 2476500"/>
                  <a:gd name="connsiteX1033" fmla="*/ 425522 w 1757434"/>
                  <a:gd name="connsiteY1033" fmla="*/ 1485900 h 2476500"/>
                  <a:gd name="connsiteX1034" fmla="*/ 426535 w 1757434"/>
                  <a:gd name="connsiteY1034" fmla="*/ 1486660 h 2476500"/>
                  <a:gd name="connsiteX1035" fmla="*/ 425656 w 1757434"/>
                  <a:gd name="connsiteY1035" fmla="*/ 1480532 h 2476500"/>
                  <a:gd name="connsiteX1036" fmla="*/ 427109 w 1757434"/>
                  <a:gd name="connsiteY1036" fmla="*/ 1470025 h 2476500"/>
                  <a:gd name="connsiteX1037" fmla="*/ 431872 w 1757434"/>
                  <a:gd name="connsiteY1037" fmla="*/ 1466850 h 2476500"/>
                  <a:gd name="connsiteX1038" fmla="*/ 436634 w 1757434"/>
                  <a:gd name="connsiteY1038" fmla="*/ 1460500 h 2476500"/>
                  <a:gd name="connsiteX1039" fmla="*/ 415997 w 1757434"/>
                  <a:gd name="connsiteY1039" fmla="*/ 1457325 h 2476500"/>
                  <a:gd name="connsiteX1040" fmla="*/ 412822 w 1757434"/>
                  <a:gd name="connsiteY1040" fmla="*/ 1447800 h 2476500"/>
                  <a:gd name="connsiteX1041" fmla="*/ 420759 w 1757434"/>
                  <a:gd name="connsiteY1041" fmla="*/ 1443038 h 2476500"/>
                  <a:gd name="connsiteX1042" fmla="*/ 411234 w 1757434"/>
                  <a:gd name="connsiteY1042" fmla="*/ 1441450 h 2476500"/>
                  <a:gd name="connsiteX1043" fmla="*/ 431872 w 1757434"/>
                  <a:gd name="connsiteY1043" fmla="*/ 1428750 h 2476500"/>
                  <a:gd name="connsiteX1044" fmla="*/ 436634 w 1757434"/>
                  <a:gd name="connsiteY1044" fmla="*/ 1425575 h 2476500"/>
                  <a:gd name="connsiteX1045" fmla="*/ 439809 w 1757434"/>
                  <a:gd name="connsiteY1045" fmla="*/ 1420813 h 2476500"/>
                  <a:gd name="connsiteX1046" fmla="*/ 446159 w 1757434"/>
                  <a:gd name="connsiteY1046" fmla="*/ 1416050 h 2476500"/>
                  <a:gd name="connsiteX1047" fmla="*/ 447747 w 1757434"/>
                  <a:gd name="connsiteY1047" fmla="*/ 1408113 h 2476500"/>
                  <a:gd name="connsiteX1048" fmla="*/ 449334 w 1757434"/>
                  <a:gd name="connsiteY1048" fmla="*/ 1401763 h 2476500"/>
                  <a:gd name="connsiteX1049" fmla="*/ 454097 w 1757434"/>
                  <a:gd name="connsiteY1049" fmla="*/ 1397000 h 2476500"/>
                  <a:gd name="connsiteX1050" fmla="*/ 455684 w 1757434"/>
                  <a:gd name="connsiteY1050" fmla="*/ 1390650 h 2476500"/>
                  <a:gd name="connsiteX1051" fmla="*/ 454097 w 1757434"/>
                  <a:gd name="connsiteY1051" fmla="*/ 1384300 h 2476500"/>
                  <a:gd name="connsiteX1052" fmla="*/ 457272 w 1757434"/>
                  <a:gd name="connsiteY1052" fmla="*/ 1377950 h 2476500"/>
                  <a:gd name="connsiteX1053" fmla="*/ 465209 w 1757434"/>
                  <a:gd name="connsiteY1053" fmla="*/ 1379538 h 2476500"/>
                  <a:gd name="connsiteX1054" fmla="*/ 473147 w 1757434"/>
                  <a:gd name="connsiteY1054" fmla="*/ 1349375 h 2476500"/>
                  <a:gd name="connsiteX1055" fmla="*/ 489022 w 1757434"/>
                  <a:gd name="connsiteY1055" fmla="*/ 1344613 h 2476500"/>
                  <a:gd name="connsiteX1056" fmla="*/ 490609 w 1757434"/>
                  <a:gd name="connsiteY1056" fmla="*/ 1336675 h 2476500"/>
                  <a:gd name="connsiteX1057" fmla="*/ 493784 w 1757434"/>
                  <a:gd name="connsiteY1057" fmla="*/ 1322388 h 2476500"/>
                  <a:gd name="connsiteX1058" fmla="*/ 501722 w 1757434"/>
                  <a:gd name="connsiteY1058" fmla="*/ 1327150 h 2476500"/>
                  <a:gd name="connsiteX1059" fmla="*/ 503309 w 1757434"/>
                  <a:gd name="connsiteY1059" fmla="*/ 1331913 h 2476500"/>
                  <a:gd name="connsiteX1060" fmla="*/ 506484 w 1757434"/>
                  <a:gd name="connsiteY1060" fmla="*/ 1325563 h 2476500"/>
                  <a:gd name="connsiteX1061" fmla="*/ 516009 w 1757434"/>
                  <a:gd name="connsiteY1061" fmla="*/ 1308100 h 2476500"/>
                  <a:gd name="connsiteX1062" fmla="*/ 517597 w 1757434"/>
                  <a:gd name="connsiteY1062" fmla="*/ 1298575 h 2476500"/>
                  <a:gd name="connsiteX1063" fmla="*/ 522359 w 1757434"/>
                  <a:gd name="connsiteY1063" fmla="*/ 1308100 h 2476500"/>
                  <a:gd name="connsiteX1064" fmla="*/ 525534 w 1757434"/>
                  <a:gd name="connsiteY1064" fmla="*/ 1312863 h 2476500"/>
                  <a:gd name="connsiteX1065" fmla="*/ 533472 w 1757434"/>
                  <a:gd name="connsiteY1065" fmla="*/ 1309688 h 2476500"/>
                  <a:gd name="connsiteX1066" fmla="*/ 539822 w 1757434"/>
                  <a:gd name="connsiteY1066" fmla="*/ 1298575 h 2476500"/>
                  <a:gd name="connsiteX1067" fmla="*/ 542997 w 1757434"/>
                  <a:gd name="connsiteY1067" fmla="*/ 1306513 h 2476500"/>
                  <a:gd name="connsiteX1068" fmla="*/ 544584 w 1757434"/>
                  <a:gd name="connsiteY1068" fmla="*/ 1319213 h 2476500"/>
                  <a:gd name="connsiteX1069" fmla="*/ 549347 w 1757434"/>
                  <a:gd name="connsiteY1069" fmla="*/ 1322388 h 2476500"/>
                  <a:gd name="connsiteX1070" fmla="*/ 557284 w 1757434"/>
                  <a:gd name="connsiteY1070" fmla="*/ 1304925 h 2476500"/>
                  <a:gd name="connsiteX1071" fmla="*/ 562047 w 1757434"/>
                  <a:gd name="connsiteY1071" fmla="*/ 1296988 h 2476500"/>
                  <a:gd name="connsiteX1072" fmla="*/ 563634 w 1757434"/>
                  <a:gd name="connsiteY1072" fmla="*/ 1292225 h 2476500"/>
                  <a:gd name="connsiteX1073" fmla="*/ 565222 w 1757434"/>
                  <a:gd name="connsiteY1073" fmla="*/ 1281113 h 2476500"/>
                  <a:gd name="connsiteX1074" fmla="*/ 568397 w 1757434"/>
                  <a:gd name="connsiteY1074" fmla="*/ 1274763 h 2476500"/>
                  <a:gd name="connsiteX1075" fmla="*/ 576334 w 1757434"/>
                  <a:gd name="connsiteY1075" fmla="*/ 1262063 h 2476500"/>
                  <a:gd name="connsiteX1076" fmla="*/ 584272 w 1757434"/>
                  <a:gd name="connsiteY1076" fmla="*/ 1246188 h 2476500"/>
                  <a:gd name="connsiteX1077" fmla="*/ 589034 w 1757434"/>
                  <a:gd name="connsiteY1077" fmla="*/ 1244600 h 2476500"/>
                  <a:gd name="connsiteX1078" fmla="*/ 601734 w 1757434"/>
                  <a:gd name="connsiteY1078" fmla="*/ 1243013 h 2476500"/>
                  <a:gd name="connsiteX1079" fmla="*/ 614434 w 1757434"/>
                  <a:gd name="connsiteY1079" fmla="*/ 1231900 h 2476500"/>
                  <a:gd name="connsiteX1080" fmla="*/ 616022 w 1757434"/>
                  <a:gd name="connsiteY1080" fmla="*/ 1208088 h 2476500"/>
                  <a:gd name="connsiteX1081" fmla="*/ 622372 w 1757434"/>
                  <a:gd name="connsiteY1081" fmla="*/ 1204913 h 2476500"/>
                  <a:gd name="connsiteX1082" fmla="*/ 627134 w 1757434"/>
                  <a:gd name="connsiteY1082" fmla="*/ 1201738 h 2476500"/>
                  <a:gd name="connsiteX1083" fmla="*/ 635072 w 1757434"/>
                  <a:gd name="connsiteY1083" fmla="*/ 1196975 h 2476500"/>
                  <a:gd name="connsiteX1084" fmla="*/ 639834 w 1757434"/>
                  <a:gd name="connsiteY1084" fmla="*/ 1193800 h 2476500"/>
                  <a:gd name="connsiteX1085" fmla="*/ 650947 w 1757434"/>
                  <a:gd name="connsiteY1085" fmla="*/ 1182688 h 2476500"/>
                  <a:gd name="connsiteX1086" fmla="*/ 654122 w 1757434"/>
                  <a:gd name="connsiteY1086" fmla="*/ 1173163 h 2476500"/>
                  <a:gd name="connsiteX1087" fmla="*/ 630309 w 1757434"/>
                  <a:gd name="connsiteY1087" fmla="*/ 1181100 h 2476500"/>
                  <a:gd name="connsiteX1088" fmla="*/ 622372 w 1757434"/>
                  <a:gd name="connsiteY1088" fmla="*/ 1182688 h 2476500"/>
                  <a:gd name="connsiteX1089" fmla="*/ 617609 w 1757434"/>
                  <a:gd name="connsiteY1089" fmla="*/ 1184275 h 2476500"/>
                  <a:gd name="connsiteX1090" fmla="*/ 611259 w 1757434"/>
                  <a:gd name="connsiteY1090" fmla="*/ 1189038 h 2476500"/>
                  <a:gd name="connsiteX1091" fmla="*/ 609672 w 1757434"/>
                  <a:gd name="connsiteY1091" fmla="*/ 1195388 h 2476500"/>
                  <a:gd name="connsiteX1092" fmla="*/ 598559 w 1757434"/>
                  <a:gd name="connsiteY1092" fmla="*/ 1214438 h 2476500"/>
                  <a:gd name="connsiteX1093" fmla="*/ 593797 w 1757434"/>
                  <a:gd name="connsiteY1093" fmla="*/ 1216025 h 2476500"/>
                  <a:gd name="connsiteX1094" fmla="*/ 598559 w 1757434"/>
                  <a:gd name="connsiteY1094" fmla="*/ 1190625 h 2476500"/>
                  <a:gd name="connsiteX1095" fmla="*/ 600147 w 1757434"/>
                  <a:gd name="connsiteY1095" fmla="*/ 1184275 h 2476500"/>
                  <a:gd name="connsiteX1096" fmla="*/ 601734 w 1757434"/>
                  <a:gd name="connsiteY1096" fmla="*/ 1176338 h 2476500"/>
                  <a:gd name="connsiteX1097" fmla="*/ 608084 w 1757434"/>
                  <a:gd name="connsiteY1097" fmla="*/ 1166813 h 2476500"/>
                  <a:gd name="connsiteX1098" fmla="*/ 620784 w 1757434"/>
                  <a:gd name="connsiteY1098" fmla="*/ 1160463 h 2476500"/>
                  <a:gd name="connsiteX1099" fmla="*/ 619197 w 1757434"/>
                  <a:gd name="connsiteY1099" fmla="*/ 1141413 h 2476500"/>
                  <a:gd name="connsiteX1100" fmla="*/ 623959 w 1757434"/>
                  <a:gd name="connsiteY1100" fmla="*/ 1143000 h 2476500"/>
                  <a:gd name="connsiteX1101" fmla="*/ 628722 w 1757434"/>
                  <a:gd name="connsiteY1101" fmla="*/ 1146175 h 2476500"/>
                  <a:gd name="connsiteX1102" fmla="*/ 630309 w 1757434"/>
                  <a:gd name="connsiteY1102" fmla="*/ 1125538 h 2476500"/>
                  <a:gd name="connsiteX1103" fmla="*/ 622372 w 1757434"/>
                  <a:gd name="connsiteY1103" fmla="*/ 1119188 h 2476500"/>
                  <a:gd name="connsiteX1104" fmla="*/ 625338 w 1757434"/>
                  <a:gd name="connsiteY1104" fmla="*/ 1109604 h 2476500"/>
                  <a:gd name="connsiteX1105" fmla="*/ 630062 w 1757434"/>
                  <a:gd name="connsiteY1105" fmla="*/ 1102117 h 2476500"/>
                  <a:gd name="connsiteX1106" fmla="*/ 635072 w 1757434"/>
                  <a:gd name="connsiteY1106" fmla="*/ 1104900 h 2476500"/>
                  <a:gd name="connsiteX1107" fmla="*/ 646184 w 1757434"/>
                  <a:gd name="connsiteY1107" fmla="*/ 1103313 h 2476500"/>
                  <a:gd name="connsiteX1108" fmla="*/ 630309 w 1757434"/>
                  <a:gd name="connsiteY1108" fmla="*/ 1101725 h 2476500"/>
                  <a:gd name="connsiteX1109" fmla="*/ 630062 w 1757434"/>
                  <a:gd name="connsiteY1109" fmla="*/ 1102117 h 2476500"/>
                  <a:gd name="connsiteX1110" fmla="*/ 620784 w 1757434"/>
                  <a:gd name="connsiteY1110" fmla="*/ 1096963 h 2476500"/>
                  <a:gd name="connsiteX1111" fmla="*/ 623959 w 1757434"/>
                  <a:gd name="connsiteY1111" fmla="*/ 1074738 h 2476500"/>
                  <a:gd name="connsiteX1112" fmla="*/ 633484 w 1757434"/>
                  <a:gd name="connsiteY1112" fmla="*/ 1073150 h 2476500"/>
                  <a:gd name="connsiteX1113" fmla="*/ 638247 w 1757434"/>
                  <a:gd name="connsiteY1113" fmla="*/ 1071563 h 2476500"/>
                  <a:gd name="connsiteX1114" fmla="*/ 644597 w 1757434"/>
                  <a:gd name="connsiteY1114" fmla="*/ 1077913 h 2476500"/>
                  <a:gd name="connsiteX1115" fmla="*/ 646184 w 1757434"/>
                  <a:gd name="connsiteY1115" fmla="*/ 1065213 h 2476500"/>
                  <a:gd name="connsiteX1116" fmla="*/ 652534 w 1757434"/>
                  <a:gd name="connsiteY1116" fmla="*/ 1046163 h 2476500"/>
                  <a:gd name="connsiteX1117" fmla="*/ 662059 w 1757434"/>
                  <a:gd name="connsiteY1117" fmla="*/ 1062038 h 2476500"/>
                  <a:gd name="connsiteX1118" fmla="*/ 669997 w 1757434"/>
                  <a:gd name="connsiteY1118" fmla="*/ 1066800 h 2476500"/>
                  <a:gd name="connsiteX1119" fmla="*/ 677934 w 1757434"/>
                  <a:gd name="connsiteY1119" fmla="*/ 1065213 h 2476500"/>
                  <a:gd name="connsiteX1120" fmla="*/ 666822 w 1757434"/>
                  <a:gd name="connsiteY1120" fmla="*/ 1042988 h 2476500"/>
                  <a:gd name="connsiteX1121" fmla="*/ 660472 w 1757434"/>
                  <a:gd name="connsiteY1121" fmla="*/ 1031875 h 2476500"/>
                  <a:gd name="connsiteX1122" fmla="*/ 654122 w 1757434"/>
                  <a:gd name="connsiteY1122" fmla="*/ 1028700 h 2476500"/>
                  <a:gd name="connsiteX1123" fmla="*/ 668409 w 1757434"/>
                  <a:gd name="connsiteY1123" fmla="*/ 1019175 h 2476500"/>
                  <a:gd name="connsiteX1124" fmla="*/ 676347 w 1757434"/>
                  <a:gd name="connsiteY1124" fmla="*/ 1016000 h 2476500"/>
                  <a:gd name="connsiteX1125" fmla="*/ 684284 w 1757434"/>
                  <a:gd name="connsiteY1125" fmla="*/ 1006475 h 2476500"/>
                  <a:gd name="connsiteX1126" fmla="*/ 692222 w 1757434"/>
                  <a:gd name="connsiteY1126" fmla="*/ 1000125 h 2476500"/>
                  <a:gd name="connsiteX1127" fmla="*/ 695397 w 1757434"/>
                  <a:gd name="connsiteY1127" fmla="*/ 993775 h 2476500"/>
                  <a:gd name="connsiteX1128" fmla="*/ 697575 w 1757434"/>
                  <a:gd name="connsiteY1128" fmla="*/ 989376 h 2476500"/>
                  <a:gd name="connsiteX1129" fmla="*/ 700379 w 1757434"/>
                  <a:gd name="connsiteY1129" fmla="*/ 989843 h 2476500"/>
                  <a:gd name="connsiteX1130" fmla="*/ 701747 w 1757434"/>
                  <a:gd name="connsiteY1130" fmla="*/ 1004888 h 2476500"/>
                  <a:gd name="connsiteX1131" fmla="*/ 708097 w 1757434"/>
                  <a:gd name="connsiteY1131" fmla="*/ 1019175 h 2476500"/>
                  <a:gd name="connsiteX1132" fmla="*/ 716034 w 1757434"/>
                  <a:gd name="connsiteY1132" fmla="*/ 1001713 h 2476500"/>
                  <a:gd name="connsiteX1133" fmla="*/ 720797 w 1757434"/>
                  <a:gd name="connsiteY1133" fmla="*/ 1000125 h 2476500"/>
                  <a:gd name="connsiteX1134" fmla="*/ 728734 w 1757434"/>
                  <a:gd name="connsiteY1134" fmla="*/ 995363 h 2476500"/>
                  <a:gd name="connsiteX1135" fmla="*/ 730322 w 1757434"/>
                  <a:gd name="connsiteY1135" fmla="*/ 989013 h 2476500"/>
                  <a:gd name="connsiteX1136" fmla="*/ 735084 w 1757434"/>
                  <a:gd name="connsiteY1136" fmla="*/ 981075 h 2476500"/>
                  <a:gd name="connsiteX1137" fmla="*/ 728734 w 1757434"/>
                  <a:gd name="connsiteY1137" fmla="*/ 982663 h 2476500"/>
                  <a:gd name="connsiteX1138" fmla="*/ 709684 w 1757434"/>
                  <a:gd name="connsiteY1138" fmla="*/ 989013 h 2476500"/>
                  <a:gd name="connsiteX1139" fmla="*/ 704922 w 1757434"/>
                  <a:gd name="connsiteY1139" fmla="*/ 990600 h 2476500"/>
                  <a:gd name="connsiteX1140" fmla="*/ 700379 w 1757434"/>
                  <a:gd name="connsiteY1140" fmla="*/ 989843 h 2476500"/>
                  <a:gd name="connsiteX1141" fmla="*/ 700159 w 1757434"/>
                  <a:gd name="connsiteY1141" fmla="*/ 987425 h 2476500"/>
                  <a:gd name="connsiteX1142" fmla="*/ 697812 w 1757434"/>
                  <a:gd name="connsiteY1142" fmla="*/ 988897 h 2476500"/>
                  <a:gd name="connsiteX1143" fmla="*/ 697575 w 1757434"/>
                  <a:gd name="connsiteY1143" fmla="*/ 989376 h 2476500"/>
                  <a:gd name="connsiteX1144" fmla="*/ 695397 w 1757434"/>
                  <a:gd name="connsiteY1144" fmla="*/ 989013 h 2476500"/>
                  <a:gd name="connsiteX1145" fmla="*/ 690634 w 1757434"/>
                  <a:gd name="connsiteY1145" fmla="*/ 985838 h 2476500"/>
                  <a:gd name="connsiteX1146" fmla="*/ 658884 w 1757434"/>
                  <a:gd name="connsiteY1146" fmla="*/ 982663 h 2476500"/>
                  <a:gd name="connsiteX1147" fmla="*/ 665234 w 1757434"/>
                  <a:gd name="connsiteY1147" fmla="*/ 947738 h 2476500"/>
                  <a:gd name="connsiteX1148" fmla="*/ 671584 w 1757434"/>
                  <a:gd name="connsiteY1148" fmla="*/ 946150 h 2476500"/>
                  <a:gd name="connsiteX1149" fmla="*/ 674759 w 1757434"/>
                  <a:gd name="connsiteY1149" fmla="*/ 941388 h 2476500"/>
                  <a:gd name="connsiteX1150" fmla="*/ 689047 w 1757434"/>
                  <a:gd name="connsiteY1150" fmla="*/ 935038 h 2476500"/>
                  <a:gd name="connsiteX1151" fmla="*/ 690634 w 1757434"/>
                  <a:gd name="connsiteY1151" fmla="*/ 941388 h 2476500"/>
                  <a:gd name="connsiteX1152" fmla="*/ 693809 w 1757434"/>
                  <a:gd name="connsiteY1152" fmla="*/ 947738 h 2476500"/>
                  <a:gd name="connsiteX1153" fmla="*/ 695397 w 1757434"/>
                  <a:gd name="connsiteY1153" fmla="*/ 930275 h 2476500"/>
                  <a:gd name="connsiteX1154" fmla="*/ 701747 w 1757434"/>
                  <a:gd name="connsiteY1154" fmla="*/ 917575 h 2476500"/>
                  <a:gd name="connsiteX1155" fmla="*/ 708097 w 1757434"/>
                  <a:gd name="connsiteY1155" fmla="*/ 920750 h 2476500"/>
                  <a:gd name="connsiteX1156" fmla="*/ 714105 w 1757434"/>
                  <a:gd name="connsiteY1156" fmla="*/ 909845 h 2476500"/>
                  <a:gd name="connsiteX1157" fmla="*/ 711560 w 1757434"/>
                  <a:gd name="connsiteY1157" fmla="*/ 898249 h 2476500"/>
                  <a:gd name="connsiteX1158" fmla="*/ 716034 w 1757434"/>
                  <a:gd name="connsiteY1158" fmla="*/ 900113 h 2476500"/>
                  <a:gd name="connsiteX1159" fmla="*/ 711272 w 1757434"/>
                  <a:gd name="connsiteY1159" fmla="*/ 896938 h 2476500"/>
                  <a:gd name="connsiteX1160" fmla="*/ 711560 w 1757434"/>
                  <a:gd name="connsiteY1160" fmla="*/ 898249 h 2476500"/>
                  <a:gd name="connsiteX1161" fmla="*/ 696984 w 1757434"/>
                  <a:gd name="connsiteY1161" fmla="*/ 892175 h 2476500"/>
                  <a:gd name="connsiteX1162" fmla="*/ 695397 w 1757434"/>
                  <a:gd name="connsiteY1162" fmla="*/ 868363 h 2476500"/>
                  <a:gd name="connsiteX1163" fmla="*/ 738259 w 1757434"/>
                  <a:gd name="connsiteY1163" fmla="*/ 862013 h 2476500"/>
                  <a:gd name="connsiteX1164" fmla="*/ 731909 w 1757434"/>
                  <a:gd name="connsiteY1164" fmla="*/ 858838 h 2476500"/>
                  <a:gd name="connsiteX1165" fmla="*/ 741434 w 1757434"/>
                  <a:gd name="connsiteY1165" fmla="*/ 852488 h 2476500"/>
                  <a:gd name="connsiteX1166" fmla="*/ 747784 w 1757434"/>
                  <a:gd name="connsiteY1166" fmla="*/ 858838 h 2476500"/>
                  <a:gd name="connsiteX1167" fmla="*/ 746197 w 1757434"/>
                  <a:gd name="connsiteY1167" fmla="*/ 854075 h 2476500"/>
                  <a:gd name="connsiteX1168" fmla="*/ 749372 w 1757434"/>
                  <a:gd name="connsiteY1168" fmla="*/ 838200 h 2476500"/>
                  <a:gd name="connsiteX1169" fmla="*/ 757309 w 1757434"/>
                  <a:gd name="connsiteY1169" fmla="*/ 833438 h 2476500"/>
                  <a:gd name="connsiteX1170" fmla="*/ 758897 w 1757434"/>
                  <a:gd name="connsiteY1170" fmla="*/ 844550 h 2476500"/>
                  <a:gd name="connsiteX1171" fmla="*/ 762072 w 1757434"/>
                  <a:gd name="connsiteY1171" fmla="*/ 849313 h 2476500"/>
                  <a:gd name="connsiteX1172" fmla="*/ 766834 w 1757434"/>
                  <a:gd name="connsiteY1172" fmla="*/ 847725 h 2476500"/>
                  <a:gd name="connsiteX1173" fmla="*/ 763659 w 1757434"/>
                  <a:gd name="connsiteY1173" fmla="*/ 827088 h 2476500"/>
                  <a:gd name="connsiteX1174" fmla="*/ 770009 w 1757434"/>
                  <a:gd name="connsiteY1174" fmla="*/ 812800 h 2476500"/>
                  <a:gd name="connsiteX1175" fmla="*/ 774772 w 1757434"/>
                  <a:gd name="connsiteY1175" fmla="*/ 815975 h 2476500"/>
                  <a:gd name="connsiteX1176" fmla="*/ 782709 w 1757434"/>
                  <a:gd name="connsiteY1176" fmla="*/ 823913 h 2476500"/>
                  <a:gd name="connsiteX1177" fmla="*/ 789059 w 1757434"/>
                  <a:gd name="connsiteY1177" fmla="*/ 819150 h 2476500"/>
                  <a:gd name="connsiteX1178" fmla="*/ 793822 w 1757434"/>
                  <a:gd name="connsiteY1178" fmla="*/ 806450 h 2476500"/>
                  <a:gd name="connsiteX1179" fmla="*/ 806522 w 1757434"/>
                  <a:gd name="connsiteY1179" fmla="*/ 819150 h 2476500"/>
                  <a:gd name="connsiteX1180" fmla="*/ 808109 w 1757434"/>
                  <a:gd name="connsiteY1180" fmla="*/ 831850 h 2476500"/>
                  <a:gd name="connsiteX1181" fmla="*/ 811284 w 1757434"/>
                  <a:gd name="connsiteY1181" fmla="*/ 823913 h 2476500"/>
                  <a:gd name="connsiteX1182" fmla="*/ 820809 w 1757434"/>
                  <a:gd name="connsiteY1182" fmla="*/ 830263 h 2476500"/>
                  <a:gd name="connsiteX1183" fmla="*/ 828747 w 1757434"/>
                  <a:gd name="connsiteY1183" fmla="*/ 828675 h 2476500"/>
                  <a:gd name="connsiteX1184" fmla="*/ 830334 w 1757434"/>
                  <a:gd name="connsiteY1184" fmla="*/ 815975 h 2476500"/>
                  <a:gd name="connsiteX1185" fmla="*/ 831922 w 1757434"/>
                  <a:gd name="connsiteY1185" fmla="*/ 811213 h 2476500"/>
                  <a:gd name="connsiteX1186" fmla="*/ 833509 w 1757434"/>
                  <a:gd name="connsiteY1186" fmla="*/ 796925 h 2476500"/>
                  <a:gd name="connsiteX1187" fmla="*/ 831922 w 1757434"/>
                  <a:gd name="connsiteY1187" fmla="*/ 790575 h 2476500"/>
                  <a:gd name="connsiteX1188" fmla="*/ 830334 w 1757434"/>
                  <a:gd name="connsiteY1188" fmla="*/ 782638 h 2476500"/>
                  <a:gd name="connsiteX1189" fmla="*/ 831922 w 1757434"/>
                  <a:gd name="connsiteY1189" fmla="*/ 760413 h 2476500"/>
                  <a:gd name="connsiteX1190" fmla="*/ 793822 w 1757434"/>
                  <a:gd name="connsiteY1190" fmla="*/ 765175 h 2476500"/>
                  <a:gd name="connsiteX1191" fmla="*/ 804934 w 1757434"/>
                  <a:gd name="connsiteY1191" fmla="*/ 755650 h 2476500"/>
                  <a:gd name="connsiteX1192" fmla="*/ 806522 w 1757434"/>
                  <a:gd name="connsiteY1192" fmla="*/ 750888 h 2476500"/>
                  <a:gd name="connsiteX1193" fmla="*/ 808109 w 1757434"/>
                  <a:gd name="connsiteY1193" fmla="*/ 741363 h 2476500"/>
                  <a:gd name="connsiteX1194" fmla="*/ 812872 w 1757434"/>
                  <a:gd name="connsiteY1194" fmla="*/ 739775 h 2476500"/>
                  <a:gd name="connsiteX1195" fmla="*/ 817634 w 1757434"/>
                  <a:gd name="connsiteY1195" fmla="*/ 735013 h 2476500"/>
                  <a:gd name="connsiteX1196" fmla="*/ 812872 w 1757434"/>
                  <a:gd name="connsiteY1196" fmla="*/ 731838 h 2476500"/>
                  <a:gd name="connsiteX1197" fmla="*/ 796997 w 1757434"/>
                  <a:gd name="connsiteY1197" fmla="*/ 728663 h 2476500"/>
                  <a:gd name="connsiteX1198" fmla="*/ 784297 w 1757434"/>
                  <a:gd name="connsiteY1198" fmla="*/ 727075 h 2476500"/>
                  <a:gd name="connsiteX1199" fmla="*/ 793822 w 1757434"/>
                  <a:gd name="connsiteY1199" fmla="*/ 704850 h 2476500"/>
                  <a:gd name="connsiteX1200" fmla="*/ 801759 w 1757434"/>
                  <a:gd name="connsiteY1200" fmla="*/ 703263 h 2476500"/>
                  <a:gd name="connsiteX1201" fmla="*/ 813273 w 1757434"/>
                  <a:gd name="connsiteY1201" fmla="*/ 704702 h 2476500"/>
                  <a:gd name="connsiteX1202" fmla="*/ 812872 w 1757434"/>
                  <a:gd name="connsiteY1202" fmla="*/ 709613 h 2476500"/>
                  <a:gd name="connsiteX1203" fmla="*/ 814459 w 1757434"/>
                  <a:gd name="connsiteY1203" fmla="*/ 704850 h 2476500"/>
                  <a:gd name="connsiteX1204" fmla="*/ 813273 w 1757434"/>
                  <a:gd name="connsiteY1204" fmla="*/ 704702 h 2476500"/>
                  <a:gd name="connsiteX1205" fmla="*/ 814261 w 1757434"/>
                  <a:gd name="connsiteY1205" fmla="*/ 692608 h 2476500"/>
                  <a:gd name="connsiteX1206" fmla="*/ 816047 w 1757434"/>
                  <a:gd name="connsiteY1206" fmla="*/ 674688 h 2476500"/>
                  <a:gd name="connsiteX1207" fmla="*/ 823984 w 1757434"/>
                  <a:gd name="connsiteY1207" fmla="*/ 684213 h 2476500"/>
                  <a:gd name="connsiteX1208" fmla="*/ 827159 w 1757434"/>
                  <a:gd name="connsiteY1208" fmla="*/ 688975 h 2476500"/>
                  <a:gd name="connsiteX1209" fmla="*/ 830334 w 1757434"/>
                  <a:gd name="connsiteY1209" fmla="*/ 677863 h 2476500"/>
                  <a:gd name="connsiteX1210" fmla="*/ 846209 w 1757434"/>
                  <a:gd name="connsiteY1210" fmla="*/ 669925 h 2476500"/>
                  <a:gd name="connsiteX1211" fmla="*/ 850972 w 1757434"/>
                  <a:gd name="connsiteY1211" fmla="*/ 668338 h 2476500"/>
                  <a:gd name="connsiteX1212" fmla="*/ 850972 w 1757434"/>
                  <a:gd name="connsiteY1212" fmla="*/ 682625 h 2476500"/>
                  <a:gd name="connsiteX1213" fmla="*/ 857322 w 1757434"/>
                  <a:gd name="connsiteY1213" fmla="*/ 674688 h 2476500"/>
                  <a:gd name="connsiteX1214" fmla="*/ 863672 w 1757434"/>
                  <a:gd name="connsiteY1214" fmla="*/ 668338 h 2476500"/>
                  <a:gd name="connsiteX1215" fmla="*/ 865259 w 1757434"/>
                  <a:gd name="connsiteY1215" fmla="*/ 676275 h 2476500"/>
                  <a:gd name="connsiteX1216" fmla="*/ 868434 w 1757434"/>
                  <a:gd name="connsiteY1216" fmla="*/ 682625 h 2476500"/>
                  <a:gd name="connsiteX1217" fmla="*/ 871609 w 1757434"/>
                  <a:gd name="connsiteY1217" fmla="*/ 661988 h 2476500"/>
                  <a:gd name="connsiteX1218" fmla="*/ 876372 w 1757434"/>
                  <a:gd name="connsiteY1218" fmla="*/ 660400 h 2476500"/>
                  <a:gd name="connsiteX1219" fmla="*/ 877959 w 1757434"/>
                  <a:gd name="connsiteY1219" fmla="*/ 655638 h 2476500"/>
                  <a:gd name="connsiteX1220" fmla="*/ 876372 w 1757434"/>
                  <a:gd name="connsiteY1220" fmla="*/ 650875 h 2476500"/>
                  <a:gd name="connsiteX1221" fmla="*/ 874784 w 1757434"/>
                  <a:gd name="connsiteY1221" fmla="*/ 641350 h 2476500"/>
                  <a:gd name="connsiteX1222" fmla="*/ 870022 w 1757434"/>
                  <a:gd name="connsiteY1222" fmla="*/ 638175 h 2476500"/>
                  <a:gd name="connsiteX1223" fmla="*/ 870022 w 1757434"/>
                  <a:gd name="connsiteY1223" fmla="*/ 617538 h 2476500"/>
                  <a:gd name="connsiteX1224" fmla="*/ 873197 w 1757434"/>
                  <a:gd name="connsiteY1224" fmla="*/ 612775 h 2476500"/>
                  <a:gd name="connsiteX1225" fmla="*/ 874784 w 1757434"/>
                  <a:gd name="connsiteY1225" fmla="*/ 601663 h 2476500"/>
                  <a:gd name="connsiteX1226" fmla="*/ 879547 w 1757434"/>
                  <a:gd name="connsiteY1226" fmla="*/ 606425 h 2476500"/>
                  <a:gd name="connsiteX1227" fmla="*/ 882722 w 1757434"/>
                  <a:gd name="connsiteY1227" fmla="*/ 614363 h 2476500"/>
                  <a:gd name="connsiteX1228" fmla="*/ 887484 w 1757434"/>
                  <a:gd name="connsiteY1228" fmla="*/ 617538 h 2476500"/>
                  <a:gd name="connsiteX1229" fmla="*/ 892247 w 1757434"/>
                  <a:gd name="connsiteY1229" fmla="*/ 622300 h 2476500"/>
                  <a:gd name="connsiteX1230" fmla="*/ 903359 w 1757434"/>
                  <a:gd name="connsiteY1230" fmla="*/ 619125 h 2476500"/>
                  <a:gd name="connsiteX1231" fmla="*/ 914472 w 1757434"/>
                  <a:gd name="connsiteY1231" fmla="*/ 604838 h 2476500"/>
                  <a:gd name="connsiteX1232" fmla="*/ 916059 w 1757434"/>
                  <a:gd name="connsiteY1232" fmla="*/ 598488 h 2476500"/>
                  <a:gd name="connsiteX1233" fmla="*/ 920822 w 1757434"/>
                  <a:gd name="connsiteY1233" fmla="*/ 595313 h 2476500"/>
                  <a:gd name="connsiteX1234" fmla="*/ 923997 w 1757434"/>
                  <a:gd name="connsiteY1234" fmla="*/ 603250 h 2476500"/>
                  <a:gd name="connsiteX1235" fmla="*/ 928759 w 1757434"/>
                  <a:gd name="connsiteY1235" fmla="*/ 619125 h 2476500"/>
                  <a:gd name="connsiteX1236" fmla="*/ 933522 w 1757434"/>
                  <a:gd name="connsiteY1236" fmla="*/ 620713 h 2476500"/>
                  <a:gd name="connsiteX1237" fmla="*/ 935109 w 1757434"/>
                  <a:gd name="connsiteY1237" fmla="*/ 625475 h 2476500"/>
                  <a:gd name="connsiteX1238" fmla="*/ 936697 w 1757434"/>
                  <a:gd name="connsiteY1238" fmla="*/ 619125 h 2476500"/>
                  <a:gd name="connsiteX1239" fmla="*/ 938284 w 1757434"/>
                  <a:gd name="connsiteY1239" fmla="*/ 603250 h 2476500"/>
                  <a:gd name="connsiteX1240" fmla="*/ 950984 w 1757434"/>
                  <a:gd name="connsiteY1240" fmla="*/ 590550 h 2476500"/>
                  <a:gd name="connsiteX1241" fmla="*/ 949397 w 1757434"/>
                  <a:gd name="connsiteY1241" fmla="*/ 582613 h 2476500"/>
                  <a:gd name="connsiteX1242" fmla="*/ 936697 w 1757434"/>
                  <a:gd name="connsiteY1242" fmla="*/ 577850 h 2476500"/>
                  <a:gd name="connsiteX1243" fmla="*/ 911297 w 1757434"/>
                  <a:gd name="connsiteY1243" fmla="*/ 579438 h 2476500"/>
                  <a:gd name="connsiteX1244" fmla="*/ 895422 w 1757434"/>
                  <a:gd name="connsiteY1244" fmla="*/ 584200 h 2476500"/>
                  <a:gd name="connsiteX1245" fmla="*/ 887484 w 1757434"/>
                  <a:gd name="connsiteY1245" fmla="*/ 585788 h 2476500"/>
                  <a:gd name="connsiteX1246" fmla="*/ 863672 w 1757434"/>
                  <a:gd name="connsiteY1246" fmla="*/ 582613 h 2476500"/>
                  <a:gd name="connsiteX1247" fmla="*/ 868434 w 1757434"/>
                  <a:gd name="connsiteY1247" fmla="*/ 577850 h 2476500"/>
                  <a:gd name="connsiteX1248" fmla="*/ 876372 w 1757434"/>
                  <a:gd name="connsiteY1248" fmla="*/ 574675 h 2476500"/>
                  <a:gd name="connsiteX1249" fmla="*/ 881134 w 1757434"/>
                  <a:gd name="connsiteY1249" fmla="*/ 571500 h 2476500"/>
                  <a:gd name="connsiteX1250" fmla="*/ 882722 w 1757434"/>
                  <a:gd name="connsiteY1250" fmla="*/ 566738 h 2476500"/>
                  <a:gd name="connsiteX1251" fmla="*/ 887484 w 1757434"/>
                  <a:gd name="connsiteY1251" fmla="*/ 544513 h 2476500"/>
                  <a:gd name="connsiteX1252" fmla="*/ 892247 w 1757434"/>
                  <a:gd name="connsiteY1252" fmla="*/ 541338 h 2476500"/>
                  <a:gd name="connsiteX1253" fmla="*/ 898597 w 1757434"/>
                  <a:gd name="connsiteY1253" fmla="*/ 542925 h 2476500"/>
                  <a:gd name="connsiteX1254" fmla="*/ 911297 w 1757434"/>
                  <a:gd name="connsiteY1254" fmla="*/ 531813 h 2476500"/>
                  <a:gd name="connsiteX1255" fmla="*/ 919234 w 1757434"/>
                  <a:gd name="connsiteY1255" fmla="*/ 530225 h 2476500"/>
                  <a:gd name="connsiteX1256" fmla="*/ 925584 w 1757434"/>
                  <a:gd name="connsiteY1256" fmla="*/ 534988 h 2476500"/>
                  <a:gd name="connsiteX1257" fmla="*/ 928759 w 1757434"/>
                  <a:gd name="connsiteY1257" fmla="*/ 539750 h 2476500"/>
                  <a:gd name="connsiteX1258" fmla="*/ 935109 w 1757434"/>
                  <a:gd name="connsiteY1258" fmla="*/ 544513 h 2476500"/>
                  <a:gd name="connsiteX1259" fmla="*/ 947809 w 1757434"/>
                  <a:gd name="connsiteY1259" fmla="*/ 531813 h 2476500"/>
                  <a:gd name="connsiteX1260" fmla="*/ 952572 w 1757434"/>
                  <a:gd name="connsiteY1260" fmla="*/ 530225 h 2476500"/>
                  <a:gd name="connsiteX1261" fmla="*/ 955747 w 1757434"/>
                  <a:gd name="connsiteY1261" fmla="*/ 522288 h 2476500"/>
                  <a:gd name="connsiteX1262" fmla="*/ 955747 w 1757434"/>
                  <a:gd name="connsiteY1262" fmla="*/ 509588 h 2476500"/>
                  <a:gd name="connsiteX1263" fmla="*/ 950984 w 1757434"/>
                  <a:gd name="connsiteY1263" fmla="*/ 506413 h 2476500"/>
                  <a:gd name="connsiteX1264" fmla="*/ 939872 w 1757434"/>
                  <a:gd name="connsiteY1264" fmla="*/ 508000 h 2476500"/>
                  <a:gd name="connsiteX1265" fmla="*/ 920822 w 1757434"/>
                  <a:gd name="connsiteY1265" fmla="*/ 512763 h 2476500"/>
                  <a:gd name="connsiteX1266" fmla="*/ 919234 w 1757434"/>
                  <a:gd name="connsiteY1266" fmla="*/ 496888 h 2476500"/>
                  <a:gd name="connsiteX1267" fmla="*/ 925584 w 1757434"/>
                  <a:gd name="connsiteY1267" fmla="*/ 495300 h 2476500"/>
                  <a:gd name="connsiteX1268" fmla="*/ 914472 w 1757434"/>
                  <a:gd name="connsiteY1268" fmla="*/ 488950 h 2476500"/>
                  <a:gd name="connsiteX1269" fmla="*/ 908122 w 1757434"/>
                  <a:gd name="connsiteY1269" fmla="*/ 484188 h 2476500"/>
                  <a:gd name="connsiteX1270" fmla="*/ 912884 w 1757434"/>
                  <a:gd name="connsiteY1270" fmla="*/ 481013 h 2476500"/>
                  <a:gd name="connsiteX1271" fmla="*/ 916059 w 1757434"/>
                  <a:gd name="connsiteY1271" fmla="*/ 476250 h 2476500"/>
                  <a:gd name="connsiteX1272" fmla="*/ 920822 w 1757434"/>
                  <a:gd name="connsiteY1272" fmla="*/ 474663 h 2476500"/>
                  <a:gd name="connsiteX1273" fmla="*/ 935109 w 1757434"/>
                  <a:gd name="connsiteY1273" fmla="*/ 473075 h 2476500"/>
                  <a:gd name="connsiteX1274" fmla="*/ 941459 w 1757434"/>
                  <a:gd name="connsiteY1274" fmla="*/ 469900 h 2476500"/>
                  <a:gd name="connsiteX1275" fmla="*/ 958922 w 1757434"/>
                  <a:gd name="connsiteY1275" fmla="*/ 455613 h 2476500"/>
                  <a:gd name="connsiteX1276" fmla="*/ 958922 w 1757434"/>
                  <a:gd name="connsiteY1276" fmla="*/ 422275 h 2476500"/>
                  <a:gd name="connsiteX1277" fmla="*/ 965272 w 1757434"/>
                  <a:gd name="connsiteY1277" fmla="*/ 412750 h 2476500"/>
                  <a:gd name="connsiteX1278" fmla="*/ 968447 w 1757434"/>
                  <a:gd name="connsiteY1278" fmla="*/ 407988 h 2476500"/>
                  <a:gd name="connsiteX1279" fmla="*/ 974797 w 1757434"/>
                  <a:gd name="connsiteY1279" fmla="*/ 406400 h 2476500"/>
                  <a:gd name="connsiteX1280" fmla="*/ 985909 w 1757434"/>
                  <a:gd name="connsiteY1280" fmla="*/ 414338 h 2476500"/>
                  <a:gd name="connsiteX1281" fmla="*/ 981147 w 1757434"/>
                  <a:gd name="connsiteY1281" fmla="*/ 419100 h 2476500"/>
                  <a:gd name="connsiteX1282" fmla="*/ 982734 w 1757434"/>
                  <a:gd name="connsiteY1282" fmla="*/ 430213 h 2476500"/>
                  <a:gd name="connsiteX1283" fmla="*/ 989084 w 1757434"/>
                  <a:gd name="connsiteY1283" fmla="*/ 428625 h 2476500"/>
                  <a:gd name="connsiteX1284" fmla="*/ 1000197 w 1757434"/>
                  <a:gd name="connsiteY1284" fmla="*/ 422275 h 2476500"/>
                  <a:gd name="connsiteX1285" fmla="*/ 1006547 w 1757434"/>
                  <a:gd name="connsiteY1285" fmla="*/ 423863 h 2476500"/>
                  <a:gd name="connsiteX1286" fmla="*/ 1009722 w 1757434"/>
                  <a:gd name="connsiteY1286" fmla="*/ 430213 h 2476500"/>
                  <a:gd name="connsiteX1287" fmla="*/ 1016072 w 1757434"/>
                  <a:gd name="connsiteY1287" fmla="*/ 434975 h 2476500"/>
                  <a:gd name="connsiteX1288" fmla="*/ 1024009 w 1757434"/>
                  <a:gd name="connsiteY1288" fmla="*/ 425450 h 2476500"/>
                  <a:gd name="connsiteX1289" fmla="*/ 1027184 w 1757434"/>
                  <a:gd name="connsiteY1289" fmla="*/ 414338 h 2476500"/>
                  <a:gd name="connsiteX1290" fmla="*/ 1039884 w 1757434"/>
                  <a:gd name="connsiteY1290" fmla="*/ 419100 h 2476500"/>
                  <a:gd name="connsiteX1291" fmla="*/ 1041472 w 1757434"/>
                  <a:gd name="connsiteY1291" fmla="*/ 414338 h 2476500"/>
                  <a:gd name="connsiteX1292" fmla="*/ 1024009 w 1757434"/>
                  <a:gd name="connsiteY1292" fmla="*/ 412750 h 2476500"/>
                  <a:gd name="connsiteX1293" fmla="*/ 1009722 w 1757434"/>
                  <a:gd name="connsiteY1293" fmla="*/ 409575 h 2476500"/>
                  <a:gd name="connsiteX1294" fmla="*/ 1004959 w 1757434"/>
                  <a:gd name="connsiteY1294" fmla="*/ 403225 h 2476500"/>
                  <a:gd name="connsiteX1295" fmla="*/ 1004959 w 1757434"/>
                  <a:gd name="connsiteY1295" fmla="*/ 384175 h 2476500"/>
                  <a:gd name="connsiteX1296" fmla="*/ 1014484 w 1757434"/>
                  <a:gd name="connsiteY1296" fmla="*/ 382588 h 2476500"/>
                  <a:gd name="connsiteX1297" fmla="*/ 1019247 w 1757434"/>
                  <a:gd name="connsiteY1297" fmla="*/ 387350 h 2476500"/>
                  <a:gd name="connsiteX1298" fmla="*/ 1025597 w 1757434"/>
                  <a:gd name="connsiteY1298" fmla="*/ 388938 h 2476500"/>
                  <a:gd name="connsiteX1299" fmla="*/ 1028772 w 1757434"/>
                  <a:gd name="connsiteY1299" fmla="*/ 393700 h 2476500"/>
                  <a:gd name="connsiteX1300" fmla="*/ 1033534 w 1757434"/>
                  <a:gd name="connsiteY1300" fmla="*/ 395288 h 2476500"/>
                  <a:gd name="connsiteX1301" fmla="*/ 1038297 w 1757434"/>
                  <a:gd name="connsiteY1301" fmla="*/ 398463 h 2476500"/>
                  <a:gd name="connsiteX1302" fmla="*/ 1046234 w 1757434"/>
                  <a:gd name="connsiteY1302" fmla="*/ 412750 h 2476500"/>
                  <a:gd name="connsiteX1303" fmla="*/ 1050997 w 1757434"/>
                  <a:gd name="connsiteY1303" fmla="*/ 415925 h 2476500"/>
                  <a:gd name="connsiteX1304" fmla="*/ 1066872 w 1757434"/>
                  <a:gd name="connsiteY1304" fmla="*/ 414338 h 2476500"/>
                  <a:gd name="connsiteX1305" fmla="*/ 1060522 w 1757434"/>
                  <a:gd name="connsiteY1305" fmla="*/ 400050 h 2476500"/>
                  <a:gd name="connsiteX1306" fmla="*/ 1058934 w 1757434"/>
                  <a:gd name="connsiteY1306" fmla="*/ 387350 h 2476500"/>
                  <a:gd name="connsiteX1307" fmla="*/ 1062109 w 1757434"/>
                  <a:gd name="connsiteY1307" fmla="*/ 352425 h 2476500"/>
                  <a:gd name="connsiteX1308" fmla="*/ 1054172 w 1757434"/>
                  <a:gd name="connsiteY1308" fmla="*/ 349250 h 2476500"/>
                  <a:gd name="connsiteX1309" fmla="*/ 1036709 w 1757434"/>
                  <a:gd name="connsiteY1309" fmla="*/ 347663 h 2476500"/>
                  <a:gd name="connsiteX1310" fmla="*/ 1033534 w 1757434"/>
                  <a:gd name="connsiteY1310" fmla="*/ 342900 h 2476500"/>
                  <a:gd name="connsiteX1311" fmla="*/ 1035122 w 1757434"/>
                  <a:gd name="connsiteY1311" fmla="*/ 336550 h 2476500"/>
                  <a:gd name="connsiteX1312" fmla="*/ 1057347 w 1757434"/>
                  <a:gd name="connsiteY1312" fmla="*/ 328613 h 2476500"/>
                  <a:gd name="connsiteX1313" fmla="*/ 1068459 w 1757434"/>
                  <a:gd name="connsiteY1313" fmla="*/ 325438 h 2476500"/>
                  <a:gd name="connsiteX1314" fmla="*/ 1071634 w 1757434"/>
                  <a:gd name="connsiteY1314" fmla="*/ 344488 h 2476500"/>
                  <a:gd name="connsiteX1315" fmla="*/ 1074809 w 1757434"/>
                  <a:gd name="connsiteY1315" fmla="*/ 349250 h 2476500"/>
                  <a:gd name="connsiteX1316" fmla="*/ 1079572 w 1757434"/>
                  <a:gd name="connsiteY1316" fmla="*/ 360363 h 2476500"/>
                  <a:gd name="connsiteX1317" fmla="*/ 1076397 w 1757434"/>
                  <a:gd name="connsiteY1317" fmla="*/ 393700 h 2476500"/>
                  <a:gd name="connsiteX1318" fmla="*/ 1074809 w 1757434"/>
                  <a:gd name="connsiteY1318" fmla="*/ 398463 h 2476500"/>
                  <a:gd name="connsiteX1319" fmla="*/ 1079572 w 1757434"/>
                  <a:gd name="connsiteY1319" fmla="*/ 400050 h 2476500"/>
                  <a:gd name="connsiteX1320" fmla="*/ 1090684 w 1757434"/>
                  <a:gd name="connsiteY1320" fmla="*/ 392113 h 2476500"/>
                  <a:gd name="connsiteX1321" fmla="*/ 1093859 w 1757434"/>
                  <a:gd name="connsiteY1321" fmla="*/ 377825 h 2476500"/>
                  <a:gd name="connsiteX1322" fmla="*/ 1104972 w 1757434"/>
                  <a:gd name="connsiteY1322" fmla="*/ 368300 h 2476500"/>
                  <a:gd name="connsiteX1323" fmla="*/ 1111322 w 1757434"/>
                  <a:gd name="connsiteY1323" fmla="*/ 363538 h 2476500"/>
                  <a:gd name="connsiteX1324" fmla="*/ 1120847 w 1757434"/>
                  <a:gd name="connsiteY1324" fmla="*/ 361950 h 2476500"/>
                  <a:gd name="connsiteX1325" fmla="*/ 1125609 w 1757434"/>
                  <a:gd name="connsiteY1325" fmla="*/ 360363 h 2476500"/>
                  <a:gd name="connsiteX1326" fmla="*/ 1124022 w 1757434"/>
                  <a:gd name="connsiteY1326" fmla="*/ 355600 h 2476500"/>
                  <a:gd name="connsiteX1327" fmla="*/ 1114497 w 1757434"/>
                  <a:gd name="connsiteY1327" fmla="*/ 354013 h 2476500"/>
                  <a:gd name="connsiteX1328" fmla="*/ 1100209 w 1757434"/>
                  <a:gd name="connsiteY1328" fmla="*/ 349250 h 2476500"/>
                  <a:gd name="connsiteX1329" fmla="*/ 1106559 w 1757434"/>
                  <a:gd name="connsiteY1329" fmla="*/ 325438 h 2476500"/>
                  <a:gd name="connsiteX1330" fmla="*/ 1112909 w 1757434"/>
                  <a:gd name="connsiteY1330" fmla="*/ 322263 h 2476500"/>
                  <a:gd name="connsiteX1331" fmla="*/ 1116084 w 1757434"/>
                  <a:gd name="connsiteY1331" fmla="*/ 317500 h 2476500"/>
                  <a:gd name="connsiteX1332" fmla="*/ 1120847 w 1757434"/>
                  <a:gd name="connsiteY1332" fmla="*/ 311150 h 2476500"/>
                  <a:gd name="connsiteX1333" fmla="*/ 1119259 w 1757434"/>
                  <a:gd name="connsiteY1333" fmla="*/ 303213 h 2476500"/>
                  <a:gd name="connsiteX1334" fmla="*/ 1120847 w 1757434"/>
                  <a:gd name="connsiteY1334" fmla="*/ 292100 h 2476500"/>
                  <a:gd name="connsiteX1335" fmla="*/ 1124022 w 1757434"/>
                  <a:gd name="connsiteY1335" fmla="*/ 287338 h 2476500"/>
                  <a:gd name="connsiteX1336" fmla="*/ 1125609 w 1757434"/>
                  <a:gd name="connsiteY1336" fmla="*/ 280988 h 2476500"/>
                  <a:gd name="connsiteX1337" fmla="*/ 1130372 w 1757434"/>
                  <a:gd name="connsiteY1337" fmla="*/ 271463 h 2476500"/>
                  <a:gd name="connsiteX1338" fmla="*/ 1136722 w 1757434"/>
                  <a:gd name="connsiteY1338" fmla="*/ 284163 h 2476500"/>
                  <a:gd name="connsiteX1339" fmla="*/ 1138309 w 1757434"/>
                  <a:gd name="connsiteY1339" fmla="*/ 288925 h 2476500"/>
                  <a:gd name="connsiteX1340" fmla="*/ 1144659 w 1757434"/>
                  <a:gd name="connsiteY1340" fmla="*/ 296863 h 2476500"/>
                  <a:gd name="connsiteX1341" fmla="*/ 1151009 w 1757434"/>
                  <a:gd name="connsiteY1341" fmla="*/ 298450 h 2476500"/>
                  <a:gd name="connsiteX1342" fmla="*/ 1154184 w 1757434"/>
                  <a:gd name="connsiteY1342" fmla="*/ 309563 h 2476500"/>
                  <a:gd name="connsiteX1343" fmla="*/ 1173234 w 1757434"/>
                  <a:gd name="connsiteY1343" fmla="*/ 312738 h 2476500"/>
                  <a:gd name="connsiteX1344" fmla="*/ 1177997 w 1757434"/>
                  <a:gd name="connsiteY1344" fmla="*/ 314325 h 2476500"/>
                  <a:gd name="connsiteX1345" fmla="*/ 1187522 w 1757434"/>
                  <a:gd name="connsiteY1345" fmla="*/ 314325 h 2476500"/>
                  <a:gd name="connsiteX1346" fmla="*/ 1198634 w 1757434"/>
                  <a:gd name="connsiteY1346" fmla="*/ 315913 h 2476500"/>
                  <a:gd name="connsiteX1347" fmla="*/ 1197047 w 1757434"/>
                  <a:gd name="connsiteY1347" fmla="*/ 304800 h 2476500"/>
                  <a:gd name="connsiteX1348" fmla="*/ 1187522 w 1757434"/>
                  <a:gd name="connsiteY1348" fmla="*/ 292100 h 2476500"/>
                  <a:gd name="connsiteX1349" fmla="*/ 1181172 w 1757434"/>
                  <a:gd name="connsiteY1349" fmla="*/ 290513 h 2476500"/>
                  <a:gd name="connsiteX1350" fmla="*/ 1174822 w 1757434"/>
                  <a:gd name="connsiteY1350" fmla="*/ 284163 h 2476500"/>
                  <a:gd name="connsiteX1351" fmla="*/ 1173234 w 1757434"/>
                  <a:gd name="connsiteY1351" fmla="*/ 276225 h 2476500"/>
                  <a:gd name="connsiteX1352" fmla="*/ 1171647 w 1757434"/>
                  <a:gd name="connsiteY1352" fmla="*/ 271463 h 2476500"/>
                  <a:gd name="connsiteX1353" fmla="*/ 1160534 w 1757434"/>
                  <a:gd name="connsiteY1353" fmla="*/ 266700 h 2476500"/>
                  <a:gd name="connsiteX1354" fmla="*/ 1154184 w 1757434"/>
                  <a:gd name="connsiteY1354" fmla="*/ 260350 h 2476500"/>
                  <a:gd name="connsiteX1355" fmla="*/ 1139897 w 1757434"/>
                  <a:gd name="connsiteY1355" fmla="*/ 257175 h 2476500"/>
                  <a:gd name="connsiteX1356" fmla="*/ 1141484 w 1757434"/>
                  <a:gd name="connsiteY1356" fmla="*/ 234950 h 2476500"/>
                  <a:gd name="connsiteX1357" fmla="*/ 1154184 w 1757434"/>
                  <a:gd name="connsiteY1357" fmla="*/ 244475 h 2476500"/>
                  <a:gd name="connsiteX1358" fmla="*/ 1152597 w 1757434"/>
                  <a:gd name="connsiteY1358" fmla="*/ 230188 h 2476500"/>
                  <a:gd name="connsiteX1359" fmla="*/ 1144659 w 1757434"/>
                  <a:gd name="connsiteY1359" fmla="*/ 215900 h 2476500"/>
                  <a:gd name="connsiteX1360" fmla="*/ 1146247 w 1757434"/>
                  <a:gd name="connsiteY1360" fmla="*/ 207963 h 2476500"/>
                  <a:gd name="connsiteX1361" fmla="*/ 1154184 w 1757434"/>
                  <a:gd name="connsiteY1361" fmla="*/ 206375 h 2476500"/>
                  <a:gd name="connsiteX1362" fmla="*/ 1170059 w 1757434"/>
                  <a:gd name="connsiteY1362" fmla="*/ 234950 h 2476500"/>
                  <a:gd name="connsiteX1363" fmla="*/ 1174822 w 1757434"/>
                  <a:gd name="connsiteY1363" fmla="*/ 225425 h 2476500"/>
                  <a:gd name="connsiteX1364" fmla="*/ 1179584 w 1757434"/>
                  <a:gd name="connsiteY1364" fmla="*/ 219075 h 2476500"/>
                  <a:gd name="connsiteX1365" fmla="*/ 1184347 w 1757434"/>
                  <a:gd name="connsiteY1365" fmla="*/ 217488 h 2476500"/>
                  <a:gd name="connsiteX1366" fmla="*/ 1185934 w 1757434"/>
                  <a:gd name="connsiteY1366" fmla="*/ 227013 h 2476500"/>
                  <a:gd name="connsiteX1367" fmla="*/ 1187522 w 1757434"/>
                  <a:gd name="connsiteY1367" fmla="*/ 234950 h 2476500"/>
                  <a:gd name="connsiteX1368" fmla="*/ 1189109 w 1757434"/>
                  <a:gd name="connsiteY1368" fmla="*/ 230188 h 2476500"/>
                  <a:gd name="connsiteX1369" fmla="*/ 1195459 w 1757434"/>
                  <a:gd name="connsiteY1369" fmla="*/ 225425 h 2476500"/>
                  <a:gd name="connsiteX1370" fmla="*/ 1195459 w 1757434"/>
                  <a:gd name="connsiteY1370" fmla="*/ 244475 h 2476500"/>
                  <a:gd name="connsiteX1371" fmla="*/ 1203397 w 1757434"/>
                  <a:gd name="connsiteY1371" fmla="*/ 242888 h 2476500"/>
                  <a:gd name="connsiteX1372" fmla="*/ 1204984 w 1757434"/>
                  <a:gd name="connsiteY1372" fmla="*/ 233363 h 2476500"/>
                  <a:gd name="connsiteX1373" fmla="*/ 1220859 w 1757434"/>
                  <a:gd name="connsiteY1373" fmla="*/ 230188 h 2476500"/>
                  <a:gd name="connsiteX1374" fmla="*/ 1216097 w 1757434"/>
                  <a:gd name="connsiteY1374" fmla="*/ 247650 h 2476500"/>
                  <a:gd name="connsiteX1375" fmla="*/ 1217684 w 1757434"/>
                  <a:gd name="connsiteY1375" fmla="*/ 254000 h 2476500"/>
                  <a:gd name="connsiteX1376" fmla="*/ 1227209 w 1757434"/>
                  <a:gd name="connsiteY1376" fmla="*/ 252413 h 2476500"/>
                  <a:gd name="connsiteX1377" fmla="*/ 1228797 w 1757434"/>
                  <a:gd name="connsiteY1377" fmla="*/ 247650 h 2476500"/>
                  <a:gd name="connsiteX1378" fmla="*/ 1233559 w 1757434"/>
                  <a:gd name="connsiteY1378" fmla="*/ 249238 h 2476500"/>
                  <a:gd name="connsiteX1379" fmla="*/ 1247847 w 1757434"/>
                  <a:gd name="connsiteY1379" fmla="*/ 255588 h 2476500"/>
                  <a:gd name="connsiteX1380" fmla="*/ 1252609 w 1757434"/>
                  <a:gd name="connsiteY1380" fmla="*/ 268288 h 2476500"/>
                  <a:gd name="connsiteX1381" fmla="*/ 1257372 w 1757434"/>
                  <a:gd name="connsiteY1381" fmla="*/ 269875 h 2476500"/>
                  <a:gd name="connsiteX1382" fmla="*/ 1262134 w 1757434"/>
                  <a:gd name="connsiteY1382" fmla="*/ 268288 h 2476500"/>
                  <a:gd name="connsiteX1383" fmla="*/ 1266897 w 1757434"/>
                  <a:gd name="connsiteY1383" fmla="*/ 269875 h 2476500"/>
                  <a:gd name="connsiteX1384" fmla="*/ 1270072 w 1757434"/>
                  <a:gd name="connsiteY1384" fmla="*/ 265113 h 2476500"/>
                  <a:gd name="connsiteX1385" fmla="*/ 1265309 w 1757434"/>
                  <a:gd name="connsiteY1385" fmla="*/ 254000 h 2476500"/>
                  <a:gd name="connsiteX1386" fmla="*/ 1260547 w 1757434"/>
                  <a:gd name="connsiteY1386" fmla="*/ 250825 h 2476500"/>
                  <a:gd name="connsiteX1387" fmla="*/ 1257372 w 1757434"/>
                  <a:gd name="connsiteY1387" fmla="*/ 246063 h 2476500"/>
                  <a:gd name="connsiteX1388" fmla="*/ 1260547 w 1757434"/>
                  <a:gd name="connsiteY1388" fmla="*/ 239713 h 2476500"/>
                  <a:gd name="connsiteX1389" fmla="*/ 1266897 w 1757434"/>
                  <a:gd name="connsiteY1389" fmla="*/ 231775 h 2476500"/>
                  <a:gd name="connsiteX1390" fmla="*/ 1254197 w 1757434"/>
                  <a:gd name="connsiteY1390" fmla="*/ 231775 h 2476500"/>
                  <a:gd name="connsiteX1391" fmla="*/ 1246259 w 1757434"/>
                  <a:gd name="connsiteY1391" fmla="*/ 230188 h 2476500"/>
                  <a:gd name="connsiteX1392" fmla="*/ 1251022 w 1757434"/>
                  <a:gd name="connsiteY1392" fmla="*/ 223838 h 2476500"/>
                  <a:gd name="connsiteX1393" fmla="*/ 1260547 w 1757434"/>
                  <a:gd name="connsiteY1393" fmla="*/ 220663 h 2476500"/>
                  <a:gd name="connsiteX1394" fmla="*/ 1266897 w 1757434"/>
                  <a:gd name="connsiteY1394" fmla="*/ 217488 h 2476500"/>
                  <a:gd name="connsiteX1395" fmla="*/ 1263722 w 1757434"/>
                  <a:gd name="connsiteY1395" fmla="*/ 212725 h 2476500"/>
                  <a:gd name="connsiteX1396" fmla="*/ 1255784 w 1757434"/>
                  <a:gd name="connsiteY1396" fmla="*/ 206375 h 2476500"/>
                  <a:gd name="connsiteX1397" fmla="*/ 1263722 w 1757434"/>
                  <a:gd name="connsiteY1397" fmla="*/ 196850 h 2476500"/>
                  <a:gd name="connsiteX1398" fmla="*/ 1274834 w 1757434"/>
                  <a:gd name="connsiteY1398" fmla="*/ 192088 h 2476500"/>
                  <a:gd name="connsiteX1399" fmla="*/ 1282772 w 1757434"/>
                  <a:gd name="connsiteY1399" fmla="*/ 174625 h 2476500"/>
                  <a:gd name="connsiteX1400" fmla="*/ 1284359 w 1757434"/>
                  <a:gd name="connsiteY1400" fmla="*/ 169863 h 2476500"/>
                  <a:gd name="connsiteX1401" fmla="*/ 1290709 w 1757434"/>
                  <a:gd name="connsiteY1401" fmla="*/ 168275 h 2476500"/>
                  <a:gd name="connsiteX1402" fmla="*/ 1301822 w 1757434"/>
                  <a:gd name="connsiteY1402" fmla="*/ 166688 h 2476500"/>
                  <a:gd name="connsiteX1403" fmla="*/ 1295472 w 1757434"/>
                  <a:gd name="connsiteY1403" fmla="*/ 165100 h 2476500"/>
                  <a:gd name="connsiteX1404" fmla="*/ 1290709 w 1757434"/>
                  <a:gd name="connsiteY1404" fmla="*/ 150813 h 2476500"/>
                  <a:gd name="connsiteX1405" fmla="*/ 1306584 w 1757434"/>
                  <a:gd name="connsiteY1405" fmla="*/ 142875 h 2476500"/>
                  <a:gd name="connsiteX1406" fmla="*/ 1319284 w 1757434"/>
                  <a:gd name="connsiteY1406" fmla="*/ 138113 h 2476500"/>
                  <a:gd name="connsiteX1407" fmla="*/ 1322459 w 1757434"/>
                  <a:gd name="connsiteY1407" fmla="*/ 133350 h 2476500"/>
                  <a:gd name="connsiteX1408" fmla="*/ 1309759 w 1757434"/>
                  <a:gd name="connsiteY1408" fmla="*/ 125413 h 2476500"/>
                  <a:gd name="connsiteX1409" fmla="*/ 1304997 w 1757434"/>
                  <a:gd name="connsiteY1409" fmla="*/ 123825 h 2476500"/>
                  <a:gd name="connsiteX1410" fmla="*/ 1293884 w 1757434"/>
                  <a:gd name="connsiteY1410" fmla="*/ 104775 h 2476500"/>
                  <a:gd name="connsiteX1411" fmla="*/ 1287534 w 1757434"/>
                  <a:gd name="connsiteY1411" fmla="*/ 103188 h 2476500"/>
                  <a:gd name="connsiteX1412" fmla="*/ 1279597 w 1757434"/>
                  <a:gd name="connsiteY1412" fmla="*/ 100013 h 2476500"/>
                  <a:gd name="connsiteX1413" fmla="*/ 1282772 w 1757434"/>
                  <a:gd name="connsiteY1413" fmla="*/ 90488 h 2476500"/>
                  <a:gd name="connsiteX1414" fmla="*/ 1290709 w 1757434"/>
                  <a:gd name="connsiteY1414" fmla="*/ 88900 h 2476500"/>
                  <a:gd name="connsiteX1415" fmla="*/ 1297059 w 1757434"/>
                  <a:gd name="connsiteY1415" fmla="*/ 87313 h 2476500"/>
                  <a:gd name="connsiteX1416" fmla="*/ 1301822 w 1757434"/>
                  <a:gd name="connsiteY1416" fmla="*/ 85725 h 2476500"/>
                  <a:gd name="connsiteX1417" fmla="*/ 1312934 w 1757434"/>
                  <a:gd name="connsiteY1417" fmla="*/ 84138 h 2476500"/>
                  <a:gd name="connsiteX1418" fmla="*/ 1306584 w 1757434"/>
                  <a:gd name="connsiteY1418" fmla="*/ 73025 h 2476500"/>
                  <a:gd name="connsiteX1419" fmla="*/ 1311347 w 1757434"/>
                  <a:gd name="connsiteY1419" fmla="*/ 68263 h 2476500"/>
                  <a:gd name="connsiteX1420" fmla="*/ 1317697 w 1757434"/>
                  <a:gd name="connsiteY1420" fmla="*/ 66675 h 2476500"/>
                  <a:gd name="connsiteX1421" fmla="*/ 1327222 w 1757434"/>
                  <a:gd name="connsiteY1421" fmla="*/ 68263 h 2476500"/>
                  <a:gd name="connsiteX1422" fmla="*/ 1331984 w 1757434"/>
                  <a:gd name="connsiteY1422" fmla="*/ 79375 h 2476500"/>
                  <a:gd name="connsiteX1423" fmla="*/ 1336747 w 1757434"/>
                  <a:gd name="connsiteY1423" fmla="*/ 80963 h 2476500"/>
                  <a:gd name="connsiteX1424" fmla="*/ 1347859 w 1757434"/>
                  <a:gd name="connsiteY1424" fmla="*/ 77788 h 2476500"/>
                  <a:gd name="connsiteX1425" fmla="*/ 1351034 w 1757434"/>
                  <a:gd name="connsiteY1425" fmla="*/ 73025 h 2476500"/>
                  <a:gd name="connsiteX1426" fmla="*/ 1357384 w 1757434"/>
                  <a:gd name="connsiteY1426" fmla="*/ 68263 h 2476500"/>
                  <a:gd name="connsiteX1427" fmla="*/ 1363734 w 1757434"/>
                  <a:gd name="connsiteY1427" fmla="*/ 85725 h 2476500"/>
                  <a:gd name="connsiteX1428" fmla="*/ 1370084 w 1757434"/>
                  <a:gd name="connsiteY1428" fmla="*/ 82550 h 2476500"/>
                  <a:gd name="connsiteX1429" fmla="*/ 1384372 w 1757434"/>
                  <a:gd name="connsiteY1429" fmla="*/ 74613 h 2476500"/>
                  <a:gd name="connsiteX1430" fmla="*/ 1387547 w 1757434"/>
                  <a:gd name="connsiteY1430" fmla="*/ 82550 h 2476500"/>
                  <a:gd name="connsiteX1431" fmla="*/ 1376434 w 1757434"/>
                  <a:gd name="connsiteY1431" fmla="*/ 101600 h 2476500"/>
                  <a:gd name="connsiteX1432" fmla="*/ 1374847 w 1757434"/>
                  <a:gd name="connsiteY1432" fmla="*/ 107950 h 2476500"/>
                  <a:gd name="connsiteX1433" fmla="*/ 1363734 w 1757434"/>
                  <a:gd name="connsiteY1433" fmla="*/ 115888 h 2476500"/>
                  <a:gd name="connsiteX1434" fmla="*/ 1362147 w 1757434"/>
                  <a:gd name="connsiteY1434" fmla="*/ 136525 h 2476500"/>
                  <a:gd name="connsiteX1435" fmla="*/ 1358972 w 1757434"/>
                  <a:gd name="connsiteY1435" fmla="*/ 141288 h 2476500"/>
                  <a:gd name="connsiteX1436" fmla="*/ 1357384 w 1757434"/>
                  <a:gd name="connsiteY1436" fmla="*/ 146050 h 2476500"/>
                  <a:gd name="connsiteX1437" fmla="*/ 1354209 w 1757434"/>
                  <a:gd name="connsiteY1437" fmla="*/ 152400 h 2476500"/>
                  <a:gd name="connsiteX1438" fmla="*/ 1360559 w 1757434"/>
                  <a:gd name="connsiteY1438" fmla="*/ 150813 h 2476500"/>
                  <a:gd name="connsiteX1439" fmla="*/ 1371672 w 1757434"/>
                  <a:gd name="connsiteY1439" fmla="*/ 146050 h 2476500"/>
                  <a:gd name="connsiteX1440" fmla="*/ 1368497 w 1757434"/>
                  <a:gd name="connsiteY1440" fmla="*/ 155575 h 2476500"/>
                  <a:gd name="connsiteX1441" fmla="*/ 1363734 w 1757434"/>
                  <a:gd name="connsiteY1441" fmla="*/ 160338 h 2476500"/>
                  <a:gd name="connsiteX1442" fmla="*/ 1358972 w 1757434"/>
                  <a:gd name="connsiteY1442" fmla="*/ 174625 h 2476500"/>
                  <a:gd name="connsiteX1443" fmla="*/ 1357384 w 1757434"/>
                  <a:gd name="connsiteY1443" fmla="*/ 179388 h 2476500"/>
                  <a:gd name="connsiteX1444" fmla="*/ 1355797 w 1757434"/>
                  <a:gd name="connsiteY1444" fmla="*/ 184150 h 2476500"/>
                  <a:gd name="connsiteX1445" fmla="*/ 1355797 w 1757434"/>
                  <a:gd name="connsiteY1445" fmla="*/ 212725 h 2476500"/>
                  <a:gd name="connsiteX1446" fmla="*/ 1363734 w 1757434"/>
                  <a:gd name="connsiteY1446" fmla="*/ 219075 h 2476500"/>
                  <a:gd name="connsiteX1447" fmla="*/ 1371672 w 1757434"/>
                  <a:gd name="connsiteY1447" fmla="*/ 217488 h 2476500"/>
                  <a:gd name="connsiteX1448" fmla="*/ 1374847 w 1757434"/>
                  <a:gd name="connsiteY1448" fmla="*/ 203200 h 2476500"/>
                  <a:gd name="connsiteX1449" fmla="*/ 1379609 w 1757434"/>
                  <a:gd name="connsiteY1449" fmla="*/ 198438 h 2476500"/>
                  <a:gd name="connsiteX1450" fmla="*/ 1385959 w 1757434"/>
                  <a:gd name="connsiteY1450" fmla="*/ 176213 h 2476500"/>
                  <a:gd name="connsiteX1451" fmla="*/ 1387547 w 1757434"/>
                  <a:gd name="connsiteY1451" fmla="*/ 150813 h 2476500"/>
                  <a:gd name="connsiteX1452" fmla="*/ 1392309 w 1757434"/>
                  <a:gd name="connsiteY1452" fmla="*/ 141288 h 2476500"/>
                  <a:gd name="connsiteX1453" fmla="*/ 1393897 w 1757434"/>
                  <a:gd name="connsiteY1453" fmla="*/ 111125 h 2476500"/>
                  <a:gd name="connsiteX1454" fmla="*/ 1395484 w 1757434"/>
                  <a:gd name="connsiteY1454" fmla="*/ 104775 h 2476500"/>
                  <a:gd name="connsiteX1455" fmla="*/ 1398659 w 1757434"/>
                  <a:gd name="connsiteY1455" fmla="*/ 100013 h 2476500"/>
                  <a:gd name="connsiteX1456" fmla="*/ 1405009 w 1757434"/>
                  <a:gd name="connsiteY1456" fmla="*/ 96838 h 2476500"/>
                  <a:gd name="connsiteX1457" fmla="*/ 1405009 w 1757434"/>
                  <a:gd name="connsiteY1457" fmla="*/ 79375 h 2476500"/>
                  <a:gd name="connsiteX1458" fmla="*/ 1406597 w 1757434"/>
                  <a:gd name="connsiteY1458" fmla="*/ 71438 h 2476500"/>
                  <a:gd name="connsiteX1459" fmla="*/ 1408184 w 1757434"/>
                  <a:gd name="connsiteY1459" fmla="*/ 61913 h 2476500"/>
                  <a:gd name="connsiteX1460" fmla="*/ 1416122 w 1757434"/>
                  <a:gd name="connsiteY1460" fmla="*/ 50800 h 2476500"/>
                  <a:gd name="connsiteX1461" fmla="*/ 1424059 w 1757434"/>
                  <a:gd name="connsiteY1461" fmla="*/ 69850 h 2476500"/>
                  <a:gd name="connsiteX1462" fmla="*/ 1435172 w 1757434"/>
                  <a:gd name="connsiteY1462" fmla="*/ 71438 h 2476500"/>
                  <a:gd name="connsiteX1463" fmla="*/ 1430409 w 1757434"/>
                  <a:gd name="connsiteY1463" fmla="*/ 87313 h 2476500"/>
                  <a:gd name="connsiteX1464" fmla="*/ 1428822 w 1757434"/>
                  <a:gd name="connsiteY1464" fmla="*/ 93663 h 2476500"/>
                  <a:gd name="connsiteX1465" fmla="*/ 1424059 w 1757434"/>
                  <a:gd name="connsiteY1465" fmla="*/ 100013 h 2476500"/>
                  <a:gd name="connsiteX1466" fmla="*/ 1425647 w 1757434"/>
                  <a:gd name="connsiteY1466" fmla="*/ 115888 h 2476500"/>
                  <a:gd name="connsiteX1467" fmla="*/ 1435172 w 1757434"/>
                  <a:gd name="connsiteY1467" fmla="*/ 117475 h 2476500"/>
                  <a:gd name="connsiteX1468" fmla="*/ 1436759 w 1757434"/>
                  <a:gd name="connsiteY1468" fmla="*/ 122238 h 2476500"/>
                  <a:gd name="connsiteX1469" fmla="*/ 1441522 w 1757434"/>
                  <a:gd name="connsiteY1469" fmla="*/ 149225 h 2476500"/>
                  <a:gd name="connsiteX1470" fmla="*/ 1446284 w 1757434"/>
                  <a:gd name="connsiteY1470" fmla="*/ 144463 h 2476500"/>
                  <a:gd name="connsiteX1471" fmla="*/ 1449459 w 1757434"/>
                  <a:gd name="connsiteY1471" fmla="*/ 139700 h 2476500"/>
                  <a:gd name="connsiteX1472" fmla="*/ 1460572 w 1757434"/>
                  <a:gd name="connsiteY1472" fmla="*/ 130175 h 2476500"/>
                  <a:gd name="connsiteX1473" fmla="*/ 1465334 w 1757434"/>
                  <a:gd name="connsiteY1473" fmla="*/ 128588 h 2476500"/>
                  <a:gd name="connsiteX1474" fmla="*/ 1470097 w 1757434"/>
                  <a:gd name="connsiteY1474" fmla="*/ 119063 h 2476500"/>
                  <a:gd name="connsiteX1475" fmla="*/ 1471684 w 1757434"/>
                  <a:gd name="connsiteY1475" fmla="*/ 114300 h 2476500"/>
                  <a:gd name="connsiteX1476" fmla="*/ 1462159 w 1757434"/>
                  <a:gd name="connsiteY1476" fmla="*/ 107950 h 2476500"/>
                  <a:gd name="connsiteX1477" fmla="*/ 1463747 w 1757434"/>
                  <a:gd name="connsiteY1477" fmla="*/ 103188 h 2476500"/>
                  <a:gd name="connsiteX1478" fmla="*/ 1471684 w 1757434"/>
                  <a:gd name="connsiteY1478" fmla="*/ 101600 h 2476500"/>
                  <a:gd name="connsiteX1479" fmla="*/ 1478034 w 1757434"/>
                  <a:gd name="connsiteY1479" fmla="*/ 100013 h 2476500"/>
                  <a:gd name="connsiteX1480" fmla="*/ 1476447 w 1757434"/>
                  <a:gd name="connsiteY1480" fmla="*/ 95250 h 2476500"/>
                  <a:gd name="connsiteX1481" fmla="*/ 1471684 w 1757434"/>
                  <a:gd name="connsiteY1481" fmla="*/ 90488 h 2476500"/>
                  <a:gd name="connsiteX1482" fmla="*/ 1468509 w 1757434"/>
                  <a:gd name="connsiteY1482" fmla="*/ 85725 h 2476500"/>
                  <a:gd name="connsiteX1483" fmla="*/ 1470097 w 1757434"/>
                  <a:gd name="connsiteY1483" fmla="*/ 73025 h 2476500"/>
                  <a:gd name="connsiteX1484" fmla="*/ 1473272 w 1757434"/>
                  <a:gd name="connsiteY1484" fmla="*/ 66675 h 2476500"/>
                  <a:gd name="connsiteX1485" fmla="*/ 1471684 w 1757434"/>
                  <a:gd name="connsiteY1485" fmla="*/ 58738 h 2476500"/>
                  <a:gd name="connsiteX1486" fmla="*/ 1473272 w 1757434"/>
                  <a:gd name="connsiteY1486" fmla="*/ 53975 h 2476500"/>
                  <a:gd name="connsiteX1487" fmla="*/ 1481209 w 1757434"/>
                  <a:gd name="connsiteY1487" fmla="*/ 52388 h 2476500"/>
                  <a:gd name="connsiteX1488" fmla="*/ 1476447 w 1757434"/>
                  <a:gd name="connsiteY1488" fmla="*/ 47625 h 2476500"/>
                  <a:gd name="connsiteX1489" fmla="*/ 1465334 w 1757434"/>
                  <a:gd name="connsiteY1489" fmla="*/ 44450 h 2476500"/>
                  <a:gd name="connsiteX1490" fmla="*/ 1460572 w 1757434"/>
                  <a:gd name="connsiteY1490" fmla="*/ 41275 h 2476500"/>
                  <a:gd name="connsiteX1491" fmla="*/ 1458984 w 1757434"/>
                  <a:gd name="connsiteY1491" fmla="*/ 26988 h 2476500"/>
                  <a:gd name="connsiteX1492" fmla="*/ 1463747 w 1757434"/>
                  <a:gd name="connsiteY1492" fmla="*/ 23813 h 2476500"/>
                  <a:gd name="connsiteX1493" fmla="*/ 1470097 w 1757434"/>
                  <a:gd name="connsiteY1493" fmla="*/ 19050 h 2476500"/>
                  <a:gd name="connsiteX1494" fmla="*/ 1474859 w 1757434"/>
                  <a:gd name="connsiteY1494" fmla="*/ 28575 h 2476500"/>
                  <a:gd name="connsiteX1495" fmla="*/ 1479622 w 1757434"/>
                  <a:gd name="connsiteY1495" fmla="*/ 20638 h 2476500"/>
                  <a:gd name="connsiteX1496" fmla="*/ 1481209 w 1757434"/>
                  <a:gd name="connsiteY1496" fmla="*/ 3175 h 2476500"/>
                  <a:gd name="connsiteX1497" fmla="*/ 1487559 w 1757434"/>
                  <a:gd name="connsiteY1497" fmla="*/ 0 h 2476500"/>
                  <a:gd name="connsiteX0" fmla="*/ 569984 w 1754912"/>
                  <a:gd name="connsiteY0" fmla="*/ 1338263 h 2476500"/>
                  <a:gd name="connsiteX1" fmla="*/ 557284 w 1754912"/>
                  <a:gd name="connsiteY1" fmla="*/ 1349375 h 2476500"/>
                  <a:gd name="connsiteX2" fmla="*/ 547759 w 1754912"/>
                  <a:gd name="connsiteY2" fmla="*/ 1362075 h 2476500"/>
                  <a:gd name="connsiteX3" fmla="*/ 538234 w 1754912"/>
                  <a:gd name="connsiteY3" fmla="*/ 1382713 h 2476500"/>
                  <a:gd name="connsiteX4" fmla="*/ 536647 w 1754912"/>
                  <a:gd name="connsiteY4" fmla="*/ 1389063 h 2476500"/>
                  <a:gd name="connsiteX5" fmla="*/ 533472 w 1754912"/>
                  <a:gd name="connsiteY5" fmla="*/ 1404938 h 2476500"/>
                  <a:gd name="connsiteX6" fmla="*/ 523947 w 1754912"/>
                  <a:gd name="connsiteY6" fmla="*/ 1406525 h 2476500"/>
                  <a:gd name="connsiteX7" fmla="*/ 514422 w 1754912"/>
                  <a:gd name="connsiteY7" fmla="*/ 1411288 h 2476500"/>
                  <a:gd name="connsiteX8" fmla="*/ 503309 w 1754912"/>
                  <a:gd name="connsiteY8" fmla="*/ 1416050 h 2476500"/>
                  <a:gd name="connsiteX9" fmla="*/ 500134 w 1754912"/>
                  <a:gd name="connsiteY9" fmla="*/ 1423988 h 2476500"/>
                  <a:gd name="connsiteX10" fmla="*/ 498547 w 1754912"/>
                  <a:gd name="connsiteY10" fmla="*/ 1431925 h 2476500"/>
                  <a:gd name="connsiteX11" fmla="*/ 484259 w 1754912"/>
                  <a:gd name="connsiteY11" fmla="*/ 1438275 h 2476500"/>
                  <a:gd name="connsiteX12" fmla="*/ 495372 w 1754912"/>
                  <a:gd name="connsiteY12" fmla="*/ 1439863 h 2476500"/>
                  <a:gd name="connsiteX13" fmla="*/ 512834 w 1754912"/>
                  <a:gd name="connsiteY13" fmla="*/ 1436688 h 2476500"/>
                  <a:gd name="connsiteX14" fmla="*/ 516009 w 1754912"/>
                  <a:gd name="connsiteY14" fmla="*/ 1441450 h 2476500"/>
                  <a:gd name="connsiteX15" fmla="*/ 508072 w 1754912"/>
                  <a:gd name="connsiteY15" fmla="*/ 1454150 h 2476500"/>
                  <a:gd name="connsiteX16" fmla="*/ 496959 w 1754912"/>
                  <a:gd name="connsiteY16" fmla="*/ 1468438 h 2476500"/>
                  <a:gd name="connsiteX17" fmla="*/ 490609 w 1754912"/>
                  <a:gd name="connsiteY17" fmla="*/ 1471613 h 2476500"/>
                  <a:gd name="connsiteX18" fmla="*/ 473147 w 1754912"/>
                  <a:gd name="connsiteY18" fmla="*/ 1481138 h 2476500"/>
                  <a:gd name="connsiteX19" fmla="*/ 466797 w 1754912"/>
                  <a:gd name="connsiteY19" fmla="*/ 1489075 h 2476500"/>
                  <a:gd name="connsiteX20" fmla="*/ 462034 w 1754912"/>
                  <a:gd name="connsiteY20" fmla="*/ 1490663 h 2476500"/>
                  <a:gd name="connsiteX21" fmla="*/ 454097 w 1754912"/>
                  <a:gd name="connsiteY21" fmla="*/ 1497013 h 2476500"/>
                  <a:gd name="connsiteX22" fmla="*/ 446159 w 1754912"/>
                  <a:gd name="connsiteY22" fmla="*/ 1504950 h 2476500"/>
                  <a:gd name="connsiteX23" fmla="*/ 439809 w 1754912"/>
                  <a:gd name="connsiteY23" fmla="*/ 1500188 h 2476500"/>
                  <a:gd name="connsiteX24" fmla="*/ 436315 w 1754912"/>
                  <a:gd name="connsiteY24" fmla="*/ 1499023 h 2476500"/>
                  <a:gd name="connsiteX25" fmla="*/ 438112 w 1754912"/>
                  <a:gd name="connsiteY25" fmla="*/ 1502403 h 2476500"/>
                  <a:gd name="connsiteX26" fmla="*/ 441397 w 1754912"/>
                  <a:gd name="connsiteY26" fmla="*/ 1509713 h 2476500"/>
                  <a:gd name="connsiteX27" fmla="*/ 444572 w 1754912"/>
                  <a:gd name="connsiteY27" fmla="*/ 1520825 h 2476500"/>
                  <a:gd name="connsiteX28" fmla="*/ 447747 w 1754912"/>
                  <a:gd name="connsiteY28" fmla="*/ 1525588 h 2476500"/>
                  <a:gd name="connsiteX29" fmla="*/ 455684 w 1754912"/>
                  <a:gd name="connsiteY29" fmla="*/ 1528763 h 2476500"/>
                  <a:gd name="connsiteX30" fmla="*/ 463622 w 1754912"/>
                  <a:gd name="connsiteY30" fmla="*/ 1533525 h 2476500"/>
                  <a:gd name="connsiteX31" fmla="*/ 466797 w 1754912"/>
                  <a:gd name="connsiteY31" fmla="*/ 1544638 h 2476500"/>
                  <a:gd name="connsiteX32" fmla="*/ 471559 w 1754912"/>
                  <a:gd name="connsiteY32" fmla="*/ 1546225 h 2476500"/>
                  <a:gd name="connsiteX33" fmla="*/ 469972 w 1754912"/>
                  <a:gd name="connsiteY33" fmla="*/ 1531938 h 2476500"/>
                  <a:gd name="connsiteX34" fmla="*/ 465209 w 1754912"/>
                  <a:gd name="connsiteY34" fmla="*/ 1527175 h 2476500"/>
                  <a:gd name="connsiteX35" fmla="*/ 460447 w 1754912"/>
                  <a:gd name="connsiteY35" fmla="*/ 1520825 h 2476500"/>
                  <a:gd name="connsiteX36" fmla="*/ 466797 w 1754912"/>
                  <a:gd name="connsiteY36" fmla="*/ 1506538 h 2476500"/>
                  <a:gd name="connsiteX37" fmla="*/ 471559 w 1754912"/>
                  <a:gd name="connsiteY37" fmla="*/ 1508125 h 2476500"/>
                  <a:gd name="connsiteX38" fmla="*/ 476322 w 1754912"/>
                  <a:gd name="connsiteY38" fmla="*/ 1514475 h 2476500"/>
                  <a:gd name="connsiteX39" fmla="*/ 503309 w 1754912"/>
                  <a:gd name="connsiteY39" fmla="*/ 1511300 h 2476500"/>
                  <a:gd name="connsiteX40" fmla="*/ 508072 w 1754912"/>
                  <a:gd name="connsiteY40" fmla="*/ 1508125 h 2476500"/>
                  <a:gd name="connsiteX41" fmla="*/ 506484 w 1754912"/>
                  <a:gd name="connsiteY41" fmla="*/ 1500188 h 2476500"/>
                  <a:gd name="connsiteX42" fmla="*/ 511247 w 1754912"/>
                  <a:gd name="connsiteY42" fmla="*/ 1474788 h 2476500"/>
                  <a:gd name="connsiteX43" fmla="*/ 517597 w 1754912"/>
                  <a:gd name="connsiteY43" fmla="*/ 1471613 h 2476500"/>
                  <a:gd name="connsiteX44" fmla="*/ 522378 w 1754912"/>
                  <a:gd name="connsiteY44" fmla="*/ 1470040 h 2476500"/>
                  <a:gd name="connsiteX45" fmla="*/ 524394 w 1754912"/>
                  <a:gd name="connsiteY45" fmla="*/ 1468685 h 2476500"/>
                  <a:gd name="connsiteX46" fmla="*/ 525534 w 1754912"/>
                  <a:gd name="connsiteY46" fmla="*/ 1465263 h 2476500"/>
                  <a:gd name="connsiteX47" fmla="*/ 526329 w 1754912"/>
                  <a:gd name="connsiteY47" fmla="*/ 1464070 h 2476500"/>
                  <a:gd name="connsiteX48" fmla="*/ 524516 w 1754912"/>
                  <a:gd name="connsiteY48" fmla="*/ 1468602 h 2476500"/>
                  <a:gd name="connsiteX49" fmla="*/ 527122 w 1754912"/>
                  <a:gd name="connsiteY49" fmla="*/ 1466850 h 2476500"/>
                  <a:gd name="connsiteX50" fmla="*/ 531884 w 1754912"/>
                  <a:gd name="connsiteY50" fmla="*/ 1457325 h 2476500"/>
                  <a:gd name="connsiteX51" fmla="*/ 541409 w 1754912"/>
                  <a:gd name="connsiteY51" fmla="*/ 1454150 h 2476500"/>
                  <a:gd name="connsiteX52" fmla="*/ 544498 w 1754912"/>
                  <a:gd name="connsiteY52" fmla="*/ 1452091 h 2476500"/>
                  <a:gd name="connsiteX53" fmla="*/ 535059 w 1754912"/>
                  <a:gd name="connsiteY53" fmla="*/ 1452563 h 2476500"/>
                  <a:gd name="connsiteX54" fmla="*/ 530297 w 1754912"/>
                  <a:gd name="connsiteY54" fmla="*/ 1455738 h 2476500"/>
                  <a:gd name="connsiteX55" fmla="*/ 528709 w 1754912"/>
                  <a:gd name="connsiteY55" fmla="*/ 1460500 h 2476500"/>
                  <a:gd name="connsiteX56" fmla="*/ 526329 w 1754912"/>
                  <a:gd name="connsiteY56" fmla="*/ 1464070 h 2476500"/>
                  <a:gd name="connsiteX57" fmla="*/ 527122 w 1754912"/>
                  <a:gd name="connsiteY57" fmla="*/ 1462088 h 2476500"/>
                  <a:gd name="connsiteX58" fmla="*/ 522359 w 1754912"/>
                  <a:gd name="connsiteY58" fmla="*/ 1443038 h 2476500"/>
                  <a:gd name="connsiteX59" fmla="*/ 527122 w 1754912"/>
                  <a:gd name="connsiteY59" fmla="*/ 1436688 h 2476500"/>
                  <a:gd name="connsiteX60" fmla="*/ 531884 w 1754912"/>
                  <a:gd name="connsiteY60" fmla="*/ 1435100 h 2476500"/>
                  <a:gd name="connsiteX61" fmla="*/ 533472 w 1754912"/>
                  <a:gd name="connsiteY61" fmla="*/ 1425575 h 2476500"/>
                  <a:gd name="connsiteX62" fmla="*/ 546001 w 1754912"/>
                  <a:gd name="connsiteY62" fmla="*/ 1429262 h 2476500"/>
                  <a:gd name="connsiteX63" fmla="*/ 552494 w 1754912"/>
                  <a:gd name="connsiteY63" fmla="*/ 1431898 h 2476500"/>
                  <a:gd name="connsiteX64" fmla="*/ 552522 w 1754912"/>
                  <a:gd name="connsiteY64" fmla="*/ 1431925 h 2476500"/>
                  <a:gd name="connsiteX65" fmla="*/ 560459 w 1754912"/>
                  <a:gd name="connsiteY65" fmla="*/ 1435100 h 2476500"/>
                  <a:gd name="connsiteX66" fmla="*/ 554988 w 1754912"/>
                  <a:gd name="connsiteY66" fmla="*/ 1432911 h 2476500"/>
                  <a:gd name="connsiteX67" fmla="*/ 552494 w 1754912"/>
                  <a:gd name="connsiteY67" fmla="*/ 1431898 h 2476500"/>
                  <a:gd name="connsiteX68" fmla="*/ 544393 w 1754912"/>
                  <a:gd name="connsiteY68" fmla="*/ 1424206 h 2476500"/>
                  <a:gd name="connsiteX69" fmla="*/ 539822 w 1754912"/>
                  <a:gd name="connsiteY69" fmla="*/ 1419225 h 2476500"/>
                  <a:gd name="connsiteX70" fmla="*/ 541409 w 1754912"/>
                  <a:gd name="connsiteY70" fmla="*/ 1409700 h 2476500"/>
                  <a:gd name="connsiteX71" fmla="*/ 546172 w 1754912"/>
                  <a:gd name="connsiteY71" fmla="*/ 1406525 h 2476500"/>
                  <a:gd name="connsiteX72" fmla="*/ 565222 w 1754912"/>
                  <a:gd name="connsiteY72" fmla="*/ 1393825 h 2476500"/>
                  <a:gd name="connsiteX73" fmla="*/ 566809 w 1754912"/>
                  <a:gd name="connsiteY73" fmla="*/ 1389063 h 2476500"/>
                  <a:gd name="connsiteX74" fmla="*/ 560459 w 1754912"/>
                  <a:gd name="connsiteY74" fmla="*/ 1377950 h 2476500"/>
                  <a:gd name="connsiteX75" fmla="*/ 574747 w 1754912"/>
                  <a:gd name="connsiteY75" fmla="*/ 1366838 h 2476500"/>
                  <a:gd name="connsiteX76" fmla="*/ 576334 w 1754912"/>
                  <a:gd name="connsiteY76" fmla="*/ 1362075 h 2476500"/>
                  <a:gd name="connsiteX77" fmla="*/ 574747 w 1754912"/>
                  <a:gd name="connsiteY77" fmla="*/ 1352550 h 2476500"/>
                  <a:gd name="connsiteX78" fmla="*/ 565222 w 1754912"/>
                  <a:gd name="connsiteY78" fmla="*/ 1354138 h 2476500"/>
                  <a:gd name="connsiteX79" fmla="*/ 555697 w 1754912"/>
                  <a:gd name="connsiteY79" fmla="*/ 1360488 h 2476500"/>
                  <a:gd name="connsiteX80" fmla="*/ 550934 w 1754912"/>
                  <a:gd name="connsiteY80" fmla="*/ 1362075 h 2476500"/>
                  <a:gd name="connsiteX81" fmla="*/ 558872 w 1754912"/>
                  <a:gd name="connsiteY81" fmla="*/ 1357313 h 2476500"/>
                  <a:gd name="connsiteX82" fmla="*/ 565222 w 1754912"/>
                  <a:gd name="connsiteY82" fmla="*/ 1349375 h 2476500"/>
                  <a:gd name="connsiteX83" fmla="*/ 569984 w 1754912"/>
                  <a:gd name="connsiteY83" fmla="*/ 1338263 h 2476500"/>
                  <a:gd name="connsiteX84" fmla="*/ 1487559 w 1754912"/>
                  <a:gd name="connsiteY84" fmla="*/ 0 h 2476500"/>
                  <a:gd name="connsiteX85" fmla="*/ 1497084 w 1754912"/>
                  <a:gd name="connsiteY85" fmla="*/ 1588 h 2476500"/>
                  <a:gd name="connsiteX86" fmla="*/ 1497084 w 1754912"/>
                  <a:gd name="connsiteY86" fmla="*/ 22225 h 2476500"/>
                  <a:gd name="connsiteX87" fmla="*/ 1501847 w 1754912"/>
                  <a:gd name="connsiteY87" fmla="*/ 26988 h 2476500"/>
                  <a:gd name="connsiteX88" fmla="*/ 1508197 w 1754912"/>
                  <a:gd name="connsiteY88" fmla="*/ 20638 h 2476500"/>
                  <a:gd name="connsiteX89" fmla="*/ 1516134 w 1754912"/>
                  <a:gd name="connsiteY89" fmla="*/ 15875 h 2476500"/>
                  <a:gd name="connsiteX90" fmla="*/ 1511372 w 1754912"/>
                  <a:gd name="connsiteY90" fmla="*/ 34925 h 2476500"/>
                  <a:gd name="connsiteX91" fmla="*/ 1516134 w 1754912"/>
                  <a:gd name="connsiteY91" fmla="*/ 36513 h 2476500"/>
                  <a:gd name="connsiteX92" fmla="*/ 1527247 w 1754912"/>
                  <a:gd name="connsiteY92" fmla="*/ 33338 h 2476500"/>
                  <a:gd name="connsiteX93" fmla="*/ 1530422 w 1754912"/>
                  <a:gd name="connsiteY93" fmla="*/ 47625 h 2476500"/>
                  <a:gd name="connsiteX94" fmla="*/ 1527247 w 1754912"/>
                  <a:gd name="connsiteY94" fmla="*/ 57150 h 2476500"/>
                  <a:gd name="connsiteX95" fmla="*/ 1522484 w 1754912"/>
                  <a:gd name="connsiteY95" fmla="*/ 65088 h 2476500"/>
                  <a:gd name="connsiteX96" fmla="*/ 1519309 w 1754912"/>
                  <a:gd name="connsiteY96" fmla="*/ 71438 h 2476500"/>
                  <a:gd name="connsiteX97" fmla="*/ 1520897 w 1754912"/>
                  <a:gd name="connsiteY97" fmla="*/ 98425 h 2476500"/>
                  <a:gd name="connsiteX98" fmla="*/ 1525659 w 1754912"/>
                  <a:gd name="connsiteY98" fmla="*/ 103188 h 2476500"/>
                  <a:gd name="connsiteX99" fmla="*/ 1530422 w 1754912"/>
                  <a:gd name="connsiteY99" fmla="*/ 111125 h 2476500"/>
                  <a:gd name="connsiteX100" fmla="*/ 1543122 w 1754912"/>
                  <a:gd name="connsiteY100" fmla="*/ 106363 h 2476500"/>
                  <a:gd name="connsiteX101" fmla="*/ 1544709 w 1754912"/>
                  <a:gd name="connsiteY101" fmla="*/ 98425 h 2476500"/>
                  <a:gd name="connsiteX102" fmla="*/ 1541534 w 1754912"/>
                  <a:gd name="connsiteY102" fmla="*/ 66675 h 2476500"/>
                  <a:gd name="connsiteX103" fmla="*/ 1538359 w 1754912"/>
                  <a:gd name="connsiteY103" fmla="*/ 49213 h 2476500"/>
                  <a:gd name="connsiteX104" fmla="*/ 1543122 w 1754912"/>
                  <a:gd name="connsiteY104" fmla="*/ 46038 h 2476500"/>
                  <a:gd name="connsiteX105" fmla="*/ 1544709 w 1754912"/>
                  <a:gd name="connsiteY105" fmla="*/ 52388 h 2476500"/>
                  <a:gd name="connsiteX106" fmla="*/ 1551059 w 1754912"/>
                  <a:gd name="connsiteY106" fmla="*/ 36513 h 2476500"/>
                  <a:gd name="connsiteX107" fmla="*/ 1557409 w 1754912"/>
                  <a:gd name="connsiteY107" fmla="*/ 31750 h 2476500"/>
                  <a:gd name="connsiteX108" fmla="*/ 1568522 w 1754912"/>
                  <a:gd name="connsiteY108" fmla="*/ 26988 h 2476500"/>
                  <a:gd name="connsiteX109" fmla="*/ 1563759 w 1754912"/>
                  <a:gd name="connsiteY109" fmla="*/ 34925 h 2476500"/>
                  <a:gd name="connsiteX110" fmla="*/ 1566934 w 1754912"/>
                  <a:gd name="connsiteY110" fmla="*/ 79375 h 2476500"/>
                  <a:gd name="connsiteX111" fmla="*/ 1573284 w 1754912"/>
                  <a:gd name="connsiteY111" fmla="*/ 77788 h 2476500"/>
                  <a:gd name="connsiteX112" fmla="*/ 1579634 w 1754912"/>
                  <a:gd name="connsiteY112" fmla="*/ 58738 h 2476500"/>
                  <a:gd name="connsiteX113" fmla="*/ 1585984 w 1754912"/>
                  <a:gd name="connsiteY113" fmla="*/ 42863 h 2476500"/>
                  <a:gd name="connsiteX114" fmla="*/ 1592334 w 1754912"/>
                  <a:gd name="connsiteY114" fmla="*/ 36513 h 2476500"/>
                  <a:gd name="connsiteX115" fmla="*/ 1593922 w 1754912"/>
                  <a:gd name="connsiteY115" fmla="*/ 42863 h 2476500"/>
                  <a:gd name="connsiteX116" fmla="*/ 1592334 w 1754912"/>
                  <a:gd name="connsiteY116" fmla="*/ 61913 h 2476500"/>
                  <a:gd name="connsiteX117" fmla="*/ 1617734 w 1754912"/>
                  <a:gd name="connsiteY117" fmla="*/ 46038 h 2476500"/>
                  <a:gd name="connsiteX118" fmla="*/ 1622497 w 1754912"/>
                  <a:gd name="connsiteY118" fmla="*/ 52388 h 2476500"/>
                  <a:gd name="connsiteX119" fmla="*/ 1619322 w 1754912"/>
                  <a:gd name="connsiteY119" fmla="*/ 73025 h 2476500"/>
                  <a:gd name="connsiteX120" fmla="*/ 1622497 w 1754912"/>
                  <a:gd name="connsiteY120" fmla="*/ 84138 h 2476500"/>
                  <a:gd name="connsiteX121" fmla="*/ 1627259 w 1754912"/>
                  <a:gd name="connsiteY121" fmla="*/ 87313 h 2476500"/>
                  <a:gd name="connsiteX122" fmla="*/ 1635197 w 1754912"/>
                  <a:gd name="connsiteY122" fmla="*/ 80963 h 2476500"/>
                  <a:gd name="connsiteX123" fmla="*/ 1641547 w 1754912"/>
                  <a:gd name="connsiteY123" fmla="*/ 69850 h 2476500"/>
                  <a:gd name="connsiteX124" fmla="*/ 1644722 w 1754912"/>
                  <a:gd name="connsiteY124" fmla="*/ 63500 h 2476500"/>
                  <a:gd name="connsiteX125" fmla="*/ 1651072 w 1754912"/>
                  <a:gd name="connsiteY125" fmla="*/ 58738 h 2476500"/>
                  <a:gd name="connsiteX126" fmla="*/ 1659009 w 1754912"/>
                  <a:gd name="connsiteY126" fmla="*/ 63500 h 2476500"/>
                  <a:gd name="connsiteX127" fmla="*/ 1654247 w 1754912"/>
                  <a:gd name="connsiteY127" fmla="*/ 77788 h 2476500"/>
                  <a:gd name="connsiteX128" fmla="*/ 1657422 w 1754912"/>
                  <a:gd name="connsiteY128" fmla="*/ 84138 h 2476500"/>
                  <a:gd name="connsiteX129" fmla="*/ 1662184 w 1754912"/>
                  <a:gd name="connsiteY129" fmla="*/ 77788 h 2476500"/>
                  <a:gd name="connsiteX130" fmla="*/ 1666947 w 1754912"/>
                  <a:gd name="connsiteY130" fmla="*/ 69850 h 2476500"/>
                  <a:gd name="connsiteX131" fmla="*/ 1678059 w 1754912"/>
                  <a:gd name="connsiteY131" fmla="*/ 63500 h 2476500"/>
                  <a:gd name="connsiteX132" fmla="*/ 1692347 w 1754912"/>
                  <a:gd name="connsiteY132" fmla="*/ 65088 h 2476500"/>
                  <a:gd name="connsiteX133" fmla="*/ 1700284 w 1754912"/>
                  <a:gd name="connsiteY133" fmla="*/ 68263 h 2476500"/>
                  <a:gd name="connsiteX134" fmla="*/ 1697109 w 1754912"/>
                  <a:gd name="connsiteY134" fmla="*/ 74613 h 2476500"/>
                  <a:gd name="connsiteX135" fmla="*/ 1689172 w 1754912"/>
                  <a:gd name="connsiteY135" fmla="*/ 79375 h 2476500"/>
                  <a:gd name="connsiteX136" fmla="*/ 1714572 w 1754912"/>
                  <a:gd name="connsiteY136" fmla="*/ 90488 h 2476500"/>
                  <a:gd name="connsiteX137" fmla="*/ 1711397 w 1754912"/>
                  <a:gd name="connsiteY137" fmla="*/ 98425 h 2476500"/>
                  <a:gd name="connsiteX138" fmla="*/ 1700284 w 1754912"/>
                  <a:gd name="connsiteY138" fmla="*/ 106363 h 2476500"/>
                  <a:gd name="connsiteX139" fmla="*/ 1690759 w 1754912"/>
                  <a:gd name="connsiteY139" fmla="*/ 114300 h 2476500"/>
                  <a:gd name="connsiteX140" fmla="*/ 1687584 w 1754912"/>
                  <a:gd name="connsiteY140" fmla="*/ 119063 h 2476500"/>
                  <a:gd name="connsiteX141" fmla="*/ 1685997 w 1754912"/>
                  <a:gd name="connsiteY141" fmla="*/ 123825 h 2476500"/>
                  <a:gd name="connsiteX142" fmla="*/ 1684409 w 1754912"/>
                  <a:gd name="connsiteY142" fmla="*/ 130175 h 2476500"/>
                  <a:gd name="connsiteX143" fmla="*/ 1681234 w 1754912"/>
                  <a:gd name="connsiteY143" fmla="*/ 136525 h 2476500"/>
                  <a:gd name="connsiteX144" fmla="*/ 1674884 w 1754912"/>
                  <a:gd name="connsiteY144" fmla="*/ 138113 h 2476500"/>
                  <a:gd name="connsiteX145" fmla="*/ 1655834 w 1754912"/>
                  <a:gd name="connsiteY145" fmla="*/ 144463 h 2476500"/>
                  <a:gd name="connsiteX146" fmla="*/ 1649484 w 1754912"/>
                  <a:gd name="connsiteY146" fmla="*/ 146050 h 2476500"/>
                  <a:gd name="connsiteX147" fmla="*/ 1641547 w 1754912"/>
                  <a:gd name="connsiteY147" fmla="*/ 149225 h 2476500"/>
                  <a:gd name="connsiteX148" fmla="*/ 1597097 w 1754912"/>
                  <a:gd name="connsiteY148" fmla="*/ 150813 h 2476500"/>
                  <a:gd name="connsiteX149" fmla="*/ 1592334 w 1754912"/>
                  <a:gd name="connsiteY149" fmla="*/ 152400 h 2476500"/>
                  <a:gd name="connsiteX150" fmla="*/ 1593922 w 1754912"/>
                  <a:gd name="connsiteY150" fmla="*/ 158750 h 2476500"/>
                  <a:gd name="connsiteX151" fmla="*/ 1628847 w 1754912"/>
                  <a:gd name="connsiteY151" fmla="*/ 160338 h 2476500"/>
                  <a:gd name="connsiteX152" fmla="*/ 1641547 w 1754912"/>
                  <a:gd name="connsiteY152" fmla="*/ 168275 h 2476500"/>
                  <a:gd name="connsiteX153" fmla="*/ 1643134 w 1754912"/>
                  <a:gd name="connsiteY153" fmla="*/ 177800 h 2476500"/>
                  <a:gd name="connsiteX154" fmla="*/ 1641547 w 1754912"/>
                  <a:gd name="connsiteY154" fmla="*/ 185738 h 2476500"/>
                  <a:gd name="connsiteX155" fmla="*/ 1641547 w 1754912"/>
                  <a:gd name="connsiteY155" fmla="*/ 198438 h 2476500"/>
                  <a:gd name="connsiteX156" fmla="*/ 1646309 w 1754912"/>
                  <a:gd name="connsiteY156" fmla="*/ 200025 h 2476500"/>
                  <a:gd name="connsiteX157" fmla="*/ 1652659 w 1754912"/>
                  <a:gd name="connsiteY157" fmla="*/ 192088 h 2476500"/>
                  <a:gd name="connsiteX158" fmla="*/ 1663772 w 1754912"/>
                  <a:gd name="connsiteY158" fmla="*/ 182563 h 2476500"/>
                  <a:gd name="connsiteX159" fmla="*/ 1666947 w 1754912"/>
                  <a:gd name="connsiteY159" fmla="*/ 187325 h 2476500"/>
                  <a:gd name="connsiteX160" fmla="*/ 1668534 w 1754912"/>
                  <a:gd name="connsiteY160" fmla="*/ 200025 h 2476500"/>
                  <a:gd name="connsiteX161" fmla="*/ 1673297 w 1754912"/>
                  <a:gd name="connsiteY161" fmla="*/ 196850 h 2476500"/>
                  <a:gd name="connsiteX162" fmla="*/ 1681234 w 1754912"/>
                  <a:gd name="connsiteY162" fmla="*/ 195263 h 2476500"/>
                  <a:gd name="connsiteX163" fmla="*/ 1685997 w 1754912"/>
                  <a:gd name="connsiteY163" fmla="*/ 196850 h 2476500"/>
                  <a:gd name="connsiteX164" fmla="*/ 1692347 w 1754912"/>
                  <a:gd name="connsiteY164" fmla="*/ 180975 h 2476500"/>
                  <a:gd name="connsiteX165" fmla="*/ 1695522 w 1754912"/>
                  <a:gd name="connsiteY165" fmla="*/ 176213 h 2476500"/>
                  <a:gd name="connsiteX166" fmla="*/ 1697109 w 1754912"/>
                  <a:gd name="connsiteY166" fmla="*/ 171450 h 2476500"/>
                  <a:gd name="connsiteX167" fmla="*/ 1703459 w 1754912"/>
                  <a:gd name="connsiteY167" fmla="*/ 168275 h 2476500"/>
                  <a:gd name="connsiteX168" fmla="*/ 1705047 w 1754912"/>
                  <a:gd name="connsiteY168" fmla="*/ 184150 h 2476500"/>
                  <a:gd name="connsiteX169" fmla="*/ 1709809 w 1754912"/>
                  <a:gd name="connsiteY169" fmla="*/ 193675 h 2476500"/>
                  <a:gd name="connsiteX170" fmla="*/ 1712984 w 1754912"/>
                  <a:gd name="connsiteY170" fmla="*/ 184150 h 2476500"/>
                  <a:gd name="connsiteX171" fmla="*/ 1717747 w 1754912"/>
                  <a:gd name="connsiteY171" fmla="*/ 180975 h 2476500"/>
                  <a:gd name="connsiteX172" fmla="*/ 1732034 w 1754912"/>
                  <a:gd name="connsiteY172" fmla="*/ 171450 h 2476500"/>
                  <a:gd name="connsiteX173" fmla="*/ 1733622 w 1754912"/>
                  <a:gd name="connsiteY173" fmla="*/ 179388 h 2476500"/>
                  <a:gd name="connsiteX174" fmla="*/ 1736797 w 1754912"/>
                  <a:gd name="connsiteY174" fmla="*/ 184150 h 2476500"/>
                  <a:gd name="connsiteX175" fmla="*/ 1744734 w 1754912"/>
                  <a:gd name="connsiteY175" fmla="*/ 185738 h 2476500"/>
                  <a:gd name="connsiteX176" fmla="*/ 1749497 w 1754912"/>
                  <a:gd name="connsiteY176" fmla="*/ 190500 h 2476500"/>
                  <a:gd name="connsiteX177" fmla="*/ 1754259 w 1754912"/>
                  <a:gd name="connsiteY177" fmla="*/ 192088 h 2476500"/>
                  <a:gd name="connsiteX178" fmla="*/ 1752672 w 1754912"/>
                  <a:gd name="connsiteY178" fmla="*/ 203200 h 2476500"/>
                  <a:gd name="connsiteX179" fmla="*/ 1754259 w 1754912"/>
                  <a:gd name="connsiteY179" fmla="*/ 222250 h 2476500"/>
                  <a:gd name="connsiteX180" fmla="*/ 1739972 w 1754912"/>
                  <a:gd name="connsiteY180" fmla="*/ 225425 h 2476500"/>
                  <a:gd name="connsiteX181" fmla="*/ 1709809 w 1754912"/>
                  <a:gd name="connsiteY181" fmla="*/ 223838 h 2476500"/>
                  <a:gd name="connsiteX182" fmla="*/ 1705047 w 1754912"/>
                  <a:gd name="connsiteY182" fmla="*/ 220663 h 2476500"/>
                  <a:gd name="connsiteX183" fmla="*/ 1703459 w 1754912"/>
                  <a:gd name="connsiteY183" fmla="*/ 225425 h 2476500"/>
                  <a:gd name="connsiteX184" fmla="*/ 1698697 w 1754912"/>
                  <a:gd name="connsiteY184" fmla="*/ 244475 h 2476500"/>
                  <a:gd name="connsiteX185" fmla="*/ 1692347 w 1754912"/>
                  <a:gd name="connsiteY185" fmla="*/ 249238 h 2476500"/>
                  <a:gd name="connsiteX186" fmla="*/ 1682822 w 1754912"/>
                  <a:gd name="connsiteY186" fmla="*/ 261938 h 2476500"/>
                  <a:gd name="connsiteX187" fmla="*/ 1676472 w 1754912"/>
                  <a:gd name="connsiteY187" fmla="*/ 269875 h 2476500"/>
                  <a:gd name="connsiteX188" fmla="*/ 1671709 w 1754912"/>
                  <a:gd name="connsiteY188" fmla="*/ 274638 h 2476500"/>
                  <a:gd name="connsiteX189" fmla="*/ 1668534 w 1754912"/>
                  <a:gd name="connsiteY189" fmla="*/ 280988 h 2476500"/>
                  <a:gd name="connsiteX190" fmla="*/ 1670122 w 1754912"/>
                  <a:gd name="connsiteY190" fmla="*/ 319088 h 2476500"/>
                  <a:gd name="connsiteX191" fmla="*/ 1665359 w 1754912"/>
                  <a:gd name="connsiteY191" fmla="*/ 331788 h 2476500"/>
                  <a:gd name="connsiteX192" fmla="*/ 1655834 w 1754912"/>
                  <a:gd name="connsiteY192" fmla="*/ 328613 h 2476500"/>
                  <a:gd name="connsiteX193" fmla="*/ 1643134 w 1754912"/>
                  <a:gd name="connsiteY193" fmla="*/ 323850 h 2476500"/>
                  <a:gd name="connsiteX194" fmla="*/ 1638372 w 1754912"/>
                  <a:gd name="connsiteY194" fmla="*/ 315913 h 2476500"/>
                  <a:gd name="connsiteX195" fmla="*/ 1641547 w 1754912"/>
                  <a:gd name="connsiteY195" fmla="*/ 298450 h 2476500"/>
                  <a:gd name="connsiteX196" fmla="*/ 1644722 w 1754912"/>
                  <a:gd name="connsiteY196" fmla="*/ 290513 h 2476500"/>
                  <a:gd name="connsiteX197" fmla="*/ 1649484 w 1754912"/>
                  <a:gd name="connsiteY197" fmla="*/ 285750 h 2476500"/>
                  <a:gd name="connsiteX198" fmla="*/ 1651072 w 1754912"/>
                  <a:gd name="connsiteY198" fmla="*/ 274638 h 2476500"/>
                  <a:gd name="connsiteX199" fmla="*/ 1654247 w 1754912"/>
                  <a:gd name="connsiteY199" fmla="*/ 268288 h 2476500"/>
                  <a:gd name="connsiteX200" fmla="*/ 1652659 w 1754912"/>
                  <a:gd name="connsiteY200" fmla="*/ 255588 h 2476500"/>
                  <a:gd name="connsiteX201" fmla="*/ 1639959 w 1754912"/>
                  <a:gd name="connsiteY201" fmla="*/ 239713 h 2476500"/>
                  <a:gd name="connsiteX202" fmla="*/ 1628847 w 1754912"/>
                  <a:gd name="connsiteY202" fmla="*/ 236538 h 2476500"/>
                  <a:gd name="connsiteX203" fmla="*/ 1620909 w 1754912"/>
                  <a:gd name="connsiteY203" fmla="*/ 231775 h 2476500"/>
                  <a:gd name="connsiteX204" fmla="*/ 1605034 w 1754912"/>
                  <a:gd name="connsiteY204" fmla="*/ 223838 h 2476500"/>
                  <a:gd name="connsiteX205" fmla="*/ 1597097 w 1754912"/>
                  <a:gd name="connsiteY205" fmla="*/ 217488 h 2476500"/>
                  <a:gd name="connsiteX206" fmla="*/ 1584397 w 1754912"/>
                  <a:gd name="connsiteY206" fmla="*/ 215900 h 2476500"/>
                  <a:gd name="connsiteX207" fmla="*/ 1582809 w 1754912"/>
                  <a:gd name="connsiteY207" fmla="*/ 211138 h 2476500"/>
                  <a:gd name="connsiteX208" fmla="*/ 1579634 w 1754912"/>
                  <a:gd name="connsiteY208" fmla="*/ 204788 h 2476500"/>
                  <a:gd name="connsiteX209" fmla="*/ 1554234 w 1754912"/>
                  <a:gd name="connsiteY209" fmla="*/ 200025 h 2476500"/>
                  <a:gd name="connsiteX210" fmla="*/ 1552647 w 1754912"/>
                  <a:gd name="connsiteY210" fmla="*/ 190500 h 2476500"/>
                  <a:gd name="connsiteX211" fmla="*/ 1543122 w 1754912"/>
                  <a:gd name="connsiteY211" fmla="*/ 184150 h 2476500"/>
                  <a:gd name="connsiteX212" fmla="*/ 1522484 w 1754912"/>
                  <a:gd name="connsiteY212" fmla="*/ 185738 h 2476500"/>
                  <a:gd name="connsiteX213" fmla="*/ 1516134 w 1754912"/>
                  <a:gd name="connsiteY213" fmla="*/ 190500 h 2476500"/>
                  <a:gd name="connsiteX214" fmla="*/ 1511372 w 1754912"/>
                  <a:gd name="connsiteY214" fmla="*/ 193675 h 2476500"/>
                  <a:gd name="connsiteX215" fmla="*/ 1506609 w 1754912"/>
                  <a:gd name="connsiteY215" fmla="*/ 201613 h 2476500"/>
                  <a:gd name="connsiteX216" fmla="*/ 1503434 w 1754912"/>
                  <a:gd name="connsiteY216" fmla="*/ 206375 h 2476500"/>
                  <a:gd name="connsiteX217" fmla="*/ 1500259 w 1754912"/>
                  <a:gd name="connsiteY217" fmla="*/ 214313 h 2476500"/>
                  <a:gd name="connsiteX218" fmla="*/ 1493909 w 1754912"/>
                  <a:gd name="connsiteY218" fmla="*/ 215900 h 2476500"/>
                  <a:gd name="connsiteX219" fmla="*/ 1474859 w 1754912"/>
                  <a:gd name="connsiteY219" fmla="*/ 225425 h 2476500"/>
                  <a:gd name="connsiteX220" fmla="*/ 1460572 w 1754912"/>
                  <a:gd name="connsiteY220" fmla="*/ 233363 h 2476500"/>
                  <a:gd name="connsiteX221" fmla="*/ 1457397 w 1754912"/>
                  <a:gd name="connsiteY221" fmla="*/ 239713 h 2476500"/>
                  <a:gd name="connsiteX222" fmla="*/ 1455809 w 1754912"/>
                  <a:gd name="connsiteY222" fmla="*/ 244475 h 2476500"/>
                  <a:gd name="connsiteX223" fmla="*/ 1451047 w 1754912"/>
                  <a:gd name="connsiteY223" fmla="*/ 249238 h 2476500"/>
                  <a:gd name="connsiteX224" fmla="*/ 1435172 w 1754912"/>
                  <a:gd name="connsiteY224" fmla="*/ 266700 h 2476500"/>
                  <a:gd name="connsiteX225" fmla="*/ 1436759 w 1754912"/>
                  <a:gd name="connsiteY225" fmla="*/ 277813 h 2476500"/>
                  <a:gd name="connsiteX226" fmla="*/ 1441522 w 1754912"/>
                  <a:gd name="connsiteY226" fmla="*/ 287338 h 2476500"/>
                  <a:gd name="connsiteX227" fmla="*/ 1443109 w 1754912"/>
                  <a:gd name="connsiteY227" fmla="*/ 293688 h 2476500"/>
                  <a:gd name="connsiteX228" fmla="*/ 1441522 w 1754912"/>
                  <a:gd name="connsiteY228" fmla="*/ 325438 h 2476500"/>
                  <a:gd name="connsiteX229" fmla="*/ 1441522 w 1754912"/>
                  <a:gd name="connsiteY229" fmla="*/ 360363 h 2476500"/>
                  <a:gd name="connsiteX230" fmla="*/ 1449459 w 1754912"/>
                  <a:gd name="connsiteY230" fmla="*/ 361950 h 2476500"/>
                  <a:gd name="connsiteX231" fmla="*/ 1458984 w 1754912"/>
                  <a:gd name="connsiteY231" fmla="*/ 365125 h 2476500"/>
                  <a:gd name="connsiteX232" fmla="*/ 1458984 w 1754912"/>
                  <a:gd name="connsiteY232" fmla="*/ 409575 h 2476500"/>
                  <a:gd name="connsiteX233" fmla="*/ 1444697 w 1754912"/>
                  <a:gd name="connsiteY233" fmla="*/ 411163 h 2476500"/>
                  <a:gd name="connsiteX234" fmla="*/ 1435172 w 1754912"/>
                  <a:gd name="connsiteY234" fmla="*/ 415925 h 2476500"/>
                  <a:gd name="connsiteX235" fmla="*/ 1436759 w 1754912"/>
                  <a:gd name="connsiteY235" fmla="*/ 423863 h 2476500"/>
                  <a:gd name="connsiteX236" fmla="*/ 1433584 w 1754912"/>
                  <a:gd name="connsiteY236" fmla="*/ 471488 h 2476500"/>
                  <a:gd name="connsiteX237" fmla="*/ 1419297 w 1754912"/>
                  <a:gd name="connsiteY237" fmla="*/ 465138 h 2476500"/>
                  <a:gd name="connsiteX238" fmla="*/ 1412947 w 1754912"/>
                  <a:gd name="connsiteY238" fmla="*/ 461963 h 2476500"/>
                  <a:gd name="connsiteX239" fmla="*/ 1390722 w 1754912"/>
                  <a:gd name="connsiteY239" fmla="*/ 465138 h 2476500"/>
                  <a:gd name="connsiteX240" fmla="*/ 1382784 w 1754912"/>
                  <a:gd name="connsiteY240" fmla="*/ 450850 h 2476500"/>
                  <a:gd name="connsiteX241" fmla="*/ 1378022 w 1754912"/>
                  <a:gd name="connsiteY241" fmla="*/ 447675 h 2476500"/>
                  <a:gd name="connsiteX242" fmla="*/ 1373259 w 1754912"/>
                  <a:gd name="connsiteY242" fmla="*/ 442913 h 2476500"/>
                  <a:gd name="connsiteX243" fmla="*/ 1365322 w 1754912"/>
                  <a:gd name="connsiteY243" fmla="*/ 441325 h 2476500"/>
                  <a:gd name="connsiteX244" fmla="*/ 1360559 w 1754912"/>
                  <a:gd name="connsiteY244" fmla="*/ 439738 h 2476500"/>
                  <a:gd name="connsiteX245" fmla="*/ 1349447 w 1754912"/>
                  <a:gd name="connsiteY245" fmla="*/ 441325 h 2476500"/>
                  <a:gd name="connsiteX246" fmla="*/ 1335159 w 1754912"/>
                  <a:gd name="connsiteY246" fmla="*/ 450850 h 2476500"/>
                  <a:gd name="connsiteX247" fmla="*/ 1328809 w 1754912"/>
                  <a:gd name="connsiteY247" fmla="*/ 461963 h 2476500"/>
                  <a:gd name="connsiteX248" fmla="*/ 1320872 w 1754912"/>
                  <a:gd name="connsiteY248" fmla="*/ 469900 h 2476500"/>
                  <a:gd name="connsiteX249" fmla="*/ 1312934 w 1754912"/>
                  <a:gd name="connsiteY249" fmla="*/ 471488 h 2476500"/>
                  <a:gd name="connsiteX250" fmla="*/ 1308172 w 1754912"/>
                  <a:gd name="connsiteY250" fmla="*/ 474663 h 2476500"/>
                  <a:gd name="connsiteX251" fmla="*/ 1303409 w 1754912"/>
                  <a:gd name="connsiteY251" fmla="*/ 479425 h 2476500"/>
                  <a:gd name="connsiteX252" fmla="*/ 1295472 w 1754912"/>
                  <a:gd name="connsiteY252" fmla="*/ 481013 h 2476500"/>
                  <a:gd name="connsiteX253" fmla="*/ 1287534 w 1754912"/>
                  <a:gd name="connsiteY253" fmla="*/ 484188 h 2476500"/>
                  <a:gd name="connsiteX254" fmla="*/ 1281184 w 1754912"/>
                  <a:gd name="connsiteY254" fmla="*/ 482600 h 2476500"/>
                  <a:gd name="connsiteX255" fmla="*/ 1273247 w 1754912"/>
                  <a:gd name="connsiteY255" fmla="*/ 476250 h 2476500"/>
                  <a:gd name="connsiteX256" fmla="*/ 1266897 w 1754912"/>
                  <a:gd name="connsiteY256" fmla="*/ 471488 h 2476500"/>
                  <a:gd name="connsiteX257" fmla="*/ 1255784 w 1754912"/>
                  <a:gd name="connsiteY257" fmla="*/ 466725 h 2476500"/>
                  <a:gd name="connsiteX258" fmla="*/ 1244672 w 1754912"/>
                  <a:gd name="connsiteY258" fmla="*/ 455613 h 2476500"/>
                  <a:gd name="connsiteX259" fmla="*/ 1238322 w 1754912"/>
                  <a:gd name="connsiteY259" fmla="*/ 449263 h 2476500"/>
                  <a:gd name="connsiteX260" fmla="*/ 1231972 w 1754912"/>
                  <a:gd name="connsiteY260" fmla="*/ 444500 h 2476500"/>
                  <a:gd name="connsiteX261" fmla="*/ 1230384 w 1754912"/>
                  <a:gd name="connsiteY261" fmla="*/ 438150 h 2476500"/>
                  <a:gd name="connsiteX262" fmla="*/ 1225622 w 1754912"/>
                  <a:gd name="connsiteY262" fmla="*/ 433388 h 2476500"/>
                  <a:gd name="connsiteX263" fmla="*/ 1222447 w 1754912"/>
                  <a:gd name="connsiteY263" fmla="*/ 428625 h 2476500"/>
                  <a:gd name="connsiteX264" fmla="*/ 1204984 w 1754912"/>
                  <a:gd name="connsiteY264" fmla="*/ 411163 h 2476500"/>
                  <a:gd name="connsiteX265" fmla="*/ 1197047 w 1754912"/>
                  <a:gd name="connsiteY265" fmla="*/ 409575 h 2476500"/>
                  <a:gd name="connsiteX266" fmla="*/ 1192284 w 1754912"/>
                  <a:gd name="connsiteY266" fmla="*/ 395288 h 2476500"/>
                  <a:gd name="connsiteX267" fmla="*/ 1189109 w 1754912"/>
                  <a:gd name="connsiteY267" fmla="*/ 390525 h 2476500"/>
                  <a:gd name="connsiteX268" fmla="*/ 1184347 w 1754912"/>
                  <a:gd name="connsiteY268" fmla="*/ 388938 h 2476500"/>
                  <a:gd name="connsiteX269" fmla="*/ 1179584 w 1754912"/>
                  <a:gd name="connsiteY269" fmla="*/ 390525 h 2476500"/>
                  <a:gd name="connsiteX270" fmla="*/ 1149422 w 1754912"/>
                  <a:gd name="connsiteY270" fmla="*/ 393700 h 2476500"/>
                  <a:gd name="connsiteX271" fmla="*/ 1157359 w 1754912"/>
                  <a:gd name="connsiteY271" fmla="*/ 438150 h 2476500"/>
                  <a:gd name="connsiteX272" fmla="*/ 1151009 w 1754912"/>
                  <a:gd name="connsiteY272" fmla="*/ 436563 h 2476500"/>
                  <a:gd name="connsiteX273" fmla="*/ 1125609 w 1754912"/>
                  <a:gd name="connsiteY273" fmla="*/ 439738 h 2476500"/>
                  <a:gd name="connsiteX274" fmla="*/ 1116084 w 1754912"/>
                  <a:gd name="connsiteY274" fmla="*/ 447675 h 2476500"/>
                  <a:gd name="connsiteX275" fmla="*/ 1111322 w 1754912"/>
                  <a:gd name="connsiteY275" fmla="*/ 449263 h 2476500"/>
                  <a:gd name="connsiteX276" fmla="*/ 1101797 w 1754912"/>
                  <a:gd name="connsiteY276" fmla="*/ 454025 h 2476500"/>
                  <a:gd name="connsiteX277" fmla="*/ 1095447 w 1754912"/>
                  <a:gd name="connsiteY277" fmla="*/ 458788 h 2476500"/>
                  <a:gd name="connsiteX278" fmla="*/ 1101797 w 1754912"/>
                  <a:gd name="connsiteY278" fmla="*/ 469900 h 2476500"/>
                  <a:gd name="connsiteX279" fmla="*/ 1109734 w 1754912"/>
                  <a:gd name="connsiteY279" fmla="*/ 473075 h 2476500"/>
                  <a:gd name="connsiteX280" fmla="*/ 1114497 w 1754912"/>
                  <a:gd name="connsiteY280" fmla="*/ 477838 h 2476500"/>
                  <a:gd name="connsiteX281" fmla="*/ 1116084 w 1754912"/>
                  <a:gd name="connsiteY281" fmla="*/ 484188 h 2476500"/>
                  <a:gd name="connsiteX282" fmla="*/ 1117672 w 1754912"/>
                  <a:gd name="connsiteY282" fmla="*/ 504825 h 2476500"/>
                  <a:gd name="connsiteX283" fmla="*/ 1117672 w 1754912"/>
                  <a:gd name="connsiteY283" fmla="*/ 547688 h 2476500"/>
                  <a:gd name="connsiteX284" fmla="*/ 1124022 w 1754912"/>
                  <a:gd name="connsiteY284" fmla="*/ 550863 h 2476500"/>
                  <a:gd name="connsiteX285" fmla="*/ 1125609 w 1754912"/>
                  <a:gd name="connsiteY285" fmla="*/ 555625 h 2476500"/>
                  <a:gd name="connsiteX286" fmla="*/ 1130372 w 1754912"/>
                  <a:gd name="connsiteY286" fmla="*/ 557213 h 2476500"/>
                  <a:gd name="connsiteX287" fmla="*/ 1122434 w 1754912"/>
                  <a:gd name="connsiteY287" fmla="*/ 565150 h 2476500"/>
                  <a:gd name="connsiteX288" fmla="*/ 1117672 w 1754912"/>
                  <a:gd name="connsiteY288" fmla="*/ 576263 h 2476500"/>
                  <a:gd name="connsiteX289" fmla="*/ 1112909 w 1754912"/>
                  <a:gd name="connsiteY289" fmla="*/ 584200 h 2476500"/>
                  <a:gd name="connsiteX290" fmla="*/ 1106559 w 1754912"/>
                  <a:gd name="connsiteY290" fmla="*/ 587375 h 2476500"/>
                  <a:gd name="connsiteX291" fmla="*/ 1098622 w 1754912"/>
                  <a:gd name="connsiteY291" fmla="*/ 584200 h 2476500"/>
                  <a:gd name="connsiteX292" fmla="*/ 1093859 w 1754912"/>
                  <a:gd name="connsiteY292" fmla="*/ 579438 h 2476500"/>
                  <a:gd name="connsiteX293" fmla="*/ 1082747 w 1754912"/>
                  <a:gd name="connsiteY293" fmla="*/ 573088 h 2476500"/>
                  <a:gd name="connsiteX294" fmla="*/ 1062109 w 1754912"/>
                  <a:gd name="connsiteY294" fmla="*/ 569913 h 2476500"/>
                  <a:gd name="connsiteX295" fmla="*/ 1047822 w 1754912"/>
                  <a:gd name="connsiteY295" fmla="*/ 565150 h 2476500"/>
                  <a:gd name="connsiteX296" fmla="*/ 1041472 w 1754912"/>
                  <a:gd name="connsiteY296" fmla="*/ 563563 h 2476500"/>
                  <a:gd name="connsiteX297" fmla="*/ 1030359 w 1754912"/>
                  <a:gd name="connsiteY297" fmla="*/ 565150 h 2476500"/>
                  <a:gd name="connsiteX298" fmla="*/ 1017659 w 1754912"/>
                  <a:gd name="connsiteY298" fmla="*/ 571500 h 2476500"/>
                  <a:gd name="connsiteX299" fmla="*/ 1016072 w 1754912"/>
                  <a:gd name="connsiteY299" fmla="*/ 560388 h 2476500"/>
                  <a:gd name="connsiteX300" fmla="*/ 989084 w 1754912"/>
                  <a:gd name="connsiteY300" fmla="*/ 560388 h 2476500"/>
                  <a:gd name="connsiteX301" fmla="*/ 984322 w 1754912"/>
                  <a:gd name="connsiteY301" fmla="*/ 566738 h 2476500"/>
                  <a:gd name="connsiteX302" fmla="*/ 990672 w 1754912"/>
                  <a:gd name="connsiteY302" fmla="*/ 592138 h 2476500"/>
                  <a:gd name="connsiteX303" fmla="*/ 992259 w 1754912"/>
                  <a:gd name="connsiteY303" fmla="*/ 596900 h 2476500"/>
                  <a:gd name="connsiteX304" fmla="*/ 989084 w 1754912"/>
                  <a:gd name="connsiteY304" fmla="*/ 644525 h 2476500"/>
                  <a:gd name="connsiteX305" fmla="*/ 984322 w 1754912"/>
                  <a:gd name="connsiteY305" fmla="*/ 650875 h 2476500"/>
                  <a:gd name="connsiteX306" fmla="*/ 982734 w 1754912"/>
                  <a:gd name="connsiteY306" fmla="*/ 655638 h 2476500"/>
                  <a:gd name="connsiteX307" fmla="*/ 979559 w 1754912"/>
                  <a:gd name="connsiteY307" fmla="*/ 669925 h 2476500"/>
                  <a:gd name="connsiteX308" fmla="*/ 974797 w 1754912"/>
                  <a:gd name="connsiteY308" fmla="*/ 666750 h 2476500"/>
                  <a:gd name="connsiteX309" fmla="*/ 970034 w 1754912"/>
                  <a:gd name="connsiteY309" fmla="*/ 661988 h 2476500"/>
                  <a:gd name="connsiteX310" fmla="*/ 960509 w 1754912"/>
                  <a:gd name="connsiteY310" fmla="*/ 663575 h 2476500"/>
                  <a:gd name="connsiteX311" fmla="*/ 943047 w 1754912"/>
                  <a:gd name="connsiteY311" fmla="*/ 668338 h 2476500"/>
                  <a:gd name="connsiteX312" fmla="*/ 936697 w 1754912"/>
                  <a:gd name="connsiteY312" fmla="*/ 676275 h 2476500"/>
                  <a:gd name="connsiteX313" fmla="*/ 925584 w 1754912"/>
                  <a:gd name="connsiteY313" fmla="*/ 687388 h 2476500"/>
                  <a:gd name="connsiteX314" fmla="*/ 922409 w 1754912"/>
                  <a:gd name="connsiteY314" fmla="*/ 692150 h 2476500"/>
                  <a:gd name="connsiteX315" fmla="*/ 916059 w 1754912"/>
                  <a:gd name="connsiteY315" fmla="*/ 698500 h 2476500"/>
                  <a:gd name="connsiteX316" fmla="*/ 912884 w 1754912"/>
                  <a:gd name="connsiteY316" fmla="*/ 704850 h 2476500"/>
                  <a:gd name="connsiteX317" fmla="*/ 909709 w 1754912"/>
                  <a:gd name="connsiteY317" fmla="*/ 709613 h 2476500"/>
                  <a:gd name="connsiteX318" fmla="*/ 908122 w 1754912"/>
                  <a:gd name="connsiteY318" fmla="*/ 717550 h 2476500"/>
                  <a:gd name="connsiteX319" fmla="*/ 901772 w 1754912"/>
                  <a:gd name="connsiteY319" fmla="*/ 727075 h 2476500"/>
                  <a:gd name="connsiteX320" fmla="*/ 897009 w 1754912"/>
                  <a:gd name="connsiteY320" fmla="*/ 741363 h 2476500"/>
                  <a:gd name="connsiteX321" fmla="*/ 895422 w 1754912"/>
                  <a:gd name="connsiteY321" fmla="*/ 746125 h 2476500"/>
                  <a:gd name="connsiteX322" fmla="*/ 893834 w 1754912"/>
                  <a:gd name="connsiteY322" fmla="*/ 757238 h 2476500"/>
                  <a:gd name="connsiteX323" fmla="*/ 887484 w 1754912"/>
                  <a:gd name="connsiteY323" fmla="*/ 763588 h 2476500"/>
                  <a:gd name="connsiteX324" fmla="*/ 882722 w 1754912"/>
                  <a:gd name="connsiteY324" fmla="*/ 769938 h 2476500"/>
                  <a:gd name="connsiteX325" fmla="*/ 884309 w 1754912"/>
                  <a:gd name="connsiteY325" fmla="*/ 781050 h 2476500"/>
                  <a:gd name="connsiteX326" fmla="*/ 892247 w 1754912"/>
                  <a:gd name="connsiteY326" fmla="*/ 795338 h 2476500"/>
                  <a:gd name="connsiteX327" fmla="*/ 892247 w 1754912"/>
                  <a:gd name="connsiteY327" fmla="*/ 839788 h 2476500"/>
                  <a:gd name="connsiteX328" fmla="*/ 887484 w 1754912"/>
                  <a:gd name="connsiteY328" fmla="*/ 842963 h 2476500"/>
                  <a:gd name="connsiteX329" fmla="*/ 879547 w 1754912"/>
                  <a:gd name="connsiteY329" fmla="*/ 855663 h 2476500"/>
                  <a:gd name="connsiteX330" fmla="*/ 876372 w 1754912"/>
                  <a:gd name="connsiteY330" fmla="*/ 863600 h 2476500"/>
                  <a:gd name="connsiteX331" fmla="*/ 874784 w 1754912"/>
                  <a:gd name="connsiteY331" fmla="*/ 869950 h 2476500"/>
                  <a:gd name="connsiteX332" fmla="*/ 870022 w 1754912"/>
                  <a:gd name="connsiteY332" fmla="*/ 884238 h 2476500"/>
                  <a:gd name="connsiteX333" fmla="*/ 866847 w 1754912"/>
                  <a:gd name="connsiteY333" fmla="*/ 893763 h 2476500"/>
                  <a:gd name="connsiteX334" fmla="*/ 863672 w 1754912"/>
                  <a:gd name="connsiteY334" fmla="*/ 906463 h 2476500"/>
                  <a:gd name="connsiteX335" fmla="*/ 857322 w 1754912"/>
                  <a:gd name="connsiteY335" fmla="*/ 919163 h 2476500"/>
                  <a:gd name="connsiteX336" fmla="*/ 852559 w 1754912"/>
                  <a:gd name="connsiteY336" fmla="*/ 923925 h 2476500"/>
                  <a:gd name="connsiteX337" fmla="*/ 843034 w 1754912"/>
                  <a:gd name="connsiteY337" fmla="*/ 935038 h 2476500"/>
                  <a:gd name="connsiteX338" fmla="*/ 831922 w 1754912"/>
                  <a:gd name="connsiteY338" fmla="*/ 944563 h 2476500"/>
                  <a:gd name="connsiteX339" fmla="*/ 830334 w 1754912"/>
                  <a:gd name="connsiteY339" fmla="*/ 950913 h 2476500"/>
                  <a:gd name="connsiteX340" fmla="*/ 835097 w 1754912"/>
                  <a:gd name="connsiteY340" fmla="*/ 973138 h 2476500"/>
                  <a:gd name="connsiteX341" fmla="*/ 833509 w 1754912"/>
                  <a:gd name="connsiteY341" fmla="*/ 990600 h 2476500"/>
                  <a:gd name="connsiteX342" fmla="*/ 825572 w 1754912"/>
                  <a:gd name="connsiteY342" fmla="*/ 995363 h 2476500"/>
                  <a:gd name="connsiteX343" fmla="*/ 819222 w 1754912"/>
                  <a:gd name="connsiteY343" fmla="*/ 1001713 h 2476500"/>
                  <a:gd name="connsiteX344" fmla="*/ 801759 w 1754912"/>
                  <a:gd name="connsiteY344" fmla="*/ 1016000 h 2476500"/>
                  <a:gd name="connsiteX345" fmla="*/ 782709 w 1754912"/>
                  <a:gd name="connsiteY345" fmla="*/ 1014413 h 2476500"/>
                  <a:gd name="connsiteX346" fmla="*/ 777777 w 1754912"/>
                  <a:gd name="connsiteY346" fmla="*/ 1011206 h 2476500"/>
                  <a:gd name="connsiteX347" fmla="*/ 780808 w 1754912"/>
                  <a:gd name="connsiteY347" fmla="*/ 1009156 h 2476500"/>
                  <a:gd name="connsiteX348" fmla="*/ 782139 w 1754912"/>
                  <a:gd name="connsiteY348" fmla="*/ 1008856 h 2476500"/>
                  <a:gd name="connsiteX349" fmla="*/ 780893 w 1754912"/>
                  <a:gd name="connsiteY349" fmla="*/ 1009099 h 2476500"/>
                  <a:gd name="connsiteX350" fmla="*/ 780808 w 1754912"/>
                  <a:gd name="connsiteY350" fmla="*/ 1009156 h 2476500"/>
                  <a:gd name="connsiteX351" fmla="*/ 771597 w 1754912"/>
                  <a:gd name="connsiteY351" fmla="*/ 1011238 h 2476500"/>
                  <a:gd name="connsiteX352" fmla="*/ 773184 w 1754912"/>
                  <a:gd name="connsiteY352" fmla="*/ 1050925 h 2476500"/>
                  <a:gd name="connsiteX353" fmla="*/ 779534 w 1754912"/>
                  <a:gd name="connsiteY353" fmla="*/ 1063625 h 2476500"/>
                  <a:gd name="connsiteX354" fmla="*/ 781122 w 1754912"/>
                  <a:gd name="connsiteY354" fmla="*/ 1068388 h 2476500"/>
                  <a:gd name="connsiteX355" fmla="*/ 782709 w 1754912"/>
                  <a:gd name="connsiteY355" fmla="*/ 1079500 h 2476500"/>
                  <a:gd name="connsiteX356" fmla="*/ 777947 w 1754912"/>
                  <a:gd name="connsiteY356" fmla="*/ 1093788 h 2476500"/>
                  <a:gd name="connsiteX357" fmla="*/ 773184 w 1754912"/>
                  <a:gd name="connsiteY357" fmla="*/ 1096963 h 2476500"/>
                  <a:gd name="connsiteX358" fmla="*/ 774772 w 1754912"/>
                  <a:gd name="connsiteY358" fmla="*/ 1106488 h 2476500"/>
                  <a:gd name="connsiteX359" fmla="*/ 782709 w 1754912"/>
                  <a:gd name="connsiteY359" fmla="*/ 1116013 h 2476500"/>
                  <a:gd name="connsiteX360" fmla="*/ 784297 w 1754912"/>
                  <a:gd name="connsiteY360" fmla="*/ 1123950 h 2476500"/>
                  <a:gd name="connsiteX361" fmla="*/ 787472 w 1754912"/>
                  <a:gd name="connsiteY361" fmla="*/ 1135063 h 2476500"/>
                  <a:gd name="connsiteX362" fmla="*/ 784297 w 1754912"/>
                  <a:gd name="connsiteY362" fmla="*/ 1157288 h 2476500"/>
                  <a:gd name="connsiteX363" fmla="*/ 781122 w 1754912"/>
                  <a:gd name="connsiteY363" fmla="*/ 1165225 h 2476500"/>
                  <a:gd name="connsiteX364" fmla="*/ 777947 w 1754912"/>
                  <a:gd name="connsiteY364" fmla="*/ 1169988 h 2476500"/>
                  <a:gd name="connsiteX365" fmla="*/ 779534 w 1754912"/>
                  <a:gd name="connsiteY365" fmla="*/ 1177925 h 2476500"/>
                  <a:gd name="connsiteX366" fmla="*/ 776359 w 1754912"/>
                  <a:gd name="connsiteY366" fmla="*/ 1192213 h 2476500"/>
                  <a:gd name="connsiteX367" fmla="*/ 773184 w 1754912"/>
                  <a:gd name="connsiteY367" fmla="*/ 1196975 h 2476500"/>
                  <a:gd name="connsiteX368" fmla="*/ 768422 w 1754912"/>
                  <a:gd name="connsiteY368" fmla="*/ 1206500 h 2476500"/>
                  <a:gd name="connsiteX369" fmla="*/ 763659 w 1754912"/>
                  <a:gd name="connsiteY369" fmla="*/ 1209675 h 2476500"/>
                  <a:gd name="connsiteX370" fmla="*/ 750959 w 1754912"/>
                  <a:gd name="connsiteY370" fmla="*/ 1230313 h 2476500"/>
                  <a:gd name="connsiteX371" fmla="*/ 752546 w 1754912"/>
                  <a:gd name="connsiteY371" fmla="*/ 1238250 h 2476500"/>
                  <a:gd name="connsiteX372" fmla="*/ 744609 w 1754912"/>
                  <a:gd name="connsiteY372" fmla="*/ 1258889 h 2476500"/>
                  <a:gd name="connsiteX373" fmla="*/ 730322 w 1754912"/>
                  <a:gd name="connsiteY373" fmla="*/ 1276350 h 2476500"/>
                  <a:gd name="connsiteX374" fmla="*/ 733497 w 1754912"/>
                  <a:gd name="connsiteY374" fmla="*/ 1293813 h 2476500"/>
                  <a:gd name="connsiteX375" fmla="*/ 738259 w 1754912"/>
                  <a:gd name="connsiteY375" fmla="*/ 1296988 h 2476500"/>
                  <a:gd name="connsiteX376" fmla="*/ 762072 w 1754912"/>
                  <a:gd name="connsiteY376" fmla="*/ 1319213 h 2476500"/>
                  <a:gd name="connsiteX377" fmla="*/ 768422 w 1754912"/>
                  <a:gd name="connsiteY377" fmla="*/ 1322388 h 2476500"/>
                  <a:gd name="connsiteX378" fmla="*/ 766834 w 1754912"/>
                  <a:gd name="connsiteY378" fmla="*/ 1366838 h 2476500"/>
                  <a:gd name="connsiteX379" fmla="*/ 763659 w 1754912"/>
                  <a:gd name="connsiteY379" fmla="*/ 1376363 h 2476500"/>
                  <a:gd name="connsiteX380" fmla="*/ 760484 w 1754912"/>
                  <a:gd name="connsiteY380" fmla="*/ 1384300 h 2476500"/>
                  <a:gd name="connsiteX381" fmla="*/ 758897 w 1754912"/>
                  <a:gd name="connsiteY381" fmla="*/ 1389063 h 2476500"/>
                  <a:gd name="connsiteX382" fmla="*/ 750959 w 1754912"/>
                  <a:gd name="connsiteY382" fmla="*/ 1398588 h 2476500"/>
                  <a:gd name="connsiteX383" fmla="*/ 719209 w 1754912"/>
                  <a:gd name="connsiteY383" fmla="*/ 1397000 h 2476500"/>
                  <a:gd name="connsiteX384" fmla="*/ 714447 w 1754912"/>
                  <a:gd name="connsiteY384" fmla="*/ 1389063 h 2476500"/>
                  <a:gd name="connsiteX385" fmla="*/ 706509 w 1754912"/>
                  <a:gd name="connsiteY385" fmla="*/ 1385888 h 2476500"/>
                  <a:gd name="connsiteX386" fmla="*/ 693809 w 1754912"/>
                  <a:gd name="connsiteY386" fmla="*/ 1389063 h 2476500"/>
                  <a:gd name="connsiteX387" fmla="*/ 685872 w 1754912"/>
                  <a:gd name="connsiteY387" fmla="*/ 1395413 h 2476500"/>
                  <a:gd name="connsiteX388" fmla="*/ 677934 w 1754912"/>
                  <a:gd name="connsiteY388" fmla="*/ 1406525 h 2476500"/>
                  <a:gd name="connsiteX389" fmla="*/ 671584 w 1754912"/>
                  <a:gd name="connsiteY389" fmla="*/ 1409700 h 2476500"/>
                  <a:gd name="connsiteX390" fmla="*/ 657297 w 1754912"/>
                  <a:gd name="connsiteY390" fmla="*/ 1419225 h 2476500"/>
                  <a:gd name="connsiteX391" fmla="*/ 654122 w 1754912"/>
                  <a:gd name="connsiteY391" fmla="*/ 1423988 h 2476500"/>
                  <a:gd name="connsiteX392" fmla="*/ 660472 w 1754912"/>
                  <a:gd name="connsiteY392" fmla="*/ 1430338 h 2476500"/>
                  <a:gd name="connsiteX393" fmla="*/ 662059 w 1754912"/>
                  <a:gd name="connsiteY393" fmla="*/ 1435100 h 2476500"/>
                  <a:gd name="connsiteX394" fmla="*/ 655709 w 1754912"/>
                  <a:gd name="connsiteY394" fmla="*/ 1438275 h 2476500"/>
                  <a:gd name="connsiteX395" fmla="*/ 650947 w 1754912"/>
                  <a:gd name="connsiteY395" fmla="*/ 1443038 h 2476500"/>
                  <a:gd name="connsiteX396" fmla="*/ 643009 w 1754912"/>
                  <a:gd name="connsiteY396" fmla="*/ 1449388 h 2476500"/>
                  <a:gd name="connsiteX397" fmla="*/ 638247 w 1754912"/>
                  <a:gd name="connsiteY397" fmla="*/ 1455738 h 2476500"/>
                  <a:gd name="connsiteX398" fmla="*/ 633484 w 1754912"/>
                  <a:gd name="connsiteY398" fmla="*/ 1458913 h 2476500"/>
                  <a:gd name="connsiteX399" fmla="*/ 623959 w 1754912"/>
                  <a:gd name="connsiteY399" fmla="*/ 1470025 h 2476500"/>
                  <a:gd name="connsiteX400" fmla="*/ 620784 w 1754912"/>
                  <a:gd name="connsiteY400" fmla="*/ 1489075 h 2476500"/>
                  <a:gd name="connsiteX401" fmla="*/ 619197 w 1754912"/>
                  <a:gd name="connsiteY401" fmla="*/ 1498600 h 2476500"/>
                  <a:gd name="connsiteX402" fmla="*/ 612847 w 1754912"/>
                  <a:gd name="connsiteY402" fmla="*/ 1487488 h 2476500"/>
                  <a:gd name="connsiteX403" fmla="*/ 612667 w 1754912"/>
                  <a:gd name="connsiteY403" fmla="*/ 1487193 h 2476500"/>
                  <a:gd name="connsiteX404" fmla="*/ 611259 w 1754912"/>
                  <a:gd name="connsiteY404" fmla="*/ 1509713 h 2476500"/>
                  <a:gd name="connsiteX405" fmla="*/ 603322 w 1754912"/>
                  <a:gd name="connsiteY405" fmla="*/ 1514475 h 2476500"/>
                  <a:gd name="connsiteX406" fmla="*/ 598559 w 1754912"/>
                  <a:gd name="connsiteY406" fmla="*/ 1519238 h 2476500"/>
                  <a:gd name="connsiteX407" fmla="*/ 593797 w 1754912"/>
                  <a:gd name="connsiteY407" fmla="*/ 1530350 h 2476500"/>
                  <a:gd name="connsiteX408" fmla="*/ 603322 w 1754912"/>
                  <a:gd name="connsiteY408" fmla="*/ 1539875 h 2476500"/>
                  <a:gd name="connsiteX409" fmla="*/ 606497 w 1754912"/>
                  <a:gd name="connsiteY409" fmla="*/ 1544638 h 2476500"/>
                  <a:gd name="connsiteX410" fmla="*/ 611259 w 1754912"/>
                  <a:gd name="connsiteY410" fmla="*/ 1550988 h 2476500"/>
                  <a:gd name="connsiteX411" fmla="*/ 612847 w 1754912"/>
                  <a:gd name="connsiteY411" fmla="*/ 1555750 h 2476500"/>
                  <a:gd name="connsiteX412" fmla="*/ 617609 w 1754912"/>
                  <a:gd name="connsiteY412" fmla="*/ 1562100 h 2476500"/>
                  <a:gd name="connsiteX413" fmla="*/ 616022 w 1754912"/>
                  <a:gd name="connsiteY413" fmla="*/ 1593850 h 2476500"/>
                  <a:gd name="connsiteX414" fmla="*/ 614434 w 1754912"/>
                  <a:gd name="connsiteY414" fmla="*/ 1598613 h 2476500"/>
                  <a:gd name="connsiteX415" fmla="*/ 609672 w 1754912"/>
                  <a:gd name="connsiteY415" fmla="*/ 1600200 h 2476500"/>
                  <a:gd name="connsiteX416" fmla="*/ 609672 w 1754912"/>
                  <a:gd name="connsiteY416" fmla="*/ 1635125 h 2476500"/>
                  <a:gd name="connsiteX417" fmla="*/ 612847 w 1754912"/>
                  <a:gd name="connsiteY417" fmla="*/ 1641475 h 2476500"/>
                  <a:gd name="connsiteX418" fmla="*/ 616022 w 1754912"/>
                  <a:gd name="connsiteY418" fmla="*/ 1677988 h 2476500"/>
                  <a:gd name="connsiteX419" fmla="*/ 620784 w 1754912"/>
                  <a:gd name="connsiteY419" fmla="*/ 1682750 h 2476500"/>
                  <a:gd name="connsiteX420" fmla="*/ 624689 w 1754912"/>
                  <a:gd name="connsiteY420" fmla="*/ 1687924 h 2476500"/>
                  <a:gd name="connsiteX421" fmla="*/ 623038 w 1754912"/>
                  <a:gd name="connsiteY421" fmla="*/ 1686677 h 2476500"/>
                  <a:gd name="connsiteX422" fmla="*/ 622473 w 1754912"/>
                  <a:gd name="connsiteY422" fmla="*/ 1686119 h 2476500"/>
                  <a:gd name="connsiteX423" fmla="*/ 622926 w 1754912"/>
                  <a:gd name="connsiteY423" fmla="*/ 1686592 h 2476500"/>
                  <a:gd name="connsiteX424" fmla="*/ 623038 w 1754912"/>
                  <a:gd name="connsiteY424" fmla="*/ 1686677 h 2476500"/>
                  <a:gd name="connsiteX425" fmla="*/ 630309 w 1754912"/>
                  <a:gd name="connsiteY425" fmla="*/ 1693863 h 2476500"/>
                  <a:gd name="connsiteX426" fmla="*/ 630309 w 1754912"/>
                  <a:gd name="connsiteY426" fmla="*/ 1730375 h 2476500"/>
                  <a:gd name="connsiteX427" fmla="*/ 628722 w 1754912"/>
                  <a:gd name="connsiteY427" fmla="*/ 1744663 h 2476500"/>
                  <a:gd name="connsiteX428" fmla="*/ 622372 w 1754912"/>
                  <a:gd name="connsiteY428" fmla="*/ 1754188 h 2476500"/>
                  <a:gd name="connsiteX429" fmla="*/ 622372 w 1754912"/>
                  <a:gd name="connsiteY429" fmla="*/ 1800225 h 2476500"/>
                  <a:gd name="connsiteX430" fmla="*/ 625547 w 1754912"/>
                  <a:gd name="connsiteY430" fmla="*/ 1809750 h 2476500"/>
                  <a:gd name="connsiteX431" fmla="*/ 627134 w 1754912"/>
                  <a:gd name="connsiteY431" fmla="*/ 1814513 h 2476500"/>
                  <a:gd name="connsiteX432" fmla="*/ 636659 w 1754912"/>
                  <a:gd name="connsiteY432" fmla="*/ 1827213 h 2476500"/>
                  <a:gd name="connsiteX433" fmla="*/ 647772 w 1754912"/>
                  <a:gd name="connsiteY433" fmla="*/ 1838325 h 2476500"/>
                  <a:gd name="connsiteX434" fmla="*/ 652534 w 1754912"/>
                  <a:gd name="connsiteY434" fmla="*/ 1839913 h 2476500"/>
                  <a:gd name="connsiteX435" fmla="*/ 666822 w 1754912"/>
                  <a:gd name="connsiteY435" fmla="*/ 1847850 h 2476500"/>
                  <a:gd name="connsiteX436" fmla="*/ 681109 w 1754912"/>
                  <a:gd name="connsiteY436" fmla="*/ 1863725 h 2476500"/>
                  <a:gd name="connsiteX437" fmla="*/ 682697 w 1754912"/>
                  <a:gd name="connsiteY437" fmla="*/ 1873250 h 2476500"/>
                  <a:gd name="connsiteX438" fmla="*/ 685872 w 1754912"/>
                  <a:gd name="connsiteY438" fmla="*/ 1881188 h 2476500"/>
                  <a:gd name="connsiteX439" fmla="*/ 684284 w 1754912"/>
                  <a:gd name="connsiteY439" fmla="*/ 1920875 h 2476500"/>
                  <a:gd name="connsiteX440" fmla="*/ 677934 w 1754912"/>
                  <a:gd name="connsiteY440" fmla="*/ 1925638 h 2476500"/>
                  <a:gd name="connsiteX441" fmla="*/ 674759 w 1754912"/>
                  <a:gd name="connsiteY441" fmla="*/ 1931988 h 2476500"/>
                  <a:gd name="connsiteX442" fmla="*/ 643009 w 1754912"/>
                  <a:gd name="connsiteY442" fmla="*/ 1938338 h 2476500"/>
                  <a:gd name="connsiteX443" fmla="*/ 636659 w 1754912"/>
                  <a:gd name="connsiteY443" fmla="*/ 1943100 h 2476500"/>
                  <a:gd name="connsiteX444" fmla="*/ 636659 w 1754912"/>
                  <a:gd name="connsiteY444" fmla="*/ 1968500 h 2476500"/>
                  <a:gd name="connsiteX445" fmla="*/ 644597 w 1754912"/>
                  <a:gd name="connsiteY445" fmla="*/ 1971675 h 2476500"/>
                  <a:gd name="connsiteX446" fmla="*/ 650947 w 1754912"/>
                  <a:gd name="connsiteY446" fmla="*/ 1974850 h 2476500"/>
                  <a:gd name="connsiteX447" fmla="*/ 652534 w 1754912"/>
                  <a:gd name="connsiteY447" fmla="*/ 1998663 h 2476500"/>
                  <a:gd name="connsiteX448" fmla="*/ 657297 w 1754912"/>
                  <a:gd name="connsiteY448" fmla="*/ 2001838 h 2476500"/>
                  <a:gd name="connsiteX449" fmla="*/ 660472 w 1754912"/>
                  <a:gd name="connsiteY449" fmla="*/ 2006600 h 2476500"/>
                  <a:gd name="connsiteX450" fmla="*/ 666822 w 1754912"/>
                  <a:gd name="connsiteY450" fmla="*/ 2014538 h 2476500"/>
                  <a:gd name="connsiteX451" fmla="*/ 668409 w 1754912"/>
                  <a:gd name="connsiteY451" fmla="*/ 2022475 h 2476500"/>
                  <a:gd name="connsiteX452" fmla="*/ 669997 w 1754912"/>
                  <a:gd name="connsiteY452" fmla="*/ 2027238 h 2476500"/>
                  <a:gd name="connsiteX453" fmla="*/ 671584 w 1754912"/>
                  <a:gd name="connsiteY453" fmla="*/ 2036763 h 2476500"/>
                  <a:gd name="connsiteX454" fmla="*/ 668409 w 1754912"/>
                  <a:gd name="connsiteY454" fmla="*/ 2055813 h 2476500"/>
                  <a:gd name="connsiteX455" fmla="*/ 663647 w 1754912"/>
                  <a:gd name="connsiteY455" fmla="*/ 2062163 h 2476500"/>
                  <a:gd name="connsiteX456" fmla="*/ 665234 w 1754912"/>
                  <a:gd name="connsiteY456" fmla="*/ 2068513 h 2476500"/>
                  <a:gd name="connsiteX457" fmla="*/ 671584 w 1754912"/>
                  <a:gd name="connsiteY457" fmla="*/ 2073275 h 2476500"/>
                  <a:gd name="connsiteX458" fmla="*/ 668409 w 1754912"/>
                  <a:gd name="connsiteY458" fmla="*/ 2098675 h 2476500"/>
                  <a:gd name="connsiteX459" fmla="*/ 663647 w 1754912"/>
                  <a:gd name="connsiteY459" fmla="*/ 2106613 h 2476500"/>
                  <a:gd name="connsiteX460" fmla="*/ 662059 w 1754912"/>
                  <a:gd name="connsiteY460" fmla="*/ 2117725 h 2476500"/>
                  <a:gd name="connsiteX461" fmla="*/ 643009 w 1754912"/>
                  <a:gd name="connsiteY461" fmla="*/ 2136775 h 2476500"/>
                  <a:gd name="connsiteX462" fmla="*/ 633484 w 1754912"/>
                  <a:gd name="connsiteY462" fmla="*/ 2138363 h 2476500"/>
                  <a:gd name="connsiteX463" fmla="*/ 628722 w 1754912"/>
                  <a:gd name="connsiteY463" fmla="*/ 2139950 h 2476500"/>
                  <a:gd name="connsiteX464" fmla="*/ 606497 w 1754912"/>
                  <a:gd name="connsiteY464" fmla="*/ 2141538 h 2476500"/>
                  <a:gd name="connsiteX465" fmla="*/ 600147 w 1754912"/>
                  <a:gd name="connsiteY465" fmla="*/ 2144713 h 2476500"/>
                  <a:gd name="connsiteX466" fmla="*/ 601734 w 1754912"/>
                  <a:gd name="connsiteY466" fmla="*/ 2149475 h 2476500"/>
                  <a:gd name="connsiteX467" fmla="*/ 612847 w 1754912"/>
                  <a:gd name="connsiteY467" fmla="*/ 2154238 h 2476500"/>
                  <a:gd name="connsiteX468" fmla="*/ 614434 w 1754912"/>
                  <a:gd name="connsiteY468" fmla="*/ 2159000 h 2476500"/>
                  <a:gd name="connsiteX469" fmla="*/ 611259 w 1754912"/>
                  <a:gd name="connsiteY469" fmla="*/ 2174875 h 2476500"/>
                  <a:gd name="connsiteX470" fmla="*/ 604909 w 1754912"/>
                  <a:gd name="connsiteY470" fmla="*/ 2181225 h 2476500"/>
                  <a:gd name="connsiteX471" fmla="*/ 600147 w 1754912"/>
                  <a:gd name="connsiteY471" fmla="*/ 2182813 h 2476500"/>
                  <a:gd name="connsiteX472" fmla="*/ 593797 w 1754912"/>
                  <a:gd name="connsiteY472" fmla="*/ 2189163 h 2476500"/>
                  <a:gd name="connsiteX473" fmla="*/ 595384 w 1754912"/>
                  <a:gd name="connsiteY473" fmla="*/ 2198688 h 2476500"/>
                  <a:gd name="connsiteX474" fmla="*/ 603322 w 1754912"/>
                  <a:gd name="connsiteY474" fmla="*/ 2216150 h 2476500"/>
                  <a:gd name="connsiteX475" fmla="*/ 606497 w 1754912"/>
                  <a:gd name="connsiteY475" fmla="*/ 2227263 h 2476500"/>
                  <a:gd name="connsiteX476" fmla="*/ 608084 w 1754912"/>
                  <a:gd name="connsiteY476" fmla="*/ 2232025 h 2476500"/>
                  <a:gd name="connsiteX477" fmla="*/ 608084 w 1754912"/>
                  <a:gd name="connsiteY477" fmla="*/ 2270125 h 2476500"/>
                  <a:gd name="connsiteX478" fmla="*/ 601734 w 1754912"/>
                  <a:gd name="connsiteY478" fmla="*/ 2289175 h 2476500"/>
                  <a:gd name="connsiteX479" fmla="*/ 595384 w 1754912"/>
                  <a:gd name="connsiteY479" fmla="*/ 2300288 h 2476500"/>
                  <a:gd name="connsiteX480" fmla="*/ 592209 w 1754912"/>
                  <a:gd name="connsiteY480" fmla="*/ 2316163 h 2476500"/>
                  <a:gd name="connsiteX481" fmla="*/ 577922 w 1754912"/>
                  <a:gd name="connsiteY481" fmla="*/ 2322513 h 2476500"/>
                  <a:gd name="connsiteX482" fmla="*/ 576334 w 1754912"/>
                  <a:gd name="connsiteY482" fmla="*/ 2308225 h 2476500"/>
                  <a:gd name="connsiteX483" fmla="*/ 568397 w 1754912"/>
                  <a:gd name="connsiteY483" fmla="*/ 2293938 h 2476500"/>
                  <a:gd name="connsiteX484" fmla="*/ 547759 w 1754912"/>
                  <a:gd name="connsiteY484" fmla="*/ 2290763 h 2476500"/>
                  <a:gd name="connsiteX485" fmla="*/ 542997 w 1754912"/>
                  <a:gd name="connsiteY485" fmla="*/ 2271713 h 2476500"/>
                  <a:gd name="connsiteX486" fmla="*/ 538234 w 1754912"/>
                  <a:gd name="connsiteY486" fmla="*/ 2270125 h 2476500"/>
                  <a:gd name="connsiteX487" fmla="*/ 525534 w 1754912"/>
                  <a:gd name="connsiteY487" fmla="*/ 2268538 h 2476500"/>
                  <a:gd name="connsiteX488" fmla="*/ 520772 w 1754912"/>
                  <a:gd name="connsiteY488" fmla="*/ 2265363 h 2476500"/>
                  <a:gd name="connsiteX489" fmla="*/ 514422 w 1754912"/>
                  <a:gd name="connsiteY489" fmla="*/ 2263775 h 2476500"/>
                  <a:gd name="connsiteX490" fmla="*/ 506484 w 1754912"/>
                  <a:gd name="connsiteY490" fmla="*/ 2254250 h 2476500"/>
                  <a:gd name="connsiteX491" fmla="*/ 508072 w 1754912"/>
                  <a:gd name="connsiteY491" fmla="*/ 2241550 h 2476500"/>
                  <a:gd name="connsiteX492" fmla="*/ 509659 w 1754912"/>
                  <a:gd name="connsiteY492" fmla="*/ 2228850 h 2476500"/>
                  <a:gd name="connsiteX493" fmla="*/ 509659 w 1754912"/>
                  <a:gd name="connsiteY493" fmla="*/ 2201863 h 2476500"/>
                  <a:gd name="connsiteX494" fmla="*/ 506484 w 1754912"/>
                  <a:gd name="connsiteY494" fmla="*/ 2197100 h 2476500"/>
                  <a:gd name="connsiteX495" fmla="*/ 503309 w 1754912"/>
                  <a:gd name="connsiteY495" fmla="*/ 2181225 h 2476500"/>
                  <a:gd name="connsiteX496" fmla="*/ 501722 w 1754912"/>
                  <a:gd name="connsiteY496" fmla="*/ 2176463 h 2476500"/>
                  <a:gd name="connsiteX497" fmla="*/ 503309 w 1754912"/>
                  <a:gd name="connsiteY497" fmla="*/ 2171700 h 2476500"/>
                  <a:gd name="connsiteX498" fmla="*/ 519184 w 1754912"/>
                  <a:gd name="connsiteY498" fmla="*/ 2168525 h 2476500"/>
                  <a:gd name="connsiteX499" fmla="*/ 517597 w 1754912"/>
                  <a:gd name="connsiteY499" fmla="*/ 2152650 h 2476500"/>
                  <a:gd name="connsiteX500" fmla="*/ 506484 w 1754912"/>
                  <a:gd name="connsiteY500" fmla="*/ 2154238 h 2476500"/>
                  <a:gd name="connsiteX501" fmla="*/ 501722 w 1754912"/>
                  <a:gd name="connsiteY501" fmla="*/ 2157413 h 2476500"/>
                  <a:gd name="connsiteX502" fmla="*/ 496959 w 1754912"/>
                  <a:gd name="connsiteY502" fmla="*/ 2159000 h 2476500"/>
                  <a:gd name="connsiteX503" fmla="*/ 492197 w 1754912"/>
                  <a:gd name="connsiteY503" fmla="*/ 2168525 h 2476500"/>
                  <a:gd name="connsiteX504" fmla="*/ 496959 w 1754912"/>
                  <a:gd name="connsiteY504" fmla="*/ 2181225 h 2476500"/>
                  <a:gd name="connsiteX505" fmla="*/ 495372 w 1754912"/>
                  <a:gd name="connsiteY505" fmla="*/ 2195513 h 2476500"/>
                  <a:gd name="connsiteX506" fmla="*/ 485847 w 1754912"/>
                  <a:gd name="connsiteY506" fmla="*/ 2184400 h 2476500"/>
                  <a:gd name="connsiteX507" fmla="*/ 481084 w 1754912"/>
                  <a:gd name="connsiteY507" fmla="*/ 2179638 h 2476500"/>
                  <a:gd name="connsiteX508" fmla="*/ 468384 w 1754912"/>
                  <a:gd name="connsiteY508" fmla="*/ 2181225 h 2476500"/>
                  <a:gd name="connsiteX509" fmla="*/ 469972 w 1754912"/>
                  <a:gd name="connsiteY509" fmla="*/ 2185988 h 2476500"/>
                  <a:gd name="connsiteX510" fmla="*/ 476322 w 1754912"/>
                  <a:gd name="connsiteY510" fmla="*/ 2190750 h 2476500"/>
                  <a:gd name="connsiteX511" fmla="*/ 474734 w 1754912"/>
                  <a:gd name="connsiteY511" fmla="*/ 2211388 h 2476500"/>
                  <a:gd name="connsiteX512" fmla="*/ 469972 w 1754912"/>
                  <a:gd name="connsiteY512" fmla="*/ 2214563 h 2476500"/>
                  <a:gd name="connsiteX513" fmla="*/ 474734 w 1754912"/>
                  <a:gd name="connsiteY513" fmla="*/ 2219325 h 2476500"/>
                  <a:gd name="connsiteX514" fmla="*/ 477909 w 1754912"/>
                  <a:gd name="connsiteY514" fmla="*/ 2230438 h 2476500"/>
                  <a:gd name="connsiteX515" fmla="*/ 481084 w 1754912"/>
                  <a:gd name="connsiteY515" fmla="*/ 2236788 h 2476500"/>
                  <a:gd name="connsiteX516" fmla="*/ 477909 w 1754912"/>
                  <a:gd name="connsiteY516" fmla="*/ 2251075 h 2476500"/>
                  <a:gd name="connsiteX517" fmla="*/ 476322 w 1754912"/>
                  <a:gd name="connsiteY517" fmla="*/ 2259013 h 2476500"/>
                  <a:gd name="connsiteX518" fmla="*/ 468384 w 1754912"/>
                  <a:gd name="connsiteY518" fmla="*/ 2257425 h 2476500"/>
                  <a:gd name="connsiteX519" fmla="*/ 460447 w 1754912"/>
                  <a:gd name="connsiteY519" fmla="*/ 2274888 h 2476500"/>
                  <a:gd name="connsiteX520" fmla="*/ 455684 w 1754912"/>
                  <a:gd name="connsiteY520" fmla="*/ 2273300 h 2476500"/>
                  <a:gd name="connsiteX521" fmla="*/ 450922 w 1754912"/>
                  <a:gd name="connsiteY521" fmla="*/ 2282825 h 2476500"/>
                  <a:gd name="connsiteX522" fmla="*/ 449334 w 1754912"/>
                  <a:gd name="connsiteY522" fmla="*/ 2287588 h 2476500"/>
                  <a:gd name="connsiteX523" fmla="*/ 454097 w 1754912"/>
                  <a:gd name="connsiteY523" fmla="*/ 2292350 h 2476500"/>
                  <a:gd name="connsiteX524" fmla="*/ 449334 w 1754912"/>
                  <a:gd name="connsiteY524" fmla="*/ 2290763 h 2476500"/>
                  <a:gd name="connsiteX525" fmla="*/ 444572 w 1754912"/>
                  <a:gd name="connsiteY525" fmla="*/ 2286000 h 2476500"/>
                  <a:gd name="connsiteX526" fmla="*/ 438222 w 1754912"/>
                  <a:gd name="connsiteY526" fmla="*/ 2295525 h 2476500"/>
                  <a:gd name="connsiteX527" fmla="*/ 435047 w 1754912"/>
                  <a:gd name="connsiteY527" fmla="*/ 2308225 h 2476500"/>
                  <a:gd name="connsiteX528" fmla="*/ 428697 w 1754912"/>
                  <a:gd name="connsiteY528" fmla="*/ 2298700 h 2476500"/>
                  <a:gd name="connsiteX529" fmla="*/ 415997 w 1754912"/>
                  <a:gd name="connsiteY529" fmla="*/ 2286000 h 2476500"/>
                  <a:gd name="connsiteX530" fmla="*/ 403297 w 1754912"/>
                  <a:gd name="connsiteY530" fmla="*/ 2284413 h 2476500"/>
                  <a:gd name="connsiteX531" fmla="*/ 409647 w 1754912"/>
                  <a:gd name="connsiteY531" fmla="*/ 2287588 h 2476500"/>
                  <a:gd name="connsiteX532" fmla="*/ 411234 w 1754912"/>
                  <a:gd name="connsiteY532" fmla="*/ 2295525 h 2476500"/>
                  <a:gd name="connsiteX533" fmla="*/ 406472 w 1754912"/>
                  <a:gd name="connsiteY533" fmla="*/ 2308225 h 2476500"/>
                  <a:gd name="connsiteX534" fmla="*/ 393772 w 1754912"/>
                  <a:gd name="connsiteY534" fmla="*/ 2312988 h 2476500"/>
                  <a:gd name="connsiteX535" fmla="*/ 390597 w 1754912"/>
                  <a:gd name="connsiteY535" fmla="*/ 2322513 h 2476500"/>
                  <a:gd name="connsiteX536" fmla="*/ 384247 w 1754912"/>
                  <a:gd name="connsiteY536" fmla="*/ 2328863 h 2476500"/>
                  <a:gd name="connsiteX537" fmla="*/ 381072 w 1754912"/>
                  <a:gd name="connsiteY537" fmla="*/ 2341563 h 2476500"/>
                  <a:gd name="connsiteX538" fmla="*/ 376309 w 1754912"/>
                  <a:gd name="connsiteY538" fmla="*/ 2336800 h 2476500"/>
                  <a:gd name="connsiteX539" fmla="*/ 379484 w 1754912"/>
                  <a:gd name="connsiteY539" fmla="*/ 2341563 h 2476500"/>
                  <a:gd name="connsiteX540" fmla="*/ 382659 w 1754912"/>
                  <a:gd name="connsiteY540" fmla="*/ 2347913 h 2476500"/>
                  <a:gd name="connsiteX541" fmla="*/ 376309 w 1754912"/>
                  <a:gd name="connsiteY541" fmla="*/ 2355850 h 2476500"/>
                  <a:gd name="connsiteX542" fmla="*/ 374722 w 1754912"/>
                  <a:gd name="connsiteY542" fmla="*/ 2360613 h 2476500"/>
                  <a:gd name="connsiteX543" fmla="*/ 355672 w 1754912"/>
                  <a:gd name="connsiteY543" fmla="*/ 2368550 h 2476500"/>
                  <a:gd name="connsiteX544" fmla="*/ 350909 w 1754912"/>
                  <a:gd name="connsiteY544" fmla="*/ 2373313 h 2476500"/>
                  <a:gd name="connsiteX545" fmla="*/ 342972 w 1754912"/>
                  <a:gd name="connsiteY545" fmla="*/ 2376488 h 2476500"/>
                  <a:gd name="connsiteX546" fmla="*/ 336622 w 1754912"/>
                  <a:gd name="connsiteY546" fmla="*/ 2381250 h 2476500"/>
                  <a:gd name="connsiteX547" fmla="*/ 335034 w 1754912"/>
                  <a:gd name="connsiteY547" fmla="*/ 2386013 h 2476500"/>
                  <a:gd name="connsiteX548" fmla="*/ 333447 w 1754912"/>
                  <a:gd name="connsiteY548" fmla="*/ 2393950 h 2476500"/>
                  <a:gd name="connsiteX549" fmla="*/ 327097 w 1754912"/>
                  <a:gd name="connsiteY549" fmla="*/ 2395538 h 2476500"/>
                  <a:gd name="connsiteX550" fmla="*/ 320747 w 1754912"/>
                  <a:gd name="connsiteY550" fmla="*/ 2409825 h 2476500"/>
                  <a:gd name="connsiteX551" fmla="*/ 311222 w 1754912"/>
                  <a:gd name="connsiteY551" fmla="*/ 2411413 h 2476500"/>
                  <a:gd name="connsiteX552" fmla="*/ 312809 w 1754912"/>
                  <a:gd name="connsiteY552" fmla="*/ 2417763 h 2476500"/>
                  <a:gd name="connsiteX553" fmla="*/ 298522 w 1754912"/>
                  <a:gd name="connsiteY553" fmla="*/ 2422525 h 2476500"/>
                  <a:gd name="connsiteX554" fmla="*/ 274709 w 1754912"/>
                  <a:gd name="connsiteY554" fmla="*/ 2433638 h 2476500"/>
                  <a:gd name="connsiteX555" fmla="*/ 269947 w 1754912"/>
                  <a:gd name="connsiteY555" fmla="*/ 2438400 h 2476500"/>
                  <a:gd name="connsiteX556" fmla="*/ 263597 w 1754912"/>
                  <a:gd name="connsiteY556" fmla="*/ 2452688 h 2476500"/>
                  <a:gd name="connsiteX557" fmla="*/ 257247 w 1754912"/>
                  <a:gd name="connsiteY557" fmla="*/ 2459038 h 2476500"/>
                  <a:gd name="connsiteX558" fmla="*/ 241372 w 1754912"/>
                  <a:gd name="connsiteY558" fmla="*/ 2455863 h 2476500"/>
                  <a:gd name="connsiteX559" fmla="*/ 239784 w 1754912"/>
                  <a:gd name="connsiteY559" fmla="*/ 2465388 h 2476500"/>
                  <a:gd name="connsiteX560" fmla="*/ 227084 w 1754912"/>
                  <a:gd name="connsiteY560" fmla="*/ 2468563 h 2476500"/>
                  <a:gd name="connsiteX561" fmla="*/ 184222 w 1754912"/>
                  <a:gd name="connsiteY561" fmla="*/ 2470150 h 2476500"/>
                  <a:gd name="connsiteX562" fmla="*/ 174697 w 1754912"/>
                  <a:gd name="connsiteY562" fmla="*/ 2473325 h 2476500"/>
                  <a:gd name="connsiteX563" fmla="*/ 160409 w 1754912"/>
                  <a:gd name="connsiteY563" fmla="*/ 2476500 h 2476500"/>
                  <a:gd name="connsiteX564" fmla="*/ 158822 w 1754912"/>
                  <a:gd name="connsiteY564" fmla="*/ 2468563 h 2476500"/>
                  <a:gd name="connsiteX565" fmla="*/ 149297 w 1754912"/>
                  <a:gd name="connsiteY565" fmla="*/ 2465388 h 2476500"/>
                  <a:gd name="connsiteX566" fmla="*/ 138184 w 1754912"/>
                  <a:gd name="connsiteY566" fmla="*/ 2459038 h 2476500"/>
                  <a:gd name="connsiteX567" fmla="*/ 128659 w 1754912"/>
                  <a:gd name="connsiteY567" fmla="*/ 2455863 h 2476500"/>
                  <a:gd name="connsiteX568" fmla="*/ 127072 w 1754912"/>
                  <a:gd name="connsiteY568" fmla="*/ 2463800 h 2476500"/>
                  <a:gd name="connsiteX569" fmla="*/ 120722 w 1754912"/>
                  <a:gd name="connsiteY569" fmla="*/ 2465388 h 2476500"/>
                  <a:gd name="connsiteX570" fmla="*/ 114372 w 1754912"/>
                  <a:gd name="connsiteY570" fmla="*/ 2463800 h 2476500"/>
                  <a:gd name="connsiteX571" fmla="*/ 112784 w 1754912"/>
                  <a:gd name="connsiteY571" fmla="*/ 2459038 h 2476500"/>
                  <a:gd name="connsiteX572" fmla="*/ 111197 w 1754912"/>
                  <a:gd name="connsiteY572" fmla="*/ 2452688 h 2476500"/>
                  <a:gd name="connsiteX573" fmla="*/ 114372 w 1754912"/>
                  <a:gd name="connsiteY573" fmla="*/ 2441575 h 2476500"/>
                  <a:gd name="connsiteX574" fmla="*/ 120722 w 1754912"/>
                  <a:gd name="connsiteY574" fmla="*/ 2438400 h 2476500"/>
                  <a:gd name="connsiteX575" fmla="*/ 136597 w 1754912"/>
                  <a:gd name="connsiteY575" fmla="*/ 2430463 h 2476500"/>
                  <a:gd name="connsiteX576" fmla="*/ 135009 w 1754912"/>
                  <a:gd name="connsiteY576" fmla="*/ 2424113 h 2476500"/>
                  <a:gd name="connsiteX577" fmla="*/ 106434 w 1754912"/>
                  <a:gd name="connsiteY577" fmla="*/ 2425700 h 2476500"/>
                  <a:gd name="connsiteX578" fmla="*/ 96909 w 1754912"/>
                  <a:gd name="connsiteY578" fmla="*/ 2430463 h 2476500"/>
                  <a:gd name="connsiteX579" fmla="*/ 87384 w 1754912"/>
                  <a:gd name="connsiteY579" fmla="*/ 2422525 h 2476500"/>
                  <a:gd name="connsiteX580" fmla="*/ 82622 w 1754912"/>
                  <a:gd name="connsiteY580" fmla="*/ 2419350 h 2476500"/>
                  <a:gd name="connsiteX581" fmla="*/ 79447 w 1754912"/>
                  <a:gd name="connsiteY581" fmla="*/ 2414588 h 2476500"/>
                  <a:gd name="connsiteX582" fmla="*/ 28647 w 1754912"/>
                  <a:gd name="connsiteY582" fmla="*/ 2379663 h 2476500"/>
                  <a:gd name="connsiteX583" fmla="*/ 30234 w 1754912"/>
                  <a:gd name="connsiteY583" fmla="*/ 2360613 h 2476500"/>
                  <a:gd name="connsiteX584" fmla="*/ 23884 w 1754912"/>
                  <a:gd name="connsiteY584" fmla="*/ 2354263 h 2476500"/>
                  <a:gd name="connsiteX585" fmla="*/ 20709 w 1754912"/>
                  <a:gd name="connsiteY585" fmla="*/ 2347913 h 2476500"/>
                  <a:gd name="connsiteX586" fmla="*/ 15947 w 1754912"/>
                  <a:gd name="connsiteY586" fmla="*/ 2341563 h 2476500"/>
                  <a:gd name="connsiteX587" fmla="*/ 17534 w 1754912"/>
                  <a:gd name="connsiteY587" fmla="*/ 2328863 h 2476500"/>
                  <a:gd name="connsiteX588" fmla="*/ 19122 w 1754912"/>
                  <a:gd name="connsiteY588" fmla="*/ 2306638 h 2476500"/>
                  <a:gd name="connsiteX589" fmla="*/ 23884 w 1754912"/>
                  <a:gd name="connsiteY589" fmla="*/ 2300288 h 2476500"/>
                  <a:gd name="connsiteX590" fmla="*/ 25472 w 1754912"/>
                  <a:gd name="connsiteY590" fmla="*/ 2295525 h 2476500"/>
                  <a:gd name="connsiteX591" fmla="*/ 41347 w 1754912"/>
                  <a:gd name="connsiteY591" fmla="*/ 2306638 h 2476500"/>
                  <a:gd name="connsiteX592" fmla="*/ 52459 w 1754912"/>
                  <a:gd name="connsiteY592" fmla="*/ 2308225 h 2476500"/>
                  <a:gd name="connsiteX593" fmla="*/ 57222 w 1754912"/>
                  <a:gd name="connsiteY593" fmla="*/ 2312988 h 2476500"/>
                  <a:gd name="connsiteX594" fmla="*/ 71509 w 1754912"/>
                  <a:gd name="connsiteY594" fmla="*/ 2320925 h 2476500"/>
                  <a:gd name="connsiteX595" fmla="*/ 81034 w 1754912"/>
                  <a:gd name="connsiteY595" fmla="*/ 2328863 h 2476500"/>
                  <a:gd name="connsiteX596" fmla="*/ 85797 w 1754912"/>
                  <a:gd name="connsiteY596" fmla="*/ 2332038 h 2476500"/>
                  <a:gd name="connsiteX597" fmla="*/ 92147 w 1754912"/>
                  <a:gd name="connsiteY597" fmla="*/ 2330450 h 2476500"/>
                  <a:gd name="connsiteX598" fmla="*/ 85797 w 1754912"/>
                  <a:gd name="connsiteY598" fmla="*/ 2327275 h 2476500"/>
                  <a:gd name="connsiteX599" fmla="*/ 81034 w 1754912"/>
                  <a:gd name="connsiteY599" fmla="*/ 2324100 h 2476500"/>
                  <a:gd name="connsiteX600" fmla="*/ 77859 w 1754912"/>
                  <a:gd name="connsiteY600" fmla="*/ 2319338 h 2476500"/>
                  <a:gd name="connsiteX601" fmla="*/ 73097 w 1754912"/>
                  <a:gd name="connsiteY601" fmla="*/ 2308225 h 2476500"/>
                  <a:gd name="connsiteX602" fmla="*/ 82622 w 1754912"/>
                  <a:gd name="connsiteY602" fmla="*/ 2303463 h 2476500"/>
                  <a:gd name="connsiteX603" fmla="*/ 87384 w 1754912"/>
                  <a:gd name="connsiteY603" fmla="*/ 2301875 h 2476500"/>
                  <a:gd name="connsiteX604" fmla="*/ 92147 w 1754912"/>
                  <a:gd name="connsiteY604" fmla="*/ 2297113 h 2476500"/>
                  <a:gd name="connsiteX605" fmla="*/ 101672 w 1754912"/>
                  <a:gd name="connsiteY605" fmla="*/ 2293938 h 2476500"/>
                  <a:gd name="connsiteX606" fmla="*/ 125484 w 1754912"/>
                  <a:gd name="connsiteY606" fmla="*/ 2289175 h 2476500"/>
                  <a:gd name="connsiteX607" fmla="*/ 127072 w 1754912"/>
                  <a:gd name="connsiteY607" fmla="*/ 2284413 h 2476500"/>
                  <a:gd name="connsiteX608" fmla="*/ 100084 w 1754912"/>
                  <a:gd name="connsiteY608" fmla="*/ 2292350 h 2476500"/>
                  <a:gd name="connsiteX609" fmla="*/ 95322 w 1754912"/>
                  <a:gd name="connsiteY609" fmla="*/ 2295525 h 2476500"/>
                  <a:gd name="connsiteX610" fmla="*/ 88972 w 1754912"/>
                  <a:gd name="connsiteY610" fmla="*/ 2297113 h 2476500"/>
                  <a:gd name="connsiteX611" fmla="*/ 84209 w 1754912"/>
                  <a:gd name="connsiteY611" fmla="*/ 2298700 h 2476500"/>
                  <a:gd name="connsiteX612" fmla="*/ 68334 w 1754912"/>
                  <a:gd name="connsiteY612" fmla="*/ 2297113 h 2476500"/>
                  <a:gd name="connsiteX613" fmla="*/ 66747 w 1754912"/>
                  <a:gd name="connsiteY613" fmla="*/ 2292350 h 2476500"/>
                  <a:gd name="connsiteX614" fmla="*/ 61984 w 1754912"/>
                  <a:gd name="connsiteY614" fmla="*/ 2287588 h 2476500"/>
                  <a:gd name="connsiteX615" fmla="*/ 58809 w 1754912"/>
                  <a:gd name="connsiteY615" fmla="*/ 2266950 h 2476500"/>
                  <a:gd name="connsiteX616" fmla="*/ 69922 w 1754912"/>
                  <a:gd name="connsiteY616" fmla="*/ 2270125 h 2476500"/>
                  <a:gd name="connsiteX617" fmla="*/ 77859 w 1754912"/>
                  <a:gd name="connsiteY617" fmla="*/ 2273300 h 2476500"/>
                  <a:gd name="connsiteX618" fmla="*/ 79447 w 1754912"/>
                  <a:gd name="connsiteY618" fmla="*/ 2268538 h 2476500"/>
                  <a:gd name="connsiteX619" fmla="*/ 81034 w 1754912"/>
                  <a:gd name="connsiteY619" fmla="*/ 2259013 h 2476500"/>
                  <a:gd name="connsiteX620" fmla="*/ 93734 w 1754912"/>
                  <a:gd name="connsiteY620" fmla="*/ 2247900 h 2476500"/>
                  <a:gd name="connsiteX621" fmla="*/ 100084 w 1754912"/>
                  <a:gd name="connsiteY621" fmla="*/ 2244725 h 2476500"/>
                  <a:gd name="connsiteX622" fmla="*/ 104847 w 1754912"/>
                  <a:gd name="connsiteY622" fmla="*/ 2239963 h 2476500"/>
                  <a:gd name="connsiteX623" fmla="*/ 109609 w 1754912"/>
                  <a:gd name="connsiteY623" fmla="*/ 2236788 h 2476500"/>
                  <a:gd name="connsiteX624" fmla="*/ 85797 w 1754912"/>
                  <a:gd name="connsiteY624" fmla="*/ 2235200 h 2476500"/>
                  <a:gd name="connsiteX625" fmla="*/ 84209 w 1754912"/>
                  <a:gd name="connsiteY625" fmla="*/ 2239963 h 2476500"/>
                  <a:gd name="connsiteX626" fmla="*/ 71509 w 1754912"/>
                  <a:gd name="connsiteY626" fmla="*/ 2239963 h 2476500"/>
                  <a:gd name="connsiteX627" fmla="*/ 69922 w 1754912"/>
                  <a:gd name="connsiteY627" fmla="*/ 2235200 h 2476500"/>
                  <a:gd name="connsiteX628" fmla="*/ 77859 w 1754912"/>
                  <a:gd name="connsiteY628" fmla="*/ 2220913 h 2476500"/>
                  <a:gd name="connsiteX629" fmla="*/ 87384 w 1754912"/>
                  <a:gd name="connsiteY629" fmla="*/ 2214563 h 2476500"/>
                  <a:gd name="connsiteX630" fmla="*/ 98497 w 1754912"/>
                  <a:gd name="connsiteY630" fmla="*/ 2208213 h 2476500"/>
                  <a:gd name="connsiteX631" fmla="*/ 106434 w 1754912"/>
                  <a:gd name="connsiteY631" fmla="*/ 2198688 h 2476500"/>
                  <a:gd name="connsiteX632" fmla="*/ 108022 w 1754912"/>
                  <a:gd name="connsiteY632" fmla="*/ 2193925 h 2476500"/>
                  <a:gd name="connsiteX633" fmla="*/ 95322 w 1754912"/>
                  <a:gd name="connsiteY633" fmla="*/ 2205038 h 2476500"/>
                  <a:gd name="connsiteX634" fmla="*/ 87384 w 1754912"/>
                  <a:gd name="connsiteY634" fmla="*/ 2208213 h 2476500"/>
                  <a:gd name="connsiteX635" fmla="*/ 74684 w 1754912"/>
                  <a:gd name="connsiteY635" fmla="*/ 2206625 h 2476500"/>
                  <a:gd name="connsiteX636" fmla="*/ 63572 w 1754912"/>
                  <a:gd name="connsiteY636" fmla="*/ 2206625 h 2476500"/>
                  <a:gd name="connsiteX637" fmla="*/ 61984 w 1754912"/>
                  <a:gd name="connsiteY637" fmla="*/ 2212975 h 2476500"/>
                  <a:gd name="connsiteX638" fmla="*/ 54047 w 1754912"/>
                  <a:gd name="connsiteY638" fmla="*/ 2214563 h 2476500"/>
                  <a:gd name="connsiteX639" fmla="*/ 49284 w 1754912"/>
                  <a:gd name="connsiteY639" fmla="*/ 2217738 h 2476500"/>
                  <a:gd name="connsiteX640" fmla="*/ 44522 w 1754912"/>
                  <a:gd name="connsiteY640" fmla="*/ 2220913 h 2476500"/>
                  <a:gd name="connsiteX641" fmla="*/ 39759 w 1754912"/>
                  <a:gd name="connsiteY641" fmla="*/ 2225675 h 2476500"/>
                  <a:gd name="connsiteX642" fmla="*/ 31822 w 1754912"/>
                  <a:gd name="connsiteY642" fmla="*/ 2235200 h 2476500"/>
                  <a:gd name="connsiteX643" fmla="*/ 27059 w 1754912"/>
                  <a:gd name="connsiteY643" fmla="*/ 2232025 h 2476500"/>
                  <a:gd name="connsiteX644" fmla="*/ 20709 w 1754912"/>
                  <a:gd name="connsiteY644" fmla="*/ 2233613 h 2476500"/>
                  <a:gd name="connsiteX645" fmla="*/ 12772 w 1754912"/>
                  <a:gd name="connsiteY645" fmla="*/ 2227263 h 2476500"/>
                  <a:gd name="connsiteX646" fmla="*/ 6422 w 1754912"/>
                  <a:gd name="connsiteY646" fmla="*/ 2236788 h 2476500"/>
                  <a:gd name="connsiteX647" fmla="*/ 4834 w 1754912"/>
                  <a:gd name="connsiteY647" fmla="*/ 2230438 h 2476500"/>
                  <a:gd name="connsiteX648" fmla="*/ 8009 w 1754912"/>
                  <a:gd name="connsiteY648" fmla="*/ 2203450 h 2476500"/>
                  <a:gd name="connsiteX649" fmla="*/ 14359 w 1754912"/>
                  <a:gd name="connsiteY649" fmla="*/ 2201863 h 2476500"/>
                  <a:gd name="connsiteX650" fmla="*/ 15947 w 1754912"/>
                  <a:gd name="connsiteY650" fmla="*/ 2192338 h 2476500"/>
                  <a:gd name="connsiteX651" fmla="*/ 17534 w 1754912"/>
                  <a:gd name="connsiteY651" fmla="*/ 2179638 h 2476500"/>
                  <a:gd name="connsiteX652" fmla="*/ 30234 w 1754912"/>
                  <a:gd name="connsiteY652" fmla="*/ 2185988 h 2476500"/>
                  <a:gd name="connsiteX653" fmla="*/ 34997 w 1754912"/>
                  <a:gd name="connsiteY653" fmla="*/ 2176463 h 2476500"/>
                  <a:gd name="connsiteX654" fmla="*/ 38172 w 1754912"/>
                  <a:gd name="connsiteY654" fmla="*/ 2171700 h 2476500"/>
                  <a:gd name="connsiteX655" fmla="*/ 49284 w 1754912"/>
                  <a:gd name="connsiteY655" fmla="*/ 2174875 h 2476500"/>
                  <a:gd name="connsiteX656" fmla="*/ 57222 w 1754912"/>
                  <a:gd name="connsiteY656" fmla="*/ 2171700 h 2476500"/>
                  <a:gd name="connsiteX657" fmla="*/ 66747 w 1754912"/>
                  <a:gd name="connsiteY657" fmla="*/ 2163763 h 2476500"/>
                  <a:gd name="connsiteX658" fmla="*/ 68334 w 1754912"/>
                  <a:gd name="connsiteY658" fmla="*/ 2168525 h 2476500"/>
                  <a:gd name="connsiteX659" fmla="*/ 79447 w 1754912"/>
                  <a:gd name="connsiteY659" fmla="*/ 2160588 h 2476500"/>
                  <a:gd name="connsiteX660" fmla="*/ 82622 w 1754912"/>
                  <a:gd name="connsiteY660" fmla="*/ 2155825 h 2476500"/>
                  <a:gd name="connsiteX661" fmla="*/ 88972 w 1754912"/>
                  <a:gd name="connsiteY661" fmla="*/ 2154238 h 2476500"/>
                  <a:gd name="connsiteX662" fmla="*/ 95322 w 1754912"/>
                  <a:gd name="connsiteY662" fmla="*/ 2151063 h 2476500"/>
                  <a:gd name="connsiteX663" fmla="*/ 100084 w 1754912"/>
                  <a:gd name="connsiteY663" fmla="*/ 2147888 h 2476500"/>
                  <a:gd name="connsiteX664" fmla="*/ 76272 w 1754912"/>
                  <a:gd name="connsiteY664" fmla="*/ 2149475 h 2476500"/>
                  <a:gd name="connsiteX665" fmla="*/ 61984 w 1754912"/>
                  <a:gd name="connsiteY665" fmla="*/ 2147888 h 2476500"/>
                  <a:gd name="connsiteX666" fmla="*/ 52459 w 1754912"/>
                  <a:gd name="connsiteY666" fmla="*/ 2149475 h 2476500"/>
                  <a:gd name="connsiteX667" fmla="*/ 55634 w 1754912"/>
                  <a:gd name="connsiteY667" fmla="*/ 2139950 h 2476500"/>
                  <a:gd name="connsiteX668" fmla="*/ 58809 w 1754912"/>
                  <a:gd name="connsiteY668" fmla="*/ 2133600 h 2476500"/>
                  <a:gd name="connsiteX669" fmla="*/ 65159 w 1754912"/>
                  <a:gd name="connsiteY669" fmla="*/ 2116138 h 2476500"/>
                  <a:gd name="connsiteX670" fmla="*/ 71509 w 1754912"/>
                  <a:gd name="connsiteY670" fmla="*/ 2109788 h 2476500"/>
                  <a:gd name="connsiteX671" fmla="*/ 81034 w 1754912"/>
                  <a:gd name="connsiteY671" fmla="*/ 2101850 h 2476500"/>
                  <a:gd name="connsiteX672" fmla="*/ 82622 w 1754912"/>
                  <a:gd name="connsiteY672" fmla="*/ 2097088 h 2476500"/>
                  <a:gd name="connsiteX673" fmla="*/ 84209 w 1754912"/>
                  <a:gd name="connsiteY673" fmla="*/ 2090738 h 2476500"/>
                  <a:gd name="connsiteX674" fmla="*/ 90559 w 1754912"/>
                  <a:gd name="connsiteY674" fmla="*/ 2087563 h 2476500"/>
                  <a:gd name="connsiteX675" fmla="*/ 96909 w 1754912"/>
                  <a:gd name="connsiteY675" fmla="*/ 2078038 h 2476500"/>
                  <a:gd name="connsiteX676" fmla="*/ 98497 w 1754912"/>
                  <a:gd name="connsiteY676" fmla="*/ 2071688 h 2476500"/>
                  <a:gd name="connsiteX677" fmla="*/ 103259 w 1754912"/>
                  <a:gd name="connsiteY677" fmla="*/ 2062163 h 2476500"/>
                  <a:gd name="connsiteX678" fmla="*/ 108022 w 1754912"/>
                  <a:gd name="connsiteY678" fmla="*/ 2058988 h 2476500"/>
                  <a:gd name="connsiteX679" fmla="*/ 115959 w 1754912"/>
                  <a:gd name="connsiteY679" fmla="*/ 2052638 h 2476500"/>
                  <a:gd name="connsiteX680" fmla="*/ 125484 w 1754912"/>
                  <a:gd name="connsiteY680" fmla="*/ 2055813 h 2476500"/>
                  <a:gd name="connsiteX681" fmla="*/ 127072 w 1754912"/>
                  <a:gd name="connsiteY681" fmla="*/ 2060575 h 2476500"/>
                  <a:gd name="connsiteX682" fmla="*/ 130247 w 1754912"/>
                  <a:gd name="connsiteY682" fmla="*/ 2089150 h 2476500"/>
                  <a:gd name="connsiteX683" fmla="*/ 131834 w 1754912"/>
                  <a:gd name="connsiteY683" fmla="*/ 2098675 h 2476500"/>
                  <a:gd name="connsiteX684" fmla="*/ 135009 w 1754912"/>
                  <a:gd name="connsiteY684" fmla="*/ 2051050 h 2476500"/>
                  <a:gd name="connsiteX685" fmla="*/ 139772 w 1754912"/>
                  <a:gd name="connsiteY685" fmla="*/ 2047875 h 2476500"/>
                  <a:gd name="connsiteX686" fmla="*/ 150884 w 1754912"/>
                  <a:gd name="connsiteY686" fmla="*/ 2036763 h 2476500"/>
                  <a:gd name="connsiteX687" fmla="*/ 155647 w 1754912"/>
                  <a:gd name="connsiteY687" fmla="*/ 2035175 h 2476500"/>
                  <a:gd name="connsiteX688" fmla="*/ 160409 w 1754912"/>
                  <a:gd name="connsiteY688" fmla="*/ 2032000 h 2476500"/>
                  <a:gd name="connsiteX689" fmla="*/ 171522 w 1754912"/>
                  <a:gd name="connsiteY689" fmla="*/ 2028825 h 2476500"/>
                  <a:gd name="connsiteX690" fmla="*/ 174697 w 1754912"/>
                  <a:gd name="connsiteY690" fmla="*/ 2020888 h 2476500"/>
                  <a:gd name="connsiteX691" fmla="*/ 161997 w 1754912"/>
                  <a:gd name="connsiteY691" fmla="*/ 2022475 h 2476500"/>
                  <a:gd name="connsiteX692" fmla="*/ 154059 w 1754912"/>
                  <a:gd name="connsiteY692" fmla="*/ 2025650 h 2476500"/>
                  <a:gd name="connsiteX693" fmla="*/ 146122 w 1754912"/>
                  <a:gd name="connsiteY693" fmla="*/ 2027238 h 2476500"/>
                  <a:gd name="connsiteX694" fmla="*/ 139772 w 1754912"/>
                  <a:gd name="connsiteY694" fmla="*/ 2028825 h 2476500"/>
                  <a:gd name="connsiteX695" fmla="*/ 133422 w 1754912"/>
                  <a:gd name="connsiteY695" fmla="*/ 2032000 h 2476500"/>
                  <a:gd name="connsiteX696" fmla="*/ 119134 w 1754912"/>
                  <a:gd name="connsiteY696" fmla="*/ 2035175 h 2476500"/>
                  <a:gd name="connsiteX697" fmla="*/ 96909 w 1754912"/>
                  <a:gd name="connsiteY697" fmla="*/ 2043113 h 2476500"/>
                  <a:gd name="connsiteX698" fmla="*/ 92147 w 1754912"/>
                  <a:gd name="connsiteY698" fmla="*/ 2054225 h 2476500"/>
                  <a:gd name="connsiteX699" fmla="*/ 87384 w 1754912"/>
                  <a:gd name="connsiteY699" fmla="*/ 2058988 h 2476500"/>
                  <a:gd name="connsiteX700" fmla="*/ 82622 w 1754912"/>
                  <a:gd name="connsiteY700" fmla="*/ 2073275 h 2476500"/>
                  <a:gd name="connsiteX701" fmla="*/ 79447 w 1754912"/>
                  <a:gd name="connsiteY701" fmla="*/ 2079625 h 2476500"/>
                  <a:gd name="connsiteX702" fmla="*/ 76272 w 1754912"/>
                  <a:gd name="connsiteY702" fmla="*/ 2087563 h 2476500"/>
                  <a:gd name="connsiteX703" fmla="*/ 46109 w 1754912"/>
                  <a:gd name="connsiteY703" fmla="*/ 2089150 h 2476500"/>
                  <a:gd name="connsiteX704" fmla="*/ 44522 w 1754912"/>
                  <a:gd name="connsiteY704" fmla="*/ 2095500 h 2476500"/>
                  <a:gd name="connsiteX705" fmla="*/ 38172 w 1754912"/>
                  <a:gd name="connsiteY705" fmla="*/ 2092325 h 2476500"/>
                  <a:gd name="connsiteX706" fmla="*/ 46109 w 1754912"/>
                  <a:gd name="connsiteY706" fmla="*/ 2073275 h 2476500"/>
                  <a:gd name="connsiteX707" fmla="*/ 47697 w 1754912"/>
                  <a:gd name="connsiteY707" fmla="*/ 2068513 h 2476500"/>
                  <a:gd name="connsiteX708" fmla="*/ 49284 w 1754912"/>
                  <a:gd name="connsiteY708" fmla="*/ 2054225 h 2476500"/>
                  <a:gd name="connsiteX709" fmla="*/ 55634 w 1754912"/>
                  <a:gd name="connsiteY709" fmla="*/ 2047875 h 2476500"/>
                  <a:gd name="connsiteX710" fmla="*/ 58809 w 1754912"/>
                  <a:gd name="connsiteY710" fmla="*/ 2043113 h 2476500"/>
                  <a:gd name="connsiteX711" fmla="*/ 44522 w 1754912"/>
                  <a:gd name="connsiteY711" fmla="*/ 2054225 h 2476500"/>
                  <a:gd name="connsiteX712" fmla="*/ 27059 w 1754912"/>
                  <a:gd name="connsiteY712" fmla="*/ 2073275 h 2476500"/>
                  <a:gd name="connsiteX713" fmla="*/ 22297 w 1754912"/>
                  <a:gd name="connsiteY713" fmla="*/ 2071688 h 2476500"/>
                  <a:gd name="connsiteX714" fmla="*/ 20709 w 1754912"/>
                  <a:gd name="connsiteY714" fmla="*/ 2065338 h 2476500"/>
                  <a:gd name="connsiteX715" fmla="*/ 25472 w 1754912"/>
                  <a:gd name="connsiteY715" fmla="*/ 2052638 h 2476500"/>
                  <a:gd name="connsiteX716" fmla="*/ 19122 w 1754912"/>
                  <a:gd name="connsiteY716" fmla="*/ 2049463 h 2476500"/>
                  <a:gd name="connsiteX717" fmla="*/ 12772 w 1754912"/>
                  <a:gd name="connsiteY717" fmla="*/ 2047875 h 2476500"/>
                  <a:gd name="connsiteX718" fmla="*/ 15947 w 1754912"/>
                  <a:gd name="connsiteY718" fmla="*/ 2043113 h 2476500"/>
                  <a:gd name="connsiteX719" fmla="*/ 14359 w 1754912"/>
                  <a:gd name="connsiteY719" fmla="*/ 2036763 h 2476500"/>
                  <a:gd name="connsiteX720" fmla="*/ 30234 w 1754912"/>
                  <a:gd name="connsiteY720" fmla="*/ 2025650 h 2476500"/>
                  <a:gd name="connsiteX721" fmla="*/ 39759 w 1754912"/>
                  <a:gd name="connsiteY721" fmla="*/ 2030413 h 2476500"/>
                  <a:gd name="connsiteX722" fmla="*/ 42934 w 1754912"/>
                  <a:gd name="connsiteY722" fmla="*/ 2035175 h 2476500"/>
                  <a:gd name="connsiteX723" fmla="*/ 50872 w 1754912"/>
                  <a:gd name="connsiteY723" fmla="*/ 2036763 h 2476500"/>
                  <a:gd name="connsiteX724" fmla="*/ 58809 w 1754912"/>
                  <a:gd name="connsiteY724" fmla="*/ 2030413 h 2476500"/>
                  <a:gd name="connsiteX725" fmla="*/ 58809 w 1754912"/>
                  <a:gd name="connsiteY725" fmla="*/ 2014538 h 2476500"/>
                  <a:gd name="connsiteX726" fmla="*/ 50872 w 1754912"/>
                  <a:gd name="connsiteY726" fmla="*/ 2016125 h 2476500"/>
                  <a:gd name="connsiteX727" fmla="*/ 46109 w 1754912"/>
                  <a:gd name="connsiteY727" fmla="*/ 2022475 h 2476500"/>
                  <a:gd name="connsiteX728" fmla="*/ 34997 w 1754912"/>
                  <a:gd name="connsiteY728" fmla="*/ 2020888 h 2476500"/>
                  <a:gd name="connsiteX729" fmla="*/ 31822 w 1754912"/>
                  <a:gd name="connsiteY729" fmla="*/ 2014538 h 2476500"/>
                  <a:gd name="connsiteX730" fmla="*/ 49284 w 1754912"/>
                  <a:gd name="connsiteY730" fmla="*/ 1997075 h 2476500"/>
                  <a:gd name="connsiteX731" fmla="*/ 60397 w 1754912"/>
                  <a:gd name="connsiteY731" fmla="*/ 1992313 h 2476500"/>
                  <a:gd name="connsiteX732" fmla="*/ 50872 w 1754912"/>
                  <a:gd name="connsiteY732" fmla="*/ 1984375 h 2476500"/>
                  <a:gd name="connsiteX733" fmla="*/ 38172 w 1754912"/>
                  <a:gd name="connsiteY733" fmla="*/ 1985963 h 2476500"/>
                  <a:gd name="connsiteX734" fmla="*/ 41347 w 1754912"/>
                  <a:gd name="connsiteY734" fmla="*/ 1979613 h 2476500"/>
                  <a:gd name="connsiteX735" fmla="*/ 46109 w 1754912"/>
                  <a:gd name="connsiteY735" fmla="*/ 1968500 h 2476500"/>
                  <a:gd name="connsiteX736" fmla="*/ 38172 w 1754912"/>
                  <a:gd name="connsiteY736" fmla="*/ 1966913 h 2476500"/>
                  <a:gd name="connsiteX737" fmla="*/ 31822 w 1754912"/>
                  <a:gd name="connsiteY737" fmla="*/ 1968500 h 2476500"/>
                  <a:gd name="connsiteX738" fmla="*/ 33409 w 1754912"/>
                  <a:gd name="connsiteY738" fmla="*/ 1963738 h 2476500"/>
                  <a:gd name="connsiteX739" fmla="*/ 42934 w 1754912"/>
                  <a:gd name="connsiteY739" fmla="*/ 1952625 h 2476500"/>
                  <a:gd name="connsiteX740" fmla="*/ 30234 w 1754912"/>
                  <a:gd name="connsiteY740" fmla="*/ 1954213 h 2476500"/>
                  <a:gd name="connsiteX741" fmla="*/ 8009 w 1754912"/>
                  <a:gd name="connsiteY741" fmla="*/ 1958975 h 2476500"/>
                  <a:gd name="connsiteX742" fmla="*/ 4834 w 1754912"/>
                  <a:gd name="connsiteY742" fmla="*/ 1954213 h 2476500"/>
                  <a:gd name="connsiteX743" fmla="*/ 8009 w 1754912"/>
                  <a:gd name="connsiteY743" fmla="*/ 1920875 h 2476500"/>
                  <a:gd name="connsiteX744" fmla="*/ 11184 w 1754912"/>
                  <a:gd name="connsiteY744" fmla="*/ 1916113 h 2476500"/>
                  <a:gd name="connsiteX745" fmla="*/ 15947 w 1754912"/>
                  <a:gd name="connsiteY745" fmla="*/ 1914525 h 2476500"/>
                  <a:gd name="connsiteX746" fmla="*/ 20709 w 1754912"/>
                  <a:gd name="connsiteY746" fmla="*/ 1916113 h 2476500"/>
                  <a:gd name="connsiteX747" fmla="*/ 25472 w 1754912"/>
                  <a:gd name="connsiteY747" fmla="*/ 1919288 h 2476500"/>
                  <a:gd name="connsiteX748" fmla="*/ 34997 w 1754912"/>
                  <a:gd name="connsiteY748" fmla="*/ 1917700 h 2476500"/>
                  <a:gd name="connsiteX749" fmla="*/ 39759 w 1754912"/>
                  <a:gd name="connsiteY749" fmla="*/ 1914525 h 2476500"/>
                  <a:gd name="connsiteX750" fmla="*/ 49284 w 1754912"/>
                  <a:gd name="connsiteY750" fmla="*/ 1912938 h 2476500"/>
                  <a:gd name="connsiteX751" fmla="*/ 54047 w 1754912"/>
                  <a:gd name="connsiteY751" fmla="*/ 1911747 h 2476500"/>
                  <a:gd name="connsiteX752" fmla="*/ 58077 w 1754912"/>
                  <a:gd name="connsiteY752" fmla="*/ 1911839 h 2476500"/>
                  <a:gd name="connsiteX753" fmla="*/ 63572 w 1754912"/>
                  <a:gd name="connsiteY753" fmla="*/ 1912938 h 2476500"/>
                  <a:gd name="connsiteX754" fmla="*/ 66308 w 1754912"/>
                  <a:gd name="connsiteY754" fmla="*/ 1912026 h 2476500"/>
                  <a:gd name="connsiteX755" fmla="*/ 69847 w 1754912"/>
                  <a:gd name="connsiteY755" fmla="*/ 1912106 h 2476500"/>
                  <a:gd name="connsiteX756" fmla="*/ 74684 w 1754912"/>
                  <a:gd name="connsiteY756" fmla="*/ 1914525 h 2476500"/>
                  <a:gd name="connsiteX757" fmla="*/ 76272 w 1754912"/>
                  <a:gd name="connsiteY757" fmla="*/ 1922463 h 2476500"/>
                  <a:gd name="connsiteX758" fmla="*/ 81034 w 1754912"/>
                  <a:gd name="connsiteY758" fmla="*/ 1919288 h 2476500"/>
                  <a:gd name="connsiteX759" fmla="*/ 82622 w 1754912"/>
                  <a:gd name="connsiteY759" fmla="*/ 1914525 h 2476500"/>
                  <a:gd name="connsiteX760" fmla="*/ 84703 w 1754912"/>
                  <a:gd name="connsiteY760" fmla="*/ 1912444 h 2476500"/>
                  <a:gd name="connsiteX761" fmla="*/ 91336 w 1754912"/>
                  <a:gd name="connsiteY761" fmla="*/ 1912595 h 2476500"/>
                  <a:gd name="connsiteX762" fmla="*/ 90357 w 1754912"/>
                  <a:gd name="connsiteY762" fmla="*/ 1913487 h 2476500"/>
                  <a:gd name="connsiteX763" fmla="*/ 95322 w 1754912"/>
                  <a:gd name="connsiteY763" fmla="*/ 1920875 h 2476500"/>
                  <a:gd name="connsiteX764" fmla="*/ 104847 w 1754912"/>
                  <a:gd name="connsiteY764" fmla="*/ 1922463 h 2476500"/>
                  <a:gd name="connsiteX765" fmla="*/ 109609 w 1754912"/>
                  <a:gd name="connsiteY765" fmla="*/ 1925638 h 2476500"/>
                  <a:gd name="connsiteX766" fmla="*/ 114372 w 1754912"/>
                  <a:gd name="connsiteY766" fmla="*/ 1931988 h 2476500"/>
                  <a:gd name="connsiteX767" fmla="*/ 119134 w 1754912"/>
                  <a:gd name="connsiteY767" fmla="*/ 1930400 h 2476500"/>
                  <a:gd name="connsiteX768" fmla="*/ 136597 w 1754912"/>
                  <a:gd name="connsiteY768" fmla="*/ 1925638 h 2476500"/>
                  <a:gd name="connsiteX769" fmla="*/ 141359 w 1754912"/>
                  <a:gd name="connsiteY769" fmla="*/ 1919288 h 2476500"/>
                  <a:gd name="connsiteX770" fmla="*/ 142947 w 1754912"/>
                  <a:gd name="connsiteY770" fmla="*/ 1912938 h 2476500"/>
                  <a:gd name="connsiteX771" fmla="*/ 147709 w 1754912"/>
                  <a:gd name="connsiteY771" fmla="*/ 1909763 h 2476500"/>
                  <a:gd name="connsiteX772" fmla="*/ 149297 w 1754912"/>
                  <a:gd name="connsiteY772" fmla="*/ 1914525 h 2476500"/>
                  <a:gd name="connsiteX773" fmla="*/ 150884 w 1754912"/>
                  <a:gd name="connsiteY773" fmla="*/ 1924050 h 2476500"/>
                  <a:gd name="connsiteX774" fmla="*/ 157234 w 1754912"/>
                  <a:gd name="connsiteY774" fmla="*/ 1930400 h 2476500"/>
                  <a:gd name="connsiteX775" fmla="*/ 158822 w 1754912"/>
                  <a:gd name="connsiteY775" fmla="*/ 1935163 h 2476500"/>
                  <a:gd name="connsiteX776" fmla="*/ 161997 w 1754912"/>
                  <a:gd name="connsiteY776" fmla="*/ 1939925 h 2476500"/>
                  <a:gd name="connsiteX777" fmla="*/ 165172 w 1754912"/>
                  <a:gd name="connsiteY777" fmla="*/ 1951038 h 2476500"/>
                  <a:gd name="connsiteX778" fmla="*/ 171522 w 1754912"/>
                  <a:gd name="connsiteY778" fmla="*/ 1960563 h 2476500"/>
                  <a:gd name="connsiteX779" fmla="*/ 171522 w 1754912"/>
                  <a:gd name="connsiteY779" fmla="*/ 1963738 h 2476500"/>
                  <a:gd name="connsiteX780" fmla="*/ 174697 w 1754912"/>
                  <a:gd name="connsiteY780" fmla="*/ 1957388 h 2476500"/>
                  <a:gd name="connsiteX781" fmla="*/ 181047 w 1754912"/>
                  <a:gd name="connsiteY781" fmla="*/ 1955800 h 2476500"/>
                  <a:gd name="connsiteX782" fmla="*/ 193747 w 1754912"/>
                  <a:gd name="connsiteY782" fmla="*/ 1955800 h 2476500"/>
                  <a:gd name="connsiteX783" fmla="*/ 187397 w 1754912"/>
                  <a:gd name="connsiteY783" fmla="*/ 1952625 h 2476500"/>
                  <a:gd name="connsiteX784" fmla="*/ 176284 w 1754912"/>
                  <a:gd name="connsiteY784" fmla="*/ 1941513 h 2476500"/>
                  <a:gd name="connsiteX785" fmla="*/ 174697 w 1754912"/>
                  <a:gd name="connsiteY785" fmla="*/ 1935163 h 2476500"/>
                  <a:gd name="connsiteX786" fmla="*/ 169934 w 1754912"/>
                  <a:gd name="connsiteY786" fmla="*/ 1931988 h 2476500"/>
                  <a:gd name="connsiteX787" fmla="*/ 166759 w 1754912"/>
                  <a:gd name="connsiteY787" fmla="*/ 1927225 h 2476500"/>
                  <a:gd name="connsiteX788" fmla="*/ 169934 w 1754912"/>
                  <a:gd name="connsiteY788" fmla="*/ 1917700 h 2476500"/>
                  <a:gd name="connsiteX789" fmla="*/ 188984 w 1754912"/>
                  <a:gd name="connsiteY789" fmla="*/ 1924050 h 2476500"/>
                  <a:gd name="connsiteX790" fmla="*/ 198509 w 1754912"/>
                  <a:gd name="connsiteY790" fmla="*/ 1922463 h 2476500"/>
                  <a:gd name="connsiteX791" fmla="*/ 201684 w 1754912"/>
                  <a:gd name="connsiteY791" fmla="*/ 1909763 h 2476500"/>
                  <a:gd name="connsiteX792" fmla="*/ 204859 w 1754912"/>
                  <a:gd name="connsiteY792" fmla="*/ 1905000 h 2476500"/>
                  <a:gd name="connsiteX793" fmla="*/ 205654 w 1754912"/>
                  <a:gd name="connsiteY793" fmla="*/ 1896263 h 2476500"/>
                  <a:gd name="connsiteX794" fmla="*/ 213721 w 1754912"/>
                  <a:gd name="connsiteY794" fmla="*/ 1888139 h 2476500"/>
                  <a:gd name="connsiteX795" fmla="*/ 212797 w 1754912"/>
                  <a:gd name="connsiteY795" fmla="*/ 1865313 h 2476500"/>
                  <a:gd name="connsiteX796" fmla="*/ 211209 w 1754912"/>
                  <a:gd name="connsiteY796" fmla="*/ 1884363 h 2476500"/>
                  <a:gd name="connsiteX797" fmla="*/ 206447 w 1754912"/>
                  <a:gd name="connsiteY797" fmla="*/ 1887538 h 2476500"/>
                  <a:gd name="connsiteX798" fmla="*/ 205654 w 1754912"/>
                  <a:gd name="connsiteY798" fmla="*/ 1896263 h 2476500"/>
                  <a:gd name="connsiteX799" fmla="*/ 204859 w 1754912"/>
                  <a:gd name="connsiteY799" fmla="*/ 1897063 h 2476500"/>
                  <a:gd name="connsiteX800" fmla="*/ 198509 w 1754912"/>
                  <a:gd name="connsiteY800" fmla="*/ 1908175 h 2476500"/>
                  <a:gd name="connsiteX801" fmla="*/ 182634 w 1754912"/>
                  <a:gd name="connsiteY801" fmla="*/ 1911350 h 2476500"/>
                  <a:gd name="connsiteX802" fmla="*/ 161997 w 1754912"/>
                  <a:gd name="connsiteY802" fmla="*/ 1914525 h 2476500"/>
                  <a:gd name="connsiteX803" fmla="*/ 158822 w 1754912"/>
                  <a:gd name="connsiteY803" fmla="*/ 1909763 h 2476500"/>
                  <a:gd name="connsiteX804" fmla="*/ 146122 w 1754912"/>
                  <a:gd name="connsiteY804" fmla="*/ 1908175 h 2476500"/>
                  <a:gd name="connsiteX805" fmla="*/ 142947 w 1754912"/>
                  <a:gd name="connsiteY805" fmla="*/ 1900238 h 2476500"/>
                  <a:gd name="connsiteX806" fmla="*/ 145179 w 1754912"/>
                  <a:gd name="connsiteY806" fmla="*/ 1890564 h 2476500"/>
                  <a:gd name="connsiteX807" fmla="*/ 150884 w 1754912"/>
                  <a:gd name="connsiteY807" fmla="*/ 1878013 h 2476500"/>
                  <a:gd name="connsiteX808" fmla="*/ 152119 w 1754912"/>
                  <a:gd name="connsiteY808" fmla="*/ 1874309 h 2476500"/>
                  <a:gd name="connsiteX809" fmla="*/ 155647 w 1754912"/>
                  <a:gd name="connsiteY809" fmla="*/ 1870075 h 2476500"/>
                  <a:gd name="connsiteX810" fmla="*/ 157234 w 1754912"/>
                  <a:gd name="connsiteY810" fmla="*/ 1863725 h 2476500"/>
                  <a:gd name="connsiteX811" fmla="*/ 154059 w 1754912"/>
                  <a:gd name="connsiteY811" fmla="*/ 1868488 h 2476500"/>
                  <a:gd name="connsiteX812" fmla="*/ 152119 w 1754912"/>
                  <a:gd name="connsiteY812" fmla="*/ 1874309 h 2476500"/>
                  <a:gd name="connsiteX813" fmla="*/ 147709 w 1754912"/>
                  <a:gd name="connsiteY813" fmla="*/ 1879600 h 2476500"/>
                  <a:gd name="connsiteX814" fmla="*/ 145179 w 1754912"/>
                  <a:gd name="connsiteY814" fmla="*/ 1890564 h 2476500"/>
                  <a:gd name="connsiteX815" fmla="*/ 142947 w 1754912"/>
                  <a:gd name="connsiteY815" fmla="*/ 1895475 h 2476500"/>
                  <a:gd name="connsiteX816" fmla="*/ 135009 w 1754912"/>
                  <a:gd name="connsiteY816" fmla="*/ 1914525 h 2476500"/>
                  <a:gd name="connsiteX817" fmla="*/ 125484 w 1754912"/>
                  <a:gd name="connsiteY817" fmla="*/ 1922463 h 2476500"/>
                  <a:gd name="connsiteX818" fmla="*/ 119134 w 1754912"/>
                  <a:gd name="connsiteY818" fmla="*/ 1919288 h 2476500"/>
                  <a:gd name="connsiteX819" fmla="*/ 111197 w 1754912"/>
                  <a:gd name="connsiteY819" fmla="*/ 1914525 h 2476500"/>
                  <a:gd name="connsiteX820" fmla="*/ 106434 w 1754912"/>
                  <a:gd name="connsiteY820" fmla="*/ 1912938 h 2476500"/>
                  <a:gd name="connsiteX821" fmla="*/ 91336 w 1754912"/>
                  <a:gd name="connsiteY821" fmla="*/ 1912595 h 2476500"/>
                  <a:gd name="connsiteX822" fmla="*/ 92608 w 1754912"/>
                  <a:gd name="connsiteY822" fmla="*/ 1911436 h 2476500"/>
                  <a:gd name="connsiteX823" fmla="*/ 87384 w 1754912"/>
                  <a:gd name="connsiteY823" fmla="*/ 1909763 h 2476500"/>
                  <a:gd name="connsiteX824" fmla="*/ 84703 w 1754912"/>
                  <a:gd name="connsiteY824" fmla="*/ 1912444 h 2476500"/>
                  <a:gd name="connsiteX825" fmla="*/ 69847 w 1754912"/>
                  <a:gd name="connsiteY825" fmla="*/ 1912106 h 2476500"/>
                  <a:gd name="connsiteX826" fmla="*/ 68334 w 1754912"/>
                  <a:gd name="connsiteY826" fmla="*/ 1911350 h 2476500"/>
                  <a:gd name="connsiteX827" fmla="*/ 66308 w 1754912"/>
                  <a:gd name="connsiteY827" fmla="*/ 1912026 h 2476500"/>
                  <a:gd name="connsiteX828" fmla="*/ 58077 w 1754912"/>
                  <a:gd name="connsiteY828" fmla="*/ 1911839 h 2476500"/>
                  <a:gd name="connsiteX829" fmla="*/ 55634 w 1754912"/>
                  <a:gd name="connsiteY829" fmla="*/ 1911350 h 2476500"/>
                  <a:gd name="connsiteX830" fmla="*/ 54047 w 1754912"/>
                  <a:gd name="connsiteY830" fmla="*/ 1911747 h 2476500"/>
                  <a:gd name="connsiteX831" fmla="*/ 36584 w 1754912"/>
                  <a:gd name="connsiteY831" fmla="*/ 1911350 h 2476500"/>
                  <a:gd name="connsiteX832" fmla="*/ 30234 w 1754912"/>
                  <a:gd name="connsiteY832" fmla="*/ 1909763 h 2476500"/>
                  <a:gd name="connsiteX833" fmla="*/ 20709 w 1754912"/>
                  <a:gd name="connsiteY833" fmla="*/ 1909763 h 2476500"/>
                  <a:gd name="connsiteX834" fmla="*/ 15947 w 1754912"/>
                  <a:gd name="connsiteY834" fmla="*/ 1905000 h 2476500"/>
                  <a:gd name="connsiteX835" fmla="*/ 8009 w 1754912"/>
                  <a:gd name="connsiteY835" fmla="*/ 1905000 h 2476500"/>
                  <a:gd name="connsiteX836" fmla="*/ 12772 w 1754912"/>
                  <a:gd name="connsiteY836" fmla="*/ 1893888 h 2476500"/>
                  <a:gd name="connsiteX837" fmla="*/ 19122 w 1754912"/>
                  <a:gd name="connsiteY837" fmla="*/ 1881188 h 2476500"/>
                  <a:gd name="connsiteX838" fmla="*/ 20709 w 1754912"/>
                  <a:gd name="connsiteY838" fmla="*/ 1876425 h 2476500"/>
                  <a:gd name="connsiteX839" fmla="*/ 22297 w 1754912"/>
                  <a:gd name="connsiteY839" fmla="*/ 1863725 h 2476500"/>
                  <a:gd name="connsiteX840" fmla="*/ 27059 w 1754912"/>
                  <a:gd name="connsiteY840" fmla="*/ 1858963 h 2476500"/>
                  <a:gd name="connsiteX841" fmla="*/ 31822 w 1754912"/>
                  <a:gd name="connsiteY841" fmla="*/ 1862138 h 2476500"/>
                  <a:gd name="connsiteX842" fmla="*/ 39759 w 1754912"/>
                  <a:gd name="connsiteY842" fmla="*/ 1865313 h 2476500"/>
                  <a:gd name="connsiteX843" fmla="*/ 50872 w 1754912"/>
                  <a:gd name="connsiteY843" fmla="*/ 1870075 h 2476500"/>
                  <a:gd name="connsiteX844" fmla="*/ 71509 w 1754912"/>
                  <a:gd name="connsiteY844" fmla="*/ 1857375 h 2476500"/>
                  <a:gd name="connsiteX845" fmla="*/ 76272 w 1754912"/>
                  <a:gd name="connsiteY845" fmla="*/ 1855788 h 2476500"/>
                  <a:gd name="connsiteX846" fmla="*/ 52459 w 1754912"/>
                  <a:gd name="connsiteY846" fmla="*/ 1855788 h 2476500"/>
                  <a:gd name="connsiteX847" fmla="*/ 44522 w 1754912"/>
                  <a:gd name="connsiteY847" fmla="*/ 1852613 h 2476500"/>
                  <a:gd name="connsiteX848" fmla="*/ 38172 w 1754912"/>
                  <a:gd name="connsiteY848" fmla="*/ 1838325 h 2476500"/>
                  <a:gd name="connsiteX849" fmla="*/ 25472 w 1754912"/>
                  <a:gd name="connsiteY849" fmla="*/ 1831975 h 2476500"/>
                  <a:gd name="connsiteX850" fmla="*/ 27059 w 1754912"/>
                  <a:gd name="connsiteY850" fmla="*/ 1827213 h 2476500"/>
                  <a:gd name="connsiteX851" fmla="*/ 38172 w 1754912"/>
                  <a:gd name="connsiteY851" fmla="*/ 1817688 h 2476500"/>
                  <a:gd name="connsiteX852" fmla="*/ 34997 w 1754912"/>
                  <a:gd name="connsiteY852" fmla="*/ 1812925 h 2476500"/>
                  <a:gd name="connsiteX853" fmla="*/ 31822 w 1754912"/>
                  <a:gd name="connsiteY853" fmla="*/ 1806575 h 2476500"/>
                  <a:gd name="connsiteX854" fmla="*/ 23884 w 1754912"/>
                  <a:gd name="connsiteY854" fmla="*/ 1808163 h 2476500"/>
                  <a:gd name="connsiteX855" fmla="*/ 17534 w 1754912"/>
                  <a:gd name="connsiteY855" fmla="*/ 1811338 h 2476500"/>
                  <a:gd name="connsiteX856" fmla="*/ 25472 w 1754912"/>
                  <a:gd name="connsiteY856" fmla="*/ 1798638 h 2476500"/>
                  <a:gd name="connsiteX857" fmla="*/ 20709 w 1754912"/>
                  <a:gd name="connsiteY857" fmla="*/ 1790700 h 2476500"/>
                  <a:gd name="connsiteX858" fmla="*/ 17534 w 1754912"/>
                  <a:gd name="connsiteY858" fmla="*/ 1785938 h 2476500"/>
                  <a:gd name="connsiteX859" fmla="*/ 19122 w 1754912"/>
                  <a:gd name="connsiteY859" fmla="*/ 1781175 h 2476500"/>
                  <a:gd name="connsiteX860" fmla="*/ 20709 w 1754912"/>
                  <a:gd name="connsiteY860" fmla="*/ 1770063 h 2476500"/>
                  <a:gd name="connsiteX861" fmla="*/ 23884 w 1754912"/>
                  <a:gd name="connsiteY861" fmla="*/ 1776413 h 2476500"/>
                  <a:gd name="connsiteX862" fmla="*/ 33409 w 1754912"/>
                  <a:gd name="connsiteY862" fmla="*/ 1782763 h 2476500"/>
                  <a:gd name="connsiteX863" fmla="*/ 41347 w 1754912"/>
                  <a:gd name="connsiteY863" fmla="*/ 1762125 h 2476500"/>
                  <a:gd name="connsiteX864" fmla="*/ 47697 w 1754912"/>
                  <a:gd name="connsiteY864" fmla="*/ 1763713 h 2476500"/>
                  <a:gd name="connsiteX865" fmla="*/ 55634 w 1754912"/>
                  <a:gd name="connsiteY865" fmla="*/ 1766888 h 2476500"/>
                  <a:gd name="connsiteX866" fmla="*/ 60397 w 1754912"/>
                  <a:gd name="connsiteY866" fmla="*/ 1763713 h 2476500"/>
                  <a:gd name="connsiteX867" fmla="*/ 63822 w 1754912"/>
                  <a:gd name="connsiteY867" fmla="*/ 1764461 h 2476500"/>
                  <a:gd name="connsiteX868" fmla="*/ 65159 w 1754912"/>
                  <a:gd name="connsiteY868" fmla="*/ 1773238 h 2476500"/>
                  <a:gd name="connsiteX869" fmla="*/ 73357 w 1754912"/>
                  <a:gd name="connsiteY869" fmla="*/ 1774356 h 2476500"/>
                  <a:gd name="connsiteX870" fmla="*/ 76272 w 1754912"/>
                  <a:gd name="connsiteY870" fmla="*/ 1778000 h 2476500"/>
                  <a:gd name="connsiteX871" fmla="*/ 85797 w 1754912"/>
                  <a:gd name="connsiteY871" fmla="*/ 1781175 h 2476500"/>
                  <a:gd name="connsiteX872" fmla="*/ 90559 w 1754912"/>
                  <a:gd name="connsiteY872" fmla="*/ 1782763 h 2476500"/>
                  <a:gd name="connsiteX873" fmla="*/ 103259 w 1754912"/>
                  <a:gd name="connsiteY873" fmla="*/ 1781175 h 2476500"/>
                  <a:gd name="connsiteX874" fmla="*/ 104847 w 1754912"/>
                  <a:gd name="connsiteY874" fmla="*/ 1785938 h 2476500"/>
                  <a:gd name="connsiteX875" fmla="*/ 109609 w 1754912"/>
                  <a:gd name="connsiteY875" fmla="*/ 1789113 h 2476500"/>
                  <a:gd name="connsiteX876" fmla="*/ 106434 w 1754912"/>
                  <a:gd name="connsiteY876" fmla="*/ 1800225 h 2476500"/>
                  <a:gd name="connsiteX877" fmla="*/ 111197 w 1754912"/>
                  <a:gd name="connsiteY877" fmla="*/ 1792288 h 2476500"/>
                  <a:gd name="connsiteX878" fmla="*/ 117547 w 1754912"/>
                  <a:gd name="connsiteY878" fmla="*/ 1793875 h 2476500"/>
                  <a:gd name="connsiteX879" fmla="*/ 123897 w 1754912"/>
                  <a:gd name="connsiteY879" fmla="*/ 1797050 h 2476500"/>
                  <a:gd name="connsiteX880" fmla="*/ 125484 w 1754912"/>
                  <a:gd name="connsiteY880" fmla="*/ 1789113 h 2476500"/>
                  <a:gd name="connsiteX881" fmla="*/ 135009 w 1754912"/>
                  <a:gd name="connsiteY881" fmla="*/ 1793875 h 2476500"/>
                  <a:gd name="connsiteX882" fmla="*/ 142947 w 1754912"/>
                  <a:gd name="connsiteY882" fmla="*/ 1792288 h 2476500"/>
                  <a:gd name="connsiteX883" fmla="*/ 147709 w 1754912"/>
                  <a:gd name="connsiteY883" fmla="*/ 1787525 h 2476500"/>
                  <a:gd name="connsiteX884" fmla="*/ 152472 w 1754912"/>
                  <a:gd name="connsiteY884" fmla="*/ 1778000 h 2476500"/>
                  <a:gd name="connsiteX885" fmla="*/ 160409 w 1754912"/>
                  <a:gd name="connsiteY885" fmla="*/ 1773238 h 2476500"/>
                  <a:gd name="connsiteX886" fmla="*/ 165172 w 1754912"/>
                  <a:gd name="connsiteY886" fmla="*/ 1771650 h 2476500"/>
                  <a:gd name="connsiteX887" fmla="*/ 149297 w 1754912"/>
                  <a:gd name="connsiteY887" fmla="*/ 1776413 h 2476500"/>
                  <a:gd name="connsiteX888" fmla="*/ 142947 w 1754912"/>
                  <a:gd name="connsiteY888" fmla="*/ 1778000 h 2476500"/>
                  <a:gd name="connsiteX889" fmla="*/ 135009 w 1754912"/>
                  <a:gd name="connsiteY889" fmla="*/ 1781175 h 2476500"/>
                  <a:gd name="connsiteX890" fmla="*/ 122309 w 1754912"/>
                  <a:gd name="connsiteY890" fmla="*/ 1784350 h 2476500"/>
                  <a:gd name="connsiteX891" fmla="*/ 117547 w 1754912"/>
                  <a:gd name="connsiteY891" fmla="*/ 1785938 h 2476500"/>
                  <a:gd name="connsiteX892" fmla="*/ 112784 w 1754912"/>
                  <a:gd name="connsiteY892" fmla="*/ 1781175 h 2476500"/>
                  <a:gd name="connsiteX893" fmla="*/ 100084 w 1754912"/>
                  <a:gd name="connsiteY893" fmla="*/ 1778000 h 2476500"/>
                  <a:gd name="connsiteX894" fmla="*/ 73357 w 1754912"/>
                  <a:gd name="connsiteY894" fmla="*/ 1774356 h 2476500"/>
                  <a:gd name="connsiteX895" fmla="*/ 69922 w 1754912"/>
                  <a:gd name="connsiteY895" fmla="*/ 1770063 h 2476500"/>
                  <a:gd name="connsiteX896" fmla="*/ 66515 w 1754912"/>
                  <a:gd name="connsiteY896" fmla="*/ 1765049 h 2476500"/>
                  <a:gd name="connsiteX897" fmla="*/ 63822 w 1754912"/>
                  <a:gd name="connsiteY897" fmla="*/ 1764461 h 2476500"/>
                  <a:gd name="connsiteX898" fmla="*/ 63141 w 1754912"/>
                  <a:gd name="connsiteY898" fmla="*/ 1759987 h 2476500"/>
                  <a:gd name="connsiteX899" fmla="*/ 55634 w 1754912"/>
                  <a:gd name="connsiteY899" fmla="*/ 1757363 h 2476500"/>
                  <a:gd name="connsiteX900" fmla="*/ 50872 w 1754912"/>
                  <a:gd name="connsiteY900" fmla="*/ 1755775 h 2476500"/>
                  <a:gd name="connsiteX901" fmla="*/ 52459 w 1754912"/>
                  <a:gd name="connsiteY901" fmla="*/ 1747838 h 2476500"/>
                  <a:gd name="connsiteX902" fmla="*/ 57222 w 1754912"/>
                  <a:gd name="connsiteY902" fmla="*/ 1730375 h 2476500"/>
                  <a:gd name="connsiteX903" fmla="*/ 61984 w 1754912"/>
                  <a:gd name="connsiteY903" fmla="*/ 1728788 h 2476500"/>
                  <a:gd name="connsiteX904" fmla="*/ 66747 w 1754912"/>
                  <a:gd name="connsiteY904" fmla="*/ 1725613 h 2476500"/>
                  <a:gd name="connsiteX905" fmla="*/ 85858 w 1754912"/>
                  <a:gd name="connsiteY905" fmla="*/ 1728161 h 2476500"/>
                  <a:gd name="connsiteX906" fmla="*/ 85797 w 1754912"/>
                  <a:gd name="connsiteY906" fmla="*/ 1728788 h 2476500"/>
                  <a:gd name="connsiteX907" fmla="*/ 91858 w 1754912"/>
                  <a:gd name="connsiteY907" fmla="*/ 1729654 h 2476500"/>
                  <a:gd name="connsiteX908" fmla="*/ 95322 w 1754912"/>
                  <a:gd name="connsiteY908" fmla="*/ 1731963 h 2476500"/>
                  <a:gd name="connsiteX909" fmla="*/ 103259 w 1754912"/>
                  <a:gd name="connsiteY909" fmla="*/ 1733550 h 2476500"/>
                  <a:gd name="connsiteX910" fmla="*/ 115959 w 1754912"/>
                  <a:gd name="connsiteY910" fmla="*/ 1749425 h 2476500"/>
                  <a:gd name="connsiteX911" fmla="*/ 115959 w 1754912"/>
                  <a:gd name="connsiteY911" fmla="*/ 1733550 h 2476500"/>
                  <a:gd name="connsiteX912" fmla="*/ 108022 w 1754912"/>
                  <a:gd name="connsiteY912" fmla="*/ 1731963 h 2476500"/>
                  <a:gd name="connsiteX913" fmla="*/ 91858 w 1754912"/>
                  <a:gd name="connsiteY913" fmla="*/ 1729654 h 2476500"/>
                  <a:gd name="connsiteX914" fmla="*/ 90559 w 1754912"/>
                  <a:gd name="connsiteY914" fmla="*/ 1728788 h 2476500"/>
                  <a:gd name="connsiteX915" fmla="*/ 85858 w 1754912"/>
                  <a:gd name="connsiteY915" fmla="*/ 1728161 h 2476500"/>
                  <a:gd name="connsiteX916" fmla="*/ 87655 w 1754912"/>
                  <a:gd name="connsiteY916" fmla="*/ 1709614 h 2476500"/>
                  <a:gd name="connsiteX917" fmla="*/ 92147 w 1754912"/>
                  <a:gd name="connsiteY917" fmla="*/ 1695450 h 2476500"/>
                  <a:gd name="connsiteX918" fmla="*/ 95322 w 1754912"/>
                  <a:gd name="connsiteY918" fmla="*/ 1687513 h 2476500"/>
                  <a:gd name="connsiteX919" fmla="*/ 104847 w 1754912"/>
                  <a:gd name="connsiteY919" fmla="*/ 1685925 h 2476500"/>
                  <a:gd name="connsiteX920" fmla="*/ 114372 w 1754912"/>
                  <a:gd name="connsiteY920" fmla="*/ 1682750 h 2476500"/>
                  <a:gd name="connsiteX921" fmla="*/ 125484 w 1754912"/>
                  <a:gd name="connsiteY921" fmla="*/ 1689100 h 2476500"/>
                  <a:gd name="connsiteX922" fmla="*/ 131834 w 1754912"/>
                  <a:gd name="connsiteY922" fmla="*/ 1698625 h 2476500"/>
                  <a:gd name="connsiteX923" fmla="*/ 135009 w 1754912"/>
                  <a:gd name="connsiteY923" fmla="*/ 1704975 h 2476500"/>
                  <a:gd name="connsiteX924" fmla="*/ 141359 w 1754912"/>
                  <a:gd name="connsiteY924" fmla="*/ 1709738 h 2476500"/>
                  <a:gd name="connsiteX925" fmla="*/ 144534 w 1754912"/>
                  <a:gd name="connsiteY925" fmla="*/ 1716088 h 2476500"/>
                  <a:gd name="connsiteX926" fmla="*/ 146122 w 1754912"/>
                  <a:gd name="connsiteY926" fmla="*/ 1720850 h 2476500"/>
                  <a:gd name="connsiteX927" fmla="*/ 151386 w 1754912"/>
                  <a:gd name="connsiteY927" fmla="*/ 1724667 h 2476500"/>
                  <a:gd name="connsiteX928" fmla="*/ 152472 w 1754912"/>
                  <a:gd name="connsiteY928" fmla="*/ 1727200 h 2476500"/>
                  <a:gd name="connsiteX929" fmla="*/ 157234 w 1754912"/>
                  <a:gd name="connsiteY929" fmla="*/ 1731963 h 2476500"/>
                  <a:gd name="connsiteX930" fmla="*/ 155647 w 1754912"/>
                  <a:gd name="connsiteY930" fmla="*/ 1727200 h 2476500"/>
                  <a:gd name="connsiteX931" fmla="*/ 151896 w 1754912"/>
                  <a:gd name="connsiteY931" fmla="*/ 1725037 h 2476500"/>
                  <a:gd name="connsiteX932" fmla="*/ 151386 w 1754912"/>
                  <a:gd name="connsiteY932" fmla="*/ 1724667 h 2476500"/>
                  <a:gd name="connsiteX933" fmla="*/ 147709 w 1754912"/>
                  <a:gd name="connsiteY933" fmla="*/ 1716088 h 2476500"/>
                  <a:gd name="connsiteX934" fmla="*/ 142947 w 1754912"/>
                  <a:gd name="connsiteY934" fmla="*/ 1703388 h 2476500"/>
                  <a:gd name="connsiteX935" fmla="*/ 144534 w 1754912"/>
                  <a:gd name="connsiteY935" fmla="*/ 1692275 h 2476500"/>
                  <a:gd name="connsiteX936" fmla="*/ 154059 w 1754912"/>
                  <a:gd name="connsiteY936" fmla="*/ 1682750 h 2476500"/>
                  <a:gd name="connsiteX937" fmla="*/ 161997 w 1754912"/>
                  <a:gd name="connsiteY937" fmla="*/ 1687513 h 2476500"/>
                  <a:gd name="connsiteX938" fmla="*/ 181047 w 1754912"/>
                  <a:gd name="connsiteY938" fmla="*/ 1693863 h 2476500"/>
                  <a:gd name="connsiteX939" fmla="*/ 184222 w 1754912"/>
                  <a:gd name="connsiteY939" fmla="*/ 1731963 h 2476500"/>
                  <a:gd name="connsiteX940" fmla="*/ 187397 w 1754912"/>
                  <a:gd name="connsiteY940" fmla="*/ 1743075 h 2476500"/>
                  <a:gd name="connsiteX941" fmla="*/ 192159 w 1754912"/>
                  <a:gd name="connsiteY941" fmla="*/ 1720850 h 2476500"/>
                  <a:gd name="connsiteX942" fmla="*/ 200731 w 1754912"/>
                  <a:gd name="connsiteY942" fmla="*/ 1715135 h 2476500"/>
                  <a:gd name="connsiteX943" fmla="*/ 211209 w 1754912"/>
                  <a:gd name="connsiteY943" fmla="*/ 1716088 h 2476500"/>
                  <a:gd name="connsiteX944" fmla="*/ 201684 w 1754912"/>
                  <a:gd name="connsiteY944" fmla="*/ 1714500 h 2476500"/>
                  <a:gd name="connsiteX945" fmla="*/ 200731 w 1754912"/>
                  <a:gd name="connsiteY945" fmla="*/ 1715135 h 2476500"/>
                  <a:gd name="connsiteX946" fmla="*/ 193747 w 1754912"/>
                  <a:gd name="connsiteY946" fmla="*/ 1714500 h 2476500"/>
                  <a:gd name="connsiteX947" fmla="*/ 192159 w 1754912"/>
                  <a:gd name="connsiteY947" fmla="*/ 1708150 h 2476500"/>
                  <a:gd name="connsiteX948" fmla="*/ 185809 w 1754912"/>
                  <a:gd name="connsiteY948" fmla="*/ 1693863 h 2476500"/>
                  <a:gd name="connsiteX949" fmla="*/ 182634 w 1754912"/>
                  <a:gd name="connsiteY949" fmla="*/ 1685925 h 2476500"/>
                  <a:gd name="connsiteX950" fmla="*/ 177872 w 1754912"/>
                  <a:gd name="connsiteY950" fmla="*/ 1682750 h 2476500"/>
                  <a:gd name="connsiteX951" fmla="*/ 171522 w 1754912"/>
                  <a:gd name="connsiteY951" fmla="*/ 1677988 h 2476500"/>
                  <a:gd name="connsiteX952" fmla="*/ 139772 w 1754912"/>
                  <a:gd name="connsiteY952" fmla="*/ 1673225 h 2476500"/>
                  <a:gd name="connsiteX953" fmla="*/ 138184 w 1754912"/>
                  <a:gd name="connsiteY953" fmla="*/ 1665288 h 2476500"/>
                  <a:gd name="connsiteX954" fmla="*/ 144534 w 1754912"/>
                  <a:gd name="connsiteY954" fmla="*/ 1651000 h 2476500"/>
                  <a:gd name="connsiteX955" fmla="*/ 150884 w 1754912"/>
                  <a:gd name="connsiteY955" fmla="*/ 1649413 h 2476500"/>
                  <a:gd name="connsiteX956" fmla="*/ 158822 w 1754912"/>
                  <a:gd name="connsiteY956" fmla="*/ 1646238 h 2476500"/>
                  <a:gd name="connsiteX957" fmla="*/ 163584 w 1754912"/>
                  <a:gd name="connsiteY957" fmla="*/ 1644650 h 2476500"/>
                  <a:gd name="connsiteX958" fmla="*/ 169934 w 1754912"/>
                  <a:gd name="connsiteY958" fmla="*/ 1631950 h 2476500"/>
                  <a:gd name="connsiteX959" fmla="*/ 174697 w 1754912"/>
                  <a:gd name="connsiteY959" fmla="*/ 1630363 h 2476500"/>
                  <a:gd name="connsiteX960" fmla="*/ 192159 w 1754912"/>
                  <a:gd name="connsiteY960" fmla="*/ 1635125 h 2476500"/>
                  <a:gd name="connsiteX961" fmla="*/ 196922 w 1754912"/>
                  <a:gd name="connsiteY961" fmla="*/ 1639888 h 2476500"/>
                  <a:gd name="connsiteX962" fmla="*/ 204859 w 1754912"/>
                  <a:gd name="connsiteY962" fmla="*/ 1644650 h 2476500"/>
                  <a:gd name="connsiteX963" fmla="*/ 214384 w 1754912"/>
                  <a:gd name="connsiteY963" fmla="*/ 1647825 h 2476500"/>
                  <a:gd name="connsiteX964" fmla="*/ 219147 w 1754912"/>
                  <a:gd name="connsiteY964" fmla="*/ 1649413 h 2476500"/>
                  <a:gd name="connsiteX965" fmla="*/ 223909 w 1754912"/>
                  <a:gd name="connsiteY965" fmla="*/ 1658938 h 2476500"/>
                  <a:gd name="connsiteX966" fmla="*/ 246134 w 1754912"/>
                  <a:gd name="connsiteY966" fmla="*/ 1660525 h 2476500"/>
                  <a:gd name="connsiteX967" fmla="*/ 242959 w 1754912"/>
                  <a:gd name="connsiteY967" fmla="*/ 1654175 h 2476500"/>
                  <a:gd name="connsiteX968" fmla="*/ 238197 w 1754912"/>
                  <a:gd name="connsiteY968" fmla="*/ 1649413 h 2476500"/>
                  <a:gd name="connsiteX969" fmla="*/ 246134 w 1754912"/>
                  <a:gd name="connsiteY969" fmla="*/ 1625600 h 2476500"/>
                  <a:gd name="connsiteX970" fmla="*/ 252484 w 1754912"/>
                  <a:gd name="connsiteY970" fmla="*/ 1622425 h 2476500"/>
                  <a:gd name="connsiteX971" fmla="*/ 258834 w 1754912"/>
                  <a:gd name="connsiteY971" fmla="*/ 1627188 h 2476500"/>
                  <a:gd name="connsiteX972" fmla="*/ 271534 w 1754912"/>
                  <a:gd name="connsiteY972" fmla="*/ 1639888 h 2476500"/>
                  <a:gd name="connsiteX973" fmla="*/ 277884 w 1754912"/>
                  <a:gd name="connsiteY973" fmla="*/ 1641475 h 2476500"/>
                  <a:gd name="connsiteX974" fmla="*/ 284234 w 1754912"/>
                  <a:gd name="connsiteY974" fmla="*/ 1624013 h 2476500"/>
                  <a:gd name="connsiteX975" fmla="*/ 284967 w 1754912"/>
                  <a:gd name="connsiteY975" fmla="*/ 1623769 h 2476500"/>
                  <a:gd name="connsiteX976" fmla="*/ 288997 w 1754912"/>
                  <a:gd name="connsiteY976" fmla="*/ 1627188 h 2476500"/>
                  <a:gd name="connsiteX977" fmla="*/ 300109 w 1754912"/>
                  <a:gd name="connsiteY977" fmla="*/ 1631950 h 2476500"/>
                  <a:gd name="connsiteX978" fmla="*/ 308047 w 1754912"/>
                  <a:gd name="connsiteY978" fmla="*/ 1633538 h 2476500"/>
                  <a:gd name="connsiteX979" fmla="*/ 319159 w 1754912"/>
                  <a:gd name="connsiteY979" fmla="*/ 1631950 h 2476500"/>
                  <a:gd name="connsiteX980" fmla="*/ 314397 w 1754912"/>
                  <a:gd name="connsiteY980" fmla="*/ 1628775 h 2476500"/>
                  <a:gd name="connsiteX981" fmla="*/ 288997 w 1754912"/>
                  <a:gd name="connsiteY981" fmla="*/ 1622425 h 2476500"/>
                  <a:gd name="connsiteX982" fmla="*/ 284967 w 1754912"/>
                  <a:gd name="connsiteY982" fmla="*/ 1623769 h 2476500"/>
                  <a:gd name="connsiteX983" fmla="*/ 283600 w 1754912"/>
                  <a:gd name="connsiteY983" fmla="*/ 1622609 h 2476500"/>
                  <a:gd name="connsiteX984" fmla="*/ 277884 w 1754912"/>
                  <a:gd name="connsiteY984" fmla="*/ 1619250 h 2476500"/>
                  <a:gd name="connsiteX985" fmla="*/ 265184 w 1754912"/>
                  <a:gd name="connsiteY985" fmla="*/ 1622425 h 2476500"/>
                  <a:gd name="connsiteX986" fmla="*/ 242959 w 1754912"/>
                  <a:gd name="connsiteY986" fmla="*/ 1619250 h 2476500"/>
                  <a:gd name="connsiteX987" fmla="*/ 217559 w 1754912"/>
                  <a:gd name="connsiteY987" fmla="*/ 1622425 h 2476500"/>
                  <a:gd name="connsiteX988" fmla="*/ 204859 w 1754912"/>
                  <a:gd name="connsiteY988" fmla="*/ 1625600 h 2476500"/>
                  <a:gd name="connsiteX989" fmla="*/ 182634 w 1754912"/>
                  <a:gd name="connsiteY989" fmla="*/ 1627188 h 2476500"/>
                  <a:gd name="connsiteX990" fmla="*/ 188984 w 1754912"/>
                  <a:gd name="connsiteY990" fmla="*/ 1624013 h 2476500"/>
                  <a:gd name="connsiteX991" fmla="*/ 190572 w 1754912"/>
                  <a:gd name="connsiteY991" fmla="*/ 1617663 h 2476500"/>
                  <a:gd name="connsiteX992" fmla="*/ 192159 w 1754912"/>
                  <a:gd name="connsiteY992" fmla="*/ 1585913 h 2476500"/>
                  <a:gd name="connsiteX993" fmla="*/ 204859 w 1754912"/>
                  <a:gd name="connsiteY993" fmla="*/ 1577975 h 2476500"/>
                  <a:gd name="connsiteX994" fmla="*/ 215972 w 1754912"/>
                  <a:gd name="connsiteY994" fmla="*/ 1581150 h 2476500"/>
                  <a:gd name="connsiteX995" fmla="*/ 219147 w 1754912"/>
                  <a:gd name="connsiteY995" fmla="*/ 1587500 h 2476500"/>
                  <a:gd name="connsiteX996" fmla="*/ 223909 w 1754912"/>
                  <a:gd name="connsiteY996" fmla="*/ 1590675 h 2476500"/>
                  <a:gd name="connsiteX997" fmla="*/ 231847 w 1754912"/>
                  <a:gd name="connsiteY997" fmla="*/ 1589088 h 2476500"/>
                  <a:gd name="connsiteX998" fmla="*/ 255659 w 1754912"/>
                  <a:gd name="connsiteY998" fmla="*/ 1585913 h 2476500"/>
                  <a:gd name="connsiteX999" fmla="*/ 265184 w 1754912"/>
                  <a:gd name="connsiteY999" fmla="*/ 1587500 h 2476500"/>
                  <a:gd name="connsiteX1000" fmla="*/ 285822 w 1754912"/>
                  <a:gd name="connsiteY1000" fmla="*/ 1589088 h 2476500"/>
                  <a:gd name="connsiteX1001" fmla="*/ 288997 w 1754912"/>
                  <a:gd name="connsiteY1001" fmla="*/ 1598613 h 2476500"/>
                  <a:gd name="connsiteX1002" fmla="*/ 298522 w 1754912"/>
                  <a:gd name="connsiteY1002" fmla="*/ 1604963 h 2476500"/>
                  <a:gd name="connsiteX1003" fmla="*/ 319159 w 1754912"/>
                  <a:gd name="connsiteY1003" fmla="*/ 1603375 h 2476500"/>
                  <a:gd name="connsiteX1004" fmla="*/ 325509 w 1754912"/>
                  <a:gd name="connsiteY1004" fmla="*/ 1601788 h 2476500"/>
                  <a:gd name="connsiteX1005" fmla="*/ 306459 w 1754912"/>
                  <a:gd name="connsiteY1005" fmla="*/ 1600200 h 2476500"/>
                  <a:gd name="connsiteX1006" fmla="*/ 304872 w 1754912"/>
                  <a:gd name="connsiteY1006" fmla="*/ 1592263 h 2476500"/>
                  <a:gd name="connsiteX1007" fmla="*/ 300109 w 1754912"/>
                  <a:gd name="connsiteY1007" fmla="*/ 1589088 h 2476500"/>
                  <a:gd name="connsiteX1008" fmla="*/ 290584 w 1754912"/>
                  <a:gd name="connsiteY1008" fmla="*/ 1584325 h 2476500"/>
                  <a:gd name="connsiteX1009" fmla="*/ 263597 w 1754912"/>
                  <a:gd name="connsiteY1009" fmla="*/ 1577975 h 2476500"/>
                  <a:gd name="connsiteX1010" fmla="*/ 265184 w 1754912"/>
                  <a:gd name="connsiteY1010" fmla="*/ 1563688 h 2476500"/>
                  <a:gd name="connsiteX1011" fmla="*/ 293759 w 1754912"/>
                  <a:gd name="connsiteY1011" fmla="*/ 1570038 h 2476500"/>
                  <a:gd name="connsiteX1012" fmla="*/ 303284 w 1754912"/>
                  <a:gd name="connsiteY1012" fmla="*/ 1568450 h 2476500"/>
                  <a:gd name="connsiteX1013" fmla="*/ 311222 w 1754912"/>
                  <a:gd name="connsiteY1013" fmla="*/ 1566863 h 2476500"/>
                  <a:gd name="connsiteX1014" fmla="*/ 296934 w 1754912"/>
                  <a:gd name="connsiteY1014" fmla="*/ 1565275 h 2476500"/>
                  <a:gd name="connsiteX1015" fmla="*/ 298522 w 1754912"/>
                  <a:gd name="connsiteY1015" fmla="*/ 1549400 h 2476500"/>
                  <a:gd name="connsiteX1016" fmla="*/ 309634 w 1754912"/>
                  <a:gd name="connsiteY1016" fmla="*/ 1546225 h 2476500"/>
                  <a:gd name="connsiteX1017" fmla="*/ 339797 w 1754912"/>
                  <a:gd name="connsiteY1017" fmla="*/ 1544638 h 2476500"/>
                  <a:gd name="connsiteX1018" fmla="*/ 336622 w 1754912"/>
                  <a:gd name="connsiteY1018" fmla="*/ 1527175 h 2476500"/>
                  <a:gd name="connsiteX1019" fmla="*/ 342972 w 1754912"/>
                  <a:gd name="connsiteY1019" fmla="*/ 1522413 h 2476500"/>
                  <a:gd name="connsiteX1020" fmla="*/ 350909 w 1754912"/>
                  <a:gd name="connsiteY1020" fmla="*/ 1520825 h 2476500"/>
                  <a:gd name="connsiteX1021" fmla="*/ 355672 w 1754912"/>
                  <a:gd name="connsiteY1021" fmla="*/ 1519238 h 2476500"/>
                  <a:gd name="connsiteX1022" fmla="*/ 371547 w 1754912"/>
                  <a:gd name="connsiteY1022" fmla="*/ 1512888 h 2476500"/>
                  <a:gd name="connsiteX1023" fmla="*/ 384247 w 1754912"/>
                  <a:gd name="connsiteY1023" fmla="*/ 1524000 h 2476500"/>
                  <a:gd name="connsiteX1024" fmla="*/ 377897 w 1754912"/>
                  <a:gd name="connsiteY1024" fmla="*/ 1522413 h 2476500"/>
                  <a:gd name="connsiteX1025" fmla="*/ 379484 w 1754912"/>
                  <a:gd name="connsiteY1025" fmla="*/ 1508125 h 2476500"/>
                  <a:gd name="connsiteX1026" fmla="*/ 381072 w 1754912"/>
                  <a:gd name="connsiteY1026" fmla="*/ 1503363 h 2476500"/>
                  <a:gd name="connsiteX1027" fmla="*/ 382659 w 1754912"/>
                  <a:gd name="connsiteY1027" fmla="*/ 1490663 h 2476500"/>
                  <a:gd name="connsiteX1028" fmla="*/ 387422 w 1754912"/>
                  <a:gd name="connsiteY1028" fmla="*/ 1485900 h 2476500"/>
                  <a:gd name="connsiteX1029" fmla="*/ 395359 w 1754912"/>
                  <a:gd name="connsiteY1029" fmla="*/ 1484313 h 2476500"/>
                  <a:gd name="connsiteX1030" fmla="*/ 406472 w 1754912"/>
                  <a:gd name="connsiteY1030" fmla="*/ 1481138 h 2476500"/>
                  <a:gd name="connsiteX1031" fmla="*/ 422347 w 1754912"/>
                  <a:gd name="connsiteY1031" fmla="*/ 1479550 h 2476500"/>
                  <a:gd name="connsiteX1032" fmla="*/ 425522 w 1754912"/>
                  <a:gd name="connsiteY1032" fmla="*/ 1485900 h 2476500"/>
                  <a:gd name="connsiteX1033" fmla="*/ 426535 w 1754912"/>
                  <a:gd name="connsiteY1033" fmla="*/ 1486660 h 2476500"/>
                  <a:gd name="connsiteX1034" fmla="*/ 425656 w 1754912"/>
                  <a:gd name="connsiteY1034" fmla="*/ 1480532 h 2476500"/>
                  <a:gd name="connsiteX1035" fmla="*/ 427109 w 1754912"/>
                  <a:gd name="connsiteY1035" fmla="*/ 1470025 h 2476500"/>
                  <a:gd name="connsiteX1036" fmla="*/ 431872 w 1754912"/>
                  <a:gd name="connsiteY1036" fmla="*/ 1466850 h 2476500"/>
                  <a:gd name="connsiteX1037" fmla="*/ 436634 w 1754912"/>
                  <a:gd name="connsiteY1037" fmla="*/ 1460500 h 2476500"/>
                  <a:gd name="connsiteX1038" fmla="*/ 415997 w 1754912"/>
                  <a:gd name="connsiteY1038" fmla="*/ 1457325 h 2476500"/>
                  <a:gd name="connsiteX1039" fmla="*/ 412822 w 1754912"/>
                  <a:gd name="connsiteY1039" fmla="*/ 1447800 h 2476500"/>
                  <a:gd name="connsiteX1040" fmla="*/ 420759 w 1754912"/>
                  <a:gd name="connsiteY1040" fmla="*/ 1443038 h 2476500"/>
                  <a:gd name="connsiteX1041" fmla="*/ 411234 w 1754912"/>
                  <a:gd name="connsiteY1041" fmla="*/ 1441450 h 2476500"/>
                  <a:gd name="connsiteX1042" fmla="*/ 431872 w 1754912"/>
                  <a:gd name="connsiteY1042" fmla="*/ 1428750 h 2476500"/>
                  <a:gd name="connsiteX1043" fmla="*/ 436634 w 1754912"/>
                  <a:gd name="connsiteY1043" fmla="*/ 1425575 h 2476500"/>
                  <a:gd name="connsiteX1044" fmla="*/ 439809 w 1754912"/>
                  <a:gd name="connsiteY1044" fmla="*/ 1420813 h 2476500"/>
                  <a:gd name="connsiteX1045" fmla="*/ 446159 w 1754912"/>
                  <a:gd name="connsiteY1045" fmla="*/ 1416050 h 2476500"/>
                  <a:gd name="connsiteX1046" fmla="*/ 447747 w 1754912"/>
                  <a:gd name="connsiteY1046" fmla="*/ 1408113 h 2476500"/>
                  <a:gd name="connsiteX1047" fmla="*/ 449334 w 1754912"/>
                  <a:gd name="connsiteY1047" fmla="*/ 1401763 h 2476500"/>
                  <a:gd name="connsiteX1048" fmla="*/ 454097 w 1754912"/>
                  <a:gd name="connsiteY1048" fmla="*/ 1397000 h 2476500"/>
                  <a:gd name="connsiteX1049" fmla="*/ 455684 w 1754912"/>
                  <a:gd name="connsiteY1049" fmla="*/ 1390650 h 2476500"/>
                  <a:gd name="connsiteX1050" fmla="*/ 454097 w 1754912"/>
                  <a:gd name="connsiteY1050" fmla="*/ 1384300 h 2476500"/>
                  <a:gd name="connsiteX1051" fmla="*/ 457272 w 1754912"/>
                  <a:gd name="connsiteY1051" fmla="*/ 1377950 h 2476500"/>
                  <a:gd name="connsiteX1052" fmla="*/ 465209 w 1754912"/>
                  <a:gd name="connsiteY1052" fmla="*/ 1379538 h 2476500"/>
                  <a:gd name="connsiteX1053" fmla="*/ 473147 w 1754912"/>
                  <a:gd name="connsiteY1053" fmla="*/ 1349375 h 2476500"/>
                  <a:gd name="connsiteX1054" fmla="*/ 489022 w 1754912"/>
                  <a:gd name="connsiteY1054" fmla="*/ 1344613 h 2476500"/>
                  <a:gd name="connsiteX1055" fmla="*/ 490609 w 1754912"/>
                  <a:gd name="connsiteY1055" fmla="*/ 1336675 h 2476500"/>
                  <a:gd name="connsiteX1056" fmla="*/ 493784 w 1754912"/>
                  <a:gd name="connsiteY1056" fmla="*/ 1322388 h 2476500"/>
                  <a:gd name="connsiteX1057" fmla="*/ 501722 w 1754912"/>
                  <a:gd name="connsiteY1057" fmla="*/ 1327150 h 2476500"/>
                  <a:gd name="connsiteX1058" fmla="*/ 503309 w 1754912"/>
                  <a:gd name="connsiteY1058" fmla="*/ 1331913 h 2476500"/>
                  <a:gd name="connsiteX1059" fmla="*/ 506484 w 1754912"/>
                  <a:gd name="connsiteY1059" fmla="*/ 1325563 h 2476500"/>
                  <a:gd name="connsiteX1060" fmla="*/ 516009 w 1754912"/>
                  <a:gd name="connsiteY1060" fmla="*/ 1308100 h 2476500"/>
                  <a:gd name="connsiteX1061" fmla="*/ 517597 w 1754912"/>
                  <a:gd name="connsiteY1061" fmla="*/ 1298575 h 2476500"/>
                  <a:gd name="connsiteX1062" fmla="*/ 522359 w 1754912"/>
                  <a:gd name="connsiteY1062" fmla="*/ 1308100 h 2476500"/>
                  <a:gd name="connsiteX1063" fmla="*/ 525534 w 1754912"/>
                  <a:gd name="connsiteY1063" fmla="*/ 1312863 h 2476500"/>
                  <a:gd name="connsiteX1064" fmla="*/ 533472 w 1754912"/>
                  <a:gd name="connsiteY1064" fmla="*/ 1309688 h 2476500"/>
                  <a:gd name="connsiteX1065" fmla="*/ 539822 w 1754912"/>
                  <a:gd name="connsiteY1065" fmla="*/ 1298575 h 2476500"/>
                  <a:gd name="connsiteX1066" fmla="*/ 542997 w 1754912"/>
                  <a:gd name="connsiteY1066" fmla="*/ 1306513 h 2476500"/>
                  <a:gd name="connsiteX1067" fmla="*/ 544584 w 1754912"/>
                  <a:gd name="connsiteY1067" fmla="*/ 1319213 h 2476500"/>
                  <a:gd name="connsiteX1068" fmla="*/ 549347 w 1754912"/>
                  <a:gd name="connsiteY1068" fmla="*/ 1322388 h 2476500"/>
                  <a:gd name="connsiteX1069" fmla="*/ 557284 w 1754912"/>
                  <a:gd name="connsiteY1069" fmla="*/ 1304925 h 2476500"/>
                  <a:gd name="connsiteX1070" fmla="*/ 562047 w 1754912"/>
                  <a:gd name="connsiteY1070" fmla="*/ 1296988 h 2476500"/>
                  <a:gd name="connsiteX1071" fmla="*/ 563634 w 1754912"/>
                  <a:gd name="connsiteY1071" fmla="*/ 1292225 h 2476500"/>
                  <a:gd name="connsiteX1072" fmla="*/ 565222 w 1754912"/>
                  <a:gd name="connsiteY1072" fmla="*/ 1281113 h 2476500"/>
                  <a:gd name="connsiteX1073" fmla="*/ 568397 w 1754912"/>
                  <a:gd name="connsiteY1073" fmla="*/ 1274763 h 2476500"/>
                  <a:gd name="connsiteX1074" fmla="*/ 576334 w 1754912"/>
                  <a:gd name="connsiteY1074" fmla="*/ 1262063 h 2476500"/>
                  <a:gd name="connsiteX1075" fmla="*/ 584272 w 1754912"/>
                  <a:gd name="connsiteY1075" fmla="*/ 1246188 h 2476500"/>
                  <a:gd name="connsiteX1076" fmla="*/ 589034 w 1754912"/>
                  <a:gd name="connsiteY1076" fmla="*/ 1244600 h 2476500"/>
                  <a:gd name="connsiteX1077" fmla="*/ 601734 w 1754912"/>
                  <a:gd name="connsiteY1077" fmla="*/ 1243013 h 2476500"/>
                  <a:gd name="connsiteX1078" fmla="*/ 614434 w 1754912"/>
                  <a:gd name="connsiteY1078" fmla="*/ 1231900 h 2476500"/>
                  <a:gd name="connsiteX1079" fmla="*/ 616022 w 1754912"/>
                  <a:gd name="connsiteY1079" fmla="*/ 1208088 h 2476500"/>
                  <a:gd name="connsiteX1080" fmla="*/ 622372 w 1754912"/>
                  <a:gd name="connsiteY1080" fmla="*/ 1204913 h 2476500"/>
                  <a:gd name="connsiteX1081" fmla="*/ 627134 w 1754912"/>
                  <a:gd name="connsiteY1081" fmla="*/ 1201738 h 2476500"/>
                  <a:gd name="connsiteX1082" fmla="*/ 635072 w 1754912"/>
                  <a:gd name="connsiteY1082" fmla="*/ 1196975 h 2476500"/>
                  <a:gd name="connsiteX1083" fmla="*/ 639834 w 1754912"/>
                  <a:gd name="connsiteY1083" fmla="*/ 1193800 h 2476500"/>
                  <a:gd name="connsiteX1084" fmla="*/ 650947 w 1754912"/>
                  <a:gd name="connsiteY1084" fmla="*/ 1182688 h 2476500"/>
                  <a:gd name="connsiteX1085" fmla="*/ 654122 w 1754912"/>
                  <a:gd name="connsiteY1085" fmla="*/ 1173163 h 2476500"/>
                  <a:gd name="connsiteX1086" fmla="*/ 630309 w 1754912"/>
                  <a:gd name="connsiteY1086" fmla="*/ 1181100 h 2476500"/>
                  <a:gd name="connsiteX1087" fmla="*/ 622372 w 1754912"/>
                  <a:gd name="connsiteY1087" fmla="*/ 1182688 h 2476500"/>
                  <a:gd name="connsiteX1088" fmla="*/ 617609 w 1754912"/>
                  <a:gd name="connsiteY1088" fmla="*/ 1184275 h 2476500"/>
                  <a:gd name="connsiteX1089" fmla="*/ 611259 w 1754912"/>
                  <a:gd name="connsiteY1089" fmla="*/ 1189038 h 2476500"/>
                  <a:gd name="connsiteX1090" fmla="*/ 609672 w 1754912"/>
                  <a:gd name="connsiteY1090" fmla="*/ 1195388 h 2476500"/>
                  <a:gd name="connsiteX1091" fmla="*/ 598559 w 1754912"/>
                  <a:gd name="connsiteY1091" fmla="*/ 1214438 h 2476500"/>
                  <a:gd name="connsiteX1092" fmla="*/ 593797 w 1754912"/>
                  <a:gd name="connsiteY1092" fmla="*/ 1216025 h 2476500"/>
                  <a:gd name="connsiteX1093" fmla="*/ 598559 w 1754912"/>
                  <a:gd name="connsiteY1093" fmla="*/ 1190625 h 2476500"/>
                  <a:gd name="connsiteX1094" fmla="*/ 600147 w 1754912"/>
                  <a:gd name="connsiteY1094" fmla="*/ 1184275 h 2476500"/>
                  <a:gd name="connsiteX1095" fmla="*/ 601734 w 1754912"/>
                  <a:gd name="connsiteY1095" fmla="*/ 1176338 h 2476500"/>
                  <a:gd name="connsiteX1096" fmla="*/ 608084 w 1754912"/>
                  <a:gd name="connsiteY1096" fmla="*/ 1166813 h 2476500"/>
                  <a:gd name="connsiteX1097" fmla="*/ 620784 w 1754912"/>
                  <a:gd name="connsiteY1097" fmla="*/ 1160463 h 2476500"/>
                  <a:gd name="connsiteX1098" fmla="*/ 619197 w 1754912"/>
                  <a:gd name="connsiteY1098" fmla="*/ 1141413 h 2476500"/>
                  <a:gd name="connsiteX1099" fmla="*/ 623959 w 1754912"/>
                  <a:gd name="connsiteY1099" fmla="*/ 1143000 h 2476500"/>
                  <a:gd name="connsiteX1100" fmla="*/ 628722 w 1754912"/>
                  <a:gd name="connsiteY1100" fmla="*/ 1146175 h 2476500"/>
                  <a:gd name="connsiteX1101" fmla="*/ 630309 w 1754912"/>
                  <a:gd name="connsiteY1101" fmla="*/ 1125538 h 2476500"/>
                  <a:gd name="connsiteX1102" fmla="*/ 622372 w 1754912"/>
                  <a:gd name="connsiteY1102" fmla="*/ 1119188 h 2476500"/>
                  <a:gd name="connsiteX1103" fmla="*/ 625338 w 1754912"/>
                  <a:gd name="connsiteY1103" fmla="*/ 1109604 h 2476500"/>
                  <a:gd name="connsiteX1104" fmla="*/ 630062 w 1754912"/>
                  <a:gd name="connsiteY1104" fmla="*/ 1102117 h 2476500"/>
                  <a:gd name="connsiteX1105" fmla="*/ 635072 w 1754912"/>
                  <a:gd name="connsiteY1105" fmla="*/ 1104900 h 2476500"/>
                  <a:gd name="connsiteX1106" fmla="*/ 646184 w 1754912"/>
                  <a:gd name="connsiteY1106" fmla="*/ 1103313 h 2476500"/>
                  <a:gd name="connsiteX1107" fmla="*/ 630309 w 1754912"/>
                  <a:gd name="connsiteY1107" fmla="*/ 1101725 h 2476500"/>
                  <a:gd name="connsiteX1108" fmla="*/ 630062 w 1754912"/>
                  <a:gd name="connsiteY1108" fmla="*/ 1102117 h 2476500"/>
                  <a:gd name="connsiteX1109" fmla="*/ 620784 w 1754912"/>
                  <a:gd name="connsiteY1109" fmla="*/ 1096963 h 2476500"/>
                  <a:gd name="connsiteX1110" fmla="*/ 623959 w 1754912"/>
                  <a:gd name="connsiteY1110" fmla="*/ 1074738 h 2476500"/>
                  <a:gd name="connsiteX1111" fmla="*/ 633484 w 1754912"/>
                  <a:gd name="connsiteY1111" fmla="*/ 1073150 h 2476500"/>
                  <a:gd name="connsiteX1112" fmla="*/ 638247 w 1754912"/>
                  <a:gd name="connsiteY1112" fmla="*/ 1071563 h 2476500"/>
                  <a:gd name="connsiteX1113" fmla="*/ 644597 w 1754912"/>
                  <a:gd name="connsiteY1113" fmla="*/ 1077913 h 2476500"/>
                  <a:gd name="connsiteX1114" fmla="*/ 646184 w 1754912"/>
                  <a:gd name="connsiteY1114" fmla="*/ 1065213 h 2476500"/>
                  <a:gd name="connsiteX1115" fmla="*/ 652534 w 1754912"/>
                  <a:gd name="connsiteY1115" fmla="*/ 1046163 h 2476500"/>
                  <a:gd name="connsiteX1116" fmla="*/ 662059 w 1754912"/>
                  <a:gd name="connsiteY1116" fmla="*/ 1062038 h 2476500"/>
                  <a:gd name="connsiteX1117" fmla="*/ 669997 w 1754912"/>
                  <a:gd name="connsiteY1117" fmla="*/ 1066800 h 2476500"/>
                  <a:gd name="connsiteX1118" fmla="*/ 677934 w 1754912"/>
                  <a:gd name="connsiteY1118" fmla="*/ 1065213 h 2476500"/>
                  <a:gd name="connsiteX1119" fmla="*/ 666822 w 1754912"/>
                  <a:gd name="connsiteY1119" fmla="*/ 1042988 h 2476500"/>
                  <a:gd name="connsiteX1120" fmla="*/ 660472 w 1754912"/>
                  <a:gd name="connsiteY1120" fmla="*/ 1031875 h 2476500"/>
                  <a:gd name="connsiteX1121" fmla="*/ 654122 w 1754912"/>
                  <a:gd name="connsiteY1121" fmla="*/ 1028700 h 2476500"/>
                  <a:gd name="connsiteX1122" fmla="*/ 668409 w 1754912"/>
                  <a:gd name="connsiteY1122" fmla="*/ 1019175 h 2476500"/>
                  <a:gd name="connsiteX1123" fmla="*/ 676347 w 1754912"/>
                  <a:gd name="connsiteY1123" fmla="*/ 1016000 h 2476500"/>
                  <a:gd name="connsiteX1124" fmla="*/ 684284 w 1754912"/>
                  <a:gd name="connsiteY1124" fmla="*/ 1006475 h 2476500"/>
                  <a:gd name="connsiteX1125" fmla="*/ 692222 w 1754912"/>
                  <a:gd name="connsiteY1125" fmla="*/ 1000125 h 2476500"/>
                  <a:gd name="connsiteX1126" fmla="*/ 695397 w 1754912"/>
                  <a:gd name="connsiteY1126" fmla="*/ 993775 h 2476500"/>
                  <a:gd name="connsiteX1127" fmla="*/ 697575 w 1754912"/>
                  <a:gd name="connsiteY1127" fmla="*/ 989376 h 2476500"/>
                  <a:gd name="connsiteX1128" fmla="*/ 700379 w 1754912"/>
                  <a:gd name="connsiteY1128" fmla="*/ 989843 h 2476500"/>
                  <a:gd name="connsiteX1129" fmla="*/ 701747 w 1754912"/>
                  <a:gd name="connsiteY1129" fmla="*/ 1004888 h 2476500"/>
                  <a:gd name="connsiteX1130" fmla="*/ 708097 w 1754912"/>
                  <a:gd name="connsiteY1130" fmla="*/ 1019175 h 2476500"/>
                  <a:gd name="connsiteX1131" fmla="*/ 716034 w 1754912"/>
                  <a:gd name="connsiteY1131" fmla="*/ 1001713 h 2476500"/>
                  <a:gd name="connsiteX1132" fmla="*/ 720797 w 1754912"/>
                  <a:gd name="connsiteY1132" fmla="*/ 1000125 h 2476500"/>
                  <a:gd name="connsiteX1133" fmla="*/ 728734 w 1754912"/>
                  <a:gd name="connsiteY1133" fmla="*/ 995363 h 2476500"/>
                  <a:gd name="connsiteX1134" fmla="*/ 730322 w 1754912"/>
                  <a:gd name="connsiteY1134" fmla="*/ 989013 h 2476500"/>
                  <a:gd name="connsiteX1135" fmla="*/ 735084 w 1754912"/>
                  <a:gd name="connsiteY1135" fmla="*/ 981075 h 2476500"/>
                  <a:gd name="connsiteX1136" fmla="*/ 728734 w 1754912"/>
                  <a:gd name="connsiteY1136" fmla="*/ 982663 h 2476500"/>
                  <a:gd name="connsiteX1137" fmla="*/ 709684 w 1754912"/>
                  <a:gd name="connsiteY1137" fmla="*/ 989013 h 2476500"/>
                  <a:gd name="connsiteX1138" fmla="*/ 704922 w 1754912"/>
                  <a:gd name="connsiteY1138" fmla="*/ 990600 h 2476500"/>
                  <a:gd name="connsiteX1139" fmla="*/ 700379 w 1754912"/>
                  <a:gd name="connsiteY1139" fmla="*/ 989843 h 2476500"/>
                  <a:gd name="connsiteX1140" fmla="*/ 700159 w 1754912"/>
                  <a:gd name="connsiteY1140" fmla="*/ 987425 h 2476500"/>
                  <a:gd name="connsiteX1141" fmla="*/ 697812 w 1754912"/>
                  <a:gd name="connsiteY1141" fmla="*/ 988897 h 2476500"/>
                  <a:gd name="connsiteX1142" fmla="*/ 697575 w 1754912"/>
                  <a:gd name="connsiteY1142" fmla="*/ 989376 h 2476500"/>
                  <a:gd name="connsiteX1143" fmla="*/ 695397 w 1754912"/>
                  <a:gd name="connsiteY1143" fmla="*/ 989013 h 2476500"/>
                  <a:gd name="connsiteX1144" fmla="*/ 690634 w 1754912"/>
                  <a:gd name="connsiteY1144" fmla="*/ 985838 h 2476500"/>
                  <a:gd name="connsiteX1145" fmla="*/ 658884 w 1754912"/>
                  <a:gd name="connsiteY1145" fmla="*/ 982663 h 2476500"/>
                  <a:gd name="connsiteX1146" fmla="*/ 665234 w 1754912"/>
                  <a:gd name="connsiteY1146" fmla="*/ 947738 h 2476500"/>
                  <a:gd name="connsiteX1147" fmla="*/ 671584 w 1754912"/>
                  <a:gd name="connsiteY1147" fmla="*/ 946150 h 2476500"/>
                  <a:gd name="connsiteX1148" fmla="*/ 674759 w 1754912"/>
                  <a:gd name="connsiteY1148" fmla="*/ 941388 h 2476500"/>
                  <a:gd name="connsiteX1149" fmla="*/ 689047 w 1754912"/>
                  <a:gd name="connsiteY1149" fmla="*/ 935038 h 2476500"/>
                  <a:gd name="connsiteX1150" fmla="*/ 690634 w 1754912"/>
                  <a:gd name="connsiteY1150" fmla="*/ 941388 h 2476500"/>
                  <a:gd name="connsiteX1151" fmla="*/ 693809 w 1754912"/>
                  <a:gd name="connsiteY1151" fmla="*/ 947738 h 2476500"/>
                  <a:gd name="connsiteX1152" fmla="*/ 695397 w 1754912"/>
                  <a:gd name="connsiteY1152" fmla="*/ 930275 h 2476500"/>
                  <a:gd name="connsiteX1153" fmla="*/ 701747 w 1754912"/>
                  <a:gd name="connsiteY1153" fmla="*/ 917575 h 2476500"/>
                  <a:gd name="connsiteX1154" fmla="*/ 708097 w 1754912"/>
                  <a:gd name="connsiteY1154" fmla="*/ 920750 h 2476500"/>
                  <a:gd name="connsiteX1155" fmla="*/ 714105 w 1754912"/>
                  <a:gd name="connsiteY1155" fmla="*/ 909845 h 2476500"/>
                  <a:gd name="connsiteX1156" fmla="*/ 711560 w 1754912"/>
                  <a:gd name="connsiteY1156" fmla="*/ 898249 h 2476500"/>
                  <a:gd name="connsiteX1157" fmla="*/ 716034 w 1754912"/>
                  <a:gd name="connsiteY1157" fmla="*/ 900113 h 2476500"/>
                  <a:gd name="connsiteX1158" fmla="*/ 711272 w 1754912"/>
                  <a:gd name="connsiteY1158" fmla="*/ 896938 h 2476500"/>
                  <a:gd name="connsiteX1159" fmla="*/ 711560 w 1754912"/>
                  <a:gd name="connsiteY1159" fmla="*/ 898249 h 2476500"/>
                  <a:gd name="connsiteX1160" fmla="*/ 696984 w 1754912"/>
                  <a:gd name="connsiteY1160" fmla="*/ 892175 h 2476500"/>
                  <a:gd name="connsiteX1161" fmla="*/ 695397 w 1754912"/>
                  <a:gd name="connsiteY1161" fmla="*/ 868363 h 2476500"/>
                  <a:gd name="connsiteX1162" fmla="*/ 738259 w 1754912"/>
                  <a:gd name="connsiteY1162" fmla="*/ 862013 h 2476500"/>
                  <a:gd name="connsiteX1163" fmla="*/ 731909 w 1754912"/>
                  <a:gd name="connsiteY1163" fmla="*/ 858838 h 2476500"/>
                  <a:gd name="connsiteX1164" fmla="*/ 741434 w 1754912"/>
                  <a:gd name="connsiteY1164" fmla="*/ 852488 h 2476500"/>
                  <a:gd name="connsiteX1165" fmla="*/ 747784 w 1754912"/>
                  <a:gd name="connsiteY1165" fmla="*/ 858838 h 2476500"/>
                  <a:gd name="connsiteX1166" fmla="*/ 746197 w 1754912"/>
                  <a:gd name="connsiteY1166" fmla="*/ 854075 h 2476500"/>
                  <a:gd name="connsiteX1167" fmla="*/ 749372 w 1754912"/>
                  <a:gd name="connsiteY1167" fmla="*/ 838200 h 2476500"/>
                  <a:gd name="connsiteX1168" fmla="*/ 757309 w 1754912"/>
                  <a:gd name="connsiteY1168" fmla="*/ 833438 h 2476500"/>
                  <a:gd name="connsiteX1169" fmla="*/ 758897 w 1754912"/>
                  <a:gd name="connsiteY1169" fmla="*/ 844550 h 2476500"/>
                  <a:gd name="connsiteX1170" fmla="*/ 762072 w 1754912"/>
                  <a:gd name="connsiteY1170" fmla="*/ 849313 h 2476500"/>
                  <a:gd name="connsiteX1171" fmla="*/ 766834 w 1754912"/>
                  <a:gd name="connsiteY1171" fmla="*/ 847725 h 2476500"/>
                  <a:gd name="connsiteX1172" fmla="*/ 763659 w 1754912"/>
                  <a:gd name="connsiteY1172" fmla="*/ 827088 h 2476500"/>
                  <a:gd name="connsiteX1173" fmla="*/ 770009 w 1754912"/>
                  <a:gd name="connsiteY1173" fmla="*/ 812800 h 2476500"/>
                  <a:gd name="connsiteX1174" fmla="*/ 774772 w 1754912"/>
                  <a:gd name="connsiteY1174" fmla="*/ 815975 h 2476500"/>
                  <a:gd name="connsiteX1175" fmla="*/ 782709 w 1754912"/>
                  <a:gd name="connsiteY1175" fmla="*/ 823913 h 2476500"/>
                  <a:gd name="connsiteX1176" fmla="*/ 789059 w 1754912"/>
                  <a:gd name="connsiteY1176" fmla="*/ 819150 h 2476500"/>
                  <a:gd name="connsiteX1177" fmla="*/ 793822 w 1754912"/>
                  <a:gd name="connsiteY1177" fmla="*/ 806450 h 2476500"/>
                  <a:gd name="connsiteX1178" fmla="*/ 806522 w 1754912"/>
                  <a:gd name="connsiteY1178" fmla="*/ 819150 h 2476500"/>
                  <a:gd name="connsiteX1179" fmla="*/ 808109 w 1754912"/>
                  <a:gd name="connsiteY1179" fmla="*/ 831850 h 2476500"/>
                  <a:gd name="connsiteX1180" fmla="*/ 811284 w 1754912"/>
                  <a:gd name="connsiteY1180" fmla="*/ 823913 h 2476500"/>
                  <a:gd name="connsiteX1181" fmla="*/ 820809 w 1754912"/>
                  <a:gd name="connsiteY1181" fmla="*/ 830263 h 2476500"/>
                  <a:gd name="connsiteX1182" fmla="*/ 828747 w 1754912"/>
                  <a:gd name="connsiteY1182" fmla="*/ 828675 h 2476500"/>
                  <a:gd name="connsiteX1183" fmla="*/ 830334 w 1754912"/>
                  <a:gd name="connsiteY1183" fmla="*/ 815975 h 2476500"/>
                  <a:gd name="connsiteX1184" fmla="*/ 831922 w 1754912"/>
                  <a:gd name="connsiteY1184" fmla="*/ 811213 h 2476500"/>
                  <a:gd name="connsiteX1185" fmla="*/ 833509 w 1754912"/>
                  <a:gd name="connsiteY1185" fmla="*/ 796925 h 2476500"/>
                  <a:gd name="connsiteX1186" fmla="*/ 831922 w 1754912"/>
                  <a:gd name="connsiteY1186" fmla="*/ 790575 h 2476500"/>
                  <a:gd name="connsiteX1187" fmla="*/ 830334 w 1754912"/>
                  <a:gd name="connsiteY1187" fmla="*/ 782638 h 2476500"/>
                  <a:gd name="connsiteX1188" fmla="*/ 831922 w 1754912"/>
                  <a:gd name="connsiteY1188" fmla="*/ 760413 h 2476500"/>
                  <a:gd name="connsiteX1189" fmla="*/ 793822 w 1754912"/>
                  <a:gd name="connsiteY1189" fmla="*/ 765175 h 2476500"/>
                  <a:gd name="connsiteX1190" fmla="*/ 804934 w 1754912"/>
                  <a:gd name="connsiteY1190" fmla="*/ 755650 h 2476500"/>
                  <a:gd name="connsiteX1191" fmla="*/ 806522 w 1754912"/>
                  <a:gd name="connsiteY1191" fmla="*/ 750888 h 2476500"/>
                  <a:gd name="connsiteX1192" fmla="*/ 808109 w 1754912"/>
                  <a:gd name="connsiteY1192" fmla="*/ 741363 h 2476500"/>
                  <a:gd name="connsiteX1193" fmla="*/ 812872 w 1754912"/>
                  <a:gd name="connsiteY1193" fmla="*/ 739775 h 2476500"/>
                  <a:gd name="connsiteX1194" fmla="*/ 817634 w 1754912"/>
                  <a:gd name="connsiteY1194" fmla="*/ 735013 h 2476500"/>
                  <a:gd name="connsiteX1195" fmla="*/ 812872 w 1754912"/>
                  <a:gd name="connsiteY1195" fmla="*/ 731838 h 2476500"/>
                  <a:gd name="connsiteX1196" fmla="*/ 796997 w 1754912"/>
                  <a:gd name="connsiteY1196" fmla="*/ 728663 h 2476500"/>
                  <a:gd name="connsiteX1197" fmla="*/ 784297 w 1754912"/>
                  <a:gd name="connsiteY1197" fmla="*/ 727075 h 2476500"/>
                  <a:gd name="connsiteX1198" fmla="*/ 793822 w 1754912"/>
                  <a:gd name="connsiteY1198" fmla="*/ 704850 h 2476500"/>
                  <a:gd name="connsiteX1199" fmla="*/ 801759 w 1754912"/>
                  <a:gd name="connsiteY1199" fmla="*/ 703263 h 2476500"/>
                  <a:gd name="connsiteX1200" fmla="*/ 813273 w 1754912"/>
                  <a:gd name="connsiteY1200" fmla="*/ 704702 h 2476500"/>
                  <a:gd name="connsiteX1201" fmla="*/ 812872 w 1754912"/>
                  <a:gd name="connsiteY1201" fmla="*/ 709613 h 2476500"/>
                  <a:gd name="connsiteX1202" fmla="*/ 814459 w 1754912"/>
                  <a:gd name="connsiteY1202" fmla="*/ 704850 h 2476500"/>
                  <a:gd name="connsiteX1203" fmla="*/ 813273 w 1754912"/>
                  <a:gd name="connsiteY1203" fmla="*/ 704702 h 2476500"/>
                  <a:gd name="connsiteX1204" fmla="*/ 814261 w 1754912"/>
                  <a:gd name="connsiteY1204" fmla="*/ 692608 h 2476500"/>
                  <a:gd name="connsiteX1205" fmla="*/ 816047 w 1754912"/>
                  <a:gd name="connsiteY1205" fmla="*/ 674688 h 2476500"/>
                  <a:gd name="connsiteX1206" fmla="*/ 823984 w 1754912"/>
                  <a:gd name="connsiteY1206" fmla="*/ 684213 h 2476500"/>
                  <a:gd name="connsiteX1207" fmla="*/ 827159 w 1754912"/>
                  <a:gd name="connsiteY1207" fmla="*/ 688975 h 2476500"/>
                  <a:gd name="connsiteX1208" fmla="*/ 830334 w 1754912"/>
                  <a:gd name="connsiteY1208" fmla="*/ 677863 h 2476500"/>
                  <a:gd name="connsiteX1209" fmla="*/ 846209 w 1754912"/>
                  <a:gd name="connsiteY1209" fmla="*/ 669925 h 2476500"/>
                  <a:gd name="connsiteX1210" fmla="*/ 850972 w 1754912"/>
                  <a:gd name="connsiteY1210" fmla="*/ 668338 h 2476500"/>
                  <a:gd name="connsiteX1211" fmla="*/ 850972 w 1754912"/>
                  <a:gd name="connsiteY1211" fmla="*/ 682625 h 2476500"/>
                  <a:gd name="connsiteX1212" fmla="*/ 857322 w 1754912"/>
                  <a:gd name="connsiteY1212" fmla="*/ 674688 h 2476500"/>
                  <a:gd name="connsiteX1213" fmla="*/ 863672 w 1754912"/>
                  <a:gd name="connsiteY1213" fmla="*/ 668338 h 2476500"/>
                  <a:gd name="connsiteX1214" fmla="*/ 865259 w 1754912"/>
                  <a:gd name="connsiteY1214" fmla="*/ 676275 h 2476500"/>
                  <a:gd name="connsiteX1215" fmla="*/ 868434 w 1754912"/>
                  <a:gd name="connsiteY1215" fmla="*/ 682625 h 2476500"/>
                  <a:gd name="connsiteX1216" fmla="*/ 871609 w 1754912"/>
                  <a:gd name="connsiteY1216" fmla="*/ 661988 h 2476500"/>
                  <a:gd name="connsiteX1217" fmla="*/ 876372 w 1754912"/>
                  <a:gd name="connsiteY1217" fmla="*/ 660400 h 2476500"/>
                  <a:gd name="connsiteX1218" fmla="*/ 877959 w 1754912"/>
                  <a:gd name="connsiteY1218" fmla="*/ 655638 h 2476500"/>
                  <a:gd name="connsiteX1219" fmla="*/ 876372 w 1754912"/>
                  <a:gd name="connsiteY1219" fmla="*/ 650875 h 2476500"/>
                  <a:gd name="connsiteX1220" fmla="*/ 874784 w 1754912"/>
                  <a:gd name="connsiteY1220" fmla="*/ 641350 h 2476500"/>
                  <a:gd name="connsiteX1221" fmla="*/ 870022 w 1754912"/>
                  <a:gd name="connsiteY1221" fmla="*/ 638175 h 2476500"/>
                  <a:gd name="connsiteX1222" fmla="*/ 870022 w 1754912"/>
                  <a:gd name="connsiteY1222" fmla="*/ 617538 h 2476500"/>
                  <a:gd name="connsiteX1223" fmla="*/ 873197 w 1754912"/>
                  <a:gd name="connsiteY1223" fmla="*/ 612775 h 2476500"/>
                  <a:gd name="connsiteX1224" fmla="*/ 874784 w 1754912"/>
                  <a:gd name="connsiteY1224" fmla="*/ 601663 h 2476500"/>
                  <a:gd name="connsiteX1225" fmla="*/ 879547 w 1754912"/>
                  <a:gd name="connsiteY1225" fmla="*/ 606425 h 2476500"/>
                  <a:gd name="connsiteX1226" fmla="*/ 882722 w 1754912"/>
                  <a:gd name="connsiteY1226" fmla="*/ 614363 h 2476500"/>
                  <a:gd name="connsiteX1227" fmla="*/ 887484 w 1754912"/>
                  <a:gd name="connsiteY1227" fmla="*/ 617538 h 2476500"/>
                  <a:gd name="connsiteX1228" fmla="*/ 892247 w 1754912"/>
                  <a:gd name="connsiteY1228" fmla="*/ 622300 h 2476500"/>
                  <a:gd name="connsiteX1229" fmla="*/ 903359 w 1754912"/>
                  <a:gd name="connsiteY1229" fmla="*/ 619125 h 2476500"/>
                  <a:gd name="connsiteX1230" fmla="*/ 914472 w 1754912"/>
                  <a:gd name="connsiteY1230" fmla="*/ 604838 h 2476500"/>
                  <a:gd name="connsiteX1231" fmla="*/ 916059 w 1754912"/>
                  <a:gd name="connsiteY1231" fmla="*/ 598488 h 2476500"/>
                  <a:gd name="connsiteX1232" fmla="*/ 920822 w 1754912"/>
                  <a:gd name="connsiteY1232" fmla="*/ 595313 h 2476500"/>
                  <a:gd name="connsiteX1233" fmla="*/ 923997 w 1754912"/>
                  <a:gd name="connsiteY1233" fmla="*/ 603250 h 2476500"/>
                  <a:gd name="connsiteX1234" fmla="*/ 928759 w 1754912"/>
                  <a:gd name="connsiteY1234" fmla="*/ 619125 h 2476500"/>
                  <a:gd name="connsiteX1235" fmla="*/ 933522 w 1754912"/>
                  <a:gd name="connsiteY1235" fmla="*/ 620713 h 2476500"/>
                  <a:gd name="connsiteX1236" fmla="*/ 935109 w 1754912"/>
                  <a:gd name="connsiteY1236" fmla="*/ 625475 h 2476500"/>
                  <a:gd name="connsiteX1237" fmla="*/ 936697 w 1754912"/>
                  <a:gd name="connsiteY1237" fmla="*/ 619125 h 2476500"/>
                  <a:gd name="connsiteX1238" fmla="*/ 938284 w 1754912"/>
                  <a:gd name="connsiteY1238" fmla="*/ 603250 h 2476500"/>
                  <a:gd name="connsiteX1239" fmla="*/ 950984 w 1754912"/>
                  <a:gd name="connsiteY1239" fmla="*/ 590550 h 2476500"/>
                  <a:gd name="connsiteX1240" fmla="*/ 949397 w 1754912"/>
                  <a:gd name="connsiteY1240" fmla="*/ 582613 h 2476500"/>
                  <a:gd name="connsiteX1241" fmla="*/ 936697 w 1754912"/>
                  <a:gd name="connsiteY1241" fmla="*/ 577850 h 2476500"/>
                  <a:gd name="connsiteX1242" fmla="*/ 911297 w 1754912"/>
                  <a:gd name="connsiteY1242" fmla="*/ 579438 h 2476500"/>
                  <a:gd name="connsiteX1243" fmla="*/ 895422 w 1754912"/>
                  <a:gd name="connsiteY1243" fmla="*/ 584200 h 2476500"/>
                  <a:gd name="connsiteX1244" fmla="*/ 887484 w 1754912"/>
                  <a:gd name="connsiteY1244" fmla="*/ 585788 h 2476500"/>
                  <a:gd name="connsiteX1245" fmla="*/ 863672 w 1754912"/>
                  <a:gd name="connsiteY1245" fmla="*/ 582613 h 2476500"/>
                  <a:gd name="connsiteX1246" fmla="*/ 868434 w 1754912"/>
                  <a:gd name="connsiteY1246" fmla="*/ 577850 h 2476500"/>
                  <a:gd name="connsiteX1247" fmla="*/ 876372 w 1754912"/>
                  <a:gd name="connsiteY1247" fmla="*/ 574675 h 2476500"/>
                  <a:gd name="connsiteX1248" fmla="*/ 881134 w 1754912"/>
                  <a:gd name="connsiteY1248" fmla="*/ 571500 h 2476500"/>
                  <a:gd name="connsiteX1249" fmla="*/ 882722 w 1754912"/>
                  <a:gd name="connsiteY1249" fmla="*/ 566738 h 2476500"/>
                  <a:gd name="connsiteX1250" fmla="*/ 887484 w 1754912"/>
                  <a:gd name="connsiteY1250" fmla="*/ 544513 h 2476500"/>
                  <a:gd name="connsiteX1251" fmla="*/ 892247 w 1754912"/>
                  <a:gd name="connsiteY1251" fmla="*/ 541338 h 2476500"/>
                  <a:gd name="connsiteX1252" fmla="*/ 898597 w 1754912"/>
                  <a:gd name="connsiteY1252" fmla="*/ 542925 h 2476500"/>
                  <a:gd name="connsiteX1253" fmla="*/ 911297 w 1754912"/>
                  <a:gd name="connsiteY1253" fmla="*/ 531813 h 2476500"/>
                  <a:gd name="connsiteX1254" fmla="*/ 919234 w 1754912"/>
                  <a:gd name="connsiteY1254" fmla="*/ 530225 h 2476500"/>
                  <a:gd name="connsiteX1255" fmla="*/ 925584 w 1754912"/>
                  <a:gd name="connsiteY1255" fmla="*/ 534988 h 2476500"/>
                  <a:gd name="connsiteX1256" fmla="*/ 928759 w 1754912"/>
                  <a:gd name="connsiteY1256" fmla="*/ 539750 h 2476500"/>
                  <a:gd name="connsiteX1257" fmla="*/ 935109 w 1754912"/>
                  <a:gd name="connsiteY1257" fmla="*/ 544513 h 2476500"/>
                  <a:gd name="connsiteX1258" fmla="*/ 947809 w 1754912"/>
                  <a:gd name="connsiteY1258" fmla="*/ 531813 h 2476500"/>
                  <a:gd name="connsiteX1259" fmla="*/ 952572 w 1754912"/>
                  <a:gd name="connsiteY1259" fmla="*/ 530225 h 2476500"/>
                  <a:gd name="connsiteX1260" fmla="*/ 955747 w 1754912"/>
                  <a:gd name="connsiteY1260" fmla="*/ 522288 h 2476500"/>
                  <a:gd name="connsiteX1261" fmla="*/ 955747 w 1754912"/>
                  <a:gd name="connsiteY1261" fmla="*/ 509588 h 2476500"/>
                  <a:gd name="connsiteX1262" fmla="*/ 950984 w 1754912"/>
                  <a:gd name="connsiteY1262" fmla="*/ 506413 h 2476500"/>
                  <a:gd name="connsiteX1263" fmla="*/ 939872 w 1754912"/>
                  <a:gd name="connsiteY1263" fmla="*/ 508000 h 2476500"/>
                  <a:gd name="connsiteX1264" fmla="*/ 920822 w 1754912"/>
                  <a:gd name="connsiteY1264" fmla="*/ 512763 h 2476500"/>
                  <a:gd name="connsiteX1265" fmla="*/ 919234 w 1754912"/>
                  <a:gd name="connsiteY1265" fmla="*/ 496888 h 2476500"/>
                  <a:gd name="connsiteX1266" fmla="*/ 925584 w 1754912"/>
                  <a:gd name="connsiteY1266" fmla="*/ 495300 h 2476500"/>
                  <a:gd name="connsiteX1267" fmla="*/ 914472 w 1754912"/>
                  <a:gd name="connsiteY1267" fmla="*/ 488950 h 2476500"/>
                  <a:gd name="connsiteX1268" fmla="*/ 908122 w 1754912"/>
                  <a:gd name="connsiteY1268" fmla="*/ 484188 h 2476500"/>
                  <a:gd name="connsiteX1269" fmla="*/ 912884 w 1754912"/>
                  <a:gd name="connsiteY1269" fmla="*/ 481013 h 2476500"/>
                  <a:gd name="connsiteX1270" fmla="*/ 916059 w 1754912"/>
                  <a:gd name="connsiteY1270" fmla="*/ 476250 h 2476500"/>
                  <a:gd name="connsiteX1271" fmla="*/ 920822 w 1754912"/>
                  <a:gd name="connsiteY1271" fmla="*/ 474663 h 2476500"/>
                  <a:gd name="connsiteX1272" fmla="*/ 935109 w 1754912"/>
                  <a:gd name="connsiteY1272" fmla="*/ 473075 h 2476500"/>
                  <a:gd name="connsiteX1273" fmla="*/ 941459 w 1754912"/>
                  <a:gd name="connsiteY1273" fmla="*/ 469900 h 2476500"/>
                  <a:gd name="connsiteX1274" fmla="*/ 958922 w 1754912"/>
                  <a:gd name="connsiteY1274" fmla="*/ 455613 h 2476500"/>
                  <a:gd name="connsiteX1275" fmla="*/ 958922 w 1754912"/>
                  <a:gd name="connsiteY1275" fmla="*/ 422275 h 2476500"/>
                  <a:gd name="connsiteX1276" fmla="*/ 965272 w 1754912"/>
                  <a:gd name="connsiteY1276" fmla="*/ 412750 h 2476500"/>
                  <a:gd name="connsiteX1277" fmla="*/ 968447 w 1754912"/>
                  <a:gd name="connsiteY1277" fmla="*/ 407988 h 2476500"/>
                  <a:gd name="connsiteX1278" fmla="*/ 974797 w 1754912"/>
                  <a:gd name="connsiteY1278" fmla="*/ 406400 h 2476500"/>
                  <a:gd name="connsiteX1279" fmla="*/ 985909 w 1754912"/>
                  <a:gd name="connsiteY1279" fmla="*/ 414338 h 2476500"/>
                  <a:gd name="connsiteX1280" fmla="*/ 981147 w 1754912"/>
                  <a:gd name="connsiteY1280" fmla="*/ 419100 h 2476500"/>
                  <a:gd name="connsiteX1281" fmla="*/ 982734 w 1754912"/>
                  <a:gd name="connsiteY1281" fmla="*/ 430213 h 2476500"/>
                  <a:gd name="connsiteX1282" fmla="*/ 989084 w 1754912"/>
                  <a:gd name="connsiteY1282" fmla="*/ 428625 h 2476500"/>
                  <a:gd name="connsiteX1283" fmla="*/ 1000197 w 1754912"/>
                  <a:gd name="connsiteY1283" fmla="*/ 422275 h 2476500"/>
                  <a:gd name="connsiteX1284" fmla="*/ 1006547 w 1754912"/>
                  <a:gd name="connsiteY1284" fmla="*/ 423863 h 2476500"/>
                  <a:gd name="connsiteX1285" fmla="*/ 1009722 w 1754912"/>
                  <a:gd name="connsiteY1285" fmla="*/ 430213 h 2476500"/>
                  <a:gd name="connsiteX1286" fmla="*/ 1016072 w 1754912"/>
                  <a:gd name="connsiteY1286" fmla="*/ 434975 h 2476500"/>
                  <a:gd name="connsiteX1287" fmla="*/ 1024009 w 1754912"/>
                  <a:gd name="connsiteY1287" fmla="*/ 425450 h 2476500"/>
                  <a:gd name="connsiteX1288" fmla="*/ 1027184 w 1754912"/>
                  <a:gd name="connsiteY1288" fmla="*/ 414338 h 2476500"/>
                  <a:gd name="connsiteX1289" fmla="*/ 1039884 w 1754912"/>
                  <a:gd name="connsiteY1289" fmla="*/ 419100 h 2476500"/>
                  <a:gd name="connsiteX1290" fmla="*/ 1041472 w 1754912"/>
                  <a:gd name="connsiteY1290" fmla="*/ 414338 h 2476500"/>
                  <a:gd name="connsiteX1291" fmla="*/ 1024009 w 1754912"/>
                  <a:gd name="connsiteY1291" fmla="*/ 412750 h 2476500"/>
                  <a:gd name="connsiteX1292" fmla="*/ 1009722 w 1754912"/>
                  <a:gd name="connsiteY1292" fmla="*/ 409575 h 2476500"/>
                  <a:gd name="connsiteX1293" fmla="*/ 1004959 w 1754912"/>
                  <a:gd name="connsiteY1293" fmla="*/ 403225 h 2476500"/>
                  <a:gd name="connsiteX1294" fmla="*/ 1004959 w 1754912"/>
                  <a:gd name="connsiteY1294" fmla="*/ 384175 h 2476500"/>
                  <a:gd name="connsiteX1295" fmla="*/ 1014484 w 1754912"/>
                  <a:gd name="connsiteY1295" fmla="*/ 382588 h 2476500"/>
                  <a:gd name="connsiteX1296" fmla="*/ 1019247 w 1754912"/>
                  <a:gd name="connsiteY1296" fmla="*/ 387350 h 2476500"/>
                  <a:gd name="connsiteX1297" fmla="*/ 1025597 w 1754912"/>
                  <a:gd name="connsiteY1297" fmla="*/ 388938 h 2476500"/>
                  <a:gd name="connsiteX1298" fmla="*/ 1028772 w 1754912"/>
                  <a:gd name="connsiteY1298" fmla="*/ 393700 h 2476500"/>
                  <a:gd name="connsiteX1299" fmla="*/ 1033534 w 1754912"/>
                  <a:gd name="connsiteY1299" fmla="*/ 395288 h 2476500"/>
                  <a:gd name="connsiteX1300" fmla="*/ 1038297 w 1754912"/>
                  <a:gd name="connsiteY1300" fmla="*/ 398463 h 2476500"/>
                  <a:gd name="connsiteX1301" fmla="*/ 1046234 w 1754912"/>
                  <a:gd name="connsiteY1301" fmla="*/ 412750 h 2476500"/>
                  <a:gd name="connsiteX1302" fmla="*/ 1050997 w 1754912"/>
                  <a:gd name="connsiteY1302" fmla="*/ 415925 h 2476500"/>
                  <a:gd name="connsiteX1303" fmla="*/ 1066872 w 1754912"/>
                  <a:gd name="connsiteY1303" fmla="*/ 414338 h 2476500"/>
                  <a:gd name="connsiteX1304" fmla="*/ 1060522 w 1754912"/>
                  <a:gd name="connsiteY1304" fmla="*/ 400050 h 2476500"/>
                  <a:gd name="connsiteX1305" fmla="*/ 1058934 w 1754912"/>
                  <a:gd name="connsiteY1305" fmla="*/ 387350 h 2476500"/>
                  <a:gd name="connsiteX1306" fmla="*/ 1062109 w 1754912"/>
                  <a:gd name="connsiteY1306" fmla="*/ 352425 h 2476500"/>
                  <a:gd name="connsiteX1307" fmla="*/ 1054172 w 1754912"/>
                  <a:gd name="connsiteY1307" fmla="*/ 349250 h 2476500"/>
                  <a:gd name="connsiteX1308" fmla="*/ 1036709 w 1754912"/>
                  <a:gd name="connsiteY1308" fmla="*/ 347663 h 2476500"/>
                  <a:gd name="connsiteX1309" fmla="*/ 1033534 w 1754912"/>
                  <a:gd name="connsiteY1309" fmla="*/ 342900 h 2476500"/>
                  <a:gd name="connsiteX1310" fmla="*/ 1035122 w 1754912"/>
                  <a:gd name="connsiteY1310" fmla="*/ 336550 h 2476500"/>
                  <a:gd name="connsiteX1311" fmla="*/ 1057347 w 1754912"/>
                  <a:gd name="connsiteY1311" fmla="*/ 328613 h 2476500"/>
                  <a:gd name="connsiteX1312" fmla="*/ 1068459 w 1754912"/>
                  <a:gd name="connsiteY1312" fmla="*/ 325438 h 2476500"/>
                  <a:gd name="connsiteX1313" fmla="*/ 1071634 w 1754912"/>
                  <a:gd name="connsiteY1313" fmla="*/ 344488 h 2476500"/>
                  <a:gd name="connsiteX1314" fmla="*/ 1074809 w 1754912"/>
                  <a:gd name="connsiteY1314" fmla="*/ 349250 h 2476500"/>
                  <a:gd name="connsiteX1315" fmla="*/ 1079572 w 1754912"/>
                  <a:gd name="connsiteY1315" fmla="*/ 360363 h 2476500"/>
                  <a:gd name="connsiteX1316" fmla="*/ 1076397 w 1754912"/>
                  <a:gd name="connsiteY1316" fmla="*/ 393700 h 2476500"/>
                  <a:gd name="connsiteX1317" fmla="*/ 1074809 w 1754912"/>
                  <a:gd name="connsiteY1317" fmla="*/ 398463 h 2476500"/>
                  <a:gd name="connsiteX1318" fmla="*/ 1079572 w 1754912"/>
                  <a:gd name="connsiteY1318" fmla="*/ 400050 h 2476500"/>
                  <a:gd name="connsiteX1319" fmla="*/ 1090684 w 1754912"/>
                  <a:gd name="connsiteY1319" fmla="*/ 392113 h 2476500"/>
                  <a:gd name="connsiteX1320" fmla="*/ 1093859 w 1754912"/>
                  <a:gd name="connsiteY1320" fmla="*/ 377825 h 2476500"/>
                  <a:gd name="connsiteX1321" fmla="*/ 1104972 w 1754912"/>
                  <a:gd name="connsiteY1321" fmla="*/ 368300 h 2476500"/>
                  <a:gd name="connsiteX1322" fmla="*/ 1111322 w 1754912"/>
                  <a:gd name="connsiteY1322" fmla="*/ 363538 h 2476500"/>
                  <a:gd name="connsiteX1323" fmla="*/ 1120847 w 1754912"/>
                  <a:gd name="connsiteY1323" fmla="*/ 361950 h 2476500"/>
                  <a:gd name="connsiteX1324" fmla="*/ 1125609 w 1754912"/>
                  <a:gd name="connsiteY1324" fmla="*/ 360363 h 2476500"/>
                  <a:gd name="connsiteX1325" fmla="*/ 1124022 w 1754912"/>
                  <a:gd name="connsiteY1325" fmla="*/ 355600 h 2476500"/>
                  <a:gd name="connsiteX1326" fmla="*/ 1114497 w 1754912"/>
                  <a:gd name="connsiteY1326" fmla="*/ 354013 h 2476500"/>
                  <a:gd name="connsiteX1327" fmla="*/ 1100209 w 1754912"/>
                  <a:gd name="connsiteY1327" fmla="*/ 349250 h 2476500"/>
                  <a:gd name="connsiteX1328" fmla="*/ 1106559 w 1754912"/>
                  <a:gd name="connsiteY1328" fmla="*/ 325438 h 2476500"/>
                  <a:gd name="connsiteX1329" fmla="*/ 1112909 w 1754912"/>
                  <a:gd name="connsiteY1329" fmla="*/ 322263 h 2476500"/>
                  <a:gd name="connsiteX1330" fmla="*/ 1116084 w 1754912"/>
                  <a:gd name="connsiteY1330" fmla="*/ 317500 h 2476500"/>
                  <a:gd name="connsiteX1331" fmla="*/ 1120847 w 1754912"/>
                  <a:gd name="connsiteY1331" fmla="*/ 311150 h 2476500"/>
                  <a:gd name="connsiteX1332" fmla="*/ 1119259 w 1754912"/>
                  <a:gd name="connsiteY1332" fmla="*/ 303213 h 2476500"/>
                  <a:gd name="connsiteX1333" fmla="*/ 1120847 w 1754912"/>
                  <a:gd name="connsiteY1333" fmla="*/ 292100 h 2476500"/>
                  <a:gd name="connsiteX1334" fmla="*/ 1124022 w 1754912"/>
                  <a:gd name="connsiteY1334" fmla="*/ 287338 h 2476500"/>
                  <a:gd name="connsiteX1335" fmla="*/ 1125609 w 1754912"/>
                  <a:gd name="connsiteY1335" fmla="*/ 280988 h 2476500"/>
                  <a:gd name="connsiteX1336" fmla="*/ 1130372 w 1754912"/>
                  <a:gd name="connsiteY1336" fmla="*/ 271463 h 2476500"/>
                  <a:gd name="connsiteX1337" fmla="*/ 1136722 w 1754912"/>
                  <a:gd name="connsiteY1337" fmla="*/ 284163 h 2476500"/>
                  <a:gd name="connsiteX1338" fmla="*/ 1138309 w 1754912"/>
                  <a:gd name="connsiteY1338" fmla="*/ 288925 h 2476500"/>
                  <a:gd name="connsiteX1339" fmla="*/ 1144659 w 1754912"/>
                  <a:gd name="connsiteY1339" fmla="*/ 296863 h 2476500"/>
                  <a:gd name="connsiteX1340" fmla="*/ 1151009 w 1754912"/>
                  <a:gd name="connsiteY1340" fmla="*/ 298450 h 2476500"/>
                  <a:gd name="connsiteX1341" fmla="*/ 1154184 w 1754912"/>
                  <a:gd name="connsiteY1341" fmla="*/ 309563 h 2476500"/>
                  <a:gd name="connsiteX1342" fmla="*/ 1173234 w 1754912"/>
                  <a:gd name="connsiteY1342" fmla="*/ 312738 h 2476500"/>
                  <a:gd name="connsiteX1343" fmla="*/ 1177997 w 1754912"/>
                  <a:gd name="connsiteY1343" fmla="*/ 314325 h 2476500"/>
                  <a:gd name="connsiteX1344" fmla="*/ 1187522 w 1754912"/>
                  <a:gd name="connsiteY1344" fmla="*/ 314325 h 2476500"/>
                  <a:gd name="connsiteX1345" fmla="*/ 1198634 w 1754912"/>
                  <a:gd name="connsiteY1345" fmla="*/ 315913 h 2476500"/>
                  <a:gd name="connsiteX1346" fmla="*/ 1197047 w 1754912"/>
                  <a:gd name="connsiteY1346" fmla="*/ 304800 h 2476500"/>
                  <a:gd name="connsiteX1347" fmla="*/ 1187522 w 1754912"/>
                  <a:gd name="connsiteY1347" fmla="*/ 292100 h 2476500"/>
                  <a:gd name="connsiteX1348" fmla="*/ 1181172 w 1754912"/>
                  <a:gd name="connsiteY1348" fmla="*/ 290513 h 2476500"/>
                  <a:gd name="connsiteX1349" fmla="*/ 1174822 w 1754912"/>
                  <a:gd name="connsiteY1349" fmla="*/ 284163 h 2476500"/>
                  <a:gd name="connsiteX1350" fmla="*/ 1173234 w 1754912"/>
                  <a:gd name="connsiteY1350" fmla="*/ 276225 h 2476500"/>
                  <a:gd name="connsiteX1351" fmla="*/ 1171647 w 1754912"/>
                  <a:gd name="connsiteY1351" fmla="*/ 271463 h 2476500"/>
                  <a:gd name="connsiteX1352" fmla="*/ 1160534 w 1754912"/>
                  <a:gd name="connsiteY1352" fmla="*/ 266700 h 2476500"/>
                  <a:gd name="connsiteX1353" fmla="*/ 1154184 w 1754912"/>
                  <a:gd name="connsiteY1353" fmla="*/ 260350 h 2476500"/>
                  <a:gd name="connsiteX1354" fmla="*/ 1139897 w 1754912"/>
                  <a:gd name="connsiteY1354" fmla="*/ 257175 h 2476500"/>
                  <a:gd name="connsiteX1355" fmla="*/ 1141484 w 1754912"/>
                  <a:gd name="connsiteY1355" fmla="*/ 234950 h 2476500"/>
                  <a:gd name="connsiteX1356" fmla="*/ 1154184 w 1754912"/>
                  <a:gd name="connsiteY1356" fmla="*/ 244475 h 2476500"/>
                  <a:gd name="connsiteX1357" fmla="*/ 1152597 w 1754912"/>
                  <a:gd name="connsiteY1357" fmla="*/ 230188 h 2476500"/>
                  <a:gd name="connsiteX1358" fmla="*/ 1144659 w 1754912"/>
                  <a:gd name="connsiteY1358" fmla="*/ 215900 h 2476500"/>
                  <a:gd name="connsiteX1359" fmla="*/ 1146247 w 1754912"/>
                  <a:gd name="connsiteY1359" fmla="*/ 207963 h 2476500"/>
                  <a:gd name="connsiteX1360" fmla="*/ 1154184 w 1754912"/>
                  <a:gd name="connsiteY1360" fmla="*/ 206375 h 2476500"/>
                  <a:gd name="connsiteX1361" fmla="*/ 1170059 w 1754912"/>
                  <a:gd name="connsiteY1361" fmla="*/ 234950 h 2476500"/>
                  <a:gd name="connsiteX1362" fmla="*/ 1174822 w 1754912"/>
                  <a:gd name="connsiteY1362" fmla="*/ 225425 h 2476500"/>
                  <a:gd name="connsiteX1363" fmla="*/ 1179584 w 1754912"/>
                  <a:gd name="connsiteY1363" fmla="*/ 219075 h 2476500"/>
                  <a:gd name="connsiteX1364" fmla="*/ 1184347 w 1754912"/>
                  <a:gd name="connsiteY1364" fmla="*/ 217488 h 2476500"/>
                  <a:gd name="connsiteX1365" fmla="*/ 1185934 w 1754912"/>
                  <a:gd name="connsiteY1365" fmla="*/ 227013 h 2476500"/>
                  <a:gd name="connsiteX1366" fmla="*/ 1187522 w 1754912"/>
                  <a:gd name="connsiteY1366" fmla="*/ 234950 h 2476500"/>
                  <a:gd name="connsiteX1367" fmla="*/ 1189109 w 1754912"/>
                  <a:gd name="connsiteY1367" fmla="*/ 230188 h 2476500"/>
                  <a:gd name="connsiteX1368" fmla="*/ 1195459 w 1754912"/>
                  <a:gd name="connsiteY1368" fmla="*/ 225425 h 2476500"/>
                  <a:gd name="connsiteX1369" fmla="*/ 1195459 w 1754912"/>
                  <a:gd name="connsiteY1369" fmla="*/ 244475 h 2476500"/>
                  <a:gd name="connsiteX1370" fmla="*/ 1203397 w 1754912"/>
                  <a:gd name="connsiteY1370" fmla="*/ 242888 h 2476500"/>
                  <a:gd name="connsiteX1371" fmla="*/ 1204984 w 1754912"/>
                  <a:gd name="connsiteY1371" fmla="*/ 233363 h 2476500"/>
                  <a:gd name="connsiteX1372" fmla="*/ 1220859 w 1754912"/>
                  <a:gd name="connsiteY1372" fmla="*/ 230188 h 2476500"/>
                  <a:gd name="connsiteX1373" fmla="*/ 1216097 w 1754912"/>
                  <a:gd name="connsiteY1373" fmla="*/ 247650 h 2476500"/>
                  <a:gd name="connsiteX1374" fmla="*/ 1217684 w 1754912"/>
                  <a:gd name="connsiteY1374" fmla="*/ 254000 h 2476500"/>
                  <a:gd name="connsiteX1375" fmla="*/ 1227209 w 1754912"/>
                  <a:gd name="connsiteY1375" fmla="*/ 252413 h 2476500"/>
                  <a:gd name="connsiteX1376" fmla="*/ 1228797 w 1754912"/>
                  <a:gd name="connsiteY1376" fmla="*/ 247650 h 2476500"/>
                  <a:gd name="connsiteX1377" fmla="*/ 1233559 w 1754912"/>
                  <a:gd name="connsiteY1377" fmla="*/ 249238 h 2476500"/>
                  <a:gd name="connsiteX1378" fmla="*/ 1247847 w 1754912"/>
                  <a:gd name="connsiteY1378" fmla="*/ 255588 h 2476500"/>
                  <a:gd name="connsiteX1379" fmla="*/ 1252609 w 1754912"/>
                  <a:gd name="connsiteY1379" fmla="*/ 268288 h 2476500"/>
                  <a:gd name="connsiteX1380" fmla="*/ 1257372 w 1754912"/>
                  <a:gd name="connsiteY1380" fmla="*/ 269875 h 2476500"/>
                  <a:gd name="connsiteX1381" fmla="*/ 1262134 w 1754912"/>
                  <a:gd name="connsiteY1381" fmla="*/ 268288 h 2476500"/>
                  <a:gd name="connsiteX1382" fmla="*/ 1266897 w 1754912"/>
                  <a:gd name="connsiteY1382" fmla="*/ 269875 h 2476500"/>
                  <a:gd name="connsiteX1383" fmla="*/ 1270072 w 1754912"/>
                  <a:gd name="connsiteY1383" fmla="*/ 265113 h 2476500"/>
                  <a:gd name="connsiteX1384" fmla="*/ 1265309 w 1754912"/>
                  <a:gd name="connsiteY1384" fmla="*/ 254000 h 2476500"/>
                  <a:gd name="connsiteX1385" fmla="*/ 1260547 w 1754912"/>
                  <a:gd name="connsiteY1385" fmla="*/ 250825 h 2476500"/>
                  <a:gd name="connsiteX1386" fmla="*/ 1257372 w 1754912"/>
                  <a:gd name="connsiteY1386" fmla="*/ 246063 h 2476500"/>
                  <a:gd name="connsiteX1387" fmla="*/ 1260547 w 1754912"/>
                  <a:gd name="connsiteY1387" fmla="*/ 239713 h 2476500"/>
                  <a:gd name="connsiteX1388" fmla="*/ 1266897 w 1754912"/>
                  <a:gd name="connsiteY1388" fmla="*/ 231775 h 2476500"/>
                  <a:gd name="connsiteX1389" fmla="*/ 1254197 w 1754912"/>
                  <a:gd name="connsiteY1389" fmla="*/ 231775 h 2476500"/>
                  <a:gd name="connsiteX1390" fmla="*/ 1246259 w 1754912"/>
                  <a:gd name="connsiteY1390" fmla="*/ 230188 h 2476500"/>
                  <a:gd name="connsiteX1391" fmla="*/ 1251022 w 1754912"/>
                  <a:gd name="connsiteY1391" fmla="*/ 223838 h 2476500"/>
                  <a:gd name="connsiteX1392" fmla="*/ 1260547 w 1754912"/>
                  <a:gd name="connsiteY1392" fmla="*/ 220663 h 2476500"/>
                  <a:gd name="connsiteX1393" fmla="*/ 1266897 w 1754912"/>
                  <a:gd name="connsiteY1393" fmla="*/ 217488 h 2476500"/>
                  <a:gd name="connsiteX1394" fmla="*/ 1263722 w 1754912"/>
                  <a:gd name="connsiteY1394" fmla="*/ 212725 h 2476500"/>
                  <a:gd name="connsiteX1395" fmla="*/ 1255784 w 1754912"/>
                  <a:gd name="connsiteY1395" fmla="*/ 206375 h 2476500"/>
                  <a:gd name="connsiteX1396" fmla="*/ 1263722 w 1754912"/>
                  <a:gd name="connsiteY1396" fmla="*/ 196850 h 2476500"/>
                  <a:gd name="connsiteX1397" fmla="*/ 1274834 w 1754912"/>
                  <a:gd name="connsiteY1397" fmla="*/ 192088 h 2476500"/>
                  <a:gd name="connsiteX1398" fmla="*/ 1282772 w 1754912"/>
                  <a:gd name="connsiteY1398" fmla="*/ 174625 h 2476500"/>
                  <a:gd name="connsiteX1399" fmla="*/ 1284359 w 1754912"/>
                  <a:gd name="connsiteY1399" fmla="*/ 169863 h 2476500"/>
                  <a:gd name="connsiteX1400" fmla="*/ 1290709 w 1754912"/>
                  <a:gd name="connsiteY1400" fmla="*/ 168275 h 2476500"/>
                  <a:gd name="connsiteX1401" fmla="*/ 1301822 w 1754912"/>
                  <a:gd name="connsiteY1401" fmla="*/ 166688 h 2476500"/>
                  <a:gd name="connsiteX1402" fmla="*/ 1295472 w 1754912"/>
                  <a:gd name="connsiteY1402" fmla="*/ 165100 h 2476500"/>
                  <a:gd name="connsiteX1403" fmla="*/ 1290709 w 1754912"/>
                  <a:gd name="connsiteY1403" fmla="*/ 150813 h 2476500"/>
                  <a:gd name="connsiteX1404" fmla="*/ 1306584 w 1754912"/>
                  <a:gd name="connsiteY1404" fmla="*/ 142875 h 2476500"/>
                  <a:gd name="connsiteX1405" fmla="*/ 1319284 w 1754912"/>
                  <a:gd name="connsiteY1405" fmla="*/ 138113 h 2476500"/>
                  <a:gd name="connsiteX1406" fmla="*/ 1322459 w 1754912"/>
                  <a:gd name="connsiteY1406" fmla="*/ 133350 h 2476500"/>
                  <a:gd name="connsiteX1407" fmla="*/ 1309759 w 1754912"/>
                  <a:gd name="connsiteY1407" fmla="*/ 125413 h 2476500"/>
                  <a:gd name="connsiteX1408" fmla="*/ 1304997 w 1754912"/>
                  <a:gd name="connsiteY1408" fmla="*/ 123825 h 2476500"/>
                  <a:gd name="connsiteX1409" fmla="*/ 1293884 w 1754912"/>
                  <a:gd name="connsiteY1409" fmla="*/ 104775 h 2476500"/>
                  <a:gd name="connsiteX1410" fmla="*/ 1287534 w 1754912"/>
                  <a:gd name="connsiteY1410" fmla="*/ 103188 h 2476500"/>
                  <a:gd name="connsiteX1411" fmla="*/ 1279597 w 1754912"/>
                  <a:gd name="connsiteY1411" fmla="*/ 100013 h 2476500"/>
                  <a:gd name="connsiteX1412" fmla="*/ 1282772 w 1754912"/>
                  <a:gd name="connsiteY1412" fmla="*/ 90488 h 2476500"/>
                  <a:gd name="connsiteX1413" fmla="*/ 1290709 w 1754912"/>
                  <a:gd name="connsiteY1413" fmla="*/ 88900 h 2476500"/>
                  <a:gd name="connsiteX1414" fmla="*/ 1297059 w 1754912"/>
                  <a:gd name="connsiteY1414" fmla="*/ 87313 h 2476500"/>
                  <a:gd name="connsiteX1415" fmla="*/ 1301822 w 1754912"/>
                  <a:gd name="connsiteY1415" fmla="*/ 85725 h 2476500"/>
                  <a:gd name="connsiteX1416" fmla="*/ 1312934 w 1754912"/>
                  <a:gd name="connsiteY1416" fmla="*/ 84138 h 2476500"/>
                  <a:gd name="connsiteX1417" fmla="*/ 1306584 w 1754912"/>
                  <a:gd name="connsiteY1417" fmla="*/ 73025 h 2476500"/>
                  <a:gd name="connsiteX1418" fmla="*/ 1311347 w 1754912"/>
                  <a:gd name="connsiteY1418" fmla="*/ 68263 h 2476500"/>
                  <a:gd name="connsiteX1419" fmla="*/ 1317697 w 1754912"/>
                  <a:gd name="connsiteY1419" fmla="*/ 66675 h 2476500"/>
                  <a:gd name="connsiteX1420" fmla="*/ 1327222 w 1754912"/>
                  <a:gd name="connsiteY1420" fmla="*/ 68263 h 2476500"/>
                  <a:gd name="connsiteX1421" fmla="*/ 1331984 w 1754912"/>
                  <a:gd name="connsiteY1421" fmla="*/ 79375 h 2476500"/>
                  <a:gd name="connsiteX1422" fmla="*/ 1336747 w 1754912"/>
                  <a:gd name="connsiteY1422" fmla="*/ 80963 h 2476500"/>
                  <a:gd name="connsiteX1423" fmla="*/ 1347859 w 1754912"/>
                  <a:gd name="connsiteY1423" fmla="*/ 77788 h 2476500"/>
                  <a:gd name="connsiteX1424" fmla="*/ 1351034 w 1754912"/>
                  <a:gd name="connsiteY1424" fmla="*/ 73025 h 2476500"/>
                  <a:gd name="connsiteX1425" fmla="*/ 1357384 w 1754912"/>
                  <a:gd name="connsiteY1425" fmla="*/ 68263 h 2476500"/>
                  <a:gd name="connsiteX1426" fmla="*/ 1363734 w 1754912"/>
                  <a:gd name="connsiteY1426" fmla="*/ 85725 h 2476500"/>
                  <a:gd name="connsiteX1427" fmla="*/ 1370084 w 1754912"/>
                  <a:gd name="connsiteY1427" fmla="*/ 82550 h 2476500"/>
                  <a:gd name="connsiteX1428" fmla="*/ 1384372 w 1754912"/>
                  <a:gd name="connsiteY1428" fmla="*/ 74613 h 2476500"/>
                  <a:gd name="connsiteX1429" fmla="*/ 1387547 w 1754912"/>
                  <a:gd name="connsiteY1429" fmla="*/ 82550 h 2476500"/>
                  <a:gd name="connsiteX1430" fmla="*/ 1376434 w 1754912"/>
                  <a:gd name="connsiteY1430" fmla="*/ 101600 h 2476500"/>
                  <a:gd name="connsiteX1431" fmla="*/ 1374847 w 1754912"/>
                  <a:gd name="connsiteY1431" fmla="*/ 107950 h 2476500"/>
                  <a:gd name="connsiteX1432" fmla="*/ 1363734 w 1754912"/>
                  <a:gd name="connsiteY1432" fmla="*/ 115888 h 2476500"/>
                  <a:gd name="connsiteX1433" fmla="*/ 1362147 w 1754912"/>
                  <a:gd name="connsiteY1433" fmla="*/ 136525 h 2476500"/>
                  <a:gd name="connsiteX1434" fmla="*/ 1358972 w 1754912"/>
                  <a:gd name="connsiteY1434" fmla="*/ 141288 h 2476500"/>
                  <a:gd name="connsiteX1435" fmla="*/ 1357384 w 1754912"/>
                  <a:gd name="connsiteY1435" fmla="*/ 146050 h 2476500"/>
                  <a:gd name="connsiteX1436" fmla="*/ 1354209 w 1754912"/>
                  <a:gd name="connsiteY1436" fmla="*/ 152400 h 2476500"/>
                  <a:gd name="connsiteX1437" fmla="*/ 1360559 w 1754912"/>
                  <a:gd name="connsiteY1437" fmla="*/ 150813 h 2476500"/>
                  <a:gd name="connsiteX1438" fmla="*/ 1371672 w 1754912"/>
                  <a:gd name="connsiteY1438" fmla="*/ 146050 h 2476500"/>
                  <a:gd name="connsiteX1439" fmla="*/ 1368497 w 1754912"/>
                  <a:gd name="connsiteY1439" fmla="*/ 155575 h 2476500"/>
                  <a:gd name="connsiteX1440" fmla="*/ 1363734 w 1754912"/>
                  <a:gd name="connsiteY1440" fmla="*/ 160338 h 2476500"/>
                  <a:gd name="connsiteX1441" fmla="*/ 1358972 w 1754912"/>
                  <a:gd name="connsiteY1441" fmla="*/ 174625 h 2476500"/>
                  <a:gd name="connsiteX1442" fmla="*/ 1357384 w 1754912"/>
                  <a:gd name="connsiteY1442" fmla="*/ 179388 h 2476500"/>
                  <a:gd name="connsiteX1443" fmla="*/ 1355797 w 1754912"/>
                  <a:gd name="connsiteY1443" fmla="*/ 184150 h 2476500"/>
                  <a:gd name="connsiteX1444" fmla="*/ 1355797 w 1754912"/>
                  <a:gd name="connsiteY1444" fmla="*/ 212725 h 2476500"/>
                  <a:gd name="connsiteX1445" fmla="*/ 1363734 w 1754912"/>
                  <a:gd name="connsiteY1445" fmla="*/ 219075 h 2476500"/>
                  <a:gd name="connsiteX1446" fmla="*/ 1371672 w 1754912"/>
                  <a:gd name="connsiteY1446" fmla="*/ 217488 h 2476500"/>
                  <a:gd name="connsiteX1447" fmla="*/ 1374847 w 1754912"/>
                  <a:gd name="connsiteY1447" fmla="*/ 203200 h 2476500"/>
                  <a:gd name="connsiteX1448" fmla="*/ 1379609 w 1754912"/>
                  <a:gd name="connsiteY1448" fmla="*/ 198438 h 2476500"/>
                  <a:gd name="connsiteX1449" fmla="*/ 1385959 w 1754912"/>
                  <a:gd name="connsiteY1449" fmla="*/ 176213 h 2476500"/>
                  <a:gd name="connsiteX1450" fmla="*/ 1387547 w 1754912"/>
                  <a:gd name="connsiteY1450" fmla="*/ 150813 h 2476500"/>
                  <a:gd name="connsiteX1451" fmla="*/ 1392309 w 1754912"/>
                  <a:gd name="connsiteY1451" fmla="*/ 141288 h 2476500"/>
                  <a:gd name="connsiteX1452" fmla="*/ 1393897 w 1754912"/>
                  <a:gd name="connsiteY1452" fmla="*/ 111125 h 2476500"/>
                  <a:gd name="connsiteX1453" fmla="*/ 1395484 w 1754912"/>
                  <a:gd name="connsiteY1453" fmla="*/ 104775 h 2476500"/>
                  <a:gd name="connsiteX1454" fmla="*/ 1398659 w 1754912"/>
                  <a:gd name="connsiteY1454" fmla="*/ 100013 h 2476500"/>
                  <a:gd name="connsiteX1455" fmla="*/ 1405009 w 1754912"/>
                  <a:gd name="connsiteY1455" fmla="*/ 96838 h 2476500"/>
                  <a:gd name="connsiteX1456" fmla="*/ 1405009 w 1754912"/>
                  <a:gd name="connsiteY1456" fmla="*/ 79375 h 2476500"/>
                  <a:gd name="connsiteX1457" fmla="*/ 1406597 w 1754912"/>
                  <a:gd name="connsiteY1457" fmla="*/ 71438 h 2476500"/>
                  <a:gd name="connsiteX1458" fmla="*/ 1408184 w 1754912"/>
                  <a:gd name="connsiteY1458" fmla="*/ 61913 h 2476500"/>
                  <a:gd name="connsiteX1459" fmla="*/ 1416122 w 1754912"/>
                  <a:gd name="connsiteY1459" fmla="*/ 50800 h 2476500"/>
                  <a:gd name="connsiteX1460" fmla="*/ 1424059 w 1754912"/>
                  <a:gd name="connsiteY1460" fmla="*/ 69850 h 2476500"/>
                  <a:gd name="connsiteX1461" fmla="*/ 1435172 w 1754912"/>
                  <a:gd name="connsiteY1461" fmla="*/ 71438 h 2476500"/>
                  <a:gd name="connsiteX1462" fmla="*/ 1430409 w 1754912"/>
                  <a:gd name="connsiteY1462" fmla="*/ 87313 h 2476500"/>
                  <a:gd name="connsiteX1463" fmla="*/ 1428822 w 1754912"/>
                  <a:gd name="connsiteY1463" fmla="*/ 93663 h 2476500"/>
                  <a:gd name="connsiteX1464" fmla="*/ 1424059 w 1754912"/>
                  <a:gd name="connsiteY1464" fmla="*/ 100013 h 2476500"/>
                  <a:gd name="connsiteX1465" fmla="*/ 1425647 w 1754912"/>
                  <a:gd name="connsiteY1465" fmla="*/ 115888 h 2476500"/>
                  <a:gd name="connsiteX1466" fmla="*/ 1435172 w 1754912"/>
                  <a:gd name="connsiteY1466" fmla="*/ 117475 h 2476500"/>
                  <a:gd name="connsiteX1467" fmla="*/ 1436759 w 1754912"/>
                  <a:gd name="connsiteY1467" fmla="*/ 122238 h 2476500"/>
                  <a:gd name="connsiteX1468" fmla="*/ 1441522 w 1754912"/>
                  <a:gd name="connsiteY1468" fmla="*/ 149225 h 2476500"/>
                  <a:gd name="connsiteX1469" fmla="*/ 1446284 w 1754912"/>
                  <a:gd name="connsiteY1469" fmla="*/ 144463 h 2476500"/>
                  <a:gd name="connsiteX1470" fmla="*/ 1449459 w 1754912"/>
                  <a:gd name="connsiteY1470" fmla="*/ 139700 h 2476500"/>
                  <a:gd name="connsiteX1471" fmla="*/ 1460572 w 1754912"/>
                  <a:gd name="connsiteY1471" fmla="*/ 130175 h 2476500"/>
                  <a:gd name="connsiteX1472" fmla="*/ 1465334 w 1754912"/>
                  <a:gd name="connsiteY1472" fmla="*/ 128588 h 2476500"/>
                  <a:gd name="connsiteX1473" fmla="*/ 1470097 w 1754912"/>
                  <a:gd name="connsiteY1473" fmla="*/ 119063 h 2476500"/>
                  <a:gd name="connsiteX1474" fmla="*/ 1471684 w 1754912"/>
                  <a:gd name="connsiteY1474" fmla="*/ 114300 h 2476500"/>
                  <a:gd name="connsiteX1475" fmla="*/ 1462159 w 1754912"/>
                  <a:gd name="connsiteY1475" fmla="*/ 107950 h 2476500"/>
                  <a:gd name="connsiteX1476" fmla="*/ 1463747 w 1754912"/>
                  <a:gd name="connsiteY1476" fmla="*/ 103188 h 2476500"/>
                  <a:gd name="connsiteX1477" fmla="*/ 1471684 w 1754912"/>
                  <a:gd name="connsiteY1477" fmla="*/ 101600 h 2476500"/>
                  <a:gd name="connsiteX1478" fmla="*/ 1478034 w 1754912"/>
                  <a:gd name="connsiteY1478" fmla="*/ 100013 h 2476500"/>
                  <a:gd name="connsiteX1479" fmla="*/ 1476447 w 1754912"/>
                  <a:gd name="connsiteY1479" fmla="*/ 95250 h 2476500"/>
                  <a:gd name="connsiteX1480" fmla="*/ 1471684 w 1754912"/>
                  <a:gd name="connsiteY1480" fmla="*/ 90488 h 2476500"/>
                  <a:gd name="connsiteX1481" fmla="*/ 1468509 w 1754912"/>
                  <a:gd name="connsiteY1481" fmla="*/ 85725 h 2476500"/>
                  <a:gd name="connsiteX1482" fmla="*/ 1470097 w 1754912"/>
                  <a:gd name="connsiteY1482" fmla="*/ 73025 h 2476500"/>
                  <a:gd name="connsiteX1483" fmla="*/ 1473272 w 1754912"/>
                  <a:gd name="connsiteY1483" fmla="*/ 66675 h 2476500"/>
                  <a:gd name="connsiteX1484" fmla="*/ 1471684 w 1754912"/>
                  <a:gd name="connsiteY1484" fmla="*/ 58738 h 2476500"/>
                  <a:gd name="connsiteX1485" fmla="*/ 1473272 w 1754912"/>
                  <a:gd name="connsiteY1485" fmla="*/ 53975 h 2476500"/>
                  <a:gd name="connsiteX1486" fmla="*/ 1481209 w 1754912"/>
                  <a:gd name="connsiteY1486" fmla="*/ 52388 h 2476500"/>
                  <a:gd name="connsiteX1487" fmla="*/ 1476447 w 1754912"/>
                  <a:gd name="connsiteY1487" fmla="*/ 47625 h 2476500"/>
                  <a:gd name="connsiteX1488" fmla="*/ 1465334 w 1754912"/>
                  <a:gd name="connsiteY1488" fmla="*/ 44450 h 2476500"/>
                  <a:gd name="connsiteX1489" fmla="*/ 1460572 w 1754912"/>
                  <a:gd name="connsiteY1489" fmla="*/ 41275 h 2476500"/>
                  <a:gd name="connsiteX1490" fmla="*/ 1458984 w 1754912"/>
                  <a:gd name="connsiteY1490" fmla="*/ 26988 h 2476500"/>
                  <a:gd name="connsiteX1491" fmla="*/ 1463747 w 1754912"/>
                  <a:gd name="connsiteY1491" fmla="*/ 23813 h 2476500"/>
                  <a:gd name="connsiteX1492" fmla="*/ 1470097 w 1754912"/>
                  <a:gd name="connsiteY1492" fmla="*/ 19050 h 2476500"/>
                  <a:gd name="connsiteX1493" fmla="*/ 1474859 w 1754912"/>
                  <a:gd name="connsiteY1493" fmla="*/ 28575 h 2476500"/>
                  <a:gd name="connsiteX1494" fmla="*/ 1479622 w 1754912"/>
                  <a:gd name="connsiteY1494" fmla="*/ 20638 h 2476500"/>
                  <a:gd name="connsiteX1495" fmla="*/ 1481209 w 1754912"/>
                  <a:gd name="connsiteY1495" fmla="*/ 3175 h 2476500"/>
                  <a:gd name="connsiteX1496" fmla="*/ 1487559 w 1754912"/>
                  <a:gd name="connsiteY1496" fmla="*/ 0 h 2476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Lst>
                <a:rect l="l" t="t" r="r" b="b"/>
                <a:pathLst>
                  <a:path w="1754912" h="2476500">
                    <a:moveTo>
                      <a:pt x="569984" y="1338263"/>
                    </a:moveTo>
                    <a:lnTo>
                      <a:pt x="557284" y="1349375"/>
                    </a:lnTo>
                    <a:cubicBezTo>
                      <a:pt x="548953" y="1357012"/>
                      <a:pt x="552516" y="1353353"/>
                      <a:pt x="547759" y="1362075"/>
                    </a:cubicBezTo>
                    <a:cubicBezTo>
                      <a:pt x="540587" y="1375225"/>
                      <a:pt x="542101" y="1369822"/>
                      <a:pt x="538234" y="1382713"/>
                    </a:cubicBezTo>
                    <a:cubicBezTo>
                      <a:pt x="537607" y="1384803"/>
                      <a:pt x="537104" y="1386930"/>
                      <a:pt x="536647" y="1389063"/>
                    </a:cubicBezTo>
                    <a:cubicBezTo>
                      <a:pt x="535516" y="1394340"/>
                      <a:pt x="538795" y="1404051"/>
                      <a:pt x="533472" y="1404938"/>
                    </a:cubicBezTo>
                    <a:lnTo>
                      <a:pt x="523947" y="1406525"/>
                    </a:lnTo>
                    <a:cubicBezTo>
                      <a:pt x="510296" y="1415625"/>
                      <a:pt x="527568" y="1404715"/>
                      <a:pt x="514422" y="1411288"/>
                    </a:cubicBezTo>
                    <a:cubicBezTo>
                      <a:pt x="503464" y="1416768"/>
                      <a:pt x="516518" y="1412749"/>
                      <a:pt x="503309" y="1416050"/>
                    </a:cubicBezTo>
                    <a:cubicBezTo>
                      <a:pt x="502251" y="1418696"/>
                      <a:pt x="500953" y="1421258"/>
                      <a:pt x="500134" y="1423988"/>
                    </a:cubicBezTo>
                    <a:cubicBezTo>
                      <a:pt x="499359" y="1426572"/>
                      <a:pt x="500166" y="1429767"/>
                      <a:pt x="498547" y="1431925"/>
                    </a:cubicBezTo>
                    <a:cubicBezTo>
                      <a:pt x="495377" y="1436151"/>
                      <a:pt x="488909" y="1437113"/>
                      <a:pt x="484259" y="1438275"/>
                    </a:cubicBezTo>
                    <a:cubicBezTo>
                      <a:pt x="487963" y="1438804"/>
                      <a:pt x="491630" y="1439863"/>
                      <a:pt x="495372" y="1439863"/>
                    </a:cubicBezTo>
                    <a:cubicBezTo>
                      <a:pt x="504344" y="1439863"/>
                      <a:pt x="506138" y="1438920"/>
                      <a:pt x="512834" y="1436688"/>
                    </a:cubicBezTo>
                    <a:cubicBezTo>
                      <a:pt x="513892" y="1438275"/>
                      <a:pt x="515739" y="1439561"/>
                      <a:pt x="516009" y="1441450"/>
                    </a:cubicBezTo>
                    <a:cubicBezTo>
                      <a:pt x="516955" y="1448069"/>
                      <a:pt x="511494" y="1449873"/>
                      <a:pt x="508072" y="1454150"/>
                    </a:cubicBezTo>
                    <a:cubicBezTo>
                      <a:pt x="503695" y="1459622"/>
                      <a:pt x="502527" y="1464461"/>
                      <a:pt x="496959" y="1468438"/>
                    </a:cubicBezTo>
                    <a:cubicBezTo>
                      <a:pt x="495033" y="1469814"/>
                      <a:pt x="492687" y="1470480"/>
                      <a:pt x="490609" y="1471613"/>
                    </a:cubicBezTo>
                    <a:cubicBezTo>
                      <a:pt x="469918" y="1482899"/>
                      <a:pt x="487487" y="1473968"/>
                      <a:pt x="473147" y="1481138"/>
                    </a:cubicBezTo>
                    <a:cubicBezTo>
                      <a:pt x="471030" y="1483784"/>
                      <a:pt x="469370" y="1486870"/>
                      <a:pt x="466797" y="1489075"/>
                    </a:cubicBezTo>
                    <a:cubicBezTo>
                      <a:pt x="465526" y="1490164"/>
                      <a:pt x="463453" y="1489776"/>
                      <a:pt x="462034" y="1490663"/>
                    </a:cubicBezTo>
                    <a:cubicBezTo>
                      <a:pt x="459161" y="1492459"/>
                      <a:pt x="456493" y="1494617"/>
                      <a:pt x="454097" y="1497013"/>
                    </a:cubicBezTo>
                    <a:cubicBezTo>
                      <a:pt x="443517" y="1507593"/>
                      <a:pt x="458857" y="1496485"/>
                      <a:pt x="446159" y="1504950"/>
                    </a:cubicBezTo>
                    <a:cubicBezTo>
                      <a:pt x="444042" y="1503363"/>
                      <a:pt x="442106" y="1501501"/>
                      <a:pt x="439809" y="1500188"/>
                    </a:cubicBezTo>
                    <a:lnTo>
                      <a:pt x="436315" y="1499023"/>
                    </a:lnTo>
                    <a:lnTo>
                      <a:pt x="438112" y="1502403"/>
                    </a:lnTo>
                    <a:cubicBezTo>
                      <a:pt x="440001" y="1506427"/>
                      <a:pt x="441397" y="1509713"/>
                      <a:pt x="441397" y="1509713"/>
                    </a:cubicBezTo>
                    <a:cubicBezTo>
                      <a:pt x="441907" y="1511754"/>
                      <a:pt x="443431" y="1518543"/>
                      <a:pt x="444572" y="1520825"/>
                    </a:cubicBezTo>
                    <a:cubicBezTo>
                      <a:pt x="445425" y="1522532"/>
                      <a:pt x="446194" y="1524479"/>
                      <a:pt x="447747" y="1525588"/>
                    </a:cubicBezTo>
                    <a:cubicBezTo>
                      <a:pt x="450066" y="1527244"/>
                      <a:pt x="453135" y="1527489"/>
                      <a:pt x="455684" y="1528763"/>
                    </a:cubicBezTo>
                    <a:cubicBezTo>
                      <a:pt x="458444" y="1530143"/>
                      <a:pt x="460976" y="1531938"/>
                      <a:pt x="463622" y="1533525"/>
                    </a:cubicBezTo>
                    <a:cubicBezTo>
                      <a:pt x="463636" y="1533582"/>
                      <a:pt x="466037" y="1543878"/>
                      <a:pt x="466797" y="1544638"/>
                    </a:cubicBezTo>
                    <a:cubicBezTo>
                      <a:pt x="467980" y="1545821"/>
                      <a:pt x="469972" y="1545696"/>
                      <a:pt x="471559" y="1546225"/>
                    </a:cubicBezTo>
                    <a:cubicBezTo>
                      <a:pt x="471030" y="1541463"/>
                      <a:pt x="471487" y="1536484"/>
                      <a:pt x="469972" y="1531938"/>
                    </a:cubicBezTo>
                    <a:cubicBezTo>
                      <a:pt x="469262" y="1529808"/>
                      <a:pt x="466670" y="1528880"/>
                      <a:pt x="465209" y="1527175"/>
                    </a:cubicBezTo>
                    <a:cubicBezTo>
                      <a:pt x="463487" y="1525166"/>
                      <a:pt x="462034" y="1522942"/>
                      <a:pt x="460447" y="1520825"/>
                    </a:cubicBezTo>
                    <a:cubicBezTo>
                      <a:pt x="461306" y="1513948"/>
                      <a:pt x="458353" y="1506538"/>
                      <a:pt x="466797" y="1506538"/>
                    </a:cubicBezTo>
                    <a:cubicBezTo>
                      <a:pt x="468470" y="1506538"/>
                      <a:pt x="469972" y="1507596"/>
                      <a:pt x="471559" y="1508125"/>
                    </a:cubicBezTo>
                    <a:cubicBezTo>
                      <a:pt x="473147" y="1510242"/>
                      <a:pt x="473721" y="1513987"/>
                      <a:pt x="476322" y="1514475"/>
                    </a:cubicBezTo>
                    <a:cubicBezTo>
                      <a:pt x="485350" y="1516168"/>
                      <a:pt x="494625" y="1513472"/>
                      <a:pt x="503309" y="1511300"/>
                    </a:cubicBezTo>
                    <a:cubicBezTo>
                      <a:pt x="504897" y="1510242"/>
                      <a:pt x="507548" y="1509960"/>
                      <a:pt x="508072" y="1508125"/>
                    </a:cubicBezTo>
                    <a:cubicBezTo>
                      <a:pt x="508813" y="1505531"/>
                      <a:pt x="506228" y="1502874"/>
                      <a:pt x="506484" y="1500188"/>
                    </a:cubicBezTo>
                    <a:cubicBezTo>
                      <a:pt x="507301" y="1491613"/>
                      <a:pt x="508125" y="1482816"/>
                      <a:pt x="511247" y="1474788"/>
                    </a:cubicBezTo>
                    <a:cubicBezTo>
                      <a:pt x="512105" y="1472582"/>
                      <a:pt x="515422" y="1472545"/>
                      <a:pt x="517597" y="1471613"/>
                    </a:cubicBezTo>
                    <a:cubicBezTo>
                      <a:pt x="522197" y="1469641"/>
                      <a:pt x="522291" y="1469976"/>
                      <a:pt x="522378" y="1470040"/>
                    </a:cubicBezTo>
                    <a:lnTo>
                      <a:pt x="524394" y="1468685"/>
                    </a:lnTo>
                    <a:lnTo>
                      <a:pt x="525534" y="1465263"/>
                    </a:lnTo>
                    <a:lnTo>
                      <a:pt x="526329" y="1464070"/>
                    </a:lnTo>
                    <a:lnTo>
                      <a:pt x="524516" y="1468602"/>
                    </a:lnTo>
                    <a:lnTo>
                      <a:pt x="527122" y="1466850"/>
                    </a:lnTo>
                    <a:cubicBezTo>
                      <a:pt x="528709" y="1463675"/>
                      <a:pt x="529231" y="1459683"/>
                      <a:pt x="531884" y="1457325"/>
                    </a:cubicBezTo>
                    <a:cubicBezTo>
                      <a:pt x="534385" y="1455102"/>
                      <a:pt x="538624" y="1456006"/>
                      <a:pt x="541409" y="1454150"/>
                    </a:cubicBezTo>
                    <a:lnTo>
                      <a:pt x="544498" y="1452091"/>
                    </a:lnTo>
                    <a:lnTo>
                      <a:pt x="535059" y="1452563"/>
                    </a:lnTo>
                    <a:cubicBezTo>
                      <a:pt x="533167" y="1452810"/>
                      <a:pt x="531489" y="1454248"/>
                      <a:pt x="530297" y="1455738"/>
                    </a:cubicBezTo>
                    <a:cubicBezTo>
                      <a:pt x="529252" y="1457045"/>
                      <a:pt x="529457" y="1459003"/>
                      <a:pt x="528709" y="1460500"/>
                    </a:cubicBezTo>
                    <a:lnTo>
                      <a:pt x="526329" y="1464070"/>
                    </a:lnTo>
                    <a:lnTo>
                      <a:pt x="527122" y="1462088"/>
                    </a:lnTo>
                    <a:cubicBezTo>
                      <a:pt x="527122" y="1456776"/>
                      <a:pt x="524277" y="1448790"/>
                      <a:pt x="522359" y="1443038"/>
                    </a:cubicBezTo>
                    <a:cubicBezTo>
                      <a:pt x="523947" y="1440921"/>
                      <a:pt x="525089" y="1438382"/>
                      <a:pt x="527122" y="1436688"/>
                    </a:cubicBezTo>
                    <a:cubicBezTo>
                      <a:pt x="528407" y="1435617"/>
                      <a:pt x="531054" y="1436553"/>
                      <a:pt x="531884" y="1435100"/>
                    </a:cubicBezTo>
                    <a:cubicBezTo>
                      <a:pt x="533481" y="1432305"/>
                      <a:pt x="532454" y="1428629"/>
                      <a:pt x="533472" y="1425575"/>
                    </a:cubicBezTo>
                    <a:cubicBezTo>
                      <a:pt x="533774" y="1424670"/>
                      <a:pt x="539727" y="1426787"/>
                      <a:pt x="546001" y="1429262"/>
                    </a:cubicBezTo>
                    <a:lnTo>
                      <a:pt x="552494" y="1431898"/>
                    </a:lnTo>
                    <a:cubicBezTo>
                      <a:pt x="552503" y="1431907"/>
                      <a:pt x="552513" y="1431916"/>
                      <a:pt x="552522" y="1431925"/>
                    </a:cubicBezTo>
                    <a:cubicBezTo>
                      <a:pt x="554781" y="1433662"/>
                      <a:pt x="563634" y="1436158"/>
                      <a:pt x="560459" y="1435100"/>
                    </a:cubicBezTo>
                    <a:cubicBezTo>
                      <a:pt x="559666" y="1434835"/>
                      <a:pt x="557620" y="1433995"/>
                      <a:pt x="554988" y="1432911"/>
                    </a:cubicBezTo>
                    <a:lnTo>
                      <a:pt x="552494" y="1431898"/>
                    </a:lnTo>
                    <a:lnTo>
                      <a:pt x="544393" y="1424206"/>
                    </a:lnTo>
                    <a:cubicBezTo>
                      <a:pt x="541811" y="1421487"/>
                      <a:pt x="539822" y="1419225"/>
                      <a:pt x="539822" y="1419225"/>
                    </a:cubicBezTo>
                    <a:cubicBezTo>
                      <a:pt x="540351" y="1416050"/>
                      <a:pt x="539970" y="1412579"/>
                      <a:pt x="541409" y="1409700"/>
                    </a:cubicBezTo>
                    <a:cubicBezTo>
                      <a:pt x="542262" y="1407993"/>
                      <a:pt x="544629" y="1407647"/>
                      <a:pt x="546172" y="1406525"/>
                    </a:cubicBezTo>
                    <a:cubicBezTo>
                      <a:pt x="562226" y="1394850"/>
                      <a:pt x="553486" y="1399693"/>
                      <a:pt x="565222" y="1393825"/>
                    </a:cubicBezTo>
                    <a:cubicBezTo>
                      <a:pt x="565751" y="1392238"/>
                      <a:pt x="566809" y="1390736"/>
                      <a:pt x="566809" y="1389063"/>
                    </a:cubicBezTo>
                    <a:cubicBezTo>
                      <a:pt x="566809" y="1382666"/>
                      <a:pt x="564571" y="1382062"/>
                      <a:pt x="560459" y="1377950"/>
                    </a:cubicBezTo>
                    <a:cubicBezTo>
                      <a:pt x="566566" y="1374286"/>
                      <a:pt x="570481" y="1372811"/>
                      <a:pt x="574747" y="1366838"/>
                    </a:cubicBezTo>
                    <a:cubicBezTo>
                      <a:pt x="575720" y="1365476"/>
                      <a:pt x="575805" y="1363663"/>
                      <a:pt x="576334" y="1362075"/>
                    </a:cubicBezTo>
                    <a:cubicBezTo>
                      <a:pt x="575805" y="1358900"/>
                      <a:pt x="577366" y="1354421"/>
                      <a:pt x="574747" y="1352550"/>
                    </a:cubicBezTo>
                    <a:cubicBezTo>
                      <a:pt x="572128" y="1350679"/>
                      <a:pt x="568193" y="1352900"/>
                      <a:pt x="565222" y="1354138"/>
                    </a:cubicBezTo>
                    <a:cubicBezTo>
                      <a:pt x="561700" y="1355606"/>
                      <a:pt x="559317" y="1359282"/>
                      <a:pt x="555697" y="1360488"/>
                    </a:cubicBezTo>
                    <a:cubicBezTo>
                      <a:pt x="554109" y="1361017"/>
                      <a:pt x="549751" y="1363258"/>
                      <a:pt x="550934" y="1362075"/>
                    </a:cubicBezTo>
                    <a:cubicBezTo>
                      <a:pt x="553116" y="1359893"/>
                      <a:pt x="556226" y="1358900"/>
                      <a:pt x="558872" y="1357313"/>
                    </a:cubicBezTo>
                    <a:cubicBezTo>
                      <a:pt x="560989" y="1354667"/>
                      <a:pt x="563515" y="1352302"/>
                      <a:pt x="565222" y="1349375"/>
                    </a:cubicBezTo>
                    <a:cubicBezTo>
                      <a:pt x="567252" y="1345894"/>
                      <a:pt x="574014" y="1338263"/>
                      <a:pt x="569984" y="1338263"/>
                    </a:cubicBezTo>
                    <a:close/>
                    <a:moveTo>
                      <a:pt x="1487559" y="0"/>
                    </a:moveTo>
                    <a:cubicBezTo>
                      <a:pt x="1490734" y="529"/>
                      <a:pt x="1494964" y="-834"/>
                      <a:pt x="1497084" y="1588"/>
                    </a:cubicBezTo>
                    <a:cubicBezTo>
                      <a:pt x="1500803" y="5838"/>
                      <a:pt x="1497846" y="17654"/>
                      <a:pt x="1497084" y="22225"/>
                    </a:cubicBezTo>
                    <a:cubicBezTo>
                      <a:pt x="1498672" y="23813"/>
                      <a:pt x="1499624" y="27305"/>
                      <a:pt x="1501847" y="26988"/>
                    </a:cubicBezTo>
                    <a:cubicBezTo>
                      <a:pt x="1504810" y="26565"/>
                      <a:pt x="1505834" y="22476"/>
                      <a:pt x="1508197" y="20638"/>
                    </a:cubicBezTo>
                    <a:cubicBezTo>
                      <a:pt x="1510632" y="18744"/>
                      <a:pt x="1513488" y="17463"/>
                      <a:pt x="1516134" y="15875"/>
                    </a:cubicBezTo>
                    <a:cubicBezTo>
                      <a:pt x="1515189" y="18709"/>
                      <a:pt x="1510385" y="31471"/>
                      <a:pt x="1511372" y="34925"/>
                    </a:cubicBezTo>
                    <a:cubicBezTo>
                      <a:pt x="1511832" y="36534"/>
                      <a:pt x="1514547" y="35984"/>
                      <a:pt x="1516134" y="36513"/>
                    </a:cubicBezTo>
                    <a:cubicBezTo>
                      <a:pt x="1519838" y="35455"/>
                      <a:pt x="1523394" y="33338"/>
                      <a:pt x="1527247" y="33338"/>
                    </a:cubicBezTo>
                    <a:cubicBezTo>
                      <a:pt x="1535751" y="33338"/>
                      <a:pt x="1531046" y="44922"/>
                      <a:pt x="1530422" y="47625"/>
                    </a:cubicBezTo>
                    <a:cubicBezTo>
                      <a:pt x="1529670" y="50886"/>
                      <a:pt x="1528632" y="54103"/>
                      <a:pt x="1527247" y="57150"/>
                    </a:cubicBezTo>
                    <a:cubicBezTo>
                      <a:pt x="1525970" y="59959"/>
                      <a:pt x="1523983" y="62391"/>
                      <a:pt x="1522484" y="65088"/>
                    </a:cubicBezTo>
                    <a:cubicBezTo>
                      <a:pt x="1521335" y="67157"/>
                      <a:pt x="1520367" y="69321"/>
                      <a:pt x="1519309" y="71438"/>
                    </a:cubicBezTo>
                    <a:cubicBezTo>
                      <a:pt x="1519838" y="80434"/>
                      <a:pt x="1519130" y="89589"/>
                      <a:pt x="1520897" y="98425"/>
                    </a:cubicBezTo>
                    <a:cubicBezTo>
                      <a:pt x="1521337" y="100626"/>
                      <a:pt x="1524312" y="101392"/>
                      <a:pt x="1525659" y="103188"/>
                    </a:cubicBezTo>
                    <a:cubicBezTo>
                      <a:pt x="1527510" y="105656"/>
                      <a:pt x="1528834" y="108479"/>
                      <a:pt x="1530422" y="111125"/>
                    </a:cubicBezTo>
                    <a:cubicBezTo>
                      <a:pt x="1533078" y="110461"/>
                      <a:pt x="1541317" y="108890"/>
                      <a:pt x="1543122" y="106363"/>
                    </a:cubicBezTo>
                    <a:cubicBezTo>
                      <a:pt x="1544690" y="104167"/>
                      <a:pt x="1544180" y="101071"/>
                      <a:pt x="1544709" y="98425"/>
                    </a:cubicBezTo>
                    <a:cubicBezTo>
                      <a:pt x="1541032" y="69001"/>
                      <a:pt x="1545418" y="105511"/>
                      <a:pt x="1541534" y="66675"/>
                    </a:cubicBezTo>
                    <a:cubicBezTo>
                      <a:pt x="1540251" y="53850"/>
                      <a:pt x="1541096" y="57420"/>
                      <a:pt x="1538359" y="49213"/>
                    </a:cubicBezTo>
                    <a:cubicBezTo>
                      <a:pt x="1539947" y="48155"/>
                      <a:pt x="1541415" y="45185"/>
                      <a:pt x="1543122" y="46038"/>
                    </a:cubicBezTo>
                    <a:cubicBezTo>
                      <a:pt x="1545073" y="47014"/>
                      <a:pt x="1543312" y="54064"/>
                      <a:pt x="1544709" y="52388"/>
                    </a:cubicBezTo>
                    <a:cubicBezTo>
                      <a:pt x="1548357" y="48010"/>
                      <a:pt x="1546500" y="39933"/>
                      <a:pt x="1551059" y="36513"/>
                    </a:cubicBezTo>
                    <a:cubicBezTo>
                      <a:pt x="1553176" y="34925"/>
                      <a:pt x="1555165" y="33152"/>
                      <a:pt x="1557409" y="31750"/>
                    </a:cubicBezTo>
                    <a:cubicBezTo>
                      <a:pt x="1561894" y="28947"/>
                      <a:pt x="1563891" y="28531"/>
                      <a:pt x="1568522" y="26988"/>
                    </a:cubicBezTo>
                    <a:cubicBezTo>
                      <a:pt x="1566934" y="29634"/>
                      <a:pt x="1564015" y="31850"/>
                      <a:pt x="1563759" y="34925"/>
                    </a:cubicBezTo>
                    <a:cubicBezTo>
                      <a:pt x="1562884" y="45429"/>
                      <a:pt x="1565528" y="66715"/>
                      <a:pt x="1566934" y="79375"/>
                    </a:cubicBezTo>
                    <a:cubicBezTo>
                      <a:pt x="1569051" y="78846"/>
                      <a:pt x="1571390" y="78870"/>
                      <a:pt x="1573284" y="77788"/>
                    </a:cubicBezTo>
                    <a:cubicBezTo>
                      <a:pt x="1581423" y="73137"/>
                      <a:pt x="1577824" y="67787"/>
                      <a:pt x="1579634" y="58738"/>
                    </a:cubicBezTo>
                    <a:cubicBezTo>
                      <a:pt x="1580216" y="55828"/>
                      <a:pt x="1583675" y="45942"/>
                      <a:pt x="1585984" y="42863"/>
                    </a:cubicBezTo>
                    <a:cubicBezTo>
                      <a:pt x="1587780" y="40468"/>
                      <a:pt x="1590217" y="38630"/>
                      <a:pt x="1592334" y="36513"/>
                    </a:cubicBezTo>
                    <a:cubicBezTo>
                      <a:pt x="1592863" y="38630"/>
                      <a:pt x="1594103" y="40689"/>
                      <a:pt x="1593922" y="42863"/>
                    </a:cubicBezTo>
                    <a:cubicBezTo>
                      <a:pt x="1592070" y="65091"/>
                      <a:pt x="1588763" y="47624"/>
                      <a:pt x="1592334" y="61913"/>
                    </a:cubicBezTo>
                    <a:cubicBezTo>
                      <a:pt x="1613129" y="46316"/>
                      <a:pt x="1603683" y="49550"/>
                      <a:pt x="1617734" y="46038"/>
                    </a:cubicBezTo>
                    <a:cubicBezTo>
                      <a:pt x="1619322" y="48155"/>
                      <a:pt x="1622095" y="49773"/>
                      <a:pt x="1622497" y="52388"/>
                    </a:cubicBezTo>
                    <a:cubicBezTo>
                      <a:pt x="1623367" y="58044"/>
                      <a:pt x="1620842" y="66944"/>
                      <a:pt x="1619322" y="73025"/>
                    </a:cubicBezTo>
                    <a:cubicBezTo>
                      <a:pt x="1620380" y="76729"/>
                      <a:pt x="1620626" y="80770"/>
                      <a:pt x="1622497" y="84138"/>
                    </a:cubicBezTo>
                    <a:cubicBezTo>
                      <a:pt x="1623423" y="85806"/>
                      <a:pt x="1625408" y="87776"/>
                      <a:pt x="1627259" y="87313"/>
                    </a:cubicBezTo>
                    <a:cubicBezTo>
                      <a:pt x="1630546" y="86491"/>
                      <a:pt x="1632551" y="83080"/>
                      <a:pt x="1635197" y="80963"/>
                    </a:cubicBezTo>
                    <a:cubicBezTo>
                      <a:pt x="1637314" y="77259"/>
                      <a:pt x="1639504" y="73595"/>
                      <a:pt x="1641547" y="69850"/>
                    </a:cubicBezTo>
                    <a:cubicBezTo>
                      <a:pt x="1642680" y="67772"/>
                      <a:pt x="1643182" y="65297"/>
                      <a:pt x="1644722" y="63500"/>
                    </a:cubicBezTo>
                    <a:cubicBezTo>
                      <a:pt x="1646444" y="61491"/>
                      <a:pt x="1648955" y="60325"/>
                      <a:pt x="1651072" y="58738"/>
                    </a:cubicBezTo>
                    <a:cubicBezTo>
                      <a:pt x="1653718" y="60325"/>
                      <a:pt x="1658502" y="60457"/>
                      <a:pt x="1659009" y="63500"/>
                    </a:cubicBezTo>
                    <a:cubicBezTo>
                      <a:pt x="1659834" y="68452"/>
                      <a:pt x="1654247" y="77788"/>
                      <a:pt x="1654247" y="77788"/>
                    </a:cubicBezTo>
                    <a:cubicBezTo>
                      <a:pt x="1655305" y="79905"/>
                      <a:pt x="1655055" y="84138"/>
                      <a:pt x="1657422" y="84138"/>
                    </a:cubicBezTo>
                    <a:cubicBezTo>
                      <a:pt x="1660068" y="84138"/>
                      <a:pt x="1660716" y="79989"/>
                      <a:pt x="1662184" y="77788"/>
                    </a:cubicBezTo>
                    <a:cubicBezTo>
                      <a:pt x="1663896" y="75220"/>
                      <a:pt x="1664915" y="72172"/>
                      <a:pt x="1666947" y="69850"/>
                    </a:cubicBezTo>
                    <a:cubicBezTo>
                      <a:pt x="1670903" y="65329"/>
                      <a:pt x="1673148" y="65138"/>
                      <a:pt x="1678059" y="63500"/>
                    </a:cubicBezTo>
                    <a:cubicBezTo>
                      <a:pt x="1682822" y="64029"/>
                      <a:pt x="1687661" y="64084"/>
                      <a:pt x="1692347" y="65088"/>
                    </a:cubicBezTo>
                    <a:cubicBezTo>
                      <a:pt x="1695133" y="65685"/>
                      <a:pt x="1699010" y="65714"/>
                      <a:pt x="1700284" y="68263"/>
                    </a:cubicBezTo>
                    <a:cubicBezTo>
                      <a:pt x="1701342" y="70380"/>
                      <a:pt x="1698782" y="72940"/>
                      <a:pt x="1697109" y="74613"/>
                    </a:cubicBezTo>
                    <a:cubicBezTo>
                      <a:pt x="1694927" y="76795"/>
                      <a:pt x="1691818" y="77788"/>
                      <a:pt x="1689172" y="79375"/>
                    </a:cubicBezTo>
                    <a:cubicBezTo>
                      <a:pt x="1684820" y="96778"/>
                      <a:pt x="1687729" y="76172"/>
                      <a:pt x="1714572" y="90488"/>
                    </a:cubicBezTo>
                    <a:cubicBezTo>
                      <a:pt x="1717086" y="91829"/>
                      <a:pt x="1712907" y="96009"/>
                      <a:pt x="1711397" y="98425"/>
                    </a:cubicBezTo>
                    <a:cubicBezTo>
                      <a:pt x="1708164" y="103597"/>
                      <a:pt x="1705266" y="103516"/>
                      <a:pt x="1700284" y="106363"/>
                    </a:cubicBezTo>
                    <a:cubicBezTo>
                      <a:pt x="1696313" y="108632"/>
                      <a:pt x="1693742" y="110721"/>
                      <a:pt x="1690759" y="114300"/>
                    </a:cubicBezTo>
                    <a:cubicBezTo>
                      <a:pt x="1689537" y="115766"/>
                      <a:pt x="1688642" y="117475"/>
                      <a:pt x="1687584" y="119063"/>
                    </a:cubicBezTo>
                    <a:cubicBezTo>
                      <a:pt x="1687055" y="120650"/>
                      <a:pt x="1686457" y="122216"/>
                      <a:pt x="1685997" y="123825"/>
                    </a:cubicBezTo>
                    <a:cubicBezTo>
                      <a:pt x="1685398" y="125923"/>
                      <a:pt x="1685175" y="128132"/>
                      <a:pt x="1684409" y="130175"/>
                    </a:cubicBezTo>
                    <a:cubicBezTo>
                      <a:pt x="1683578" y="132391"/>
                      <a:pt x="1683052" y="135010"/>
                      <a:pt x="1681234" y="136525"/>
                    </a:cubicBezTo>
                    <a:cubicBezTo>
                      <a:pt x="1679558" y="137922"/>
                      <a:pt x="1677001" y="137584"/>
                      <a:pt x="1674884" y="138113"/>
                    </a:cubicBezTo>
                    <a:cubicBezTo>
                      <a:pt x="1662651" y="145452"/>
                      <a:pt x="1671320" y="141647"/>
                      <a:pt x="1655834" y="144463"/>
                    </a:cubicBezTo>
                    <a:cubicBezTo>
                      <a:pt x="1653687" y="144853"/>
                      <a:pt x="1651554" y="145360"/>
                      <a:pt x="1649484" y="146050"/>
                    </a:cubicBezTo>
                    <a:cubicBezTo>
                      <a:pt x="1646781" y="146951"/>
                      <a:pt x="1644385" y="148967"/>
                      <a:pt x="1641547" y="149225"/>
                    </a:cubicBezTo>
                    <a:cubicBezTo>
                      <a:pt x="1626782" y="150567"/>
                      <a:pt x="1611914" y="150284"/>
                      <a:pt x="1597097" y="150813"/>
                    </a:cubicBezTo>
                    <a:cubicBezTo>
                      <a:pt x="1595509" y="151342"/>
                      <a:pt x="1592956" y="150846"/>
                      <a:pt x="1592334" y="152400"/>
                    </a:cubicBezTo>
                    <a:cubicBezTo>
                      <a:pt x="1591524" y="154426"/>
                      <a:pt x="1591790" y="158286"/>
                      <a:pt x="1593922" y="158750"/>
                    </a:cubicBezTo>
                    <a:cubicBezTo>
                      <a:pt x="1605310" y="161226"/>
                      <a:pt x="1617205" y="159809"/>
                      <a:pt x="1628847" y="160338"/>
                    </a:cubicBezTo>
                    <a:cubicBezTo>
                      <a:pt x="1633055" y="162021"/>
                      <a:pt x="1639349" y="163331"/>
                      <a:pt x="1641547" y="168275"/>
                    </a:cubicBezTo>
                    <a:cubicBezTo>
                      <a:pt x="1642854" y="171216"/>
                      <a:pt x="1642605" y="174625"/>
                      <a:pt x="1643134" y="177800"/>
                    </a:cubicBezTo>
                    <a:cubicBezTo>
                      <a:pt x="1642605" y="180446"/>
                      <a:pt x="1642201" y="183120"/>
                      <a:pt x="1641547" y="185738"/>
                    </a:cubicBezTo>
                    <a:cubicBezTo>
                      <a:pt x="1640306" y="190703"/>
                      <a:pt x="1637695" y="192660"/>
                      <a:pt x="1641547" y="198438"/>
                    </a:cubicBezTo>
                    <a:cubicBezTo>
                      <a:pt x="1642475" y="199830"/>
                      <a:pt x="1644722" y="199496"/>
                      <a:pt x="1646309" y="200025"/>
                    </a:cubicBezTo>
                    <a:cubicBezTo>
                      <a:pt x="1648426" y="197379"/>
                      <a:pt x="1650127" y="194339"/>
                      <a:pt x="1652659" y="192088"/>
                    </a:cubicBezTo>
                    <a:cubicBezTo>
                      <a:pt x="1666759" y="179555"/>
                      <a:pt x="1656087" y="194089"/>
                      <a:pt x="1663772" y="182563"/>
                    </a:cubicBezTo>
                    <a:cubicBezTo>
                      <a:pt x="1664830" y="184150"/>
                      <a:pt x="1666445" y="185484"/>
                      <a:pt x="1666947" y="187325"/>
                    </a:cubicBezTo>
                    <a:cubicBezTo>
                      <a:pt x="1668069" y="191441"/>
                      <a:pt x="1666168" y="196475"/>
                      <a:pt x="1668534" y="200025"/>
                    </a:cubicBezTo>
                    <a:cubicBezTo>
                      <a:pt x="1669592" y="201613"/>
                      <a:pt x="1671510" y="197520"/>
                      <a:pt x="1673297" y="196850"/>
                    </a:cubicBezTo>
                    <a:cubicBezTo>
                      <a:pt x="1675823" y="195903"/>
                      <a:pt x="1678588" y="195792"/>
                      <a:pt x="1681234" y="195263"/>
                    </a:cubicBezTo>
                    <a:cubicBezTo>
                      <a:pt x="1682822" y="195792"/>
                      <a:pt x="1684324" y="196850"/>
                      <a:pt x="1685997" y="196850"/>
                    </a:cubicBezTo>
                    <a:cubicBezTo>
                      <a:pt x="1695303" y="196850"/>
                      <a:pt x="1690580" y="188041"/>
                      <a:pt x="1692347" y="180975"/>
                    </a:cubicBezTo>
                    <a:cubicBezTo>
                      <a:pt x="1692810" y="179124"/>
                      <a:pt x="1694464" y="177800"/>
                      <a:pt x="1695522" y="176213"/>
                    </a:cubicBezTo>
                    <a:cubicBezTo>
                      <a:pt x="1696051" y="174625"/>
                      <a:pt x="1695926" y="172633"/>
                      <a:pt x="1697109" y="171450"/>
                    </a:cubicBezTo>
                    <a:cubicBezTo>
                      <a:pt x="1698782" y="169777"/>
                      <a:pt x="1702205" y="166268"/>
                      <a:pt x="1703459" y="168275"/>
                    </a:cubicBezTo>
                    <a:cubicBezTo>
                      <a:pt x="1706278" y="172785"/>
                      <a:pt x="1703757" y="178991"/>
                      <a:pt x="1705047" y="184150"/>
                    </a:cubicBezTo>
                    <a:cubicBezTo>
                      <a:pt x="1705908" y="187594"/>
                      <a:pt x="1708222" y="190500"/>
                      <a:pt x="1709809" y="193675"/>
                    </a:cubicBezTo>
                    <a:cubicBezTo>
                      <a:pt x="1710867" y="190500"/>
                      <a:pt x="1711210" y="186988"/>
                      <a:pt x="1712984" y="184150"/>
                    </a:cubicBezTo>
                    <a:cubicBezTo>
                      <a:pt x="1713995" y="182532"/>
                      <a:pt x="1716311" y="182231"/>
                      <a:pt x="1717747" y="180975"/>
                    </a:cubicBezTo>
                    <a:cubicBezTo>
                      <a:pt x="1729124" y="171021"/>
                      <a:pt x="1720948" y="174222"/>
                      <a:pt x="1732034" y="171450"/>
                    </a:cubicBezTo>
                    <a:cubicBezTo>
                      <a:pt x="1732563" y="174096"/>
                      <a:pt x="1733622" y="176690"/>
                      <a:pt x="1733622" y="179388"/>
                    </a:cubicBezTo>
                    <a:cubicBezTo>
                      <a:pt x="1733622" y="189170"/>
                      <a:pt x="1728393" y="192554"/>
                      <a:pt x="1736797" y="184150"/>
                    </a:cubicBezTo>
                    <a:cubicBezTo>
                      <a:pt x="1739443" y="184679"/>
                      <a:pt x="1742321" y="184531"/>
                      <a:pt x="1744734" y="185738"/>
                    </a:cubicBezTo>
                    <a:cubicBezTo>
                      <a:pt x="1746742" y="186742"/>
                      <a:pt x="1747629" y="189255"/>
                      <a:pt x="1749497" y="190500"/>
                    </a:cubicBezTo>
                    <a:cubicBezTo>
                      <a:pt x="1750889" y="191428"/>
                      <a:pt x="1752672" y="191559"/>
                      <a:pt x="1754259" y="192088"/>
                    </a:cubicBezTo>
                    <a:cubicBezTo>
                      <a:pt x="1753730" y="195792"/>
                      <a:pt x="1752672" y="199458"/>
                      <a:pt x="1752672" y="203200"/>
                    </a:cubicBezTo>
                    <a:cubicBezTo>
                      <a:pt x="1752672" y="209572"/>
                      <a:pt x="1756376" y="218546"/>
                      <a:pt x="1754259" y="222250"/>
                    </a:cubicBezTo>
                    <a:cubicBezTo>
                      <a:pt x="1752142" y="225954"/>
                      <a:pt x="1747380" y="225160"/>
                      <a:pt x="1739972" y="225425"/>
                    </a:cubicBezTo>
                    <a:cubicBezTo>
                      <a:pt x="1732564" y="225690"/>
                      <a:pt x="1719863" y="224367"/>
                      <a:pt x="1709809" y="223838"/>
                    </a:cubicBezTo>
                    <a:cubicBezTo>
                      <a:pt x="1708222" y="222780"/>
                      <a:pt x="1706898" y="220200"/>
                      <a:pt x="1705047" y="220663"/>
                    </a:cubicBezTo>
                    <a:cubicBezTo>
                      <a:pt x="1703424" y="221069"/>
                      <a:pt x="1703787" y="223784"/>
                      <a:pt x="1703459" y="225425"/>
                    </a:cubicBezTo>
                    <a:cubicBezTo>
                      <a:pt x="1702289" y="231273"/>
                      <a:pt x="1702637" y="239222"/>
                      <a:pt x="1698697" y="244475"/>
                    </a:cubicBezTo>
                    <a:cubicBezTo>
                      <a:pt x="1697109" y="246592"/>
                      <a:pt x="1694127" y="247280"/>
                      <a:pt x="1692347" y="249238"/>
                    </a:cubicBezTo>
                    <a:cubicBezTo>
                      <a:pt x="1688787" y="253154"/>
                      <a:pt x="1686048" y="257744"/>
                      <a:pt x="1682822" y="261938"/>
                    </a:cubicBezTo>
                    <a:cubicBezTo>
                      <a:pt x="1680756" y="264624"/>
                      <a:pt x="1678868" y="267479"/>
                      <a:pt x="1676472" y="269875"/>
                    </a:cubicBezTo>
                    <a:cubicBezTo>
                      <a:pt x="1674884" y="271463"/>
                      <a:pt x="1673014" y="272811"/>
                      <a:pt x="1671709" y="274638"/>
                    </a:cubicBezTo>
                    <a:cubicBezTo>
                      <a:pt x="1670333" y="276564"/>
                      <a:pt x="1669592" y="278871"/>
                      <a:pt x="1668534" y="280988"/>
                    </a:cubicBezTo>
                    <a:cubicBezTo>
                      <a:pt x="1669063" y="293688"/>
                      <a:pt x="1670915" y="306402"/>
                      <a:pt x="1670122" y="319088"/>
                    </a:cubicBezTo>
                    <a:cubicBezTo>
                      <a:pt x="1669840" y="323600"/>
                      <a:pt x="1669121" y="329280"/>
                      <a:pt x="1665359" y="331788"/>
                    </a:cubicBezTo>
                    <a:cubicBezTo>
                      <a:pt x="1662574" y="333644"/>
                      <a:pt x="1659040" y="329575"/>
                      <a:pt x="1655834" y="328613"/>
                    </a:cubicBezTo>
                    <a:cubicBezTo>
                      <a:pt x="1645028" y="325371"/>
                      <a:pt x="1653778" y="329172"/>
                      <a:pt x="1643134" y="323850"/>
                    </a:cubicBezTo>
                    <a:cubicBezTo>
                      <a:pt x="1641547" y="321204"/>
                      <a:pt x="1638841" y="318962"/>
                      <a:pt x="1638372" y="315913"/>
                    </a:cubicBezTo>
                    <a:cubicBezTo>
                      <a:pt x="1637599" y="310891"/>
                      <a:pt x="1639617" y="303597"/>
                      <a:pt x="1641547" y="298450"/>
                    </a:cubicBezTo>
                    <a:cubicBezTo>
                      <a:pt x="1642548" y="295782"/>
                      <a:pt x="1643212" y="292929"/>
                      <a:pt x="1644722" y="290513"/>
                    </a:cubicBezTo>
                    <a:cubicBezTo>
                      <a:pt x="1645912" y="288609"/>
                      <a:pt x="1647897" y="287338"/>
                      <a:pt x="1649484" y="285750"/>
                    </a:cubicBezTo>
                    <a:cubicBezTo>
                      <a:pt x="1650013" y="282046"/>
                      <a:pt x="1650087" y="278248"/>
                      <a:pt x="1651072" y="274638"/>
                    </a:cubicBezTo>
                    <a:cubicBezTo>
                      <a:pt x="1651695" y="272355"/>
                      <a:pt x="1654051" y="270646"/>
                      <a:pt x="1654247" y="268288"/>
                    </a:cubicBezTo>
                    <a:cubicBezTo>
                      <a:pt x="1654601" y="264036"/>
                      <a:pt x="1653422" y="259785"/>
                      <a:pt x="1652659" y="255588"/>
                    </a:cubicBezTo>
                    <a:cubicBezTo>
                      <a:pt x="1651491" y="249165"/>
                      <a:pt x="1645760" y="241647"/>
                      <a:pt x="1639959" y="239713"/>
                    </a:cubicBezTo>
                    <a:cubicBezTo>
                      <a:pt x="1633127" y="237435"/>
                      <a:pt x="1636820" y="238531"/>
                      <a:pt x="1628847" y="236538"/>
                    </a:cubicBezTo>
                    <a:cubicBezTo>
                      <a:pt x="1626201" y="234950"/>
                      <a:pt x="1623632" y="233227"/>
                      <a:pt x="1620909" y="231775"/>
                    </a:cubicBezTo>
                    <a:cubicBezTo>
                      <a:pt x="1615689" y="228991"/>
                      <a:pt x="1609654" y="227534"/>
                      <a:pt x="1605034" y="223838"/>
                    </a:cubicBezTo>
                    <a:cubicBezTo>
                      <a:pt x="1602388" y="221721"/>
                      <a:pt x="1600259" y="218704"/>
                      <a:pt x="1597097" y="217488"/>
                    </a:cubicBezTo>
                    <a:cubicBezTo>
                      <a:pt x="1593115" y="215956"/>
                      <a:pt x="1588630" y="216429"/>
                      <a:pt x="1584397" y="215900"/>
                    </a:cubicBezTo>
                    <a:cubicBezTo>
                      <a:pt x="1583868" y="214313"/>
                      <a:pt x="1583468" y="212676"/>
                      <a:pt x="1582809" y="211138"/>
                    </a:cubicBezTo>
                    <a:cubicBezTo>
                      <a:pt x="1581877" y="208963"/>
                      <a:pt x="1581149" y="206606"/>
                      <a:pt x="1579634" y="204788"/>
                    </a:cubicBezTo>
                    <a:cubicBezTo>
                      <a:pt x="1574119" y="198169"/>
                      <a:pt x="1558737" y="200371"/>
                      <a:pt x="1554234" y="200025"/>
                    </a:cubicBezTo>
                    <a:cubicBezTo>
                      <a:pt x="1553705" y="196850"/>
                      <a:pt x="1554493" y="193137"/>
                      <a:pt x="1552647" y="190500"/>
                    </a:cubicBezTo>
                    <a:cubicBezTo>
                      <a:pt x="1550459" y="187374"/>
                      <a:pt x="1543122" y="184150"/>
                      <a:pt x="1543122" y="184150"/>
                    </a:cubicBezTo>
                    <a:cubicBezTo>
                      <a:pt x="1536243" y="184679"/>
                      <a:pt x="1529200" y="184158"/>
                      <a:pt x="1522484" y="185738"/>
                    </a:cubicBezTo>
                    <a:cubicBezTo>
                      <a:pt x="1519909" y="186344"/>
                      <a:pt x="1518287" y="188962"/>
                      <a:pt x="1516134" y="190500"/>
                    </a:cubicBezTo>
                    <a:cubicBezTo>
                      <a:pt x="1514582" y="191609"/>
                      <a:pt x="1512959" y="192617"/>
                      <a:pt x="1511372" y="193675"/>
                    </a:cubicBezTo>
                    <a:cubicBezTo>
                      <a:pt x="1509784" y="196321"/>
                      <a:pt x="1508245" y="198996"/>
                      <a:pt x="1506609" y="201613"/>
                    </a:cubicBezTo>
                    <a:cubicBezTo>
                      <a:pt x="1505598" y="203231"/>
                      <a:pt x="1504287" y="204669"/>
                      <a:pt x="1503434" y="206375"/>
                    </a:cubicBezTo>
                    <a:cubicBezTo>
                      <a:pt x="1502160" y="208924"/>
                      <a:pt x="1502274" y="212298"/>
                      <a:pt x="1500259" y="214313"/>
                    </a:cubicBezTo>
                    <a:cubicBezTo>
                      <a:pt x="1498716" y="215856"/>
                      <a:pt x="1496026" y="215371"/>
                      <a:pt x="1493909" y="215900"/>
                    </a:cubicBezTo>
                    <a:cubicBezTo>
                      <a:pt x="1471604" y="230770"/>
                      <a:pt x="1496771" y="215199"/>
                      <a:pt x="1474859" y="225425"/>
                    </a:cubicBezTo>
                    <a:cubicBezTo>
                      <a:pt x="1469922" y="227729"/>
                      <a:pt x="1465334" y="230717"/>
                      <a:pt x="1460572" y="233363"/>
                    </a:cubicBezTo>
                    <a:cubicBezTo>
                      <a:pt x="1459514" y="235480"/>
                      <a:pt x="1458329" y="237538"/>
                      <a:pt x="1457397" y="239713"/>
                    </a:cubicBezTo>
                    <a:cubicBezTo>
                      <a:pt x="1456738" y="241251"/>
                      <a:pt x="1456737" y="243083"/>
                      <a:pt x="1455809" y="244475"/>
                    </a:cubicBezTo>
                    <a:cubicBezTo>
                      <a:pt x="1454564" y="246343"/>
                      <a:pt x="1452525" y="247548"/>
                      <a:pt x="1451047" y="249238"/>
                    </a:cubicBezTo>
                    <a:cubicBezTo>
                      <a:pt x="1435036" y="267537"/>
                      <a:pt x="1456178" y="245694"/>
                      <a:pt x="1435172" y="266700"/>
                    </a:cubicBezTo>
                    <a:cubicBezTo>
                      <a:pt x="1435701" y="270404"/>
                      <a:pt x="1435659" y="274237"/>
                      <a:pt x="1436759" y="277813"/>
                    </a:cubicBezTo>
                    <a:cubicBezTo>
                      <a:pt x="1437803" y="281206"/>
                      <a:pt x="1440204" y="284042"/>
                      <a:pt x="1441522" y="287338"/>
                    </a:cubicBezTo>
                    <a:cubicBezTo>
                      <a:pt x="1442332" y="289364"/>
                      <a:pt x="1442580" y="291571"/>
                      <a:pt x="1443109" y="293688"/>
                    </a:cubicBezTo>
                    <a:cubicBezTo>
                      <a:pt x="1442580" y="304271"/>
                      <a:pt x="1442335" y="314873"/>
                      <a:pt x="1441522" y="325438"/>
                    </a:cubicBezTo>
                    <a:cubicBezTo>
                      <a:pt x="1440422" y="339733"/>
                      <a:pt x="1434769" y="341231"/>
                      <a:pt x="1441522" y="360363"/>
                    </a:cubicBezTo>
                    <a:cubicBezTo>
                      <a:pt x="1442420" y="362907"/>
                      <a:pt x="1446856" y="361240"/>
                      <a:pt x="1449459" y="361950"/>
                    </a:cubicBezTo>
                    <a:cubicBezTo>
                      <a:pt x="1452688" y="362831"/>
                      <a:pt x="1455809" y="364067"/>
                      <a:pt x="1458984" y="365125"/>
                    </a:cubicBezTo>
                    <a:cubicBezTo>
                      <a:pt x="1466433" y="380023"/>
                      <a:pt x="1470031" y="384467"/>
                      <a:pt x="1458984" y="409575"/>
                    </a:cubicBezTo>
                    <a:cubicBezTo>
                      <a:pt x="1457054" y="413961"/>
                      <a:pt x="1449459" y="410634"/>
                      <a:pt x="1444697" y="411163"/>
                    </a:cubicBezTo>
                    <a:cubicBezTo>
                      <a:pt x="1441522" y="412750"/>
                      <a:pt x="1437053" y="412915"/>
                      <a:pt x="1435172" y="415925"/>
                    </a:cubicBezTo>
                    <a:cubicBezTo>
                      <a:pt x="1433742" y="418213"/>
                      <a:pt x="1436836" y="421166"/>
                      <a:pt x="1436759" y="423863"/>
                    </a:cubicBezTo>
                    <a:cubicBezTo>
                      <a:pt x="1436304" y="439767"/>
                      <a:pt x="1434642" y="455613"/>
                      <a:pt x="1433584" y="471488"/>
                    </a:cubicBezTo>
                    <a:lnTo>
                      <a:pt x="1419297" y="465138"/>
                    </a:lnTo>
                    <a:cubicBezTo>
                      <a:pt x="1417148" y="464146"/>
                      <a:pt x="1415307" y="462145"/>
                      <a:pt x="1412947" y="461963"/>
                    </a:cubicBezTo>
                    <a:cubicBezTo>
                      <a:pt x="1407495" y="461543"/>
                      <a:pt x="1396873" y="463907"/>
                      <a:pt x="1390722" y="465138"/>
                    </a:cubicBezTo>
                    <a:cubicBezTo>
                      <a:pt x="1377911" y="461934"/>
                      <a:pt x="1389184" y="466851"/>
                      <a:pt x="1382784" y="450850"/>
                    </a:cubicBezTo>
                    <a:cubicBezTo>
                      <a:pt x="1382075" y="449079"/>
                      <a:pt x="1379488" y="448896"/>
                      <a:pt x="1378022" y="447675"/>
                    </a:cubicBezTo>
                    <a:cubicBezTo>
                      <a:pt x="1376297" y="446238"/>
                      <a:pt x="1375267" y="443917"/>
                      <a:pt x="1373259" y="442913"/>
                    </a:cubicBezTo>
                    <a:cubicBezTo>
                      <a:pt x="1370846" y="441706"/>
                      <a:pt x="1367940" y="441979"/>
                      <a:pt x="1365322" y="441325"/>
                    </a:cubicBezTo>
                    <a:cubicBezTo>
                      <a:pt x="1363698" y="440919"/>
                      <a:pt x="1362147" y="440267"/>
                      <a:pt x="1360559" y="439738"/>
                    </a:cubicBezTo>
                    <a:cubicBezTo>
                      <a:pt x="1356855" y="440267"/>
                      <a:pt x="1352997" y="440142"/>
                      <a:pt x="1349447" y="441325"/>
                    </a:cubicBezTo>
                    <a:cubicBezTo>
                      <a:pt x="1345774" y="442549"/>
                      <a:pt x="1338375" y="448438"/>
                      <a:pt x="1335159" y="450850"/>
                    </a:cubicBezTo>
                    <a:cubicBezTo>
                      <a:pt x="1332584" y="458579"/>
                      <a:pt x="1334816" y="453554"/>
                      <a:pt x="1328809" y="461963"/>
                    </a:cubicBezTo>
                    <a:cubicBezTo>
                      <a:pt x="1325970" y="465937"/>
                      <a:pt x="1325827" y="468042"/>
                      <a:pt x="1320872" y="469900"/>
                    </a:cubicBezTo>
                    <a:cubicBezTo>
                      <a:pt x="1318345" y="470848"/>
                      <a:pt x="1315580" y="470959"/>
                      <a:pt x="1312934" y="471488"/>
                    </a:cubicBezTo>
                    <a:cubicBezTo>
                      <a:pt x="1311347" y="472546"/>
                      <a:pt x="1309638" y="473442"/>
                      <a:pt x="1308172" y="474663"/>
                    </a:cubicBezTo>
                    <a:cubicBezTo>
                      <a:pt x="1306447" y="476100"/>
                      <a:pt x="1305417" y="478421"/>
                      <a:pt x="1303409" y="479425"/>
                    </a:cubicBezTo>
                    <a:cubicBezTo>
                      <a:pt x="1300996" y="480632"/>
                      <a:pt x="1298056" y="480238"/>
                      <a:pt x="1295472" y="481013"/>
                    </a:cubicBezTo>
                    <a:cubicBezTo>
                      <a:pt x="1292742" y="481832"/>
                      <a:pt x="1290180" y="483130"/>
                      <a:pt x="1287534" y="484188"/>
                    </a:cubicBezTo>
                    <a:cubicBezTo>
                      <a:pt x="1285417" y="483659"/>
                      <a:pt x="1282999" y="483810"/>
                      <a:pt x="1281184" y="482600"/>
                    </a:cubicBezTo>
                    <a:cubicBezTo>
                      <a:pt x="1266820" y="473024"/>
                      <a:pt x="1288818" y="481442"/>
                      <a:pt x="1273247" y="476250"/>
                    </a:cubicBezTo>
                    <a:cubicBezTo>
                      <a:pt x="1271130" y="474663"/>
                      <a:pt x="1269263" y="472671"/>
                      <a:pt x="1266897" y="471488"/>
                    </a:cubicBezTo>
                    <a:cubicBezTo>
                      <a:pt x="1246393" y="461236"/>
                      <a:pt x="1273122" y="478282"/>
                      <a:pt x="1255784" y="466725"/>
                    </a:cubicBezTo>
                    <a:cubicBezTo>
                      <a:pt x="1250117" y="455391"/>
                      <a:pt x="1256088" y="464492"/>
                      <a:pt x="1244672" y="455613"/>
                    </a:cubicBezTo>
                    <a:cubicBezTo>
                      <a:pt x="1242309" y="453775"/>
                      <a:pt x="1240575" y="451234"/>
                      <a:pt x="1238322" y="449263"/>
                    </a:cubicBezTo>
                    <a:cubicBezTo>
                      <a:pt x="1236331" y="447521"/>
                      <a:pt x="1234089" y="446088"/>
                      <a:pt x="1231972" y="444500"/>
                    </a:cubicBezTo>
                    <a:cubicBezTo>
                      <a:pt x="1231443" y="442383"/>
                      <a:pt x="1231467" y="440044"/>
                      <a:pt x="1230384" y="438150"/>
                    </a:cubicBezTo>
                    <a:cubicBezTo>
                      <a:pt x="1229270" y="436201"/>
                      <a:pt x="1227059" y="435113"/>
                      <a:pt x="1225622" y="433388"/>
                    </a:cubicBezTo>
                    <a:cubicBezTo>
                      <a:pt x="1224401" y="431922"/>
                      <a:pt x="1223610" y="430137"/>
                      <a:pt x="1222447" y="428625"/>
                    </a:cubicBezTo>
                    <a:cubicBezTo>
                      <a:pt x="1212947" y="416275"/>
                      <a:pt x="1215128" y="413699"/>
                      <a:pt x="1204984" y="411163"/>
                    </a:cubicBezTo>
                    <a:cubicBezTo>
                      <a:pt x="1202366" y="410509"/>
                      <a:pt x="1199693" y="410104"/>
                      <a:pt x="1197047" y="409575"/>
                    </a:cubicBezTo>
                    <a:cubicBezTo>
                      <a:pt x="1195531" y="403512"/>
                      <a:pt x="1195273" y="401265"/>
                      <a:pt x="1192284" y="395288"/>
                    </a:cubicBezTo>
                    <a:cubicBezTo>
                      <a:pt x="1191431" y="393581"/>
                      <a:pt x="1190599" y="391717"/>
                      <a:pt x="1189109" y="390525"/>
                    </a:cubicBezTo>
                    <a:cubicBezTo>
                      <a:pt x="1187803" y="389480"/>
                      <a:pt x="1185934" y="389467"/>
                      <a:pt x="1184347" y="388938"/>
                    </a:cubicBezTo>
                    <a:cubicBezTo>
                      <a:pt x="1182759" y="389467"/>
                      <a:pt x="1181208" y="390119"/>
                      <a:pt x="1179584" y="390525"/>
                    </a:cubicBezTo>
                    <a:cubicBezTo>
                      <a:pt x="1168619" y="393266"/>
                      <a:pt x="1162626" y="392757"/>
                      <a:pt x="1149422" y="393700"/>
                    </a:cubicBezTo>
                    <a:cubicBezTo>
                      <a:pt x="1150555" y="398986"/>
                      <a:pt x="1158246" y="432384"/>
                      <a:pt x="1157359" y="438150"/>
                    </a:cubicBezTo>
                    <a:cubicBezTo>
                      <a:pt x="1157027" y="440306"/>
                      <a:pt x="1153126" y="437092"/>
                      <a:pt x="1151009" y="436563"/>
                    </a:cubicBezTo>
                    <a:cubicBezTo>
                      <a:pt x="1142542" y="437621"/>
                      <a:pt x="1133959" y="437980"/>
                      <a:pt x="1125609" y="439738"/>
                    </a:cubicBezTo>
                    <a:cubicBezTo>
                      <a:pt x="1121817" y="440536"/>
                      <a:pt x="1118857" y="445826"/>
                      <a:pt x="1116084" y="447675"/>
                    </a:cubicBezTo>
                    <a:cubicBezTo>
                      <a:pt x="1114692" y="448603"/>
                      <a:pt x="1112819" y="448515"/>
                      <a:pt x="1111322" y="449263"/>
                    </a:cubicBezTo>
                    <a:cubicBezTo>
                      <a:pt x="1099021" y="455414"/>
                      <a:pt x="1113759" y="450039"/>
                      <a:pt x="1101797" y="454025"/>
                    </a:cubicBezTo>
                    <a:cubicBezTo>
                      <a:pt x="1099680" y="455613"/>
                      <a:pt x="1096284" y="456278"/>
                      <a:pt x="1095447" y="458788"/>
                    </a:cubicBezTo>
                    <a:cubicBezTo>
                      <a:pt x="1092156" y="468660"/>
                      <a:pt x="1096659" y="467974"/>
                      <a:pt x="1101797" y="469900"/>
                    </a:cubicBezTo>
                    <a:cubicBezTo>
                      <a:pt x="1104465" y="470900"/>
                      <a:pt x="1107088" y="472017"/>
                      <a:pt x="1109734" y="473075"/>
                    </a:cubicBezTo>
                    <a:cubicBezTo>
                      <a:pt x="1111322" y="474663"/>
                      <a:pt x="1113383" y="475889"/>
                      <a:pt x="1114497" y="477838"/>
                    </a:cubicBezTo>
                    <a:cubicBezTo>
                      <a:pt x="1115579" y="479732"/>
                      <a:pt x="1115829" y="482021"/>
                      <a:pt x="1116084" y="484188"/>
                    </a:cubicBezTo>
                    <a:cubicBezTo>
                      <a:pt x="1116890" y="491040"/>
                      <a:pt x="1117143" y="497946"/>
                      <a:pt x="1117672" y="504825"/>
                    </a:cubicBezTo>
                    <a:cubicBezTo>
                      <a:pt x="1115766" y="520066"/>
                      <a:pt x="1113661" y="530845"/>
                      <a:pt x="1117672" y="547688"/>
                    </a:cubicBezTo>
                    <a:cubicBezTo>
                      <a:pt x="1118220" y="549990"/>
                      <a:pt x="1121905" y="549805"/>
                      <a:pt x="1124022" y="550863"/>
                    </a:cubicBezTo>
                    <a:cubicBezTo>
                      <a:pt x="1124551" y="552450"/>
                      <a:pt x="1124426" y="554442"/>
                      <a:pt x="1125609" y="555625"/>
                    </a:cubicBezTo>
                    <a:cubicBezTo>
                      <a:pt x="1126792" y="556808"/>
                      <a:pt x="1130044" y="555572"/>
                      <a:pt x="1130372" y="557213"/>
                    </a:cubicBezTo>
                    <a:cubicBezTo>
                      <a:pt x="1131598" y="563344"/>
                      <a:pt x="1125800" y="564028"/>
                      <a:pt x="1122434" y="565150"/>
                    </a:cubicBezTo>
                    <a:cubicBezTo>
                      <a:pt x="1120561" y="570771"/>
                      <a:pt x="1120942" y="570378"/>
                      <a:pt x="1117672" y="576263"/>
                    </a:cubicBezTo>
                    <a:cubicBezTo>
                      <a:pt x="1116173" y="578960"/>
                      <a:pt x="1115091" y="582018"/>
                      <a:pt x="1112909" y="584200"/>
                    </a:cubicBezTo>
                    <a:cubicBezTo>
                      <a:pt x="1111236" y="585873"/>
                      <a:pt x="1108676" y="586317"/>
                      <a:pt x="1106559" y="587375"/>
                    </a:cubicBezTo>
                    <a:cubicBezTo>
                      <a:pt x="1103913" y="586317"/>
                      <a:pt x="1101038" y="585710"/>
                      <a:pt x="1098622" y="584200"/>
                    </a:cubicBezTo>
                    <a:cubicBezTo>
                      <a:pt x="1096718" y="583010"/>
                      <a:pt x="1095584" y="580875"/>
                      <a:pt x="1093859" y="579438"/>
                    </a:cubicBezTo>
                    <a:cubicBezTo>
                      <a:pt x="1091666" y="577610"/>
                      <a:pt x="1085175" y="573816"/>
                      <a:pt x="1082747" y="573088"/>
                    </a:cubicBezTo>
                    <a:cubicBezTo>
                      <a:pt x="1080376" y="572377"/>
                      <a:pt x="1063801" y="570221"/>
                      <a:pt x="1062109" y="569913"/>
                    </a:cubicBezTo>
                    <a:cubicBezTo>
                      <a:pt x="1053742" y="568392"/>
                      <a:pt x="1056808" y="568145"/>
                      <a:pt x="1047822" y="565150"/>
                    </a:cubicBezTo>
                    <a:cubicBezTo>
                      <a:pt x="1045752" y="564460"/>
                      <a:pt x="1043589" y="564092"/>
                      <a:pt x="1041472" y="563563"/>
                    </a:cubicBezTo>
                    <a:cubicBezTo>
                      <a:pt x="1037768" y="564092"/>
                      <a:pt x="1033989" y="564243"/>
                      <a:pt x="1030359" y="565150"/>
                    </a:cubicBezTo>
                    <a:cubicBezTo>
                      <a:pt x="1024147" y="566703"/>
                      <a:pt x="1022452" y="568305"/>
                      <a:pt x="1017659" y="571500"/>
                    </a:cubicBezTo>
                    <a:cubicBezTo>
                      <a:pt x="1017130" y="567796"/>
                      <a:pt x="1017147" y="563972"/>
                      <a:pt x="1016072" y="560388"/>
                    </a:cubicBezTo>
                    <a:cubicBezTo>
                      <a:pt x="1012384" y="548094"/>
                      <a:pt x="997896" y="558626"/>
                      <a:pt x="989084" y="560388"/>
                    </a:cubicBezTo>
                    <a:cubicBezTo>
                      <a:pt x="987497" y="562505"/>
                      <a:pt x="984498" y="564098"/>
                      <a:pt x="984322" y="566738"/>
                    </a:cubicBezTo>
                    <a:cubicBezTo>
                      <a:pt x="983626" y="577181"/>
                      <a:pt x="987410" y="583439"/>
                      <a:pt x="990672" y="592138"/>
                    </a:cubicBezTo>
                    <a:cubicBezTo>
                      <a:pt x="991259" y="593705"/>
                      <a:pt x="991730" y="595313"/>
                      <a:pt x="992259" y="596900"/>
                    </a:cubicBezTo>
                    <a:cubicBezTo>
                      <a:pt x="994587" y="617848"/>
                      <a:pt x="995695" y="616978"/>
                      <a:pt x="989084" y="644525"/>
                    </a:cubicBezTo>
                    <a:cubicBezTo>
                      <a:pt x="988467" y="647098"/>
                      <a:pt x="985909" y="648758"/>
                      <a:pt x="984322" y="650875"/>
                    </a:cubicBezTo>
                    <a:cubicBezTo>
                      <a:pt x="983793" y="652463"/>
                      <a:pt x="983140" y="654014"/>
                      <a:pt x="982734" y="655638"/>
                    </a:cubicBezTo>
                    <a:cubicBezTo>
                      <a:pt x="981551" y="660371"/>
                      <a:pt x="982395" y="665955"/>
                      <a:pt x="979559" y="669925"/>
                    </a:cubicBezTo>
                    <a:cubicBezTo>
                      <a:pt x="978450" y="671477"/>
                      <a:pt x="976263" y="667971"/>
                      <a:pt x="974797" y="666750"/>
                    </a:cubicBezTo>
                    <a:cubicBezTo>
                      <a:pt x="973072" y="665313"/>
                      <a:pt x="971622" y="663575"/>
                      <a:pt x="970034" y="661988"/>
                    </a:cubicBezTo>
                    <a:cubicBezTo>
                      <a:pt x="966859" y="662517"/>
                      <a:pt x="963665" y="662944"/>
                      <a:pt x="960509" y="663575"/>
                    </a:cubicBezTo>
                    <a:cubicBezTo>
                      <a:pt x="956314" y="664414"/>
                      <a:pt x="945853" y="667536"/>
                      <a:pt x="943047" y="668338"/>
                    </a:cubicBezTo>
                    <a:cubicBezTo>
                      <a:pt x="933144" y="674939"/>
                      <a:pt x="942173" y="667512"/>
                      <a:pt x="936697" y="676275"/>
                    </a:cubicBezTo>
                    <a:cubicBezTo>
                      <a:pt x="931983" y="683818"/>
                      <a:pt x="931574" y="683395"/>
                      <a:pt x="925584" y="687388"/>
                    </a:cubicBezTo>
                    <a:cubicBezTo>
                      <a:pt x="924526" y="688975"/>
                      <a:pt x="923651" y="690702"/>
                      <a:pt x="922409" y="692150"/>
                    </a:cubicBezTo>
                    <a:cubicBezTo>
                      <a:pt x="920461" y="694423"/>
                      <a:pt x="917855" y="696105"/>
                      <a:pt x="916059" y="698500"/>
                    </a:cubicBezTo>
                    <a:cubicBezTo>
                      <a:pt x="914639" y="700393"/>
                      <a:pt x="914058" y="702795"/>
                      <a:pt x="912884" y="704850"/>
                    </a:cubicBezTo>
                    <a:cubicBezTo>
                      <a:pt x="911937" y="706507"/>
                      <a:pt x="910767" y="708025"/>
                      <a:pt x="909709" y="709613"/>
                    </a:cubicBezTo>
                    <a:cubicBezTo>
                      <a:pt x="909180" y="712259"/>
                      <a:pt x="909238" y="715094"/>
                      <a:pt x="908122" y="717550"/>
                    </a:cubicBezTo>
                    <a:cubicBezTo>
                      <a:pt x="906543" y="721024"/>
                      <a:pt x="901772" y="727075"/>
                      <a:pt x="901772" y="727075"/>
                    </a:cubicBezTo>
                    <a:lnTo>
                      <a:pt x="897009" y="741363"/>
                    </a:lnTo>
                    <a:lnTo>
                      <a:pt x="895422" y="746125"/>
                    </a:lnTo>
                    <a:cubicBezTo>
                      <a:pt x="894893" y="749829"/>
                      <a:pt x="895382" y="753831"/>
                      <a:pt x="893834" y="757238"/>
                    </a:cubicBezTo>
                    <a:cubicBezTo>
                      <a:pt x="892595" y="759963"/>
                      <a:pt x="889455" y="761335"/>
                      <a:pt x="887484" y="763588"/>
                    </a:cubicBezTo>
                    <a:cubicBezTo>
                      <a:pt x="885742" y="765579"/>
                      <a:pt x="884309" y="767821"/>
                      <a:pt x="882722" y="769938"/>
                    </a:cubicBezTo>
                    <a:cubicBezTo>
                      <a:pt x="883251" y="773642"/>
                      <a:pt x="882761" y="777644"/>
                      <a:pt x="884309" y="781050"/>
                    </a:cubicBezTo>
                    <a:cubicBezTo>
                      <a:pt x="896108" y="807009"/>
                      <a:pt x="886880" y="768508"/>
                      <a:pt x="892247" y="795338"/>
                    </a:cubicBezTo>
                    <a:cubicBezTo>
                      <a:pt x="893874" y="811608"/>
                      <a:pt x="895760" y="822222"/>
                      <a:pt x="892247" y="839788"/>
                    </a:cubicBezTo>
                    <a:cubicBezTo>
                      <a:pt x="891873" y="841659"/>
                      <a:pt x="889072" y="841905"/>
                      <a:pt x="887484" y="842963"/>
                    </a:cubicBezTo>
                    <a:cubicBezTo>
                      <a:pt x="884838" y="847196"/>
                      <a:pt x="881401" y="851028"/>
                      <a:pt x="879547" y="855663"/>
                    </a:cubicBezTo>
                    <a:cubicBezTo>
                      <a:pt x="878489" y="858309"/>
                      <a:pt x="877273" y="860897"/>
                      <a:pt x="876372" y="863600"/>
                    </a:cubicBezTo>
                    <a:cubicBezTo>
                      <a:pt x="875682" y="865670"/>
                      <a:pt x="875426" y="867865"/>
                      <a:pt x="874784" y="869950"/>
                    </a:cubicBezTo>
                    <a:cubicBezTo>
                      <a:pt x="873308" y="874748"/>
                      <a:pt x="871609" y="879475"/>
                      <a:pt x="870022" y="884238"/>
                    </a:cubicBezTo>
                    <a:cubicBezTo>
                      <a:pt x="868964" y="887413"/>
                      <a:pt x="867504" y="890481"/>
                      <a:pt x="866847" y="893763"/>
                    </a:cubicBezTo>
                    <a:cubicBezTo>
                      <a:pt x="866057" y="897712"/>
                      <a:pt x="865413" y="902632"/>
                      <a:pt x="863672" y="906463"/>
                    </a:cubicBezTo>
                    <a:cubicBezTo>
                      <a:pt x="861714" y="910772"/>
                      <a:pt x="860669" y="915817"/>
                      <a:pt x="857322" y="919163"/>
                    </a:cubicBezTo>
                    <a:lnTo>
                      <a:pt x="852559" y="923925"/>
                    </a:lnTo>
                    <a:cubicBezTo>
                      <a:pt x="849740" y="932386"/>
                      <a:pt x="852605" y="926664"/>
                      <a:pt x="843034" y="935038"/>
                    </a:cubicBezTo>
                    <a:cubicBezTo>
                      <a:pt x="829760" y="946652"/>
                      <a:pt x="847896" y="932581"/>
                      <a:pt x="831922" y="944563"/>
                    </a:cubicBezTo>
                    <a:cubicBezTo>
                      <a:pt x="831393" y="946680"/>
                      <a:pt x="830334" y="948731"/>
                      <a:pt x="830334" y="950913"/>
                    </a:cubicBezTo>
                    <a:cubicBezTo>
                      <a:pt x="830334" y="960924"/>
                      <a:pt x="832144" y="964280"/>
                      <a:pt x="835097" y="973138"/>
                    </a:cubicBezTo>
                    <a:cubicBezTo>
                      <a:pt x="834568" y="978959"/>
                      <a:pt x="835811" y="985228"/>
                      <a:pt x="833509" y="990600"/>
                    </a:cubicBezTo>
                    <a:cubicBezTo>
                      <a:pt x="832294" y="993436"/>
                      <a:pt x="828007" y="993469"/>
                      <a:pt x="825572" y="995363"/>
                    </a:cubicBezTo>
                    <a:cubicBezTo>
                      <a:pt x="823209" y="997201"/>
                      <a:pt x="821522" y="999797"/>
                      <a:pt x="819222" y="1001713"/>
                    </a:cubicBezTo>
                    <a:cubicBezTo>
                      <a:pt x="797469" y="1019841"/>
                      <a:pt x="813343" y="1004418"/>
                      <a:pt x="801759" y="1016000"/>
                    </a:cubicBezTo>
                    <a:cubicBezTo>
                      <a:pt x="795409" y="1015471"/>
                      <a:pt x="788836" y="1016164"/>
                      <a:pt x="782709" y="1014413"/>
                    </a:cubicBezTo>
                    <a:cubicBezTo>
                      <a:pt x="778622" y="1013245"/>
                      <a:pt x="777529" y="1012134"/>
                      <a:pt x="777777" y="1011206"/>
                    </a:cubicBezTo>
                    <a:lnTo>
                      <a:pt x="780808" y="1009156"/>
                    </a:lnTo>
                    <a:lnTo>
                      <a:pt x="782139" y="1008856"/>
                    </a:lnTo>
                    <a:cubicBezTo>
                      <a:pt x="783137" y="1008542"/>
                      <a:pt x="782171" y="1008665"/>
                      <a:pt x="780893" y="1009099"/>
                    </a:cubicBezTo>
                    <a:lnTo>
                      <a:pt x="780808" y="1009156"/>
                    </a:lnTo>
                    <a:lnTo>
                      <a:pt x="771597" y="1011238"/>
                    </a:lnTo>
                    <a:cubicBezTo>
                      <a:pt x="769475" y="1030329"/>
                      <a:pt x="768687" y="1027316"/>
                      <a:pt x="773184" y="1050925"/>
                    </a:cubicBezTo>
                    <a:cubicBezTo>
                      <a:pt x="774875" y="1059801"/>
                      <a:pt x="776246" y="1057050"/>
                      <a:pt x="779534" y="1063625"/>
                    </a:cubicBezTo>
                    <a:cubicBezTo>
                      <a:pt x="780283" y="1065122"/>
                      <a:pt x="780593" y="1066800"/>
                      <a:pt x="781122" y="1068388"/>
                    </a:cubicBezTo>
                    <a:cubicBezTo>
                      <a:pt x="781651" y="1072092"/>
                      <a:pt x="782709" y="1075758"/>
                      <a:pt x="782709" y="1079500"/>
                    </a:cubicBezTo>
                    <a:cubicBezTo>
                      <a:pt x="782709" y="1084821"/>
                      <a:pt x="781781" y="1089954"/>
                      <a:pt x="777947" y="1093788"/>
                    </a:cubicBezTo>
                    <a:cubicBezTo>
                      <a:pt x="776598" y="1095137"/>
                      <a:pt x="774772" y="1095905"/>
                      <a:pt x="773184" y="1096963"/>
                    </a:cubicBezTo>
                    <a:cubicBezTo>
                      <a:pt x="773713" y="1100138"/>
                      <a:pt x="773754" y="1103434"/>
                      <a:pt x="774772" y="1106488"/>
                    </a:cubicBezTo>
                    <a:cubicBezTo>
                      <a:pt x="775877" y="1109801"/>
                      <a:pt x="780500" y="1113804"/>
                      <a:pt x="782709" y="1116013"/>
                    </a:cubicBezTo>
                    <a:cubicBezTo>
                      <a:pt x="783238" y="1118659"/>
                      <a:pt x="783643" y="1121332"/>
                      <a:pt x="784297" y="1123950"/>
                    </a:cubicBezTo>
                    <a:cubicBezTo>
                      <a:pt x="785231" y="1127688"/>
                      <a:pt x="787258" y="1131216"/>
                      <a:pt x="787472" y="1135063"/>
                    </a:cubicBezTo>
                    <a:cubicBezTo>
                      <a:pt x="787979" y="1144190"/>
                      <a:pt x="787088" y="1149844"/>
                      <a:pt x="784297" y="1157288"/>
                    </a:cubicBezTo>
                    <a:cubicBezTo>
                      <a:pt x="783297" y="1159956"/>
                      <a:pt x="782396" y="1162676"/>
                      <a:pt x="781122" y="1165225"/>
                    </a:cubicBezTo>
                    <a:cubicBezTo>
                      <a:pt x="780269" y="1166932"/>
                      <a:pt x="779005" y="1168400"/>
                      <a:pt x="777947" y="1169988"/>
                    </a:cubicBezTo>
                    <a:cubicBezTo>
                      <a:pt x="778476" y="1172634"/>
                      <a:pt x="779534" y="1175227"/>
                      <a:pt x="779534" y="1177925"/>
                    </a:cubicBezTo>
                    <a:cubicBezTo>
                      <a:pt x="779534" y="1180367"/>
                      <a:pt x="777997" y="1188938"/>
                      <a:pt x="776359" y="1192213"/>
                    </a:cubicBezTo>
                    <a:cubicBezTo>
                      <a:pt x="775506" y="1193919"/>
                      <a:pt x="774242" y="1195388"/>
                      <a:pt x="773184" y="1196975"/>
                    </a:cubicBezTo>
                    <a:cubicBezTo>
                      <a:pt x="771893" y="1200849"/>
                      <a:pt x="771500" y="1203422"/>
                      <a:pt x="768422" y="1206500"/>
                    </a:cubicBezTo>
                    <a:cubicBezTo>
                      <a:pt x="767073" y="1207849"/>
                      <a:pt x="765247" y="1208617"/>
                      <a:pt x="763659" y="1209675"/>
                    </a:cubicBezTo>
                    <a:cubicBezTo>
                      <a:pt x="760817" y="1215360"/>
                      <a:pt x="752811" y="1225551"/>
                      <a:pt x="750959" y="1230313"/>
                    </a:cubicBezTo>
                    <a:cubicBezTo>
                      <a:pt x="749107" y="1235075"/>
                      <a:pt x="755276" y="1237340"/>
                      <a:pt x="752546" y="1238250"/>
                    </a:cubicBezTo>
                    <a:cubicBezTo>
                      <a:pt x="750429" y="1239838"/>
                      <a:pt x="748313" y="1252539"/>
                      <a:pt x="744609" y="1258889"/>
                    </a:cubicBezTo>
                    <a:cubicBezTo>
                      <a:pt x="740905" y="1265239"/>
                      <a:pt x="732174" y="1270529"/>
                      <a:pt x="730322" y="1276350"/>
                    </a:cubicBezTo>
                    <a:cubicBezTo>
                      <a:pt x="728470" y="1282171"/>
                      <a:pt x="731373" y="1288291"/>
                      <a:pt x="733497" y="1293813"/>
                    </a:cubicBezTo>
                    <a:cubicBezTo>
                      <a:pt x="734182" y="1295594"/>
                      <a:pt x="736857" y="1295694"/>
                      <a:pt x="738259" y="1296988"/>
                    </a:cubicBezTo>
                    <a:cubicBezTo>
                      <a:pt x="746187" y="1304306"/>
                      <a:pt x="752973" y="1313147"/>
                      <a:pt x="762072" y="1319213"/>
                    </a:cubicBezTo>
                    <a:cubicBezTo>
                      <a:pt x="764041" y="1320526"/>
                      <a:pt x="766305" y="1321330"/>
                      <a:pt x="768422" y="1322388"/>
                    </a:cubicBezTo>
                    <a:cubicBezTo>
                      <a:pt x="767893" y="1337205"/>
                      <a:pt x="768137" y="1352069"/>
                      <a:pt x="766834" y="1366838"/>
                    </a:cubicBezTo>
                    <a:cubicBezTo>
                      <a:pt x="766540" y="1370172"/>
                      <a:pt x="764803" y="1373218"/>
                      <a:pt x="763659" y="1376363"/>
                    </a:cubicBezTo>
                    <a:cubicBezTo>
                      <a:pt x="762685" y="1379041"/>
                      <a:pt x="761484" y="1381632"/>
                      <a:pt x="760484" y="1384300"/>
                    </a:cubicBezTo>
                    <a:cubicBezTo>
                      <a:pt x="759896" y="1385867"/>
                      <a:pt x="759645" y="1387566"/>
                      <a:pt x="758897" y="1389063"/>
                    </a:cubicBezTo>
                    <a:cubicBezTo>
                      <a:pt x="756688" y="1393482"/>
                      <a:pt x="754468" y="1395079"/>
                      <a:pt x="750959" y="1398588"/>
                    </a:cubicBezTo>
                    <a:lnTo>
                      <a:pt x="719209" y="1397000"/>
                    </a:lnTo>
                    <a:cubicBezTo>
                      <a:pt x="716224" y="1396221"/>
                      <a:pt x="716769" y="1391095"/>
                      <a:pt x="714447" y="1389063"/>
                    </a:cubicBezTo>
                    <a:cubicBezTo>
                      <a:pt x="712302" y="1387186"/>
                      <a:pt x="709155" y="1386946"/>
                      <a:pt x="706509" y="1385888"/>
                    </a:cubicBezTo>
                    <a:cubicBezTo>
                      <a:pt x="702276" y="1386946"/>
                      <a:pt x="697771" y="1387234"/>
                      <a:pt x="693809" y="1389063"/>
                    </a:cubicBezTo>
                    <a:cubicBezTo>
                      <a:pt x="690733" y="1390483"/>
                      <a:pt x="688268" y="1393017"/>
                      <a:pt x="685872" y="1395413"/>
                    </a:cubicBezTo>
                    <a:cubicBezTo>
                      <a:pt x="679181" y="1402104"/>
                      <a:pt x="686683" y="1399027"/>
                      <a:pt x="677934" y="1406525"/>
                    </a:cubicBezTo>
                    <a:cubicBezTo>
                      <a:pt x="676137" y="1408065"/>
                      <a:pt x="673701" y="1408642"/>
                      <a:pt x="671584" y="1409700"/>
                    </a:cubicBezTo>
                    <a:cubicBezTo>
                      <a:pt x="657023" y="1424265"/>
                      <a:pt x="680356" y="1401931"/>
                      <a:pt x="657297" y="1419225"/>
                    </a:cubicBezTo>
                    <a:cubicBezTo>
                      <a:pt x="655771" y="1420370"/>
                      <a:pt x="655180" y="1422400"/>
                      <a:pt x="654122" y="1423988"/>
                    </a:cubicBezTo>
                    <a:cubicBezTo>
                      <a:pt x="656239" y="1426105"/>
                      <a:pt x="658732" y="1427902"/>
                      <a:pt x="660472" y="1430338"/>
                    </a:cubicBezTo>
                    <a:cubicBezTo>
                      <a:pt x="661444" y="1431700"/>
                      <a:pt x="662920" y="1433665"/>
                      <a:pt x="662059" y="1435100"/>
                    </a:cubicBezTo>
                    <a:cubicBezTo>
                      <a:pt x="660841" y="1437129"/>
                      <a:pt x="657826" y="1437217"/>
                      <a:pt x="655709" y="1438275"/>
                    </a:cubicBezTo>
                    <a:cubicBezTo>
                      <a:pt x="654122" y="1439863"/>
                      <a:pt x="652637" y="1441560"/>
                      <a:pt x="650947" y="1443038"/>
                    </a:cubicBezTo>
                    <a:cubicBezTo>
                      <a:pt x="648397" y="1445269"/>
                      <a:pt x="645405" y="1446992"/>
                      <a:pt x="643009" y="1449388"/>
                    </a:cubicBezTo>
                    <a:cubicBezTo>
                      <a:pt x="641138" y="1451259"/>
                      <a:pt x="640118" y="1453867"/>
                      <a:pt x="638247" y="1455738"/>
                    </a:cubicBezTo>
                    <a:cubicBezTo>
                      <a:pt x="636898" y="1457087"/>
                      <a:pt x="634950" y="1457692"/>
                      <a:pt x="633484" y="1458913"/>
                    </a:cubicBezTo>
                    <a:cubicBezTo>
                      <a:pt x="629063" y="1462597"/>
                      <a:pt x="627462" y="1465355"/>
                      <a:pt x="623959" y="1470025"/>
                    </a:cubicBezTo>
                    <a:cubicBezTo>
                      <a:pt x="620651" y="1479952"/>
                      <a:pt x="623147" y="1471354"/>
                      <a:pt x="620784" y="1489075"/>
                    </a:cubicBezTo>
                    <a:cubicBezTo>
                      <a:pt x="620359" y="1492266"/>
                      <a:pt x="619726" y="1495425"/>
                      <a:pt x="619197" y="1498600"/>
                    </a:cubicBezTo>
                    <a:cubicBezTo>
                      <a:pt x="616164" y="1489504"/>
                      <a:pt x="619575" y="1498061"/>
                      <a:pt x="612847" y="1487488"/>
                    </a:cubicBezTo>
                    <a:lnTo>
                      <a:pt x="612667" y="1487193"/>
                    </a:lnTo>
                    <a:cubicBezTo>
                      <a:pt x="612198" y="1494700"/>
                      <a:pt x="611728" y="1502206"/>
                      <a:pt x="611259" y="1509713"/>
                    </a:cubicBezTo>
                    <a:cubicBezTo>
                      <a:pt x="610330" y="1512655"/>
                      <a:pt x="605790" y="1512624"/>
                      <a:pt x="603322" y="1514475"/>
                    </a:cubicBezTo>
                    <a:cubicBezTo>
                      <a:pt x="601526" y="1515822"/>
                      <a:pt x="599864" y="1517411"/>
                      <a:pt x="598559" y="1519238"/>
                    </a:cubicBezTo>
                    <a:cubicBezTo>
                      <a:pt x="596106" y="1522672"/>
                      <a:pt x="595092" y="1526463"/>
                      <a:pt x="593797" y="1530350"/>
                    </a:cubicBezTo>
                    <a:cubicBezTo>
                      <a:pt x="600450" y="1543656"/>
                      <a:pt x="592436" y="1530803"/>
                      <a:pt x="603322" y="1539875"/>
                    </a:cubicBezTo>
                    <a:cubicBezTo>
                      <a:pt x="604788" y="1541097"/>
                      <a:pt x="605388" y="1543085"/>
                      <a:pt x="606497" y="1544638"/>
                    </a:cubicBezTo>
                    <a:cubicBezTo>
                      <a:pt x="608035" y="1546791"/>
                      <a:pt x="609672" y="1548871"/>
                      <a:pt x="611259" y="1550988"/>
                    </a:cubicBezTo>
                    <a:cubicBezTo>
                      <a:pt x="611788" y="1552575"/>
                      <a:pt x="612017" y="1554297"/>
                      <a:pt x="612847" y="1555750"/>
                    </a:cubicBezTo>
                    <a:cubicBezTo>
                      <a:pt x="614160" y="1558047"/>
                      <a:pt x="617389" y="1559463"/>
                      <a:pt x="617609" y="1562100"/>
                    </a:cubicBezTo>
                    <a:cubicBezTo>
                      <a:pt x="618489" y="1572660"/>
                      <a:pt x="616940" y="1583293"/>
                      <a:pt x="616022" y="1593850"/>
                    </a:cubicBezTo>
                    <a:cubicBezTo>
                      <a:pt x="615877" y="1595517"/>
                      <a:pt x="615617" y="1597430"/>
                      <a:pt x="614434" y="1598613"/>
                    </a:cubicBezTo>
                    <a:cubicBezTo>
                      <a:pt x="613251" y="1599796"/>
                      <a:pt x="611259" y="1599671"/>
                      <a:pt x="609672" y="1600200"/>
                    </a:cubicBezTo>
                    <a:cubicBezTo>
                      <a:pt x="605196" y="1613627"/>
                      <a:pt x="606216" y="1608631"/>
                      <a:pt x="609672" y="1635125"/>
                    </a:cubicBezTo>
                    <a:cubicBezTo>
                      <a:pt x="609978" y="1637472"/>
                      <a:pt x="611789" y="1639358"/>
                      <a:pt x="612847" y="1641475"/>
                    </a:cubicBezTo>
                    <a:cubicBezTo>
                      <a:pt x="613905" y="1653646"/>
                      <a:pt x="613715" y="1665991"/>
                      <a:pt x="616022" y="1677988"/>
                    </a:cubicBezTo>
                    <a:cubicBezTo>
                      <a:pt x="616446" y="1680192"/>
                      <a:pt x="619347" y="1681025"/>
                      <a:pt x="620784" y="1682750"/>
                    </a:cubicBezTo>
                    <a:cubicBezTo>
                      <a:pt x="623806" y="1686377"/>
                      <a:pt x="624720" y="1687692"/>
                      <a:pt x="624689" y="1687924"/>
                    </a:cubicBezTo>
                    <a:lnTo>
                      <a:pt x="623038" y="1686677"/>
                    </a:lnTo>
                    <a:lnTo>
                      <a:pt x="622473" y="1686119"/>
                    </a:lnTo>
                    <a:cubicBezTo>
                      <a:pt x="621630" y="1685316"/>
                      <a:pt x="622169" y="1685883"/>
                      <a:pt x="622926" y="1686592"/>
                    </a:cubicBezTo>
                    <a:lnTo>
                      <a:pt x="623038" y="1686677"/>
                    </a:lnTo>
                    <a:lnTo>
                      <a:pt x="630309" y="1693863"/>
                    </a:lnTo>
                    <a:cubicBezTo>
                      <a:pt x="633649" y="1710558"/>
                      <a:pt x="632469" y="1701216"/>
                      <a:pt x="630309" y="1730375"/>
                    </a:cubicBezTo>
                    <a:cubicBezTo>
                      <a:pt x="629955" y="1735154"/>
                      <a:pt x="630237" y="1740117"/>
                      <a:pt x="628722" y="1744663"/>
                    </a:cubicBezTo>
                    <a:cubicBezTo>
                      <a:pt x="627515" y="1748283"/>
                      <a:pt x="624489" y="1751013"/>
                      <a:pt x="622372" y="1754188"/>
                    </a:cubicBezTo>
                    <a:cubicBezTo>
                      <a:pt x="618627" y="1772906"/>
                      <a:pt x="619085" y="1767359"/>
                      <a:pt x="622372" y="1800225"/>
                    </a:cubicBezTo>
                    <a:cubicBezTo>
                      <a:pt x="622705" y="1803555"/>
                      <a:pt x="624489" y="1806575"/>
                      <a:pt x="625547" y="1809750"/>
                    </a:cubicBezTo>
                    <a:cubicBezTo>
                      <a:pt x="626076" y="1811338"/>
                      <a:pt x="626206" y="1813121"/>
                      <a:pt x="627134" y="1814513"/>
                    </a:cubicBezTo>
                    <a:cubicBezTo>
                      <a:pt x="630536" y="1819615"/>
                      <a:pt x="632053" y="1822189"/>
                      <a:pt x="636659" y="1827213"/>
                    </a:cubicBezTo>
                    <a:cubicBezTo>
                      <a:pt x="640199" y="1831075"/>
                      <a:pt x="642803" y="1836668"/>
                      <a:pt x="647772" y="1838325"/>
                    </a:cubicBezTo>
                    <a:cubicBezTo>
                      <a:pt x="649359" y="1838854"/>
                      <a:pt x="650996" y="1839254"/>
                      <a:pt x="652534" y="1839913"/>
                    </a:cubicBezTo>
                    <a:cubicBezTo>
                      <a:pt x="657848" y="1842191"/>
                      <a:pt x="661804" y="1844840"/>
                      <a:pt x="666822" y="1847850"/>
                    </a:cubicBezTo>
                    <a:cubicBezTo>
                      <a:pt x="677492" y="1862076"/>
                      <a:pt x="671944" y="1857614"/>
                      <a:pt x="681109" y="1863725"/>
                    </a:cubicBezTo>
                    <a:cubicBezTo>
                      <a:pt x="681638" y="1866900"/>
                      <a:pt x="681850" y="1870145"/>
                      <a:pt x="682697" y="1873250"/>
                    </a:cubicBezTo>
                    <a:cubicBezTo>
                      <a:pt x="683447" y="1875999"/>
                      <a:pt x="685777" y="1878340"/>
                      <a:pt x="685872" y="1881188"/>
                    </a:cubicBezTo>
                    <a:cubicBezTo>
                      <a:pt x="686313" y="1894420"/>
                      <a:pt x="686612" y="1907842"/>
                      <a:pt x="684284" y="1920875"/>
                    </a:cubicBezTo>
                    <a:cubicBezTo>
                      <a:pt x="683819" y="1923480"/>
                      <a:pt x="680051" y="1924050"/>
                      <a:pt x="677934" y="1925638"/>
                    </a:cubicBezTo>
                    <a:cubicBezTo>
                      <a:pt x="676876" y="1927755"/>
                      <a:pt x="676274" y="1930170"/>
                      <a:pt x="674759" y="1931988"/>
                    </a:cubicBezTo>
                    <a:cubicBezTo>
                      <a:pt x="668520" y="1939475"/>
                      <a:pt x="643121" y="1938325"/>
                      <a:pt x="643009" y="1938338"/>
                    </a:cubicBezTo>
                    <a:cubicBezTo>
                      <a:pt x="640892" y="1939925"/>
                      <a:pt x="638061" y="1940856"/>
                      <a:pt x="636659" y="1943100"/>
                    </a:cubicBezTo>
                    <a:cubicBezTo>
                      <a:pt x="633441" y="1948248"/>
                      <a:pt x="635878" y="1966807"/>
                      <a:pt x="636659" y="1968500"/>
                    </a:cubicBezTo>
                    <a:cubicBezTo>
                      <a:pt x="637853" y="1971087"/>
                      <a:pt x="641993" y="1970518"/>
                      <a:pt x="644597" y="1971675"/>
                    </a:cubicBezTo>
                    <a:cubicBezTo>
                      <a:pt x="646760" y="1972636"/>
                      <a:pt x="648830" y="1973792"/>
                      <a:pt x="650947" y="1974850"/>
                    </a:cubicBezTo>
                    <a:cubicBezTo>
                      <a:pt x="651476" y="1982788"/>
                      <a:pt x="650712" y="1990919"/>
                      <a:pt x="652534" y="1998663"/>
                    </a:cubicBezTo>
                    <a:cubicBezTo>
                      <a:pt x="652971" y="2000520"/>
                      <a:pt x="655948" y="2000489"/>
                      <a:pt x="657297" y="2001838"/>
                    </a:cubicBezTo>
                    <a:cubicBezTo>
                      <a:pt x="658646" y="2003187"/>
                      <a:pt x="659327" y="2005074"/>
                      <a:pt x="660472" y="2006600"/>
                    </a:cubicBezTo>
                    <a:cubicBezTo>
                      <a:pt x="662505" y="2009311"/>
                      <a:pt x="664705" y="2011892"/>
                      <a:pt x="666822" y="2014538"/>
                    </a:cubicBezTo>
                    <a:cubicBezTo>
                      <a:pt x="667351" y="2017184"/>
                      <a:pt x="667755" y="2019858"/>
                      <a:pt x="668409" y="2022475"/>
                    </a:cubicBezTo>
                    <a:cubicBezTo>
                      <a:pt x="668815" y="2024099"/>
                      <a:pt x="669634" y="2025604"/>
                      <a:pt x="669997" y="2027238"/>
                    </a:cubicBezTo>
                    <a:cubicBezTo>
                      <a:pt x="670695" y="2030380"/>
                      <a:pt x="671055" y="2033588"/>
                      <a:pt x="671584" y="2036763"/>
                    </a:cubicBezTo>
                    <a:cubicBezTo>
                      <a:pt x="671343" y="2038934"/>
                      <a:pt x="670978" y="2051317"/>
                      <a:pt x="668409" y="2055813"/>
                    </a:cubicBezTo>
                    <a:cubicBezTo>
                      <a:pt x="667096" y="2058110"/>
                      <a:pt x="665234" y="2060046"/>
                      <a:pt x="663647" y="2062163"/>
                    </a:cubicBezTo>
                    <a:cubicBezTo>
                      <a:pt x="664176" y="2064280"/>
                      <a:pt x="663966" y="2066738"/>
                      <a:pt x="665234" y="2068513"/>
                    </a:cubicBezTo>
                    <a:cubicBezTo>
                      <a:pt x="666772" y="2070666"/>
                      <a:pt x="671030" y="2070688"/>
                      <a:pt x="671584" y="2073275"/>
                    </a:cubicBezTo>
                    <a:cubicBezTo>
                      <a:pt x="671692" y="2073778"/>
                      <a:pt x="670249" y="2094076"/>
                      <a:pt x="668409" y="2098675"/>
                    </a:cubicBezTo>
                    <a:cubicBezTo>
                      <a:pt x="667263" y="2101540"/>
                      <a:pt x="665234" y="2103967"/>
                      <a:pt x="663647" y="2106613"/>
                    </a:cubicBezTo>
                    <a:cubicBezTo>
                      <a:pt x="663118" y="2110317"/>
                      <a:pt x="663732" y="2114378"/>
                      <a:pt x="662059" y="2117725"/>
                    </a:cubicBezTo>
                    <a:cubicBezTo>
                      <a:pt x="658431" y="2124981"/>
                      <a:pt x="651325" y="2133751"/>
                      <a:pt x="643009" y="2136775"/>
                    </a:cubicBezTo>
                    <a:cubicBezTo>
                      <a:pt x="639984" y="2137875"/>
                      <a:pt x="636626" y="2137665"/>
                      <a:pt x="633484" y="2138363"/>
                    </a:cubicBezTo>
                    <a:cubicBezTo>
                      <a:pt x="631851" y="2138726"/>
                      <a:pt x="630384" y="2139755"/>
                      <a:pt x="628722" y="2139950"/>
                    </a:cubicBezTo>
                    <a:cubicBezTo>
                      <a:pt x="621346" y="2140818"/>
                      <a:pt x="613905" y="2141009"/>
                      <a:pt x="606497" y="2141538"/>
                    </a:cubicBezTo>
                    <a:cubicBezTo>
                      <a:pt x="604380" y="2142596"/>
                      <a:pt x="601365" y="2142684"/>
                      <a:pt x="600147" y="2144713"/>
                    </a:cubicBezTo>
                    <a:cubicBezTo>
                      <a:pt x="599286" y="2146148"/>
                      <a:pt x="600551" y="2148292"/>
                      <a:pt x="601734" y="2149475"/>
                    </a:cubicBezTo>
                    <a:cubicBezTo>
                      <a:pt x="603695" y="2151436"/>
                      <a:pt x="610001" y="2153289"/>
                      <a:pt x="612847" y="2154238"/>
                    </a:cubicBezTo>
                    <a:cubicBezTo>
                      <a:pt x="613376" y="2155825"/>
                      <a:pt x="614434" y="2157327"/>
                      <a:pt x="614434" y="2159000"/>
                    </a:cubicBezTo>
                    <a:cubicBezTo>
                      <a:pt x="614434" y="2159181"/>
                      <a:pt x="612309" y="2173195"/>
                      <a:pt x="611259" y="2174875"/>
                    </a:cubicBezTo>
                    <a:cubicBezTo>
                      <a:pt x="609672" y="2177413"/>
                      <a:pt x="607345" y="2179485"/>
                      <a:pt x="604909" y="2181225"/>
                    </a:cubicBezTo>
                    <a:cubicBezTo>
                      <a:pt x="603547" y="2182198"/>
                      <a:pt x="601734" y="2182284"/>
                      <a:pt x="600147" y="2182813"/>
                    </a:cubicBezTo>
                    <a:cubicBezTo>
                      <a:pt x="598030" y="2184930"/>
                      <a:pt x="594657" y="2186296"/>
                      <a:pt x="593797" y="2189163"/>
                    </a:cubicBezTo>
                    <a:cubicBezTo>
                      <a:pt x="592872" y="2192246"/>
                      <a:pt x="594753" y="2195532"/>
                      <a:pt x="595384" y="2198688"/>
                    </a:cubicBezTo>
                    <a:cubicBezTo>
                      <a:pt x="598558" y="2214561"/>
                      <a:pt x="594662" y="2210377"/>
                      <a:pt x="603322" y="2216150"/>
                    </a:cubicBezTo>
                    <a:cubicBezTo>
                      <a:pt x="607129" y="2227576"/>
                      <a:pt x="602508" y="2213301"/>
                      <a:pt x="606497" y="2227263"/>
                    </a:cubicBezTo>
                    <a:cubicBezTo>
                      <a:pt x="606957" y="2228872"/>
                      <a:pt x="607555" y="2230438"/>
                      <a:pt x="608084" y="2232025"/>
                    </a:cubicBezTo>
                    <a:cubicBezTo>
                      <a:pt x="610819" y="2251163"/>
                      <a:pt x="610200" y="2241559"/>
                      <a:pt x="608084" y="2270125"/>
                    </a:cubicBezTo>
                    <a:cubicBezTo>
                      <a:pt x="606791" y="2287576"/>
                      <a:pt x="610748" y="2283166"/>
                      <a:pt x="601734" y="2289175"/>
                    </a:cubicBezTo>
                    <a:cubicBezTo>
                      <a:pt x="597561" y="2305872"/>
                      <a:pt x="603791" y="2285575"/>
                      <a:pt x="595384" y="2300288"/>
                    </a:cubicBezTo>
                    <a:cubicBezTo>
                      <a:pt x="594271" y="2302236"/>
                      <a:pt x="592305" y="2315588"/>
                      <a:pt x="592209" y="2316163"/>
                    </a:cubicBezTo>
                    <a:cubicBezTo>
                      <a:pt x="577969" y="2312603"/>
                      <a:pt x="580568" y="2323836"/>
                      <a:pt x="577922" y="2322513"/>
                    </a:cubicBezTo>
                    <a:cubicBezTo>
                      <a:pt x="575276" y="2321190"/>
                      <a:pt x="577012" y="2312969"/>
                      <a:pt x="576334" y="2308225"/>
                    </a:cubicBezTo>
                    <a:cubicBezTo>
                      <a:pt x="575538" y="2302655"/>
                      <a:pt x="575126" y="2296313"/>
                      <a:pt x="568397" y="2293938"/>
                    </a:cubicBezTo>
                    <a:cubicBezTo>
                      <a:pt x="561834" y="2291622"/>
                      <a:pt x="554638" y="2291821"/>
                      <a:pt x="547759" y="2290763"/>
                    </a:cubicBezTo>
                    <a:cubicBezTo>
                      <a:pt x="537271" y="2275029"/>
                      <a:pt x="556486" y="2305435"/>
                      <a:pt x="542997" y="2271713"/>
                    </a:cubicBezTo>
                    <a:cubicBezTo>
                      <a:pt x="542375" y="2270159"/>
                      <a:pt x="539881" y="2270424"/>
                      <a:pt x="538234" y="2270125"/>
                    </a:cubicBezTo>
                    <a:cubicBezTo>
                      <a:pt x="534037" y="2269362"/>
                      <a:pt x="529767" y="2269067"/>
                      <a:pt x="525534" y="2268538"/>
                    </a:cubicBezTo>
                    <a:cubicBezTo>
                      <a:pt x="523947" y="2267480"/>
                      <a:pt x="522526" y="2266115"/>
                      <a:pt x="520772" y="2265363"/>
                    </a:cubicBezTo>
                    <a:cubicBezTo>
                      <a:pt x="518767" y="2264503"/>
                      <a:pt x="516316" y="2264857"/>
                      <a:pt x="514422" y="2263775"/>
                    </a:cubicBezTo>
                    <a:cubicBezTo>
                      <a:pt x="511129" y="2261893"/>
                      <a:pt x="508508" y="2257286"/>
                      <a:pt x="506484" y="2254250"/>
                    </a:cubicBezTo>
                    <a:cubicBezTo>
                      <a:pt x="507013" y="2250017"/>
                      <a:pt x="506949" y="2245666"/>
                      <a:pt x="508072" y="2241550"/>
                    </a:cubicBezTo>
                    <a:cubicBezTo>
                      <a:pt x="511576" y="2228704"/>
                      <a:pt x="513273" y="2246917"/>
                      <a:pt x="509659" y="2228850"/>
                    </a:cubicBezTo>
                    <a:cubicBezTo>
                      <a:pt x="512465" y="2217630"/>
                      <a:pt x="512856" y="2218911"/>
                      <a:pt x="509659" y="2201863"/>
                    </a:cubicBezTo>
                    <a:cubicBezTo>
                      <a:pt x="509307" y="2199988"/>
                      <a:pt x="507542" y="2198688"/>
                      <a:pt x="506484" y="2197100"/>
                    </a:cubicBezTo>
                    <a:cubicBezTo>
                      <a:pt x="502899" y="2186341"/>
                      <a:pt x="506957" y="2199466"/>
                      <a:pt x="503309" y="2181225"/>
                    </a:cubicBezTo>
                    <a:cubicBezTo>
                      <a:pt x="502981" y="2179584"/>
                      <a:pt x="502251" y="2178050"/>
                      <a:pt x="501722" y="2176463"/>
                    </a:cubicBezTo>
                    <a:cubicBezTo>
                      <a:pt x="502251" y="2174875"/>
                      <a:pt x="501786" y="2172393"/>
                      <a:pt x="503309" y="2171700"/>
                    </a:cubicBezTo>
                    <a:cubicBezTo>
                      <a:pt x="508222" y="2169467"/>
                      <a:pt x="515946" y="2172842"/>
                      <a:pt x="519184" y="2168525"/>
                    </a:cubicBezTo>
                    <a:cubicBezTo>
                      <a:pt x="522375" y="2164271"/>
                      <a:pt x="518126" y="2157942"/>
                      <a:pt x="517597" y="2152650"/>
                    </a:cubicBezTo>
                    <a:cubicBezTo>
                      <a:pt x="513893" y="2153179"/>
                      <a:pt x="510068" y="2153163"/>
                      <a:pt x="506484" y="2154238"/>
                    </a:cubicBezTo>
                    <a:cubicBezTo>
                      <a:pt x="504657" y="2154786"/>
                      <a:pt x="503428" y="2156560"/>
                      <a:pt x="501722" y="2157413"/>
                    </a:cubicBezTo>
                    <a:cubicBezTo>
                      <a:pt x="500225" y="2158161"/>
                      <a:pt x="498547" y="2158471"/>
                      <a:pt x="496959" y="2159000"/>
                    </a:cubicBezTo>
                    <a:cubicBezTo>
                      <a:pt x="495354" y="2161408"/>
                      <a:pt x="492197" y="2165239"/>
                      <a:pt x="492197" y="2168525"/>
                    </a:cubicBezTo>
                    <a:cubicBezTo>
                      <a:pt x="492197" y="2172849"/>
                      <a:pt x="495152" y="2177611"/>
                      <a:pt x="496959" y="2181225"/>
                    </a:cubicBezTo>
                    <a:cubicBezTo>
                      <a:pt x="496430" y="2185988"/>
                      <a:pt x="499053" y="2192445"/>
                      <a:pt x="495372" y="2195513"/>
                    </a:cubicBezTo>
                    <a:cubicBezTo>
                      <a:pt x="489136" y="2200710"/>
                      <a:pt x="487019" y="2186158"/>
                      <a:pt x="485847" y="2184400"/>
                    </a:cubicBezTo>
                    <a:cubicBezTo>
                      <a:pt x="484602" y="2182532"/>
                      <a:pt x="482672" y="2181225"/>
                      <a:pt x="481084" y="2179638"/>
                    </a:cubicBezTo>
                    <a:cubicBezTo>
                      <a:pt x="476851" y="2180167"/>
                      <a:pt x="472088" y="2179108"/>
                      <a:pt x="468384" y="2181225"/>
                    </a:cubicBezTo>
                    <a:cubicBezTo>
                      <a:pt x="466931" y="2182055"/>
                      <a:pt x="468901" y="2184702"/>
                      <a:pt x="469972" y="2185988"/>
                    </a:cubicBezTo>
                    <a:cubicBezTo>
                      <a:pt x="471666" y="2188020"/>
                      <a:pt x="474205" y="2189163"/>
                      <a:pt x="476322" y="2190750"/>
                    </a:cubicBezTo>
                    <a:cubicBezTo>
                      <a:pt x="478088" y="2199584"/>
                      <a:pt x="479657" y="2201541"/>
                      <a:pt x="474734" y="2211388"/>
                    </a:cubicBezTo>
                    <a:cubicBezTo>
                      <a:pt x="473881" y="2213094"/>
                      <a:pt x="471559" y="2213505"/>
                      <a:pt x="469972" y="2214563"/>
                    </a:cubicBezTo>
                    <a:cubicBezTo>
                      <a:pt x="471559" y="2216150"/>
                      <a:pt x="473489" y="2217457"/>
                      <a:pt x="474734" y="2219325"/>
                    </a:cubicBezTo>
                    <a:cubicBezTo>
                      <a:pt x="475833" y="2220973"/>
                      <a:pt x="477453" y="2229223"/>
                      <a:pt x="477909" y="2230438"/>
                    </a:cubicBezTo>
                    <a:cubicBezTo>
                      <a:pt x="478740" y="2232654"/>
                      <a:pt x="480026" y="2234671"/>
                      <a:pt x="481084" y="2236788"/>
                    </a:cubicBezTo>
                    <a:cubicBezTo>
                      <a:pt x="480026" y="2241550"/>
                      <a:pt x="478931" y="2246305"/>
                      <a:pt x="477909" y="2251075"/>
                    </a:cubicBezTo>
                    <a:cubicBezTo>
                      <a:pt x="477344" y="2253713"/>
                      <a:pt x="478567" y="2257516"/>
                      <a:pt x="476322" y="2259013"/>
                    </a:cubicBezTo>
                    <a:cubicBezTo>
                      <a:pt x="474077" y="2260510"/>
                      <a:pt x="471030" y="2257954"/>
                      <a:pt x="468384" y="2257425"/>
                    </a:cubicBezTo>
                    <a:cubicBezTo>
                      <a:pt x="467416" y="2265170"/>
                      <a:pt x="469622" y="2272267"/>
                      <a:pt x="460447" y="2274888"/>
                    </a:cubicBezTo>
                    <a:cubicBezTo>
                      <a:pt x="458838" y="2275348"/>
                      <a:pt x="457272" y="2273829"/>
                      <a:pt x="455684" y="2273300"/>
                    </a:cubicBezTo>
                    <a:cubicBezTo>
                      <a:pt x="454097" y="2276475"/>
                      <a:pt x="452364" y="2279581"/>
                      <a:pt x="450922" y="2282825"/>
                    </a:cubicBezTo>
                    <a:cubicBezTo>
                      <a:pt x="450242" y="2284354"/>
                      <a:pt x="448805" y="2286000"/>
                      <a:pt x="449334" y="2287588"/>
                    </a:cubicBezTo>
                    <a:cubicBezTo>
                      <a:pt x="450044" y="2289718"/>
                      <a:pt x="454097" y="2290105"/>
                      <a:pt x="454097" y="2292350"/>
                    </a:cubicBezTo>
                    <a:cubicBezTo>
                      <a:pt x="454097" y="2294023"/>
                      <a:pt x="450922" y="2291292"/>
                      <a:pt x="449334" y="2290763"/>
                    </a:cubicBezTo>
                    <a:cubicBezTo>
                      <a:pt x="447747" y="2289175"/>
                      <a:pt x="446636" y="2285116"/>
                      <a:pt x="444572" y="2286000"/>
                    </a:cubicBezTo>
                    <a:cubicBezTo>
                      <a:pt x="441065" y="2287503"/>
                      <a:pt x="439725" y="2292018"/>
                      <a:pt x="438222" y="2295525"/>
                    </a:cubicBezTo>
                    <a:cubicBezTo>
                      <a:pt x="436503" y="2299536"/>
                      <a:pt x="435047" y="2308225"/>
                      <a:pt x="435047" y="2308225"/>
                    </a:cubicBezTo>
                    <a:cubicBezTo>
                      <a:pt x="432010" y="2299118"/>
                      <a:pt x="435633" y="2307619"/>
                      <a:pt x="428697" y="2298700"/>
                    </a:cubicBezTo>
                    <a:cubicBezTo>
                      <a:pt x="423250" y="2291696"/>
                      <a:pt x="424386" y="2288097"/>
                      <a:pt x="415997" y="2286000"/>
                    </a:cubicBezTo>
                    <a:cubicBezTo>
                      <a:pt x="411858" y="2284965"/>
                      <a:pt x="407530" y="2284942"/>
                      <a:pt x="403297" y="2284413"/>
                    </a:cubicBezTo>
                    <a:cubicBezTo>
                      <a:pt x="405414" y="2285471"/>
                      <a:pt x="408272" y="2285662"/>
                      <a:pt x="409647" y="2287588"/>
                    </a:cubicBezTo>
                    <a:cubicBezTo>
                      <a:pt x="411215" y="2289783"/>
                      <a:pt x="411234" y="2292827"/>
                      <a:pt x="411234" y="2295525"/>
                    </a:cubicBezTo>
                    <a:cubicBezTo>
                      <a:pt x="411234" y="2299295"/>
                      <a:pt x="409757" y="2305487"/>
                      <a:pt x="406472" y="2308225"/>
                    </a:cubicBezTo>
                    <a:cubicBezTo>
                      <a:pt x="402915" y="2311189"/>
                      <a:pt x="398044" y="2311920"/>
                      <a:pt x="393772" y="2312988"/>
                    </a:cubicBezTo>
                    <a:cubicBezTo>
                      <a:pt x="392714" y="2316163"/>
                      <a:pt x="393116" y="2320309"/>
                      <a:pt x="390597" y="2322513"/>
                    </a:cubicBezTo>
                    <a:cubicBezTo>
                      <a:pt x="382592" y="2329517"/>
                      <a:pt x="377270" y="2318396"/>
                      <a:pt x="384247" y="2328863"/>
                    </a:cubicBezTo>
                    <a:cubicBezTo>
                      <a:pt x="385074" y="2332172"/>
                      <a:pt x="388843" y="2340268"/>
                      <a:pt x="381072" y="2341563"/>
                    </a:cubicBezTo>
                    <a:cubicBezTo>
                      <a:pt x="378857" y="2341932"/>
                      <a:pt x="378554" y="2336800"/>
                      <a:pt x="376309" y="2336800"/>
                    </a:cubicBezTo>
                    <a:cubicBezTo>
                      <a:pt x="374401" y="2336800"/>
                      <a:pt x="378537" y="2339906"/>
                      <a:pt x="379484" y="2341563"/>
                    </a:cubicBezTo>
                    <a:cubicBezTo>
                      <a:pt x="380658" y="2343618"/>
                      <a:pt x="381601" y="2345796"/>
                      <a:pt x="382659" y="2347913"/>
                    </a:cubicBezTo>
                    <a:cubicBezTo>
                      <a:pt x="378670" y="2359883"/>
                      <a:pt x="384516" y="2345591"/>
                      <a:pt x="376309" y="2355850"/>
                    </a:cubicBezTo>
                    <a:cubicBezTo>
                      <a:pt x="375264" y="2357157"/>
                      <a:pt x="376114" y="2359685"/>
                      <a:pt x="374722" y="2360613"/>
                    </a:cubicBezTo>
                    <a:cubicBezTo>
                      <a:pt x="357789" y="2371902"/>
                      <a:pt x="367122" y="2360371"/>
                      <a:pt x="355672" y="2368550"/>
                    </a:cubicBezTo>
                    <a:cubicBezTo>
                      <a:pt x="353845" y="2369855"/>
                      <a:pt x="352813" y="2372123"/>
                      <a:pt x="350909" y="2373313"/>
                    </a:cubicBezTo>
                    <a:cubicBezTo>
                      <a:pt x="348493" y="2374823"/>
                      <a:pt x="345463" y="2375104"/>
                      <a:pt x="342972" y="2376488"/>
                    </a:cubicBezTo>
                    <a:cubicBezTo>
                      <a:pt x="340659" y="2377773"/>
                      <a:pt x="338739" y="2379663"/>
                      <a:pt x="336622" y="2381250"/>
                    </a:cubicBezTo>
                    <a:cubicBezTo>
                      <a:pt x="336093" y="2382838"/>
                      <a:pt x="335440" y="2384389"/>
                      <a:pt x="335034" y="2386013"/>
                    </a:cubicBezTo>
                    <a:cubicBezTo>
                      <a:pt x="334380" y="2388630"/>
                      <a:pt x="335174" y="2391877"/>
                      <a:pt x="333447" y="2393950"/>
                    </a:cubicBezTo>
                    <a:cubicBezTo>
                      <a:pt x="332050" y="2395626"/>
                      <a:pt x="329214" y="2395009"/>
                      <a:pt x="327097" y="2395538"/>
                    </a:cubicBezTo>
                    <a:cubicBezTo>
                      <a:pt x="326129" y="2400375"/>
                      <a:pt x="326011" y="2406901"/>
                      <a:pt x="320747" y="2409825"/>
                    </a:cubicBezTo>
                    <a:cubicBezTo>
                      <a:pt x="317933" y="2411388"/>
                      <a:pt x="314397" y="2410884"/>
                      <a:pt x="311222" y="2411413"/>
                    </a:cubicBezTo>
                    <a:cubicBezTo>
                      <a:pt x="311751" y="2413530"/>
                      <a:pt x="313499" y="2415693"/>
                      <a:pt x="312809" y="2417763"/>
                    </a:cubicBezTo>
                    <a:cubicBezTo>
                      <a:pt x="311496" y="2421703"/>
                      <a:pt x="299592" y="2422347"/>
                      <a:pt x="298522" y="2422525"/>
                    </a:cubicBezTo>
                    <a:cubicBezTo>
                      <a:pt x="290314" y="2425262"/>
                      <a:pt x="281704" y="2428392"/>
                      <a:pt x="274709" y="2433638"/>
                    </a:cubicBezTo>
                    <a:cubicBezTo>
                      <a:pt x="272913" y="2434985"/>
                      <a:pt x="271534" y="2436813"/>
                      <a:pt x="269947" y="2438400"/>
                    </a:cubicBezTo>
                    <a:cubicBezTo>
                      <a:pt x="266522" y="2462369"/>
                      <a:pt x="272271" y="2441846"/>
                      <a:pt x="263597" y="2452688"/>
                    </a:cubicBezTo>
                    <a:cubicBezTo>
                      <a:pt x="257439" y="2460385"/>
                      <a:pt x="267637" y="2455573"/>
                      <a:pt x="257247" y="2459038"/>
                    </a:cubicBezTo>
                    <a:cubicBezTo>
                      <a:pt x="253510" y="2457792"/>
                      <a:pt x="243911" y="2454276"/>
                      <a:pt x="241372" y="2455863"/>
                    </a:cubicBezTo>
                    <a:cubicBezTo>
                      <a:pt x="238642" y="2457569"/>
                      <a:pt x="242190" y="2463250"/>
                      <a:pt x="239784" y="2465388"/>
                    </a:cubicBezTo>
                    <a:cubicBezTo>
                      <a:pt x="236523" y="2468287"/>
                      <a:pt x="231317" y="2467505"/>
                      <a:pt x="227084" y="2468563"/>
                    </a:cubicBezTo>
                    <a:cubicBezTo>
                      <a:pt x="211035" y="2479263"/>
                      <a:pt x="228965" y="2468659"/>
                      <a:pt x="184222" y="2470150"/>
                    </a:cubicBezTo>
                    <a:cubicBezTo>
                      <a:pt x="180877" y="2470261"/>
                      <a:pt x="177931" y="2472463"/>
                      <a:pt x="174697" y="2473325"/>
                    </a:cubicBezTo>
                    <a:cubicBezTo>
                      <a:pt x="169983" y="2474582"/>
                      <a:pt x="165172" y="2475442"/>
                      <a:pt x="160409" y="2476500"/>
                    </a:cubicBezTo>
                    <a:cubicBezTo>
                      <a:pt x="159880" y="2473854"/>
                      <a:pt x="160730" y="2470471"/>
                      <a:pt x="158822" y="2468563"/>
                    </a:cubicBezTo>
                    <a:cubicBezTo>
                      <a:pt x="156455" y="2466196"/>
                      <a:pt x="152404" y="2466631"/>
                      <a:pt x="149297" y="2465388"/>
                    </a:cubicBezTo>
                    <a:cubicBezTo>
                      <a:pt x="144262" y="2463374"/>
                      <a:pt x="142479" y="2461901"/>
                      <a:pt x="138184" y="2459038"/>
                    </a:cubicBezTo>
                    <a:cubicBezTo>
                      <a:pt x="137038" y="2454451"/>
                      <a:pt x="137145" y="2445964"/>
                      <a:pt x="128659" y="2455863"/>
                    </a:cubicBezTo>
                    <a:cubicBezTo>
                      <a:pt x="126903" y="2457911"/>
                      <a:pt x="128799" y="2461727"/>
                      <a:pt x="127072" y="2463800"/>
                    </a:cubicBezTo>
                    <a:cubicBezTo>
                      <a:pt x="125675" y="2465476"/>
                      <a:pt x="122839" y="2464859"/>
                      <a:pt x="120722" y="2465388"/>
                    </a:cubicBezTo>
                    <a:cubicBezTo>
                      <a:pt x="118605" y="2464859"/>
                      <a:pt x="116076" y="2465163"/>
                      <a:pt x="114372" y="2463800"/>
                    </a:cubicBezTo>
                    <a:cubicBezTo>
                      <a:pt x="113065" y="2462755"/>
                      <a:pt x="113244" y="2460647"/>
                      <a:pt x="112784" y="2459038"/>
                    </a:cubicBezTo>
                    <a:cubicBezTo>
                      <a:pt x="112185" y="2456940"/>
                      <a:pt x="111726" y="2454805"/>
                      <a:pt x="111197" y="2452688"/>
                    </a:cubicBezTo>
                    <a:cubicBezTo>
                      <a:pt x="112255" y="2448984"/>
                      <a:pt x="112235" y="2444781"/>
                      <a:pt x="114372" y="2441575"/>
                    </a:cubicBezTo>
                    <a:cubicBezTo>
                      <a:pt x="115685" y="2439606"/>
                      <a:pt x="118925" y="2439940"/>
                      <a:pt x="120722" y="2438400"/>
                    </a:cubicBezTo>
                    <a:cubicBezTo>
                      <a:pt x="132401" y="2428389"/>
                      <a:pt x="116258" y="2433368"/>
                      <a:pt x="136597" y="2430463"/>
                    </a:cubicBezTo>
                    <a:cubicBezTo>
                      <a:pt x="136068" y="2428346"/>
                      <a:pt x="137079" y="2424803"/>
                      <a:pt x="135009" y="2424113"/>
                    </a:cubicBezTo>
                    <a:cubicBezTo>
                      <a:pt x="115054" y="2417461"/>
                      <a:pt x="117952" y="2420763"/>
                      <a:pt x="106434" y="2425700"/>
                    </a:cubicBezTo>
                    <a:cubicBezTo>
                      <a:pt x="97234" y="2429644"/>
                      <a:pt x="106061" y="2424362"/>
                      <a:pt x="96909" y="2430463"/>
                    </a:cubicBezTo>
                    <a:cubicBezTo>
                      <a:pt x="85087" y="2422581"/>
                      <a:pt x="99607" y="2432711"/>
                      <a:pt x="87384" y="2422525"/>
                    </a:cubicBezTo>
                    <a:cubicBezTo>
                      <a:pt x="85918" y="2421304"/>
                      <a:pt x="84209" y="2420408"/>
                      <a:pt x="82622" y="2419350"/>
                    </a:cubicBezTo>
                    <a:cubicBezTo>
                      <a:pt x="81564" y="2417763"/>
                      <a:pt x="80869" y="2415860"/>
                      <a:pt x="79447" y="2414588"/>
                    </a:cubicBezTo>
                    <a:cubicBezTo>
                      <a:pt x="52200" y="2390210"/>
                      <a:pt x="57582" y="2395095"/>
                      <a:pt x="28647" y="2379663"/>
                    </a:cubicBezTo>
                    <a:cubicBezTo>
                      <a:pt x="33362" y="2372590"/>
                      <a:pt x="34839" y="2372586"/>
                      <a:pt x="30234" y="2360613"/>
                    </a:cubicBezTo>
                    <a:cubicBezTo>
                      <a:pt x="29159" y="2357819"/>
                      <a:pt x="25680" y="2356658"/>
                      <a:pt x="23884" y="2354263"/>
                    </a:cubicBezTo>
                    <a:cubicBezTo>
                      <a:pt x="22464" y="2352370"/>
                      <a:pt x="21963" y="2349920"/>
                      <a:pt x="20709" y="2347913"/>
                    </a:cubicBezTo>
                    <a:cubicBezTo>
                      <a:pt x="19307" y="2345669"/>
                      <a:pt x="17534" y="2343680"/>
                      <a:pt x="15947" y="2341563"/>
                    </a:cubicBezTo>
                    <a:cubicBezTo>
                      <a:pt x="16476" y="2337330"/>
                      <a:pt x="17148" y="2333112"/>
                      <a:pt x="17534" y="2328863"/>
                    </a:cubicBezTo>
                    <a:cubicBezTo>
                      <a:pt x="18206" y="2321466"/>
                      <a:pt x="17511" y="2313888"/>
                      <a:pt x="19122" y="2306638"/>
                    </a:cubicBezTo>
                    <a:cubicBezTo>
                      <a:pt x="19696" y="2304055"/>
                      <a:pt x="22297" y="2302405"/>
                      <a:pt x="23884" y="2300288"/>
                    </a:cubicBezTo>
                    <a:cubicBezTo>
                      <a:pt x="24413" y="2298700"/>
                      <a:pt x="23918" y="2296147"/>
                      <a:pt x="25472" y="2295525"/>
                    </a:cubicBezTo>
                    <a:cubicBezTo>
                      <a:pt x="31850" y="2292974"/>
                      <a:pt x="39187" y="2306330"/>
                      <a:pt x="41347" y="2306638"/>
                    </a:cubicBezTo>
                    <a:lnTo>
                      <a:pt x="52459" y="2308225"/>
                    </a:lnTo>
                    <a:cubicBezTo>
                      <a:pt x="54047" y="2309813"/>
                      <a:pt x="55426" y="2311641"/>
                      <a:pt x="57222" y="2312988"/>
                    </a:cubicBezTo>
                    <a:cubicBezTo>
                      <a:pt x="63565" y="2317745"/>
                      <a:pt x="65179" y="2317308"/>
                      <a:pt x="71509" y="2320925"/>
                    </a:cubicBezTo>
                    <a:cubicBezTo>
                      <a:pt x="79038" y="2325227"/>
                      <a:pt x="73867" y="2322890"/>
                      <a:pt x="81034" y="2328863"/>
                    </a:cubicBezTo>
                    <a:cubicBezTo>
                      <a:pt x="82500" y="2330085"/>
                      <a:pt x="84209" y="2330980"/>
                      <a:pt x="85797" y="2332038"/>
                    </a:cubicBezTo>
                    <a:cubicBezTo>
                      <a:pt x="87914" y="2331509"/>
                      <a:pt x="92147" y="2332632"/>
                      <a:pt x="92147" y="2330450"/>
                    </a:cubicBezTo>
                    <a:cubicBezTo>
                      <a:pt x="92147" y="2328083"/>
                      <a:pt x="87852" y="2328449"/>
                      <a:pt x="85797" y="2327275"/>
                    </a:cubicBezTo>
                    <a:cubicBezTo>
                      <a:pt x="84140" y="2326328"/>
                      <a:pt x="82622" y="2325158"/>
                      <a:pt x="81034" y="2324100"/>
                    </a:cubicBezTo>
                    <a:cubicBezTo>
                      <a:pt x="79976" y="2322513"/>
                      <a:pt x="79101" y="2320786"/>
                      <a:pt x="77859" y="2319338"/>
                    </a:cubicBezTo>
                    <a:cubicBezTo>
                      <a:pt x="75745" y="2316872"/>
                      <a:pt x="67532" y="2312995"/>
                      <a:pt x="73097" y="2308225"/>
                    </a:cubicBezTo>
                    <a:cubicBezTo>
                      <a:pt x="75792" y="2305915"/>
                      <a:pt x="79378" y="2304905"/>
                      <a:pt x="82622" y="2303463"/>
                    </a:cubicBezTo>
                    <a:cubicBezTo>
                      <a:pt x="84151" y="2302783"/>
                      <a:pt x="85797" y="2302404"/>
                      <a:pt x="87384" y="2301875"/>
                    </a:cubicBezTo>
                    <a:cubicBezTo>
                      <a:pt x="88972" y="2300288"/>
                      <a:pt x="90184" y="2298203"/>
                      <a:pt x="92147" y="2297113"/>
                    </a:cubicBezTo>
                    <a:cubicBezTo>
                      <a:pt x="95073" y="2295488"/>
                      <a:pt x="98425" y="2294750"/>
                      <a:pt x="101672" y="2293938"/>
                    </a:cubicBezTo>
                    <a:cubicBezTo>
                      <a:pt x="118002" y="2289856"/>
                      <a:pt x="110052" y="2291380"/>
                      <a:pt x="125484" y="2289175"/>
                    </a:cubicBezTo>
                    <a:cubicBezTo>
                      <a:pt x="126013" y="2287588"/>
                      <a:pt x="128745" y="2284413"/>
                      <a:pt x="127072" y="2284413"/>
                    </a:cubicBezTo>
                    <a:cubicBezTo>
                      <a:pt x="122603" y="2284413"/>
                      <a:pt x="106547" y="2289118"/>
                      <a:pt x="100084" y="2292350"/>
                    </a:cubicBezTo>
                    <a:cubicBezTo>
                      <a:pt x="98378" y="2293203"/>
                      <a:pt x="97076" y="2294773"/>
                      <a:pt x="95322" y="2295525"/>
                    </a:cubicBezTo>
                    <a:cubicBezTo>
                      <a:pt x="93317" y="2296385"/>
                      <a:pt x="91070" y="2296514"/>
                      <a:pt x="88972" y="2297113"/>
                    </a:cubicBezTo>
                    <a:cubicBezTo>
                      <a:pt x="87363" y="2297573"/>
                      <a:pt x="85797" y="2298171"/>
                      <a:pt x="84209" y="2298700"/>
                    </a:cubicBezTo>
                    <a:cubicBezTo>
                      <a:pt x="78917" y="2298171"/>
                      <a:pt x="73332" y="2298930"/>
                      <a:pt x="68334" y="2297113"/>
                    </a:cubicBezTo>
                    <a:cubicBezTo>
                      <a:pt x="66761" y="2296541"/>
                      <a:pt x="67675" y="2293742"/>
                      <a:pt x="66747" y="2292350"/>
                    </a:cubicBezTo>
                    <a:cubicBezTo>
                      <a:pt x="65502" y="2290482"/>
                      <a:pt x="63572" y="2289175"/>
                      <a:pt x="61984" y="2287588"/>
                    </a:cubicBezTo>
                    <a:cubicBezTo>
                      <a:pt x="56532" y="2271230"/>
                      <a:pt x="56005" y="2278170"/>
                      <a:pt x="58809" y="2266950"/>
                    </a:cubicBezTo>
                    <a:cubicBezTo>
                      <a:pt x="62513" y="2268008"/>
                      <a:pt x="66554" y="2268254"/>
                      <a:pt x="69922" y="2270125"/>
                    </a:cubicBezTo>
                    <a:cubicBezTo>
                      <a:pt x="78385" y="2274827"/>
                      <a:pt x="67464" y="2276766"/>
                      <a:pt x="77859" y="2273300"/>
                    </a:cubicBezTo>
                    <a:cubicBezTo>
                      <a:pt x="78388" y="2271713"/>
                      <a:pt x="79084" y="2270171"/>
                      <a:pt x="79447" y="2268538"/>
                    </a:cubicBezTo>
                    <a:cubicBezTo>
                      <a:pt x="80145" y="2265396"/>
                      <a:pt x="79595" y="2261892"/>
                      <a:pt x="81034" y="2259013"/>
                    </a:cubicBezTo>
                    <a:cubicBezTo>
                      <a:pt x="82376" y="2256329"/>
                      <a:pt x="91070" y="2249565"/>
                      <a:pt x="93734" y="2247900"/>
                    </a:cubicBezTo>
                    <a:cubicBezTo>
                      <a:pt x="95741" y="2246646"/>
                      <a:pt x="98158" y="2246100"/>
                      <a:pt x="100084" y="2244725"/>
                    </a:cubicBezTo>
                    <a:cubicBezTo>
                      <a:pt x="101911" y="2243420"/>
                      <a:pt x="103122" y="2241400"/>
                      <a:pt x="104847" y="2239963"/>
                    </a:cubicBezTo>
                    <a:cubicBezTo>
                      <a:pt x="106313" y="2238742"/>
                      <a:pt x="108022" y="2237846"/>
                      <a:pt x="109609" y="2236788"/>
                    </a:cubicBezTo>
                    <a:cubicBezTo>
                      <a:pt x="95538" y="2232098"/>
                      <a:pt x="103410" y="2233244"/>
                      <a:pt x="85797" y="2235200"/>
                    </a:cubicBezTo>
                    <a:cubicBezTo>
                      <a:pt x="85268" y="2236788"/>
                      <a:pt x="85516" y="2238918"/>
                      <a:pt x="84209" y="2239963"/>
                    </a:cubicBezTo>
                    <a:cubicBezTo>
                      <a:pt x="80178" y="2243188"/>
                      <a:pt x="75540" y="2240970"/>
                      <a:pt x="71509" y="2239963"/>
                    </a:cubicBezTo>
                    <a:cubicBezTo>
                      <a:pt x="70980" y="2238375"/>
                      <a:pt x="69737" y="2236863"/>
                      <a:pt x="69922" y="2235200"/>
                    </a:cubicBezTo>
                    <a:cubicBezTo>
                      <a:pt x="70685" y="2228335"/>
                      <a:pt x="72825" y="2224829"/>
                      <a:pt x="77859" y="2220913"/>
                    </a:cubicBezTo>
                    <a:cubicBezTo>
                      <a:pt x="80871" y="2218570"/>
                      <a:pt x="84209" y="2216680"/>
                      <a:pt x="87384" y="2214563"/>
                    </a:cubicBezTo>
                    <a:cubicBezTo>
                      <a:pt x="94114" y="2210076"/>
                      <a:pt x="90443" y="2212240"/>
                      <a:pt x="98497" y="2208213"/>
                    </a:cubicBezTo>
                    <a:cubicBezTo>
                      <a:pt x="102006" y="2204703"/>
                      <a:pt x="104224" y="2203107"/>
                      <a:pt x="106434" y="2198688"/>
                    </a:cubicBezTo>
                    <a:cubicBezTo>
                      <a:pt x="107183" y="2197191"/>
                      <a:pt x="109696" y="2193925"/>
                      <a:pt x="108022" y="2193925"/>
                    </a:cubicBezTo>
                    <a:cubicBezTo>
                      <a:pt x="105837" y="2193925"/>
                      <a:pt x="96122" y="2204238"/>
                      <a:pt x="95322" y="2205038"/>
                    </a:cubicBezTo>
                    <a:cubicBezTo>
                      <a:pt x="87952" y="2193982"/>
                      <a:pt x="97145" y="2204664"/>
                      <a:pt x="87384" y="2208213"/>
                    </a:cubicBezTo>
                    <a:cubicBezTo>
                      <a:pt x="83375" y="2209671"/>
                      <a:pt x="78917" y="2207154"/>
                      <a:pt x="74684" y="2206625"/>
                    </a:cubicBezTo>
                    <a:cubicBezTo>
                      <a:pt x="70388" y="2203761"/>
                      <a:pt x="68608" y="2200583"/>
                      <a:pt x="63572" y="2206625"/>
                    </a:cubicBezTo>
                    <a:cubicBezTo>
                      <a:pt x="62175" y="2208301"/>
                      <a:pt x="63660" y="2211578"/>
                      <a:pt x="61984" y="2212975"/>
                    </a:cubicBezTo>
                    <a:cubicBezTo>
                      <a:pt x="59911" y="2214702"/>
                      <a:pt x="56693" y="2214034"/>
                      <a:pt x="54047" y="2214563"/>
                    </a:cubicBezTo>
                    <a:cubicBezTo>
                      <a:pt x="52459" y="2215621"/>
                      <a:pt x="50393" y="2216185"/>
                      <a:pt x="49284" y="2217738"/>
                    </a:cubicBezTo>
                    <a:cubicBezTo>
                      <a:pt x="44539" y="2224381"/>
                      <a:pt x="47567" y="2230050"/>
                      <a:pt x="44522" y="2220913"/>
                    </a:cubicBezTo>
                    <a:cubicBezTo>
                      <a:pt x="42934" y="2222500"/>
                      <a:pt x="40949" y="2223771"/>
                      <a:pt x="39759" y="2225675"/>
                    </a:cubicBezTo>
                    <a:cubicBezTo>
                      <a:pt x="33264" y="2236066"/>
                      <a:pt x="40872" y="2232184"/>
                      <a:pt x="31822" y="2235200"/>
                    </a:cubicBezTo>
                    <a:cubicBezTo>
                      <a:pt x="30234" y="2234142"/>
                      <a:pt x="28948" y="2232295"/>
                      <a:pt x="27059" y="2232025"/>
                    </a:cubicBezTo>
                    <a:cubicBezTo>
                      <a:pt x="24899" y="2231717"/>
                      <a:pt x="22779" y="2234303"/>
                      <a:pt x="20709" y="2233613"/>
                    </a:cubicBezTo>
                    <a:cubicBezTo>
                      <a:pt x="17495" y="2232542"/>
                      <a:pt x="15418" y="2229380"/>
                      <a:pt x="12772" y="2227263"/>
                    </a:cubicBezTo>
                    <a:cubicBezTo>
                      <a:pt x="12672" y="2227663"/>
                      <a:pt x="11294" y="2239224"/>
                      <a:pt x="6422" y="2236788"/>
                    </a:cubicBezTo>
                    <a:cubicBezTo>
                      <a:pt x="4470" y="2235812"/>
                      <a:pt x="5363" y="2232555"/>
                      <a:pt x="4834" y="2230438"/>
                    </a:cubicBezTo>
                    <a:cubicBezTo>
                      <a:pt x="3938" y="2220576"/>
                      <a:pt x="19" y="2211440"/>
                      <a:pt x="8009" y="2203450"/>
                    </a:cubicBezTo>
                    <a:cubicBezTo>
                      <a:pt x="9552" y="2201907"/>
                      <a:pt x="12242" y="2202392"/>
                      <a:pt x="14359" y="2201863"/>
                    </a:cubicBezTo>
                    <a:cubicBezTo>
                      <a:pt x="14888" y="2198688"/>
                      <a:pt x="15492" y="2195524"/>
                      <a:pt x="15947" y="2192338"/>
                    </a:cubicBezTo>
                    <a:cubicBezTo>
                      <a:pt x="16550" y="2188115"/>
                      <a:pt x="13635" y="2181371"/>
                      <a:pt x="17534" y="2179638"/>
                    </a:cubicBezTo>
                    <a:cubicBezTo>
                      <a:pt x="21859" y="2177716"/>
                      <a:pt x="30234" y="2185988"/>
                      <a:pt x="30234" y="2185988"/>
                    </a:cubicBezTo>
                    <a:cubicBezTo>
                      <a:pt x="31822" y="2182813"/>
                      <a:pt x="33273" y="2179566"/>
                      <a:pt x="34997" y="2176463"/>
                    </a:cubicBezTo>
                    <a:cubicBezTo>
                      <a:pt x="35924" y="2174795"/>
                      <a:pt x="36276" y="2171911"/>
                      <a:pt x="38172" y="2171700"/>
                    </a:cubicBezTo>
                    <a:cubicBezTo>
                      <a:pt x="42001" y="2171274"/>
                      <a:pt x="45580" y="2173817"/>
                      <a:pt x="49284" y="2174875"/>
                    </a:cubicBezTo>
                    <a:cubicBezTo>
                      <a:pt x="51930" y="2173817"/>
                      <a:pt x="54942" y="2173410"/>
                      <a:pt x="57222" y="2171700"/>
                    </a:cubicBezTo>
                    <a:cubicBezTo>
                      <a:pt x="71060" y="2161322"/>
                      <a:pt x="54368" y="2167887"/>
                      <a:pt x="66747" y="2163763"/>
                    </a:cubicBezTo>
                    <a:cubicBezTo>
                      <a:pt x="67276" y="2165350"/>
                      <a:pt x="66747" y="2167996"/>
                      <a:pt x="68334" y="2168525"/>
                    </a:cubicBezTo>
                    <a:cubicBezTo>
                      <a:pt x="76566" y="2171269"/>
                      <a:pt x="76842" y="2165146"/>
                      <a:pt x="79447" y="2160588"/>
                    </a:cubicBezTo>
                    <a:cubicBezTo>
                      <a:pt x="80394" y="2158931"/>
                      <a:pt x="81034" y="2156883"/>
                      <a:pt x="82622" y="2155825"/>
                    </a:cubicBezTo>
                    <a:cubicBezTo>
                      <a:pt x="84437" y="2154615"/>
                      <a:pt x="86855" y="2154767"/>
                      <a:pt x="88972" y="2154238"/>
                    </a:cubicBezTo>
                    <a:cubicBezTo>
                      <a:pt x="91089" y="2153180"/>
                      <a:pt x="93267" y="2152237"/>
                      <a:pt x="95322" y="2151063"/>
                    </a:cubicBezTo>
                    <a:cubicBezTo>
                      <a:pt x="96978" y="2150116"/>
                      <a:pt x="101985" y="2148046"/>
                      <a:pt x="100084" y="2147888"/>
                    </a:cubicBezTo>
                    <a:cubicBezTo>
                      <a:pt x="92157" y="2147227"/>
                      <a:pt x="84209" y="2148946"/>
                      <a:pt x="76272" y="2149475"/>
                    </a:cubicBezTo>
                    <a:cubicBezTo>
                      <a:pt x="71509" y="2148946"/>
                      <a:pt x="66776" y="2147888"/>
                      <a:pt x="61984" y="2147888"/>
                    </a:cubicBezTo>
                    <a:cubicBezTo>
                      <a:pt x="58765" y="2147888"/>
                      <a:pt x="54470" y="2151988"/>
                      <a:pt x="52459" y="2149475"/>
                    </a:cubicBezTo>
                    <a:cubicBezTo>
                      <a:pt x="50368" y="2146862"/>
                      <a:pt x="54391" y="2143057"/>
                      <a:pt x="55634" y="2139950"/>
                    </a:cubicBezTo>
                    <a:cubicBezTo>
                      <a:pt x="56513" y="2137753"/>
                      <a:pt x="57930" y="2135797"/>
                      <a:pt x="58809" y="2133600"/>
                    </a:cubicBezTo>
                    <a:cubicBezTo>
                      <a:pt x="59735" y="2131285"/>
                      <a:pt x="63423" y="2118742"/>
                      <a:pt x="65159" y="2116138"/>
                    </a:cubicBezTo>
                    <a:cubicBezTo>
                      <a:pt x="66819" y="2113647"/>
                      <a:pt x="69392" y="2111905"/>
                      <a:pt x="71509" y="2109788"/>
                    </a:cubicBezTo>
                    <a:cubicBezTo>
                      <a:pt x="75113" y="2098978"/>
                      <a:pt x="69645" y="2111340"/>
                      <a:pt x="81034" y="2101850"/>
                    </a:cubicBezTo>
                    <a:cubicBezTo>
                      <a:pt x="82319" y="2100779"/>
                      <a:pt x="82162" y="2098697"/>
                      <a:pt x="82622" y="2097088"/>
                    </a:cubicBezTo>
                    <a:cubicBezTo>
                      <a:pt x="83221" y="2094990"/>
                      <a:pt x="82812" y="2092414"/>
                      <a:pt x="84209" y="2090738"/>
                    </a:cubicBezTo>
                    <a:cubicBezTo>
                      <a:pt x="85724" y="2088920"/>
                      <a:pt x="88442" y="2088621"/>
                      <a:pt x="90559" y="2087563"/>
                    </a:cubicBezTo>
                    <a:cubicBezTo>
                      <a:pt x="92676" y="2084388"/>
                      <a:pt x="95202" y="2081451"/>
                      <a:pt x="96909" y="2078038"/>
                    </a:cubicBezTo>
                    <a:cubicBezTo>
                      <a:pt x="97885" y="2076087"/>
                      <a:pt x="97898" y="2073786"/>
                      <a:pt x="98497" y="2071688"/>
                    </a:cubicBezTo>
                    <a:cubicBezTo>
                      <a:pt x="99530" y="2068071"/>
                      <a:pt x="100474" y="2064947"/>
                      <a:pt x="103259" y="2062163"/>
                    </a:cubicBezTo>
                    <a:cubicBezTo>
                      <a:pt x="104608" y="2060814"/>
                      <a:pt x="106496" y="2060133"/>
                      <a:pt x="108022" y="2058988"/>
                    </a:cubicBezTo>
                    <a:cubicBezTo>
                      <a:pt x="110733" y="2056955"/>
                      <a:pt x="113313" y="2054755"/>
                      <a:pt x="115959" y="2052638"/>
                    </a:cubicBezTo>
                    <a:cubicBezTo>
                      <a:pt x="119134" y="2053696"/>
                      <a:pt x="122761" y="2053868"/>
                      <a:pt x="125484" y="2055813"/>
                    </a:cubicBezTo>
                    <a:cubicBezTo>
                      <a:pt x="126846" y="2056785"/>
                      <a:pt x="126835" y="2058919"/>
                      <a:pt x="127072" y="2060575"/>
                    </a:cubicBezTo>
                    <a:cubicBezTo>
                      <a:pt x="128427" y="2070062"/>
                      <a:pt x="129058" y="2079640"/>
                      <a:pt x="130247" y="2089150"/>
                    </a:cubicBezTo>
                    <a:cubicBezTo>
                      <a:pt x="130646" y="2092344"/>
                      <a:pt x="131305" y="2095500"/>
                      <a:pt x="131834" y="2098675"/>
                    </a:cubicBezTo>
                    <a:cubicBezTo>
                      <a:pt x="138842" y="2077660"/>
                      <a:pt x="125697" y="2118566"/>
                      <a:pt x="135009" y="2051050"/>
                    </a:cubicBezTo>
                    <a:cubicBezTo>
                      <a:pt x="135270" y="2049160"/>
                      <a:pt x="138184" y="2048933"/>
                      <a:pt x="139772" y="2047875"/>
                    </a:cubicBezTo>
                    <a:cubicBezTo>
                      <a:pt x="143765" y="2041887"/>
                      <a:pt x="143343" y="2041476"/>
                      <a:pt x="150884" y="2036763"/>
                    </a:cubicBezTo>
                    <a:cubicBezTo>
                      <a:pt x="152303" y="2035876"/>
                      <a:pt x="154150" y="2035924"/>
                      <a:pt x="155647" y="2035175"/>
                    </a:cubicBezTo>
                    <a:cubicBezTo>
                      <a:pt x="157353" y="2034322"/>
                      <a:pt x="158703" y="2032853"/>
                      <a:pt x="160409" y="2032000"/>
                    </a:cubicBezTo>
                    <a:cubicBezTo>
                      <a:pt x="162682" y="2030864"/>
                      <a:pt x="169494" y="2029332"/>
                      <a:pt x="171522" y="2028825"/>
                    </a:cubicBezTo>
                    <a:cubicBezTo>
                      <a:pt x="172580" y="2026179"/>
                      <a:pt x="177068" y="2022469"/>
                      <a:pt x="174697" y="2020888"/>
                    </a:cubicBezTo>
                    <a:cubicBezTo>
                      <a:pt x="171147" y="2018522"/>
                      <a:pt x="166154" y="2021516"/>
                      <a:pt x="161997" y="2022475"/>
                    </a:cubicBezTo>
                    <a:cubicBezTo>
                      <a:pt x="159220" y="2023116"/>
                      <a:pt x="156789" y="2024831"/>
                      <a:pt x="154059" y="2025650"/>
                    </a:cubicBezTo>
                    <a:cubicBezTo>
                      <a:pt x="151475" y="2026425"/>
                      <a:pt x="148756" y="2026653"/>
                      <a:pt x="146122" y="2027238"/>
                    </a:cubicBezTo>
                    <a:cubicBezTo>
                      <a:pt x="143992" y="2027711"/>
                      <a:pt x="141889" y="2028296"/>
                      <a:pt x="139772" y="2028825"/>
                    </a:cubicBezTo>
                    <a:cubicBezTo>
                      <a:pt x="137655" y="2029883"/>
                      <a:pt x="135638" y="2031169"/>
                      <a:pt x="133422" y="2032000"/>
                    </a:cubicBezTo>
                    <a:cubicBezTo>
                      <a:pt x="127433" y="2034246"/>
                      <a:pt x="125527" y="2033156"/>
                      <a:pt x="119134" y="2035175"/>
                    </a:cubicBezTo>
                    <a:cubicBezTo>
                      <a:pt x="111632" y="2037544"/>
                      <a:pt x="96909" y="2043113"/>
                      <a:pt x="96909" y="2043113"/>
                    </a:cubicBezTo>
                    <a:cubicBezTo>
                      <a:pt x="95322" y="2046817"/>
                      <a:pt x="94220" y="2050769"/>
                      <a:pt x="92147" y="2054225"/>
                    </a:cubicBezTo>
                    <a:cubicBezTo>
                      <a:pt x="90992" y="2056150"/>
                      <a:pt x="88388" y="2056980"/>
                      <a:pt x="87384" y="2058988"/>
                    </a:cubicBezTo>
                    <a:cubicBezTo>
                      <a:pt x="85139" y="2063478"/>
                      <a:pt x="84867" y="2068785"/>
                      <a:pt x="82622" y="2073275"/>
                    </a:cubicBezTo>
                    <a:cubicBezTo>
                      <a:pt x="81564" y="2075392"/>
                      <a:pt x="80408" y="2077462"/>
                      <a:pt x="79447" y="2079625"/>
                    </a:cubicBezTo>
                    <a:cubicBezTo>
                      <a:pt x="78290" y="2082229"/>
                      <a:pt x="79012" y="2086780"/>
                      <a:pt x="76272" y="2087563"/>
                    </a:cubicBezTo>
                    <a:cubicBezTo>
                      <a:pt x="66591" y="2090329"/>
                      <a:pt x="56163" y="2088621"/>
                      <a:pt x="46109" y="2089150"/>
                    </a:cubicBezTo>
                    <a:cubicBezTo>
                      <a:pt x="45580" y="2091267"/>
                      <a:pt x="46548" y="2094690"/>
                      <a:pt x="44522" y="2095500"/>
                    </a:cubicBezTo>
                    <a:cubicBezTo>
                      <a:pt x="42325" y="2096379"/>
                      <a:pt x="38561" y="2094659"/>
                      <a:pt x="38172" y="2092325"/>
                    </a:cubicBezTo>
                    <a:cubicBezTo>
                      <a:pt x="35865" y="2078484"/>
                      <a:pt x="38927" y="2078063"/>
                      <a:pt x="46109" y="2073275"/>
                    </a:cubicBezTo>
                    <a:cubicBezTo>
                      <a:pt x="46638" y="2071688"/>
                      <a:pt x="47422" y="2070163"/>
                      <a:pt x="47697" y="2068513"/>
                    </a:cubicBezTo>
                    <a:cubicBezTo>
                      <a:pt x="48485" y="2063786"/>
                      <a:pt x="47564" y="2058698"/>
                      <a:pt x="49284" y="2054225"/>
                    </a:cubicBezTo>
                    <a:cubicBezTo>
                      <a:pt x="50358" y="2051431"/>
                      <a:pt x="53686" y="2050148"/>
                      <a:pt x="55634" y="2047875"/>
                    </a:cubicBezTo>
                    <a:cubicBezTo>
                      <a:pt x="56876" y="2046427"/>
                      <a:pt x="60396" y="2042055"/>
                      <a:pt x="58809" y="2043113"/>
                    </a:cubicBezTo>
                    <a:cubicBezTo>
                      <a:pt x="29990" y="2062328"/>
                      <a:pt x="66368" y="2043302"/>
                      <a:pt x="44522" y="2054225"/>
                    </a:cubicBezTo>
                    <a:cubicBezTo>
                      <a:pt x="32964" y="2069636"/>
                      <a:pt x="39129" y="2063619"/>
                      <a:pt x="27059" y="2073275"/>
                    </a:cubicBezTo>
                    <a:cubicBezTo>
                      <a:pt x="25472" y="2072746"/>
                      <a:pt x="23342" y="2072994"/>
                      <a:pt x="22297" y="2071688"/>
                    </a:cubicBezTo>
                    <a:cubicBezTo>
                      <a:pt x="20934" y="2069984"/>
                      <a:pt x="20709" y="2067520"/>
                      <a:pt x="20709" y="2065338"/>
                    </a:cubicBezTo>
                    <a:cubicBezTo>
                      <a:pt x="20709" y="2058472"/>
                      <a:pt x="22187" y="2057564"/>
                      <a:pt x="25472" y="2052638"/>
                    </a:cubicBezTo>
                    <a:cubicBezTo>
                      <a:pt x="23355" y="2051580"/>
                      <a:pt x="21338" y="2050294"/>
                      <a:pt x="19122" y="2049463"/>
                    </a:cubicBezTo>
                    <a:cubicBezTo>
                      <a:pt x="17079" y="2048697"/>
                      <a:pt x="13748" y="2049827"/>
                      <a:pt x="12772" y="2047875"/>
                    </a:cubicBezTo>
                    <a:cubicBezTo>
                      <a:pt x="11919" y="2046169"/>
                      <a:pt x="14889" y="2044700"/>
                      <a:pt x="15947" y="2043113"/>
                    </a:cubicBezTo>
                    <a:cubicBezTo>
                      <a:pt x="15418" y="2040996"/>
                      <a:pt x="13830" y="2038880"/>
                      <a:pt x="14359" y="2036763"/>
                    </a:cubicBezTo>
                    <a:cubicBezTo>
                      <a:pt x="16178" y="2029488"/>
                      <a:pt x="24857" y="2027955"/>
                      <a:pt x="30234" y="2025650"/>
                    </a:cubicBezTo>
                    <a:cubicBezTo>
                      <a:pt x="33409" y="2027238"/>
                      <a:pt x="36919" y="2028283"/>
                      <a:pt x="39759" y="2030413"/>
                    </a:cubicBezTo>
                    <a:cubicBezTo>
                      <a:pt x="41285" y="2031558"/>
                      <a:pt x="41278" y="2034228"/>
                      <a:pt x="42934" y="2035175"/>
                    </a:cubicBezTo>
                    <a:cubicBezTo>
                      <a:pt x="45277" y="2036514"/>
                      <a:pt x="48226" y="2036234"/>
                      <a:pt x="50872" y="2036763"/>
                    </a:cubicBezTo>
                    <a:cubicBezTo>
                      <a:pt x="53518" y="2034646"/>
                      <a:pt x="56604" y="2032986"/>
                      <a:pt x="58809" y="2030413"/>
                    </a:cubicBezTo>
                    <a:cubicBezTo>
                      <a:pt x="62203" y="2026454"/>
                      <a:pt x="59243" y="2017574"/>
                      <a:pt x="58809" y="2014538"/>
                    </a:cubicBezTo>
                    <a:cubicBezTo>
                      <a:pt x="56163" y="2015067"/>
                      <a:pt x="53160" y="2014695"/>
                      <a:pt x="50872" y="2016125"/>
                    </a:cubicBezTo>
                    <a:cubicBezTo>
                      <a:pt x="48628" y="2017527"/>
                      <a:pt x="48643" y="2021715"/>
                      <a:pt x="46109" y="2022475"/>
                    </a:cubicBezTo>
                    <a:cubicBezTo>
                      <a:pt x="42525" y="2023550"/>
                      <a:pt x="38701" y="2021417"/>
                      <a:pt x="34997" y="2020888"/>
                    </a:cubicBezTo>
                    <a:cubicBezTo>
                      <a:pt x="30378" y="2019348"/>
                      <a:pt x="27974" y="2020311"/>
                      <a:pt x="31822" y="2014538"/>
                    </a:cubicBezTo>
                    <a:cubicBezTo>
                      <a:pt x="40510" y="2001507"/>
                      <a:pt x="39058" y="2001723"/>
                      <a:pt x="49284" y="1997075"/>
                    </a:cubicBezTo>
                    <a:cubicBezTo>
                      <a:pt x="52953" y="1995407"/>
                      <a:pt x="56693" y="1993900"/>
                      <a:pt x="60397" y="1992313"/>
                    </a:cubicBezTo>
                    <a:cubicBezTo>
                      <a:pt x="57222" y="1989667"/>
                      <a:pt x="54846" y="1985510"/>
                      <a:pt x="50872" y="1984375"/>
                    </a:cubicBezTo>
                    <a:cubicBezTo>
                      <a:pt x="46770" y="1983203"/>
                      <a:pt x="41988" y="1987871"/>
                      <a:pt x="38172" y="1985963"/>
                    </a:cubicBezTo>
                    <a:cubicBezTo>
                      <a:pt x="36055" y="1984905"/>
                      <a:pt x="40368" y="1981767"/>
                      <a:pt x="41347" y="1979613"/>
                    </a:cubicBezTo>
                    <a:cubicBezTo>
                      <a:pt x="43015" y="1975944"/>
                      <a:pt x="44522" y="1972204"/>
                      <a:pt x="46109" y="1968500"/>
                    </a:cubicBezTo>
                    <a:cubicBezTo>
                      <a:pt x="43463" y="1967971"/>
                      <a:pt x="40870" y="1966913"/>
                      <a:pt x="38172" y="1966913"/>
                    </a:cubicBezTo>
                    <a:cubicBezTo>
                      <a:pt x="35990" y="1966913"/>
                      <a:pt x="33637" y="1969710"/>
                      <a:pt x="31822" y="1968500"/>
                    </a:cubicBezTo>
                    <a:cubicBezTo>
                      <a:pt x="30430" y="1967572"/>
                      <a:pt x="32481" y="1965130"/>
                      <a:pt x="33409" y="1963738"/>
                    </a:cubicBezTo>
                    <a:cubicBezTo>
                      <a:pt x="33690" y="1963317"/>
                      <a:pt x="44311" y="1953451"/>
                      <a:pt x="42934" y="1952625"/>
                    </a:cubicBezTo>
                    <a:cubicBezTo>
                      <a:pt x="39276" y="1950430"/>
                      <a:pt x="34467" y="1953684"/>
                      <a:pt x="30234" y="1954213"/>
                    </a:cubicBezTo>
                    <a:cubicBezTo>
                      <a:pt x="21063" y="1959454"/>
                      <a:pt x="18793" y="1963768"/>
                      <a:pt x="8009" y="1958975"/>
                    </a:cubicBezTo>
                    <a:cubicBezTo>
                      <a:pt x="6266" y="1958200"/>
                      <a:pt x="5892" y="1955800"/>
                      <a:pt x="4834" y="1954213"/>
                    </a:cubicBezTo>
                    <a:cubicBezTo>
                      <a:pt x="1845" y="1939264"/>
                      <a:pt x="1833" y="1944343"/>
                      <a:pt x="8009" y="1920875"/>
                    </a:cubicBezTo>
                    <a:cubicBezTo>
                      <a:pt x="8495" y="1919030"/>
                      <a:pt x="9694" y="1917305"/>
                      <a:pt x="11184" y="1916113"/>
                    </a:cubicBezTo>
                    <a:cubicBezTo>
                      <a:pt x="12491" y="1915068"/>
                      <a:pt x="14359" y="1915054"/>
                      <a:pt x="15947" y="1914525"/>
                    </a:cubicBezTo>
                    <a:cubicBezTo>
                      <a:pt x="17534" y="1915054"/>
                      <a:pt x="19212" y="1915365"/>
                      <a:pt x="20709" y="1916113"/>
                    </a:cubicBezTo>
                    <a:cubicBezTo>
                      <a:pt x="22416" y="1916966"/>
                      <a:pt x="23576" y="1919077"/>
                      <a:pt x="25472" y="1919288"/>
                    </a:cubicBezTo>
                    <a:cubicBezTo>
                      <a:pt x="28671" y="1919643"/>
                      <a:pt x="31822" y="1918229"/>
                      <a:pt x="34997" y="1917700"/>
                    </a:cubicBezTo>
                    <a:cubicBezTo>
                      <a:pt x="36584" y="1916642"/>
                      <a:pt x="37949" y="1915128"/>
                      <a:pt x="39759" y="1914525"/>
                    </a:cubicBezTo>
                    <a:cubicBezTo>
                      <a:pt x="42813" y="1913507"/>
                      <a:pt x="46128" y="1913569"/>
                      <a:pt x="49284" y="1912938"/>
                    </a:cubicBezTo>
                    <a:lnTo>
                      <a:pt x="54047" y="1911747"/>
                    </a:lnTo>
                    <a:lnTo>
                      <a:pt x="58077" y="1911839"/>
                    </a:lnTo>
                    <a:lnTo>
                      <a:pt x="63572" y="1912938"/>
                    </a:lnTo>
                    <a:lnTo>
                      <a:pt x="66308" y="1912026"/>
                    </a:lnTo>
                    <a:lnTo>
                      <a:pt x="69847" y="1912106"/>
                    </a:lnTo>
                    <a:lnTo>
                      <a:pt x="74684" y="1914525"/>
                    </a:lnTo>
                    <a:cubicBezTo>
                      <a:pt x="75213" y="1917171"/>
                      <a:pt x="74113" y="1920844"/>
                      <a:pt x="76272" y="1922463"/>
                    </a:cubicBezTo>
                    <a:cubicBezTo>
                      <a:pt x="77798" y="1923608"/>
                      <a:pt x="79842" y="1920778"/>
                      <a:pt x="81034" y="1919288"/>
                    </a:cubicBezTo>
                    <a:cubicBezTo>
                      <a:pt x="82079" y="1917981"/>
                      <a:pt x="81694" y="1915918"/>
                      <a:pt x="82622" y="1914525"/>
                    </a:cubicBezTo>
                    <a:lnTo>
                      <a:pt x="84703" y="1912444"/>
                    </a:lnTo>
                    <a:lnTo>
                      <a:pt x="91336" y="1912595"/>
                    </a:lnTo>
                    <a:lnTo>
                      <a:pt x="90357" y="1913487"/>
                    </a:lnTo>
                    <a:cubicBezTo>
                      <a:pt x="90373" y="1914871"/>
                      <a:pt x="91592" y="1917145"/>
                      <a:pt x="95322" y="1920875"/>
                    </a:cubicBezTo>
                    <a:cubicBezTo>
                      <a:pt x="97598" y="1923151"/>
                      <a:pt x="101672" y="1921934"/>
                      <a:pt x="104847" y="1922463"/>
                    </a:cubicBezTo>
                    <a:cubicBezTo>
                      <a:pt x="106434" y="1923521"/>
                      <a:pt x="108260" y="1924289"/>
                      <a:pt x="109609" y="1925638"/>
                    </a:cubicBezTo>
                    <a:cubicBezTo>
                      <a:pt x="111480" y="1927509"/>
                      <a:pt x="112005" y="1930805"/>
                      <a:pt x="114372" y="1931988"/>
                    </a:cubicBezTo>
                    <a:cubicBezTo>
                      <a:pt x="115869" y="1932736"/>
                      <a:pt x="117596" y="1931059"/>
                      <a:pt x="119134" y="1930400"/>
                    </a:cubicBezTo>
                    <a:cubicBezTo>
                      <a:pt x="131252" y="1925206"/>
                      <a:pt x="119313" y="1928106"/>
                      <a:pt x="136597" y="1925638"/>
                    </a:cubicBezTo>
                    <a:cubicBezTo>
                      <a:pt x="138184" y="1923521"/>
                      <a:pt x="140176" y="1921654"/>
                      <a:pt x="141359" y="1919288"/>
                    </a:cubicBezTo>
                    <a:cubicBezTo>
                      <a:pt x="142335" y="1917336"/>
                      <a:pt x="141737" y="1914753"/>
                      <a:pt x="142947" y="1912938"/>
                    </a:cubicBezTo>
                    <a:cubicBezTo>
                      <a:pt x="144005" y="1911351"/>
                      <a:pt x="146122" y="1910821"/>
                      <a:pt x="147709" y="1909763"/>
                    </a:cubicBezTo>
                    <a:cubicBezTo>
                      <a:pt x="148238" y="1911350"/>
                      <a:pt x="148934" y="1912892"/>
                      <a:pt x="149297" y="1914525"/>
                    </a:cubicBezTo>
                    <a:cubicBezTo>
                      <a:pt x="149995" y="1917667"/>
                      <a:pt x="149445" y="1921171"/>
                      <a:pt x="150884" y="1924050"/>
                    </a:cubicBezTo>
                    <a:cubicBezTo>
                      <a:pt x="152223" y="1926727"/>
                      <a:pt x="155117" y="1928283"/>
                      <a:pt x="157234" y="1930400"/>
                    </a:cubicBezTo>
                    <a:cubicBezTo>
                      <a:pt x="157763" y="1931988"/>
                      <a:pt x="158073" y="1933666"/>
                      <a:pt x="158822" y="1935163"/>
                    </a:cubicBezTo>
                    <a:cubicBezTo>
                      <a:pt x="159675" y="1936869"/>
                      <a:pt x="161246" y="1938171"/>
                      <a:pt x="161997" y="1939925"/>
                    </a:cubicBezTo>
                    <a:cubicBezTo>
                      <a:pt x="163543" y="1943532"/>
                      <a:pt x="163237" y="1947555"/>
                      <a:pt x="165172" y="1951038"/>
                    </a:cubicBezTo>
                    <a:cubicBezTo>
                      <a:pt x="167025" y="1954374"/>
                      <a:pt x="171522" y="1960563"/>
                      <a:pt x="171522" y="1960563"/>
                    </a:cubicBezTo>
                    <a:cubicBezTo>
                      <a:pt x="168622" y="1975056"/>
                      <a:pt x="169690" y="1968011"/>
                      <a:pt x="171522" y="1963738"/>
                    </a:cubicBezTo>
                    <a:cubicBezTo>
                      <a:pt x="172454" y="1961563"/>
                      <a:pt x="172879" y="1958903"/>
                      <a:pt x="174697" y="1957388"/>
                    </a:cubicBezTo>
                    <a:cubicBezTo>
                      <a:pt x="176373" y="1955991"/>
                      <a:pt x="178930" y="1956329"/>
                      <a:pt x="181047" y="1955800"/>
                    </a:cubicBezTo>
                    <a:cubicBezTo>
                      <a:pt x="183380" y="1956578"/>
                      <a:pt x="192214" y="1960399"/>
                      <a:pt x="193747" y="1955800"/>
                    </a:cubicBezTo>
                    <a:cubicBezTo>
                      <a:pt x="194495" y="1953555"/>
                      <a:pt x="189229" y="1954124"/>
                      <a:pt x="187397" y="1952625"/>
                    </a:cubicBezTo>
                    <a:cubicBezTo>
                      <a:pt x="183343" y="1949308"/>
                      <a:pt x="176284" y="1941513"/>
                      <a:pt x="176284" y="1941513"/>
                    </a:cubicBezTo>
                    <a:cubicBezTo>
                      <a:pt x="175755" y="1939396"/>
                      <a:pt x="175907" y="1936978"/>
                      <a:pt x="174697" y="1935163"/>
                    </a:cubicBezTo>
                    <a:cubicBezTo>
                      <a:pt x="173639" y="1933575"/>
                      <a:pt x="171283" y="1933337"/>
                      <a:pt x="169934" y="1931988"/>
                    </a:cubicBezTo>
                    <a:cubicBezTo>
                      <a:pt x="168585" y="1930639"/>
                      <a:pt x="167817" y="1928813"/>
                      <a:pt x="166759" y="1927225"/>
                    </a:cubicBezTo>
                    <a:cubicBezTo>
                      <a:pt x="167817" y="1924050"/>
                      <a:pt x="166941" y="1919197"/>
                      <a:pt x="169934" y="1917700"/>
                    </a:cubicBezTo>
                    <a:cubicBezTo>
                      <a:pt x="177596" y="1913869"/>
                      <a:pt x="183973" y="1920292"/>
                      <a:pt x="188984" y="1924050"/>
                    </a:cubicBezTo>
                    <a:cubicBezTo>
                      <a:pt x="192159" y="1923521"/>
                      <a:pt x="196371" y="1924869"/>
                      <a:pt x="198509" y="1922463"/>
                    </a:cubicBezTo>
                    <a:cubicBezTo>
                      <a:pt x="201408" y="1919202"/>
                      <a:pt x="199264" y="1913394"/>
                      <a:pt x="201684" y="1909763"/>
                    </a:cubicBezTo>
                    <a:lnTo>
                      <a:pt x="204859" y="1905000"/>
                    </a:lnTo>
                    <a:lnTo>
                      <a:pt x="205654" y="1896263"/>
                    </a:lnTo>
                    <a:lnTo>
                      <a:pt x="213721" y="1888139"/>
                    </a:lnTo>
                    <a:cubicBezTo>
                      <a:pt x="214074" y="1884965"/>
                      <a:pt x="212797" y="1879474"/>
                      <a:pt x="212797" y="1865313"/>
                    </a:cubicBezTo>
                    <a:cubicBezTo>
                      <a:pt x="212797" y="1858941"/>
                      <a:pt x="212960" y="1878236"/>
                      <a:pt x="211209" y="1884363"/>
                    </a:cubicBezTo>
                    <a:cubicBezTo>
                      <a:pt x="210685" y="1886197"/>
                      <a:pt x="207008" y="1885715"/>
                      <a:pt x="206447" y="1887538"/>
                    </a:cubicBezTo>
                    <a:cubicBezTo>
                      <a:pt x="206183" y="1890446"/>
                      <a:pt x="205918" y="1893355"/>
                      <a:pt x="205654" y="1896263"/>
                    </a:cubicBezTo>
                    <a:lnTo>
                      <a:pt x="204859" y="1897063"/>
                    </a:lnTo>
                    <a:cubicBezTo>
                      <a:pt x="204639" y="1897503"/>
                      <a:pt x="199927" y="1907584"/>
                      <a:pt x="198509" y="1908175"/>
                    </a:cubicBezTo>
                    <a:cubicBezTo>
                      <a:pt x="193528" y="1910250"/>
                      <a:pt x="182634" y="1911350"/>
                      <a:pt x="182634" y="1911350"/>
                    </a:cubicBezTo>
                    <a:cubicBezTo>
                      <a:pt x="174173" y="1916428"/>
                      <a:pt x="173425" y="1919096"/>
                      <a:pt x="161997" y="1914525"/>
                    </a:cubicBezTo>
                    <a:cubicBezTo>
                      <a:pt x="160226" y="1913816"/>
                      <a:pt x="160593" y="1910472"/>
                      <a:pt x="158822" y="1909763"/>
                    </a:cubicBezTo>
                    <a:cubicBezTo>
                      <a:pt x="154861" y="1908179"/>
                      <a:pt x="150355" y="1908704"/>
                      <a:pt x="146122" y="1908175"/>
                    </a:cubicBezTo>
                    <a:cubicBezTo>
                      <a:pt x="145064" y="1905529"/>
                      <a:pt x="143150" y="1903080"/>
                      <a:pt x="142947" y="1900238"/>
                    </a:cubicBezTo>
                    <a:lnTo>
                      <a:pt x="145179" y="1890564"/>
                    </a:lnTo>
                    <a:lnTo>
                      <a:pt x="150884" y="1878013"/>
                    </a:lnTo>
                    <a:lnTo>
                      <a:pt x="152119" y="1874309"/>
                    </a:lnTo>
                    <a:lnTo>
                      <a:pt x="155647" y="1870075"/>
                    </a:lnTo>
                    <a:cubicBezTo>
                      <a:pt x="156176" y="1867958"/>
                      <a:pt x="158777" y="1865267"/>
                      <a:pt x="157234" y="1863725"/>
                    </a:cubicBezTo>
                    <a:cubicBezTo>
                      <a:pt x="155884" y="1862376"/>
                      <a:pt x="154834" y="1866744"/>
                      <a:pt x="154059" y="1868488"/>
                    </a:cubicBezTo>
                    <a:lnTo>
                      <a:pt x="152119" y="1874309"/>
                    </a:lnTo>
                    <a:lnTo>
                      <a:pt x="147709" y="1879600"/>
                    </a:lnTo>
                    <a:lnTo>
                      <a:pt x="145179" y="1890564"/>
                    </a:lnTo>
                    <a:lnTo>
                      <a:pt x="142947" y="1895475"/>
                    </a:lnTo>
                    <a:cubicBezTo>
                      <a:pt x="138709" y="1916667"/>
                      <a:pt x="144506" y="1907138"/>
                      <a:pt x="135009" y="1914525"/>
                    </a:cubicBezTo>
                    <a:cubicBezTo>
                      <a:pt x="131747" y="1917062"/>
                      <a:pt x="128659" y="1919817"/>
                      <a:pt x="125484" y="1922463"/>
                    </a:cubicBezTo>
                    <a:cubicBezTo>
                      <a:pt x="123367" y="1921405"/>
                      <a:pt x="121203" y="1920437"/>
                      <a:pt x="119134" y="1919288"/>
                    </a:cubicBezTo>
                    <a:cubicBezTo>
                      <a:pt x="116437" y="1917789"/>
                      <a:pt x="113957" y="1915905"/>
                      <a:pt x="111197" y="1914525"/>
                    </a:cubicBezTo>
                    <a:cubicBezTo>
                      <a:pt x="109700" y="1913777"/>
                      <a:pt x="108106" y="1913009"/>
                      <a:pt x="106434" y="1912938"/>
                    </a:cubicBezTo>
                    <a:lnTo>
                      <a:pt x="91336" y="1912595"/>
                    </a:lnTo>
                    <a:lnTo>
                      <a:pt x="92608" y="1911436"/>
                    </a:lnTo>
                    <a:cubicBezTo>
                      <a:pt x="94772" y="1911094"/>
                      <a:pt x="96517" y="1912046"/>
                      <a:pt x="87384" y="1909763"/>
                    </a:cubicBezTo>
                    <a:lnTo>
                      <a:pt x="84703" y="1912444"/>
                    </a:lnTo>
                    <a:lnTo>
                      <a:pt x="69847" y="1912106"/>
                    </a:lnTo>
                    <a:lnTo>
                      <a:pt x="68334" y="1911350"/>
                    </a:lnTo>
                    <a:lnTo>
                      <a:pt x="66308" y="1912026"/>
                    </a:lnTo>
                    <a:lnTo>
                      <a:pt x="58077" y="1911839"/>
                    </a:lnTo>
                    <a:lnTo>
                      <a:pt x="55634" y="1911350"/>
                    </a:lnTo>
                    <a:lnTo>
                      <a:pt x="54047" y="1911747"/>
                    </a:lnTo>
                    <a:lnTo>
                      <a:pt x="36584" y="1911350"/>
                    </a:lnTo>
                    <a:cubicBezTo>
                      <a:pt x="34467" y="1910821"/>
                      <a:pt x="32416" y="1909763"/>
                      <a:pt x="30234" y="1909763"/>
                    </a:cubicBezTo>
                    <a:cubicBezTo>
                      <a:pt x="17533" y="1909763"/>
                      <a:pt x="33412" y="1913995"/>
                      <a:pt x="20709" y="1909763"/>
                    </a:cubicBezTo>
                    <a:cubicBezTo>
                      <a:pt x="19122" y="1908175"/>
                      <a:pt x="18185" y="1905172"/>
                      <a:pt x="15947" y="1905000"/>
                    </a:cubicBezTo>
                    <a:cubicBezTo>
                      <a:pt x="8118" y="1904398"/>
                      <a:pt x="-10662" y="1912469"/>
                      <a:pt x="8009" y="1905000"/>
                    </a:cubicBezTo>
                    <a:cubicBezTo>
                      <a:pt x="15580" y="1893644"/>
                      <a:pt x="7078" y="1907553"/>
                      <a:pt x="12772" y="1893888"/>
                    </a:cubicBezTo>
                    <a:cubicBezTo>
                      <a:pt x="14592" y="1889519"/>
                      <a:pt x="17626" y="1885678"/>
                      <a:pt x="19122" y="1881188"/>
                    </a:cubicBezTo>
                    <a:lnTo>
                      <a:pt x="20709" y="1876425"/>
                    </a:lnTo>
                    <a:cubicBezTo>
                      <a:pt x="21238" y="1872192"/>
                      <a:pt x="20839" y="1867734"/>
                      <a:pt x="22297" y="1863725"/>
                    </a:cubicBezTo>
                    <a:cubicBezTo>
                      <a:pt x="23064" y="1861615"/>
                      <a:pt x="24845" y="1859332"/>
                      <a:pt x="27059" y="1858963"/>
                    </a:cubicBezTo>
                    <a:cubicBezTo>
                      <a:pt x="28941" y="1858649"/>
                      <a:pt x="30115" y="1861285"/>
                      <a:pt x="31822" y="1862138"/>
                    </a:cubicBezTo>
                    <a:cubicBezTo>
                      <a:pt x="34371" y="1863412"/>
                      <a:pt x="37155" y="1864156"/>
                      <a:pt x="39759" y="1865313"/>
                    </a:cubicBezTo>
                    <a:cubicBezTo>
                      <a:pt x="51523" y="1870541"/>
                      <a:pt x="41094" y="1866817"/>
                      <a:pt x="50872" y="1870075"/>
                    </a:cubicBezTo>
                    <a:cubicBezTo>
                      <a:pt x="69324" y="1855724"/>
                      <a:pt x="58423" y="1861114"/>
                      <a:pt x="71509" y="1857375"/>
                    </a:cubicBezTo>
                    <a:cubicBezTo>
                      <a:pt x="73118" y="1856915"/>
                      <a:pt x="74684" y="1856317"/>
                      <a:pt x="76272" y="1855788"/>
                    </a:cubicBezTo>
                    <a:cubicBezTo>
                      <a:pt x="62647" y="1851245"/>
                      <a:pt x="83903" y="1857637"/>
                      <a:pt x="52459" y="1855788"/>
                    </a:cubicBezTo>
                    <a:cubicBezTo>
                      <a:pt x="49614" y="1855621"/>
                      <a:pt x="47168" y="1853671"/>
                      <a:pt x="44522" y="1852613"/>
                    </a:cubicBezTo>
                    <a:cubicBezTo>
                      <a:pt x="43167" y="1848550"/>
                      <a:pt x="40806" y="1840720"/>
                      <a:pt x="38172" y="1838325"/>
                    </a:cubicBezTo>
                    <a:cubicBezTo>
                      <a:pt x="34670" y="1835141"/>
                      <a:pt x="29705" y="1834092"/>
                      <a:pt x="25472" y="1831975"/>
                    </a:cubicBezTo>
                    <a:cubicBezTo>
                      <a:pt x="26001" y="1830388"/>
                      <a:pt x="26131" y="1828605"/>
                      <a:pt x="27059" y="1827213"/>
                    </a:cubicBezTo>
                    <a:cubicBezTo>
                      <a:pt x="29271" y="1823895"/>
                      <a:pt x="35236" y="1819889"/>
                      <a:pt x="38172" y="1817688"/>
                    </a:cubicBezTo>
                    <a:cubicBezTo>
                      <a:pt x="37114" y="1816100"/>
                      <a:pt x="34997" y="1814833"/>
                      <a:pt x="34997" y="1812925"/>
                    </a:cubicBezTo>
                    <a:cubicBezTo>
                      <a:pt x="34997" y="1805251"/>
                      <a:pt x="45038" y="1809880"/>
                      <a:pt x="31822" y="1806575"/>
                    </a:cubicBezTo>
                    <a:cubicBezTo>
                      <a:pt x="29176" y="1807104"/>
                      <a:pt x="26444" y="1807310"/>
                      <a:pt x="23884" y="1808163"/>
                    </a:cubicBezTo>
                    <a:cubicBezTo>
                      <a:pt x="21639" y="1808911"/>
                      <a:pt x="18954" y="1813231"/>
                      <a:pt x="17534" y="1811338"/>
                    </a:cubicBezTo>
                    <a:cubicBezTo>
                      <a:pt x="11605" y="1803432"/>
                      <a:pt x="22056" y="1800346"/>
                      <a:pt x="25472" y="1798638"/>
                    </a:cubicBezTo>
                    <a:cubicBezTo>
                      <a:pt x="23884" y="1795992"/>
                      <a:pt x="22345" y="1793317"/>
                      <a:pt x="20709" y="1790700"/>
                    </a:cubicBezTo>
                    <a:cubicBezTo>
                      <a:pt x="19698" y="1789082"/>
                      <a:pt x="17848" y="1787820"/>
                      <a:pt x="17534" y="1785938"/>
                    </a:cubicBezTo>
                    <a:cubicBezTo>
                      <a:pt x="17259" y="1784287"/>
                      <a:pt x="18593" y="1782763"/>
                      <a:pt x="19122" y="1781175"/>
                    </a:cubicBezTo>
                    <a:cubicBezTo>
                      <a:pt x="19651" y="1777471"/>
                      <a:pt x="18063" y="1772709"/>
                      <a:pt x="20709" y="1770063"/>
                    </a:cubicBezTo>
                    <a:cubicBezTo>
                      <a:pt x="22382" y="1768390"/>
                      <a:pt x="22211" y="1774740"/>
                      <a:pt x="23884" y="1776413"/>
                    </a:cubicBezTo>
                    <a:cubicBezTo>
                      <a:pt x="26582" y="1779111"/>
                      <a:pt x="33409" y="1782763"/>
                      <a:pt x="33409" y="1782763"/>
                    </a:cubicBezTo>
                    <a:cubicBezTo>
                      <a:pt x="41835" y="1770124"/>
                      <a:pt x="39219" y="1777016"/>
                      <a:pt x="41347" y="1762125"/>
                    </a:cubicBezTo>
                    <a:cubicBezTo>
                      <a:pt x="43464" y="1762654"/>
                      <a:pt x="45993" y="1762350"/>
                      <a:pt x="47697" y="1763713"/>
                    </a:cubicBezTo>
                    <a:cubicBezTo>
                      <a:pt x="54746" y="1769352"/>
                      <a:pt x="41438" y="1770436"/>
                      <a:pt x="55634" y="1766888"/>
                    </a:cubicBezTo>
                    <a:cubicBezTo>
                      <a:pt x="57222" y="1765830"/>
                      <a:pt x="58508" y="1763983"/>
                      <a:pt x="60397" y="1763713"/>
                    </a:cubicBezTo>
                    <a:lnTo>
                      <a:pt x="63822" y="1764461"/>
                    </a:lnTo>
                    <a:lnTo>
                      <a:pt x="65159" y="1773238"/>
                    </a:lnTo>
                    <a:lnTo>
                      <a:pt x="73357" y="1774356"/>
                    </a:lnTo>
                    <a:lnTo>
                      <a:pt x="76272" y="1778000"/>
                    </a:lnTo>
                    <a:cubicBezTo>
                      <a:pt x="79014" y="1779919"/>
                      <a:pt x="82622" y="1780117"/>
                      <a:pt x="85797" y="1781175"/>
                    </a:cubicBezTo>
                    <a:lnTo>
                      <a:pt x="90559" y="1782763"/>
                    </a:lnTo>
                    <a:cubicBezTo>
                      <a:pt x="94792" y="1782234"/>
                      <a:pt x="99094" y="1780250"/>
                      <a:pt x="103259" y="1781175"/>
                    </a:cubicBezTo>
                    <a:cubicBezTo>
                      <a:pt x="104893" y="1781538"/>
                      <a:pt x="103802" y="1784631"/>
                      <a:pt x="104847" y="1785938"/>
                    </a:cubicBezTo>
                    <a:cubicBezTo>
                      <a:pt x="106039" y="1787428"/>
                      <a:pt x="108022" y="1788055"/>
                      <a:pt x="109609" y="1789113"/>
                    </a:cubicBezTo>
                    <a:cubicBezTo>
                      <a:pt x="109471" y="1789526"/>
                      <a:pt x="105638" y="1800623"/>
                      <a:pt x="106434" y="1800225"/>
                    </a:cubicBezTo>
                    <a:cubicBezTo>
                      <a:pt x="109194" y="1798845"/>
                      <a:pt x="109609" y="1794934"/>
                      <a:pt x="111197" y="1792288"/>
                    </a:cubicBezTo>
                    <a:cubicBezTo>
                      <a:pt x="113314" y="1792817"/>
                      <a:pt x="116127" y="1792219"/>
                      <a:pt x="117547" y="1793875"/>
                    </a:cubicBezTo>
                    <a:cubicBezTo>
                      <a:pt x="123742" y="1801102"/>
                      <a:pt x="117619" y="1809606"/>
                      <a:pt x="123897" y="1797050"/>
                    </a:cubicBezTo>
                    <a:cubicBezTo>
                      <a:pt x="124426" y="1794404"/>
                      <a:pt x="123576" y="1791021"/>
                      <a:pt x="125484" y="1789113"/>
                    </a:cubicBezTo>
                    <a:cubicBezTo>
                      <a:pt x="126799" y="1787798"/>
                      <a:pt x="134848" y="1793768"/>
                      <a:pt x="135009" y="1793875"/>
                    </a:cubicBezTo>
                    <a:cubicBezTo>
                      <a:pt x="137655" y="1793346"/>
                      <a:pt x="140534" y="1793495"/>
                      <a:pt x="142947" y="1792288"/>
                    </a:cubicBezTo>
                    <a:cubicBezTo>
                      <a:pt x="144955" y="1791284"/>
                      <a:pt x="146464" y="1789393"/>
                      <a:pt x="147709" y="1787525"/>
                    </a:cubicBezTo>
                    <a:cubicBezTo>
                      <a:pt x="151411" y="1781971"/>
                      <a:pt x="146646" y="1782994"/>
                      <a:pt x="152472" y="1778000"/>
                    </a:cubicBezTo>
                    <a:cubicBezTo>
                      <a:pt x="154815" y="1775992"/>
                      <a:pt x="157649" y="1774618"/>
                      <a:pt x="160409" y="1773238"/>
                    </a:cubicBezTo>
                    <a:cubicBezTo>
                      <a:pt x="161906" y="1772490"/>
                      <a:pt x="166796" y="1771244"/>
                      <a:pt x="165172" y="1771650"/>
                    </a:cubicBezTo>
                    <a:cubicBezTo>
                      <a:pt x="139322" y="1778111"/>
                      <a:pt x="163416" y="1772379"/>
                      <a:pt x="149297" y="1776413"/>
                    </a:cubicBezTo>
                    <a:cubicBezTo>
                      <a:pt x="147199" y="1777012"/>
                      <a:pt x="145017" y="1777310"/>
                      <a:pt x="142947" y="1778000"/>
                    </a:cubicBezTo>
                    <a:cubicBezTo>
                      <a:pt x="140243" y="1778901"/>
                      <a:pt x="137733" y="1780337"/>
                      <a:pt x="135009" y="1781175"/>
                    </a:cubicBezTo>
                    <a:cubicBezTo>
                      <a:pt x="130838" y="1782458"/>
                      <a:pt x="126449" y="1782970"/>
                      <a:pt x="122309" y="1784350"/>
                    </a:cubicBezTo>
                    <a:lnTo>
                      <a:pt x="117547" y="1785938"/>
                    </a:lnTo>
                    <a:cubicBezTo>
                      <a:pt x="115959" y="1784350"/>
                      <a:pt x="114828" y="1782104"/>
                      <a:pt x="112784" y="1781175"/>
                    </a:cubicBezTo>
                    <a:cubicBezTo>
                      <a:pt x="108812" y="1779369"/>
                      <a:pt x="104408" y="1778590"/>
                      <a:pt x="100084" y="1778000"/>
                    </a:cubicBezTo>
                    <a:lnTo>
                      <a:pt x="73357" y="1774356"/>
                    </a:lnTo>
                    <a:lnTo>
                      <a:pt x="69922" y="1770063"/>
                    </a:lnTo>
                    <a:cubicBezTo>
                      <a:pt x="68436" y="1768082"/>
                      <a:pt x="67701" y="1766259"/>
                      <a:pt x="66515" y="1765049"/>
                    </a:cubicBezTo>
                    <a:lnTo>
                      <a:pt x="63822" y="1764461"/>
                    </a:lnTo>
                    <a:lnTo>
                      <a:pt x="63141" y="1759987"/>
                    </a:lnTo>
                    <a:cubicBezTo>
                      <a:pt x="62639" y="1758588"/>
                      <a:pt x="61223" y="1758960"/>
                      <a:pt x="55634" y="1757363"/>
                    </a:cubicBezTo>
                    <a:cubicBezTo>
                      <a:pt x="54025" y="1756903"/>
                      <a:pt x="52459" y="1756304"/>
                      <a:pt x="50872" y="1755775"/>
                    </a:cubicBezTo>
                    <a:cubicBezTo>
                      <a:pt x="51401" y="1753129"/>
                      <a:pt x="52049" y="1750505"/>
                      <a:pt x="52459" y="1747838"/>
                    </a:cubicBezTo>
                    <a:cubicBezTo>
                      <a:pt x="53241" y="1742753"/>
                      <a:pt x="52147" y="1734435"/>
                      <a:pt x="57222" y="1730375"/>
                    </a:cubicBezTo>
                    <a:cubicBezTo>
                      <a:pt x="58528" y="1729330"/>
                      <a:pt x="60397" y="1729317"/>
                      <a:pt x="61984" y="1728788"/>
                    </a:cubicBezTo>
                    <a:cubicBezTo>
                      <a:pt x="63572" y="1727730"/>
                      <a:pt x="64844" y="1725749"/>
                      <a:pt x="66747" y="1725613"/>
                    </a:cubicBezTo>
                    <a:lnTo>
                      <a:pt x="85858" y="1728161"/>
                    </a:lnTo>
                    <a:cubicBezTo>
                      <a:pt x="85838" y="1728370"/>
                      <a:pt x="85817" y="1728579"/>
                      <a:pt x="85797" y="1728788"/>
                    </a:cubicBezTo>
                    <a:lnTo>
                      <a:pt x="91858" y="1729654"/>
                    </a:lnTo>
                    <a:lnTo>
                      <a:pt x="95322" y="1731963"/>
                    </a:lnTo>
                    <a:cubicBezTo>
                      <a:pt x="97848" y="1732910"/>
                      <a:pt x="101466" y="1731533"/>
                      <a:pt x="103259" y="1733550"/>
                    </a:cubicBezTo>
                    <a:cubicBezTo>
                      <a:pt x="121278" y="1753820"/>
                      <a:pt x="96100" y="1741481"/>
                      <a:pt x="115959" y="1749425"/>
                    </a:cubicBezTo>
                    <a:cubicBezTo>
                      <a:pt x="122511" y="1745057"/>
                      <a:pt x="126067" y="1744921"/>
                      <a:pt x="115959" y="1733550"/>
                    </a:cubicBezTo>
                    <a:cubicBezTo>
                      <a:pt x="114166" y="1731533"/>
                      <a:pt x="110687" y="1732384"/>
                      <a:pt x="108022" y="1731963"/>
                    </a:cubicBezTo>
                    <a:lnTo>
                      <a:pt x="91858" y="1729654"/>
                    </a:lnTo>
                    <a:lnTo>
                      <a:pt x="90559" y="1728788"/>
                    </a:lnTo>
                    <a:lnTo>
                      <a:pt x="85858" y="1728161"/>
                    </a:lnTo>
                    <a:lnTo>
                      <a:pt x="87655" y="1709614"/>
                    </a:lnTo>
                    <a:cubicBezTo>
                      <a:pt x="88320" y="1698753"/>
                      <a:pt x="86511" y="1708131"/>
                      <a:pt x="92147" y="1695450"/>
                    </a:cubicBezTo>
                    <a:cubicBezTo>
                      <a:pt x="93304" y="1692846"/>
                      <a:pt x="93042" y="1689223"/>
                      <a:pt x="95322" y="1687513"/>
                    </a:cubicBezTo>
                    <a:cubicBezTo>
                      <a:pt x="97897" y="1685582"/>
                      <a:pt x="101724" y="1686706"/>
                      <a:pt x="104847" y="1685925"/>
                    </a:cubicBezTo>
                    <a:cubicBezTo>
                      <a:pt x="108094" y="1685113"/>
                      <a:pt x="114372" y="1682750"/>
                      <a:pt x="114372" y="1682750"/>
                    </a:cubicBezTo>
                    <a:cubicBezTo>
                      <a:pt x="116244" y="1683686"/>
                      <a:pt x="123738" y="1687105"/>
                      <a:pt x="125484" y="1689100"/>
                    </a:cubicBezTo>
                    <a:cubicBezTo>
                      <a:pt x="127997" y="1691972"/>
                      <a:pt x="130127" y="1695212"/>
                      <a:pt x="131834" y="1698625"/>
                    </a:cubicBezTo>
                    <a:cubicBezTo>
                      <a:pt x="132892" y="1700742"/>
                      <a:pt x="133469" y="1703178"/>
                      <a:pt x="135009" y="1704975"/>
                    </a:cubicBezTo>
                    <a:cubicBezTo>
                      <a:pt x="136731" y="1706984"/>
                      <a:pt x="139242" y="1708150"/>
                      <a:pt x="141359" y="1709738"/>
                    </a:cubicBezTo>
                    <a:cubicBezTo>
                      <a:pt x="142417" y="1711855"/>
                      <a:pt x="143602" y="1713913"/>
                      <a:pt x="144534" y="1716088"/>
                    </a:cubicBezTo>
                    <a:cubicBezTo>
                      <a:pt x="145193" y="1717626"/>
                      <a:pt x="144939" y="1719667"/>
                      <a:pt x="146122" y="1720850"/>
                    </a:cubicBezTo>
                    <a:lnTo>
                      <a:pt x="151386" y="1724667"/>
                    </a:lnTo>
                    <a:lnTo>
                      <a:pt x="152472" y="1727200"/>
                    </a:lnTo>
                    <a:cubicBezTo>
                      <a:pt x="153777" y="1729027"/>
                      <a:pt x="154989" y="1731963"/>
                      <a:pt x="157234" y="1731963"/>
                    </a:cubicBezTo>
                    <a:cubicBezTo>
                      <a:pt x="158907" y="1731963"/>
                      <a:pt x="156176" y="1728788"/>
                      <a:pt x="155647" y="1727200"/>
                    </a:cubicBezTo>
                    <a:cubicBezTo>
                      <a:pt x="155647" y="1727200"/>
                      <a:pt x="153940" y="1726287"/>
                      <a:pt x="151896" y="1725037"/>
                    </a:cubicBezTo>
                    <a:lnTo>
                      <a:pt x="151386" y="1724667"/>
                    </a:lnTo>
                    <a:lnTo>
                      <a:pt x="147709" y="1716088"/>
                    </a:lnTo>
                    <a:cubicBezTo>
                      <a:pt x="142025" y="1700931"/>
                      <a:pt x="146544" y="1714180"/>
                      <a:pt x="142947" y="1703388"/>
                    </a:cubicBezTo>
                    <a:cubicBezTo>
                      <a:pt x="143476" y="1699684"/>
                      <a:pt x="142760" y="1695570"/>
                      <a:pt x="144534" y="1692275"/>
                    </a:cubicBezTo>
                    <a:cubicBezTo>
                      <a:pt x="146663" y="1688322"/>
                      <a:pt x="154059" y="1682750"/>
                      <a:pt x="154059" y="1682750"/>
                    </a:cubicBezTo>
                    <a:cubicBezTo>
                      <a:pt x="156705" y="1684338"/>
                      <a:pt x="159237" y="1686133"/>
                      <a:pt x="161997" y="1687513"/>
                    </a:cubicBezTo>
                    <a:cubicBezTo>
                      <a:pt x="168139" y="1690584"/>
                      <a:pt x="174458" y="1691980"/>
                      <a:pt x="181047" y="1693863"/>
                    </a:cubicBezTo>
                    <a:cubicBezTo>
                      <a:pt x="185143" y="1714346"/>
                      <a:pt x="180497" y="1689129"/>
                      <a:pt x="184222" y="1731963"/>
                    </a:cubicBezTo>
                    <a:cubicBezTo>
                      <a:pt x="184457" y="1734665"/>
                      <a:pt x="186467" y="1740286"/>
                      <a:pt x="187397" y="1743075"/>
                    </a:cubicBezTo>
                    <a:cubicBezTo>
                      <a:pt x="188081" y="1738971"/>
                      <a:pt x="190400" y="1723488"/>
                      <a:pt x="192159" y="1720850"/>
                    </a:cubicBezTo>
                    <a:lnTo>
                      <a:pt x="200731" y="1715135"/>
                    </a:lnTo>
                    <a:lnTo>
                      <a:pt x="211209" y="1716088"/>
                    </a:lnTo>
                    <a:cubicBezTo>
                      <a:pt x="214428" y="1716088"/>
                      <a:pt x="204859" y="1715029"/>
                      <a:pt x="201684" y="1714500"/>
                    </a:cubicBezTo>
                    <a:lnTo>
                      <a:pt x="200731" y="1715135"/>
                    </a:lnTo>
                    <a:lnTo>
                      <a:pt x="193747" y="1714500"/>
                    </a:lnTo>
                    <a:cubicBezTo>
                      <a:pt x="191733" y="1713661"/>
                      <a:pt x="192786" y="1710240"/>
                      <a:pt x="192159" y="1708150"/>
                    </a:cubicBezTo>
                    <a:cubicBezTo>
                      <a:pt x="186013" y="1687664"/>
                      <a:pt x="192190" y="1706626"/>
                      <a:pt x="185809" y="1693863"/>
                    </a:cubicBezTo>
                    <a:cubicBezTo>
                      <a:pt x="184535" y="1691314"/>
                      <a:pt x="184290" y="1688244"/>
                      <a:pt x="182634" y="1685925"/>
                    </a:cubicBezTo>
                    <a:cubicBezTo>
                      <a:pt x="181525" y="1684373"/>
                      <a:pt x="179424" y="1683859"/>
                      <a:pt x="177872" y="1682750"/>
                    </a:cubicBezTo>
                    <a:cubicBezTo>
                      <a:pt x="175719" y="1681212"/>
                      <a:pt x="173888" y="1679171"/>
                      <a:pt x="171522" y="1677988"/>
                    </a:cubicBezTo>
                    <a:cubicBezTo>
                      <a:pt x="161395" y="1672925"/>
                      <a:pt x="151035" y="1674030"/>
                      <a:pt x="139772" y="1673225"/>
                    </a:cubicBezTo>
                    <a:cubicBezTo>
                      <a:pt x="139243" y="1670579"/>
                      <a:pt x="138184" y="1667986"/>
                      <a:pt x="138184" y="1665288"/>
                    </a:cubicBezTo>
                    <a:cubicBezTo>
                      <a:pt x="138184" y="1661317"/>
                      <a:pt x="141954" y="1653212"/>
                      <a:pt x="144534" y="1651000"/>
                    </a:cubicBezTo>
                    <a:cubicBezTo>
                      <a:pt x="146190" y="1649580"/>
                      <a:pt x="148814" y="1650103"/>
                      <a:pt x="150884" y="1649413"/>
                    </a:cubicBezTo>
                    <a:cubicBezTo>
                      <a:pt x="153588" y="1648512"/>
                      <a:pt x="156154" y="1647239"/>
                      <a:pt x="158822" y="1646238"/>
                    </a:cubicBezTo>
                    <a:cubicBezTo>
                      <a:pt x="160389" y="1645650"/>
                      <a:pt x="161997" y="1645179"/>
                      <a:pt x="163584" y="1644650"/>
                    </a:cubicBezTo>
                    <a:cubicBezTo>
                      <a:pt x="164542" y="1642254"/>
                      <a:pt x="167137" y="1634187"/>
                      <a:pt x="169934" y="1631950"/>
                    </a:cubicBezTo>
                    <a:cubicBezTo>
                      <a:pt x="171241" y="1630905"/>
                      <a:pt x="173109" y="1630892"/>
                      <a:pt x="174697" y="1630363"/>
                    </a:cubicBezTo>
                    <a:cubicBezTo>
                      <a:pt x="180518" y="1631950"/>
                      <a:pt x="186614" y="1632748"/>
                      <a:pt x="192159" y="1635125"/>
                    </a:cubicBezTo>
                    <a:cubicBezTo>
                      <a:pt x="194223" y="1636009"/>
                      <a:pt x="195126" y="1638541"/>
                      <a:pt x="196922" y="1639888"/>
                    </a:cubicBezTo>
                    <a:cubicBezTo>
                      <a:pt x="199390" y="1641739"/>
                      <a:pt x="202050" y="1643373"/>
                      <a:pt x="204859" y="1644650"/>
                    </a:cubicBezTo>
                    <a:cubicBezTo>
                      <a:pt x="207906" y="1646035"/>
                      <a:pt x="211209" y="1646767"/>
                      <a:pt x="214384" y="1647825"/>
                    </a:cubicBezTo>
                    <a:lnTo>
                      <a:pt x="219147" y="1649413"/>
                    </a:lnTo>
                    <a:cubicBezTo>
                      <a:pt x="220734" y="1652588"/>
                      <a:pt x="221572" y="1656267"/>
                      <a:pt x="223909" y="1658938"/>
                    </a:cubicBezTo>
                    <a:cubicBezTo>
                      <a:pt x="229271" y="1665066"/>
                      <a:pt x="240814" y="1661057"/>
                      <a:pt x="246134" y="1660525"/>
                    </a:cubicBezTo>
                    <a:cubicBezTo>
                      <a:pt x="245076" y="1658408"/>
                      <a:pt x="244334" y="1656101"/>
                      <a:pt x="242959" y="1654175"/>
                    </a:cubicBezTo>
                    <a:cubicBezTo>
                      <a:pt x="241654" y="1652348"/>
                      <a:pt x="238337" y="1651653"/>
                      <a:pt x="238197" y="1649413"/>
                    </a:cubicBezTo>
                    <a:cubicBezTo>
                      <a:pt x="237179" y="1633120"/>
                      <a:pt x="236810" y="1630928"/>
                      <a:pt x="246134" y="1625600"/>
                    </a:cubicBezTo>
                    <a:cubicBezTo>
                      <a:pt x="248189" y="1624426"/>
                      <a:pt x="250367" y="1623483"/>
                      <a:pt x="252484" y="1622425"/>
                    </a:cubicBezTo>
                    <a:cubicBezTo>
                      <a:pt x="254601" y="1624013"/>
                      <a:pt x="256963" y="1625317"/>
                      <a:pt x="258834" y="1627188"/>
                    </a:cubicBezTo>
                    <a:cubicBezTo>
                      <a:pt x="263793" y="1632147"/>
                      <a:pt x="265272" y="1637205"/>
                      <a:pt x="271534" y="1639888"/>
                    </a:cubicBezTo>
                    <a:cubicBezTo>
                      <a:pt x="273539" y="1640747"/>
                      <a:pt x="275767" y="1640946"/>
                      <a:pt x="277884" y="1641475"/>
                    </a:cubicBezTo>
                    <a:cubicBezTo>
                      <a:pt x="279181" y="1634990"/>
                      <a:pt x="279564" y="1629462"/>
                      <a:pt x="284234" y="1624013"/>
                    </a:cubicBezTo>
                    <a:lnTo>
                      <a:pt x="284967" y="1623769"/>
                    </a:lnTo>
                    <a:lnTo>
                      <a:pt x="288997" y="1627188"/>
                    </a:lnTo>
                    <a:cubicBezTo>
                      <a:pt x="291270" y="1628893"/>
                      <a:pt x="297043" y="1631183"/>
                      <a:pt x="300109" y="1631950"/>
                    </a:cubicBezTo>
                    <a:cubicBezTo>
                      <a:pt x="302727" y="1632604"/>
                      <a:pt x="305444" y="1632828"/>
                      <a:pt x="308047" y="1633538"/>
                    </a:cubicBezTo>
                    <a:cubicBezTo>
                      <a:pt x="319365" y="1636625"/>
                      <a:pt x="316411" y="1640197"/>
                      <a:pt x="319159" y="1631950"/>
                    </a:cubicBezTo>
                    <a:cubicBezTo>
                      <a:pt x="317572" y="1630892"/>
                      <a:pt x="316103" y="1629628"/>
                      <a:pt x="314397" y="1628775"/>
                    </a:cubicBezTo>
                    <a:cubicBezTo>
                      <a:pt x="305188" y="1624171"/>
                      <a:pt x="300497" y="1624516"/>
                      <a:pt x="288997" y="1622425"/>
                    </a:cubicBezTo>
                    <a:lnTo>
                      <a:pt x="284967" y="1623769"/>
                    </a:lnTo>
                    <a:lnTo>
                      <a:pt x="283600" y="1622609"/>
                    </a:lnTo>
                    <a:cubicBezTo>
                      <a:pt x="281154" y="1619896"/>
                      <a:pt x="285482" y="1621783"/>
                      <a:pt x="277884" y="1619250"/>
                    </a:cubicBezTo>
                    <a:cubicBezTo>
                      <a:pt x="274448" y="1620396"/>
                      <a:pt x="268497" y="1622599"/>
                      <a:pt x="265184" y="1622425"/>
                    </a:cubicBezTo>
                    <a:cubicBezTo>
                      <a:pt x="257711" y="1622032"/>
                      <a:pt x="250367" y="1620308"/>
                      <a:pt x="242959" y="1619250"/>
                    </a:cubicBezTo>
                    <a:cubicBezTo>
                      <a:pt x="238022" y="1619799"/>
                      <a:pt x="223210" y="1621295"/>
                      <a:pt x="217559" y="1622425"/>
                    </a:cubicBezTo>
                    <a:cubicBezTo>
                      <a:pt x="213280" y="1623281"/>
                      <a:pt x="209183" y="1625010"/>
                      <a:pt x="204859" y="1625600"/>
                    </a:cubicBezTo>
                    <a:cubicBezTo>
                      <a:pt x="197500" y="1626604"/>
                      <a:pt x="190042" y="1626659"/>
                      <a:pt x="182634" y="1627188"/>
                    </a:cubicBezTo>
                    <a:cubicBezTo>
                      <a:pt x="184751" y="1626130"/>
                      <a:pt x="187469" y="1625831"/>
                      <a:pt x="188984" y="1624013"/>
                    </a:cubicBezTo>
                    <a:cubicBezTo>
                      <a:pt x="190381" y="1622337"/>
                      <a:pt x="190391" y="1619837"/>
                      <a:pt x="190572" y="1617663"/>
                    </a:cubicBezTo>
                    <a:cubicBezTo>
                      <a:pt x="191452" y="1607103"/>
                      <a:pt x="190343" y="1596353"/>
                      <a:pt x="192159" y="1585913"/>
                    </a:cubicBezTo>
                    <a:cubicBezTo>
                      <a:pt x="192919" y="1581542"/>
                      <a:pt x="202474" y="1578929"/>
                      <a:pt x="204859" y="1577975"/>
                    </a:cubicBezTo>
                    <a:cubicBezTo>
                      <a:pt x="208563" y="1579033"/>
                      <a:pt x="212766" y="1579013"/>
                      <a:pt x="215972" y="1581150"/>
                    </a:cubicBezTo>
                    <a:cubicBezTo>
                      <a:pt x="217941" y="1582463"/>
                      <a:pt x="217632" y="1585682"/>
                      <a:pt x="219147" y="1587500"/>
                    </a:cubicBezTo>
                    <a:cubicBezTo>
                      <a:pt x="220368" y="1588966"/>
                      <a:pt x="222322" y="1589617"/>
                      <a:pt x="223909" y="1590675"/>
                    </a:cubicBezTo>
                    <a:cubicBezTo>
                      <a:pt x="226555" y="1590146"/>
                      <a:pt x="229172" y="1589445"/>
                      <a:pt x="231847" y="1589088"/>
                    </a:cubicBezTo>
                    <a:cubicBezTo>
                      <a:pt x="259684" y="1585377"/>
                      <a:pt x="237801" y="1589484"/>
                      <a:pt x="255659" y="1585913"/>
                    </a:cubicBezTo>
                    <a:cubicBezTo>
                      <a:pt x="258834" y="1586442"/>
                      <a:pt x="261983" y="1587163"/>
                      <a:pt x="265184" y="1587500"/>
                    </a:cubicBezTo>
                    <a:cubicBezTo>
                      <a:pt x="272046" y="1588222"/>
                      <a:pt x="279570" y="1586170"/>
                      <a:pt x="285822" y="1589088"/>
                    </a:cubicBezTo>
                    <a:cubicBezTo>
                      <a:pt x="288855" y="1590503"/>
                      <a:pt x="287372" y="1595687"/>
                      <a:pt x="288997" y="1598613"/>
                    </a:cubicBezTo>
                    <a:cubicBezTo>
                      <a:pt x="291699" y="1603477"/>
                      <a:pt x="294047" y="1603471"/>
                      <a:pt x="298522" y="1604963"/>
                    </a:cubicBezTo>
                    <a:cubicBezTo>
                      <a:pt x="305401" y="1604434"/>
                      <a:pt x="312307" y="1604181"/>
                      <a:pt x="319159" y="1603375"/>
                    </a:cubicBezTo>
                    <a:cubicBezTo>
                      <a:pt x="321326" y="1603120"/>
                      <a:pt x="327626" y="1602317"/>
                      <a:pt x="325509" y="1601788"/>
                    </a:cubicBezTo>
                    <a:cubicBezTo>
                      <a:pt x="319327" y="1600243"/>
                      <a:pt x="312809" y="1600729"/>
                      <a:pt x="306459" y="1600200"/>
                    </a:cubicBezTo>
                    <a:cubicBezTo>
                      <a:pt x="305930" y="1597554"/>
                      <a:pt x="306211" y="1594606"/>
                      <a:pt x="304872" y="1592263"/>
                    </a:cubicBezTo>
                    <a:cubicBezTo>
                      <a:pt x="303925" y="1590606"/>
                      <a:pt x="301777" y="1590015"/>
                      <a:pt x="300109" y="1589088"/>
                    </a:cubicBezTo>
                    <a:cubicBezTo>
                      <a:pt x="297006" y="1587364"/>
                      <a:pt x="293861" y="1585690"/>
                      <a:pt x="290584" y="1584325"/>
                    </a:cubicBezTo>
                    <a:cubicBezTo>
                      <a:pt x="280819" y="1580256"/>
                      <a:pt x="274855" y="1580022"/>
                      <a:pt x="263597" y="1577975"/>
                    </a:cubicBezTo>
                    <a:cubicBezTo>
                      <a:pt x="264126" y="1573213"/>
                      <a:pt x="260794" y="1565609"/>
                      <a:pt x="265184" y="1563688"/>
                    </a:cubicBezTo>
                    <a:cubicBezTo>
                      <a:pt x="277601" y="1558256"/>
                      <a:pt x="285500" y="1564531"/>
                      <a:pt x="293759" y="1570038"/>
                    </a:cubicBezTo>
                    <a:lnTo>
                      <a:pt x="303284" y="1568450"/>
                    </a:lnTo>
                    <a:cubicBezTo>
                      <a:pt x="305939" y="1567967"/>
                      <a:pt x="313635" y="1568070"/>
                      <a:pt x="311222" y="1566863"/>
                    </a:cubicBezTo>
                    <a:cubicBezTo>
                      <a:pt x="306936" y="1564720"/>
                      <a:pt x="301697" y="1565804"/>
                      <a:pt x="296934" y="1565275"/>
                    </a:cubicBezTo>
                    <a:cubicBezTo>
                      <a:pt x="297463" y="1559983"/>
                      <a:pt x="295572" y="1553825"/>
                      <a:pt x="298522" y="1549400"/>
                    </a:cubicBezTo>
                    <a:cubicBezTo>
                      <a:pt x="300659" y="1546195"/>
                      <a:pt x="305807" y="1546667"/>
                      <a:pt x="309634" y="1546225"/>
                    </a:cubicBezTo>
                    <a:cubicBezTo>
                      <a:pt x="319636" y="1545071"/>
                      <a:pt x="329743" y="1545167"/>
                      <a:pt x="339797" y="1544638"/>
                    </a:cubicBezTo>
                    <a:cubicBezTo>
                      <a:pt x="338859" y="1540888"/>
                      <a:pt x="335845" y="1529763"/>
                      <a:pt x="336622" y="1527175"/>
                    </a:cubicBezTo>
                    <a:cubicBezTo>
                      <a:pt x="337382" y="1524641"/>
                      <a:pt x="340554" y="1523488"/>
                      <a:pt x="342972" y="1522413"/>
                    </a:cubicBezTo>
                    <a:cubicBezTo>
                      <a:pt x="345438" y="1521317"/>
                      <a:pt x="348291" y="1521479"/>
                      <a:pt x="350909" y="1520825"/>
                    </a:cubicBezTo>
                    <a:cubicBezTo>
                      <a:pt x="352533" y="1520419"/>
                      <a:pt x="354084" y="1519767"/>
                      <a:pt x="355672" y="1519238"/>
                    </a:cubicBezTo>
                    <a:cubicBezTo>
                      <a:pt x="359651" y="1515258"/>
                      <a:pt x="363926" y="1509077"/>
                      <a:pt x="371547" y="1512888"/>
                    </a:cubicBezTo>
                    <a:cubicBezTo>
                      <a:pt x="389417" y="1521823"/>
                      <a:pt x="363781" y="1524000"/>
                      <a:pt x="384247" y="1524000"/>
                    </a:cubicBezTo>
                    <a:cubicBezTo>
                      <a:pt x="386429" y="1524000"/>
                      <a:pt x="380014" y="1522942"/>
                      <a:pt x="377897" y="1522413"/>
                    </a:cubicBezTo>
                    <a:cubicBezTo>
                      <a:pt x="378426" y="1517650"/>
                      <a:pt x="378696" y="1512852"/>
                      <a:pt x="379484" y="1508125"/>
                    </a:cubicBezTo>
                    <a:cubicBezTo>
                      <a:pt x="379759" y="1506475"/>
                      <a:pt x="380773" y="1505009"/>
                      <a:pt x="381072" y="1503363"/>
                    </a:cubicBezTo>
                    <a:cubicBezTo>
                      <a:pt x="381835" y="1499166"/>
                      <a:pt x="381201" y="1494672"/>
                      <a:pt x="382659" y="1490663"/>
                    </a:cubicBezTo>
                    <a:cubicBezTo>
                      <a:pt x="383426" y="1488553"/>
                      <a:pt x="385414" y="1486904"/>
                      <a:pt x="387422" y="1485900"/>
                    </a:cubicBezTo>
                    <a:cubicBezTo>
                      <a:pt x="389835" y="1484693"/>
                      <a:pt x="392742" y="1484967"/>
                      <a:pt x="395359" y="1484313"/>
                    </a:cubicBezTo>
                    <a:cubicBezTo>
                      <a:pt x="399097" y="1483379"/>
                      <a:pt x="402768" y="1482196"/>
                      <a:pt x="406472" y="1481138"/>
                    </a:cubicBezTo>
                    <a:cubicBezTo>
                      <a:pt x="418198" y="1473320"/>
                      <a:pt x="412944" y="1472499"/>
                      <a:pt x="422347" y="1479550"/>
                    </a:cubicBezTo>
                    <a:cubicBezTo>
                      <a:pt x="423405" y="1481667"/>
                      <a:pt x="423982" y="1484103"/>
                      <a:pt x="425522" y="1485900"/>
                    </a:cubicBezTo>
                    <a:lnTo>
                      <a:pt x="426535" y="1486660"/>
                    </a:lnTo>
                    <a:lnTo>
                      <a:pt x="425656" y="1480532"/>
                    </a:lnTo>
                    <a:cubicBezTo>
                      <a:pt x="425333" y="1476724"/>
                      <a:pt x="425494" y="1472853"/>
                      <a:pt x="427109" y="1470025"/>
                    </a:cubicBezTo>
                    <a:cubicBezTo>
                      <a:pt x="428056" y="1468368"/>
                      <a:pt x="430284" y="1467908"/>
                      <a:pt x="431872" y="1466850"/>
                    </a:cubicBezTo>
                    <a:cubicBezTo>
                      <a:pt x="433459" y="1464733"/>
                      <a:pt x="435096" y="1462653"/>
                      <a:pt x="436634" y="1460500"/>
                    </a:cubicBezTo>
                    <a:cubicBezTo>
                      <a:pt x="444790" y="1449081"/>
                      <a:pt x="439344" y="1455769"/>
                      <a:pt x="415997" y="1457325"/>
                    </a:cubicBezTo>
                    <a:cubicBezTo>
                      <a:pt x="410948" y="1459008"/>
                      <a:pt x="403700" y="1463003"/>
                      <a:pt x="412822" y="1447800"/>
                    </a:cubicBezTo>
                    <a:cubicBezTo>
                      <a:pt x="414409" y="1445154"/>
                      <a:pt x="418113" y="1444625"/>
                      <a:pt x="420759" y="1443038"/>
                    </a:cubicBezTo>
                    <a:cubicBezTo>
                      <a:pt x="417584" y="1442509"/>
                      <a:pt x="410350" y="1444545"/>
                      <a:pt x="411234" y="1441450"/>
                    </a:cubicBezTo>
                    <a:cubicBezTo>
                      <a:pt x="413278" y="1434296"/>
                      <a:pt x="425987" y="1431692"/>
                      <a:pt x="431872" y="1428750"/>
                    </a:cubicBezTo>
                    <a:cubicBezTo>
                      <a:pt x="433578" y="1427897"/>
                      <a:pt x="435047" y="1426633"/>
                      <a:pt x="436634" y="1425575"/>
                    </a:cubicBezTo>
                    <a:cubicBezTo>
                      <a:pt x="437692" y="1423988"/>
                      <a:pt x="438460" y="1422162"/>
                      <a:pt x="439809" y="1420813"/>
                    </a:cubicBezTo>
                    <a:cubicBezTo>
                      <a:pt x="441680" y="1418942"/>
                      <a:pt x="444757" y="1418294"/>
                      <a:pt x="446159" y="1416050"/>
                    </a:cubicBezTo>
                    <a:cubicBezTo>
                      <a:pt x="447589" y="1413762"/>
                      <a:pt x="447162" y="1410747"/>
                      <a:pt x="447747" y="1408113"/>
                    </a:cubicBezTo>
                    <a:cubicBezTo>
                      <a:pt x="448220" y="1405983"/>
                      <a:pt x="448252" y="1403657"/>
                      <a:pt x="449334" y="1401763"/>
                    </a:cubicBezTo>
                    <a:cubicBezTo>
                      <a:pt x="450448" y="1399814"/>
                      <a:pt x="452509" y="1398588"/>
                      <a:pt x="454097" y="1397000"/>
                    </a:cubicBezTo>
                    <a:cubicBezTo>
                      <a:pt x="454626" y="1394883"/>
                      <a:pt x="455684" y="1392832"/>
                      <a:pt x="455684" y="1390650"/>
                    </a:cubicBezTo>
                    <a:cubicBezTo>
                      <a:pt x="455684" y="1388468"/>
                      <a:pt x="453826" y="1386465"/>
                      <a:pt x="454097" y="1384300"/>
                    </a:cubicBezTo>
                    <a:cubicBezTo>
                      <a:pt x="454391" y="1381952"/>
                      <a:pt x="456214" y="1380067"/>
                      <a:pt x="457272" y="1377950"/>
                    </a:cubicBezTo>
                    <a:cubicBezTo>
                      <a:pt x="459918" y="1378479"/>
                      <a:pt x="462743" y="1380634"/>
                      <a:pt x="465209" y="1379538"/>
                    </a:cubicBezTo>
                    <a:cubicBezTo>
                      <a:pt x="476256" y="1374628"/>
                      <a:pt x="471192" y="1355629"/>
                      <a:pt x="473147" y="1349375"/>
                    </a:cubicBezTo>
                    <a:cubicBezTo>
                      <a:pt x="474161" y="1346129"/>
                      <a:pt x="488336" y="1344727"/>
                      <a:pt x="489022" y="1344613"/>
                    </a:cubicBezTo>
                    <a:cubicBezTo>
                      <a:pt x="489551" y="1341967"/>
                      <a:pt x="490024" y="1339309"/>
                      <a:pt x="490609" y="1336675"/>
                    </a:cubicBezTo>
                    <a:cubicBezTo>
                      <a:pt x="495096" y="1316485"/>
                      <a:pt x="488994" y="1346342"/>
                      <a:pt x="493784" y="1322388"/>
                    </a:cubicBezTo>
                    <a:cubicBezTo>
                      <a:pt x="496430" y="1323975"/>
                      <a:pt x="499540" y="1324968"/>
                      <a:pt x="501722" y="1327150"/>
                    </a:cubicBezTo>
                    <a:cubicBezTo>
                      <a:pt x="502905" y="1328333"/>
                      <a:pt x="501721" y="1332442"/>
                      <a:pt x="503309" y="1331913"/>
                    </a:cubicBezTo>
                    <a:cubicBezTo>
                      <a:pt x="505554" y="1331165"/>
                      <a:pt x="505574" y="1327747"/>
                      <a:pt x="506484" y="1325563"/>
                    </a:cubicBezTo>
                    <a:cubicBezTo>
                      <a:pt x="513093" y="1309704"/>
                      <a:pt x="507525" y="1316585"/>
                      <a:pt x="516009" y="1308100"/>
                    </a:cubicBezTo>
                    <a:cubicBezTo>
                      <a:pt x="516538" y="1304925"/>
                      <a:pt x="514378" y="1298575"/>
                      <a:pt x="517597" y="1298575"/>
                    </a:cubicBezTo>
                    <a:cubicBezTo>
                      <a:pt x="521147" y="1298575"/>
                      <a:pt x="520635" y="1304997"/>
                      <a:pt x="522359" y="1308100"/>
                    </a:cubicBezTo>
                    <a:cubicBezTo>
                      <a:pt x="523286" y="1309768"/>
                      <a:pt x="524476" y="1311275"/>
                      <a:pt x="525534" y="1312863"/>
                    </a:cubicBezTo>
                    <a:cubicBezTo>
                      <a:pt x="528180" y="1311805"/>
                      <a:pt x="531153" y="1311344"/>
                      <a:pt x="533472" y="1309688"/>
                    </a:cubicBezTo>
                    <a:cubicBezTo>
                      <a:pt x="535217" y="1308442"/>
                      <a:pt x="539196" y="1299828"/>
                      <a:pt x="539822" y="1298575"/>
                    </a:cubicBezTo>
                    <a:cubicBezTo>
                      <a:pt x="540880" y="1301221"/>
                      <a:pt x="542356" y="1303736"/>
                      <a:pt x="542997" y="1306513"/>
                    </a:cubicBezTo>
                    <a:cubicBezTo>
                      <a:pt x="543956" y="1310670"/>
                      <a:pt x="543000" y="1315252"/>
                      <a:pt x="544584" y="1319213"/>
                    </a:cubicBezTo>
                    <a:cubicBezTo>
                      <a:pt x="545293" y="1320985"/>
                      <a:pt x="547759" y="1321330"/>
                      <a:pt x="549347" y="1322388"/>
                    </a:cubicBezTo>
                    <a:cubicBezTo>
                      <a:pt x="561657" y="1316233"/>
                      <a:pt x="552045" y="1323260"/>
                      <a:pt x="557284" y="1304925"/>
                    </a:cubicBezTo>
                    <a:cubicBezTo>
                      <a:pt x="558132" y="1301958"/>
                      <a:pt x="560667" y="1299748"/>
                      <a:pt x="562047" y="1296988"/>
                    </a:cubicBezTo>
                    <a:cubicBezTo>
                      <a:pt x="562795" y="1295491"/>
                      <a:pt x="563105" y="1293813"/>
                      <a:pt x="563634" y="1292225"/>
                    </a:cubicBezTo>
                    <a:cubicBezTo>
                      <a:pt x="564163" y="1288521"/>
                      <a:pt x="564237" y="1284723"/>
                      <a:pt x="565222" y="1281113"/>
                    </a:cubicBezTo>
                    <a:cubicBezTo>
                      <a:pt x="565845" y="1278830"/>
                      <a:pt x="567248" y="1276832"/>
                      <a:pt x="568397" y="1274763"/>
                    </a:cubicBezTo>
                    <a:cubicBezTo>
                      <a:pt x="571593" y="1269010"/>
                      <a:pt x="573023" y="1267030"/>
                      <a:pt x="576334" y="1262063"/>
                    </a:cubicBezTo>
                    <a:cubicBezTo>
                      <a:pt x="589502" y="1275231"/>
                      <a:pt x="578585" y="1267513"/>
                      <a:pt x="584272" y="1246188"/>
                    </a:cubicBezTo>
                    <a:cubicBezTo>
                      <a:pt x="584703" y="1244571"/>
                      <a:pt x="587388" y="1244899"/>
                      <a:pt x="589034" y="1244600"/>
                    </a:cubicBezTo>
                    <a:cubicBezTo>
                      <a:pt x="593231" y="1243837"/>
                      <a:pt x="597501" y="1243542"/>
                      <a:pt x="601734" y="1243013"/>
                    </a:cubicBezTo>
                    <a:cubicBezTo>
                      <a:pt x="603808" y="1241458"/>
                      <a:pt x="613760" y="1234460"/>
                      <a:pt x="614434" y="1231900"/>
                    </a:cubicBezTo>
                    <a:cubicBezTo>
                      <a:pt x="616459" y="1224207"/>
                      <a:pt x="613777" y="1215720"/>
                      <a:pt x="616022" y="1208088"/>
                    </a:cubicBezTo>
                    <a:cubicBezTo>
                      <a:pt x="616690" y="1205818"/>
                      <a:pt x="620317" y="1206087"/>
                      <a:pt x="622372" y="1204913"/>
                    </a:cubicBezTo>
                    <a:cubicBezTo>
                      <a:pt x="624028" y="1203966"/>
                      <a:pt x="625516" y="1202749"/>
                      <a:pt x="627134" y="1201738"/>
                    </a:cubicBezTo>
                    <a:cubicBezTo>
                      <a:pt x="629751" y="1200102"/>
                      <a:pt x="632455" y="1198611"/>
                      <a:pt x="635072" y="1196975"/>
                    </a:cubicBezTo>
                    <a:cubicBezTo>
                      <a:pt x="636690" y="1195964"/>
                      <a:pt x="638485" y="1195149"/>
                      <a:pt x="639834" y="1193800"/>
                    </a:cubicBezTo>
                    <a:cubicBezTo>
                      <a:pt x="654646" y="1178988"/>
                      <a:pt x="634020" y="1195382"/>
                      <a:pt x="650947" y="1182688"/>
                    </a:cubicBezTo>
                    <a:cubicBezTo>
                      <a:pt x="652005" y="1179513"/>
                      <a:pt x="657180" y="1174522"/>
                      <a:pt x="654122" y="1173163"/>
                    </a:cubicBezTo>
                    <a:cubicBezTo>
                      <a:pt x="639676" y="1166743"/>
                      <a:pt x="638879" y="1177291"/>
                      <a:pt x="630309" y="1181100"/>
                    </a:cubicBezTo>
                    <a:cubicBezTo>
                      <a:pt x="627843" y="1182196"/>
                      <a:pt x="624990" y="1182034"/>
                      <a:pt x="622372" y="1182688"/>
                    </a:cubicBezTo>
                    <a:cubicBezTo>
                      <a:pt x="620748" y="1183094"/>
                      <a:pt x="619197" y="1183746"/>
                      <a:pt x="617609" y="1184275"/>
                    </a:cubicBezTo>
                    <a:cubicBezTo>
                      <a:pt x="615492" y="1185863"/>
                      <a:pt x="612797" y="1186885"/>
                      <a:pt x="611259" y="1189038"/>
                    </a:cubicBezTo>
                    <a:cubicBezTo>
                      <a:pt x="609991" y="1190813"/>
                      <a:pt x="610511" y="1193374"/>
                      <a:pt x="609672" y="1195388"/>
                    </a:cubicBezTo>
                    <a:cubicBezTo>
                      <a:pt x="608402" y="1198437"/>
                      <a:pt x="602661" y="1211020"/>
                      <a:pt x="598559" y="1214438"/>
                    </a:cubicBezTo>
                    <a:cubicBezTo>
                      <a:pt x="597274" y="1215509"/>
                      <a:pt x="595384" y="1215496"/>
                      <a:pt x="593797" y="1216025"/>
                    </a:cubicBezTo>
                    <a:cubicBezTo>
                      <a:pt x="595384" y="1207558"/>
                      <a:pt x="596870" y="1199072"/>
                      <a:pt x="598559" y="1190625"/>
                    </a:cubicBezTo>
                    <a:cubicBezTo>
                      <a:pt x="598987" y="1188486"/>
                      <a:pt x="599674" y="1186405"/>
                      <a:pt x="600147" y="1184275"/>
                    </a:cubicBezTo>
                    <a:cubicBezTo>
                      <a:pt x="600732" y="1181641"/>
                      <a:pt x="600618" y="1178794"/>
                      <a:pt x="601734" y="1176338"/>
                    </a:cubicBezTo>
                    <a:cubicBezTo>
                      <a:pt x="603313" y="1172864"/>
                      <a:pt x="604671" y="1168520"/>
                      <a:pt x="608084" y="1166813"/>
                    </a:cubicBezTo>
                    <a:lnTo>
                      <a:pt x="620784" y="1160463"/>
                    </a:lnTo>
                    <a:cubicBezTo>
                      <a:pt x="620255" y="1154113"/>
                      <a:pt x="613152" y="1139398"/>
                      <a:pt x="619197" y="1141413"/>
                    </a:cubicBezTo>
                    <a:lnTo>
                      <a:pt x="623959" y="1143000"/>
                    </a:lnTo>
                    <a:cubicBezTo>
                      <a:pt x="625547" y="1144058"/>
                      <a:pt x="627232" y="1147367"/>
                      <a:pt x="628722" y="1146175"/>
                    </a:cubicBezTo>
                    <a:cubicBezTo>
                      <a:pt x="633105" y="1142669"/>
                      <a:pt x="632342" y="1129266"/>
                      <a:pt x="630309" y="1125538"/>
                    </a:cubicBezTo>
                    <a:cubicBezTo>
                      <a:pt x="628687" y="1122564"/>
                      <a:pt x="625018" y="1121305"/>
                      <a:pt x="622372" y="1119188"/>
                    </a:cubicBezTo>
                    <a:cubicBezTo>
                      <a:pt x="623695" y="1116277"/>
                      <a:pt x="624350" y="1112798"/>
                      <a:pt x="625338" y="1109604"/>
                    </a:cubicBezTo>
                    <a:lnTo>
                      <a:pt x="630062" y="1102117"/>
                    </a:lnTo>
                    <a:lnTo>
                      <a:pt x="635072" y="1104900"/>
                    </a:lnTo>
                    <a:cubicBezTo>
                      <a:pt x="638776" y="1104371"/>
                      <a:pt x="649297" y="1105388"/>
                      <a:pt x="646184" y="1103313"/>
                    </a:cubicBezTo>
                    <a:cubicBezTo>
                      <a:pt x="641759" y="1100363"/>
                      <a:pt x="634734" y="1098775"/>
                      <a:pt x="630309" y="1101725"/>
                    </a:cubicBezTo>
                    <a:cubicBezTo>
                      <a:pt x="630227" y="1101856"/>
                      <a:pt x="630144" y="1101986"/>
                      <a:pt x="630062" y="1102117"/>
                    </a:cubicBezTo>
                    <a:lnTo>
                      <a:pt x="620784" y="1096963"/>
                    </a:lnTo>
                    <a:cubicBezTo>
                      <a:pt x="616040" y="1092219"/>
                      <a:pt x="622386" y="1076486"/>
                      <a:pt x="623959" y="1074738"/>
                    </a:cubicBezTo>
                    <a:cubicBezTo>
                      <a:pt x="626112" y="1072345"/>
                      <a:pt x="630342" y="1073848"/>
                      <a:pt x="633484" y="1073150"/>
                    </a:cubicBezTo>
                    <a:cubicBezTo>
                      <a:pt x="635118" y="1072787"/>
                      <a:pt x="636659" y="1072092"/>
                      <a:pt x="638247" y="1071563"/>
                    </a:cubicBezTo>
                    <a:cubicBezTo>
                      <a:pt x="640364" y="1073680"/>
                      <a:pt x="642260" y="1079783"/>
                      <a:pt x="644597" y="1077913"/>
                    </a:cubicBezTo>
                    <a:cubicBezTo>
                      <a:pt x="647928" y="1075248"/>
                      <a:pt x="645149" y="1069352"/>
                      <a:pt x="646184" y="1065213"/>
                    </a:cubicBezTo>
                    <a:cubicBezTo>
                      <a:pt x="647807" y="1058719"/>
                      <a:pt x="650417" y="1052513"/>
                      <a:pt x="652534" y="1046163"/>
                    </a:cubicBezTo>
                    <a:cubicBezTo>
                      <a:pt x="655435" y="1053414"/>
                      <a:pt x="655752" y="1056432"/>
                      <a:pt x="662059" y="1062038"/>
                    </a:cubicBezTo>
                    <a:cubicBezTo>
                      <a:pt x="664365" y="1064088"/>
                      <a:pt x="667351" y="1065213"/>
                      <a:pt x="669997" y="1066800"/>
                    </a:cubicBezTo>
                    <a:cubicBezTo>
                      <a:pt x="672643" y="1066271"/>
                      <a:pt x="677405" y="1067859"/>
                      <a:pt x="677934" y="1065213"/>
                    </a:cubicBezTo>
                    <a:cubicBezTo>
                      <a:pt x="679568" y="1057044"/>
                      <a:pt x="671269" y="1048546"/>
                      <a:pt x="666822" y="1042988"/>
                    </a:cubicBezTo>
                    <a:cubicBezTo>
                      <a:pt x="665208" y="1038147"/>
                      <a:pt x="664956" y="1035719"/>
                      <a:pt x="660472" y="1031875"/>
                    </a:cubicBezTo>
                    <a:cubicBezTo>
                      <a:pt x="658675" y="1030335"/>
                      <a:pt x="656239" y="1029758"/>
                      <a:pt x="654122" y="1028700"/>
                    </a:cubicBezTo>
                    <a:cubicBezTo>
                      <a:pt x="658884" y="1025525"/>
                      <a:pt x="663439" y="1022015"/>
                      <a:pt x="668409" y="1019175"/>
                    </a:cubicBezTo>
                    <a:cubicBezTo>
                      <a:pt x="670883" y="1017761"/>
                      <a:pt x="674122" y="1017780"/>
                      <a:pt x="676347" y="1016000"/>
                    </a:cubicBezTo>
                    <a:cubicBezTo>
                      <a:pt x="679574" y="1013418"/>
                      <a:pt x="681362" y="1009397"/>
                      <a:pt x="684284" y="1006475"/>
                    </a:cubicBezTo>
                    <a:cubicBezTo>
                      <a:pt x="686680" y="1004079"/>
                      <a:pt x="689576" y="1002242"/>
                      <a:pt x="692222" y="1000125"/>
                    </a:cubicBezTo>
                    <a:cubicBezTo>
                      <a:pt x="693280" y="998008"/>
                      <a:pt x="694143" y="995782"/>
                      <a:pt x="695397" y="993775"/>
                    </a:cubicBezTo>
                    <a:lnTo>
                      <a:pt x="697575" y="989376"/>
                    </a:lnTo>
                    <a:lnTo>
                      <a:pt x="700379" y="989843"/>
                    </a:lnTo>
                    <a:lnTo>
                      <a:pt x="701747" y="1004888"/>
                    </a:lnTo>
                    <a:cubicBezTo>
                      <a:pt x="702906" y="1014157"/>
                      <a:pt x="702644" y="1011905"/>
                      <a:pt x="708097" y="1019175"/>
                    </a:cubicBezTo>
                    <a:cubicBezTo>
                      <a:pt x="721753" y="1015762"/>
                      <a:pt x="708996" y="1021067"/>
                      <a:pt x="716034" y="1001713"/>
                    </a:cubicBezTo>
                    <a:cubicBezTo>
                      <a:pt x="716606" y="1000140"/>
                      <a:pt x="719300" y="1000873"/>
                      <a:pt x="720797" y="1000125"/>
                    </a:cubicBezTo>
                    <a:cubicBezTo>
                      <a:pt x="723557" y="998745"/>
                      <a:pt x="726088" y="996950"/>
                      <a:pt x="728734" y="995363"/>
                    </a:cubicBezTo>
                    <a:cubicBezTo>
                      <a:pt x="729263" y="993246"/>
                      <a:pt x="729436" y="991007"/>
                      <a:pt x="730322" y="989013"/>
                    </a:cubicBezTo>
                    <a:cubicBezTo>
                      <a:pt x="731575" y="986193"/>
                      <a:pt x="735833" y="984068"/>
                      <a:pt x="735084" y="981075"/>
                    </a:cubicBezTo>
                    <a:cubicBezTo>
                      <a:pt x="734555" y="978958"/>
                      <a:pt x="730817" y="982012"/>
                      <a:pt x="728734" y="982663"/>
                    </a:cubicBezTo>
                    <a:cubicBezTo>
                      <a:pt x="722345" y="984660"/>
                      <a:pt x="716034" y="986896"/>
                      <a:pt x="709684" y="989013"/>
                    </a:cubicBezTo>
                    <a:lnTo>
                      <a:pt x="704922" y="990600"/>
                    </a:lnTo>
                    <a:lnTo>
                      <a:pt x="700379" y="989843"/>
                    </a:lnTo>
                    <a:cubicBezTo>
                      <a:pt x="700306" y="989037"/>
                      <a:pt x="700232" y="988231"/>
                      <a:pt x="700159" y="987425"/>
                    </a:cubicBezTo>
                    <a:cubicBezTo>
                      <a:pt x="699503" y="986276"/>
                      <a:pt x="698663" y="987303"/>
                      <a:pt x="697812" y="988897"/>
                    </a:cubicBezTo>
                    <a:lnTo>
                      <a:pt x="697575" y="989376"/>
                    </a:lnTo>
                    <a:lnTo>
                      <a:pt x="695397" y="989013"/>
                    </a:lnTo>
                    <a:cubicBezTo>
                      <a:pt x="693587" y="988410"/>
                      <a:pt x="692514" y="986165"/>
                      <a:pt x="690634" y="985838"/>
                    </a:cubicBezTo>
                    <a:cubicBezTo>
                      <a:pt x="680155" y="984016"/>
                      <a:pt x="669467" y="983721"/>
                      <a:pt x="658884" y="982663"/>
                    </a:cubicBezTo>
                    <a:cubicBezTo>
                      <a:pt x="659264" y="975821"/>
                      <a:pt x="655124" y="954960"/>
                      <a:pt x="665234" y="947738"/>
                    </a:cubicBezTo>
                    <a:cubicBezTo>
                      <a:pt x="667009" y="946470"/>
                      <a:pt x="669467" y="946679"/>
                      <a:pt x="671584" y="946150"/>
                    </a:cubicBezTo>
                    <a:cubicBezTo>
                      <a:pt x="672642" y="944563"/>
                      <a:pt x="673293" y="942609"/>
                      <a:pt x="674759" y="941388"/>
                    </a:cubicBezTo>
                    <a:cubicBezTo>
                      <a:pt x="676813" y="939676"/>
                      <a:pt x="687154" y="935795"/>
                      <a:pt x="689047" y="935038"/>
                    </a:cubicBezTo>
                    <a:cubicBezTo>
                      <a:pt x="689576" y="937155"/>
                      <a:pt x="689868" y="939345"/>
                      <a:pt x="690634" y="941388"/>
                    </a:cubicBezTo>
                    <a:cubicBezTo>
                      <a:pt x="691465" y="943604"/>
                      <a:pt x="692877" y="949913"/>
                      <a:pt x="693809" y="947738"/>
                    </a:cubicBezTo>
                    <a:cubicBezTo>
                      <a:pt x="696112" y="942366"/>
                      <a:pt x="694320" y="936020"/>
                      <a:pt x="695397" y="930275"/>
                    </a:cubicBezTo>
                    <a:cubicBezTo>
                      <a:pt x="696410" y="924873"/>
                      <a:pt x="698914" y="921825"/>
                      <a:pt x="701747" y="917575"/>
                    </a:cubicBezTo>
                    <a:cubicBezTo>
                      <a:pt x="703864" y="918633"/>
                      <a:pt x="705881" y="921581"/>
                      <a:pt x="708097" y="920750"/>
                    </a:cubicBezTo>
                    <a:cubicBezTo>
                      <a:pt x="714455" y="918366"/>
                      <a:pt x="715016" y="914272"/>
                      <a:pt x="714105" y="909845"/>
                    </a:cubicBezTo>
                    <a:lnTo>
                      <a:pt x="711560" y="898249"/>
                    </a:lnTo>
                    <a:lnTo>
                      <a:pt x="716034" y="900113"/>
                    </a:lnTo>
                    <a:cubicBezTo>
                      <a:pt x="717844" y="900716"/>
                      <a:pt x="711509" y="895045"/>
                      <a:pt x="711272" y="896938"/>
                    </a:cubicBezTo>
                    <a:lnTo>
                      <a:pt x="711560" y="898249"/>
                    </a:lnTo>
                    <a:lnTo>
                      <a:pt x="696984" y="892175"/>
                    </a:lnTo>
                    <a:cubicBezTo>
                      <a:pt x="696834" y="891725"/>
                      <a:pt x="686854" y="871309"/>
                      <a:pt x="695397" y="868363"/>
                    </a:cubicBezTo>
                    <a:cubicBezTo>
                      <a:pt x="709051" y="863655"/>
                      <a:pt x="738259" y="862013"/>
                      <a:pt x="738259" y="862013"/>
                    </a:cubicBezTo>
                    <a:cubicBezTo>
                      <a:pt x="736142" y="860955"/>
                      <a:pt x="732373" y="861159"/>
                      <a:pt x="731909" y="858838"/>
                    </a:cubicBezTo>
                    <a:cubicBezTo>
                      <a:pt x="731166" y="855121"/>
                      <a:pt x="739527" y="853124"/>
                      <a:pt x="741434" y="852488"/>
                    </a:cubicBezTo>
                    <a:cubicBezTo>
                      <a:pt x="741434" y="852488"/>
                      <a:pt x="743552" y="863070"/>
                      <a:pt x="747784" y="858838"/>
                    </a:cubicBezTo>
                    <a:cubicBezTo>
                      <a:pt x="748967" y="857655"/>
                      <a:pt x="746726" y="855663"/>
                      <a:pt x="746197" y="854075"/>
                    </a:cubicBezTo>
                    <a:cubicBezTo>
                      <a:pt x="747255" y="848783"/>
                      <a:pt x="746814" y="842951"/>
                      <a:pt x="749372" y="838200"/>
                    </a:cubicBezTo>
                    <a:cubicBezTo>
                      <a:pt x="750835" y="835483"/>
                      <a:pt x="754742" y="831727"/>
                      <a:pt x="757309" y="833438"/>
                    </a:cubicBezTo>
                    <a:cubicBezTo>
                      <a:pt x="760422" y="835513"/>
                      <a:pt x="757822" y="840966"/>
                      <a:pt x="758897" y="844550"/>
                    </a:cubicBezTo>
                    <a:cubicBezTo>
                      <a:pt x="759445" y="846378"/>
                      <a:pt x="761014" y="847725"/>
                      <a:pt x="762072" y="849313"/>
                    </a:cubicBezTo>
                    <a:cubicBezTo>
                      <a:pt x="763659" y="848784"/>
                      <a:pt x="766535" y="849371"/>
                      <a:pt x="766834" y="847725"/>
                    </a:cubicBezTo>
                    <a:cubicBezTo>
                      <a:pt x="768279" y="839777"/>
                      <a:pt x="765923" y="833877"/>
                      <a:pt x="763659" y="827088"/>
                    </a:cubicBezTo>
                    <a:cubicBezTo>
                      <a:pt x="764045" y="824385"/>
                      <a:pt x="762884" y="812800"/>
                      <a:pt x="770009" y="812800"/>
                    </a:cubicBezTo>
                    <a:cubicBezTo>
                      <a:pt x="771917" y="812800"/>
                      <a:pt x="773184" y="814917"/>
                      <a:pt x="774772" y="815975"/>
                    </a:cubicBezTo>
                    <a:cubicBezTo>
                      <a:pt x="775876" y="817631"/>
                      <a:pt x="779488" y="824373"/>
                      <a:pt x="782709" y="823913"/>
                    </a:cubicBezTo>
                    <a:cubicBezTo>
                      <a:pt x="785328" y="823539"/>
                      <a:pt x="786942" y="820738"/>
                      <a:pt x="789059" y="819150"/>
                    </a:cubicBezTo>
                    <a:cubicBezTo>
                      <a:pt x="790647" y="814917"/>
                      <a:pt x="790060" y="808958"/>
                      <a:pt x="793822" y="806450"/>
                    </a:cubicBezTo>
                    <a:cubicBezTo>
                      <a:pt x="803058" y="800293"/>
                      <a:pt x="805752" y="816841"/>
                      <a:pt x="806522" y="819150"/>
                    </a:cubicBezTo>
                    <a:cubicBezTo>
                      <a:pt x="807051" y="823383"/>
                      <a:pt x="805093" y="828833"/>
                      <a:pt x="808109" y="831850"/>
                    </a:cubicBezTo>
                    <a:cubicBezTo>
                      <a:pt x="810124" y="833865"/>
                      <a:pt x="808456" y="824266"/>
                      <a:pt x="811284" y="823913"/>
                    </a:cubicBezTo>
                    <a:cubicBezTo>
                      <a:pt x="815070" y="823440"/>
                      <a:pt x="820809" y="830263"/>
                      <a:pt x="820809" y="830263"/>
                    </a:cubicBezTo>
                    <a:cubicBezTo>
                      <a:pt x="823455" y="829734"/>
                      <a:pt x="827250" y="830920"/>
                      <a:pt x="828747" y="828675"/>
                    </a:cubicBezTo>
                    <a:cubicBezTo>
                      <a:pt x="831113" y="825125"/>
                      <a:pt x="829571" y="820172"/>
                      <a:pt x="830334" y="815975"/>
                    </a:cubicBezTo>
                    <a:cubicBezTo>
                      <a:pt x="830633" y="814329"/>
                      <a:pt x="831393" y="812800"/>
                      <a:pt x="831922" y="811213"/>
                    </a:cubicBezTo>
                    <a:cubicBezTo>
                      <a:pt x="832451" y="806450"/>
                      <a:pt x="833509" y="801717"/>
                      <a:pt x="833509" y="796925"/>
                    </a:cubicBezTo>
                    <a:cubicBezTo>
                      <a:pt x="833509" y="794743"/>
                      <a:pt x="832395" y="792705"/>
                      <a:pt x="831922" y="790575"/>
                    </a:cubicBezTo>
                    <a:cubicBezTo>
                      <a:pt x="831337" y="787941"/>
                      <a:pt x="830863" y="785284"/>
                      <a:pt x="830334" y="782638"/>
                    </a:cubicBezTo>
                    <a:cubicBezTo>
                      <a:pt x="830863" y="775230"/>
                      <a:pt x="838102" y="764533"/>
                      <a:pt x="831922" y="760413"/>
                    </a:cubicBezTo>
                    <a:cubicBezTo>
                      <a:pt x="828333" y="758020"/>
                      <a:pt x="803865" y="763167"/>
                      <a:pt x="793822" y="765175"/>
                    </a:cubicBezTo>
                    <a:cubicBezTo>
                      <a:pt x="803444" y="750743"/>
                      <a:pt x="787702" y="772882"/>
                      <a:pt x="804934" y="755650"/>
                    </a:cubicBezTo>
                    <a:cubicBezTo>
                      <a:pt x="806117" y="754467"/>
                      <a:pt x="805993" y="752475"/>
                      <a:pt x="806522" y="750888"/>
                    </a:cubicBezTo>
                    <a:cubicBezTo>
                      <a:pt x="807051" y="747713"/>
                      <a:pt x="806512" y="744158"/>
                      <a:pt x="808109" y="741363"/>
                    </a:cubicBezTo>
                    <a:cubicBezTo>
                      <a:pt x="808939" y="739910"/>
                      <a:pt x="811479" y="740703"/>
                      <a:pt x="812872" y="739775"/>
                    </a:cubicBezTo>
                    <a:cubicBezTo>
                      <a:pt x="814740" y="738530"/>
                      <a:pt x="816047" y="736600"/>
                      <a:pt x="817634" y="735013"/>
                    </a:cubicBezTo>
                    <a:cubicBezTo>
                      <a:pt x="816047" y="733955"/>
                      <a:pt x="814578" y="732691"/>
                      <a:pt x="812872" y="731838"/>
                    </a:cubicBezTo>
                    <a:cubicBezTo>
                      <a:pt x="808485" y="729644"/>
                      <a:pt x="800990" y="729195"/>
                      <a:pt x="796997" y="728663"/>
                    </a:cubicBezTo>
                    <a:lnTo>
                      <a:pt x="784297" y="727075"/>
                    </a:lnTo>
                    <a:cubicBezTo>
                      <a:pt x="786148" y="718746"/>
                      <a:pt x="785855" y="710162"/>
                      <a:pt x="793822" y="704850"/>
                    </a:cubicBezTo>
                    <a:cubicBezTo>
                      <a:pt x="796067" y="703353"/>
                      <a:pt x="799113" y="703792"/>
                      <a:pt x="801759" y="703263"/>
                    </a:cubicBezTo>
                    <a:lnTo>
                      <a:pt x="813273" y="704702"/>
                    </a:lnTo>
                    <a:cubicBezTo>
                      <a:pt x="813139" y="706339"/>
                      <a:pt x="813006" y="707976"/>
                      <a:pt x="812872" y="709613"/>
                    </a:cubicBezTo>
                    <a:cubicBezTo>
                      <a:pt x="812872" y="711286"/>
                      <a:pt x="815912" y="705680"/>
                      <a:pt x="814459" y="704850"/>
                    </a:cubicBezTo>
                    <a:lnTo>
                      <a:pt x="813273" y="704702"/>
                    </a:lnTo>
                    <a:cubicBezTo>
                      <a:pt x="813602" y="700671"/>
                      <a:pt x="813932" y="696639"/>
                      <a:pt x="814261" y="692608"/>
                    </a:cubicBezTo>
                    <a:cubicBezTo>
                      <a:pt x="814989" y="685047"/>
                      <a:pt x="815783" y="677333"/>
                      <a:pt x="816047" y="674688"/>
                    </a:cubicBezTo>
                    <a:cubicBezTo>
                      <a:pt x="818693" y="677863"/>
                      <a:pt x="821447" y="680951"/>
                      <a:pt x="823984" y="684213"/>
                    </a:cubicBezTo>
                    <a:cubicBezTo>
                      <a:pt x="825155" y="685719"/>
                      <a:pt x="825810" y="690324"/>
                      <a:pt x="827159" y="688975"/>
                    </a:cubicBezTo>
                    <a:cubicBezTo>
                      <a:pt x="829883" y="686251"/>
                      <a:pt x="828068" y="680978"/>
                      <a:pt x="830334" y="677863"/>
                    </a:cubicBezTo>
                    <a:cubicBezTo>
                      <a:pt x="834875" y="671619"/>
                      <a:pt x="840045" y="671686"/>
                      <a:pt x="846209" y="669925"/>
                    </a:cubicBezTo>
                    <a:cubicBezTo>
                      <a:pt x="847818" y="669465"/>
                      <a:pt x="849384" y="668867"/>
                      <a:pt x="850972" y="668338"/>
                    </a:cubicBezTo>
                    <a:cubicBezTo>
                      <a:pt x="850767" y="669157"/>
                      <a:pt x="846436" y="682625"/>
                      <a:pt x="850972" y="682625"/>
                    </a:cubicBezTo>
                    <a:cubicBezTo>
                      <a:pt x="854360" y="682625"/>
                      <a:pt x="855071" y="677220"/>
                      <a:pt x="857322" y="674688"/>
                    </a:cubicBezTo>
                    <a:cubicBezTo>
                      <a:pt x="859311" y="672451"/>
                      <a:pt x="861555" y="670455"/>
                      <a:pt x="863672" y="668338"/>
                    </a:cubicBezTo>
                    <a:cubicBezTo>
                      <a:pt x="864201" y="670984"/>
                      <a:pt x="864815" y="673614"/>
                      <a:pt x="865259" y="676275"/>
                    </a:cubicBezTo>
                    <a:cubicBezTo>
                      <a:pt x="867286" y="688437"/>
                      <a:pt x="865574" y="691210"/>
                      <a:pt x="868434" y="682625"/>
                    </a:cubicBezTo>
                    <a:cubicBezTo>
                      <a:pt x="869492" y="675746"/>
                      <a:pt x="869268" y="668542"/>
                      <a:pt x="871609" y="661988"/>
                    </a:cubicBezTo>
                    <a:cubicBezTo>
                      <a:pt x="872172" y="660412"/>
                      <a:pt x="875189" y="661583"/>
                      <a:pt x="876372" y="660400"/>
                    </a:cubicBezTo>
                    <a:cubicBezTo>
                      <a:pt x="877555" y="659217"/>
                      <a:pt x="877430" y="657225"/>
                      <a:pt x="877959" y="655638"/>
                    </a:cubicBezTo>
                    <a:cubicBezTo>
                      <a:pt x="877430" y="654050"/>
                      <a:pt x="876735" y="652509"/>
                      <a:pt x="876372" y="650875"/>
                    </a:cubicBezTo>
                    <a:cubicBezTo>
                      <a:pt x="875674" y="647733"/>
                      <a:pt x="876224" y="644229"/>
                      <a:pt x="874784" y="641350"/>
                    </a:cubicBezTo>
                    <a:cubicBezTo>
                      <a:pt x="873931" y="639644"/>
                      <a:pt x="871609" y="639233"/>
                      <a:pt x="870022" y="638175"/>
                    </a:cubicBezTo>
                    <a:cubicBezTo>
                      <a:pt x="868205" y="629093"/>
                      <a:pt x="867138" y="628111"/>
                      <a:pt x="870022" y="617538"/>
                    </a:cubicBezTo>
                    <a:cubicBezTo>
                      <a:pt x="870524" y="615697"/>
                      <a:pt x="872139" y="614363"/>
                      <a:pt x="873197" y="612775"/>
                    </a:cubicBezTo>
                    <a:cubicBezTo>
                      <a:pt x="873726" y="609071"/>
                      <a:pt x="872138" y="604309"/>
                      <a:pt x="874784" y="601663"/>
                    </a:cubicBezTo>
                    <a:cubicBezTo>
                      <a:pt x="876372" y="600075"/>
                      <a:pt x="878357" y="604521"/>
                      <a:pt x="879547" y="606425"/>
                    </a:cubicBezTo>
                    <a:cubicBezTo>
                      <a:pt x="881057" y="608842"/>
                      <a:pt x="881066" y="612044"/>
                      <a:pt x="882722" y="614363"/>
                    </a:cubicBezTo>
                    <a:cubicBezTo>
                      <a:pt x="883831" y="615915"/>
                      <a:pt x="886018" y="616317"/>
                      <a:pt x="887484" y="617538"/>
                    </a:cubicBezTo>
                    <a:cubicBezTo>
                      <a:pt x="889209" y="618975"/>
                      <a:pt x="890659" y="620713"/>
                      <a:pt x="892247" y="622300"/>
                    </a:cubicBezTo>
                    <a:cubicBezTo>
                      <a:pt x="895951" y="621242"/>
                      <a:pt x="899977" y="620970"/>
                      <a:pt x="903359" y="619125"/>
                    </a:cubicBezTo>
                    <a:cubicBezTo>
                      <a:pt x="908431" y="616358"/>
                      <a:pt x="911735" y="609399"/>
                      <a:pt x="914472" y="604838"/>
                    </a:cubicBezTo>
                    <a:cubicBezTo>
                      <a:pt x="915001" y="602721"/>
                      <a:pt x="914849" y="600303"/>
                      <a:pt x="916059" y="598488"/>
                    </a:cubicBezTo>
                    <a:cubicBezTo>
                      <a:pt x="917117" y="596900"/>
                      <a:pt x="919186" y="594331"/>
                      <a:pt x="920822" y="595313"/>
                    </a:cubicBezTo>
                    <a:cubicBezTo>
                      <a:pt x="923266" y="596779"/>
                      <a:pt x="923096" y="600547"/>
                      <a:pt x="923997" y="603250"/>
                    </a:cubicBezTo>
                    <a:cubicBezTo>
                      <a:pt x="925744" y="608491"/>
                      <a:pt x="926114" y="614275"/>
                      <a:pt x="928759" y="619125"/>
                    </a:cubicBezTo>
                    <a:cubicBezTo>
                      <a:pt x="929560" y="620594"/>
                      <a:pt x="931934" y="620184"/>
                      <a:pt x="933522" y="620713"/>
                    </a:cubicBezTo>
                    <a:cubicBezTo>
                      <a:pt x="934051" y="622300"/>
                      <a:pt x="933613" y="626223"/>
                      <a:pt x="935109" y="625475"/>
                    </a:cubicBezTo>
                    <a:cubicBezTo>
                      <a:pt x="937060" y="624499"/>
                      <a:pt x="936388" y="621285"/>
                      <a:pt x="936697" y="619125"/>
                    </a:cubicBezTo>
                    <a:cubicBezTo>
                      <a:pt x="937449" y="613860"/>
                      <a:pt x="936823" y="608363"/>
                      <a:pt x="938284" y="603250"/>
                    </a:cubicBezTo>
                    <a:cubicBezTo>
                      <a:pt x="939626" y="598553"/>
                      <a:pt x="947965" y="592965"/>
                      <a:pt x="950984" y="590550"/>
                    </a:cubicBezTo>
                    <a:cubicBezTo>
                      <a:pt x="950455" y="587904"/>
                      <a:pt x="950965" y="584808"/>
                      <a:pt x="949397" y="582613"/>
                    </a:cubicBezTo>
                    <a:cubicBezTo>
                      <a:pt x="947593" y="580087"/>
                      <a:pt x="939352" y="578514"/>
                      <a:pt x="936697" y="577850"/>
                    </a:cubicBezTo>
                    <a:cubicBezTo>
                      <a:pt x="928230" y="578379"/>
                      <a:pt x="919738" y="578594"/>
                      <a:pt x="911297" y="579438"/>
                    </a:cubicBezTo>
                    <a:cubicBezTo>
                      <a:pt x="907378" y="579830"/>
                      <a:pt x="898307" y="583413"/>
                      <a:pt x="895422" y="584200"/>
                    </a:cubicBezTo>
                    <a:cubicBezTo>
                      <a:pt x="892819" y="584910"/>
                      <a:pt x="890130" y="585259"/>
                      <a:pt x="887484" y="585788"/>
                    </a:cubicBezTo>
                    <a:cubicBezTo>
                      <a:pt x="879547" y="584730"/>
                      <a:pt x="871064" y="585693"/>
                      <a:pt x="863672" y="582613"/>
                    </a:cubicBezTo>
                    <a:cubicBezTo>
                      <a:pt x="861600" y="581749"/>
                      <a:pt x="866530" y="579040"/>
                      <a:pt x="868434" y="577850"/>
                    </a:cubicBezTo>
                    <a:cubicBezTo>
                      <a:pt x="870851" y="576340"/>
                      <a:pt x="873823" y="575949"/>
                      <a:pt x="876372" y="574675"/>
                    </a:cubicBezTo>
                    <a:cubicBezTo>
                      <a:pt x="878078" y="573822"/>
                      <a:pt x="879547" y="572558"/>
                      <a:pt x="881134" y="571500"/>
                    </a:cubicBezTo>
                    <a:cubicBezTo>
                      <a:pt x="881663" y="569913"/>
                      <a:pt x="882394" y="568379"/>
                      <a:pt x="882722" y="566738"/>
                    </a:cubicBezTo>
                    <a:cubicBezTo>
                      <a:pt x="884019" y="560255"/>
                      <a:pt x="884141" y="550531"/>
                      <a:pt x="887484" y="544513"/>
                    </a:cubicBezTo>
                    <a:cubicBezTo>
                      <a:pt x="888411" y="542845"/>
                      <a:pt x="890659" y="542396"/>
                      <a:pt x="892247" y="541338"/>
                    </a:cubicBezTo>
                    <a:cubicBezTo>
                      <a:pt x="894364" y="541867"/>
                      <a:pt x="896480" y="543454"/>
                      <a:pt x="898597" y="542925"/>
                    </a:cubicBezTo>
                    <a:cubicBezTo>
                      <a:pt x="903602" y="541674"/>
                      <a:pt x="907307" y="534030"/>
                      <a:pt x="911297" y="531813"/>
                    </a:cubicBezTo>
                    <a:cubicBezTo>
                      <a:pt x="913656" y="530503"/>
                      <a:pt x="916588" y="530754"/>
                      <a:pt x="919234" y="530225"/>
                    </a:cubicBezTo>
                    <a:cubicBezTo>
                      <a:pt x="921351" y="531813"/>
                      <a:pt x="923713" y="533117"/>
                      <a:pt x="925584" y="534988"/>
                    </a:cubicBezTo>
                    <a:cubicBezTo>
                      <a:pt x="926933" y="536337"/>
                      <a:pt x="927410" y="538401"/>
                      <a:pt x="928759" y="539750"/>
                    </a:cubicBezTo>
                    <a:cubicBezTo>
                      <a:pt x="930630" y="541621"/>
                      <a:pt x="932992" y="542925"/>
                      <a:pt x="935109" y="544513"/>
                    </a:cubicBezTo>
                    <a:cubicBezTo>
                      <a:pt x="941723" y="534593"/>
                      <a:pt x="938697" y="535719"/>
                      <a:pt x="947809" y="531813"/>
                    </a:cubicBezTo>
                    <a:cubicBezTo>
                      <a:pt x="949347" y="531154"/>
                      <a:pt x="950984" y="530754"/>
                      <a:pt x="952572" y="530225"/>
                    </a:cubicBezTo>
                    <a:cubicBezTo>
                      <a:pt x="953630" y="527579"/>
                      <a:pt x="954747" y="524956"/>
                      <a:pt x="955747" y="522288"/>
                    </a:cubicBezTo>
                    <a:cubicBezTo>
                      <a:pt x="957497" y="517620"/>
                      <a:pt x="958774" y="514885"/>
                      <a:pt x="955747" y="509588"/>
                    </a:cubicBezTo>
                    <a:cubicBezTo>
                      <a:pt x="954800" y="507931"/>
                      <a:pt x="952572" y="507471"/>
                      <a:pt x="950984" y="506413"/>
                    </a:cubicBezTo>
                    <a:cubicBezTo>
                      <a:pt x="947280" y="506942"/>
                      <a:pt x="943550" y="507311"/>
                      <a:pt x="939872" y="508000"/>
                    </a:cubicBezTo>
                    <a:cubicBezTo>
                      <a:pt x="927739" y="510275"/>
                      <a:pt x="928913" y="510065"/>
                      <a:pt x="920822" y="512763"/>
                    </a:cubicBezTo>
                    <a:cubicBezTo>
                      <a:pt x="917222" y="507362"/>
                      <a:pt x="914142" y="505036"/>
                      <a:pt x="919234" y="496888"/>
                    </a:cubicBezTo>
                    <a:cubicBezTo>
                      <a:pt x="920390" y="495038"/>
                      <a:pt x="923467" y="495829"/>
                      <a:pt x="925584" y="495300"/>
                    </a:cubicBezTo>
                    <a:cubicBezTo>
                      <a:pt x="921880" y="493183"/>
                      <a:pt x="918071" y="491240"/>
                      <a:pt x="914472" y="488950"/>
                    </a:cubicBezTo>
                    <a:cubicBezTo>
                      <a:pt x="912240" y="487530"/>
                      <a:pt x="908641" y="486782"/>
                      <a:pt x="908122" y="484188"/>
                    </a:cubicBezTo>
                    <a:cubicBezTo>
                      <a:pt x="907748" y="482317"/>
                      <a:pt x="911297" y="482071"/>
                      <a:pt x="912884" y="481013"/>
                    </a:cubicBezTo>
                    <a:cubicBezTo>
                      <a:pt x="913942" y="479425"/>
                      <a:pt x="914569" y="477442"/>
                      <a:pt x="916059" y="476250"/>
                    </a:cubicBezTo>
                    <a:cubicBezTo>
                      <a:pt x="917366" y="475205"/>
                      <a:pt x="919171" y="474938"/>
                      <a:pt x="920822" y="474663"/>
                    </a:cubicBezTo>
                    <a:cubicBezTo>
                      <a:pt x="925548" y="473875"/>
                      <a:pt x="930347" y="473604"/>
                      <a:pt x="935109" y="473075"/>
                    </a:cubicBezTo>
                    <a:cubicBezTo>
                      <a:pt x="937226" y="472017"/>
                      <a:pt x="939490" y="471213"/>
                      <a:pt x="941459" y="469900"/>
                    </a:cubicBezTo>
                    <a:cubicBezTo>
                      <a:pt x="952329" y="462653"/>
                      <a:pt x="951955" y="462578"/>
                      <a:pt x="958922" y="455613"/>
                    </a:cubicBezTo>
                    <a:cubicBezTo>
                      <a:pt x="958600" y="450792"/>
                      <a:pt x="955427" y="430663"/>
                      <a:pt x="958922" y="422275"/>
                    </a:cubicBezTo>
                    <a:cubicBezTo>
                      <a:pt x="960390" y="418753"/>
                      <a:pt x="963155" y="415925"/>
                      <a:pt x="965272" y="412750"/>
                    </a:cubicBezTo>
                    <a:cubicBezTo>
                      <a:pt x="966330" y="411163"/>
                      <a:pt x="966596" y="408451"/>
                      <a:pt x="968447" y="407988"/>
                    </a:cubicBezTo>
                    <a:lnTo>
                      <a:pt x="974797" y="406400"/>
                    </a:lnTo>
                    <a:cubicBezTo>
                      <a:pt x="976386" y="406930"/>
                      <a:pt x="988026" y="407987"/>
                      <a:pt x="985909" y="414338"/>
                    </a:cubicBezTo>
                    <a:cubicBezTo>
                      <a:pt x="985199" y="416468"/>
                      <a:pt x="982734" y="417513"/>
                      <a:pt x="981147" y="419100"/>
                    </a:cubicBezTo>
                    <a:cubicBezTo>
                      <a:pt x="981676" y="422804"/>
                      <a:pt x="980339" y="427338"/>
                      <a:pt x="982734" y="430213"/>
                    </a:cubicBezTo>
                    <a:cubicBezTo>
                      <a:pt x="984131" y="431889"/>
                      <a:pt x="987041" y="429391"/>
                      <a:pt x="989084" y="428625"/>
                    </a:cubicBezTo>
                    <a:cubicBezTo>
                      <a:pt x="993688" y="426898"/>
                      <a:pt x="996249" y="424907"/>
                      <a:pt x="1000197" y="422275"/>
                    </a:cubicBezTo>
                    <a:cubicBezTo>
                      <a:pt x="1002314" y="422804"/>
                      <a:pt x="1004871" y="422466"/>
                      <a:pt x="1006547" y="423863"/>
                    </a:cubicBezTo>
                    <a:cubicBezTo>
                      <a:pt x="1008365" y="425378"/>
                      <a:pt x="1008182" y="428416"/>
                      <a:pt x="1009722" y="430213"/>
                    </a:cubicBezTo>
                    <a:cubicBezTo>
                      <a:pt x="1011444" y="432222"/>
                      <a:pt x="1013955" y="433388"/>
                      <a:pt x="1016072" y="434975"/>
                    </a:cubicBezTo>
                    <a:cubicBezTo>
                      <a:pt x="1019584" y="431463"/>
                      <a:pt x="1021798" y="429872"/>
                      <a:pt x="1024009" y="425450"/>
                    </a:cubicBezTo>
                    <a:cubicBezTo>
                      <a:pt x="1025150" y="423168"/>
                      <a:pt x="1026674" y="416379"/>
                      <a:pt x="1027184" y="414338"/>
                    </a:cubicBezTo>
                    <a:cubicBezTo>
                      <a:pt x="1030447" y="416948"/>
                      <a:pt x="1034861" y="424123"/>
                      <a:pt x="1039884" y="419100"/>
                    </a:cubicBezTo>
                    <a:cubicBezTo>
                      <a:pt x="1041067" y="417917"/>
                      <a:pt x="1040943" y="415925"/>
                      <a:pt x="1041472" y="414338"/>
                    </a:cubicBezTo>
                    <a:cubicBezTo>
                      <a:pt x="1022900" y="406910"/>
                      <a:pt x="1044980" y="414149"/>
                      <a:pt x="1024009" y="412750"/>
                    </a:cubicBezTo>
                    <a:cubicBezTo>
                      <a:pt x="1019141" y="412425"/>
                      <a:pt x="1014484" y="410633"/>
                      <a:pt x="1009722" y="409575"/>
                    </a:cubicBezTo>
                    <a:cubicBezTo>
                      <a:pt x="1008134" y="407458"/>
                      <a:pt x="1006272" y="405522"/>
                      <a:pt x="1004959" y="403225"/>
                    </a:cubicBezTo>
                    <a:cubicBezTo>
                      <a:pt x="1002110" y="398240"/>
                      <a:pt x="1002461" y="387744"/>
                      <a:pt x="1004959" y="384175"/>
                    </a:cubicBezTo>
                    <a:cubicBezTo>
                      <a:pt x="1006805" y="381538"/>
                      <a:pt x="1011309" y="383117"/>
                      <a:pt x="1014484" y="382588"/>
                    </a:cubicBezTo>
                    <a:cubicBezTo>
                      <a:pt x="1016072" y="384175"/>
                      <a:pt x="1017298" y="386236"/>
                      <a:pt x="1019247" y="387350"/>
                    </a:cubicBezTo>
                    <a:cubicBezTo>
                      <a:pt x="1021141" y="388432"/>
                      <a:pt x="1023782" y="387728"/>
                      <a:pt x="1025597" y="388938"/>
                    </a:cubicBezTo>
                    <a:cubicBezTo>
                      <a:pt x="1027184" y="389996"/>
                      <a:pt x="1027282" y="392508"/>
                      <a:pt x="1028772" y="393700"/>
                    </a:cubicBezTo>
                    <a:cubicBezTo>
                      <a:pt x="1030079" y="394745"/>
                      <a:pt x="1032037" y="394540"/>
                      <a:pt x="1033534" y="395288"/>
                    </a:cubicBezTo>
                    <a:cubicBezTo>
                      <a:pt x="1035241" y="396141"/>
                      <a:pt x="1036709" y="397405"/>
                      <a:pt x="1038297" y="398463"/>
                    </a:cubicBezTo>
                    <a:cubicBezTo>
                      <a:pt x="1040099" y="402068"/>
                      <a:pt x="1043843" y="409960"/>
                      <a:pt x="1046234" y="412750"/>
                    </a:cubicBezTo>
                    <a:cubicBezTo>
                      <a:pt x="1047476" y="414199"/>
                      <a:pt x="1049409" y="414867"/>
                      <a:pt x="1050997" y="415925"/>
                    </a:cubicBezTo>
                    <a:cubicBezTo>
                      <a:pt x="1056289" y="415396"/>
                      <a:pt x="1062870" y="417840"/>
                      <a:pt x="1066872" y="414338"/>
                    </a:cubicBezTo>
                    <a:cubicBezTo>
                      <a:pt x="1069258" y="412250"/>
                      <a:pt x="1062039" y="402325"/>
                      <a:pt x="1060522" y="400050"/>
                    </a:cubicBezTo>
                    <a:cubicBezTo>
                      <a:pt x="1059993" y="395817"/>
                      <a:pt x="1058792" y="391614"/>
                      <a:pt x="1058934" y="387350"/>
                    </a:cubicBezTo>
                    <a:cubicBezTo>
                      <a:pt x="1059323" y="375667"/>
                      <a:pt x="1063559" y="364024"/>
                      <a:pt x="1062109" y="352425"/>
                    </a:cubicBezTo>
                    <a:cubicBezTo>
                      <a:pt x="1061756" y="349598"/>
                      <a:pt x="1056973" y="349775"/>
                      <a:pt x="1054172" y="349250"/>
                    </a:cubicBezTo>
                    <a:cubicBezTo>
                      <a:pt x="1048427" y="348173"/>
                      <a:pt x="1042530" y="348192"/>
                      <a:pt x="1036709" y="347663"/>
                    </a:cubicBezTo>
                    <a:cubicBezTo>
                      <a:pt x="1035651" y="346075"/>
                      <a:pt x="1033804" y="344789"/>
                      <a:pt x="1033534" y="342900"/>
                    </a:cubicBezTo>
                    <a:cubicBezTo>
                      <a:pt x="1033226" y="340740"/>
                      <a:pt x="1033685" y="338192"/>
                      <a:pt x="1035122" y="336550"/>
                    </a:cubicBezTo>
                    <a:cubicBezTo>
                      <a:pt x="1042080" y="328598"/>
                      <a:pt x="1047699" y="329819"/>
                      <a:pt x="1057347" y="328613"/>
                    </a:cubicBezTo>
                    <a:cubicBezTo>
                      <a:pt x="1058300" y="328295"/>
                      <a:pt x="1068152" y="324874"/>
                      <a:pt x="1068459" y="325438"/>
                    </a:cubicBezTo>
                    <a:cubicBezTo>
                      <a:pt x="1071542" y="331090"/>
                      <a:pt x="1069975" y="338268"/>
                      <a:pt x="1071634" y="344488"/>
                    </a:cubicBezTo>
                    <a:cubicBezTo>
                      <a:pt x="1072126" y="346331"/>
                      <a:pt x="1073862" y="347594"/>
                      <a:pt x="1074809" y="349250"/>
                    </a:cubicBezTo>
                    <a:cubicBezTo>
                      <a:pt x="1077947" y="354742"/>
                      <a:pt x="1077791" y="355021"/>
                      <a:pt x="1079572" y="360363"/>
                    </a:cubicBezTo>
                    <a:cubicBezTo>
                      <a:pt x="1078514" y="371475"/>
                      <a:pt x="1077782" y="382624"/>
                      <a:pt x="1076397" y="393700"/>
                    </a:cubicBezTo>
                    <a:cubicBezTo>
                      <a:pt x="1076189" y="395361"/>
                      <a:pt x="1074061" y="396966"/>
                      <a:pt x="1074809" y="398463"/>
                    </a:cubicBezTo>
                    <a:cubicBezTo>
                      <a:pt x="1075557" y="399960"/>
                      <a:pt x="1077984" y="399521"/>
                      <a:pt x="1079572" y="400050"/>
                    </a:cubicBezTo>
                    <a:cubicBezTo>
                      <a:pt x="1084877" y="398282"/>
                      <a:pt x="1087260" y="398277"/>
                      <a:pt x="1090684" y="392113"/>
                    </a:cubicBezTo>
                    <a:cubicBezTo>
                      <a:pt x="1091662" y="390352"/>
                      <a:pt x="1092457" y="380069"/>
                      <a:pt x="1093859" y="377825"/>
                    </a:cubicBezTo>
                    <a:cubicBezTo>
                      <a:pt x="1096954" y="372872"/>
                      <a:pt x="1100653" y="371385"/>
                      <a:pt x="1104972" y="368300"/>
                    </a:cubicBezTo>
                    <a:cubicBezTo>
                      <a:pt x="1107125" y="366762"/>
                      <a:pt x="1108865" y="364521"/>
                      <a:pt x="1111322" y="363538"/>
                    </a:cubicBezTo>
                    <a:cubicBezTo>
                      <a:pt x="1114311" y="362343"/>
                      <a:pt x="1117705" y="362648"/>
                      <a:pt x="1120847" y="361950"/>
                    </a:cubicBezTo>
                    <a:cubicBezTo>
                      <a:pt x="1122480" y="361587"/>
                      <a:pt x="1124022" y="360892"/>
                      <a:pt x="1125609" y="360363"/>
                    </a:cubicBezTo>
                    <a:cubicBezTo>
                      <a:pt x="1125080" y="358775"/>
                      <a:pt x="1125475" y="356430"/>
                      <a:pt x="1124022" y="355600"/>
                    </a:cubicBezTo>
                    <a:cubicBezTo>
                      <a:pt x="1121227" y="354003"/>
                      <a:pt x="1117607" y="354842"/>
                      <a:pt x="1114497" y="354013"/>
                    </a:cubicBezTo>
                    <a:cubicBezTo>
                      <a:pt x="1109646" y="352719"/>
                      <a:pt x="1104972" y="350838"/>
                      <a:pt x="1100209" y="349250"/>
                    </a:cubicBezTo>
                    <a:cubicBezTo>
                      <a:pt x="1101317" y="335955"/>
                      <a:pt x="1097526" y="331890"/>
                      <a:pt x="1106559" y="325438"/>
                    </a:cubicBezTo>
                    <a:cubicBezTo>
                      <a:pt x="1108485" y="324063"/>
                      <a:pt x="1110792" y="323321"/>
                      <a:pt x="1112909" y="322263"/>
                    </a:cubicBezTo>
                    <a:cubicBezTo>
                      <a:pt x="1113967" y="320675"/>
                      <a:pt x="1114975" y="319053"/>
                      <a:pt x="1116084" y="317500"/>
                    </a:cubicBezTo>
                    <a:cubicBezTo>
                      <a:pt x="1117622" y="315347"/>
                      <a:pt x="1120273" y="313733"/>
                      <a:pt x="1120847" y="311150"/>
                    </a:cubicBezTo>
                    <a:cubicBezTo>
                      <a:pt x="1121432" y="308516"/>
                      <a:pt x="1119788" y="305859"/>
                      <a:pt x="1119259" y="303213"/>
                    </a:cubicBezTo>
                    <a:cubicBezTo>
                      <a:pt x="1119788" y="299509"/>
                      <a:pt x="1119772" y="295684"/>
                      <a:pt x="1120847" y="292100"/>
                    </a:cubicBezTo>
                    <a:cubicBezTo>
                      <a:pt x="1121395" y="290273"/>
                      <a:pt x="1123271" y="289092"/>
                      <a:pt x="1124022" y="287338"/>
                    </a:cubicBezTo>
                    <a:cubicBezTo>
                      <a:pt x="1124881" y="285333"/>
                      <a:pt x="1124799" y="283014"/>
                      <a:pt x="1125609" y="280988"/>
                    </a:cubicBezTo>
                    <a:cubicBezTo>
                      <a:pt x="1126927" y="277692"/>
                      <a:pt x="1128784" y="274638"/>
                      <a:pt x="1130372" y="271463"/>
                    </a:cubicBezTo>
                    <a:cubicBezTo>
                      <a:pt x="1132489" y="275696"/>
                      <a:pt x="1135226" y="279673"/>
                      <a:pt x="1136722" y="284163"/>
                    </a:cubicBezTo>
                    <a:cubicBezTo>
                      <a:pt x="1137251" y="285750"/>
                      <a:pt x="1137422" y="287506"/>
                      <a:pt x="1138309" y="288925"/>
                    </a:cubicBezTo>
                    <a:cubicBezTo>
                      <a:pt x="1140105" y="291798"/>
                      <a:pt x="1141948" y="294830"/>
                      <a:pt x="1144659" y="296863"/>
                    </a:cubicBezTo>
                    <a:cubicBezTo>
                      <a:pt x="1146404" y="298172"/>
                      <a:pt x="1148892" y="297921"/>
                      <a:pt x="1151009" y="298450"/>
                    </a:cubicBezTo>
                    <a:cubicBezTo>
                      <a:pt x="1152067" y="302154"/>
                      <a:pt x="1150943" y="307480"/>
                      <a:pt x="1154184" y="309563"/>
                    </a:cubicBezTo>
                    <a:cubicBezTo>
                      <a:pt x="1159599" y="313044"/>
                      <a:pt x="1167127" y="310703"/>
                      <a:pt x="1173234" y="312738"/>
                    </a:cubicBezTo>
                    <a:lnTo>
                      <a:pt x="1177997" y="314325"/>
                    </a:lnTo>
                    <a:cubicBezTo>
                      <a:pt x="1189039" y="321687"/>
                      <a:pt x="1176478" y="315429"/>
                      <a:pt x="1187522" y="314325"/>
                    </a:cubicBezTo>
                    <a:cubicBezTo>
                      <a:pt x="1191245" y="313953"/>
                      <a:pt x="1194930" y="315384"/>
                      <a:pt x="1198634" y="315913"/>
                    </a:cubicBezTo>
                    <a:cubicBezTo>
                      <a:pt x="1198105" y="312209"/>
                      <a:pt x="1198230" y="308350"/>
                      <a:pt x="1197047" y="304800"/>
                    </a:cubicBezTo>
                    <a:cubicBezTo>
                      <a:pt x="1196063" y="301849"/>
                      <a:pt x="1190875" y="294016"/>
                      <a:pt x="1187522" y="292100"/>
                    </a:cubicBezTo>
                    <a:cubicBezTo>
                      <a:pt x="1185628" y="291018"/>
                      <a:pt x="1183289" y="291042"/>
                      <a:pt x="1181172" y="290513"/>
                    </a:cubicBezTo>
                    <a:cubicBezTo>
                      <a:pt x="1179055" y="288396"/>
                      <a:pt x="1176276" y="286780"/>
                      <a:pt x="1174822" y="284163"/>
                    </a:cubicBezTo>
                    <a:cubicBezTo>
                      <a:pt x="1173511" y="281804"/>
                      <a:pt x="1173888" y="278843"/>
                      <a:pt x="1173234" y="276225"/>
                    </a:cubicBezTo>
                    <a:cubicBezTo>
                      <a:pt x="1172828" y="274602"/>
                      <a:pt x="1172986" y="272467"/>
                      <a:pt x="1171647" y="271463"/>
                    </a:cubicBezTo>
                    <a:cubicBezTo>
                      <a:pt x="1168423" y="269045"/>
                      <a:pt x="1164238" y="268288"/>
                      <a:pt x="1160534" y="266700"/>
                    </a:cubicBezTo>
                    <a:cubicBezTo>
                      <a:pt x="1158417" y="264583"/>
                      <a:pt x="1156620" y="262090"/>
                      <a:pt x="1154184" y="260350"/>
                    </a:cubicBezTo>
                    <a:cubicBezTo>
                      <a:pt x="1151807" y="258652"/>
                      <a:pt x="1140610" y="257294"/>
                      <a:pt x="1139897" y="257175"/>
                    </a:cubicBezTo>
                    <a:cubicBezTo>
                      <a:pt x="1138020" y="252482"/>
                      <a:pt x="1130250" y="238014"/>
                      <a:pt x="1141484" y="234950"/>
                    </a:cubicBezTo>
                    <a:cubicBezTo>
                      <a:pt x="1146589" y="233557"/>
                      <a:pt x="1154184" y="244475"/>
                      <a:pt x="1154184" y="244475"/>
                    </a:cubicBezTo>
                    <a:cubicBezTo>
                      <a:pt x="1153655" y="239713"/>
                      <a:pt x="1153674" y="234857"/>
                      <a:pt x="1152597" y="230188"/>
                    </a:cubicBezTo>
                    <a:cubicBezTo>
                      <a:pt x="1152028" y="227720"/>
                      <a:pt x="1145443" y="217206"/>
                      <a:pt x="1144659" y="215900"/>
                    </a:cubicBezTo>
                    <a:cubicBezTo>
                      <a:pt x="1145188" y="213254"/>
                      <a:pt x="1144339" y="209871"/>
                      <a:pt x="1146247" y="207963"/>
                    </a:cubicBezTo>
                    <a:cubicBezTo>
                      <a:pt x="1148155" y="206055"/>
                      <a:pt x="1152025" y="204756"/>
                      <a:pt x="1154184" y="206375"/>
                    </a:cubicBezTo>
                    <a:cubicBezTo>
                      <a:pt x="1163038" y="213016"/>
                      <a:pt x="1166425" y="225258"/>
                      <a:pt x="1170059" y="234950"/>
                    </a:cubicBezTo>
                    <a:cubicBezTo>
                      <a:pt x="1172026" y="229053"/>
                      <a:pt x="1170976" y="230811"/>
                      <a:pt x="1174822" y="225425"/>
                    </a:cubicBezTo>
                    <a:cubicBezTo>
                      <a:pt x="1176360" y="223272"/>
                      <a:pt x="1177551" y="220769"/>
                      <a:pt x="1179584" y="219075"/>
                    </a:cubicBezTo>
                    <a:cubicBezTo>
                      <a:pt x="1180870" y="218004"/>
                      <a:pt x="1182759" y="218017"/>
                      <a:pt x="1184347" y="217488"/>
                    </a:cubicBezTo>
                    <a:cubicBezTo>
                      <a:pt x="1184876" y="220663"/>
                      <a:pt x="1185358" y="223846"/>
                      <a:pt x="1185934" y="227013"/>
                    </a:cubicBezTo>
                    <a:cubicBezTo>
                      <a:pt x="1186417" y="229668"/>
                      <a:pt x="1185614" y="233042"/>
                      <a:pt x="1187522" y="234950"/>
                    </a:cubicBezTo>
                    <a:cubicBezTo>
                      <a:pt x="1188705" y="236133"/>
                      <a:pt x="1188038" y="231473"/>
                      <a:pt x="1189109" y="230188"/>
                    </a:cubicBezTo>
                    <a:cubicBezTo>
                      <a:pt x="1190803" y="228155"/>
                      <a:pt x="1193342" y="227013"/>
                      <a:pt x="1195459" y="225425"/>
                    </a:cubicBezTo>
                    <a:cubicBezTo>
                      <a:pt x="1194094" y="230886"/>
                      <a:pt x="1191144" y="239441"/>
                      <a:pt x="1195459" y="244475"/>
                    </a:cubicBezTo>
                    <a:cubicBezTo>
                      <a:pt x="1197215" y="246524"/>
                      <a:pt x="1200751" y="243417"/>
                      <a:pt x="1203397" y="242888"/>
                    </a:cubicBezTo>
                    <a:cubicBezTo>
                      <a:pt x="1203926" y="239713"/>
                      <a:pt x="1203199" y="236041"/>
                      <a:pt x="1204984" y="233363"/>
                    </a:cubicBezTo>
                    <a:cubicBezTo>
                      <a:pt x="1209809" y="226126"/>
                      <a:pt x="1214641" y="228944"/>
                      <a:pt x="1220859" y="230188"/>
                    </a:cubicBezTo>
                    <a:cubicBezTo>
                      <a:pt x="1219613" y="233925"/>
                      <a:pt x="1216097" y="243161"/>
                      <a:pt x="1216097" y="247650"/>
                    </a:cubicBezTo>
                    <a:cubicBezTo>
                      <a:pt x="1216097" y="249832"/>
                      <a:pt x="1217155" y="251883"/>
                      <a:pt x="1217684" y="254000"/>
                    </a:cubicBezTo>
                    <a:cubicBezTo>
                      <a:pt x="1220859" y="253471"/>
                      <a:pt x="1224414" y="254010"/>
                      <a:pt x="1227209" y="252413"/>
                    </a:cubicBezTo>
                    <a:cubicBezTo>
                      <a:pt x="1228662" y="251583"/>
                      <a:pt x="1227300" y="248398"/>
                      <a:pt x="1228797" y="247650"/>
                    </a:cubicBezTo>
                    <a:cubicBezTo>
                      <a:pt x="1230294" y="246902"/>
                      <a:pt x="1232062" y="248490"/>
                      <a:pt x="1233559" y="249238"/>
                    </a:cubicBezTo>
                    <a:cubicBezTo>
                      <a:pt x="1247289" y="256103"/>
                      <a:pt x="1235731" y="252558"/>
                      <a:pt x="1247847" y="255588"/>
                    </a:cubicBezTo>
                    <a:cubicBezTo>
                      <a:pt x="1248707" y="259890"/>
                      <a:pt x="1248716" y="265174"/>
                      <a:pt x="1252609" y="268288"/>
                    </a:cubicBezTo>
                    <a:cubicBezTo>
                      <a:pt x="1253916" y="269333"/>
                      <a:pt x="1255784" y="269346"/>
                      <a:pt x="1257372" y="269875"/>
                    </a:cubicBezTo>
                    <a:cubicBezTo>
                      <a:pt x="1258959" y="269346"/>
                      <a:pt x="1260461" y="268288"/>
                      <a:pt x="1262134" y="268288"/>
                    </a:cubicBezTo>
                    <a:cubicBezTo>
                      <a:pt x="1263807" y="268288"/>
                      <a:pt x="1265343" y="270496"/>
                      <a:pt x="1266897" y="269875"/>
                    </a:cubicBezTo>
                    <a:cubicBezTo>
                      <a:pt x="1268668" y="269166"/>
                      <a:pt x="1269014" y="266700"/>
                      <a:pt x="1270072" y="265113"/>
                    </a:cubicBezTo>
                    <a:cubicBezTo>
                      <a:pt x="1268857" y="260256"/>
                      <a:pt x="1268963" y="257654"/>
                      <a:pt x="1265309" y="254000"/>
                    </a:cubicBezTo>
                    <a:cubicBezTo>
                      <a:pt x="1263960" y="252651"/>
                      <a:pt x="1262134" y="251883"/>
                      <a:pt x="1260547" y="250825"/>
                    </a:cubicBezTo>
                    <a:cubicBezTo>
                      <a:pt x="1259489" y="249238"/>
                      <a:pt x="1257372" y="247971"/>
                      <a:pt x="1257372" y="246063"/>
                    </a:cubicBezTo>
                    <a:cubicBezTo>
                      <a:pt x="1257372" y="243696"/>
                      <a:pt x="1259716" y="241929"/>
                      <a:pt x="1260547" y="239713"/>
                    </a:cubicBezTo>
                    <a:cubicBezTo>
                      <a:pt x="1263679" y="231359"/>
                      <a:pt x="1259190" y="234344"/>
                      <a:pt x="1266897" y="231775"/>
                    </a:cubicBezTo>
                    <a:cubicBezTo>
                      <a:pt x="1256009" y="228147"/>
                      <a:pt x="1269523" y="231775"/>
                      <a:pt x="1254197" y="231775"/>
                    </a:cubicBezTo>
                    <a:cubicBezTo>
                      <a:pt x="1251499" y="231775"/>
                      <a:pt x="1248905" y="230717"/>
                      <a:pt x="1246259" y="230188"/>
                    </a:cubicBezTo>
                    <a:cubicBezTo>
                      <a:pt x="1247847" y="228071"/>
                      <a:pt x="1248820" y="225306"/>
                      <a:pt x="1251022" y="223838"/>
                    </a:cubicBezTo>
                    <a:cubicBezTo>
                      <a:pt x="1253807" y="221982"/>
                      <a:pt x="1257440" y="221906"/>
                      <a:pt x="1260547" y="220663"/>
                    </a:cubicBezTo>
                    <a:cubicBezTo>
                      <a:pt x="1262744" y="219784"/>
                      <a:pt x="1264780" y="218546"/>
                      <a:pt x="1266897" y="217488"/>
                    </a:cubicBezTo>
                    <a:cubicBezTo>
                      <a:pt x="1265839" y="215900"/>
                      <a:pt x="1265310" y="213783"/>
                      <a:pt x="1263722" y="212725"/>
                    </a:cubicBezTo>
                    <a:cubicBezTo>
                      <a:pt x="1254324" y="206460"/>
                      <a:pt x="1259155" y="216485"/>
                      <a:pt x="1255784" y="206375"/>
                    </a:cubicBezTo>
                    <a:cubicBezTo>
                      <a:pt x="1258316" y="202578"/>
                      <a:pt x="1259833" y="199628"/>
                      <a:pt x="1263722" y="196850"/>
                    </a:cubicBezTo>
                    <a:cubicBezTo>
                      <a:pt x="1267156" y="194397"/>
                      <a:pt x="1270947" y="193383"/>
                      <a:pt x="1274834" y="192088"/>
                    </a:cubicBezTo>
                    <a:cubicBezTo>
                      <a:pt x="1281188" y="169846"/>
                      <a:pt x="1274013" y="189953"/>
                      <a:pt x="1282772" y="174625"/>
                    </a:cubicBezTo>
                    <a:cubicBezTo>
                      <a:pt x="1283602" y="173172"/>
                      <a:pt x="1283053" y="170908"/>
                      <a:pt x="1284359" y="169863"/>
                    </a:cubicBezTo>
                    <a:cubicBezTo>
                      <a:pt x="1286063" y="168500"/>
                      <a:pt x="1288562" y="168665"/>
                      <a:pt x="1290709" y="168275"/>
                    </a:cubicBezTo>
                    <a:cubicBezTo>
                      <a:pt x="1294391" y="167606"/>
                      <a:pt x="1298118" y="167217"/>
                      <a:pt x="1301822" y="166688"/>
                    </a:cubicBezTo>
                    <a:cubicBezTo>
                      <a:pt x="1299705" y="166159"/>
                      <a:pt x="1297287" y="166310"/>
                      <a:pt x="1295472" y="165100"/>
                    </a:cubicBezTo>
                    <a:cubicBezTo>
                      <a:pt x="1291287" y="162310"/>
                      <a:pt x="1291303" y="154375"/>
                      <a:pt x="1290709" y="150813"/>
                    </a:cubicBezTo>
                    <a:cubicBezTo>
                      <a:pt x="1313727" y="120122"/>
                      <a:pt x="1290048" y="142875"/>
                      <a:pt x="1306584" y="142875"/>
                    </a:cubicBezTo>
                    <a:cubicBezTo>
                      <a:pt x="1311105" y="142875"/>
                      <a:pt x="1315051" y="139700"/>
                      <a:pt x="1319284" y="138113"/>
                    </a:cubicBezTo>
                    <a:cubicBezTo>
                      <a:pt x="1320342" y="136525"/>
                      <a:pt x="1322459" y="135258"/>
                      <a:pt x="1322459" y="133350"/>
                    </a:cubicBezTo>
                    <a:cubicBezTo>
                      <a:pt x="1322459" y="124890"/>
                      <a:pt x="1315342" y="126343"/>
                      <a:pt x="1309759" y="125413"/>
                    </a:cubicBezTo>
                    <a:cubicBezTo>
                      <a:pt x="1308172" y="124884"/>
                      <a:pt x="1306086" y="125095"/>
                      <a:pt x="1304997" y="123825"/>
                    </a:cubicBezTo>
                    <a:cubicBezTo>
                      <a:pt x="1296634" y="114068"/>
                      <a:pt x="1304239" y="113835"/>
                      <a:pt x="1293884" y="104775"/>
                    </a:cubicBezTo>
                    <a:cubicBezTo>
                      <a:pt x="1292242" y="103338"/>
                      <a:pt x="1289604" y="103878"/>
                      <a:pt x="1287534" y="103188"/>
                    </a:cubicBezTo>
                    <a:cubicBezTo>
                      <a:pt x="1284831" y="102287"/>
                      <a:pt x="1282243" y="101071"/>
                      <a:pt x="1279597" y="100013"/>
                    </a:cubicBezTo>
                    <a:cubicBezTo>
                      <a:pt x="1280655" y="96838"/>
                      <a:pt x="1280406" y="92855"/>
                      <a:pt x="1282772" y="90488"/>
                    </a:cubicBezTo>
                    <a:cubicBezTo>
                      <a:pt x="1284680" y="88580"/>
                      <a:pt x="1288075" y="89485"/>
                      <a:pt x="1290709" y="88900"/>
                    </a:cubicBezTo>
                    <a:cubicBezTo>
                      <a:pt x="1292839" y="88427"/>
                      <a:pt x="1294961" y="87912"/>
                      <a:pt x="1297059" y="87313"/>
                    </a:cubicBezTo>
                    <a:cubicBezTo>
                      <a:pt x="1298668" y="86853"/>
                      <a:pt x="1300181" y="86053"/>
                      <a:pt x="1301822" y="85725"/>
                    </a:cubicBezTo>
                    <a:cubicBezTo>
                      <a:pt x="1305491" y="84991"/>
                      <a:pt x="1309230" y="84667"/>
                      <a:pt x="1312934" y="84138"/>
                    </a:cubicBezTo>
                    <a:cubicBezTo>
                      <a:pt x="1310286" y="81490"/>
                      <a:pt x="1305163" y="77999"/>
                      <a:pt x="1306584" y="73025"/>
                    </a:cubicBezTo>
                    <a:cubicBezTo>
                      <a:pt x="1307201" y="70866"/>
                      <a:pt x="1309398" y="69377"/>
                      <a:pt x="1311347" y="68263"/>
                    </a:cubicBezTo>
                    <a:cubicBezTo>
                      <a:pt x="1313241" y="67181"/>
                      <a:pt x="1315580" y="67204"/>
                      <a:pt x="1317697" y="66675"/>
                    </a:cubicBezTo>
                    <a:cubicBezTo>
                      <a:pt x="1320872" y="67204"/>
                      <a:pt x="1324343" y="66823"/>
                      <a:pt x="1327222" y="68263"/>
                    </a:cubicBezTo>
                    <a:cubicBezTo>
                      <a:pt x="1332335" y="70820"/>
                      <a:pt x="1329102" y="75772"/>
                      <a:pt x="1331984" y="79375"/>
                    </a:cubicBezTo>
                    <a:cubicBezTo>
                      <a:pt x="1333029" y="80682"/>
                      <a:pt x="1335159" y="80434"/>
                      <a:pt x="1336747" y="80963"/>
                    </a:cubicBezTo>
                    <a:cubicBezTo>
                      <a:pt x="1340451" y="79905"/>
                      <a:pt x="1344492" y="79659"/>
                      <a:pt x="1347859" y="77788"/>
                    </a:cubicBezTo>
                    <a:cubicBezTo>
                      <a:pt x="1349527" y="76861"/>
                      <a:pt x="1349685" y="74374"/>
                      <a:pt x="1351034" y="73025"/>
                    </a:cubicBezTo>
                    <a:cubicBezTo>
                      <a:pt x="1352905" y="71154"/>
                      <a:pt x="1355267" y="69850"/>
                      <a:pt x="1357384" y="68263"/>
                    </a:cubicBezTo>
                    <a:cubicBezTo>
                      <a:pt x="1373554" y="79042"/>
                      <a:pt x="1343302" y="57120"/>
                      <a:pt x="1363734" y="85725"/>
                    </a:cubicBezTo>
                    <a:cubicBezTo>
                      <a:pt x="1365109" y="87651"/>
                      <a:pt x="1368158" y="83925"/>
                      <a:pt x="1370084" y="82550"/>
                    </a:cubicBezTo>
                    <a:cubicBezTo>
                      <a:pt x="1382560" y="73640"/>
                      <a:pt x="1364748" y="81154"/>
                      <a:pt x="1384372" y="74613"/>
                    </a:cubicBezTo>
                    <a:cubicBezTo>
                      <a:pt x="1390884" y="76783"/>
                      <a:pt x="1389957" y="74716"/>
                      <a:pt x="1387547" y="82550"/>
                    </a:cubicBezTo>
                    <a:cubicBezTo>
                      <a:pt x="1382508" y="98928"/>
                      <a:pt x="1386505" y="94048"/>
                      <a:pt x="1376434" y="101600"/>
                    </a:cubicBezTo>
                    <a:cubicBezTo>
                      <a:pt x="1375905" y="103717"/>
                      <a:pt x="1375929" y="106056"/>
                      <a:pt x="1374847" y="107950"/>
                    </a:cubicBezTo>
                    <a:cubicBezTo>
                      <a:pt x="1372273" y="112455"/>
                      <a:pt x="1368022" y="113744"/>
                      <a:pt x="1363734" y="115888"/>
                    </a:cubicBezTo>
                    <a:cubicBezTo>
                      <a:pt x="1363205" y="122767"/>
                      <a:pt x="1363418" y="129744"/>
                      <a:pt x="1362147" y="136525"/>
                    </a:cubicBezTo>
                    <a:cubicBezTo>
                      <a:pt x="1361795" y="138400"/>
                      <a:pt x="1359825" y="139581"/>
                      <a:pt x="1358972" y="141288"/>
                    </a:cubicBezTo>
                    <a:cubicBezTo>
                      <a:pt x="1358224" y="142785"/>
                      <a:pt x="1358043" y="144512"/>
                      <a:pt x="1357384" y="146050"/>
                    </a:cubicBezTo>
                    <a:cubicBezTo>
                      <a:pt x="1356452" y="148225"/>
                      <a:pt x="1352896" y="150431"/>
                      <a:pt x="1354209" y="152400"/>
                    </a:cubicBezTo>
                    <a:cubicBezTo>
                      <a:pt x="1355419" y="154215"/>
                      <a:pt x="1358509" y="151559"/>
                      <a:pt x="1360559" y="150813"/>
                    </a:cubicBezTo>
                    <a:cubicBezTo>
                      <a:pt x="1364347" y="149436"/>
                      <a:pt x="1367968" y="147638"/>
                      <a:pt x="1371672" y="146050"/>
                    </a:cubicBezTo>
                    <a:cubicBezTo>
                      <a:pt x="1370614" y="149225"/>
                      <a:pt x="1370122" y="152649"/>
                      <a:pt x="1368497" y="155575"/>
                    </a:cubicBezTo>
                    <a:cubicBezTo>
                      <a:pt x="1367407" y="157538"/>
                      <a:pt x="1364738" y="158330"/>
                      <a:pt x="1363734" y="160338"/>
                    </a:cubicBezTo>
                    <a:cubicBezTo>
                      <a:pt x="1361489" y="164828"/>
                      <a:pt x="1360559" y="169863"/>
                      <a:pt x="1358972" y="174625"/>
                    </a:cubicBezTo>
                    <a:lnTo>
                      <a:pt x="1357384" y="179388"/>
                    </a:lnTo>
                    <a:lnTo>
                      <a:pt x="1355797" y="184150"/>
                    </a:lnTo>
                    <a:cubicBezTo>
                      <a:pt x="1354975" y="191544"/>
                      <a:pt x="1352384" y="205331"/>
                      <a:pt x="1355797" y="212725"/>
                    </a:cubicBezTo>
                    <a:cubicBezTo>
                      <a:pt x="1357217" y="215801"/>
                      <a:pt x="1361088" y="216958"/>
                      <a:pt x="1363734" y="219075"/>
                    </a:cubicBezTo>
                    <a:cubicBezTo>
                      <a:pt x="1366380" y="218546"/>
                      <a:pt x="1370541" y="219938"/>
                      <a:pt x="1371672" y="217488"/>
                    </a:cubicBezTo>
                    <a:cubicBezTo>
                      <a:pt x="1376685" y="206627"/>
                      <a:pt x="1370380" y="189805"/>
                      <a:pt x="1374847" y="203200"/>
                    </a:cubicBezTo>
                    <a:cubicBezTo>
                      <a:pt x="1376434" y="201613"/>
                      <a:pt x="1378419" y="200342"/>
                      <a:pt x="1379609" y="198438"/>
                    </a:cubicBezTo>
                    <a:cubicBezTo>
                      <a:pt x="1383048" y="192935"/>
                      <a:pt x="1384815" y="181359"/>
                      <a:pt x="1385959" y="176213"/>
                    </a:cubicBezTo>
                    <a:cubicBezTo>
                      <a:pt x="1386488" y="167746"/>
                      <a:pt x="1386029" y="159159"/>
                      <a:pt x="1387547" y="150813"/>
                    </a:cubicBezTo>
                    <a:cubicBezTo>
                      <a:pt x="1388182" y="147321"/>
                      <a:pt x="1391748" y="144793"/>
                      <a:pt x="1392309" y="141288"/>
                    </a:cubicBezTo>
                    <a:cubicBezTo>
                      <a:pt x="1393900" y="131346"/>
                      <a:pt x="1393025" y="121155"/>
                      <a:pt x="1393897" y="111125"/>
                    </a:cubicBezTo>
                    <a:cubicBezTo>
                      <a:pt x="1394086" y="108951"/>
                      <a:pt x="1394625" y="106780"/>
                      <a:pt x="1395484" y="104775"/>
                    </a:cubicBezTo>
                    <a:cubicBezTo>
                      <a:pt x="1396235" y="103021"/>
                      <a:pt x="1397193" y="101234"/>
                      <a:pt x="1398659" y="100013"/>
                    </a:cubicBezTo>
                    <a:cubicBezTo>
                      <a:pt x="1400477" y="98498"/>
                      <a:pt x="1402892" y="97896"/>
                      <a:pt x="1405009" y="96838"/>
                    </a:cubicBezTo>
                    <a:cubicBezTo>
                      <a:pt x="1408611" y="82436"/>
                      <a:pt x="1405009" y="100232"/>
                      <a:pt x="1405009" y="79375"/>
                    </a:cubicBezTo>
                    <a:cubicBezTo>
                      <a:pt x="1405009" y="76677"/>
                      <a:pt x="1406114" y="74093"/>
                      <a:pt x="1406597" y="71438"/>
                    </a:cubicBezTo>
                    <a:cubicBezTo>
                      <a:pt x="1407173" y="68271"/>
                      <a:pt x="1407403" y="65036"/>
                      <a:pt x="1408184" y="61913"/>
                    </a:cubicBezTo>
                    <a:cubicBezTo>
                      <a:pt x="1410878" y="51137"/>
                      <a:pt x="1408689" y="53278"/>
                      <a:pt x="1416122" y="50800"/>
                    </a:cubicBezTo>
                    <a:cubicBezTo>
                      <a:pt x="1433207" y="55073"/>
                      <a:pt x="1408707" y="46822"/>
                      <a:pt x="1424059" y="69850"/>
                    </a:cubicBezTo>
                    <a:cubicBezTo>
                      <a:pt x="1426135" y="72964"/>
                      <a:pt x="1431468" y="70909"/>
                      <a:pt x="1435172" y="71438"/>
                    </a:cubicBezTo>
                    <a:cubicBezTo>
                      <a:pt x="1431508" y="86090"/>
                      <a:pt x="1436213" y="67964"/>
                      <a:pt x="1430409" y="87313"/>
                    </a:cubicBezTo>
                    <a:cubicBezTo>
                      <a:pt x="1429782" y="89403"/>
                      <a:pt x="1429798" y="91712"/>
                      <a:pt x="1428822" y="93663"/>
                    </a:cubicBezTo>
                    <a:cubicBezTo>
                      <a:pt x="1427639" y="96030"/>
                      <a:pt x="1425647" y="97896"/>
                      <a:pt x="1424059" y="100013"/>
                    </a:cubicBezTo>
                    <a:cubicBezTo>
                      <a:pt x="1422240" y="105470"/>
                      <a:pt x="1419741" y="109982"/>
                      <a:pt x="1425647" y="115888"/>
                    </a:cubicBezTo>
                    <a:cubicBezTo>
                      <a:pt x="1427923" y="118164"/>
                      <a:pt x="1431997" y="116946"/>
                      <a:pt x="1435172" y="117475"/>
                    </a:cubicBezTo>
                    <a:cubicBezTo>
                      <a:pt x="1435701" y="119063"/>
                      <a:pt x="1436431" y="120597"/>
                      <a:pt x="1436759" y="122238"/>
                    </a:cubicBezTo>
                    <a:cubicBezTo>
                      <a:pt x="1438550" y="131195"/>
                      <a:pt x="1437924" y="140829"/>
                      <a:pt x="1441522" y="149225"/>
                    </a:cubicBezTo>
                    <a:cubicBezTo>
                      <a:pt x="1442406" y="151288"/>
                      <a:pt x="1444847" y="146188"/>
                      <a:pt x="1446284" y="144463"/>
                    </a:cubicBezTo>
                    <a:cubicBezTo>
                      <a:pt x="1447505" y="142997"/>
                      <a:pt x="1448237" y="141166"/>
                      <a:pt x="1449459" y="139700"/>
                    </a:cubicBezTo>
                    <a:cubicBezTo>
                      <a:pt x="1452016" y="136632"/>
                      <a:pt x="1457231" y="132084"/>
                      <a:pt x="1460572" y="130175"/>
                    </a:cubicBezTo>
                    <a:cubicBezTo>
                      <a:pt x="1462025" y="129345"/>
                      <a:pt x="1463747" y="129117"/>
                      <a:pt x="1465334" y="128588"/>
                    </a:cubicBezTo>
                    <a:cubicBezTo>
                      <a:pt x="1469328" y="116608"/>
                      <a:pt x="1463939" y="131381"/>
                      <a:pt x="1470097" y="119063"/>
                    </a:cubicBezTo>
                    <a:cubicBezTo>
                      <a:pt x="1470845" y="117566"/>
                      <a:pt x="1471155" y="115888"/>
                      <a:pt x="1471684" y="114300"/>
                    </a:cubicBezTo>
                    <a:cubicBezTo>
                      <a:pt x="1468115" y="113111"/>
                      <a:pt x="1463646" y="112410"/>
                      <a:pt x="1462159" y="107950"/>
                    </a:cubicBezTo>
                    <a:cubicBezTo>
                      <a:pt x="1461630" y="106363"/>
                      <a:pt x="1462355" y="104116"/>
                      <a:pt x="1463747" y="103188"/>
                    </a:cubicBezTo>
                    <a:cubicBezTo>
                      <a:pt x="1465992" y="101691"/>
                      <a:pt x="1469050" y="102185"/>
                      <a:pt x="1471684" y="101600"/>
                    </a:cubicBezTo>
                    <a:cubicBezTo>
                      <a:pt x="1473814" y="101127"/>
                      <a:pt x="1475917" y="100542"/>
                      <a:pt x="1478034" y="100013"/>
                    </a:cubicBezTo>
                    <a:cubicBezTo>
                      <a:pt x="1477505" y="98425"/>
                      <a:pt x="1477375" y="96642"/>
                      <a:pt x="1476447" y="95250"/>
                    </a:cubicBezTo>
                    <a:cubicBezTo>
                      <a:pt x="1475202" y="93382"/>
                      <a:pt x="1473121" y="92213"/>
                      <a:pt x="1471684" y="90488"/>
                    </a:cubicBezTo>
                    <a:cubicBezTo>
                      <a:pt x="1470462" y="89022"/>
                      <a:pt x="1469567" y="87313"/>
                      <a:pt x="1468509" y="85725"/>
                    </a:cubicBezTo>
                    <a:cubicBezTo>
                      <a:pt x="1469038" y="81492"/>
                      <a:pt x="1469062" y="77164"/>
                      <a:pt x="1470097" y="73025"/>
                    </a:cubicBezTo>
                    <a:cubicBezTo>
                      <a:pt x="1470671" y="70729"/>
                      <a:pt x="1473011" y="69027"/>
                      <a:pt x="1473272" y="66675"/>
                    </a:cubicBezTo>
                    <a:cubicBezTo>
                      <a:pt x="1473570" y="63993"/>
                      <a:pt x="1472213" y="61384"/>
                      <a:pt x="1471684" y="58738"/>
                    </a:cubicBezTo>
                    <a:cubicBezTo>
                      <a:pt x="1472213" y="57150"/>
                      <a:pt x="1471879" y="54903"/>
                      <a:pt x="1473272" y="53975"/>
                    </a:cubicBezTo>
                    <a:cubicBezTo>
                      <a:pt x="1475517" y="52478"/>
                      <a:pt x="1480002" y="54801"/>
                      <a:pt x="1481209" y="52388"/>
                    </a:cubicBezTo>
                    <a:cubicBezTo>
                      <a:pt x="1482213" y="50380"/>
                      <a:pt x="1478315" y="48870"/>
                      <a:pt x="1476447" y="47625"/>
                    </a:cubicBezTo>
                    <a:cubicBezTo>
                      <a:pt x="1475084" y="46716"/>
                      <a:pt x="1466176" y="44661"/>
                      <a:pt x="1465334" y="44450"/>
                    </a:cubicBezTo>
                    <a:cubicBezTo>
                      <a:pt x="1463747" y="43392"/>
                      <a:pt x="1461921" y="42624"/>
                      <a:pt x="1460572" y="41275"/>
                    </a:cubicBezTo>
                    <a:cubicBezTo>
                      <a:pt x="1456288" y="36991"/>
                      <a:pt x="1455943" y="33071"/>
                      <a:pt x="1458984" y="26988"/>
                    </a:cubicBezTo>
                    <a:cubicBezTo>
                      <a:pt x="1459837" y="25281"/>
                      <a:pt x="1462194" y="24922"/>
                      <a:pt x="1463747" y="23813"/>
                    </a:cubicBezTo>
                    <a:cubicBezTo>
                      <a:pt x="1465900" y="22275"/>
                      <a:pt x="1467980" y="20638"/>
                      <a:pt x="1470097" y="19050"/>
                    </a:cubicBezTo>
                    <a:cubicBezTo>
                      <a:pt x="1471684" y="22225"/>
                      <a:pt x="1471358" y="27991"/>
                      <a:pt x="1474859" y="28575"/>
                    </a:cubicBezTo>
                    <a:cubicBezTo>
                      <a:pt x="1477902" y="29082"/>
                      <a:pt x="1478874" y="23631"/>
                      <a:pt x="1479622" y="20638"/>
                    </a:cubicBezTo>
                    <a:cubicBezTo>
                      <a:pt x="1481040" y="14968"/>
                      <a:pt x="1479111" y="8630"/>
                      <a:pt x="1481209" y="3175"/>
                    </a:cubicBezTo>
                    <a:cubicBezTo>
                      <a:pt x="1482058" y="966"/>
                      <a:pt x="1485442" y="1058"/>
                      <a:pt x="1487559" y="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gl-ES"/>
              </a:p>
            </p:txBody>
          </p:sp>
          <p:sp>
            <p:nvSpPr>
              <p:cNvPr id="368" name="Forma libre: forma 313">
                <a:extLst>
                  <a:ext uri="{FF2B5EF4-FFF2-40B4-BE49-F238E27FC236}">
                    <a16:creationId xmlns:a16="http://schemas.microsoft.com/office/drawing/2014/main" id="{FFCBAC20-08D7-48F9-A742-36399845BA48}"/>
                  </a:ext>
                </a:extLst>
              </p:cNvPr>
              <p:cNvSpPr/>
              <p:nvPr/>
            </p:nvSpPr>
            <p:spPr>
              <a:xfrm>
                <a:off x="3846303" y="2764468"/>
                <a:ext cx="28805" cy="29532"/>
              </a:xfrm>
              <a:custGeom>
                <a:avLst/>
                <a:gdLst>
                  <a:gd name="connsiteX0" fmla="*/ 210 w 28805"/>
                  <a:gd name="connsiteY0" fmla="*/ 2545 h 29532"/>
                  <a:gd name="connsiteX1" fmla="*/ 3385 w 28805"/>
                  <a:gd name="connsiteY1" fmla="*/ 10482 h 29532"/>
                  <a:gd name="connsiteX2" fmla="*/ 4972 w 28805"/>
                  <a:gd name="connsiteY2" fmla="*/ 15245 h 29532"/>
                  <a:gd name="connsiteX3" fmla="*/ 9735 w 28805"/>
                  <a:gd name="connsiteY3" fmla="*/ 21595 h 29532"/>
                  <a:gd name="connsiteX4" fmla="*/ 12910 w 28805"/>
                  <a:gd name="connsiteY4" fmla="*/ 26357 h 29532"/>
                  <a:gd name="connsiteX5" fmla="*/ 17672 w 28805"/>
                  <a:gd name="connsiteY5" fmla="*/ 29532 h 29532"/>
                  <a:gd name="connsiteX6" fmla="*/ 24022 w 28805"/>
                  <a:gd name="connsiteY6" fmla="*/ 26357 h 29532"/>
                  <a:gd name="connsiteX7" fmla="*/ 28785 w 28805"/>
                  <a:gd name="connsiteY7" fmla="*/ 16832 h 29532"/>
                  <a:gd name="connsiteX8" fmla="*/ 25610 w 28805"/>
                  <a:gd name="connsiteY8" fmla="*/ 10482 h 29532"/>
                  <a:gd name="connsiteX9" fmla="*/ 9735 w 28805"/>
                  <a:gd name="connsiteY9" fmla="*/ 5720 h 29532"/>
                  <a:gd name="connsiteX10" fmla="*/ 210 w 28805"/>
                  <a:gd name="connsiteY10" fmla="*/ 2545 h 29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8805" h="29532">
                    <a:moveTo>
                      <a:pt x="210" y="2545"/>
                    </a:moveTo>
                    <a:cubicBezTo>
                      <a:pt x="-848" y="3339"/>
                      <a:pt x="2385" y="7814"/>
                      <a:pt x="3385" y="10482"/>
                    </a:cubicBezTo>
                    <a:cubicBezTo>
                      <a:pt x="3973" y="12049"/>
                      <a:pt x="4142" y="13792"/>
                      <a:pt x="4972" y="15245"/>
                    </a:cubicBezTo>
                    <a:cubicBezTo>
                      <a:pt x="6285" y="17542"/>
                      <a:pt x="8197" y="19442"/>
                      <a:pt x="9735" y="21595"/>
                    </a:cubicBezTo>
                    <a:cubicBezTo>
                      <a:pt x="10844" y="23147"/>
                      <a:pt x="11561" y="25008"/>
                      <a:pt x="12910" y="26357"/>
                    </a:cubicBezTo>
                    <a:cubicBezTo>
                      <a:pt x="14259" y="27706"/>
                      <a:pt x="16085" y="28474"/>
                      <a:pt x="17672" y="29532"/>
                    </a:cubicBezTo>
                    <a:cubicBezTo>
                      <a:pt x="19789" y="28474"/>
                      <a:pt x="22464" y="28138"/>
                      <a:pt x="24022" y="26357"/>
                    </a:cubicBezTo>
                    <a:cubicBezTo>
                      <a:pt x="26360" y="23686"/>
                      <a:pt x="28432" y="20364"/>
                      <a:pt x="28785" y="16832"/>
                    </a:cubicBezTo>
                    <a:cubicBezTo>
                      <a:pt x="29021" y="14477"/>
                      <a:pt x="27125" y="12300"/>
                      <a:pt x="25610" y="10482"/>
                    </a:cubicBezTo>
                    <a:cubicBezTo>
                      <a:pt x="21707" y="5799"/>
                      <a:pt x="14944" y="6464"/>
                      <a:pt x="9735" y="5720"/>
                    </a:cubicBezTo>
                    <a:cubicBezTo>
                      <a:pt x="11409" y="-4327"/>
                      <a:pt x="1268" y="1751"/>
                      <a:pt x="210" y="2545"/>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69" name="Forma libre: forma 314">
                <a:extLst>
                  <a:ext uri="{FF2B5EF4-FFF2-40B4-BE49-F238E27FC236}">
                    <a16:creationId xmlns:a16="http://schemas.microsoft.com/office/drawing/2014/main" id="{19F60DFA-0C35-47AB-9049-0051A4E7F2B5}"/>
                  </a:ext>
                </a:extLst>
              </p:cNvPr>
              <p:cNvSpPr/>
              <p:nvPr/>
            </p:nvSpPr>
            <p:spPr>
              <a:xfrm>
                <a:off x="4125913" y="2104121"/>
                <a:ext cx="78199" cy="55431"/>
              </a:xfrm>
              <a:custGeom>
                <a:avLst/>
                <a:gdLst>
                  <a:gd name="connsiteX0" fmla="*/ 74612 w 78199"/>
                  <a:gd name="connsiteY0" fmla="*/ 904 h 55431"/>
                  <a:gd name="connsiteX1" fmla="*/ 50800 w 78199"/>
                  <a:gd name="connsiteY1" fmla="*/ 4079 h 55431"/>
                  <a:gd name="connsiteX2" fmla="*/ 47625 w 78199"/>
                  <a:gd name="connsiteY2" fmla="*/ 8842 h 55431"/>
                  <a:gd name="connsiteX3" fmla="*/ 42862 w 78199"/>
                  <a:gd name="connsiteY3" fmla="*/ 10429 h 55431"/>
                  <a:gd name="connsiteX4" fmla="*/ 36512 w 78199"/>
                  <a:gd name="connsiteY4" fmla="*/ 24717 h 55431"/>
                  <a:gd name="connsiteX5" fmla="*/ 34925 w 78199"/>
                  <a:gd name="connsiteY5" fmla="*/ 29479 h 55431"/>
                  <a:gd name="connsiteX6" fmla="*/ 28575 w 78199"/>
                  <a:gd name="connsiteY6" fmla="*/ 32654 h 55431"/>
                  <a:gd name="connsiteX7" fmla="*/ 44450 w 78199"/>
                  <a:gd name="connsiteY7" fmla="*/ 34242 h 55431"/>
                  <a:gd name="connsiteX8" fmla="*/ 25400 w 78199"/>
                  <a:gd name="connsiteY8" fmla="*/ 39004 h 55431"/>
                  <a:gd name="connsiteX9" fmla="*/ 0 w 78199"/>
                  <a:gd name="connsiteY9" fmla="*/ 40592 h 55431"/>
                  <a:gd name="connsiteX10" fmla="*/ 3175 w 78199"/>
                  <a:gd name="connsiteY10" fmla="*/ 46942 h 55431"/>
                  <a:gd name="connsiteX11" fmla="*/ 33337 w 78199"/>
                  <a:gd name="connsiteY11" fmla="*/ 50117 h 55431"/>
                  <a:gd name="connsiteX12" fmla="*/ 41275 w 78199"/>
                  <a:gd name="connsiteY12" fmla="*/ 43767 h 55431"/>
                  <a:gd name="connsiteX13" fmla="*/ 53975 w 78199"/>
                  <a:gd name="connsiteY13" fmla="*/ 37417 h 55431"/>
                  <a:gd name="connsiteX14" fmla="*/ 63500 w 78199"/>
                  <a:gd name="connsiteY14" fmla="*/ 27892 h 55431"/>
                  <a:gd name="connsiteX15" fmla="*/ 74612 w 78199"/>
                  <a:gd name="connsiteY15" fmla="*/ 19954 h 55431"/>
                  <a:gd name="connsiteX16" fmla="*/ 77787 w 78199"/>
                  <a:gd name="connsiteY16" fmla="*/ 15192 h 55431"/>
                  <a:gd name="connsiteX17" fmla="*/ 76200 w 78199"/>
                  <a:gd name="connsiteY17" fmla="*/ 4079 h 55431"/>
                  <a:gd name="connsiteX18" fmla="*/ 74612 w 78199"/>
                  <a:gd name="connsiteY18" fmla="*/ 904 h 554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78199" h="55431">
                    <a:moveTo>
                      <a:pt x="74612" y="904"/>
                    </a:moveTo>
                    <a:cubicBezTo>
                      <a:pt x="70379" y="904"/>
                      <a:pt x="62974" y="-2562"/>
                      <a:pt x="50800" y="4079"/>
                    </a:cubicBezTo>
                    <a:cubicBezTo>
                      <a:pt x="49125" y="4993"/>
                      <a:pt x="49115" y="7650"/>
                      <a:pt x="47625" y="8842"/>
                    </a:cubicBezTo>
                    <a:cubicBezTo>
                      <a:pt x="46318" y="9887"/>
                      <a:pt x="44450" y="9900"/>
                      <a:pt x="42862" y="10429"/>
                    </a:cubicBezTo>
                    <a:cubicBezTo>
                      <a:pt x="37831" y="17976"/>
                      <a:pt x="40290" y="13383"/>
                      <a:pt x="36512" y="24717"/>
                    </a:cubicBezTo>
                    <a:cubicBezTo>
                      <a:pt x="35983" y="26304"/>
                      <a:pt x="36422" y="28731"/>
                      <a:pt x="34925" y="29479"/>
                    </a:cubicBezTo>
                    <a:lnTo>
                      <a:pt x="28575" y="32654"/>
                    </a:lnTo>
                    <a:cubicBezTo>
                      <a:pt x="33867" y="33183"/>
                      <a:pt x="46828" y="29485"/>
                      <a:pt x="44450" y="34242"/>
                    </a:cubicBezTo>
                    <a:cubicBezTo>
                      <a:pt x="41523" y="40096"/>
                      <a:pt x="31880" y="38078"/>
                      <a:pt x="25400" y="39004"/>
                    </a:cubicBezTo>
                    <a:cubicBezTo>
                      <a:pt x="17002" y="40204"/>
                      <a:pt x="8467" y="40063"/>
                      <a:pt x="0" y="40592"/>
                    </a:cubicBezTo>
                    <a:cubicBezTo>
                      <a:pt x="1058" y="42709"/>
                      <a:pt x="1722" y="45074"/>
                      <a:pt x="3175" y="46942"/>
                    </a:cubicBezTo>
                    <a:cubicBezTo>
                      <a:pt x="13937" y="60779"/>
                      <a:pt x="12582" y="54564"/>
                      <a:pt x="33337" y="50117"/>
                    </a:cubicBezTo>
                    <a:cubicBezTo>
                      <a:pt x="35983" y="48000"/>
                      <a:pt x="38389" y="45543"/>
                      <a:pt x="41275" y="43767"/>
                    </a:cubicBezTo>
                    <a:cubicBezTo>
                      <a:pt x="45306" y="41286"/>
                      <a:pt x="53975" y="37417"/>
                      <a:pt x="53975" y="37417"/>
                    </a:cubicBezTo>
                    <a:cubicBezTo>
                      <a:pt x="63744" y="24391"/>
                      <a:pt x="53750" y="36248"/>
                      <a:pt x="63500" y="27892"/>
                    </a:cubicBezTo>
                    <a:cubicBezTo>
                      <a:pt x="73089" y="19673"/>
                      <a:pt x="65861" y="22872"/>
                      <a:pt x="74612" y="19954"/>
                    </a:cubicBezTo>
                    <a:cubicBezTo>
                      <a:pt x="75670" y="18367"/>
                      <a:pt x="77597" y="17090"/>
                      <a:pt x="77787" y="15192"/>
                    </a:cubicBezTo>
                    <a:cubicBezTo>
                      <a:pt x="78159" y="11469"/>
                      <a:pt x="78997" y="6565"/>
                      <a:pt x="76200" y="4079"/>
                    </a:cubicBezTo>
                    <a:cubicBezTo>
                      <a:pt x="73972" y="2098"/>
                      <a:pt x="78845" y="904"/>
                      <a:pt x="74612" y="90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70" name="Forma libre: forma 315">
                <a:extLst>
                  <a:ext uri="{FF2B5EF4-FFF2-40B4-BE49-F238E27FC236}">
                    <a16:creationId xmlns:a16="http://schemas.microsoft.com/office/drawing/2014/main" id="{44901A87-9CE1-4184-A96D-63ACB1B6C366}"/>
                  </a:ext>
                </a:extLst>
              </p:cNvPr>
              <p:cNvSpPr/>
              <p:nvPr/>
            </p:nvSpPr>
            <p:spPr>
              <a:xfrm>
                <a:off x="3833813" y="2636838"/>
                <a:ext cx="23812" cy="31750"/>
              </a:xfrm>
              <a:custGeom>
                <a:avLst/>
                <a:gdLst>
                  <a:gd name="connsiteX0" fmla="*/ 0 w 23812"/>
                  <a:gd name="connsiteY0" fmla="*/ 0 h 31750"/>
                  <a:gd name="connsiteX1" fmla="*/ 1587 w 23812"/>
                  <a:gd name="connsiteY1" fmla="*/ 7937 h 31750"/>
                  <a:gd name="connsiteX2" fmla="*/ 7937 w 23812"/>
                  <a:gd name="connsiteY2" fmla="*/ 20637 h 31750"/>
                  <a:gd name="connsiteX3" fmla="*/ 9525 w 23812"/>
                  <a:gd name="connsiteY3" fmla="*/ 31750 h 31750"/>
                  <a:gd name="connsiteX4" fmla="*/ 14287 w 23812"/>
                  <a:gd name="connsiteY4" fmla="*/ 25400 h 31750"/>
                  <a:gd name="connsiteX5" fmla="*/ 17462 w 23812"/>
                  <a:gd name="connsiteY5" fmla="*/ 17462 h 31750"/>
                  <a:gd name="connsiteX6" fmla="*/ 20637 w 23812"/>
                  <a:gd name="connsiteY6" fmla="*/ 11112 h 31750"/>
                  <a:gd name="connsiteX7" fmla="*/ 23812 w 23812"/>
                  <a:gd name="connsiteY7" fmla="*/ 0 h 31750"/>
                  <a:gd name="connsiteX8" fmla="*/ 0 w 23812"/>
                  <a:gd name="connsiteY8" fmla="*/ 0 h 31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812" h="31750">
                    <a:moveTo>
                      <a:pt x="0" y="0"/>
                    </a:moveTo>
                    <a:cubicBezTo>
                      <a:pt x="529" y="2646"/>
                      <a:pt x="491" y="5472"/>
                      <a:pt x="1587" y="7937"/>
                    </a:cubicBezTo>
                    <a:cubicBezTo>
                      <a:pt x="10838" y="28750"/>
                      <a:pt x="3088" y="1233"/>
                      <a:pt x="7937" y="20637"/>
                    </a:cubicBezTo>
                    <a:cubicBezTo>
                      <a:pt x="7451" y="22096"/>
                      <a:pt x="2987" y="31750"/>
                      <a:pt x="9525" y="31750"/>
                    </a:cubicBezTo>
                    <a:cubicBezTo>
                      <a:pt x="12171" y="31750"/>
                      <a:pt x="13002" y="27713"/>
                      <a:pt x="14287" y="25400"/>
                    </a:cubicBezTo>
                    <a:cubicBezTo>
                      <a:pt x="15671" y="22909"/>
                      <a:pt x="16305" y="20066"/>
                      <a:pt x="17462" y="17462"/>
                    </a:cubicBezTo>
                    <a:cubicBezTo>
                      <a:pt x="18423" y="15299"/>
                      <a:pt x="19705" y="13287"/>
                      <a:pt x="20637" y="11112"/>
                    </a:cubicBezTo>
                    <a:cubicBezTo>
                      <a:pt x="22006" y="7918"/>
                      <a:pt x="23005" y="3230"/>
                      <a:pt x="23812" y="0"/>
                    </a:cubicBezTo>
                    <a:lnTo>
                      <a:pt x="0" y="0"/>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71" name="Forma libre: forma 316">
                <a:extLst>
                  <a:ext uri="{FF2B5EF4-FFF2-40B4-BE49-F238E27FC236}">
                    <a16:creationId xmlns:a16="http://schemas.microsoft.com/office/drawing/2014/main" id="{72F297A4-2313-46A5-A5DA-8566B74AFC52}"/>
                  </a:ext>
                </a:extLst>
              </p:cNvPr>
              <p:cNvSpPr/>
              <p:nvPr/>
            </p:nvSpPr>
            <p:spPr>
              <a:xfrm>
                <a:off x="3836988" y="2887663"/>
                <a:ext cx="21177" cy="30162"/>
              </a:xfrm>
              <a:custGeom>
                <a:avLst/>
                <a:gdLst>
                  <a:gd name="connsiteX0" fmla="*/ 0 w 21177"/>
                  <a:gd name="connsiteY0" fmla="*/ 11112 h 30162"/>
                  <a:gd name="connsiteX1" fmla="*/ 3175 w 21177"/>
                  <a:gd name="connsiteY1" fmla="*/ 19050 h 30162"/>
                  <a:gd name="connsiteX2" fmla="*/ 14287 w 21177"/>
                  <a:gd name="connsiteY2" fmla="*/ 30162 h 30162"/>
                  <a:gd name="connsiteX3" fmla="*/ 20637 w 21177"/>
                  <a:gd name="connsiteY3" fmla="*/ 26987 h 30162"/>
                  <a:gd name="connsiteX4" fmla="*/ 19050 w 21177"/>
                  <a:gd name="connsiteY4" fmla="*/ 9525 h 30162"/>
                  <a:gd name="connsiteX5" fmla="*/ 6350 w 21177"/>
                  <a:gd name="connsiteY5" fmla="*/ 0 h 30162"/>
                  <a:gd name="connsiteX6" fmla="*/ 0 w 21177"/>
                  <a:gd name="connsiteY6" fmla="*/ 11112 h 30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1177" h="30162">
                    <a:moveTo>
                      <a:pt x="0" y="11112"/>
                    </a:moveTo>
                    <a:cubicBezTo>
                      <a:pt x="1058" y="13758"/>
                      <a:pt x="1709" y="16606"/>
                      <a:pt x="3175" y="19050"/>
                    </a:cubicBezTo>
                    <a:cubicBezTo>
                      <a:pt x="7574" y="26381"/>
                      <a:pt x="8476" y="26287"/>
                      <a:pt x="14287" y="30162"/>
                    </a:cubicBezTo>
                    <a:cubicBezTo>
                      <a:pt x="16404" y="29104"/>
                      <a:pt x="20105" y="29293"/>
                      <a:pt x="20637" y="26987"/>
                    </a:cubicBezTo>
                    <a:cubicBezTo>
                      <a:pt x="21951" y="21292"/>
                      <a:pt x="20656" y="15145"/>
                      <a:pt x="19050" y="9525"/>
                    </a:cubicBezTo>
                    <a:cubicBezTo>
                      <a:pt x="17902" y="5506"/>
                      <a:pt x="8248" y="1898"/>
                      <a:pt x="6350" y="0"/>
                    </a:cubicBezTo>
                    <a:lnTo>
                      <a:pt x="0" y="11112"/>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72" name="Forma libre: forma 317">
                <a:extLst>
                  <a:ext uri="{FF2B5EF4-FFF2-40B4-BE49-F238E27FC236}">
                    <a16:creationId xmlns:a16="http://schemas.microsoft.com/office/drawing/2014/main" id="{831EC975-BBB7-422F-9840-298558593502}"/>
                  </a:ext>
                </a:extLst>
              </p:cNvPr>
              <p:cNvSpPr/>
              <p:nvPr/>
            </p:nvSpPr>
            <p:spPr>
              <a:xfrm>
                <a:off x="3877038" y="2876077"/>
                <a:ext cx="20275" cy="15406"/>
              </a:xfrm>
              <a:custGeom>
                <a:avLst/>
                <a:gdLst>
                  <a:gd name="connsiteX0" fmla="*/ 10750 w 20275"/>
                  <a:gd name="connsiteY0" fmla="*/ 473 h 15406"/>
                  <a:gd name="connsiteX1" fmla="*/ 1225 w 20275"/>
                  <a:gd name="connsiteY1" fmla="*/ 3648 h 15406"/>
                  <a:gd name="connsiteX2" fmla="*/ 2812 w 20275"/>
                  <a:gd name="connsiteY2" fmla="*/ 14761 h 15406"/>
                  <a:gd name="connsiteX3" fmla="*/ 20275 w 20275"/>
                  <a:gd name="connsiteY3" fmla="*/ 11586 h 15406"/>
                  <a:gd name="connsiteX4" fmla="*/ 10750 w 20275"/>
                  <a:gd name="connsiteY4" fmla="*/ 473 h 154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275" h="15406">
                    <a:moveTo>
                      <a:pt x="10750" y="473"/>
                    </a:moveTo>
                    <a:cubicBezTo>
                      <a:pt x="7575" y="-850"/>
                      <a:pt x="2850" y="722"/>
                      <a:pt x="1225" y="3648"/>
                    </a:cubicBezTo>
                    <a:cubicBezTo>
                      <a:pt x="-592" y="6919"/>
                      <a:pt x="-642" y="13322"/>
                      <a:pt x="2812" y="14761"/>
                    </a:cubicBezTo>
                    <a:cubicBezTo>
                      <a:pt x="8273" y="17037"/>
                      <a:pt x="14454" y="12644"/>
                      <a:pt x="20275" y="11586"/>
                    </a:cubicBezTo>
                    <a:cubicBezTo>
                      <a:pt x="16431" y="3897"/>
                      <a:pt x="13925" y="1796"/>
                      <a:pt x="10750" y="47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73" name="Forma libre: forma 318">
                <a:extLst>
                  <a:ext uri="{FF2B5EF4-FFF2-40B4-BE49-F238E27FC236}">
                    <a16:creationId xmlns:a16="http://schemas.microsoft.com/office/drawing/2014/main" id="{FC3DAA62-B9C0-469B-BD1A-F504BA8CF46E}"/>
                  </a:ext>
                </a:extLst>
              </p:cNvPr>
              <p:cNvSpPr/>
              <p:nvPr/>
            </p:nvSpPr>
            <p:spPr>
              <a:xfrm>
                <a:off x="3824260" y="2690813"/>
                <a:ext cx="22629" cy="19050"/>
              </a:xfrm>
              <a:custGeom>
                <a:avLst/>
                <a:gdLst>
                  <a:gd name="connsiteX0" fmla="*/ 28 w 22629"/>
                  <a:gd name="connsiteY0" fmla="*/ 12700 h 19050"/>
                  <a:gd name="connsiteX1" fmla="*/ 9553 w 22629"/>
                  <a:gd name="connsiteY1" fmla="*/ 14287 h 19050"/>
                  <a:gd name="connsiteX2" fmla="*/ 20665 w 22629"/>
                  <a:gd name="connsiteY2" fmla="*/ 19050 h 19050"/>
                  <a:gd name="connsiteX3" fmla="*/ 19078 w 22629"/>
                  <a:gd name="connsiteY3" fmla="*/ 3175 h 19050"/>
                  <a:gd name="connsiteX4" fmla="*/ 12728 w 22629"/>
                  <a:gd name="connsiteY4" fmla="*/ 0 h 19050"/>
                  <a:gd name="connsiteX5" fmla="*/ 28 w 22629"/>
                  <a:gd name="connsiteY5" fmla="*/ 12700 h 19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2629" h="19050">
                    <a:moveTo>
                      <a:pt x="28" y="12700"/>
                    </a:moveTo>
                    <a:cubicBezTo>
                      <a:pt x="-501" y="15081"/>
                      <a:pt x="6411" y="13589"/>
                      <a:pt x="9553" y="14287"/>
                    </a:cubicBezTo>
                    <a:cubicBezTo>
                      <a:pt x="13754" y="15221"/>
                      <a:pt x="16787" y="17111"/>
                      <a:pt x="20665" y="19050"/>
                    </a:cubicBezTo>
                    <a:cubicBezTo>
                      <a:pt x="22770" y="12738"/>
                      <a:pt x="24328" y="11050"/>
                      <a:pt x="19078" y="3175"/>
                    </a:cubicBezTo>
                    <a:cubicBezTo>
                      <a:pt x="17765" y="1206"/>
                      <a:pt x="14845" y="1058"/>
                      <a:pt x="12728" y="0"/>
                    </a:cubicBezTo>
                    <a:cubicBezTo>
                      <a:pt x="3866" y="7089"/>
                      <a:pt x="557" y="10319"/>
                      <a:pt x="28" y="1270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74" name="Forma libre: forma 319">
                <a:extLst>
                  <a:ext uri="{FF2B5EF4-FFF2-40B4-BE49-F238E27FC236}">
                    <a16:creationId xmlns:a16="http://schemas.microsoft.com/office/drawing/2014/main" id="{082F1CE2-7C05-4220-B20F-D0E206AE2936}"/>
                  </a:ext>
                </a:extLst>
              </p:cNvPr>
              <p:cNvSpPr/>
              <p:nvPr/>
            </p:nvSpPr>
            <p:spPr>
              <a:xfrm>
                <a:off x="3876661" y="2346227"/>
                <a:ext cx="20168" cy="12404"/>
              </a:xfrm>
              <a:custGeom>
                <a:avLst/>
                <a:gdLst>
                  <a:gd name="connsiteX0" fmla="*/ 14 w 20168"/>
                  <a:gd name="connsiteY0" fmla="*/ 11211 h 12404"/>
                  <a:gd name="connsiteX1" fmla="*/ 19064 w 20168"/>
                  <a:gd name="connsiteY1" fmla="*/ 9623 h 12404"/>
                  <a:gd name="connsiteX2" fmla="*/ 15889 w 20168"/>
                  <a:gd name="connsiteY2" fmla="*/ 98 h 12404"/>
                  <a:gd name="connsiteX3" fmla="*/ 14 w 20168"/>
                  <a:gd name="connsiteY3" fmla="*/ 11211 h 12404"/>
                </a:gdLst>
                <a:ahLst/>
                <a:cxnLst>
                  <a:cxn ang="0">
                    <a:pos x="connsiteX0" y="connsiteY0"/>
                  </a:cxn>
                  <a:cxn ang="0">
                    <a:pos x="connsiteX1" y="connsiteY1"/>
                  </a:cxn>
                  <a:cxn ang="0">
                    <a:pos x="connsiteX2" y="connsiteY2"/>
                  </a:cxn>
                  <a:cxn ang="0">
                    <a:pos x="connsiteX3" y="connsiteY3"/>
                  </a:cxn>
                </a:cxnLst>
                <a:rect l="l" t="t" r="r" b="b"/>
                <a:pathLst>
                  <a:path w="20168" h="12404">
                    <a:moveTo>
                      <a:pt x="14" y="11211"/>
                    </a:moveTo>
                    <a:cubicBezTo>
                      <a:pt x="543" y="12798"/>
                      <a:pt x="13844" y="13277"/>
                      <a:pt x="19064" y="9623"/>
                    </a:cubicBezTo>
                    <a:cubicBezTo>
                      <a:pt x="21806" y="7704"/>
                      <a:pt x="18947" y="1457"/>
                      <a:pt x="15889" y="98"/>
                    </a:cubicBezTo>
                    <a:cubicBezTo>
                      <a:pt x="13108" y="-1138"/>
                      <a:pt x="-515" y="9624"/>
                      <a:pt x="14" y="11211"/>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75" name="Forma libre: forma 320">
                <a:extLst>
                  <a:ext uri="{FF2B5EF4-FFF2-40B4-BE49-F238E27FC236}">
                    <a16:creationId xmlns:a16="http://schemas.microsoft.com/office/drawing/2014/main" id="{E18540B5-8082-412D-A1F1-629753FA3F8A}"/>
                  </a:ext>
                </a:extLst>
              </p:cNvPr>
              <p:cNvSpPr/>
              <p:nvPr/>
            </p:nvSpPr>
            <p:spPr>
              <a:xfrm>
                <a:off x="3826830" y="2613585"/>
                <a:ext cx="32436" cy="8974"/>
              </a:xfrm>
              <a:custGeom>
                <a:avLst/>
                <a:gdLst>
                  <a:gd name="connsiteX0" fmla="*/ 633 w 32436"/>
                  <a:gd name="connsiteY0" fmla="*/ 1028 h 8974"/>
                  <a:gd name="connsiteX1" fmla="*/ 8570 w 32436"/>
                  <a:gd name="connsiteY1" fmla="*/ 7378 h 8974"/>
                  <a:gd name="connsiteX2" fmla="*/ 27620 w 32436"/>
                  <a:gd name="connsiteY2" fmla="*/ 7378 h 8974"/>
                  <a:gd name="connsiteX3" fmla="*/ 32383 w 32436"/>
                  <a:gd name="connsiteY3" fmla="*/ 2615 h 8974"/>
                  <a:gd name="connsiteX4" fmla="*/ 26033 w 32436"/>
                  <a:gd name="connsiteY4" fmla="*/ 1028 h 8974"/>
                  <a:gd name="connsiteX5" fmla="*/ 633 w 32436"/>
                  <a:gd name="connsiteY5" fmla="*/ 1028 h 89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2436" h="8974">
                    <a:moveTo>
                      <a:pt x="633" y="1028"/>
                    </a:moveTo>
                    <a:cubicBezTo>
                      <a:pt x="-2277" y="2086"/>
                      <a:pt x="5608" y="5733"/>
                      <a:pt x="8570" y="7378"/>
                    </a:cubicBezTo>
                    <a:cubicBezTo>
                      <a:pt x="14348" y="10588"/>
                      <a:pt x="21966" y="8084"/>
                      <a:pt x="27620" y="7378"/>
                    </a:cubicBezTo>
                    <a:cubicBezTo>
                      <a:pt x="29208" y="5790"/>
                      <a:pt x="32927" y="4793"/>
                      <a:pt x="32383" y="2615"/>
                    </a:cubicBezTo>
                    <a:cubicBezTo>
                      <a:pt x="31854" y="498"/>
                      <a:pt x="28185" y="1387"/>
                      <a:pt x="26033" y="1028"/>
                    </a:cubicBezTo>
                    <a:cubicBezTo>
                      <a:pt x="16111" y="-626"/>
                      <a:pt x="3543" y="-30"/>
                      <a:pt x="633" y="1028"/>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76" name="Forma libre: forma 321">
                <a:extLst>
                  <a:ext uri="{FF2B5EF4-FFF2-40B4-BE49-F238E27FC236}">
                    <a16:creationId xmlns:a16="http://schemas.microsoft.com/office/drawing/2014/main" id="{729AC354-8E7C-45DC-8523-9D84BA3E474A}"/>
                  </a:ext>
                </a:extLst>
              </p:cNvPr>
              <p:cNvSpPr/>
              <p:nvPr/>
            </p:nvSpPr>
            <p:spPr>
              <a:xfrm>
                <a:off x="4375473" y="1890713"/>
                <a:ext cx="17140" cy="27244"/>
              </a:xfrm>
              <a:custGeom>
                <a:avLst/>
                <a:gdLst>
                  <a:gd name="connsiteX0" fmla="*/ 1265 w 17140"/>
                  <a:gd name="connsiteY0" fmla="*/ 23812 h 27244"/>
                  <a:gd name="connsiteX1" fmla="*/ 10790 w 17140"/>
                  <a:gd name="connsiteY1" fmla="*/ 25400 h 27244"/>
                  <a:gd name="connsiteX2" fmla="*/ 15552 w 17140"/>
                  <a:gd name="connsiteY2" fmla="*/ 26987 h 27244"/>
                  <a:gd name="connsiteX3" fmla="*/ 17140 w 17140"/>
                  <a:gd name="connsiteY3" fmla="*/ 20637 h 27244"/>
                  <a:gd name="connsiteX4" fmla="*/ 12377 w 17140"/>
                  <a:gd name="connsiteY4" fmla="*/ 12700 h 27244"/>
                  <a:gd name="connsiteX5" fmla="*/ 9202 w 17140"/>
                  <a:gd name="connsiteY5" fmla="*/ 6350 h 27244"/>
                  <a:gd name="connsiteX6" fmla="*/ 4440 w 17140"/>
                  <a:gd name="connsiteY6" fmla="*/ 0 h 27244"/>
                  <a:gd name="connsiteX7" fmla="*/ 1265 w 17140"/>
                  <a:gd name="connsiteY7" fmla="*/ 4762 h 27244"/>
                  <a:gd name="connsiteX8" fmla="*/ 1265 w 17140"/>
                  <a:gd name="connsiteY8" fmla="*/ 23812 h 27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140" h="27244">
                    <a:moveTo>
                      <a:pt x="1265" y="23812"/>
                    </a:moveTo>
                    <a:cubicBezTo>
                      <a:pt x="2853" y="27252"/>
                      <a:pt x="7648" y="24702"/>
                      <a:pt x="10790" y="25400"/>
                    </a:cubicBezTo>
                    <a:cubicBezTo>
                      <a:pt x="12423" y="25763"/>
                      <a:pt x="14214" y="27991"/>
                      <a:pt x="15552" y="26987"/>
                    </a:cubicBezTo>
                    <a:cubicBezTo>
                      <a:pt x="17297" y="25678"/>
                      <a:pt x="16611" y="22754"/>
                      <a:pt x="17140" y="20637"/>
                    </a:cubicBezTo>
                    <a:cubicBezTo>
                      <a:pt x="15552" y="17991"/>
                      <a:pt x="13876" y="15397"/>
                      <a:pt x="12377" y="12700"/>
                    </a:cubicBezTo>
                    <a:cubicBezTo>
                      <a:pt x="11228" y="10631"/>
                      <a:pt x="10456" y="8357"/>
                      <a:pt x="9202" y="6350"/>
                    </a:cubicBezTo>
                    <a:cubicBezTo>
                      <a:pt x="7800" y="4106"/>
                      <a:pt x="6027" y="2117"/>
                      <a:pt x="4440" y="0"/>
                    </a:cubicBezTo>
                    <a:cubicBezTo>
                      <a:pt x="3382" y="1587"/>
                      <a:pt x="1767" y="2921"/>
                      <a:pt x="1265" y="4762"/>
                    </a:cubicBezTo>
                    <a:cubicBezTo>
                      <a:pt x="-520" y="11306"/>
                      <a:pt x="-323" y="20372"/>
                      <a:pt x="1265" y="23812"/>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77" name="Forma libre: forma 322">
                <a:extLst>
                  <a:ext uri="{FF2B5EF4-FFF2-40B4-BE49-F238E27FC236}">
                    <a16:creationId xmlns:a16="http://schemas.microsoft.com/office/drawing/2014/main" id="{4A6EFAF1-0F38-445B-8365-88996E9B9342}"/>
                  </a:ext>
                </a:extLst>
              </p:cNvPr>
              <p:cNvSpPr/>
              <p:nvPr/>
            </p:nvSpPr>
            <p:spPr>
              <a:xfrm>
                <a:off x="4360128" y="1843131"/>
                <a:ext cx="74799" cy="33294"/>
              </a:xfrm>
              <a:custGeom>
                <a:avLst/>
                <a:gdLst>
                  <a:gd name="connsiteX0" fmla="*/ 65822 w 74799"/>
                  <a:gd name="connsiteY0" fmla="*/ 3132 h 33294"/>
                  <a:gd name="connsiteX1" fmla="*/ 37247 w 74799"/>
                  <a:gd name="connsiteY1" fmla="*/ 12657 h 33294"/>
                  <a:gd name="connsiteX2" fmla="*/ 27722 w 74799"/>
                  <a:gd name="connsiteY2" fmla="*/ 14244 h 33294"/>
                  <a:gd name="connsiteX3" fmla="*/ 8672 w 74799"/>
                  <a:gd name="connsiteY3" fmla="*/ 15832 h 33294"/>
                  <a:gd name="connsiteX4" fmla="*/ 735 w 74799"/>
                  <a:gd name="connsiteY4" fmla="*/ 19007 h 33294"/>
                  <a:gd name="connsiteX5" fmla="*/ 8672 w 74799"/>
                  <a:gd name="connsiteY5" fmla="*/ 33294 h 33294"/>
                  <a:gd name="connsiteX6" fmla="*/ 37247 w 74799"/>
                  <a:gd name="connsiteY6" fmla="*/ 31707 h 33294"/>
                  <a:gd name="connsiteX7" fmla="*/ 45185 w 74799"/>
                  <a:gd name="connsiteY7" fmla="*/ 28532 h 33294"/>
                  <a:gd name="connsiteX8" fmla="*/ 48360 w 74799"/>
                  <a:gd name="connsiteY8" fmla="*/ 19007 h 33294"/>
                  <a:gd name="connsiteX9" fmla="*/ 54710 w 74799"/>
                  <a:gd name="connsiteY9" fmla="*/ 14244 h 33294"/>
                  <a:gd name="connsiteX10" fmla="*/ 59472 w 74799"/>
                  <a:gd name="connsiteY10" fmla="*/ 9482 h 33294"/>
                  <a:gd name="connsiteX11" fmla="*/ 72172 w 74799"/>
                  <a:gd name="connsiteY11" fmla="*/ 4719 h 33294"/>
                  <a:gd name="connsiteX12" fmla="*/ 65822 w 74799"/>
                  <a:gd name="connsiteY12" fmla="*/ 3132 h 33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4799" h="33294">
                    <a:moveTo>
                      <a:pt x="65822" y="3132"/>
                    </a:moveTo>
                    <a:cubicBezTo>
                      <a:pt x="60001" y="4455"/>
                      <a:pt x="67013" y="255"/>
                      <a:pt x="37247" y="12657"/>
                    </a:cubicBezTo>
                    <a:cubicBezTo>
                      <a:pt x="34276" y="13895"/>
                      <a:pt x="30921" y="13889"/>
                      <a:pt x="27722" y="14244"/>
                    </a:cubicBezTo>
                    <a:cubicBezTo>
                      <a:pt x="21389" y="14948"/>
                      <a:pt x="15022" y="15303"/>
                      <a:pt x="8672" y="15832"/>
                    </a:cubicBezTo>
                    <a:cubicBezTo>
                      <a:pt x="6026" y="16890"/>
                      <a:pt x="1636" y="16304"/>
                      <a:pt x="735" y="19007"/>
                    </a:cubicBezTo>
                    <a:cubicBezTo>
                      <a:pt x="-2123" y="27582"/>
                      <a:pt x="3952" y="30147"/>
                      <a:pt x="8672" y="33294"/>
                    </a:cubicBezTo>
                    <a:cubicBezTo>
                      <a:pt x="18197" y="32765"/>
                      <a:pt x="27787" y="32941"/>
                      <a:pt x="37247" y="31707"/>
                    </a:cubicBezTo>
                    <a:cubicBezTo>
                      <a:pt x="40073" y="31338"/>
                      <a:pt x="43308" y="30677"/>
                      <a:pt x="45185" y="28532"/>
                    </a:cubicBezTo>
                    <a:cubicBezTo>
                      <a:pt x="47389" y="26013"/>
                      <a:pt x="46504" y="21792"/>
                      <a:pt x="48360" y="19007"/>
                    </a:cubicBezTo>
                    <a:cubicBezTo>
                      <a:pt x="49828" y="16805"/>
                      <a:pt x="52701" y="15966"/>
                      <a:pt x="54710" y="14244"/>
                    </a:cubicBezTo>
                    <a:cubicBezTo>
                      <a:pt x="56414" y="12783"/>
                      <a:pt x="57568" y="10672"/>
                      <a:pt x="59472" y="9482"/>
                    </a:cubicBezTo>
                    <a:cubicBezTo>
                      <a:pt x="61637" y="8129"/>
                      <a:pt x="69008" y="5774"/>
                      <a:pt x="72172" y="4719"/>
                    </a:cubicBezTo>
                    <a:cubicBezTo>
                      <a:pt x="78731" y="-4026"/>
                      <a:pt x="71643" y="1809"/>
                      <a:pt x="65822" y="3132"/>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78" name="Forma libre: forma 323">
                <a:extLst>
                  <a:ext uri="{FF2B5EF4-FFF2-40B4-BE49-F238E27FC236}">
                    <a16:creationId xmlns:a16="http://schemas.microsoft.com/office/drawing/2014/main" id="{D21EA020-918E-4191-80B4-C8C5348E8814}"/>
                  </a:ext>
                </a:extLst>
              </p:cNvPr>
              <p:cNvSpPr/>
              <p:nvPr/>
            </p:nvSpPr>
            <p:spPr>
              <a:xfrm>
                <a:off x="4332239" y="1865313"/>
                <a:ext cx="19134" cy="21107"/>
              </a:xfrm>
              <a:custGeom>
                <a:avLst/>
                <a:gdLst>
                  <a:gd name="connsiteX0" fmla="*/ 49 w 19134"/>
                  <a:gd name="connsiteY0" fmla="*/ 9525 h 21107"/>
                  <a:gd name="connsiteX1" fmla="*/ 14336 w 19134"/>
                  <a:gd name="connsiteY1" fmla="*/ 20637 h 21107"/>
                  <a:gd name="connsiteX2" fmla="*/ 15924 w 19134"/>
                  <a:gd name="connsiteY2" fmla="*/ 15875 h 21107"/>
                  <a:gd name="connsiteX3" fmla="*/ 19099 w 19134"/>
                  <a:gd name="connsiteY3" fmla="*/ 7937 h 21107"/>
                  <a:gd name="connsiteX4" fmla="*/ 17511 w 19134"/>
                  <a:gd name="connsiteY4" fmla="*/ 0 h 21107"/>
                  <a:gd name="connsiteX5" fmla="*/ 49 w 19134"/>
                  <a:gd name="connsiteY5" fmla="*/ 9525 h 211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134" h="21107">
                    <a:moveTo>
                      <a:pt x="49" y="9525"/>
                    </a:moveTo>
                    <a:cubicBezTo>
                      <a:pt x="-480" y="12964"/>
                      <a:pt x="3143" y="23436"/>
                      <a:pt x="14336" y="20637"/>
                    </a:cubicBezTo>
                    <a:cubicBezTo>
                      <a:pt x="14865" y="19050"/>
                      <a:pt x="15336" y="17442"/>
                      <a:pt x="15924" y="15875"/>
                    </a:cubicBezTo>
                    <a:cubicBezTo>
                      <a:pt x="16925" y="13207"/>
                      <a:pt x="18816" y="10773"/>
                      <a:pt x="19099" y="7937"/>
                    </a:cubicBezTo>
                    <a:cubicBezTo>
                      <a:pt x="19367" y="5252"/>
                      <a:pt x="18040" y="2646"/>
                      <a:pt x="17511" y="0"/>
                    </a:cubicBezTo>
                    <a:cubicBezTo>
                      <a:pt x="5376" y="2022"/>
                      <a:pt x="578" y="6086"/>
                      <a:pt x="49" y="9525"/>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79" name="Forma libre: forma 324">
                <a:extLst>
                  <a:ext uri="{FF2B5EF4-FFF2-40B4-BE49-F238E27FC236}">
                    <a16:creationId xmlns:a16="http://schemas.microsoft.com/office/drawing/2014/main" id="{F3278BFB-56B7-4609-8C05-6BF99736DD2F}"/>
                  </a:ext>
                </a:extLst>
              </p:cNvPr>
              <p:cNvSpPr/>
              <p:nvPr/>
            </p:nvSpPr>
            <p:spPr>
              <a:xfrm>
                <a:off x="3851605" y="2368337"/>
                <a:ext cx="17133" cy="19527"/>
              </a:xfrm>
              <a:custGeom>
                <a:avLst/>
                <a:gdLst>
                  <a:gd name="connsiteX0" fmla="*/ 1588 w 17463"/>
                  <a:gd name="connsiteY0" fmla="*/ 14288 h 22489"/>
                  <a:gd name="connsiteX1" fmla="*/ 15875 w 17463"/>
                  <a:gd name="connsiteY1" fmla="*/ 22225 h 22489"/>
                  <a:gd name="connsiteX2" fmla="*/ 17463 w 17463"/>
                  <a:gd name="connsiteY2" fmla="*/ 17463 h 22489"/>
                  <a:gd name="connsiteX3" fmla="*/ 15875 w 17463"/>
                  <a:gd name="connsiteY3" fmla="*/ 7938 h 22489"/>
                  <a:gd name="connsiteX4" fmla="*/ 11113 w 17463"/>
                  <a:gd name="connsiteY4" fmla="*/ 4763 h 22489"/>
                  <a:gd name="connsiteX5" fmla="*/ 6350 w 17463"/>
                  <a:gd name="connsiteY5" fmla="*/ 3175 h 22489"/>
                  <a:gd name="connsiteX6" fmla="*/ 0 w 17463"/>
                  <a:gd name="connsiteY6" fmla="*/ 0 h 22489"/>
                  <a:gd name="connsiteX7" fmla="*/ 1588 w 17463"/>
                  <a:gd name="connsiteY7" fmla="*/ 9525 h 22489"/>
                  <a:gd name="connsiteX8" fmla="*/ 1588 w 17463"/>
                  <a:gd name="connsiteY8" fmla="*/ 14288 h 22489"/>
                  <a:gd name="connsiteX0" fmla="*/ 1258 w 17133"/>
                  <a:gd name="connsiteY0" fmla="*/ 11326 h 19527"/>
                  <a:gd name="connsiteX1" fmla="*/ 15545 w 17133"/>
                  <a:gd name="connsiteY1" fmla="*/ 19263 h 19527"/>
                  <a:gd name="connsiteX2" fmla="*/ 17133 w 17133"/>
                  <a:gd name="connsiteY2" fmla="*/ 14501 h 19527"/>
                  <a:gd name="connsiteX3" fmla="*/ 15545 w 17133"/>
                  <a:gd name="connsiteY3" fmla="*/ 4976 h 19527"/>
                  <a:gd name="connsiteX4" fmla="*/ 10783 w 17133"/>
                  <a:gd name="connsiteY4" fmla="*/ 1801 h 19527"/>
                  <a:gd name="connsiteX5" fmla="*/ 6020 w 17133"/>
                  <a:gd name="connsiteY5" fmla="*/ 213 h 19527"/>
                  <a:gd name="connsiteX6" fmla="*/ 1258 w 17133"/>
                  <a:gd name="connsiteY6" fmla="*/ 6563 h 19527"/>
                  <a:gd name="connsiteX7" fmla="*/ 1258 w 17133"/>
                  <a:gd name="connsiteY7" fmla="*/ 11326 h 19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133" h="19527">
                    <a:moveTo>
                      <a:pt x="1258" y="11326"/>
                    </a:moveTo>
                    <a:cubicBezTo>
                      <a:pt x="3639" y="13443"/>
                      <a:pt x="11127" y="21030"/>
                      <a:pt x="15545" y="19263"/>
                    </a:cubicBezTo>
                    <a:cubicBezTo>
                      <a:pt x="17099" y="18642"/>
                      <a:pt x="16604" y="16088"/>
                      <a:pt x="17133" y="14501"/>
                    </a:cubicBezTo>
                    <a:cubicBezTo>
                      <a:pt x="16604" y="11326"/>
                      <a:pt x="16985" y="7855"/>
                      <a:pt x="15545" y="4976"/>
                    </a:cubicBezTo>
                    <a:cubicBezTo>
                      <a:pt x="14692" y="3270"/>
                      <a:pt x="12489" y="2654"/>
                      <a:pt x="10783" y="1801"/>
                    </a:cubicBezTo>
                    <a:cubicBezTo>
                      <a:pt x="9286" y="1052"/>
                      <a:pt x="7608" y="-581"/>
                      <a:pt x="6020" y="213"/>
                    </a:cubicBezTo>
                    <a:cubicBezTo>
                      <a:pt x="4433" y="1007"/>
                      <a:pt x="2052" y="4711"/>
                      <a:pt x="1258" y="6563"/>
                    </a:cubicBezTo>
                    <a:cubicBezTo>
                      <a:pt x="464" y="8415"/>
                      <a:pt x="-1123" y="9209"/>
                      <a:pt x="1258" y="11326"/>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80" name="Forma libre: forma 325">
                <a:extLst>
                  <a:ext uri="{FF2B5EF4-FFF2-40B4-BE49-F238E27FC236}">
                    <a16:creationId xmlns:a16="http://schemas.microsoft.com/office/drawing/2014/main" id="{1D2E5818-20D9-4226-A50A-FB5690929127}"/>
                  </a:ext>
                </a:extLst>
              </p:cNvPr>
              <p:cNvSpPr/>
              <p:nvPr/>
            </p:nvSpPr>
            <p:spPr>
              <a:xfrm>
                <a:off x="3858417" y="2738154"/>
                <a:ext cx="31575" cy="11396"/>
              </a:xfrm>
              <a:custGeom>
                <a:avLst/>
                <a:gdLst>
                  <a:gd name="connsiteX0" fmla="*/ 796 w 31575"/>
                  <a:gd name="connsiteY0" fmla="*/ 284 h 11396"/>
                  <a:gd name="connsiteX1" fmla="*/ 8733 w 31575"/>
                  <a:gd name="connsiteY1" fmla="*/ 3459 h 11396"/>
                  <a:gd name="connsiteX2" fmla="*/ 16671 w 31575"/>
                  <a:gd name="connsiteY2" fmla="*/ 5046 h 11396"/>
                  <a:gd name="connsiteX3" fmla="*/ 29371 w 31575"/>
                  <a:gd name="connsiteY3" fmla="*/ 11396 h 11396"/>
                  <a:gd name="connsiteX4" fmla="*/ 796 w 31575"/>
                  <a:gd name="connsiteY4" fmla="*/ 284 h 11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575" h="11396">
                    <a:moveTo>
                      <a:pt x="796" y="284"/>
                    </a:moveTo>
                    <a:cubicBezTo>
                      <a:pt x="-2644" y="-1039"/>
                      <a:pt x="6004" y="2640"/>
                      <a:pt x="8733" y="3459"/>
                    </a:cubicBezTo>
                    <a:cubicBezTo>
                      <a:pt x="11318" y="4234"/>
                      <a:pt x="14205" y="3950"/>
                      <a:pt x="16671" y="5046"/>
                    </a:cubicBezTo>
                    <a:cubicBezTo>
                      <a:pt x="37487" y="14297"/>
                      <a:pt x="9965" y="6546"/>
                      <a:pt x="29371" y="11396"/>
                    </a:cubicBezTo>
                    <a:cubicBezTo>
                      <a:pt x="40801" y="2824"/>
                      <a:pt x="4236" y="1607"/>
                      <a:pt x="796" y="284"/>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81" name="Forma libre: forma 326">
                <a:extLst>
                  <a:ext uri="{FF2B5EF4-FFF2-40B4-BE49-F238E27FC236}">
                    <a16:creationId xmlns:a16="http://schemas.microsoft.com/office/drawing/2014/main" id="{58395325-861F-4AF9-98CF-2AB5BA0C4F2B}"/>
                  </a:ext>
                </a:extLst>
              </p:cNvPr>
              <p:cNvSpPr/>
              <p:nvPr/>
            </p:nvSpPr>
            <p:spPr>
              <a:xfrm>
                <a:off x="3823170" y="2533650"/>
                <a:ext cx="7468" cy="20715"/>
              </a:xfrm>
              <a:custGeom>
                <a:avLst/>
                <a:gdLst>
                  <a:gd name="connsiteX0" fmla="*/ 7468 w 7468"/>
                  <a:gd name="connsiteY0" fmla="*/ 0 h 20715"/>
                  <a:gd name="connsiteX1" fmla="*/ 1118 w 7468"/>
                  <a:gd name="connsiteY1" fmla="*/ 7938 h 20715"/>
                  <a:gd name="connsiteX2" fmla="*/ 2705 w 7468"/>
                  <a:gd name="connsiteY2" fmla="*/ 20638 h 20715"/>
                  <a:gd name="connsiteX3" fmla="*/ 7468 w 7468"/>
                  <a:gd name="connsiteY3" fmla="*/ 6350 h 20715"/>
                  <a:gd name="connsiteX4" fmla="*/ 7468 w 7468"/>
                  <a:gd name="connsiteY4" fmla="*/ 0 h 207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68" h="20715">
                    <a:moveTo>
                      <a:pt x="7468" y="0"/>
                    </a:moveTo>
                    <a:cubicBezTo>
                      <a:pt x="5351" y="2646"/>
                      <a:pt x="1880" y="4636"/>
                      <a:pt x="1118" y="7938"/>
                    </a:cubicBezTo>
                    <a:cubicBezTo>
                      <a:pt x="159" y="12095"/>
                      <a:pt x="-1434" y="21673"/>
                      <a:pt x="2705" y="20638"/>
                    </a:cubicBezTo>
                    <a:cubicBezTo>
                      <a:pt x="7575" y="19420"/>
                      <a:pt x="4977" y="10709"/>
                      <a:pt x="7468" y="6350"/>
                    </a:cubicBezTo>
                    <a:lnTo>
                      <a:pt x="7468" y="0"/>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82" name="Forma libre: forma 327">
                <a:extLst>
                  <a:ext uri="{FF2B5EF4-FFF2-40B4-BE49-F238E27FC236}">
                    <a16:creationId xmlns:a16="http://schemas.microsoft.com/office/drawing/2014/main" id="{9D43352C-18AA-49BB-91AB-D67E1FA309C8}"/>
                  </a:ext>
                </a:extLst>
              </p:cNvPr>
              <p:cNvSpPr/>
              <p:nvPr/>
            </p:nvSpPr>
            <p:spPr>
              <a:xfrm>
                <a:off x="3844925" y="2466873"/>
                <a:ext cx="12700" cy="25502"/>
              </a:xfrm>
              <a:custGeom>
                <a:avLst/>
                <a:gdLst>
                  <a:gd name="connsiteX0" fmla="*/ 0 w 12700"/>
                  <a:gd name="connsiteY0" fmla="*/ 25502 h 25502"/>
                  <a:gd name="connsiteX1" fmla="*/ 6350 w 12700"/>
                  <a:gd name="connsiteY1" fmla="*/ 17565 h 25502"/>
                  <a:gd name="connsiteX2" fmla="*/ 12700 w 12700"/>
                  <a:gd name="connsiteY2" fmla="*/ 9627 h 25502"/>
                  <a:gd name="connsiteX3" fmla="*/ 9525 w 12700"/>
                  <a:gd name="connsiteY3" fmla="*/ 102 h 25502"/>
                  <a:gd name="connsiteX4" fmla="*/ 3175 w 12700"/>
                  <a:gd name="connsiteY4" fmla="*/ 12802 h 25502"/>
                  <a:gd name="connsiteX5" fmla="*/ 0 w 12700"/>
                  <a:gd name="connsiteY5" fmla="*/ 25502 h 25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700" h="25502">
                    <a:moveTo>
                      <a:pt x="0" y="25502"/>
                    </a:moveTo>
                    <a:cubicBezTo>
                      <a:pt x="2117" y="22856"/>
                      <a:pt x="4554" y="20438"/>
                      <a:pt x="6350" y="17565"/>
                    </a:cubicBezTo>
                    <a:cubicBezTo>
                      <a:pt x="11828" y="8801"/>
                      <a:pt x="2799" y="16228"/>
                      <a:pt x="12700" y="9627"/>
                    </a:cubicBezTo>
                    <a:cubicBezTo>
                      <a:pt x="11642" y="6452"/>
                      <a:pt x="12700" y="-956"/>
                      <a:pt x="9525" y="102"/>
                    </a:cubicBezTo>
                    <a:cubicBezTo>
                      <a:pt x="5035" y="1599"/>
                      <a:pt x="3175" y="12802"/>
                      <a:pt x="3175" y="12802"/>
                    </a:cubicBezTo>
                    <a:lnTo>
                      <a:pt x="0" y="25502"/>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83" name="Forma libre: forma 328">
                <a:extLst>
                  <a:ext uri="{FF2B5EF4-FFF2-40B4-BE49-F238E27FC236}">
                    <a16:creationId xmlns:a16="http://schemas.microsoft.com/office/drawing/2014/main" id="{B6C4CFD6-590B-4FE4-8B51-F98332FEF76F}"/>
                  </a:ext>
                </a:extLst>
              </p:cNvPr>
              <p:cNvSpPr/>
              <p:nvPr/>
            </p:nvSpPr>
            <p:spPr>
              <a:xfrm>
                <a:off x="4100513" y="2156248"/>
                <a:ext cx="14332" cy="21802"/>
              </a:xfrm>
              <a:custGeom>
                <a:avLst/>
                <a:gdLst>
                  <a:gd name="connsiteX0" fmla="*/ 0 w 14332"/>
                  <a:gd name="connsiteY0" fmla="*/ 1165 h 21802"/>
                  <a:gd name="connsiteX1" fmla="*/ 6350 w 14332"/>
                  <a:gd name="connsiteY1" fmla="*/ 20215 h 21802"/>
                  <a:gd name="connsiteX2" fmla="*/ 11112 w 14332"/>
                  <a:gd name="connsiteY2" fmla="*/ 21802 h 21802"/>
                  <a:gd name="connsiteX3" fmla="*/ 14287 w 14332"/>
                  <a:gd name="connsiteY3" fmla="*/ 17040 h 21802"/>
                  <a:gd name="connsiteX4" fmla="*/ 7937 w 14332"/>
                  <a:gd name="connsiteY4" fmla="*/ 7515 h 21802"/>
                  <a:gd name="connsiteX5" fmla="*/ 6350 w 14332"/>
                  <a:gd name="connsiteY5" fmla="*/ 2752 h 21802"/>
                  <a:gd name="connsiteX6" fmla="*/ 0 w 14332"/>
                  <a:gd name="connsiteY6" fmla="*/ 1165 h 218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332" h="21802">
                    <a:moveTo>
                      <a:pt x="0" y="1165"/>
                    </a:moveTo>
                    <a:cubicBezTo>
                      <a:pt x="0" y="4075"/>
                      <a:pt x="2112" y="14565"/>
                      <a:pt x="6350" y="20215"/>
                    </a:cubicBezTo>
                    <a:cubicBezTo>
                      <a:pt x="7354" y="21554"/>
                      <a:pt x="9525" y="21273"/>
                      <a:pt x="11112" y="21802"/>
                    </a:cubicBezTo>
                    <a:cubicBezTo>
                      <a:pt x="12170" y="20215"/>
                      <a:pt x="14701" y="18902"/>
                      <a:pt x="14287" y="17040"/>
                    </a:cubicBezTo>
                    <a:cubicBezTo>
                      <a:pt x="13459" y="13315"/>
                      <a:pt x="7937" y="7515"/>
                      <a:pt x="7937" y="7515"/>
                    </a:cubicBezTo>
                    <a:cubicBezTo>
                      <a:pt x="7408" y="5927"/>
                      <a:pt x="7533" y="3935"/>
                      <a:pt x="6350" y="2752"/>
                    </a:cubicBezTo>
                    <a:cubicBezTo>
                      <a:pt x="5167" y="1569"/>
                      <a:pt x="0" y="-1745"/>
                      <a:pt x="0" y="1165"/>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84" name="Forma libre: forma 329">
                <a:extLst>
                  <a:ext uri="{FF2B5EF4-FFF2-40B4-BE49-F238E27FC236}">
                    <a16:creationId xmlns:a16="http://schemas.microsoft.com/office/drawing/2014/main" id="{5C81849E-FED8-4A63-BD2D-0A1BCD95B2AF}"/>
                  </a:ext>
                </a:extLst>
              </p:cNvPr>
              <p:cNvSpPr/>
              <p:nvPr/>
            </p:nvSpPr>
            <p:spPr>
              <a:xfrm>
                <a:off x="4153233" y="2070032"/>
                <a:ext cx="37767" cy="28658"/>
              </a:xfrm>
              <a:custGeom>
                <a:avLst/>
                <a:gdLst>
                  <a:gd name="connsiteX0" fmla="*/ 6017 w 37767"/>
                  <a:gd name="connsiteY0" fmla="*/ 28643 h 28658"/>
                  <a:gd name="connsiteX1" fmla="*/ 13955 w 37767"/>
                  <a:gd name="connsiteY1" fmla="*/ 23881 h 28658"/>
                  <a:gd name="connsiteX2" fmla="*/ 21892 w 37767"/>
                  <a:gd name="connsiteY2" fmla="*/ 17531 h 28658"/>
                  <a:gd name="connsiteX3" fmla="*/ 34592 w 37767"/>
                  <a:gd name="connsiteY3" fmla="*/ 9593 h 28658"/>
                  <a:gd name="connsiteX4" fmla="*/ 37767 w 37767"/>
                  <a:gd name="connsiteY4" fmla="*/ 4831 h 28658"/>
                  <a:gd name="connsiteX5" fmla="*/ 36180 w 37767"/>
                  <a:gd name="connsiteY5" fmla="*/ 68 h 28658"/>
                  <a:gd name="connsiteX6" fmla="*/ 17130 w 37767"/>
                  <a:gd name="connsiteY6" fmla="*/ 8006 h 28658"/>
                  <a:gd name="connsiteX7" fmla="*/ 7605 w 37767"/>
                  <a:gd name="connsiteY7" fmla="*/ 20706 h 28658"/>
                  <a:gd name="connsiteX8" fmla="*/ 2842 w 37767"/>
                  <a:gd name="connsiteY8" fmla="*/ 22293 h 28658"/>
                  <a:gd name="connsiteX9" fmla="*/ 6017 w 37767"/>
                  <a:gd name="connsiteY9" fmla="*/ 28643 h 28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7767" h="28658">
                    <a:moveTo>
                      <a:pt x="6017" y="28643"/>
                    </a:moveTo>
                    <a:cubicBezTo>
                      <a:pt x="7869" y="28908"/>
                      <a:pt x="11427" y="25650"/>
                      <a:pt x="13955" y="23881"/>
                    </a:cubicBezTo>
                    <a:cubicBezTo>
                      <a:pt x="16731" y="21938"/>
                      <a:pt x="19073" y="19410"/>
                      <a:pt x="21892" y="17531"/>
                    </a:cubicBezTo>
                    <a:cubicBezTo>
                      <a:pt x="29440" y="12499"/>
                      <a:pt x="27656" y="16529"/>
                      <a:pt x="34592" y="9593"/>
                    </a:cubicBezTo>
                    <a:cubicBezTo>
                      <a:pt x="35941" y="8244"/>
                      <a:pt x="36709" y="6418"/>
                      <a:pt x="37767" y="4831"/>
                    </a:cubicBezTo>
                    <a:cubicBezTo>
                      <a:pt x="37238" y="3243"/>
                      <a:pt x="37841" y="276"/>
                      <a:pt x="36180" y="68"/>
                    </a:cubicBezTo>
                    <a:cubicBezTo>
                      <a:pt x="30075" y="-695"/>
                      <a:pt x="21983" y="5094"/>
                      <a:pt x="17130" y="8006"/>
                    </a:cubicBezTo>
                    <a:cubicBezTo>
                      <a:pt x="14396" y="12563"/>
                      <a:pt x="12232" y="17621"/>
                      <a:pt x="7605" y="20706"/>
                    </a:cubicBezTo>
                    <a:cubicBezTo>
                      <a:pt x="6213" y="21634"/>
                      <a:pt x="4430" y="21764"/>
                      <a:pt x="2842" y="22293"/>
                    </a:cubicBezTo>
                    <a:cubicBezTo>
                      <a:pt x="-4355" y="27691"/>
                      <a:pt x="4165" y="28378"/>
                      <a:pt x="6017" y="2864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85" name="Forma libre: forma 330">
                <a:extLst>
                  <a:ext uri="{FF2B5EF4-FFF2-40B4-BE49-F238E27FC236}">
                    <a16:creationId xmlns:a16="http://schemas.microsoft.com/office/drawing/2014/main" id="{05FB6F40-6185-4BC5-BB19-6C21975DC9F1}"/>
                  </a:ext>
                </a:extLst>
              </p:cNvPr>
              <p:cNvSpPr/>
              <p:nvPr/>
            </p:nvSpPr>
            <p:spPr>
              <a:xfrm>
                <a:off x="4410075" y="1755775"/>
                <a:ext cx="29006" cy="51188"/>
              </a:xfrm>
              <a:custGeom>
                <a:avLst/>
                <a:gdLst>
                  <a:gd name="connsiteX0" fmla="*/ 23813 w 29006"/>
                  <a:gd name="connsiteY0" fmla="*/ 11113 h 51188"/>
                  <a:gd name="connsiteX1" fmla="*/ 20638 w 29006"/>
                  <a:gd name="connsiteY1" fmla="*/ 31750 h 51188"/>
                  <a:gd name="connsiteX2" fmla="*/ 15875 w 29006"/>
                  <a:gd name="connsiteY2" fmla="*/ 39688 h 51188"/>
                  <a:gd name="connsiteX3" fmla="*/ 11113 w 29006"/>
                  <a:gd name="connsiteY3" fmla="*/ 42863 h 51188"/>
                  <a:gd name="connsiteX4" fmla="*/ 1588 w 29006"/>
                  <a:gd name="connsiteY4" fmla="*/ 50800 h 51188"/>
                  <a:gd name="connsiteX5" fmla="*/ 0 w 29006"/>
                  <a:gd name="connsiteY5" fmla="*/ 42863 h 51188"/>
                  <a:gd name="connsiteX6" fmla="*/ 4763 w 29006"/>
                  <a:gd name="connsiteY6" fmla="*/ 28575 h 51188"/>
                  <a:gd name="connsiteX7" fmla="*/ 9525 w 29006"/>
                  <a:gd name="connsiteY7" fmla="*/ 23813 h 51188"/>
                  <a:gd name="connsiteX8" fmla="*/ 19050 w 29006"/>
                  <a:gd name="connsiteY8" fmla="*/ 0 h 51188"/>
                  <a:gd name="connsiteX9" fmla="*/ 28575 w 29006"/>
                  <a:gd name="connsiteY9" fmla="*/ 3175 h 51188"/>
                  <a:gd name="connsiteX10" fmla="*/ 23813 w 29006"/>
                  <a:gd name="connsiteY10" fmla="*/ 11113 h 511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006" h="51188">
                    <a:moveTo>
                      <a:pt x="23813" y="11113"/>
                    </a:moveTo>
                    <a:cubicBezTo>
                      <a:pt x="22490" y="15875"/>
                      <a:pt x="22673" y="27170"/>
                      <a:pt x="20638" y="31750"/>
                    </a:cubicBezTo>
                    <a:cubicBezTo>
                      <a:pt x="19385" y="34570"/>
                      <a:pt x="17883" y="37345"/>
                      <a:pt x="15875" y="39688"/>
                    </a:cubicBezTo>
                    <a:cubicBezTo>
                      <a:pt x="14633" y="41137"/>
                      <a:pt x="12700" y="41805"/>
                      <a:pt x="11113" y="42863"/>
                    </a:cubicBezTo>
                    <a:cubicBezTo>
                      <a:pt x="10027" y="44491"/>
                      <a:pt x="5424" y="53101"/>
                      <a:pt x="1588" y="50800"/>
                    </a:cubicBezTo>
                    <a:cubicBezTo>
                      <a:pt x="-726" y="49412"/>
                      <a:pt x="529" y="45509"/>
                      <a:pt x="0" y="42863"/>
                    </a:cubicBezTo>
                    <a:cubicBezTo>
                      <a:pt x="1588" y="38100"/>
                      <a:pt x="2518" y="33065"/>
                      <a:pt x="4763" y="28575"/>
                    </a:cubicBezTo>
                    <a:cubicBezTo>
                      <a:pt x="5767" y="26567"/>
                      <a:pt x="8320" y="25707"/>
                      <a:pt x="9525" y="23813"/>
                    </a:cubicBezTo>
                    <a:cubicBezTo>
                      <a:pt x="15804" y="13946"/>
                      <a:pt x="16035" y="10553"/>
                      <a:pt x="19050" y="0"/>
                    </a:cubicBezTo>
                    <a:cubicBezTo>
                      <a:pt x="22225" y="1058"/>
                      <a:pt x="27190" y="128"/>
                      <a:pt x="28575" y="3175"/>
                    </a:cubicBezTo>
                    <a:cubicBezTo>
                      <a:pt x="30558" y="7537"/>
                      <a:pt x="25136" y="6351"/>
                      <a:pt x="23813" y="1111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86" name="Forma libre: forma 331">
                <a:extLst>
                  <a:ext uri="{FF2B5EF4-FFF2-40B4-BE49-F238E27FC236}">
                    <a16:creationId xmlns:a16="http://schemas.microsoft.com/office/drawing/2014/main" id="{C34EB0D5-2401-4574-A251-D5C7D8415E4F}"/>
                  </a:ext>
                </a:extLst>
              </p:cNvPr>
              <p:cNvSpPr/>
              <p:nvPr/>
            </p:nvSpPr>
            <p:spPr>
              <a:xfrm>
                <a:off x="4411339" y="1714440"/>
                <a:ext cx="17883" cy="31810"/>
              </a:xfrm>
              <a:custGeom>
                <a:avLst/>
                <a:gdLst>
                  <a:gd name="connsiteX0" fmla="*/ 17786 w 17883"/>
                  <a:gd name="connsiteY0" fmla="*/ 60 h 31810"/>
                  <a:gd name="connsiteX1" fmla="*/ 14611 w 17883"/>
                  <a:gd name="connsiteY1" fmla="*/ 7998 h 31810"/>
                  <a:gd name="connsiteX2" fmla="*/ 5086 w 17883"/>
                  <a:gd name="connsiteY2" fmla="*/ 28635 h 31810"/>
                  <a:gd name="connsiteX3" fmla="*/ 9849 w 17883"/>
                  <a:gd name="connsiteY3" fmla="*/ 31810 h 31810"/>
                  <a:gd name="connsiteX4" fmla="*/ 13024 w 17883"/>
                  <a:gd name="connsiteY4" fmla="*/ 20698 h 31810"/>
                  <a:gd name="connsiteX5" fmla="*/ 14611 w 17883"/>
                  <a:gd name="connsiteY5" fmla="*/ 11173 h 31810"/>
                  <a:gd name="connsiteX6" fmla="*/ 17786 w 17883"/>
                  <a:gd name="connsiteY6" fmla="*/ 6410 h 31810"/>
                  <a:gd name="connsiteX7" fmla="*/ 17786 w 17883"/>
                  <a:gd name="connsiteY7" fmla="*/ 60 h 31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7883" h="31810">
                    <a:moveTo>
                      <a:pt x="17786" y="60"/>
                    </a:moveTo>
                    <a:cubicBezTo>
                      <a:pt x="17257" y="325"/>
                      <a:pt x="16626" y="5983"/>
                      <a:pt x="14611" y="7998"/>
                    </a:cubicBezTo>
                    <a:cubicBezTo>
                      <a:pt x="2646" y="19964"/>
                      <a:pt x="-5926" y="12118"/>
                      <a:pt x="5086" y="28635"/>
                    </a:cubicBezTo>
                    <a:cubicBezTo>
                      <a:pt x="6144" y="30223"/>
                      <a:pt x="8261" y="30752"/>
                      <a:pt x="9849" y="31810"/>
                    </a:cubicBezTo>
                    <a:cubicBezTo>
                      <a:pt x="10907" y="28106"/>
                      <a:pt x="12158" y="24452"/>
                      <a:pt x="13024" y="20698"/>
                    </a:cubicBezTo>
                    <a:cubicBezTo>
                      <a:pt x="13748" y="17562"/>
                      <a:pt x="13593" y="14227"/>
                      <a:pt x="14611" y="11173"/>
                    </a:cubicBezTo>
                    <a:cubicBezTo>
                      <a:pt x="15214" y="9363"/>
                      <a:pt x="18186" y="8276"/>
                      <a:pt x="17786" y="6410"/>
                    </a:cubicBezTo>
                    <a:cubicBezTo>
                      <a:pt x="16446" y="158"/>
                      <a:pt x="18315" y="-205"/>
                      <a:pt x="17786" y="6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87" name="Forma libre: forma 332">
                <a:extLst>
                  <a:ext uri="{FF2B5EF4-FFF2-40B4-BE49-F238E27FC236}">
                    <a16:creationId xmlns:a16="http://schemas.microsoft.com/office/drawing/2014/main" id="{37C42A44-6A4E-4E1D-9F40-F6B03F533EF4}"/>
                  </a:ext>
                </a:extLst>
              </p:cNvPr>
              <p:cNvSpPr/>
              <p:nvPr/>
            </p:nvSpPr>
            <p:spPr>
              <a:xfrm>
                <a:off x="4411578" y="1815989"/>
                <a:ext cx="20945" cy="22336"/>
              </a:xfrm>
              <a:custGeom>
                <a:avLst/>
                <a:gdLst>
                  <a:gd name="connsiteX0" fmla="*/ 20722 w 20945"/>
                  <a:gd name="connsiteY0" fmla="*/ 111 h 22336"/>
                  <a:gd name="connsiteX1" fmla="*/ 15960 w 20945"/>
                  <a:gd name="connsiteY1" fmla="*/ 8049 h 22336"/>
                  <a:gd name="connsiteX2" fmla="*/ 11197 w 20945"/>
                  <a:gd name="connsiteY2" fmla="*/ 20749 h 22336"/>
                  <a:gd name="connsiteX3" fmla="*/ 4847 w 20945"/>
                  <a:gd name="connsiteY3" fmla="*/ 22336 h 22336"/>
                  <a:gd name="connsiteX4" fmla="*/ 85 w 20945"/>
                  <a:gd name="connsiteY4" fmla="*/ 17574 h 22336"/>
                  <a:gd name="connsiteX5" fmla="*/ 8022 w 20945"/>
                  <a:gd name="connsiteY5" fmla="*/ 4874 h 22336"/>
                  <a:gd name="connsiteX6" fmla="*/ 20722 w 20945"/>
                  <a:gd name="connsiteY6" fmla="*/ 111 h 223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945" h="22336">
                    <a:moveTo>
                      <a:pt x="20722" y="111"/>
                    </a:moveTo>
                    <a:cubicBezTo>
                      <a:pt x="22045" y="640"/>
                      <a:pt x="17106" y="5184"/>
                      <a:pt x="15960" y="8049"/>
                    </a:cubicBezTo>
                    <a:cubicBezTo>
                      <a:pt x="14327" y="12132"/>
                      <a:pt x="15636" y="17790"/>
                      <a:pt x="11197" y="20749"/>
                    </a:cubicBezTo>
                    <a:cubicBezTo>
                      <a:pt x="9382" y="21959"/>
                      <a:pt x="6964" y="21807"/>
                      <a:pt x="4847" y="22336"/>
                    </a:cubicBezTo>
                    <a:cubicBezTo>
                      <a:pt x="3260" y="20749"/>
                      <a:pt x="333" y="19805"/>
                      <a:pt x="85" y="17574"/>
                    </a:cubicBezTo>
                    <a:cubicBezTo>
                      <a:pt x="-611" y="11309"/>
                      <a:pt x="3026" y="7015"/>
                      <a:pt x="8022" y="4874"/>
                    </a:cubicBezTo>
                    <a:cubicBezTo>
                      <a:pt x="17312" y="892"/>
                      <a:pt x="19399" y="-418"/>
                      <a:pt x="20722" y="111"/>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88" name="Forma libre: forma 333">
                <a:extLst>
                  <a:ext uri="{FF2B5EF4-FFF2-40B4-BE49-F238E27FC236}">
                    <a16:creationId xmlns:a16="http://schemas.microsoft.com/office/drawing/2014/main" id="{133AB884-F283-496E-A0C3-41C1231D5EC1}"/>
                  </a:ext>
                </a:extLst>
              </p:cNvPr>
              <p:cNvSpPr/>
              <p:nvPr/>
            </p:nvSpPr>
            <p:spPr>
              <a:xfrm>
                <a:off x="4468430" y="1639347"/>
                <a:ext cx="30986" cy="22766"/>
              </a:xfrm>
              <a:custGeom>
                <a:avLst/>
                <a:gdLst>
                  <a:gd name="connsiteX0" fmla="*/ 30545 w 30986"/>
                  <a:gd name="connsiteY0" fmla="*/ 6891 h 22766"/>
                  <a:gd name="connsiteX1" fmla="*/ 22608 w 30986"/>
                  <a:gd name="connsiteY1" fmla="*/ 8478 h 22766"/>
                  <a:gd name="connsiteX2" fmla="*/ 11495 w 30986"/>
                  <a:gd name="connsiteY2" fmla="*/ 21178 h 22766"/>
                  <a:gd name="connsiteX3" fmla="*/ 5145 w 30986"/>
                  <a:gd name="connsiteY3" fmla="*/ 22766 h 22766"/>
                  <a:gd name="connsiteX4" fmla="*/ 383 w 30986"/>
                  <a:gd name="connsiteY4" fmla="*/ 19591 h 22766"/>
                  <a:gd name="connsiteX5" fmla="*/ 1970 w 30986"/>
                  <a:gd name="connsiteY5" fmla="*/ 5303 h 22766"/>
                  <a:gd name="connsiteX6" fmla="*/ 8320 w 30986"/>
                  <a:gd name="connsiteY6" fmla="*/ 541 h 22766"/>
                  <a:gd name="connsiteX7" fmla="*/ 30545 w 30986"/>
                  <a:gd name="connsiteY7" fmla="*/ 6891 h 2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0986" h="22766">
                    <a:moveTo>
                      <a:pt x="30545" y="6891"/>
                    </a:moveTo>
                    <a:cubicBezTo>
                      <a:pt x="32926" y="8214"/>
                      <a:pt x="25021" y="7271"/>
                      <a:pt x="22608" y="8478"/>
                    </a:cubicBezTo>
                    <a:cubicBezTo>
                      <a:pt x="19493" y="10035"/>
                      <a:pt x="13145" y="19940"/>
                      <a:pt x="11495" y="21178"/>
                    </a:cubicBezTo>
                    <a:cubicBezTo>
                      <a:pt x="9750" y="22487"/>
                      <a:pt x="7262" y="22237"/>
                      <a:pt x="5145" y="22766"/>
                    </a:cubicBezTo>
                    <a:cubicBezTo>
                      <a:pt x="3558" y="21708"/>
                      <a:pt x="724" y="21468"/>
                      <a:pt x="383" y="19591"/>
                    </a:cubicBezTo>
                    <a:cubicBezTo>
                      <a:pt x="-474" y="14876"/>
                      <a:pt x="127" y="9726"/>
                      <a:pt x="1970" y="5303"/>
                    </a:cubicBezTo>
                    <a:cubicBezTo>
                      <a:pt x="2988" y="2861"/>
                      <a:pt x="5954" y="1724"/>
                      <a:pt x="8320" y="541"/>
                    </a:cubicBezTo>
                    <a:cubicBezTo>
                      <a:pt x="13550" y="-2074"/>
                      <a:pt x="28164" y="5568"/>
                      <a:pt x="30545" y="6891"/>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89" name="Forma libre: forma 334">
                <a:extLst>
                  <a:ext uri="{FF2B5EF4-FFF2-40B4-BE49-F238E27FC236}">
                    <a16:creationId xmlns:a16="http://schemas.microsoft.com/office/drawing/2014/main" id="{B27EA082-AF2B-4E10-BE23-C2C7ACF3183B}"/>
                  </a:ext>
                </a:extLst>
              </p:cNvPr>
              <p:cNvSpPr/>
              <p:nvPr/>
            </p:nvSpPr>
            <p:spPr>
              <a:xfrm>
                <a:off x="4584690" y="1382713"/>
                <a:ext cx="64167" cy="63500"/>
              </a:xfrm>
              <a:custGeom>
                <a:avLst/>
                <a:gdLst>
                  <a:gd name="connsiteX0" fmla="*/ 60335 w 64167"/>
                  <a:gd name="connsiteY0" fmla="*/ 39687 h 63500"/>
                  <a:gd name="connsiteX1" fmla="*/ 46048 w 64167"/>
                  <a:gd name="connsiteY1" fmla="*/ 30162 h 63500"/>
                  <a:gd name="connsiteX2" fmla="*/ 41285 w 64167"/>
                  <a:gd name="connsiteY2" fmla="*/ 25400 h 63500"/>
                  <a:gd name="connsiteX3" fmla="*/ 25410 w 64167"/>
                  <a:gd name="connsiteY3" fmla="*/ 26987 h 63500"/>
                  <a:gd name="connsiteX4" fmla="*/ 22235 w 64167"/>
                  <a:gd name="connsiteY4" fmla="*/ 20637 h 63500"/>
                  <a:gd name="connsiteX5" fmla="*/ 20648 w 64167"/>
                  <a:gd name="connsiteY5" fmla="*/ 0 h 63500"/>
                  <a:gd name="connsiteX6" fmla="*/ 14298 w 64167"/>
                  <a:gd name="connsiteY6" fmla="*/ 14287 h 63500"/>
                  <a:gd name="connsiteX7" fmla="*/ 6360 w 64167"/>
                  <a:gd name="connsiteY7" fmla="*/ 23812 h 63500"/>
                  <a:gd name="connsiteX8" fmla="*/ 1598 w 64167"/>
                  <a:gd name="connsiteY8" fmla="*/ 26987 h 63500"/>
                  <a:gd name="connsiteX9" fmla="*/ 10 w 64167"/>
                  <a:gd name="connsiteY9" fmla="*/ 33337 h 63500"/>
                  <a:gd name="connsiteX10" fmla="*/ 3185 w 64167"/>
                  <a:gd name="connsiteY10" fmla="*/ 52387 h 63500"/>
                  <a:gd name="connsiteX11" fmla="*/ 4773 w 64167"/>
                  <a:gd name="connsiteY11" fmla="*/ 63500 h 63500"/>
                  <a:gd name="connsiteX12" fmla="*/ 12710 w 64167"/>
                  <a:gd name="connsiteY12" fmla="*/ 55562 h 63500"/>
                  <a:gd name="connsiteX13" fmla="*/ 20648 w 64167"/>
                  <a:gd name="connsiteY13" fmla="*/ 46037 h 63500"/>
                  <a:gd name="connsiteX14" fmla="*/ 26998 w 64167"/>
                  <a:gd name="connsiteY14" fmla="*/ 41275 h 63500"/>
                  <a:gd name="connsiteX15" fmla="*/ 61923 w 64167"/>
                  <a:gd name="connsiteY15" fmla="*/ 39687 h 63500"/>
                  <a:gd name="connsiteX16" fmla="*/ 60335 w 64167"/>
                  <a:gd name="connsiteY16" fmla="*/ 39687 h 6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4167" h="63500">
                    <a:moveTo>
                      <a:pt x="60335" y="39687"/>
                    </a:moveTo>
                    <a:cubicBezTo>
                      <a:pt x="57689" y="38099"/>
                      <a:pt x="51196" y="34574"/>
                      <a:pt x="46048" y="30162"/>
                    </a:cubicBezTo>
                    <a:cubicBezTo>
                      <a:pt x="44343" y="28701"/>
                      <a:pt x="42873" y="26987"/>
                      <a:pt x="41285" y="25400"/>
                    </a:cubicBezTo>
                    <a:cubicBezTo>
                      <a:pt x="35993" y="25929"/>
                      <a:pt x="30569" y="28277"/>
                      <a:pt x="25410" y="26987"/>
                    </a:cubicBezTo>
                    <a:cubicBezTo>
                      <a:pt x="23114" y="26413"/>
                      <a:pt x="22646" y="22968"/>
                      <a:pt x="22235" y="20637"/>
                    </a:cubicBezTo>
                    <a:cubicBezTo>
                      <a:pt x="21036" y="13843"/>
                      <a:pt x="21177" y="6879"/>
                      <a:pt x="20648" y="0"/>
                    </a:cubicBezTo>
                    <a:cubicBezTo>
                      <a:pt x="13464" y="10776"/>
                      <a:pt x="21853" y="-2712"/>
                      <a:pt x="14298" y="14287"/>
                    </a:cubicBezTo>
                    <a:cubicBezTo>
                      <a:pt x="12828" y="17595"/>
                      <a:pt x="9001" y="21611"/>
                      <a:pt x="6360" y="23812"/>
                    </a:cubicBezTo>
                    <a:cubicBezTo>
                      <a:pt x="4894" y="25033"/>
                      <a:pt x="3185" y="25929"/>
                      <a:pt x="1598" y="26987"/>
                    </a:cubicBezTo>
                    <a:cubicBezTo>
                      <a:pt x="1069" y="29104"/>
                      <a:pt x="-126" y="31159"/>
                      <a:pt x="10" y="33337"/>
                    </a:cubicBezTo>
                    <a:cubicBezTo>
                      <a:pt x="411" y="39762"/>
                      <a:pt x="2181" y="46028"/>
                      <a:pt x="3185" y="52387"/>
                    </a:cubicBezTo>
                    <a:cubicBezTo>
                      <a:pt x="3769" y="56083"/>
                      <a:pt x="4244" y="59796"/>
                      <a:pt x="4773" y="63500"/>
                    </a:cubicBezTo>
                    <a:cubicBezTo>
                      <a:pt x="7419" y="60854"/>
                      <a:pt x="10193" y="58331"/>
                      <a:pt x="12710" y="55562"/>
                    </a:cubicBezTo>
                    <a:cubicBezTo>
                      <a:pt x="15490" y="52504"/>
                      <a:pt x="17725" y="48959"/>
                      <a:pt x="20648" y="46037"/>
                    </a:cubicBezTo>
                    <a:cubicBezTo>
                      <a:pt x="22519" y="44166"/>
                      <a:pt x="24383" y="41677"/>
                      <a:pt x="26998" y="41275"/>
                    </a:cubicBezTo>
                    <a:cubicBezTo>
                      <a:pt x="38516" y="39503"/>
                      <a:pt x="50281" y="40216"/>
                      <a:pt x="61923" y="39687"/>
                    </a:cubicBezTo>
                    <a:cubicBezTo>
                      <a:pt x="66566" y="32724"/>
                      <a:pt x="62981" y="41275"/>
                      <a:pt x="60335" y="39687"/>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90" name="Forma libre: forma 335">
                <a:extLst>
                  <a:ext uri="{FF2B5EF4-FFF2-40B4-BE49-F238E27FC236}">
                    <a16:creationId xmlns:a16="http://schemas.microsoft.com/office/drawing/2014/main" id="{93257FC0-7581-4D75-8749-F1AB0E05FC58}"/>
                  </a:ext>
                </a:extLst>
              </p:cNvPr>
              <p:cNvSpPr/>
              <p:nvPr/>
            </p:nvSpPr>
            <p:spPr>
              <a:xfrm>
                <a:off x="4593867" y="1344613"/>
                <a:ext cx="13154" cy="28316"/>
              </a:xfrm>
              <a:custGeom>
                <a:avLst/>
                <a:gdLst>
                  <a:gd name="connsiteX0" fmla="*/ 358 w 13154"/>
                  <a:gd name="connsiteY0" fmla="*/ 26987 h 28316"/>
                  <a:gd name="connsiteX1" fmla="*/ 9883 w 13154"/>
                  <a:gd name="connsiteY1" fmla="*/ 25400 h 28316"/>
                  <a:gd name="connsiteX2" fmla="*/ 13058 w 13154"/>
                  <a:gd name="connsiteY2" fmla="*/ 20637 h 28316"/>
                  <a:gd name="connsiteX3" fmla="*/ 9883 w 13154"/>
                  <a:gd name="connsiteY3" fmla="*/ 0 h 28316"/>
                  <a:gd name="connsiteX4" fmla="*/ 3533 w 13154"/>
                  <a:gd name="connsiteY4" fmla="*/ 6350 h 28316"/>
                  <a:gd name="connsiteX5" fmla="*/ 358 w 13154"/>
                  <a:gd name="connsiteY5" fmla="*/ 26987 h 28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154" h="28316">
                    <a:moveTo>
                      <a:pt x="358" y="26987"/>
                    </a:moveTo>
                    <a:cubicBezTo>
                      <a:pt x="1416" y="30162"/>
                      <a:pt x="7004" y="26839"/>
                      <a:pt x="9883" y="25400"/>
                    </a:cubicBezTo>
                    <a:cubicBezTo>
                      <a:pt x="11590" y="24547"/>
                      <a:pt x="12899" y="22538"/>
                      <a:pt x="13058" y="20637"/>
                    </a:cubicBezTo>
                    <a:cubicBezTo>
                      <a:pt x="13630" y="13777"/>
                      <a:pt x="11541" y="6629"/>
                      <a:pt x="9883" y="0"/>
                    </a:cubicBezTo>
                    <a:cubicBezTo>
                      <a:pt x="7766" y="2117"/>
                      <a:pt x="5429" y="4033"/>
                      <a:pt x="3533" y="6350"/>
                    </a:cubicBezTo>
                    <a:cubicBezTo>
                      <a:pt x="651" y="9873"/>
                      <a:pt x="-700" y="23812"/>
                      <a:pt x="358" y="26987"/>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91" name="Forma libre: forma 336">
                <a:extLst>
                  <a:ext uri="{FF2B5EF4-FFF2-40B4-BE49-F238E27FC236}">
                    <a16:creationId xmlns:a16="http://schemas.microsoft.com/office/drawing/2014/main" id="{33708477-FAC3-4749-92BD-3B8204C5EFCD}"/>
                  </a:ext>
                </a:extLst>
              </p:cNvPr>
              <p:cNvSpPr/>
              <p:nvPr/>
            </p:nvSpPr>
            <p:spPr>
              <a:xfrm>
                <a:off x="4481490" y="1299817"/>
                <a:ext cx="19017" cy="41621"/>
              </a:xfrm>
              <a:custGeom>
                <a:avLst/>
                <a:gdLst>
                  <a:gd name="connsiteX0" fmla="*/ 6373 w 19017"/>
                  <a:gd name="connsiteY0" fmla="*/ 6696 h 41621"/>
                  <a:gd name="connsiteX1" fmla="*/ 23 w 19017"/>
                  <a:gd name="connsiteY1" fmla="*/ 25746 h 41621"/>
                  <a:gd name="connsiteX2" fmla="*/ 3198 w 19017"/>
                  <a:gd name="connsiteY2" fmla="*/ 41621 h 41621"/>
                  <a:gd name="connsiteX3" fmla="*/ 11135 w 19017"/>
                  <a:gd name="connsiteY3" fmla="*/ 9871 h 41621"/>
                  <a:gd name="connsiteX4" fmla="*/ 15898 w 19017"/>
                  <a:gd name="connsiteY4" fmla="*/ 8283 h 41621"/>
                  <a:gd name="connsiteX5" fmla="*/ 6373 w 19017"/>
                  <a:gd name="connsiteY5" fmla="*/ 6696 h 41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017" h="41621">
                    <a:moveTo>
                      <a:pt x="6373" y="6696"/>
                    </a:moveTo>
                    <a:cubicBezTo>
                      <a:pt x="3727" y="9606"/>
                      <a:pt x="-343" y="20256"/>
                      <a:pt x="23" y="25746"/>
                    </a:cubicBezTo>
                    <a:cubicBezTo>
                      <a:pt x="382" y="31131"/>
                      <a:pt x="2140" y="36329"/>
                      <a:pt x="3198" y="41621"/>
                    </a:cubicBezTo>
                    <a:cubicBezTo>
                      <a:pt x="18382" y="36557"/>
                      <a:pt x="2759" y="43373"/>
                      <a:pt x="11135" y="9871"/>
                    </a:cubicBezTo>
                    <a:cubicBezTo>
                      <a:pt x="11541" y="8247"/>
                      <a:pt x="14310" y="8812"/>
                      <a:pt x="15898" y="8283"/>
                    </a:cubicBezTo>
                    <a:cubicBezTo>
                      <a:pt x="25857" y="-7653"/>
                      <a:pt x="9019" y="3786"/>
                      <a:pt x="6373" y="6696"/>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92" name="Forma libre: forma 337">
                <a:extLst>
                  <a:ext uri="{FF2B5EF4-FFF2-40B4-BE49-F238E27FC236}">
                    <a16:creationId xmlns:a16="http://schemas.microsoft.com/office/drawing/2014/main" id="{03DF8579-3883-4B1D-AC17-3DA1BEFA0EF8}"/>
                  </a:ext>
                </a:extLst>
              </p:cNvPr>
              <p:cNvSpPr/>
              <p:nvPr/>
            </p:nvSpPr>
            <p:spPr>
              <a:xfrm>
                <a:off x="4511413" y="1263338"/>
                <a:ext cx="30425" cy="32062"/>
              </a:xfrm>
              <a:custGeom>
                <a:avLst/>
                <a:gdLst>
                  <a:gd name="connsiteX0" fmla="*/ 5025 w 30425"/>
                  <a:gd name="connsiteY0" fmla="*/ 312 h 32062"/>
                  <a:gd name="connsiteX1" fmla="*/ 17725 w 30425"/>
                  <a:gd name="connsiteY1" fmla="*/ 32062 h 32062"/>
                  <a:gd name="connsiteX2" fmla="*/ 19312 w 30425"/>
                  <a:gd name="connsiteY2" fmla="*/ 20950 h 32062"/>
                  <a:gd name="connsiteX3" fmla="*/ 24075 w 30425"/>
                  <a:gd name="connsiteY3" fmla="*/ 17775 h 32062"/>
                  <a:gd name="connsiteX4" fmla="*/ 27250 w 30425"/>
                  <a:gd name="connsiteY4" fmla="*/ 11425 h 32062"/>
                  <a:gd name="connsiteX5" fmla="*/ 30425 w 30425"/>
                  <a:gd name="connsiteY5" fmla="*/ 6662 h 32062"/>
                  <a:gd name="connsiteX6" fmla="*/ 25662 w 30425"/>
                  <a:gd name="connsiteY6" fmla="*/ 1900 h 32062"/>
                  <a:gd name="connsiteX7" fmla="*/ 1850 w 30425"/>
                  <a:gd name="connsiteY7" fmla="*/ 9837 h 32062"/>
                  <a:gd name="connsiteX8" fmla="*/ 262 w 30425"/>
                  <a:gd name="connsiteY8" fmla="*/ 14600 h 32062"/>
                  <a:gd name="connsiteX9" fmla="*/ 5025 w 30425"/>
                  <a:gd name="connsiteY9" fmla="*/ 312 h 320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425" h="32062">
                    <a:moveTo>
                      <a:pt x="5025" y="312"/>
                    </a:moveTo>
                    <a:cubicBezTo>
                      <a:pt x="7936" y="3222"/>
                      <a:pt x="1407" y="27984"/>
                      <a:pt x="17725" y="32062"/>
                    </a:cubicBezTo>
                    <a:cubicBezTo>
                      <a:pt x="18254" y="28358"/>
                      <a:pt x="17792" y="24369"/>
                      <a:pt x="19312" y="20950"/>
                    </a:cubicBezTo>
                    <a:cubicBezTo>
                      <a:pt x="20087" y="19206"/>
                      <a:pt x="22853" y="19241"/>
                      <a:pt x="24075" y="17775"/>
                    </a:cubicBezTo>
                    <a:cubicBezTo>
                      <a:pt x="25590" y="15957"/>
                      <a:pt x="26076" y="13480"/>
                      <a:pt x="27250" y="11425"/>
                    </a:cubicBezTo>
                    <a:cubicBezTo>
                      <a:pt x="28197" y="9768"/>
                      <a:pt x="29367" y="8250"/>
                      <a:pt x="30425" y="6662"/>
                    </a:cubicBezTo>
                    <a:cubicBezTo>
                      <a:pt x="28837" y="5075"/>
                      <a:pt x="27902" y="2049"/>
                      <a:pt x="25662" y="1900"/>
                    </a:cubicBezTo>
                    <a:cubicBezTo>
                      <a:pt x="9049" y="793"/>
                      <a:pt x="9542" y="2145"/>
                      <a:pt x="1850" y="9837"/>
                    </a:cubicBezTo>
                    <a:cubicBezTo>
                      <a:pt x="1321" y="11425"/>
                      <a:pt x="1445" y="13417"/>
                      <a:pt x="262" y="14600"/>
                    </a:cubicBezTo>
                    <a:cubicBezTo>
                      <a:pt x="-921" y="15783"/>
                      <a:pt x="2114" y="-2598"/>
                      <a:pt x="5025" y="312"/>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93" name="Forma libre: forma 338">
                <a:extLst>
                  <a:ext uri="{FF2B5EF4-FFF2-40B4-BE49-F238E27FC236}">
                    <a16:creationId xmlns:a16="http://schemas.microsoft.com/office/drawing/2014/main" id="{E0A2B278-6EEB-451D-8935-07B669211943}"/>
                  </a:ext>
                </a:extLst>
              </p:cNvPr>
              <p:cNvSpPr/>
              <p:nvPr/>
            </p:nvSpPr>
            <p:spPr>
              <a:xfrm>
                <a:off x="4557648" y="1242809"/>
                <a:ext cx="44537" cy="38076"/>
              </a:xfrm>
              <a:custGeom>
                <a:avLst/>
                <a:gdLst>
                  <a:gd name="connsiteX0" fmla="*/ 11177 w 44537"/>
                  <a:gd name="connsiteY0" fmla="*/ 14491 h 38076"/>
                  <a:gd name="connsiteX1" fmla="*/ 65 w 44537"/>
                  <a:gd name="connsiteY1" fmla="*/ 20841 h 38076"/>
                  <a:gd name="connsiteX2" fmla="*/ 4827 w 44537"/>
                  <a:gd name="connsiteY2" fmla="*/ 25604 h 38076"/>
                  <a:gd name="connsiteX3" fmla="*/ 8002 w 44537"/>
                  <a:gd name="connsiteY3" fmla="*/ 35129 h 38076"/>
                  <a:gd name="connsiteX4" fmla="*/ 28640 w 44537"/>
                  <a:gd name="connsiteY4" fmla="*/ 27191 h 38076"/>
                  <a:gd name="connsiteX5" fmla="*/ 34990 w 44537"/>
                  <a:gd name="connsiteY5" fmla="*/ 19254 h 38076"/>
                  <a:gd name="connsiteX6" fmla="*/ 42927 w 44537"/>
                  <a:gd name="connsiteY6" fmla="*/ 12904 h 38076"/>
                  <a:gd name="connsiteX7" fmla="*/ 44515 w 44537"/>
                  <a:gd name="connsiteY7" fmla="*/ 8141 h 38076"/>
                  <a:gd name="connsiteX8" fmla="*/ 41340 w 44537"/>
                  <a:gd name="connsiteY8" fmla="*/ 204 h 38076"/>
                  <a:gd name="connsiteX9" fmla="*/ 36577 w 44537"/>
                  <a:gd name="connsiteY9" fmla="*/ 3379 h 38076"/>
                  <a:gd name="connsiteX10" fmla="*/ 30227 w 44537"/>
                  <a:gd name="connsiteY10" fmla="*/ 11316 h 38076"/>
                  <a:gd name="connsiteX11" fmla="*/ 17527 w 44537"/>
                  <a:gd name="connsiteY11" fmla="*/ 16079 h 38076"/>
                  <a:gd name="connsiteX12" fmla="*/ 11177 w 44537"/>
                  <a:gd name="connsiteY12" fmla="*/ 14491 h 38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4537" h="38076">
                    <a:moveTo>
                      <a:pt x="11177" y="14491"/>
                    </a:moveTo>
                    <a:cubicBezTo>
                      <a:pt x="9361" y="14854"/>
                      <a:pt x="-914" y="14965"/>
                      <a:pt x="65" y="20841"/>
                    </a:cubicBezTo>
                    <a:cubicBezTo>
                      <a:pt x="434" y="23056"/>
                      <a:pt x="3240" y="24016"/>
                      <a:pt x="4827" y="25604"/>
                    </a:cubicBezTo>
                    <a:cubicBezTo>
                      <a:pt x="5885" y="28779"/>
                      <a:pt x="4878" y="33928"/>
                      <a:pt x="8002" y="35129"/>
                    </a:cubicBezTo>
                    <a:cubicBezTo>
                      <a:pt x="26615" y="42287"/>
                      <a:pt x="23340" y="35141"/>
                      <a:pt x="28640" y="27191"/>
                    </a:cubicBezTo>
                    <a:cubicBezTo>
                      <a:pt x="30519" y="24372"/>
                      <a:pt x="32594" y="21650"/>
                      <a:pt x="34990" y="19254"/>
                    </a:cubicBezTo>
                    <a:cubicBezTo>
                      <a:pt x="37386" y="16858"/>
                      <a:pt x="40281" y="15021"/>
                      <a:pt x="42927" y="12904"/>
                    </a:cubicBezTo>
                    <a:cubicBezTo>
                      <a:pt x="43456" y="11316"/>
                      <a:pt x="44723" y="9802"/>
                      <a:pt x="44515" y="8141"/>
                    </a:cubicBezTo>
                    <a:cubicBezTo>
                      <a:pt x="44162" y="5313"/>
                      <a:pt x="43784" y="1670"/>
                      <a:pt x="41340" y="204"/>
                    </a:cubicBezTo>
                    <a:cubicBezTo>
                      <a:pt x="39704" y="-778"/>
                      <a:pt x="37926" y="2030"/>
                      <a:pt x="36577" y="3379"/>
                    </a:cubicBezTo>
                    <a:cubicBezTo>
                      <a:pt x="34181" y="5775"/>
                      <a:pt x="33046" y="9437"/>
                      <a:pt x="30227" y="11316"/>
                    </a:cubicBezTo>
                    <a:cubicBezTo>
                      <a:pt x="26465" y="13824"/>
                      <a:pt x="21760" y="14491"/>
                      <a:pt x="17527" y="16079"/>
                    </a:cubicBezTo>
                    <a:lnTo>
                      <a:pt x="11177" y="14491"/>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94" name="Forma libre: forma 339">
                <a:extLst>
                  <a:ext uri="{FF2B5EF4-FFF2-40B4-BE49-F238E27FC236}">
                    <a16:creationId xmlns:a16="http://schemas.microsoft.com/office/drawing/2014/main" id="{C9E4B7BF-29E3-47F4-837A-05838FFB4B4A}"/>
                  </a:ext>
                </a:extLst>
              </p:cNvPr>
              <p:cNvSpPr/>
              <p:nvPr/>
            </p:nvSpPr>
            <p:spPr>
              <a:xfrm>
                <a:off x="4624335" y="1211231"/>
                <a:ext cx="27099" cy="46069"/>
              </a:xfrm>
              <a:custGeom>
                <a:avLst/>
                <a:gdLst>
                  <a:gd name="connsiteX0" fmla="*/ 27040 w 27099"/>
                  <a:gd name="connsiteY0" fmla="*/ 1619 h 46069"/>
                  <a:gd name="connsiteX1" fmla="*/ 22278 w 27099"/>
                  <a:gd name="connsiteY1" fmla="*/ 9557 h 46069"/>
                  <a:gd name="connsiteX2" fmla="*/ 7990 w 27099"/>
                  <a:gd name="connsiteY2" fmla="*/ 20669 h 46069"/>
                  <a:gd name="connsiteX3" fmla="*/ 4815 w 27099"/>
                  <a:gd name="connsiteY3" fmla="*/ 25432 h 46069"/>
                  <a:gd name="connsiteX4" fmla="*/ 53 w 27099"/>
                  <a:gd name="connsiteY4" fmla="*/ 28607 h 46069"/>
                  <a:gd name="connsiteX5" fmla="*/ 3228 w 27099"/>
                  <a:gd name="connsiteY5" fmla="*/ 46069 h 46069"/>
                  <a:gd name="connsiteX6" fmla="*/ 19103 w 27099"/>
                  <a:gd name="connsiteY6" fmla="*/ 44482 h 46069"/>
                  <a:gd name="connsiteX7" fmla="*/ 27040 w 27099"/>
                  <a:gd name="connsiteY7" fmla="*/ 1619 h 46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099" h="46069">
                    <a:moveTo>
                      <a:pt x="27040" y="1619"/>
                    </a:moveTo>
                    <a:cubicBezTo>
                      <a:pt x="27569" y="-4202"/>
                      <a:pt x="24460" y="7375"/>
                      <a:pt x="22278" y="9557"/>
                    </a:cubicBezTo>
                    <a:cubicBezTo>
                      <a:pt x="18012" y="13823"/>
                      <a:pt x="7990" y="20669"/>
                      <a:pt x="7990" y="20669"/>
                    </a:cubicBezTo>
                    <a:cubicBezTo>
                      <a:pt x="6932" y="22257"/>
                      <a:pt x="6164" y="24083"/>
                      <a:pt x="4815" y="25432"/>
                    </a:cubicBezTo>
                    <a:cubicBezTo>
                      <a:pt x="3466" y="26781"/>
                      <a:pt x="199" y="26705"/>
                      <a:pt x="53" y="28607"/>
                    </a:cubicBezTo>
                    <a:cubicBezTo>
                      <a:pt x="-401" y="34506"/>
                      <a:pt x="2170" y="40248"/>
                      <a:pt x="3228" y="46069"/>
                    </a:cubicBezTo>
                    <a:cubicBezTo>
                      <a:pt x="8520" y="45540"/>
                      <a:pt x="14139" y="46391"/>
                      <a:pt x="19103" y="44482"/>
                    </a:cubicBezTo>
                    <a:cubicBezTo>
                      <a:pt x="27992" y="41063"/>
                      <a:pt x="26511" y="7440"/>
                      <a:pt x="27040" y="1619"/>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95" name="Forma libre: forma 340">
                <a:extLst>
                  <a:ext uri="{FF2B5EF4-FFF2-40B4-BE49-F238E27FC236}">
                    <a16:creationId xmlns:a16="http://schemas.microsoft.com/office/drawing/2014/main" id="{572D474C-D5FA-4FBE-A1CE-4B3189B212F3}"/>
                  </a:ext>
                </a:extLst>
              </p:cNvPr>
              <p:cNvSpPr/>
              <p:nvPr/>
            </p:nvSpPr>
            <p:spPr>
              <a:xfrm>
                <a:off x="4638675" y="1081088"/>
                <a:ext cx="71438" cy="169024"/>
              </a:xfrm>
              <a:custGeom>
                <a:avLst/>
                <a:gdLst>
                  <a:gd name="connsiteX0" fmla="*/ 46038 w 71438"/>
                  <a:gd name="connsiteY0" fmla="*/ 22225 h 169024"/>
                  <a:gd name="connsiteX1" fmla="*/ 39688 w 71438"/>
                  <a:gd name="connsiteY1" fmla="*/ 0 h 169024"/>
                  <a:gd name="connsiteX2" fmla="*/ 20638 w 71438"/>
                  <a:gd name="connsiteY2" fmla="*/ 12700 h 169024"/>
                  <a:gd name="connsiteX3" fmla="*/ 11113 w 71438"/>
                  <a:gd name="connsiteY3" fmla="*/ 31750 h 169024"/>
                  <a:gd name="connsiteX4" fmla="*/ 9525 w 71438"/>
                  <a:gd name="connsiteY4" fmla="*/ 46037 h 169024"/>
                  <a:gd name="connsiteX5" fmla="*/ 1588 w 71438"/>
                  <a:gd name="connsiteY5" fmla="*/ 52387 h 169024"/>
                  <a:gd name="connsiteX6" fmla="*/ 0 w 71438"/>
                  <a:gd name="connsiteY6" fmla="*/ 58737 h 169024"/>
                  <a:gd name="connsiteX7" fmla="*/ 1588 w 71438"/>
                  <a:gd name="connsiteY7" fmla="*/ 71437 h 169024"/>
                  <a:gd name="connsiteX8" fmla="*/ 7938 w 71438"/>
                  <a:gd name="connsiteY8" fmla="*/ 73025 h 169024"/>
                  <a:gd name="connsiteX9" fmla="*/ 0 w 71438"/>
                  <a:gd name="connsiteY9" fmla="*/ 82550 h 169024"/>
                  <a:gd name="connsiteX10" fmla="*/ 3175 w 71438"/>
                  <a:gd name="connsiteY10" fmla="*/ 103187 h 169024"/>
                  <a:gd name="connsiteX11" fmla="*/ 6350 w 71438"/>
                  <a:gd name="connsiteY11" fmla="*/ 109537 h 169024"/>
                  <a:gd name="connsiteX12" fmla="*/ 7938 w 71438"/>
                  <a:gd name="connsiteY12" fmla="*/ 123825 h 169024"/>
                  <a:gd name="connsiteX13" fmla="*/ 15875 w 71438"/>
                  <a:gd name="connsiteY13" fmla="*/ 125412 h 169024"/>
                  <a:gd name="connsiteX14" fmla="*/ 17463 w 71438"/>
                  <a:gd name="connsiteY14" fmla="*/ 130175 h 169024"/>
                  <a:gd name="connsiteX15" fmla="*/ 11113 w 71438"/>
                  <a:gd name="connsiteY15" fmla="*/ 136525 h 169024"/>
                  <a:gd name="connsiteX16" fmla="*/ 7938 w 71438"/>
                  <a:gd name="connsiteY16" fmla="*/ 142875 h 169024"/>
                  <a:gd name="connsiteX17" fmla="*/ 9525 w 71438"/>
                  <a:gd name="connsiteY17" fmla="*/ 168275 h 169024"/>
                  <a:gd name="connsiteX18" fmla="*/ 17463 w 71438"/>
                  <a:gd name="connsiteY18" fmla="*/ 161925 h 169024"/>
                  <a:gd name="connsiteX19" fmla="*/ 23813 w 71438"/>
                  <a:gd name="connsiteY19" fmla="*/ 153987 h 169024"/>
                  <a:gd name="connsiteX20" fmla="*/ 26988 w 71438"/>
                  <a:gd name="connsiteY20" fmla="*/ 144462 h 169024"/>
                  <a:gd name="connsiteX21" fmla="*/ 31750 w 71438"/>
                  <a:gd name="connsiteY21" fmla="*/ 142875 h 169024"/>
                  <a:gd name="connsiteX22" fmla="*/ 42863 w 71438"/>
                  <a:gd name="connsiteY22" fmla="*/ 141287 h 169024"/>
                  <a:gd name="connsiteX23" fmla="*/ 52388 w 71438"/>
                  <a:gd name="connsiteY23" fmla="*/ 130175 h 169024"/>
                  <a:gd name="connsiteX24" fmla="*/ 68263 w 71438"/>
                  <a:gd name="connsiteY24" fmla="*/ 106362 h 169024"/>
                  <a:gd name="connsiteX25" fmla="*/ 69850 w 71438"/>
                  <a:gd name="connsiteY25" fmla="*/ 100012 h 169024"/>
                  <a:gd name="connsiteX26" fmla="*/ 71438 w 71438"/>
                  <a:gd name="connsiteY26" fmla="*/ 95250 h 169024"/>
                  <a:gd name="connsiteX27" fmla="*/ 69850 w 71438"/>
                  <a:gd name="connsiteY27" fmla="*/ 77787 h 169024"/>
                  <a:gd name="connsiteX28" fmla="*/ 63500 w 71438"/>
                  <a:gd name="connsiteY28" fmla="*/ 66675 h 169024"/>
                  <a:gd name="connsiteX29" fmla="*/ 55563 w 71438"/>
                  <a:gd name="connsiteY29" fmla="*/ 79375 h 169024"/>
                  <a:gd name="connsiteX30" fmla="*/ 49213 w 71438"/>
                  <a:gd name="connsiteY30" fmla="*/ 88900 h 169024"/>
                  <a:gd name="connsiteX31" fmla="*/ 44450 w 71438"/>
                  <a:gd name="connsiteY31" fmla="*/ 100012 h 169024"/>
                  <a:gd name="connsiteX32" fmla="*/ 39688 w 71438"/>
                  <a:gd name="connsiteY32" fmla="*/ 101600 h 169024"/>
                  <a:gd name="connsiteX33" fmla="*/ 30163 w 71438"/>
                  <a:gd name="connsiteY33" fmla="*/ 90487 h 169024"/>
                  <a:gd name="connsiteX34" fmla="*/ 28575 w 71438"/>
                  <a:gd name="connsiteY34" fmla="*/ 80962 h 169024"/>
                  <a:gd name="connsiteX35" fmla="*/ 33338 w 71438"/>
                  <a:gd name="connsiteY35" fmla="*/ 26987 h 169024"/>
                  <a:gd name="connsiteX36" fmla="*/ 38100 w 71438"/>
                  <a:gd name="connsiteY36" fmla="*/ 22225 h 169024"/>
                  <a:gd name="connsiteX37" fmla="*/ 46038 w 71438"/>
                  <a:gd name="connsiteY37" fmla="*/ 22225 h 169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71438" h="169024">
                    <a:moveTo>
                      <a:pt x="46038" y="22225"/>
                    </a:moveTo>
                    <a:cubicBezTo>
                      <a:pt x="46303" y="18521"/>
                      <a:pt x="45276" y="11177"/>
                      <a:pt x="39688" y="0"/>
                    </a:cubicBezTo>
                    <a:cubicBezTo>
                      <a:pt x="31221" y="2822"/>
                      <a:pt x="25395" y="3187"/>
                      <a:pt x="20638" y="12700"/>
                    </a:cubicBezTo>
                    <a:lnTo>
                      <a:pt x="11113" y="31750"/>
                    </a:lnTo>
                    <a:cubicBezTo>
                      <a:pt x="10584" y="36512"/>
                      <a:pt x="11533" y="41686"/>
                      <a:pt x="9525" y="46037"/>
                    </a:cubicBezTo>
                    <a:cubicBezTo>
                      <a:pt x="8105" y="49113"/>
                      <a:pt x="3621" y="49676"/>
                      <a:pt x="1588" y="52387"/>
                    </a:cubicBezTo>
                    <a:cubicBezTo>
                      <a:pt x="279" y="54132"/>
                      <a:pt x="529" y="56620"/>
                      <a:pt x="0" y="58737"/>
                    </a:cubicBezTo>
                    <a:cubicBezTo>
                      <a:pt x="529" y="62970"/>
                      <a:pt x="-484" y="67708"/>
                      <a:pt x="1588" y="71437"/>
                    </a:cubicBezTo>
                    <a:cubicBezTo>
                      <a:pt x="2648" y="73344"/>
                      <a:pt x="6962" y="71073"/>
                      <a:pt x="7938" y="73025"/>
                    </a:cubicBezTo>
                    <a:cubicBezTo>
                      <a:pt x="8675" y="74498"/>
                      <a:pt x="43" y="82507"/>
                      <a:pt x="0" y="82550"/>
                    </a:cubicBezTo>
                    <a:cubicBezTo>
                      <a:pt x="1058" y="89429"/>
                      <a:pt x="1581" y="96412"/>
                      <a:pt x="3175" y="103187"/>
                    </a:cubicBezTo>
                    <a:cubicBezTo>
                      <a:pt x="3717" y="105491"/>
                      <a:pt x="5818" y="107231"/>
                      <a:pt x="6350" y="109537"/>
                    </a:cubicBezTo>
                    <a:cubicBezTo>
                      <a:pt x="7428" y="114206"/>
                      <a:pt x="5473" y="119716"/>
                      <a:pt x="7938" y="123825"/>
                    </a:cubicBezTo>
                    <a:cubicBezTo>
                      <a:pt x="9326" y="126139"/>
                      <a:pt x="13229" y="124883"/>
                      <a:pt x="15875" y="125412"/>
                    </a:cubicBezTo>
                    <a:cubicBezTo>
                      <a:pt x="16404" y="127000"/>
                      <a:pt x="18122" y="128637"/>
                      <a:pt x="17463" y="130175"/>
                    </a:cubicBezTo>
                    <a:cubicBezTo>
                      <a:pt x="16284" y="132926"/>
                      <a:pt x="12909" y="134130"/>
                      <a:pt x="11113" y="136525"/>
                    </a:cubicBezTo>
                    <a:cubicBezTo>
                      <a:pt x="9693" y="138418"/>
                      <a:pt x="8996" y="140758"/>
                      <a:pt x="7938" y="142875"/>
                    </a:cubicBezTo>
                    <a:cubicBezTo>
                      <a:pt x="8467" y="151342"/>
                      <a:pt x="5731" y="160687"/>
                      <a:pt x="9525" y="168275"/>
                    </a:cubicBezTo>
                    <a:cubicBezTo>
                      <a:pt x="11040" y="171306"/>
                      <a:pt x="15067" y="164321"/>
                      <a:pt x="17463" y="161925"/>
                    </a:cubicBezTo>
                    <a:cubicBezTo>
                      <a:pt x="19859" y="159529"/>
                      <a:pt x="21696" y="156633"/>
                      <a:pt x="23813" y="153987"/>
                    </a:cubicBezTo>
                    <a:cubicBezTo>
                      <a:pt x="24871" y="150812"/>
                      <a:pt x="25043" y="147185"/>
                      <a:pt x="26988" y="144462"/>
                    </a:cubicBezTo>
                    <a:cubicBezTo>
                      <a:pt x="27960" y="143100"/>
                      <a:pt x="30109" y="143203"/>
                      <a:pt x="31750" y="142875"/>
                    </a:cubicBezTo>
                    <a:cubicBezTo>
                      <a:pt x="35419" y="142141"/>
                      <a:pt x="39159" y="141816"/>
                      <a:pt x="42863" y="141287"/>
                    </a:cubicBezTo>
                    <a:cubicBezTo>
                      <a:pt x="51392" y="138445"/>
                      <a:pt x="46029" y="141479"/>
                      <a:pt x="52388" y="130175"/>
                    </a:cubicBezTo>
                    <a:cubicBezTo>
                      <a:pt x="61285" y="114359"/>
                      <a:pt x="59360" y="117491"/>
                      <a:pt x="68263" y="106362"/>
                    </a:cubicBezTo>
                    <a:cubicBezTo>
                      <a:pt x="68792" y="104245"/>
                      <a:pt x="69251" y="102110"/>
                      <a:pt x="69850" y="100012"/>
                    </a:cubicBezTo>
                    <a:cubicBezTo>
                      <a:pt x="70310" y="98403"/>
                      <a:pt x="71438" y="96923"/>
                      <a:pt x="71438" y="95250"/>
                    </a:cubicBezTo>
                    <a:cubicBezTo>
                      <a:pt x="71438" y="89405"/>
                      <a:pt x="70996" y="83518"/>
                      <a:pt x="69850" y="77787"/>
                    </a:cubicBezTo>
                    <a:cubicBezTo>
                      <a:pt x="69274" y="74909"/>
                      <a:pt x="65204" y="69231"/>
                      <a:pt x="63500" y="66675"/>
                    </a:cubicBezTo>
                    <a:cubicBezTo>
                      <a:pt x="53935" y="69863"/>
                      <a:pt x="61841" y="65772"/>
                      <a:pt x="55563" y="79375"/>
                    </a:cubicBezTo>
                    <a:cubicBezTo>
                      <a:pt x="53964" y="82840"/>
                      <a:pt x="51066" y="85564"/>
                      <a:pt x="49213" y="88900"/>
                    </a:cubicBezTo>
                    <a:cubicBezTo>
                      <a:pt x="46842" y="93168"/>
                      <a:pt x="48422" y="96039"/>
                      <a:pt x="44450" y="100012"/>
                    </a:cubicBezTo>
                    <a:cubicBezTo>
                      <a:pt x="43267" y="101195"/>
                      <a:pt x="41275" y="101071"/>
                      <a:pt x="39688" y="101600"/>
                    </a:cubicBezTo>
                    <a:cubicBezTo>
                      <a:pt x="37677" y="99589"/>
                      <a:pt x="31372" y="94115"/>
                      <a:pt x="30163" y="90487"/>
                    </a:cubicBezTo>
                    <a:cubicBezTo>
                      <a:pt x="29145" y="87433"/>
                      <a:pt x="29104" y="84137"/>
                      <a:pt x="28575" y="80962"/>
                    </a:cubicBezTo>
                    <a:cubicBezTo>
                      <a:pt x="28946" y="72433"/>
                      <a:pt x="28700" y="39975"/>
                      <a:pt x="33338" y="26987"/>
                    </a:cubicBezTo>
                    <a:cubicBezTo>
                      <a:pt x="34093" y="24873"/>
                      <a:pt x="36513" y="23812"/>
                      <a:pt x="38100" y="22225"/>
                    </a:cubicBezTo>
                    <a:cubicBezTo>
                      <a:pt x="41681" y="7901"/>
                      <a:pt x="45773" y="25929"/>
                      <a:pt x="46038" y="22225"/>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96" name="Forma libre: forma 341">
                <a:extLst>
                  <a:ext uri="{FF2B5EF4-FFF2-40B4-BE49-F238E27FC236}">
                    <a16:creationId xmlns:a16="http://schemas.microsoft.com/office/drawing/2014/main" id="{4F1F7EAE-7D88-4AA1-8511-738859576A9B}"/>
                  </a:ext>
                </a:extLst>
              </p:cNvPr>
              <p:cNvSpPr/>
              <p:nvPr/>
            </p:nvSpPr>
            <p:spPr>
              <a:xfrm>
                <a:off x="4695170" y="1110340"/>
                <a:ext cx="24468" cy="16785"/>
              </a:xfrm>
              <a:custGeom>
                <a:avLst/>
                <a:gdLst>
                  <a:gd name="connsiteX0" fmla="*/ 655 w 24468"/>
                  <a:gd name="connsiteY0" fmla="*/ 8848 h 16785"/>
                  <a:gd name="connsiteX1" fmla="*/ 14943 w 24468"/>
                  <a:gd name="connsiteY1" fmla="*/ 12023 h 16785"/>
                  <a:gd name="connsiteX2" fmla="*/ 24468 w 24468"/>
                  <a:gd name="connsiteY2" fmla="*/ 16785 h 16785"/>
                  <a:gd name="connsiteX3" fmla="*/ 21293 w 24468"/>
                  <a:gd name="connsiteY3" fmla="*/ 910 h 16785"/>
                  <a:gd name="connsiteX4" fmla="*/ 8593 w 24468"/>
                  <a:gd name="connsiteY4" fmla="*/ 4085 h 16785"/>
                  <a:gd name="connsiteX5" fmla="*/ 3830 w 24468"/>
                  <a:gd name="connsiteY5" fmla="*/ 8848 h 16785"/>
                  <a:gd name="connsiteX6" fmla="*/ 655 w 24468"/>
                  <a:gd name="connsiteY6" fmla="*/ 8848 h 16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468" h="16785">
                    <a:moveTo>
                      <a:pt x="655" y="8848"/>
                    </a:moveTo>
                    <a:cubicBezTo>
                      <a:pt x="2507" y="9377"/>
                      <a:pt x="12695" y="11124"/>
                      <a:pt x="14943" y="12023"/>
                    </a:cubicBezTo>
                    <a:cubicBezTo>
                      <a:pt x="18239" y="13341"/>
                      <a:pt x="21293" y="15198"/>
                      <a:pt x="24468" y="16785"/>
                    </a:cubicBezTo>
                    <a:cubicBezTo>
                      <a:pt x="23410" y="11493"/>
                      <a:pt x="25507" y="4281"/>
                      <a:pt x="21293" y="910"/>
                    </a:cubicBezTo>
                    <a:cubicBezTo>
                      <a:pt x="17886" y="-1816"/>
                      <a:pt x="12565" y="2279"/>
                      <a:pt x="8593" y="4085"/>
                    </a:cubicBezTo>
                    <a:cubicBezTo>
                      <a:pt x="6549" y="5014"/>
                      <a:pt x="5698" y="7603"/>
                      <a:pt x="3830" y="8848"/>
                    </a:cubicBezTo>
                    <a:cubicBezTo>
                      <a:pt x="1198" y="10602"/>
                      <a:pt x="-1197" y="8319"/>
                      <a:pt x="655" y="8848"/>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97" name="Forma libre: forma 342">
                <a:extLst>
                  <a:ext uri="{FF2B5EF4-FFF2-40B4-BE49-F238E27FC236}">
                    <a16:creationId xmlns:a16="http://schemas.microsoft.com/office/drawing/2014/main" id="{03CDF8B6-78ED-470F-B3D8-E0E9F18C205E}"/>
                  </a:ext>
                </a:extLst>
              </p:cNvPr>
              <p:cNvSpPr/>
              <p:nvPr/>
            </p:nvSpPr>
            <p:spPr>
              <a:xfrm>
                <a:off x="4729163" y="1009618"/>
                <a:ext cx="77873" cy="93695"/>
              </a:xfrm>
              <a:custGeom>
                <a:avLst/>
                <a:gdLst>
                  <a:gd name="connsiteX0" fmla="*/ 3175 w 77873"/>
                  <a:gd name="connsiteY0" fmla="*/ 57182 h 93695"/>
                  <a:gd name="connsiteX1" fmla="*/ 12700 w 77873"/>
                  <a:gd name="connsiteY1" fmla="*/ 60357 h 93695"/>
                  <a:gd name="connsiteX2" fmla="*/ 11112 w 77873"/>
                  <a:gd name="connsiteY2" fmla="*/ 66707 h 93695"/>
                  <a:gd name="connsiteX3" fmla="*/ 6350 w 77873"/>
                  <a:gd name="connsiteY3" fmla="*/ 71470 h 93695"/>
                  <a:gd name="connsiteX4" fmla="*/ 3175 w 77873"/>
                  <a:gd name="connsiteY4" fmla="*/ 76232 h 93695"/>
                  <a:gd name="connsiteX5" fmla="*/ 14287 w 77873"/>
                  <a:gd name="connsiteY5" fmla="*/ 77820 h 93695"/>
                  <a:gd name="connsiteX6" fmla="*/ 0 w 77873"/>
                  <a:gd name="connsiteY6" fmla="*/ 88932 h 93695"/>
                  <a:gd name="connsiteX7" fmla="*/ 11112 w 77873"/>
                  <a:gd name="connsiteY7" fmla="*/ 93695 h 93695"/>
                  <a:gd name="connsiteX8" fmla="*/ 15875 w 77873"/>
                  <a:gd name="connsiteY8" fmla="*/ 92107 h 93695"/>
                  <a:gd name="connsiteX9" fmla="*/ 26987 w 77873"/>
                  <a:gd name="connsiteY9" fmla="*/ 88932 h 93695"/>
                  <a:gd name="connsiteX10" fmla="*/ 33337 w 77873"/>
                  <a:gd name="connsiteY10" fmla="*/ 85757 h 93695"/>
                  <a:gd name="connsiteX11" fmla="*/ 41275 w 77873"/>
                  <a:gd name="connsiteY11" fmla="*/ 61945 h 93695"/>
                  <a:gd name="connsiteX12" fmla="*/ 46037 w 77873"/>
                  <a:gd name="connsiteY12" fmla="*/ 60357 h 93695"/>
                  <a:gd name="connsiteX13" fmla="*/ 57150 w 77873"/>
                  <a:gd name="connsiteY13" fmla="*/ 63532 h 93695"/>
                  <a:gd name="connsiteX14" fmla="*/ 60325 w 77873"/>
                  <a:gd name="connsiteY14" fmla="*/ 58770 h 93695"/>
                  <a:gd name="connsiteX15" fmla="*/ 61912 w 77873"/>
                  <a:gd name="connsiteY15" fmla="*/ 52420 h 93695"/>
                  <a:gd name="connsiteX16" fmla="*/ 65087 w 77873"/>
                  <a:gd name="connsiteY16" fmla="*/ 19082 h 93695"/>
                  <a:gd name="connsiteX17" fmla="*/ 74612 w 77873"/>
                  <a:gd name="connsiteY17" fmla="*/ 17495 h 93695"/>
                  <a:gd name="connsiteX18" fmla="*/ 77787 w 77873"/>
                  <a:gd name="connsiteY18" fmla="*/ 12732 h 93695"/>
                  <a:gd name="connsiteX19" fmla="*/ 65087 w 77873"/>
                  <a:gd name="connsiteY19" fmla="*/ 4795 h 93695"/>
                  <a:gd name="connsiteX20" fmla="*/ 60325 w 77873"/>
                  <a:gd name="connsiteY20" fmla="*/ 32 h 93695"/>
                  <a:gd name="connsiteX21" fmla="*/ 55562 w 77873"/>
                  <a:gd name="connsiteY21" fmla="*/ 3207 h 93695"/>
                  <a:gd name="connsiteX22" fmla="*/ 53975 w 77873"/>
                  <a:gd name="connsiteY22" fmla="*/ 7970 h 93695"/>
                  <a:gd name="connsiteX23" fmla="*/ 50800 w 77873"/>
                  <a:gd name="connsiteY23" fmla="*/ 14320 h 93695"/>
                  <a:gd name="connsiteX24" fmla="*/ 46037 w 77873"/>
                  <a:gd name="connsiteY24" fmla="*/ 12732 h 93695"/>
                  <a:gd name="connsiteX25" fmla="*/ 44450 w 77873"/>
                  <a:gd name="connsiteY25" fmla="*/ 6382 h 93695"/>
                  <a:gd name="connsiteX26" fmla="*/ 41275 w 77873"/>
                  <a:gd name="connsiteY26" fmla="*/ 1620 h 93695"/>
                  <a:gd name="connsiteX27" fmla="*/ 33337 w 77873"/>
                  <a:gd name="connsiteY27" fmla="*/ 6382 h 93695"/>
                  <a:gd name="connsiteX28" fmla="*/ 28575 w 77873"/>
                  <a:gd name="connsiteY28" fmla="*/ 25432 h 93695"/>
                  <a:gd name="connsiteX29" fmla="*/ 20637 w 77873"/>
                  <a:gd name="connsiteY29" fmla="*/ 6382 h 93695"/>
                  <a:gd name="connsiteX30" fmla="*/ 20637 w 77873"/>
                  <a:gd name="connsiteY30" fmla="*/ 27020 h 93695"/>
                  <a:gd name="connsiteX31" fmla="*/ 26987 w 77873"/>
                  <a:gd name="connsiteY31" fmla="*/ 36545 h 93695"/>
                  <a:gd name="connsiteX32" fmla="*/ 23812 w 77873"/>
                  <a:gd name="connsiteY32" fmla="*/ 42895 h 93695"/>
                  <a:gd name="connsiteX33" fmla="*/ 19050 w 77873"/>
                  <a:gd name="connsiteY33" fmla="*/ 46070 h 93695"/>
                  <a:gd name="connsiteX34" fmla="*/ 11112 w 77873"/>
                  <a:gd name="connsiteY34" fmla="*/ 52420 h 93695"/>
                  <a:gd name="connsiteX35" fmla="*/ 17462 w 77873"/>
                  <a:gd name="connsiteY35" fmla="*/ 54007 h 93695"/>
                  <a:gd name="connsiteX36" fmla="*/ 20637 w 77873"/>
                  <a:gd name="connsiteY36" fmla="*/ 68295 h 93695"/>
                  <a:gd name="connsiteX37" fmla="*/ 4762 w 77873"/>
                  <a:gd name="connsiteY37" fmla="*/ 74645 h 93695"/>
                  <a:gd name="connsiteX38" fmla="*/ 3175 w 77873"/>
                  <a:gd name="connsiteY38" fmla="*/ 79407 h 93695"/>
                  <a:gd name="connsiteX39" fmla="*/ 3175 w 77873"/>
                  <a:gd name="connsiteY39" fmla="*/ 57182 h 93695"/>
                  <a:gd name="connsiteX0" fmla="*/ 3175 w 77873"/>
                  <a:gd name="connsiteY0" fmla="*/ 57182 h 93695"/>
                  <a:gd name="connsiteX1" fmla="*/ 12700 w 77873"/>
                  <a:gd name="connsiteY1" fmla="*/ 60357 h 93695"/>
                  <a:gd name="connsiteX2" fmla="*/ 11112 w 77873"/>
                  <a:gd name="connsiteY2" fmla="*/ 66707 h 93695"/>
                  <a:gd name="connsiteX3" fmla="*/ 6350 w 77873"/>
                  <a:gd name="connsiteY3" fmla="*/ 71470 h 93695"/>
                  <a:gd name="connsiteX4" fmla="*/ 3175 w 77873"/>
                  <a:gd name="connsiteY4" fmla="*/ 76232 h 93695"/>
                  <a:gd name="connsiteX5" fmla="*/ 14287 w 77873"/>
                  <a:gd name="connsiteY5" fmla="*/ 77820 h 93695"/>
                  <a:gd name="connsiteX6" fmla="*/ 0 w 77873"/>
                  <a:gd name="connsiteY6" fmla="*/ 88932 h 93695"/>
                  <a:gd name="connsiteX7" fmla="*/ 11112 w 77873"/>
                  <a:gd name="connsiteY7" fmla="*/ 93695 h 93695"/>
                  <a:gd name="connsiteX8" fmla="*/ 15875 w 77873"/>
                  <a:gd name="connsiteY8" fmla="*/ 92107 h 93695"/>
                  <a:gd name="connsiteX9" fmla="*/ 26987 w 77873"/>
                  <a:gd name="connsiteY9" fmla="*/ 88932 h 93695"/>
                  <a:gd name="connsiteX10" fmla="*/ 33337 w 77873"/>
                  <a:gd name="connsiteY10" fmla="*/ 85757 h 93695"/>
                  <a:gd name="connsiteX11" fmla="*/ 41275 w 77873"/>
                  <a:gd name="connsiteY11" fmla="*/ 61945 h 93695"/>
                  <a:gd name="connsiteX12" fmla="*/ 46037 w 77873"/>
                  <a:gd name="connsiteY12" fmla="*/ 60357 h 93695"/>
                  <a:gd name="connsiteX13" fmla="*/ 57150 w 77873"/>
                  <a:gd name="connsiteY13" fmla="*/ 63532 h 93695"/>
                  <a:gd name="connsiteX14" fmla="*/ 60325 w 77873"/>
                  <a:gd name="connsiteY14" fmla="*/ 58770 h 93695"/>
                  <a:gd name="connsiteX15" fmla="*/ 61912 w 77873"/>
                  <a:gd name="connsiteY15" fmla="*/ 52420 h 93695"/>
                  <a:gd name="connsiteX16" fmla="*/ 65087 w 77873"/>
                  <a:gd name="connsiteY16" fmla="*/ 19082 h 93695"/>
                  <a:gd name="connsiteX17" fmla="*/ 74612 w 77873"/>
                  <a:gd name="connsiteY17" fmla="*/ 17495 h 93695"/>
                  <a:gd name="connsiteX18" fmla="*/ 77787 w 77873"/>
                  <a:gd name="connsiteY18" fmla="*/ 12732 h 93695"/>
                  <a:gd name="connsiteX19" fmla="*/ 65087 w 77873"/>
                  <a:gd name="connsiteY19" fmla="*/ 4795 h 93695"/>
                  <a:gd name="connsiteX20" fmla="*/ 60325 w 77873"/>
                  <a:gd name="connsiteY20" fmla="*/ 32 h 93695"/>
                  <a:gd name="connsiteX21" fmla="*/ 55562 w 77873"/>
                  <a:gd name="connsiteY21" fmla="*/ 3207 h 93695"/>
                  <a:gd name="connsiteX22" fmla="*/ 53975 w 77873"/>
                  <a:gd name="connsiteY22" fmla="*/ 7970 h 93695"/>
                  <a:gd name="connsiteX23" fmla="*/ 50800 w 77873"/>
                  <a:gd name="connsiteY23" fmla="*/ 14320 h 93695"/>
                  <a:gd name="connsiteX24" fmla="*/ 46037 w 77873"/>
                  <a:gd name="connsiteY24" fmla="*/ 12732 h 93695"/>
                  <a:gd name="connsiteX25" fmla="*/ 44450 w 77873"/>
                  <a:gd name="connsiteY25" fmla="*/ 6382 h 93695"/>
                  <a:gd name="connsiteX26" fmla="*/ 41275 w 77873"/>
                  <a:gd name="connsiteY26" fmla="*/ 1620 h 93695"/>
                  <a:gd name="connsiteX27" fmla="*/ 33337 w 77873"/>
                  <a:gd name="connsiteY27" fmla="*/ 6382 h 93695"/>
                  <a:gd name="connsiteX28" fmla="*/ 28575 w 77873"/>
                  <a:gd name="connsiteY28" fmla="*/ 25432 h 93695"/>
                  <a:gd name="connsiteX29" fmla="*/ 20637 w 77873"/>
                  <a:gd name="connsiteY29" fmla="*/ 27020 h 93695"/>
                  <a:gd name="connsiteX30" fmla="*/ 26987 w 77873"/>
                  <a:gd name="connsiteY30" fmla="*/ 36545 h 93695"/>
                  <a:gd name="connsiteX31" fmla="*/ 23812 w 77873"/>
                  <a:gd name="connsiteY31" fmla="*/ 42895 h 93695"/>
                  <a:gd name="connsiteX32" fmla="*/ 19050 w 77873"/>
                  <a:gd name="connsiteY32" fmla="*/ 46070 h 93695"/>
                  <a:gd name="connsiteX33" fmla="*/ 11112 w 77873"/>
                  <a:gd name="connsiteY33" fmla="*/ 52420 h 93695"/>
                  <a:gd name="connsiteX34" fmla="*/ 17462 w 77873"/>
                  <a:gd name="connsiteY34" fmla="*/ 54007 h 93695"/>
                  <a:gd name="connsiteX35" fmla="*/ 20637 w 77873"/>
                  <a:gd name="connsiteY35" fmla="*/ 68295 h 93695"/>
                  <a:gd name="connsiteX36" fmla="*/ 4762 w 77873"/>
                  <a:gd name="connsiteY36" fmla="*/ 74645 h 93695"/>
                  <a:gd name="connsiteX37" fmla="*/ 3175 w 77873"/>
                  <a:gd name="connsiteY37" fmla="*/ 79407 h 93695"/>
                  <a:gd name="connsiteX38" fmla="*/ 3175 w 77873"/>
                  <a:gd name="connsiteY38" fmla="*/ 57182 h 936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77873" h="93695">
                    <a:moveTo>
                      <a:pt x="3175" y="57182"/>
                    </a:moveTo>
                    <a:cubicBezTo>
                      <a:pt x="4762" y="54007"/>
                      <a:pt x="10558" y="57786"/>
                      <a:pt x="12700" y="60357"/>
                    </a:cubicBezTo>
                    <a:cubicBezTo>
                      <a:pt x="14097" y="62033"/>
                      <a:pt x="12194" y="64813"/>
                      <a:pt x="11112" y="66707"/>
                    </a:cubicBezTo>
                    <a:cubicBezTo>
                      <a:pt x="9998" y="68656"/>
                      <a:pt x="7787" y="69745"/>
                      <a:pt x="6350" y="71470"/>
                    </a:cubicBezTo>
                    <a:cubicBezTo>
                      <a:pt x="5129" y="72936"/>
                      <a:pt x="4233" y="74645"/>
                      <a:pt x="3175" y="76232"/>
                    </a:cubicBezTo>
                    <a:cubicBezTo>
                      <a:pt x="6879" y="76761"/>
                      <a:pt x="13672" y="74129"/>
                      <a:pt x="14287" y="77820"/>
                    </a:cubicBezTo>
                    <a:cubicBezTo>
                      <a:pt x="14561" y="79467"/>
                      <a:pt x="3000" y="86932"/>
                      <a:pt x="0" y="88932"/>
                    </a:cubicBezTo>
                    <a:cubicBezTo>
                      <a:pt x="3888" y="91524"/>
                      <a:pt x="5987" y="93695"/>
                      <a:pt x="11112" y="93695"/>
                    </a:cubicBezTo>
                    <a:cubicBezTo>
                      <a:pt x="12786" y="93695"/>
                      <a:pt x="14266" y="92567"/>
                      <a:pt x="15875" y="92107"/>
                    </a:cubicBezTo>
                    <a:cubicBezTo>
                      <a:pt x="19914" y="90953"/>
                      <a:pt x="23173" y="90567"/>
                      <a:pt x="26987" y="88932"/>
                    </a:cubicBezTo>
                    <a:cubicBezTo>
                      <a:pt x="29162" y="88000"/>
                      <a:pt x="31220" y="86815"/>
                      <a:pt x="33337" y="85757"/>
                    </a:cubicBezTo>
                    <a:cubicBezTo>
                      <a:pt x="34714" y="69237"/>
                      <a:pt x="30006" y="68385"/>
                      <a:pt x="41275" y="61945"/>
                    </a:cubicBezTo>
                    <a:cubicBezTo>
                      <a:pt x="42728" y="61115"/>
                      <a:pt x="44450" y="60886"/>
                      <a:pt x="46037" y="60357"/>
                    </a:cubicBezTo>
                    <a:cubicBezTo>
                      <a:pt x="47519" y="60851"/>
                      <a:pt x="56152" y="63865"/>
                      <a:pt x="57150" y="63532"/>
                    </a:cubicBezTo>
                    <a:cubicBezTo>
                      <a:pt x="58960" y="62929"/>
                      <a:pt x="59267" y="60357"/>
                      <a:pt x="60325" y="58770"/>
                    </a:cubicBezTo>
                    <a:cubicBezTo>
                      <a:pt x="60854" y="56653"/>
                      <a:pt x="61652" y="54586"/>
                      <a:pt x="61912" y="52420"/>
                    </a:cubicBezTo>
                    <a:cubicBezTo>
                      <a:pt x="63242" y="41337"/>
                      <a:pt x="61272" y="29573"/>
                      <a:pt x="65087" y="19082"/>
                    </a:cubicBezTo>
                    <a:cubicBezTo>
                      <a:pt x="66187" y="16057"/>
                      <a:pt x="71437" y="18024"/>
                      <a:pt x="74612" y="17495"/>
                    </a:cubicBezTo>
                    <a:cubicBezTo>
                      <a:pt x="75670" y="15907"/>
                      <a:pt x="78390" y="14542"/>
                      <a:pt x="77787" y="12732"/>
                    </a:cubicBezTo>
                    <a:cubicBezTo>
                      <a:pt x="76963" y="10260"/>
                      <a:pt x="67167" y="5835"/>
                      <a:pt x="65087" y="4795"/>
                    </a:cubicBezTo>
                    <a:cubicBezTo>
                      <a:pt x="63500" y="3207"/>
                      <a:pt x="62539" y="401"/>
                      <a:pt x="60325" y="32"/>
                    </a:cubicBezTo>
                    <a:cubicBezTo>
                      <a:pt x="58443" y="-282"/>
                      <a:pt x="56754" y="1717"/>
                      <a:pt x="55562" y="3207"/>
                    </a:cubicBezTo>
                    <a:cubicBezTo>
                      <a:pt x="54517" y="4514"/>
                      <a:pt x="54634" y="6432"/>
                      <a:pt x="53975" y="7970"/>
                    </a:cubicBezTo>
                    <a:cubicBezTo>
                      <a:pt x="53043" y="10145"/>
                      <a:pt x="51858" y="12203"/>
                      <a:pt x="50800" y="14320"/>
                    </a:cubicBezTo>
                    <a:cubicBezTo>
                      <a:pt x="49212" y="13791"/>
                      <a:pt x="47082" y="14039"/>
                      <a:pt x="46037" y="12732"/>
                    </a:cubicBezTo>
                    <a:cubicBezTo>
                      <a:pt x="44674" y="11028"/>
                      <a:pt x="45309" y="8387"/>
                      <a:pt x="44450" y="6382"/>
                    </a:cubicBezTo>
                    <a:cubicBezTo>
                      <a:pt x="43699" y="4628"/>
                      <a:pt x="42333" y="3207"/>
                      <a:pt x="41275" y="1620"/>
                    </a:cubicBezTo>
                    <a:cubicBezTo>
                      <a:pt x="38629" y="3207"/>
                      <a:pt x="34789" y="3659"/>
                      <a:pt x="33337" y="6382"/>
                    </a:cubicBezTo>
                    <a:cubicBezTo>
                      <a:pt x="30257" y="12157"/>
                      <a:pt x="30692" y="21992"/>
                      <a:pt x="28575" y="25432"/>
                    </a:cubicBezTo>
                    <a:cubicBezTo>
                      <a:pt x="26458" y="28872"/>
                      <a:pt x="20902" y="25168"/>
                      <a:pt x="20637" y="27020"/>
                    </a:cubicBezTo>
                    <a:cubicBezTo>
                      <a:pt x="20372" y="28872"/>
                      <a:pt x="26987" y="36545"/>
                      <a:pt x="26987" y="36545"/>
                    </a:cubicBezTo>
                    <a:cubicBezTo>
                      <a:pt x="25929" y="38662"/>
                      <a:pt x="25327" y="41077"/>
                      <a:pt x="23812" y="42895"/>
                    </a:cubicBezTo>
                    <a:cubicBezTo>
                      <a:pt x="22591" y="44361"/>
                      <a:pt x="20576" y="44925"/>
                      <a:pt x="19050" y="46070"/>
                    </a:cubicBezTo>
                    <a:cubicBezTo>
                      <a:pt x="16339" y="48103"/>
                      <a:pt x="13758" y="50303"/>
                      <a:pt x="11112" y="52420"/>
                    </a:cubicBezTo>
                    <a:cubicBezTo>
                      <a:pt x="13229" y="52949"/>
                      <a:pt x="15511" y="53031"/>
                      <a:pt x="17462" y="54007"/>
                    </a:cubicBezTo>
                    <a:cubicBezTo>
                      <a:pt x="23028" y="56790"/>
                      <a:pt x="29026" y="61304"/>
                      <a:pt x="20637" y="68295"/>
                    </a:cubicBezTo>
                    <a:cubicBezTo>
                      <a:pt x="16259" y="71944"/>
                      <a:pt x="4762" y="74645"/>
                      <a:pt x="4762" y="74645"/>
                    </a:cubicBezTo>
                    <a:cubicBezTo>
                      <a:pt x="4233" y="76232"/>
                      <a:pt x="2171" y="78069"/>
                      <a:pt x="3175" y="79407"/>
                    </a:cubicBezTo>
                    <a:cubicBezTo>
                      <a:pt x="7744" y="85499"/>
                      <a:pt x="1588" y="60357"/>
                      <a:pt x="3175" y="57182"/>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98" name="Forma libre: forma 343">
                <a:extLst>
                  <a:ext uri="{FF2B5EF4-FFF2-40B4-BE49-F238E27FC236}">
                    <a16:creationId xmlns:a16="http://schemas.microsoft.com/office/drawing/2014/main" id="{BDBDD930-FF92-4920-B18D-E5DFB9E20BAF}"/>
                  </a:ext>
                </a:extLst>
              </p:cNvPr>
              <p:cNvSpPr/>
              <p:nvPr/>
            </p:nvSpPr>
            <p:spPr>
              <a:xfrm>
                <a:off x="4809575" y="955675"/>
                <a:ext cx="41825" cy="64318"/>
              </a:xfrm>
              <a:custGeom>
                <a:avLst/>
                <a:gdLst>
                  <a:gd name="connsiteX0" fmla="*/ 21188 w 41825"/>
                  <a:gd name="connsiteY0" fmla="*/ 53975 h 64318"/>
                  <a:gd name="connsiteX1" fmla="*/ 29125 w 41825"/>
                  <a:gd name="connsiteY1" fmla="*/ 52388 h 64318"/>
                  <a:gd name="connsiteX2" fmla="*/ 35475 w 41825"/>
                  <a:gd name="connsiteY2" fmla="*/ 50800 h 64318"/>
                  <a:gd name="connsiteX3" fmla="*/ 41825 w 41825"/>
                  <a:gd name="connsiteY3" fmla="*/ 38100 h 64318"/>
                  <a:gd name="connsiteX4" fmla="*/ 38650 w 41825"/>
                  <a:gd name="connsiteY4" fmla="*/ 22225 h 64318"/>
                  <a:gd name="connsiteX5" fmla="*/ 35475 w 41825"/>
                  <a:gd name="connsiteY5" fmla="*/ 15875 h 64318"/>
                  <a:gd name="connsiteX6" fmla="*/ 33888 w 41825"/>
                  <a:gd name="connsiteY6" fmla="*/ 1588 h 64318"/>
                  <a:gd name="connsiteX7" fmla="*/ 29125 w 41825"/>
                  <a:gd name="connsiteY7" fmla="*/ 0 h 64318"/>
                  <a:gd name="connsiteX8" fmla="*/ 25950 w 41825"/>
                  <a:gd name="connsiteY8" fmla="*/ 7938 h 64318"/>
                  <a:gd name="connsiteX9" fmla="*/ 22775 w 41825"/>
                  <a:gd name="connsiteY9" fmla="*/ 22225 h 64318"/>
                  <a:gd name="connsiteX10" fmla="*/ 13250 w 41825"/>
                  <a:gd name="connsiteY10" fmla="*/ 23813 h 64318"/>
                  <a:gd name="connsiteX11" fmla="*/ 8488 w 41825"/>
                  <a:gd name="connsiteY11" fmla="*/ 22225 h 64318"/>
                  <a:gd name="connsiteX12" fmla="*/ 10075 w 41825"/>
                  <a:gd name="connsiteY12" fmla="*/ 28575 h 64318"/>
                  <a:gd name="connsiteX13" fmla="*/ 13250 w 41825"/>
                  <a:gd name="connsiteY13" fmla="*/ 36513 h 64318"/>
                  <a:gd name="connsiteX14" fmla="*/ 550 w 41825"/>
                  <a:gd name="connsiteY14" fmla="*/ 39688 h 64318"/>
                  <a:gd name="connsiteX15" fmla="*/ 2138 w 41825"/>
                  <a:gd name="connsiteY15" fmla="*/ 44450 h 64318"/>
                  <a:gd name="connsiteX16" fmla="*/ 10075 w 41825"/>
                  <a:gd name="connsiteY16" fmla="*/ 53975 h 64318"/>
                  <a:gd name="connsiteX17" fmla="*/ 5313 w 41825"/>
                  <a:gd name="connsiteY17" fmla="*/ 63500 h 64318"/>
                  <a:gd name="connsiteX18" fmla="*/ 13250 w 41825"/>
                  <a:gd name="connsiteY18" fmla="*/ 60325 h 64318"/>
                  <a:gd name="connsiteX19" fmla="*/ 16425 w 41825"/>
                  <a:gd name="connsiteY19" fmla="*/ 55563 h 64318"/>
                  <a:gd name="connsiteX20" fmla="*/ 21188 w 41825"/>
                  <a:gd name="connsiteY20" fmla="*/ 53975 h 64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41825" h="64318">
                    <a:moveTo>
                      <a:pt x="21188" y="53975"/>
                    </a:moveTo>
                    <a:cubicBezTo>
                      <a:pt x="23305" y="53446"/>
                      <a:pt x="26491" y="52973"/>
                      <a:pt x="29125" y="52388"/>
                    </a:cubicBezTo>
                    <a:cubicBezTo>
                      <a:pt x="31255" y="51915"/>
                      <a:pt x="34025" y="52431"/>
                      <a:pt x="35475" y="50800"/>
                    </a:cubicBezTo>
                    <a:cubicBezTo>
                      <a:pt x="38619" y="47262"/>
                      <a:pt x="41825" y="38100"/>
                      <a:pt x="41825" y="38100"/>
                    </a:cubicBezTo>
                    <a:cubicBezTo>
                      <a:pt x="40767" y="32808"/>
                      <a:pt x="40133" y="27414"/>
                      <a:pt x="38650" y="22225"/>
                    </a:cubicBezTo>
                    <a:cubicBezTo>
                      <a:pt x="38000" y="19950"/>
                      <a:pt x="36007" y="18181"/>
                      <a:pt x="35475" y="15875"/>
                    </a:cubicBezTo>
                    <a:cubicBezTo>
                      <a:pt x="34398" y="11206"/>
                      <a:pt x="35668" y="6037"/>
                      <a:pt x="33888" y="1588"/>
                    </a:cubicBezTo>
                    <a:cubicBezTo>
                      <a:pt x="33266" y="34"/>
                      <a:pt x="30713" y="529"/>
                      <a:pt x="29125" y="0"/>
                    </a:cubicBezTo>
                    <a:cubicBezTo>
                      <a:pt x="28067" y="2646"/>
                      <a:pt x="26733" y="5198"/>
                      <a:pt x="25950" y="7938"/>
                    </a:cubicBezTo>
                    <a:cubicBezTo>
                      <a:pt x="24610" y="12629"/>
                      <a:pt x="25823" y="18416"/>
                      <a:pt x="22775" y="22225"/>
                    </a:cubicBezTo>
                    <a:cubicBezTo>
                      <a:pt x="20764" y="24738"/>
                      <a:pt x="16425" y="23284"/>
                      <a:pt x="13250" y="23813"/>
                    </a:cubicBezTo>
                    <a:cubicBezTo>
                      <a:pt x="11663" y="23284"/>
                      <a:pt x="9416" y="20833"/>
                      <a:pt x="8488" y="22225"/>
                    </a:cubicBezTo>
                    <a:cubicBezTo>
                      <a:pt x="7278" y="24040"/>
                      <a:pt x="9385" y="26505"/>
                      <a:pt x="10075" y="28575"/>
                    </a:cubicBezTo>
                    <a:cubicBezTo>
                      <a:pt x="10976" y="31279"/>
                      <a:pt x="12192" y="33867"/>
                      <a:pt x="13250" y="36513"/>
                    </a:cubicBezTo>
                    <a:cubicBezTo>
                      <a:pt x="6113" y="50788"/>
                      <a:pt x="15807" y="36637"/>
                      <a:pt x="550" y="39688"/>
                    </a:cubicBezTo>
                    <a:cubicBezTo>
                      <a:pt x="-1091" y="40016"/>
                      <a:pt x="1390" y="42953"/>
                      <a:pt x="2138" y="44450"/>
                    </a:cubicBezTo>
                    <a:cubicBezTo>
                      <a:pt x="4349" y="48872"/>
                      <a:pt x="6563" y="50463"/>
                      <a:pt x="10075" y="53975"/>
                    </a:cubicBezTo>
                    <a:cubicBezTo>
                      <a:pt x="8488" y="57150"/>
                      <a:pt x="3726" y="60325"/>
                      <a:pt x="5313" y="63500"/>
                    </a:cubicBezTo>
                    <a:cubicBezTo>
                      <a:pt x="6587" y="66049"/>
                      <a:pt x="10931" y="61981"/>
                      <a:pt x="13250" y="60325"/>
                    </a:cubicBezTo>
                    <a:cubicBezTo>
                      <a:pt x="14802" y="59216"/>
                      <a:pt x="15280" y="57089"/>
                      <a:pt x="16425" y="55563"/>
                    </a:cubicBezTo>
                    <a:cubicBezTo>
                      <a:pt x="18458" y="52852"/>
                      <a:pt x="19071" y="54504"/>
                      <a:pt x="21188" y="53975"/>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99" name="Forma libre: forma 344">
                <a:extLst>
                  <a:ext uri="{FF2B5EF4-FFF2-40B4-BE49-F238E27FC236}">
                    <a16:creationId xmlns:a16="http://schemas.microsoft.com/office/drawing/2014/main" id="{A74053AD-C20B-49AD-8C02-AE8C024A3402}"/>
                  </a:ext>
                </a:extLst>
              </p:cNvPr>
              <p:cNvSpPr/>
              <p:nvPr/>
            </p:nvSpPr>
            <p:spPr>
              <a:xfrm>
                <a:off x="4824347" y="887268"/>
                <a:ext cx="60708" cy="60470"/>
              </a:xfrm>
              <a:custGeom>
                <a:avLst/>
                <a:gdLst>
                  <a:gd name="connsiteX0" fmla="*/ 66 w 60708"/>
                  <a:gd name="connsiteY0" fmla="*/ 44595 h 60470"/>
                  <a:gd name="connsiteX1" fmla="*/ 27053 w 60708"/>
                  <a:gd name="connsiteY1" fmla="*/ 54120 h 60470"/>
                  <a:gd name="connsiteX2" fmla="*/ 30228 w 60708"/>
                  <a:gd name="connsiteY2" fmla="*/ 60470 h 60470"/>
                  <a:gd name="connsiteX3" fmla="*/ 39753 w 60708"/>
                  <a:gd name="connsiteY3" fmla="*/ 54120 h 60470"/>
                  <a:gd name="connsiteX4" fmla="*/ 44516 w 60708"/>
                  <a:gd name="connsiteY4" fmla="*/ 52532 h 60470"/>
                  <a:gd name="connsiteX5" fmla="*/ 49278 w 60708"/>
                  <a:gd name="connsiteY5" fmla="*/ 49357 h 60470"/>
                  <a:gd name="connsiteX6" fmla="*/ 55628 w 60708"/>
                  <a:gd name="connsiteY6" fmla="*/ 38245 h 60470"/>
                  <a:gd name="connsiteX7" fmla="*/ 60391 w 60708"/>
                  <a:gd name="connsiteY7" fmla="*/ 33482 h 60470"/>
                  <a:gd name="connsiteX8" fmla="*/ 52453 w 60708"/>
                  <a:gd name="connsiteY8" fmla="*/ 145 h 60470"/>
                  <a:gd name="connsiteX9" fmla="*/ 46103 w 60708"/>
                  <a:gd name="connsiteY9" fmla="*/ 3320 h 60470"/>
                  <a:gd name="connsiteX10" fmla="*/ 42928 w 60708"/>
                  <a:gd name="connsiteY10" fmla="*/ 8082 h 60470"/>
                  <a:gd name="connsiteX11" fmla="*/ 41341 w 60708"/>
                  <a:gd name="connsiteY11" fmla="*/ 12845 h 60470"/>
                  <a:gd name="connsiteX12" fmla="*/ 36578 w 60708"/>
                  <a:gd name="connsiteY12" fmla="*/ 16020 h 60470"/>
                  <a:gd name="connsiteX13" fmla="*/ 27053 w 60708"/>
                  <a:gd name="connsiteY13" fmla="*/ 6495 h 60470"/>
                  <a:gd name="connsiteX14" fmla="*/ 17528 w 60708"/>
                  <a:gd name="connsiteY14" fmla="*/ 8082 h 60470"/>
                  <a:gd name="connsiteX15" fmla="*/ 15941 w 60708"/>
                  <a:gd name="connsiteY15" fmla="*/ 25545 h 60470"/>
                  <a:gd name="connsiteX16" fmla="*/ 3241 w 60708"/>
                  <a:gd name="connsiteY16" fmla="*/ 28720 h 60470"/>
                  <a:gd name="connsiteX17" fmla="*/ 4828 w 60708"/>
                  <a:gd name="connsiteY17" fmla="*/ 36657 h 60470"/>
                  <a:gd name="connsiteX18" fmla="*/ 17528 w 60708"/>
                  <a:gd name="connsiteY18" fmla="*/ 38245 h 60470"/>
                  <a:gd name="connsiteX19" fmla="*/ 66 w 60708"/>
                  <a:gd name="connsiteY19" fmla="*/ 44595 h 604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0708" h="60470">
                    <a:moveTo>
                      <a:pt x="66" y="44595"/>
                    </a:moveTo>
                    <a:cubicBezTo>
                      <a:pt x="1654" y="47241"/>
                      <a:pt x="18642" y="44507"/>
                      <a:pt x="27053" y="54120"/>
                    </a:cubicBezTo>
                    <a:cubicBezTo>
                      <a:pt x="28611" y="55901"/>
                      <a:pt x="29170" y="58353"/>
                      <a:pt x="30228" y="60470"/>
                    </a:cubicBezTo>
                    <a:cubicBezTo>
                      <a:pt x="41554" y="56694"/>
                      <a:pt x="27861" y="62048"/>
                      <a:pt x="39753" y="54120"/>
                    </a:cubicBezTo>
                    <a:cubicBezTo>
                      <a:pt x="41146" y="53192"/>
                      <a:pt x="43019" y="53281"/>
                      <a:pt x="44516" y="52532"/>
                    </a:cubicBezTo>
                    <a:cubicBezTo>
                      <a:pt x="46222" y="51679"/>
                      <a:pt x="47691" y="50415"/>
                      <a:pt x="49278" y="49357"/>
                    </a:cubicBezTo>
                    <a:cubicBezTo>
                      <a:pt x="51219" y="45474"/>
                      <a:pt x="52823" y="41611"/>
                      <a:pt x="55628" y="38245"/>
                    </a:cubicBezTo>
                    <a:cubicBezTo>
                      <a:pt x="57065" y="36520"/>
                      <a:pt x="58803" y="35070"/>
                      <a:pt x="60391" y="33482"/>
                    </a:cubicBezTo>
                    <a:cubicBezTo>
                      <a:pt x="60225" y="30834"/>
                      <a:pt x="63450" y="4268"/>
                      <a:pt x="52453" y="145"/>
                    </a:cubicBezTo>
                    <a:cubicBezTo>
                      <a:pt x="50237" y="-686"/>
                      <a:pt x="48220" y="2262"/>
                      <a:pt x="46103" y="3320"/>
                    </a:cubicBezTo>
                    <a:cubicBezTo>
                      <a:pt x="45045" y="4907"/>
                      <a:pt x="43781" y="6376"/>
                      <a:pt x="42928" y="8082"/>
                    </a:cubicBezTo>
                    <a:cubicBezTo>
                      <a:pt x="42180" y="9579"/>
                      <a:pt x="42386" y="11538"/>
                      <a:pt x="41341" y="12845"/>
                    </a:cubicBezTo>
                    <a:cubicBezTo>
                      <a:pt x="40149" y="14335"/>
                      <a:pt x="38166" y="14962"/>
                      <a:pt x="36578" y="16020"/>
                    </a:cubicBezTo>
                    <a:cubicBezTo>
                      <a:pt x="35060" y="13995"/>
                      <a:pt x="30853" y="6917"/>
                      <a:pt x="27053" y="6495"/>
                    </a:cubicBezTo>
                    <a:cubicBezTo>
                      <a:pt x="23854" y="6139"/>
                      <a:pt x="20703" y="7553"/>
                      <a:pt x="17528" y="8082"/>
                    </a:cubicBezTo>
                    <a:cubicBezTo>
                      <a:pt x="16999" y="13903"/>
                      <a:pt x="19268" y="20739"/>
                      <a:pt x="15941" y="25545"/>
                    </a:cubicBezTo>
                    <a:cubicBezTo>
                      <a:pt x="13457" y="29133"/>
                      <a:pt x="6327" y="25635"/>
                      <a:pt x="3241" y="28720"/>
                    </a:cubicBezTo>
                    <a:cubicBezTo>
                      <a:pt x="1333" y="30628"/>
                      <a:pt x="2583" y="35160"/>
                      <a:pt x="4828" y="36657"/>
                    </a:cubicBezTo>
                    <a:cubicBezTo>
                      <a:pt x="8378" y="39024"/>
                      <a:pt x="13295" y="37716"/>
                      <a:pt x="17528" y="38245"/>
                    </a:cubicBezTo>
                    <a:cubicBezTo>
                      <a:pt x="25957" y="41616"/>
                      <a:pt x="-1522" y="41949"/>
                      <a:pt x="66" y="44595"/>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400" name="Forma libre: forma 345">
                <a:extLst>
                  <a:ext uri="{FF2B5EF4-FFF2-40B4-BE49-F238E27FC236}">
                    <a16:creationId xmlns:a16="http://schemas.microsoft.com/office/drawing/2014/main" id="{6562895A-B058-498C-B21D-F2334F65A47A}"/>
                  </a:ext>
                </a:extLst>
              </p:cNvPr>
              <p:cNvSpPr/>
              <p:nvPr/>
            </p:nvSpPr>
            <p:spPr>
              <a:xfrm>
                <a:off x="4859093" y="862013"/>
                <a:ext cx="16469" cy="19184"/>
              </a:xfrm>
              <a:custGeom>
                <a:avLst/>
                <a:gdLst>
                  <a:gd name="connsiteX0" fmla="*/ 245 w 16469"/>
                  <a:gd name="connsiteY0" fmla="*/ 19050 h 19184"/>
                  <a:gd name="connsiteX1" fmla="*/ 8182 w 16469"/>
                  <a:gd name="connsiteY1" fmla="*/ 12700 h 19184"/>
                  <a:gd name="connsiteX2" fmla="*/ 16120 w 16469"/>
                  <a:gd name="connsiteY2" fmla="*/ 7937 h 19184"/>
                  <a:gd name="connsiteX3" fmla="*/ 14532 w 16469"/>
                  <a:gd name="connsiteY3" fmla="*/ 0 h 19184"/>
                  <a:gd name="connsiteX4" fmla="*/ 9770 w 16469"/>
                  <a:gd name="connsiteY4" fmla="*/ 3175 h 19184"/>
                  <a:gd name="connsiteX5" fmla="*/ 3420 w 16469"/>
                  <a:gd name="connsiteY5" fmla="*/ 6350 h 19184"/>
                  <a:gd name="connsiteX6" fmla="*/ 245 w 16469"/>
                  <a:gd name="connsiteY6" fmla="*/ 19050 h 191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6469" h="19184">
                    <a:moveTo>
                      <a:pt x="245" y="19050"/>
                    </a:moveTo>
                    <a:cubicBezTo>
                      <a:pt x="1039" y="20108"/>
                      <a:pt x="5406" y="14643"/>
                      <a:pt x="8182" y="12700"/>
                    </a:cubicBezTo>
                    <a:cubicBezTo>
                      <a:pt x="10710" y="10930"/>
                      <a:pt x="14740" y="10697"/>
                      <a:pt x="16120" y="7937"/>
                    </a:cubicBezTo>
                    <a:cubicBezTo>
                      <a:pt x="17327" y="5524"/>
                      <a:pt x="15061" y="2646"/>
                      <a:pt x="14532" y="0"/>
                    </a:cubicBezTo>
                    <a:cubicBezTo>
                      <a:pt x="12945" y="1058"/>
                      <a:pt x="11426" y="2228"/>
                      <a:pt x="9770" y="3175"/>
                    </a:cubicBezTo>
                    <a:cubicBezTo>
                      <a:pt x="7715" y="4349"/>
                      <a:pt x="5389" y="5037"/>
                      <a:pt x="3420" y="6350"/>
                    </a:cubicBezTo>
                    <a:cubicBezTo>
                      <a:pt x="601" y="8230"/>
                      <a:pt x="-549" y="17992"/>
                      <a:pt x="245" y="1905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401" name="Forma libre: forma 346">
                <a:extLst>
                  <a:ext uri="{FF2B5EF4-FFF2-40B4-BE49-F238E27FC236}">
                    <a16:creationId xmlns:a16="http://schemas.microsoft.com/office/drawing/2014/main" id="{F58EB77A-851B-4D36-917C-58964A6FB064}"/>
                  </a:ext>
                </a:extLst>
              </p:cNvPr>
              <p:cNvSpPr/>
              <p:nvPr/>
            </p:nvSpPr>
            <p:spPr>
              <a:xfrm>
                <a:off x="4857653" y="984250"/>
                <a:ext cx="44547" cy="38100"/>
              </a:xfrm>
              <a:custGeom>
                <a:avLst/>
                <a:gdLst>
                  <a:gd name="connsiteX0" fmla="*/ 44547 w 44547"/>
                  <a:gd name="connsiteY0" fmla="*/ 31750 h 38100"/>
                  <a:gd name="connsiteX1" fmla="*/ 38197 w 44547"/>
                  <a:gd name="connsiteY1" fmla="*/ 12700 h 38100"/>
                  <a:gd name="connsiteX2" fmla="*/ 27085 w 44547"/>
                  <a:gd name="connsiteY2" fmla="*/ 3175 h 38100"/>
                  <a:gd name="connsiteX3" fmla="*/ 14385 w 44547"/>
                  <a:gd name="connsiteY3" fmla="*/ 7938 h 38100"/>
                  <a:gd name="connsiteX4" fmla="*/ 6447 w 44547"/>
                  <a:gd name="connsiteY4" fmla="*/ 1588 h 38100"/>
                  <a:gd name="connsiteX5" fmla="*/ 97 w 44547"/>
                  <a:gd name="connsiteY5" fmla="*/ 0 h 38100"/>
                  <a:gd name="connsiteX6" fmla="*/ 1685 w 44547"/>
                  <a:gd name="connsiteY6" fmla="*/ 17463 h 38100"/>
                  <a:gd name="connsiteX7" fmla="*/ 12797 w 44547"/>
                  <a:gd name="connsiteY7" fmla="*/ 22225 h 38100"/>
                  <a:gd name="connsiteX8" fmla="*/ 31847 w 44547"/>
                  <a:gd name="connsiteY8" fmla="*/ 36513 h 38100"/>
                  <a:gd name="connsiteX9" fmla="*/ 36610 w 44547"/>
                  <a:gd name="connsiteY9" fmla="*/ 38100 h 38100"/>
                  <a:gd name="connsiteX10" fmla="*/ 44547 w 44547"/>
                  <a:gd name="connsiteY10" fmla="*/ 31750 h 3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547" h="38100">
                    <a:moveTo>
                      <a:pt x="44547" y="31750"/>
                    </a:moveTo>
                    <a:cubicBezTo>
                      <a:pt x="42949" y="23760"/>
                      <a:pt x="42858" y="20469"/>
                      <a:pt x="38197" y="12700"/>
                    </a:cubicBezTo>
                    <a:cubicBezTo>
                      <a:pt x="36388" y="9686"/>
                      <a:pt x="29544" y="5020"/>
                      <a:pt x="27085" y="3175"/>
                    </a:cubicBezTo>
                    <a:cubicBezTo>
                      <a:pt x="22852" y="4763"/>
                      <a:pt x="18833" y="7129"/>
                      <a:pt x="14385" y="7938"/>
                    </a:cubicBezTo>
                    <a:cubicBezTo>
                      <a:pt x="8269" y="9050"/>
                      <a:pt x="10030" y="3977"/>
                      <a:pt x="6447" y="1588"/>
                    </a:cubicBezTo>
                    <a:cubicBezTo>
                      <a:pt x="4632" y="378"/>
                      <a:pt x="2214" y="529"/>
                      <a:pt x="97" y="0"/>
                    </a:cubicBezTo>
                    <a:cubicBezTo>
                      <a:pt x="626" y="5821"/>
                      <a:pt x="-1215" y="12388"/>
                      <a:pt x="1685" y="17463"/>
                    </a:cubicBezTo>
                    <a:cubicBezTo>
                      <a:pt x="3684" y="20962"/>
                      <a:pt x="9193" y="20423"/>
                      <a:pt x="12797" y="22225"/>
                    </a:cubicBezTo>
                    <a:cubicBezTo>
                      <a:pt x="19903" y="25778"/>
                      <a:pt x="24741" y="32960"/>
                      <a:pt x="31847" y="36513"/>
                    </a:cubicBezTo>
                    <a:cubicBezTo>
                      <a:pt x="33344" y="37261"/>
                      <a:pt x="35022" y="37571"/>
                      <a:pt x="36610" y="38100"/>
                    </a:cubicBezTo>
                    <a:lnTo>
                      <a:pt x="44547" y="31750"/>
                    </a:ln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402" name="Forma libre: forma 347">
                <a:extLst>
                  <a:ext uri="{FF2B5EF4-FFF2-40B4-BE49-F238E27FC236}">
                    <a16:creationId xmlns:a16="http://schemas.microsoft.com/office/drawing/2014/main" id="{4711CAF0-1681-4942-A0A8-C5A53FC3B96B}"/>
                  </a:ext>
                </a:extLst>
              </p:cNvPr>
              <p:cNvSpPr/>
              <p:nvPr/>
            </p:nvSpPr>
            <p:spPr>
              <a:xfrm>
                <a:off x="4921085" y="874713"/>
                <a:ext cx="20803" cy="23812"/>
              </a:xfrm>
              <a:custGeom>
                <a:avLst/>
                <a:gdLst>
                  <a:gd name="connsiteX0" fmla="*/ 165 w 20803"/>
                  <a:gd name="connsiteY0" fmla="*/ 7937 h 23812"/>
                  <a:gd name="connsiteX1" fmla="*/ 8103 w 20803"/>
                  <a:gd name="connsiteY1" fmla="*/ 14287 h 23812"/>
                  <a:gd name="connsiteX2" fmla="*/ 14453 w 20803"/>
                  <a:gd name="connsiteY2" fmla="*/ 23812 h 23812"/>
                  <a:gd name="connsiteX3" fmla="*/ 16040 w 20803"/>
                  <a:gd name="connsiteY3" fmla="*/ 12700 h 23812"/>
                  <a:gd name="connsiteX4" fmla="*/ 20803 w 20803"/>
                  <a:gd name="connsiteY4" fmla="*/ 4762 h 23812"/>
                  <a:gd name="connsiteX5" fmla="*/ 16040 w 20803"/>
                  <a:gd name="connsiteY5" fmla="*/ 0 h 23812"/>
                  <a:gd name="connsiteX6" fmla="*/ 165 w 20803"/>
                  <a:gd name="connsiteY6" fmla="*/ 7937 h 238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803" h="23812">
                    <a:moveTo>
                      <a:pt x="165" y="7937"/>
                    </a:moveTo>
                    <a:cubicBezTo>
                      <a:pt x="-1158" y="10318"/>
                      <a:pt x="5836" y="11768"/>
                      <a:pt x="8103" y="14287"/>
                    </a:cubicBezTo>
                    <a:cubicBezTo>
                      <a:pt x="10656" y="17123"/>
                      <a:pt x="14453" y="23812"/>
                      <a:pt x="14453" y="23812"/>
                    </a:cubicBezTo>
                    <a:cubicBezTo>
                      <a:pt x="14982" y="20108"/>
                      <a:pt x="14857" y="16250"/>
                      <a:pt x="16040" y="12700"/>
                    </a:cubicBezTo>
                    <a:cubicBezTo>
                      <a:pt x="17016" y="9773"/>
                      <a:pt x="20803" y="7848"/>
                      <a:pt x="20803" y="4762"/>
                    </a:cubicBezTo>
                    <a:lnTo>
                      <a:pt x="16040" y="0"/>
                    </a:lnTo>
                    <a:cubicBezTo>
                      <a:pt x="349" y="4483"/>
                      <a:pt x="1488" y="5556"/>
                      <a:pt x="165" y="7937"/>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403" name="Forma libre: forma 348">
                <a:extLst>
                  <a:ext uri="{FF2B5EF4-FFF2-40B4-BE49-F238E27FC236}">
                    <a16:creationId xmlns:a16="http://schemas.microsoft.com/office/drawing/2014/main" id="{B50F9937-8D76-4AA5-80FA-3411F24BEB73}"/>
                  </a:ext>
                </a:extLst>
              </p:cNvPr>
              <p:cNvSpPr/>
              <p:nvPr/>
            </p:nvSpPr>
            <p:spPr>
              <a:xfrm>
                <a:off x="4896997" y="937066"/>
                <a:ext cx="43303" cy="67822"/>
              </a:xfrm>
              <a:custGeom>
                <a:avLst/>
                <a:gdLst>
                  <a:gd name="connsiteX0" fmla="*/ 22666 w 43303"/>
                  <a:gd name="connsiteY0" fmla="*/ 5909 h 67822"/>
                  <a:gd name="connsiteX1" fmla="*/ 33778 w 43303"/>
                  <a:gd name="connsiteY1" fmla="*/ 7497 h 67822"/>
                  <a:gd name="connsiteX2" fmla="*/ 41716 w 43303"/>
                  <a:gd name="connsiteY2" fmla="*/ 40834 h 67822"/>
                  <a:gd name="connsiteX3" fmla="*/ 35366 w 43303"/>
                  <a:gd name="connsiteY3" fmla="*/ 56709 h 67822"/>
                  <a:gd name="connsiteX4" fmla="*/ 32191 w 43303"/>
                  <a:gd name="connsiteY4" fmla="*/ 67822 h 67822"/>
                  <a:gd name="connsiteX5" fmla="*/ 22666 w 43303"/>
                  <a:gd name="connsiteY5" fmla="*/ 64647 h 67822"/>
                  <a:gd name="connsiteX6" fmla="*/ 19491 w 43303"/>
                  <a:gd name="connsiteY6" fmla="*/ 53534 h 67822"/>
                  <a:gd name="connsiteX7" fmla="*/ 13141 w 43303"/>
                  <a:gd name="connsiteY7" fmla="*/ 26547 h 67822"/>
                  <a:gd name="connsiteX8" fmla="*/ 6791 w 43303"/>
                  <a:gd name="connsiteY8" fmla="*/ 17022 h 67822"/>
                  <a:gd name="connsiteX9" fmla="*/ 2028 w 43303"/>
                  <a:gd name="connsiteY9" fmla="*/ 13847 h 67822"/>
                  <a:gd name="connsiteX10" fmla="*/ 441 w 43303"/>
                  <a:gd name="connsiteY10" fmla="*/ 4322 h 67822"/>
                  <a:gd name="connsiteX11" fmla="*/ 8378 w 43303"/>
                  <a:gd name="connsiteY11" fmla="*/ 1147 h 67822"/>
                  <a:gd name="connsiteX12" fmla="*/ 22666 w 43303"/>
                  <a:gd name="connsiteY12" fmla="*/ 5909 h 67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3303" h="67822">
                    <a:moveTo>
                      <a:pt x="22666" y="5909"/>
                    </a:moveTo>
                    <a:cubicBezTo>
                      <a:pt x="26899" y="6967"/>
                      <a:pt x="32243" y="4085"/>
                      <a:pt x="33778" y="7497"/>
                    </a:cubicBezTo>
                    <a:cubicBezTo>
                      <a:pt x="52940" y="50080"/>
                      <a:pt x="25561" y="30065"/>
                      <a:pt x="41716" y="40834"/>
                    </a:cubicBezTo>
                    <a:cubicBezTo>
                      <a:pt x="44574" y="52269"/>
                      <a:pt x="44191" y="43471"/>
                      <a:pt x="35366" y="56709"/>
                    </a:cubicBezTo>
                    <a:cubicBezTo>
                      <a:pt x="34453" y="58078"/>
                      <a:pt x="32404" y="66971"/>
                      <a:pt x="32191" y="67822"/>
                    </a:cubicBezTo>
                    <a:cubicBezTo>
                      <a:pt x="29016" y="66764"/>
                      <a:pt x="24889" y="67148"/>
                      <a:pt x="22666" y="64647"/>
                    </a:cubicBezTo>
                    <a:cubicBezTo>
                      <a:pt x="20107" y="61768"/>
                      <a:pt x="20425" y="57272"/>
                      <a:pt x="19491" y="53534"/>
                    </a:cubicBezTo>
                    <a:cubicBezTo>
                      <a:pt x="19006" y="51593"/>
                      <a:pt x="14247" y="29127"/>
                      <a:pt x="13141" y="26547"/>
                    </a:cubicBezTo>
                    <a:cubicBezTo>
                      <a:pt x="11638" y="23040"/>
                      <a:pt x="9966" y="19139"/>
                      <a:pt x="6791" y="17022"/>
                    </a:cubicBezTo>
                    <a:lnTo>
                      <a:pt x="2028" y="13847"/>
                    </a:lnTo>
                    <a:cubicBezTo>
                      <a:pt x="1499" y="10672"/>
                      <a:pt x="-998" y="7201"/>
                      <a:pt x="441" y="4322"/>
                    </a:cubicBezTo>
                    <a:cubicBezTo>
                      <a:pt x="1715" y="1773"/>
                      <a:pt x="5700" y="2121"/>
                      <a:pt x="8378" y="1147"/>
                    </a:cubicBezTo>
                    <a:cubicBezTo>
                      <a:pt x="19410" y="-2865"/>
                      <a:pt x="18433" y="4851"/>
                      <a:pt x="22666" y="5909"/>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404" name="Forma libre: forma 349">
                <a:extLst>
                  <a:ext uri="{FF2B5EF4-FFF2-40B4-BE49-F238E27FC236}">
                    <a16:creationId xmlns:a16="http://schemas.microsoft.com/office/drawing/2014/main" id="{F8330792-0F57-4772-B660-4A2EF06C5040}"/>
                  </a:ext>
                </a:extLst>
              </p:cNvPr>
              <p:cNvSpPr/>
              <p:nvPr/>
            </p:nvSpPr>
            <p:spPr>
              <a:xfrm>
                <a:off x="5018088" y="755650"/>
                <a:ext cx="55667" cy="52388"/>
              </a:xfrm>
              <a:custGeom>
                <a:avLst/>
                <a:gdLst>
                  <a:gd name="connsiteX0" fmla="*/ 12700 w 55667"/>
                  <a:gd name="connsiteY0" fmla="*/ 33338 h 52388"/>
                  <a:gd name="connsiteX1" fmla="*/ 41275 w 55667"/>
                  <a:gd name="connsiteY1" fmla="*/ 20638 h 52388"/>
                  <a:gd name="connsiteX2" fmla="*/ 46037 w 55667"/>
                  <a:gd name="connsiteY2" fmla="*/ 7938 h 52388"/>
                  <a:gd name="connsiteX3" fmla="*/ 47625 w 55667"/>
                  <a:gd name="connsiteY3" fmla="*/ 1588 h 52388"/>
                  <a:gd name="connsiteX4" fmla="*/ 52387 w 55667"/>
                  <a:gd name="connsiteY4" fmla="*/ 0 h 52388"/>
                  <a:gd name="connsiteX5" fmla="*/ 52387 w 55667"/>
                  <a:gd name="connsiteY5" fmla="*/ 22225 h 52388"/>
                  <a:gd name="connsiteX6" fmla="*/ 50800 w 55667"/>
                  <a:gd name="connsiteY6" fmla="*/ 31750 h 52388"/>
                  <a:gd name="connsiteX7" fmla="*/ 38100 w 55667"/>
                  <a:gd name="connsiteY7" fmla="*/ 41275 h 52388"/>
                  <a:gd name="connsiteX8" fmla="*/ 25400 w 55667"/>
                  <a:gd name="connsiteY8" fmla="*/ 52388 h 52388"/>
                  <a:gd name="connsiteX9" fmla="*/ 4762 w 55667"/>
                  <a:gd name="connsiteY9" fmla="*/ 50800 h 52388"/>
                  <a:gd name="connsiteX10" fmla="*/ 0 w 55667"/>
                  <a:gd name="connsiteY10" fmla="*/ 47625 h 52388"/>
                  <a:gd name="connsiteX11" fmla="*/ 4762 w 55667"/>
                  <a:gd name="connsiteY11" fmla="*/ 34925 h 52388"/>
                  <a:gd name="connsiteX12" fmla="*/ 9525 w 55667"/>
                  <a:gd name="connsiteY12" fmla="*/ 33338 h 52388"/>
                  <a:gd name="connsiteX13" fmla="*/ 12700 w 55667"/>
                  <a:gd name="connsiteY13" fmla="*/ 33338 h 52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5667" h="52388">
                    <a:moveTo>
                      <a:pt x="12700" y="33338"/>
                    </a:moveTo>
                    <a:cubicBezTo>
                      <a:pt x="17992" y="31221"/>
                      <a:pt x="27716" y="27418"/>
                      <a:pt x="41275" y="20638"/>
                    </a:cubicBezTo>
                    <a:cubicBezTo>
                      <a:pt x="45346" y="4348"/>
                      <a:pt x="39814" y="24530"/>
                      <a:pt x="46037" y="7938"/>
                    </a:cubicBezTo>
                    <a:cubicBezTo>
                      <a:pt x="46803" y="5895"/>
                      <a:pt x="46262" y="3292"/>
                      <a:pt x="47625" y="1588"/>
                    </a:cubicBezTo>
                    <a:cubicBezTo>
                      <a:pt x="48670" y="281"/>
                      <a:pt x="50800" y="529"/>
                      <a:pt x="52387" y="0"/>
                    </a:cubicBezTo>
                    <a:cubicBezTo>
                      <a:pt x="57522" y="12837"/>
                      <a:pt x="55927" y="4523"/>
                      <a:pt x="52387" y="22225"/>
                    </a:cubicBezTo>
                    <a:cubicBezTo>
                      <a:pt x="51756" y="25381"/>
                      <a:pt x="52731" y="29175"/>
                      <a:pt x="50800" y="31750"/>
                    </a:cubicBezTo>
                    <a:cubicBezTo>
                      <a:pt x="47625" y="35983"/>
                      <a:pt x="42294" y="38049"/>
                      <a:pt x="38100" y="41275"/>
                    </a:cubicBezTo>
                    <a:cubicBezTo>
                      <a:pt x="29698" y="47738"/>
                      <a:pt x="31703" y="46083"/>
                      <a:pt x="25400" y="52388"/>
                    </a:cubicBezTo>
                    <a:cubicBezTo>
                      <a:pt x="18521" y="51859"/>
                      <a:pt x="11543" y="52072"/>
                      <a:pt x="4762" y="50800"/>
                    </a:cubicBezTo>
                    <a:cubicBezTo>
                      <a:pt x="2887" y="50448"/>
                      <a:pt x="0" y="49533"/>
                      <a:pt x="0" y="47625"/>
                    </a:cubicBezTo>
                    <a:cubicBezTo>
                      <a:pt x="0" y="43104"/>
                      <a:pt x="2254" y="38687"/>
                      <a:pt x="4762" y="34925"/>
                    </a:cubicBezTo>
                    <a:cubicBezTo>
                      <a:pt x="5690" y="33533"/>
                      <a:pt x="7937" y="33867"/>
                      <a:pt x="9525" y="33338"/>
                    </a:cubicBezTo>
                    <a:cubicBezTo>
                      <a:pt x="19975" y="24977"/>
                      <a:pt x="7408" y="35455"/>
                      <a:pt x="12700" y="33338"/>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405" name="Forma libre: forma 350">
                <a:extLst>
                  <a:ext uri="{FF2B5EF4-FFF2-40B4-BE49-F238E27FC236}">
                    <a16:creationId xmlns:a16="http://schemas.microsoft.com/office/drawing/2014/main" id="{6F13BD5E-3E5C-49A3-9085-0DB4FBDD6B58}"/>
                  </a:ext>
                </a:extLst>
              </p:cNvPr>
              <p:cNvSpPr/>
              <p:nvPr/>
            </p:nvSpPr>
            <p:spPr>
              <a:xfrm>
                <a:off x="5192678" y="659895"/>
                <a:ext cx="29038" cy="32255"/>
              </a:xfrm>
              <a:custGeom>
                <a:avLst/>
                <a:gdLst>
                  <a:gd name="connsiteX0" fmla="*/ 35 w 29038"/>
                  <a:gd name="connsiteY0" fmla="*/ 27493 h 32255"/>
                  <a:gd name="connsiteX1" fmla="*/ 7972 w 29038"/>
                  <a:gd name="connsiteY1" fmla="*/ 30668 h 32255"/>
                  <a:gd name="connsiteX2" fmla="*/ 12735 w 29038"/>
                  <a:gd name="connsiteY2" fmla="*/ 32255 h 32255"/>
                  <a:gd name="connsiteX3" fmla="*/ 25435 w 29038"/>
                  <a:gd name="connsiteY3" fmla="*/ 25905 h 32255"/>
                  <a:gd name="connsiteX4" fmla="*/ 23847 w 29038"/>
                  <a:gd name="connsiteY4" fmla="*/ 505 h 32255"/>
                  <a:gd name="connsiteX5" fmla="*/ 11147 w 29038"/>
                  <a:gd name="connsiteY5" fmla="*/ 11618 h 32255"/>
                  <a:gd name="connsiteX6" fmla="*/ 7972 w 29038"/>
                  <a:gd name="connsiteY6" fmla="*/ 17968 h 32255"/>
                  <a:gd name="connsiteX7" fmla="*/ 35 w 29038"/>
                  <a:gd name="connsiteY7" fmla="*/ 27493 h 322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038" h="32255">
                    <a:moveTo>
                      <a:pt x="35" y="27493"/>
                    </a:moveTo>
                    <a:cubicBezTo>
                      <a:pt x="35" y="29610"/>
                      <a:pt x="5304" y="29668"/>
                      <a:pt x="7972" y="30668"/>
                    </a:cubicBezTo>
                    <a:cubicBezTo>
                      <a:pt x="9539" y="31256"/>
                      <a:pt x="11062" y="32255"/>
                      <a:pt x="12735" y="32255"/>
                    </a:cubicBezTo>
                    <a:cubicBezTo>
                      <a:pt x="16154" y="32255"/>
                      <a:pt x="23939" y="26803"/>
                      <a:pt x="25435" y="25905"/>
                    </a:cubicBezTo>
                    <a:cubicBezTo>
                      <a:pt x="27872" y="18593"/>
                      <a:pt x="32896" y="5934"/>
                      <a:pt x="23847" y="505"/>
                    </a:cubicBezTo>
                    <a:cubicBezTo>
                      <a:pt x="19023" y="-2389"/>
                      <a:pt x="15380" y="7914"/>
                      <a:pt x="11147" y="11618"/>
                    </a:cubicBezTo>
                    <a:cubicBezTo>
                      <a:pt x="10089" y="13735"/>
                      <a:pt x="9121" y="15899"/>
                      <a:pt x="7972" y="17968"/>
                    </a:cubicBezTo>
                    <a:cubicBezTo>
                      <a:pt x="-991" y="34102"/>
                      <a:pt x="35" y="25376"/>
                      <a:pt x="35" y="2749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406" name="Forma libre: forma 351">
                <a:extLst>
                  <a:ext uri="{FF2B5EF4-FFF2-40B4-BE49-F238E27FC236}">
                    <a16:creationId xmlns:a16="http://schemas.microsoft.com/office/drawing/2014/main" id="{2E3E1A1F-07AE-4BC8-86A6-B01BC876B43D}"/>
                  </a:ext>
                </a:extLst>
              </p:cNvPr>
              <p:cNvSpPr/>
              <p:nvPr/>
            </p:nvSpPr>
            <p:spPr>
              <a:xfrm>
                <a:off x="5106085" y="773113"/>
                <a:ext cx="20114" cy="16691"/>
              </a:xfrm>
              <a:custGeom>
                <a:avLst/>
                <a:gdLst>
                  <a:gd name="connsiteX0" fmla="*/ 5665 w 20114"/>
                  <a:gd name="connsiteY0" fmla="*/ 4762 h 16691"/>
                  <a:gd name="connsiteX1" fmla="*/ 12015 w 20114"/>
                  <a:gd name="connsiteY1" fmla="*/ 15875 h 16691"/>
                  <a:gd name="connsiteX2" fmla="*/ 19953 w 20114"/>
                  <a:gd name="connsiteY2" fmla="*/ 14287 h 16691"/>
                  <a:gd name="connsiteX3" fmla="*/ 15190 w 20114"/>
                  <a:gd name="connsiteY3" fmla="*/ 7937 h 16691"/>
                  <a:gd name="connsiteX4" fmla="*/ 8840 w 20114"/>
                  <a:gd name="connsiteY4" fmla="*/ 4762 h 16691"/>
                  <a:gd name="connsiteX5" fmla="*/ 4078 w 20114"/>
                  <a:gd name="connsiteY5" fmla="*/ 0 h 16691"/>
                  <a:gd name="connsiteX6" fmla="*/ 5665 w 20114"/>
                  <a:gd name="connsiteY6" fmla="*/ 4762 h 16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114" h="16691">
                    <a:moveTo>
                      <a:pt x="5665" y="4762"/>
                    </a:moveTo>
                    <a:cubicBezTo>
                      <a:pt x="6988" y="7408"/>
                      <a:pt x="8465" y="13508"/>
                      <a:pt x="12015" y="15875"/>
                    </a:cubicBezTo>
                    <a:cubicBezTo>
                      <a:pt x="14260" y="17372"/>
                      <a:pt x="18951" y="16792"/>
                      <a:pt x="19953" y="14287"/>
                    </a:cubicBezTo>
                    <a:cubicBezTo>
                      <a:pt x="20936" y="11830"/>
                      <a:pt x="17199" y="9659"/>
                      <a:pt x="15190" y="7937"/>
                    </a:cubicBezTo>
                    <a:cubicBezTo>
                      <a:pt x="13393" y="6397"/>
                      <a:pt x="10766" y="6137"/>
                      <a:pt x="8840" y="4762"/>
                    </a:cubicBezTo>
                    <a:cubicBezTo>
                      <a:pt x="7013" y="3457"/>
                      <a:pt x="5665" y="1587"/>
                      <a:pt x="4078" y="0"/>
                    </a:cubicBezTo>
                    <a:cubicBezTo>
                      <a:pt x="-5352" y="2357"/>
                      <a:pt x="4342" y="2116"/>
                      <a:pt x="5665" y="4762"/>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693" name="Forma libre: forma 352">
                <a:extLst>
                  <a:ext uri="{FF2B5EF4-FFF2-40B4-BE49-F238E27FC236}">
                    <a16:creationId xmlns:a16="http://schemas.microsoft.com/office/drawing/2014/main" id="{4A1385FF-BEE0-45E3-AB3B-1F998DFFCCB1}"/>
                  </a:ext>
                </a:extLst>
              </p:cNvPr>
              <p:cNvSpPr/>
              <p:nvPr/>
            </p:nvSpPr>
            <p:spPr>
              <a:xfrm>
                <a:off x="5073565" y="793750"/>
                <a:ext cx="36598" cy="42863"/>
              </a:xfrm>
              <a:custGeom>
                <a:avLst/>
                <a:gdLst>
                  <a:gd name="connsiteX0" fmla="*/ 85 w 36598"/>
                  <a:gd name="connsiteY0" fmla="*/ 33338 h 42863"/>
                  <a:gd name="connsiteX1" fmla="*/ 12785 w 36598"/>
                  <a:gd name="connsiteY1" fmla="*/ 34925 h 42863"/>
                  <a:gd name="connsiteX2" fmla="*/ 25485 w 36598"/>
                  <a:gd name="connsiteY2" fmla="*/ 42863 h 42863"/>
                  <a:gd name="connsiteX3" fmla="*/ 30248 w 36598"/>
                  <a:gd name="connsiteY3" fmla="*/ 33338 h 42863"/>
                  <a:gd name="connsiteX4" fmla="*/ 36598 w 36598"/>
                  <a:gd name="connsiteY4" fmla="*/ 9525 h 42863"/>
                  <a:gd name="connsiteX5" fmla="*/ 31835 w 36598"/>
                  <a:gd name="connsiteY5" fmla="*/ 1588 h 42863"/>
                  <a:gd name="connsiteX6" fmla="*/ 27073 w 36598"/>
                  <a:gd name="connsiteY6" fmla="*/ 0 h 42863"/>
                  <a:gd name="connsiteX7" fmla="*/ 12785 w 36598"/>
                  <a:gd name="connsiteY7" fmla="*/ 1588 h 42863"/>
                  <a:gd name="connsiteX8" fmla="*/ 85 w 36598"/>
                  <a:gd name="connsiteY8" fmla="*/ 15875 h 42863"/>
                  <a:gd name="connsiteX9" fmla="*/ 3260 w 36598"/>
                  <a:gd name="connsiteY9" fmla="*/ 23813 h 42863"/>
                  <a:gd name="connsiteX10" fmla="*/ 8023 w 36598"/>
                  <a:gd name="connsiteY10" fmla="*/ 25400 h 42863"/>
                  <a:gd name="connsiteX11" fmla="*/ 85 w 36598"/>
                  <a:gd name="connsiteY11" fmla="*/ 33338 h 428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598" h="42863">
                    <a:moveTo>
                      <a:pt x="85" y="33338"/>
                    </a:moveTo>
                    <a:cubicBezTo>
                      <a:pt x="879" y="34926"/>
                      <a:pt x="8707" y="33670"/>
                      <a:pt x="12785" y="34925"/>
                    </a:cubicBezTo>
                    <a:cubicBezTo>
                      <a:pt x="14564" y="35472"/>
                      <a:pt x="22975" y="41189"/>
                      <a:pt x="25485" y="42863"/>
                    </a:cubicBezTo>
                    <a:cubicBezTo>
                      <a:pt x="27073" y="39688"/>
                      <a:pt x="29435" y="36793"/>
                      <a:pt x="30248" y="33338"/>
                    </a:cubicBezTo>
                    <a:cubicBezTo>
                      <a:pt x="36303" y="7602"/>
                      <a:pt x="26413" y="23103"/>
                      <a:pt x="36598" y="9525"/>
                    </a:cubicBezTo>
                    <a:cubicBezTo>
                      <a:pt x="35010" y="6879"/>
                      <a:pt x="34017" y="3770"/>
                      <a:pt x="31835" y="1588"/>
                    </a:cubicBezTo>
                    <a:cubicBezTo>
                      <a:pt x="30652" y="405"/>
                      <a:pt x="28746" y="0"/>
                      <a:pt x="27073" y="0"/>
                    </a:cubicBezTo>
                    <a:cubicBezTo>
                      <a:pt x="22281" y="0"/>
                      <a:pt x="17548" y="1059"/>
                      <a:pt x="12785" y="1588"/>
                    </a:cubicBezTo>
                    <a:cubicBezTo>
                      <a:pt x="7947" y="5216"/>
                      <a:pt x="1319" y="9085"/>
                      <a:pt x="85" y="15875"/>
                    </a:cubicBezTo>
                    <a:cubicBezTo>
                      <a:pt x="-425" y="18679"/>
                      <a:pt x="1436" y="21624"/>
                      <a:pt x="3260" y="23813"/>
                    </a:cubicBezTo>
                    <a:cubicBezTo>
                      <a:pt x="4331" y="25099"/>
                      <a:pt x="6526" y="24652"/>
                      <a:pt x="8023" y="25400"/>
                    </a:cubicBezTo>
                    <a:cubicBezTo>
                      <a:pt x="9729" y="26253"/>
                      <a:pt x="-709" y="31750"/>
                      <a:pt x="85" y="33338"/>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694" name="Forma libre: forma 353">
                <a:extLst>
                  <a:ext uri="{FF2B5EF4-FFF2-40B4-BE49-F238E27FC236}">
                    <a16:creationId xmlns:a16="http://schemas.microsoft.com/office/drawing/2014/main" id="{1F3844C3-5D86-4AF9-8FA6-20EDF7183C05}"/>
                  </a:ext>
                </a:extLst>
              </p:cNvPr>
              <p:cNvSpPr/>
              <p:nvPr/>
            </p:nvSpPr>
            <p:spPr>
              <a:xfrm>
                <a:off x="5058394" y="850900"/>
                <a:ext cx="23365" cy="22778"/>
              </a:xfrm>
              <a:custGeom>
                <a:avLst/>
                <a:gdLst>
                  <a:gd name="connsiteX0" fmla="*/ 7319 w 23365"/>
                  <a:gd name="connsiteY0" fmla="*/ 22225 h 22778"/>
                  <a:gd name="connsiteX1" fmla="*/ 16844 w 23365"/>
                  <a:gd name="connsiteY1" fmla="*/ 20638 h 22778"/>
                  <a:gd name="connsiteX2" fmla="*/ 20019 w 23365"/>
                  <a:gd name="connsiteY2" fmla="*/ 3175 h 22778"/>
                  <a:gd name="connsiteX3" fmla="*/ 12081 w 23365"/>
                  <a:gd name="connsiteY3" fmla="*/ 0 h 22778"/>
                  <a:gd name="connsiteX4" fmla="*/ 2556 w 23365"/>
                  <a:gd name="connsiteY4" fmla="*/ 6350 h 22778"/>
                  <a:gd name="connsiteX5" fmla="*/ 969 w 23365"/>
                  <a:gd name="connsiteY5" fmla="*/ 12700 h 22778"/>
                  <a:gd name="connsiteX6" fmla="*/ 7319 w 23365"/>
                  <a:gd name="connsiteY6" fmla="*/ 22225 h 22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3365" h="22778">
                    <a:moveTo>
                      <a:pt x="7319" y="22225"/>
                    </a:moveTo>
                    <a:cubicBezTo>
                      <a:pt x="9965" y="23548"/>
                      <a:pt x="14084" y="22294"/>
                      <a:pt x="16844" y="20638"/>
                    </a:cubicBezTo>
                    <a:cubicBezTo>
                      <a:pt x="23851" y="16434"/>
                      <a:pt x="25681" y="9646"/>
                      <a:pt x="20019" y="3175"/>
                    </a:cubicBezTo>
                    <a:cubicBezTo>
                      <a:pt x="18142" y="1030"/>
                      <a:pt x="14727" y="1058"/>
                      <a:pt x="12081" y="0"/>
                    </a:cubicBezTo>
                    <a:cubicBezTo>
                      <a:pt x="8906" y="2117"/>
                      <a:pt x="5069" y="3478"/>
                      <a:pt x="2556" y="6350"/>
                    </a:cubicBezTo>
                    <a:cubicBezTo>
                      <a:pt x="1119" y="7992"/>
                      <a:pt x="2051" y="10806"/>
                      <a:pt x="969" y="12700"/>
                    </a:cubicBezTo>
                    <a:cubicBezTo>
                      <a:pt x="-2608" y="18960"/>
                      <a:pt x="4673" y="20902"/>
                      <a:pt x="7319" y="22225"/>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695" name="Forma libre: forma 354">
                <a:extLst>
                  <a:ext uri="{FF2B5EF4-FFF2-40B4-BE49-F238E27FC236}">
                    <a16:creationId xmlns:a16="http://schemas.microsoft.com/office/drawing/2014/main" id="{DCC21F19-2974-43AF-9C94-85FA3097AD5D}"/>
                  </a:ext>
                </a:extLst>
              </p:cNvPr>
              <p:cNvSpPr/>
              <p:nvPr/>
            </p:nvSpPr>
            <p:spPr>
              <a:xfrm>
                <a:off x="5041482" y="830263"/>
                <a:ext cx="30857" cy="26994"/>
              </a:xfrm>
              <a:custGeom>
                <a:avLst/>
                <a:gdLst>
                  <a:gd name="connsiteX0" fmla="*/ 418 w 30857"/>
                  <a:gd name="connsiteY0" fmla="*/ 12700 h 26994"/>
                  <a:gd name="connsiteX1" fmla="*/ 8356 w 30857"/>
                  <a:gd name="connsiteY1" fmla="*/ 4762 h 26994"/>
                  <a:gd name="connsiteX2" fmla="*/ 21056 w 30857"/>
                  <a:gd name="connsiteY2" fmla="*/ 0 h 26994"/>
                  <a:gd name="connsiteX3" fmla="*/ 30581 w 30857"/>
                  <a:gd name="connsiteY3" fmla="*/ 1587 h 26994"/>
                  <a:gd name="connsiteX4" fmla="*/ 25818 w 30857"/>
                  <a:gd name="connsiteY4" fmla="*/ 9525 h 26994"/>
                  <a:gd name="connsiteX5" fmla="*/ 21056 w 30857"/>
                  <a:gd name="connsiteY5" fmla="*/ 12700 h 26994"/>
                  <a:gd name="connsiteX6" fmla="*/ 13118 w 30857"/>
                  <a:gd name="connsiteY6" fmla="*/ 20637 h 26994"/>
                  <a:gd name="connsiteX7" fmla="*/ 5181 w 30857"/>
                  <a:gd name="connsiteY7" fmla="*/ 26987 h 26994"/>
                  <a:gd name="connsiteX8" fmla="*/ 418 w 30857"/>
                  <a:gd name="connsiteY8" fmla="*/ 12700 h 269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857" h="26994">
                    <a:moveTo>
                      <a:pt x="418" y="12700"/>
                    </a:moveTo>
                    <a:cubicBezTo>
                      <a:pt x="947" y="8996"/>
                      <a:pt x="5290" y="6908"/>
                      <a:pt x="8356" y="4762"/>
                    </a:cubicBezTo>
                    <a:cubicBezTo>
                      <a:pt x="10085" y="3552"/>
                      <a:pt x="18148" y="969"/>
                      <a:pt x="21056" y="0"/>
                    </a:cubicBezTo>
                    <a:lnTo>
                      <a:pt x="30581" y="1587"/>
                    </a:lnTo>
                    <a:cubicBezTo>
                      <a:pt x="31961" y="4347"/>
                      <a:pt x="27826" y="7182"/>
                      <a:pt x="25818" y="9525"/>
                    </a:cubicBezTo>
                    <a:cubicBezTo>
                      <a:pt x="24576" y="10974"/>
                      <a:pt x="22492" y="11444"/>
                      <a:pt x="21056" y="12700"/>
                    </a:cubicBezTo>
                    <a:cubicBezTo>
                      <a:pt x="18240" y="15164"/>
                      <a:pt x="15899" y="18134"/>
                      <a:pt x="13118" y="20637"/>
                    </a:cubicBezTo>
                    <a:cubicBezTo>
                      <a:pt x="10600" y="22904"/>
                      <a:pt x="8563" y="27198"/>
                      <a:pt x="5181" y="26987"/>
                    </a:cubicBezTo>
                    <a:cubicBezTo>
                      <a:pt x="-1201" y="26588"/>
                      <a:pt x="-111" y="16404"/>
                      <a:pt x="418" y="1270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696" name="Forma libre: forma 355">
                <a:extLst>
                  <a:ext uri="{FF2B5EF4-FFF2-40B4-BE49-F238E27FC236}">
                    <a16:creationId xmlns:a16="http://schemas.microsoft.com/office/drawing/2014/main" id="{BAEC642F-1D79-4CC6-A328-9F294F841587}"/>
                  </a:ext>
                </a:extLst>
              </p:cNvPr>
              <p:cNvSpPr/>
              <p:nvPr/>
            </p:nvSpPr>
            <p:spPr>
              <a:xfrm>
                <a:off x="4454525" y="1380732"/>
                <a:ext cx="14296" cy="16308"/>
              </a:xfrm>
              <a:custGeom>
                <a:avLst/>
                <a:gdLst>
                  <a:gd name="connsiteX0" fmla="*/ 14288 w 14296"/>
                  <a:gd name="connsiteY0" fmla="*/ 1981 h 16308"/>
                  <a:gd name="connsiteX1" fmla="*/ 6350 w 14296"/>
                  <a:gd name="connsiteY1" fmla="*/ 9918 h 16308"/>
                  <a:gd name="connsiteX2" fmla="*/ 3175 w 14296"/>
                  <a:gd name="connsiteY2" fmla="*/ 16268 h 16308"/>
                  <a:gd name="connsiteX3" fmla="*/ 0 w 14296"/>
                  <a:gd name="connsiteY3" fmla="*/ 11506 h 16308"/>
                  <a:gd name="connsiteX4" fmla="*/ 3175 w 14296"/>
                  <a:gd name="connsiteY4" fmla="*/ 6743 h 16308"/>
                  <a:gd name="connsiteX5" fmla="*/ 7938 w 14296"/>
                  <a:gd name="connsiteY5" fmla="*/ 393 h 16308"/>
                  <a:gd name="connsiteX6" fmla="*/ 14288 w 14296"/>
                  <a:gd name="connsiteY6" fmla="*/ 1981 h 16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296" h="16308">
                    <a:moveTo>
                      <a:pt x="14288" y="1981"/>
                    </a:moveTo>
                    <a:cubicBezTo>
                      <a:pt x="14023" y="3569"/>
                      <a:pt x="8647" y="6965"/>
                      <a:pt x="6350" y="9918"/>
                    </a:cubicBezTo>
                    <a:cubicBezTo>
                      <a:pt x="4897" y="11786"/>
                      <a:pt x="5471" y="15694"/>
                      <a:pt x="3175" y="16268"/>
                    </a:cubicBezTo>
                    <a:cubicBezTo>
                      <a:pt x="1324" y="16731"/>
                      <a:pt x="1058" y="13093"/>
                      <a:pt x="0" y="11506"/>
                    </a:cubicBezTo>
                    <a:cubicBezTo>
                      <a:pt x="1058" y="9918"/>
                      <a:pt x="2066" y="8296"/>
                      <a:pt x="3175" y="6743"/>
                    </a:cubicBezTo>
                    <a:cubicBezTo>
                      <a:pt x="4713" y="4590"/>
                      <a:pt x="6470" y="2595"/>
                      <a:pt x="7938" y="393"/>
                    </a:cubicBezTo>
                    <a:cubicBezTo>
                      <a:pt x="8594" y="-591"/>
                      <a:pt x="14553" y="393"/>
                      <a:pt x="14288" y="1981"/>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grpSp>
        <p:sp>
          <p:nvSpPr>
            <p:cNvPr id="346" name="Rectangle 215">
              <a:extLst>
                <a:ext uri="{FF2B5EF4-FFF2-40B4-BE49-F238E27FC236}">
                  <a16:creationId xmlns:a16="http://schemas.microsoft.com/office/drawing/2014/main" id="{294A7AE3-FB62-4C92-855D-9DC2AA338758}"/>
                </a:ext>
              </a:extLst>
            </p:cNvPr>
            <p:cNvSpPr/>
            <p:nvPr/>
          </p:nvSpPr>
          <p:spPr>
            <a:xfrm>
              <a:off x="7293144" y="5205575"/>
              <a:ext cx="72000" cy="72000"/>
            </a:xfrm>
            <a:prstGeom prst="rect">
              <a:avLst/>
            </a:prstGeom>
            <a:solidFill>
              <a:schemeClr val="bg2">
                <a:lumMod val="90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47" name="Rectangle 215">
              <a:extLst>
                <a:ext uri="{FF2B5EF4-FFF2-40B4-BE49-F238E27FC236}">
                  <a16:creationId xmlns:a16="http://schemas.microsoft.com/office/drawing/2014/main" id="{04FB4827-49B7-4B83-986E-95679474B4E6}"/>
                </a:ext>
              </a:extLst>
            </p:cNvPr>
            <p:cNvSpPr/>
            <p:nvPr/>
          </p:nvSpPr>
          <p:spPr>
            <a:xfrm>
              <a:off x="7292213" y="5577189"/>
              <a:ext cx="72000" cy="72000"/>
            </a:xfrm>
            <a:prstGeom prst="rect">
              <a:avLst/>
            </a:prstGeom>
            <a:solidFill>
              <a:schemeClr val="bg2">
                <a:lumMod val="90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grpSp>
          <p:nvGrpSpPr>
            <p:cNvPr id="348" name="Grupo 1">
              <a:extLst>
                <a:ext uri="{FF2B5EF4-FFF2-40B4-BE49-F238E27FC236}">
                  <a16:creationId xmlns:a16="http://schemas.microsoft.com/office/drawing/2014/main" id="{05C6AA95-9E18-4225-954D-4580AEC3CD8C}"/>
                </a:ext>
              </a:extLst>
            </p:cNvPr>
            <p:cNvGrpSpPr/>
            <p:nvPr/>
          </p:nvGrpSpPr>
          <p:grpSpPr>
            <a:xfrm>
              <a:off x="9153166" y="4698311"/>
              <a:ext cx="2699277" cy="1576253"/>
              <a:chOff x="6428422" y="5101733"/>
              <a:chExt cx="2699277" cy="1576253"/>
            </a:xfrm>
            <a:solidFill>
              <a:schemeClr val="bg2">
                <a:lumMod val="90000"/>
              </a:schemeClr>
            </a:solidFill>
          </p:grpSpPr>
          <p:sp>
            <p:nvSpPr>
              <p:cNvPr id="363" name="Forma libre: forma 359">
                <a:extLst>
                  <a:ext uri="{FF2B5EF4-FFF2-40B4-BE49-F238E27FC236}">
                    <a16:creationId xmlns:a16="http://schemas.microsoft.com/office/drawing/2014/main" id="{EB0F1371-B972-4691-86DB-05BCF8C70B09}"/>
                  </a:ext>
                </a:extLst>
              </p:cNvPr>
              <p:cNvSpPr/>
              <p:nvPr/>
            </p:nvSpPr>
            <p:spPr>
              <a:xfrm>
                <a:off x="6469063" y="5700494"/>
                <a:ext cx="378483" cy="384474"/>
              </a:xfrm>
              <a:custGeom>
                <a:avLst/>
                <a:gdLst>
                  <a:gd name="connsiteX0" fmla="*/ 207962 w 378483"/>
                  <a:gd name="connsiteY0" fmla="*/ 33556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89131 h 384474"/>
                  <a:gd name="connsiteX135" fmla="*/ 188912 w 378483"/>
                  <a:gd name="connsiteY135" fmla="*/ 184369 h 384474"/>
                  <a:gd name="connsiteX136" fmla="*/ 201612 w 378483"/>
                  <a:gd name="connsiteY136" fmla="*/ 176431 h 384474"/>
                  <a:gd name="connsiteX137" fmla="*/ 238125 w 378483"/>
                  <a:gd name="connsiteY137" fmla="*/ 179606 h 384474"/>
                  <a:gd name="connsiteX138" fmla="*/ 242887 w 378483"/>
                  <a:gd name="connsiteY138" fmla="*/ 173256 h 384474"/>
                  <a:gd name="connsiteX139" fmla="*/ 244475 w 378483"/>
                  <a:gd name="connsiteY139" fmla="*/ 166906 h 384474"/>
                  <a:gd name="connsiteX140" fmla="*/ 252412 w 378483"/>
                  <a:gd name="connsiteY140" fmla="*/ 154206 h 384474"/>
                  <a:gd name="connsiteX141" fmla="*/ 255587 w 378483"/>
                  <a:gd name="connsiteY141" fmla="*/ 149444 h 384474"/>
                  <a:gd name="connsiteX142" fmla="*/ 288925 w 378483"/>
                  <a:gd name="connsiteY142" fmla="*/ 147856 h 384474"/>
                  <a:gd name="connsiteX143" fmla="*/ 301625 w 378483"/>
                  <a:gd name="connsiteY143" fmla="*/ 149444 h 384474"/>
                  <a:gd name="connsiteX144" fmla="*/ 304800 w 378483"/>
                  <a:gd name="connsiteY144" fmla="*/ 157381 h 384474"/>
                  <a:gd name="connsiteX145" fmla="*/ 309562 w 378483"/>
                  <a:gd name="connsiteY145" fmla="*/ 160556 h 384474"/>
                  <a:gd name="connsiteX146" fmla="*/ 311150 w 378483"/>
                  <a:gd name="connsiteY146" fmla="*/ 155794 h 384474"/>
                  <a:gd name="connsiteX147" fmla="*/ 309562 w 378483"/>
                  <a:gd name="connsiteY147" fmla="*/ 144681 h 384474"/>
                  <a:gd name="connsiteX148" fmla="*/ 314325 w 378483"/>
                  <a:gd name="connsiteY148" fmla="*/ 149444 h 384474"/>
                  <a:gd name="connsiteX149" fmla="*/ 317500 w 378483"/>
                  <a:gd name="connsiteY149" fmla="*/ 155794 h 384474"/>
                  <a:gd name="connsiteX150" fmla="*/ 349250 w 378483"/>
                  <a:gd name="connsiteY150" fmla="*/ 160556 h 384474"/>
                  <a:gd name="connsiteX151" fmla="*/ 350837 w 378483"/>
                  <a:gd name="connsiteY151" fmla="*/ 155794 h 384474"/>
                  <a:gd name="connsiteX152" fmla="*/ 355600 w 378483"/>
                  <a:gd name="connsiteY152" fmla="*/ 152619 h 384474"/>
                  <a:gd name="connsiteX153" fmla="*/ 360362 w 378483"/>
                  <a:gd name="connsiteY153" fmla="*/ 144681 h 384474"/>
                  <a:gd name="connsiteX154" fmla="*/ 363537 w 378483"/>
                  <a:gd name="connsiteY154" fmla="*/ 139919 h 384474"/>
                  <a:gd name="connsiteX155" fmla="*/ 371475 w 378483"/>
                  <a:gd name="connsiteY155" fmla="*/ 138331 h 384474"/>
                  <a:gd name="connsiteX156" fmla="*/ 373062 w 378483"/>
                  <a:gd name="connsiteY156" fmla="*/ 133569 h 384474"/>
                  <a:gd name="connsiteX157" fmla="*/ 369887 w 378483"/>
                  <a:gd name="connsiteY157" fmla="*/ 119281 h 384474"/>
                  <a:gd name="connsiteX158" fmla="*/ 371475 w 378483"/>
                  <a:gd name="connsiteY158" fmla="*/ 114519 h 384474"/>
                  <a:gd name="connsiteX159" fmla="*/ 377825 w 378483"/>
                  <a:gd name="connsiteY159" fmla="*/ 112931 h 384474"/>
                  <a:gd name="connsiteX160" fmla="*/ 371475 w 378483"/>
                  <a:gd name="connsiteY160" fmla="*/ 100231 h 384474"/>
                  <a:gd name="connsiteX161" fmla="*/ 327025 w 378483"/>
                  <a:gd name="connsiteY161" fmla="*/ 92294 h 384474"/>
                  <a:gd name="connsiteX162" fmla="*/ 328612 w 378483"/>
                  <a:gd name="connsiteY162" fmla="*/ 100231 h 384474"/>
                  <a:gd name="connsiteX163" fmla="*/ 333375 w 378483"/>
                  <a:gd name="connsiteY163" fmla="*/ 101819 h 384474"/>
                  <a:gd name="connsiteX164" fmla="*/ 314325 w 378483"/>
                  <a:gd name="connsiteY164" fmla="*/ 98644 h 384474"/>
                  <a:gd name="connsiteX165" fmla="*/ 317500 w 378483"/>
                  <a:gd name="connsiteY165" fmla="*/ 93881 h 384474"/>
                  <a:gd name="connsiteX166" fmla="*/ 301625 w 378483"/>
                  <a:gd name="connsiteY166" fmla="*/ 92294 h 384474"/>
                  <a:gd name="connsiteX167" fmla="*/ 296862 w 378483"/>
                  <a:gd name="connsiteY167" fmla="*/ 90706 h 384474"/>
                  <a:gd name="connsiteX168" fmla="*/ 293687 w 378483"/>
                  <a:gd name="connsiteY168" fmla="*/ 85944 h 384474"/>
                  <a:gd name="connsiteX169" fmla="*/ 288925 w 378483"/>
                  <a:gd name="connsiteY169" fmla="*/ 84356 h 384474"/>
                  <a:gd name="connsiteX170" fmla="*/ 276225 w 378483"/>
                  <a:gd name="connsiteY170" fmla="*/ 79594 h 384474"/>
                  <a:gd name="connsiteX171" fmla="*/ 263525 w 378483"/>
                  <a:gd name="connsiteY171" fmla="*/ 79594 h 384474"/>
                  <a:gd name="connsiteX172" fmla="*/ 254000 w 378483"/>
                  <a:gd name="connsiteY172" fmla="*/ 70069 h 384474"/>
                  <a:gd name="connsiteX173" fmla="*/ 238125 w 378483"/>
                  <a:gd name="connsiteY173" fmla="*/ 66894 h 384474"/>
                  <a:gd name="connsiteX174" fmla="*/ 233362 w 378483"/>
                  <a:gd name="connsiteY174" fmla="*/ 62131 h 384474"/>
                  <a:gd name="connsiteX175" fmla="*/ 227012 w 378483"/>
                  <a:gd name="connsiteY175" fmla="*/ 54194 h 384474"/>
                  <a:gd name="connsiteX176" fmla="*/ 222250 w 378483"/>
                  <a:gd name="connsiteY176" fmla="*/ 52606 h 384474"/>
                  <a:gd name="connsiteX177" fmla="*/ 206375 w 378483"/>
                  <a:gd name="connsiteY177" fmla="*/ 51019 h 384474"/>
                  <a:gd name="connsiteX178" fmla="*/ 209550 w 378483"/>
                  <a:gd name="connsiteY178" fmla="*/ 43081 h 384474"/>
                  <a:gd name="connsiteX179" fmla="*/ 207962 w 378483"/>
                  <a:gd name="connsiteY179" fmla="*/ 33556 h 384474"/>
                  <a:gd name="connsiteX0" fmla="*/ 207962 w 378483"/>
                  <a:gd name="connsiteY0" fmla="*/ 33556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89131 h 384474"/>
                  <a:gd name="connsiteX135" fmla="*/ 188912 w 378483"/>
                  <a:gd name="connsiteY135" fmla="*/ 184369 h 384474"/>
                  <a:gd name="connsiteX136" fmla="*/ 201612 w 378483"/>
                  <a:gd name="connsiteY136" fmla="*/ 176431 h 384474"/>
                  <a:gd name="connsiteX137" fmla="*/ 238125 w 378483"/>
                  <a:gd name="connsiteY137" fmla="*/ 179606 h 384474"/>
                  <a:gd name="connsiteX138" fmla="*/ 242887 w 378483"/>
                  <a:gd name="connsiteY138" fmla="*/ 173256 h 384474"/>
                  <a:gd name="connsiteX139" fmla="*/ 244475 w 378483"/>
                  <a:gd name="connsiteY139" fmla="*/ 166906 h 384474"/>
                  <a:gd name="connsiteX140" fmla="*/ 252412 w 378483"/>
                  <a:gd name="connsiteY140" fmla="*/ 154206 h 384474"/>
                  <a:gd name="connsiteX141" fmla="*/ 255587 w 378483"/>
                  <a:gd name="connsiteY141" fmla="*/ 149444 h 384474"/>
                  <a:gd name="connsiteX142" fmla="*/ 288925 w 378483"/>
                  <a:gd name="connsiteY142" fmla="*/ 147856 h 384474"/>
                  <a:gd name="connsiteX143" fmla="*/ 301625 w 378483"/>
                  <a:gd name="connsiteY143" fmla="*/ 149444 h 384474"/>
                  <a:gd name="connsiteX144" fmla="*/ 304800 w 378483"/>
                  <a:gd name="connsiteY144" fmla="*/ 157381 h 384474"/>
                  <a:gd name="connsiteX145" fmla="*/ 309562 w 378483"/>
                  <a:gd name="connsiteY145" fmla="*/ 160556 h 384474"/>
                  <a:gd name="connsiteX146" fmla="*/ 311150 w 378483"/>
                  <a:gd name="connsiteY146" fmla="*/ 155794 h 384474"/>
                  <a:gd name="connsiteX147" fmla="*/ 309562 w 378483"/>
                  <a:gd name="connsiteY147" fmla="*/ 144681 h 384474"/>
                  <a:gd name="connsiteX148" fmla="*/ 314325 w 378483"/>
                  <a:gd name="connsiteY148" fmla="*/ 149444 h 384474"/>
                  <a:gd name="connsiteX149" fmla="*/ 317500 w 378483"/>
                  <a:gd name="connsiteY149" fmla="*/ 155794 h 384474"/>
                  <a:gd name="connsiteX150" fmla="*/ 349250 w 378483"/>
                  <a:gd name="connsiteY150" fmla="*/ 160556 h 384474"/>
                  <a:gd name="connsiteX151" fmla="*/ 350837 w 378483"/>
                  <a:gd name="connsiteY151" fmla="*/ 155794 h 384474"/>
                  <a:gd name="connsiteX152" fmla="*/ 355600 w 378483"/>
                  <a:gd name="connsiteY152" fmla="*/ 152619 h 384474"/>
                  <a:gd name="connsiteX153" fmla="*/ 360362 w 378483"/>
                  <a:gd name="connsiteY153" fmla="*/ 144681 h 384474"/>
                  <a:gd name="connsiteX154" fmla="*/ 363537 w 378483"/>
                  <a:gd name="connsiteY154" fmla="*/ 139919 h 384474"/>
                  <a:gd name="connsiteX155" fmla="*/ 371475 w 378483"/>
                  <a:gd name="connsiteY155" fmla="*/ 138331 h 384474"/>
                  <a:gd name="connsiteX156" fmla="*/ 373062 w 378483"/>
                  <a:gd name="connsiteY156" fmla="*/ 133569 h 384474"/>
                  <a:gd name="connsiteX157" fmla="*/ 369887 w 378483"/>
                  <a:gd name="connsiteY157" fmla="*/ 119281 h 384474"/>
                  <a:gd name="connsiteX158" fmla="*/ 371475 w 378483"/>
                  <a:gd name="connsiteY158" fmla="*/ 114519 h 384474"/>
                  <a:gd name="connsiteX159" fmla="*/ 377825 w 378483"/>
                  <a:gd name="connsiteY159" fmla="*/ 112931 h 384474"/>
                  <a:gd name="connsiteX160" fmla="*/ 371475 w 378483"/>
                  <a:gd name="connsiteY160" fmla="*/ 100231 h 384474"/>
                  <a:gd name="connsiteX161" fmla="*/ 327025 w 378483"/>
                  <a:gd name="connsiteY161" fmla="*/ 92294 h 384474"/>
                  <a:gd name="connsiteX162" fmla="*/ 328612 w 378483"/>
                  <a:gd name="connsiteY162" fmla="*/ 100231 h 384474"/>
                  <a:gd name="connsiteX163" fmla="*/ 333375 w 378483"/>
                  <a:gd name="connsiteY163" fmla="*/ 101819 h 384474"/>
                  <a:gd name="connsiteX164" fmla="*/ 314325 w 378483"/>
                  <a:gd name="connsiteY164" fmla="*/ 98644 h 384474"/>
                  <a:gd name="connsiteX165" fmla="*/ 317500 w 378483"/>
                  <a:gd name="connsiteY165" fmla="*/ 93881 h 384474"/>
                  <a:gd name="connsiteX166" fmla="*/ 301625 w 378483"/>
                  <a:gd name="connsiteY166" fmla="*/ 92294 h 384474"/>
                  <a:gd name="connsiteX167" fmla="*/ 296862 w 378483"/>
                  <a:gd name="connsiteY167" fmla="*/ 90706 h 384474"/>
                  <a:gd name="connsiteX168" fmla="*/ 293687 w 378483"/>
                  <a:gd name="connsiteY168" fmla="*/ 85944 h 384474"/>
                  <a:gd name="connsiteX169" fmla="*/ 288925 w 378483"/>
                  <a:gd name="connsiteY169" fmla="*/ 84356 h 384474"/>
                  <a:gd name="connsiteX170" fmla="*/ 276225 w 378483"/>
                  <a:gd name="connsiteY170" fmla="*/ 79594 h 384474"/>
                  <a:gd name="connsiteX171" fmla="*/ 263525 w 378483"/>
                  <a:gd name="connsiteY171" fmla="*/ 79594 h 384474"/>
                  <a:gd name="connsiteX172" fmla="*/ 254000 w 378483"/>
                  <a:gd name="connsiteY172" fmla="*/ 70069 h 384474"/>
                  <a:gd name="connsiteX173" fmla="*/ 238125 w 378483"/>
                  <a:gd name="connsiteY173" fmla="*/ 66894 h 384474"/>
                  <a:gd name="connsiteX174" fmla="*/ 233362 w 378483"/>
                  <a:gd name="connsiteY174" fmla="*/ 62131 h 384474"/>
                  <a:gd name="connsiteX175" fmla="*/ 227012 w 378483"/>
                  <a:gd name="connsiteY175" fmla="*/ 54194 h 384474"/>
                  <a:gd name="connsiteX176" fmla="*/ 222250 w 378483"/>
                  <a:gd name="connsiteY176" fmla="*/ 52606 h 384474"/>
                  <a:gd name="connsiteX177" fmla="*/ 206375 w 378483"/>
                  <a:gd name="connsiteY177" fmla="*/ 51019 h 384474"/>
                  <a:gd name="connsiteX178" fmla="*/ 215900 w 378483"/>
                  <a:gd name="connsiteY178" fmla="*/ 36731 h 384474"/>
                  <a:gd name="connsiteX179" fmla="*/ 207962 w 378483"/>
                  <a:gd name="connsiteY179" fmla="*/ 33556 h 384474"/>
                  <a:gd name="connsiteX0" fmla="*/ 207962 w 378483"/>
                  <a:gd name="connsiteY0" fmla="*/ 33556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89131 h 384474"/>
                  <a:gd name="connsiteX135" fmla="*/ 188912 w 378483"/>
                  <a:gd name="connsiteY135" fmla="*/ 184369 h 384474"/>
                  <a:gd name="connsiteX136" fmla="*/ 201612 w 378483"/>
                  <a:gd name="connsiteY136" fmla="*/ 176431 h 384474"/>
                  <a:gd name="connsiteX137" fmla="*/ 238125 w 378483"/>
                  <a:gd name="connsiteY137" fmla="*/ 179606 h 384474"/>
                  <a:gd name="connsiteX138" fmla="*/ 242887 w 378483"/>
                  <a:gd name="connsiteY138" fmla="*/ 173256 h 384474"/>
                  <a:gd name="connsiteX139" fmla="*/ 244475 w 378483"/>
                  <a:gd name="connsiteY139" fmla="*/ 166906 h 384474"/>
                  <a:gd name="connsiteX140" fmla="*/ 252412 w 378483"/>
                  <a:gd name="connsiteY140" fmla="*/ 154206 h 384474"/>
                  <a:gd name="connsiteX141" fmla="*/ 255587 w 378483"/>
                  <a:gd name="connsiteY141" fmla="*/ 149444 h 384474"/>
                  <a:gd name="connsiteX142" fmla="*/ 288925 w 378483"/>
                  <a:gd name="connsiteY142" fmla="*/ 147856 h 384474"/>
                  <a:gd name="connsiteX143" fmla="*/ 301625 w 378483"/>
                  <a:gd name="connsiteY143" fmla="*/ 149444 h 384474"/>
                  <a:gd name="connsiteX144" fmla="*/ 304800 w 378483"/>
                  <a:gd name="connsiteY144" fmla="*/ 157381 h 384474"/>
                  <a:gd name="connsiteX145" fmla="*/ 309562 w 378483"/>
                  <a:gd name="connsiteY145" fmla="*/ 160556 h 384474"/>
                  <a:gd name="connsiteX146" fmla="*/ 311150 w 378483"/>
                  <a:gd name="connsiteY146" fmla="*/ 155794 h 384474"/>
                  <a:gd name="connsiteX147" fmla="*/ 309562 w 378483"/>
                  <a:gd name="connsiteY147" fmla="*/ 144681 h 384474"/>
                  <a:gd name="connsiteX148" fmla="*/ 314325 w 378483"/>
                  <a:gd name="connsiteY148" fmla="*/ 149444 h 384474"/>
                  <a:gd name="connsiteX149" fmla="*/ 317500 w 378483"/>
                  <a:gd name="connsiteY149" fmla="*/ 155794 h 384474"/>
                  <a:gd name="connsiteX150" fmla="*/ 349250 w 378483"/>
                  <a:gd name="connsiteY150" fmla="*/ 160556 h 384474"/>
                  <a:gd name="connsiteX151" fmla="*/ 350837 w 378483"/>
                  <a:gd name="connsiteY151" fmla="*/ 155794 h 384474"/>
                  <a:gd name="connsiteX152" fmla="*/ 355600 w 378483"/>
                  <a:gd name="connsiteY152" fmla="*/ 152619 h 384474"/>
                  <a:gd name="connsiteX153" fmla="*/ 360362 w 378483"/>
                  <a:gd name="connsiteY153" fmla="*/ 144681 h 384474"/>
                  <a:gd name="connsiteX154" fmla="*/ 363537 w 378483"/>
                  <a:gd name="connsiteY154" fmla="*/ 139919 h 384474"/>
                  <a:gd name="connsiteX155" fmla="*/ 371475 w 378483"/>
                  <a:gd name="connsiteY155" fmla="*/ 138331 h 384474"/>
                  <a:gd name="connsiteX156" fmla="*/ 373062 w 378483"/>
                  <a:gd name="connsiteY156" fmla="*/ 133569 h 384474"/>
                  <a:gd name="connsiteX157" fmla="*/ 369887 w 378483"/>
                  <a:gd name="connsiteY157" fmla="*/ 119281 h 384474"/>
                  <a:gd name="connsiteX158" fmla="*/ 371475 w 378483"/>
                  <a:gd name="connsiteY158" fmla="*/ 114519 h 384474"/>
                  <a:gd name="connsiteX159" fmla="*/ 377825 w 378483"/>
                  <a:gd name="connsiteY159" fmla="*/ 112931 h 384474"/>
                  <a:gd name="connsiteX160" fmla="*/ 371475 w 378483"/>
                  <a:gd name="connsiteY160" fmla="*/ 100231 h 384474"/>
                  <a:gd name="connsiteX161" fmla="*/ 327025 w 378483"/>
                  <a:gd name="connsiteY161" fmla="*/ 92294 h 384474"/>
                  <a:gd name="connsiteX162" fmla="*/ 328612 w 378483"/>
                  <a:gd name="connsiteY162" fmla="*/ 100231 h 384474"/>
                  <a:gd name="connsiteX163" fmla="*/ 333375 w 378483"/>
                  <a:gd name="connsiteY163" fmla="*/ 101819 h 384474"/>
                  <a:gd name="connsiteX164" fmla="*/ 314325 w 378483"/>
                  <a:gd name="connsiteY164" fmla="*/ 98644 h 384474"/>
                  <a:gd name="connsiteX165" fmla="*/ 317500 w 378483"/>
                  <a:gd name="connsiteY165" fmla="*/ 93881 h 384474"/>
                  <a:gd name="connsiteX166" fmla="*/ 301625 w 378483"/>
                  <a:gd name="connsiteY166" fmla="*/ 92294 h 384474"/>
                  <a:gd name="connsiteX167" fmla="*/ 296862 w 378483"/>
                  <a:gd name="connsiteY167" fmla="*/ 90706 h 384474"/>
                  <a:gd name="connsiteX168" fmla="*/ 293687 w 378483"/>
                  <a:gd name="connsiteY168" fmla="*/ 85944 h 384474"/>
                  <a:gd name="connsiteX169" fmla="*/ 288925 w 378483"/>
                  <a:gd name="connsiteY169" fmla="*/ 84356 h 384474"/>
                  <a:gd name="connsiteX170" fmla="*/ 276225 w 378483"/>
                  <a:gd name="connsiteY170" fmla="*/ 79594 h 384474"/>
                  <a:gd name="connsiteX171" fmla="*/ 263525 w 378483"/>
                  <a:gd name="connsiteY171" fmla="*/ 79594 h 384474"/>
                  <a:gd name="connsiteX172" fmla="*/ 254000 w 378483"/>
                  <a:gd name="connsiteY172" fmla="*/ 70069 h 384474"/>
                  <a:gd name="connsiteX173" fmla="*/ 238125 w 378483"/>
                  <a:gd name="connsiteY173" fmla="*/ 66894 h 384474"/>
                  <a:gd name="connsiteX174" fmla="*/ 233362 w 378483"/>
                  <a:gd name="connsiteY174" fmla="*/ 62131 h 384474"/>
                  <a:gd name="connsiteX175" fmla="*/ 227012 w 378483"/>
                  <a:gd name="connsiteY175" fmla="*/ 54194 h 384474"/>
                  <a:gd name="connsiteX176" fmla="*/ 222250 w 378483"/>
                  <a:gd name="connsiteY176" fmla="*/ 52606 h 384474"/>
                  <a:gd name="connsiteX177" fmla="*/ 220662 w 378483"/>
                  <a:gd name="connsiteY177" fmla="*/ 44669 h 384474"/>
                  <a:gd name="connsiteX178" fmla="*/ 215900 w 378483"/>
                  <a:gd name="connsiteY178" fmla="*/ 36731 h 384474"/>
                  <a:gd name="connsiteX179" fmla="*/ 207962 w 378483"/>
                  <a:gd name="connsiteY179" fmla="*/ 33556 h 384474"/>
                  <a:gd name="connsiteX0" fmla="*/ 212724 w 378483"/>
                  <a:gd name="connsiteY0" fmla="*/ 27206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89131 h 384474"/>
                  <a:gd name="connsiteX135" fmla="*/ 188912 w 378483"/>
                  <a:gd name="connsiteY135" fmla="*/ 184369 h 384474"/>
                  <a:gd name="connsiteX136" fmla="*/ 201612 w 378483"/>
                  <a:gd name="connsiteY136" fmla="*/ 176431 h 384474"/>
                  <a:gd name="connsiteX137" fmla="*/ 238125 w 378483"/>
                  <a:gd name="connsiteY137" fmla="*/ 179606 h 384474"/>
                  <a:gd name="connsiteX138" fmla="*/ 242887 w 378483"/>
                  <a:gd name="connsiteY138" fmla="*/ 173256 h 384474"/>
                  <a:gd name="connsiteX139" fmla="*/ 244475 w 378483"/>
                  <a:gd name="connsiteY139" fmla="*/ 166906 h 384474"/>
                  <a:gd name="connsiteX140" fmla="*/ 252412 w 378483"/>
                  <a:gd name="connsiteY140" fmla="*/ 154206 h 384474"/>
                  <a:gd name="connsiteX141" fmla="*/ 255587 w 378483"/>
                  <a:gd name="connsiteY141" fmla="*/ 149444 h 384474"/>
                  <a:gd name="connsiteX142" fmla="*/ 288925 w 378483"/>
                  <a:gd name="connsiteY142" fmla="*/ 147856 h 384474"/>
                  <a:gd name="connsiteX143" fmla="*/ 301625 w 378483"/>
                  <a:gd name="connsiteY143" fmla="*/ 149444 h 384474"/>
                  <a:gd name="connsiteX144" fmla="*/ 304800 w 378483"/>
                  <a:gd name="connsiteY144" fmla="*/ 157381 h 384474"/>
                  <a:gd name="connsiteX145" fmla="*/ 309562 w 378483"/>
                  <a:gd name="connsiteY145" fmla="*/ 160556 h 384474"/>
                  <a:gd name="connsiteX146" fmla="*/ 311150 w 378483"/>
                  <a:gd name="connsiteY146" fmla="*/ 155794 h 384474"/>
                  <a:gd name="connsiteX147" fmla="*/ 309562 w 378483"/>
                  <a:gd name="connsiteY147" fmla="*/ 144681 h 384474"/>
                  <a:gd name="connsiteX148" fmla="*/ 314325 w 378483"/>
                  <a:gd name="connsiteY148" fmla="*/ 149444 h 384474"/>
                  <a:gd name="connsiteX149" fmla="*/ 317500 w 378483"/>
                  <a:gd name="connsiteY149" fmla="*/ 155794 h 384474"/>
                  <a:gd name="connsiteX150" fmla="*/ 349250 w 378483"/>
                  <a:gd name="connsiteY150" fmla="*/ 160556 h 384474"/>
                  <a:gd name="connsiteX151" fmla="*/ 350837 w 378483"/>
                  <a:gd name="connsiteY151" fmla="*/ 155794 h 384474"/>
                  <a:gd name="connsiteX152" fmla="*/ 355600 w 378483"/>
                  <a:gd name="connsiteY152" fmla="*/ 152619 h 384474"/>
                  <a:gd name="connsiteX153" fmla="*/ 360362 w 378483"/>
                  <a:gd name="connsiteY153" fmla="*/ 144681 h 384474"/>
                  <a:gd name="connsiteX154" fmla="*/ 363537 w 378483"/>
                  <a:gd name="connsiteY154" fmla="*/ 139919 h 384474"/>
                  <a:gd name="connsiteX155" fmla="*/ 371475 w 378483"/>
                  <a:gd name="connsiteY155" fmla="*/ 138331 h 384474"/>
                  <a:gd name="connsiteX156" fmla="*/ 373062 w 378483"/>
                  <a:gd name="connsiteY156" fmla="*/ 133569 h 384474"/>
                  <a:gd name="connsiteX157" fmla="*/ 369887 w 378483"/>
                  <a:gd name="connsiteY157" fmla="*/ 119281 h 384474"/>
                  <a:gd name="connsiteX158" fmla="*/ 371475 w 378483"/>
                  <a:gd name="connsiteY158" fmla="*/ 114519 h 384474"/>
                  <a:gd name="connsiteX159" fmla="*/ 377825 w 378483"/>
                  <a:gd name="connsiteY159" fmla="*/ 112931 h 384474"/>
                  <a:gd name="connsiteX160" fmla="*/ 371475 w 378483"/>
                  <a:gd name="connsiteY160" fmla="*/ 100231 h 384474"/>
                  <a:gd name="connsiteX161" fmla="*/ 327025 w 378483"/>
                  <a:gd name="connsiteY161" fmla="*/ 92294 h 384474"/>
                  <a:gd name="connsiteX162" fmla="*/ 328612 w 378483"/>
                  <a:gd name="connsiteY162" fmla="*/ 100231 h 384474"/>
                  <a:gd name="connsiteX163" fmla="*/ 333375 w 378483"/>
                  <a:gd name="connsiteY163" fmla="*/ 101819 h 384474"/>
                  <a:gd name="connsiteX164" fmla="*/ 314325 w 378483"/>
                  <a:gd name="connsiteY164" fmla="*/ 98644 h 384474"/>
                  <a:gd name="connsiteX165" fmla="*/ 317500 w 378483"/>
                  <a:gd name="connsiteY165" fmla="*/ 93881 h 384474"/>
                  <a:gd name="connsiteX166" fmla="*/ 301625 w 378483"/>
                  <a:gd name="connsiteY166" fmla="*/ 92294 h 384474"/>
                  <a:gd name="connsiteX167" fmla="*/ 296862 w 378483"/>
                  <a:gd name="connsiteY167" fmla="*/ 90706 h 384474"/>
                  <a:gd name="connsiteX168" fmla="*/ 293687 w 378483"/>
                  <a:gd name="connsiteY168" fmla="*/ 85944 h 384474"/>
                  <a:gd name="connsiteX169" fmla="*/ 288925 w 378483"/>
                  <a:gd name="connsiteY169" fmla="*/ 84356 h 384474"/>
                  <a:gd name="connsiteX170" fmla="*/ 276225 w 378483"/>
                  <a:gd name="connsiteY170" fmla="*/ 79594 h 384474"/>
                  <a:gd name="connsiteX171" fmla="*/ 263525 w 378483"/>
                  <a:gd name="connsiteY171" fmla="*/ 79594 h 384474"/>
                  <a:gd name="connsiteX172" fmla="*/ 254000 w 378483"/>
                  <a:gd name="connsiteY172" fmla="*/ 70069 h 384474"/>
                  <a:gd name="connsiteX173" fmla="*/ 238125 w 378483"/>
                  <a:gd name="connsiteY173" fmla="*/ 66894 h 384474"/>
                  <a:gd name="connsiteX174" fmla="*/ 233362 w 378483"/>
                  <a:gd name="connsiteY174" fmla="*/ 62131 h 384474"/>
                  <a:gd name="connsiteX175" fmla="*/ 227012 w 378483"/>
                  <a:gd name="connsiteY175" fmla="*/ 54194 h 384474"/>
                  <a:gd name="connsiteX176" fmla="*/ 222250 w 378483"/>
                  <a:gd name="connsiteY176" fmla="*/ 52606 h 384474"/>
                  <a:gd name="connsiteX177" fmla="*/ 220662 w 378483"/>
                  <a:gd name="connsiteY177" fmla="*/ 44669 h 384474"/>
                  <a:gd name="connsiteX178" fmla="*/ 215900 w 378483"/>
                  <a:gd name="connsiteY178" fmla="*/ 36731 h 384474"/>
                  <a:gd name="connsiteX179" fmla="*/ 212724 w 378483"/>
                  <a:gd name="connsiteY179" fmla="*/ 27206 h 384474"/>
                  <a:gd name="connsiteX0" fmla="*/ 212724 w 378483"/>
                  <a:gd name="connsiteY0" fmla="*/ 27206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89131 h 384474"/>
                  <a:gd name="connsiteX135" fmla="*/ 188912 w 378483"/>
                  <a:gd name="connsiteY135" fmla="*/ 184369 h 384474"/>
                  <a:gd name="connsiteX136" fmla="*/ 201612 w 378483"/>
                  <a:gd name="connsiteY136" fmla="*/ 176431 h 384474"/>
                  <a:gd name="connsiteX137" fmla="*/ 238125 w 378483"/>
                  <a:gd name="connsiteY137" fmla="*/ 179606 h 384474"/>
                  <a:gd name="connsiteX138" fmla="*/ 242887 w 378483"/>
                  <a:gd name="connsiteY138" fmla="*/ 173256 h 384474"/>
                  <a:gd name="connsiteX139" fmla="*/ 244475 w 378483"/>
                  <a:gd name="connsiteY139" fmla="*/ 166906 h 384474"/>
                  <a:gd name="connsiteX140" fmla="*/ 252412 w 378483"/>
                  <a:gd name="connsiteY140" fmla="*/ 154206 h 384474"/>
                  <a:gd name="connsiteX141" fmla="*/ 255587 w 378483"/>
                  <a:gd name="connsiteY141" fmla="*/ 149444 h 384474"/>
                  <a:gd name="connsiteX142" fmla="*/ 288925 w 378483"/>
                  <a:gd name="connsiteY142" fmla="*/ 147856 h 384474"/>
                  <a:gd name="connsiteX143" fmla="*/ 301625 w 378483"/>
                  <a:gd name="connsiteY143" fmla="*/ 149444 h 384474"/>
                  <a:gd name="connsiteX144" fmla="*/ 304800 w 378483"/>
                  <a:gd name="connsiteY144" fmla="*/ 157381 h 384474"/>
                  <a:gd name="connsiteX145" fmla="*/ 309562 w 378483"/>
                  <a:gd name="connsiteY145" fmla="*/ 160556 h 384474"/>
                  <a:gd name="connsiteX146" fmla="*/ 311150 w 378483"/>
                  <a:gd name="connsiteY146" fmla="*/ 155794 h 384474"/>
                  <a:gd name="connsiteX147" fmla="*/ 309562 w 378483"/>
                  <a:gd name="connsiteY147" fmla="*/ 144681 h 384474"/>
                  <a:gd name="connsiteX148" fmla="*/ 314325 w 378483"/>
                  <a:gd name="connsiteY148" fmla="*/ 149444 h 384474"/>
                  <a:gd name="connsiteX149" fmla="*/ 317500 w 378483"/>
                  <a:gd name="connsiteY149" fmla="*/ 155794 h 384474"/>
                  <a:gd name="connsiteX150" fmla="*/ 349250 w 378483"/>
                  <a:gd name="connsiteY150" fmla="*/ 160556 h 384474"/>
                  <a:gd name="connsiteX151" fmla="*/ 350837 w 378483"/>
                  <a:gd name="connsiteY151" fmla="*/ 155794 h 384474"/>
                  <a:gd name="connsiteX152" fmla="*/ 355600 w 378483"/>
                  <a:gd name="connsiteY152" fmla="*/ 152619 h 384474"/>
                  <a:gd name="connsiteX153" fmla="*/ 360362 w 378483"/>
                  <a:gd name="connsiteY153" fmla="*/ 144681 h 384474"/>
                  <a:gd name="connsiteX154" fmla="*/ 363537 w 378483"/>
                  <a:gd name="connsiteY154" fmla="*/ 139919 h 384474"/>
                  <a:gd name="connsiteX155" fmla="*/ 371475 w 378483"/>
                  <a:gd name="connsiteY155" fmla="*/ 138331 h 384474"/>
                  <a:gd name="connsiteX156" fmla="*/ 373062 w 378483"/>
                  <a:gd name="connsiteY156" fmla="*/ 133569 h 384474"/>
                  <a:gd name="connsiteX157" fmla="*/ 369887 w 378483"/>
                  <a:gd name="connsiteY157" fmla="*/ 119281 h 384474"/>
                  <a:gd name="connsiteX158" fmla="*/ 371475 w 378483"/>
                  <a:gd name="connsiteY158" fmla="*/ 114519 h 384474"/>
                  <a:gd name="connsiteX159" fmla="*/ 377825 w 378483"/>
                  <a:gd name="connsiteY159" fmla="*/ 112931 h 384474"/>
                  <a:gd name="connsiteX160" fmla="*/ 371475 w 378483"/>
                  <a:gd name="connsiteY160" fmla="*/ 100231 h 384474"/>
                  <a:gd name="connsiteX161" fmla="*/ 327025 w 378483"/>
                  <a:gd name="connsiteY161" fmla="*/ 92294 h 384474"/>
                  <a:gd name="connsiteX162" fmla="*/ 328612 w 378483"/>
                  <a:gd name="connsiteY162" fmla="*/ 100231 h 384474"/>
                  <a:gd name="connsiteX163" fmla="*/ 333375 w 378483"/>
                  <a:gd name="connsiteY163" fmla="*/ 101819 h 384474"/>
                  <a:gd name="connsiteX164" fmla="*/ 314325 w 378483"/>
                  <a:gd name="connsiteY164" fmla="*/ 98644 h 384474"/>
                  <a:gd name="connsiteX165" fmla="*/ 317500 w 378483"/>
                  <a:gd name="connsiteY165" fmla="*/ 93881 h 384474"/>
                  <a:gd name="connsiteX166" fmla="*/ 301625 w 378483"/>
                  <a:gd name="connsiteY166" fmla="*/ 92294 h 384474"/>
                  <a:gd name="connsiteX167" fmla="*/ 296862 w 378483"/>
                  <a:gd name="connsiteY167" fmla="*/ 90706 h 384474"/>
                  <a:gd name="connsiteX168" fmla="*/ 293687 w 378483"/>
                  <a:gd name="connsiteY168" fmla="*/ 85944 h 384474"/>
                  <a:gd name="connsiteX169" fmla="*/ 288925 w 378483"/>
                  <a:gd name="connsiteY169" fmla="*/ 84356 h 384474"/>
                  <a:gd name="connsiteX170" fmla="*/ 276225 w 378483"/>
                  <a:gd name="connsiteY170" fmla="*/ 79594 h 384474"/>
                  <a:gd name="connsiteX171" fmla="*/ 263525 w 378483"/>
                  <a:gd name="connsiteY171" fmla="*/ 79594 h 384474"/>
                  <a:gd name="connsiteX172" fmla="*/ 254000 w 378483"/>
                  <a:gd name="connsiteY172" fmla="*/ 70069 h 384474"/>
                  <a:gd name="connsiteX173" fmla="*/ 238125 w 378483"/>
                  <a:gd name="connsiteY173" fmla="*/ 66894 h 384474"/>
                  <a:gd name="connsiteX174" fmla="*/ 233362 w 378483"/>
                  <a:gd name="connsiteY174" fmla="*/ 62131 h 384474"/>
                  <a:gd name="connsiteX175" fmla="*/ 227012 w 378483"/>
                  <a:gd name="connsiteY175" fmla="*/ 54194 h 384474"/>
                  <a:gd name="connsiteX176" fmla="*/ 222250 w 378483"/>
                  <a:gd name="connsiteY176" fmla="*/ 52606 h 384474"/>
                  <a:gd name="connsiteX177" fmla="*/ 220662 w 378483"/>
                  <a:gd name="connsiteY177" fmla="*/ 44669 h 384474"/>
                  <a:gd name="connsiteX178" fmla="*/ 222250 w 378483"/>
                  <a:gd name="connsiteY178" fmla="*/ 31968 h 384474"/>
                  <a:gd name="connsiteX179" fmla="*/ 212724 w 378483"/>
                  <a:gd name="connsiteY179" fmla="*/ 27206 h 384474"/>
                  <a:gd name="connsiteX0" fmla="*/ 212724 w 378483"/>
                  <a:gd name="connsiteY0" fmla="*/ 25619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89131 h 384474"/>
                  <a:gd name="connsiteX135" fmla="*/ 188912 w 378483"/>
                  <a:gd name="connsiteY135" fmla="*/ 184369 h 384474"/>
                  <a:gd name="connsiteX136" fmla="*/ 201612 w 378483"/>
                  <a:gd name="connsiteY136" fmla="*/ 176431 h 384474"/>
                  <a:gd name="connsiteX137" fmla="*/ 238125 w 378483"/>
                  <a:gd name="connsiteY137" fmla="*/ 179606 h 384474"/>
                  <a:gd name="connsiteX138" fmla="*/ 242887 w 378483"/>
                  <a:gd name="connsiteY138" fmla="*/ 173256 h 384474"/>
                  <a:gd name="connsiteX139" fmla="*/ 244475 w 378483"/>
                  <a:gd name="connsiteY139" fmla="*/ 166906 h 384474"/>
                  <a:gd name="connsiteX140" fmla="*/ 252412 w 378483"/>
                  <a:gd name="connsiteY140" fmla="*/ 154206 h 384474"/>
                  <a:gd name="connsiteX141" fmla="*/ 255587 w 378483"/>
                  <a:gd name="connsiteY141" fmla="*/ 149444 h 384474"/>
                  <a:gd name="connsiteX142" fmla="*/ 288925 w 378483"/>
                  <a:gd name="connsiteY142" fmla="*/ 147856 h 384474"/>
                  <a:gd name="connsiteX143" fmla="*/ 301625 w 378483"/>
                  <a:gd name="connsiteY143" fmla="*/ 149444 h 384474"/>
                  <a:gd name="connsiteX144" fmla="*/ 304800 w 378483"/>
                  <a:gd name="connsiteY144" fmla="*/ 157381 h 384474"/>
                  <a:gd name="connsiteX145" fmla="*/ 309562 w 378483"/>
                  <a:gd name="connsiteY145" fmla="*/ 160556 h 384474"/>
                  <a:gd name="connsiteX146" fmla="*/ 311150 w 378483"/>
                  <a:gd name="connsiteY146" fmla="*/ 155794 h 384474"/>
                  <a:gd name="connsiteX147" fmla="*/ 309562 w 378483"/>
                  <a:gd name="connsiteY147" fmla="*/ 144681 h 384474"/>
                  <a:gd name="connsiteX148" fmla="*/ 314325 w 378483"/>
                  <a:gd name="connsiteY148" fmla="*/ 149444 h 384474"/>
                  <a:gd name="connsiteX149" fmla="*/ 317500 w 378483"/>
                  <a:gd name="connsiteY149" fmla="*/ 155794 h 384474"/>
                  <a:gd name="connsiteX150" fmla="*/ 349250 w 378483"/>
                  <a:gd name="connsiteY150" fmla="*/ 160556 h 384474"/>
                  <a:gd name="connsiteX151" fmla="*/ 350837 w 378483"/>
                  <a:gd name="connsiteY151" fmla="*/ 155794 h 384474"/>
                  <a:gd name="connsiteX152" fmla="*/ 355600 w 378483"/>
                  <a:gd name="connsiteY152" fmla="*/ 152619 h 384474"/>
                  <a:gd name="connsiteX153" fmla="*/ 360362 w 378483"/>
                  <a:gd name="connsiteY153" fmla="*/ 144681 h 384474"/>
                  <a:gd name="connsiteX154" fmla="*/ 363537 w 378483"/>
                  <a:gd name="connsiteY154" fmla="*/ 139919 h 384474"/>
                  <a:gd name="connsiteX155" fmla="*/ 371475 w 378483"/>
                  <a:gd name="connsiteY155" fmla="*/ 138331 h 384474"/>
                  <a:gd name="connsiteX156" fmla="*/ 373062 w 378483"/>
                  <a:gd name="connsiteY156" fmla="*/ 133569 h 384474"/>
                  <a:gd name="connsiteX157" fmla="*/ 369887 w 378483"/>
                  <a:gd name="connsiteY157" fmla="*/ 119281 h 384474"/>
                  <a:gd name="connsiteX158" fmla="*/ 371475 w 378483"/>
                  <a:gd name="connsiteY158" fmla="*/ 114519 h 384474"/>
                  <a:gd name="connsiteX159" fmla="*/ 377825 w 378483"/>
                  <a:gd name="connsiteY159" fmla="*/ 112931 h 384474"/>
                  <a:gd name="connsiteX160" fmla="*/ 371475 w 378483"/>
                  <a:gd name="connsiteY160" fmla="*/ 100231 h 384474"/>
                  <a:gd name="connsiteX161" fmla="*/ 327025 w 378483"/>
                  <a:gd name="connsiteY161" fmla="*/ 92294 h 384474"/>
                  <a:gd name="connsiteX162" fmla="*/ 328612 w 378483"/>
                  <a:gd name="connsiteY162" fmla="*/ 100231 h 384474"/>
                  <a:gd name="connsiteX163" fmla="*/ 333375 w 378483"/>
                  <a:gd name="connsiteY163" fmla="*/ 101819 h 384474"/>
                  <a:gd name="connsiteX164" fmla="*/ 314325 w 378483"/>
                  <a:gd name="connsiteY164" fmla="*/ 98644 h 384474"/>
                  <a:gd name="connsiteX165" fmla="*/ 317500 w 378483"/>
                  <a:gd name="connsiteY165" fmla="*/ 93881 h 384474"/>
                  <a:gd name="connsiteX166" fmla="*/ 301625 w 378483"/>
                  <a:gd name="connsiteY166" fmla="*/ 92294 h 384474"/>
                  <a:gd name="connsiteX167" fmla="*/ 296862 w 378483"/>
                  <a:gd name="connsiteY167" fmla="*/ 90706 h 384474"/>
                  <a:gd name="connsiteX168" fmla="*/ 293687 w 378483"/>
                  <a:gd name="connsiteY168" fmla="*/ 85944 h 384474"/>
                  <a:gd name="connsiteX169" fmla="*/ 288925 w 378483"/>
                  <a:gd name="connsiteY169" fmla="*/ 84356 h 384474"/>
                  <a:gd name="connsiteX170" fmla="*/ 276225 w 378483"/>
                  <a:gd name="connsiteY170" fmla="*/ 79594 h 384474"/>
                  <a:gd name="connsiteX171" fmla="*/ 263525 w 378483"/>
                  <a:gd name="connsiteY171" fmla="*/ 79594 h 384474"/>
                  <a:gd name="connsiteX172" fmla="*/ 254000 w 378483"/>
                  <a:gd name="connsiteY172" fmla="*/ 70069 h 384474"/>
                  <a:gd name="connsiteX173" fmla="*/ 238125 w 378483"/>
                  <a:gd name="connsiteY173" fmla="*/ 66894 h 384474"/>
                  <a:gd name="connsiteX174" fmla="*/ 233362 w 378483"/>
                  <a:gd name="connsiteY174" fmla="*/ 62131 h 384474"/>
                  <a:gd name="connsiteX175" fmla="*/ 227012 w 378483"/>
                  <a:gd name="connsiteY175" fmla="*/ 54194 h 384474"/>
                  <a:gd name="connsiteX176" fmla="*/ 222250 w 378483"/>
                  <a:gd name="connsiteY176" fmla="*/ 52606 h 384474"/>
                  <a:gd name="connsiteX177" fmla="*/ 220662 w 378483"/>
                  <a:gd name="connsiteY177" fmla="*/ 44669 h 384474"/>
                  <a:gd name="connsiteX178" fmla="*/ 222250 w 378483"/>
                  <a:gd name="connsiteY178" fmla="*/ 31968 h 384474"/>
                  <a:gd name="connsiteX179" fmla="*/ 212724 w 378483"/>
                  <a:gd name="connsiteY179" fmla="*/ 25619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89131 h 384474"/>
                  <a:gd name="connsiteX135" fmla="*/ 188912 w 378483"/>
                  <a:gd name="connsiteY135" fmla="*/ 184369 h 384474"/>
                  <a:gd name="connsiteX136" fmla="*/ 201612 w 378483"/>
                  <a:gd name="connsiteY136" fmla="*/ 176431 h 384474"/>
                  <a:gd name="connsiteX137" fmla="*/ 238125 w 378483"/>
                  <a:gd name="connsiteY137" fmla="*/ 179606 h 384474"/>
                  <a:gd name="connsiteX138" fmla="*/ 242887 w 378483"/>
                  <a:gd name="connsiteY138" fmla="*/ 173256 h 384474"/>
                  <a:gd name="connsiteX139" fmla="*/ 244475 w 378483"/>
                  <a:gd name="connsiteY139" fmla="*/ 166906 h 384474"/>
                  <a:gd name="connsiteX140" fmla="*/ 252412 w 378483"/>
                  <a:gd name="connsiteY140" fmla="*/ 154206 h 384474"/>
                  <a:gd name="connsiteX141" fmla="*/ 255587 w 378483"/>
                  <a:gd name="connsiteY141" fmla="*/ 149444 h 384474"/>
                  <a:gd name="connsiteX142" fmla="*/ 288925 w 378483"/>
                  <a:gd name="connsiteY142" fmla="*/ 147856 h 384474"/>
                  <a:gd name="connsiteX143" fmla="*/ 301625 w 378483"/>
                  <a:gd name="connsiteY143" fmla="*/ 149444 h 384474"/>
                  <a:gd name="connsiteX144" fmla="*/ 304800 w 378483"/>
                  <a:gd name="connsiteY144" fmla="*/ 157381 h 384474"/>
                  <a:gd name="connsiteX145" fmla="*/ 309562 w 378483"/>
                  <a:gd name="connsiteY145" fmla="*/ 160556 h 384474"/>
                  <a:gd name="connsiteX146" fmla="*/ 311150 w 378483"/>
                  <a:gd name="connsiteY146" fmla="*/ 155794 h 384474"/>
                  <a:gd name="connsiteX147" fmla="*/ 309562 w 378483"/>
                  <a:gd name="connsiteY147" fmla="*/ 144681 h 384474"/>
                  <a:gd name="connsiteX148" fmla="*/ 314325 w 378483"/>
                  <a:gd name="connsiteY148" fmla="*/ 149444 h 384474"/>
                  <a:gd name="connsiteX149" fmla="*/ 317500 w 378483"/>
                  <a:gd name="connsiteY149" fmla="*/ 155794 h 384474"/>
                  <a:gd name="connsiteX150" fmla="*/ 349250 w 378483"/>
                  <a:gd name="connsiteY150" fmla="*/ 160556 h 384474"/>
                  <a:gd name="connsiteX151" fmla="*/ 350837 w 378483"/>
                  <a:gd name="connsiteY151" fmla="*/ 155794 h 384474"/>
                  <a:gd name="connsiteX152" fmla="*/ 355600 w 378483"/>
                  <a:gd name="connsiteY152" fmla="*/ 152619 h 384474"/>
                  <a:gd name="connsiteX153" fmla="*/ 360362 w 378483"/>
                  <a:gd name="connsiteY153" fmla="*/ 144681 h 384474"/>
                  <a:gd name="connsiteX154" fmla="*/ 363537 w 378483"/>
                  <a:gd name="connsiteY154" fmla="*/ 139919 h 384474"/>
                  <a:gd name="connsiteX155" fmla="*/ 371475 w 378483"/>
                  <a:gd name="connsiteY155" fmla="*/ 138331 h 384474"/>
                  <a:gd name="connsiteX156" fmla="*/ 373062 w 378483"/>
                  <a:gd name="connsiteY156" fmla="*/ 133569 h 384474"/>
                  <a:gd name="connsiteX157" fmla="*/ 369887 w 378483"/>
                  <a:gd name="connsiteY157" fmla="*/ 119281 h 384474"/>
                  <a:gd name="connsiteX158" fmla="*/ 371475 w 378483"/>
                  <a:gd name="connsiteY158" fmla="*/ 114519 h 384474"/>
                  <a:gd name="connsiteX159" fmla="*/ 377825 w 378483"/>
                  <a:gd name="connsiteY159" fmla="*/ 112931 h 384474"/>
                  <a:gd name="connsiteX160" fmla="*/ 371475 w 378483"/>
                  <a:gd name="connsiteY160" fmla="*/ 100231 h 384474"/>
                  <a:gd name="connsiteX161" fmla="*/ 327025 w 378483"/>
                  <a:gd name="connsiteY161" fmla="*/ 92294 h 384474"/>
                  <a:gd name="connsiteX162" fmla="*/ 328612 w 378483"/>
                  <a:gd name="connsiteY162" fmla="*/ 100231 h 384474"/>
                  <a:gd name="connsiteX163" fmla="*/ 333375 w 378483"/>
                  <a:gd name="connsiteY163" fmla="*/ 101819 h 384474"/>
                  <a:gd name="connsiteX164" fmla="*/ 314325 w 378483"/>
                  <a:gd name="connsiteY164" fmla="*/ 98644 h 384474"/>
                  <a:gd name="connsiteX165" fmla="*/ 317500 w 378483"/>
                  <a:gd name="connsiteY165" fmla="*/ 93881 h 384474"/>
                  <a:gd name="connsiteX166" fmla="*/ 301625 w 378483"/>
                  <a:gd name="connsiteY166" fmla="*/ 92294 h 384474"/>
                  <a:gd name="connsiteX167" fmla="*/ 296862 w 378483"/>
                  <a:gd name="connsiteY167" fmla="*/ 90706 h 384474"/>
                  <a:gd name="connsiteX168" fmla="*/ 293687 w 378483"/>
                  <a:gd name="connsiteY168" fmla="*/ 85944 h 384474"/>
                  <a:gd name="connsiteX169" fmla="*/ 288925 w 378483"/>
                  <a:gd name="connsiteY169" fmla="*/ 84356 h 384474"/>
                  <a:gd name="connsiteX170" fmla="*/ 276225 w 378483"/>
                  <a:gd name="connsiteY170" fmla="*/ 79594 h 384474"/>
                  <a:gd name="connsiteX171" fmla="*/ 263525 w 378483"/>
                  <a:gd name="connsiteY171" fmla="*/ 79594 h 384474"/>
                  <a:gd name="connsiteX172" fmla="*/ 254000 w 378483"/>
                  <a:gd name="connsiteY172" fmla="*/ 70069 h 384474"/>
                  <a:gd name="connsiteX173" fmla="*/ 238125 w 378483"/>
                  <a:gd name="connsiteY173" fmla="*/ 66894 h 384474"/>
                  <a:gd name="connsiteX174" fmla="*/ 233362 w 378483"/>
                  <a:gd name="connsiteY174" fmla="*/ 62131 h 384474"/>
                  <a:gd name="connsiteX175" fmla="*/ 227012 w 378483"/>
                  <a:gd name="connsiteY175" fmla="*/ 54194 h 384474"/>
                  <a:gd name="connsiteX176" fmla="*/ 222250 w 378483"/>
                  <a:gd name="connsiteY176" fmla="*/ 52606 h 384474"/>
                  <a:gd name="connsiteX177" fmla="*/ 220662 w 378483"/>
                  <a:gd name="connsiteY177" fmla="*/ 44669 h 384474"/>
                  <a:gd name="connsiteX178" fmla="*/ 222250 w 378483"/>
                  <a:gd name="connsiteY178" fmla="*/ 31968 h 384474"/>
                  <a:gd name="connsiteX179" fmla="*/ 215899 w 378483"/>
                  <a:gd name="connsiteY179"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89131 h 384474"/>
                  <a:gd name="connsiteX135" fmla="*/ 188912 w 378483"/>
                  <a:gd name="connsiteY135" fmla="*/ 184369 h 384474"/>
                  <a:gd name="connsiteX136" fmla="*/ 201612 w 378483"/>
                  <a:gd name="connsiteY136" fmla="*/ 176431 h 384474"/>
                  <a:gd name="connsiteX137" fmla="*/ 238125 w 378483"/>
                  <a:gd name="connsiteY137" fmla="*/ 179606 h 384474"/>
                  <a:gd name="connsiteX138" fmla="*/ 242887 w 378483"/>
                  <a:gd name="connsiteY138" fmla="*/ 173256 h 384474"/>
                  <a:gd name="connsiteX139" fmla="*/ 244475 w 378483"/>
                  <a:gd name="connsiteY139" fmla="*/ 166906 h 384474"/>
                  <a:gd name="connsiteX140" fmla="*/ 252412 w 378483"/>
                  <a:gd name="connsiteY140" fmla="*/ 154206 h 384474"/>
                  <a:gd name="connsiteX141" fmla="*/ 255587 w 378483"/>
                  <a:gd name="connsiteY141" fmla="*/ 149444 h 384474"/>
                  <a:gd name="connsiteX142" fmla="*/ 288925 w 378483"/>
                  <a:gd name="connsiteY142" fmla="*/ 147856 h 384474"/>
                  <a:gd name="connsiteX143" fmla="*/ 301625 w 378483"/>
                  <a:gd name="connsiteY143" fmla="*/ 149444 h 384474"/>
                  <a:gd name="connsiteX144" fmla="*/ 304800 w 378483"/>
                  <a:gd name="connsiteY144" fmla="*/ 157381 h 384474"/>
                  <a:gd name="connsiteX145" fmla="*/ 309562 w 378483"/>
                  <a:gd name="connsiteY145" fmla="*/ 160556 h 384474"/>
                  <a:gd name="connsiteX146" fmla="*/ 311150 w 378483"/>
                  <a:gd name="connsiteY146" fmla="*/ 155794 h 384474"/>
                  <a:gd name="connsiteX147" fmla="*/ 309562 w 378483"/>
                  <a:gd name="connsiteY147" fmla="*/ 144681 h 384474"/>
                  <a:gd name="connsiteX148" fmla="*/ 314325 w 378483"/>
                  <a:gd name="connsiteY148" fmla="*/ 149444 h 384474"/>
                  <a:gd name="connsiteX149" fmla="*/ 317500 w 378483"/>
                  <a:gd name="connsiteY149" fmla="*/ 155794 h 384474"/>
                  <a:gd name="connsiteX150" fmla="*/ 349250 w 378483"/>
                  <a:gd name="connsiteY150" fmla="*/ 160556 h 384474"/>
                  <a:gd name="connsiteX151" fmla="*/ 350837 w 378483"/>
                  <a:gd name="connsiteY151" fmla="*/ 155794 h 384474"/>
                  <a:gd name="connsiteX152" fmla="*/ 355600 w 378483"/>
                  <a:gd name="connsiteY152" fmla="*/ 152619 h 384474"/>
                  <a:gd name="connsiteX153" fmla="*/ 360362 w 378483"/>
                  <a:gd name="connsiteY153" fmla="*/ 144681 h 384474"/>
                  <a:gd name="connsiteX154" fmla="*/ 363537 w 378483"/>
                  <a:gd name="connsiteY154" fmla="*/ 139919 h 384474"/>
                  <a:gd name="connsiteX155" fmla="*/ 371475 w 378483"/>
                  <a:gd name="connsiteY155" fmla="*/ 138331 h 384474"/>
                  <a:gd name="connsiteX156" fmla="*/ 373062 w 378483"/>
                  <a:gd name="connsiteY156" fmla="*/ 133569 h 384474"/>
                  <a:gd name="connsiteX157" fmla="*/ 369887 w 378483"/>
                  <a:gd name="connsiteY157" fmla="*/ 119281 h 384474"/>
                  <a:gd name="connsiteX158" fmla="*/ 371475 w 378483"/>
                  <a:gd name="connsiteY158" fmla="*/ 114519 h 384474"/>
                  <a:gd name="connsiteX159" fmla="*/ 377825 w 378483"/>
                  <a:gd name="connsiteY159" fmla="*/ 112931 h 384474"/>
                  <a:gd name="connsiteX160" fmla="*/ 371475 w 378483"/>
                  <a:gd name="connsiteY160" fmla="*/ 100231 h 384474"/>
                  <a:gd name="connsiteX161" fmla="*/ 327025 w 378483"/>
                  <a:gd name="connsiteY161" fmla="*/ 92294 h 384474"/>
                  <a:gd name="connsiteX162" fmla="*/ 328612 w 378483"/>
                  <a:gd name="connsiteY162" fmla="*/ 100231 h 384474"/>
                  <a:gd name="connsiteX163" fmla="*/ 333375 w 378483"/>
                  <a:gd name="connsiteY163" fmla="*/ 101819 h 384474"/>
                  <a:gd name="connsiteX164" fmla="*/ 314325 w 378483"/>
                  <a:gd name="connsiteY164" fmla="*/ 98644 h 384474"/>
                  <a:gd name="connsiteX165" fmla="*/ 317500 w 378483"/>
                  <a:gd name="connsiteY165" fmla="*/ 93881 h 384474"/>
                  <a:gd name="connsiteX166" fmla="*/ 301625 w 378483"/>
                  <a:gd name="connsiteY166" fmla="*/ 92294 h 384474"/>
                  <a:gd name="connsiteX167" fmla="*/ 296862 w 378483"/>
                  <a:gd name="connsiteY167" fmla="*/ 90706 h 384474"/>
                  <a:gd name="connsiteX168" fmla="*/ 293687 w 378483"/>
                  <a:gd name="connsiteY168" fmla="*/ 85944 h 384474"/>
                  <a:gd name="connsiteX169" fmla="*/ 288925 w 378483"/>
                  <a:gd name="connsiteY169" fmla="*/ 84356 h 384474"/>
                  <a:gd name="connsiteX170" fmla="*/ 276225 w 378483"/>
                  <a:gd name="connsiteY170" fmla="*/ 79594 h 384474"/>
                  <a:gd name="connsiteX171" fmla="*/ 254000 w 378483"/>
                  <a:gd name="connsiteY171" fmla="*/ 70069 h 384474"/>
                  <a:gd name="connsiteX172" fmla="*/ 238125 w 378483"/>
                  <a:gd name="connsiteY172" fmla="*/ 66894 h 384474"/>
                  <a:gd name="connsiteX173" fmla="*/ 233362 w 378483"/>
                  <a:gd name="connsiteY173" fmla="*/ 62131 h 384474"/>
                  <a:gd name="connsiteX174" fmla="*/ 227012 w 378483"/>
                  <a:gd name="connsiteY174" fmla="*/ 54194 h 384474"/>
                  <a:gd name="connsiteX175" fmla="*/ 222250 w 378483"/>
                  <a:gd name="connsiteY175" fmla="*/ 52606 h 384474"/>
                  <a:gd name="connsiteX176" fmla="*/ 220662 w 378483"/>
                  <a:gd name="connsiteY176" fmla="*/ 44669 h 384474"/>
                  <a:gd name="connsiteX177" fmla="*/ 222250 w 378483"/>
                  <a:gd name="connsiteY177" fmla="*/ 31968 h 384474"/>
                  <a:gd name="connsiteX178" fmla="*/ 215899 w 378483"/>
                  <a:gd name="connsiteY178"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89131 h 384474"/>
                  <a:gd name="connsiteX135" fmla="*/ 188912 w 378483"/>
                  <a:gd name="connsiteY135" fmla="*/ 184369 h 384474"/>
                  <a:gd name="connsiteX136" fmla="*/ 201612 w 378483"/>
                  <a:gd name="connsiteY136" fmla="*/ 176431 h 384474"/>
                  <a:gd name="connsiteX137" fmla="*/ 238125 w 378483"/>
                  <a:gd name="connsiteY137" fmla="*/ 179606 h 384474"/>
                  <a:gd name="connsiteX138" fmla="*/ 242887 w 378483"/>
                  <a:gd name="connsiteY138" fmla="*/ 173256 h 384474"/>
                  <a:gd name="connsiteX139" fmla="*/ 244475 w 378483"/>
                  <a:gd name="connsiteY139" fmla="*/ 166906 h 384474"/>
                  <a:gd name="connsiteX140" fmla="*/ 252412 w 378483"/>
                  <a:gd name="connsiteY140" fmla="*/ 154206 h 384474"/>
                  <a:gd name="connsiteX141" fmla="*/ 255587 w 378483"/>
                  <a:gd name="connsiteY141" fmla="*/ 149444 h 384474"/>
                  <a:gd name="connsiteX142" fmla="*/ 288925 w 378483"/>
                  <a:gd name="connsiteY142" fmla="*/ 147856 h 384474"/>
                  <a:gd name="connsiteX143" fmla="*/ 285750 w 378483"/>
                  <a:gd name="connsiteY143" fmla="*/ 152619 h 384474"/>
                  <a:gd name="connsiteX144" fmla="*/ 304800 w 378483"/>
                  <a:gd name="connsiteY144" fmla="*/ 157381 h 384474"/>
                  <a:gd name="connsiteX145" fmla="*/ 309562 w 378483"/>
                  <a:gd name="connsiteY145" fmla="*/ 160556 h 384474"/>
                  <a:gd name="connsiteX146" fmla="*/ 311150 w 378483"/>
                  <a:gd name="connsiteY146" fmla="*/ 155794 h 384474"/>
                  <a:gd name="connsiteX147" fmla="*/ 309562 w 378483"/>
                  <a:gd name="connsiteY147" fmla="*/ 144681 h 384474"/>
                  <a:gd name="connsiteX148" fmla="*/ 314325 w 378483"/>
                  <a:gd name="connsiteY148" fmla="*/ 149444 h 384474"/>
                  <a:gd name="connsiteX149" fmla="*/ 317500 w 378483"/>
                  <a:gd name="connsiteY149" fmla="*/ 155794 h 384474"/>
                  <a:gd name="connsiteX150" fmla="*/ 349250 w 378483"/>
                  <a:gd name="connsiteY150" fmla="*/ 160556 h 384474"/>
                  <a:gd name="connsiteX151" fmla="*/ 350837 w 378483"/>
                  <a:gd name="connsiteY151" fmla="*/ 155794 h 384474"/>
                  <a:gd name="connsiteX152" fmla="*/ 355600 w 378483"/>
                  <a:gd name="connsiteY152" fmla="*/ 152619 h 384474"/>
                  <a:gd name="connsiteX153" fmla="*/ 360362 w 378483"/>
                  <a:gd name="connsiteY153" fmla="*/ 144681 h 384474"/>
                  <a:gd name="connsiteX154" fmla="*/ 363537 w 378483"/>
                  <a:gd name="connsiteY154" fmla="*/ 139919 h 384474"/>
                  <a:gd name="connsiteX155" fmla="*/ 371475 w 378483"/>
                  <a:gd name="connsiteY155" fmla="*/ 138331 h 384474"/>
                  <a:gd name="connsiteX156" fmla="*/ 373062 w 378483"/>
                  <a:gd name="connsiteY156" fmla="*/ 133569 h 384474"/>
                  <a:gd name="connsiteX157" fmla="*/ 369887 w 378483"/>
                  <a:gd name="connsiteY157" fmla="*/ 119281 h 384474"/>
                  <a:gd name="connsiteX158" fmla="*/ 371475 w 378483"/>
                  <a:gd name="connsiteY158" fmla="*/ 114519 h 384474"/>
                  <a:gd name="connsiteX159" fmla="*/ 377825 w 378483"/>
                  <a:gd name="connsiteY159" fmla="*/ 112931 h 384474"/>
                  <a:gd name="connsiteX160" fmla="*/ 371475 w 378483"/>
                  <a:gd name="connsiteY160" fmla="*/ 100231 h 384474"/>
                  <a:gd name="connsiteX161" fmla="*/ 327025 w 378483"/>
                  <a:gd name="connsiteY161" fmla="*/ 92294 h 384474"/>
                  <a:gd name="connsiteX162" fmla="*/ 328612 w 378483"/>
                  <a:gd name="connsiteY162" fmla="*/ 100231 h 384474"/>
                  <a:gd name="connsiteX163" fmla="*/ 333375 w 378483"/>
                  <a:gd name="connsiteY163" fmla="*/ 101819 h 384474"/>
                  <a:gd name="connsiteX164" fmla="*/ 314325 w 378483"/>
                  <a:gd name="connsiteY164" fmla="*/ 98644 h 384474"/>
                  <a:gd name="connsiteX165" fmla="*/ 317500 w 378483"/>
                  <a:gd name="connsiteY165" fmla="*/ 93881 h 384474"/>
                  <a:gd name="connsiteX166" fmla="*/ 301625 w 378483"/>
                  <a:gd name="connsiteY166" fmla="*/ 92294 h 384474"/>
                  <a:gd name="connsiteX167" fmla="*/ 296862 w 378483"/>
                  <a:gd name="connsiteY167" fmla="*/ 90706 h 384474"/>
                  <a:gd name="connsiteX168" fmla="*/ 293687 w 378483"/>
                  <a:gd name="connsiteY168" fmla="*/ 85944 h 384474"/>
                  <a:gd name="connsiteX169" fmla="*/ 288925 w 378483"/>
                  <a:gd name="connsiteY169" fmla="*/ 84356 h 384474"/>
                  <a:gd name="connsiteX170" fmla="*/ 276225 w 378483"/>
                  <a:gd name="connsiteY170" fmla="*/ 79594 h 384474"/>
                  <a:gd name="connsiteX171" fmla="*/ 254000 w 378483"/>
                  <a:gd name="connsiteY171" fmla="*/ 70069 h 384474"/>
                  <a:gd name="connsiteX172" fmla="*/ 238125 w 378483"/>
                  <a:gd name="connsiteY172" fmla="*/ 66894 h 384474"/>
                  <a:gd name="connsiteX173" fmla="*/ 233362 w 378483"/>
                  <a:gd name="connsiteY173" fmla="*/ 62131 h 384474"/>
                  <a:gd name="connsiteX174" fmla="*/ 227012 w 378483"/>
                  <a:gd name="connsiteY174" fmla="*/ 54194 h 384474"/>
                  <a:gd name="connsiteX175" fmla="*/ 222250 w 378483"/>
                  <a:gd name="connsiteY175" fmla="*/ 52606 h 384474"/>
                  <a:gd name="connsiteX176" fmla="*/ 220662 w 378483"/>
                  <a:gd name="connsiteY176" fmla="*/ 44669 h 384474"/>
                  <a:gd name="connsiteX177" fmla="*/ 222250 w 378483"/>
                  <a:gd name="connsiteY177" fmla="*/ 31968 h 384474"/>
                  <a:gd name="connsiteX178" fmla="*/ 215899 w 378483"/>
                  <a:gd name="connsiteY178"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89131 h 384474"/>
                  <a:gd name="connsiteX135" fmla="*/ 188912 w 378483"/>
                  <a:gd name="connsiteY135" fmla="*/ 184369 h 384474"/>
                  <a:gd name="connsiteX136" fmla="*/ 201612 w 378483"/>
                  <a:gd name="connsiteY136" fmla="*/ 176431 h 384474"/>
                  <a:gd name="connsiteX137" fmla="*/ 238125 w 378483"/>
                  <a:gd name="connsiteY137" fmla="*/ 179606 h 384474"/>
                  <a:gd name="connsiteX138" fmla="*/ 242887 w 378483"/>
                  <a:gd name="connsiteY138" fmla="*/ 173256 h 384474"/>
                  <a:gd name="connsiteX139" fmla="*/ 244475 w 378483"/>
                  <a:gd name="connsiteY139" fmla="*/ 166906 h 384474"/>
                  <a:gd name="connsiteX140" fmla="*/ 252412 w 378483"/>
                  <a:gd name="connsiteY140" fmla="*/ 154206 h 384474"/>
                  <a:gd name="connsiteX141" fmla="*/ 255587 w 378483"/>
                  <a:gd name="connsiteY141" fmla="*/ 149444 h 384474"/>
                  <a:gd name="connsiteX142" fmla="*/ 288925 w 378483"/>
                  <a:gd name="connsiteY142" fmla="*/ 147856 h 384474"/>
                  <a:gd name="connsiteX143" fmla="*/ 285750 w 378483"/>
                  <a:gd name="connsiteY143" fmla="*/ 152619 h 384474"/>
                  <a:gd name="connsiteX144" fmla="*/ 304800 w 378483"/>
                  <a:gd name="connsiteY144" fmla="*/ 157381 h 384474"/>
                  <a:gd name="connsiteX145" fmla="*/ 309562 w 378483"/>
                  <a:gd name="connsiteY145" fmla="*/ 160556 h 384474"/>
                  <a:gd name="connsiteX146" fmla="*/ 311150 w 378483"/>
                  <a:gd name="connsiteY146" fmla="*/ 155794 h 384474"/>
                  <a:gd name="connsiteX147" fmla="*/ 309562 w 378483"/>
                  <a:gd name="connsiteY147" fmla="*/ 144681 h 384474"/>
                  <a:gd name="connsiteX148" fmla="*/ 314325 w 378483"/>
                  <a:gd name="connsiteY148" fmla="*/ 149444 h 384474"/>
                  <a:gd name="connsiteX149" fmla="*/ 317500 w 378483"/>
                  <a:gd name="connsiteY149" fmla="*/ 155794 h 384474"/>
                  <a:gd name="connsiteX150" fmla="*/ 349250 w 378483"/>
                  <a:gd name="connsiteY150" fmla="*/ 160556 h 384474"/>
                  <a:gd name="connsiteX151" fmla="*/ 350837 w 378483"/>
                  <a:gd name="connsiteY151" fmla="*/ 155794 h 384474"/>
                  <a:gd name="connsiteX152" fmla="*/ 355600 w 378483"/>
                  <a:gd name="connsiteY152" fmla="*/ 152619 h 384474"/>
                  <a:gd name="connsiteX153" fmla="*/ 360362 w 378483"/>
                  <a:gd name="connsiteY153" fmla="*/ 144681 h 384474"/>
                  <a:gd name="connsiteX154" fmla="*/ 363537 w 378483"/>
                  <a:gd name="connsiteY154" fmla="*/ 139919 h 384474"/>
                  <a:gd name="connsiteX155" fmla="*/ 371475 w 378483"/>
                  <a:gd name="connsiteY155" fmla="*/ 138331 h 384474"/>
                  <a:gd name="connsiteX156" fmla="*/ 373062 w 378483"/>
                  <a:gd name="connsiteY156" fmla="*/ 133569 h 384474"/>
                  <a:gd name="connsiteX157" fmla="*/ 369887 w 378483"/>
                  <a:gd name="connsiteY157" fmla="*/ 119281 h 384474"/>
                  <a:gd name="connsiteX158" fmla="*/ 371475 w 378483"/>
                  <a:gd name="connsiteY158" fmla="*/ 114519 h 384474"/>
                  <a:gd name="connsiteX159" fmla="*/ 377825 w 378483"/>
                  <a:gd name="connsiteY159" fmla="*/ 112931 h 384474"/>
                  <a:gd name="connsiteX160" fmla="*/ 371475 w 378483"/>
                  <a:gd name="connsiteY160" fmla="*/ 100231 h 384474"/>
                  <a:gd name="connsiteX161" fmla="*/ 327025 w 378483"/>
                  <a:gd name="connsiteY161" fmla="*/ 92294 h 384474"/>
                  <a:gd name="connsiteX162" fmla="*/ 328612 w 378483"/>
                  <a:gd name="connsiteY162" fmla="*/ 100231 h 384474"/>
                  <a:gd name="connsiteX163" fmla="*/ 333375 w 378483"/>
                  <a:gd name="connsiteY163" fmla="*/ 101819 h 384474"/>
                  <a:gd name="connsiteX164" fmla="*/ 312738 w 378483"/>
                  <a:gd name="connsiteY164" fmla="*/ 106582 h 384474"/>
                  <a:gd name="connsiteX165" fmla="*/ 317500 w 378483"/>
                  <a:gd name="connsiteY165" fmla="*/ 93881 h 384474"/>
                  <a:gd name="connsiteX166" fmla="*/ 301625 w 378483"/>
                  <a:gd name="connsiteY166" fmla="*/ 92294 h 384474"/>
                  <a:gd name="connsiteX167" fmla="*/ 296862 w 378483"/>
                  <a:gd name="connsiteY167" fmla="*/ 90706 h 384474"/>
                  <a:gd name="connsiteX168" fmla="*/ 293687 w 378483"/>
                  <a:gd name="connsiteY168" fmla="*/ 85944 h 384474"/>
                  <a:gd name="connsiteX169" fmla="*/ 288925 w 378483"/>
                  <a:gd name="connsiteY169" fmla="*/ 84356 h 384474"/>
                  <a:gd name="connsiteX170" fmla="*/ 276225 w 378483"/>
                  <a:gd name="connsiteY170" fmla="*/ 79594 h 384474"/>
                  <a:gd name="connsiteX171" fmla="*/ 254000 w 378483"/>
                  <a:gd name="connsiteY171" fmla="*/ 70069 h 384474"/>
                  <a:gd name="connsiteX172" fmla="*/ 238125 w 378483"/>
                  <a:gd name="connsiteY172" fmla="*/ 66894 h 384474"/>
                  <a:gd name="connsiteX173" fmla="*/ 233362 w 378483"/>
                  <a:gd name="connsiteY173" fmla="*/ 62131 h 384474"/>
                  <a:gd name="connsiteX174" fmla="*/ 227012 w 378483"/>
                  <a:gd name="connsiteY174" fmla="*/ 54194 h 384474"/>
                  <a:gd name="connsiteX175" fmla="*/ 222250 w 378483"/>
                  <a:gd name="connsiteY175" fmla="*/ 52606 h 384474"/>
                  <a:gd name="connsiteX176" fmla="*/ 220662 w 378483"/>
                  <a:gd name="connsiteY176" fmla="*/ 44669 h 384474"/>
                  <a:gd name="connsiteX177" fmla="*/ 222250 w 378483"/>
                  <a:gd name="connsiteY177" fmla="*/ 31968 h 384474"/>
                  <a:gd name="connsiteX178" fmla="*/ 215899 w 378483"/>
                  <a:gd name="connsiteY178"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89131 h 384474"/>
                  <a:gd name="connsiteX135" fmla="*/ 188912 w 378483"/>
                  <a:gd name="connsiteY135" fmla="*/ 184369 h 384474"/>
                  <a:gd name="connsiteX136" fmla="*/ 201612 w 378483"/>
                  <a:gd name="connsiteY136" fmla="*/ 176431 h 384474"/>
                  <a:gd name="connsiteX137" fmla="*/ 238125 w 378483"/>
                  <a:gd name="connsiteY137" fmla="*/ 179606 h 384474"/>
                  <a:gd name="connsiteX138" fmla="*/ 242887 w 378483"/>
                  <a:gd name="connsiteY138" fmla="*/ 173256 h 384474"/>
                  <a:gd name="connsiteX139" fmla="*/ 244475 w 378483"/>
                  <a:gd name="connsiteY139" fmla="*/ 166906 h 384474"/>
                  <a:gd name="connsiteX140" fmla="*/ 252412 w 378483"/>
                  <a:gd name="connsiteY140" fmla="*/ 154206 h 384474"/>
                  <a:gd name="connsiteX141" fmla="*/ 255587 w 378483"/>
                  <a:gd name="connsiteY141" fmla="*/ 149444 h 384474"/>
                  <a:gd name="connsiteX142" fmla="*/ 288925 w 378483"/>
                  <a:gd name="connsiteY142" fmla="*/ 147856 h 384474"/>
                  <a:gd name="connsiteX143" fmla="*/ 285750 w 378483"/>
                  <a:gd name="connsiteY143" fmla="*/ 152619 h 384474"/>
                  <a:gd name="connsiteX144" fmla="*/ 304800 w 378483"/>
                  <a:gd name="connsiteY144" fmla="*/ 157381 h 384474"/>
                  <a:gd name="connsiteX145" fmla="*/ 309562 w 378483"/>
                  <a:gd name="connsiteY145" fmla="*/ 160556 h 384474"/>
                  <a:gd name="connsiteX146" fmla="*/ 311150 w 378483"/>
                  <a:gd name="connsiteY146" fmla="*/ 155794 h 384474"/>
                  <a:gd name="connsiteX147" fmla="*/ 309562 w 378483"/>
                  <a:gd name="connsiteY147" fmla="*/ 144681 h 384474"/>
                  <a:gd name="connsiteX148" fmla="*/ 314325 w 378483"/>
                  <a:gd name="connsiteY148" fmla="*/ 149444 h 384474"/>
                  <a:gd name="connsiteX149" fmla="*/ 317500 w 378483"/>
                  <a:gd name="connsiteY149" fmla="*/ 155794 h 384474"/>
                  <a:gd name="connsiteX150" fmla="*/ 349250 w 378483"/>
                  <a:gd name="connsiteY150" fmla="*/ 160556 h 384474"/>
                  <a:gd name="connsiteX151" fmla="*/ 350837 w 378483"/>
                  <a:gd name="connsiteY151" fmla="*/ 155794 h 384474"/>
                  <a:gd name="connsiteX152" fmla="*/ 355600 w 378483"/>
                  <a:gd name="connsiteY152" fmla="*/ 152619 h 384474"/>
                  <a:gd name="connsiteX153" fmla="*/ 360362 w 378483"/>
                  <a:gd name="connsiteY153" fmla="*/ 144681 h 384474"/>
                  <a:gd name="connsiteX154" fmla="*/ 363537 w 378483"/>
                  <a:gd name="connsiteY154" fmla="*/ 139919 h 384474"/>
                  <a:gd name="connsiteX155" fmla="*/ 371475 w 378483"/>
                  <a:gd name="connsiteY155" fmla="*/ 138331 h 384474"/>
                  <a:gd name="connsiteX156" fmla="*/ 373062 w 378483"/>
                  <a:gd name="connsiteY156" fmla="*/ 133569 h 384474"/>
                  <a:gd name="connsiteX157" fmla="*/ 369887 w 378483"/>
                  <a:gd name="connsiteY157" fmla="*/ 119281 h 384474"/>
                  <a:gd name="connsiteX158" fmla="*/ 371475 w 378483"/>
                  <a:gd name="connsiteY158" fmla="*/ 114519 h 384474"/>
                  <a:gd name="connsiteX159" fmla="*/ 377825 w 378483"/>
                  <a:gd name="connsiteY159" fmla="*/ 112931 h 384474"/>
                  <a:gd name="connsiteX160" fmla="*/ 371475 w 378483"/>
                  <a:gd name="connsiteY160" fmla="*/ 100231 h 384474"/>
                  <a:gd name="connsiteX161" fmla="*/ 360362 w 378483"/>
                  <a:gd name="connsiteY161" fmla="*/ 92294 h 384474"/>
                  <a:gd name="connsiteX162" fmla="*/ 327025 w 378483"/>
                  <a:gd name="connsiteY162" fmla="*/ 92294 h 384474"/>
                  <a:gd name="connsiteX163" fmla="*/ 328612 w 378483"/>
                  <a:gd name="connsiteY163" fmla="*/ 100231 h 384474"/>
                  <a:gd name="connsiteX164" fmla="*/ 333375 w 378483"/>
                  <a:gd name="connsiteY164" fmla="*/ 101819 h 384474"/>
                  <a:gd name="connsiteX165" fmla="*/ 312738 w 378483"/>
                  <a:gd name="connsiteY165" fmla="*/ 106582 h 384474"/>
                  <a:gd name="connsiteX166" fmla="*/ 317500 w 378483"/>
                  <a:gd name="connsiteY166" fmla="*/ 93881 h 384474"/>
                  <a:gd name="connsiteX167" fmla="*/ 301625 w 378483"/>
                  <a:gd name="connsiteY167" fmla="*/ 92294 h 384474"/>
                  <a:gd name="connsiteX168" fmla="*/ 296862 w 378483"/>
                  <a:gd name="connsiteY168" fmla="*/ 90706 h 384474"/>
                  <a:gd name="connsiteX169" fmla="*/ 293687 w 378483"/>
                  <a:gd name="connsiteY169" fmla="*/ 85944 h 384474"/>
                  <a:gd name="connsiteX170" fmla="*/ 288925 w 378483"/>
                  <a:gd name="connsiteY170" fmla="*/ 84356 h 384474"/>
                  <a:gd name="connsiteX171" fmla="*/ 276225 w 378483"/>
                  <a:gd name="connsiteY171" fmla="*/ 79594 h 384474"/>
                  <a:gd name="connsiteX172" fmla="*/ 254000 w 378483"/>
                  <a:gd name="connsiteY172" fmla="*/ 70069 h 384474"/>
                  <a:gd name="connsiteX173" fmla="*/ 238125 w 378483"/>
                  <a:gd name="connsiteY173" fmla="*/ 66894 h 384474"/>
                  <a:gd name="connsiteX174" fmla="*/ 233362 w 378483"/>
                  <a:gd name="connsiteY174" fmla="*/ 62131 h 384474"/>
                  <a:gd name="connsiteX175" fmla="*/ 227012 w 378483"/>
                  <a:gd name="connsiteY175" fmla="*/ 54194 h 384474"/>
                  <a:gd name="connsiteX176" fmla="*/ 222250 w 378483"/>
                  <a:gd name="connsiteY176" fmla="*/ 52606 h 384474"/>
                  <a:gd name="connsiteX177" fmla="*/ 220662 w 378483"/>
                  <a:gd name="connsiteY177" fmla="*/ 44669 h 384474"/>
                  <a:gd name="connsiteX178" fmla="*/ 222250 w 378483"/>
                  <a:gd name="connsiteY178" fmla="*/ 31968 h 384474"/>
                  <a:gd name="connsiteX179" fmla="*/ 215899 w 378483"/>
                  <a:gd name="connsiteY179"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89131 h 384474"/>
                  <a:gd name="connsiteX135" fmla="*/ 188912 w 378483"/>
                  <a:gd name="connsiteY135" fmla="*/ 184369 h 384474"/>
                  <a:gd name="connsiteX136" fmla="*/ 201612 w 378483"/>
                  <a:gd name="connsiteY136" fmla="*/ 176431 h 384474"/>
                  <a:gd name="connsiteX137" fmla="*/ 238125 w 378483"/>
                  <a:gd name="connsiteY137" fmla="*/ 179606 h 384474"/>
                  <a:gd name="connsiteX138" fmla="*/ 242887 w 378483"/>
                  <a:gd name="connsiteY138" fmla="*/ 173256 h 384474"/>
                  <a:gd name="connsiteX139" fmla="*/ 244475 w 378483"/>
                  <a:gd name="connsiteY139" fmla="*/ 166906 h 384474"/>
                  <a:gd name="connsiteX140" fmla="*/ 252412 w 378483"/>
                  <a:gd name="connsiteY140" fmla="*/ 154206 h 384474"/>
                  <a:gd name="connsiteX141" fmla="*/ 255587 w 378483"/>
                  <a:gd name="connsiteY141" fmla="*/ 149444 h 384474"/>
                  <a:gd name="connsiteX142" fmla="*/ 288925 w 378483"/>
                  <a:gd name="connsiteY142" fmla="*/ 147856 h 384474"/>
                  <a:gd name="connsiteX143" fmla="*/ 285750 w 378483"/>
                  <a:gd name="connsiteY143" fmla="*/ 152619 h 384474"/>
                  <a:gd name="connsiteX144" fmla="*/ 304800 w 378483"/>
                  <a:gd name="connsiteY144" fmla="*/ 157381 h 384474"/>
                  <a:gd name="connsiteX145" fmla="*/ 309562 w 378483"/>
                  <a:gd name="connsiteY145" fmla="*/ 160556 h 384474"/>
                  <a:gd name="connsiteX146" fmla="*/ 311150 w 378483"/>
                  <a:gd name="connsiteY146" fmla="*/ 155794 h 384474"/>
                  <a:gd name="connsiteX147" fmla="*/ 309562 w 378483"/>
                  <a:gd name="connsiteY147" fmla="*/ 144681 h 384474"/>
                  <a:gd name="connsiteX148" fmla="*/ 314325 w 378483"/>
                  <a:gd name="connsiteY148" fmla="*/ 149444 h 384474"/>
                  <a:gd name="connsiteX149" fmla="*/ 317500 w 378483"/>
                  <a:gd name="connsiteY149" fmla="*/ 155794 h 384474"/>
                  <a:gd name="connsiteX150" fmla="*/ 349250 w 378483"/>
                  <a:gd name="connsiteY150" fmla="*/ 160556 h 384474"/>
                  <a:gd name="connsiteX151" fmla="*/ 350837 w 378483"/>
                  <a:gd name="connsiteY151" fmla="*/ 155794 h 384474"/>
                  <a:gd name="connsiteX152" fmla="*/ 355600 w 378483"/>
                  <a:gd name="connsiteY152" fmla="*/ 152619 h 384474"/>
                  <a:gd name="connsiteX153" fmla="*/ 360362 w 378483"/>
                  <a:gd name="connsiteY153" fmla="*/ 144681 h 384474"/>
                  <a:gd name="connsiteX154" fmla="*/ 374649 w 378483"/>
                  <a:gd name="connsiteY154" fmla="*/ 143094 h 384474"/>
                  <a:gd name="connsiteX155" fmla="*/ 371475 w 378483"/>
                  <a:gd name="connsiteY155" fmla="*/ 138331 h 384474"/>
                  <a:gd name="connsiteX156" fmla="*/ 373062 w 378483"/>
                  <a:gd name="connsiteY156" fmla="*/ 133569 h 384474"/>
                  <a:gd name="connsiteX157" fmla="*/ 369887 w 378483"/>
                  <a:gd name="connsiteY157" fmla="*/ 119281 h 384474"/>
                  <a:gd name="connsiteX158" fmla="*/ 371475 w 378483"/>
                  <a:gd name="connsiteY158" fmla="*/ 114519 h 384474"/>
                  <a:gd name="connsiteX159" fmla="*/ 377825 w 378483"/>
                  <a:gd name="connsiteY159" fmla="*/ 112931 h 384474"/>
                  <a:gd name="connsiteX160" fmla="*/ 371475 w 378483"/>
                  <a:gd name="connsiteY160" fmla="*/ 100231 h 384474"/>
                  <a:gd name="connsiteX161" fmla="*/ 360362 w 378483"/>
                  <a:gd name="connsiteY161" fmla="*/ 92294 h 384474"/>
                  <a:gd name="connsiteX162" fmla="*/ 327025 w 378483"/>
                  <a:gd name="connsiteY162" fmla="*/ 92294 h 384474"/>
                  <a:gd name="connsiteX163" fmla="*/ 328612 w 378483"/>
                  <a:gd name="connsiteY163" fmla="*/ 100231 h 384474"/>
                  <a:gd name="connsiteX164" fmla="*/ 333375 w 378483"/>
                  <a:gd name="connsiteY164" fmla="*/ 101819 h 384474"/>
                  <a:gd name="connsiteX165" fmla="*/ 312738 w 378483"/>
                  <a:gd name="connsiteY165" fmla="*/ 106582 h 384474"/>
                  <a:gd name="connsiteX166" fmla="*/ 317500 w 378483"/>
                  <a:gd name="connsiteY166" fmla="*/ 93881 h 384474"/>
                  <a:gd name="connsiteX167" fmla="*/ 301625 w 378483"/>
                  <a:gd name="connsiteY167" fmla="*/ 92294 h 384474"/>
                  <a:gd name="connsiteX168" fmla="*/ 296862 w 378483"/>
                  <a:gd name="connsiteY168" fmla="*/ 90706 h 384474"/>
                  <a:gd name="connsiteX169" fmla="*/ 293687 w 378483"/>
                  <a:gd name="connsiteY169" fmla="*/ 85944 h 384474"/>
                  <a:gd name="connsiteX170" fmla="*/ 288925 w 378483"/>
                  <a:gd name="connsiteY170" fmla="*/ 84356 h 384474"/>
                  <a:gd name="connsiteX171" fmla="*/ 276225 w 378483"/>
                  <a:gd name="connsiteY171" fmla="*/ 79594 h 384474"/>
                  <a:gd name="connsiteX172" fmla="*/ 254000 w 378483"/>
                  <a:gd name="connsiteY172" fmla="*/ 70069 h 384474"/>
                  <a:gd name="connsiteX173" fmla="*/ 238125 w 378483"/>
                  <a:gd name="connsiteY173" fmla="*/ 66894 h 384474"/>
                  <a:gd name="connsiteX174" fmla="*/ 233362 w 378483"/>
                  <a:gd name="connsiteY174" fmla="*/ 62131 h 384474"/>
                  <a:gd name="connsiteX175" fmla="*/ 227012 w 378483"/>
                  <a:gd name="connsiteY175" fmla="*/ 54194 h 384474"/>
                  <a:gd name="connsiteX176" fmla="*/ 222250 w 378483"/>
                  <a:gd name="connsiteY176" fmla="*/ 52606 h 384474"/>
                  <a:gd name="connsiteX177" fmla="*/ 220662 w 378483"/>
                  <a:gd name="connsiteY177" fmla="*/ 44669 h 384474"/>
                  <a:gd name="connsiteX178" fmla="*/ 222250 w 378483"/>
                  <a:gd name="connsiteY178" fmla="*/ 31968 h 384474"/>
                  <a:gd name="connsiteX179" fmla="*/ 215899 w 378483"/>
                  <a:gd name="connsiteY179"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89131 h 384474"/>
                  <a:gd name="connsiteX135" fmla="*/ 188912 w 378483"/>
                  <a:gd name="connsiteY135" fmla="*/ 184369 h 384474"/>
                  <a:gd name="connsiteX136" fmla="*/ 201612 w 378483"/>
                  <a:gd name="connsiteY136" fmla="*/ 176431 h 384474"/>
                  <a:gd name="connsiteX137" fmla="*/ 238125 w 378483"/>
                  <a:gd name="connsiteY137" fmla="*/ 179606 h 384474"/>
                  <a:gd name="connsiteX138" fmla="*/ 242887 w 378483"/>
                  <a:gd name="connsiteY138" fmla="*/ 173256 h 384474"/>
                  <a:gd name="connsiteX139" fmla="*/ 244475 w 378483"/>
                  <a:gd name="connsiteY139" fmla="*/ 166906 h 384474"/>
                  <a:gd name="connsiteX140" fmla="*/ 252412 w 378483"/>
                  <a:gd name="connsiteY140" fmla="*/ 154206 h 384474"/>
                  <a:gd name="connsiteX141" fmla="*/ 255587 w 378483"/>
                  <a:gd name="connsiteY141" fmla="*/ 149444 h 384474"/>
                  <a:gd name="connsiteX142" fmla="*/ 288925 w 378483"/>
                  <a:gd name="connsiteY142" fmla="*/ 147856 h 384474"/>
                  <a:gd name="connsiteX143" fmla="*/ 285750 w 378483"/>
                  <a:gd name="connsiteY143" fmla="*/ 152619 h 384474"/>
                  <a:gd name="connsiteX144" fmla="*/ 304800 w 378483"/>
                  <a:gd name="connsiteY144" fmla="*/ 157381 h 384474"/>
                  <a:gd name="connsiteX145" fmla="*/ 309562 w 378483"/>
                  <a:gd name="connsiteY145" fmla="*/ 160556 h 384474"/>
                  <a:gd name="connsiteX146" fmla="*/ 311150 w 378483"/>
                  <a:gd name="connsiteY146" fmla="*/ 155794 h 384474"/>
                  <a:gd name="connsiteX147" fmla="*/ 309562 w 378483"/>
                  <a:gd name="connsiteY147" fmla="*/ 144681 h 384474"/>
                  <a:gd name="connsiteX148" fmla="*/ 314325 w 378483"/>
                  <a:gd name="connsiteY148" fmla="*/ 149444 h 384474"/>
                  <a:gd name="connsiteX149" fmla="*/ 317500 w 378483"/>
                  <a:gd name="connsiteY149" fmla="*/ 155794 h 384474"/>
                  <a:gd name="connsiteX150" fmla="*/ 349250 w 378483"/>
                  <a:gd name="connsiteY150" fmla="*/ 160556 h 384474"/>
                  <a:gd name="connsiteX151" fmla="*/ 350837 w 378483"/>
                  <a:gd name="connsiteY151" fmla="*/ 155794 h 384474"/>
                  <a:gd name="connsiteX152" fmla="*/ 355600 w 378483"/>
                  <a:gd name="connsiteY152" fmla="*/ 152619 h 384474"/>
                  <a:gd name="connsiteX153" fmla="*/ 373062 w 378483"/>
                  <a:gd name="connsiteY153" fmla="*/ 152619 h 384474"/>
                  <a:gd name="connsiteX154" fmla="*/ 374649 w 378483"/>
                  <a:gd name="connsiteY154" fmla="*/ 143094 h 384474"/>
                  <a:gd name="connsiteX155" fmla="*/ 371475 w 378483"/>
                  <a:gd name="connsiteY155" fmla="*/ 138331 h 384474"/>
                  <a:gd name="connsiteX156" fmla="*/ 373062 w 378483"/>
                  <a:gd name="connsiteY156" fmla="*/ 133569 h 384474"/>
                  <a:gd name="connsiteX157" fmla="*/ 369887 w 378483"/>
                  <a:gd name="connsiteY157" fmla="*/ 119281 h 384474"/>
                  <a:gd name="connsiteX158" fmla="*/ 371475 w 378483"/>
                  <a:gd name="connsiteY158" fmla="*/ 114519 h 384474"/>
                  <a:gd name="connsiteX159" fmla="*/ 377825 w 378483"/>
                  <a:gd name="connsiteY159" fmla="*/ 112931 h 384474"/>
                  <a:gd name="connsiteX160" fmla="*/ 371475 w 378483"/>
                  <a:gd name="connsiteY160" fmla="*/ 100231 h 384474"/>
                  <a:gd name="connsiteX161" fmla="*/ 360362 w 378483"/>
                  <a:gd name="connsiteY161" fmla="*/ 92294 h 384474"/>
                  <a:gd name="connsiteX162" fmla="*/ 327025 w 378483"/>
                  <a:gd name="connsiteY162" fmla="*/ 92294 h 384474"/>
                  <a:gd name="connsiteX163" fmla="*/ 328612 w 378483"/>
                  <a:gd name="connsiteY163" fmla="*/ 100231 h 384474"/>
                  <a:gd name="connsiteX164" fmla="*/ 333375 w 378483"/>
                  <a:gd name="connsiteY164" fmla="*/ 101819 h 384474"/>
                  <a:gd name="connsiteX165" fmla="*/ 312738 w 378483"/>
                  <a:gd name="connsiteY165" fmla="*/ 106582 h 384474"/>
                  <a:gd name="connsiteX166" fmla="*/ 317500 w 378483"/>
                  <a:gd name="connsiteY166" fmla="*/ 93881 h 384474"/>
                  <a:gd name="connsiteX167" fmla="*/ 301625 w 378483"/>
                  <a:gd name="connsiteY167" fmla="*/ 92294 h 384474"/>
                  <a:gd name="connsiteX168" fmla="*/ 296862 w 378483"/>
                  <a:gd name="connsiteY168" fmla="*/ 90706 h 384474"/>
                  <a:gd name="connsiteX169" fmla="*/ 293687 w 378483"/>
                  <a:gd name="connsiteY169" fmla="*/ 85944 h 384474"/>
                  <a:gd name="connsiteX170" fmla="*/ 288925 w 378483"/>
                  <a:gd name="connsiteY170" fmla="*/ 84356 h 384474"/>
                  <a:gd name="connsiteX171" fmla="*/ 276225 w 378483"/>
                  <a:gd name="connsiteY171" fmla="*/ 79594 h 384474"/>
                  <a:gd name="connsiteX172" fmla="*/ 254000 w 378483"/>
                  <a:gd name="connsiteY172" fmla="*/ 70069 h 384474"/>
                  <a:gd name="connsiteX173" fmla="*/ 238125 w 378483"/>
                  <a:gd name="connsiteY173" fmla="*/ 66894 h 384474"/>
                  <a:gd name="connsiteX174" fmla="*/ 233362 w 378483"/>
                  <a:gd name="connsiteY174" fmla="*/ 62131 h 384474"/>
                  <a:gd name="connsiteX175" fmla="*/ 227012 w 378483"/>
                  <a:gd name="connsiteY175" fmla="*/ 54194 h 384474"/>
                  <a:gd name="connsiteX176" fmla="*/ 222250 w 378483"/>
                  <a:gd name="connsiteY176" fmla="*/ 52606 h 384474"/>
                  <a:gd name="connsiteX177" fmla="*/ 220662 w 378483"/>
                  <a:gd name="connsiteY177" fmla="*/ 44669 h 384474"/>
                  <a:gd name="connsiteX178" fmla="*/ 222250 w 378483"/>
                  <a:gd name="connsiteY178" fmla="*/ 31968 h 384474"/>
                  <a:gd name="connsiteX179" fmla="*/ 215899 w 378483"/>
                  <a:gd name="connsiteY179"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89131 h 384474"/>
                  <a:gd name="connsiteX135" fmla="*/ 188912 w 378483"/>
                  <a:gd name="connsiteY135" fmla="*/ 184369 h 384474"/>
                  <a:gd name="connsiteX136" fmla="*/ 201612 w 378483"/>
                  <a:gd name="connsiteY136" fmla="*/ 176431 h 384474"/>
                  <a:gd name="connsiteX137" fmla="*/ 238125 w 378483"/>
                  <a:gd name="connsiteY137" fmla="*/ 179606 h 384474"/>
                  <a:gd name="connsiteX138" fmla="*/ 242887 w 378483"/>
                  <a:gd name="connsiteY138" fmla="*/ 173256 h 384474"/>
                  <a:gd name="connsiteX139" fmla="*/ 244475 w 378483"/>
                  <a:gd name="connsiteY139" fmla="*/ 166906 h 384474"/>
                  <a:gd name="connsiteX140" fmla="*/ 252412 w 378483"/>
                  <a:gd name="connsiteY140" fmla="*/ 154206 h 384474"/>
                  <a:gd name="connsiteX141" fmla="*/ 255587 w 378483"/>
                  <a:gd name="connsiteY141" fmla="*/ 149444 h 384474"/>
                  <a:gd name="connsiteX142" fmla="*/ 288925 w 378483"/>
                  <a:gd name="connsiteY142" fmla="*/ 147856 h 384474"/>
                  <a:gd name="connsiteX143" fmla="*/ 285750 w 378483"/>
                  <a:gd name="connsiteY143" fmla="*/ 152619 h 384474"/>
                  <a:gd name="connsiteX144" fmla="*/ 304800 w 378483"/>
                  <a:gd name="connsiteY144" fmla="*/ 157381 h 384474"/>
                  <a:gd name="connsiteX145" fmla="*/ 309562 w 378483"/>
                  <a:gd name="connsiteY145" fmla="*/ 160556 h 384474"/>
                  <a:gd name="connsiteX146" fmla="*/ 311150 w 378483"/>
                  <a:gd name="connsiteY146" fmla="*/ 155794 h 384474"/>
                  <a:gd name="connsiteX147" fmla="*/ 309562 w 378483"/>
                  <a:gd name="connsiteY147" fmla="*/ 144681 h 384474"/>
                  <a:gd name="connsiteX148" fmla="*/ 314325 w 378483"/>
                  <a:gd name="connsiteY148" fmla="*/ 149444 h 384474"/>
                  <a:gd name="connsiteX149" fmla="*/ 317500 w 378483"/>
                  <a:gd name="connsiteY149" fmla="*/ 155794 h 384474"/>
                  <a:gd name="connsiteX150" fmla="*/ 349250 w 378483"/>
                  <a:gd name="connsiteY150" fmla="*/ 160556 h 384474"/>
                  <a:gd name="connsiteX151" fmla="*/ 350837 w 378483"/>
                  <a:gd name="connsiteY151" fmla="*/ 155794 h 384474"/>
                  <a:gd name="connsiteX152" fmla="*/ 363538 w 378483"/>
                  <a:gd name="connsiteY152" fmla="*/ 154207 h 384474"/>
                  <a:gd name="connsiteX153" fmla="*/ 373062 w 378483"/>
                  <a:gd name="connsiteY153" fmla="*/ 152619 h 384474"/>
                  <a:gd name="connsiteX154" fmla="*/ 374649 w 378483"/>
                  <a:gd name="connsiteY154" fmla="*/ 143094 h 384474"/>
                  <a:gd name="connsiteX155" fmla="*/ 371475 w 378483"/>
                  <a:gd name="connsiteY155" fmla="*/ 138331 h 384474"/>
                  <a:gd name="connsiteX156" fmla="*/ 373062 w 378483"/>
                  <a:gd name="connsiteY156" fmla="*/ 133569 h 384474"/>
                  <a:gd name="connsiteX157" fmla="*/ 369887 w 378483"/>
                  <a:gd name="connsiteY157" fmla="*/ 119281 h 384474"/>
                  <a:gd name="connsiteX158" fmla="*/ 371475 w 378483"/>
                  <a:gd name="connsiteY158" fmla="*/ 114519 h 384474"/>
                  <a:gd name="connsiteX159" fmla="*/ 377825 w 378483"/>
                  <a:gd name="connsiteY159" fmla="*/ 112931 h 384474"/>
                  <a:gd name="connsiteX160" fmla="*/ 371475 w 378483"/>
                  <a:gd name="connsiteY160" fmla="*/ 100231 h 384474"/>
                  <a:gd name="connsiteX161" fmla="*/ 360362 w 378483"/>
                  <a:gd name="connsiteY161" fmla="*/ 92294 h 384474"/>
                  <a:gd name="connsiteX162" fmla="*/ 327025 w 378483"/>
                  <a:gd name="connsiteY162" fmla="*/ 92294 h 384474"/>
                  <a:gd name="connsiteX163" fmla="*/ 328612 w 378483"/>
                  <a:gd name="connsiteY163" fmla="*/ 100231 h 384474"/>
                  <a:gd name="connsiteX164" fmla="*/ 333375 w 378483"/>
                  <a:gd name="connsiteY164" fmla="*/ 101819 h 384474"/>
                  <a:gd name="connsiteX165" fmla="*/ 312738 w 378483"/>
                  <a:gd name="connsiteY165" fmla="*/ 106582 h 384474"/>
                  <a:gd name="connsiteX166" fmla="*/ 317500 w 378483"/>
                  <a:gd name="connsiteY166" fmla="*/ 93881 h 384474"/>
                  <a:gd name="connsiteX167" fmla="*/ 301625 w 378483"/>
                  <a:gd name="connsiteY167" fmla="*/ 92294 h 384474"/>
                  <a:gd name="connsiteX168" fmla="*/ 296862 w 378483"/>
                  <a:gd name="connsiteY168" fmla="*/ 90706 h 384474"/>
                  <a:gd name="connsiteX169" fmla="*/ 293687 w 378483"/>
                  <a:gd name="connsiteY169" fmla="*/ 85944 h 384474"/>
                  <a:gd name="connsiteX170" fmla="*/ 288925 w 378483"/>
                  <a:gd name="connsiteY170" fmla="*/ 84356 h 384474"/>
                  <a:gd name="connsiteX171" fmla="*/ 276225 w 378483"/>
                  <a:gd name="connsiteY171" fmla="*/ 79594 h 384474"/>
                  <a:gd name="connsiteX172" fmla="*/ 254000 w 378483"/>
                  <a:gd name="connsiteY172" fmla="*/ 70069 h 384474"/>
                  <a:gd name="connsiteX173" fmla="*/ 238125 w 378483"/>
                  <a:gd name="connsiteY173" fmla="*/ 66894 h 384474"/>
                  <a:gd name="connsiteX174" fmla="*/ 233362 w 378483"/>
                  <a:gd name="connsiteY174" fmla="*/ 62131 h 384474"/>
                  <a:gd name="connsiteX175" fmla="*/ 227012 w 378483"/>
                  <a:gd name="connsiteY175" fmla="*/ 54194 h 384474"/>
                  <a:gd name="connsiteX176" fmla="*/ 222250 w 378483"/>
                  <a:gd name="connsiteY176" fmla="*/ 52606 h 384474"/>
                  <a:gd name="connsiteX177" fmla="*/ 220662 w 378483"/>
                  <a:gd name="connsiteY177" fmla="*/ 44669 h 384474"/>
                  <a:gd name="connsiteX178" fmla="*/ 222250 w 378483"/>
                  <a:gd name="connsiteY178" fmla="*/ 31968 h 384474"/>
                  <a:gd name="connsiteX179" fmla="*/ 215899 w 378483"/>
                  <a:gd name="connsiteY179"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89131 h 384474"/>
                  <a:gd name="connsiteX135" fmla="*/ 188912 w 378483"/>
                  <a:gd name="connsiteY135" fmla="*/ 184369 h 384474"/>
                  <a:gd name="connsiteX136" fmla="*/ 201612 w 378483"/>
                  <a:gd name="connsiteY136" fmla="*/ 176431 h 384474"/>
                  <a:gd name="connsiteX137" fmla="*/ 238125 w 378483"/>
                  <a:gd name="connsiteY137" fmla="*/ 179606 h 384474"/>
                  <a:gd name="connsiteX138" fmla="*/ 242887 w 378483"/>
                  <a:gd name="connsiteY138" fmla="*/ 173256 h 384474"/>
                  <a:gd name="connsiteX139" fmla="*/ 244475 w 378483"/>
                  <a:gd name="connsiteY139" fmla="*/ 166906 h 384474"/>
                  <a:gd name="connsiteX140" fmla="*/ 252412 w 378483"/>
                  <a:gd name="connsiteY140" fmla="*/ 154206 h 384474"/>
                  <a:gd name="connsiteX141" fmla="*/ 255587 w 378483"/>
                  <a:gd name="connsiteY141" fmla="*/ 149444 h 384474"/>
                  <a:gd name="connsiteX142" fmla="*/ 288925 w 378483"/>
                  <a:gd name="connsiteY142" fmla="*/ 147856 h 384474"/>
                  <a:gd name="connsiteX143" fmla="*/ 285750 w 378483"/>
                  <a:gd name="connsiteY143" fmla="*/ 152619 h 384474"/>
                  <a:gd name="connsiteX144" fmla="*/ 304800 w 378483"/>
                  <a:gd name="connsiteY144" fmla="*/ 157381 h 384474"/>
                  <a:gd name="connsiteX145" fmla="*/ 309562 w 378483"/>
                  <a:gd name="connsiteY145" fmla="*/ 160556 h 384474"/>
                  <a:gd name="connsiteX146" fmla="*/ 311150 w 378483"/>
                  <a:gd name="connsiteY146" fmla="*/ 155794 h 384474"/>
                  <a:gd name="connsiteX147" fmla="*/ 309562 w 378483"/>
                  <a:gd name="connsiteY147" fmla="*/ 144681 h 384474"/>
                  <a:gd name="connsiteX148" fmla="*/ 314325 w 378483"/>
                  <a:gd name="connsiteY148" fmla="*/ 149444 h 384474"/>
                  <a:gd name="connsiteX149" fmla="*/ 317500 w 378483"/>
                  <a:gd name="connsiteY149" fmla="*/ 155794 h 384474"/>
                  <a:gd name="connsiteX150" fmla="*/ 349250 w 378483"/>
                  <a:gd name="connsiteY150" fmla="*/ 160556 h 384474"/>
                  <a:gd name="connsiteX151" fmla="*/ 350837 w 378483"/>
                  <a:gd name="connsiteY151" fmla="*/ 155794 h 384474"/>
                  <a:gd name="connsiteX152" fmla="*/ 363538 w 378483"/>
                  <a:gd name="connsiteY152" fmla="*/ 154207 h 384474"/>
                  <a:gd name="connsiteX153" fmla="*/ 373062 w 378483"/>
                  <a:gd name="connsiteY153" fmla="*/ 152619 h 384474"/>
                  <a:gd name="connsiteX154" fmla="*/ 373062 w 378483"/>
                  <a:gd name="connsiteY154" fmla="*/ 141506 h 384474"/>
                  <a:gd name="connsiteX155" fmla="*/ 371475 w 378483"/>
                  <a:gd name="connsiteY155" fmla="*/ 138331 h 384474"/>
                  <a:gd name="connsiteX156" fmla="*/ 373062 w 378483"/>
                  <a:gd name="connsiteY156" fmla="*/ 133569 h 384474"/>
                  <a:gd name="connsiteX157" fmla="*/ 369887 w 378483"/>
                  <a:gd name="connsiteY157" fmla="*/ 119281 h 384474"/>
                  <a:gd name="connsiteX158" fmla="*/ 371475 w 378483"/>
                  <a:gd name="connsiteY158" fmla="*/ 114519 h 384474"/>
                  <a:gd name="connsiteX159" fmla="*/ 377825 w 378483"/>
                  <a:gd name="connsiteY159" fmla="*/ 112931 h 384474"/>
                  <a:gd name="connsiteX160" fmla="*/ 371475 w 378483"/>
                  <a:gd name="connsiteY160" fmla="*/ 100231 h 384474"/>
                  <a:gd name="connsiteX161" fmla="*/ 360362 w 378483"/>
                  <a:gd name="connsiteY161" fmla="*/ 92294 h 384474"/>
                  <a:gd name="connsiteX162" fmla="*/ 327025 w 378483"/>
                  <a:gd name="connsiteY162" fmla="*/ 92294 h 384474"/>
                  <a:gd name="connsiteX163" fmla="*/ 328612 w 378483"/>
                  <a:gd name="connsiteY163" fmla="*/ 100231 h 384474"/>
                  <a:gd name="connsiteX164" fmla="*/ 333375 w 378483"/>
                  <a:gd name="connsiteY164" fmla="*/ 101819 h 384474"/>
                  <a:gd name="connsiteX165" fmla="*/ 312738 w 378483"/>
                  <a:gd name="connsiteY165" fmla="*/ 106582 h 384474"/>
                  <a:gd name="connsiteX166" fmla="*/ 317500 w 378483"/>
                  <a:gd name="connsiteY166" fmla="*/ 93881 h 384474"/>
                  <a:gd name="connsiteX167" fmla="*/ 301625 w 378483"/>
                  <a:gd name="connsiteY167" fmla="*/ 92294 h 384474"/>
                  <a:gd name="connsiteX168" fmla="*/ 296862 w 378483"/>
                  <a:gd name="connsiteY168" fmla="*/ 90706 h 384474"/>
                  <a:gd name="connsiteX169" fmla="*/ 293687 w 378483"/>
                  <a:gd name="connsiteY169" fmla="*/ 85944 h 384474"/>
                  <a:gd name="connsiteX170" fmla="*/ 288925 w 378483"/>
                  <a:gd name="connsiteY170" fmla="*/ 84356 h 384474"/>
                  <a:gd name="connsiteX171" fmla="*/ 276225 w 378483"/>
                  <a:gd name="connsiteY171" fmla="*/ 79594 h 384474"/>
                  <a:gd name="connsiteX172" fmla="*/ 254000 w 378483"/>
                  <a:gd name="connsiteY172" fmla="*/ 70069 h 384474"/>
                  <a:gd name="connsiteX173" fmla="*/ 238125 w 378483"/>
                  <a:gd name="connsiteY173" fmla="*/ 66894 h 384474"/>
                  <a:gd name="connsiteX174" fmla="*/ 233362 w 378483"/>
                  <a:gd name="connsiteY174" fmla="*/ 62131 h 384474"/>
                  <a:gd name="connsiteX175" fmla="*/ 227012 w 378483"/>
                  <a:gd name="connsiteY175" fmla="*/ 54194 h 384474"/>
                  <a:gd name="connsiteX176" fmla="*/ 222250 w 378483"/>
                  <a:gd name="connsiteY176" fmla="*/ 52606 h 384474"/>
                  <a:gd name="connsiteX177" fmla="*/ 220662 w 378483"/>
                  <a:gd name="connsiteY177" fmla="*/ 44669 h 384474"/>
                  <a:gd name="connsiteX178" fmla="*/ 222250 w 378483"/>
                  <a:gd name="connsiteY178" fmla="*/ 31968 h 384474"/>
                  <a:gd name="connsiteX179" fmla="*/ 215899 w 378483"/>
                  <a:gd name="connsiteY179"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89131 h 384474"/>
                  <a:gd name="connsiteX135" fmla="*/ 188912 w 378483"/>
                  <a:gd name="connsiteY135" fmla="*/ 184369 h 384474"/>
                  <a:gd name="connsiteX136" fmla="*/ 201612 w 378483"/>
                  <a:gd name="connsiteY136" fmla="*/ 176431 h 384474"/>
                  <a:gd name="connsiteX137" fmla="*/ 238125 w 378483"/>
                  <a:gd name="connsiteY137" fmla="*/ 179606 h 384474"/>
                  <a:gd name="connsiteX138" fmla="*/ 242887 w 378483"/>
                  <a:gd name="connsiteY138" fmla="*/ 173256 h 384474"/>
                  <a:gd name="connsiteX139" fmla="*/ 244475 w 378483"/>
                  <a:gd name="connsiteY139" fmla="*/ 166906 h 384474"/>
                  <a:gd name="connsiteX140" fmla="*/ 252412 w 378483"/>
                  <a:gd name="connsiteY140" fmla="*/ 154206 h 384474"/>
                  <a:gd name="connsiteX141" fmla="*/ 255587 w 378483"/>
                  <a:gd name="connsiteY141" fmla="*/ 149444 h 384474"/>
                  <a:gd name="connsiteX142" fmla="*/ 288925 w 378483"/>
                  <a:gd name="connsiteY142" fmla="*/ 147856 h 384474"/>
                  <a:gd name="connsiteX143" fmla="*/ 285750 w 378483"/>
                  <a:gd name="connsiteY143" fmla="*/ 152619 h 384474"/>
                  <a:gd name="connsiteX144" fmla="*/ 304800 w 378483"/>
                  <a:gd name="connsiteY144" fmla="*/ 157381 h 384474"/>
                  <a:gd name="connsiteX145" fmla="*/ 309562 w 378483"/>
                  <a:gd name="connsiteY145" fmla="*/ 160556 h 384474"/>
                  <a:gd name="connsiteX146" fmla="*/ 311150 w 378483"/>
                  <a:gd name="connsiteY146" fmla="*/ 155794 h 384474"/>
                  <a:gd name="connsiteX147" fmla="*/ 309562 w 378483"/>
                  <a:gd name="connsiteY147" fmla="*/ 144681 h 384474"/>
                  <a:gd name="connsiteX148" fmla="*/ 314325 w 378483"/>
                  <a:gd name="connsiteY148" fmla="*/ 149444 h 384474"/>
                  <a:gd name="connsiteX149" fmla="*/ 317500 w 378483"/>
                  <a:gd name="connsiteY149" fmla="*/ 155794 h 384474"/>
                  <a:gd name="connsiteX150" fmla="*/ 349250 w 378483"/>
                  <a:gd name="connsiteY150" fmla="*/ 160556 h 384474"/>
                  <a:gd name="connsiteX151" fmla="*/ 350837 w 378483"/>
                  <a:gd name="connsiteY151" fmla="*/ 155794 h 384474"/>
                  <a:gd name="connsiteX152" fmla="*/ 363538 w 378483"/>
                  <a:gd name="connsiteY152" fmla="*/ 154207 h 384474"/>
                  <a:gd name="connsiteX153" fmla="*/ 371474 w 378483"/>
                  <a:gd name="connsiteY153" fmla="*/ 151031 h 384474"/>
                  <a:gd name="connsiteX154" fmla="*/ 373062 w 378483"/>
                  <a:gd name="connsiteY154" fmla="*/ 141506 h 384474"/>
                  <a:gd name="connsiteX155" fmla="*/ 371475 w 378483"/>
                  <a:gd name="connsiteY155" fmla="*/ 138331 h 384474"/>
                  <a:gd name="connsiteX156" fmla="*/ 373062 w 378483"/>
                  <a:gd name="connsiteY156" fmla="*/ 133569 h 384474"/>
                  <a:gd name="connsiteX157" fmla="*/ 369887 w 378483"/>
                  <a:gd name="connsiteY157" fmla="*/ 119281 h 384474"/>
                  <a:gd name="connsiteX158" fmla="*/ 371475 w 378483"/>
                  <a:gd name="connsiteY158" fmla="*/ 114519 h 384474"/>
                  <a:gd name="connsiteX159" fmla="*/ 377825 w 378483"/>
                  <a:gd name="connsiteY159" fmla="*/ 112931 h 384474"/>
                  <a:gd name="connsiteX160" fmla="*/ 371475 w 378483"/>
                  <a:gd name="connsiteY160" fmla="*/ 100231 h 384474"/>
                  <a:gd name="connsiteX161" fmla="*/ 360362 w 378483"/>
                  <a:gd name="connsiteY161" fmla="*/ 92294 h 384474"/>
                  <a:gd name="connsiteX162" fmla="*/ 327025 w 378483"/>
                  <a:gd name="connsiteY162" fmla="*/ 92294 h 384474"/>
                  <a:gd name="connsiteX163" fmla="*/ 328612 w 378483"/>
                  <a:gd name="connsiteY163" fmla="*/ 100231 h 384474"/>
                  <a:gd name="connsiteX164" fmla="*/ 333375 w 378483"/>
                  <a:gd name="connsiteY164" fmla="*/ 101819 h 384474"/>
                  <a:gd name="connsiteX165" fmla="*/ 312738 w 378483"/>
                  <a:gd name="connsiteY165" fmla="*/ 106582 h 384474"/>
                  <a:gd name="connsiteX166" fmla="*/ 317500 w 378483"/>
                  <a:gd name="connsiteY166" fmla="*/ 93881 h 384474"/>
                  <a:gd name="connsiteX167" fmla="*/ 301625 w 378483"/>
                  <a:gd name="connsiteY167" fmla="*/ 92294 h 384474"/>
                  <a:gd name="connsiteX168" fmla="*/ 296862 w 378483"/>
                  <a:gd name="connsiteY168" fmla="*/ 90706 h 384474"/>
                  <a:gd name="connsiteX169" fmla="*/ 293687 w 378483"/>
                  <a:gd name="connsiteY169" fmla="*/ 85944 h 384474"/>
                  <a:gd name="connsiteX170" fmla="*/ 288925 w 378483"/>
                  <a:gd name="connsiteY170" fmla="*/ 84356 h 384474"/>
                  <a:gd name="connsiteX171" fmla="*/ 276225 w 378483"/>
                  <a:gd name="connsiteY171" fmla="*/ 79594 h 384474"/>
                  <a:gd name="connsiteX172" fmla="*/ 254000 w 378483"/>
                  <a:gd name="connsiteY172" fmla="*/ 70069 h 384474"/>
                  <a:gd name="connsiteX173" fmla="*/ 238125 w 378483"/>
                  <a:gd name="connsiteY173" fmla="*/ 66894 h 384474"/>
                  <a:gd name="connsiteX174" fmla="*/ 233362 w 378483"/>
                  <a:gd name="connsiteY174" fmla="*/ 62131 h 384474"/>
                  <a:gd name="connsiteX175" fmla="*/ 227012 w 378483"/>
                  <a:gd name="connsiteY175" fmla="*/ 54194 h 384474"/>
                  <a:gd name="connsiteX176" fmla="*/ 222250 w 378483"/>
                  <a:gd name="connsiteY176" fmla="*/ 52606 h 384474"/>
                  <a:gd name="connsiteX177" fmla="*/ 220662 w 378483"/>
                  <a:gd name="connsiteY177" fmla="*/ 44669 h 384474"/>
                  <a:gd name="connsiteX178" fmla="*/ 222250 w 378483"/>
                  <a:gd name="connsiteY178" fmla="*/ 31968 h 384474"/>
                  <a:gd name="connsiteX179" fmla="*/ 215899 w 378483"/>
                  <a:gd name="connsiteY179"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89131 h 384474"/>
                  <a:gd name="connsiteX135" fmla="*/ 188912 w 378483"/>
                  <a:gd name="connsiteY135" fmla="*/ 184369 h 384474"/>
                  <a:gd name="connsiteX136" fmla="*/ 201612 w 378483"/>
                  <a:gd name="connsiteY136" fmla="*/ 176431 h 384474"/>
                  <a:gd name="connsiteX137" fmla="*/ 222250 w 378483"/>
                  <a:gd name="connsiteY137" fmla="*/ 187544 h 384474"/>
                  <a:gd name="connsiteX138" fmla="*/ 238125 w 378483"/>
                  <a:gd name="connsiteY138" fmla="*/ 179606 h 384474"/>
                  <a:gd name="connsiteX139" fmla="*/ 242887 w 378483"/>
                  <a:gd name="connsiteY139" fmla="*/ 173256 h 384474"/>
                  <a:gd name="connsiteX140" fmla="*/ 244475 w 378483"/>
                  <a:gd name="connsiteY140" fmla="*/ 166906 h 384474"/>
                  <a:gd name="connsiteX141" fmla="*/ 252412 w 378483"/>
                  <a:gd name="connsiteY141" fmla="*/ 154206 h 384474"/>
                  <a:gd name="connsiteX142" fmla="*/ 255587 w 378483"/>
                  <a:gd name="connsiteY142" fmla="*/ 149444 h 384474"/>
                  <a:gd name="connsiteX143" fmla="*/ 288925 w 378483"/>
                  <a:gd name="connsiteY143" fmla="*/ 147856 h 384474"/>
                  <a:gd name="connsiteX144" fmla="*/ 285750 w 378483"/>
                  <a:gd name="connsiteY144" fmla="*/ 152619 h 384474"/>
                  <a:gd name="connsiteX145" fmla="*/ 304800 w 378483"/>
                  <a:gd name="connsiteY145" fmla="*/ 157381 h 384474"/>
                  <a:gd name="connsiteX146" fmla="*/ 309562 w 378483"/>
                  <a:gd name="connsiteY146" fmla="*/ 160556 h 384474"/>
                  <a:gd name="connsiteX147" fmla="*/ 311150 w 378483"/>
                  <a:gd name="connsiteY147" fmla="*/ 155794 h 384474"/>
                  <a:gd name="connsiteX148" fmla="*/ 309562 w 378483"/>
                  <a:gd name="connsiteY148" fmla="*/ 144681 h 384474"/>
                  <a:gd name="connsiteX149" fmla="*/ 314325 w 378483"/>
                  <a:gd name="connsiteY149" fmla="*/ 149444 h 384474"/>
                  <a:gd name="connsiteX150" fmla="*/ 317500 w 378483"/>
                  <a:gd name="connsiteY150" fmla="*/ 155794 h 384474"/>
                  <a:gd name="connsiteX151" fmla="*/ 349250 w 378483"/>
                  <a:gd name="connsiteY151" fmla="*/ 160556 h 384474"/>
                  <a:gd name="connsiteX152" fmla="*/ 350837 w 378483"/>
                  <a:gd name="connsiteY152" fmla="*/ 155794 h 384474"/>
                  <a:gd name="connsiteX153" fmla="*/ 363538 w 378483"/>
                  <a:gd name="connsiteY153" fmla="*/ 154207 h 384474"/>
                  <a:gd name="connsiteX154" fmla="*/ 371474 w 378483"/>
                  <a:gd name="connsiteY154" fmla="*/ 151031 h 384474"/>
                  <a:gd name="connsiteX155" fmla="*/ 373062 w 378483"/>
                  <a:gd name="connsiteY155" fmla="*/ 141506 h 384474"/>
                  <a:gd name="connsiteX156" fmla="*/ 371475 w 378483"/>
                  <a:gd name="connsiteY156" fmla="*/ 138331 h 384474"/>
                  <a:gd name="connsiteX157" fmla="*/ 373062 w 378483"/>
                  <a:gd name="connsiteY157" fmla="*/ 133569 h 384474"/>
                  <a:gd name="connsiteX158" fmla="*/ 369887 w 378483"/>
                  <a:gd name="connsiteY158" fmla="*/ 119281 h 384474"/>
                  <a:gd name="connsiteX159" fmla="*/ 371475 w 378483"/>
                  <a:gd name="connsiteY159" fmla="*/ 114519 h 384474"/>
                  <a:gd name="connsiteX160" fmla="*/ 377825 w 378483"/>
                  <a:gd name="connsiteY160" fmla="*/ 112931 h 384474"/>
                  <a:gd name="connsiteX161" fmla="*/ 371475 w 378483"/>
                  <a:gd name="connsiteY161" fmla="*/ 100231 h 384474"/>
                  <a:gd name="connsiteX162" fmla="*/ 360362 w 378483"/>
                  <a:gd name="connsiteY162" fmla="*/ 92294 h 384474"/>
                  <a:gd name="connsiteX163" fmla="*/ 327025 w 378483"/>
                  <a:gd name="connsiteY163" fmla="*/ 92294 h 384474"/>
                  <a:gd name="connsiteX164" fmla="*/ 328612 w 378483"/>
                  <a:gd name="connsiteY164" fmla="*/ 100231 h 384474"/>
                  <a:gd name="connsiteX165" fmla="*/ 333375 w 378483"/>
                  <a:gd name="connsiteY165" fmla="*/ 101819 h 384474"/>
                  <a:gd name="connsiteX166" fmla="*/ 312738 w 378483"/>
                  <a:gd name="connsiteY166" fmla="*/ 106582 h 384474"/>
                  <a:gd name="connsiteX167" fmla="*/ 317500 w 378483"/>
                  <a:gd name="connsiteY167" fmla="*/ 93881 h 384474"/>
                  <a:gd name="connsiteX168" fmla="*/ 301625 w 378483"/>
                  <a:gd name="connsiteY168" fmla="*/ 92294 h 384474"/>
                  <a:gd name="connsiteX169" fmla="*/ 296862 w 378483"/>
                  <a:gd name="connsiteY169" fmla="*/ 90706 h 384474"/>
                  <a:gd name="connsiteX170" fmla="*/ 293687 w 378483"/>
                  <a:gd name="connsiteY170" fmla="*/ 85944 h 384474"/>
                  <a:gd name="connsiteX171" fmla="*/ 288925 w 378483"/>
                  <a:gd name="connsiteY171" fmla="*/ 84356 h 384474"/>
                  <a:gd name="connsiteX172" fmla="*/ 276225 w 378483"/>
                  <a:gd name="connsiteY172" fmla="*/ 79594 h 384474"/>
                  <a:gd name="connsiteX173" fmla="*/ 254000 w 378483"/>
                  <a:gd name="connsiteY173" fmla="*/ 70069 h 384474"/>
                  <a:gd name="connsiteX174" fmla="*/ 238125 w 378483"/>
                  <a:gd name="connsiteY174" fmla="*/ 66894 h 384474"/>
                  <a:gd name="connsiteX175" fmla="*/ 233362 w 378483"/>
                  <a:gd name="connsiteY175" fmla="*/ 62131 h 384474"/>
                  <a:gd name="connsiteX176" fmla="*/ 227012 w 378483"/>
                  <a:gd name="connsiteY176" fmla="*/ 54194 h 384474"/>
                  <a:gd name="connsiteX177" fmla="*/ 222250 w 378483"/>
                  <a:gd name="connsiteY177" fmla="*/ 52606 h 384474"/>
                  <a:gd name="connsiteX178" fmla="*/ 220662 w 378483"/>
                  <a:gd name="connsiteY178" fmla="*/ 44669 h 384474"/>
                  <a:gd name="connsiteX179" fmla="*/ 222250 w 378483"/>
                  <a:gd name="connsiteY179" fmla="*/ 31968 h 384474"/>
                  <a:gd name="connsiteX180" fmla="*/ 215899 w 378483"/>
                  <a:gd name="connsiteY180"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89131 h 384474"/>
                  <a:gd name="connsiteX135" fmla="*/ 188912 w 378483"/>
                  <a:gd name="connsiteY135" fmla="*/ 184369 h 384474"/>
                  <a:gd name="connsiteX136" fmla="*/ 201612 w 378483"/>
                  <a:gd name="connsiteY136" fmla="*/ 176431 h 384474"/>
                  <a:gd name="connsiteX137" fmla="*/ 222250 w 378483"/>
                  <a:gd name="connsiteY137" fmla="*/ 187544 h 384474"/>
                  <a:gd name="connsiteX138" fmla="*/ 238125 w 378483"/>
                  <a:gd name="connsiteY138" fmla="*/ 179606 h 384474"/>
                  <a:gd name="connsiteX139" fmla="*/ 242887 w 378483"/>
                  <a:gd name="connsiteY139" fmla="*/ 173256 h 384474"/>
                  <a:gd name="connsiteX140" fmla="*/ 244475 w 378483"/>
                  <a:gd name="connsiteY140" fmla="*/ 166906 h 384474"/>
                  <a:gd name="connsiteX141" fmla="*/ 252412 w 378483"/>
                  <a:gd name="connsiteY141" fmla="*/ 154206 h 384474"/>
                  <a:gd name="connsiteX142" fmla="*/ 266700 w 378483"/>
                  <a:gd name="connsiteY142" fmla="*/ 151031 h 384474"/>
                  <a:gd name="connsiteX143" fmla="*/ 288925 w 378483"/>
                  <a:gd name="connsiteY143" fmla="*/ 147856 h 384474"/>
                  <a:gd name="connsiteX144" fmla="*/ 285750 w 378483"/>
                  <a:gd name="connsiteY144" fmla="*/ 152619 h 384474"/>
                  <a:gd name="connsiteX145" fmla="*/ 304800 w 378483"/>
                  <a:gd name="connsiteY145" fmla="*/ 157381 h 384474"/>
                  <a:gd name="connsiteX146" fmla="*/ 309562 w 378483"/>
                  <a:gd name="connsiteY146" fmla="*/ 160556 h 384474"/>
                  <a:gd name="connsiteX147" fmla="*/ 311150 w 378483"/>
                  <a:gd name="connsiteY147" fmla="*/ 155794 h 384474"/>
                  <a:gd name="connsiteX148" fmla="*/ 309562 w 378483"/>
                  <a:gd name="connsiteY148" fmla="*/ 144681 h 384474"/>
                  <a:gd name="connsiteX149" fmla="*/ 314325 w 378483"/>
                  <a:gd name="connsiteY149" fmla="*/ 149444 h 384474"/>
                  <a:gd name="connsiteX150" fmla="*/ 317500 w 378483"/>
                  <a:gd name="connsiteY150" fmla="*/ 155794 h 384474"/>
                  <a:gd name="connsiteX151" fmla="*/ 349250 w 378483"/>
                  <a:gd name="connsiteY151" fmla="*/ 160556 h 384474"/>
                  <a:gd name="connsiteX152" fmla="*/ 350837 w 378483"/>
                  <a:gd name="connsiteY152" fmla="*/ 155794 h 384474"/>
                  <a:gd name="connsiteX153" fmla="*/ 363538 w 378483"/>
                  <a:gd name="connsiteY153" fmla="*/ 154207 h 384474"/>
                  <a:gd name="connsiteX154" fmla="*/ 371474 w 378483"/>
                  <a:gd name="connsiteY154" fmla="*/ 151031 h 384474"/>
                  <a:gd name="connsiteX155" fmla="*/ 373062 w 378483"/>
                  <a:gd name="connsiteY155" fmla="*/ 141506 h 384474"/>
                  <a:gd name="connsiteX156" fmla="*/ 371475 w 378483"/>
                  <a:gd name="connsiteY156" fmla="*/ 138331 h 384474"/>
                  <a:gd name="connsiteX157" fmla="*/ 373062 w 378483"/>
                  <a:gd name="connsiteY157" fmla="*/ 133569 h 384474"/>
                  <a:gd name="connsiteX158" fmla="*/ 369887 w 378483"/>
                  <a:gd name="connsiteY158" fmla="*/ 119281 h 384474"/>
                  <a:gd name="connsiteX159" fmla="*/ 371475 w 378483"/>
                  <a:gd name="connsiteY159" fmla="*/ 114519 h 384474"/>
                  <a:gd name="connsiteX160" fmla="*/ 377825 w 378483"/>
                  <a:gd name="connsiteY160" fmla="*/ 112931 h 384474"/>
                  <a:gd name="connsiteX161" fmla="*/ 371475 w 378483"/>
                  <a:gd name="connsiteY161" fmla="*/ 100231 h 384474"/>
                  <a:gd name="connsiteX162" fmla="*/ 360362 w 378483"/>
                  <a:gd name="connsiteY162" fmla="*/ 92294 h 384474"/>
                  <a:gd name="connsiteX163" fmla="*/ 327025 w 378483"/>
                  <a:gd name="connsiteY163" fmla="*/ 92294 h 384474"/>
                  <a:gd name="connsiteX164" fmla="*/ 328612 w 378483"/>
                  <a:gd name="connsiteY164" fmla="*/ 100231 h 384474"/>
                  <a:gd name="connsiteX165" fmla="*/ 333375 w 378483"/>
                  <a:gd name="connsiteY165" fmla="*/ 101819 h 384474"/>
                  <a:gd name="connsiteX166" fmla="*/ 312738 w 378483"/>
                  <a:gd name="connsiteY166" fmla="*/ 106582 h 384474"/>
                  <a:gd name="connsiteX167" fmla="*/ 317500 w 378483"/>
                  <a:gd name="connsiteY167" fmla="*/ 93881 h 384474"/>
                  <a:gd name="connsiteX168" fmla="*/ 301625 w 378483"/>
                  <a:gd name="connsiteY168" fmla="*/ 92294 h 384474"/>
                  <a:gd name="connsiteX169" fmla="*/ 296862 w 378483"/>
                  <a:gd name="connsiteY169" fmla="*/ 90706 h 384474"/>
                  <a:gd name="connsiteX170" fmla="*/ 293687 w 378483"/>
                  <a:gd name="connsiteY170" fmla="*/ 85944 h 384474"/>
                  <a:gd name="connsiteX171" fmla="*/ 288925 w 378483"/>
                  <a:gd name="connsiteY171" fmla="*/ 84356 h 384474"/>
                  <a:gd name="connsiteX172" fmla="*/ 276225 w 378483"/>
                  <a:gd name="connsiteY172" fmla="*/ 79594 h 384474"/>
                  <a:gd name="connsiteX173" fmla="*/ 254000 w 378483"/>
                  <a:gd name="connsiteY173" fmla="*/ 70069 h 384474"/>
                  <a:gd name="connsiteX174" fmla="*/ 238125 w 378483"/>
                  <a:gd name="connsiteY174" fmla="*/ 66894 h 384474"/>
                  <a:gd name="connsiteX175" fmla="*/ 233362 w 378483"/>
                  <a:gd name="connsiteY175" fmla="*/ 62131 h 384474"/>
                  <a:gd name="connsiteX176" fmla="*/ 227012 w 378483"/>
                  <a:gd name="connsiteY176" fmla="*/ 54194 h 384474"/>
                  <a:gd name="connsiteX177" fmla="*/ 222250 w 378483"/>
                  <a:gd name="connsiteY177" fmla="*/ 52606 h 384474"/>
                  <a:gd name="connsiteX178" fmla="*/ 220662 w 378483"/>
                  <a:gd name="connsiteY178" fmla="*/ 44669 h 384474"/>
                  <a:gd name="connsiteX179" fmla="*/ 222250 w 378483"/>
                  <a:gd name="connsiteY179" fmla="*/ 31968 h 384474"/>
                  <a:gd name="connsiteX180" fmla="*/ 215899 w 378483"/>
                  <a:gd name="connsiteY180"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89131 h 384474"/>
                  <a:gd name="connsiteX135" fmla="*/ 188912 w 378483"/>
                  <a:gd name="connsiteY135" fmla="*/ 184369 h 384474"/>
                  <a:gd name="connsiteX136" fmla="*/ 201612 w 378483"/>
                  <a:gd name="connsiteY136" fmla="*/ 176431 h 384474"/>
                  <a:gd name="connsiteX137" fmla="*/ 222250 w 378483"/>
                  <a:gd name="connsiteY137" fmla="*/ 187544 h 384474"/>
                  <a:gd name="connsiteX138" fmla="*/ 238125 w 378483"/>
                  <a:gd name="connsiteY138" fmla="*/ 179606 h 384474"/>
                  <a:gd name="connsiteX139" fmla="*/ 242887 w 378483"/>
                  <a:gd name="connsiteY139" fmla="*/ 173256 h 384474"/>
                  <a:gd name="connsiteX140" fmla="*/ 244475 w 378483"/>
                  <a:gd name="connsiteY140" fmla="*/ 166906 h 384474"/>
                  <a:gd name="connsiteX141" fmla="*/ 260350 w 378483"/>
                  <a:gd name="connsiteY141" fmla="*/ 152619 h 384474"/>
                  <a:gd name="connsiteX142" fmla="*/ 266700 w 378483"/>
                  <a:gd name="connsiteY142" fmla="*/ 151031 h 384474"/>
                  <a:gd name="connsiteX143" fmla="*/ 288925 w 378483"/>
                  <a:gd name="connsiteY143" fmla="*/ 147856 h 384474"/>
                  <a:gd name="connsiteX144" fmla="*/ 285750 w 378483"/>
                  <a:gd name="connsiteY144" fmla="*/ 152619 h 384474"/>
                  <a:gd name="connsiteX145" fmla="*/ 304800 w 378483"/>
                  <a:gd name="connsiteY145" fmla="*/ 157381 h 384474"/>
                  <a:gd name="connsiteX146" fmla="*/ 309562 w 378483"/>
                  <a:gd name="connsiteY146" fmla="*/ 160556 h 384474"/>
                  <a:gd name="connsiteX147" fmla="*/ 311150 w 378483"/>
                  <a:gd name="connsiteY147" fmla="*/ 155794 h 384474"/>
                  <a:gd name="connsiteX148" fmla="*/ 309562 w 378483"/>
                  <a:gd name="connsiteY148" fmla="*/ 144681 h 384474"/>
                  <a:gd name="connsiteX149" fmla="*/ 314325 w 378483"/>
                  <a:gd name="connsiteY149" fmla="*/ 149444 h 384474"/>
                  <a:gd name="connsiteX150" fmla="*/ 317500 w 378483"/>
                  <a:gd name="connsiteY150" fmla="*/ 155794 h 384474"/>
                  <a:gd name="connsiteX151" fmla="*/ 349250 w 378483"/>
                  <a:gd name="connsiteY151" fmla="*/ 160556 h 384474"/>
                  <a:gd name="connsiteX152" fmla="*/ 350837 w 378483"/>
                  <a:gd name="connsiteY152" fmla="*/ 155794 h 384474"/>
                  <a:gd name="connsiteX153" fmla="*/ 363538 w 378483"/>
                  <a:gd name="connsiteY153" fmla="*/ 154207 h 384474"/>
                  <a:gd name="connsiteX154" fmla="*/ 371474 w 378483"/>
                  <a:gd name="connsiteY154" fmla="*/ 151031 h 384474"/>
                  <a:gd name="connsiteX155" fmla="*/ 373062 w 378483"/>
                  <a:gd name="connsiteY155" fmla="*/ 141506 h 384474"/>
                  <a:gd name="connsiteX156" fmla="*/ 371475 w 378483"/>
                  <a:gd name="connsiteY156" fmla="*/ 138331 h 384474"/>
                  <a:gd name="connsiteX157" fmla="*/ 373062 w 378483"/>
                  <a:gd name="connsiteY157" fmla="*/ 133569 h 384474"/>
                  <a:gd name="connsiteX158" fmla="*/ 369887 w 378483"/>
                  <a:gd name="connsiteY158" fmla="*/ 119281 h 384474"/>
                  <a:gd name="connsiteX159" fmla="*/ 371475 w 378483"/>
                  <a:gd name="connsiteY159" fmla="*/ 114519 h 384474"/>
                  <a:gd name="connsiteX160" fmla="*/ 377825 w 378483"/>
                  <a:gd name="connsiteY160" fmla="*/ 112931 h 384474"/>
                  <a:gd name="connsiteX161" fmla="*/ 371475 w 378483"/>
                  <a:gd name="connsiteY161" fmla="*/ 100231 h 384474"/>
                  <a:gd name="connsiteX162" fmla="*/ 360362 w 378483"/>
                  <a:gd name="connsiteY162" fmla="*/ 92294 h 384474"/>
                  <a:gd name="connsiteX163" fmla="*/ 327025 w 378483"/>
                  <a:gd name="connsiteY163" fmla="*/ 92294 h 384474"/>
                  <a:gd name="connsiteX164" fmla="*/ 328612 w 378483"/>
                  <a:gd name="connsiteY164" fmla="*/ 100231 h 384474"/>
                  <a:gd name="connsiteX165" fmla="*/ 333375 w 378483"/>
                  <a:gd name="connsiteY165" fmla="*/ 101819 h 384474"/>
                  <a:gd name="connsiteX166" fmla="*/ 312738 w 378483"/>
                  <a:gd name="connsiteY166" fmla="*/ 106582 h 384474"/>
                  <a:gd name="connsiteX167" fmla="*/ 317500 w 378483"/>
                  <a:gd name="connsiteY167" fmla="*/ 93881 h 384474"/>
                  <a:gd name="connsiteX168" fmla="*/ 301625 w 378483"/>
                  <a:gd name="connsiteY168" fmla="*/ 92294 h 384474"/>
                  <a:gd name="connsiteX169" fmla="*/ 296862 w 378483"/>
                  <a:gd name="connsiteY169" fmla="*/ 90706 h 384474"/>
                  <a:gd name="connsiteX170" fmla="*/ 293687 w 378483"/>
                  <a:gd name="connsiteY170" fmla="*/ 85944 h 384474"/>
                  <a:gd name="connsiteX171" fmla="*/ 288925 w 378483"/>
                  <a:gd name="connsiteY171" fmla="*/ 84356 h 384474"/>
                  <a:gd name="connsiteX172" fmla="*/ 276225 w 378483"/>
                  <a:gd name="connsiteY172" fmla="*/ 79594 h 384474"/>
                  <a:gd name="connsiteX173" fmla="*/ 254000 w 378483"/>
                  <a:gd name="connsiteY173" fmla="*/ 70069 h 384474"/>
                  <a:gd name="connsiteX174" fmla="*/ 238125 w 378483"/>
                  <a:gd name="connsiteY174" fmla="*/ 66894 h 384474"/>
                  <a:gd name="connsiteX175" fmla="*/ 233362 w 378483"/>
                  <a:gd name="connsiteY175" fmla="*/ 62131 h 384474"/>
                  <a:gd name="connsiteX176" fmla="*/ 227012 w 378483"/>
                  <a:gd name="connsiteY176" fmla="*/ 54194 h 384474"/>
                  <a:gd name="connsiteX177" fmla="*/ 222250 w 378483"/>
                  <a:gd name="connsiteY177" fmla="*/ 52606 h 384474"/>
                  <a:gd name="connsiteX178" fmla="*/ 220662 w 378483"/>
                  <a:gd name="connsiteY178" fmla="*/ 44669 h 384474"/>
                  <a:gd name="connsiteX179" fmla="*/ 222250 w 378483"/>
                  <a:gd name="connsiteY179" fmla="*/ 31968 h 384474"/>
                  <a:gd name="connsiteX180" fmla="*/ 215899 w 378483"/>
                  <a:gd name="connsiteY180"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89131 h 384474"/>
                  <a:gd name="connsiteX135" fmla="*/ 188912 w 378483"/>
                  <a:gd name="connsiteY135" fmla="*/ 184369 h 384474"/>
                  <a:gd name="connsiteX136" fmla="*/ 200025 w 378483"/>
                  <a:gd name="connsiteY136" fmla="*/ 182781 h 384474"/>
                  <a:gd name="connsiteX137" fmla="*/ 222250 w 378483"/>
                  <a:gd name="connsiteY137" fmla="*/ 187544 h 384474"/>
                  <a:gd name="connsiteX138" fmla="*/ 238125 w 378483"/>
                  <a:gd name="connsiteY138" fmla="*/ 179606 h 384474"/>
                  <a:gd name="connsiteX139" fmla="*/ 242887 w 378483"/>
                  <a:gd name="connsiteY139" fmla="*/ 173256 h 384474"/>
                  <a:gd name="connsiteX140" fmla="*/ 244475 w 378483"/>
                  <a:gd name="connsiteY140" fmla="*/ 166906 h 384474"/>
                  <a:gd name="connsiteX141" fmla="*/ 260350 w 378483"/>
                  <a:gd name="connsiteY141" fmla="*/ 152619 h 384474"/>
                  <a:gd name="connsiteX142" fmla="*/ 266700 w 378483"/>
                  <a:gd name="connsiteY142" fmla="*/ 151031 h 384474"/>
                  <a:gd name="connsiteX143" fmla="*/ 288925 w 378483"/>
                  <a:gd name="connsiteY143" fmla="*/ 147856 h 384474"/>
                  <a:gd name="connsiteX144" fmla="*/ 285750 w 378483"/>
                  <a:gd name="connsiteY144" fmla="*/ 152619 h 384474"/>
                  <a:gd name="connsiteX145" fmla="*/ 304800 w 378483"/>
                  <a:gd name="connsiteY145" fmla="*/ 157381 h 384474"/>
                  <a:gd name="connsiteX146" fmla="*/ 309562 w 378483"/>
                  <a:gd name="connsiteY146" fmla="*/ 160556 h 384474"/>
                  <a:gd name="connsiteX147" fmla="*/ 311150 w 378483"/>
                  <a:gd name="connsiteY147" fmla="*/ 155794 h 384474"/>
                  <a:gd name="connsiteX148" fmla="*/ 309562 w 378483"/>
                  <a:gd name="connsiteY148" fmla="*/ 144681 h 384474"/>
                  <a:gd name="connsiteX149" fmla="*/ 314325 w 378483"/>
                  <a:gd name="connsiteY149" fmla="*/ 149444 h 384474"/>
                  <a:gd name="connsiteX150" fmla="*/ 317500 w 378483"/>
                  <a:gd name="connsiteY150" fmla="*/ 155794 h 384474"/>
                  <a:gd name="connsiteX151" fmla="*/ 349250 w 378483"/>
                  <a:gd name="connsiteY151" fmla="*/ 160556 h 384474"/>
                  <a:gd name="connsiteX152" fmla="*/ 350837 w 378483"/>
                  <a:gd name="connsiteY152" fmla="*/ 155794 h 384474"/>
                  <a:gd name="connsiteX153" fmla="*/ 363538 w 378483"/>
                  <a:gd name="connsiteY153" fmla="*/ 154207 h 384474"/>
                  <a:gd name="connsiteX154" fmla="*/ 371474 w 378483"/>
                  <a:gd name="connsiteY154" fmla="*/ 151031 h 384474"/>
                  <a:gd name="connsiteX155" fmla="*/ 373062 w 378483"/>
                  <a:gd name="connsiteY155" fmla="*/ 141506 h 384474"/>
                  <a:gd name="connsiteX156" fmla="*/ 371475 w 378483"/>
                  <a:gd name="connsiteY156" fmla="*/ 138331 h 384474"/>
                  <a:gd name="connsiteX157" fmla="*/ 373062 w 378483"/>
                  <a:gd name="connsiteY157" fmla="*/ 133569 h 384474"/>
                  <a:gd name="connsiteX158" fmla="*/ 369887 w 378483"/>
                  <a:gd name="connsiteY158" fmla="*/ 119281 h 384474"/>
                  <a:gd name="connsiteX159" fmla="*/ 371475 w 378483"/>
                  <a:gd name="connsiteY159" fmla="*/ 114519 h 384474"/>
                  <a:gd name="connsiteX160" fmla="*/ 377825 w 378483"/>
                  <a:gd name="connsiteY160" fmla="*/ 112931 h 384474"/>
                  <a:gd name="connsiteX161" fmla="*/ 371475 w 378483"/>
                  <a:gd name="connsiteY161" fmla="*/ 100231 h 384474"/>
                  <a:gd name="connsiteX162" fmla="*/ 360362 w 378483"/>
                  <a:gd name="connsiteY162" fmla="*/ 92294 h 384474"/>
                  <a:gd name="connsiteX163" fmla="*/ 327025 w 378483"/>
                  <a:gd name="connsiteY163" fmla="*/ 92294 h 384474"/>
                  <a:gd name="connsiteX164" fmla="*/ 328612 w 378483"/>
                  <a:gd name="connsiteY164" fmla="*/ 100231 h 384474"/>
                  <a:gd name="connsiteX165" fmla="*/ 333375 w 378483"/>
                  <a:gd name="connsiteY165" fmla="*/ 101819 h 384474"/>
                  <a:gd name="connsiteX166" fmla="*/ 312738 w 378483"/>
                  <a:gd name="connsiteY166" fmla="*/ 106582 h 384474"/>
                  <a:gd name="connsiteX167" fmla="*/ 317500 w 378483"/>
                  <a:gd name="connsiteY167" fmla="*/ 93881 h 384474"/>
                  <a:gd name="connsiteX168" fmla="*/ 301625 w 378483"/>
                  <a:gd name="connsiteY168" fmla="*/ 92294 h 384474"/>
                  <a:gd name="connsiteX169" fmla="*/ 296862 w 378483"/>
                  <a:gd name="connsiteY169" fmla="*/ 90706 h 384474"/>
                  <a:gd name="connsiteX170" fmla="*/ 293687 w 378483"/>
                  <a:gd name="connsiteY170" fmla="*/ 85944 h 384474"/>
                  <a:gd name="connsiteX171" fmla="*/ 288925 w 378483"/>
                  <a:gd name="connsiteY171" fmla="*/ 84356 h 384474"/>
                  <a:gd name="connsiteX172" fmla="*/ 276225 w 378483"/>
                  <a:gd name="connsiteY172" fmla="*/ 79594 h 384474"/>
                  <a:gd name="connsiteX173" fmla="*/ 254000 w 378483"/>
                  <a:gd name="connsiteY173" fmla="*/ 70069 h 384474"/>
                  <a:gd name="connsiteX174" fmla="*/ 238125 w 378483"/>
                  <a:gd name="connsiteY174" fmla="*/ 66894 h 384474"/>
                  <a:gd name="connsiteX175" fmla="*/ 233362 w 378483"/>
                  <a:gd name="connsiteY175" fmla="*/ 62131 h 384474"/>
                  <a:gd name="connsiteX176" fmla="*/ 227012 w 378483"/>
                  <a:gd name="connsiteY176" fmla="*/ 54194 h 384474"/>
                  <a:gd name="connsiteX177" fmla="*/ 222250 w 378483"/>
                  <a:gd name="connsiteY177" fmla="*/ 52606 h 384474"/>
                  <a:gd name="connsiteX178" fmla="*/ 220662 w 378483"/>
                  <a:gd name="connsiteY178" fmla="*/ 44669 h 384474"/>
                  <a:gd name="connsiteX179" fmla="*/ 222250 w 378483"/>
                  <a:gd name="connsiteY179" fmla="*/ 31968 h 384474"/>
                  <a:gd name="connsiteX180" fmla="*/ 215899 w 378483"/>
                  <a:gd name="connsiteY180"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89131 h 384474"/>
                  <a:gd name="connsiteX135" fmla="*/ 196850 w 378483"/>
                  <a:gd name="connsiteY135" fmla="*/ 189131 h 384474"/>
                  <a:gd name="connsiteX136" fmla="*/ 200025 w 378483"/>
                  <a:gd name="connsiteY136" fmla="*/ 182781 h 384474"/>
                  <a:gd name="connsiteX137" fmla="*/ 222250 w 378483"/>
                  <a:gd name="connsiteY137" fmla="*/ 187544 h 384474"/>
                  <a:gd name="connsiteX138" fmla="*/ 238125 w 378483"/>
                  <a:gd name="connsiteY138" fmla="*/ 179606 h 384474"/>
                  <a:gd name="connsiteX139" fmla="*/ 242887 w 378483"/>
                  <a:gd name="connsiteY139" fmla="*/ 173256 h 384474"/>
                  <a:gd name="connsiteX140" fmla="*/ 244475 w 378483"/>
                  <a:gd name="connsiteY140" fmla="*/ 166906 h 384474"/>
                  <a:gd name="connsiteX141" fmla="*/ 260350 w 378483"/>
                  <a:gd name="connsiteY141" fmla="*/ 152619 h 384474"/>
                  <a:gd name="connsiteX142" fmla="*/ 266700 w 378483"/>
                  <a:gd name="connsiteY142" fmla="*/ 151031 h 384474"/>
                  <a:gd name="connsiteX143" fmla="*/ 288925 w 378483"/>
                  <a:gd name="connsiteY143" fmla="*/ 147856 h 384474"/>
                  <a:gd name="connsiteX144" fmla="*/ 285750 w 378483"/>
                  <a:gd name="connsiteY144" fmla="*/ 152619 h 384474"/>
                  <a:gd name="connsiteX145" fmla="*/ 304800 w 378483"/>
                  <a:gd name="connsiteY145" fmla="*/ 157381 h 384474"/>
                  <a:gd name="connsiteX146" fmla="*/ 309562 w 378483"/>
                  <a:gd name="connsiteY146" fmla="*/ 160556 h 384474"/>
                  <a:gd name="connsiteX147" fmla="*/ 311150 w 378483"/>
                  <a:gd name="connsiteY147" fmla="*/ 155794 h 384474"/>
                  <a:gd name="connsiteX148" fmla="*/ 309562 w 378483"/>
                  <a:gd name="connsiteY148" fmla="*/ 144681 h 384474"/>
                  <a:gd name="connsiteX149" fmla="*/ 314325 w 378483"/>
                  <a:gd name="connsiteY149" fmla="*/ 149444 h 384474"/>
                  <a:gd name="connsiteX150" fmla="*/ 317500 w 378483"/>
                  <a:gd name="connsiteY150" fmla="*/ 155794 h 384474"/>
                  <a:gd name="connsiteX151" fmla="*/ 349250 w 378483"/>
                  <a:gd name="connsiteY151" fmla="*/ 160556 h 384474"/>
                  <a:gd name="connsiteX152" fmla="*/ 350837 w 378483"/>
                  <a:gd name="connsiteY152" fmla="*/ 155794 h 384474"/>
                  <a:gd name="connsiteX153" fmla="*/ 363538 w 378483"/>
                  <a:gd name="connsiteY153" fmla="*/ 154207 h 384474"/>
                  <a:gd name="connsiteX154" fmla="*/ 371474 w 378483"/>
                  <a:gd name="connsiteY154" fmla="*/ 151031 h 384474"/>
                  <a:gd name="connsiteX155" fmla="*/ 373062 w 378483"/>
                  <a:gd name="connsiteY155" fmla="*/ 141506 h 384474"/>
                  <a:gd name="connsiteX156" fmla="*/ 371475 w 378483"/>
                  <a:gd name="connsiteY156" fmla="*/ 138331 h 384474"/>
                  <a:gd name="connsiteX157" fmla="*/ 373062 w 378483"/>
                  <a:gd name="connsiteY157" fmla="*/ 133569 h 384474"/>
                  <a:gd name="connsiteX158" fmla="*/ 369887 w 378483"/>
                  <a:gd name="connsiteY158" fmla="*/ 119281 h 384474"/>
                  <a:gd name="connsiteX159" fmla="*/ 371475 w 378483"/>
                  <a:gd name="connsiteY159" fmla="*/ 114519 h 384474"/>
                  <a:gd name="connsiteX160" fmla="*/ 377825 w 378483"/>
                  <a:gd name="connsiteY160" fmla="*/ 112931 h 384474"/>
                  <a:gd name="connsiteX161" fmla="*/ 371475 w 378483"/>
                  <a:gd name="connsiteY161" fmla="*/ 100231 h 384474"/>
                  <a:gd name="connsiteX162" fmla="*/ 360362 w 378483"/>
                  <a:gd name="connsiteY162" fmla="*/ 92294 h 384474"/>
                  <a:gd name="connsiteX163" fmla="*/ 327025 w 378483"/>
                  <a:gd name="connsiteY163" fmla="*/ 92294 h 384474"/>
                  <a:gd name="connsiteX164" fmla="*/ 328612 w 378483"/>
                  <a:gd name="connsiteY164" fmla="*/ 100231 h 384474"/>
                  <a:gd name="connsiteX165" fmla="*/ 333375 w 378483"/>
                  <a:gd name="connsiteY165" fmla="*/ 101819 h 384474"/>
                  <a:gd name="connsiteX166" fmla="*/ 312738 w 378483"/>
                  <a:gd name="connsiteY166" fmla="*/ 106582 h 384474"/>
                  <a:gd name="connsiteX167" fmla="*/ 317500 w 378483"/>
                  <a:gd name="connsiteY167" fmla="*/ 93881 h 384474"/>
                  <a:gd name="connsiteX168" fmla="*/ 301625 w 378483"/>
                  <a:gd name="connsiteY168" fmla="*/ 92294 h 384474"/>
                  <a:gd name="connsiteX169" fmla="*/ 296862 w 378483"/>
                  <a:gd name="connsiteY169" fmla="*/ 90706 h 384474"/>
                  <a:gd name="connsiteX170" fmla="*/ 293687 w 378483"/>
                  <a:gd name="connsiteY170" fmla="*/ 85944 h 384474"/>
                  <a:gd name="connsiteX171" fmla="*/ 288925 w 378483"/>
                  <a:gd name="connsiteY171" fmla="*/ 84356 h 384474"/>
                  <a:gd name="connsiteX172" fmla="*/ 276225 w 378483"/>
                  <a:gd name="connsiteY172" fmla="*/ 79594 h 384474"/>
                  <a:gd name="connsiteX173" fmla="*/ 254000 w 378483"/>
                  <a:gd name="connsiteY173" fmla="*/ 70069 h 384474"/>
                  <a:gd name="connsiteX174" fmla="*/ 238125 w 378483"/>
                  <a:gd name="connsiteY174" fmla="*/ 66894 h 384474"/>
                  <a:gd name="connsiteX175" fmla="*/ 233362 w 378483"/>
                  <a:gd name="connsiteY175" fmla="*/ 62131 h 384474"/>
                  <a:gd name="connsiteX176" fmla="*/ 227012 w 378483"/>
                  <a:gd name="connsiteY176" fmla="*/ 54194 h 384474"/>
                  <a:gd name="connsiteX177" fmla="*/ 222250 w 378483"/>
                  <a:gd name="connsiteY177" fmla="*/ 52606 h 384474"/>
                  <a:gd name="connsiteX178" fmla="*/ 220662 w 378483"/>
                  <a:gd name="connsiteY178" fmla="*/ 44669 h 384474"/>
                  <a:gd name="connsiteX179" fmla="*/ 222250 w 378483"/>
                  <a:gd name="connsiteY179" fmla="*/ 31968 h 384474"/>
                  <a:gd name="connsiteX180" fmla="*/ 215899 w 378483"/>
                  <a:gd name="connsiteY180"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95481 h 384474"/>
                  <a:gd name="connsiteX135" fmla="*/ 196850 w 378483"/>
                  <a:gd name="connsiteY135" fmla="*/ 189131 h 384474"/>
                  <a:gd name="connsiteX136" fmla="*/ 200025 w 378483"/>
                  <a:gd name="connsiteY136" fmla="*/ 182781 h 384474"/>
                  <a:gd name="connsiteX137" fmla="*/ 222250 w 378483"/>
                  <a:gd name="connsiteY137" fmla="*/ 187544 h 384474"/>
                  <a:gd name="connsiteX138" fmla="*/ 238125 w 378483"/>
                  <a:gd name="connsiteY138" fmla="*/ 179606 h 384474"/>
                  <a:gd name="connsiteX139" fmla="*/ 242887 w 378483"/>
                  <a:gd name="connsiteY139" fmla="*/ 173256 h 384474"/>
                  <a:gd name="connsiteX140" fmla="*/ 244475 w 378483"/>
                  <a:gd name="connsiteY140" fmla="*/ 166906 h 384474"/>
                  <a:gd name="connsiteX141" fmla="*/ 260350 w 378483"/>
                  <a:gd name="connsiteY141" fmla="*/ 152619 h 384474"/>
                  <a:gd name="connsiteX142" fmla="*/ 266700 w 378483"/>
                  <a:gd name="connsiteY142" fmla="*/ 151031 h 384474"/>
                  <a:gd name="connsiteX143" fmla="*/ 288925 w 378483"/>
                  <a:gd name="connsiteY143" fmla="*/ 147856 h 384474"/>
                  <a:gd name="connsiteX144" fmla="*/ 285750 w 378483"/>
                  <a:gd name="connsiteY144" fmla="*/ 152619 h 384474"/>
                  <a:gd name="connsiteX145" fmla="*/ 304800 w 378483"/>
                  <a:gd name="connsiteY145" fmla="*/ 157381 h 384474"/>
                  <a:gd name="connsiteX146" fmla="*/ 309562 w 378483"/>
                  <a:gd name="connsiteY146" fmla="*/ 160556 h 384474"/>
                  <a:gd name="connsiteX147" fmla="*/ 311150 w 378483"/>
                  <a:gd name="connsiteY147" fmla="*/ 155794 h 384474"/>
                  <a:gd name="connsiteX148" fmla="*/ 309562 w 378483"/>
                  <a:gd name="connsiteY148" fmla="*/ 144681 h 384474"/>
                  <a:gd name="connsiteX149" fmla="*/ 314325 w 378483"/>
                  <a:gd name="connsiteY149" fmla="*/ 149444 h 384474"/>
                  <a:gd name="connsiteX150" fmla="*/ 317500 w 378483"/>
                  <a:gd name="connsiteY150" fmla="*/ 155794 h 384474"/>
                  <a:gd name="connsiteX151" fmla="*/ 349250 w 378483"/>
                  <a:gd name="connsiteY151" fmla="*/ 160556 h 384474"/>
                  <a:gd name="connsiteX152" fmla="*/ 350837 w 378483"/>
                  <a:gd name="connsiteY152" fmla="*/ 155794 h 384474"/>
                  <a:gd name="connsiteX153" fmla="*/ 363538 w 378483"/>
                  <a:gd name="connsiteY153" fmla="*/ 154207 h 384474"/>
                  <a:gd name="connsiteX154" fmla="*/ 371474 w 378483"/>
                  <a:gd name="connsiteY154" fmla="*/ 151031 h 384474"/>
                  <a:gd name="connsiteX155" fmla="*/ 373062 w 378483"/>
                  <a:gd name="connsiteY155" fmla="*/ 141506 h 384474"/>
                  <a:gd name="connsiteX156" fmla="*/ 371475 w 378483"/>
                  <a:gd name="connsiteY156" fmla="*/ 138331 h 384474"/>
                  <a:gd name="connsiteX157" fmla="*/ 373062 w 378483"/>
                  <a:gd name="connsiteY157" fmla="*/ 133569 h 384474"/>
                  <a:gd name="connsiteX158" fmla="*/ 369887 w 378483"/>
                  <a:gd name="connsiteY158" fmla="*/ 119281 h 384474"/>
                  <a:gd name="connsiteX159" fmla="*/ 371475 w 378483"/>
                  <a:gd name="connsiteY159" fmla="*/ 114519 h 384474"/>
                  <a:gd name="connsiteX160" fmla="*/ 377825 w 378483"/>
                  <a:gd name="connsiteY160" fmla="*/ 112931 h 384474"/>
                  <a:gd name="connsiteX161" fmla="*/ 371475 w 378483"/>
                  <a:gd name="connsiteY161" fmla="*/ 100231 h 384474"/>
                  <a:gd name="connsiteX162" fmla="*/ 360362 w 378483"/>
                  <a:gd name="connsiteY162" fmla="*/ 92294 h 384474"/>
                  <a:gd name="connsiteX163" fmla="*/ 327025 w 378483"/>
                  <a:gd name="connsiteY163" fmla="*/ 92294 h 384474"/>
                  <a:gd name="connsiteX164" fmla="*/ 328612 w 378483"/>
                  <a:gd name="connsiteY164" fmla="*/ 100231 h 384474"/>
                  <a:gd name="connsiteX165" fmla="*/ 333375 w 378483"/>
                  <a:gd name="connsiteY165" fmla="*/ 101819 h 384474"/>
                  <a:gd name="connsiteX166" fmla="*/ 312738 w 378483"/>
                  <a:gd name="connsiteY166" fmla="*/ 106582 h 384474"/>
                  <a:gd name="connsiteX167" fmla="*/ 317500 w 378483"/>
                  <a:gd name="connsiteY167" fmla="*/ 93881 h 384474"/>
                  <a:gd name="connsiteX168" fmla="*/ 301625 w 378483"/>
                  <a:gd name="connsiteY168" fmla="*/ 92294 h 384474"/>
                  <a:gd name="connsiteX169" fmla="*/ 296862 w 378483"/>
                  <a:gd name="connsiteY169" fmla="*/ 90706 h 384474"/>
                  <a:gd name="connsiteX170" fmla="*/ 293687 w 378483"/>
                  <a:gd name="connsiteY170" fmla="*/ 85944 h 384474"/>
                  <a:gd name="connsiteX171" fmla="*/ 288925 w 378483"/>
                  <a:gd name="connsiteY171" fmla="*/ 84356 h 384474"/>
                  <a:gd name="connsiteX172" fmla="*/ 276225 w 378483"/>
                  <a:gd name="connsiteY172" fmla="*/ 79594 h 384474"/>
                  <a:gd name="connsiteX173" fmla="*/ 254000 w 378483"/>
                  <a:gd name="connsiteY173" fmla="*/ 70069 h 384474"/>
                  <a:gd name="connsiteX174" fmla="*/ 238125 w 378483"/>
                  <a:gd name="connsiteY174" fmla="*/ 66894 h 384474"/>
                  <a:gd name="connsiteX175" fmla="*/ 233362 w 378483"/>
                  <a:gd name="connsiteY175" fmla="*/ 62131 h 384474"/>
                  <a:gd name="connsiteX176" fmla="*/ 227012 w 378483"/>
                  <a:gd name="connsiteY176" fmla="*/ 54194 h 384474"/>
                  <a:gd name="connsiteX177" fmla="*/ 222250 w 378483"/>
                  <a:gd name="connsiteY177" fmla="*/ 52606 h 384474"/>
                  <a:gd name="connsiteX178" fmla="*/ 220662 w 378483"/>
                  <a:gd name="connsiteY178" fmla="*/ 44669 h 384474"/>
                  <a:gd name="connsiteX179" fmla="*/ 222250 w 378483"/>
                  <a:gd name="connsiteY179" fmla="*/ 31968 h 384474"/>
                  <a:gd name="connsiteX180" fmla="*/ 215899 w 378483"/>
                  <a:gd name="connsiteY180"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95481 h 384474"/>
                  <a:gd name="connsiteX135" fmla="*/ 196850 w 378483"/>
                  <a:gd name="connsiteY135" fmla="*/ 189131 h 384474"/>
                  <a:gd name="connsiteX136" fmla="*/ 200025 w 378483"/>
                  <a:gd name="connsiteY136" fmla="*/ 182781 h 384474"/>
                  <a:gd name="connsiteX137" fmla="*/ 222250 w 378483"/>
                  <a:gd name="connsiteY137" fmla="*/ 187544 h 384474"/>
                  <a:gd name="connsiteX138" fmla="*/ 238125 w 378483"/>
                  <a:gd name="connsiteY138" fmla="*/ 179606 h 384474"/>
                  <a:gd name="connsiteX139" fmla="*/ 242887 w 378483"/>
                  <a:gd name="connsiteY139" fmla="*/ 173256 h 384474"/>
                  <a:gd name="connsiteX140" fmla="*/ 244475 w 378483"/>
                  <a:gd name="connsiteY140" fmla="*/ 166906 h 384474"/>
                  <a:gd name="connsiteX141" fmla="*/ 260350 w 378483"/>
                  <a:gd name="connsiteY141" fmla="*/ 152619 h 384474"/>
                  <a:gd name="connsiteX142" fmla="*/ 266700 w 378483"/>
                  <a:gd name="connsiteY142" fmla="*/ 151031 h 384474"/>
                  <a:gd name="connsiteX143" fmla="*/ 288925 w 378483"/>
                  <a:gd name="connsiteY143" fmla="*/ 147856 h 384474"/>
                  <a:gd name="connsiteX144" fmla="*/ 285750 w 378483"/>
                  <a:gd name="connsiteY144" fmla="*/ 152619 h 384474"/>
                  <a:gd name="connsiteX145" fmla="*/ 304800 w 378483"/>
                  <a:gd name="connsiteY145" fmla="*/ 157381 h 384474"/>
                  <a:gd name="connsiteX146" fmla="*/ 309562 w 378483"/>
                  <a:gd name="connsiteY146" fmla="*/ 160556 h 384474"/>
                  <a:gd name="connsiteX147" fmla="*/ 311150 w 378483"/>
                  <a:gd name="connsiteY147" fmla="*/ 155794 h 384474"/>
                  <a:gd name="connsiteX148" fmla="*/ 309562 w 378483"/>
                  <a:gd name="connsiteY148" fmla="*/ 144681 h 384474"/>
                  <a:gd name="connsiteX149" fmla="*/ 314325 w 378483"/>
                  <a:gd name="connsiteY149" fmla="*/ 149444 h 384474"/>
                  <a:gd name="connsiteX150" fmla="*/ 317500 w 378483"/>
                  <a:gd name="connsiteY150" fmla="*/ 155794 h 384474"/>
                  <a:gd name="connsiteX151" fmla="*/ 349250 w 378483"/>
                  <a:gd name="connsiteY151" fmla="*/ 160556 h 384474"/>
                  <a:gd name="connsiteX152" fmla="*/ 350837 w 378483"/>
                  <a:gd name="connsiteY152" fmla="*/ 155794 h 384474"/>
                  <a:gd name="connsiteX153" fmla="*/ 363538 w 378483"/>
                  <a:gd name="connsiteY153" fmla="*/ 154207 h 384474"/>
                  <a:gd name="connsiteX154" fmla="*/ 371474 w 378483"/>
                  <a:gd name="connsiteY154" fmla="*/ 151031 h 384474"/>
                  <a:gd name="connsiteX155" fmla="*/ 373062 w 378483"/>
                  <a:gd name="connsiteY155" fmla="*/ 141506 h 384474"/>
                  <a:gd name="connsiteX156" fmla="*/ 371475 w 378483"/>
                  <a:gd name="connsiteY156" fmla="*/ 138331 h 384474"/>
                  <a:gd name="connsiteX157" fmla="*/ 373062 w 378483"/>
                  <a:gd name="connsiteY157" fmla="*/ 133569 h 384474"/>
                  <a:gd name="connsiteX158" fmla="*/ 369887 w 378483"/>
                  <a:gd name="connsiteY158" fmla="*/ 119281 h 384474"/>
                  <a:gd name="connsiteX159" fmla="*/ 371475 w 378483"/>
                  <a:gd name="connsiteY159" fmla="*/ 114519 h 384474"/>
                  <a:gd name="connsiteX160" fmla="*/ 377825 w 378483"/>
                  <a:gd name="connsiteY160" fmla="*/ 112931 h 384474"/>
                  <a:gd name="connsiteX161" fmla="*/ 371475 w 378483"/>
                  <a:gd name="connsiteY161" fmla="*/ 100231 h 384474"/>
                  <a:gd name="connsiteX162" fmla="*/ 360362 w 378483"/>
                  <a:gd name="connsiteY162" fmla="*/ 92294 h 384474"/>
                  <a:gd name="connsiteX163" fmla="*/ 327025 w 378483"/>
                  <a:gd name="connsiteY163" fmla="*/ 92294 h 384474"/>
                  <a:gd name="connsiteX164" fmla="*/ 328612 w 378483"/>
                  <a:gd name="connsiteY164" fmla="*/ 100231 h 384474"/>
                  <a:gd name="connsiteX165" fmla="*/ 333375 w 378483"/>
                  <a:gd name="connsiteY165" fmla="*/ 101819 h 384474"/>
                  <a:gd name="connsiteX166" fmla="*/ 312738 w 378483"/>
                  <a:gd name="connsiteY166" fmla="*/ 106582 h 384474"/>
                  <a:gd name="connsiteX167" fmla="*/ 317500 w 378483"/>
                  <a:gd name="connsiteY167" fmla="*/ 93881 h 384474"/>
                  <a:gd name="connsiteX168" fmla="*/ 301625 w 378483"/>
                  <a:gd name="connsiteY168" fmla="*/ 92294 h 384474"/>
                  <a:gd name="connsiteX169" fmla="*/ 296862 w 378483"/>
                  <a:gd name="connsiteY169" fmla="*/ 90706 h 384474"/>
                  <a:gd name="connsiteX170" fmla="*/ 293687 w 378483"/>
                  <a:gd name="connsiteY170" fmla="*/ 85944 h 384474"/>
                  <a:gd name="connsiteX171" fmla="*/ 288925 w 378483"/>
                  <a:gd name="connsiteY171" fmla="*/ 84356 h 384474"/>
                  <a:gd name="connsiteX172" fmla="*/ 276225 w 378483"/>
                  <a:gd name="connsiteY172" fmla="*/ 79594 h 384474"/>
                  <a:gd name="connsiteX173" fmla="*/ 254000 w 378483"/>
                  <a:gd name="connsiteY173" fmla="*/ 70069 h 384474"/>
                  <a:gd name="connsiteX174" fmla="*/ 238125 w 378483"/>
                  <a:gd name="connsiteY174" fmla="*/ 66894 h 384474"/>
                  <a:gd name="connsiteX175" fmla="*/ 233362 w 378483"/>
                  <a:gd name="connsiteY175" fmla="*/ 62131 h 384474"/>
                  <a:gd name="connsiteX176" fmla="*/ 227012 w 378483"/>
                  <a:gd name="connsiteY176" fmla="*/ 54194 h 384474"/>
                  <a:gd name="connsiteX177" fmla="*/ 222250 w 378483"/>
                  <a:gd name="connsiteY177" fmla="*/ 52606 h 384474"/>
                  <a:gd name="connsiteX178" fmla="*/ 220662 w 378483"/>
                  <a:gd name="connsiteY178" fmla="*/ 44669 h 384474"/>
                  <a:gd name="connsiteX179" fmla="*/ 222250 w 378483"/>
                  <a:gd name="connsiteY179" fmla="*/ 31968 h 384474"/>
                  <a:gd name="connsiteX180" fmla="*/ 215899 w 378483"/>
                  <a:gd name="connsiteY180"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95481 h 384474"/>
                  <a:gd name="connsiteX135" fmla="*/ 196850 w 378483"/>
                  <a:gd name="connsiteY135" fmla="*/ 189131 h 384474"/>
                  <a:gd name="connsiteX136" fmla="*/ 209550 w 378483"/>
                  <a:gd name="connsiteY136" fmla="*/ 178018 h 384474"/>
                  <a:gd name="connsiteX137" fmla="*/ 222250 w 378483"/>
                  <a:gd name="connsiteY137" fmla="*/ 187544 h 384474"/>
                  <a:gd name="connsiteX138" fmla="*/ 238125 w 378483"/>
                  <a:gd name="connsiteY138" fmla="*/ 179606 h 384474"/>
                  <a:gd name="connsiteX139" fmla="*/ 242887 w 378483"/>
                  <a:gd name="connsiteY139" fmla="*/ 173256 h 384474"/>
                  <a:gd name="connsiteX140" fmla="*/ 244475 w 378483"/>
                  <a:gd name="connsiteY140" fmla="*/ 166906 h 384474"/>
                  <a:gd name="connsiteX141" fmla="*/ 260350 w 378483"/>
                  <a:gd name="connsiteY141" fmla="*/ 152619 h 384474"/>
                  <a:gd name="connsiteX142" fmla="*/ 266700 w 378483"/>
                  <a:gd name="connsiteY142" fmla="*/ 151031 h 384474"/>
                  <a:gd name="connsiteX143" fmla="*/ 288925 w 378483"/>
                  <a:gd name="connsiteY143" fmla="*/ 147856 h 384474"/>
                  <a:gd name="connsiteX144" fmla="*/ 285750 w 378483"/>
                  <a:gd name="connsiteY144" fmla="*/ 152619 h 384474"/>
                  <a:gd name="connsiteX145" fmla="*/ 304800 w 378483"/>
                  <a:gd name="connsiteY145" fmla="*/ 157381 h 384474"/>
                  <a:gd name="connsiteX146" fmla="*/ 309562 w 378483"/>
                  <a:gd name="connsiteY146" fmla="*/ 160556 h 384474"/>
                  <a:gd name="connsiteX147" fmla="*/ 311150 w 378483"/>
                  <a:gd name="connsiteY147" fmla="*/ 155794 h 384474"/>
                  <a:gd name="connsiteX148" fmla="*/ 309562 w 378483"/>
                  <a:gd name="connsiteY148" fmla="*/ 144681 h 384474"/>
                  <a:gd name="connsiteX149" fmla="*/ 314325 w 378483"/>
                  <a:gd name="connsiteY149" fmla="*/ 149444 h 384474"/>
                  <a:gd name="connsiteX150" fmla="*/ 317500 w 378483"/>
                  <a:gd name="connsiteY150" fmla="*/ 155794 h 384474"/>
                  <a:gd name="connsiteX151" fmla="*/ 349250 w 378483"/>
                  <a:gd name="connsiteY151" fmla="*/ 160556 h 384474"/>
                  <a:gd name="connsiteX152" fmla="*/ 350837 w 378483"/>
                  <a:gd name="connsiteY152" fmla="*/ 155794 h 384474"/>
                  <a:gd name="connsiteX153" fmla="*/ 363538 w 378483"/>
                  <a:gd name="connsiteY153" fmla="*/ 154207 h 384474"/>
                  <a:gd name="connsiteX154" fmla="*/ 371474 w 378483"/>
                  <a:gd name="connsiteY154" fmla="*/ 151031 h 384474"/>
                  <a:gd name="connsiteX155" fmla="*/ 373062 w 378483"/>
                  <a:gd name="connsiteY155" fmla="*/ 141506 h 384474"/>
                  <a:gd name="connsiteX156" fmla="*/ 371475 w 378483"/>
                  <a:gd name="connsiteY156" fmla="*/ 138331 h 384474"/>
                  <a:gd name="connsiteX157" fmla="*/ 373062 w 378483"/>
                  <a:gd name="connsiteY157" fmla="*/ 133569 h 384474"/>
                  <a:gd name="connsiteX158" fmla="*/ 369887 w 378483"/>
                  <a:gd name="connsiteY158" fmla="*/ 119281 h 384474"/>
                  <a:gd name="connsiteX159" fmla="*/ 371475 w 378483"/>
                  <a:gd name="connsiteY159" fmla="*/ 114519 h 384474"/>
                  <a:gd name="connsiteX160" fmla="*/ 377825 w 378483"/>
                  <a:gd name="connsiteY160" fmla="*/ 112931 h 384474"/>
                  <a:gd name="connsiteX161" fmla="*/ 371475 w 378483"/>
                  <a:gd name="connsiteY161" fmla="*/ 100231 h 384474"/>
                  <a:gd name="connsiteX162" fmla="*/ 360362 w 378483"/>
                  <a:gd name="connsiteY162" fmla="*/ 92294 h 384474"/>
                  <a:gd name="connsiteX163" fmla="*/ 327025 w 378483"/>
                  <a:gd name="connsiteY163" fmla="*/ 92294 h 384474"/>
                  <a:gd name="connsiteX164" fmla="*/ 328612 w 378483"/>
                  <a:gd name="connsiteY164" fmla="*/ 100231 h 384474"/>
                  <a:gd name="connsiteX165" fmla="*/ 333375 w 378483"/>
                  <a:gd name="connsiteY165" fmla="*/ 101819 h 384474"/>
                  <a:gd name="connsiteX166" fmla="*/ 312738 w 378483"/>
                  <a:gd name="connsiteY166" fmla="*/ 106582 h 384474"/>
                  <a:gd name="connsiteX167" fmla="*/ 317500 w 378483"/>
                  <a:gd name="connsiteY167" fmla="*/ 93881 h 384474"/>
                  <a:gd name="connsiteX168" fmla="*/ 301625 w 378483"/>
                  <a:gd name="connsiteY168" fmla="*/ 92294 h 384474"/>
                  <a:gd name="connsiteX169" fmla="*/ 296862 w 378483"/>
                  <a:gd name="connsiteY169" fmla="*/ 90706 h 384474"/>
                  <a:gd name="connsiteX170" fmla="*/ 293687 w 378483"/>
                  <a:gd name="connsiteY170" fmla="*/ 85944 h 384474"/>
                  <a:gd name="connsiteX171" fmla="*/ 288925 w 378483"/>
                  <a:gd name="connsiteY171" fmla="*/ 84356 h 384474"/>
                  <a:gd name="connsiteX172" fmla="*/ 276225 w 378483"/>
                  <a:gd name="connsiteY172" fmla="*/ 79594 h 384474"/>
                  <a:gd name="connsiteX173" fmla="*/ 254000 w 378483"/>
                  <a:gd name="connsiteY173" fmla="*/ 70069 h 384474"/>
                  <a:gd name="connsiteX174" fmla="*/ 238125 w 378483"/>
                  <a:gd name="connsiteY174" fmla="*/ 66894 h 384474"/>
                  <a:gd name="connsiteX175" fmla="*/ 233362 w 378483"/>
                  <a:gd name="connsiteY175" fmla="*/ 62131 h 384474"/>
                  <a:gd name="connsiteX176" fmla="*/ 227012 w 378483"/>
                  <a:gd name="connsiteY176" fmla="*/ 54194 h 384474"/>
                  <a:gd name="connsiteX177" fmla="*/ 222250 w 378483"/>
                  <a:gd name="connsiteY177" fmla="*/ 52606 h 384474"/>
                  <a:gd name="connsiteX178" fmla="*/ 220662 w 378483"/>
                  <a:gd name="connsiteY178" fmla="*/ 44669 h 384474"/>
                  <a:gd name="connsiteX179" fmla="*/ 222250 w 378483"/>
                  <a:gd name="connsiteY179" fmla="*/ 31968 h 384474"/>
                  <a:gd name="connsiteX180" fmla="*/ 215899 w 378483"/>
                  <a:gd name="connsiteY180"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95481 h 384474"/>
                  <a:gd name="connsiteX135" fmla="*/ 196850 w 378483"/>
                  <a:gd name="connsiteY135" fmla="*/ 189131 h 384474"/>
                  <a:gd name="connsiteX136" fmla="*/ 209550 w 378483"/>
                  <a:gd name="connsiteY136" fmla="*/ 178018 h 384474"/>
                  <a:gd name="connsiteX137" fmla="*/ 222250 w 378483"/>
                  <a:gd name="connsiteY137" fmla="*/ 187544 h 384474"/>
                  <a:gd name="connsiteX138" fmla="*/ 238125 w 378483"/>
                  <a:gd name="connsiteY138" fmla="*/ 179606 h 384474"/>
                  <a:gd name="connsiteX139" fmla="*/ 242887 w 378483"/>
                  <a:gd name="connsiteY139" fmla="*/ 173256 h 384474"/>
                  <a:gd name="connsiteX140" fmla="*/ 244475 w 378483"/>
                  <a:gd name="connsiteY140" fmla="*/ 166906 h 384474"/>
                  <a:gd name="connsiteX141" fmla="*/ 260350 w 378483"/>
                  <a:gd name="connsiteY141" fmla="*/ 152619 h 384474"/>
                  <a:gd name="connsiteX142" fmla="*/ 271462 w 378483"/>
                  <a:gd name="connsiteY142" fmla="*/ 154206 h 384474"/>
                  <a:gd name="connsiteX143" fmla="*/ 288925 w 378483"/>
                  <a:gd name="connsiteY143" fmla="*/ 147856 h 384474"/>
                  <a:gd name="connsiteX144" fmla="*/ 285750 w 378483"/>
                  <a:gd name="connsiteY144" fmla="*/ 152619 h 384474"/>
                  <a:gd name="connsiteX145" fmla="*/ 304800 w 378483"/>
                  <a:gd name="connsiteY145" fmla="*/ 157381 h 384474"/>
                  <a:gd name="connsiteX146" fmla="*/ 309562 w 378483"/>
                  <a:gd name="connsiteY146" fmla="*/ 160556 h 384474"/>
                  <a:gd name="connsiteX147" fmla="*/ 311150 w 378483"/>
                  <a:gd name="connsiteY147" fmla="*/ 155794 h 384474"/>
                  <a:gd name="connsiteX148" fmla="*/ 309562 w 378483"/>
                  <a:gd name="connsiteY148" fmla="*/ 144681 h 384474"/>
                  <a:gd name="connsiteX149" fmla="*/ 314325 w 378483"/>
                  <a:gd name="connsiteY149" fmla="*/ 149444 h 384474"/>
                  <a:gd name="connsiteX150" fmla="*/ 317500 w 378483"/>
                  <a:gd name="connsiteY150" fmla="*/ 155794 h 384474"/>
                  <a:gd name="connsiteX151" fmla="*/ 349250 w 378483"/>
                  <a:gd name="connsiteY151" fmla="*/ 160556 h 384474"/>
                  <a:gd name="connsiteX152" fmla="*/ 350837 w 378483"/>
                  <a:gd name="connsiteY152" fmla="*/ 155794 h 384474"/>
                  <a:gd name="connsiteX153" fmla="*/ 363538 w 378483"/>
                  <a:gd name="connsiteY153" fmla="*/ 154207 h 384474"/>
                  <a:gd name="connsiteX154" fmla="*/ 371474 w 378483"/>
                  <a:gd name="connsiteY154" fmla="*/ 151031 h 384474"/>
                  <a:gd name="connsiteX155" fmla="*/ 373062 w 378483"/>
                  <a:gd name="connsiteY155" fmla="*/ 141506 h 384474"/>
                  <a:gd name="connsiteX156" fmla="*/ 371475 w 378483"/>
                  <a:gd name="connsiteY156" fmla="*/ 138331 h 384474"/>
                  <a:gd name="connsiteX157" fmla="*/ 373062 w 378483"/>
                  <a:gd name="connsiteY157" fmla="*/ 133569 h 384474"/>
                  <a:gd name="connsiteX158" fmla="*/ 369887 w 378483"/>
                  <a:gd name="connsiteY158" fmla="*/ 119281 h 384474"/>
                  <a:gd name="connsiteX159" fmla="*/ 371475 w 378483"/>
                  <a:gd name="connsiteY159" fmla="*/ 114519 h 384474"/>
                  <a:gd name="connsiteX160" fmla="*/ 377825 w 378483"/>
                  <a:gd name="connsiteY160" fmla="*/ 112931 h 384474"/>
                  <a:gd name="connsiteX161" fmla="*/ 371475 w 378483"/>
                  <a:gd name="connsiteY161" fmla="*/ 100231 h 384474"/>
                  <a:gd name="connsiteX162" fmla="*/ 360362 w 378483"/>
                  <a:gd name="connsiteY162" fmla="*/ 92294 h 384474"/>
                  <a:gd name="connsiteX163" fmla="*/ 327025 w 378483"/>
                  <a:gd name="connsiteY163" fmla="*/ 92294 h 384474"/>
                  <a:gd name="connsiteX164" fmla="*/ 328612 w 378483"/>
                  <a:gd name="connsiteY164" fmla="*/ 100231 h 384474"/>
                  <a:gd name="connsiteX165" fmla="*/ 333375 w 378483"/>
                  <a:gd name="connsiteY165" fmla="*/ 101819 h 384474"/>
                  <a:gd name="connsiteX166" fmla="*/ 312738 w 378483"/>
                  <a:gd name="connsiteY166" fmla="*/ 106582 h 384474"/>
                  <a:gd name="connsiteX167" fmla="*/ 317500 w 378483"/>
                  <a:gd name="connsiteY167" fmla="*/ 93881 h 384474"/>
                  <a:gd name="connsiteX168" fmla="*/ 301625 w 378483"/>
                  <a:gd name="connsiteY168" fmla="*/ 92294 h 384474"/>
                  <a:gd name="connsiteX169" fmla="*/ 296862 w 378483"/>
                  <a:gd name="connsiteY169" fmla="*/ 90706 h 384474"/>
                  <a:gd name="connsiteX170" fmla="*/ 293687 w 378483"/>
                  <a:gd name="connsiteY170" fmla="*/ 85944 h 384474"/>
                  <a:gd name="connsiteX171" fmla="*/ 288925 w 378483"/>
                  <a:gd name="connsiteY171" fmla="*/ 84356 h 384474"/>
                  <a:gd name="connsiteX172" fmla="*/ 276225 w 378483"/>
                  <a:gd name="connsiteY172" fmla="*/ 79594 h 384474"/>
                  <a:gd name="connsiteX173" fmla="*/ 254000 w 378483"/>
                  <a:gd name="connsiteY173" fmla="*/ 70069 h 384474"/>
                  <a:gd name="connsiteX174" fmla="*/ 238125 w 378483"/>
                  <a:gd name="connsiteY174" fmla="*/ 66894 h 384474"/>
                  <a:gd name="connsiteX175" fmla="*/ 233362 w 378483"/>
                  <a:gd name="connsiteY175" fmla="*/ 62131 h 384474"/>
                  <a:gd name="connsiteX176" fmla="*/ 227012 w 378483"/>
                  <a:gd name="connsiteY176" fmla="*/ 54194 h 384474"/>
                  <a:gd name="connsiteX177" fmla="*/ 222250 w 378483"/>
                  <a:gd name="connsiteY177" fmla="*/ 52606 h 384474"/>
                  <a:gd name="connsiteX178" fmla="*/ 220662 w 378483"/>
                  <a:gd name="connsiteY178" fmla="*/ 44669 h 384474"/>
                  <a:gd name="connsiteX179" fmla="*/ 222250 w 378483"/>
                  <a:gd name="connsiteY179" fmla="*/ 31968 h 384474"/>
                  <a:gd name="connsiteX180" fmla="*/ 215899 w 378483"/>
                  <a:gd name="connsiteY180"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95481 h 384474"/>
                  <a:gd name="connsiteX135" fmla="*/ 196850 w 378483"/>
                  <a:gd name="connsiteY135" fmla="*/ 189131 h 384474"/>
                  <a:gd name="connsiteX136" fmla="*/ 209550 w 378483"/>
                  <a:gd name="connsiteY136" fmla="*/ 178018 h 384474"/>
                  <a:gd name="connsiteX137" fmla="*/ 222250 w 378483"/>
                  <a:gd name="connsiteY137" fmla="*/ 187544 h 384474"/>
                  <a:gd name="connsiteX138" fmla="*/ 238125 w 378483"/>
                  <a:gd name="connsiteY138" fmla="*/ 179606 h 384474"/>
                  <a:gd name="connsiteX139" fmla="*/ 242887 w 378483"/>
                  <a:gd name="connsiteY139" fmla="*/ 173256 h 384474"/>
                  <a:gd name="connsiteX140" fmla="*/ 244475 w 378483"/>
                  <a:gd name="connsiteY140" fmla="*/ 166906 h 384474"/>
                  <a:gd name="connsiteX141" fmla="*/ 258763 w 378483"/>
                  <a:gd name="connsiteY141" fmla="*/ 163732 h 384474"/>
                  <a:gd name="connsiteX142" fmla="*/ 271462 w 378483"/>
                  <a:gd name="connsiteY142" fmla="*/ 154206 h 384474"/>
                  <a:gd name="connsiteX143" fmla="*/ 288925 w 378483"/>
                  <a:gd name="connsiteY143" fmla="*/ 147856 h 384474"/>
                  <a:gd name="connsiteX144" fmla="*/ 285750 w 378483"/>
                  <a:gd name="connsiteY144" fmla="*/ 152619 h 384474"/>
                  <a:gd name="connsiteX145" fmla="*/ 304800 w 378483"/>
                  <a:gd name="connsiteY145" fmla="*/ 157381 h 384474"/>
                  <a:gd name="connsiteX146" fmla="*/ 309562 w 378483"/>
                  <a:gd name="connsiteY146" fmla="*/ 160556 h 384474"/>
                  <a:gd name="connsiteX147" fmla="*/ 311150 w 378483"/>
                  <a:gd name="connsiteY147" fmla="*/ 155794 h 384474"/>
                  <a:gd name="connsiteX148" fmla="*/ 309562 w 378483"/>
                  <a:gd name="connsiteY148" fmla="*/ 144681 h 384474"/>
                  <a:gd name="connsiteX149" fmla="*/ 314325 w 378483"/>
                  <a:gd name="connsiteY149" fmla="*/ 149444 h 384474"/>
                  <a:gd name="connsiteX150" fmla="*/ 317500 w 378483"/>
                  <a:gd name="connsiteY150" fmla="*/ 155794 h 384474"/>
                  <a:gd name="connsiteX151" fmla="*/ 349250 w 378483"/>
                  <a:gd name="connsiteY151" fmla="*/ 160556 h 384474"/>
                  <a:gd name="connsiteX152" fmla="*/ 350837 w 378483"/>
                  <a:gd name="connsiteY152" fmla="*/ 155794 h 384474"/>
                  <a:gd name="connsiteX153" fmla="*/ 363538 w 378483"/>
                  <a:gd name="connsiteY153" fmla="*/ 154207 h 384474"/>
                  <a:gd name="connsiteX154" fmla="*/ 371474 w 378483"/>
                  <a:gd name="connsiteY154" fmla="*/ 151031 h 384474"/>
                  <a:gd name="connsiteX155" fmla="*/ 373062 w 378483"/>
                  <a:gd name="connsiteY155" fmla="*/ 141506 h 384474"/>
                  <a:gd name="connsiteX156" fmla="*/ 371475 w 378483"/>
                  <a:gd name="connsiteY156" fmla="*/ 138331 h 384474"/>
                  <a:gd name="connsiteX157" fmla="*/ 373062 w 378483"/>
                  <a:gd name="connsiteY157" fmla="*/ 133569 h 384474"/>
                  <a:gd name="connsiteX158" fmla="*/ 369887 w 378483"/>
                  <a:gd name="connsiteY158" fmla="*/ 119281 h 384474"/>
                  <a:gd name="connsiteX159" fmla="*/ 371475 w 378483"/>
                  <a:gd name="connsiteY159" fmla="*/ 114519 h 384474"/>
                  <a:gd name="connsiteX160" fmla="*/ 377825 w 378483"/>
                  <a:gd name="connsiteY160" fmla="*/ 112931 h 384474"/>
                  <a:gd name="connsiteX161" fmla="*/ 371475 w 378483"/>
                  <a:gd name="connsiteY161" fmla="*/ 100231 h 384474"/>
                  <a:gd name="connsiteX162" fmla="*/ 360362 w 378483"/>
                  <a:gd name="connsiteY162" fmla="*/ 92294 h 384474"/>
                  <a:gd name="connsiteX163" fmla="*/ 327025 w 378483"/>
                  <a:gd name="connsiteY163" fmla="*/ 92294 h 384474"/>
                  <a:gd name="connsiteX164" fmla="*/ 328612 w 378483"/>
                  <a:gd name="connsiteY164" fmla="*/ 100231 h 384474"/>
                  <a:gd name="connsiteX165" fmla="*/ 333375 w 378483"/>
                  <a:gd name="connsiteY165" fmla="*/ 101819 h 384474"/>
                  <a:gd name="connsiteX166" fmla="*/ 312738 w 378483"/>
                  <a:gd name="connsiteY166" fmla="*/ 106582 h 384474"/>
                  <a:gd name="connsiteX167" fmla="*/ 317500 w 378483"/>
                  <a:gd name="connsiteY167" fmla="*/ 93881 h 384474"/>
                  <a:gd name="connsiteX168" fmla="*/ 301625 w 378483"/>
                  <a:gd name="connsiteY168" fmla="*/ 92294 h 384474"/>
                  <a:gd name="connsiteX169" fmla="*/ 296862 w 378483"/>
                  <a:gd name="connsiteY169" fmla="*/ 90706 h 384474"/>
                  <a:gd name="connsiteX170" fmla="*/ 293687 w 378483"/>
                  <a:gd name="connsiteY170" fmla="*/ 85944 h 384474"/>
                  <a:gd name="connsiteX171" fmla="*/ 288925 w 378483"/>
                  <a:gd name="connsiteY171" fmla="*/ 84356 h 384474"/>
                  <a:gd name="connsiteX172" fmla="*/ 276225 w 378483"/>
                  <a:gd name="connsiteY172" fmla="*/ 79594 h 384474"/>
                  <a:gd name="connsiteX173" fmla="*/ 254000 w 378483"/>
                  <a:gd name="connsiteY173" fmla="*/ 70069 h 384474"/>
                  <a:gd name="connsiteX174" fmla="*/ 238125 w 378483"/>
                  <a:gd name="connsiteY174" fmla="*/ 66894 h 384474"/>
                  <a:gd name="connsiteX175" fmla="*/ 233362 w 378483"/>
                  <a:gd name="connsiteY175" fmla="*/ 62131 h 384474"/>
                  <a:gd name="connsiteX176" fmla="*/ 227012 w 378483"/>
                  <a:gd name="connsiteY176" fmla="*/ 54194 h 384474"/>
                  <a:gd name="connsiteX177" fmla="*/ 222250 w 378483"/>
                  <a:gd name="connsiteY177" fmla="*/ 52606 h 384474"/>
                  <a:gd name="connsiteX178" fmla="*/ 220662 w 378483"/>
                  <a:gd name="connsiteY178" fmla="*/ 44669 h 384474"/>
                  <a:gd name="connsiteX179" fmla="*/ 222250 w 378483"/>
                  <a:gd name="connsiteY179" fmla="*/ 31968 h 384474"/>
                  <a:gd name="connsiteX180" fmla="*/ 215899 w 378483"/>
                  <a:gd name="connsiteY180"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95481 h 384474"/>
                  <a:gd name="connsiteX135" fmla="*/ 196850 w 378483"/>
                  <a:gd name="connsiteY135" fmla="*/ 189131 h 384474"/>
                  <a:gd name="connsiteX136" fmla="*/ 209550 w 378483"/>
                  <a:gd name="connsiteY136" fmla="*/ 178018 h 384474"/>
                  <a:gd name="connsiteX137" fmla="*/ 222250 w 378483"/>
                  <a:gd name="connsiteY137" fmla="*/ 187544 h 384474"/>
                  <a:gd name="connsiteX138" fmla="*/ 238125 w 378483"/>
                  <a:gd name="connsiteY138" fmla="*/ 179606 h 384474"/>
                  <a:gd name="connsiteX139" fmla="*/ 242887 w 378483"/>
                  <a:gd name="connsiteY139" fmla="*/ 173256 h 384474"/>
                  <a:gd name="connsiteX140" fmla="*/ 244475 w 378483"/>
                  <a:gd name="connsiteY140" fmla="*/ 166906 h 384474"/>
                  <a:gd name="connsiteX141" fmla="*/ 258763 w 378483"/>
                  <a:gd name="connsiteY141" fmla="*/ 163732 h 384474"/>
                  <a:gd name="connsiteX142" fmla="*/ 271462 w 378483"/>
                  <a:gd name="connsiteY142" fmla="*/ 162143 h 384474"/>
                  <a:gd name="connsiteX143" fmla="*/ 288925 w 378483"/>
                  <a:gd name="connsiteY143" fmla="*/ 147856 h 384474"/>
                  <a:gd name="connsiteX144" fmla="*/ 285750 w 378483"/>
                  <a:gd name="connsiteY144" fmla="*/ 152619 h 384474"/>
                  <a:gd name="connsiteX145" fmla="*/ 304800 w 378483"/>
                  <a:gd name="connsiteY145" fmla="*/ 157381 h 384474"/>
                  <a:gd name="connsiteX146" fmla="*/ 309562 w 378483"/>
                  <a:gd name="connsiteY146" fmla="*/ 160556 h 384474"/>
                  <a:gd name="connsiteX147" fmla="*/ 311150 w 378483"/>
                  <a:gd name="connsiteY147" fmla="*/ 155794 h 384474"/>
                  <a:gd name="connsiteX148" fmla="*/ 309562 w 378483"/>
                  <a:gd name="connsiteY148" fmla="*/ 144681 h 384474"/>
                  <a:gd name="connsiteX149" fmla="*/ 314325 w 378483"/>
                  <a:gd name="connsiteY149" fmla="*/ 149444 h 384474"/>
                  <a:gd name="connsiteX150" fmla="*/ 317500 w 378483"/>
                  <a:gd name="connsiteY150" fmla="*/ 155794 h 384474"/>
                  <a:gd name="connsiteX151" fmla="*/ 349250 w 378483"/>
                  <a:gd name="connsiteY151" fmla="*/ 160556 h 384474"/>
                  <a:gd name="connsiteX152" fmla="*/ 350837 w 378483"/>
                  <a:gd name="connsiteY152" fmla="*/ 155794 h 384474"/>
                  <a:gd name="connsiteX153" fmla="*/ 363538 w 378483"/>
                  <a:gd name="connsiteY153" fmla="*/ 154207 h 384474"/>
                  <a:gd name="connsiteX154" fmla="*/ 371474 w 378483"/>
                  <a:gd name="connsiteY154" fmla="*/ 151031 h 384474"/>
                  <a:gd name="connsiteX155" fmla="*/ 373062 w 378483"/>
                  <a:gd name="connsiteY155" fmla="*/ 141506 h 384474"/>
                  <a:gd name="connsiteX156" fmla="*/ 371475 w 378483"/>
                  <a:gd name="connsiteY156" fmla="*/ 138331 h 384474"/>
                  <a:gd name="connsiteX157" fmla="*/ 373062 w 378483"/>
                  <a:gd name="connsiteY157" fmla="*/ 133569 h 384474"/>
                  <a:gd name="connsiteX158" fmla="*/ 369887 w 378483"/>
                  <a:gd name="connsiteY158" fmla="*/ 119281 h 384474"/>
                  <a:gd name="connsiteX159" fmla="*/ 371475 w 378483"/>
                  <a:gd name="connsiteY159" fmla="*/ 114519 h 384474"/>
                  <a:gd name="connsiteX160" fmla="*/ 377825 w 378483"/>
                  <a:gd name="connsiteY160" fmla="*/ 112931 h 384474"/>
                  <a:gd name="connsiteX161" fmla="*/ 371475 w 378483"/>
                  <a:gd name="connsiteY161" fmla="*/ 100231 h 384474"/>
                  <a:gd name="connsiteX162" fmla="*/ 360362 w 378483"/>
                  <a:gd name="connsiteY162" fmla="*/ 92294 h 384474"/>
                  <a:gd name="connsiteX163" fmla="*/ 327025 w 378483"/>
                  <a:gd name="connsiteY163" fmla="*/ 92294 h 384474"/>
                  <a:gd name="connsiteX164" fmla="*/ 328612 w 378483"/>
                  <a:gd name="connsiteY164" fmla="*/ 100231 h 384474"/>
                  <a:gd name="connsiteX165" fmla="*/ 333375 w 378483"/>
                  <a:gd name="connsiteY165" fmla="*/ 101819 h 384474"/>
                  <a:gd name="connsiteX166" fmla="*/ 312738 w 378483"/>
                  <a:gd name="connsiteY166" fmla="*/ 106582 h 384474"/>
                  <a:gd name="connsiteX167" fmla="*/ 317500 w 378483"/>
                  <a:gd name="connsiteY167" fmla="*/ 93881 h 384474"/>
                  <a:gd name="connsiteX168" fmla="*/ 301625 w 378483"/>
                  <a:gd name="connsiteY168" fmla="*/ 92294 h 384474"/>
                  <a:gd name="connsiteX169" fmla="*/ 296862 w 378483"/>
                  <a:gd name="connsiteY169" fmla="*/ 90706 h 384474"/>
                  <a:gd name="connsiteX170" fmla="*/ 293687 w 378483"/>
                  <a:gd name="connsiteY170" fmla="*/ 85944 h 384474"/>
                  <a:gd name="connsiteX171" fmla="*/ 288925 w 378483"/>
                  <a:gd name="connsiteY171" fmla="*/ 84356 h 384474"/>
                  <a:gd name="connsiteX172" fmla="*/ 276225 w 378483"/>
                  <a:gd name="connsiteY172" fmla="*/ 79594 h 384474"/>
                  <a:gd name="connsiteX173" fmla="*/ 254000 w 378483"/>
                  <a:gd name="connsiteY173" fmla="*/ 70069 h 384474"/>
                  <a:gd name="connsiteX174" fmla="*/ 238125 w 378483"/>
                  <a:gd name="connsiteY174" fmla="*/ 66894 h 384474"/>
                  <a:gd name="connsiteX175" fmla="*/ 233362 w 378483"/>
                  <a:gd name="connsiteY175" fmla="*/ 62131 h 384474"/>
                  <a:gd name="connsiteX176" fmla="*/ 227012 w 378483"/>
                  <a:gd name="connsiteY176" fmla="*/ 54194 h 384474"/>
                  <a:gd name="connsiteX177" fmla="*/ 222250 w 378483"/>
                  <a:gd name="connsiteY177" fmla="*/ 52606 h 384474"/>
                  <a:gd name="connsiteX178" fmla="*/ 220662 w 378483"/>
                  <a:gd name="connsiteY178" fmla="*/ 44669 h 384474"/>
                  <a:gd name="connsiteX179" fmla="*/ 222250 w 378483"/>
                  <a:gd name="connsiteY179" fmla="*/ 31968 h 384474"/>
                  <a:gd name="connsiteX180" fmla="*/ 215899 w 378483"/>
                  <a:gd name="connsiteY180"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95481 h 384474"/>
                  <a:gd name="connsiteX135" fmla="*/ 196850 w 378483"/>
                  <a:gd name="connsiteY135" fmla="*/ 189131 h 384474"/>
                  <a:gd name="connsiteX136" fmla="*/ 209550 w 378483"/>
                  <a:gd name="connsiteY136" fmla="*/ 178018 h 384474"/>
                  <a:gd name="connsiteX137" fmla="*/ 222250 w 378483"/>
                  <a:gd name="connsiteY137" fmla="*/ 187544 h 384474"/>
                  <a:gd name="connsiteX138" fmla="*/ 238125 w 378483"/>
                  <a:gd name="connsiteY138" fmla="*/ 179606 h 384474"/>
                  <a:gd name="connsiteX139" fmla="*/ 242887 w 378483"/>
                  <a:gd name="connsiteY139" fmla="*/ 173256 h 384474"/>
                  <a:gd name="connsiteX140" fmla="*/ 244475 w 378483"/>
                  <a:gd name="connsiteY140" fmla="*/ 166906 h 384474"/>
                  <a:gd name="connsiteX141" fmla="*/ 258763 w 378483"/>
                  <a:gd name="connsiteY141" fmla="*/ 163732 h 384474"/>
                  <a:gd name="connsiteX142" fmla="*/ 271462 w 378483"/>
                  <a:gd name="connsiteY142" fmla="*/ 162143 h 384474"/>
                  <a:gd name="connsiteX143" fmla="*/ 288925 w 378483"/>
                  <a:gd name="connsiteY143" fmla="*/ 147856 h 384474"/>
                  <a:gd name="connsiteX144" fmla="*/ 285750 w 378483"/>
                  <a:gd name="connsiteY144" fmla="*/ 152619 h 384474"/>
                  <a:gd name="connsiteX145" fmla="*/ 304800 w 378483"/>
                  <a:gd name="connsiteY145" fmla="*/ 157381 h 384474"/>
                  <a:gd name="connsiteX146" fmla="*/ 309562 w 378483"/>
                  <a:gd name="connsiteY146" fmla="*/ 160556 h 384474"/>
                  <a:gd name="connsiteX147" fmla="*/ 311150 w 378483"/>
                  <a:gd name="connsiteY147" fmla="*/ 155794 h 384474"/>
                  <a:gd name="connsiteX148" fmla="*/ 309562 w 378483"/>
                  <a:gd name="connsiteY148" fmla="*/ 144681 h 384474"/>
                  <a:gd name="connsiteX149" fmla="*/ 314325 w 378483"/>
                  <a:gd name="connsiteY149" fmla="*/ 149444 h 384474"/>
                  <a:gd name="connsiteX150" fmla="*/ 317500 w 378483"/>
                  <a:gd name="connsiteY150" fmla="*/ 155794 h 384474"/>
                  <a:gd name="connsiteX151" fmla="*/ 349250 w 378483"/>
                  <a:gd name="connsiteY151" fmla="*/ 160556 h 384474"/>
                  <a:gd name="connsiteX152" fmla="*/ 350837 w 378483"/>
                  <a:gd name="connsiteY152" fmla="*/ 155794 h 384474"/>
                  <a:gd name="connsiteX153" fmla="*/ 363538 w 378483"/>
                  <a:gd name="connsiteY153" fmla="*/ 154207 h 384474"/>
                  <a:gd name="connsiteX154" fmla="*/ 371474 w 378483"/>
                  <a:gd name="connsiteY154" fmla="*/ 151031 h 384474"/>
                  <a:gd name="connsiteX155" fmla="*/ 373062 w 378483"/>
                  <a:gd name="connsiteY155" fmla="*/ 141506 h 384474"/>
                  <a:gd name="connsiteX156" fmla="*/ 371475 w 378483"/>
                  <a:gd name="connsiteY156" fmla="*/ 138331 h 384474"/>
                  <a:gd name="connsiteX157" fmla="*/ 373062 w 378483"/>
                  <a:gd name="connsiteY157" fmla="*/ 133569 h 384474"/>
                  <a:gd name="connsiteX158" fmla="*/ 369887 w 378483"/>
                  <a:gd name="connsiteY158" fmla="*/ 119281 h 384474"/>
                  <a:gd name="connsiteX159" fmla="*/ 371475 w 378483"/>
                  <a:gd name="connsiteY159" fmla="*/ 114519 h 384474"/>
                  <a:gd name="connsiteX160" fmla="*/ 377825 w 378483"/>
                  <a:gd name="connsiteY160" fmla="*/ 112931 h 384474"/>
                  <a:gd name="connsiteX161" fmla="*/ 371475 w 378483"/>
                  <a:gd name="connsiteY161" fmla="*/ 100231 h 384474"/>
                  <a:gd name="connsiteX162" fmla="*/ 360362 w 378483"/>
                  <a:gd name="connsiteY162" fmla="*/ 92294 h 384474"/>
                  <a:gd name="connsiteX163" fmla="*/ 327025 w 378483"/>
                  <a:gd name="connsiteY163" fmla="*/ 92294 h 384474"/>
                  <a:gd name="connsiteX164" fmla="*/ 328612 w 378483"/>
                  <a:gd name="connsiteY164" fmla="*/ 100231 h 384474"/>
                  <a:gd name="connsiteX165" fmla="*/ 333375 w 378483"/>
                  <a:gd name="connsiteY165" fmla="*/ 101819 h 384474"/>
                  <a:gd name="connsiteX166" fmla="*/ 312738 w 378483"/>
                  <a:gd name="connsiteY166" fmla="*/ 106582 h 384474"/>
                  <a:gd name="connsiteX167" fmla="*/ 317500 w 378483"/>
                  <a:gd name="connsiteY167" fmla="*/ 93881 h 384474"/>
                  <a:gd name="connsiteX168" fmla="*/ 301625 w 378483"/>
                  <a:gd name="connsiteY168" fmla="*/ 92294 h 384474"/>
                  <a:gd name="connsiteX169" fmla="*/ 296862 w 378483"/>
                  <a:gd name="connsiteY169" fmla="*/ 90706 h 384474"/>
                  <a:gd name="connsiteX170" fmla="*/ 293687 w 378483"/>
                  <a:gd name="connsiteY170" fmla="*/ 85944 h 384474"/>
                  <a:gd name="connsiteX171" fmla="*/ 288925 w 378483"/>
                  <a:gd name="connsiteY171" fmla="*/ 84356 h 384474"/>
                  <a:gd name="connsiteX172" fmla="*/ 276225 w 378483"/>
                  <a:gd name="connsiteY172" fmla="*/ 79594 h 384474"/>
                  <a:gd name="connsiteX173" fmla="*/ 254000 w 378483"/>
                  <a:gd name="connsiteY173" fmla="*/ 70069 h 384474"/>
                  <a:gd name="connsiteX174" fmla="*/ 238125 w 378483"/>
                  <a:gd name="connsiteY174" fmla="*/ 66894 h 384474"/>
                  <a:gd name="connsiteX175" fmla="*/ 233362 w 378483"/>
                  <a:gd name="connsiteY175" fmla="*/ 62131 h 384474"/>
                  <a:gd name="connsiteX176" fmla="*/ 227012 w 378483"/>
                  <a:gd name="connsiteY176" fmla="*/ 54194 h 384474"/>
                  <a:gd name="connsiteX177" fmla="*/ 222250 w 378483"/>
                  <a:gd name="connsiteY177" fmla="*/ 52606 h 384474"/>
                  <a:gd name="connsiteX178" fmla="*/ 220662 w 378483"/>
                  <a:gd name="connsiteY178" fmla="*/ 44669 h 384474"/>
                  <a:gd name="connsiteX179" fmla="*/ 222250 w 378483"/>
                  <a:gd name="connsiteY179" fmla="*/ 31968 h 384474"/>
                  <a:gd name="connsiteX180" fmla="*/ 215899 w 378483"/>
                  <a:gd name="connsiteY180"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95481 h 384474"/>
                  <a:gd name="connsiteX135" fmla="*/ 196850 w 378483"/>
                  <a:gd name="connsiteY135" fmla="*/ 189131 h 384474"/>
                  <a:gd name="connsiteX136" fmla="*/ 209550 w 378483"/>
                  <a:gd name="connsiteY136" fmla="*/ 178018 h 384474"/>
                  <a:gd name="connsiteX137" fmla="*/ 222250 w 378483"/>
                  <a:gd name="connsiteY137" fmla="*/ 187544 h 384474"/>
                  <a:gd name="connsiteX138" fmla="*/ 238125 w 378483"/>
                  <a:gd name="connsiteY138" fmla="*/ 179606 h 384474"/>
                  <a:gd name="connsiteX139" fmla="*/ 242887 w 378483"/>
                  <a:gd name="connsiteY139" fmla="*/ 173256 h 384474"/>
                  <a:gd name="connsiteX140" fmla="*/ 244475 w 378483"/>
                  <a:gd name="connsiteY140" fmla="*/ 166906 h 384474"/>
                  <a:gd name="connsiteX141" fmla="*/ 258763 w 378483"/>
                  <a:gd name="connsiteY141" fmla="*/ 163732 h 384474"/>
                  <a:gd name="connsiteX142" fmla="*/ 271462 w 378483"/>
                  <a:gd name="connsiteY142" fmla="*/ 162143 h 384474"/>
                  <a:gd name="connsiteX143" fmla="*/ 288925 w 378483"/>
                  <a:gd name="connsiteY143" fmla="*/ 147856 h 384474"/>
                  <a:gd name="connsiteX144" fmla="*/ 285750 w 378483"/>
                  <a:gd name="connsiteY144" fmla="*/ 163732 h 384474"/>
                  <a:gd name="connsiteX145" fmla="*/ 304800 w 378483"/>
                  <a:gd name="connsiteY145" fmla="*/ 157381 h 384474"/>
                  <a:gd name="connsiteX146" fmla="*/ 309562 w 378483"/>
                  <a:gd name="connsiteY146" fmla="*/ 160556 h 384474"/>
                  <a:gd name="connsiteX147" fmla="*/ 311150 w 378483"/>
                  <a:gd name="connsiteY147" fmla="*/ 155794 h 384474"/>
                  <a:gd name="connsiteX148" fmla="*/ 309562 w 378483"/>
                  <a:gd name="connsiteY148" fmla="*/ 144681 h 384474"/>
                  <a:gd name="connsiteX149" fmla="*/ 314325 w 378483"/>
                  <a:gd name="connsiteY149" fmla="*/ 149444 h 384474"/>
                  <a:gd name="connsiteX150" fmla="*/ 317500 w 378483"/>
                  <a:gd name="connsiteY150" fmla="*/ 155794 h 384474"/>
                  <a:gd name="connsiteX151" fmla="*/ 349250 w 378483"/>
                  <a:gd name="connsiteY151" fmla="*/ 160556 h 384474"/>
                  <a:gd name="connsiteX152" fmla="*/ 350837 w 378483"/>
                  <a:gd name="connsiteY152" fmla="*/ 155794 h 384474"/>
                  <a:gd name="connsiteX153" fmla="*/ 363538 w 378483"/>
                  <a:gd name="connsiteY153" fmla="*/ 154207 h 384474"/>
                  <a:gd name="connsiteX154" fmla="*/ 371474 w 378483"/>
                  <a:gd name="connsiteY154" fmla="*/ 151031 h 384474"/>
                  <a:gd name="connsiteX155" fmla="*/ 373062 w 378483"/>
                  <a:gd name="connsiteY155" fmla="*/ 141506 h 384474"/>
                  <a:gd name="connsiteX156" fmla="*/ 371475 w 378483"/>
                  <a:gd name="connsiteY156" fmla="*/ 138331 h 384474"/>
                  <a:gd name="connsiteX157" fmla="*/ 373062 w 378483"/>
                  <a:gd name="connsiteY157" fmla="*/ 133569 h 384474"/>
                  <a:gd name="connsiteX158" fmla="*/ 369887 w 378483"/>
                  <a:gd name="connsiteY158" fmla="*/ 119281 h 384474"/>
                  <a:gd name="connsiteX159" fmla="*/ 371475 w 378483"/>
                  <a:gd name="connsiteY159" fmla="*/ 114519 h 384474"/>
                  <a:gd name="connsiteX160" fmla="*/ 377825 w 378483"/>
                  <a:gd name="connsiteY160" fmla="*/ 112931 h 384474"/>
                  <a:gd name="connsiteX161" fmla="*/ 371475 w 378483"/>
                  <a:gd name="connsiteY161" fmla="*/ 100231 h 384474"/>
                  <a:gd name="connsiteX162" fmla="*/ 360362 w 378483"/>
                  <a:gd name="connsiteY162" fmla="*/ 92294 h 384474"/>
                  <a:gd name="connsiteX163" fmla="*/ 327025 w 378483"/>
                  <a:gd name="connsiteY163" fmla="*/ 92294 h 384474"/>
                  <a:gd name="connsiteX164" fmla="*/ 328612 w 378483"/>
                  <a:gd name="connsiteY164" fmla="*/ 100231 h 384474"/>
                  <a:gd name="connsiteX165" fmla="*/ 333375 w 378483"/>
                  <a:gd name="connsiteY165" fmla="*/ 101819 h 384474"/>
                  <a:gd name="connsiteX166" fmla="*/ 312738 w 378483"/>
                  <a:gd name="connsiteY166" fmla="*/ 106582 h 384474"/>
                  <a:gd name="connsiteX167" fmla="*/ 317500 w 378483"/>
                  <a:gd name="connsiteY167" fmla="*/ 93881 h 384474"/>
                  <a:gd name="connsiteX168" fmla="*/ 301625 w 378483"/>
                  <a:gd name="connsiteY168" fmla="*/ 92294 h 384474"/>
                  <a:gd name="connsiteX169" fmla="*/ 296862 w 378483"/>
                  <a:gd name="connsiteY169" fmla="*/ 90706 h 384474"/>
                  <a:gd name="connsiteX170" fmla="*/ 293687 w 378483"/>
                  <a:gd name="connsiteY170" fmla="*/ 85944 h 384474"/>
                  <a:gd name="connsiteX171" fmla="*/ 288925 w 378483"/>
                  <a:gd name="connsiteY171" fmla="*/ 84356 h 384474"/>
                  <a:gd name="connsiteX172" fmla="*/ 276225 w 378483"/>
                  <a:gd name="connsiteY172" fmla="*/ 79594 h 384474"/>
                  <a:gd name="connsiteX173" fmla="*/ 254000 w 378483"/>
                  <a:gd name="connsiteY173" fmla="*/ 70069 h 384474"/>
                  <a:gd name="connsiteX174" fmla="*/ 238125 w 378483"/>
                  <a:gd name="connsiteY174" fmla="*/ 66894 h 384474"/>
                  <a:gd name="connsiteX175" fmla="*/ 233362 w 378483"/>
                  <a:gd name="connsiteY175" fmla="*/ 62131 h 384474"/>
                  <a:gd name="connsiteX176" fmla="*/ 227012 w 378483"/>
                  <a:gd name="connsiteY176" fmla="*/ 54194 h 384474"/>
                  <a:gd name="connsiteX177" fmla="*/ 222250 w 378483"/>
                  <a:gd name="connsiteY177" fmla="*/ 52606 h 384474"/>
                  <a:gd name="connsiteX178" fmla="*/ 220662 w 378483"/>
                  <a:gd name="connsiteY178" fmla="*/ 44669 h 384474"/>
                  <a:gd name="connsiteX179" fmla="*/ 222250 w 378483"/>
                  <a:gd name="connsiteY179" fmla="*/ 31968 h 384474"/>
                  <a:gd name="connsiteX180" fmla="*/ 215899 w 378483"/>
                  <a:gd name="connsiteY180"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31762 w 378483"/>
                  <a:gd name="connsiteY13" fmla="*/ 22444 h 384474"/>
                  <a:gd name="connsiteX14" fmla="*/ 128587 w 378483"/>
                  <a:gd name="connsiteY14" fmla="*/ 11331 h 384474"/>
                  <a:gd name="connsiteX15" fmla="*/ 109537 w 378483"/>
                  <a:gd name="connsiteY15" fmla="*/ 8156 h 384474"/>
                  <a:gd name="connsiteX16" fmla="*/ 107950 w 378483"/>
                  <a:gd name="connsiteY16" fmla="*/ 3394 h 384474"/>
                  <a:gd name="connsiteX17" fmla="*/ 92075 w 378483"/>
                  <a:gd name="connsiteY17" fmla="*/ 4981 h 384474"/>
                  <a:gd name="connsiteX18" fmla="*/ 98425 w 378483"/>
                  <a:gd name="connsiteY18" fmla="*/ 14506 h 384474"/>
                  <a:gd name="connsiteX19" fmla="*/ 79375 w 378483"/>
                  <a:gd name="connsiteY19" fmla="*/ 12919 h 384474"/>
                  <a:gd name="connsiteX20" fmla="*/ 74612 w 378483"/>
                  <a:gd name="connsiteY20" fmla="*/ 17681 h 384474"/>
                  <a:gd name="connsiteX21" fmla="*/ 73025 w 378483"/>
                  <a:gd name="connsiteY21" fmla="*/ 24031 h 384474"/>
                  <a:gd name="connsiteX22" fmla="*/ 79375 w 378483"/>
                  <a:gd name="connsiteY22" fmla="*/ 20856 h 384474"/>
                  <a:gd name="connsiteX23" fmla="*/ 74612 w 378483"/>
                  <a:gd name="connsiteY23" fmla="*/ 19269 h 384474"/>
                  <a:gd name="connsiteX24" fmla="*/ 68262 w 378483"/>
                  <a:gd name="connsiteY24" fmla="*/ 20856 h 384474"/>
                  <a:gd name="connsiteX25" fmla="*/ 73025 w 378483"/>
                  <a:gd name="connsiteY25" fmla="*/ 24031 h 384474"/>
                  <a:gd name="connsiteX26" fmla="*/ 68262 w 378483"/>
                  <a:gd name="connsiteY26" fmla="*/ 27206 h 384474"/>
                  <a:gd name="connsiteX27" fmla="*/ 58737 w 378483"/>
                  <a:gd name="connsiteY27" fmla="*/ 31969 h 384474"/>
                  <a:gd name="connsiteX28" fmla="*/ 52387 w 378483"/>
                  <a:gd name="connsiteY28" fmla="*/ 36731 h 384474"/>
                  <a:gd name="connsiteX29" fmla="*/ 42862 w 378483"/>
                  <a:gd name="connsiteY29" fmla="*/ 38319 h 384474"/>
                  <a:gd name="connsiteX30" fmla="*/ 38100 w 378483"/>
                  <a:gd name="connsiteY30" fmla="*/ 41494 h 384474"/>
                  <a:gd name="connsiteX31" fmla="*/ 28575 w 378483"/>
                  <a:gd name="connsiteY31" fmla="*/ 43081 h 384474"/>
                  <a:gd name="connsiteX32" fmla="*/ 25400 w 378483"/>
                  <a:gd name="connsiteY32" fmla="*/ 57369 h 384474"/>
                  <a:gd name="connsiteX33" fmla="*/ 19050 w 378483"/>
                  <a:gd name="connsiteY33" fmla="*/ 58956 h 384474"/>
                  <a:gd name="connsiteX34" fmla="*/ 17462 w 378483"/>
                  <a:gd name="connsiteY34" fmla="*/ 63719 h 384474"/>
                  <a:gd name="connsiteX35" fmla="*/ 20637 w 378483"/>
                  <a:gd name="connsiteY35" fmla="*/ 68481 h 384474"/>
                  <a:gd name="connsiteX36" fmla="*/ 12700 w 378483"/>
                  <a:gd name="connsiteY36" fmla="*/ 78006 h 384474"/>
                  <a:gd name="connsiteX37" fmla="*/ 11112 w 378483"/>
                  <a:gd name="connsiteY37" fmla="*/ 100231 h 384474"/>
                  <a:gd name="connsiteX38" fmla="*/ 22225 w 378483"/>
                  <a:gd name="connsiteY38" fmla="*/ 103406 h 384474"/>
                  <a:gd name="connsiteX39" fmla="*/ 36512 w 378483"/>
                  <a:gd name="connsiteY39" fmla="*/ 101819 h 384474"/>
                  <a:gd name="connsiteX40" fmla="*/ 41275 w 378483"/>
                  <a:gd name="connsiteY40" fmla="*/ 103406 h 384474"/>
                  <a:gd name="connsiteX41" fmla="*/ 42862 w 378483"/>
                  <a:gd name="connsiteY41" fmla="*/ 117694 h 384474"/>
                  <a:gd name="connsiteX42" fmla="*/ 44450 w 378483"/>
                  <a:gd name="connsiteY42" fmla="*/ 124044 h 384474"/>
                  <a:gd name="connsiteX43" fmla="*/ 49212 w 378483"/>
                  <a:gd name="connsiteY43" fmla="*/ 125631 h 384474"/>
                  <a:gd name="connsiteX44" fmla="*/ 47625 w 378483"/>
                  <a:gd name="connsiteY44" fmla="*/ 130394 h 384474"/>
                  <a:gd name="connsiteX45" fmla="*/ 44450 w 378483"/>
                  <a:gd name="connsiteY45" fmla="*/ 135156 h 384474"/>
                  <a:gd name="connsiteX46" fmla="*/ 53975 w 378483"/>
                  <a:gd name="connsiteY46" fmla="*/ 139919 h 384474"/>
                  <a:gd name="connsiteX47" fmla="*/ 58737 w 378483"/>
                  <a:gd name="connsiteY47" fmla="*/ 143094 h 384474"/>
                  <a:gd name="connsiteX48" fmla="*/ 63500 w 378483"/>
                  <a:gd name="connsiteY48" fmla="*/ 158969 h 384474"/>
                  <a:gd name="connsiteX49" fmla="*/ 60325 w 378483"/>
                  <a:gd name="connsiteY49" fmla="*/ 168494 h 384474"/>
                  <a:gd name="connsiteX50" fmla="*/ 55562 w 378483"/>
                  <a:gd name="connsiteY50" fmla="*/ 166906 h 384474"/>
                  <a:gd name="connsiteX51" fmla="*/ 52387 w 378483"/>
                  <a:gd name="connsiteY51" fmla="*/ 162144 h 384474"/>
                  <a:gd name="connsiteX52" fmla="*/ 47625 w 378483"/>
                  <a:gd name="connsiteY52" fmla="*/ 163731 h 384474"/>
                  <a:gd name="connsiteX53" fmla="*/ 46037 w 378483"/>
                  <a:gd name="connsiteY53" fmla="*/ 170081 h 384474"/>
                  <a:gd name="connsiteX54" fmla="*/ 57150 w 378483"/>
                  <a:gd name="connsiteY54" fmla="*/ 162144 h 384474"/>
                  <a:gd name="connsiteX55" fmla="*/ 53975 w 378483"/>
                  <a:gd name="connsiteY55" fmla="*/ 157381 h 384474"/>
                  <a:gd name="connsiteX56" fmla="*/ 47625 w 378483"/>
                  <a:gd name="connsiteY56" fmla="*/ 160556 h 384474"/>
                  <a:gd name="connsiteX57" fmla="*/ 41275 w 378483"/>
                  <a:gd name="connsiteY57" fmla="*/ 170081 h 384474"/>
                  <a:gd name="connsiteX58" fmla="*/ 34925 w 378483"/>
                  <a:gd name="connsiteY58" fmla="*/ 162144 h 384474"/>
                  <a:gd name="connsiteX59" fmla="*/ 26987 w 378483"/>
                  <a:gd name="connsiteY59" fmla="*/ 163731 h 384474"/>
                  <a:gd name="connsiteX60" fmla="*/ 25400 w 378483"/>
                  <a:gd name="connsiteY60" fmla="*/ 170081 h 384474"/>
                  <a:gd name="connsiteX61" fmla="*/ 23812 w 378483"/>
                  <a:gd name="connsiteY61" fmla="*/ 181194 h 384474"/>
                  <a:gd name="connsiteX62" fmla="*/ 15875 w 378483"/>
                  <a:gd name="connsiteY62" fmla="*/ 182781 h 384474"/>
                  <a:gd name="connsiteX63" fmla="*/ 20637 w 378483"/>
                  <a:gd name="connsiteY63" fmla="*/ 187544 h 384474"/>
                  <a:gd name="connsiteX64" fmla="*/ 19050 w 378483"/>
                  <a:gd name="connsiteY64" fmla="*/ 192306 h 384474"/>
                  <a:gd name="connsiteX65" fmla="*/ 20637 w 378483"/>
                  <a:gd name="connsiteY65" fmla="*/ 197069 h 384474"/>
                  <a:gd name="connsiteX66" fmla="*/ 22225 w 378483"/>
                  <a:gd name="connsiteY66" fmla="*/ 203419 h 384474"/>
                  <a:gd name="connsiteX67" fmla="*/ 26987 w 378483"/>
                  <a:gd name="connsiteY67" fmla="*/ 205006 h 384474"/>
                  <a:gd name="connsiteX68" fmla="*/ 28575 w 378483"/>
                  <a:gd name="connsiteY68" fmla="*/ 216119 h 384474"/>
                  <a:gd name="connsiteX69" fmla="*/ 26987 w 378483"/>
                  <a:gd name="connsiteY69" fmla="*/ 220881 h 384474"/>
                  <a:gd name="connsiteX70" fmla="*/ 31750 w 378483"/>
                  <a:gd name="connsiteY70" fmla="*/ 225644 h 384474"/>
                  <a:gd name="connsiteX71" fmla="*/ 33337 w 378483"/>
                  <a:gd name="connsiteY71" fmla="*/ 230406 h 384474"/>
                  <a:gd name="connsiteX72" fmla="*/ 25400 w 378483"/>
                  <a:gd name="connsiteY72" fmla="*/ 239931 h 384474"/>
                  <a:gd name="connsiteX73" fmla="*/ 12700 w 378483"/>
                  <a:gd name="connsiteY73" fmla="*/ 244694 h 384474"/>
                  <a:gd name="connsiteX74" fmla="*/ 15875 w 378483"/>
                  <a:gd name="connsiteY74" fmla="*/ 251044 h 384474"/>
                  <a:gd name="connsiteX75" fmla="*/ 17462 w 378483"/>
                  <a:gd name="connsiteY75" fmla="*/ 255806 h 384474"/>
                  <a:gd name="connsiteX76" fmla="*/ 11112 w 378483"/>
                  <a:gd name="connsiteY76" fmla="*/ 257394 h 384474"/>
                  <a:gd name="connsiteX77" fmla="*/ 9525 w 378483"/>
                  <a:gd name="connsiteY77" fmla="*/ 263744 h 384474"/>
                  <a:gd name="connsiteX78" fmla="*/ 3175 w 378483"/>
                  <a:gd name="connsiteY78" fmla="*/ 265331 h 384474"/>
                  <a:gd name="connsiteX79" fmla="*/ 1587 w 378483"/>
                  <a:gd name="connsiteY79" fmla="*/ 274856 h 384474"/>
                  <a:gd name="connsiteX80" fmla="*/ 0 w 378483"/>
                  <a:gd name="connsiteY80" fmla="*/ 281206 h 384474"/>
                  <a:gd name="connsiteX81" fmla="*/ 6350 w 378483"/>
                  <a:gd name="connsiteY81" fmla="*/ 292319 h 384474"/>
                  <a:gd name="connsiteX82" fmla="*/ 7937 w 378483"/>
                  <a:gd name="connsiteY82" fmla="*/ 300256 h 384474"/>
                  <a:gd name="connsiteX83" fmla="*/ 25400 w 378483"/>
                  <a:gd name="connsiteY83" fmla="*/ 297081 h 384474"/>
                  <a:gd name="connsiteX84" fmla="*/ 28575 w 378483"/>
                  <a:gd name="connsiteY84" fmla="*/ 292319 h 384474"/>
                  <a:gd name="connsiteX85" fmla="*/ 38100 w 378483"/>
                  <a:gd name="connsiteY85" fmla="*/ 289144 h 384474"/>
                  <a:gd name="connsiteX86" fmla="*/ 47625 w 378483"/>
                  <a:gd name="connsiteY86" fmla="*/ 284381 h 384474"/>
                  <a:gd name="connsiteX87" fmla="*/ 53975 w 378483"/>
                  <a:gd name="connsiteY87" fmla="*/ 274856 h 384474"/>
                  <a:gd name="connsiteX88" fmla="*/ 49212 w 378483"/>
                  <a:gd name="connsiteY88" fmla="*/ 282794 h 384474"/>
                  <a:gd name="connsiteX89" fmla="*/ 58737 w 378483"/>
                  <a:gd name="connsiteY89" fmla="*/ 276444 h 384474"/>
                  <a:gd name="connsiteX90" fmla="*/ 73025 w 378483"/>
                  <a:gd name="connsiteY90" fmla="*/ 273269 h 384474"/>
                  <a:gd name="connsiteX91" fmla="*/ 77787 w 378483"/>
                  <a:gd name="connsiteY91" fmla="*/ 268506 h 384474"/>
                  <a:gd name="connsiteX92" fmla="*/ 80962 w 378483"/>
                  <a:gd name="connsiteY92" fmla="*/ 263744 h 384474"/>
                  <a:gd name="connsiteX93" fmla="*/ 85725 w 378483"/>
                  <a:gd name="connsiteY93" fmla="*/ 262156 h 384474"/>
                  <a:gd name="connsiteX94" fmla="*/ 90487 w 378483"/>
                  <a:gd name="connsiteY94" fmla="*/ 258981 h 384474"/>
                  <a:gd name="connsiteX95" fmla="*/ 101600 w 378483"/>
                  <a:gd name="connsiteY95" fmla="*/ 260569 h 384474"/>
                  <a:gd name="connsiteX96" fmla="*/ 106362 w 378483"/>
                  <a:gd name="connsiteY96" fmla="*/ 271681 h 384474"/>
                  <a:gd name="connsiteX97" fmla="*/ 101600 w 378483"/>
                  <a:gd name="connsiteY97" fmla="*/ 282794 h 384474"/>
                  <a:gd name="connsiteX98" fmla="*/ 90487 w 378483"/>
                  <a:gd name="connsiteY98" fmla="*/ 289144 h 384474"/>
                  <a:gd name="connsiteX99" fmla="*/ 84137 w 378483"/>
                  <a:gd name="connsiteY99" fmla="*/ 293906 h 384474"/>
                  <a:gd name="connsiteX100" fmla="*/ 77787 w 378483"/>
                  <a:gd name="connsiteY100" fmla="*/ 305019 h 384474"/>
                  <a:gd name="connsiteX101" fmla="*/ 69850 w 378483"/>
                  <a:gd name="connsiteY101" fmla="*/ 314544 h 384474"/>
                  <a:gd name="connsiteX102" fmla="*/ 58737 w 378483"/>
                  <a:gd name="connsiteY102" fmla="*/ 320894 h 384474"/>
                  <a:gd name="connsiteX103" fmla="*/ 53975 w 378483"/>
                  <a:gd name="connsiteY103" fmla="*/ 325656 h 384474"/>
                  <a:gd name="connsiteX104" fmla="*/ 47625 w 378483"/>
                  <a:gd name="connsiteY104" fmla="*/ 328831 h 384474"/>
                  <a:gd name="connsiteX105" fmla="*/ 38100 w 378483"/>
                  <a:gd name="connsiteY105" fmla="*/ 338356 h 384474"/>
                  <a:gd name="connsiteX106" fmla="*/ 33337 w 378483"/>
                  <a:gd name="connsiteY106" fmla="*/ 341531 h 384474"/>
                  <a:gd name="connsiteX107" fmla="*/ 36512 w 378483"/>
                  <a:gd name="connsiteY107" fmla="*/ 347881 h 384474"/>
                  <a:gd name="connsiteX108" fmla="*/ 34925 w 378483"/>
                  <a:gd name="connsiteY108" fmla="*/ 352644 h 384474"/>
                  <a:gd name="connsiteX109" fmla="*/ 33337 w 378483"/>
                  <a:gd name="connsiteY109" fmla="*/ 360581 h 384474"/>
                  <a:gd name="connsiteX110" fmla="*/ 30162 w 378483"/>
                  <a:gd name="connsiteY110" fmla="*/ 378044 h 384474"/>
                  <a:gd name="connsiteX111" fmla="*/ 28575 w 378483"/>
                  <a:gd name="connsiteY111" fmla="*/ 384394 h 384474"/>
                  <a:gd name="connsiteX112" fmla="*/ 36512 w 378483"/>
                  <a:gd name="connsiteY112" fmla="*/ 379631 h 384474"/>
                  <a:gd name="connsiteX113" fmla="*/ 52387 w 378483"/>
                  <a:gd name="connsiteY113" fmla="*/ 378044 h 384474"/>
                  <a:gd name="connsiteX114" fmla="*/ 53975 w 378483"/>
                  <a:gd name="connsiteY114" fmla="*/ 373281 h 384474"/>
                  <a:gd name="connsiteX115" fmla="*/ 57150 w 378483"/>
                  <a:gd name="connsiteY115" fmla="*/ 362169 h 384474"/>
                  <a:gd name="connsiteX116" fmla="*/ 63500 w 378483"/>
                  <a:gd name="connsiteY116" fmla="*/ 357406 h 384474"/>
                  <a:gd name="connsiteX117" fmla="*/ 66675 w 378483"/>
                  <a:gd name="connsiteY117" fmla="*/ 352644 h 384474"/>
                  <a:gd name="connsiteX118" fmla="*/ 74612 w 378483"/>
                  <a:gd name="connsiteY118" fmla="*/ 343119 h 384474"/>
                  <a:gd name="connsiteX119" fmla="*/ 77787 w 378483"/>
                  <a:gd name="connsiteY119" fmla="*/ 335181 h 384474"/>
                  <a:gd name="connsiteX120" fmla="*/ 87312 w 378483"/>
                  <a:gd name="connsiteY120" fmla="*/ 322481 h 384474"/>
                  <a:gd name="connsiteX121" fmla="*/ 90487 w 378483"/>
                  <a:gd name="connsiteY121" fmla="*/ 316131 h 384474"/>
                  <a:gd name="connsiteX122" fmla="*/ 92075 w 378483"/>
                  <a:gd name="connsiteY122" fmla="*/ 311369 h 384474"/>
                  <a:gd name="connsiteX123" fmla="*/ 100012 w 378483"/>
                  <a:gd name="connsiteY123" fmla="*/ 301844 h 384474"/>
                  <a:gd name="connsiteX124" fmla="*/ 106362 w 378483"/>
                  <a:gd name="connsiteY124" fmla="*/ 300256 h 384474"/>
                  <a:gd name="connsiteX125" fmla="*/ 112712 w 378483"/>
                  <a:gd name="connsiteY125" fmla="*/ 297081 h 384474"/>
                  <a:gd name="connsiteX126" fmla="*/ 120650 w 378483"/>
                  <a:gd name="connsiteY126" fmla="*/ 285969 h 384474"/>
                  <a:gd name="connsiteX127" fmla="*/ 127000 w 378483"/>
                  <a:gd name="connsiteY127" fmla="*/ 274856 h 384474"/>
                  <a:gd name="connsiteX128" fmla="*/ 131762 w 378483"/>
                  <a:gd name="connsiteY128" fmla="*/ 270094 h 384474"/>
                  <a:gd name="connsiteX129" fmla="*/ 136525 w 378483"/>
                  <a:gd name="connsiteY129" fmla="*/ 266919 h 384474"/>
                  <a:gd name="connsiteX130" fmla="*/ 147637 w 378483"/>
                  <a:gd name="connsiteY130" fmla="*/ 257394 h 384474"/>
                  <a:gd name="connsiteX131" fmla="*/ 166687 w 378483"/>
                  <a:gd name="connsiteY131" fmla="*/ 241519 h 384474"/>
                  <a:gd name="connsiteX132" fmla="*/ 173037 w 378483"/>
                  <a:gd name="connsiteY132" fmla="*/ 224056 h 384474"/>
                  <a:gd name="connsiteX133" fmla="*/ 179387 w 378483"/>
                  <a:gd name="connsiteY133" fmla="*/ 211356 h 384474"/>
                  <a:gd name="connsiteX134" fmla="*/ 184150 w 378483"/>
                  <a:gd name="connsiteY134" fmla="*/ 195481 h 384474"/>
                  <a:gd name="connsiteX135" fmla="*/ 196850 w 378483"/>
                  <a:gd name="connsiteY135" fmla="*/ 189131 h 384474"/>
                  <a:gd name="connsiteX136" fmla="*/ 209550 w 378483"/>
                  <a:gd name="connsiteY136" fmla="*/ 178018 h 384474"/>
                  <a:gd name="connsiteX137" fmla="*/ 222250 w 378483"/>
                  <a:gd name="connsiteY137" fmla="*/ 187544 h 384474"/>
                  <a:gd name="connsiteX138" fmla="*/ 238125 w 378483"/>
                  <a:gd name="connsiteY138" fmla="*/ 179606 h 384474"/>
                  <a:gd name="connsiteX139" fmla="*/ 242887 w 378483"/>
                  <a:gd name="connsiteY139" fmla="*/ 173256 h 384474"/>
                  <a:gd name="connsiteX140" fmla="*/ 244475 w 378483"/>
                  <a:gd name="connsiteY140" fmla="*/ 166906 h 384474"/>
                  <a:gd name="connsiteX141" fmla="*/ 258763 w 378483"/>
                  <a:gd name="connsiteY141" fmla="*/ 163732 h 384474"/>
                  <a:gd name="connsiteX142" fmla="*/ 271462 w 378483"/>
                  <a:gd name="connsiteY142" fmla="*/ 162143 h 384474"/>
                  <a:gd name="connsiteX143" fmla="*/ 290513 w 378483"/>
                  <a:gd name="connsiteY143" fmla="*/ 157381 h 384474"/>
                  <a:gd name="connsiteX144" fmla="*/ 285750 w 378483"/>
                  <a:gd name="connsiteY144" fmla="*/ 163732 h 384474"/>
                  <a:gd name="connsiteX145" fmla="*/ 304800 w 378483"/>
                  <a:gd name="connsiteY145" fmla="*/ 157381 h 384474"/>
                  <a:gd name="connsiteX146" fmla="*/ 309562 w 378483"/>
                  <a:gd name="connsiteY146" fmla="*/ 160556 h 384474"/>
                  <a:gd name="connsiteX147" fmla="*/ 311150 w 378483"/>
                  <a:gd name="connsiteY147" fmla="*/ 155794 h 384474"/>
                  <a:gd name="connsiteX148" fmla="*/ 309562 w 378483"/>
                  <a:gd name="connsiteY148" fmla="*/ 144681 h 384474"/>
                  <a:gd name="connsiteX149" fmla="*/ 314325 w 378483"/>
                  <a:gd name="connsiteY149" fmla="*/ 149444 h 384474"/>
                  <a:gd name="connsiteX150" fmla="*/ 317500 w 378483"/>
                  <a:gd name="connsiteY150" fmla="*/ 155794 h 384474"/>
                  <a:gd name="connsiteX151" fmla="*/ 349250 w 378483"/>
                  <a:gd name="connsiteY151" fmla="*/ 160556 h 384474"/>
                  <a:gd name="connsiteX152" fmla="*/ 350837 w 378483"/>
                  <a:gd name="connsiteY152" fmla="*/ 155794 h 384474"/>
                  <a:gd name="connsiteX153" fmla="*/ 363538 w 378483"/>
                  <a:gd name="connsiteY153" fmla="*/ 154207 h 384474"/>
                  <a:gd name="connsiteX154" fmla="*/ 371474 w 378483"/>
                  <a:gd name="connsiteY154" fmla="*/ 151031 h 384474"/>
                  <a:gd name="connsiteX155" fmla="*/ 373062 w 378483"/>
                  <a:gd name="connsiteY155" fmla="*/ 141506 h 384474"/>
                  <a:gd name="connsiteX156" fmla="*/ 371475 w 378483"/>
                  <a:gd name="connsiteY156" fmla="*/ 138331 h 384474"/>
                  <a:gd name="connsiteX157" fmla="*/ 373062 w 378483"/>
                  <a:gd name="connsiteY157" fmla="*/ 133569 h 384474"/>
                  <a:gd name="connsiteX158" fmla="*/ 369887 w 378483"/>
                  <a:gd name="connsiteY158" fmla="*/ 119281 h 384474"/>
                  <a:gd name="connsiteX159" fmla="*/ 371475 w 378483"/>
                  <a:gd name="connsiteY159" fmla="*/ 114519 h 384474"/>
                  <a:gd name="connsiteX160" fmla="*/ 377825 w 378483"/>
                  <a:gd name="connsiteY160" fmla="*/ 112931 h 384474"/>
                  <a:gd name="connsiteX161" fmla="*/ 371475 w 378483"/>
                  <a:gd name="connsiteY161" fmla="*/ 100231 h 384474"/>
                  <a:gd name="connsiteX162" fmla="*/ 360362 w 378483"/>
                  <a:gd name="connsiteY162" fmla="*/ 92294 h 384474"/>
                  <a:gd name="connsiteX163" fmla="*/ 327025 w 378483"/>
                  <a:gd name="connsiteY163" fmla="*/ 92294 h 384474"/>
                  <a:gd name="connsiteX164" fmla="*/ 328612 w 378483"/>
                  <a:gd name="connsiteY164" fmla="*/ 100231 h 384474"/>
                  <a:gd name="connsiteX165" fmla="*/ 333375 w 378483"/>
                  <a:gd name="connsiteY165" fmla="*/ 101819 h 384474"/>
                  <a:gd name="connsiteX166" fmla="*/ 312738 w 378483"/>
                  <a:gd name="connsiteY166" fmla="*/ 106582 h 384474"/>
                  <a:gd name="connsiteX167" fmla="*/ 317500 w 378483"/>
                  <a:gd name="connsiteY167" fmla="*/ 93881 h 384474"/>
                  <a:gd name="connsiteX168" fmla="*/ 301625 w 378483"/>
                  <a:gd name="connsiteY168" fmla="*/ 92294 h 384474"/>
                  <a:gd name="connsiteX169" fmla="*/ 296862 w 378483"/>
                  <a:gd name="connsiteY169" fmla="*/ 90706 h 384474"/>
                  <a:gd name="connsiteX170" fmla="*/ 293687 w 378483"/>
                  <a:gd name="connsiteY170" fmla="*/ 85944 h 384474"/>
                  <a:gd name="connsiteX171" fmla="*/ 288925 w 378483"/>
                  <a:gd name="connsiteY171" fmla="*/ 84356 h 384474"/>
                  <a:gd name="connsiteX172" fmla="*/ 276225 w 378483"/>
                  <a:gd name="connsiteY172" fmla="*/ 79594 h 384474"/>
                  <a:gd name="connsiteX173" fmla="*/ 254000 w 378483"/>
                  <a:gd name="connsiteY173" fmla="*/ 70069 h 384474"/>
                  <a:gd name="connsiteX174" fmla="*/ 238125 w 378483"/>
                  <a:gd name="connsiteY174" fmla="*/ 66894 h 384474"/>
                  <a:gd name="connsiteX175" fmla="*/ 233362 w 378483"/>
                  <a:gd name="connsiteY175" fmla="*/ 62131 h 384474"/>
                  <a:gd name="connsiteX176" fmla="*/ 227012 w 378483"/>
                  <a:gd name="connsiteY176" fmla="*/ 54194 h 384474"/>
                  <a:gd name="connsiteX177" fmla="*/ 222250 w 378483"/>
                  <a:gd name="connsiteY177" fmla="*/ 52606 h 384474"/>
                  <a:gd name="connsiteX178" fmla="*/ 220662 w 378483"/>
                  <a:gd name="connsiteY178" fmla="*/ 44669 h 384474"/>
                  <a:gd name="connsiteX179" fmla="*/ 222250 w 378483"/>
                  <a:gd name="connsiteY179" fmla="*/ 31968 h 384474"/>
                  <a:gd name="connsiteX180" fmla="*/ 215899 w 378483"/>
                  <a:gd name="connsiteY180"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28587 w 378483"/>
                  <a:gd name="connsiteY13" fmla="*/ 11331 h 384474"/>
                  <a:gd name="connsiteX14" fmla="*/ 109537 w 378483"/>
                  <a:gd name="connsiteY14" fmla="*/ 8156 h 384474"/>
                  <a:gd name="connsiteX15" fmla="*/ 107950 w 378483"/>
                  <a:gd name="connsiteY15" fmla="*/ 3394 h 384474"/>
                  <a:gd name="connsiteX16" fmla="*/ 92075 w 378483"/>
                  <a:gd name="connsiteY16" fmla="*/ 4981 h 384474"/>
                  <a:gd name="connsiteX17" fmla="*/ 98425 w 378483"/>
                  <a:gd name="connsiteY17" fmla="*/ 14506 h 384474"/>
                  <a:gd name="connsiteX18" fmla="*/ 79375 w 378483"/>
                  <a:gd name="connsiteY18" fmla="*/ 12919 h 384474"/>
                  <a:gd name="connsiteX19" fmla="*/ 74612 w 378483"/>
                  <a:gd name="connsiteY19" fmla="*/ 17681 h 384474"/>
                  <a:gd name="connsiteX20" fmla="*/ 73025 w 378483"/>
                  <a:gd name="connsiteY20" fmla="*/ 24031 h 384474"/>
                  <a:gd name="connsiteX21" fmla="*/ 79375 w 378483"/>
                  <a:gd name="connsiteY21" fmla="*/ 20856 h 384474"/>
                  <a:gd name="connsiteX22" fmla="*/ 74612 w 378483"/>
                  <a:gd name="connsiteY22" fmla="*/ 19269 h 384474"/>
                  <a:gd name="connsiteX23" fmla="*/ 68262 w 378483"/>
                  <a:gd name="connsiteY23" fmla="*/ 20856 h 384474"/>
                  <a:gd name="connsiteX24" fmla="*/ 73025 w 378483"/>
                  <a:gd name="connsiteY24" fmla="*/ 24031 h 384474"/>
                  <a:gd name="connsiteX25" fmla="*/ 68262 w 378483"/>
                  <a:gd name="connsiteY25" fmla="*/ 27206 h 384474"/>
                  <a:gd name="connsiteX26" fmla="*/ 58737 w 378483"/>
                  <a:gd name="connsiteY26" fmla="*/ 31969 h 384474"/>
                  <a:gd name="connsiteX27" fmla="*/ 52387 w 378483"/>
                  <a:gd name="connsiteY27" fmla="*/ 36731 h 384474"/>
                  <a:gd name="connsiteX28" fmla="*/ 42862 w 378483"/>
                  <a:gd name="connsiteY28" fmla="*/ 38319 h 384474"/>
                  <a:gd name="connsiteX29" fmla="*/ 38100 w 378483"/>
                  <a:gd name="connsiteY29" fmla="*/ 41494 h 384474"/>
                  <a:gd name="connsiteX30" fmla="*/ 28575 w 378483"/>
                  <a:gd name="connsiteY30" fmla="*/ 43081 h 384474"/>
                  <a:gd name="connsiteX31" fmla="*/ 25400 w 378483"/>
                  <a:gd name="connsiteY31" fmla="*/ 57369 h 384474"/>
                  <a:gd name="connsiteX32" fmla="*/ 19050 w 378483"/>
                  <a:gd name="connsiteY32" fmla="*/ 58956 h 384474"/>
                  <a:gd name="connsiteX33" fmla="*/ 17462 w 378483"/>
                  <a:gd name="connsiteY33" fmla="*/ 63719 h 384474"/>
                  <a:gd name="connsiteX34" fmla="*/ 20637 w 378483"/>
                  <a:gd name="connsiteY34" fmla="*/ 68481 h 384474"/>
                  <a:gd name="connsiteX35" fmla="*/ 12700 w 378483"/>
                  <a:gd name="connsiteY35" fmla="*/ 78006 h 384474"/>
                  <a:gd name="connsiteX36" fmla="*/ 11112 w 378483"/>
                  <a:gd name="connsiteY36" fmla="*/ 100231 h 384474"/>
                  <a:gd name="connsiteX37" fmla="*/ 22225 w 378483"/>
                  <a:gd name="connsiteY37" fmla="*/ 103406 h 384474"/>
                  <a:gd name="connsiteX38" fmla="*/ 36512 w 378483"/>
                  <a:gd name="connsiteY38" fmla="*/ 101819 h 384474"/>
                  <a:gd name="connsiteX39" fmla="*/ 41275 w 378483"/>
                  <a:gd name="connsiteY39" fmla="*/ 103406 h 384474"/>
                  <a:gd name="connsiteX40" fmla="*/ 42862 w 378483"/>
                  <a:gd name="connsiteY40" fmla="*/ 117694 h 384474"/>
                  <a:gd name="connsiteX41" fmla="*/ 44450 w 378483"/>
                  <a:gd name="connsiteY41" fmla="*/ 124044 h 384474"/>
                  <a:gd name="connsiteX42" fmla="*/ 49212 w 378483"/>
                  <a:gd name="connsiteY42" fmla="*/ 125631 h 384474"/>
                  <a:gd name="connsiteX43" fmla="*/ 47625 w 378483"/>
                  <a:gd name="connsiteY43" fmla="*/ 130394 h 384474"/>
                  <a:gd name="connsiteX44" fmla="*/ 44450 w 378483"/>
                  <a:gd name="connsiteY44" fmla="*/ 135156 h 384474"/>
                  <a:gd name="connsiteX45" fmla="*/ 53975 w 378483"/>
                  <a:gd name="connsiteY45" fmla="*/ 139919 h 384474"/>
                  <a:gd name="connsiteX46" fmla="*/ 58737 w 378483"/>
                  <a:gd name="connsiteY46" fmla="*/ 143094 h 384474"/>
                  <a:gd name="connsiteX47" fmla="*/ 63500 w 378483"/>
                  <a:gd name="connsiteY47" fmla="*/ 158969 h 384474"/>
                  <a:gd name="connsiteX48" fmla="*/ 60325 w 378483"/>
                  <a:gd name="connsiteY48" fmla="*/ 168494 h 384474"/>
                  <a:gd name="connsiteX49" fmla="*/ 55562 w 378483"/>
                  <a:gd name="connsiteY49" fmla="*/ 166906 h 384474"/>
                  <a:gd name="connsiteX50" fmla="*/ 52387 w 378483"/>
                  <a:gd name="connsiteY50" fmla="*/ 162144 h 384474"/>
                  <a:gd name="connsiteX51" fmla="*/ 47625 w 378483"/>
                  <a:gd name="connsiteY51" fmla="*/ 163731 h 384474"/>
                  <a:gd name="connsiteX52" fmla="*/ 46037 w 378483"/>
                  <a:gd name="connsiteY52" fmla="*/ 170081 h 384474"/>
                  <a:gd name="connsiteX53" fmla="*/ 57150 w 378483"/>
                  <a:gd name="connsiteY53" fmla="*/ 162144 h 384474"/>
                  <a:gd name="connsiteX54" fmla="*/ 53975 w 378483"/>
                  <a:gd name="connsiteY54" fmla="*/ 157381 h 384474"/>
                  <a:gd name="connsiteX55" fmla="*/ 47625 w 378483"/>
                  <a:gd name="connsiteY55" fmla="*/ 160556 h 384474"/>
                  <a:gd name="connsiteX56" fmla="*/ 41275 w 378483"/>
                  <a:gd name="connsiteY56" fmla="*/ 170081 h 384474"/>
                  <a:gd name="connsiteX57" fmla="*/ 34925 w 378483"/>
                  <a:gd name="connsiteY57" fmla="*/ 162144 h 384474"/>
                  <a:gd name="connsiteX58" fmla="*/ 26987 w 378483"/>
                  <a:gd name="connsiteY58" fmla="*/ 163731 h 384474"/>
                  <a:gd name="connsiteX59" fmla="*/ 25400 w 378483"/>
                  <a:gd name="connsiteY59" fmla="*/ 170081 h 384474"/>
                  <a:gd name="connsiteX60" fmla="*/ 23812 w 378483"/>
                  <a:gd name="connsiteY60" fmla="*/ 181194 h 384474"/>
                  <a:gd name="connsiteX61" fmla="*/ 15875 w 378483"/>
                  <a:gd name="connsiteY61" fmla="*/ 182781 h 384474"/>
                  <a:gd name="connsiteX62" fmla="*/ 20637 w 378483"/>
                  <a:gd name="connsiteY62" fmla="*/ 187544 h 384474"/>
                  <a:gd name="connsiteX63" fmla="*/ 19050 w 378483"/>
                  <a:gd name="connsiteY63" fmla="*/ 192306 h 384474"/>
                  <a:gd name="connsiteX64" fmla="*/ 20637 w 378483"/>
                  <a:gd name="connsiteY64" fmla="*/ 197069 h 384474"/>
                  <a:gd name="connsiteX65" fmla="*/ 22225 w 378483"/>
                  <a:gd name="connsiteY65" fmla="*/ 203419 h 384474"/>
                  <a:gd name="connsiteX66" fmla="*/ 26987 w 378483"/>
                  <a:gd name="connsiteY66" fmla="*/ 205006 h 384474"/>
                  <a:gd name="connsiteX67" fmla="*/ 28575 w 378483"/>
                  <a:gd name="connsiteY67" fmla="*/ 216119 h 384474"/>
                  <a:gd name="connsiteX68" fmla="*/ 26987 w 378483"/>
                  <a:gd name="connsiteY68" fmla="*/ 220881 h 384474"/>
                  <a:gd name="connsiteX69" fmla="*/ 31750 w 378483"/>
                  <a:gd name="connsiteY69" fmla="*/ 225644 h 384474"/>
                  <a:gd name="connsiteX70" fmla="*/ 33337 w 378483"/>
                  <a:gd name="connsiteY70" fmla="*/ 230406 h 384474"/>
                  <a:gd name="connsiteX71" fmla="*/ 25400 w 378483"/>
                  <a:gd name="connsiteY71" fmla="*/ 239931 h 384474"/>
                  <a:gd name="connsiteX72" fmla="*/ 12700 w 378483"/>
                  <a:gd name="connsiteY72" fmla="*/ 244694 h 384474"/>
                  <a:gd name="connsiteX73" fmla="*/ 15875 w 378483"/>
                  <a:gd name="connsiteY73" fmla="*/ 251044 h 384474"/>
                  <a:gd name="connsiteX74" fmla="*/ 17462 w 378483"/>
                  <a:gd name="connsiteY74" fmla="*/ 255806 h 384474"/>
                  <a:gd name="connsiteX75" fmla="*/ 11112 w 378483"/>
                  <a:gd name="connsiteY75" fmla="*/ 257394 h 384474"/>
                  <a:gd name="connsiteX76" fmla="*/ 9525 w 378483"/>
                  <a:gd name="connsiteY76" fmla="*/ 263744 h 384474"/>
                  <a:gd name="connsiteX77" fmla="*/ 3175 w 378483"/>
                  <a:gd name="connsiteY77" fmla="*/ 265331 h 384474"/>
                  <a:gd name="connsiteX78" fmla="*/ 1587 w 378483"/>
                  <a:gd name="connsiteY78" fmla="*/ 274856 h 384474"/>
                  <a:gd name="connsiteX79" fmla="*/ 0 w 378483"/>
                  <a:gd name="connsiteY79" fmla="*/ 281206 h 384474"/>
                  <a:gd name="connsiteX80" fmla="*/ 6350 w 378483"/>
                  <a:gd name="connsiteY80" fmla="*/ 292319 h 384474"/>
                  <a:gd name="connsiteX81" fmla="*/ 7937 w 378483"/>
                  <a:gd name="connsiteY81" fmla="*/ 300256 h 384474"/>
                  <a:gd name="connsiteX82" fmla="*/ 25400 w 378483"/>
                  <a:gd name="connsiteY82" fmla="*/ 297081 h 384474"/>
                  <a:gd name="connsiteX83" fmla="*/ 28575 w 378483"/>
                  <a:gd name="connsiteY83" fmla="*/ 292319 h 384474"/>
                  <a:gd name="connsiteX84" fmla="*/ 38100 w 378483"/>
                  <a:gd name="connsiteY84" fmla="*/ 289144 h 384474"/>
                  <a:gd name="connsiteX85" fmla="*/ 47625 w 378483"/>
                  <a:gd name="connsiteY85" fmla="*/ 284381 h 384474"/>
                  <a:gd name="connsiteX86" fmla="*/ 53975 w 378483"/>
                  <a:gd name="connsiteY86" fmla="*/ 274856 h 384474"/>
                  <a:gd name="connsiteX87" fmla="*/ 49212 w 378483"/>
                  <a:gd name="connsiteY87" fmla="*/ 282794 h 384474"/>
                  <a:gd name="connsiteX88" fmla="*/ 58737 w 378483"/>
                  <a:gd name="connsiteY88" fmla="*/ 276444 h 384474"/>
                  <a:gd name="connsiteX89" fmla="*/ 73025 w 378483"/>
                  <a:gd name="connsiteY89" fmla="*/ 273269 h 384474"/>
                  <a:gd name="connsiteX90" fmla="*/ 77787 w 378483"/>
                  <a:gd name="connsiteY90" fmla="*/ 268506 h 384474"/>
                  <a:gd name="connsiteX91" fmla="*/ 80962 w 378483"/>
                  <a:gd name="connsiteY91" fmla="*/ 263744 h 384474"/>
                  <a:gd name="connsiteX92" fmla="*/ 85725 w 378483"/>
                  <a:gd name="connsiteY92" fmla="*/ 262156 h 384474"/>
                  <a:gd name="connsiteX93" fmla="*/ 90487 w 378483"/>
                  <a:gd name="connsiteY93" fmla="*/ 258981 h 384474"/>
                  <a:gd name="connsiteX94" fmla="*/ 101600 w 378483"/>
                  <a:gd name="connsiteY94" fmla="*/ 260569 h 384474"/>
                  <a:gd name="connsiteX95" fmla="*/ 106362 w 378483"/>
                  <a:gd name="connsiteY95" fmla="*/ 271681 h 384474"/>
                  <a:gd name="connsiteX96" fmla="*/ 101600 w 378483"/>
                  <a:gd name="connsiteY96" fmla="*/ 282794 h 384474"/>
                  <a:gd name="connsiteX97" fmla="*/ 90487 w 378483"/>
                  <a:gd name="connsiteY97" fmla="*/ 289144 h 384474"/>
                  <a:gd name="connsiteX98" fmla="*/ 84137 w 378483"/>
                  <a:gd name="connsiteY98" fmla="*/ 293906 h 384474"/>
                  <a:gd name="connsiteX99" fmla="*/ 77787 w 378483"/>
                  <a:gd name="connsiteY99" fmla="*/ 305019 h 384474"/>
                  <a:gd name="connsiteX100" fmla="*/ 69850 w 378483"/>
                  <a:gd name="connsiteY100" fmla="*/ 314544 h 384474"/>
                  <a:gd name="connsiteX101" fmla="*/ 58737 w 378483"/>
                  <a:gd name="connsiteY101" fmla="*/ 320894 h 384474"/>
                  <a:gd name="connsiteX102" fmla="*/ 53975 w 378483"/>
                  <a:gd name="connsiteY102" fmla="*/ 325656 h 384474"/>
                  <a:gd name="connsiteX103" fmla="*/ 47625 w 378483"/>
                  <a:gd name="connsiteY103" fmla="*/ 328831 h 384474"/>
                  <a:gd name="connsiteX104" fmla="*/ 38100 w 378483"/>
                  <a:gd name="connsiteY104" fmla="*/ 338356 h 384474"/>
                  <a:gd name="connsiteX105" fmla="*/ 33337 w 378483"/>
                  <a:gd name="connsiteY105" fmla="*/ 341531 h 384474"/>
                  <a:gd name="connsiteX106" fmla="*/ 36512 w 378483"/>
                  <a:gd name="connsiteY106" fmla="*/ 347881 h 384474"/>
                  <a:gd name="connsiteX107" fmla="*/ 34925 w 378483"/>
                  <a:gd name="connsiteY107" fmla="*/ 352644 h 384474"/>
                  <a:gd name="connsiteX108" fmla="*/ 33337 w 378483"/>
                  <a:gd name="connsiteY108" fmla="*/ 360581 h 384474"/>
                  <a:gd name="connsiteX109" fmla="*/ 30162 w 378483"/>
                  <a:gd name="connsiteY109" fmla="*/ 378044 h 384474"/>
                  <a:gd name="connsiteX110" fmla="*/ 28575 w 378483"/>
                  <a:gd name="connsiteY110" fmla="*/ 384394 h 384474"/>
                  <a:gd name="connsiteX111" fmla="*/ 36512 w 378483"/>
                  <a:gd name="connsiteY111" fmla="*/ 379631 h 384474"/>
                  <a:gd name="connsiteX112" fmla="*/ 52387 w 378483"/>
                  <a:gd name="connsiteY112" fmla="*/ 378044 h 384474"/>
                  <a:gd name="connsiteX113" fmla="*/ 53975 w 378483"/>
                  <a:gd name="connsiteY113" fmla="*/ 373281 h 384474"/>
                  <a:gd name="connsiteX114" fmla="*/ 57150 w 378483"/>
                  <a:gd name="connsiteY114" fmla="*/ 362169 h 384474"/>
                  <a:gd name="connsiteX115" fmla="*/ 63500 w 378483"/>
                  <a:gd name="connsiteY115" fmla="*/ 357406 h 384474"/>
                  <a:gd name="connsiteX116" fmla="*/ 66675 w 378483"/>
                  <a:gd name="connsiteY116" fmla="*/ 352644 h 384474"/>
                  <a:gd name="connsiteX117" fmla="*/ 74612 w 378483"/>
                  <a:gd name="connsiteY117" fmla="*/ 343119 h 384474"/>
                  <a:gd name="connsiteX118" fmla="*/ 77787 w 378483"/>
                  <a:gd name="connsiteY118" fmla="*/ 335181 h 384474"/>
                  <a:gd name="connsiteX119" fmla="*/ 87312 w 378483"/>
                  <a:gd name="connsiteY119" fmla="*/ 322481 h 384474"/>
                  <a:gd name="connsiteX120" fmla="*/ 90487 w 378483"/>
                  <a:gd name="connsiteY120" fmla="*/ 316131 h 384474"/>
                  <a:gd name="connsiteX121" fmla="*/ 92075 w 378483"/>
                  <a:gd name="connsiteY121" fmla="*/ 311369 h 384474"/>
                  <a:gd name="connsiteX122" fmla="*/ 100012 w 378483"/>
                  <a:gd name="connsiteY122" fmla="*/ 301844 h 384474"/>
                  <a:gd name="connsiteX123" fmla="*/ 106362 w 378483"/>
                  <a:gd name="connsiteY123" fmla="*/ 300256 h 384474"/>
                  <a:gd name="connsiteX124" fmla="*/ 112712 w 378483"/>
                  <a:gd name="connsiteY124" fmla="*/ 297081 h 384474"/>
                  <a:gd name="connsiteX125" fmla="*/ 120650 w 378483"/>
                  <a:gd name="connsiteY125" fmla="*/ 285969 h 384474"/>
                  <a:gd name="connsiteX126" fmla="*/ 127000 w 378483"/>
                  <a:gd name="connsiteY126" fmla="*/ 274856 h 384474"/>
                  <a:gd name="connsiteX127" fmla="*/ 131762 w 378483"/>
                  <a:gd name="connsiteY127" fmla="*/ 270094 h 384474"/>
                  <a:gd name="connsiteX128" fmla="*/ 136525 w 378483"/>
                  <a:gd name="connsiteY128" fmla="*/ 266919 h 384474"/>
                  <a:gd name="connsiteX129" fmla="*/ 147637 w 378483"/>
                  <a:gd name="connsiteY129" fmla="*/ 257394 h 384474"/>
                  <a:gd name="connsiteX130" fmla="*/ 166687 w 378483"/>
                  <a:gd name="connsiteY130" fmla="*/ 241519 h 384474"/>
                  <a:gd name="connsiteX131" fmla="*/ 173037 w 378483"/>
                  <a:gd name="connsiteY131" fmla="*/ 224056 h 384474"/>
                  <a:gd name="connsiteX132" fmla="*/ 179387 w 378483"/>
                  <a:gd name="connsiteY132" fmla="*/ 211356 h 384474"/>
                  <a:gd name="connsiteX133" fmla="*/ 184150 w 378483"/>
                  <a:gd name="connsiteY133" fmla="*/ 195481 h 384474"/>
                  <a:gd name="connsiteX134" fmla="*/ 196850 w 378483"/>
                  <a:gd name="connsiteY134" fmla="*/ 189131 h 384474"/>
                  <a:gd name="connsiteX135" fmla="*/ 209550 w 378483"/>
                  <a:gd name="connsiteY135" fmla="*/ 178018 h 384474"/>
                  <a:gd name="connsiteX136" fmla="*/ 222250 w 378483"/>
                  <a:gd name="connsiteY136" fmla="*/ 187544 h 384474"/>
                  <a:gd name="connsiteX137" fmla="*/ 238125 w 378483"/>
                  <a:gd name="connsiteY137" fmla="*/ 179606 h 384474"/>
                  <a:gd name="connsiteX138" fmla="*/ 242887 w 378483"/>
                  <a:gd name="connsiteY138" fmla="*/ 173256 h 384474"/>
                  <a:gd name="connsiteX139" fmla="*/ 244475 w 378483"/>
                  <a:gd name="connsiteY139" fmla="*/ 166906 h 384474"/>
                  <a:gd name="connsiteX140" fmla="*/ 258763 w 378483"/>
                  <a:gd name="connsiteY140" fmla="*/ 163732 h 384474"/>
                  <a:gd name="connsiteX141" fmla="*/ 271462 w 378483"/>
                  <a:gd name="connsiteY141" fmla="*/ 162143 h 384474"/>
                  <a:gd name="connsiteX142" fmla="*/ 290513 w 378483"/>
                  <a:gd name="connsiteY142" fmla="*/ 157381 h 384474"/>
                  <a:gd name="connsiteX143" fmla="*/ 285750 w 378483"/>
                  <a:gd name="connsiteY143" fmla="*/ 163732 h 384474"/>
                  <a:gd name="connsiteX144" fmla="*/ 304800 w 378483"/>
                  <a:gd name="connsiteY144" fmla="*/ 157381 h 384474"/>
                  <a:gd name="connsiteX145" fmla="*/ 309562 w 378483"/>
                  <a:gd name="connsiteY145" fmla="*/ 160556 h 384474"/>
                  <a:gd name="connsiteX146" fmla="*/ 311150 w 378483"/>
                  <a:gd name="connsiteY146" fmla="*/ 155794 h 384474"/>
                  <a:gd name="connsiteX147" fmla="*/ 309562 w 378483"/>
                  <a:gd name="connsiteY147" fmla="*/ 144681 h 384474"/>
                  <a:gd name="connsiteX148" fmla="*/ 314325 w 378483"/>
                  <a:gd name="connsiteY148" fmla="*/ 149444 h 384474"/>
                  <a:gd name="connsiteX149" fmla="*/ 317500 w 378483"/>
                  <a:gd name="connsiteY149" fmla="*/ 155794 h 384474"/>
                  <a:gd name="connsiteX150" fmla="*/ 349250 w 378483"/>
                  <a:gd name="connsiteY150" fmla="*/ 160556 h 384474"/>
                  <a:gd name="connsiteX151" fmla="*/ 350837 w 378483"/>
                  <a:gd name="connsiteY151" fmla="*/ 155794 h 384474"/>
                  <a:gd name="connsiteX152" fmla="*/ 363538 w 378483"/>
                  <a:gd name="connsiteY152" fmla="*/ 154207 h 384474"/>
                  <a:gd name="connsiteX153" fmla="*/ 371474 w 378483"/>
                  <a:gd name="connsiteY153" fmla="*/ 151031 h 384474"/>
                  <a:gd name="connsiteX154" fmla="*/ 373062 w 378483"/>
                  <a:gd name="connsiteY154" fmla="*/ 141506 h 384474"/>
                  <a:gd name="connsiteX155" fmla="*/ 371475 w 378483"/>
                  <a:gd name="connsiteY155" fmla="*/ 138331 h 384474"/>
                  <a:gd name="connsiteX156" fmla="*/ 373062 w 378483"/>
                  <a:gd name="connsiteY156" fmla="*/ 133569 h 384474"/>
                  <a:gd name="connsiteX157" fmla="*/ 369887 w 378483"/>
                  <a:gd name="connsiteY157" fmla="*/ 119281 h 384474"/>
                  <a:gd name="connsiteX158" fmla="*/ 371475 w 378483"/>
                  <a:gd name="connsiteY158" fmla="*/ 114519 h 384474"/>
                  <a:gd name="connsiteX159" fmla="*/ 377825 w 378483"/>
                  <a:gd name="connsiteY159" fmla="*/ 112931 h 384474"/>
                  <a:gd name="connsiteX160" fmla="*/ 371475 w 378483"/>
                  <a:gd name="connsiteY160" fmla="*/ 100231 h 384474"/>
                  <a:gd name="connsiteX161" fmla="*/ 360362 w 378483"/>
                  <a:gd name="connsiteY161" fmla="*/ 92294 h 384474"/>
                  <a:gd name="connsiteX162" fmla="*/ 327025 w 378483"/>
                  <a:gd name="connsiteY162" fmla="*/ 92294 h 384474"/>
                  <a:gd name="connsiteX163" fmla="*/ 328612 w 378483"/>
                  <a:gd name="connsiteY163" fmla="*/ 100231 h 384474"/>
                  <a:gd name="connsiteX164" fmla="*/ 333375 w 378483"/>
                  <a:gd name="connsiteY164" fmla="*/ 101819 h 384474"/>
                  <a:gd name="connsiteX165" fmla="*/ 312738 w 378483"/>
                  <a:gd name="connsiteY165" fmla="*/ 106582 h 384474"/>
                  <a:gd name="connsiteX166" fmla="*/ 317500 w 378483"/>
                  <a:gd name="connsiteY166" fmla="*/ 93881 h 384474"/>
                  <a:gd name="connsiteX167" fmla="*/ 301625 w 378483"/>
                  <a:gd name="connsiteY167" fmla="*/ 92294 h 384474"/>
                  <a:gd name="connsiteX168" fmla="*/ 296862 w 378483"/>
                  <a:gd name="connsiteY168" fmla="*/ 90706 h 384474"/>
                  <a:gd name="connsiteX169" fmla="*/ 293687 w 378483"/>
                  <a:gd name="connsiteY169" fmla="*/ 85944 h 384474"/>
                  <a:gd name="connsiteX170" fmla="*/ 288925 w 378483"/>
                  <a:gd name="connsiteY170" fmla="*/ 84356 h 384474"/>
                  <a:gd name="connsiteX171" fmla="*/ 276225 w 378483"/>
                  <a:gd name="connsiteY171" fmla="*/ 79594 h 384474"/>
                  <a:gd name="connsiteX172" fmla="*/ 254000 w 378483"/>
                  <a:gd name="connsiteY172" fmla="*/ 70069 h 384474"/>
                  <a:gd name="connsiteX173" fmla="*/ 238125 w 378483"/>
                  <a:gd name="connsiteY173" fmla="*/ 66894 h 384474"/>
                  <a:gd name="connsiteX174" fmla="*/ 233362 w 378483"/>
                  <a:gd name="connsiteY174" fmla="*/ 62131 h 384474"/>
                  <a:gd name="connsiteX175" fmla="*/ 227012 w 378483"/>
                  <a:gd name="connsiteY175" fmla="*/ 54194 h 384474"/>
                  <a:gd name="connsiteX176" fmla="*/ 222250 w 378483"/>
                  <a:gd name="connsiteY176" fmla="*/ 52606 h 384474"/>
                  <a:gd name="connsiteX177" fmla="*/ 220662 w 378483"/>
                  <a:gd name="connsiteY177" fmla="*/ 44669 h 384474"/>
                  <a:gd name="connsiteX178" fmla="*/ 222250 w 378483"/>
                  <a:gd name="connsiteY178" fmla="*/ 31968 h 384474"/>
                  <a:gd name="connsiteX179" fmla="*/ 215899 w 378483"/>
                  <a:gd name="connsiteY179" fmla="*/ 14507 h 384474"/>
                  <a:gd name="connsiteX0" fmla="*/ 215899 w 378483"/>
                  <a:gd name="connsiteY0" fmla="*/ 14507 h 384474"/>
                  <a:gd name="connsiteX1" fmla="*/ 222250 w 378483"/>
                  <a:gd name="connsiteY1" fmla="*/ 9744 h 384474"/>
                  <a:gd name="connsiteX2" fmla="*/ 220662 w 378483"/>
                  <a:gd name="connsiteY2" fmla="*/ 4981 h 384474"/>
                  <a:gd name="connsiteX3" fmla="*/ 193675 w 378483"/>
                  <a:gd name="connsiteY3" fmla="*/ 219 h 384474"/>
                  <a:gd name="connsiteX4" fmla="*/ 184150 w 378483"/>
                  <a:gd name="connsiteY4" fmla="*/ 3394 h 384474"/>
                  <a:gd name="connsiteX5" fmla="*/ 179387 w 378483"/>
                  <a:gd name="connsiteY5" fmla="*/ 6569 h 384474"/>
                  <a:gd name="connsiteX6" fmla="*/ 171450 w 378483"/>
                  <a:gd name="connsiteY6" fmla="*/ 8156 h 384474"/>
                  <a:gd name="connsiteX7" fmla="*/ 169862 w 378483"/>
                  <a:gd name="connsiteY7" fmla="*/ 19269 h 384474"/>
                  <a:gd name="connsiteX8" fmla="*/ 174625 w 378483"/>
                  <a:gd name="connsiteY8" fmla="*/ 25619 h 384474"/>
                  <a:gd name="connsiteX9" fmla="*/ 161925 w 378483"/>
                  <a:gd name="connsiteY9" fmla="*/ 24031 h 384474"/>
                  <a:gd name="connsiteX10" fmla="*/ 155575 w 378483"/>
                  <a:gd name="connsiteY10" fmla="*/ 19269 h 384474"/>
                  <a:gd name="connsiteX11" fmla="*/ 142875 w 378483"/>
                  <a:gd name="connsiteY11" fmla="*/ 22444 h 384474"/>
                  <a:gd name="connsiteX12" fmla="*/ 136525 w 378483"/>
                  <a:gd name="connsiteY12" fmla="*/ 25619 h 384474"/>
                  <a:gd name="connsiteX13" fmla="*/ 128587 w 378483"/>
                  <a:gd name="connsiteY13" fmla="*/ 11331 h 384474"/>
                  <a:gd name="connsiteX14" fmla="*/ 109537 w 378483"/>
                  <a:gd name="connsiteY14" fmla="*/ 8156 h 384474"/>
                  <a:gd name="connsiteX15" fmla="*/ 107950 w 378483"/>
                  <a:gd name="connsiteY15" fmla="*/ 3394 h 384474"/>
                  <a:gd name="connsiteX16" fmla="*/ 92075 w 378483"/>
                  <a:gd name="connsiteY16" fmla="*/ 4981 h 384474"/>
                  <a:gd name="connsiteX17" fmla="*/ 79375 w 378483"/>
                  <a:gd name="connsiteY17" fmla="*/ 12919 h 384474"/>
                  <a:gd name="connsiteX18" fmla="*/ 74612 w 378483"/>
                  <a:gd name="connsiteY18" fmla="*/ 17681 h 384474"/>
                  <a:gd name="connsiteX19" fmla="*/ 73025 w 378483"/>
                  <a:gd name="connsiteY19" fmla="*/ 24031 h 384474"/>
                  <a:gd name="connsiteX20" fmla="*/ 79375 w 378483"/>
                  <a:gd name="connsiteY20" fmla="*/ 20856 h 384474"/>
                  <a:gd name="connsiteX21" fmla="*/ 74612 w 378483"/>
                  <a:gd name="connsiteY21" fmla="*/ 19269 h 384474"/>
                  <a:gd name="connsiteX22" fmla="*/ 68262 w 378483"/>
                  <a:gd name="connsiteY22" fmla="*/ 20856 h 384474"/>
                  <a:gd name="connsiteX23" fmla="*/ 73025 w 378483"/>
                  <a:gd name="connsiteY23" fmla="*/ 24031 h 384474"/>
                  <a:gd name="connsiteX24" fmla="*/ 68262 w 378483"/>
                  <a:gd name="connsiteY24" fmla="*/ 27206 h 384474"/>
                  <a:gd name="connsiteX25" fmla="*/ 58737 w 378483"/>
                  <a:gd name="connsiteY25" fmla="*/ 31969 h 384474"/>
                  <a:gd name="connsiteX26" fmla="*/ 52387 w 378483"/>
                  <a:gd name="connsiteY26" fmla="*/ 36731 h 384474"/>
                  <a:gd name="connsiteX27" fmla="*/ 42862 w 378483"/>
                  <a:gd name="connsiteY27" fmla="*/ 38319 h 384474"/>
                  <a:gd name="connsiteX28" fmla="*/ 38100 w 378483"/>
                  <a:gd name="connsiteY28" fmla="*/ 41494 h 384474"/>
                  <a:gd name="connsiteX29" fmla="*/ 28575 w 378483"/>
                  <a:gd name="connsiteY29" fmla="*/ 43081 h 384474"/>
                  <a:gd name="connsiteX30" fmla="*/ 25400 w 378483"/>
                  <a:gd name="connsiteY30" fmla="*/ 57369 h 384474"/>
                  <a:gd name="connsiteX31" fmla="*/ 19050 w 378483"/>
                  <a:gd name="connsiteY31" fmla="*/ 58956 h 384474"/>
                  <a:gd name="connsiteX32" fmla="*/ 17462 w 378483"/>
                  <a:gd name="connsiteY32" fmla="*/ 63719 h 384474"/>
                  <a:gd name="connsiteX33" fmla="*/ 20637 w 378483"/>
                  <a:gd name="connsiteY33" fmla="*/ 68481 h 384474"/>
                  <a:gd name="connsiteX34" fmla="*/ 12700 w 378483"/>
                  <a:gd name="connsiteY34" fmla="*/ 78006 h 384474"/>
                  <a:gd name="connsiteX35" fmla="*/ 11112 w 378483"/>
                  <a:gd name="connsiteY35" fmla="*/ 100231 h 384474"/>
                  <a:gd name="connsiteX36" fmla="*/ 22225 w 378483"/>
                  <a:gd name="connsiteY36" fmla="*/ 103406 h 384474"/>
                  <a:gd name="connsiteX37" fmla="*/ 36512 w 378483"/>
                  <a:gd name="connsiteY37" fmla="*/ 101819 h 384474"/>
                  <a:gd name="connsiteX38" fmla="*/ 41275 w 378483"/>
                  <a:gd name="connsiteY38" fmla="*/ 103406 h 384474"/>
                  <a:gd name="connsiteX39" fmla="*/ 42862 w 378483"/>
                  <a:gd name="connsiteY39" fmla="*/ 117694 h 384474"/>
                  <a:gd name="connsiteX40" fmla="*/ 44450 w 378483"/>
                  <a:gd name="connsiteY40" fmla="*/ 124044 h 384474"/>
                  <a:gd name="connsiteX41" fmla="*/ 49212 w 378483"/>
                  <a:gd name="connsiteY41" fmla="*/ 125631 h 384474"/>
                  <a:gd name="connsiteX42" fmla="*/ 47625 w 378483"/>
                  <a:gd name="connsiteY42" fmla="*/ 130394 h 384474"/>
                  <a:gd name="connsiteX43" fmla="*/ 44450 w 378483"/>
                  <a:gd name="connsiteY43" fmla="*/ 135156 h 384474"/>
                  <a:gd name="connsiteX44" fmla="*/ 53975 w 378483"/>
                  <a:gd name="connsiteY44" fmla="*/ 139919 h 384474"/>
                  <a:gd name="connsiteX45" fmla="*/ 58737 w 378483"/>
                  <a:gd name="connsiteY45" fmla="*/ 143094 h 384474"/>
                  <a:gd name="connsiteX46" fmla="*/ 63500 w 378483"/>
                  <a:gd name="connsiteY46" fmla="*/ 158969 h 384474"/>
                  <a:gd name="connsiteX47" fmla="*/ 60325 w 378483"/>
                  <a:gd name="connsiteY47" fmla="*/ 168494 h 384474"/>
                  <a:gd name="connsiteX48" fmla="*/ 55562 w 378483"/>
                  <a:gd name="connsiteY48" fmla="*/ 166906 h 384474"/>
                  <a:gd name="connsiteX49" fmla="*/ 52387 w 378483"/>
                  <a:gd name="connsiteY49" fmla="*/ 162144 h 384474"/>
                  <a:gd name="connsiteX50" fmla="*/ 47625 w 378483"/>
                  <a:gd name="connsiteY50" fmla="*/ 163731 h 384474"/>
                  <a:gd name="connsiteX51" fmla="*/ 46037 w 378483"/>
                  <a:gd name="connsiteY51" fmla="*/ 170081 h 384474"/>
                  <a:gd name="connsiteX52" fmla="*/ 57150 w 378483"/>
                  <a:gd name="connsiteY52" fmla="*/ 162144 h 384474"/>
                  <a:gd name="connsiteX53" fmla="*/ 53975 w 378483"/>
                  <a:gd name="connsiteY53" fmla="*/ 157381 h 384474"/>
                  <a:gd name="connsiteX54" fmla="*/ 47625 w 378483"/>
                  <a:gd name="connsiteY54" fmla="*/ 160556 h 384474"/>
                  <a:gd name="connsiteX55" fmla="*/ 41275 w 378483"/>
                  <a:gd name="connsiteY55" fmla="*/ 170081 h 384474"/>
                  <a:gd name="connsiteX56" fmla="*/ 34925 w 378483"/>
                  <a:gd name="connsiteY56" fmla="*/ 162144 h 384474"/>
                  <a:gd name="connsiteX57" fmla="*/ 26987 w 378483"/>
                  <a:gd name="connsiteY57" fmla="*/ 163731 h 384474"/>
                  <a:gd name="connsiteX58" fmla="*/ 25400 w 378483"/>
                  <a:gd name="connsiteY58" fmla="*/ 170081 h 384474"/>
                  <a:gd name="connsiteX59" fmla="*/ 23812 w 378483"/>
                  <a:gd name="connsiteY59" fmla="*/ 181194 h 384474"/>
                  <a:gd name="connsiteX60" fmla="*/ 15875 w 378483"/>
                  <a:gd name="connsiteY60" fmla="*/ 182781 h 384474"/>
                  <a:gd name="connsiteX61" fmla="*/ 20637 w 378483"/>
                  <a:gd name="connsiteY61" fmla="*/ 187544 h 384474"/>
                  <a:gd name="connsiteX62" fmla="*/ 19050 w 378483"/>
                  <a:gd name="connsiteY62" fmla="*/ 192306 h 384474"/>
                  <a:gd name="connsiteX63" fmla="*/ 20637 w 378483"/>
                  <a:gd name="connsiteY63" fmla="*/ 197069 h 384474"/>
                  <a:gd name="connsiteX64" fmla="*/ 22225 w 378483"/>
                  <a:gd name="connsiteY64" fmla="*/ 203419 h 384474"/>
                  <a:gd name="connsiteX65" fmla="*/ 26987 w 378483"/>
                  <a:gd name="connsiteY65" fmla="*/ 205006 h 384474"/>
                  <a:gd name="connsiteX66" fmla="*/ 28575 w 378483"/>
                  <a:gd name="connsiteY66" fmla="*/ 216119 h 384474"/>
                  <a:gd name="connsiteX67" fmla="*/ 26987 w 378483"/>
                  <a:gd name="connsiteY67" fmla="*/ 220881 h 384474"/>
                  <a:gd name="connsiteX68" fmla="*/ 31750 w 378483"/>
                  <a:gd name="connsiteY68" fmla="*/ 225644 h 384474"/>
                  <a:gd name="connsiteX69" fmla="*/ 33337 w 378483"/>
                  <a:gd name="connsiteY69" fmla="*/ 230406 h 384474"/>
                  <a:gd name="connsiteX70" fmla="*/ 25400 w 378483"/>
                  <a:gd name="connsiteY70" fmla="*/ 239931 h 384474"/>
                  <a:gd name="connsiteX71" fmla="*/ 12700 w 378483"/>
                  <a:gd name="connsiteY71" fmla="*/ 244694 h 384474"/>
                  <a:gd name="connsiteX72" fmla="*/ 15875 w 378483"/>
                  <a:gd name="connsiteY72" fmla="*/ 251044 h 384474"/>
                  <a:gd name="connsiteX73" fmla="*/ 17462 w 378483"/>
                  <a:gd name="connsiteY73" fmla="*/ 255806 h 384474"/>
                  <a:gd name="connsiteX74" fmla="*/ 11112 w 378483"/>
                  <a:gd name="connsiteY74" fmla="*/ 257394 h 384474"/>
                  <a:gd name="connsiteX75" fmla="*/ 9525 w 378483"/>
                  <a:gd name="connsiteY75" fmla="*/ 263744 h 384474"/>
                  <a:gd name="connsiteX76" fmla="*/ 3175 w 378483"/>
                  <a:gd name="connsiteY76" fmla="*/ 265331 h 384474"/>
                  <a:gd name="connsiteX77" fmla="*/ 1587 w 378483"/>
                  <a:gd name="connsiteY77" fmla="*/ 274856 h 384474"/>
                  <a:gd name="connsiteX78" fmla="*/ 0 w 378483"/>
                  <a:gd name="connsiteY78" fmla="*/ 281206 h 384474"/>
                  <a:gd name="connsiteX79" fmla="*/ 6350 w 378483"/>
                  <a:gd name="connsiteY79" fmla="*/ 292319 h 384474"/>
                  <a:gd name="connsiteX80" fmla="*/ 7937 w 378483"/>
                  <a:gd name="connsiteY80" fmla="*/ 300256 h 384474"/>
                  <a:gd name="connsiteX81" fmla="*/ 25400 w 378483"/>
                  <a:gd name="connsiteY81" fmla="*/ 297081 h 384474"/>
                  <a:gd name="connsiteX82" fmla="*/ 28575 w 378483"/>
                  <a:gd name="connsiteY82" fmla="*/ 292319 h 384474"/>
                  <a:gd name="connsiteX83" fmla="*/ 38100 w 378483"/>
                  <a:gd name="connsiteY83" fmla="*/ 289144 h 384474"/>
                  <a:gd name="connsiteX84" fmla="*/ 47625 w 378483"/>
                  <a:gd name="connsiteY84" fmla="*/ 284381 h 384474"/>
                  <a:gd name="connsiteX85" fmla="*/ 53975 w 378483"/>
                  <a:gd name="connsiteY85" fmla="*/ 274856 h 384474"/>
                  <a:gd name="connsiteX86" fmla="*/ 49212 w 378483"/>
                  <a:gd name="connsiteY86" fmla="*/ 282794 h 384474"/>
                  <a:gd name="connsiteX87" fmla="*/ 58737 w 378483"/>
                  <a:gd name="connsiteY87" fmla="*/ 276444 h 384474"/>
                  <a:gd name="connsiteX88" fmla="*/ 73025 w 378483"/>
                  <a:gd name="connsiteY88" fmla="*/ 273269 h 384474"/>
                  <a:gd name="connsiteX89" fmla="*/ 77787 w 378483"/>
                  <a:gd name="connsiteY89" fmla="*/ 268506 h 384474"/>
                  <a:gd name="connsiteX90" fmla="*/ 80962 w 378483"/>
                  <a:gd name="connsiteY90" fmla="*/ 263744 h 384474"/>
                  <a:gd name="connsiteX91" fmla="*/ 85725 w 378483"/>
                  <a:gd name="connsiteY91" fmla="*/ 262156 h 384474"/>
                  <a:gd name="connsiteX92" fmla="*/ 90487 w 378483"/>
                  <a:gd name="connsiteY92" fmla="*/ 258981 h 384474"/>
                  <a:gd name="connsiteX93" fmla="*/ 101600 w 378483"/>
                  <a:gd name="connsiteY93" fmla="*/ 260569 h 384474"/>
                  <a:gd name="connsiteX94" fmla="*/ 106362 w 378483"/>
                  <a:gd name="connsiteY94" fmla="*/ 271681 h 384474"/>
                  <a:gd name="connsiteX95" fmla="*/ 101600 w 378483"/>
                  <a:gd name="connsiteY95" fmla="*/ 282794 h 384474"/>
                  <a:gd name="connsiteX96" fmla="*/ 90487 w 378483"/>
                  <a:gd name="connsiteY96" fmla="*/ 289144 h 384474"/>
                  <a:gd name="connsiteX97" fmla="*/ 84137 w 378483"/>
                  <a:gd name="connsiteY97" fmla="*/ 293906 h 384474"/>
                  <a:gd name="connsiteX98" fmla="*/ 77787 w 378483"/>
                  <a:gd name="connsiteY98" fmla="*/ 305019 h 384474"/>
                  <a:gd name="connsiteX99" fmla="*/ 69850 w 378483"/>
                  <a:gd name="connsiteY99" fmla="*/ 314544 h 384474"/>
                  <a:gd name="connsiteX100" fmla="*/ 58737 w 378483"/>
                  <a:gd name="connsiteY100" fmla="*/ 320894 h 384474"/>
                  <a:gd name="connsiteX101" fmla="*/ 53975 w 378483"/>
                  <a:gd name="connsiteY101" fmla="*/ 325656 h 384474"/>
                  <a:gd name="connsiteX102" fmla="*/ 47625 w 378483"/>
                  <a:gd name="connsiteY102" fmla="*/ 328831 h 384474"/>
                  <a:gd name="connsiteX103" fmla="*/ 38100 w 378483"/>
                  <a:gd name="connsiteY103" fmla="*/ 338356 h 384474"/>
                  <a:gd name="connsiteX104" fmla="*/ 33337 w 378483"/>
                  <a:gd name="connsiteY104" fmla="*/ 341531 h 384474"/>
                  <a:gd name="connsiteX105" fmla="*/ 36512 w 378483"/>
                  <a:gd name="connsiteY105" fmla="*/ 347881 h 384474"/>
                  <a:gd name="connsiteX106" fmla="*/ 34925 w 378483"/>
                  <a:gd name="connsiteY106" fmla="*/ 352644 h 384474"/>
                  <a:gd name="connsiteX107" fmla="*/ 33337 w 378483"/>
                  <a:gd name="connsiteY107" fmla="*/ 360581 h 384474"/>
                  <a:gd name="connsiteX108" fmla="*/ 30162 w 378483"/>
                  <a:gd name="connsiteY108" fmla="*/ 378044 h 384474"/>
                  <a:gd name="connsiteX109" fmla="*/ 28575 w 378483"/>
                  <a:gd name="connsiteY109" fmla="*/ 384394 h 384474"/>
                  <a:gd name="connsiteX110" fmla="*/ 36512 w 378483"/>
                  <a:gd name="connsiteY110" fmla="*/ 379631 h 384474"/>
                  <a:gd name="connsiteX111" fmla="*/ 52387 w 378483"/>
                  <a:gd name="connsiteY111" fmla="*/ 378044 h 384474"/>
                  <a:gd name="connsiteX112" fmla="*/ 53975 w 378483"/>
                  <a:gd name="connsiteY112" fmla="*/ 373281 h 384474"/>
                  <a:gd name="connsiteX113" fmla="*/ 57150 w 378483"/>
                  <a:gd name="connsiteY113" fmla="*/ 362169 h 384474"/>
                  <a:gd name="connsiteX114" fmla="*/ 63500 w 378483"/>
                  <a:gd name="connsiteY114" fmla="*/ 357406 h 384474"/>
                  <a:gd name="connsiteX115" fmla="*/ 66675 w 378483"/>
                  <a:gd name="connsiteY115" fmla="*/ 352644 h 384474"/>
                  <a:gd name="connsiteX116" fmla="*/ 74612 w 378483"/>
                  <a:gd name="connsiteY116" fmla="*/ 343119 h 384474"/>
                  <a:gd name="connsiteX117" fmla="*/ 77787 w 378483"/>
                  <a:gd name="connsiteY117" fmla="*/ 335181 h 384474"/>
                  <a:gd name="connsiteX118" fmla="*/ 87312 w 378483"/>
                  <a:gd name="connsiteY118" fmla="*/ 322481 h 384474"/>
                  <a:gd name="connsiteX119" fmla="*/ 90487 w 378483"/>
                  <a:gd name="connsiteY119" fmla="*/ 316131 h 384474"/>
                  <a:gd name="connsiteX120" fmla="*/ 92075 w 378483"/>
                  <a:gd name="connsiteY120" fmla="*/ 311369 h 384474"/>
                  <a:gd name="connsiteX121" fmla="*/ 100012 w 378483"/>
                  <a:gd name="connsiteY121" fmla="*/ 301844 h 384474"/>
                  <a:gd name="connsiteX122" fmla="*/ 106362 w 378483"/>
                  <a:gd name="connsiteY122" fmla="*/ 300256 h 384474"/>
                  <a:gd name="connsiteX123" fmla="*/ 112712 w 378483"/>
                  <a:gd name="connsiteY123" fmla="*/ 297081 h 384474"/>
                  <a:gd name="connsiteX124" fmla="*/ 120650 w 378483"/>
                  <a:gd name="connsiteY124" fmla="*/ 285969 h 384474"/>
                  <a:gd name="connsiteX125" fmla="*/ 127000 w 378483"/>
                  <a:gd name="connsiteY125" fmla="*/ 274856 h 384474"/>
                  <a:gd name="connsiteX126" fmla="*/ 131762 w 378483"/>
                  <a:gd name="connsiteY126" fmla="*/ 270094 h 384474"/>
                  <a:gd name="connsiteX127" fmla="*/ 136525 w 378483"/>
                  <a:gd name="connsiteY127" fmla="*/ 266919 h 384474"/>
                  <a:gd name="connsiteX128" fmla="*/ 147637 w 378483"/>
                  <a:gd name="connsiteY128" fmla="*/ 257394 h 384474"/>
                  <a:gd name="connsiteX129" fmla="*/ 166687 w 378483"/>
                  <a:gd name="connsiteY129" fmla="*/ 241519 h 384474"/>
                  <a:gd name="connsiteX130" fmla="*/ 173037 w 378483"/>
                  <a:gd name="connsiteY130" fmla="*/ 224056 h 384474"/>
                  <a:gd name="connsiteX131" fmla="*/ 179387 w 378483"/>
                  <a:gd name="connsiteY131" fmla="*/ 211356 h 384474"/>
                  <a:gd name="connsiteX132" fmla="*/ 184150 w 378483"/>
                  <a:gd name="connsiteY132" fmla="*/ 195481 h 384474"/>
                  <a:gd name="connsiteX133" fmla="*/ 196850 w 378483"/>
                  <a:gd name="connsiteY133" fmla="*/ 189131 h 384474"/>
                  <a:gd name="connsiteX134" fmla="*/ 209550 w 378483"/>
                  <a:gd name="connsiteY134" fmla="*/ 178018 h 384474"/>
                  <a:gd name="connsiteX135" fmla="*/ 222250 w 378483"/>
                  <a:gd name="connsiteY135" fmla="*/ 187544 h 384474"/>
                  <a:gd name="connsiteX136" fmla="*/ 238125 w 378483"/>
                  <a:gd name="connsiteY136" fmla="*/ 179606 h 384474"/>
                  <a:gd name="connsiteX137" fmla="*/ 242887 w 378483"/>
                  <a:gd name="connsiteY137" fmla="*/ 173256 h 384474"/>
                  <a:gd name="connsiteX138" fmla="*/ 244475 w 378483"/>
                  <a:gd name="connsiteY138" fmla="*/ 166906 h 384474"/>
                  <a:gd name="connsiteX139" fmla="*/ 258763 w 378483"/>
                  <a:gd name="connsiteY139" fmla="*/ 163732 h 384474"/>
                  <a:gd name="connsiteX140" fmla="*/ 271462 w 378483"/>
                  <a:gd name="connsiteY140" fmla="*/ 162143 h 384474"/>
                  <a:gd name="connsiteX141" fmla="*/ 290513 w 378483"/>
                  <a:gd name="connsiteY141" fmla="*/ 157381 h 384474"/>
                  <a:gd name="connsiteX142" fmla="*/ 285750 w 378483"/>
                  <a:gd name="connsiteY142" fmla="*/ 163732 h 384474"/>
                  <a:gd name="connsiteX143" fmla="*/ 304800 w 378483"/>
                  <a:gd name="connsiteY143" fmla="*/ 157381 h 384474"/>
                  <a:gd name="connsiteX144" fmla="*/ 309562 w 378483"/>
                  <a:gd name="connsiteY144" fmla="*/ 160556 h 384474"/>
                  <a:gd name="connsiteX145" fmla="*/ 311150 w 378483"/>
                  <a:gd name="connsiteY145" fmla="*/ 155794 h 384474"/>
                  <a:gd name="connsiteX146" fmla="*/ 309562 w 378483"/>
                  <a:gd name="connsiteY146" fmla="*/ 144681 h 384474"/>
                  <a:gd name="connsiteX147" fmla="*/ 314325 w 378483"/>
                  <a:gd name="connsiteY147" fmla="*/ 149444 h 384474"/>
                  <a:gd name="connsiteX148" fmla="*/ 317500 w 378483"/>
                  <a:gd name="connsiteY148" fmla="*/ 155794 h 384474"/>
                  <a:gd name="connsiteX149" fmla="*/ 349250 w 378483"/>
                  <a:gd name="connsiteY149" fmla="*/ 160556 h 384474"/>
                  <a:gd name="connsiteX150" fmla="*/ 350837 w 378483"/>
                  <a:gd name="connsiteY150" fmla="*/ 155794 h 384474"/>
                  <a:gd name="connsiteX151" fmla="*/ 363538 w 378483"/>
                  <a:gd name="connsiteY151" fmla="*/ 154207 h 384474"/>
                  <a:gd name="connsiteX152" fmla="*/ 371474 w 378483"/>
                  <a:gd name="connsiteY152" fmla="*/ 151031 h 384474"/>
                  <a:gd name="connsiteX153" fmla="*/ 373062 w 378483"/>
                  <a:gd name="connsiteY153" fmla="*/ 141506 h 384474"/>
                  <a:gd name="connsiteX154" fmla="*/ 371475 w 378483"/>
                  <a:gd name="connsiteY154" fmla="*/ 138331 h 384474"/>
                  <a:gd name="connsiteX155" fmla="*/ 373062 w 378483"/>
                  <a:gd name="connsiteY155" fmla="*/ 133569 h 384474"/>
                  <a:gd name="connsiteX156" fmla="*/ 369887 w 378483"/>
                  <a:gd name="connsiteY156" fmla="*/ 119281 h 384474"/>
                  <a:gd name="connsiteX157" fmla="*/ 371475 w 378483"/>
                  <a:gd name="connsiteY157" fmla="*/ 114519 h 384474"/>
                  <a:gd name="connsiteX158" fmla="*/ 377825 w 378483"/>
                  <a:gd name="connsiteY158" fmla="*/ 112931 h 384474"/>
                  <a:gd name="connsiteX159" fmla="*/ 371475 w 378483"/>
                  <a:gd name="connsiteY159" fmla="*/ 100231 h 384474"/>
                  <a:gd name="connsiteX160" fmla="*/ 360362 w 378483"/>
                  <a:gd name="connsiteY160" fmla="*/ 92294 h 384474"/>
                  <a:gd name="connsiteX161" fmla="*/ 327025 w 378483"/>
                  <a:gd name="connsiteY161" fmla="*/ 92294 h 384474"/>
                  <a:gd name="connsiteX162" fmla="*/ 328612 w 378483"/>
                  <a:gd name="connsiteY162" fmla="*/ 100231 h 384474"/>
                  <a:gd name="connsiteX163" fmla="*/ 333375 w 378483"/>
                  <a:gd name="connsiteY163" fmla="*/ 101819 h 384474"/>
                  <a:gd name="connsiteX164" fmla="*/ 312738 w 378483"/>
                  <a:gd name="connsiteY164" fmla="*/ 106582 h 384474"/>
                  <a:gd name="connsiteX165" fmla="*/ 317500 w 378483"/>
                  <a:gd name="connsiteY165" fmla="*/ 93881 h 384474"/>
                  <a:gd name="connsiteX166" fmla="*/ 301625 w 378483"/>
                  <a:gd name="connsiteY166" fmla="*/ 92294 h 384474"/>
                  <a:gd name="connsiteX167" fmla="*/ 296862 w 378483"/>
                  <a:gd name="connsiteY167" fmla="*/ 90706 h 384474"/>
                  <a:gd name="connsiteX168" fmla="*/ 293687 w 378483"/>
                  <a:gd name="connsiteY168" fmla="*/ 85944 h 384474"/>
                  <a:gd name="connsiteX169" fmla="*/ 288925 w 378483"/>
                  <a:gd name="connsiteY169" fmla="*/ 84356 h 384474"/>
                  <a:gd name="connsiteX170" fmla="*/ 276225 w 378483"/>
                  <a:gd name="connsiteY170" fmla="*/ 79594 h 384474"/>
                  <a:gd name="connsiteX171" fmla="*/ 254000 w 378483"/>
                  <a:gd name="connsiteY171" fmla="*/ 70069 h 384474"/>
                  <a:gd name="connsiteX172" fmla="*/ 238125 w 378483"/>
                  <a:gd name="connsiteY172" fmla="*/ 66894 h 384474"/>
                  <a:gd name="connsiteX173" fmla="*/ 233362 w 378483"/>
                  <a:gd name="connsiteY173" fmla="*/ 62131 h 384474"/>
                  <a:gd name="connsiteX174" fmla="*/ 227012 w 378483"/>
                  <a:gd name="connsiteY174" fmla="*/ 54194 h 384474"/>
                  <a:gd name="connsiteX175" fmla="*/ 222250 w 378483"/>
                  <a:gd name="connsiteY175" fmla="*/ 52606 h 384474"/>
                  <a:gd name="connsiteX176" fmla="*/ 220662 w 378483"/>
                  <a:gd name="connsiteY176" fmla="*/ 44669 h 384474"/>
                  <a:gd name="connsiteX177" fmla="*/ 222250 w 378483"/>
                  <a:gd name="connsiteY177" fmla="*/ 31968 h 384474"/>
                  <a:gd name="connsiteX178" fmla="*/ 215899 w 378483"/>
                  <a:gd name="connsiteY178" fmla="*/ 14507 h 38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Lst>
                <a:rect l="l" t="t" r="r" b="b"/>
                <a:pathLst>
                  <a:path w="378483" h="384474">
                    <a:moveTo>
                      <a:pt x="215899" y="14507"/>
                    </a:moveTo>
                    <a:cubicBezTo>
                      <a:pt x="224687" y="-8339"/>
                      <a:pt x="209308" y="16215"/>
                      <a:pt x="222250" y="9744"/>
                    </a:cubicBezTo>
                    <a:cubicBezTo>
                      <a:pt x="221721" y="8156"/>
                      <a:pt x="221707" y="6288"/>
                      <a:pt x="220662" y="4981"/>
                    </a:cubicBezTo>
                    <a:cubicBezTo>
                      <a:pt x="215136" y="-1927"/>
                      <a:pt x="196721" y="437"/>
                      <a:pt x="193675" y="219"/>
                    </a:cubicBezTo>
                    <a:cubicBezTo>
                      <a:pt x="190500" y="1277"/>
                      <a:pt x="187208" y="2035"/>
                      <a:pt x="184150" y="3394"/>
                    </a:cubicBezTo>
                    <a:cubicBezTo>
                      <a:pt x="182406" y="4169"/>
                      <a:pt x="181174" y="5899"/>
                      <a:pt x="179387" y="6569"/>
                    </a:cubicBezTo>
                    <a:cubicBezTo>
                      <a:pt x="176861" y="7516"/>
                      <a:pt x="174096" y="7627"/>
                      <a:pt x="171450" y="8156"/>
                    </a:cubicBezTo>
                    <a:cubicBezTo>
                      <a:pt x="170921" y="11860"/>
                      <a:pt x="168548" y="15765"/>
                      <a:pt x="169862" y="19269"/>
                    </a:cubicBezTo>
                    <a:cubicBezTo>
                      <a:pt x="174435" y="31466"/>
                      <a:pt x="179510" y="10959"/>
                      <a:pt x="174625" y="25619"/>
                    </a:cubicBezTo>
                    <a:cubicBezTo>
                      <a:pt x="170392" y="25090"/>
                      <a:pt x="165972" y="25380"/>
                      <a:pt x="161925" y="24031"/>
                    </a:cubicBezTo>
                    <a:cubicBezTo>
                      <a:pt x="159415" y="23194"/>
                      <a:pt x="158158" y="19843"/>
                      <a:pt x="155575" y="19269"/>
                    </a:cubicBezTo>
                    <a:cubicBezTo>
                      <a:pt x="153273" y="18757"/>
                      <a:pt x="145684" y="21507"/>
                      <a:pt x="142875" y="22444"/>
                    </a:cubicBezTo>
                    <a:cubicBezTo>
                      <a:pt x="137693" y="37990"/>
                      <a:pt x="138906" y="27471"/>
                      <a:pt x="136525" y="25619"/>
                    </a:cubicBezTo>
                    <a:cubicBezTo>
                      <a:pt x="134144" y="23767"/>
                      <a:pt x="133085" y="14242"/>
                      <a:pt x="128587" y="11331"/>
                    </a:cubicBezTo>
                    <a:cubicBezTo>
                      <a:pt x="124089" y="8420"/>
                      <a:pt x="116720" y="24918"/>
                      <a:pt x="109537" y="8156"/>
                    </a:cubicBezTo>
                    <a:cubicBezTo>
                      <a:pt x="108878" y="6618"/>
                      <a:pt x="108479" y="4981"/>
                      <a:pt x="107950" y="3394"/>
                    </a:cubicBezTo>
                    <a:cubicBezTo>
                      <a:pt x="102658" y="3923"/>
                      <a:pt x="96837" y="3394"/>
                      <a:pt x="92075" y="4981"/>
                    </a:cubicBezTo>
                    <a:cubicBezTo>
                      <a:pt x="87313" y="6568"/>
                      <a:pt x="82285" y="10802"/>
                      <a:pt x="79375" y="12919"/>
                    </a:cubicBezTo>
                    <a:cubicBezTo>
                      <a:pt x="76465" y="15036"/>
                      <a:pt x="76200" y="16094"/>
                      <a:pt x="74612" y="17681"/>
                    </a:cubicBezTo>
                    <a:cubicBezTo>
                      <a:pt x="74083" y="19798"/>
                      <a:pt x="71210" y="22821"/>
                      <a:pt x="73025" y="24031"/>
                    </a:cubicBezTo>
                    <a:cubicBezTo>
                      <a:pt x="74994" y="25344"/>
                      <a:pt x="78627" y="23101"/>
                      <a:pt x="79375" y="20856"/>
                    </a:cubicBezTo>
                    <a:cubicBezTo>
                      <a:pt x="79904" y="19268"/>
                      <a:pt x="76200" y="19798"/>
                      <a:pt x="74612" y="19269"/>
                    </a:cubicBezTo>
                    <a:cubicBezTo>
                      <a:pt x="72495" y="19798"/>
                      <a:pt x="68952" y="18786"/>
                      <a:pt x="68262" y="20856"/>
                    </a:cubicBezTo>
                    <a:cubicBezTo>
                      <a:pt x="67659" y="22666"/>
                      <a:pt x="73025" y="22123"/>
                      <a:pt x="73025" y="24031"/>
                    </a:cubicBezTo>
                    <a:cubicBezTo>
                      <a:pt x="73025" y="25939"/>
                      <a:pt x="69930" y="26279"/>
                      <a:pt x="68262" y="27206"/>
                    </a:cubicBezTo>
                    <a:cubicBezTo>
                      <a:pt x="65159" y="28930"/>
                      <a:pt x="61781" y="30143"/>
                      <a:pt x="58737" y="31969"/>
                    </a:cubicBezTo>
                    <a:cubicBezTo>
                      <a:pt x="56468" y="33330"/>
                      <a:pt x="54844" y="35748"/>
                      <a:pt x="52387" y="36731"/>
                    </a:cubicBezTo>
                    <a:cubicBezTo>
                      <a:pt x="49398" y="37926"/>
                      <a:pt x="46037" y="37790"/>
                      <a:pt x="42862" y="38319"/>
                    </a:cubicBezTo>
                    <a:cubicBezTo>
                      <a:pt x="41275" y="39377"/>
                      <a:pt x="39982" y="41180"/>
                      <a:pt x="38100" y="41494"/>
                    </a:cubicBezTo>
                    <a:cubicBezTo>
                      <a:pt x="24956" y="43684"/>
                      <a:pt x="42221" y="33983"/>
                      <a:pt x="28575" y="43081"/>
                    </a:cubicBezTo>
                    <a:cubicBezTo>
                      <a:pt x="27517" y="47844"/>
                      <a:pt x="27910" y="53185"/>
                      <a:pt x="25400" y="57369"/>
                    </a:cubicBezTo>
                    <a:cubicBezTo>
                      <a:pt x="24277" y="59240"/>
                      <a:pt x="20754" y="57593"/>
                      <a:pt x="19050" y="58956"/>
                    </a:cubicBezTo>
                    <a:cubicBezTo>
                      <a:pt x="17743" y="60001"/>
                      <a:pt x="17991" y="62131"/>
                      <a:pt x="17462" y="63719"/>
                    </a:cubicBezTo>
                    <a:cubicBezTo>
                      <a:pt x="18520" y="65306"/>
                      <a:pt x="20637" y="66573"/>
                      <a:pt x="20637" y="68481"/>
                    </a:cubicBezTo>
                    <a:cubicBezTo>
                      <a:pt x="20637" y="70692"/>
                      <a:pt x="13611" y="77095"/>
                      <a:pt x="12700" y="78006"/>
                    </a:cubicBezTo>
                    <a:cubicBezTo>
                      <a:pt x="10671" y="84093"/>
                      <a:pt x="5929" y="93753"/>
                      <a:pt x="11112" y="100231"/>
                    </a:cubicBezTo>
                    <a:cubicBezTo>
                      <a:pt x="13519" y="103239"/>
                      <a:pt x="18521" y="102348"/>
                      <a:pt x="22225" y="103406"/>
                    </a:cubicBezTo>
                    <a:cubicBezTo>
                      <a:pt x="26987" y="102877"/>
                      <a:pt x="31720" y="101819"/>
                      <a:pt x="36512" y="101819"/>
                    </a:cubicBezTo>
                    <a:cubicBezTo>
                      <a:pt x="38185" y="101819"/>
                      <a:pt x="40653" y="101852"/>
                      <a:pt x="41275" y="103406"/>
                    </a:cubicBezTo>
                    <a:cubicBezTo>
                      <a:pt x="43055" y="107855"/>
                      <a:pt x="42133" y="112958"/>
                      <a:pt x="42862" y="117694"/>
                    </a:cubicBezTo>
                    <a:cubicBezTo>
                      <a:pt x="43194" y="119850"/>
                      <a:pt x="43087" y="122340"/>
                      <a:pt x="44450" y="124044"/>
                    </a:cubicBezTo>
                    <a:cubicBezTo>
                      <a:pt x="45495" y="125350"/>
                      <a:pt x="47625" y="125102"/>
                      <a:pt x="49212" y="125631"/>
                    </a:cubicBezTo>
                    <a:cubicBezTo>
                      <a:pt x="48683" y="127219"/>
                      <a:pt x="48373" y="128897"/>
                      <a:pt x="47625" y="130394"/>
                    </a:cubicBezTo>
                    <a:cubicBezTo>
                      <a:pt x="46772" y="132100"/>
                      <a:pt x="43392" y="133569"/>
                      <a:pt x="44450" y="135156"/>
                    </a:cubicBezTo>
                    <a:cubicBezTo>
                      <a:pt x="46419" y="138110"/>
                      <a:pt x="50872" y="138195"/>
                      <a:pt x="53975" y="139919"/>
                    </a:cubicBezTo>
                    <a:cubicBezTo>
                      <a:pt x="55643" y="140846"/>
                      <a:pt x="57150" y="142036"/>
                      <a:pt x="58737" y="143094"/>
                    </a:cubicBezTo>
                    <a:cubicBezTo>
                      <a:pt x="62682" y="149010"/>
                      <a:pt x="64204" y="149810"/>
                      <a:pt x="63500" y="158969"/>
                    </a:cubicBezTo>
                    <a:cubicBezTo>
                      <a:pt x="63243" y="162306"/>
                      <a:pt x="60325" y="168494"/>
                      <a:pt x="60325" y="168494"/>
                    </a:cubicBezTo>
                    <a:cubicBezTo>
                      <a:pt x="58737" y="167965"/>
                      <a:pt x="56869" y="167951"/>
                      <a:pt x="55562" y="166906"/>
                    </a:cubicBezTo>
                    <a:cubicBezTo>
                      <a:pt x="54072" y="165714"/>
                      <a:pt x="54158" y="162853"/>
                      <a:pt x="52387" y="162144"/>
                    </a:cubicBezTo>
                    <a:cubicBezTo>
                      <a:pt x="50834" y="161523"/>
                      <a:pt x="49212" y="163202"/>
                      <a:pt x="47625" y="163731"/>
                    </a:cubicBezTo>
                    <a:cubicBezTo>
                      <a:pt x="47096" y="165848"/>
                      <a:pt x="43885" y="170440"/>
                      <a:pt x="46037" y="170081"/>
                    </a:cubicBezTo>
                    <a:cubicBezTo>
                      <a:pt x="50527" y="169333"/>
                      <a:pt x="54737" y="166004"/>
                      <a:pt x="57150" y="162144"/>
                    </a:cubicBezTo>
                    <a:cubicBezTo>
                      <a:pt x="58161" y="160526"/>
                      <a:pt x="55033" y="158969"/>
                      <a:pt x="53975" y="157381"/>
                    </a:cubicBezTo>
                    <a:cubicBezTo>
                      <a:pt x="51858" y="158439"/>
                      <a:pt x="49140" y="158738"/>
                      <a:pt x="47625" y="160556"/>
                    </a:cubicBezTo>
                    <a:cubicBezTo>
                      <a:pt x="34809" y="175934"/>
                      <a:pt x="57265" y="159420"/>
                      <a:pt x="41275" y="170081"/>
                    </a:cubicBezTo>
                    <a:cubicBezTo>
                      <a:pt x="38806" y="152803"/>
                      <a:pt x="43112" y="159074"/>
                      <a:pt x="34925" y="162144"/>
                    </a:cubicBezTo>
                    <a:cubicBezTo>
                      <a:pt x="32398" y="163091"/>
                      <a:pt x="29633" y="163202"/>
                      <a:pt x="26987" y="163731"/>
                    </a:cubicBezTo>
                    <a:cubicBezTo>
                      <a:pt x="26458" y="165848"/>
                      <a:pt x="25790" y="167934"/>
                      <a:pt x="25400" y="170081"/>
                    </a:cubicBezTo>
                    <a:cubicBezTo>
                      <a:pt x="24731" y="173763"/>
                      <a:pt x="26057" y="178200"/>
                      <a:pt x="23812" y="181194"/>
                    </a:cubicBezTo>
                    <a:cubicBezTo>
                      <a:pt x="22193" y="183352"/>
                      <a:pt x="18521" y="182252"/>
                      <a:pt x="15875" y="182781"/>
                    </a:cubicBezTo>
                    <a:cubicBezTo>
                      <a:pt x="17462" y="184369"/>
                      <a:pt x="19927" y="185414"/>
                      <a:pt x="20637" y="187544"/>
                    </a:cubicBezTo>
                    <a:cubicBezTo>
                      <a:pt x="21166" y="189131"/>
                      <a:pt x="19050" y="190633"/>
                      <a:pt x="19050" y="192306"/>
                    </a:cubicBezTo>
                    <a:cubicBezTo>
                      <a:pt x="19050" y="193979"/>
                      <a:pt x="20177" y="195460"/>
                      <a:pt x="20637" y="197069"/>
                    </a:cubicBezTo>
                    <a:cubicBezTo>
                      <a:pt x="21236" y="199167"/>
                      <a:pt x="20862" y="201715"/>
                      <a:pt x="22225" y="203419"/>
                    </a:cubicBezTo>
                    <a:cubicBezTo>
                      <a:pt x="23270" y="204725"/>
                      <a:pt x="25400" y="204477"/>
                      <a:pt x="26987" y="205006"/>
                    </a:cubicBezTo>
                    <a:cubicBezTo>
                      <a:pt x="23283" y="216119"/>
                      <a:pt x="20637" y="213472"/>
                      <a:pt x="28575" y="216119"/>
                    </a:cubicBezTo>
                    <a:cubicBezTo>
                      <a:pt x="28046" y="217706"/>
                      <a:pt x="26458" y="219294"/>
                      <a:pt x="26987" y="220881"/>
                    </a:cubicBezTo>
                    <a:cubicBezTo>
                      <a:pt x="27697" y="223011"/>
                      <a:pt x="30505" y="223776"/>
                      <a:pt x="31750" y="225644"/>
                    </a:cubicBezTo>
                    <a:cubicBezTo>
                      <a:pt x="32678" y="227036"/>
                      <a:pt x="32808" y="228819"/>
                      <a:pt x="33337" y="230406"/>
                    </a:cubicBezTo>
                    <a:cubicBezTo>
                      <a:pt x="15658" y="239246"/>
                      <a:pt x="36207" y="226962"/>
                      <a:pt x="25400" y="239931"/>
                    </a:cubicBezTo>
                    <a:cubicBezTo>
                      <a:pt x="23216" y="242552"/>
                      <a:pt x="15706" y="243942"/>
                      <a:pt x="12700" y="244694"/>
                    </a:cubicBezTo>
                    <a:cubicBezTo>
                      <a:pt x="13758" y="246811"/>
                      <a:pt x="14943" y="248869"/>
                      <a:pt x="15875" y="251044"/>
                    </a:cubicBezTo>
                    <a:cubicBezTo>
                      <a:pt x="16534" y="252582"/>
                      <a:pt x="18466" y="254468"/>
                      <a:pt x="17462" y="255806"/>
                    </a:cubicBezTo>
                    <a:cubicBezTo>
                      <a:pt x="16153" y="257551"/>
                      <a:pt x="13229" y="256865"/>
                      <a:pt x="11112" y="257394"/>
                    </a:cubicBezTo>
                    <a:cubicBezTo>
                      <a:pt x="10583" y="259511"/>
                      <a:pt x="11068" y="262201"/>
                      <a:pt x="9525" y="263744"/>
                    </a:cubicBezTo>
                    <a:cubicBezTo>
                      <a:pt x="7982" y="265287"/>
                      <a:pt x="4443" y="263556"/>
                      <a:pt x="3175" y="265331"/>
                    </a:cubicBezTo>
                    <a:cubicBezTo>
                      <a:pt x="1304" y="267950"/>
                      <a:pt x="2218" y="271700"/>
                      <a:pt x="1587" y="274856"/>
                    </a:cubicBezTo>
                    <a:cubicBezTo>
                      <a:pt x="1159" y="276995"/>
                      <a:pt x="529" y="279089"/>
                      <a:pt x="0" y="281206"/>
                    </a:cubicBezTo>
                    <a:cubicBezTo>
                      <a:pt x="5193" y="301985"/>
                      <a:pt x="-3107" y="273406"/>
                      <a:pt x="6350" y="292319"/>
                    </a:cubicBezTo>
                    <a:cubicBezTo>
                      <a:pt x="7557" y="294732"/>
                      <a:pt x="7408" y="297610"/>
                      <a:pt x="7937" y="300256"/>
                    </a:cubicBezTo>
                    <a:cubicBezTo>
                      <a:pt x="13758" y="299198"/>
                      <a:pt x="19878" y="299205"/>
                      <a:pt x="25400" y="297081"/>
                    </a:cubicBezTo>
                    <a:cubicBezTo>
                      <a:pt x="27181" y="296396"/>
                      <a:pt x="26957" y="293330"/>
                      <a:pt x="28575" y="292319"/>
                    </a:cubicBezTo>
                    <a:cubicBezTo>
                      <a:pt x="31413" y="290545"/>
                      <a:pt x="35107" y="290641"/>
                      <a:pt x="38100" y="289144"/>
                    </a:cubicBezTo>
                    <a:lnTo>
                      <a:pt x="47625" y="284381"/>
                    </a:lnTo>
                    <a:cubicBezTo>
                      <a:pt x="49742" y="281206"/>
                      <a:pt x="55938" y="271584"/>
                      <a:pt x="53975" y="274856"/>
                    </a:cubicBezTo>
                    <a:cubicBezTo>
                      <a:pt x="52387" y="277502"/>
                      <a:pt x="46285" y="281818"/>
                      <a:pt x="49212" y="282794"/>
                    </a:cubicBezTo>
                    <a:cubicBezTo>
                      <a:pt x="52832" y="284001"/>
                      <a:pt x="55117" y="277651"/>
                      <a:pt x="58737" y="276444"/>
                    </a:cubicBezTo>
                    <a:cubicBezTo>
                      <a:pt x="66554" y="273838"/>
                      <a:pt x="61849" y="275131"/>
                      <a:pt x="73025" y="273269"/>
                    </a:cubicBezTo>
                    <a:cubicBezTo>
                      <a:pt x="74612" y="271681"/>
                      <a:pt x="76350" y="270231"/>
                      <a:pt x="77787" y="268506"/>
                    </a:cubicBezTo>
                    <a:cubicBezTo>
                      <a:pt x="79008" y="267040"/>
                      <a:pt x="79472" y="264936"/>
                      <a:pt x="80962" y="263744"/>
                    </a:cubicBezTo>
                    <a:cubicBezTo>
                      <a:pt x="82269" y="262699"/>
                      <a:pt x="84228" y="262905"/>
                      <a:pt x="85725" y="262156"/>
                    </a:cubicBezTo>
                    <a:cubicBezTo>
                      <a:pt x="87431" y="261303"/>
                      <a:pt x="88900" y="260039"/>
                      <a:pt x="90487" y="258981"/>
                    </a:cubicBezTo>
                    <a:cubicBezTo>
                      <a:pt x="94191" y="259510"/>
                      <a:pt x="98329" y="258752"/>
                      <a:pt x="101600" y="260569"/>
                    </a:cubicBezTo>
                    <a:cubicBezTo>
                      <a:pt x="103206" y="261461"/>
                      <a:pt x="105665" y="269591"/>
                      <a:pt x="106362" y="271681"/>
                    </a:cubicBezTo>
                    <a:cubicBezTo>
                      <a:pt x="105148" y="276539"/>
                      <a:pt x="105254" y="279140"/>
                      <a:pt x="101600" y="282794"/>
                    </a:cubicBezTo>
                    <a:cubicBezTo>
                      <a:pt x="98688" y="285706"/>
                      <a:pt x="93805" y="287070"/>
                      <a:pt x="90487" y="289144"/>
                    </a:cubicBezTo>
                    <a:cubicBezTo>
                      <a:pt x="88243" y="290546"/>
                      <a:pt x="86254" y="292319"/>
                      <a:pt x="84137" y="293906"/>
                    </a:cubicBezTo>
                    <a:cubicBezTo>
                      <a:pt x="81562" y="301635"/>
                      <a:pt x="83794" y="296610"/>
                      <a:pt x="77787" y="305019"/>
                    </a:cubicBezTo>
                    <a:cubicBezTo>
                      <a:pt x="74116" y="310158"/>
                      <a:pt x="75079" y="310186"/>
                      <a:pt x="69850" y="314544"/>
                    </a:cubicBezTo>
                    <a:cubicBezTo>
                      <a:pt x="60859" y="322037"/>
                      <a:pt x="69595" y="313138"/>
                      <a:pt x="58737" y="320894"/>
                    </a:cubicBezTo>
                    <a:cubicBezTo>
                      <a:pt x="56910" y="322199"/>
                      <a:pt x="55802" y="324351"/>
                      <a:pt x="53975" y="325656"/>
                    </a:cubicBezTo>
                    <a:cubicBezTo>
                      <a:pt x="52049" y="327031"/>
                      <a:pt x="49473" y="327353"/>
                      <a:pt x="47625" y="328831"/>
                    </a:cubicBezTo>
                    <a:cubicBezTo>
                      <a:pt x="44119" y="331636"/>
                      <a:pt x="41836" y="335866"/>
                      <a:pt x="38100" y="338356"/>
                    </a:cubicBezTo>
                    <a:lnTo>
                      <a:pt x="33337" y="341531"/>
                    </a:lnTo>
                    <a:cubicBezTo>
                      <a:pt x="26210" y="352223"/>
                      <a:pt x="31446" y="341128"/>
                      <a:pt x="36512" y="347881"/>
                    </a:cubicBezTo>
                    <a:cubicBezTo>
                      <a:pt x="37516" y="349220"/>
                      <a:pt x="35331" y="351020"/>
                      <a:pt x="34925" y="352644"/>
                    </a:cubicBezTo>
                    <a:cubicBezTo>
                      <a:pt x="34271" y="355262"/>
                      <a:pt x="33834" y="357929"/>
                      <a:pt x="33337" y="360581"/>
                    </a:cubicBezTo>
                    <a:cubicBezTo>
                      <a:pt x="32247" y="366396"/>
                      <a:pt x="31322" y="372242"/>
                      <a:pt x="30162" y="378044"/>
                    </a:cubicBezTo>
                    <a:cubicBezTo>
                      <a:pt x="29734" y="380183"/>
                      <a:pt x="26458" y="383865"/>
                      <a:pt x="28575" y="384394"/>
                    </a:cubicBezTo>
                    <a:cubicBezTo>
                      <a:pt x="31568" y="385142"/>
                      <a:pt x="33531" y="380426"/>
                      <a:pt x="36512" y="379631"/>
                    </a:cubicBezTo>
                    <a:cubicBezTo>
                      <a:pt x="41650" y="378261"/>
                      <a:pt x="47095" y="378573"/>
                      <a:pt x="52387" y="378044"/>
                    </a:cubicBezTo>
                    <a:cubicBezTo>
                      <a:pt x="52916" y="376456"/>
                      <a:pt x="53494" y="374884"/>
                      <a:pt x="53975" y="373281"/>
                    </a:cubicBezTo>
                    <a:cubicBezTo>
                      <a:pt x="55082" y="369591"/>
                      <a:pt x="55168" y="365472"/>
                      <a:pt x="57150" y="362169"/>
                    </a:cubicBezTo>
                    <a:cubicBezTo>
                      <a:pt x="58511" y="359900"/>
                      <a:pt x="61629" y="359277"/>
                      <a:pt x="63500" y="357406"/>
                    </a:cubicBezTo>
                    <a:cubicBezTo>
                      <a:pt x="64849" y="356057"/>
                      <a:pt x="65454" y="354110"/>
                      <a:pt x="66675" y="352644"/>
                    </a:cubicBezTo>
                    <a:cubicBezTo>
                      <a:pt x="71060" y="347381"/>
                      <a:pt x="71658" y="349027"/>
                      <a:pt x="74612" y="343119"/>
                    </a:cubicBezTo>
                    <a:cubicBezTo>
                      <a:pt x="75886" y="340570"/>
                      <a:pt x="76293" y="337608"/>
                      <a:pt x="77787" y="335181"/>
                    </a:cubicBezTo>
                    <a:cubicBezTo>
                      <a:pt x="80560" y="330674"/>
                      <a:pt x="84945" y="327214"/>
                      <a:pt x="87312" y="322481"/>
                    </a:cubicBezTo>
                    <a:cubicBezTo>
                      <a:pt x="88370" y="320364"/>
                      <a:pt x="89555" y="318306"/>
                      <a:pt x="90487" y="316131"/>
                    </a:cubicBezTo>
                    <a:cubicBezTo>
                      <a:pt x="91146" y="314593"/>
                      <a:pt x="91327" y="312866"/>
                      <a:pt x="92075" y="311369"/>
                    </a:cubicBezTo>
                    <a:cubicBezTo>
                      <a:pt x="93390" y="308738"/>
                      <a:pt x="97553" y="303249"/>
                      <a:pt x="100012" y="301844"/>
                    </a:cubicBezTo>
                    <a:cubicBezTo>
                      <a:pt x="101906" y="300761"/>
                      <a:pt x="104319" y="301022"/>
                      <a:pt x="106362" y="300256"/>
                    </a:cubicBezTo>
                    <a:cubicBezTo>
                      <a:pt x="108578" y="299425"/>
                      <a:pt x="110595" y="298139"/>
                      <a:pt x="112712" y="297081"/>
                    </a:cubicBezTo>
                    <a:cubicBezTo>
                      <a:pt x="118588" y="285329"/>
                      <a:pt x="112603" y="295624"/>
                      <a:pt x="120650" y="285969"/>
                    </a:cubicBezTo>
                    <a:cubicBezTo>
                      <a:pt x="128143" y="276978"/>
                      <a:pt x="119244" y="285714"/>
                      <a:pt x="127000" y="274856"/>
                    </a:cubicBezTo>
                    <a:cubicBezTo>
                      <a:pt x="128305" y="273029"/>
                      <a:pt x="130037" y="271531"/>
                      <a:pt x="131762" y="270094"/>
                    </a:cubicBezTo>
                    <a:cubicBezTo>
                      <a:pt x="133228" y="268873"/>
                      <a:pt x="134972" y="268028"/>
                      <a:pt x="136525" y="266919"/>
                    </a:cubicBezTo>
                    <a:cubicBezTo>
                      <a:pt x="140851" y="263829"/>
                      <a:pt x="144244" y="261465"/>
                      <a:pt x="147637" y="257394"/>
                    </a:cubicBezTo>
                    <a:cubicBezTo>
                      <a:pt x="161501" y="240758"/>
                      <a:pt x="152344" y="244387"/>
                      <a:pt x="166687" y="241519"/>
                    </a:cubicBezTo>
                    <a:cubicBezTo>
                      <a:pt x="168791" y="236259"/>
                      <a:pt x="171678" y="229491"/>
                      <a:pt x="173037" y="224056"/>
                    </a:cubicBezTo>
                    <a:cubicBezTo>
                      <a:pt x="176079" y="211889"/>
                      <a:pt x="171271" y="216767"/>
                      <a:pt x="179387" y="211356"/>
                    </a:cubicBezTo>
                    <a:cubicBezTo>
                      <a:pt x="179742" y="208518"/>
                      <a:pt x="181240" y="199185"/>
                      <a:pt x="184150" y="195481"/>
                    </a:cubicBezTo>
                    <a:cubicBezTo>
                      <a:pt x="187061" y="191777"/>
                      <a:pt x="192617" y="192041"/>
                      <a:pt x="196850" y="189131"/>
                    </a:cubicBezTo>
                    <a:cubicBezTo>
                      <a:pt x="201083" y="186221"/>
                      <a:pt x="205317" y="178282"/>
                      <a:pt x="209550" y="178018"/>
                    </a:cubicBezTo>
                    <a:cubicBezTo>
                      <a:pt x="213783" y="177754"/>
                      <a:pt x="216165" y="187015"/>
                      <a:pt x="222250" y="187544"/>
                    </a:cubicBezTo>
                    <a:cubicBezTo>
                      <a:pt x="228335" y="188073"/>
                      <a:pt x="234686" y="181987"/>
                      <a:pt x="238125" y="179606"/>
                    </a:cubicBezTo>
                    <a:cubicBezTo>
                      <a:pt x="241565" y="177225"/>
                      <a:pt x="241300" y="175373"/>
                      <a:pt x="242887" y="173256"/>
                    </a:cubicBezTo>
                    <a:cubicBezTo>
                      <a:pt x="243416" y="171139"/>
                      <a:pt x="241829" y="168493"/>
                      <a:pt x="244475" y="166906"/>
                    </a:cubicBezTo>
                    <a:cubicBezTo>
                      <a:pt x="247121" y="165319"/>
                      <a:pt x="254265" y="164526"/>
                      <a:pt x="258763" y="163732"/>
                    </a:cubicBezTo>
                    <a:cubicBezTo>
                      <a:pt x="263261" y="162938"/>
                      <a:pt x="266171" y="163201"/>
                      <a:pt x="271462" y="162143"/>
                    </a:cubicBezTo>
                    <a:cubicBezTo>
                      <a:pt x="276753" y="161085"/>
                      <a:pt x="279400" y="157910"/>
                      <a:pt x="290513" y="157381"/>
                    </a:cubicBezTo>
                    <a:cubicBezTo>
                      <a:pt x="294746" y="157910"/>
                      <a:pt x="283369" y="163732"/>
                      <a:pt x="285750" y="163732"/>
                    </a:cubicBezTo>
                    <a:cubicBezTo>
                      <a:pt x="288131" y="163732"/>
                      <a:pt x="300831" y="157910"/>
                      <a:pt x="304800" y="157381"/>
                    </a:cubicBezTo>
                    <a:cubicBezTo>
                      <a:pt x="308769" y="156852"/>
                      <a:pt x="307975" y="159498"/>
                      <a:pt x="309562" y="160556"/>
                    </a:cubicBezTo>
                    <a:cubicBezTo>
                      <a:pt x="310091" y="158969"/>
                      <a:pt x="311150" y="157467"/>
                      <a:pt x="311150" y="155794"/>
                    </a:cubicBezTo>
                    <a:cubicBezTo>
                      <a:pt x="311150" y="152052"/>
                      <a:pt x="307889" y="148028"/>
                      <a:pt x="309562" y="144681"/>
                    </a:cubicBezTo>
                    <a:cubicBezTo>
                      <a:pt x="310566" y="142673"/>
                      <a:pt x="313020" y="147617"/>
                      <a:pt x="314325" y="149444"/>
                    </a:cubicBezTo>
                    <a:cubicBezTo>
                      <a:pt x="315701" y="151370"/>
                      <a:pt x="316442" y="153677"/>
                      <a:pt x="317500" y="155794"/>
                    </a:cubicBezTo>
                    <a:cubicBezTo>
                      <a:pt x="321282" y="170928"/>
                      <a:pt x="318043" y="166797"/>
                      <a:pt x="349250" y="160556"/>
                    </a:cubicBezTo>
                    <a:cubicBezTo>
                      <a:pt x="350891" y="160228"/>
                      <a:pt x="348456" y="156852"/>
                      <a:pt x="350837" y="155794"/>
                    </a:cubicBezTo>
                    <a:cubicBezTo>
                      <a:pt x="353218" y="154736"/>
                      <a:pt x="361950" y="155265"/>
                      <a:pt x="363538" y="154207"/>
                    </a:cubicBezTo>
                    <a:cubicBezTo>
                      <a:pt x="365125" y="151561"/>
                      <a:pt x="369887" y="153148"/>
                      <a:pt x="371474" y="151031"/>
                    </a:cubicBezTo>
                    <a:cubicBezTo>
                      <a:pt x="373061" y="148914"/>
                      <a:pt x="373062" y="143623"/>
                      <a:pt x="373062" y="141506"/>
                    </a:cubicBezTo>
                    <a:cubicBezTo>
                      <a:pt x="373062" y="139389"/>
                      <a:pt x="368829" y="138860"/>
                      <a:pt x="371475" y="138331"/>
                    </a:cubicBezTo>
                    <a:cubicBezTo>
                      <a:pt x="372004" y="136744"/>
                      <a:pt x="373062" y="135242"/>
                      <a:pt x="373062" y="133569"/>
                    </a:cubicBezTo>
                    <a:cubicBezTo>
                      <a:pt x="373062" y="127978"/>
                      <a:pt x="371525" y="124194"/>
                      <a:pt x="369887" y="119281"/>
                    </a:cubicBezTo>
                    <a:cubicBezTo>
                      <a:pt x="370416" y="117694"/>
                      <a:pt x="370168" y="115564"/>
                      <a:pt x="371475" y="114519"/>
                    </a:cubicBezTo>
                    <a:cubicBezTo>
                      <a:pt x="373179" y="113156"/>
                      <a:pt x="376849" y="114883"/>
                      <a:pt x="377825" y="112931"/>
                    </a:cubicBezTo>
                    <a:cubicBezTo>
                      <a:pt x="380528" y="107525"/>
                      <a:pt x="374208" y="102964"/>
                      <a:pt x="371475" y="100231"/>
                    </a:cubicBezTo>
                    <a:cubicBezTo>
                      <a:pt x="368300" y="95469"/>
                      <a:pt x="367770" y="93617"/>
                      <a:pt x="360362" y="92294"/>
                    </a:cubicBezTo>
                    <a:cubicBezTo>
                      <a:pt x="352954" y="90971"/>
                      <a:pt x="332317" y="90971"/>
                      <a:pt x="327025" y="92294"/>
                    </a:cubicBezTo>
                    <a:cubicBezTo>
                      <a:pt x="321733" y="93617"/>
                      <a:pt x="327115" y="97986"/>
                      <a:pt x="328612" y="100231"/>
                    </a:cubicBezTo>
                    <a:cubicBezTo>
                      <a:pt x="329540" y="101624"/>
                      <a:pt x="336021" y="100760"/>
                      <a:pt x="333375" y="101819"/>
                    </a:cubicBezTo>
                    <a:cubicBezTo>
                      <a:pt x="330729" y="102878"/>
                      <a:pt x="319424" y="108253"/>
                      <a:pt x="312738" y="106582"/>
                    </a:cubicBezTo>
                    <a:cubicBezTo>
                      <a:pt x="313796" y="104994"/>
                      <a:pt x="319352" y="96262"/>
                      <a:pt x="317500" y="93881"/>
                    </a:cubicBezTo>
                    <a:cubicBezTo>
                      <a:pt x="315648" y="91500"/>
                      <a:pt x="306881" y="93103"/>
                      <a:pt x="301625" y="92294"/>
                    </a:cubicBezTo>
                    <a:cubicBezTo>
                      <a:pt x="299971" y="92040"/>
                      <a:pt x="298450" y="91235"/>
                      <a:pt x="296862" y="90706"/>
                    </a:cubicBezTo>
                    <a:cubicBezTo>
                      <a:pt x="295804" y="89119"/>
                      <a:pt x="295177" y="87136"/>
                      <a:pt x="293687" y="85944"/>
                    </a:cubicBezTo>
                    <a:cubicBezTo>
                      <a:pt x="292380" y="84899"/>
                      <a:pt x="290422" y="85104"/>
                      <a:pt x="288925" y="84356"/>
                    </a:cubicBezTo>
                    <a:cubicBezTo>
                      <a:pt x="278028" y="78907"/>
                      <a:pt x="291532" y="82655"/>
                      <a:pt x="276225" y="79594"/>
                    </a:cubicBezTo>
                    <a:cubicBezTo>
                      <a:pt x="270404" y="77213"/>
                      <a:pt x="260350" y="72186"/>
                      <a:pt x="254000" y="70069"/>
                    </a:cubicBezTo>
                    <a:cubicBezTo>
                      <a:pt x="247650" y="67952"/>
                      <a:pt x="247598" y="69261"/>
                      <a:pt x="238125" y="66894"/>
                    </a:cubicBezTo>
                    <a:cubicBezTo>
                      <a:pt x="236537" y="65306"/>
                      <a:pt x="235266" y="63321"/>
                      <a:pt x="233362" y="62131"/>
                    </a:cubicBezTo>
                    <a:cubicBezTo>
                      <a:pt x="224461" y="56567"/>
                      <a:pt x="224178" y="62697"/>
                      <a:pt x="227012" y="54194"/>
                    </a:cubicBezTo>
                    <a:cubicBezTo>
                      <a:pt x="225425" y="53665"/>
                      <a:pt x="223308" y="54194"/>
                      <a:pt x="222250" y="52606"/>
                    </a:cubicBezTo>
                    <a:cubicBezTo>
                      <a:pt x="221192" y="51018"/>
                      <a:pt x="224916" y="47860"/>
                      <a:pt x="220662" y="44669"/>
                    </a:cubicBezTo>
                    <a:cubicBezTo>
                      <a:pt x="218382" y="42959"/>
                      <a:pt x="221192" y="34614"/>
                      <a:pt x="222250" y="31968"/>
                    </a:cubicBezTo>
                    <a:cubicBezTo>
                      <a:pt x="221721" y="28793"/>
                      <a:pt x="216428" y="17682"/>
                      <a:pt x="215899" y="14507"/>
                    </a:cubicBezTo>
                    <a:close/>
                  </a:path>
                </a:pathLst>
              </a:custGeom>
              <a:solidFill>
                <a:schemeClr val="bg1">
                  <a:lumMod val="85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grpSp>
            <p:nvGrpSpPr>
              <p:cNvPr id="364" name="Grupo 360">
                <a:extLst>
                  <a:ext uri="{FF2B5EF4-FFF2-40B4-BE49-F238E27FC236}">
                    <a16:creationId xmlns:a16="http://schemas.microsoft.com/office/drawing/2014/main" id="{CFAA5604-8D16-44BE-889E-6B045B8D176E}"/>
                  </a:ext>
                </a:extLst>
              </p:cNvPr>
              <p:cNvGrpSpPr/>
              <p:nvPr/>
            </p:nvGrpSpPr>
            <p:grpSpPr>
              <a:xfrm>
                <a:off x="6428422" y="5101733"/>
                <a:ext cx="2699277" cy="1576253"/>
                <a:chOff x="6428422" y="5101733"/>
                <a:chExt cx="2699277" cy="1576253"/>
              </a:xfrm>
              <a:grpFill/>
            </p:grpSpPr>
            <p:sp>
              <p:nvSpPr>
                <p:cNvPr id="365" name="Forma libre: forma 361">
                  <a:extLst>
                    <a:ext uri="{FF2B5EF4-FFF2-40B4-BE49-F238E27FC236}">
                      <a16:creationId xmlns:a16="http://schemas.microsoft.com/office/drawing/2014/main" id="{AED749B3-2859-49AD-8799-BCFD293B4869}"/>
                    </a:ext>
                  </a:extLst>
                </p:cNvPr>
                <p:cNvSpPr/>
                <p:nvPr/>
              </p:nvSpPr>
              <p:spPr>
                <a:xfrm>
                  <a:off x="6428422" y="6079550"/>
                  <a:ext cx="44096" cy="28428"/>
                </a:xfrm>
                <a:custGeom>
                  <a:avLst/>
                  <a:gdLst>
                    <a:gd name="connsiteX0" fmla="*/ 18017 w 44096"/>
                    <a:gd name="connsiteY0" fmla="*/ 22970 h 28428"/>
                    <a:gd name="connsiteX1" fmla="*/ 37576 w 44096"/>
                    <a:gd name="connsiteY1" fmla="*/ 22970 h 28428"/>
                    <a:gd name="connsiteX2" fmla="*/ 40836 w 44096"/>
                    <a:gd name="connsiteY2" fmla="*/ 16450 h 28428"/>
                    <a:gd name="connsiteX3" fmla="*/ 44096 w 44096"/>
                    <a:gd name="connsiteY3" fmla="*/ 3410 h 28428"/>
                    <a:gd name="connsiteX4" fmla="*/ 37576 w 44096"/>
                    <a:gd name="connsiteY4" fmla="*/ 151 h 28428"/>
                    <a:gd name="connsiteX5" fmla="*/ 19646 w 44096"/>
                    <a:gd name="connsiteY5" fmla="*/ 1780 h 28428"/>
                    <a:gd name="connsiteX6" fmla="*/ 9867 w 44096"/>
                    <a:gd name="connsiteY6" fmla="*/ 8300 h 28428"/>
                    <a:gd name="connsiteX7" fmla="*/ 1717 w 44096"/>
                    <a:gd name="connsiteY7" fmla="*/ 11560 h 28428"/>
                    <a:gd name="connsiteX8" fmla="*/ 87 w 44096"/>
                    <a:gd name="connsiteY8" fmla="*/ 16450 h 28428"/>
                    <a:gd name="connsiteX9" fmla="*/ 9867 w 44096"/>
                    <a:gd name="connsiteY9" fmla="*/ 26230 h 28428"/>
                    <a:gd name="connsiteX10" fmla="*/ 18017 w 44096"/>
                    <a:gd name="connsiteY10" fmla="*/ 22970 h 28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4096" h="28428">
                      <a:moveTo>
                        <a:pt x="18017" y="22970"/>
                      </a:moveTo>
                      <a:cubicBezTo>
                        <a:pt x="22635" y="22427"/>
                        <a:pt x="31154" y="26538"/>
                        <a:pt x="37576" y="22970"/>
                      </a:cubicBezTo>
                      <a:cubicBezTo>
                        <a:pt x="39700" y="21790"/>
                        <a:pt x="40068" y="18755"/>
                        <a:pt x="40836" y="16450"/>
                      </a:cubicBezTo>
                      <a:cubicBezTo>
                        <a:pt x="42253" y="12199"/>
                        <a:pt x="44096" y="3410"/>
                        <a:pt x="44096" y="3410"/>
                      </a:cubicBezTo>
                      <a:cubicBezTo>
                        <a:pt x="41923" y="2324"/>
                        <a:pt x="40000" y="313"/>
                        <a:pt x="37576" y="151"/>
                      </a:cubicBezTo>
                      <a:cubicBezTo>
                        <a:pt x="31588" y="-248"/>
                        <a:pt x="25403" y="87"/>
                        <a:pt x="19646" y="1780"/>
                      </a:cubicBezTo>
                      <a:cubicBezTo>
                        <a:pt x="15887" y="2885"/>
                        <a:pt x="13505" y="6845"/>
                        <a:pt x="9867" y="8300"/>
                      </a:cubicBezTo>
                      <a:lnTo>
                        <a:pt x="1717" y="11560"/>
                      </a:lnTo>
                      <a:cubicBezTo>
                        <a:pt x="1174" y="13190"/>
                        <a:pt x="-385" y="14798"/>
                        <a:pt x="87" y="16450"/>
                      </a:cubicBezTo>
                      <a:cubicBezTo>
                        <a:pt x="1147" y="20159"/>
                        <a:pt x="6326" y="24621"/>
                        <a:pt x="9867" y="26230"/>
                      </a:cubicBezTo>
                      <a:cubicBezTo>
                        <a:pt x="23584" y="32465"/>
                        <a:pt x="13399" y="23513"/>
                        <a:pt x="18017" y="22970"/>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66" name="Forma libre: forma 362">
                  <a:extLst>
                    <a:ext uri="{FF2B5EF4-FFF2-40B4-BE49-F238E27FC236}">
                      <a16:creationId xmlns:a16="http://schemas.microsoft.com/office/drawing/2014/main" id="{FCF9E55E-9100-4ECB-B2E2-11428CE1255B}"/>
                    </a:ext>
                  </a:extLst>
                </p:cNvPr>
                <p:cNvSpPr/>
                <p:nvPr/>
              </p:nvSpPr>
              <p:spPr>
                <a:xfrm>
                  <a:off x="6510003" y="5101733"/>
                  <a:ext cx="2617696" cy="1576253"/>
                </a:xfrm>
                <a:custGeom>
                  <a:avLst/>
                  <a:gdLst>
                    <a:gd name="connsiteX0" fmla="*/ 361849 w 2617696"/>
                    <a:gd name="connsiteY0" fmla="*/ 1512590 h 1576253"/>
                    <a:gd name="connsiteX1" fmla="*/ 362167 w 2617696"/>
                    <a:gd name="connsiteY1" fmla="*/ 1513862 h 1576253"/>
                    <a:gd name="connsiteX2" fmla="*/ 361350 w 2617696"/>
                    <a:gd name="connsiteY2" fmla="*/ 1514089 h 1576253"/>
                    <a:gd name="connsiteX3" fmla="*/ 332510 w 2617696"/>
                    <a:gd name="connsiteY3" fmla="*/ 1510960 h 1576253"/>
                    <a:gd name="connsiteX4" fmla="*/ 337399 w 2617696"/>
                    <a:gd name="connsiteY4" fmla="*/ 1512590 h 1576253"/>
                    <a:gd name="connsiteX5" fmla="*/ 353431 w 2617696"/>
                    <a:gd name="connsiteY5" fmla="*/ 1516291 h 1576253"/>
                    <a:gd name="connsiteX6" fmla="*/ 361350 w 2617696"/>
                    <a:gd name="connsiteY6" fmla="*/ 1514089 h 1576253"/>
                    <a:gd name="connsiteX7" fmla="*/ 360219 w 2617696"/>
                    <a:gd name="connsiteY7" fmla="*/ 1517480 h 1576253"/>
                    <a:gd name="connsiteX8" fmla="*/ 337399 w 2617696"/>
                    <a:gd name="connsiteY8" fmla="*/ 1524000 h 1576253"/>
                    <a:gd name="connsiteX9" fmla="*/ 327620 w 2617696"/>
                    <a:gd name="connsiteY9" fmla="*/ 1528889 h 1576253"/>
                    <a:gd name="connsiteX10" fmla="*/ 325990 w 2617696"/>
                    <a:gd name="connsiteY10" fmla="*/ 1533779 h 1576253"/>
                    <a:gd name="connsiteX11" fmla="*/ 319470 w 2617696"/>
                    <a:gd name="connsiteY11" fmla="*/ 1540299 h 1576253"/>
                    <a:gd name="connsiteX12" fmla="*/ 312950 w 2617696"/>
                    <a:gd name="connsiteY12" fmla="*/ 1545189 h 1576253"/>
                    <a:gd name="connsiteX13" fmla="*/ 311320 w 2617696"/>
                    <a:gd name="connsiteY13" fmla="*/ 1556599 h 1576253"/>
                    <a:gd name="connsiteX14" fmla="*/ 304800 w 2617696"/>
                    <a:gd name="connsiteY14" fmla="*/ 1558228 h 1576253"/>
                    <a:gd name="connsiteX15" fmla="*/ 285241 w 2617696"/>
                    <a:gd name="connsiteY15" fmla="*/ 1556599 h 1576253"/>
                    <a:gd name="connsiteX16" fmla="*/ 273831 w 2617696"/>
                    <a:gd name="connsiteY16" fmla="*/ 1563118 h 1576253"/>
                    <a:gd name="connsiteX17" fmla="*/ 267312 w 2617696"/>
                    <a:gd name="connsiteY17" fmla="*/ 1558228 h 1576253"/>
                    <a:gd name="connsiteX18" fmla="*/ 277091 w 2617696"/>
                    <a:gd name="connsiteY18" fmla="*/ 1543559 h 1576253"/>
                    <a:gd name="connsiteX19" fmla="*/ 281981 w 2617696"/>
                    <a:gd name="connsiteY19" fmla="*/ 1538669 h 1576253"/>
                    <a:gd name="connsiteX20" fmla="*/ 291761 w 2617696"/>
                    <a:gd name="connsiteY20" fmla="*/ 1527260 h 1576253"/>
                    <a:gd name="connsiteX21" fmla="*/ 303170 w 2617696"/>
                    <a:gd name="connsiteY21" fmla="*/ 1528889 h 1576253"/>
                    <a:gd name="connsiteX22" fmla="*/ 308060 w 2617696"/>
                    <a:gd name="connsiteY22" fmla="*/ 1525630 h 1576253"/>
                    <a:gd name="connsiteX23" fmla="*/ 312950 w 2617696"/>
                    <a:gd name="connsiteY23" fmla="*/ 1524000 h 1576253"/>
                    <a:gd name="connsiteX24" fmla="*/ 319470 w 2617696"/>
                    <a:gd name="connsiteY24" fmla="*/ 1520740 h 1576253"/>
                    <a:gd name="connsiteX25" fmla="*/ 324360 w 2617696"/>
                    <a:gd name="connsiteY25" fmla="*/ 1517480 h 1576253"/>
                    <a:gd name="connsiteX26" fmla="*/ 332510 w 2617696"/>
                    <a:gd name="connsiteY26" fmla="*/ 1510960 h 1576253"/>
                    <a:gd name="connsiteX27" fmla="*/ 2056994 w 2617696"/>
                    <a:gd name="connsiteY27" fmla="*/ 0 h 1576253"/>
                    <a:gd name="connsiteX28" fmla="*/ 2078183 w 2617696"/>
                    <a:gd name="connsiteY28" fmla="*/ 4889 h 1576253"/>
                    <a:gd name="connsiteX29" fmla="*/ 2081443 w 2617696"/>
                    <a:gd name="connsiteY29" fmla="*/ 21189 h 1576253"/>
                    <a:gd name="connsiteX30" fmla="*/ 2089593 w 2617696"/>
                    <a:gd name="connsiteY30" fmla="*/ 32599 h 1576253"/>
                    <a:gd name="connsiteX31" fmla="*/ 2097743 w 2617696"/>
                    <a:gd name="connsiteY31" fmla="*/ 34228 h 1576253"/>
                    <a:gd name="connsiteX32" fmla="*/ 2127082 w 2617696"/>
                    <a:gd name="connsiteY32" fmla="*/ 37488 h 1576253"/>
                    <a:gd name="connsiteX33" fmla="*/ 2133601 w 2617696"/>
                    <a:gd name="connsiteY33" fmla="*/ 35858 h 1576253"/>
                    <a:gd name="connsiteX34" fmla="*/ 2138491 w 2617696"/>
                    <a:gd name="connsiteY34" fmla="*/ 34228 h 1576253"/>
                    <a:gd name="connsiteX35" fmla="*/ 2159681 w 2617696"/>
                    <a:gd name="connsiteY35" fmla="*/ 32599 h 1576253"/>
                    <a:gd name="connsiteX36" fmla="*/ 2162940 w 2617696"/>
                    <a:gd name="connsiteY36" fmla="*/ 44008 h 1576253"/>
                    <a:gd name="connsiteX37" fmla="*/ 2164570 w 2617696"/>
                    <a:gd name="connsiteY37" fmla="*/ 48898 h 1576253"/>
                    <a:gd name="connsiteX38" fmla="*/ 2174350 w 2617696"/>
                    <a:gd name="connsiteY38" fmla="*/ 47268 h 1576253"/>
                    <a:gd name="connsiteX39" fmla="*/ 2187390 w 2617696"/>
                    <a:gd name="connsiteY39" fmla="*/ 57048 h 1576253"/>
                    <a:gd name="connsiteX40" fmla="*/ 2189020 w 2617696"/>
                    <a:gd name="connsiteY40" fmla="*/ 63568 h 1576253"/>
                    <a:gd name="connsiteX41" fmla="*/ 2195539 w 2617696"/>
                    <a:gd name="connsiteY41" fmla="*/ 65197 h 1576253"/>
                    <a:gd name="connsiteX42" fmla="*/ 2200429 w 2617696"/>
                    <a:gd name="connsiteY42" fmla="*/ 68457 h 1576253"/>
                    <a:gd name="connsiteX43" fmla="*/ 2216729 w 2617696"/>
                    <a:gd name="connsiteY43" fmla="*/ 76607 h 1576253"/>
                    <a:gd name="connsiteX44" fmla="*/ 2224878 w 2617696"/>
                    <a:gd name="connsiteY44" fmla="*/ 84757 h 1576253"/>
                    <a:gd name="connsiteX45" fmla="*/ 2229768 w 2617696"/>
                    <a:gd name="connsiteY45" fmla="*/ 88017 h 1576253"/>
                    <a:gd name="connsiteX46" fmla="*/ 2234658 w 2617696"/>
                    <a:gd name="connsiteY46" fmla="*/ 89647 h 1576253"/>
                    <a:gd name="connsiteX47" fmla="*/ 2236288 w 2617696"/>
                    <a:gd name="connsiteY47" fmla="*/ 104316 h 1576253"/>
                    <a:gd name="connsiteX48" fmla="*/ 2237918 w 2617696"/>
                    <a:gd name="connsiteY48" fmla="*/ 109206 h 1576253"/>
                    <a:gd name="connsiteX49" fmla="*/ 2241178 w 2617696"/>
                    <a:gd name="connsiteY49" fmla="*/ 114096 h 1576253"/>
                    <a:gd name="connsiteX50" fmla="*/ 2242808 w 2617696"/>
                    <a:gd name="connsiteY50" fmla="*/ 122246 h 1576253"/>
                    <a:gd name="connsiteX51" fmla="*/ 2246068 w 2617696"/>
                    <a:gd name="connsiteY51" fmla="*/ 127135 h 1576253"/>
                    <a:gd name="connsiteX52" fmla="*/ 2242808 w 2617696"/>
                    <a:gd name="connsiteY52" fmla="*/ 132025 h 1576253"/>
                    <a:gd name="connsiteX53" fmla="*/ 2237918 w 2617696"/>
                    <a:gd name="connsiteY53" fmla="*/ 135285 h 1576253"/>
                    <a:gd name="connsiteX54" fmla="*/ 2226508 w 2617696"/>
                    <a:gd name="connsiteY54" fmla="*/ 140175 h 1576253"/>
                    <a:gd name="connsiteX55" fmla="*/ 2218359 w 2617696"/>
                    <a:gd name="connsiteY55" fmla="*/ 148325 h 1576253"/>
                    <a:gd name="connsiteX56" fmla="*/ 2223248 w 2617696"/>
                    <a:gd name="connsiteY56" fmla="*/ 151585 h 1576253"/>
                    <a:gd name="connsiteX57" fmla="*/ 2234658 w 2617696"/>
                    <a:gd name="connsiteY57" fmla="*/ 158104 h 1576253"/>
                    <a:gd name="connsiteX58" fmla="*/ 2233028 w 2617696"/>
                    <a:gd name="connsiteY58" fmla="*/ 162994 h 1576253"/>
                    <a:gd name="connsiteX59" fmla="*/ 2241178 w 2617696"/>
                    <a:gd name="connsiteY59" fmla="*/ 167884 h 1576253"/>
                    <a:gd name="connsiteX60" fmla="*/ 2260737 w 2617696"/>
                    <a:gd name="connsiteY60" fmla="*/ 171144 h 1576253"/>
                    <a:gd name="connsiteX61" fmla="*/ 2262367 w 2617696"/>
                    <a:gd name="connsiteY61" fmla="*/ 180924 h 1576253"/>
                    <a:gd name="connsiteX62" fmla="*/ 2255847 w 2617696"/>
                    <a:gd name="connsiteY62" fmla="*/ 185814 h 1576253"/>
                    <a:gd name="connsiteX63" fmla="*/ 2283556 w 2617696"/>
                    <a:gd name="connsiteY63" fmla="*/ 192333 h 1576253"/>
                    <a:gd name="connsiteX64" fmla="*/ 2319415 w 2617696"/>
                    <a:gd name="connsiteY64" fmla="*/ 185814 h 1576253"/>
                    <a:gd name="connsiteX65" fmla="*/ 2327565 w 2617696"/>
                    <a:gd name="connsiteY65" fmla="*/ 179294 h 1576253"/>
                    <a:gd name="connsiteX66" fmla="*/ 2334085 w 2617696"/>
                    <a:gd name="connsiteY66" fmla="*/ 167884 h 1576253"/>
                    <a:gd name="connsiteX67" fmla="*/ 2345494 w 2617696"/>
                    <a:gd name="connsiteY67" fmla="*/ 164624 h 1576253"/>
                    <a:gd name="connsiteX68" fmla="*/ 2352014 w 2617696"/>
                    <a:gd name="connsiteY68" fmla="*/ 166254 h 1576253"/>
                    <a:gd name="connsiteX69" fmla="*/ 2365054 w 2617696"/>
                    <a:gd name="connsiteY69" fmla="*/ 172774 h 1576253"/>
                    <a:gd name="connsiteX70" fmla="*/ 2371574 w 2617696"/>
                    <a:gd name="connsiteY70" fmla="*/ 182554 h 1576253"/>
                    <a:gd name="connsiteX71" fmla="*/ 2392763 w 2617696"/>
                    <a:gd name="connsiteY71" fmla="*/ 185814 h 1576253"/>
                    <a:gd name="connsiteX72" fmla="*/ 2407432 w 2617696"/>
                    <a:gd name="connsiteY72" fmla="*/ 195593 h 1576253"/>
                    <a:gd name="connsiteX73" fmla="*/ 2417212 w 2617696"/>
                    <a:gd name="connsiteY73" fmla="*/ 202113 h 1576253"/>
                    <a:gd name="connsiteX74" fmla="*/ 2422102 w 2617696"/>
                    <a:gd name="connsiteY74" fmla="*/ 205373 h 1576253"/>
                    <a:gd name="connsiteX75" fmla="*/ 2423732 w 2617696"/>
                    <a:gd name="connsiteY75" fmla="*/ 210263 h 1576253"/>
                    <a:gd name="connsiteX76" fmla="*/ 2404173 w 2617696"/>
                    <a:gd name="connsiteY76" fmla="*/ 207003 h 1576253"/>
                    <a:gd name="connsiteX77" fmla="*/ 2399283 w 2617696"/>
                    <a:gd name="connsiteY77" fmla="*/ 208633 h 1576253"/>
                    <a:gd name="connsiteX78" fmla="*/ 2396023 w 2617696"/>
                    <a:gd name="connsiteY78" fmla="*/ 223302 h 1576253"/>
                    <a:gd name="connsiteX79" fmla="*/ 2399283 w 2617696"/>
                    <a:gd name="connsiteY79" fmla="*/ 236342 h 1576253"/>
                    <a:gd name="connsiteX80" fmla="*/ 2400913 w 2617696"/>
                    <a:gd name="connsiteY80" fmla="*/ 244492 h 1576253"/>
                    <a:gd name="connsiteX81" fmla="*/ 2404173 w 2617696"/>
                    <a:gd name="connsiteY81" fmla="*/ 251011 h 1576253"/>
                    <a:gd name="connsiteX82" fmla="*/ 2407432 w 2617696"/>
                    <a:gd name="connsiteY82" fmla="*/ 255901 h 1576253"/>
                    <a:gd name="connsiteX83" fmla="*/ 2410692 w 2617696"/>
                    <a:gd name="connsiteY83" fmla="*/ 267311 h 1576253"/>
                    <a:gd name="connsiteX84" fmla="*/ 2405802 w 2617696"/>
                    <a:gd name="connsiteY84" fmla="*/ 270571 h 1576253"/>
                    <a:gd name="connsiteX85" fmla="*/ 2404173 w 2617696"/>
                    <a:gd name="connsiteY85" fmla="*/ 277091 h 1576253"/>
                    <a:gd name="connsiteX86" fmla="*/ 2399283 w 2617696"/>
                    <a:gd name="connsiteY86" fmla="*/ 283610 h 1576253"/>
                    <a:gd name="connsiteX87" fmla="*/ 2379723 w 2617696"/>
                    <a:gd name="connsiteY87" fmla="*/ 285240 h 1576253"/>
                    <a:gd name="connsiteX88" fmla="*/ 2366684 w 2617696"/>
                    <a:gd name="connsiteY88" fmla="*/ 281980 h 1576253"/>
                    <a:gd name="connsiteX89" fmla="*/ 2361794 w 2617696"/>
                    <a:gd name="connsiteY89" fmla="*/ 285240 h 1576253"/>
                    <a:gd name="connsiteX90" fmla="*/ 2363424 w 2617696"/>
                    <a:gd name="connsiteY90" fmla="*/ 295020 h 1576253"/>
                    <a:gd name="connsiteX91" fmla="*/ 2365054 w 2617696"/>
                    <a:gd name="connsiteY91" fmla="*/ 301540 h 1576253"/>
                    <a:gd name="connsiteX92" fmla="*/ 2376463 w 2617696"/>
                    <a:gd name="connsiteY92" fmla="*/ 308060 h 1576253"/>
                    <a:gd name="connsiteX93" fmla="*/ 2378093 w 2617696"/>
                    <a:gd name="connsiteY93" fmla="*/ 312949 h 1576253"/>
                    <a:gd name="connsiteX94" fmla="*/ 2381353 w 2617696"/>
                    <a:gd name="connsiteY94" fmla="*/ 319469 h 1576253"/>
                    <a:gd name="connsiteX95" fmla="*/ 2392763 w 2617696"/>
                    <a:gd name="connsiteY95" fmla="*/ 334139 h 1576253"/>
                    <a:gd name="connsiteX96" fmla="*/ 2397653 w 2617696"/>
                    <a:gd name="connsiteY96" fmla="*/ 355328 h 1576253"/>
                    <a:gd name="connsiteX97" fmla="*/ 2412322 w 2617696"/>
                    <a:gd name="connsiteY97" fmla="*/ 358588 h 1576253"/>
                    <a:gd name="connsiteX98" fmla="*/ 2422102 w 2617696"/>
                    <a:gd name="connsiteY98" fmla="*/ 360218 h 1576253"/>
                    <a:gd name="connsiteX99" fmla="*/ 2428622 w 2617696"/>
                    <a:gd name="connsiteY99" fmla="*/ 363478 h 1576253"/>
                    <a:gd name="connsiteX100" fmla="*/ 2436771 w 2617696"/>
                    <a:gd name="connsiteY100" fmla="*/ 365108 h 1576253"/>
                    <a:gd name="connsiteX101" fmla="*/ 2438401 w 2617696"/>
                    <a:gd name="connsiteY101" fmla="*/ 384667 h 1576253"/>
                    <a:gd name="connsiteX102" fmla="*/ 2440031 w 2617696"/>
                    <a:gd name="connsiteY102" fmla="*/ 389557 h 1576253"/>
                    <a:gd name="connsiteX103" fmla="*/ 2449811 w 2617696"/>
                    <a:gd name="connsiteY103" fmla="*/ 399337 h 1576253"/>
                    <a:gd name="connsiteX104" fmla="*/ 2453071 w 2617696"/>
                    <a:gd name="connsiteY104" fmla="*/ 409116 h 1576253"/>
                    <a:gd name="connsiteX105" fmla="*/ 2454701 w 2617696"/>
                    <a:gd name="connsiteY105" fmla="*/ 415636 h 1576253"/>
                    <a:gd name="connsiteX106" fmla="*/ 2459591 w 2617696"/>
                    <a:gd name="connsiteY106" fmla="*/ 438455 h 1576253"/>
                    <a:gd name="connsiteX107" fmla="*/ 2487300 w 2617696"/>
                    <a:gd name="connsiteY107" fmla="*/ 440085 h 1576253"/>
                    <a:gd name="connsiteX108" fmla="*/ 2492190 w 2617696"/>
                    <a:gd name="connsiteY108" fmla="*/ 441715 h 1576253"/>
                    <a:gd name="connsiteX109" fmla="*/ 2493820 w 2617696"/>
                    <a:gd name="connsiteY109" fmla="*/ 451495 h 1576253"/>
                    <a:gd name="connsiteX110" fmla="*/ 2490560 w 2617696"/>
                    <a:gd name="connsiteY110" fmla="*/ 466164 h 1576253"/>
                    <a:gd name="connsiteX111" fmla="*/ 2487300 w 2617696"/>
                    <a:gd name="connsiteY111" fmla="*/ 471054 h 1576253"/>
                    <a:gd name="connsiteX112" fmla="*/ 2492190 w 2617696"/>
                    <a:gd name="connsiteY112" fmla="*/ 475944 h 1576253"/>
                    <a:gd name="connsiteX113" fmla="*/ 2493820 w 2617696"/>
                    <a:gd name="connsiteY113" fmla="*/ 482464 h 1576253"/>
                    <a:gd name="connsiteX114" fmla="*/ 2495450 w 2617696"/>
                    <a:gd name="connsiteY114" fmla="*/ 492243 h 1576253"/>
                    <a:gd name="connsiteX115" fmla="*/ 2493820 w 2617696"/>
                    <a:gd name="connsiteY115" fmla="*/ 497133 h 1576253"/>
                    <a:gd name="connsiteX116" fmla="*/ 2492190 w 2617696"/>
                    <a:gd name="connsiteY116" fmla="*/ 508543 h 1576253"/>
                    <a:gd name="connsiteX117" fmla="*/ 2485670 w 2617696"/>
                    <a:gd name="connsiteY117" fmla="*/ 519953 h 1576253"/>
                    <a:gd name="connsiteX118" fmla="*/ 2482410 w 2617696"/>
                    <a:gd name="connsiteY118" fmla="*/ 526472 h 1576253"/>
                    <a:gd name="connsiteX119" fmla="*/ 2484040 w 2617696"/>
                    <a:gd name="connsiteY119" fmla="*/ 531362 h 1576253"/>
                    <a:gd name="connsiteX120" fmla="*/ 2495450 w 2617696"/>
                    <a:gd name="connsiteY120" fmla="*/ 529732 h 1576253"/>
                    <a:gd name="connsiteX121" fmla="*/ 2501969 w 2617696"/>
                    <a:gd name="connsiteY121" fmla="*/ 528102 h 1576253"/>
                    <a:gd name="connsiteX122" fmla="*/ 2506859 w 2617696"/>
                    <a:gd name="connsiteY122" fmla="*/ 526472 h 1576253"/>
                    <a:gd name="connsiteX123" fmla="*/ 2516639 w 2617696"/>
                    <a:gd name="connsiteY123" fmla="*/ 524842 h 1576253"/>
                    <a:gd name="connsiteX124" fmla="*/ 2518269 w 2617696"/>
                    <a:gd name="connsiteY124" fmla="*/ 534622 h 1576253"/>
                    <a:gd name="connsiteX125" fmla="*/ 2523159 w 2617696"/>
                    <a:gd name="connsiteY125" fmla="*/ 532992 h 1576253"/>
                    <a:gd name="connsiteX126" fmla="*/ 2539458 w 2617696"/>
                    <a:gd name="connsiteY126" fmla="*/ 531362 h 1576253"/>
                    <a:gd name="connsiteX127" fmla="*/ 2545978 w 2617696"/>
                    <a:gd name="connsiteY127" fmla="*/ 532992 h 1576253"/>
                    <a:gd name="connsiteX128" fmla="*/ 2550868 w 2617696"/>
                    <a:gd name="connsiteY128" fmla="*/ 549292 h 1576253"/>
                    <a:gd name="connsiteX129" fmla="*/ 2552498 w 2617696"/>
                    <a:gd name="connsiteY129" fmla="*/ 555811 h 1576253"/>
                    <a:gd name="connsiteX130" fmla="*/ 2563907 w 2617696"/>
                    <a:gd name="connsiteY130" fmla="*/ 562331 h 1576253"/>
                    <a:gd name="connsiteX131" fmla="*/ 2562277 w 2617696"/>
                    <a:gd name="connsiteY131" fmla="*/ 572111 h 1576253"/>
                    <a:gd name="connsiteX132" fmla="*/ 2567167 w 2617696"/>
                    <a:gd name="connsiteY132" fmla="*/ 573741 h 1576253"/>
                    <a:gd name="connsiteX133" fmla="*/ 2573687 w 2617696"/>
                    <a:gd name="connsiteY133" fmla="*/ 577001 h 1576253"/>
                    <a:gd name="connsiteX134" fmla="*/ 2589986 w 2617696"/>
                    <a:gd name="connsiteY134" fmla="*/ 581891 h 1576253"/>
                    <a:gd name="connsiteX135" fmla="*/ 2594876 w 2617696"/>
                    <a:gd name="connsiteY135" fmla="*/ 583520 h 1576253"/>
                    <a:gd name="connsiteX136" fmla="*/ 2599766 w 2617696"/>
                    <a:gd name="connsiteY136" fmla="*/ 586780 h 1576253"/>
                    <a:gd name="connsiteX137" fmla="*/ 2604656 w 2617696"/>
                    <a:gd name="connsiteY137" fmla="*/ 588410 h 1576253"/>
                    <a:gd name="connsiteX138" fmla="*/ 2609546 w 2617696"/>
                    <a:gd name="connsiteY138" fmla="*/ 609600 h 1576253"/>
                    <a:gd name="connsiteX139" fmla="*/ 2611176 w 2617696"/>
                    <a:gd name="connsiteY139" fmla="*/ 614489 h 1576253"/>
                    <a:gd name="connsiteX140" fmla="*/ 2617696 w 2617696"/>
                    <a:gd name="connsiteY140" fmla="*/ 621009 h 1576253"/>
                    <a:gd name="connsiteX141" fmla="*/ 2596506 w 2617696"/>
                    <a:gd name="connsiteY141" fmla="*/ 622639 h 1576253"/>
                    <a:gd name="connsiteX142" fmla="*/ 2588356 w 2617696"/>
                    <a:gd name="connsiteY142" fmla="*/ 624269 h 1576253"/>
                    <a:gd name="connsiteX143" fmla="*/ 2580207 w 2617696"/>
                    <a:gd name="connsiteY143" fmla="*/ 635679 h 1576253"/>
                    <a:gd name="connsiteX144" fmla="*/ 2578577 w 2617696"/>
                    <a:gd name="connsiteY144" fmla="*/ 647088 h 1576253"/>
                    <a:gd name="connsiteX145" fmla="*/ 2576947 w 2617696"/>
                    <a:gd name="connsiteY145" fmla="*/ 651978 h 1576253"/>
                    <a:gd name="connsiteX146" fmla="*/ 2568797 w 2617696"/>
                    <a:gd name="connsiteY146" fmla="*/ 661758 h 1576253"/>
                    <a:gd name="connsiteX147" fmla="*/ 2567167 w 2617696"/>
                    <a:gd name="connsiteY147" fmla="*/ 666648 h 1576253"/>
                    <a:gd name="connsiteX148" fmla="*/ 2562277 w 2617696"/>
                    <a:gd name="connsiteY148" fmla="*/ 668278 h 1576253"/>
                    <a:gd name="connsiteX149" fmla="*/ 2572057 w 2617696"/>
                    <a:gd name="connsiteY149" fmla="*/ 682947 h 1576253"/>
                    <a:gd name="connsiteX150" fmla="*/ 2576947 w 2617696"/>
                    <a:gd name="connsiteY150" fmla="*/ 689467 h 1576253"/>
                    <a:gd name="connsiteX151" fmla="*/ 2545978 w 2617696"/>
                    <a:gd name="connsiteY151" fmla="*/ 691097 h 1576253"/>
                    <a:gd name="connsiteX152" fmla="*/ 2539458 w 2617696"/>
                    <a:gd name="connsiteY152" fmla="*/ 686207 h 1576253"/>
                    <a:gd name="connsiteX153" fmla="*/ 2534568 w 2617696"/>
                    <a:gd name="connsiteY153" fmla="*/ 682947 h 1576253"/>
                    <a:gd name="connsiteX154" fmla="*/ 2531308 w 2617696"/>
                    <a:gd name="connsiteY154" fmla="*/ 669908 h 1576253"/>
                    <a:gd name="connsiteX155" fmla="*/ 2537828 w 2617696"/>
                    <a:gd name="connsiteY155" fmla="*/ 643828 h 1576253"/>
                    <a:gd name="connsiteX156" fmla="*/ 2534568 w 2617696"/>
                    <a:gd name="connsiteY156" fmla="*/ 637309 h 1576253"/>
                    <a:gd name="connsiteX157" fmla="*/ 2510119 w 2617696"/>
                    <a:gd name="connsiteY157" fmla="*/ 635679 h 1576253"/>
                    <a:gd name="connsiteX158" fmla="*/ 2500339 w 2617696"/>
                    <a:gd name="connsiteY158" fmla="*/ 638939 h 1576253"/>
                    <a:gd name="connsiteX159" fmla="*/ 2497079 w 2617696"/>
                    <a:gd name="connsiteY159" fmla="*/ 650348 h 1576253"/>
                    <a:gd name="connsiteX160" fmla="*/ 2493820 w 2617696"/>
                    <a:gd name="connsiteY160" fmla="*/ 674797 h 1576253"/>
                    <a:gd name="connsiteX161" fmla="*/ 2484040 w 2617696"/>
                    <a:gd name="connsiteY161" fmla="*/ 681317 h 1576253"/>
                    <a:gd name="connsiteX162" fmla="*/ 2477520 w 2617696"/>
                    <a:gd name="connsiteY162" fmla="*/ 686207 h 1576253"/>
                    <a:gd name="connsiteX163" fmla="*/ 2471000 w 2617696"/>
                    <a:gd name="connsiteY163" fmla="*/ 676427 h 1576253"/>
                    <a:gd name="connsiteX164" fmla="*/ 2466111 w 2617696"/>
                    <a:gd name="connsiteY164" fmla="*/ 674797 h 1576253"/>
                    <a:gd name="connsiteX165" fmla="*/ 2461221 w 2617696"/>
                    <a:gd name="connsiteY165" fmla="*/ 671538 h 1576253"/>
                    <a:gd name="connsiteX166" fmla="*/ 2451441 w 2617696"/>
                    <a:gd name="connsiteY166" fmla="*/ 678057 h 1576253"/>
                    <a:gd name="connsiteX167" fmla="*/ 2443291 w 2617696"/>
                    <a:gd name="connsiteY167" fmla="*/ 681317 h 1576253"/>
                    <a:gd name="connsiteX168" fmla="*/ 2438401 w 2617696"/>
                    <a:gd name="connsiteY168" fmla="*/ 678057 h 1576253"/>
                    <a:gd name="connsiteX169" fmla="*/ 2430252 w 2617696"/>
                    <a:gd name="connsiteY169" fmla="*/ 671538 h 1576253"/>
                    <a:gd name="connsiteX170" fmla="*/ 2420472 w 2617696"/>
                    <a:gd name="connsiteY170" fmla="*/ 673168 h 1576253"/>
                    <a:gd name="connsiteX171" fmla="*/ 2397653 w 2617696"/>
                    <a:gd name="connsiteY171" fmla="*/ 674797 h 1576253"/>
                    <a:gd name="connsiteX172" fmla="*/ 2391801 w 2617696"/>
                    <a:gd name="connsiteY172" fmla="*/ 676051 h 1576253"/>
                    <a:gd name="connsiteX173" fmla="*/ 2391132 w 2617696"/>
                    <a:gd name="connsiteY173" fmla="*/ 678057 h 1576253"/>
                    <a:gd name="connsiteX174" fmla="*/ 2384612 w 2617696"/>
                    <a:gd name="connsiteY174" fmla="*/ 681317 h 1576253"/>
                    <a:gd name="connsiteX175" fmla="*/ 2382982 w 2617696"/>
                    <a:gd name="connsiteY175" fmla="*/ 686207 h 1576253"/>
                    <a:gd name="connsiteX176" fmla="*/ 2369943 w 2617696"/>
                    <a:gd name="connsiteY176" fmla="*/ 702507 h 1576253"/>
                    <a:gd name="connsiteX177" fmla="*/ 2361793 w 2617696"/>
                    <a:gd name="connsiteY177" fmla="*/ 704137 h 1576253"/>
                    <a:gd name="connsiteX178" fmla="*/ 2337344 w 2617696"/>
                    <a:gd name="connsiteY178" fmla="*/ 748145 h 1576253"/>
                    <a:gd name="connsiteX179" fmla="*/ 2330824 w 2617696"/>
                    <a:gd name="connsiteY179" fmla="*/ 751405 h 1576253"/>
                    <a:gd name="connsiteX180" fmla="*/ 2322674 w 2617696"/>
                    <a:gd name="connsiteY180" fmla="*/ 754665 h 1576253"/>
                    <a:gd name="connsiteX181" fmla="*/ 2321044 w 2617696"/>
                    <a:gd name="connsiteY181" fmla="*/ 759555 h 1576253"/>
                    <a:gd name="connsiteX182" fmla="*/ 2306375 w 2617696"/>
                    <a:gd name="connsiteY182" fmla="*/ 769334 h 1576253"/>
                    <a:gd name="connsiteX183" fmla="*/ 2296595 w 2617696"/>
                    <a:gd name="connsiteY183" fmla="*/ 764445 h 1576253"/>
                    <a:gd name="connsiteX184" fmla="*/ 2298225 w 2617696"/>
                    <a:gd name="connsiteY184" fmla="*/ 759555 h 1576253"/>
                    <a:gd name="connsiteX185" fmla="*/ 2299855 w 2617696"/>
                    <a:gd name="connsiteY185" fmla="*/ 743255 h 1576253"/>
                    <a:gd name="connsiteX186" fmla="*/ 2268886 w 2617696"/>
                    <a:gd name="connsiteY186" fmla="*/ 746515 h 1576253"/>
                    <a:gd name="connsiteX187" fmla="*/ 2260736 w 2617696"/>
                    <a:gd name="connsiteY187" fmla="*/ 753035 h 1576253"/>
                    <a:gd name="connsiteX188" fmla="*/ 2254216 w 2617696"/>
                    <a:gd name="connsiteY188" fmla="*/ 759555 h 1576253"/>
                    <a:gd name="connsiteX189" fmla="*/ 2252587 w 2617696"/>
                    <a:gd name="connsiteY189" fmla="*/ 764445 h 1576253"/>
                    <a:gd name="connsiteX190" fmla="*/ 2249327 w 2617696"/>
                    <a:gd name="connsiteY190" fmla="*/ 772594 h 1576253"/>
                    <a:gd name="connsiteX191" fmla="*/ 2247697 w 2617696"/>
                    <a:gd name="connsiteY191" fmla="*/ 779114 h 1576253"/>
                    <a:gd name="connsiteX192" fmla="*/ 2244437 w 2617696"/>
                    <a:gd name="connsiteY192" fmla="*/ 788894 h 1576253"/>
                    <a:gd name="connsiteX193" fmla="*/ 2229767 w 2617696"/>
                    <a:gd name="connsiteY193" fmla="*/ 798673 h 1576253"/>
                    <a:gd name="connsiteX194" fmla="*/ 2224877 w 2617696"/>
                    <a:gd name="connsiteY194" fmla="*/ 801933 h 1576253"/>
                    <a:gd name="connsiteX195" fmla="*/ 2218358 w 2617696"/>
                    <a:gd name="connsiteY195" fmla="*/ 808453 h 1576253"/>
                    <a:gd name="connsiteX196" fmla="*/ 2210208 w 2617696"/>
                    <a:gd name="connsiteY196" fmla="*/ 816603 h 1576253"/>
                    <a:gd name="connsiteX197" fmla="*/ 2200428 w 2617696"/>
                    <a:gd name="connsiteY197" fmla="*/ 826383 h 1576253"/>
                    <a:gd name="connsiteX198" fmla="*/ 2189019 w 2617696"/>
                    <a:gd name="connsiteY198" fmla="*/ 834532 h 1576253"/>
                    <a:gd name="connsiteX199" fmla="*/ 2171089 w 2617696"/>
                    <a:gd name="connsiteY199" fmla="*/ 837792 h 1576253"/>
                    <a:gd name="connsiteX200" fmla="*/ 2166199 w 2617696"/>
                    <a:gd name="connsiteY200" fmla="*/ 841052 h 1576253"/>
                    <a:gd name="connsiteX201" fmla="*/ 2149900 w 2617696"/>
                    <a:gd name="connsiteY201" fmla="*/ 850832 h 1576253"/>
                    <a:gd name="connsiteX202" fmla="*/ 2143380 w 2617696"/>
                    <a:gd name="connsiteY202" fmla="*/ 855722 h 1576253"/>
                    <a:gd name="connsiteX203" fmla="*/ 2138490 w 2617696"/>
                    <a:gd name="connsiteY203" fmla="*/ 858981 h 1576253"/>
                    <a:gd name="connsiteX204" fmla="*/ 2135230 w 2617696"/>
                    <a:gd name="connsiteY204" fmla="*/ 863871 h 1576253"/>
                    <a:gd name="connsiteX205" fmla="*/ 2115671 w 2617696"/>
                    <a:gd name="connsiteY205" fmla="*/ 865501 h 1576253"/>
                    <a:gd name="connsiteX206" fmla="*/ 2110781 w 2617696"/>
                    <a:gd name="connsiteY206" fmla="*/ 868761 h 1576253"/>
                    <a:gd name="connsiteX207" fmla="*/ 2105891 w 2617696"/>
                    <a:gd name="connsiteY207" fmla="*/ 870391 h 1576253"/>
                    <a:gd name="connsiteX208" fmla="*/ 2096112 w 2617696"/>
                    <a:gd name="connsiteY208" fmla="*/ 873651 h 1576253"/>
                    <a:gd name="connsiteX209" fmla="*/ 2092852 w 2617696"/>
                    <a:gd name="connsiteY209" fmla="*/ 878541 h 1576253"/>
                    <a:gd name="connsiteX210" fmla="*/ 2079812 w 2617696"/>
                    <a:gd name="connsiteY210" fmla="*/ 888320 h 1576253"/>
                    <a:gd name="connsiteX211" fmla="*/ 2071662 w 2617696"/>
                    <a:gd name="connsiteY211" fmla="*/ 896470 h 1576253"/>
                    <a:gd name="connsiteX212" fmla="*/ 2066773 w 2617696"/>
                    <a:gd name="connsiteY212" fmla="*/ 899730 h 1576253"/>
                    <a:gd name="connsiteX213" fmla="*/ 2063513 w 2617696"/>
                    <a:gd name="connsiteY213" fmla="*/ 906250 h 1576253"/>
                    <a:gd name="connsiteX214" fmla="*/ 2060253 w 2617696"/>
                    <a:gd name="connsiteY214" fmla="*/ 922549 h 1576253"/>
                    <a:gd name="connsiteX215" fmla="*/ 2058623 w 2617696"/>
                    <a:gd name="connsiteY215" fmla="*/ 927439 h 1576253"/>
                    <a:gd name="connsiteX216" fmla="*/ 2050473 w 2617696"/>
                    <a:gd name="connsiteY216" fmla="*/ 938849 h 1576253"/>
                    <a:gd name="connsiteX217" fmla="*/ 2045583 w 2617696"/>
                    <a:gd name="connsiteY217" fmla="*/ 943739 h 1576253"/>
                    <a:gd name="connsiteX218" fmla="*/ 2040693 w 2617696"/>
                    <a:gd name="connsiteY218" fmla="*/ 950258 h 1576253"/>
                    <a:gd name="connsiteX219" fmla="*/ 2027654 w 2617696"/>
                    <a:gd name="connsiteY219" fmla="*/ 961668 h 1576253"/>
                    <a:gd name="connsiteX220" fmla="*/ 2021134 w 2617696"/>
                    <a:gd name="connsiteY220" fmla="*/ 969818 h 1576253"/>
                    <a:gd name="connsiteX221" fmla="*/ 2014614 w 2617696"/>
                    <a:gd name="connsiteY221" fmla="*/ 973078 h 1576253"/>
                    <a:gd name="connsiteX222" fmla="*/ 2009724 w 2617696"/>
                    <a:gd name="connsiteY222" fmla="*/ 974708 h 1576253"/>
                    <a:gd name="connsiteX223" fmla="*/ 1991795 w 2617696"/>
                    <a:gd name="connsiteY223" fmla="*/ 986117 h 1576253"/>
                    <a:gd name="connsiteX224" fmla="*/ 1985275 w 2617696"/>
                    <a:gd name="connsiteY224" fmla="*/ 987747 h 1576253"/>
                    <a:gd name="connsiteX225" fmla="*/ 1967346 w 2617696"/>
                    <a:gd name="connsiteY225" fmla="*/ 994267 h 1576253"/>
                    <a:gd name="connsiteX226" fmla="*/ 1959196 w 2617696"/>
                    <a:gd name="connsiteY226" fmla="*/ 995897 h 1576253"/>
                    <a:gd name="connsiteX227" fmla="*/ 1954306 w 2617696"/>
                    <a:gd name="connsiteY227" fmla="*/ 1005677 h 1576253"/>
                    <a:gd name="connsiteX228" fmla="*/ 1942897 w 2617696"/>
                    <a:gd name="connsiteY228" fmla="*/ 1010566 h 1576253"/>
                    <a:gd name="connsiteX229" fmla="*/ 1938007 w 2617696"/>
                    <a:gd name="connsiteY229" fmla="*/ 1012196 h 1576253"/>
                    <a:gd name="connsiteX230" fmla="*/ 1928227 w 2617696"/>
                    <a:gd name="connsiteY230" fmla="*/ 1017086 h 1576253"/>
                    <a:gd name="connsiteX231" fmla="*/ 1915188 w 2617696"/>
                    <a:gd name="connsiteY231" fmla="*/ 1026866 h 1576253"/>
                    <a:gd name="connsiteX232" fmla="*/ 1905408 w 2617696"/>
                    <a:gd name="connsiteY232" fmla="*/ 1030126 h 1576253"/>
                    <a:gd name="connsiteX233" fmla="*/ 1890738 w 2617696"/>
                    <a:gd name="connsiteY233" fmla="*/ 1033386 h 1576253"/>
                    <a:gd name="connsiteX234" fmla="*/ 1884219 w 2617696"/>
                    <a:gd name="connsiteY234" fmla="*/ 1035016 h 1576253"/>
                    <a:gd name="connsiteX235" fmla="*/ 1871179 w 2617696"/>
                    <a:gd name="connsiteY235" fmla="*/ 1036646 h 1576253"/>
                    <a:gd name="connsiteX236" fmla="*/ 1866289 w 2617696"/>
                    <a:gd name="connsiteY236" fmla="*/ 1039906 h 1576253"/>
                    <a:gd name="connsiteX237" fmla="*/ 1863029 w 2617696"/>
                    <a:gd name="connsiteY237" fmla="*/ 1044795 h 1576253"/>
                    <a:gd name="connsiteX238" fmla="*/ 1838580 w 2617696"/>
                    <a:gd name="connsiteY238" fmla="*/ 1046425 h 1576253"/>
                    <a:gd name="connsiteX239" fmla="*/ 1830430 w 2617696"/>
                    <a:gd name="connsiteY239" fmla="*/ 1044795 h 1576253"/>
                    <a:gd name="connsiteX240" fmla="*/ 1823911 w 2617696"/>
                    <a:gd name="connsiteY240" fmla="*/ 1043165 h 1576253"/>
                    <a:gd name="connsiteX241" fmla="*/ 1822281 w 2617696"/>
                    <a:gd name="connsiteY241" fmla="*/ 1038276 h 1576253"/>
                    <a:gd name="connsiteX242" fmla="*/ 1792942 w 2617696"/>
                    <a:gd name="connsiteY242" fmla="*/ 1038276 h 1576253"/>
                    <a:gd name="connsiteX243" fmla="*/ 1771752 w 2617696"/>
                    <a:gd name="connsiteY243" fmla="*/ 1039906 h 1576253"/>
                    <a:gd name="connsiteX244" fmla="*/ 1765233 w 2617696"/>
                    <a:gd name="connsiteY244" fmla="*/ 1041535 h 1576253"/>
                    <a:gd name="connsiteX245" fmla="*/ 1761973 w 2617696"/>
                    <a:gd name="connsiteY245" fmla="*/ 1046425 h 1576253"/>
                    <a:gd name="connsiteX246" fmla="*/ 1750563 w 2617696"/>
                    <a:gd name="connsiteY246" fmla="*/ 1056205 h 1576253"/>
                    <a:gd name="connsiteX247" fmla="*/ 1748933 w 2617696"/>
                    <a:gd name="connsiteY247" fmla="*/ 1061095 h 1576253"/>
                    <a:gd name="connsiteX248" fmla="*/ 1744043 w 2617696"/>
                    <a:gd name="connsiteY248" fmla="*/ 1069245 h 1576253"/>
                    <a:gd name="connsiteX249" fmla="*/ 1734264 w 2617696"/>
                    <a:gd name="connsiteY249" fmla="*/ 1082284 h 1576253"/>
                    <a:gd name="connsiteX250" fmla="*/ 1731004 w 2617696"/>
                    <a:gd name="connsiteY250" fmla="*/ 1087174 h 1576253"/>
                    <a:gd name="connsiteX251" fmla="*/ 1719594 w 2617696"/>
                    <a:gd name="connsiteY251" fmla="*/ 1090434 h 1576253"/>
                    <a:gd name="connsiteX252" fmla="*/ 1711444 w 2617696"/>
                    <a:gd name="connsiteY252" fmla="*/ 1096954 h 1576253"/>
                    <a:gd name="connsiteX253" fmla="*/ 1704924 w 2617696"/>
                    <a:gd name="connsiteY253" fmla="*/ 1109993 h 1576253"/>
                    <a:gd name="connsiteX254" fmla="*/ 1701665 w 2617696"/>
                    <a:gd name="connsiteY254" fmla="*/ 1118143 h 1576253"/>
                    <a:gd name="connsiteX255" fmla="*/ 1693515 w 2617696"/>
                    <a:gd name="connsiteY255" fmla="*/ 1129553 h 1576253"/>
                    <a:gd name="connsiteX256" fmla="*/ 1686995 w 2617696"/>
                    <a:gd name="connsiteY256" fmla="*/ 1139332 h 1576253"/>
                    <a:gd name="connsiteX257" fmla="*/ 1680475 w 2617696"/>
                    <a:gd name="connsiteY257" fmla="*/ 1142592 h 1576253"/>
                    <a:gd name="connsiteX258" fmla="*/ 1641357 w 2617696"/>
                    <a:gd name="connsiteY258" fmla="*/ 1142592 h 1576253"/>
                    <a:gd name="connsiteX259" fmla="*/ 1638097 w 2617696"/>
                    <a:gd name="connsiteY259" fmla="*/ 1137702 h 1576253"/>
                    <a:gd name="connsiteX260" fmla="*/ 1631577 w 2617696"/>
                    <a:gd name="connsiteY260" fmla="*/ 1136072 h 1576253"/>
                    <a:gd name="connsiteX261" fmla="*/ 1626687 w 2617696"/>
                    <a:gd name="connsiteY261" fmla="*/ 1132812 h 1576253"/>
                    <a:gd name="connsiteX262" fmla="*/ 1598978 w 2617696"/>
                    <a:gd name="connsiteY262" fmla="*/ 1127923 h 1576253"/>
                    <a:gd name="connsiteX263" fmla="*/ 1574529 w 2617696"/>
                    <a:gd name="connsiteY263" fmla="*/ 1132812 h 1576253"/>
                    <a:gd name="connsiteX264" fmla="*/ 1568009 w 2617696"/>
                    <a:gd name="connsiteY264" fmla="*/ 1134442 h 1576253"/>
                    <a:gd name="connsiteX265" fmla="*/ 1564600 w 2617696"/>
                    <a:gd name="connsiteY265" fmla="*/ 1138186 h 1576253"/>
                    <a:gd name="connsiteX266" fmla="*/ 1566380 w 2617696"/>
                    <a:gd name="connsiteY266" fmla="*/ 1144222 h 1576253"/>
                    <a:gd name="connsiteX267" fmla="*/ 1572900 w 2617696"/>
                    <a:gd name="connsiteY267" fmla="*/ 1168671 h 1576253"/>
                    <a:gd name="connsiteX268" fmla="*/ 1571270 w 2617696"/>
                    <a:gd name="connsiteY268" fmla="*/ 1173561 h 1576253"/>
                    <a:gd name="connsiteX269" fmla="*/ 1569640 w 2617696"/>
                    <a:gd name="connsiteY269" fmla="*/ 1202900 h 1576253"/>
                    <a:gd name="connsiteX270" fmla="*/ 1572900 w 2617696"/>
                    <a:gd name="connsiteY270" fmla="*/ 1207790 h 1576253"/>
                    <a:gd name="connsiteX271" fmla="*/ 1579420 w 2617696"/>
                    <a:gd name="connsiteY271" fmla="*/ 1212680 h 1576253"/>
                    <a:gd name="connsiteX272" fmla="*/ 1579420 w 2617696"/>
                    <a:gd name="connsiteY272" fmla="*/ 1225719 h 1576253"/>
                    <a:gd name="connsiteX273" fmla="*/ 1577790 w 2617696"/>
                    <a:gd name="connsiteY273" fmla="*/ 1230609 h 1576253"/>
                    <a:gd name="connsiteX274" fmla="*/ 1585939 w 2617696"/>
                    <a:gd name="connsiteY274" fmla="*/ 1232239 h 1576253"/>
                    <a:gd name="connsiteX275" fmla="*/ 1594089 w 2617696"/>
                    <a:gd name="connsiteY275" fmla="*/ 1240389 h 1576253"/>
                    <a:gd name="connsiteX276" fmla="*/ 1595719 w 2617696"/>
                    <a:gd name="connsiteY276" fmla="*/ 1253428 h 1576253"/>
                    <a:gd name="connsiteX277" fmla="*/ 1563120 w 2617696"/>
                    <a:gd name="connsiteY277" fmla="*/ 1255058 h 1576253"/>
                    <a:gd name="connsiteX278" fmla="*/ 1556600 w 2617696"/>
                    <a:gd name="connsiteY278" fmla="*/ 1263208 h 1576253"/>
                    <a:gd name="connsiteX279" fmla="*/ 1550081 w 2617696"/>
                    <a:gd name="connsiteY279" fmla="*/ 1264838 h 1576253"/>
                    <a:gd name="connsiteX280" fmla="*/ 1556600 w 2617696"/>
                    <a:gd name="connsiteY280" fmla="*/ 1274618 h 1576253"/>
                    <a:gd name="connsiteX281" fmla="*/ 1564750 w 2617696"/>
                    <a:gd name="connsiteY281" fmla="*/ 1305587 h 1576253"/>
                    <a:gd name="connsiteX282" fmla="*/ 1563120 w 2617696"/>
                    <a:gd name="connsiteY282" fmla="*/ 1310477 h 1576253"/>
                    <a:gd name="connsiteX283" fmla="*/ 1558230 w 2617696"/>
                    <a:gd name="connsiteY283" fmla="*/ 1312107 h 1576253"/>
                    <a:gd name="connsiteX284" fmla="*/ 1556600 w 2617696"/>
                    <a:gd name="connsiteY284" fmla="*/ 1338186 h 1576253"/>
                    <a:gd name="connsiteX285" fmla="*/ 1554970 w 2617696"/>
                    <a:gd name="connsiteY285" fmla="*/ 1343076 h 1576253"/>
                    <a:gd name="connsiteX286" fmla="*/ 1543561 w 2617696"/>
                    <a:gd name="connsiteY286" fmla="*/ 1336556 h 1576253"/>
                    <a:gd name="connsiteX287" fmla="*/ 1525631 w 2617696"/>
                    <a:gd name="connsiteY287" fmla="*/ 1333296 h 1576253"/>
                    <a:gd name="connsiteX288" fmla="*/ 1524001 w 2617696"/>
                    <a:gd name="connsiteY288" fmla="*/ 1326776 h 1576253"/>
                    <a:gd name="connsiteX289" fmla="*/ 1512592 w 2617696"/>
                    <a:gd name="connsiteY289" fmla="*/ 1334926 h 1576253"/>
                    <a:gd name="connsiteX290" fmla="*/ 1507702 w 2617696"/>
                    <a:gd name="connsiteY290" fmla="*/ 1313737 h 1576253"/>
                    <a:gd name="connsiteX291" fmla="*/ 1501182 w 2617696"/>
                    <a:gd name="connsiteY291" fmla="*/ 1308847 h 1576253"/>
                    <a:gd name="connsiteX292" fmla="*/ 1496292 w 2617696"/>
                    <a:gd name="connsiteY292" fmla="*/ 1307217 h 1576253"/>
                    <a:gd name="connsiteX293" fmla="*/ 1493032 w 2617696"/>
                    <a:gd name="connsiteY293" fmla="*/ 1302327 h 1576253"/>
                    <a:gd name="connsiteX294" fmla="*/ 1483253 w 2617696"/>
                    <a:gd name="connsiteY294" fmla="*/ 1294177 h 1576253"/>
                    <a:gd name="connsiteX295" fmla="*/ 1476733 w 2617696"/>
                    <a:gd name="connsiteY295" fmla="*/ 1292547 h 1576253"/>
                    <a:gd name="connsiteX296" fmla="*/ 1470213 w 2617696"/>
                    <a:gd name="connsiteY296" fmla="*/ 1259948 h 1576253"/>
                    <a:gd name="connsiteX297" fmla="*/ 1475103 w 2617696"/>
                    <a:gd name="connsiteY297" fmla="*/ 1255058 h 1576253"/>
                    <a:gd name="connsiteX298" fmla="*/ 1476733 w 2617696"/>
                    <a:gd name="connsiteY298" fmla="*/ 1248539 h 1576253"/>
                    <a:gd name="connsiteX299" fmla="*/ 1484883 w 2617696"/>
                    <a:gd name="connsiteY299" fmla="*/ 1233869 h 1576253"/>
                    <a:gd name="connsiteX300" fmla="*/ 1489773 w 2617696"/>
                    <a:gd name="connsiteY300" fmla="*/ 1227349 h 1576253"/>
                    <a:gd name="connsiteX301" fmla="*/ 1493032 w 2617696"/>
                    <a:gd name="connsiteY301" fmla="*/ 1222460 h 1576253"/>
                    <a:gd name="connsiteX302" fmla="*/ 1499552 w 2617696"/>
                    <a:gd name="connsiteY302" fmla="*/ 1219200 h 1576253"/>
                    <a:gd name="connsiteX303" fmla="*/ 1504442 w 2617696"/>
                    <a:gd name="connsiteY303" fmla="*/ 1196380 h 1576253"/>
                    <a:gd name="connsiteX304" fmla="*/ 1506072 w 2617696"/>
                    <a:gd name="connsiteY304" fmla="*/ 1183341 h 1576253"/>
                    <a:gd name="connsiteX305" fmla="*/ 1502812 w 2617696"/>
                    <a:gd name="connsiteY305" fmla="*/ 1178451 h 1576253"/>
                    <a:gd name="connsiteX306" fmla="*/ 1501182 w 2617696"/>
                    <a:gd name="connsiteY306" fmla="*/ 1171931 h 1576253"/>
                    <a:gd name="connsiteX307" fmla="*/ 1488143 w 2617696"/>
                    <a:gd name="connsiteY307" fmla="*/ 1165411 h 1576253"/>
                    <a:gd name="connsiteX308" fmla="*/ 1486513 w 2617696"/>
                    <a:gd name="connsiteY308" fmla="*/ 1160522 h 1576253"/>
                    <a:gd name="connsiteX309" fmla="*/ 1484883 w 2617696"/>
                    <a:gd name="connsiteY309" fmla="*/ 1154002 h 1576253"/>
                    <a:gd name="connsiteX310" fmla="*/ 1470213 w 2617696"/>
                    <a:gd name="connsiteY310" fmla="*/ 1154002 h 1576253"/>
                    <a:gd name="connsiteX311" fmla="*/ 1468583 w 2617696"/>
                    <a:gd name="connsiteY311" fmla="*/ 1158892 h 1576253"/>
                    <a:gd name="connsiteX312" fmla="*/ 1465323 w 2617696"/>
                    <a:gd name="connsiteY312" fmla="*/ 1163781 h 1576253"/>
                    <a:gd name="connsiteX313" fmla="*/ 1462063 w 2617696"/>
                    <a:gd name="connsiteY313" fmla="*/ 1170301 h 1576253"/>
                    <a:gd name="connsiteX314" fmla="*/ 1455544 w 2617696"/>
                    <a:gd name="connsiteY314" fmla="*/ 1175191 h 1576253"/>
                    <a:gd name="connsiteX315" fmla="*/ 1452284 w 2617696"/>
                    <a:gd name="connsiteY315" fmla="*/ 1180081 h 1576253"/>
                    <a:gd name="connsiteX316" fmla="*/ 1447394 w 2617696"/>
                    <a:gd name="connsiteY316" fmla="*/ 1183341 h 1576253"/>
                    <a:gd name="connsiteX317" fmla="*/ 1444134 w 2617696"/>
                    <a:gd name="connsiteY317" fmla="*/ 1189861 h 1576253"/>
                    <a:gd name="connsiteX318" fmla="*/ 1440874 w 2617696"/>
                    <a:gd name="connsiteY318" fmla="*/ 1194750 h 1576253"/>
                    <a:gd name="connsiteX319" fmla="*/ 1432724 w 2617696"/>
                    <a:gd name="connsiteY319" fmla="*/ 1198010 h 1576253"/>
                    <a:gd name="connsiteX320" fmla="*/ 1431094 w 2617696"/>
                    <a:gd name="connsiteY320" fmla="*/ 1202900 h 1576253"/>
                    <a:gd name="connsiteX321" fmla="*/ 1421315 w 2617696"/>
                    <a:gd name="connsiteY321" fmla="*/ 1212680 h 1576253"/>
                    <a:gd name="connsiteX322" fmla="*/ 1416425 w 2617696"/>
                    <a:gd name="connsiteY322" fmla="*/ 1214310 h 1576253"/>
                    <a:gd name="connsiteX323" fmla="*/ 1414795 w 2617696"/>
                    <a:gd name="connsiteY323" fmla="*/ 1220830 h 1576253"/>
                    <a:gd name="connsiteX324" fmla="*/ 1431094 w 2617696"/>
                    <a:gd name="connsiteY324" fmla="*/ 1228979 h 1576253"/>
                    <a:gd name="connsiteX325" fmla="*/ 1424575 w 2617696"/>
                    <a:gd name="connsiteY325" fmla="*/ 1232239 h 1576253"/>
                    <a:gd name="connsiteX326" fmla="*/ 1414795 w 2617696"/>
                    <a:gd name="connsiteY326" fmla="*/ 1235499 h 1576253"/>
                    <a:gd name="connsiteX327" fmla="*/ 1413165 w 2617696"/>
                    <a:gd name="connsiteY327" fmla="*/ 1240389 h 1576253"/>
                    <a:gd name="connsiteX328" fmla="*/ 1406645 w 2617696"/>
                    <a:gd name="connsiteY328" fmla="*/ 1243649 h 1576253"/>
                    <a:gd name="connsiteX329" fmla="*/ 1395236 w 2617696"/>
                    <a:gd name="connsiteY329" fmla="*/ 1246909 h 1576253"/>
                    <a:gd name="connsiteX330" fmla="*/ 1390346 w 2617696"/>
                    <a:gd name="connsiteY330" fmla="*/ 1248539 h 1576253"/>
                    <a:gd name="connsiteX331" fmla="*/ 1385456 w 2617696"/>
                    <a:gd name="connsiteY331" fmla="*/ 1251799 h 1576253"/>
                    <a:gd name="connsiteX332" fmla="*/ 1378936 w 2617696"/>
                    <a:gd name="connsiteY332" fmla="*/ 1248539 h 1576253"/>
                    <a:gd name="connsiteX333" fmla="*/ 1380566 w 2617696"/>
                    <a:gd name="connsiteY333" fmla="*/ 1237129 h 1576253"/>
                    <a:gd name="connsiteX334" fmla="*/ 1377306 w 2617696"/>
                    <a:gd name="connsiteY334" fmla="*/ 1232239 h 1576253"/>
                    <a:gd name="connsiteX335" fmla="*/ 1372416 w 2617696"/>
                    <a:gd name="connsiteY335" fmla="*/ 1228979 h 1576253"/>
                    <a:gd name="connsiteX336" fmla="*/ 1364267 w 2617696"/>
                    <a:gd name="connsiteY336" fmla="*/ 1245279 h 1576253"/>
                    <a:gd name="connsiteX337" fmla="*/ 1346337 w 2617696"/>
                    <a:gd name="connsiteY337" fmla="*/ 1248539 h 1576253"/>
                    <a:gd name="connsiteX338" fmla="*/ 1325148 w 2617696"/>
                    <a:gd name="connsiteY338" fmla="*/ 1250169 h 1576253"/>
                    <a:gd name="connsiteX339" fmla="*/ 1323518 w 2617696"/>
                    <a:gd name="connsiteY339" fmla="*/ 1243649 h 1576253"/>
                    <a:gd name="connsiteX340" fmla="*/ 1310478 w 2617696"/>
                    <a:gd name="connsiteY340" fmla="*/ 1232239 h 1576253"/>
                    <a:gd name="connsiteX341" fmla="*/ 1305589 w 2617696"/>
                    <a:gd name="connsiteY341" fmla="*/ 1237129 h 1576253"/>
                    <a:gd name="connsiteX342" fmla="*/ 1302329 w 2617696"/>
                    <a:gd name="connsiteY342" fmla="*/ 1242019 h 1576253"/>
                    <a:gd name="connsiteX343" fmla="*/ 1295809 w 2617696"/>
                    <a:gd name="connsiteY343" fmla="*/ 1243649 h 1576253"/>
                    <a:gd name="connsiteX344" fmla="*/ 1290919 w 2617696"/>
                    <a:gd name="connsiteY344" fmla="*/ 1246909 h 1576253"/>
                    <a:gd name="connsiteX345" fmla="*/ 1282769 w 2617696"/>
                    <a:gd name="connsiteY345" fmla="*/ 1248539 h 1576253"/>
                    <a:gd name="connsiteX346" fmla="*/ 1277879 w 2617696"/>
                    <a:gd name="connsiteY346" fmla="*/ 1250169 h 1576253"/>
                    <a:gd name="connsiteX347" fmla="*/ 1276250 w 2617696"/>
                    <a:gd name="connsiteY347" fmla="*/ 1255058 h 1576253"/>
                    <a:gd name="connsiteX348" fmla="*/ 1271360 w 2617696"/>
                    <a:gd name="connsiteY348" fmla="*/ 1258318 h 1576253"/>
                    <a:gd name="connsiteX349" fmla="*/ 1269730 w 2617696"/>
                    <a:gd name="connsiteY349" fmla="*/ 1263208 h 1576253"/>
                    <a:gd name="connsiteX350" fmla="*/ 1266470 w 2617696"/>
                    <a:gd name="connsiteY350" fmla="*/ 1276248 h 1576253"/>
                    <a:gd name="connsiteX351" fmla="*/ 1261580 w 2617696"/>
                    <a:gd name="connsiteY351" fmla="*/ 1282768 h 1576253"/>
                    <a:gd name="connsiteX352" fmla="*/ 1256690 w 2617696"/>
                    <a:gd name="connsiteY352" fmla="*/ 1287657 h 1576253"/>
                    <a:gd name="connsiteX353" fmla="*/ 1253430 w 2617696"/>
                    <a:gd name="connsiteY353" fmla="*/ 1294177 h 1576253"/>
                    <a:gd name="connsiteX354" fmla="*/ 1250170 w 2617696"/>
                    <a:gd name="connsiteY354" fmla="*/ 1299067 h 1576253"/>
                    <a:gd name="connsiteX355" fmla="*/ 1243651 w 2617696"/>
                    <a:gd name="connsiteY355" fmla="*/ 1302327 h 1576253"/>
                    <a:gd name="connsiteX356" fmla="*/ 1237131 w 2617696"/>
                    <a:gd name="connsiteY356" fmla="*/ 1334926 h 1576253"/>
                    <a:gd name="connsiteX357" fmla="*/ 1235501 w 2617696"/>
                    <a:gd name="connsiteY357" fmla="*/ 1339816 h 1576253"/>
                    <a:gd name="connsiteX358" fmla="*/ 1233871 w 2617696"/>
                    <a:gd name="connsiteY358" fmla="*/ 1351225 h 1576253"/>
                    <a:gd name="connsiteX359" fmla="*/ 1224091 w 2617696"/>
                    <a:gd name="connsiteY359" fmla="*/ 1357745 h 1576253"/>
                    <a:gd name="connsiteX360" fmla="*/ 1222461 w 2617696"/>
                    <a:gd name="connsiteY360" fmla="*/ 1377304 h 1576253"/>
                    <a:gd name="connsiteX361" fmla="*/ 1212682 w 2617696"/>
                    <a:gd name="connsiteY361" fmla="*/ 1370785 h 1576253"/>
                    <a:gd name="connsiteX362" fmla="*/ 1196382 w 2617696"/>
                    <a:gd name="connsiteY362" fmla="*/ 1364265 h 1576253"/>
                    <a:gd name="connsiteX363" fmla="*/ 1191492 w 2617696"/>
                    <a:gd name="connsiteY363" fmla="*/ 1370785 h 1576253"/>
                    <a:gd name="connsiteX364" fmla="*/ 1186602 w 2617696"/>
                    <a:gd name="connsiteY364" fmla="*/ 1375674 h 1576253"/>
                    <a:gd name="connsiteX365" fmla="*/ 1183343 w 2617696"/>
                    <a:gd name="connsiteY365" fmla="*/ 1396864 h 1576253"/>
                    <a:gd name="connsiteX366" fmla="*/ 1175193 w 2617696"/>
                    <a:gd name="connsiteY366" fmla="*/ 1398494 h 1576253"/>
                    <a:gd name="connsiteX367" fmla="*/ 1170303 w 2617696"/>
                    <a:gd name="connsiteY367" fmla="*/ 1405014 h 1576253"/>
                    <a:gd name="connsiteX368" fmla="*/ 1167043 w 2617696"/>
                    <a:gd name="connsiteY368" fmla="*/ 1409903 h 1576253"/>
                    <a:gd name="connsiteX369" fmla="*/ 1154004 w 2617696"/>
                    <a:gd name="connsiteY369" fmla="*/ 1406643 h 1576253"/>
                    <a:gd name="connsiteX370" fmla="*/ 1147484 w 2617696"/>
                    <a:gd name="connsiteY370" fmla="*/ 1408273 h 1576253"/>
                    <a:gd name="connsiteX371" fmla="*/ 1142594 w 2617696"/>
                    <a:gd name="connsiteY371" fmla="*/ 1411533 h 1576253"/>
                    <a:gd name="connsiteX372" fmla="*/ 1129554 w 2617696"/>
                    <a:gd name="connsiteY372" fmla="*/ 1418053 h 1576253"/>
                    <a:gd name="connsiteX373" fmla="*/ 1118145 w 2617696"/>
                    <a:gd name="connsiteY373" fmla="*/ 1421313 h 1576253"/>
                    <a:gd name="connsiteX374" fmla="*/ 1108365 w 2617696"/>
                    <a:gd name="connsiteY374" fmla="*/ 1429463 h 1576253"/>
                    <a:gd name="connsiteX375" fmla="*/ 1088806 w 2617696"/>
                    <a:gd name="connsiteY375" fmla="*/ 1431093 h 1576253"/>
                    <a:gd name="connsiteX376" fmla="*/ 1085546 w 2617696"/>
                    <a:gd name="connsiteY376" fmla="*/ 1435983 h 1576253"/>
                    <a:gd name="connsiteX377" fmla="*/ 1083916 w 2617696"/>
                    <a:gd name="connsiteY377" fmla="*/ 1447392 h 1576253"/>
                    <a:gd name="connsiteX378" fmla="*/ 1082286 w 2617696"/>
                    <a:gd name="connsiteY378" fmla="*/ 1452282 h 1576253"/>
                    <a:gd name="connsiteX379" fmla="*/ 1072506 w 2617696"/>
                    <a:gd name="connsiteY379" fmla="*/ 1462062 h 1576253"/>
                    <a:gd name="connsiteX380" fmla="*/ 1061097 w 2617696"/>
                    <a:gd name="connsiteY380" fmla="*/ 1462062 h 1576253"/>
                    <a:gd name="connsiteX381" fmla="*/ 1036647 w 2617696"/>
                    <a:gd name="connsiteY381" fmla="*/ 1458802 h 1576253"/>
                    <a:gd name="connsiteX382" fmla="*/ 1031758 w 2617696"/>
                    <a:gd name="connsiteY382" fmla="*/ 1457172 h 1576253"/>
                    <a:gd name="connsiteX383" fmla="*/ 1025238 w 2617696"/>
                    <a:gd name="connsiteY383" fmla="*/ 1455542 h 1576253"/>
                    <a:gd name="connsiteX384" fmla="*/ 1015458 w 2617696"/>
                    <a:gd name="connsiteY384" fmla="*/ 1452282 h 1576253"/>
                    <a:gd name="connsiteX385" fmla="*/ 1005678 w 2617696"/>
                    <a:gd name="connsiteY385" fmla="*/ 1453912 h 1576253"/>
                    <a:gd name="connsiteX386" fmla="*/ 994269 w 2617696"/>
                    <a:gd name="connsiteY386" fmla="*/ 1449022 h 1576253"/>
                    <a:gd name="connsiteX387" fmla="*/ 986119 w 2617696"/>
                    <a:gd name="connsiteY387" fmla="*/ 1445762 h 1576253"/>
                    <a:gd name="connsiteX388" fmla="*/ 984489 w 2617696"/>
                    <a:gd name="connsiteY388" fmla="*/ 1440872 h 1576253"/>
                    <a:gd name="connsiteX389" fmla="*/ 981229 w 2617696"/>
                    <a:gd name="connsiteY389" fmla="*/ 1435983 h 1576253"/>
                    <a:gd name="connsiteX390" fmla="*/ 969820 w 2617696"/>
                    <a:gd name="connsiteY390" fmla="*/ 1432723 h 1576253"/>
                    <a:gd name="connsiteX391" fmla="*/ 956780 w 2617696"/>
                    <a:gd name="connsiteY391" fmla="*/ 1418053 h 1576253"/>
                    <a:gd name="connsiteX392" fmla="*/ 955150 w 2617696"/>
                    <a:gd name="connsiteY392" fmla="*/ 1413163 h 1576253"/>
                    <a:gd name="connsiteX393" fmla="*/ 950260 w 2617696"/>
                    <a:gd name="connsiteY393" fmla="*/ 1411533 h 1576253"/>
                    <a:gd name="connsiteX394" fmla="*/ 947000 w 2617696"/>
                    <a:gd name="connsiteY394" fmla="*/ 1405014 h 1576253"/>
                    <a:gd name="connsiteX395" fmla="*/ 925811 w 2617696"/>
                    <a:gd name="connsiteY395" fmla="*/ 1406643 h 1576253"/>
                    <a:gd name="connsiteX396" fmla="*/ 916031 w 2617696"/>
                    <a:gd name="connsiteY396" fmla="*/ 1405014 h 1576253"/>
                    <a:gd name="connsiteX397" fmla="*/ 906252 w 2617696"/>
                    <a:gd name="connsiteY397" fmla="*/ 1400124 h 1576253"/>
                    <a:gd name="connsiteX398" fmla="*/ 896472 w 2617696"/>
                    <a:gd name="connsiteY398" fmla="*/ 1398494 h 1576253"/>
                    <a:gd name="connsiteX399" fmla="*/ 870393 w 2617696"/>
                    <a:gd name="connsiteY399" fmla="*/ 1396864 h 1576253"/>
                    <a:gd name="connsiteX400" fmla="*/ 865503 w 2617696"/>
                    <a:gd name="connsiteY400" fmla="*/ 1395234 h 1576253"/>
                    <a:gd name="connsiteX401" fmla="*/ 855723 w 2617696"/>
                    <a:gd name="connsiteY401" fmla="*/ 1393604 h 1576253"/>
                    <a:gd name="connsiteX402" fmla="*/ 850834 w 2617696"/>
                    <a:gd name="connsiteY402" fmla="*/ 1388714 h 1576253"/>
                    <a:gd name="connsiteX403" fmla="*/ 844314 w 2617696"/>
                    <a:gd name="connsiteY403" fmla="*/ 1385454 h 1576253"/>
                    <a:gd name="connsiteX404" fmla="*/ 839424 w 2617696"/>
                    <a:gd name="connsiteY404" fmla="*/ 1383824 h 1576253"/>
                    <a:gd name="connsiteX405" fmla="*/ 818235 w 2617696"/>
                    <a:gd name="connsiteY405" fmla="*/ 1378934 h 1576253"/>
                    <a:gd name="connsiteX406" fmla="*/ 775856 w 2617696"/>
                    <a:gd name="connsiteY406" fmla="*/ 1380564 h 1576253"/>
                    <a:gd name="connsiteX407" fmla="*/ 766076 w 2617696"/>
                    <a:gd name="connsiteY407" fmla="*/ 1387084 h 1576253"/>
                    <a:gd name="connsiteX408" fmla="*/ 748147 w 2617696"/>
                    <a:gd name="connsiteY408" fmla="*/ 1395234 h 1576253"/>
                    <a:gd name="connsiteX409" fmla="*/ 739997 w 2617696"/>
                    <a:gd name="connsiteY409" fmla="*/ 1396864 h 1576253"/>
                    <a:gd name="connsiteX410" fmla="*/ 731847 w 2617696"/>
                    <a:gd name="connsiteY410" fmla="*/ 1403384 h 1576253"/>
                    <a:gd name="connsiteX411" fmla="*/ 726801 w 2617696"/>
                    <a:gd name="connsiteY411" fmla="*/ 1404393 h 1576253"/>
                    <a:gd name="connsiteX412" fmla="*/ 723697 w 2617696"/>
                    <a:gd name="connsiteY412" fmla="*/ 1424573 h 1576253"/>
                    <a:gd name="connsiteX413" fmla="*/ 725327 w 2617696"/>
                    <a:gd name="connsiteY413" fmla="*/ 1429463 h 1576253"/>
                    <a:gd name="connsiteX414" fmla="*/ 728587 w 2617696"/>
                    <a:gd name="connsiteY414" fmla="*/ 1434353 h 1576253"/>
                    <a:gd name="connsiteX415" fmla="*/ 731846 w 2617696"/>
                    <a:gd name="connsiteY415" fmla="*/ 1452282 h 1576253"/>
                    <a:gd name="connsiteX416" fmla="*/ 733476 w 2617696"/>
                    <a:gd name="connsiteY416" fmla="*/ 1457172 h 1576253"/>
                    <a:gd name="connsiteX417" fmla="*/ 738366 w 2617696"/>
                    <a:gd name="connsiteY417" fmla="*/ 1460432 h 1576253"/>
                    <a:gd name="connsiteX418" fmla="*/ 735106 w 2617696"/>
                    <a:gd name="connsiteY418" fmla="*/ 1465322 h 1576253"/>
                    <a:gd name="connsiteX419" fmla="*/ 730216 w 2617696"/>
                    <a:gd name="connsiteY419" fmla="*/ 1470211 h 1576253"/>
                    <a:gd name="connsiteX420" fmla="*/ 725327 w 2617696"/>
                    <a:gd name="connsiteY420" fmla="*/ 1491401 h 1576253"/>
                    <a:gd name="connsiteX421" fmla="*/ 733476 w 2617696"/>
                    <a:gd name="connsiteY421" fmla="*/ 1510960 h 1576253"/>
                    <a:gd name="connsiteX422" fmla="*/ 731846 w 2617696"/>
                    <a:gd name="connsiteY422" fmla="*/ 1517480 h 1576253"/>
                    <a:gd name="connsiteX423" fmla="*/ 726957 w 2617696"/>
                    <a:gd name="connsiteY423" fmla="*/ 1522370 h 1576253"/>
                    <a:gd name="connsiteX424" fmla="*/ 725327 w 2617696"/>
                    <a:gd name="connsiteY424" fmla="*/ 1538669 h 1576253"/>
                    <a:gd name="connsiteX425" fmla="*/ 723697 w 2617696"/>
                    <a:gd name="connsiteY425" fmla="*/ 1515850 h 1576253"/>
                    <a:gd name="connsiteX426" fmla="*/ 692728 w 2617696"/>
                    <a:gd name="connsiteY426" fmla="*/ 1514220 h 1576253"/>
                    <a:gd name="connsiteX427" fmla="*/ 687838 w 2617696"/>
                    <a:gd name="connsiteY427" fmla="*/ 1515850 h 1576253"/>
                    <a:gd name="connsiteX428" fmla="*/ 686208 w 2617696"/>
                    <a:gd name="connsiteY428" fmla="*/ 1520740 h 1576253"/>
                    <a:gd name="connsiteX429" fmla="*/ 681318 w 2617696"/>
                    <a:gd name="connsiteY429" fmla="*/ 1522370 h 1576253"/>
                    <a:gd name="connsiteX430" fmla="*/ 665019 w 2617696"/>
                    <a:gd name="connsiteY430" fmla="*/ 1525630 h 1576253"/>
                    <a:gd name="connsiteX431" fmla="*/ 658499 w 2617696"/>
                    <a:gd name="connsiteY431" fmla="*/ 1528889 h 1576253"/>
                    <a:gd name="connsiteX432" fmla="*/ 656869 w 2617696"/>
                    <a:gd name="connsiteY432" fmla="*/ 1546819 h 1576253"/>
                    <a:gd name="connsiteX433" fmla="*/ 638939 w 2617696"/>
                    <a:gd name="connsiteY433" fmla="*/ 1550079 h 1576253"/>
                    <a:gd name="connsiteX434" fmla="*/ 634050 w 2617696"/>
                    <a:gd name="connsiteY434" fmla="*/ 1551709 h 1576253"/>
                    <a:gd name="connsiteX435" fmla="*/ 632420 w 2617696"/>
                    <a:gd name="connsiteY435" fmla="*/ 1564748 h 1576253"/>
                    <a:gd name="connsiteX436" fmla="*/ 627530 w 2617696"/>
                    <a:gd name="connsiteY436" fmla="*/ 1566378 h 1576253"/>
                    <a:gd name="connsiteX437" fmla="*/ 624270 w 2617696"/>
                    <a:gd name="connsiteY437" fmla="*/ 1571268 h 1576253"/>
                    <a:gd name="connsiteX438" fmla="*/ 619380 w 2617696"/>
                    <a:gd name="connsiteY438" fmla="*/ 1574528 h 1576253"/>
                    <a:gd name="connsiteX439" fmla="*/ 614490 w 2617696"/>
                    <a:gd name="connsiteY439" fmla="*/ 1572898 h 1576253"/>
                    <a:gd name="connsiteX440" fmla="*/ 612860 w 2617696"/>
                    <a:gd name="connsiteY440" fmla="*/ 1564748 h 1576253"/>
                    <a:gd name="connsiteX441" fmla="*/ 611230 w 2617696"/>
                    <a:gd name="connsiteY441" fmla="*/ 1559858 h 1576253"/>
                    <a:gd name="connsiteX442" fmla="*/ 596561 w 2617696"/>
                    <a:gd name="connsiteY442" fmla="*/ 1551709 h 1576253"/>
                    <a:gd name="connsiteX443" fmla="*/ 586781 w 2617696"/>
                    <a:gd name="connsiteY443" fmla="*/ 1558228 h 1576253"/>
                    <a:gd name="connsiteX444" fmla="*/ 583521 w 2617696"/>
                    <a:gd name="connsiteY444" fmla="*/ 1563118 h 1576253"/>
                    <a:gd name="connsiteX445" fmla="*/ 557442 w 2617696"/>
                    <a:gd name="connsiteY445" fmla="*/ 1561488 h 1576253"/>
                    <a:gd name="connsiteX446" fmla="*/ 544403 w 2617696"/>
                    <a:gd name="connsiteY446" fmla="*/ 1559858 h 1576253"/>
                    <a:gd name="connsiteX447" fmla="*/ 541143 w 2617696"/>
                    <a:gd name="connsiteY447" fmla="*/ 1554969 h 1576253"/>
                    <a:gd name="connsiteX448" fmla="*/ 536253 w 2617696"/>
                    <a:gd name="connsiteY448" fmla="*/ 1535409 h 1576253"/>
                    <a:gd name="connsiteX449" fmla="*/ 531363 w 2617696"/>
                    <a:gd name="connsiteY449" fmla="*/ 1537039 h 1576253"/>
                    <a:gd name="connsiteX450" fmla="*/ 529733 w 2617696"/>
                    <a:gd name="connsiteY450" fmla="*/ 1528889 h 1576253"/>
                    <a:gd name="connsiteX451" fmla="*/ 528103 w 2617696"/>
                    <a:gd name="connsiteY451" fmla="*/ 1522370 h 1576253"/>
                    <a:gd name="connsiteX452" fmla="*/ 520406 w 2617696"/>
                    <a:gd name="connsiteY452" fmla="*/ 1503216 h 1576253"/>
                    <a:gd name="connsiteX453" fmla="*/ 521150 w 2617696"/>
                    <a:gd name="connsiteY453" fmla="*/ 1492659 h 1576253"/>
                    <a:gd name="connsiteX454" fmla="*/ 534721 w 2617696"/>
                    <a:gd name="connsiteY454" fmla="*/ 1497021 h 1576253"/>
                    <a:gd name="connsiteX455" fmla="*/ 537883 w 2617696"/>
                    <a:gd name="connsiteY455" fmla="*/ 1499550 h 1576253"/>
                    <a:gd name="connsiteX456" fmla="*/ 547662 w 2617696"/>
                    <a:gd name="connsiteY456" fmla="*/ 1501180 h 1576253"/>
                    <a:gd name="connsiteX457" fmla="*/ 534721 w 2617696"/>
                    <a:gd name="connsiteY457" fmla="*/ 1497021 h 1576253"/>
                    <a:gd name="connsiteX458" fmla="*/ 529733 w 2617696"/>
                    <a:gd name="connsiteY458" fmla="*/ 1493031 h 1576253"/>
                    <a:gd name="connsiteX459" fmla="*/ 524843 w 2617696"/>
                    <a:gd name="connsiteY459" fmla="*/ 1481621 h 1576253"/>
                    <a:gd name="connsiteX460" fmla="*/ 521583 w 2617696"/>
                    <a:gd name="connsiteY460" fmla="*/ 1486511 h 1576253"/>
                    <a:gd name="connsiteX461" fmla="*/ 521150 w 2617696"/>
                    <a:gd name="connsiteY461" fmla="*/ 1492659 h 1576253"/>
                    <a:gd name="connsiteX462" fmla="*/ 502024 w 2617696"/>
                    <a:gd name="connsiteY462" fmla="*/ 1486511 h 1576253"/>
                    <a:gd name="connsiteX463" fmla="*/ 495504 w 2617696"/>
                    <a:gd name="connsiteY463" fmla="*/ 1493031 h 1576253"/>
                    <a:gd name="connsiteX464" fmla="*/ 490614 w 2617696"/>
                    <a:gd name="connsiteY464" fmla="*/ 1496291 h 1576253"/>
                    <a:gd name="connsiteX465" fmla="*/ 488984 w 2617696"/>
                    <a:gd name="connsiteY465" fmla="*/ 1504440 h 1576253"/>
                    <a:gd name="connsiteX466" fmla="*/ 482465 w 2617696"/>
                    <a:gd name="connsiteY466" fmla="*/ 1501180 h 1576253"/>
                    <a:gd name="connsiteX467" fmla="*/ 459645 w 2617696"/>
                    <a:gd name="connsiteY467" fmla="*/ 1496291 h 1576253"/>
                    <a:gd name="connsiteX468" fmla="*/ 456385 w 2617696"/>
                    <a:gd name="connsiteY468" fmla="*/ 1491401 h 1576253"/>
                    <a:gd name="connsiteX469" fmla="*/ 454755 w 2617696"/>
                    <a:gd name="connsiteY469" fmla="*/ 1483251 h 1576253"/>
                    <a:gd name="connsiteX470" fmla="*/ 449866 w 2617696"/>
                    <a:gd name="connsiteY470" fmla="*/ 1481621 h 1576253"/>
                    <a:gd name="connsiteX471" fmla="*/ 448236 w 2617696"/>
                    <a:gd name="connsiteY471" fmla="*/ 1491401 h 1576253"/>
                    <a:gd name="connsiteX472" fmla="*/ 446606 w 2617696"/>
                    <a:gd name="connsiteY472" fmla="*/ 1496291 h 1576253"/>
                    <a:gd name="connsiteX473" fmla="*/ 438456 w 2617696"/>
                    <a:gd name="connsiteY473" fmla="*/ 1486511 h 1576253"/>
                    <a:gd name="connsiteX474" fmla="*/ 433566 w 2617696"/>
                    <a:gd name="connsiteY474" fmla="*/ 1481621 h 1576253"/>
                    <a:gd name="connsiteX475" fmla="*/ 430306 w 2617696"/>
                    <a:gd name="connsiteY475" fmla="*/ 1486511 h 1576253"/>
                    <a:gd name="connsiteX476" fmla="*/ 418897 w 2617696"/>
                    <a:gd name="connsiteY476" fmla="*/ 1486511 h 1576253"/>
                    <a:gd name="connsiteX477" fmla="*/ 410747 w 2617696"/>
                    <a:gd name="connsiteY477" fmla="*/ 1484881 h 1576253"/>
                    <a:gd name="connsiteX478" fmla="*/ 405857 w 2617696"/>
                    <a:gd name="connsiteY478" fmla="*/ 1488141 h 1576253"/>
                    <a:gd name="connsiteX479" fmla="*/ 399337 w 2617696"/>
                    <a:gd name="connsiteY479" fmla="*/ 1491401 h 1576253"/>
                    <a:gd name="connsiteX480" fmla="*/ 396077 w 2617696"/>
                    <a:gd name="connsiteY480" fmla="*/ 1496291 h 1576253"/>
                    <a:gd name="connsiteX481" fmla="*/ 402597 w 2617696"/>
                    <a:gd name="connsiteY481" fmla="*/ 1510960 h 1576253"/>
                    <a:gd name="connsiteX482" fmla="*/ 399337 w 2617696"/>
                    <a:gd name="connsiteY482" fmla="*/ 1517480 h 1576253"/>
                    <a:gd name="connsiteX483" fmla="*/ 389558 w 2617696"/>
                    <a:gd name="connsiteY483" fmla="*/ 1519110 h 1576253"/>
                    <a:gd name="connsiteX484" fmla="*/ 387928 w 2617696"/>
                    <a:gd name="connsiteY484" fmla="*/ 1527260 h 1576253"/>
                    <a:gd name="connsiteX485" fmla="*/ 384668 w 2617696"/>
                    <a:gd name="connsiteY485" fmla="*/ 1535409 h 1576253"/>
                    <a:gd name="connsiteX486" fmla="*/ 383038 w 2617696"/>
                    <a:gd name="connsiteY486" fmla="*/ 1541929 h 1576253"/>
                    <a:gd name="connsiteX487" fmla="*/ 376518 w 2617696"/>
                    <a:gd name="connsiteY487" fmla="*/ 1553339 h 1576253"/>
                    <a:gd name="connsiteX488" fmla="*/ 371628 w 2617696"/>
                    <a:gd name="connsiteY488" fmla="*/ 1561488 h 1576253"/>
                    <a:gd name="connsiteX489" fmla="*/ 363478 w 2617696"/>
                    <a:gd name="connsiteY489" fmla="*/ 1576158 h 1576253"/>
                    <a:gd name="connsiteX490" fmla="*/ 365108 w 2617696"/>
                    <a:gd name="connsiteY490" fmla="*/ 1553339 h 1576253"/>
                    <a:gd name="connsiteX491" fmla="*/ 356959 w 2617696"/>
                    <a:gd name="connsiteY491" fmla="*/ 1550079 h 1576253"/>
                    <a:gd name="connsiteX492" fmla="*/ 352069 w 2617696"/>
                    <a:gd name="connsiteY492" fmla="*/ 1546819 h 1576253"/>
                    <a:gd name="connsiteX493" fmla="*/ 358589 w 2617696"/>
                    <a:gd name="connsiteY493" fmla="*/ 1545189 h 1576253"/>
                    <a:gd name="connsiteX494" fmla="*/ 360219 w 2617696"/>
                    <a:gd name="connsiteY494" fmla="*/ 1533779 h 1576253"/>
                    <a:gd name="connsiteX495" fmla="*/ 363478 w 2617696"/>
                    <a:gd name="connsiteY495" fmla="*/ 1519110 h 1576253"/>
                    <a:gd name="connsiteX496" fmla="*/ 362167 w 2617696"/>
                    <a:gd name="connsiteY496" fmla="*/ 1513862 h 1576253"/>
                    <a:gd name="connsiteX497" fmla="*/ 366738 w 2617696"/>
                    <a:gd name="connsiteY497" fmla="*/ 1512590 h 1576253"/>
                    <a:gd name="connsiteX498" fmla="*/ 369998 w 2617696"/>
                    <a:gd name="connsiteY498" fmla="*/ 1507700 h 1576253"/>
                    <a:gd name="connsiteX499" fmla="*/ 365108 w 2617696"/>
                    <a:gd name="connsiteY499" fmla="*/ 1506070 h 1576253"/>
                    <a:gd name="connsiteX500" fmla="*/ 363478 w 2617696"/>
                    <a:gd name="connsiteY500" fmla="*/ 1497920 h 1576253"/>
                    <a:gd name="connsiteX501" fmla="*/ 360219 w 2617696"/>
                    <a:gd name="connsiteY501" fmla="*/ 1489771 h 1576253"/>
                    <a:gd name="connsiteX502" fmla="*/ 358589 w 2617696"/>
                    <a:gd name="connsiteY502" fmla="*/ 1484881 h 1576253"/>
                    <a:gd name="connsiteX503" fmla="*/ 381408 w 2617696"/>
                    <a:gd name="connsiteY503" fmla="*/ 1483251 h 1576253"/>
                    <a:gd name="connsiteX504" fmla="*/ 387928 w 2617696"/>
                    <a:gd name="connsiteY504" fmla="*/ 1481621 h 1576253"/>
                    <a:gd name="connsiteX505" fmla="*/ 389558 w 2617696"/>
                    <a:gd name="connsiteY505" fmla="*/ 1473471 h 1576253"/>
                    <a:gd name="connsiteX506" fmla="*/ 391188 w 2617696"/>
                    <a:gd name="connsiteY506" fmla="*/ 1466951 h 1576253"/>
                    <a:gd name="connsiteX507" fmla="*/ 394447 w 2617696"/>
                    <a:gd name="connsiteY507" fmla="*/ 1455542 h 1576253"/>
                    <a:gd name="connsiteX508" fmla="*/ 384668 w 2617696"/>
                    <a:gd name="connsiteY508" fmla="*/ 1449022 h 1576253"/>
                    <a:gd name="connsiteX509" fmla="*/ 378148 w 2617696"/>
                    <a:gd name="connsiteY509" fmla="*/ 1455542 h 1576253"/>
                    <a:gd name="connsiteX510" fmla="*/ 365108 w 2617696"/>
                    <a:gd name="connsiteY510" fmla="*/ 1465322 h 1576253"/>
                    <a:gd name="connsiteX511" fmla="*/ 356959 w 2617696"/>
                    <a:gd name="connsiteY511" fmla="*/ 1471841 h 1576253"/>
                    <a:gd name="connsiteX512" fmla="*/ 347179 w 2617696"/>
                    <a:gd name="connsiteY512" fmla="*/ 1475101 h 1576253"/>
                    <a:gd name="connsiteX513" fmla="*/ 337399 w 2617696"/>
                    <a:gd name="connsiteY513" fmla="*/ 1476731 h 1576253"/>
                    <a:gd name="connsiteX514" fmla="*/ 324360 w 2617696"/>
                    <a:gd name="connsiteY514" fmla="*/ 1471841 h 1576253"/>
                    <a:gd name="connsiteX515" fmla="*/ 317840 w 2617696"/>
                    <a:gd name="connsiteY515" fmla="*/ 1479991 h 1576253"/>
                    <a:gd name="connsiteX516" fmla="*/ 309690 w 2617696"/>
                    <a:gd name="connsiteY516" fmla="*/ 1484881 h 1576253"/>
                    <a:gd name="connsiteX517" fmla="*/ 303170 w 2617696"/>
                    <a:gd name="connsiteY517" fmla="*/ 1489771 h 1576253"/>
                    <a:gd name="connsiteX518" fmla="*/ 298281 w 2617696"/>
                    <a:gd name="connsiteY518" fmla="*/ 1491401 h 1576253"/>
                    <a:gd name="connsiteX519" fmla="*/ 293391 w 2617696"/>
                    <a:gd name="connsiteY519" fmla="*/ 1488141 h 1576253"/>
                    <a:gd name="connsiteX520" fmla="*/ 280351 w 2617696"/>
                    <a:gd name="connsiteY520" fmla="*/ 1484881 h 1576253"/>
                    <a:gd name="connsiteX521" fmla="*/ 275461 w 2617696"/>
                    <a:gd name="connsiteY521" fmla="*/ 1493031 h 1576253"/>
                    <a:gd name="connsiteX522" fmla="*/ 268942 w 2617696"/>
                    <a:gd name="connsiteY522" fmla="*/ 1494661 h 1576253"/>
                    <a:gd name="connsiteX523" fmla="*/ 257532 w 2617696"/>
                    <a:gd name="connsiteY523" fmla="*/ 1489771 h 1576253"/>
                    <a:gd name="connsiteX524" fmla="*/ 251012 w 2617696"/>
                    <a:gd name="connsiteY524" fmla="*/ 1488141 h 1576253"/>
                    <a:gd name="connsiteX525" fmla="*/ 249382 w 2617696"/>
                    <a:gd name="connsiteY525" fmla="*/ 1473471 h 1576253"/>
                    <a:gd name="connsiteX526" fmla="*/ 251012 w 2617696"/>
                    <a:gd name="connsiteY526" fmla="*/ 1468581 h 1576253"/>
                    <a:gd name="connsiteX527" fmla="*/ 257532 w 2617696"/>
                    <a:gd name="connsiteY527" fmla="*/ 1466951 h 1576253"/>
                    <a:gd name="connsiteX528" fmla="*/ 278721 w 2617696"/>
                    <a:gd name="connsiteY528" fmla="*/ 1470211 h 1576253"/>
                    <a:gd name="connsiteX529" fmla="*/ 285241 w 2617696"/>
                    <a:gd name="connsiteY529" fmla="*/ 1468581 h 1576253"/>
                    <a:gd name="connsiteX530" fmla="*/ 295021 w 2617696"/>
                    <a:gd name="connsiteY530" fmla="*/ 1458802 h 1576253"/>
                    <a:gd name="connsiteX531" fmla="*/ 296651 w 2617696"/>
                    <a:gd name="connsiteY531" fmla="*/ 1452282 h 1576253"/>
                    <a:gd name="connsiteX532" fmla="*/ 295021 w 2617696"/>
                    <a:gd name="connsiteY532" fmla="*/ 1447392 h 1576253"/>
                    <a:gd name="connsiteX533" fmla="*/ 281981 w 2617696"/>
                    <a:gd name="connsiteY533" fmla="*/ 1442502 h 1576253"/>
                    <a:gd name="connsiteX534" fmla="*/ 280351 w 2617696"/>
                    <a:gd name="connsiteY534" fmla="*/ 1437612 h 1576253"/>
                    <a:gd name="connsiteX535" fmla="*/ 267312 w 2617696"/>
                    <a:gd name="connsiteY535" fmla="*/ 1435983 h 1576253"/>
                    <a:gd name="connsiteX536" fmla="*/ 264052 w 2617696"/>
                    <a:gd name="connsiteY536" fmla="*/ 1431093 h 1576253"/>
                    <a:gd name="connsiteX537" fmla="*/ 262422 w 2617696"/>
                    <a:gd name="connsiteY537" fmla="*/ 1414793 h 1576253"/>
                    <a:gd name="connsiteX538" fmla="*/ 259162 w 2617696"/>
                    <a:gd name="connsiteY538" fmla="*/ 1419683 h 1576253"/>
                    <a:gd name="connsiteX539" fmla="*/ 254272 w 2617696"/>
                    <a:gd name="connsiteY539" fmla="*/ 1429463 h 1576253"/>
                    <a:gd name="connsiteX540" fmla="*/ 244492 w 2617696"/>
                    <a:gd name="connsiteY540" fmla="*/ 1431093 h 1576253"/>
                    <a:gd name="connsiteX541" fmla="*/ 237973 w 2617696"/>
                    <a:gd name="connsiteY541" fmla="*/ 1432723 h 1576253"/>
                    <a:gd name="connsiteX542" fmla="*/ 229823 w 2617696"/>
                    <a:gd name="connsiteY542" fmla="*/ 1408273 h 1576253"/>
                    <a:gd name="connsiteX543" fmla="*/ 210264 w 2617696"/>
                    <a:gd name="connsiteY543" fmla="*/ 1405014 h 1576253"/>
                    <a:gd name="connsiteX544" fmla="*/ 200484 w 2617696"/>
                    <a:gd name="connsiteY544" fmla="*/ 1400124 h 1576253"/>
                    <a:gd name="connsiteX545" fmla="*/ 208634 w 2617696"/>
                    <a:gd name="connsiteY545" fmla="*/ 1390344 h 1576253"/>
                    <a:gd name="connsiteX546" fmla="*/ 220043 w 2617696"/>
                    <a:gd name="connsiteY546" fmla="*/ 1383824 h 1576253"/>
                    <a:gd name="connsiteX547" fmla="*/ 221673 w 2617696"/>
                    <a:gd name="connsiteY547" fmla="*/ 1378934 h 1576253"/>
                    <a:gd name="connsiteX548" fmla="*/ 224933 w 2617696"/>
                    <a:gd name="connsiteY548" fmla="*/ 1374045 h 1576253"/>
                    <a:gd name="connsiteX549" fmla="*/ 223303 w 2617696"/>
                    <a:gd name="connsiteY549" fmla="*/ 1365895 h 1576253"/>
                    <a:gd name="connsiteX550" fmla="*/ 220043 w 2617696"/>
                    <a:gd name="connsiteY550" fmla="*/ 1361005 h 1576253"/>
                    <a:gd name="connsiteX551" fmla="*/ 218413 w 2617696"/>
                    <a:gd name="connsiteY551" fmla="*/ 1346335 h 1576253"/>
                    <a:gd name="connsiteX552" fmla="*/ 216783 w 2617696"/>
                    <a:gd name="connsiteY552" fmla="*/ 1341446 h 1576253"/>
                    <a:gd name="connsiteX553" fmla="*/ 197224 w 2617696"/>
                    <a:gd name="connsiteY553" fmla="*/ 1333296 h 1576253"/>
                    <a:gd name="connsiteX554" fmla="*/ 189074 w 2617696"/>
                    <a:gd name="connsiteY554" fmla="*/ 1321886 h 1576253"/>
                    <a:gd name="connsiteX555" fmla="*/ 177665 w 2617696"/>
                    <a:gd name="connsiteY555" fmla="*/ 1320256 h 1576253"/>
                    <a:gd name="connsiteX556" fmla="*/ 161365 w 2617696"/>
                    <a:gd name="connsiteY556" fmla="*/ 1330036 h 1576253"/>
                    <a:gd name="connsiteX557" fmla="*/ 156475 w 2617696"/>
                    <a:gd name="connsiteY557" fmla="*/ 1334926 h 1576253"/>
                    <a:gd name="connsiteX558" fmla="*/ 154845 w 2617696"/>
                    <a:gd name="connsiteY558" fmla="*/ 1326776 h 1576253"/>
                    <a:gd name="connsiteX559" fmla="*/ 153215 w 2617696"/>
                    <a:gd name="connsiteY559" fmla="*/ 1321886 h 1576253"/>
                    <a:gd name="connsiteX560" fmla="*/ 149955 w 2617696"/>
                    <a:gd name="connsiteY560" fmla="*/ 1312107 h 1576253"/>
                    <a:gd name="connsiteX561" fmla="*/ 141806 w 2617696"/>
                    <a:gd name="connsiteY561" fmla="*/ 1297437 h 1576253"/>
                    <a:gd name="connsiteX562" fmla="*/ 135286 w 2617696"/>
                    <a:gd name="connsiteY562" fmla="*/ 1299067 h 1576253"/>
                    <a:gd name="connsiteX563" fmla="*/ 130396 w 2617696"/>
                    <a:gd name="connsiteY563" fmla="*/ 1302327 h 1576253"/>
                    <a:gd name="connsiteX564" fmla="*/ 128766 w 2617696"/>
                    <a:gd name="connsiteY564" fmla="*/ 1307217 h 1576253"/>
                    <a:gd name="connsiteX565" fmla="*/ 125506 w 2617696"/>
                    <a:gd name="connsiteY565" fmla="*/ 1320256 h 1576253"/>
                    <a:gd name="connsiteX566" fmla="*/ 118987 w 2617696"/>
                    <a:gd name="connsiteY566" fmla="*/ 1325146 h 1576253"/>
                    <a:gd name="connsiteX567" fmla="*/ 115727 w 2617696"/>
                    <a:gd name="connsiteY567" fmla="*/ 1344706 h 1576253"/>
                    <a:gd name="connsiteX568" fmla="*/ 110837 w 2617696"/>
                    <a:gd name="connsiteY568" fmla="*/ 1339816 h 1576253"/>
                    <a:gd name="connsiteX569" fmla="*/ 104317 w 2617696"/>
                    <a:gd name="connsiteY569" fmla="*/ 1336556 h 1576253"/>
                    <a:gd name="connsiteX570" fmla="*/ 97797 w 2617696"/>
                    <a:gd name="connsiteY570" fmla="*/ 1325146 h 1576253"/>
                    <a:gd name="connsiteX571" fmla="*/ 92907 w 2617696"/>
                    <a:gd name="connsiteY571" fmla="*/ 1318626 h 1576253"/>
                    <a:gd name="connsiteX572" fmla="*/ 88018 w 2617696"/>
                    <a:gd name="connsiteY572" fmla="*/ 1305587 h 1576253"/>
                    <a:gd name="connsiteX573" fmla="*/ 78238 w 2617696"/>
                    <a:gd name="connsiteY573" fmla="*/ 1310477 h 1576253"/>
                    <a:gd name="connsiteX574" fmla="*/ 70088 w 2617696"/>
                    <a:gd name="connsiteY574" fmla="*/ 1308847 h 1576253"/>
                    <a:gd name="connsiteX575" fmla="*/ 71718 w 2617696"/>
                    <a:gd name="connsiteY575" fmla="*/ 1303957 h 1576253"/>
                    <a:gd name="connsiteX576" fmla="*/ 76608 w 2617696"/>
                    <a:gd name="connsiteY576" fmla="*/ 1300697 h 1576253"/>
                    <a:gd name="connsiteX577" fmla="*/ 79868 w 2617696"/>
                    <a:gd name="connsiteY577" fmla="*/ 1295807 h 1576253"/>
                    <a:gd name="connsiteX578" fmla="*/ 89647 w 2617696"/>
                    <a:gd name="connsiteY578" fmla="*/ 1286027 h 1576253"/>
                    <a:gd name="connsiteX579" fmla="*/ 92907 w 2617696"/>
                    <a:gd name="connsiteY579" fmla="*/ 1277878 h 1576253"/>
                    <a:gd name="connsiteX580" fmla="*/ 89647 w 2617696"/>
                    <a:gd name="connsiteY580" fmla="*/ 1272988 h 1576253"/>
                    <a:gd name="connsiteX581" fmla="*/ 81498 w 2617696"/>
                    <a:gd name="connsiteY581" fmla="*/ 1271358 h 1576253"/>
                    <a:gd name="connsiteX582" fmla="*/ 79868 w 2617696"/>
                    <a:gd name="connsiteY582" fmla="*/ 1263208 h 1576253"/>
                    <a:gd name="connsiteX583" fmla="*/ 78238 w 2617696"/>
                    <a:gd name="connsiteY583" fmla="*/ 1258318 h 1576253"/>
                    <a:gd name="connsiteX584" fmla="*/ 71718 w 2617696"/>
                    <a:gd name="connsiteY584" fmla="*/ 1256688 h 1576253"/>
                    <a:gd name="connsiteX585" fmla="*/ 65198 w 2617696"/>
                    <a:gd name="connsiteY585" fmla="*/ 1242019 h 1576253"/>
                    <a:gd name="connsiteX586" fmla="*/ 74978 w 2617696"/>
                    <a:gd name="connsiteY586" fmla="*/ 1232239 h 1576253"/>
                    <a:gd name="connsiteX587" fmla="*/ 81498 w 2617696"/>
                    <a:gd name="connsiteY587" fmla="*/ 1233869 h 1576253"/>
                    <a:gd name="connsiteX588" fmla="*/ 86388 w 2617696"/>
                    <a:gd name="connsiteY588" fmla="*/ 1238759 h 1576253"/>
                    <a:gd name="connsiteX589" fmla="*/ 99427 w 2617696"/>
                    <a:gd name="connsiteY589" fmla="*/ 1242019 h 1576253"/>
                    <a:gd name="connsiteX590" fmla="*/ 105947 w 2617696"/>
                    <a:gd name="connsiteY590" fmla="*/ 1246909 h 1576253"/>
                    <a:gd name="connsiteX591" fmla="*/ 109207 w 2617696"/>
                    <a:gd name="connsiteY591" fmla="*/ 1268098 h 1576253"/>
                    <a:gd name="connsiteX592" fmla="*/ 109207 w 2617696"/>
                    <a:gd name="connsiteY592" fmla="*/ 1277878 h 1576253"/>
                    <a:gd name="connsiteX593" fmla="*/ 120616 w 2617696"/>
                    <a:gd name="connsiteY593" fmla="*/ 1284397 h 1576253"/>
                    <a:gd name="connsiteX594" fmla="*/ 122246 w 2617696"/>
                    <a:gd name="connsiteY594" fmla="*/ 1269728 h 1576253"/>
                    <a:gd name="connsiteX595" fmla="*/ 123876 w 2617696"/>
                    <a:gd name="connsiteY595" fmla="*/ 1264838 h 1576253"/>
                    <a:gd name="connsiteX596" fmla="*/ 130396 w 2617696"/>
                    <a:gd name="connsiteY596" fmla="*/ 1272988 h 1576253"/>
                    <a:gd name="connsiteX597" fmla="*/ 145066 w 2617696"/>
                    <a:gd name="connsiteY597" fmla="*/ 1269728 h 1576253"/>
                    <a:gd name="connsiteX598" fmla="*/ 159735 w 2617696"/>
                    <a:gd name="connsiteY598" fmla="*/ 1266468 h 1576253"/>
                    <a:gd name="connsiteX599" fmla="*/ 179295 w 2617696"/>
                    <a:gd name="connsiteY599" fmla="*/ 1264838 h 1576253"/>
                    <a:gd name="connsiteX600" fmla="*/ 187444 w 2617696"/>
                    <a:gd name="connsiteY600" fmla="*/ 1261578 h 1576253"/>
                    <a:gd name="connsiteX601" fmla="*/ 185814 w 2617696"/>
                    <a:gd name="connsiteY601" fmla="*/ 1253428 h 1576253"/>
                    <a:gd name="connsiteX602" fmla="*/ 179295 w 2617696"/>
                    <a:gd name="connsiteY602" fmla="*/ 1251799 h 1576253"/>
                    <a:gd name="connsiteX603" fmla="*/ 184056 w 2617696"/>
                    <a:gd name="connsiteY603" fmla="*/ 1247990 h 1576253"/>
                    <a:gd name="connsiteX604" fmla="*/ 178136 w 2617696"/>
                    <a:gd name="connsiteY604" fmla="*/ 1247031 h 1576253"/>
                    <a:gd name="connsiteX605" fmla="*/ 166255 w 2617696"/>
                    <a:gd name="connsiteY605" fmla="*/ 1248539 h 1576253"/>
                    <a:gd name="connsiteX606" fmla="*/ 162995 w 2617696"/>
                    <a:gd name="connsiteY606" fmla="*/ 1253428 h 1576253"/>
                    <a:gd name="connsiteX607" fmla="*/ 156475 w 2617696"/>
                    <a:gd name="connsiteY607" fmla="*/ 1251799 h 1576253"/>
                    <a:gd name="connsiteX608" fmla="*/ 143436 w 2617696"/>
                    <a:gd name="connsiteY608" fmla="*/ 1246909 h 1576253"/>
                    <a:gd name="connsiteX609" fmla="*/ 138546 w 2617696"/>
                    <a:gd name="connsiteY609" fmla="*/ 1227349 h 1576253"/>
                    <a:gd name="connsiteX610" fmla="*/ 132026 w 2617696"/>
                    <a:gd name="connsiteY610" fmla="*/ 1238759 h 1576253"/>
                    <a:gd name="connsiteX611" fmla="*/ 125506 w 2617696"/>
                    <a:gd name="connsiteY611" fmla="*/ 1228979 h 1576253"/>
                    <a:gd name="connsiteX612" fmla="*/ 122246 w 2617696"/>
                    <a:gd name="connsiteY612" fmla="*/ 1220830 h 1576253"/>
                    <a:gd name="connsiteX613" fmla="*/ 120616 w 2617696"/>
                    <a:gd name="connsiteY613" fmla="*/ 1212680 h 1576253"/>
                    <a:gd name="connsiteX614" fmla="*/ 128766 w 2617696"/>
                    <a:gd name="connsiteY614" fmla="*/ 1198010 h 1576253"/>
                    <a:gd name="connsiteX615" fmla="*/ 136891 w 2617696"/>
                    <a:gd name="connsiteY615" fmla="*/ 1197107 h 1576253"/>
                    <a:gd name="connsiteX616" fmla="*/ 138546 w 2617696"/>
                    <a:gd name="connsiteY616" fmla="*/ 1202900 h 1576253"/>
                    <a:gd name="connsiteX617" fmla="*/ 145066 w 2617696"/>
                    <a:gd name="connsiteY617" fmla="*/ 1201270 h 1576253"/>
                    <a:gd name="connsiteX618" fmla="*/ 143436 w 2617696"/>
                    <a:gd name="connsiteY618" fmla="*/ 1196380 h 1576253"/>
                    <a:gd name="connsiteX619" fmla="*/ 136891 w 2617696"/>
                    <a:gd name="connsiteY619" fmla="*/ 1197107 h 1576253"/>
                    <a:gd name="connsiteX620" fmla="*/ 135286 w 2617696"/>
                    <a:gd name="connsiteY620" fmla="*/ 1191491 h 1576253"/>
                    <a:gd name="connsiteX621" fmla="*/ 136916 w 2617696"/>
                    <a:gd name="connsiteY621" fmla="*/ 1184971 h 1576253"/>
                    <a:gd name="connsiteX622" fmla="*/ 158105 w 2617696"/>
                    <a:gd name="connsiteY622" fmla="*/ 1183341 h 1576253"/>
                    <a:gd name="connsiteX623" fmla="*/ 162995 w 2617696"/>
                    <a:gd name="connsiteY623" fmla="*/ 1181711 h 1576253"/>
                    <a:gd name="connsiteX624" fmla="*/ 158105 w 2617696"/>
                    <a:gd name="connsiteY624" fmla="*/ 1170301 h 1576253"/>
                    <a:gd name="connsiteX625" fmla="*/ 153215 w 2617696"/>
                    <a:gd name="connsiteY625" fmla="*/ 1168671 h 1576253"/>
                    <a:gd name="connsiteX626" fmla="*/ 145066 w 2617696"/>
                    <a:gd name="connsiteY626" fmla="*/ 1167041 h 1576253"/>
                    <a:gd name="connsiteX627" fmla="*/ 141806 w 2617696"/>
                    <a:gd name="connsiteY627" fmla="*/ 1162151 h 1576253"/>
                    <a:gd name="connsiteX628" fmla="*/ 140176 w 2617696"/>
                    <a:gd name="connsiteY628" fmla="*/ 1168671 h 1576253"/>
                    <a:gd name="connsiteX629" fmla="*/ 114097 w 2617696"/>
                    <a:gd name="connsiteY629" fmla="*/ 1175191 h 1576253"/>
                    <a:gd name="connsiteX630" fmla="*/ 112467 w 2617696"/>
                    <a:gd name="connsiteY630" fmla="*/ 1167041 h 1576253"/>
                    <a:gd name="connsiteX631" fmla="*/ 114097 w 2617696"/>
                    <a:gd name="connsiteY631" fmla="*/ 1160522 h 1576253"/>
                    <a:gd name="connsiteX632" fmla="*/ 123876 w 2617696"/>
                    <a:gd name="connsiteY632" fmla="*/ 1149112 h 1576253"/>
                    <a:gd name="connsiteX633" fmla="*/ 125506 w 2617696"/>
                    <a:gd name="connsiteY633" fmla="*/ 1144222 h 1576253"/>
                    <a:gd name="connsiteX634" fmla="*/ 117357 w 2617696"/>
                    <a:gd name="connsiteY634" fmla="*/ 1140962 h 1576253"/>
                    <a:gd name="connsiteX635" fmla="*/ 117357 w 2617696"/>
                    <a:gd name="connsiteY635" fmla="*/ 1129553 h 1576253"/>
                    <a:gd name="connsiteX636" fmla="*/ 104317 w 2617696"/>
                    <a:gd name="connsiteY636" fmla="*/ 1127923 h 1576253"/>
                    <a:gd name="connsiteX637" fmla="*/ 99427 w 2617696"/>
                    <a:gd name="connsiteY637" fmla="*/ 1126293 h 1576253"/>
                    <a:gd name="connsiteX638" fmla="*/ 97797 w 2617696"/>
                    <a:gd name="connsiteY638" fmla="*/ 1121403 h 1576253"/>
                    <a:gd name="connsiteX639" fmla="*/ 84758 w 2617696"/>
                    <a:gd name="connsiteY639" fmla="*/ 1118143 h 1576253"/>
                    <a:gd name="connsiteX640" fmla="*/ 88018 w 2617696"/>
                    <a:gd name="connsiteY640" fmla="*/ 1113253 h 1576253"/>
                    <a:gd name="connsiteX641" fmla="*/ 101057 w 2617696"/>
                    <a:gd name="connsiteY641" fmla="*/ 1098584 h 1576253"/>
                    <a:gd name="connsiteX642" fmla="*/ 96167 w 2617696"/>
                    <a:gd name="connsiteY642" fmla="*/ 1101843 h 1576253"/>
                    <a:gd name="connsiteX643" fmla="*/ 99427 w 2617696"/>
                    <a:gd name="connsiteY643" fmla="*/ 1093694 h 1576253"/>
                    <a:gd name="connsiteX644" fmla="*/ 110837 w 2617696"/>
                    <a:gd name="connsiteY644" fmla="*/ 1088804 h 1576253"/>
                    <a:gd name="connsiteX645" fmla="*/ 112467 w 2617696"/>
                    <a:gd name="connsiteY645" fmla="*/ 1083914 h 1576253"/>
                    <a:gd name="connsiteX646" fmla="*/ 120616 w 2617696"/>
                    <a:gd name="connsiteY646" fmla="*/ 1061095 h 1576253"/>
                    <a:gd name="connsiteX647" fmla="*/ 112467 w 2617696"/>
                    <a:gd name="connsiteY647" fmla="*/ 1057835 h 1576253"/>
                    <a:gd name="connsiteX648" fmla="*/ 105947 w 2617696"/>
                    <a:gd name="connsiteY648" fmla="*/ 1059465 h 1576253"/>
                    <a:gd name="connsiteX649" fmla="*/ 101057 w 2617696"/>
                    <a:gd name="connsiteY649" fmla="*/ 1057835 h 1576253"/>
                    <a:gd name="connsiteX650" fmla="*/ 96167 w 2617696"/>
                    <a:gd name="connsiteY650" fmla="*/ 1061095 h 1576253"/>
                    <a:gd name="connsiteX651" fmla="*/ 83128 w 2617696"/>
                    <a:gd name="connsiteY651" fmla="*/ 1064355 h 1576253"/>
                    <a:gd name="connsiteX652" fmla="*/ 78238 w 2617696"/>
                    <a:gd name="connsiteY652" fmla="*/ 1067615 h 1576253"/>
                    <a:gd name="connsiteX653" fmla="*/ 71718 w 2617696"/>
                    <a:gd name="connsiteY653" fmla="*/ 1070874 h 1576253"/>
                    <a:gd name="connsiteX654" fmla="*/ 65198 w 2617696"/>
                    <a:gd name="connsiteY654" fmla="*/ 1075764 h 1576253"/>
                    <a:gd name="connsiteX655" fmla="*/ 60308 w 2617696"/>
                    <a:gd name="connsiteY655" fmla="*/ 1079024 h 1576253"/>
                    <a:gd name="connsiteX656" fmla="*/ 44009 w 2617696"/>
                    <a:gd name="connsiteY656" fmla="*/ 1082284 h 1576253"/>
                    <a:gd name="connsiteX657" fmla="*/ 40749 w 2617696"/>
                    <a:gd name="connsiteY657" fmla="*/ 1087174 h 1576253"/>
                    <a:gd name="connsiteX658" fmla="*/ 30969 w 2617696"/>
                    <a:gd name="connsiteY658" fmla="*/ 1090434 h 1576253"/>
                    <a:gd name="connsiteX659" fmla="*/ 19560 w 2617696"/>
                    <a:gd name="connsiteY659" fmla="*/ 1096954 h 1576253"/>
                    <a:gd name="connsiteX660" fmla="*/ 1630 w 2617696"/>
                    <a:gd name="connsiteY660" fmla="*/ 1096954 h 1576253"/>
                    <a:gd name="connsiteX661" fmla="*/ 0 w 2617696"/>
                    <a:gd name="connsiteY661" fmla="*/ 1092064 h 1576253"/>
                    <a:gd name="connsiteX662" fmla="*/ 1630 w 2617696"/>
                    <a:gd name="connsiteY662" fmla="*/ 1077394 h 1576253"/>
                    <a:gd name="connsiteX663" fmla="*/ 6520 w 2617696"/>
                    <a:gd name="connsiteY663" fmla="*/ 1072504 h 1576253"/>
                    <a:gd name="connsiteX664" fmla="*/ 8150 w 2617696"/>
                    <a:gd name="connsiteY664" fmla="*/ 1059465 h 1576253"/>
                    <a:gd name="connsiteX665" fmla="*/ 3260 w 2617696"/>
                    <a:gd name="connsiteY665" fmla="*/ 1038276 h 1576253"/>
                    <a:gd name="connsiteX666" fmla="*/ 4890 w 2617696"/>
                    <a:gd name="connsiteY666" fmla="*/ 1002417 h 1576253"/>
                    <a:gd name="connsiteX667" fmla="*/ 17930 w 2617696"/>
                    <a:gd name="connsiteY667" fmla="*/ 1000787 h 1576253"/>
                    <a:gd name="connsiteX668" fmla="*/ 22820 w 2617696"/>
                    <a:gd name="connsiteY668" fmla="*/ 992637 h 1576253"/>
                    <a:gd name="connsiteX669" fmla="*/ 24450 w 2617696"/>
                    <a:gd name="connsiteY669" fmla="*/ 971448 h 1576253"/>
                    <a:gd name="connsiteX670" fmla="*/ 32599 w 2617696"/>
                    <a:gd name="connsiteY670" fmla="*/ 969818 h 1576253"/>
                    <a:gd name="connsiteX671" fmla="*/ 40749 w 2617696"/>
                    <a:gd name="connsiteY671" fmla="*/ 960038 h 1576253"/>
                    <a:gd name="connsiteX672" fmla="*/ 52159 w 2617696"/>
                    <a:gd name="connsiteY672" fmla="*/ 953518 h 1576253"/>
                    <a:gd name="connsiteX673" fmla="*/ 53789 w 2617696"/>
                    <a:gd name="connsiteY673" fmla="*/ 932329 h 1576253"/>
                    <a:gd name="connsiteX674" fmla="*/ 57049 w 2617696"/>
                    <a:gd name="connsiteY674" fmla="*/ 917660 h 1576253"/>
                    <a:gd name="connsiteX675" fmla="*/ 66828 w 2617696"/>
                    <a:gd name="connsiteY675" fmla="*/ 916030 h 1576253"/>
                    <a:gd name="connsiteX676" fmla="*/ 73348 w 2617696"/>
                    <a:gd name="connsiteY676" fmla="*/ 912770 h 1576253"/>
                    <a:gd name="connsiteX677" fmla="*/ 79868 w 2617696"/>
                    <a:gd name="connsiteY677" fmla="*/ 911140 h 1576253"/>
                    <a:gd name="connsiteX678" fmla="*/ 97797 w 2617696"/>
                    <a:gd name="connsiteY678" fmla="*/ 909510 h 1576253"/>
                    <a:gd name="connsiteX679" fmla="*/ 102687 w 2617696"/>
                    <a:gd name="connsiteY679" fmla="*/ 907880 h 1576253"/>
                    <a:gd name="connsiteX680" fmla="*/ 107577 w 2617696"/>
                    <a:gd name="connsiteY680" fmla="*/ 902990 h 1576253"/>
                    <a:gd name="connsiteX681" fmla="*/ 112467 w 2617696"/>
                    <a:gd name="connsiteY681" fmla="*/ 899730 h 1576253"/>
                    <a:gd name="connsiteX682" fmla="*/ 117356 w 2617696"/>
                    <a:gd name="connsiteY682" fmla="*/ 896470 h 1576253"/>
                    <a:gd name="connsiteX683" fmla="*/ 141806 w 2617696"/>
                    <a:gd name="connsiteY683" fmla="*/ 904620 h 1576253"/>
                    <a:gd name="connsiteX684" fmla="*/ 146696 w 2617696"/>
                    <a:gd name="connsiteY684" fmla="*/ 906250 h 1576253"/>
                    <a:gd name="connsiteX685" fmla="*/ 177665 w 2617696"/>
                    <a:gd name="connsiteY685" fmla="*/ 902990 h 1576253"/>
                    <a:gd name="connsiteX686" fmla="*/ 190704 w 2617696"/>
                    <a:gd name="connsiteY686" fmla="*/ 901360 h 1576253"/>
                    <a:gd name="connsiteX687" fmla="*/ 195594 w 2617696"/>
                    <a:gd name="connsiteY687" fmla="*/ 899730 h 1576253"/>
                    <a:gd name="connsiteX688" fmla="*/ 205374 w 2617696"/>
                    <a:gd name="connsiteY688" fmla="*/ 888320 h 1576253"/>
                    <a:gd name="connsiteX689" fmla="*/ 203744 w 2617696"/>
                    <a:gd name="connsiteY689" fmla="*/ 883431 h 1576253"/>
                    <a:gd name="connsiteX690" fmla="*/ 189074 w 2617696"/>
                    <a:gd name="connsiteY690" fmla="*/ 880171 h 1576253"/>
                    <a:gd name="connsiteX691" fmla="*/ 184184 w 2617696"/>
                    <a:gd name="connsiteY691" fmla="*/ 876911 h 1576253"/>
                    <a:gd name="connsiteX692" fmla="*/ 192334 w 2617696"/>
                    <a:gd name="connsiteY692" fmla="*/ 867131 h 1576253"/>
                    <a:gd name="connsiteX693" fmla="*/ 211893 w 2617696"/>
                    <a:gd name="connsiteY693" fmla="*/ 865501 h 1576253"/>
                    <a:gd name="connsiteX694" fmla="*/ 223303 w 2617696"/>
                    <a:gd name="connsiteY694" fmla="*/ 862241 h 1576253"/>
                    <a:gd name="connsiteX695" fmla="*/ 228193 w 2617696"/>
                    <a:gd name="connsiteY695" fmla="*/ 860611 h 1576253"/>
                    <a:gd name="connsiteX696" fmla="*/ 229823 w 2617696"/>
                    <a:gd name="connsiteY696" fmla="*/ 868761 h 1576253"/>
                    <a:gd name="connsiteX697" fmla="*/ 228193 w 2617696"/>
                    <a:gd name="connsiteY697" fmla="*/ 873651 h 1576253"/>
                    <a:gd name="connsiteX698" fmla="*/ 221673 w 2617696"/>
                    <a:gd name="connsiteY698" fmla="*/ 878541 h 1576253"/>
                    <a:gd name="connsiteX699" fmla="*/ 218413 w 2617696"/>
                    <a:gd name="connsiteY699" fmla="*/ 883431 h 1576253"/>
                    <a:gd name="connsiteX700" fmla="*/ 220043 w 2617696"/>
                    <a:gd name="connsiteY700" fmla="*/ 888320 h 1576253"/>
                    <a:gd name="connsiteX701" fmla="*/ 231453 w 2617696"/>
                    <a:gd name="connsiteY701" fmla="*/ 885061 h 1576253"/>
                    <a:gd name="connsiteX702" fmla="*/ 244492 w 2617696"/>
                    <a:gd name="connsiteY702" fmla="*/ 883431 h 1576253"/>
                    <a:gd name="connsiteX703" fmla="*/ 251012 w 2617696"/>
                    <a:gd name="connsiteY703" fmla="*/ 880171 h 1576253"/>
                    <a:gd name="connsiteX704" fmla="*/ 255902 w 2617696"/>
                    <a:gd name="connsiteY704" fmla="*/ 878541 h 1576253"/>
                    <a:gd name="connsiteX705" fmla="*/ 260792 w 2617696"/>
                    <a:gd name="connsiteY705" fmla="*/ 875281 h 1576253"/>
                    <a:gd name="connsiteX706" fmla="*/ 272201 w 2617696"/>
                    <a:gd name="connsiteY706" fmla="*/ 872021 h 1576253"/>
                    <a:gd name="connsiteX707" fmla="*/ 301541 w 2617696"/>
                    <a:gd name="connsiteY707" fmla="*/ 868761 h 1576253"/>
                    <a:gd name="connsiteX708" fmla="*/ 308060 w 2617696"/>
                    <a:gd name="connsiteY708" fmla="*/ 865501 h 1576253"/>
                    <a:gd name="connsiteX709" fmla="*/ 327620 w 2617696"/>
                    <a:gd name="connsiteY709" fmla="*/ 863871 h 1576253"/>
                    <a:gd name="connsiteX710" fmla="*/ 335769 w 2617696"/>
                    <a:gd name="connsiteY710" fmla="*/ 857351 h 1576253"/>
                    <a:gd name="connsiteX711" fmla="*/ 353699 w 2617696"/>
                    <a:gd name="connsiteY711" fmla="*/ 852462 h 1576253"/>
                    <a:gd name="connsiteX712" fmla="*/ 360219 w 2617696"/>
                    <a:gd name="connsiteY712" fmla="*/ 854092 h 1576253"/>
                    <a:gd name="connsiteX713" fmla="*/ 371628 w 2617696"/>
                    <a:gd name="connsiteY713" fmla="*/ 854092 h 1576253"/>
                    <a:gd name="connsiteX714" fmla="*/ 376518 w 2617696"/>
                    <a:gd name="connsiteY714" fmla="*/ 849202 h 1576253"/>
                    <a:gd name="connsiteX715" fmla="*/ 381408 w 2617696"/>
                    <a:gd name="connsiteY715" fmla="*/ 847572 h 1576253"/>
                    <a:gd name="connsiteX716" fmla="*/ 379778 w 2617696"/>
                    <a:gd name="connsiteY716" fmla="*/ 836162 h 1576253"/>
                    <a:gd name="connsiteX717" fmla="*/ 368368 w 2617696"/>
                    <a:gd name="connsiteY717" fmla="*/ 831272 h 1576253"/>
                    <a:gd name="connsiteX718" fmla="*/ 348809 w 2617696"/>
                    <a:gd name="connsiteY718" fmla="*/ 826383 h 1576253"/>
                    <a:gd name="connsiteX719" fmla="*/ 337399 w 2617696"/>
                    <a:gd name="connsiteY719" fmla="*/ 832902 h 1576253"/>
                    <a:gd name="connsiteX720" fmla="*/ 332510 w 2617696"/>
                    <a:gd name="connsiteY720" fmla="*/ 836162 h 1576253"/>
                    <a:gd name="connsiteX721" fmla="*/ 327620 w 2617696"/>
                    <a:gd name="connsiteY721" fmla="*/ 829642 h 1576253"/>
                    <a:gd name="connsiteX722" fmla="*/ 337399 w 2617696"/>
                    <a:gd name="connsiteY722" fmla="*/ 826383 h 1576253"/>
                    <a:gd name="connsiteX723" fmla="*/ 347179 w 2617696"/>
                    <a:gd name="connsiteY723" fmla="*/ 813343 h 1576253"/>
                    <a:gd name="connsiteX724" fmla="*/ 350439 w 2617696"/>
                    <a:gd name="connsiteY724" fmla="*/ 808453 h 1576253"/>
                    <a:gd name="connsiteX725" fmla="*/ 360219 w 2617696"/>
                    <a:gd name="connsiteY725" fmla="*/ 806823 h 1576253"/>
                    <a:gd name="connsiteX726" fmla="*/ 365108 w 2617696"/>
                    <a:gd name="connsiteY726" fmla="*/ 808453 h 1576253"/>
                    <a:gd name="connsiteX727" fmla="*/ 369998 w 2617696"/>
                    <a:gd name="connsiteY727" fmla="*/ 801933 h 1576253"/>
                    <a:gd name="connsiteX728" fmla="*/ 374888 w 2617696"/>
                    <a:gd name="connsiteY728" fmla="*/ 798673 h 1576253"/>
                    <a:gd name="connsiteX729" fmla="*/ 381408 w 2617696"/>
                    <a:gd name="connsiteY729" fmla="*/ 793784 h 1576253"/>
                    <a:gd name="connsiteX730" fmla="*/ 386298 w 2617696"/>
                    <a:gd name="connsiteY730" fmla="*/ 790524 h 1576253"/>
                    <a:gd name="connsiteX731" fmla="*/ 387928 w 2617696"/>
                    <a:gd name="connsiteY731" fmla="*/ 780744 h 1576253"/>
                    <a:gd name="connsiteX732" fmla="*/ 397707 w 2617696"/>
                    <a:gd name="connsiteY732" fmla="*/ 785634 h 1576253"/>
                    <a:gd name="connsiteX733" fmla="*/ 402597 w 2617696"/>
                    <a:gd name="connsiteY733" fmla="*/ 787264 h 1576253"/>
                    <a:gd name="connsiteX734" fmla="*/ 409117 w 2617696"/>
                    <a:gd name="connsiteY734" fmla="*/ 777484 h 1576253"/>
                    <a:gd name="connsiteX735" fmla="*/ 430306 w 2617696"/>
                    <a:gd name="connsiteY735" fmla="*/ 769334 h 1576253"/>
                    <a:gd name="connsiteX736" fmla="*/ 436826 w 2617696"/>
                    <a:gd name="connsiteY736" fmla="*/ 762815 h 1576253"/>
                    <a:gd name="connsiteX737" fmla="*/ 441716 w 2617696"/>
                    <a:gd name="connsiteY737" fmla="*/ 761185 h 1576253"/>
                    <a:gd name="connsiteX738" fmla="*/ 461275 w 2617696"/>
                    <a:gd name="connsiteY738" fmla="*/ 762815 h 1576253"/>
                    <a:gd name="connsiteX739" fmla="*/ 466165 w 2617696"/>
                    <a:gd name="connsiteY739" fmla="*/ 759555 h 1576253"/>
                    <a:gd name="connsiteX740" fmla="*/ 482465 w 2617696"/>
                    <a:gd name="connsiteY740" fmla="*/ 753035 h 1576253"/>
                    <a:gd name="connsiteX741" fmla="*/ 485724 w 2617696"/>
                    <a:gd name="connsiteY741" fmla="*/ 746515 h 1576253"/>
                    <a:gd name="connsiteX742" fmla="*/ 433566 w 2617696"/>
                    <a:gd name="connsiteY742" fmla="*/ 743255 h 1576253"/>
                    <a:gd name="connsiteX743" fmla="*/ 427046 w 2617696"/>
                    <a:gd name="connsiteY743" fmla="*/ 748145 h 1576253"/>
                    <a:gd name="connsiteX744" fmla="*/ 422157 w 2617696"/>
                    <a:gd name="connsiteY744" fmla="*/ 751405 h 1576253"/>
                    <a:gd name="connsiteX745" fmla="*/ 412377 w 2617696"/>
                    <a:gd name="connsiteY745" fmla="*/ 762815 h 1576253"/>
                    <a:gd name="connsiteX746" fmla="*/ 389558 w 2617696"/>
                    <a:gd name="connsiteY746" fmla="*/ 766074 h 1576253"/>
                    <a:gd name="connsiteX747" fmla="*/ 384668 w 2617696"/>
                    <a:gd name="connsiteY747" fmla="*/ 764445 h 1576253"/>
                    <a:gd name="connsiteX748" fmla="*/ 381408 w 2617696"/>
                    <a:gd name="connsiteY748" fmla="*/ 759555 h 1576253"/>
                    <a:gd name="connsiteX749" fmla="*/ 376476 w 2617696"/>
                    <a:gd name="connsiteY749" fmla="*/ 754660 h 1576253"/>
                    <a:gd name="connsiteX750" fmla="*/ 374586 w 2617696"/>
                    <a:gd name="connsiteY750" fmla="*/ 751791 h 1576253"/>
                    <a:gd name="connsiteX751" fmla="*/ 376518 w 2617696"/>
                    <a:gd name="connsiteY751" fmla="*/ 751405 h 1576253"/>
                    <a:gd name="connsiteX752" fmla="*/ 376009 w 2617696"/>
                    <a:gd name="connsiteY752" fmla="*/ 749431 h 1576253"/>
                    <a:gd name="connsiteX753" fmla="*/ 386298 w 2617696"/>
                    <a:gd name="connsiteY753" fmla="*/ 748145 h 1576253"/>
                    <a:gd name="connsiteX754" fmla="*/ 386299 w 2617696"/>
                    <a:gd name="connsiteY754" fmla="*/ 726956 h 1576253"/>
                    <a:gd name="connsiteX755" fmla="*/ 391188 w 2617696"/>
                    <a:gd name="connsiteY755" fmla="*/ 725326 h 1576253"/>
                    <a:gd name="connsiteX756" fmla="*/ 387928 w 2617696"/>
                    <a:gd name="connsiteY756" fmla="*/ 713916 h 1576253"/>
                    <a:gd name="connsiteX757" fmla="*/ 381408 w 2617696"/>
                    <a:gd name="connsiteY757" fmla="*/ 722066 h 1576253"/>
                    <a:gd name="connsiteX758" fmla="*/ 376518 w 2617696"/>
                    <a:gd name="connsiteY758" fmla="*/ 723696 h 1576253"/>
                    <a:gd name="connsiteX759" fmla="*/ 373258 w 2617696"/>
                    <a:gd name="connsiteY759" fmla="*/ 733476 h 1576253"/>
                    <a:gd name="connsiteX760" fmla="*/ 369998 w 2617696"/>
                    <a:gd name="connsiteY760" fmla="*/ 739995 h 1576253"/>
                    <a:gd name="connsiteX761" fmla="*/ 374810 w 2617696"/>
                    <a:gd name="connsiteY761" fmla="*/ 744789 h 1576253"/>
                    <a:gd name="connsiteX762" fmla="*/ 376009 w 2617696"/>
                    <a:gd name="connsiteY762" fmla="*/ 749431 h 1576253"/>
                    <a:gd name="connsiteX763" fmla="*/ 373258 w 2617696"/>
                    <a:gd name="connsiteY763" fmla="*/ 749775 h 1576253"/>
                    <a:gd name="connsiteX764" fmla="*/ 374586 w 2617696"/>
                    <a:gd name="connsiteY764" fmla="*/ 751791 h 1576253"/>
                    <a:gd name="connsiteX765" fmla="*/ 368368 w 2617696"/>
                    <a:gd name="connsiteY765" fmla="*/ 753035 h 1576253"/>
                    <a:gd name="connsiteX766" fmla="*/ 358589 w 2617696"/>
                    <a:gd name="connsiteY766" fmla="*/ 749775 h 1576253"/>
                    <a:gd name="connsiteX767" fmla="*/ 355329 w 2617696"/>
                    <a:gd name="connsiteY767" fmla="*/ 744885 h 1576253"/>
                    <a:gd name="connsiteX768" fmla="*/ 350439 w 2617696"/>
                    <a:gd name="connsiteY768" fmla="*/ 741625 h 1576253"/>
                    <a:gd name="connsiteX769" fmla="*/ 350439 w 2617696"/>
                    <a:gd name="connsiteY769" fmla="*/ 728586 h 1576253"/>
                    <a:gd name="connsiteX770" fmla="*/ 349115 w 2617696"/>
                    <a:gd name="connsiteY770" fmla="*/ 721964 h 1576253"/>
                    <a:gd name="connsiteX771" fmla="*/ 358589 w 2617696"/>
                    <a:gd name="connsiteY771" fmla="*/ 718806 h 1576253"/>
                    <a:gd name="connsiteX772" fmla="*/ 365108 w 2617696"/>
                    <a:gd name="connsiteY772" fmla="*/ 717176 h 1576253"/>
                    <a:gd name="connsiteX773" fmla="*/ 348809 w 2617696"/>
                    <a:gd name="connsiteY773" fmla="*/ 720436 h 1576253"/>
                    <a:gd name="connsiteX774" fmla="*/ 349115 w 2617696"/>
                    <a:gd name="connsiteY774" fmla="*/ 721964 h 1576253"/>
                    <a:gd name="connsiteX775" fmla="*/ 348809 w 2617696"/>
                    <a:gd name="connsiteY775" fmla="*/ 722066 h 1576253"/>
                    <a:gd name="connsiteX776" fmla="*/ 345549 w 2617696"/>
                    <a:gd name="connsiteY776" fmla="*/ 712286 h 1576253"/>
                    <a:gd name="connsiteX777" fmla="*/ 348809 w 2617696"/>
                    <a:gd name="connsiteY777" fmla="*/ 700877 h 1576253"/>
                    <a:gd name="connsiteX778" fmla="*/ 345549 w 2617696"/>
                    <a:gd name="connsiteY778" fmla="*/ 699247 h 1576253"/>
                    <a:gd name="connsiteX779" fmla="*/ 355329 w 2617696"/>
                    <a:gd name="connsiteY779" fmla="*/ 694357 h 1576253"/>
                    <a:gd name="connsiteX780" fmla="*/ 378148 w 2617696"/>
                    <a:gd name="connsiteY780" fmla="*/ 691097 h 1576253"/>
                    <a:gd name="connsiteX781" fmla="*/ 383038 w 2617696"/>
                    <a:gd name="connsiteY781" fmla="*/ 689467 h 1576253"/>
                    <a:gd name="connsiteX782" fmla="*/ 461275 w 2617696"/>
                    <a:gd name="connsiteY782" fmla="*/ 686207 h 1576253"/>
                    <a:gd name="connsiteX783" fmla="*/ 477575 w 2617696"/>
                    <a:gd name="connsiteY783" fmla="*/ 684577 h 1576253"/>
                    <a:gd name="connsiteX784" fmla="*/ 488984 w 2617696"/>
                    <a:gd name="connsiteY784" fmla="*/ 661758 h 1576253"/>
                    <a:gd name="connsiteX785" fmla="*/ 505284 w 2617696"/>
                    <a:gd name="connsiteY785" fmla="*/ 653608 h 1576253"/>
                    <a:gd name="connsiteX786" fmla="*/ 510174 w 2617696"/>
                    <a:gd name="connsiteY786" fmla="*/ 655238 h 1576253"/>
                    <a:gd name="connsiteX787" fmla="*/ 515064 w 2617696"/>
                    <a:gd name="connsiteY787" fmla="*/ 658498 h 1576253"/>
                    <a:gd name="connsiteX788" fmla="*/ 529733 w 2617696"/>
                    <a:gd name="connsiteY788" fmla="*/ 661758 h 1576253"/>
                    <a:gd name="connsiteX789" fmla="*/ 544403 w 2617696"/>
                    <a:gd name="connsiteY789" fmla="*/ 658498 h 1576253"/>
                    <a:gd name="connsiteX790" fmla="*/ 554182 w 2617696"/>
                    <a:gd name="connsiteY790" fmla="*/ 655238 h 1576253"/>
                    <a:gd name="connsiteX791" fmla="*/ 562332 w 2617696"/>
                    <a:gd name="connsiteY791" fmla="*/ 653608 h 1576253"/>
                    <a:gd name="connsiteX792" fmla="*/ 567222 w 2617696"/>
                    <a:gd name="connsiteY792" fmla="*/ 651978 h 1576253"/>
                    <a:gd name="connsiteX793" fmla="*/ 583521 w 2617696"/>
                    <a:gd name="connsiteY793" fmla="*/ 648718 h 1576253"/>
                    <a:gd name="connsiteX794" fmla="*/ 601451 w 2617696"/>
                    <a:gd name="connsiteY794" fmla="*/ 647088 h 1576253"/>
                    <a:gd name="connsiteX795" fmla="*/ 609600 w 2617696"/>
                    <a:gd name="connsiteY795" fmla="*/ 642199 h 1576253"/>
                    <a:gd name="connsiteX796" fmla="*/ 616120 w 2617696"/>
                    <a:gd name="connsiteY796" fmla="*/ 638939 h 1576253"/>
                    <a:gd name="connsiteX797" fmla="*/ 624270 w 2617696"/>
                    <a:gd name="connsiteY797" fmla="*/ 629159 h 1576253"/>
                    <a:gd name="connsiteX798" fmla="*/ 638939 w 2617696"/>
                    <a:gd name="connsiteY798" fmla="*/ 614489 h 1576253"/>
                    <a:gd name="connsiteX799" fmla="*/ 640569 w 2617696"/>
                    <a:gd name="connsiteY799" fmla="*/ 603080 h 1576253"/>
                    <a:gd name="connsiteX800" fmla="*/ 635680 w 2617696"/>
                    <a:gd name="connsiteY800" fmla="*/ 598190 h 1576253"/>
                    <a:gd name="connsiteX801" fmla="*/ 632420 w 2617696"/>
                    <a:gd name="connsiteY801" fmla="*/ 593300 h 1576253"/>
                    <a:gd name="connsiteX802" fmla="*/ 637757 w 2617696"/>
                    <a:gd name="connsiteY802" fmla="*/ 591966 h 1576253"/>
                    <a:gd name="connsiteX803" fmla="*/ 638941 w 2617696"/>
                    <a:gd name="connsiteY803" fmla="*/ 588410 h 1576253"/>
                    <a:gd name="connsiteX804" fmla="*/ 645461 w 2617696"/>
                    <a:gd name="connsiteY804" fmla="*/ 586780 h 1576253"/>
                    <a:gd name="connsiteX805" fmla="*/ 650351 w 2617696"/>
                    <a:gd name="connsiteY805" fmla="*/ 583520 h 1576253"/>
                    <a:gd name="connsiteX806" fmla="*/ 676430 w 2617696"/>
                    <a:gd name="connsiteY806" fmla="*/ 572111 h 1576253"/>
                    <a:gd name="connsiteX807" fmla="*/ 684580 w 2617696"/>
                    <a:gd name="connsiteY807" fmla="*/ 560701 h 1576253"/>
                    <a:gd name="connsiteX808" fmla="*/ 700879 w 2617696"/>
                    <a:gd name="connsiteY808" fmla="*/ 547662 h 1576253"/>
                    <a:gd name="connsiteX809" fmla="*/ 704139 w 2617696"/>
                    <a:gd name="connsiteY809" fmla="*/ 537882 h 1576253"/>
                    <a:gd name="connsiteX810" fmla="*/ 709029 w 2617696"/>
                    <a:gd name="connsiteY810" fmla="*/ 531362 h 1576253"/>
                    <a:gd name="connsiteX811" fmla="*/ 720439 w 2617696"/>
                    <a:gd name="connsiteY811" fmla="*/ 516693 h 1576253"/>
                    <a:gd name="connsiteX812" fmla="*/ 725329 w 2617696"/>
                    <a:gd name="connsiteY812" fmla="*/ 513433 h 1576253"/>
                    <a:gd name="connsiteX813" fmla="*/ 726959 w 2617696"/>
                    <a:gd name="connsiteY813" fmla="*/ 506913 h 1576253"/>
                    <a:gd name="connsiteX814" fmla="*/ 731848 w 2617696"/>
                    <a:gd name="connsiteY814" fmla="*/ 500393 h 1576253"/>
                    <a:gd name="connsiteX815" fmla="*/ 735108 w 2617696"/>
                    <a:gd name="connsiteY815" fmla="*/ 493873 h 1576253"/>
                    <a:gd name="connsiteX816" fmla="*/ 746518 w 2617696"/>
                    <a:gd name="connsiteY816" fmla="*/ 488984 h 1576253"/>
                    <a:gd name="connsiteX817" fmla="*/ 751408 w 2617696"/>
                    <a:gd name="connsiteY817" fmla="*/ 479204 h 1576253"/>
                    <a:gd name="connsiteX818" fmla="*/ 754668 w 2617696"/>
                    <a:gd name="connsiteY818" fmla="*/ 474314 h 1576253"/>
                    <a:gd name="connsiteX819" fmla="*/ 757928 w 2617696"/>
                    <a:gd name="connsiteY819" fmla="*/ 467794 h 1576253"/>
                    <a:gd name="connsiteX820" fmla="*/ 767707 w 2617696"/>
                    <a:gd name="connsiteY820" fmla="*/ 462904 h 1576253"/>
                    <a:gd name="connsiteX821" fmla="*/ 777487 w 2617696"/>
                    <a:gd name="connsiteY821" fmla="*/ 456385 h 1576253"/>
                    <a:gd name="connsiteX822" fmla="*/ 782377 w 2617696"/>
                    <a:gd name="connsiteY822" fmla="*/ 454755 h 1576253"/>
                    <a:gd name="connsiteX823" fmla="*/ 785637 w 2617696"/>
                    <a:gd name="connsiteY823" fmla="*/ 449865 h 1576253"/>
                    <a:gd name="connsiteX824" fmla="*/ 790526 w 2617696"/>
                    <a:gd name="connsiteY824" fmla="*/ 444975 h 1576253"/>
                    <a:gd name="connsiteX825" fmla="*/ 797046 w 2617696"/>
                    <a:gd name="connsiteY825" fmla="*/ 441715 h 1576253"/>
                    <a:gd name="connsiteX826" fmla="*/ 798676 w 2617696"/>
                    <a:gd name="connsiteY826" fmla="*/ 436825 h 1576253"/>
                    <a:gd name="connsiteX827" fmla="*/ 801936 w 2617696"/>
                    <a:gd name="connsiteY827" fmla="*/ 430306 h 1576253"/>
                    <a:gd name="connsiteX828" fmla="*/ 814976 w 2617696"/>
                    <a:gd name="connsiteY828" fmla="*/ 420526 h 1576253"/>
                    <a:gd name="connsiteX829" fmla="*/ 828015 w 2617696"/>
                    <a:gd name="connsiteY829" fmla="*/ 417266 h 1576253"/>
                    <a:gd name="connsiteX830" fmla="*/ 832905 w 2617696"/>
                    <a:gd name="connsiteY830" fmla="*/ 412376 h 1576253"/>
                    <a:gd name="connsiteX831" fmla="*/ 836165 w 2617696"/>
                    <a:gd name="connsiteY831" fmla="*/ 400966 h 1576253"/>
                    <a:gd name="connsiteX832" fmla="*/ 841055 w 2617696"/>
                    <a:gd name="connsiteY832" fmla="*/ 397707 h 1576253"/>
                    <a:gd name="connsiteX833" fmla="*/ 867134 w 2617696"/>
                    <a:gd name="connsiteY833" fmla="*/ 396077 h 1576253"/>
                    <a:gd name="connsiteX834" fmla="*/ 881803 w 2617696"/>
                    <a:gd name="connsiteY834" fmla="*/ 397707 h 1576253"/>
                    <a:gd name="connsiteX835" fmla="*/ 904623 w 2617696"/>
                    <a:gd name="connsiteY835" fmla="*/ 399337 h 1576253"/>
                    <a:gd name="connsiteX836" fmla="*/ 919292 w 2617696"/>
                    <a:gd name="connsiteY836" fmla="*/ 405856 h 1576253"/>
                    <a:gd name="connsiteX837" fmla="*/ 924182 w 2617696"/>
                    <a:gd name="connsiteY837" fmla="*/ 409116 h 1576253"/>
                    <a:gd name="connsiteX838" fmla="*/ 928999 w 2617696"/>
                    <a:gd name="connsiteY838" fmla="*/ 411339 h 1576253"/>
                    <a:gd name="connsiteX839" fmla="*/ 924182 w 2617696"/>
                    <a:gd name="connsiteY839" fmla="*/ 407486 h 1576253"/>
                    <a:gd name="connsiteX840" fmla="*/ 911143 w 2617696"/>
                    <a:gd name="connsiteY840" fmla="*/ 399337 h 1576253"/>
                    <a:gd name="connsiteX841" fmla="*/ 907883 w 2617696"/>
                    <a:gd name="connsiteY841" fmla="*/ 394447 h 1576253"/>
                    <a:gd name="connsiteX842" fmla="*/ 911143 w 2617696"/>
                    <a:gd name="connsiteY842" fmla="*/ 389557 h 1576253"/>
                    <a:gd name="connsiteX843" fmla="*/ 922552 w 2617696"/>
                    <a:gd name="connsiteY843" fmla="*/ 387927 h 1576253"/>
                    <a:gd name="connsiteX844" fmla="*/ 927442 w 2617696"/>
                    <a:gd name="connsiteY844" fmla="*/ 384667 h 1576253"/>
                    <a:gd name="connsiteX845" fmla="*/ 947001 w 2617696"/>
                    <a:gd name="connsiteY845" fmla="*/ 373257 h 1576253"/>
                    <a:gd name="connsiteX846" fmla="*/ 955151 w 2617696"/>
                    <a:gd name="connsiteY846" fmla="*/ 371627 h 1576253"/>
                    <a:gd name="connsiteX847" fmla="*/ 964931 w 2617696"/>
                    <a:gd name="connsiteY847" fmla="*/ 368368 h 1576253"/>
                    <a:gd name="connsiteX848" fmla="*/ 981230 w 2617696"/>
                    <a:gd name="connsiteY848" fmla="*/ 365108 h 1576253"/>
                    <a:gd name="connsiteX849" fmla="*/ 986120 w 2617696"/>
                    <a:gd name="connsiteY849" fmla="*/ 361848 h 1576253"/>
                    <a:gd name="connsiteX850" fmla="*/ 1005679 w 2617696"/>
                    <a:gd name="connsiteY850" fmla="*/ 358588 h 1576253"/>
                    <a:gd name="connsiteX851" fmla="*/ 1010569 w 2617696"/>
                    <a:gd name="connsiteY851" fmla="*/ 353698 h 1576253"/>
                    <a:gd name="connsiteX852" fmla="*/ 1023609 w 2617696"/>
                    <a:gd name="connsiteY852" fmla="*/ 350438 h 1576253"/>
                    <a:gd name="connsiteX853" fmla="*/ 1036648 w 2617696"/>
                    <a:gd name="connsiteY853" fmla="*/ 347178 h 1576253"/>
                    <a:gd name="connsiteX854" fmla="*/ 1049688 w 2617696"/>
                    <a:gd name="connsiteY854" fmla="*/ 335769 h 1576253"/>
                    <a:gd name="connsiteX855" fmla="*/ 1056208 w 2617696"/>
                    <a:gd name="connsiteY855" fmla="*/ 330879 h 1576253"/>
                    <a:gd name="connsiteX856" fmla="*/ 1057838 w 2617696"/>
                    <a:gd name="connsiteY856" fmla="*/ 325989 h 1576253"/>
                    <a:gd name="connsiteX857" fmla="*/ 1062728 w 2617696"/>
                    <a:gd name="connsiteY857" fmla="*/ 319469 h 1576253"/>
                    <a:gd name="connsiteX858" fmla="*/ 1077397 w 2617696"/>
                    <a:gd name="connsiteY858" fmla="*/ 314579 h 1576253"/>
                    <a:gd name="connsiteX859" fmla="*/ 1082287 w 2617696"/>
                    <a:gd name="connsiteY859" fmla="*/ 317839 h 1576253"/>
                    <a:gd name="connsiteX860" fmla="*/ 1083917 w 2617696"/>
                    <a:gd name="connsiteY860" fmla="*/ 329249 h 1576253"/>
                    <a:gd name="connsiteX861" fmla="*/ 1085547 w 2617696"/>
                    <a:gd name="connsiteY861" fmla="*/ 335769 h 1576253"/>
                    <a:gd name="connsiteX862" fmla="*/ 1087177 w 2617696"/>
                    <a:gd name="connsiteY862" fmla="*/ 345548 h 1576253"/>
                    <a:gd name="connsiteX863" fmla="*/ 1092067 w 2617696"/>
                    <a:gd name="connsiteY863" fmla="*/ 348808 h 1576253"/>
                    <a:gd name="connsiteX864" fmla="*/ 1095326 w 2617696"/>
                    <a:gd name="connsiteY864" fmla="*/ 355328 h 1576253"/>
                    <a:gd name="connsiteX865" fmla="*/ 1100216 w 2617696"/>
                    <a:gd name="connsiteY865" fmla="*/ 361848 h 1576253"/>
                    <a:gd name="connsiteX866" fmla="*/ 1124666 w 2617696"/>
                    <a:gd name="connsiteY866" fmla="*/ 363478 h 1576253"/>
                    <a:gd name="connsiteX867" fmla="*/ 1131185 w 2617696"/>
                    <a:gd name="connsiteY867" fmla="*/ 366738 h 1576253"/>
                    <a:gd name="connsiteX868" fmla="*/ 1136075 w 2617696"/>
                    <a:gd name="connsiteY868" fmla="*/ 369997 h 1576253"/>
                    <a:gd name="connsiteX869" fmla="*/ 1163784 w 2617696"/>
                    <a:gd name="connsiteY869" fmla="*/ 368368 h 1576253"/>
                    <a:gd name="connsiteX870" fmla="*/ 1170304 w 2617696"/>
                    <a:gd name="connsiteY870" fmla="*/ 366738 h 1576253"/>
                    <a:gd name="connsiteX871" fmla="*/ 1183344 w 2617696"/>
                    <a:gd name="connsiteY871" fmla="*/ 355328 h 1576253"/>
                    <a:gd name="connsiteX872" fmla="*/ 1188233 w 2617696"/>
                    <a:gd name="connsiteY872" fmla="*/ 352068 h 1576253"/>
                    <a:gd name="connsiteX873" fmla="*/ 1191493 w 2617696"/>
                    <a:gd name="connsiteY873" fmla="*/ 335769 h 1576253"/>
                    <a:gd name="connsiteX874" fmla="*/ 1194753 w 2617696"/>
                    <a:gd name="connsiteY874" fmla="*/ 340658 h 1576253"/>
                    <a:gd name="connsiteX875" fmla="*/ 1202903 w 2617696"/>
                    <a:gd name="connsiteY875" fmla="*/ 339028 h 1576253"/>
                    <a:gd name="connsiteX876" fmla="*/ 1206163 w 2617696"/>
                    <a:gd name="connsiteY876" fmla="*/ 343918 h 1576253"/>
                    <a:gd name="connsiteX877" fmla="*/ 1215943 w 2617696"/>
                    <a:gd name="connsiteY877" fmla="*/ 347178 h 1576253"/>
                    <a:gd name="connsiteX878" fmla="*/ 1217572 w 2617696"/>
                    <a:gd name="connsiteY878" fmla="*/ 355328 h 1576253"/>
                    <a:gd name="connsiteX879" fmla="*/ 1219202 w 2617696"/>
                    <a:gd name="connsiteY879" fmla="*/ 347178 h 1576253"/>
                    <a:gd name="connsiteX880" fmla="*/ 1227352 w 2617696"/>
                    <a:gd name="connsiteY880" fmla="*/ 353698 h 1576253"/>
                    <a:gd name="connsiteX881" fmla="*/ 1233872 w 2617696"/>
                    <a:gd name="connsiteY881" fmla="*/ 363478 h 1576253"/>
                    <a:gd name="connsiteX882" fmla="*/ 1237132 w 2617696"/>
                    <a:gd name="connsiteY882" fmla="*/ 368368 h 1576253"/>
                    <a:gd name="connsiteX883" fmla="*/ 1240392 w 2617696"/>
                    <a:gd name="connsiteY883" fmla="*/ 374887 h 1576253"/>
                    <a:gd name="connsiteX884" fmla="*/ 1246912 w 2617696"/>
                    <a:gd name="connsiteY884" fmla="*/ 379777 h 1576253"/>
                    <a:gd name="connsiteX885" fmla="*/ 1282770 w 2617696"/>
                    <a:gd name="connsiteY885" fmla="*/ 384667 h 1576253"/>
                    <a:gd name="connsiteX886" fmla="*/ 1292550 w 2617696"/>
                    <a:gd name="connsiteY886" fmla="*/ 379777 h 1576253"/>
                    <a:gd name="connsiteX887" fmla="*/ 1295810 w 2617696"/>
                    <a:gd name="connsiteY887" fmla="*/ 363478 h 1576253"/>
                    <a:gd name="connsiteX888" fmla="*/ 1294180 w 2617696"/>
                    <a:gd name="connsiteY888" fmla="*/ 358588 h 1576253"/>
                    <a:gd name="connsiteX889" fmla="*/ 1300700 w 2617696"/>
                    <a:gd name="connsiteY889" fmla="*/ 356958 h 1576253"/>
                    <a:gd name="connsiteX890" fmla="*/ 1326779 w 2617696"/>
                    <a:gd name="connsiteY890" fmla="*/ 355328 h 1576253"/>
                    <a:gd name="connsiteX891" fmla="*/ 1333299 w 2617696"/>
                    <a:gd name="connsiteY891" fmla="*/ 353698 h 1576253"/>
                    <a:gd name="connsiteX892" fmla="*/ 1341448 w 2617696"/>
                    <a:gd name="connsiteY892" fmla="*/ 350438 h 1576253"/>
                    <a:gd name="connsiteX893" fmla="*/ 1336559 w 2617696"/>
                    <a:gd name="connsiteY893" fmla="*/ 355328 h 1576253"/>
                    <a:gd name="connsiteX894" fmla="*/ 1344708 w 2617696"/>
                    <a:gd name="connsiteY894" fmla="*/ 352068 h 1576253"/>
                    <a:gd name="connsiteX895" fmla="*/ 1349598 w 2617696"/>
                    <a:gd name="connsiteY895" fmla="*/ 353698 h 1576253"/>
                    <a:gd name="connsiteX896" fmla="*/ 1351228 w 2617696"/>
                    <a:gd name="connsiteY896" fmla="*/ 360218 h 1576253"/>
                    <a:gd name="connsiteX897" fmla="*/ 1352858 w 2617696"/>
                    <a:gd name="connsiteY897" fmla="*/ 374887 h 1576253"/>
                    <a:gd name="connsiteX898" fmla="*/ 1388717 w 2617696"/>
                    <a:gd name="connsiteY898" fmla="*/ 376517 h 1576253"/>
                    <a:gd name="connsiteX899" fmla="*/ 1398497 w 2617696"/>
                    <a:gd name="connsiteY899" fmla="*/ 374887 h 1576253"/>
                    <a:gd name="connsiteX900" fmla="*/ 1409906 w 2617696"/>
                    <a:gd name="connsiteY900" fmla="*/ 373257 h 1576253"/>
                    <a:gd name="connsiteX901" fmla="*/ 1435985 w 2617696"/>
                    <a:gd name="connsiteY901" fmla="*/ 376517 h 1576253"/>
                    <a:gd name="connsiteX902" fmla="*/ 1439245 w 2617696"/>
                    <a:gd name="connsiteY902" fmla="*/ 369997 h 1576253"/>
                    <a:gd name="connsiteX903" fmla="*/ 1435985 w 2617696"/>
                    <a:gd name="connsiteY903" fmla="*/ 358588 h 1576253"/>
                    <a:gd name="connsiteX904" fmla="*/ 1444135 w 2617696"/>
                    <a:gd name="connsiteY904" fmla="*/ 355328 h 1576253"/>
                    <a:gd name="connsiteX905" fmla="*/ 1447039 w 2617696"/>
                    <a:gd name="connsiteY905" fmla="*/ 361776 h 1576253"/>
                    <a:gd name="connsiteX906" fmla="*/ 1445764 w 2617696"/>
                    <a:gd name="connsiteY906" fmla="*/ 358588 h 1576253"/>
                    <a:gd name="connsiteX907" fmla="*/ 1463693 w 2617696"/>
                    <a:gd name="connsiteY907" fmla="*/ 353698 h 1576253"/>
                    <a:gd name="connsiteX908" fmla="*/ 1473473 w 2617696"/>
                    <a:gd name="connsiteY908" fmla="*/ 356958 h 1576253"/>
                    <a:gd name="connsiteX909" fmla="*/ 1475103 w 2617696"/>
                    <a:gd name="connsiteY909" fmla="*/ 363478 h 1576253"/>
                    <a:gd name="connsiteX910" fmla="*/ 1496292 w 2617696"/>
                    <a:gd name="connsiteY910" fmla="*/ 360218 h 1576253"/>
                    <a:gd name="connsiteX911" fmla="*/ 1507702 w 2617696"/>
                    <a:gd name="connsiteY911" fmla="*/ 356958 h 1576253"/>
                    <a:gd name="connsiteX912" fmla="*/ 1512592 w 2617696"/>
                    <a:gd name="connsiteY912" fmla="*/ 358588 h 1576253"/>
                    <a:gd name="connsiteX913" fmla="*/ 1530521 w 2617696"/>
                    <a:gd name="connsiteY913" fmla="*/ 360218 h 1576253"/>
                    <a:gd name="connsiteX914" fmla="*/ 1537041 w 2617696"/>
                    <a:gd name="connsiteY914" fmla="*/ 358588 h 1576253"/>
                    <a:gd name="connsiteX915" fmla="*/ 1553340 w 2617696"/>
                    <a:gd name="connsiteY915" fmla="*/ 348808 h 1576253"/>
                    <a:gd name="connsiteX916" fmla="*/ 1559860 w 2617696"/>
                    <a:gd name="connsiteY916" fmla="*/ 340658 h 1576253"/>
                    <a:gd name="connsiteX917" fmla="*/ 1563120 w 2617696"/>
                    <a:gd name="connsiteY917" fmla="*/ 335769 h 1576253"/>
                    <a:gd name="connsiteX918" fmla="*/ 1574530 w 2617696"/>
                    <a:gd name="connsiteY918" fmla="*/ 327619 h 1576253"/>
                    <a:gd name="connsiteX919" fmla="*/ 1581050 w 2617696"/>
                    <a:gd name="connsiteY919" fmla="*/ 322729 h 1576253"/>
                    <a:gd name="connsiteX920" fmla="*/ 1584309 w 2617696"/>
                    <a:gd name="connsiteY920" fmla="*/ 317839 h 1576253"/>
                    <a:gd name="connsiteX921" fmla="*/ 1602239 w 2617696"/>
                    <a:gd name="connsiteY921" fmla="*/ 316209 h 1576253"/>
                    <a:gd name="connsiteX922" fmla="*/ 1608759 w 2617696"/>
                    <a:gd name="connsiteY922" fmla="*/ 306430 h 1576253"/>
                    <a:gd name="connsiteX923" fmla="*/ 1613648 w 2617696"/>
                    <a:gd name="connsiteY923" fmla="*/ 304800 h 1576253"/>
                    <a:gd name="connsiteX924" fmla="*/ 1618538 w 2617696"/>
                    <a:gd name="connsiteY924" fmla="*/ 306430 h 1576253"/>
                    <a:gd name="connsiteX925" fmla="*/ 1629948 w 2617696"/>
                    <a:gd name="connsiteY925" fmla="*/ 298280 h 1576253"/>
                    <a:gd name="connsiteX926" fmla="*/ 1641358 w 2617696"/>
                    <a:gd name="connsiteY926" fmla="*/ 295020 h 1576253"/>
                    <a:gd name="connsiteX927" fmla="*/ 1646247 w 2617696"/>
                    <a:gd name="connsiteY927" fmla="*/ 293390 h 1576253"/>
                    <a:gd name="connsiteX928" fmla="*/ 1656027 w 2617696"/>
                    <a:gd name="connsiteY928" fmla="*/ 280350 h 1576253"/>
                    <a:gd name="connsiteX929" fmla="*/ 1659287 w 2617696"/>
                    <a:gd name="connsiteY929" fmla="*/ 272201 h 1576253"/>
                    <a:gd name="connsiteX930" fmla="*/ 1688626 w 2617696"/>
                    <a:gd name="connsiteY930" fmla="*/ 273831 h 1576253"/>
                    <a:gd name="connsiteX931" fmla="*/ 1690256 w 2617696"/>
                    <a:gd name="connsiteY931" fmla="*/ 280350 h 1576253"/>
                    <a:gd name="connsiteX932" fmla="*/ 1693516 w 2617696"/>
                    <a:gd name="connsiteY932" fmla="*/ 285240 h 1576253"/>
                    <a:gd name="connsiteX933" fmla="*/ 1698406 w 2617696"/>
                    <a:gd name="connsiteY933" fmla="*/ 283610 h 1576253"/>
                    <a:gd name="connsiteX934" fmla="*/ 1708185 w 2617696"/>
                    <a:gd name="connsiteY934" fmla="*/ 278720 h 1576253"/>
                    <a:gd name="connsiteX935" fmla="*/ 1763604 w 2617696"/>
                    <a:gd name="connsiteY935" fmla="*/ 273831 h 1576253"/>
                    <a:gd name="connsiteX936" fmla="*/ 1765234 w 2617696"/>
                    <a:gd name="connsiteY936" fmla="*/ 268941 h 1576253"/>
                    <a:gd name="connsiteX937" fmla="*/ 1768493 w 2617696"/>
                    <a:gd name="connsiteY937" fmla="*/ 262421 h 1576253"/>
                    <a:gd name="connsiteX938" fmla="*/ 1776643 w 2617696"/>
                    <a:gd name="connsiteY938" fmla="*/ 259161 h 1576253"/>
                    <a:gd name="connsiteX939" fmla="*/ 1781533 w 2617696"/>
                    <a:gd name="connsiteY939" fmla="*/ 254271 h 1576253"/>
                    <a:gd name="connsiteX940" fmla="*/ 1788053 w 2617696"/>
                    <a:gd name="connsiteY940" fmla="*/ 249381 h 1576253"/>
                    <a:gd name="connsiteX941" fmla="*/ 1796202 w 2617696"/>
                    <a:gd name="connsiteY941" fmla="*/ 244492 h 1576253"/>
                    <a:gd name="connsiteX942" fmla="*/ 1797832 w 2617696"/>
                    <a:gd name="connsiteY942" fmla="*/ 233082 h 1576253"/>
                    <a:gd name="connsiteX943" fmla="*/ 1805982 w 2617696"/>
                    <a:gd name="connsiteY943" fmla="*/ 228192 h 1576253"/>
                    <a:gd name="connsiteX944" fmla="*/ 1815762 w 2617696"/>
                    <a:gd name="connsiteY944" fmla="*/ 205373 h 1576253"/>
                    <a:gd name="connsiteX945" fmla="*/ 1822282 w 2617696"/>
                    <a:gd name="connsiteY945" fmla="*/ 200483 h 1576253"/>
                    <a:gd name="connsiteX946" fmla="*/ 1833691 w 2617696"/>
                    <a:gd name="connsiteY946" fmla="*/ 190703 h 1576253"/>
                    <a:gd name="connsiteX947" fmla="*/ 1835321 w 2617696"/>
                    <a:gd name="connsiteY947" fmla="*/ 184184 h 1576253"/>
                    <a:gd name="connsiteX948" fmla="*/ 1841841 w 2617696"/>
                    <a:gd name="connsiteY948" fmla="*/ 174404 h 1576253"/>
                    <a:gd name="connsiteX949" fmla="*/ 1846731 w 2617696"/>
                    <a:gd name="connsiteY949" fmla="*/ 171144 h 1576253"/>
                    <a:gd name="connsiteX950" fmla="*/ 1851621 w 2617696"/>
                    <a:gd name="connsiteY950" fmla="*/ 166254 h 1576253"/>
                    <a:gd name="connsiteX951" fmla="*/ 1858140 w 2617696"/>
                    <a:gd name="connsiteY951" fmla="*/ 162994 h 1576253"/>
                    <a:gd name="connsiteX952" fmla="*/ 1863030 w 2617696"/>
                    <a:gd name="connsiteY952" fmla="*/ 161364 h 1576253"/>
                    <a:gd name="connsiteX953" fmla="*/ 1864660 w 2617696"/>
                    <a:gd name="connsiteY953" fmla="*/ 154845 h 1576253"/>
                    <a:gd name="connsiteX954" fmla="*/ 1869550 w 2617696"/>
                    <a:gd name="connsiteY954" fmla="*/ 148325 h 1576253"/>
                    <a:gd name="connsiteX955" fmla="*/ 1874440 w 2617696"/>
                    <a:gd name="connsiteY955" fmla="*/ 143435 h 1576253"/>
                    <a:gd name="connsiteX956" fmla="*/ 1876070 w 2617696"/>
                    <a:gd name="connsiteY956" fmla="*/ 135285 h 1576253"/>
                    <a:gd name="connsiteX957" fmla="*/ 1880960 w 2617696"/>
                    <a:gd name="connsiteY957" fmla="*/ 130395 h 1576253"/>
                    <a:gd name="connsiteX958" fmla="*/ 1884220 w 2617696"/>
                    <a:gd name="connsiteY958" fmla="*/ 125506 h 1576253"/>
                    <a:gd name="connsiteX959" fmla="*/ 1889109 w 2617696"/>
                    <a:gd name="connsiteY959" fmla="*/ 122246 h 1576253"/>
                    <a:gd name="connsiteX960" fmla="*/ 1892369 w 2617696"/>
                    <a:gd name="connsiteY960" fmla="*/ 110836 h 1576253"/>
                    <a:gd name="connsiteX961" fmla="*/ 1893999 w 2617696"/>
                    <a:gd name="connsiteY961" fmla="*/ 105946 h 1576253"/>
                    <a:gd name="connsiteX962" fmla="*/ 1905409 w 2617696"/>
                    <a:gd name="connsiteY962" fmla="*/ 91277 h 1576253"/>
                    <a:gd name="connsiteX963" fmla="*/ 1908669 w 2617696"/>
                    <a:gd name="connsiteY963" fmla="*/ 86387 h 1576253"/>
                    <a:gd name="connsiteX964" fmla="*/ 1916819 w 2617696"/>
                    <a:gd name="connsiteY964" fmla="*/ 83127 h 1576253"/>
                    <a:gd name="connsiteX965" fmla="*/ 1924968 w 2617696"/>
                    <a:gd name="connsiteY965" fmla="*/ 92907 h 1576253"/>
                    <a:gd name="connsiteX966" fmla="*/ 1936378 w 2617696"/>
                    <a:gd name="connsiteY966" fmla="*/ 97796 h 1576253"/>
                    <a:gd name="connsiteX967" fmla="*/ 1947788 w 2617696"/>
                    <a:gd name="connsiteY967" fmla="*/ 83127 h 1576253"/>
                    <a:gd name="connsiteX968" fmla="*/ 1951047 w 2617696"/>
                    <a:gd name="connsiteY968" fmla="*/ 73347 h 1576253"/>
                    <a:gd name="connsiteX969" fmla="*/ 1965717 w 2617696"/>
                    <a:gd name="connsiteY969" fmla="*/ 70087 h 1576253"/>
                    <a:gd name="connsiteX970" fmla="*/ 1970607 w 2617696"/>
                    <a:gd name="connsiteY970" fmla="*/ 68457 h 1576253"/>
                    <a:gd name="connsiteX971" fmla="*/ 1978756 w 2617696"/>
                    <a:gd name="connsiteY971" fmla="*/ 63568 h 1576253"/>
                    <a:gd name="connsiteX972" fmla="*/ 1985276 w 2617696"/>
                    <a:gd name="connsiteY972" fmla="*/ 61938 h 1576253"/>
                    <a:gd name="connsiteX973" fmla="*/ 1990166 w 2617696"/>
                    <a:gd name="connsiteY973" fmla="*/ 58678 h 1576253"/>
                    <a:gd name="connsiteX974" fmla="*/ 1995056 w 2617696"/>
                    <a:gd name="connsiteY974" fmla="*/ 60308 h 1576253"/>
                    <a:gd name="connsiteX975" fmla="*/ 2008096 w 2617696"/>
                    <a:gd name="connsiteY975" fmla="*/ 61938 h 1576253"/>
                    <a:gd name="connsiteX976" fmla="*/ 2016245 w 2617696"/>
                    <a:gd name="connsiteY976" fmla="*/ 50528 h 1576253"/>
                    <a:gd name="connsiteX977" fmla="*/ 2026025 w 2617696"/>
                    <a:gd name="connsiteY977" fmla="*/ 35858 h 1576253"/>
                    <a:gd name="connsiteX978" fmla="*/ 2021135 w 2617696"/>
                    <a:gd name="connsiteY978" fmla="*/ 32599 h 1576253"/>
                    <a:gd name="connsiteX979" fmla="*/ 2017875 w 2617696"/>
                    <a:gd name="connsiteY979" fmla="*/ 27709 h 1576253"/>
                    <a:gd name="connsiteX980" fmla="*/ 2021135 w 2617696"/>
                    <a:gd name="connsiteY980" fmla="*/ 21189 h 1576253"/>
                    <a:gd name="connsiteX981" fmla="*/ 2032545 w 2617696"/>
                    <a:gd name="connsiteY981" fmla="*/ 11409 h 1576253"/>
                    <a:gd name="connsiteX982" fmla="*/ 2042324 w 2617696"/>
                    <a:gd name="connsiteY982" fmla="*/ 8149 h 1576253"/>
                    <a:gd name="connsiteX983" fmla="*/ 2045584 w 2617696"/>
                    <a:gd name="connsiteY983" fmla="*/ 3260 h 1576253"/>
                    <a:gd name="connsiteX984" fmla="*/ 2052104 w 2617696"/>
                    <a:gd name="connsiteY984" fmla="*/ 1630 h 1576253"/>
                    <a:gd name="connsiteX985" fmla="*/ 2056994 w 2617696"/>
                    <a:gd name="connsiteY985" fmla="*/ 0 h 1576253"/>
                    <a:gd name="connsiteX0" fmla="*/ 361849 w 2617696"/>
                    <a:gd name="connsiteY0" fmla="*/ 1512590 h 1576253"/>
                    <a:gd name="connsiteX1" fmla="*/ 362167 w 2617696"/>
                    <a:gd name="connsiteY1" fmla="*/ 1513862 h 1576253"/>
                    <a:gd name="connsiteX2" fmla="*/ 361350 w 2617696"/>
                    <a:gd name="connsiteY2" fmla="*/ 1514089 h 1576253"/>
                    <a:gd name="connsiteX3" fmla="*/ 361849 w 2617696"/>
                    <a:gd name="connsiteY3" fmla="*/ 1512590 h 1576253"/>
                    <a:gd name="connsiteX4" fmla="*/ 332510 w 2617696"/>
                    <a:gd name="connsiteY4" fmla="*/ 1510960 h 1576253"/>
                    <a:gd name="connsiteX5" fmla="*/ 337399 w 2617696"/>
                    <a:gd name="connsiteY5" fmla="*/ 1512590 h 1576253"/>
                    <a:gd name="connsiteX6" fmla="*/ 353431 w 2617696"/>
                    <a:gd name="connsiteY6" fmla="*/ 1516291 h 1576253"/>
                    <a:gd name="connsiteX7" fmla="*/ 361350 w 2617696"/>
                    <a:gd name="connsiteY7" fmla="*/ 1514089 h 1576253"/>
                    <a:gd name="connsiteX8" fmla="*/ 360219 w 2617696"/>
                    <a:gd name="connsiteY8" fmla="*/ 1517480 h 1576253"/>
                    <a:gd name="connsiteX9" fmla="*/ 337399 w 2617696"/>
                    <a:gd name="connsiteY9" fmla="*/ 1524000 h 1576253"/>
                    <a:gd name="connsiteX10" fmla="*/ 327620 w 2617696"/>
                    <a:gd name="connsiteY10" fmla="*/ 1528889 h 1576253"/>
                    <a:gd name="connsiteX11" fmla="*/ 325990 w 2617696"/>
                    <a:gd name="connsiteY11" fmla="*/ 1533779 h 1576253"/>
                    <a:gd name="connsiteX12" fmla="*/ 319470 w 2617696"/>
                    <a:gd name="connsiteY12" fmla="*/ 1540299 h 1576253"/>
                    <a:gd name="connsiteX13" fmla="*/ 312950 w 2617696"/>
                    <a:gd name="connsiteY13" fmla="*/ 1545189 h 1576253"/>
                    <a:gd name="connsiteX14" fmla="*/ 311320 w 2617696"/>
                    <a:gd name="connsiteY14" fmla="*/ 1556599 h 1576253"/>
                    <a:gd name="connsiteX15" fmla="*/ 304800 w 2617696"/>
                    <a:gd name="connsiteY15" fmla="*/ 1558228 h 1576253"/>
                    <a:gd name="connsiteX16" fmla="*/ 285241 w 2617696"/>
                    <a:gd name="connsiteY16" fmla="*/ 1556599 h 1576253"/>
                    <a:gd name="connsiteX17" fmla="*/ 273831 w 2617696"/>
                    <a:gd name="connsiteY17" fmla="*/ 1563118 h 1576253"/>
                    <a:gd name="connsiteX18" fmla="*/ 267312 w 2617696"/>
                    <a:gd name="connsiteY18" fmla="*/ 1558228 h 1576253"/>
                    <a:gd name="connsiteX19" fmla="*/ 277091 w 2617696"/>
                    <a:gd name="connsiteY19" fmla="*/ 1543559 h 1576253"/>
                    <a:gd name="connsiteX20" fmla="*/ 281981 w 2617696"/>
                    <a:gd name="connsiteY20" fmla="*/ 1538669 h 1576253"/>
                    <a:gd name="connsiteX21" fmla="*/ 291761 w 2617696"/>
                    <a:gd name="connsiteY21" fmla="*/ 1527260 h 1576253"/>
                    <a:gd name="connsiteX22" fmla="*/ 303170 w 2617696"/>
                    <a:gd name="connsiteY22" fmla="*/ 1528889 h 1576253"/>
                    <a:gd name="connsiteX23" fmla="*/ 308060 w 2617696"/>
                    <a:gd name="connsiteY23" fmla="*/ 1525630 h 1576253"/>
                    <a:gd name="connsiteX24" fmla="*/ 312950 w 2617696"/>
                    <a:gd name="connsiteY24" fmla="*/ 1524000 h 1576253"/>
                    <a:gd name="connsiteX25" fmla="*/ 319470 w 2617696"/>
                    <a:gd name="connsiteY25" fmla="*/ 1520740 h 1576253"/>
                    <a:gd name="connsiteX26" fmla="*/ 324360 w 2617696"/>
                    <a:gd name="connsiteY26" fmla="*/ 1517480 h 1576253"/>
                    <a:gd name="connsiteX27" fmla="*/ 332510 w 2617696"/>
                    <a:gd name="connsiteY27" fmla="*/ 1510960 h 1576253"/>
                    <a:gd name="connsiteX28" fmla="*/ 2056994 w 2617696"/>
                    <a:gd name="connsiteY28" fmla="*/ 0 h 1576253"/>
                    <a:gd name="connsiteX29" fmla="*/ 2078183 w 2617696"/>
                    <a:gd name="connsiteY29" fmla="*/ 4889 h 1576253"/>
                    <a:gd name="connsiteX30" fmla="*/ 2081443 w 2617696"/>
                    <a:gd name="connsiteY30" fmla="*/ 21189 h 1576253"/>
                    <a:gd name="connsiteX31" fmla="*/ 2089593 w 2617696"/>
                    <a:gd name="connsiteY31" fmla="*/ 32599 h 1576253"/>
                    <a:gd name="connsiteX32" fmla="*/ 2097743 w 2617696"/>
                    <a:gd name="connsiteY32" fmla="*/ 34228 h 1576253"/>
                    <a:gd name="connsiteX33" fmla="*/ 2127082 w 2617696"/>
                    <a:gd name="connsiteY33" fmla="*/ 37488 h 1576253"/>
                    <a:gd name="connsiteX34" fmla="*/ 2133601 w 2617696"/>
                    <a:gd name="connsiteY34" fmla="*/ 35858 h 1576253"/>
                    <a:gd name="connsiteX35" fmla="*/ 2138491 w 2617696"/>
                    <a:gd name="connsiteY35" fmla="*/ 34228 h 1576253"/>
                    <a:gd name="connsiteX36" fmla="*/ 2159681 w 2617696"/>
                    <a:gd name="connsiteY36" fmla="*/ 32599 h 1576253"/>
                    <a:gd name="connsiteX37" fmla="*/ 2162940 w 2617696"/>
                    <a:gd name="connsiteY37" fmla="*/ 44008 h 1576253"/>
                    <a:gd name="connsiteX38" fmla="*/ 2164570 w 2617696"/>
                    <a:gd name="connsiteY38" fmla="*/ 48898 h 1576253"/>
                    <a:gd name="connsiteX39" fmla="*/ 2174350 w 2617696"/>
                    <a:gd name="connsiteY39" fmla="*/ 47268 h 1576253"/>
                    <a:gd name="connsiteX40" fmla="*/ 2187390 w 2617696"/>
                    <a:gd name="connsiteY40" fmla="*/ 57048 h 1576253"/>
                    <a:gd name="connsiteX41" fmla="*/ 2189020 w 2617696"/>
                    <a:gd name="connsiteY41" fmla="*/ 63568 h 1576253"/>
                    <a:gd name="connsiteX42" fmla="*/ 2195539 w 2617696"/>
                    <a:gd name="connsiteY42" fmla="*/ 65197 h 1576253"/>
                    <a:gd name="connsiteX43" fmla="*/ 2200429 w 2617696"/>
                    <a:gd name="connsiteY43" fmla="*/ 68457 h 1576253"/>
                    <a:gd name="connsiteX44" fmla="*/ 2216729 w 2617696"/>
                    <a:gd name="connsiteY44" fmla="*/ 76607 h 1576253"/>
                    <a:gd name="connsiteX45" fmla="*/ 2224878 w 2617696"/>
                    <a:gd name="connsiteY45" fmla="*/ 84757 h 1576253"/>
                    <a:gd name="connsiteX46" fmla="*/ 2229768 w 2617696"/>
                    <a:gd name="connsiteY46" fmla="*/ 88017 h 1576253"/>
                    <a:gd name="connsiteX47" fmla="*/ 2234658 w 2617696"/>
                    <a:gd name="connsiteY47" fmla="*/ 89647 h 1576253"/>
                    <a:gd name="connsiteX48" fmla="*/ 2236288 w 2617696"/>
                    <a:gd name="connsiteY48" fmla="*/ 104316 h 1576253"/>
                    <a:gd name="connsiteX49" fmla="*/ 2237918 w 2617696"/>
                    <a:gd name="connsiteY49" fmla="*/ 109206 h 1576253"/>
                    <a:gd name="connsiteX50" fmla="*/ 2241178 w 2617696"/>
                    <a:gd name="connsiteY50" fmla="*/ 114096 h 1576253"/>
                    <a:gd name="connsiteX51" fmla="*/ 2242808 w 2617696"/>
                    <a:gd name="connsiteY51" fmla="*/ 122246 h 1576253"/>
                    <a:gd name="connsiteX52" fmla="*/ 2246068 w 2617696"/>
                    <a:gd name="connsiteY52" fmla="*/ 127135 h 1576253"/>
                    <a:gd name="connsiteX53" fmla="*/ 2242808 w 2617696"/>
                    <a:gd name="connsiteY53" fmla="*/ 132025 h 1576253"/>
                    <a:gd name="connsiteX54" fmla="*/ 2237918 w 2617696"/>
                    <a:gd name="connsiteY54" fmla="*/ 135285 h 1576253"/>
                    <a:gd name="connsiteX55" fmla="*/ 2226508 w 2617696"/>
                    <a:gd name="connsiteY55" fmla="*/ 140175 h 1576253"/>
                    <a:gd name="connsiteX56" fmla="*/ 2218359 w 2617696"/>
                    <a:gd name="connsiteY56" fmla="*/ 148325 h 1576253"/>
                    <a:gd name="connsiteX57" fmla="*/ 2223248 w 2617696"/>
                    <a:gd name="connsiteY57" fmla="*/ 151585 h 1576253"/>
                    <a:gd name="connsiteX58" fmla="*/ 2234658 w 2617696"/>
                    <a:gd name="connsiteY58" fmla="*/ 158104 h 1576253"/>
                    <a:gd name="connsiteX59" fmla="*/ 2233028 w 2617696"/>
                    <a:gd name="connsiteY59" fmla="*/ 162994 h 1576253"/>
                    <a:gd name="connsiteX60" fmla="*/ 2241178 w 2617696"/>
                    <a:gd name="connsiteY60" fmla="*/ 167884 h 1576253"/>
                    <a:gd name="connsiteX61" fmla="*/ 2260737 w 2617696"/>
                    <a:gd name="connsiteY61" fmla="*/ 171144 h 1576253"/>
                    <a:gd name="connsiteX62" fmla="*/ 2262367 w 2617696"/>
                    <a:gd name="connsiteY62" fmla="*/ 180924 h 1576253"/>
                    <a:gd name="connsiteX63" fmla="*/ 2255847 w 2617696"/>
                    <a:gd name="connsiteY63" fmla="*/ 185814 h 1576253"/>
                    <a:gd name="connsiteX64" fmla="*/ 2283556 w 2617696"/>
                    <a:gd name="connsiteY64" fmla="*/ 192333 h 1576253"/>
                    <a:gd name="connsiteX65" fmla="*/ 2319415 w 2617696"/>
                    <a:gd name="connsiteY65" fmla="*/ 185814 h 1576253"/>
                    <a:gd name="connsiteX66" fmla="*/ 2327565 w 2617696"/>
                    <a:gd name="connsiteY66" fmla="*/ 179294 h 1576253"/>
                    <a:gd name="connsiteX67" fmla="*/ 2334085 w 2617696"/>
                    <a:gd name="connsiteY67" fmla="*/ 167884 h 1576253"/>
                    <a:gd name="connsiteX68" fmla="*/ 2345494 w 2617696"/>
                    <a:gd name="connsiteY68" fmla="*/ 164624 h 1576253"/>
                    <a:gd name="connsiteX69" fmla="*/ 2352014 w 2617696"/>
                    <a:gd name="connsiteY69" fmla="*/ 166254 h 1576253"/>
                    <a:gd name="connsiteX70" fmla="*/ 2365054 w 2617696"/>
                    <a:gd name="connsiteY70" fmla="*/ 172774 h 1576253"/>
                    <a:gd name="connsiteX71" fmla="*/ 2371574 w 2617696"/>
                    <a:gd name="connsiteY71" fmla="*/ 182554 h 1576253"/>
                    <a:gd name="connsiteX72" fmla="*/ 2392763 w 2617696"/>
                    <a:gd name="connsiteY72" fmla="*/ 185814 h 1576253"/>
                    <a:gd name="connsiteX73" fmla="*/ 2407432 w 2617696"/>
                    <a:gd name="connsiteY73" fmla="*/ 195593 h 1576253"/>
                    <a:gd name="connsiteX74" fmla="*/ 2417212 w 2617696"/>
                    <a:gd name="connsiteY74" fmla="*/ 202113 h 1576253"/>
                    <a:gd name="connsiteX75" fmla="*/ 2422102 w 2617696"/>
                    <a:gd name="connsiteY75" fmla="*/ 205373 h 1576253"/>
                    <a:gd name="connsiteX76" fmla="*/ 2423732 w 2617696"/>
                    <a:gd name="connsiteY76" fmla="*/ 210263 h 1576253"/>
                    <a:gd name="connsiteX77" fmla="*/ 2404173 w 2617696"/>
                    <a:gd name="connsiteY77" fmla="*/ 207003 h 1576253"/>
                    <a:gd name="connsiteX78" fmla="*/ 2399283 w 2617696"/>
                    <a:gd name="connsiteY78" fmla="*/ 208633 h 1576253"/>
                    <a:gd name="connsiteX79" fmla="*/ 2396023 w 2617696"/>
                    <a:gd name="connsiteY79" fmla="*/ 223302 h 1576253"/>
                    <a:gd name="connsiteX80" fmla="*/ 2399283 w 2617696"/>
                    <a:gd name="connsiteY80" fmla="*/ 236342 h 1576253"/>
                    <a:gd name="connsiteX81" fmla="*/ 2400913 w 2617696"/>
                    <a:gd name="connsiteY81" fmla="*/ 244492 h 1576253"/>
                    <a:gd name="connsiteX82" fmla="*/ 2404173 w 2617696"/>
                    <a:gd name="connsiteY82" fmla="*/ 251011 h 1576253"/>
                    <a:gd name="connsiteX83" fmla="*/ 2407432 w 2617696"/>
                    <a:gd name="connsiteY83" fmla="*/ 255901 h 1576253"/>
                    <a:gd name="connsiteX84" fmla="*/ 2410692 w 2617696"/>
                    <a:gd name="connsiteY84" fmla="*/ 267311 h 1576253"/>
                    <a:gd name="connsiteX85" fmla="*/ 2405802 w 2617696"/>
                    <a:gd name="connsiteY85" fmla="*/ 270571 h 1576253"/>
                    <a:gd name="connsiteX86" fmla="*/ 2404173 w 2617696"/>
                    <a:gd name="connsiteY86" fmla="*/ 277091 h 1576253"/>
                    <a:gd name="connsiteX87" fmla="*/ 2399283 w 2617696"/>
                    <a:gd name="connsiteY87" fmla="*/ 283610 h 1576253"/>
                    <a:gd name="connsiteX88" fmla="*/ 2379723 w 2617696"/>
                    <a:gd name="connsiteY88" fmla="*/ 285240 h 1576253"/>
                    <a:gd name="connsiteX89" fmla="*/ 2366684 w 2617696"/>
                    <a:gd name="connsiteY89" fmla="*/ 281980 h 1576253"/>
                    <a:gd name="connsiteX90" fmla="*/ 2361794 w 2617696"/>
                    <a:gd name="connsiteY90" fmla="*/ 285240 h 1576253"/>
                    <a:gd name="connsiteX91" fmla="*/ 2363424 w 2617696"/>
                    <a:gd name="connsiteY91" fmla="*/ 295020 h 1576253"/>
                    <a:gd name="connsiteX92" fmla="*/ 2365054 w 2617696"/>
                    <a:gd name="connsiteY92" fmla="*/ 301540 h 1576253"/>
                    <a:gd name="connsiteX93" fmla="*/ 2376463 w 2617696"/>
                    <a:gd name="connsiteY93" fmla="*/ 308060 h 1576253"/>
                    <a:gd name="connsiteX94" fmla="*/ 2378093 w 2617696"/>
                    <a:gd name="connsiteY94" fmla="*/ 312949 h 1576253"/>
                    <a:gd name="connsiteX95" fmla="*/ 2381353 w 2617696"/>
                    <a:gd name="connsiteY95" fmla="*/ 319469 h 1576253"/>
                    <a:gd name="connsiteX96" fmla="*/ 2392763 w 2617696"/>
                    <a:gd name="connsiteY96" fmla="*/ 334139 h 1576253"/>
                    <a:gd name="connsiteX97" fmla="*/ 2397653 w 2617696"/>
                    <a:gd name="connsiteY97" fmla="*/ 355328 h 1576253"/>
                    <a:gd name="connsiteX98" fmla="*/ 2412322 w 2617696"/>
                    <a:gd name="connsiteY98" fmla="*/ 358588 h 1576253"/>
                    <a:gd name="connsiteX99" fmla="*/ 2422102 w 2617696"/>
                    <a:gd name="connsiteY99" fmla="*/ 360218 h 1576253"/>
                    <a:gd name="connsiteX100" fmla="*/ 2428622 w 2617696"/>
                    <a:gd name="connsiteY100" fmla="*/ 363478 h 1576253"/>
                    <a:gd name="connsiteX101" fmla="*/ 2436771 w 2617696"/>
                    <a:gd name="connsiteY101" fmla="*/ 365108 h 1576253"/>
                    <a:gd name="connsiteX102" fmla="*/ 2438401 w 2617696"/>
                    <a:gd name="connsiteY102" fmla="*/ 384667 h 1576253"/>
                    <a:gd name="connsiteX103" fmla="*/ 2440031 w 2617696"/>
                    <a:gd name="connsiteY103" fmla="*/ 389557 h 1576253"/>
                    <a:gd name="connsiteX104" fmla="*/ 2449811 w 2617696"/>
                    <a:gd name="connsiteY104" fmla="*/ 399337 h 1576253"/>
                    <a:gd name="connsiteX105" fmla="*/ 2453071 w 2617696"/>
                    <a:gd name="connsiteY105" fmla="*/ 409116 h 1576253"/>
                    <a:gd name="connsiteX106" fmla="*/ 2454701 w 2617696"/>
                    <a:gd name="connsiteY106" fmla="*/ 415636 h 1576253"/>
                    <a:gd name="connsiteX107" fmla="*/ 2459591 w 2617696"/>
                    <a:gd name="connsiteY107" fmla="*/ 438455 h 1576253"/>
                    <a:gd name="connsiteX108" fmla="*/ 2487300 w 2617696"/>
                    <a:gd name="connsiteY108" fmla="*/ 440085 h 1576253"/>
                    <a:gd name="connsiteX109" fmla="*/ 2492190 w 2617696"/>
                    <a:gd name="connsiteY109" fmla="*/ 441715 h 1576253"/>
                    <a:gd name="connsiteX110" fmla="*/ 2493820 w 2617696"/>
                    <a:gd name="connsiteY110" fmla="*/ 451495 h 1576253"/>
                    <a:gd name="connsiteX111" fmla="*/ 2490560 w 2617696"/>
                    <a:gd name="connsiteY111" fmla="*/ 466164 h 1576253"/>
                    <a:gd name="connsiteX112" fmla="*/ 2487300 w 2617696"/>
                    <a:gd name="connsiteY112" fmla="*/ 471054 h 1576253"/>
                    <a:gd name="connsiteX113" fmla="*/ 2492190 w 2617696"/>
                    <a:gd name="connsiteY113" fmla="*/ 475944 h 1576253"/>
                    <a:gd name="connsiteX114" fmla="*/ 2493820 w 2617696"/>
                    <a:gd name="connsiteY114" fmla="*/ 482464 h 1576253"/>
                    <a:gd name="connsiteX115" fmla="*/ 2495450 w 2617696"/>
                    <a:gd name="connsiteY115" fmla="*/ 492243 h 1576253"/>
                    <a:gd name="connsiteX116" fmla="*/ 2493820 w 2617696"/>
                    <a:gd name="connsiteY116" fmla="*/ 497133 h 1576253"/>
                    <a:gd name="connsiteX117" fmla="*/ 2492190 w 2617696"/>
                    <a:gd name="connsiteY117" fmla="*/ 508543 h 1576253"/>
                    <a:gd name="connsiteX118" fmla="*/ 2485670 w 2617696"/>
                    <a:gd name="connsiteY118" fmla="*/ 519953 h 1576253"/>
                    <a:gd name="connsiteX119" fmla="*/ 2482410 w 2617696"/>
                    <a:gd name="connsiteY119" fmla="*/ 526472 h 1576253"/>
                    <a:gd name="connsiteX120" fmla="*/ 2484040 w 2617696"/>
                    <a:gd name="connsiteY120" fmla="*/ 531362 h 1576253"/>
                    <a:gd name="connsiteX121" fmla="*/ 2495450 w 2617696"/>
                    <a:gd name="connsiteY121" fmla="*/ 529732 h 1576253"/>
                    <a:gd name="connsiteX122" fmla="*/ 2501969 w 2617696"/>
                    <a:gd name="connsiteY122" fmla="*/ 528102 h 1576253"/>
                    <a:gd name="connsiteX123" fmla="*/ 2506859 w 2617696"/>
                    <a:gd name="connsiteY123" fmla="*/ 526472 h 1576253"/>
                    <a:gd name="connsiteX124" fmla="*/ 2516639 w 2617696"/>
                    <a:gd name="connsiteY124" fmla="*/ 524842 h 1576253"/>
                    <a:gd name="connsiteX125" fmla="*/ 2518269 w 2617696"/>
                    <a:gd name="connsiteY125" fmla="*/ 534622 h 1576253"/>
                    <a:gd name="connsiteX126" fmla="*/ 2523159 w 2617696"/>
                    <a:gd name="connsiteY126" fmla="*/ 532992 h 1576253"/>
                    <a:gd name="connsiteX127" fmla="*/ 2539458 w 2617696"/>
                    <a:gd name="connsiteY127" fmla="*/ 531362 h 1576253"/>
                    <a:gd name="connsiteX128" fmla="*/ 2545978 w 2617696"/>
                    <a:gd name="connsiteY128" fmla="*/ 532992 h 1576253"/>
                    <a:gd name="connsiteX129" fmla="*/ 2550868 w 2617696"/>
                    <a:gd name="connsiteY129" fmla="*/ 549292 h 1576253"/>
                    <a:gd name="connsiteX130" fmla="*/ 2552498 w 2617696"/>
                    <a:gd name="connsiteY130" fmla="*/ 555811 h 1576253"/>
                    <a:gd name="connsiteX131" fmla="*/ 2563907 w 2617696"/>
                    <a:gd name="connsiteY131" fmla="*/ 562331 h 1576253"/>
                    <a:gd name="connsiteX132" fmla="*/ 2562277 w 2617696"/>
                    <a:gd name="connsiteY132" fmla="*/ 572111 h 1576253"/>
                    <a:gd name="connsiteX133" fmla="*/ 2567167 w 2617696"/>
                    <a:gd name="connsiteY133" fmla="*/ 573741 h 1576253"/>
                    <a:gd name="connsiteX134" fmla="*/ 2573687 w 2617696"/>
                    <a:gd name="connsiteY134" fmla="*/ 577001 h 1576253"/>
                    <a:gd name="connsiteX135" fmla="*/ 2589986 w 2617696"/>
                    <a:gd name="connsiteY135" fmla="*/ 581891 h 1576253"/>
                    <a:gd name="connsiteX136" fmla="*/ 2594876 w 2617696"/>
                    <a:gd name="connsiteY136" fmla="*/ 583520 h 1576253"/>
                    <a:gd name="connsiteX137" fmla="*/ 2599766 w 2617696"/>
                    <a:gd name="connsiteY137" fmla="*/ 586780 h 1576253"/>
                    <a:gd name="connsiteX138" fmla="*/ 2604656 w 2617696"/>
                    <a:gd name="connsiteY138" fmla="*/ 588410 h 1576253"/>
                    <a:gd name="connsiteX139" fmla="*/ 2609546 w 2617696"/>
                    <a:gd name="connsiteY139" fmla="*/ 609600 h 1576253"/>
                    <a:gd name="connsiteX140" fmla="*/ 2611176 w 2617696"/>
                    <a:gd name="connsiteY140" fmla="*/ 614489 h 1576253"/>
                    <a:gd name="connsiteX141" fmla="*/ 2617696 w 2617696"/>
                    <a:gd name="connsiteY141" fmla="*/ 621009 h 1576253"/>
                    <a:gd name="connsiteX142" fmla="*/ 2596506 w 2617696"/>
                    <a:gd name="connsiteY142" fmla="*/ 622639 h 1576253"/>
                    <a:gd name="connsiteX143" fmla="*/ 2588356 w 2617696"/>
                    <a:gd name="connsiteY143" fmla="*/ 624269 h 1576253"/>
                    <a:gd name="connsiteX144" fmla="*/ 2580207 w 2617696"/>
                    <a:gd name="connsiteY144" fmla="*/ 635679 h 1576253"/>
                    <a:gd name="connsiteX145" fmla="*/ 2578577 w 2617696"/>
                    <a:gd name="connsiteY145" fmla="*/ 647088 h 1576253"/>
                    <a:gd name="connsiteX146" fmla="*/ 2576947 w 2617696"/>
                    <a:gd name="connsiteY146" fmla="*/ 651978 h 1576253"/>
                    <a:gd name="connsiteX147" fmla="*/ 2568797 w 2617696"/>
                    <a:gd name="connsiteY147" fmla="*/ 661758 h 1576253"/>
                    <a:gd name="connsiteX148" fmla="*/ 2567167 w 2617696"/>
                    <a:gd name="connsiteY148" fmla="*/ 666648 h 1576253"/>
                    <a:gd name="connsiteX149" fmla="*/ 2562277 w 2617696"/>
                    <a:gd name="connsiteY149" fmla="*/ 668278 h 1576253"/>
                    <a:gd name="connsiteX150" fmla="*/ 2572057 w 2617696"/>
                    <a:gd name="connsiteY150" fmla="*/ 682947 h 1576253"/>
                    <a:gd name="connsiteX151" fmla="*/ 2576947 w 2617696"/>
                    <a:gd name="connsiteY151" fmla="*/ 689467 h 1576253"/>
                    <a:gd name="connsiteX152" fmla="*/ 2545978 w 2617696"/>
                    <a:gd name="connsiteY152" fmla="*/ 691097 h 1576253"/>
                    <a:gd name="connsiteX153" fmla="*/ 2539458 w 2617696"/>
                    <a:gd name="connsiteY153" fmla="*/ 686207 h 1576253"/>
                    <a:gd name="connsiteX154" fmla="*/ 2534568 w 2617696"/>
                    <a:gd name="connsiteY154" fmla="*/ 682947 h 1576253"/>
                    <a:gd name="connsiteX155" fmla="*/ 2531308 w 2617696"/>
                    <a:gd name="connsiteY155" fmla="*/ 669908 h 1576253"/>
                    <a:gd name="connsiteX156" fmla="*/ 2537828 w 2617696"/>
                    <a:gd name="connsiteY156" fmla="*/ 643828 h 1576253"/>
                    <a:gd name="connsiteX157" fmla="*/ 2534568 w 2617696"/>
                    <a:gd name="connsiteY157" fmla="*/ 637309 h 1576253"/>
                    <a:gd name="connsiteX158" fmla="*/ 2510119 w 2617696"/>
                    <a:gd name="connsiteY158" fmla="*/ 635679 h 1576253"/>
                    <a:gd name="connsiteX159" fmla="*/ 2500339 w 2617696"/>
                    <a:gd name="connsiteY159" fmla="*/ 638939 h 1576253"/>
                    <a:gd name="connsiteX160" fmla="*/ 2497079 w 2617696"/>
                    <a:gd name="connsiteY160" fmla="*/ 650348 h 1576253"/>
                    <a:gd name="connsiteX161" fmla="*/ 2493820 w 2617696"/>
                    <a:gd name="connsiteY161" fmla="*/ 674797 h 1576253"/>
                    <a:gd name="connsiteX162" fmla="*/ 2484040 w 2617696"/>
                    <a:gd name="connsiteY162" fmla="*/ 681317 h 1576253"/>
                    <a:gd name="connsiteX163" fmla="*/ 2477520 w 2617696"/>
                    <a:gd name="connsiteY163" fmla="*/ 686207 h 1576253"/>
                    <a:gd name="connsiteX164" fmla="*/ 2471000 w 2617696"/>
                    <a:gd name="connsiteY164" fmla="*/ 676427 h 1576253"/>
                    <a:gd name="connsiteX165" fmla="*/ 2466111 w 2617696"/>
                    <a:gd name="connsiteY165" fmla="*/ 674797 h 1576253"/>
                    <a:gd name="connsiteX166" fmla="*/ 2461221 w 2617696"/>
                    <a:gd name="connsiteY166" fmla="*/ 671538 h 1576253"/>
                    <a:gd name="connsiteX167" fmla="*/ 2451441 w 2617696"/>
                    <a:gd name="connsiteY167" fmla="*/ 678057 h 1576253"/>
                    <a:gd name="connsiteX168" fmla="*/ 2443291 w 2617696"/>
                    <a:gd name="connsiteY168" fmla="*/ 681317 h 1576253"/>
                    <a:gd name="connsiteX169" fmla="*/ 2438401 w 2617696"/>
                    <a:gd name="connsiteY169" fmla="*/ 678057 h 1576253"/>
                    <a:gd name="connsiteX170" fmla="*/ 2430252 w 2617696"/>
                    <a:gd name="connsiteY170" fmla="*/ 671538 h 1576253"/>
                    <a:gd name="connsiteX171" fmla="*/ 2420472 w 2617696"/>
                    <a:gd name="connsiteY171" fmla="*/ 673168 h 1576253"/>
                    <a:gd name="connsiteX172" fmla="*/ 2397653 w 2617696"/>
                    <a:gd name="connsiteY172" fmla="*/ 674797 h 1576253"/>
                    <a:gd name="connsiteX173" fmla="*/ 2391801 w 2617696"/>
                    <a:gd name="connsiteY173" fmla="*/ 676051 h 1576253"/>
                    <a:gd name="connsiteX174" fmla="*/ 2391132 w 2617696"/>
                    <a:gd name="connsiteY174" fmla="*/ 678057 h 1576253"/>
                    <a:gd name="connsiteX175" fmla="*/ 2384612 w 2617696"/>
                    <a:gd name="connsiteY175" fmla="*/ 681317 h 1576253"/>
                    <a:gd name="connsiteX176" fmla="*/ 2382982 w 2617696"/>
                    <a:gd name="connsiteY176" fmla="*/ 686207 h 1576253"/>
                    <a:gd name="connsiteX177" fmla="*/ 2369943 w 2617696"/>
                    <a:gd name="connsiteY177" fmla="*/ 702507 h 1576253"/>
                    <a:gd name="connsiteX178" fmla="*/ 2361793 w 2617696"/>
                    <a:gd name="connsiteY178" fmla="*/ 704137 h 1576253"/>
                    <a:gd name="connsiteX179" fmla="*/ 2337344 w 2617696"/>
                    <a:gd name="connsiteY179" fmla="*/ 748145 h 1576253"/>
                    <a:gd name="connsiteX180" fmla="*/ 2330824 w 2617696"/>
                    <a:gd name="connsiteY180" fmla="*/ 751405 h 1576253"/>
                    <a:gd name="connsiteX181" fmla="*/ 2322674 w 2617696"/>
                    <a:gd name="connsiteY181" fmla="*/ 754665 h 1576253"/>
                    <a:gd name="connsiteX182" fmla="*/ 2321044 w 2617696"/>
                    <a:gd name="connsiteY182" fmla="*/ 759555 h 1576253"/>
                    <a:gd name="connsiteX183" fmla="*/ 2306375 w 2617696"/>
                    <a:gd name="connsiteY183" fmla="*/ 769334 h 1576253"/>
                    <a:gd name="connsiteX184" fmla="*/ 2296595 w 2617696"/>
                    <a:gd name="connsiteY184" fmla="*/ 764445 h 1576253"/>
                    <a:gd name="connsiteX185" fmla="*/ 2298225 w 2617696"/>
                    <a:gd name="connsiteY185" fmla="*/ 759555 h 1576253"/>
                    <a:gd name="connsiteX186" fmla="*/ 2299855 w 2617696"/>
                    <a:gd name="connsiteY186" fmla="*/ 743255 h 1576253"/>
                    <a:gd name="connsiteX187" fmla="*/ 2268886 w 2617696"/>
                    <a:gd name="connsiteY187" fmla="*/ 746515 h 1576253"/>
                    <a:gd name="connsiteX188" fmla="*/ 2260736 w 2617696"/>
                    <a:gd name="connsiteY188" fmla="*/ 753035 h 1576253"/>
                    <a:gd name="connsiteX189" fmla="*/ 2254216 w 2617696"/>
                    <a:gd name="connsiteY189" fmla="*/ 759555 h 1576253"/>
                    <a:gd name="connsiteX190" fmla="*/ 2252587 w 2617696"/>
                    <a:gd name="connsiteY190" fmla="*/ 764445 h 1576253"/>
                    <a:gd name="connsiteX191" fmla="*/ 2249327 w 2617696"/>
                    <a:gd name="connsiteY191" fmla="*/ 772594 h 1576253"/>
                    <a:gd name="connsiteX192" fmla="*/ 2247697 w 2617696"/>
                    <a:gd name="connsiteY192" fmla="*/ 779114 h 1576253"/>
                    <a:gd name="connsiteX193" fmla="*/ 2244437 w 2617696"/>
                    <a:gd name="connsiteY193" fmla="*/ 788894 h 1576253"/>
                    <a:gd name="connsiteX194" fmla="*/ 2229767 w 2617696"/>
                    <a:gd name="connsiteY194" fmla="*/ 798673 h 1576253"/>
                    <a:gd name="connsiteX195" fmla="*/ 2224877 w 2617696"/>
                    <a:gd name="connsiteY195" fmla="*/ 801933 h 1576253"/>
                    <a:gd name="connsiteX196" fmla="*/ 2218358 w 2617696"/>
                    <a:gd name="connsiteY196" fmla="*/ 808453 h 1576253"/>
                    <a:gd name="connsiteX197" fmla="*/ 2210208 w 2617696"/>
                    <a:gd name="connsiteY197" fmla="*/ 816603 h 1576253"/>
                    <a:gd name="connsiteX198" fmla="*/ 2200428 w 2617696"/>
                    <a:gd name="connsiteY198" fmla="*/ 826383 h 1576253"/>
                    <a:gd name="connsiteX199" fmla="*/ 2189019 w 2617696"/>
                    <a:gd name="connsiteY199" fmla="*/ 834532 h 1576253"/>
                    <a:gd name="connsiteX200" fmla="*/ 2171089 w 2617696"/>
                    <a:gd name="connsiteY200" fmla="*/ 837792 h 1576253"/>
                    <a:gd name="connsiteX201" fmla="*/ 2166199 w 2617696"/>
                    <a:gd name="connsiteY201" fmla="*/ 841052 h 1576253"/>
                    <a:gd name="connsiteX202" fmla="*/ 2149900 w 2617696"/>
                    <a:gd name="connsiteY202" fmla="*/ 850832 h 1576253"/>
                    <a:gd name="connsiteX203" fmla="*/ 2143380 w 2617696"/>
                    <a:gd name="connsiteY203" fmla="*/ 855722 h 1576253"/>
                    <a:gd name="connsiteX204" fmla="*/ 2138490 w 2617696"/>
                    <a:gd name="connsiteY204" fmla="*/ 858981 h 1576253"/>
                    <a:gd name="connsiteX205" fmla="*/ 2135230 w 2617696"/>
                    <a:gd name="connsiteY205" fmla="*/ 863871 h 1576253"/>
                    <a:gd name="connsiteX206" fmla="*/ 2115671 w 2617696"/>
                    <a:gd name="connsiteY206" fmla="*/ 865501 h 1576253"/>
                    <a:gd name="connsiteX207" fmla="*/ 2110781 w 2617696"/>
                    <a:gd name="connsiteY207" fmla="*/ 868761 h 1576253"/>
                    <a:gd name="connsiteX208" fmla="*/ 2105891 w 2617696"/>
                    <a:gd name="connsiteY208" fmla="*/ 870391 h 1576253"/>
                    <a:gd name="connsiteX209" fmla="*/ 2096112 w 2617696"/>
                    <a:gd name="connsiteY209" fmla="*/ 873651 h 1576253"/>
                    <a:gd name="connsiteX210" fmla="*/ 2092852 w 2617696"/>
                    <a:gd name="connsiteY210" fmla="*/ 878541 h 1576253"/>
                    <a:gd name="connsiteX211" fmla="*/ 2079812 w 2617696"/>
                    <a:gd name="connsiteY211" fmla="*/ 888320 h 1576253"/>
                    <a:gd name="connsiteX212" fmla="*/ 2071662 w 2617696"/>
                    <a:gd name="connsiteY212" fmla="*/ 896470 h 1576253"/>
                    <a:gd name="connsiteX213" fmla="*/ 2066773 w 2617696"/>
                    <a:gd name="connsiteY213" fmla="*/ 899730 h 1576253"/>
                    <a:gd name="connsiteX214" fmla="*/ 2063513 w 2617696"/>
                    <a:gd name="connsiteY214" fmla="*/ 906250 h 1576253"/>
                    <a:gd name="connsiteX215" fmla="*/ 2060253 w 2617696"/>
                    <a:gd name="connsiteY215" fmla="*/ 922549 h 1576253"/>
                    <a:gd name="connsiteX216" fmla="*/ 2058623 w 2617696"/>
                    <a:gd name="connsiteY216" fmla="*/ 927439 h 1576253"/>
                    <a:gd name="connsiteX217" fmla="*/ 2050473 w 2617696"/>
                    <a:gd name="connsiteY217" fmla="*/ 938849 h 1576253"/>
                    <a:gd name="connsiteX218" fmla="*/ 2045583 w 2617696"/>
                    <a:gd name="connsiteY218" fmla="*/ 943739 h 1576253"/>
                    <a:gd name="connsiteX219" fmla="*/ 2040693 w 2617696"/>
                    <a:gd name="connsiteY219" fmla="*/ 950258 h 1576253"/>
                    <a:gd name="connsiteX220" fmla="*/ 2027654 w 2617696"/>
                    <a:gd name="connsiteY220" fmla="*/ 961668 h 1576253"/>
                    <a:gd name="connsiteX221" fmla="*/ 2021134 w 2617696"/>
                    <a:gd name="connsiteY221" fmla="*/ 969818 h 1576253"/>
                    <a:gd name="connsiteX222" fmla="*/ 2014614 w 2617696"/>
                    <a:gd name="connsiteY222" fmla="*/ 973078 h 1576253"/>
                    <a:gd name="connsiteX223" fmla="*/ 2009724 w 2617696"/>
                    <a:gd name="connsiteY223" fmla="*/ 974708 h 1576253"/>
                    <a:gd name="connsiteX224" fmla="*/ 1991795 w 2617696"/>
                    <a:gd name="connsiteY224" fmla="*/ 986117 h 1576253"/>
                    <a:gd name="connsiteX225" fmla="*/ 1985275 w 2617696"/>
                    <a:gd name="connsiteY225" fmla="*/ 987747 h 1576253"/>
                    <a:gd name="connsiteX226" fmla="*/ 1967346 w 2617696"/>
                    <a:gd name="connsiteY226" fmla="*/ 994267 h 1576253"/>
                    <a:gd name="connsiteX227" fmla="*/ 1959196 w 2617696"/>
                    <a:gd name="connsiteY227" fmla="*/ 995897 h 1576253"/>
                    <a:gd name="connsiteX228" fmla="*/ 1954306 w 2617696"/>
                    <a:gd name="connsiteY228" fmla="*/ 1005677 h 1576253"/>
                    <a:gd name="connsiteX229" fmla="*/ 1942897 w 2617696"/>
                    <a:gd name="connsiteY229" fmla="*/ 1010566 h 1576253"/>
                    <a:gd name="connsiteX230" fmla="*/ 1938007 w 2617696"/>
                    <a:gd name="connsiteY230" fmla="*/ 1012196 h 1576253"/>
                    <a:gd name="connsiteX231" fmla="*/ 1928227 w 2617696"/>
                    <a:gd name="connsiteY231" fmla="*/ 1017086 h 1576253"/>
                    <a:gd name="connsiteX232" fmla="*/ 1915188 w 2617696"/>
                    <a:gd name="connsiteY232" fmla="*/ 1026866 h 1576253"/>
                    <a:gd name="connsiteX233" fmla="*/ 1905408 w 2617696"/>
                    <a:gd name="connsiteY233" fmla="*/ 1030126 h 1576253"/>
                    <a:gd name="connsiteX234" fmla="*/ 1890738 w 2617696"/>
                    <a:gd name="connsiteY234" fmla="*/ 1033386 h 1576253"/>
                    <a:gd name="connsiteX235" fmla="*/ 1884219 w 2617696"/>
                    <a:gd name="connsiteY235" fmla="*/ 1035016 h 1576253"/>
                    <a:gd name="connsiteX236" fmla="*/ 1871179 w 2617696"/>
                    <a:gd name="connsiteY236" fmla="*/ 1036646 h 1576253"/>
                    <a:gd name="connsiteX237" fmla="*/ 1866289 w 2617696"/>
                    <a:gd name="connsiteY237" fmla="*/ 1039906 h 1576253"/>
                    <a:gd name="connsiteX238" fmla="*/ 1863029 w 2617696"/>
                    <a:gd name="connsiteY238" fmla="*/ 1044795 h 1576253"/>
                    <a:gd name="connsiteX239" fmla="*/ 1838580 w 2617696"/>
                    <a:gd name="connsiteY239" fmla="*/ 1046425 h 1576253"/>
                    <a:gd name="connsiteX240" fmla="*/ 1830430 w 2617696"/>
                    <a:gd name="connsiteY240" fmla="*/ 1044795 h 1576253"/>
                    <a:gd name="connsiteX241" fmla="*/ 1823911 w 2617696"/>
                    <a:gd name="connsiteY241" fmla="*/ 1043165 h 1576253"/>
                    <a:gd name="connsiteX242" fmla="*/ 1822281 w 2617696"/>
                    <a:gd name="connsiteY242" fmla="*/ 1038276 h 1576253"/>
                    <a:gd name="connsiteX243" fmla="*/ 1792942 w 2617696"/>
                    <a:gd name="connsiteY243" fmla="*/ 1038276 h 1576253"/>
                    <a:gd name="connsiteX244" fmla="*/ 1771752 w 2617696"/>
                    <a:gd name="connsiteY244" fmla="*/ 1039906 h 1576253"/>
                    <a:gd name="connsiteX245" fmla="*/ 1765233 w 2617696"/>
                    <a:gd name="connsiteY245" fmla="*/ 1041535 h 1576253"/>
                    <a:gd name="connsiteX246" fmla="*/ 1761973 w 2617696"/>
                    <a:gd name="connsiteY246" fmla="*/ 1046425 h 1576253"/>
                    <a:gd name="connsiteX247" fmla="*/ 1750563 w 2617696"/>
                    <a:gd name="connsiteY247" fmla="*/ 1056205 h 1576253"/>
                    <a:gd name="connsiteX248" fmla="*/ 1748933 w 2617696"/>
                    <a:gd name="connsiteY248" fmla="*/ 1061095 h 1576253"/>
                    <a:gd name="connsiteX249" fmla="*/ 1744043 w 2617696"/>
                    <a:gd name="connsiteY249" fmla="*/ 1069245 h 1576253"/>
                    <a:gd name="connsiteX250" fmla="*/ 1734264 w 2617696"/>
                    <a:gd name="connsiteY250" fmla="*/ 1082284 h 1576253"/>
                    <a:gd name="connsiteX251" fmla="*/ 1731004 w 2617696"/>
                    <a:gd name="connsiteY251" fmla="*/ 1087174 h 1576253"/>
                    <a:gd name="connsiteX252" fmla="*/ 1719594 w 2617696"/>
                    <a:gd name="connsiteY252" fmla="*/ 1090434 h 1576253"/>
                    <a:gd name="connsiteX253" fmla="*/ 1711444 w 2617696"/>
                    <a:gd name="connsiteY253" fmla="*/ 1096954 h 1576253"/>
                    <a:gd name="connsiteX254" fmla="*/ 1704924 w 2617696"/>
                    <a:gd name="connsiteY254" fmla="*/ 1109993 h 1576253"/>
                    <a:gd name="connsiteX255" fmla="*/ 1701665 w 2617696"/>
                    <a:gd name="connsiteY255" fmla="*/ 1118143 h 1576253"/>
                    <a:gd name="connsiteX256" fmla="*/ 1693515 w 2617696"/>
                    <a:gd name="connsiteY256" fmla="*/ 1129553 h 1576253"/>
                    <a:gd name="connsiteX257" fmla="*/ 1686995 w 2617696"/>
                    <a:gd name="connsiteY257" fmla="*/ 1139332 h 1576253"/>
                    <a:gd name="connsiteX258" fmla="*/ 1680475 w 2617696"/>
                    <a:gd name="connsiteY258" fmla="*/ 1142592 h 1576253"/>
                    <a:gd name="connsiteX259" fmla="*/ 1641357 w 2617696"/>
                    <a:gd name="connsiteY259" fmla="*/ 1142592 h 1576253"/>
                    <a:gd name="connsiteX260" fmla="*/ 1638097 w 2617696"/>
                    <a:gd name="connsiteY260" fmla="*/ 1137702 h 1576253"/>
                    <a:gd name="connsiteX261" fmla="*/ 1631577 w 2617696"/>
                    <a:gd name="connsiteY261" fmla="*/ 1136072 h 1576253"/>
                    <a:gd name="connsiteX262" fmla="*/ 1626687 w 2617696"/>
                    <a:gd name="connsiteY262" fmla="*/ 1132812 h 1576253"/>
                    <a:gd name="connsiteX263" fmla="*/ 1598978 w 2617696"/>
                    <a:gd name="connsiteY263" fmla="*/ 1127923 h 1576253"/>
                    <a:gd name="connsiteX264" fmla="*/ 1574529 w 2617696"/>
                    <a:gd name="connsiteY264" fmla="*/ 1132812 h 1576253"/>
                    <a:gd name="connsiteX265" fmla="*/ 1568009 w 2617696"/>
                    <a:gd name="connsiteY265" fmla="*/ 1134442 h 1576253"/>
                    <a:gd name="connsiteX266" fmla="*/ 1564600 w 2617696"/>
                    <a:gd name="connsiteY266" fmla="*/ 1138186 h 1576253"/>
                    <a:gd name="connsiteX267" fmla="*/ 1566380 w 2617696"/>
                    <a:gd name="connsiteY267" fmla="*/ 1144222 h 1576253"/>
                    <a:gd name="connsiteX268" fmla="*/ 1572900 w 2617696"/>
                    <a:gd name="connsiteY268" fmla="*/ 1168671 h 1576253"/>
                    <a:gd name="connsiteX269" fmla="*/ 1571270 w 2617696"/>
                    <a:gd name="connsiteY269" fmla="*/ 1173561 h 1576253"/>
                    <a:gd name="connsiteX270" fmla="*/ 1569640 w 2617696"/>
                    <a:gd name="connsiteY270" fmla="*/ 1202900 h 1576253"/>
                    <a:gd name="connsiteX271" fmla="*/ 1572900 w 2617696"/>
                    <a:gd name="connsiteY271" fmla="*/ 1207790 h 1576253"/>
                    <a:gd name="connsiteX272" fmla="*/ 1579420 w 2617696"/>
                    <a:gd name="connsiteY272" fmla="*/ 1212680 h 1576253"/>
                    <a:gd name="connsiteX273" fmla="*/ 1579420 w 2617696"/>
                    <a:gd name="connsiteY273" fmla="*/ 1225719 h 1576253"/>
                    <a:gd name="connsiteX274" fmla="*/ 1577790 w 2617696"/>
                    <a:gd name="connsiteY274" fmla="*/ 1230609 h 1576253"/>
                    <a:gd name="connsiteX275" fmla="*/ 1585939 w 2617696"/>
                    <a:gd name="connsiteY275" fmla="*/ 1232239 h 1576253"/>
                    <a:gd name="connsiteX276" fmla="*/ 1594089 w 2617696"/>
                    <a:gd name="connsiteY276" fmla="*/ 1240389 h 1576253"/>
                    <a:gd name="connsiteX277" fmla="*/ 1595719 w 2617696"/>
                    <a:gd name="connsiteY277" fmla="*/ 1253428 h 1576253"/>
                    <a:gd name="connsiteX278" fmla="*/ 1563120 w 2617696"/>
                    <a:gd name="connsiteY278" fmla="*/ 1255058 h 1576253"/>
                    <a:gd name="connsiteX279" fmla="*/ 1556600 w 2617696"/>
                    <a:gd name="connsiteY279" fmla="*/ 1263208 h 1576253"/>
                    <a:gd name="connsiteX280" fmla="*/ 1550081 w 2617696"/>
                    <a:gd name="connsiteY280" fmla="*/ 1264838 h 1576253"/>
                    <a:gd name="connsiteX281" fmla="*/ 1556600 w 2617696"/>
                    <a:gd name="connsiteY281" fmla="*/ 1274618 h 1576253"/>
                    <a:gd name="connsiteX282" fmla="*/ 1564750 w 2617696"/>
                    <a:gd name="connsiteY282" fmla="*/ 1305587 h 1576253"/>
                    <a:gd name="connsiteX283" fmla="*/ 1563120 w 2617696"/>
                    <a:gd name="connsiteY283" fmla="*/ 1310477 h 1576253"/>
                    <a:gd name="connsiteX284" fmla="*/ 1558230 w 2617696"/>
                    <a:gd name="connsiteY284" fmla="*/ 1312107 h 1576253"/>
                    <a:gd name="connsiteX285" fmla="*/ 1556600 w 2617696"/>
                    <a:gd name="connsiteY285" fmla="*/ 1338186 h 1576253"/>
                    <a:gd name="connsiteX286" fmla="*/ 1554970 w 2617696"/>
                    <a:gd name="connsiteY286" fmla="*/ 1343076 h 1576253"/>
                    <a:gd name="connsiteX287" fmla="*/ 1543561 w 2617696"/>
                    <a:gd name="connsiteY287" fmla="*/ 1336556 h 1576253"/>
                    <a:gd name="connsiteX288" fmla="*/ 1525631 w 2617696"/>
                    <a:gd name="connsiteY288" fmla="*/ 1333296 h 1576253"/>
                    <a:gd name="connsiteX289" fmla="*/ 1524001 w 2617696"/>
                    <a:gd name="connsiteY289" fmla="*/ 1326776 h 1576253"/>
                    <a:gd name="connsiteX290" fmla="*/ 1512592 w 2617696"/>
                    <a:gd name="connsiteY290" fmla="*/ 1334926 h 1576253"/>
                    <a:gd name="connsiteX291" fmla="*/ 1507702 w 2617696"/>
                    <a:gd name="connsiteY291" fmla="*/ 1313737 h 1576253"/>
                    <a:gd name="connsiteX292" fmla="*/ 1501182 w 2617696"/>
                    <a:gd name="connsiteY292" fmla="*/ 1308847 h 1576253"/>
                    <a:gd name="connsiteX293" fmla="*/ 1496292 w 2617696"/>
                    <a:gd name="connsiteY293" fmla="*/ 1307217 h 1576253"/>
                    <a:gd name="connsiteX294" fmla="*/ 1493032 w 2617696"/>
                    <a:gd name="connsiteY294" fmla="*/ 1302327 h 1576253"/>
                    <a:gd name="connsiteX295" fmla="*/ 1483253 w 2617696"/>
                    <a:gd name="connsiteY295" fmla="*/ 1294177 h 1576253"/>
                    <a:gd name="connsiteX296" fmla="*/ 1476733 w 2617696"/>
                    <a:gd name="connsiteY296" fmla="*/ 1292547 h 1576253"/>
                    <a:gd name="connsiteX297" fmla="*/ 1470213 w 2617696"/>
                    <a:gd name="connsiteY297" fmla="*/ 1259948 h 1576253"/>
                    <a:gd name="connsiteX298" fmla="*/ 1475103 w 2617696"/>
                    <a:gd name="connsiteY298" fmla="*/ 1255058 h 1576253"/>
                    <a:gd name="connsiteX299" fmla="*/ 1476733 w 2617696"/>
                    <a:gd name="connsiteY299" fmla="*/ 1248539 h 1576253"/>
                    <a:gd name="connsiteX300" fmla="*/ 1484883 w 2617696"/>
                    <a:gd name="connsiteY300" fmla="*/ 1233869 h 1576253"/>
                    <a:gd name="connsiteX301" fmla="*/ 1489773 w 2617696"/>
                    <a:gd name="connsiteY301" fmla="*/ 1227349 h 1576253"/>
                    <a:gd name="connsiteX302" fmla="*/ 1493032 w 2617696"/>
                    <a:gd name="connsiteY302" fmla="*/ 1222460 h 1576253"/>
                    <a:gd name="connsiteX303" fmla="*/ 1499552 w 2617696"/>
                    <a:gd name="connsiteY303" fmla="*/ 1219200 h 1576253"/>
                    <a:gd name="connsiteX304" fmla="*/ 1504442 w 2617696"/>
                    <a:gd name="connsiteY304" fmla="*/ 1196380 h 1576253"/>
                    <a:gd name="connsiteX305" fmla="*/ 1506072 w 2617696"/>
                    <a:gd name="connsiteY305" fmla="*/ 1183341 h 1576253"/>
                    <a:gd name="connsiteX306" fmla="*/ 1502812 w 2617696"/>
                    <a:gd name="connsiteY306" fmla="*/ 1178451 h 1576253"/>
                    <a:gd name="connsiteX307" fmla="*/ 1501182 w 2617696"/>
                    <a:gd name="connsiteY307" fmla="*/ 1171931 h 1576253"/>
                    <a:gd name="connsiteX308" fmla="*/ 1488143 w 2617696"/>
                    <a:gd name="connsiteY308" fmla="*/ 1165411 h 1576253"/>
                    <a:gd name="connsiteX309" fmla="*/ 1486513 w 2617696"/>
                    <a:gd name="connsiteY309" fmla="*/ 1160522 h 1576253"/>
                    <a:gd name="connsiteX310" fmla="*/ 1484883 w 2617696"/>
                    <a:gd name="connsiteY310" fmla="*/ 1154002 h 1576253"/>
                    <a:gd name="connsiteX311" fmla="*/ 1470213 w 2617696"/>
                    <a:gd name="connsiteY311" fmla="*/ 1154002 h 1576253"/>
                    <a:gd name="connsiteX312" fmla="*/ 1468583 w 2617696"/>
                    <a:gd name="connsiteY312" fmla="*/ 1158892 h 1576253"/>
                    <a:gd name="connsiteX313" fmla="*/ 1465323 w 2617696"/>
                    <a:gd name="connsiteY313" fmla="*/ 1163781 h 1576253"/>
                    <a:gd name="connsiteX314" fmla="*/ 1462063 w 2617696"/>
                    <a:gd name="connsiteY314" fmla="*/ 1170301 h 1576253"/>
                    <a:gd name="connsiteX315" fmla="*/ 1455544 w 2617696"/>
                    <a:gd name="connsiteY315" fmla="*/ 1175191 h 1576253"/>
                    <a:gd name="connsiteX316" fmla="*/ 1452284 w 2617696"/>
                    <a:gd name="connsiteY316" fmla="*/ 1180081 h 1576253"/>
                    <a:gd name="connsiteX317" fmla="*/ 1447394 w 2617696"/>
                    <a:gd name="connsiteY317" fmla="*/ 1183341 h 1576253"/>
                    <a:gd name="connsiteX318" fmla="*/ 1444134 w 2617696"/>
                    <a:gd name="connsiteY318" fmla="*/ 1189861 h 1576253"/>
                    <a:gd name="connsiteX319" fmla="*/ 1440874 w 2617696"/>
                    <a:gd name="connsiteY319" fmla="*/ 1194750 h 1576253"/>
                    <a:gd name="connsiteX320" fmla="*/ 1432724 w 2617696"/>
                    <a:gd name="connsiteY320" fmla="*/ 1198010 h 1576253"/>
                    <a:gd name="connsiteX321" fmla="*/ 1431094 w 2617696"/>
                    <a:gd name="connsiteY321" fmla="*/ 1202900 h 1576253"/>
                    <a:gd name="connsiteX322" fmla="*/ 1421315 w 2617696"/>
                    <a:gd name="connsiteY322" fmla="*/ 1212680 h 1576253"/>
                    <a:gd name="connsiteX323" fmla="*/ 1416425 w 2617696"/>
                    <a:gd name="connsiteY323" fmla="*/ 1214310 h 1576253"/>
                    <a:gd name="connsiteX324" fmla="*/ 1414795 w 2617696"/>
                    <a:gd name="connsiteY324" fmla="*/ 1220830 h 1576253"/>
                    <a:gd name="connsiteX325" fmla="*/ 1431094 w 2617696"/>
                    <a:gd name="connsiteY325" fmla="*/ 1228979 h 1576253"/>
                    <a:gd name="connsiteX326" fmla="*/ 1424575 w 2617696"/>
                    <a:gd name="connsiteY326" fmla="*/ 1232239 h 1576253"/>
                    <a:gd name="connsiteX327" fmla="*/ 1414795 w 2617696"/>
                    <a:gd name="connsiteY327" fmla="*/ 1235499 h 1576253"/>
                    <a:gd name="connsiteX328" fmla="*/ 1413165 w 2617696"/>
                    <a:gd name="connsiteY328" fmla="*/ 1240389 h 1576253"/>
                    <a:gd name="connsiteX329" fmla="*/ 1406645 w 2617696"/>
                    <a:gd name="connsiteY329" fmla="*/ 1243649 h 1576253"/>
                    <a:gd name="connsiteX330" fmla="*/ 1395236 w 2617696"/>
                    <a:gd name="connsiteY330" fmla="*/ 1246909 h 1576253"/>
                    <a:gd name="connsiteX331" fmla="*/ 1390346 w 2617696"/>
                    <a:gd name="connsiteY331" fmla="*/ 1248539 h 1576253"/>
                    <a:gd name="connsiteX332" fmla="*/ 1385456 w 2617696"/>
                    <a:gd name="connsiteY332" fmla="*/ 1251799 h 1576253"/>
                    <a:gd name="connsiteX333" fmla="*/ 1378936 w 2617696"/>
                    <a:gd name="connsiteY333" fmla="*/ 1248539 h 1576253"/>
                    <a:gd name="connsiteX334" fmla="*/ 1380566 w 2617696"/>
                    <a:gd name="connsiteY334" fmla="*/ 1237129 h 1576253"/>
                    <a:gd name="connsiteX335" fmla="*/ 1377306 w 2617696"/>
                    <a:gd name="connsiteY335" fmla="*/ 1232239 h 1576253"/>
                    <a:gd name="connsiteX336" fmla="*/ 1372416 w 2617696"/>
                    <a:gd name="connsiteY336" fmla="*/ 1228979 h 1576253"/>
                    <a:gd name="connsiteX337" fmla="*/ 1364267 w 2617696"/>
                    <a:gd name="connsiteY337" fmla="*/ 1245279 h 1576253"/>
                    <a:gd name="connsiteX338" fmla="*/ 1346337 w 2617696"/>
                    <a:gd name="connsiteY338" fmla="*/ 1248539 h 1576253"/>
                    <a:gd name="connsiteX339" fmla="*/ 1325148 w 2617696"/>
                    <a:gd name="connsiteY339" fmla="*/ 1250169 h 1576253"/>
                    <a:gd name="connsiteX340" fmla="*/ 1323518 w 2617696"/>
                    <a:gd name="connsiteY340" fmla="*/ 1243649 h 1576253"/>
                    <a:gd name="connsiteX341" fmla="*/ 1310478 w 2617696"/>
                    <a:gd name="connsiteY341" fmla="*/ 1232239 h 1576253"/>
                    <a:gd name="connsiteX342" fmla="*/ 1305589 w 2617696"/>
                    <a:gd name="connsiteY342" fmla="*/ 1237129 h 1576253"/>
                    <a:gd name="connsiteX343" fmla="*/ 1302329 w 2617696"/>
                    <a:gd name="connsiteY343" fmla="*/ 1242019 h 1576253"/>
                    <a:gd name="connsiteX344" fmla="*/ 1295809 w 2617696"/>
                    <a:gd name="connsiteY344" fmla="*/ 1243649 h 1576253"/>
                    <a:gd name="connsiteX345" fmla="*/ 1290919 w 2617696"/>
                    <a:gd name="connsiteY345" fmla="*/ 1246909 h 1576253"/>
                    <a:gd name="connsiteX346" fmla="*/ 1282769 w 2617696"/>
                    <a:gd name="connsiteY346" fmla="*/ 1248539 h 1576253"/>
                    <a:gd name="connsiteX347" fmla="*/ 1277879 w 2617696"/>
                    <a:gd name="connsiteY347" fmla="*/ 1250169 h 1576253"/>
                    <a:gd name="connsiteX348" fmla="*/ 1276250 w 2617696"/>
                    <a:gd name="connsiteY348" fmla="*/ 1255058 h 1576253"/>
                    <a:gd name="connsiteX349" fmla="*/ 1271360 w 2617696"/>
                    <a:gd name="connsiteY349" fmla="*/ 1258318 h 1576253"/>
                    <a:gd name="connsiteX350" fmla="*/ 1269730 w 2617696"/>
                    <a:gd name="connsiteY350" fmla="*/ 1263208 h 1576253"/>
                    <a:gd name="connsiteX351" fmla="*/ 1266470 w 2617696"/>
                    <a:gd name="connsiteY351" fmla="*/ 1276248 h 1576253"/>
                    <a:gd name="connsiteX352" fmla="*/ 1261580 w 2617696"/>
                    <a:gd name="connsiteY352" fmla="*/ 1282768 h 1576253"/>
                    <a:gd name="connsiteX353" fmla="*/ 1256690 w 2617696"/>
                    <a:gd name="connsiteY353" fmla="*/ 1287657 h 1576253"/>
                    <a:gd name="connsiteX354" fmla="*/ 1253430 w 2617696"/>
                    <a:gd name="connsiteY354" fmla="*/ 1294177 h 1576253"/>
                    <a:gd name="connsiteX355" fmla="*/ 1250170 w 2617696"/>
                    <a:gd name="connsiteY355" fmla="*/ 1299067 h 1576253"/>
                    <a:gd name="connsiteX356" fmla="*/ 1243651 w 2617696"/>
                    <a:gd name="connsiteY356" fmla="*/ 1302327 h 1576253"/>
                    <a:gd name="connsiteX357" fmla="*/ 1237131 w 2617696"/>
                    <a:gd name="connsiteY357" fmla="*/ 1334926 h 1576253"/>
                    <a:gd name="connsiteX358" fmla="*/ 1235501 w 2617696"/>
                    <a:gd name="connsiteY358" fmla="*/ 1339816 h 1576253"/>
                    <a:gd name="connsiteX359" fmla="*/ 1233871 w 2617696"/>
                    <a:gd name="connsiteY359" fmla="*/ 1351225 h 1576253"/>
                    <a:gd name="connsiteX360" fmla="*/ 1224091 w 2617696"/>
                    <a:gd name="connsiteY360" fmla="*/ 1357745 h 1576253"/>
                    <a:gd name="connsiteX361" fmla="*/ 1222461 w 2617696"/>
                    <a:gd name="connsiteY361" fmla="*/ 1377304 h 1576253"/>
                    <a:gd name="connsiteX362" fmla="*/ 1212682 w 2617696"/>
                    <a:gd name="connsiteY362" fmla="*/ 1370785 h 1576253"/>
                    <a:gd name="connsiteX363" fmla="*/ 1196382 w 2617696"/>
                    <a:gd name="connsiteY363" fmla="*/ 1364265 h 1576253"/>
                    <a:gd name="connsiteX364" fmla="*/ 1191492 w 2617696"/>
                    <a:gd name="connsiteY364" fmla="*/ 1370785 h 1576253"/>
                    <a:gd name="connsiteX365" fmla="*/ 1186602 w 2617696"/>
                    <a:gd name="connsiteY365" fmla="*/ 1375674 h 1576253"/>
                    <a:gd name="connsiteX366" fmla="*/ 1183343 w 2617696"/>
                    <a:gd name="connsiteY366" fmla="*/ 1396864 h 1576253"/>
                    <a:gd name="connsiteX367" fmla="*/ 1175193 w 2617696"/>
                    <a:gd name="connsiteY367" fmla="*/ 1398494 h 1576253"/>
                    <a:gd name="connsiteX368" fmla="*/ 1170303 w 2617696"/>
                    <a:gd name="connsiteY368" fmla="*/ 1405014 h 1576253"/>
                    <a:gd name="connsiteX369" fmla="*/ 1167043 w 2617696"/>
                    <a:gd name="connsiteY369" fmla="*/ 1409903 h 1576253"/>
                    <a:gd name="connsiteX370" fmla="*/ 1154004 w 2617696"/>
                    <a:gd name="connsiteY370" fmla="*/ 1406643 h 1576253"/>
                    <a:gd name="connsiteX371" fmla="*/ 1147484 w 2617696"/>
                    <a:gd name="connsiteY371" fmla="*/ 1408273 h 1576253"/>
                    <a:gd name="connsiteX372" fmla="*/ 1142594 w 2617696"/>
                    <a:gd name="connsiteY372" fmla="*/ 1411533 h 1576253"/>
                    <a:gd name="connsiteX373" fmla="*/ 1129554 w 2617696"/>
                    <a:gd name="connsiteY373" fmla="*/ 1418053 h 1576253"/>
                    <a:gd name="connsiteX374" fmla="*/ 1118145 w 2617696"/>
                    <a:gd name="connsiteY374" fmla="*/ 1421313 h 1576253"/>
                    <a:gd name="connsiteX375" fmla="*/ 1108365 w 2617696"/>
                    <a:gd name="connsiteY375" fmla="*/ 1429463 h 1576253"/>
                    <a:gd name="connsiteX376" fmla="*/ 1088806 w 2617696"/>
                    <a:gd name="connsiteY376" fmla="*/ 1431093 h 1576253"/>
                    <a:gd name="connsiteX377" fmla="*/ 1085546 w 2617696"/>
                    <a:gd name="connsiteY377" fmla="*/ 1435983 h 1576253"/>
                    <a:gd name="connsiteX378" fmla="*/ 1083916 w 2617696"/>
                    <a:gd name="connsiteY378" fmla="*/ 1447392 h 1576253"/>
                    <a:gd name="connsiteX379" fmla="*/ 1082286 w 2617696"/>
                    <a:gd name="connsiteY379" fmla="*/ 1452282 h 1576253"/>
                    <a:gd name="connsiteX380" fmla="*/ 1072506 w 2617696"/>
                    <a:gd name="connsiteY380" fmla="*/ 1462062 h 1576253"/>
                    <a:gd name="connsiteX381" fmla="*/ 1061097 w 2617696"/>
                    <a:gd name="connsiteY381" fmla="*/ 1462062 h 1576253"/>
                    <a:gd name="connsiteX382" fmla="*/ 1036647 w 2617696"/>
                    <a:gd name="connsiteY382" fmla="*/ 1458802 h 1576253"/>
                    <a:gd name="connsiteX383" fmla="*/ 1031758 w 2617696"/>
                    <a:gd name="connsiteY383" fmla="*/ 1457172 h 1576253"/>
                    <a:gd name="connsiteX384" fmla="*/ 1025238 w 2617696"/>
                    <a:gd name="connsiteY384" fmla="*/ 1455542 h 1576253"/>
                    <a:gd name="connsiteX385" fmla="*/ 1015458 w 2617696"/>
                    <a:gd name="connsiteY385" fmla="*/ 1452282 h 1576253"/>
                    <a:gd name="connsiteX386" fmla="*/ 1005678 w 2617696"/>
                    <a:gd name="connsiteY386" fmla="*/ 1453912 h 1576253"/>
                    <a:gd name="connsiteX387" fmla="*/ 994269 w 2617696"/>
                    <a:gd name="connsiteY387" fmla="*/ 1449022 h 1576253"/>
                    <a:gd name="connsiteX388" fmla="*/ 986119 w 2617696"/>
                    <a:gd name="connsiteY388" fmla="*/ 1445762 h 1576253"/>
                    <a:gd name="connsiteX389" fmla="*/ 984489 w 2617696"/>
                    <a:gd name="connsiteY389" fmla="*/ 1440872 h 1576253"/>
                    <a:gd name="connsiteX390" fmla="*/ 981229 w 2617696"/>
                    <a:gd name="connsiteY390" fmla="*/ 1435983 h 1576253"/>
                    <a:gd name="connsiteX391" fmla="*/ 969820 w 2617696"/>
                    <a:gd name="connsiteY391" fmla="*/ 1432723 h 1576253"/>
                    <a:gd name="connsiteX392" fmla="*/ 956780 w 2617696"/>
                    <a:gd name="connsiteY392" fmla="*/ 1418053 h 1576253"/>
                    <a:gd name="connsiteX393" fmla="*/ 955150 w 2617696"/>
                    <a:gd name="connsiteY393" fmla="*/ 1413163 h 1576253"/>
                    <a:gd name="connsiteX394" fmla="*/ 950260 w 2617696"/>
                    <a:gd name="connsiteY394" fmla="*/ 1411533 h 1576253"/>
                    <a:gd name="connsiteX395" fmla="*/ 947000 w 2617696"/>
                    <a:gd name="connsiteY395" fmla="*/ 1405014 h 1576253"/>
                    <a:gd name="connsiteX396" fmla="*/ 925811 w 2617696"/>
                    <a:gd name="connsiteY396" fmla="*/ 1406643 h 1576253"/>
                    <a:gd name="connsiteX397" fmla="*/ 916031 w 2617696"/>
                    <a:gd name="connsiteY397" fmla="*/ 1405014 h 1576253"/>
                    <a:gd name="connsiteX398" fmla="*/ 906252 w 2617696"/>
                    <a:gd name="connsiteY398" fmla="*/ 1400124 h 1576253"/>
                    <a:gd name="connsiteX399" fmla="*/ 896472 w 2617696"/>
                    <a:gd name="connsiteY399" fmla="*/ 1398494 h 1576253"/>
                    <a:gd name="connsiteX400" fmla="*/ 870393 w 2617696"/>
                    <a:gd name="connsiteY400" fmla="*/ 1396864 h 1576253"/>
                    <a:gd name="connsiteX401" fmla="*/ 865503 w 2617696"/>
                    <a:gd name="connsiteY401" fmla="*/ 1395234 h 1576253"/>
                    <a:gd name="connsiteX402" fmla="*/ 855723 w 2617696"/>
                    <a:gd name="connsiteY402" fmla="*/ 1393604 h 1576253"/>
                    <a:gd name="connsiteX403" fmla="*/ 850834 w 2617696"/>
                    <a:gd name="connsiteY403" fmla="*/ 1388714 h 1576253"/>
                    <a:gd name="connsiteX404" fmla="*/ 844314 w 2617696"/>
                    <a:gd name="connsiteY404" fmla="*/ 1385454 h 1576253"/>
                    <a:gd name="connsiteX405" fmla="*/ 839424 w 2617696"/>
                    <a:gd name="connsiteY405" fmla="*/ 1383824 h 1576253"/>
                    <a:gd name="connsiteX406" fmla="*/ 818235 w 2617696"/>
                    <a:gd name="connsiteY406" fmla="*/ 1378934 h 1576253"/>
                    <a:gd name="connsiteX407" fmla="*/ 775856 w 2617696"/>
                    <a:gd name="connsiteY407" fmla="*/ 1380564 h 1576253"/>
                    <a:gd name="connsiteX408" fmla="*/ 766076 w 2617696"/>
                    <a:gd name="connsiteY408" fmla="*/ 1387084 h 1576253"/>
                    <a:gd name="connsiteX409" fmla="*/ 748147 w 2617696"/>
                    <a:gd name="connsiteY409" fmla="*/ 1395234 h 1576253"/>
                    <a:gd name="connsiteX410" fmla="*/ 739997 w 2617696"/>
                    <a:gd name="connsiteY410" fmla="*/ 1396864 h 1576253"/>
                    <a:gd name="connsiteX411" fmla="*/ 731847 w 2617696"/>
                    <a:gd name="connsiteY411" fmla="*/ 1403384 h 1576253"/>
                    <a:gd name="connsiteX412" fmla="*/ 726801 w 2617696"/>
                    <a:gd name="connsiteY412" fmla="*/ 1404393 h 1576253"/>
                    <a:gd name="connsiteX413" fmla="*/ 723697 w 2617696"/>
                    <a:gd name="connsiteY413" fmla="*/ 1424573 h 1576253"/>
                    <a:gd name="connsiteX414" fmla="*/ 725327 w 2617696"/>
                    <a:gd name="connsiteY414" fmla="*/ 1429463 h 1576253"/>
                    <a:gd name="connsiteX415" fmla="*/ 728587 w 2617696"/>
                    <a:gd name="connsiteY415" fmla="*/ 1434353 h 1576253"/>
                    <a:gd name="connsiteX416" fmla="*/ 731846 w 2617696"/>
                    <a:gd name="connsiteY416" fmla="*/ 1452282 h 1576253"/>
                    <a:gd name="connsiteX417" fmla="*/ 733476 w 2617696"/>
                    <a:gd name="connsiteY417" fmla="*/ 1457172 h 1576253"/>
                    <a:gd name="connsiteX418" fmla="*/ 738366 w 2617696"/>
                    <a:gd name="connsiteY418" fmla="*/ 1460432 h 1576253"/>
                    <a:gd name="connsiteX419" fmla="*/ 735106 w 2617696"/>
                    <a:gd name="connsiteY419" fmla="*/ 1465322 h 1576253"/>
                    <a:gd name="connsiteX420" fmla="*/ 730216 w 2617696"/>
                    <a:gd name="connsiteY420" fmla="*/ 1470211 h 1576253"/>
                    <a:gd name="connsiteX421" fmla="*/ 725327 w 2617696"/>
                    <a:gd name="connsiteY421" fmla="*/ 1491401 h 1576253"/>
                    <a:gd name="connsiteX422" fmla="*/ 733476 w 2617696"/>
                    <a:gd name="connsiteY422" fmla="*/ 1510960 h 1576253"/>
                    <a:gd name="connsiteX423" fmla="*/ 731846 w 2617696"/>
                    <a:gd name="connsiteY423" fmla="*/ 1517480 h 1576253"/>
                    <a:gd name="connsiteX424" fmla="*/ 726957 w 2617696"/>
                    <a:gd name="connsiteY424" fmla="*/ 1522370 h 1576253"/>
                    <a:gd name="connsiteX425" fmla="*/ 725327 w 2617696"/>
                    <a:gd name="connsiteY425" fmla="*/ 1538669 h 1576253"/>
                    <a:gd name="connsiteX426" fmla="*/ 723697 w 2617696"/>
                    <a:gd name="connsiteY426" fmla="*/ 1515850 h 1576253"/>
                    <a:gd name="connsiteX427" fmla="*/ 692728 w 2617696"/>
                    <a:gd name="connsiteY427" fmla="*/ 1514220 h 1576253"/>
                    <a:gd name="connsiteX428" fmla="*/ 687838 w 2617696"/>
                    <a:gd name="connsiteY428" fmla="*/ 1515850 h 1576253"/>
                    <a:gd name="connsiteX429" fmla="*/ 686208 w 2617696"/>
                    <a:gd name="connsiteY429" fmla="*/ 1520740 h 1576253"/>
                    <a:gd name="connsiteX430" fmla="*/ 681318 w 2617696"/>
                    <a:gd name="connsiteY430" fmla="*/ 1522370 h 1576253"/>
                    <a:gd name="connsiteX431" fmla="*/ 665019 w 2617696"/>
                    <a:gd name="connsiteY431" fmla="*/ 1525630 h 1576253"/>
                    <a:gd name="connsiteX432" fmla="*/ 658499 w 2617696"/>
                    <a:gd name="connsiteY432" fmla="*/ 1528889 h 1576253"/>
                    <a:gd name="connsiteX433" fmla="*/ 656869 w 2617696"/>
                    <a:gd name="connsiteY433" fmla="*/ 1546819 h 1576253"/>
                    <a:gd name="connsiteX434" fmla="*/ 638939 w 2617696"/>
                    <a:gd name="connsiteY434" fmla="*/ 1550079 h 1576253"/>
                    <a:gd name="connsiteX435" fmla="*/ 634050 w 2617696"/>
                    <a:gd name="connsiteY435" fmla="*/ 1551709 h 1576253"/>
                    <a:gd name="connsiteX436" fmla="*/ 632420 w 2617696"/>
                    <a:gd name="connsiteY436" fmla="*/ 1564748 h 1576253"/>
                    <a:gd name="connsiteX437" fmla="*/ 627530 w 2617696"/>
                    <a:gd name="connsiteY437" fmla="*/ 1566378 h 1576253"/>
                    <a:gd name="connsiteX438" fmla="*/ 624270 w 2617696"/>
                    <a:gd name="connsiteY438" fmla="*/ 1571268 h 1576253"/>
                    <a:gd name="connsiteX439" fmla="*/ 619380 w 2617696"/>
                    <a:gd name="connsiteY439" fmla="*/ 1574528 h 1576253"/>
                    <a:gd name="connsiteX440" fmla="*/ 614490 w 2617696"/>
                    <a:gd name="connsiteY440" fmla="*/ 1572898 h 1576253"/>
                    <a:gd name="connsiteX441" fmla="*/ 612860 w 2617696"/>
                    <a:gd name="connsiteY441" fmla="*/ 1564748 h 1576253"/>
                    <a:gd name="connsiteX442" fmla="*/ 611230 w 2617696"/>
                    <a:gd name="connsiteY442" fmla="*/ 1559858 h 1576253"/>
                    <a:gd name="connsiteX443" fmla="*/ 596561 w 2617696"/>
                    <a:gd name="connsiteY443" fmla="*/ 1551709 h 1576253"/>
                    <a:gd name="connsiteX444" fmla="*/ 586781 w 2617696"/>
                    <a:gd name="connsiteY444" fmla="*/ 1558228 h 1576253"/>
                    <a:gd name="connsiteX445" fmla="*/ 583521 w 2617696"/>
                    <a:gd name="connsiteY445" fmla="*/ 1563118 h 1576253"/>
                    <a:gd name="connsiteX446" fmla="*/ 557442 w 2617696"/>
                    <a:gd name="connsiteY446" fmla="*/ 1561488 h 1576253"/>
                    <a:gd name="connsiteX447" fmla="*/ 544403 w 2617696"/>
                    <a:gd name="connsiteY447" fmla="*/ 1559858 h 1576253"/>
                    <a:gd name="connsiteX448" fmla="*/ 541143 w 2617696"/>
                    <a:gd name="connsiteY448" fmla="*/ 1554969 h 1576253"/>
                    <a:gd name="connsiteX449" fmla="*/ 536253 w 2617696"/>
                    <a:gd name="connsiteY449" fmla="*/ 1535409 h 1576253"/>
                    <a:gd name="connsiteX450" fmla="*/ 531363 w 2617696"/>
                    <a:gd name="connsiteY450" fmla="*/ 1537039 h 1576253"/>
                    <a:gd name="connsiteX451" fmla="*/ 529733 w 2617696"/>
                    <a:gd name="connsiteY451" fmla="*/ 1528889 h 1576253"/>
                    <a:gd name="connsiteX452" fmla="*/ 528103 w 2617696"/>
                    <a:gd name="connsiteY452" fmla="*/ 1522370 h 1576253"/>
                    <a:gd name="connsiteX453" fmla="*/ 520406 w 2617696"/>
                    <a:gd name="connsiteY453" fmla="*/ 1503216 h 1576253"/>
                    <a:gd name="connsiteX454" fmla="*/ 521150 w 2617696"/>
                    <a:gd name="connsiteY454" fmla="*/ 1492659 h 1576253"/>
                    <a:gd name="connsiteX455" fmla="*/ 534721 w 2617696"/>
                    <a:gd name="connsiteY455" fmla="*/ 1497021 h 1576253"/>
                    <a:gd name="connsiteX456" fmla="*/ 537883 w 2617696"/>
                    <a:gd name="connsiteY456" fmla="*/ 1499550 h 1576253"/>
                    <a:gd name="connsiteX457" fmla="*/ 547662 w 2617696"/>
                    <a:gd name="connsiteY457" fmla="*/ 1501180 h 1576253"/>
                    <a:gd name="connsiteX458" fmla="*/ 534721 w 2617696"/>
                    <a:gd name="connsiteY458" fmla="*/ 1497021 h 1576253"/>
                    <a:gd name="connsiteX459" fmla="*/ 529733 w 2617696"/>
                    <a:gd name="connsiteY459" fmla="*/ 1493031 h 1576253"/>
                    <a:gd name="connsiteX460" fmla="*/ 524843 w 2617696"/>
                    <a:gd name="connsiteY460" fmla="*/ 1481621 h 1576253"/>
                    <a:gd name="connsiteX461" fmla="*/ 521583 w 2617696"/>
                    <a:gd name="connsiteY461" fmla="*/ 1486511 h 1576253"/>
                    <a:gd name="connsiteX462" fmla="*/ 521150 w 2617696"/>
                    <a:gd name="connsiteY462" fmla="*/ 1492659 h 1576253"/>
                    <a:gd name="connsiteX463" fmla="*/ 502024 w 2617696"/>
                    <a:gd name="connsiteY463" fmla="*/ 1486511 h 1576253"/>
                    <a:gd name="connsiteX464" fmla="*/ 495504 w 2617696"/>
                    <a:gd name="connsiteY464" fmla="*/ 1493031 h 1576253"/>
                    <a:gd name="connsiteX465" fmla="*/ 490614 w 2617696"/>
                    <a:gd name="connsiteY465" fmla="*/ 1496291 h 1576253"/>
                    <a:gd name="connsiteX466" fmla="*/ 488984 w 2617696"/>
                    <a:gd name="connsiteY466" fmla="*/ 1504440 h 1576253"/>
                    <a:gd name="connsiteX467" fmla="*/ 482465 w 2617696"/>
                    <a:gd name="connsiteY467" fmla="*/ 1501180 h 1576253"/>
                    <a:gd name="connsiteX468" fmla="*/ 459645 w 2617696"/>
                    <a:gd name="connsiteY468" fmla="*/ 1496291 h 1576253"/>
                    <a:gd name="connsiteX469" fmla="*/ 456385 w 2617696"/>
                    <a:gd name="connsiteY469" fmla="*/ 1491401 h 1576253"/>
                    <a:gd name="connsiteX470" fmla="*/ 454755 w 2617696"/>
                    <a:gd name="connsiteY470" fmla="*/ 1483251 h 1576253"/>
                    <a:gd name="connsiteX471" fmla="*/ 449866 w 2617696"/>
                    <a:gd name="connsiteY471" fmla="*/ 1481621 h 1576253"/>
                    <a:gd name="connsiteX472" fmla="*/ 448236 w 2617696"/>
                    <a:gd name="connsiteY472" fmla="*/ 1491401 h 1576253"/>
                    <a:gd name="connsiteX473" fmla="*/ 446606 w 2617696"/>
                    <a:gd name="connsiteY473" fmla="*/ 1496291 h 1576253"/>
                    <a:gd name="connsiteX474" fmla="*/ 438456 w 2617696"/>
                    <a:gd name="connsiteY474" fmla="*/ 1486511 h 1576253"/>
                    <a:gd name="connsiteX475" fmla="*/ 433566 w 2617696"/>
                    <a:gd name="connsiteY475" fmla="*/ 1481621 h 1576253"/>
                    <a:gd name="connsiteX476" fmla="*/ 430306 w 2617696"/>
                    <a:gd name="connsiteY476" fmla="*/ 1486511 h 1576253"/>
                    <a:gd name="connsiteX477" fmla="*/ 418897 w 2617696"/>
                    <a:gd name="connsiteY477" fmla="*/ 1486511 h 1576253"/>
                    <a:gd name="connsiteX478" fmla="*/ 410747 w 2617696"/>
                    <a:gd name="connsiteY478" fmla="*/ 1484881 h 1576253"/>
                    <a:gd name="connsiteX479" fmla="*/ 405857 w 2617696"/>
                    <a:gd name="connsiteY479" fmla="*/ 1488141 h 1576253"/>
                    <a:gd name="connsiteX480" fmla="*/ 399337 w 2617696"/>
                    <a:gd name="connsiteY480" fmla="*/ 1491401 h 1576253"/>
                    <a:gd name="connsiteX481" fmla="*/ 396077 w 2617696"/>
                    <a:gd name="connsiteY481" fmla="*/ 1496291 h 1576253"/>
                    <a:gd name="connsiteX482" fmla="*/ 402597 w 2617696"/>
                    <a:gd name="connsiteY482" fmla="*/ 1510960 h 1576253"/>
                    <a:gd name="connsiteX483" fmla="*/ 399337 w 2617696"/>
                    <a:gd name="connsiteY483" fmla="*/ 1517480 h 1576253"/>
                    <a:gd name="connsiteX484" fmla="*/ 389558 w 2617696"/>
                    <a:gd name="connsiteY484" fmla="*/ 1519110 h 1576253"/>
                    <a:gd name="connsiteX485" fmla="*/ 387928 w 2617696"/>
                    <a:gd name="connsiteY485" fmla="*/ 1527260 h 1576253"/>
                    <a:gd name="connsiteX486" fmla="*/ 384668 w 2617696"/>
                    <a:gd name="connsiteY486" fmla="*/ 1535409 h 1576253"/>
                    <a:gd name="connsiteX487" fmla="*/ 383038 w 2617696"/>
                    <a:gd name="connsiteY487" fmla="*/ 1541929 h 1576253"/>
                    <a:gd name="connsiteX488" fmla="*/ 376518 w 2617696"/>
                    <a:gd name="connsiteY488" fmla="*/ 1553339 h 1576253"/>
                    <a:gd name="connsiteX489" fmla="*/ 371628 w 2617696"/>
                    <a:gd name="connsiteY489" fmla="*/ 1561488 h 1576253"/>
                    <a:gd name="connsiteX490" fmla="*/ 363478 w 2617696"/>
                    <a:gd name="connsiteY490" fmla="*/ 1576158 h 1576253"/>
                    <a:gd name="connsiteX491" fmla="*/ 365108 w 2617696"/>
                    <a:gd name="connsiteY491" fmla="*/ 1553339 h 1576253"/>
                    <a:gd name="connsiteX492" fmla="*/ 356959 w 2617696"/>
                    <a:gd name="connsiteY492" fmla="*/ 1550079 h 1576253"/>
                    <a:gd name="connsiteX493" fmla="*/ 352069 w 2617696"/>
                    <a:gd name="connsiteY493" fmla="*/ 1546819 h 1576253"/>
                    <a:gd name="connsiteX494" fmla="*/ 358589 w 2617696"/>
                    <a:gd name="connsiteY494" fmla="*/ 1545189 h 1576253"/>
                    <a:gd name="connsiteX495" fmla="*/ 360219 w 2617696"/>
                    <a:gd name="connsiteY495" fmla="*/ 1533779 h 1576253"/>
                    <a:gd name="connsiteX496" fmla="*/ 363478 w 2617696"/>
                    <a:gd name="connsiteY496" fmla="*/ 1519110 h 1576253"/>
                    <a:gd name="connsiteX497" fmla="*/ 362167 w 2617696"/>
                    <a:gd name="connsiteY497" fmla="*/ 1513862 h 1576253"/>
                    <a:gd name="connsiteX498" fmla="*/ 366738 w 2617696"/>
                    <a:gd name="connsiteY498" fmla="*/ 1512590 h 1576253"/>
                    <a:gd name="connsiteX499" fmla="*/ 369998 w 2617696"/>
                    <a:gd name="connsiteY499" fmla="*/ 1507700 h 1576253"/>
                    <a:gd name="connsiteX500" fmla="*/ 365108 w 2617696"/>
                    <a:gd name="connsiteY500" fmla="*/ 1506070 h 1576253"/>
                    <a:gd name="connsiteX501" fmla="*/ 363478 w 2617696"/>
                    <a:gd name="connsiteY501" fmla="*/ 1497920 h 1576253"/>
                    <a:gd name="connsiteX502" fmla="*/ 360219 w 2617696"/>
                    <a:gd name="connsiteY502" fmla="*/ 1489771 h 1576253"/>
                    <a:gd name="connsiteX503" fmla="*/ 358589 w 2617696"/>
                    <a:gd name="connsiteY503" fmla="*/ 1484881 h 1576253"/>
                    <a:gd name="connsiteX504" fmla="*/ 381408 w 2617696"/>
                    <a:gd name="connsiteY504" fmla="*/ 1483251 h 1576253"/>
                    <a:gd name="connsiteX505" fmla="*/ 387928 w 2617696"/>
                    <a:gd name="connsiteY505" fmla="*/ 1481621 h 1576253"/>
                    <a:gd name="connsiteX506" fmla="*/ 389558 w 2617696"/>
                    <a:gd name="connsiteY506" fmla="*/ 1473471 h 1576253"/>
                    <a:gd name="connsiteX507" fmla="*/ 391188 w 2617696"/>
                    <a:gd name="connsiteY507" fmla="*/ 1466951 h 1576253"/>
                    <a:gd name="connsiteX508" fmla="*/ 394447 w 2617696"/>
                    <a:gd name="connsiteY508" fmla="*/ 1455542 h 1576253"/>
                    <a:gd name="connsiteX509" fmla="*/ 384668 w 2617696"/>
                    <a:gd name="connsiteY509" fmla="*/ 1449022 h 1576253"/>
                    <a:gd name="connsiteX510" fmla="*/ 378148 w 2617696"/>
                    <a:gd name="connsiteY510" fmla="*/ 1455542 h 1576253"/>
                    <a:gd name="connsiteX511" fmla="*/ 365108 w 2617696"/>
                    <a:gd name="connsiteY511" fmla="*/ 1465322 h 1576253"/>
                    <a:gd name="connsiteX512" fmla="*/ 356959 w 2617696"/>
                    <a:gd name="connsiteY512" fmla="*/ 1471841 h 1576253"/>
                    <a:gd name="connsiteX513" fmla="*/ 347179 w 2617696"/>
                    <a:gd name="connsiteY513" fmla="*/ 1475101 h 1576253"/>
                    <a:gd name="connsiteX514" fmla="*/ 337399 w 2617696"/>
                    <a:gd name="connsiteY514" fmla="*/ 1476731 h 1576253"/>
                    <a:gd name="connsiteX515" fmla="*/ 324360 w 2617696"/>
                    <a:gd name="connsiteY515" fmla="*/ 1471841 h 1576253"/>
                    <a:gd name="connsiteX516" fmla="*/ 317840 w 2617696"/>
                    <a:gd name="connsiteY516" fmla="*/ 1479991 h 1576253"/>
                    <a:gd name="connsiteX517" fmla="*/ 309690 w 2617696"/>
                    <a:gd name="connsiteY517" fmla="*/ 1484881 h 1576253"/>
                    <a:gd name="connsiteX518" fmla="*/ 303170 w 2617696"/>
                    <a:gd name="connsiteY518" fmla="*/ 1489771 h 1576253"/>
                    <a:gd name="connsiteX519" fmla="*/ 298281 w 2617696"/>
                    <a:gd name="connsiteY519" fmla="*/ 1491401 h 1576253"/>
                    <a:gd name="connsiteX520" fmla="*/ 293391 w 2617696"/>
                    <a:gd name="connsiteY520" fmla="*/ 1488141 h 1576253"/>
                    <a:gd name="connsiteX521" fmla="*/ 280351 w 2617696"/>
                    <a:gd name="connsiteY521" fmla="*/ 1484881 h 1576253"/>
                    <a:gd name="connsiteX522" fmla="*/ 275461 w 2617696"/>
                    <a:gd name="connsiteY522" fmla="*/ 1493031 h 1576253"/>
                    <a:gd name="connsiteX523" fmla="*/ 268942 w 2617696"/>
                    <a:gd name="connsiteY523" fmla="*/ 1494661 h 1576253"/>
                    <a:gd name="connsiteX524" fmla="*/ 257532 w 2617696"/>
                    <a:gd name="connsiteY524" fmla="*/ 1489771 h 1576253"/>
                    <a:gd name="connsiteX525" fmla="*/ 251012 w 2617696"/>
                    <a:gd name="connsiteY525" fmla="*/ 1488141 h 1576253"/>
                    <a:gd name="connsiteX526" fmla="*/ 249382 w 2617696"/>
                    <a:gd name="connsiteY526" fmla="*/ 1473471 h 1576253"/>
                    <a:gd name="connsiteX527" fmla="*/ 251012 w 2617696"/>
                    <a:gd name="connsiteY527" fmla="*/ 1468581 h 1576253"/>
                    <a:gd name="connsiteX528" fmla="*/ 257532 w 2617696"/>
                    <a:gd name="connsiteY528" fmla="*/ 1466951 h 1576253"/>
                    <a:gd name="connsiteX529" fmla="*/ 278721 w 2617696"/>
                    <a:gd name="connsiteY529" fmla="*/ 1470211 h 1576253"/>
                    <a:gd name="connsiteX530" fmla="*/ 285241 w 2617696"/>
                    <a:gd name="connsiteY530" fmla="*/ 1468581 h 1576253"/>
                    <a:gd name="connsiteX531" fmla="*/ 295021 w 2617696"/>
                    <a:gd name="connsiteY531" fmla="*/ 1458802 h 1576253"/>
                    <a:gd name="connsiteX532" fmla="*/ 296651 w 2617696"/>
                    <a:gd name="connsiteY532" fmla="*/ 1452282 h 1576253"/>
                    <a:gd name="connsiteX533" fmla="*/ 295021 w 2617696"/>
                    <a:gd name="connsiteY533" fmla="*/ 1447392 h 1576253"/>
                    <a:gd name="connsiteX534" fmla="*/ 281981 w 2617696"/>
                    <a:gd name="connsiteY534" fmla="*/ 1442502 h 1576253"/>
                    <a:gd name="connsiteX535" fmla="*/ 280351 w 2617696"/>
                    <a:gd name="connsiteY535" fmla="*/ 1437612 h 1576253"/>
                    <a:gd name="connsiteX536" fmla="*/ 267312 w 2617696"/>
                    <a:gd name="connsiteY536" fmla="*/ 1435983 h 1576253"/>
                    <a:gd name="connsiteX537" fmla="*/ 264052 w 2617696"/>
                    <a:gd name="connsiteY537" fmla="*/ 1431093 h 1576253"/>
                    <a:gd name="connsiteX538" fmla="*/ 262422 w 2617696"/>
                    <a:gd name="connsiteY538" fmla="*/ 1414793 h 1576253"/>
                    <a:gd name="connsiteX539" fmla="*/ 259162 w 2617696"/>
                    <a:gd name="connsiteY539" fmla="*/ 1419683 h 1576253"/>
                    <a:gd name="connsiteX540" fmla="*/ 254272 w 2617696"/>
                    <a:gd name="connsiteY540" fmla="*/ 1429463 h 1576253"/>
                    <a:gd name="connsiteX541" fmla="*/ 244492 w 2617696"/>
                    <a:gd name="connsiteY541" fmla="*/ 1431093 h 1576253"/>
                    <a:gd name="connsiteX542" fmla="*/ 237973 w 2617696"/>
                    <a:gd name="connsiteY542" fmla="*/ 1432723 h 1576253"/>
                    <a:gd name="connsiteX543" fmla="*/ 229823 w 2617696"/>
                    <a:gd name="connsiteY543" fmla="*/ 1408273 h 1576253"/>
                    <a:gd name="connsiteX544" fmla="*/ 210264 w 2617696"/>
                    <a:gd name="connsiteY544" fmla="*/ 1405014 h 1576253"/>
                    <a:gd name="connsiteX545" fmla="*/ 200484 w 2617696"/>
                    <a:gd name="connsiteY545" fmla="*/ 1400124 h 1576253"/>
                    <a:gd name="connsiteX546" fmla="*/ 208634 w 2617696"/>
                    <a:gd name="connsiteY546" fmla="*/ 1390344 h 1576253"/>
                    <a:gd name="connsiteX547" fmla="*/ 220043 w 2617696"/>
                    <a:gd name="connsiteY547" fmla="*/ 1383824 h 1576253"/>
                    <a:gd name="connsiteX548" fmla="*/ 221673 w 2617696"/>
                    <a:gd name="connsiteY548" fmla="*/ 1378934 h 1576253"/>
                    <a:gd name="connsiteX549" fmla="*/ 224933 w 2617696"/>
                    <a:gd name="connsiteY549" fmla="*/ 1374045 h 1576253"/>
                    <a:gd name="connsiteX550" fmla="*/ 223303 w 2617696"/>
                    <a:gd name="connsiteY550" fmla="*/ 1365895 h 1576253"/>
                    <a:gd name="connsiteX551" fmla="*/ 220043 w 2617696"/>
                    <a:gd name="connsiteY551" fmla="*/ 1361005 h 1576253"/>
                    <a:gd name="connsiteX552" fmla="*/ 218413 w 2617696"/>
                    <a:gd name="connsiteY552" fmla="*/ 1346335 h 1576253"/>
                    <a:gd name="connsiteX553" fmla="*/ 216783 w 2617696"/>
                    <a:gd name="connsiteY553" fmla="*/ 1341446 h 1576253"/>
                    <a:gd name="connsiteX554" fmla="*/ 197224 w 2617696"/>
                    <a:gd name="connsiteY554" fmla="*/ 1333296 h 1576253"/>
                    <a:gd name="connsiteX555" fmla="*/ 189074 w 2617696"/>
                    <a:gd name="connsiteY555" fmla="*/ 1321886 h 1576253"/>
                    <a:gd name="connsiteX556" fmla="*/ 177665 w 2617696"/>
                    <a:gd name="connsiteY556" fmla="*/ 1320256 h 1576253"/>
                    <a:gd name="connsiteX557" fmla="*/ 161365 w 2617696"/>
                    <a:gd name="connsiteY557" fmla="*/ 1330036 h 1576253"/>
                    <a:gd name="connsiteX558" fmla="*/ 156475 w 2617696"/>
                    <a:gd name="connsiteY558" fmla="*/ 1334926 h 1576253"/>
                    <a:gd name="connsiteX559" fmla="*/ 154845 w 2617696"/>
                    <a:gd name="connsiteY559" fmla="*/ 1326776 h 1576253"/>
                    <a:gd name="connsiteX560" fmla="*/ 153215 w 2617696"/>
                    <a:gd name="connsiteY560" fmla="*/ 1321886 h 1576253"/>
                    <a:gd name="connsiteX561" fmla="*/ 149955 w 2617696"/>
                    <a:gd name="connsiteY561" fmla="*/ 1312107 h 1576253"/>
                    <a:gd name="connsiteX562" fmla="*/ 141806 w 2617696"/>
                    <a:gd name="connsiteY562" fmla="*/ 1297437 h 1576253"/>
                    <a:gd name="connsiteX563" fmla="*/ 135286 w 2617696"/>
                    <a:gd name="connsiteY563" fmla="*/ 1299067 h 1576253"/>
                    <a:gd name="connsiteX564" fmla="*/ 130396 w 2617696"/>
                    <a:gd name="connsiteY564" fmla="*/ 1302327 h 1576253"/>
                    <a:gd name="connsiteX565" fmla="*/ 128766 w 2617696"/>
                    <a:gd name="connsiteY565" fmla="*/ 1307217 h 1576253"/>
                    <a:gd name="connsiteX566" fmla="*/ 125506 w 2617696"/>
                    <a:gd name="connsiteY566" fmla="*/ 1320256 h 1576253"/>
                    <a:gd name="connsiteX567" fmla="*/ 118987 w 2617696"/>
                    <a:gd name="connsiteY567" fmla="*/ 1325146 h 1576253"/>
                    <a:gd name="connsiteX568" fmla="*/ 115727 w 2617696"/>
                    <a:gd name="connsiteY568" fmla="*/ 1344706 h 1576253"/>
                    <a:gd name="connsiteX569" fmla="*/ 110837 w 2617696"/>
                    <a:gd name="connsiteY569" fmla="*/ 1339816 h 1576253"/>
                    <a:gd name="connsiteX570" fmla="*/ 104317 w 2617696"/>
                    <a:gd name="connsiteY570" fmla="*/ 1336556 h 1576253"/>
                    <a:gd name="connsiteX571" fmla="*/ 97797 w 2617696"/>
                    <a:gd name="connsiteY571" fmla="*/ 1325146 h 1576253"/>
                    <a:gd name="connsiteX572" fmla="*/ 92907 w 2617696"/>
                    <a:gd name="connsiteY572" fmla="*/ 1318626 h 1576253"/>
                    <a:gd name="connsiteX573" fmla="*/ 88018 w 2617696"/>
                    <a:gd name="connsiteY573" fmla="*/ 1305587 h 1576253"/>
                    <a:gd name="connsiteX574" fmla="*/ 78238 w 2617696"/>
                    <a:gd name="connsiteY574" fmla="*/ 1310477 h 1576253"/>
                    <a:gd name="connsiteX575" fmla="*/ 70088 w 2617696"/>
                    <a:gd name="connsiteY575" fmla="*/ 1308847 h 1576253"/>
                    <a:gd name="connsiteX576" fmla="*/ 71718 w 2617696"/>
                    <a:gd name="connsiteY576" fmla="*/ 1303957 h 1576253"/>
                    <a:gd name="connsiteX577" fmla="*/ 76608 w 2617696"/>
                    <a:gd name="connsiteY577" fmla="*/ 1300697 h 1576253"/>
                    <a:gd name="connsiteX578" fmla="*/ 79868 w 2617696"/>
                    <a:gd name="connsiteY578" fmla="*/ 1295807 h 1576253"/>
                    <a:gd name="connsiteX579" fmla="*/ 89647 w 2617696"/>
                    <a:gd name="connsiteY579" fmla="*/ 1286027 h 1576253"/>
                    <a:gd name="connsiteX580" fmla="*/ 92907 w 2617696"/>
                    <a:gd name="connsiteY580" fmla="*/ 1277878 h 1576253"/>
                    <a:gd name="connsiteX581" fmla="*/ 89647 w 2617696"/>
                    <a:gd name="connsiteY581" fmla="*/ 1272988 h 1576253"/>
                    <a:gd name="connsiteX582" fmla="*/ 81498 w 2617696"/>
                    <a:gd name="connsiteY582" fmla="*/ 1271358 h 1576253"/>
                    <a:gd name="connsiteX583" fmla="*/ 79868 w 2617696"/>
                    <a:gd name="connsiteY583" fmla="*/ 1263208 h 1576253"/>
                    <a:gd name="connsiteX584" fmla="*/ 78238 w 2617696"/>
                    <a:gd name="connsiteY584" fmla="*/ 1258318 h 1576253"/>
                    <a:gd name="connsiteX585" fmla="*/ 71718 w 2617696"/>
                    <a:gd name="connsiteY585" fmla="*/ 1256688 h 1576253"/>
                    <a:gd name="connsiteX586" fmla="*/ 65198 w 2617696"/>
                    <a:gd name="connsiteY586" fmla="*/ 1242019 h 1576253"/>
                    <a:gd name="connsiteX587" fmla="*/ 74978 w 2617696"/>
                    <a:gd name="connsiteY587" fmla="*/ 1232239 h 1576253"/>
                    <a:gd name="connsiteX588" fmla="*/ 81498 w 2617696"/>
                    <a:gd name="connsiteY588" fmla="*/ 1233869 h 1576253"/>
                    <a:gd name="connsiteX589" fmla="*/ 86388 w 2617696"/>
                    <a:gd name="connsiteY589" fmla="*/ 1238759 h 1576253"/>
                    <a:gd name="connsiteX590" fmla="*/ 99427 w 2617696"/>
                    <a:gd name="connsiteY590" fmla="*/ 1242019 h 1576253"/>
                    <a:gd name="connsiteX591" fmla="*/ 105947 w 2617696"/>
                    <a:gd name="connsiteY591" fmla="*/ 1246909 h 1576253"/>
                    <a:gd name="connsiteX592" fmla="*/ 109207 w 2617696"/>
                    <a:gd name="connsiteY592" fmla="*/ 1268098 h 1576253"/>
                    <a:gd name="connsiteX593" fmla="*/ 109207 w 2617696"/>
                    <a:gd name="connsiteY593" fmla="*/ 1277878 h 1576253"/>
                    <a:gd name="connsiteX594" fmla="*/ 120616 w 2617696"/>
                    <a:gd name="connsiteY594" fmla="*/ 1284397 h 1576253"/>
                    <a:gd name="connsiteX595" fmla="*/ 122246 w 2617696"/>
                    <a:gd name="connsiteY595" fmla="*/ 1269728 h 1576253"/>
                    <a:gd name="connsiteX596" fmla="*/ 123876 w 2617696"/>
                    <a:gd name="connsiteY596" fmla="*/ 1264838 h 1576253"/>
                    <a:gd name="connsiteX597" fmla="*/ 130396 w 2617696"/>
                    <a:gd name="connsiteY597" fmla="*/ 1272988 h 1576253"/>
                    <a:gd name="connsiteX598" fmla="*/ 145066 w 2617696"/>
                    <a:gd name="connsiteY598" fmla="*/ 1269728 h 1576253"/>
                    <a:gd name="connsiteX599" fmla="*/ 159735 w 2617696"/>
                    <a:gd name="connsiteY599" fmla="*/ 1266468 h 1576253"/>
                    <a:gd name="connsiteX600" fmla="*/ 179295 w 2617696"/>
                    <a:gd name="connsiteY600" fmla="*/ 1264838 h 1576253"/>
                    <a:gd name="connsiteX601" fmla="*/ 187444 w 2617696"/>
                    <a:gd name="connsiteY601" fmla="*/ 1261578 h 1576253"/>
                    <a:gd name="connsiteX602" fmla="*/ 185814 w 2617696"/>
                    <a:gd name="connsiteY602" fmla="*/ 1253428 h 1576253"/>
                    <a:gd name="connsiteX603" fmla="*/ 179295 w 2617696"/>
                    <a:gd name="connsiteY603" fmla="*/ 1251799 h 1576253"/>
                    <a:gd name="connsiteX604" fmla="*/ 184056 w 2617696"/>
                    <a:gd name="connsiteY604" fmla="*/ 1247990 h 1576253"/>
                    <a:gd name="connsiteX605" fmla="*/ 178136 w 2617696"/>
                    <a:gd name="connsiteY605" fmla="*/ 1247031 h 1576253"/>
                    <a:gd name="connsiteX606" fmla="*/ 166255 w 2617696"/>
                    <a:gd name="connsiteY606" fmla="*/ 1248539 h 1576253"/>
                    <a:gd name="connsiteX607" fmla="*/ 162995 w 2617696"/>
                    <a:gd name="connsiteY607" fmla="*/ 1253428 h 1576253"/>
                    <a:gd name="connsiteX608" fmla="*/ 156475 w 2617696"/>
                    <a:gd name="connsiteY608" fmla="*/ 1251799 h 1576253"/>
                    <a:gd name="connsiteX609" fmla="*/ 143436 w 2617696"/>
                    <a:gd name="connsiteY609" fmla="*/ 1246909 h 1576253"/>
                    <a:gd name="connsiteX610" fmla="*/ 138546 w 2617696"/>
                    <a:gd name="connsiteY610" fmla="*/ 1227349 h 1576253"/>
                    <a:gd name="connsiteX611" fmla="*/ 132026 w 2617696"/>
                    <a:gd name="connsiteY611" fmla="*/ 1238759 h 1576253"/>
                    <a:gd name="connsiteX612" fmla="*/ 125506 w 2617696"/>
                    <a:gd name="connsiteY612" fmla="*/ 1228979 h 1576253"/>
                    <a:gd name="connsiteX613" fmla="*/ 122246 w 2617696"/>
                    <a:gd name="connsiteY613" fmla="*/ 1220830 h 1576253"/>
                    <a:gd name="connsiteX614" fmla="*/ 120616 w 2617696"/>
                    <a:gd name="connsiteY614" fmla="*/ 1212680 h 1576253"/>
                    <a:gd name="connsiteX615" fmla="*/ 128766 w 2617696"/>
                    <a:gd name="connsiteY615" fmla="*/ 1198010 h 1576253"/>
                    <a:gd name="connsiteX616" fmla="*/ 136891 w 2617696"/>
                    <a:gd name="connsiteY616" fmla="*/ 1197107 h 1576253"/>
                    <a:gd name="connsiteX617" fmla="*/ 138546 w 2617696"/>
                    <a:gd name="connsiteY617" fmla="*/ 1202900 h 1576253"/>
                    <a:gd name="connsiteX618" fmla="*/ 145066 w 2617696"/>
                    <a:gd name="connsiteY618" fmla="*/ 1201270 h 1576253"/>
                    <a:gd name="connsiteX619" fmla="*/ 143436 w 2617696"/>
                    <a:gd name="connsiteY619" fmla="*/ 1196380 h 1576253"/>
                    <a:gd name="connsiteX620" fmla="*/ 136891 w 2617696"/>
                    <a:gd name="connsiteY620" fmla="*/ 1197107 h 1576253"/>
                    <a:gd name="connsiteX621" fmla="*/ 135286 w 2617696"/>
                    <a:gd name="connsiteY621" fmla="*/ 1191491 h 1576253"/>
                    <a:gd name="connsiteX622" fmla="*/ 136916 w 2617696"/>
                    <a:gd name="connsiteY622" fmla="*/ 1184971 h 1576253"/>
                    <a:gd name="connsiteX623" fmla="*/ 158105 w 2617696"/>
                    <a:gd name="connsiteY623" fmla="*/ 1183341 h 1576253"/>
                    <a:gd name="connsiteX624" fmla="*/ 162995 w 2617696"/>
                    <a:gd name="connsiteY624" fmla="*/ 1181711 h 1576253"/>
                    <a:gd name="connsiteX625" fmla="*/ 158105 w 2617696"/>
                    <a:gd name="connsiteY625" fmla="*/ 1170301 h 1576253"/>
                    <a:gd name="connsiteX626" fmla="*/ 153215 w 2617696"/>
                    <a:gd name="connsiteY626" fmla="*/ 1168671 h 1576253"/>
                    <a:gd name="connsiteX627" fmla="*/ 145066 w 2617696"/>
                    <a:gd name="connsiteY627" fmla="*/ 1167041 h 1576253"/>
                    <a:gd name="connsiteX628" fmla="*/ 141806 w 2617696"/>
                    <a:gd name="connsiteY628" fmla="*/ 1162151 h 1576253"/>
                    <a:gd name="connsiteX629" fmla="*/ 140176 w 2617696"/>
                    <a:gd name="connsiteY629" fmla="*/ 1168671 h 1576253"/>
                    <a:gd name="connsiteX630" fmla="*/ 114097 w 2617696"/>
                    <a:gd name="connsiteY630" fmla="*/ 1175191 h 1576253"/>
                    <a:gd name="connsiteX631" fmla="*/ 112467 w 2617696"/>
                    <a:gd name="connsiteY631" fmla="*/ 1167041 h 1576253"/>
                    <a:gd name="connsiteX632" fmla="*/ 114097 w 2617696"/>
                    <a:gd name="connsiteY632" fmla="*/ 1160522 h 1576253"/>
                    <a:gd name="connsiteX633" fmla="*/ 123876 w 2617696"/>
                    <a:gd name="connsiteY633" fmla="*/ 1149112 h 1576253"/>
                    <a:gd name="connsiteX634" fmla="*/ 125506 w 2617696"/>
                    <a:gd name="connsiteY634" fmla="*/ 1144222 h 1576253"/>
                    <a:gd name="connsiteX635" fmla="*/ 117357 w 2617696"/>
                    <a:gd name="connsiteY635" fmla="*/ 1140962 h 1576253"/>
                    <a:gd name="connsiteX636" fmla="*/ 117357 w 2617696"/>
                    <a:gd name="connsiteY636" fmla="*/ 1129553 h 1576253"/>
                    <a:gd name="connsiteX637" fmla="*/ 104317 w 2617696"/>
                    <a:gd name="connsiteY637" fmla="*/ 1127923 h 1576253"/>
                    <a:gd name="connsiteX638" fmla="*/ 99427 w 2617696"/>
                    <a:gd name="connsiteY638" fmla="*/ 1126293 h 1576253"/>
                    <a:gd name="connsiteX639" fmla="*/ 97797 w 2617696"/>
                    <a:gd name="connsiteY639" fmla="*/ 1121403 h 1576253"/>
                    <a:gd name="connsiteX640" fmla="*/ 84758 w 2617696"/>
                    <a:gd name="connsiteY640" fmla="*/ 1118143 h 1576253"/>
                    <a:gd name="connsiteX641" fmla="*/ 88018 w 2617696"/>
                    <a:gd name="connsiteY641" fmla="*/ 1113253 h 1576253"/>
                    <a:gd name="connsiteX642" fmla="*/ 101057 w 2617696"/>
                    <a:gd name="connsiteY642" fmla="*/ 1098584 h 1576253"/>
                    <a:gd name="connsiteX643" fmla="*/ 96167 w 2617696"/>
                    <a:gd name="connsiteY643" fmla="*/ 1101843 h 1576253"/>
                    <a:gd name="connsiteX644" fmla="*/ 99427 w 2617696"/>
                    <a:gd name="connsiteY644" fmla="*/ 1093694 h 1576253"/>
                    <a:gd name="connsiteX645" fmla="*/ 110837 w 2617696"/>
                    <a:gd name="connsiteY645" fmla="*/ 1088804 h 1576253"/>
                    <a:gd name="connsiteX646" fmla="*/ 112467 w 2617696"/>
                    <a:gd name="connsiteY646" fmla="*/ 1083914 h 1576253"/>
                    <a:gd name="connsiteX647" fmla="*/ 120616 w 2617696"/>
                    <a:gd name="connsiteY647" fmla="*/ 1061095 h 1576253"/>
                    <a:gd name="connsiteX648" fmla="*/ 112467 w 2617696"/>
                    <a:gd name="connsiteY648" fmla="*/ 1057835 h 1576253"/>
                    <a:gd name="connsiteX649" fmla="*/ 105947 w 2617696"/>
                    <a:gd name="connsiteY649" fmla="*/ 1059465 h 1576253"/>
                    <a:gd name="connsiteX650" fmla="*/ 101057 w 2617696"/>
                    <a:gd name="connsiteY650" fmla="*/ 1057835 h 1576253"/>
                    <a:gd name="connsiteX651" fmla="*/ 96167 w 2617696"/>
                    <a:gd name="connsiteY651" fmla="*/ 1061095 h 1576253"/>
                    <a:gd name="connsiteX652" fmla="*/ 83128 w 2617696"/>
                    <a:gd name="connsiteY652" fmla="*/ 1064355 h 1576253"/>
                    <a:gd name="connsiteX653" fmla="*/ 78238 w 2617696"/>
                    <a:gd name="connsiteY653" fmla="*/ 1067615 h 1576253"/>
                    <a:gd name="connsiteX654" fmla="*/ 71718 w 2617696"/>
                    <a:gd name="connsiteY654" fmla="*/ 1070874 h 1576253"/>
                    <a:gd name="connsiteX655" fmla="*/ 65198 w 2617696"/>
                    <a:gd name="connsiteY655" fmla="*/ 1075764 h 1576253"/>
                    <a:gd name="connsiteX656" fmla="*/ 60308 w 2617696"/>
                    <a:gd name="connsiteY656" fmla="*/ 1079024 h 1576253"/>
                    <a:gd name="connsiteX657" fmla="*/ 44009 w 2617696"/>
                    <a:gd name="connsiteY657" fmla="*/ 1082284 h 1576253"/>
                    <a:gd name="connsiteX658" fmla="*/ 40749 w 2617696"/>
                    <a:gd name="connsiteY658" fmla="*/ 1087174 h 1576253"/>
                    <a:gd name="connsiteX659" fmla="*/ 30969 w 2617696"/>
                    <a:gd name="connsiteY659" fmla="*/ 1090434 h 1576253"/>
                    <a:gd name="connsiteX660" fmla="*/ 19560 w 2617696"/>
                    <a:gd name="connsiteY660" fmla="*/ 1096954 h 1576253"/>
                    <a:gd name="connsiteX661" fmla="*/ 1630 w 2617696"/>
                    <a:gd name="connsiteY661" fmla="*/ 1096954 h 1576253"/>
                    <a:gd name="connsiteX662" fmla="*/ 0 w 2617696"/>
                    <a:gd name="connsiteY662" fmla="*/ 1092064 h 1576253"/>
                    <a:gd name="connsiteX663" fmla="*/ 1630 w 2617696"/>
                    <a:gd name="connsiteY663" fmla="*/ 1077394 h 1576253"/>
                    <a:gd name="connsiteX664" fmla="*/ 6520 w 2617696"/>
                    <a:gd name="connsiteY664" fmla="*/ 1072504 h 1576253"/>
                    <a:gd name="connsiteX665" fmla="*/ 8150 w 2617696"/>
                    <a:gd name="connsiteY665" fmla="*/ 1059465 h 1576253"/>
                    <a:gd name="connsiteX666" fmla="*/ 3260 w 2617696"/>
                    <a:gd name="connsiteY666" fmla="*/ 1038276 h 1576253"/>
                    <a:gd name="connsiteX667" fmla="*/ 4890 w 2617696"/>
                    <a:gd name="connsiteY667" fmla="*/ 1002417 h 1576253"/>
                    <a:gd name="connsiteX668" fmla="*/ 17930 w 2617696"/>
                    <a:gd name="connsiteY668" fmla="*/ 1000787 h 1576253"/>
                    <a:gd name="connsiteX669" fmla="*/ 22820 w 2617696"/>
                    <a:gd name="connsiteY669" fmla="*/ 992637 h 1576253"/>
                    <a:gd name="connsiteX670" fmla="*/ 24450 w 2617696"/>
                    <a:gd name="connsiteY670" fmla="*/ 971448 h 1576253"/>
                    <a:gd name="connsiteX671" fmla="*/ 32599 w 2617696"/>
                    <a:gd name="connsiteY671" fmla="*/ 969818 h 1576253"/>
                    <a:gd name="connsiteX672" fmla="*/ 40749 w 2617696"/>
                    <a:gd name="connsiteY672" fmla="*/ 960038 h 1576253"/>
                    <a:gd name="connsiteX673" fmla="*/ 52159 w 2617696"/>
                    <a:gd name="connsiteY673" fmla="*/ 953518 h 1576253"/>
                    <a:gd name="connsiteX674" fmla="*/ 53789 w 2617696"/>
                    <a:gd name="connsiteY674" fmla="*/ 932329 h 1576253"/>
                    <a:gd name="connsiteX675" fmla="*/ 57049 w 2617696"/>
                    <a:gd name="connsiteY675" fmla="*/ 917660 h 1576253"/>
                    <a:gd name="connsiteX676" fmla="*/ 66828 w 2617696"/>
                    <a:gd name="connsiteY676" fmla="*/ 916030 h 1576253"/>
                    <a:gd name="connsiteX677" fmla="*/ 73348 w 2617696"/>
                    <a:gd name="connsiteY677" fmla="*/ 912770 h 1576253"/>
                    <a:gd name="connsiteX678" fmla="*/ 79868 w 2617696"/>
                    <a:gd name="connsiteY678" fmla="*/ 911140 h 1576253"/>
                    <a:gd name="connsiteX679" fmla="*/ 97797 w 2617696"/>
                    <a:gd name="connsiteY679" fmla="*/ 909510 h 1576253"/>
                    <a:gd name="connsiteX680" fmla="*/ 102687 w 2617696"/>
                    <a:gd name="connsiteY680" fmla="*/ 907880 h 1576253"/>
                    <a:gd name="connsiteX681" fmla="*/ 107577 w 2617696"/>
                    <a:gd name="connsiteY681" fmla="*/ 902990 h 1576253"/>
                    <a:gd name="connsiteX682" fmla="*/ 112467 w 2617696"/>
                    <a:gd name="connsiteY682" fmla="*/ 899730 h 1576253"/>
                    <a:gd name="connsiteX683" fmla="*/ 117356 w 2617696"/>
                    <a:gd name="connsiteY683" fmla="*/ 896470 h 1576253"/>
                    <a:gd name="connsiteX684" fmla="*/ 141806 w 2617696"/>
                    <a:gd name="connsiteY684" fmla="*/ 904620 h 1576253"/>
                    <a:gd name="connsiteX685" fmla="*/ 146696 w 2617696"/>
                    <a:gd name="connsiteY685" fmla="*/ 906250 h 1576253"/>
                    <a:gd name="connsiteX686" fmla="*/ 177665 w 2617696"/>
                    <a:gd name="connsiteY686" fmla="*/ 902990 h 1576253"/>
                    <a:gd name="connsiteX687" fmla="*/ 190704 w 2617696"/>
                    <a:gd name="connsiteY687" fmla="*/ 901360 h 1576253"/>
                    <a:gd name="connsiteX688" fmla="*/ 195594 w 2617696"/>
                    <a:gd name="connsiteY688" fmla="*/ 899730 h 1576253"/>
                    <a:gd name="connsiteX689" fmla="*/ 205374 w 2617696"/>
                    <a:gd name="connsiteY689" fmla="*/ 888320 h 1576253"/>
                    <a:gd name="connsiteX690" fmla="*/ 203744 w 2617696"/>
                    <a:gd name="connsiteY690" fmla="*/ 883431 h 1576253"/>
                    <a:gd name="connsiteX691" fmla="*/ 189074 w 2617696"/>
                    <a:gd name="connsiteY691" fmla="*/ 880171 h 1576253"/>
                    <a:gd name="connsiteX692" fmla="*/ 184184 w 2617696"/>
                    <a:gd name="connsiteY692" fmla="*/ 876911 h 1576253"/>
                    <a:gd name="connsiteX693" fmla="*/ 192334 w 2617696"/>
                    <a:gd name="connsiteY693" fmla="*/ 867131 h 1576253"/>
                    <a:gd name="connsiteX694" fmla="*/ 211893 w 2617696"/>
                    <a:gd name="connsiteY694" fmla="*/ 865501 h 1576253"/>
                    <a:gd name="connsiteX695" fmla="*/ 223303 w 2617696"/>
                    <a:gd name="connsiteY695" fmla="*/ 862241 h 1576253"/>
                    <a:gd name="connsiteX696" fmla="*/ 228193 w 2617696"/>
                    <a:gd name="connsiteY696" fmla="*/ 860611 h 1576253"/>
                    <a:gd name="connsiteX697" fmla="*/ 229823 w 2617696"/>
                    <a:gd name="connsiteY697" fmla="*/ 868761 h 1576253"/>
                    <a:gd name="connsiteX698" fmla="*/ 228193 w 2617696"/>
                    <a:gd name="connsiteY698" fmla="*/ 873651 h 1576253"/>
                    <a:gd name="connsiteX699" fmla="*/ 221673 w 2617696"/>
                    <a:gd name="connsiteY699" fmla="*/ 878541 h 1576253"/>
                    <a:gd name="connsiteX700" fmla="*/ 218413 w 2617696"/>
                    <a:gd name="connsiteY700" fmla="*/ 883431 h 1576253"/>
                    <a:gd name="connsiteX701" fmla="*/ 220043 w 2617696"/>
                    <a:gd name="connsiteY701" fmla="*/ 888320 h 1576253"/>
                    <a:gd name="connsiteX702" fmla="*/ 231453 w 2617696"/>
                    <a:gd name="connsiteY702" fmla="*/ 885061 h 1576253"/>
                    <a:gd name="connsiteX703" fmla="*/ 244492 w 2617696"/>
                    <a:gd name="connsiteY703" fmla="*/ 883431 h 1576253"/>
                    <a:gd name="connsiteX704" fmla="*/ 251012 w 2617696"/>
                    <a:gd name="connsiteY704" fmla="*/ 880171 h 1576253"/>
                    <a:gd name="connsiteX705" fmla="*/ 255902 w 2617696"/>
                    <a:gd name="connsiteY705" fmla="*/ 878541 h 1576253"/>
                    <a:gd name="connsiteX706" fmla="*/ 260792 w 2617696"/>
                    <a:gd name="connsiteY706" fmla="*/ 875281 h 1576253"/>
                    <a:gd name="connsiteX707" fmla="*/ 272201 w 2617696"/>
                    <a:gd name="connsiteY707" fmla="*/ 872021 h 1576253"/>
                    <a:gd name="connsiteX708" fmla="*/ 301541 w 2617696"/>
                    <a:gd name="connsiteY708" fmla="*/ 868761 h 1576253"/>
                    <a:gd name="connsiteX709" fmla="*/ 308060 w 2617696"/>
                    <a:gd name="connsiteY709" fmla="*/ 865501 h 1576253"/>
                    <a:gd name="connsiteX710" fmla="*/ 327620 w 2617696"/>
                    <a:gd name="connsiteY710" fmla="*/ 863871 h 1576253"/>
                    <a:gd name="connsiteX711" fmla="*/ 335769 w 2617696"/>
                    <a:gd name="connsiteY711" fmla="*/ 857351 h 1576253"/>
                    <a:gd name="connsiteX712" fmla="*/ 353699 w 2617696"/>
                    <a:gd name="connsiteY712" fmla="*/ 852462 h 1576253"/>
                    <a:gd name="connsiteX713" fmla="*/ 360219 w 2617696"/>
                    <a:gd name="connsiteY713" fmla="*/ 854092 h 1576253"/>
                    <a:gd name="connsiteX714" fmla="*/ 371628 w 2617696"/>
                    <a:gd name="connsiteY714" fmla="*/ 854092 h 1576253"/>
                    <a:gd name="connsiteX715" fmla="*/ 376518 w 2617696"/>
                    <a:gd name="connsiteY715" fmla="*/ 849202 h 1576253"/>
                    <a:gd name="connsiteX716" fmla="*/ 381408 w 2617696"/>
                    <a:gd name="connsiteY716" fmla="*/ 847572 h 1576253"/>
                    <a:gd name="connsiteX717" fmla="*/ 379778 w 2617696"/>
                    <a:gd name="connsiteY717" fmla="*/ 836162 h 1576253"/>
                    <a:gd name="connsiteX718" fmla="*/ 368368 w 2617696"/>
                    <a:gd name="connsiteY718" fmla="*/ 831272 h 1576253"/>
                    <a:gd name="connsiteX719" fmla="*/ 348809 w 2617696"/>
                    <a:gd name="connsiteY719" fmla="*/ 826383 h 1576253"/>
                    <a:gd name="connsiteX720" fmla="*/ 337399 w 2617696"/>
                    <a:gd name="connsiteY720" fmla="*/ 832902 h 1576253"/>
                    <a:gd name="connsiteX721" fmla="*/ 332510 w 2617696"/>
                    <a:gd name="connsiteY721" fmla="*/ 836162 h 1576253"/>
                    <a:gd name="connsiteX722" fmla="*/ 327620 w 2617696"/>
                    <a:gd name="connsiteY722" fmla="*/ 829642 h 1576253"/>
                    <a:gd name="connsiteX723" fmla="*/ 337399 w 2617696"/>
                    <a:gd name="connsiteY723" fmla="*/ 826383 h 1576253"/>
                    <a:gd name="connsiteX724" fmla="*/ 347179 w 2617696"/>
                    <a:gd name="connsiteY724" fmla="*/ 813343 h 1576253"/>
                    <a:gd name="connsiteX725" fmla="*/ 350439 w 2617696"/>
                    <a:gd name="connsiteY725" fmla="*/ 808453 h 1576253"/>
                    <a:gd name="connsiteX726" fmla="*/ 360219 w 2617696"/>
                    <a:gd name="connsiteY726" fmla="*/ 806823 h 1576253"/>
                    <a:gd name="connsiteX727" fmla="*/ 365108 w 2617696"/>
                    <a:gd name="connsiteY727" fmla="*/ 808453 h 1576253"/>
                    <a:gd name="connsiteX728" fmla="*/ 369998 w 2617696"/>
                    <a:gd name="connsiteY728" fmla="*/ 801933 h 1576253"/>
                    <a:gd name="connsiteX729" fmla="*/ 374888 w 2617696"/>
                    <a:gd name="connsiteY729" fmla="*/ 798673 h 1576253"/>
                    <a:gd name="connsiteX730" fmla="*/ 381408 w 2617696"/>
                    <a:gd name="connsiteY730" fmla="*/ 793784 h 1576253"/>
                    <a:gd name="connsiteX731" fmla="*/ 386298 w 2617696"/>
                    <a:gd name="connsiteY731" fmla="*/ 790524 h 1576253"/>
                    <a:gd name="connsiteX732" fmla="*/ 387928 w 2617696"/>
                    <a:gd name="connsiteY732" fmla="*/ 780744 h 1576253"/>
                    <a:gd name="connsiteX733" fmla="*/ 397707 w 2617696"/>
                    <a:gd name="connsiteY733" fmla="*/ 785634 h 1576253"/>
                    <a:gd name="connsiteX734" fmla="*/ 402597 w 2617696"/>
                    <a:gd name="connsiteY734" fmla="*/ 787264 h 1576253"/>
                    <a:gd name="connsiteX735" fmla="*/ 409117 w 2617696"/>
                    <a:gd name="connsiteY735" fmla="*/ 777484 h 1576253"/>
                    <a:gd name="connsiteX736" fmla="*/ 430306 w 2617696"/>
                    <a:gd name="connsiteY736" fmla="*/ 769334 h 1576253"/>
                    <a:gd name="connsiteX737" fmla="*/ 436826 w 2617696"/>
                    <a:gd name="connsiteY737" fmla="*/ 762815 h 1576253"/>
                    <a:gd name="connsiteX738" fmla="*/ 441716 w 2617696"/>
                    <a:gd name="connsiteY738" fmla="*/ 761185 h 1576253"/>
                    <a:gd name="connsiteX739" fmla="*/ 461275 w 2617696"/>
                    <a:gd name="connsiteY739" fmla="*/ 762815 h 1576253"/>
                    <a:gd name="connsiteX740" fmla="*/ 466165 w 2617696"/>
                    <a:gd name="connsiteY740" fmla="*/ 759555 h 1576253"/>
                    <a:gd name="connsiteX741" fmla="*/ 482465 w 2617696"/>
                    <a:gd name="connsiteY741" fmla="*/ 753035 h 1576253"/>
                    <a:gd name="connsiteX742" fmla="*/ 485724 w 2617696"/>
                    <a:gd name="connsiteY742" fmla="*/ 746515 h 1576253"/>
                    <a:gd name="connsiteX743" fmla="*/ 433566 w 2617696"/>
                    <a:gd name="connsiteY743" fmla="*/ 743255 h 1576253"/>
                    <a:gd name="connsiteX744" fmla="*/ 427046 w 2617696"/>
                    <a:gd name="connsiteY744" fmla="*/ 748145 h 1576253"/>
                    <a:gd name="connsiteX745" fmla="*/ 422157 w 2617696"/>
                    <a:gd name="connsiteY745" fmla="*/ 751405 h 1576253"/>
                    <a:gd name="connsiteX746" fmla="*/ 412377 w 2617696"/>
                    <a:gd name="connsiteY746" fmla="*/ 762815 h 1576253"/>
                    <a:gd name="connsiteX747" fmla="*/ 389558 w 2617696"/>
                    <a:gd name="connsiteY747" fmla="*/ 766074 h 1576253"/>
                    <a:gd name="connsiteX748" fmla="*/ 384668 w 2617696"/>
                    <a:gd name="connsiteY748" fmla="*/ 764445 h 1576253"/>
                    <a:gd name="connsiteX749" fmla="*/ 381408 w 2617696"/>
                    <a:gd name="connsiteY749" fmla="*/ 759555 h 1576253"/>
                    <a:gd name="connsiteX750" fmla="*/ 376476 w 2617696"/>
                    <a:gd name="connsiteY750" fmla="*/ 754660 h 1576253"/>
                    <a:gd name="connsiteX751" fmla="*/ 374586 w 2617696"/>
                    <a:gd name="connsiteY751" fmla="*/ 751791 h 1576253"/>
                    <a:gd name="connsiteX752" fmla="*/ 376518 w 2617696"/>
                    <a:gd name="connsiteY752" fmla="*/ 751405 h 1576253"/>
                    <a:gd name="connsiteX753" fmla="*/ 376009 w 2617696"/>
                    <a:gd name="connsiteY753" fmla="*/ 749431 h 1576253"/>
                    <a:gd name="connsiteX754" fmla="*/ 386298 w 2617696"/>
                    <a:gd name="connsiteY754" fmla="*/ 748145 h 1576253"/>
                    <a:gd name="connsiteX755" fmla="*/ 386299 w 2617696"/>
                    <a:gd name="connsiteY755" fmla="*/ 726956 h 1576253"/>
                    <a:gd name="connsiteX756" fmla="*/ 391188 w 2617696"/>
                    <a:gd name="connsiteY756" fmla="*/ 725326 h 1576253"/>
                    <a:gd name="connsiteX757" fmla="*/ 387928 w 2617696"/>
                    <a:gd name="connsiteY757" fmla="*/ 713916 h 1576253"/>
                    <a:gd name="connsiteX758" fmla="*/ 381408 w 2617696"/>
                    <a:gd name="connsiteY758" fmla="*/ 722066 h 1576253"/>
                    <a:gd name="connsiteX759" fmla="*/ 376518 w 2617696"/>
                    <a:gd name="connsiteY759" fmla="*/ 723696 h 1576253"/>
                    <a:gd name="connsiteX760" fmla="*/ 373258 w 2617696"/>
                    <a:gd name="connsiteY760" fmla="*/ 733476 h 1576253"/>
                    <a:gd name="connsiteX761" fmla="*/ 369998 w 2617696"/>
                    <a:gd name="connsiteY761" fmla="*/ 739995 h 1576253"/>
                    <a:gd name="connsiteX762" fmla="*/ 374810 w 2617696"/>
                    <a:gd name="connsiteY762" fmla="*/ 744789 h 1576253"/>
                    <a:gd name="connsiteX763" fmla="*/ 376009 w 2617696"/>
                    <a:gd name="connsiteY763" fmla="*/ 749431 h 1576253"/>
                    <a:gd name="connsiteX764" fmla="*/ 373258 w 2617696"/>
                    <a:gd name="connsiteY764" fmla="*/ 749775 h 1576253"/>
                    <a:gd name="connsiteX765" fmla="*/ 374586 w 2617696"/>
                    <a:gd name="connsiteY765" fmla="*/ 751791 h 1576253"/>
                    <a:gd name="connsiteX766" fmla="*/ 368368 w 2617696"/>
                    <a:gd name="connsiteY766" fmla="*/ 753035 h 1576253"/>
                    <a:gd name="connsiteX767" fmla="*/ 358589 w 2617696"/>
                    <a:gd name="connsiteY767" fmla="*/ 749775 h 1576253"/>
                    <a:gd name="connsiteX768" fmla="*/ 355329 w 2617696"/>
                    <a:gd name="connsiteY768" fmla="*/ 744885 h 1576253"/>
                    <a:gd name="connsiteX769" fmla="*/ 350439 w 2617696"/>
                    <a:gd name="connsiteY769" fmla="*/ 741625 h 1576253"/>
                    <a:gd name="connsiteX770" fmla="*/ 350439 w 2617696"/>
                    <a:gd name="connsiteY770" fmla="*/ 728586 h 1576253"/>
                    <a:gd name="connsiteX771" fmla="*/ 349115 w 2617696"/>
                    <a:gd name="connsiteY771" fmla="*/ 721964 h 1576253"/>
                    <a:gd name="connsiteX772" fmla="*/ 358589 w 2617696"/>
                    <a:gd name="connsiteY772" fmla="*/ 718806 h 1576253"/>
                    <a:gd name="connsiteX773" fmla="*/ 365108 w 2617696"/>
                    <a:gd name="connsiteY773" fmla="*/ 717176 h 1576253"/>
                    <a:gd name="connsiteX774" fmla="*/ 348809 w 2617696"/>
                    <a:gd name="connsiteY774" fmla="*/ 720436 h 1576253"/>
                    <a:gd name="connsiteX775" fmla="*/ 349115 w 2617696"/>
                    <a:gd name="connsiteY775" fmla="*/ 721964 h 1576253"/>
                    <a:gd name="connsiteX776" fmla="*/ 348809 w 2617696"/>
                    <a:gd name="connsiteY776" fmla="*/ 722066 h 1576253"/>
                    <a:gd name="connsiteX777" fmla="*/ 345549 w 2617696"/>
                    <a:gd name="connsiteY777" fmla="*/ 712286 h 1576253"/>
                    <a:gd name="connsiteX778" fmla="*/ 348809 w 2617696"/>
                    <a:gd name="connsiteY778" fmla="*/ 700877 h 1576253"/>
                    <a:gd name="connsiteX779" fmla="*/ 345549 w 2617696"/>
                    <a:gd name="connsiteY779" fmla="*/ 699247 h 1576253"/>
                    <a:gd name="connsiteX780" fmla="*/ 355329 w 2617696"/>
                    <a:gd name="connsiteY780" fmla="*/ 694357 h 1576253"/>
                    <a:gd name="connsiteX781" fmla="*/ 378148 w 2617696"/>
                    <a:gd name="connsiteY781" fmla="*/ 691097 h 1576253"/>
                    <a:gd name="connsiteX782" fmla="*/ 383038 w 2617696"/>
                    <a:gd name="connsiteY782" fmla="*/ 689467 h 1576253"/>
                    <a:gd name="connsiteX783" fmla="*/ 461275 w 2617696"/>
                    <a:gd name="connsiteY783" fmla="*/ 686207 h 1576253"/>
                    <a:gd name="connsiteX784" fmla="*/ 477575 w 2617696"/>
                    <a:gd name="connsiteY784" fmla="*/ 684577 h 1576253"/>
                    <a:gd name="connsiteX785" fmla="*/ 488984 w 2617696"/>
                    <a:gd name="connsiteY785" fmla="*/ 661758 h 1576253"/>
                    <a:gd name="connsiteX786" fmla="*/ 505284 w 2617696"/>
                    <a:gd name="connsiteY786" fmla="*/ 653608 h 1576253"/>
                    <a:gd name="connsiteX787" fmla="*/ 510174 w 2617696"/>
                    <a:gd name="connsiteY787" fmla="*/ 655238 h 1576253"/>
                    <a:gd name="connsiteX788" fmla="*/ 515064 w 2617696"/>
                    <a:gd name="connsiteY788" fmla="*/ 658498 h 1576253"/>
                    <a:gd name="connsiteX789" fmla="*/ 529733 w 2617696"/>
                    <a:gd name="connsiteY789" fmla="*/ 661758 h 1576253"/>
                    <a:gd name="connsiteX790" fmla="*/ 544403 w 2617696"/>
                    <a:gd name="connsiteY790" fmla="*/ 658498 h 1576253"/>
                    <a:gd name="connsiteX791" fmla="*/ 554182 w 2617696"/>
                    <a:gd name="connsiteY791" fmla="*/ 655238 h 1576253"/>
                    <a:gd name="connsiteX792" fmla="*/ 562332 w 2617696"/>
                    <a:gd name="connsiteY792" fmla="*/ 653608 h 1576253"/>
                    <a:gd name="connsiteX793" fmla="*/ 567222 w 2617696"/>
                    <a:gd name="connsiteY793" fmla="*/ 651978 h 1576253"/>
                    <a:gd name="connsiteX794" fmla="*/ 583521 w 2617696"/>
                    <a:gd name="connsiteY794" fmla="*/ 648718 h 1576253"/>
                    <a:gd name="connsiteX795" fmla="*/ 601451 w 2617696"/>
                    <a:gd name="connsiteY795" fmla="*/ 647088 h 1576253"/>
                    <a:gd name="connsiteX796" fmla="*/ 609600 w 2617696"/>
                    <a:gd name="connsiteY796" fmla="*/ 642199 h 1576253"/>
                    <a:gd name="connsiteX797" fmla="*/ 616120 w 2617696"/>
                    <a:gd name="connsiteY797" fmla="*/ 638939 h 1576253"/>
                    <a:gd name="connsiteX798" fmla="*/ 624270 w 2617696"/>
                    <a:gd name="connsiteY798" fmla="*/ 629159 h 1576253"/>
                    <a:gd name="connsiteX799" fmla="*/ 638939 w 2617696"/>
                    <a:gd name="connsiteY799" fmla="*/ 614489 h 1576253"/>
                    <a:gd name="connsiteX800" fmla="*/ 640569 w 2617696"/>
                    <a:gd name="connsiteY800" fmla="*/ 603080 h 1576253"/>
                    <a:gd name="connsiteX801" fmla="*/ 635680 w 2617696"/>
                    <a:gd name="connsiteY801" fmla="*/ 598190 h 1576253"/>
                    <a:gd name="connsiteX802" fmla="*/ 632420 w 2617696"/>
                    <a:gd name="connsiteY802" fmla="*/ 593300 h 1576253"/>
                    <a:gd name="connsiteX803" fmla="*/ 637757 w 2617696"/>
                    <a:gd name="connsiteY803" fmla="*/ 591966 h 1576253"/>
                    <a:gd name="connsiteX804" fmla="*/ 638941 w 2617696"/>
                    <a:gd name="connsiteY804" fmla="*/ 588410 h 1576253"/>
                    <a:gd name="connsiteX805" fmla="*/ 645461 w 2617696"/>
                    <a:gd name="connsiteY805" fmla="*/ 586780 h 1576253"/>
                    <a:gd name="connsiteX806" fmla="*/ 650351 w 2617696"/>
                    <a:gd name="connsiteY806" fmla="*/ 583520 h 1576253"/>
                    <a:gd name="connsiteX807" fmla="*/ 676430 w 2617696"/>
                    <a:gd name="connsiteY807" fmla="*/ 572111 h 1576253"/>
                    <a:gd name="connsiteX808" fmla="*/ 684580 w 2617696"/>
                    <a:gd name="connsiteY808" fmla="*/ 560701 h 1576253"/>
                    <a:gd name="connsiteX809" fmla="*/ 700879 w 2617696"/>
                    <a:gd name="connsiteY809" fmla="*/ 547662 h 1576253"/>
                    <a:gd name="connsiteX810" fmla="*/ 704139 w 2617696"/>
                    <a:gd name="connsiteY810" fmla="*/ 537882 h 1576253"/>
                    <a:gd name="connsiteX811" fmla="*/ 709029 w 2617696"/>
                    <a:gd name="connsiteY811" fmla="*/ 531362 h 1576253"/>
                    <a:gd name="connsiteX812" fmla="*/ 720439 w 2617696"/>
                    <a:gd name="connsiteY812" fmla="*/ 516693 h 1576253"/>
                    <a:gd name="connsiteX813" fmla="*/ 725329 w 2617696"/>
                    <a:gd name="connsiteY813" fmla="*/ 513433 h 1576253"/>
                    <a:gd name="connsiteX814" fmla="*/ 726959 w 2617696"/>
                    <a:gd name="connsiteY814" fmla="*/ 506913 h 1576253"/>
                    <a:gd name="connsiteX815" fmla="*/ 731848 w 2617696"/>
                    <a:gd name="connsiteY815" fmla="*/ 500393 h 1576253"/>
                    <a:gd name="connsiteX816" fmla="*/ 735108 w 2617696"/>
                    <a:gd name="connsiteY816" fmla="*/ 493873 h 1576253"/>
                    <a:gd name="connsiteX817" fmla="*/ 746518 w 2617696"/>
                    <a:gd name="connsiteY817" fmla="*/ 488984 h 1576253"/>
                    <a:gd name="connsiteX818" fmla="*/ 751408 w 2617696"/>
                    <a:gd name="connsiteY818" fmla="*/ 479204 h 1576253"/>
                    <a:gd name="connsiteX819" fmla="*/ 754668 w 2617696"/>
                    <a:gd name="connsiteY819" fmla="*/ 474314 h 1576253"/>
                    <a:gd name="connsiteX820" fmla="*/ 757928 w 2617696"/>
                    <a:gd name="connsiteY820" fmla="*/ 467794 h 1576253"/>
                    <a:gd name="connsiteX821" fmla="*/ 767707 w 2617696"/>
                    <a:gd name="connsiteY821" fmla="*/ 462904 h 1576253"/>
                    <a:gd name="connsiteX822" fmla="*/ 777487 w 2617696"/>
                    <a:gd name="connsiteY822" fmla="*/ 456385 h 1576253"/>
                    <a:gd name="connsiteX823" fmla="*/ 782377 w 2617696"/>
                    <a:gd name="connsiteY823" fmla="*/ 454755 h 1576253"/>
                    <a:gd name="connsiteX824" fmla="*/ 785637 w 2617696"/>
                    <a:gd name="connsiteY824" fmla="*/ 449865 h 1576253"/>
                    <a:gd name="connsiteX825" fmla="*/ 790526 w 2617696"/>
                    <a:gd name="connsiteY825" fmla="*/ 444975 h 1576253"/>
                    <a:gd name="connsiteX826" fmla="*/ 797046 w 2617696"/>
                    <a:gd name="connsiteY826" fmla="*/ 441715 h 1576253"/>
                    <a:gd name="connsiteX827" fmla="*/ 798676 w 2617696"/>
                    <a:gd name="connsiteY827" fmla="*/ 436825 h 1576253"/>
                    <a:gd name="connsiteX828" fmla="*/ 801936 w 2617696"/>
                    <a:gd name="connsiteY828" fmla="*/ 430306 h 1576253"/>
                    <a:gd name="connsiteX829" fmla="*/ 814976 w 2617696"/>
                    <a:gd name="connsiteY829" fmla="*/ 420526 h 1576253"/>
                    <a:gd name="connsiteX830" fmla="*/ 828015 w 2617696"/>
                    <a:gd name="connsiteY830" fmla="*/ 417266 h 1576253"/>
                    <a:gd name="connsiteX831" fmla="*/ 832905 w 2617696"/>
                    <a:gd name="connsiteY831" fmla="*/ 412376 h 1576253"/>
                    <a:gd name="connsiteX832" fmla="*/ 836165 w 2617696"/>
                    <a:gd name="connsiteY832" fmla="*/ 400966 h 1576253"/>
                    <a:gd name="connsiteX833" fmla="*/ 841055 w 2617696"/>
                    <a:gd name="connsiteY833" fmla="*/ 397707 h 1576253"/>
                    <a:gd name="connsiteX834" fmla="*/ 867134 w 2617696"/>
                    <a:gd name="connsiteY834" fmla="*/ 396077 h 1576253"/>
                    <a:gd name="connsiteX835" fmla="*/ 881803 w 2617696"/>
                    <a:gd name="connsiteY835" fmla="*/ 397707 h 1576253"/>
                    <a:gd name="connsiteX836" fmla="*/ 904623 w 2617696"/>
                    <a:gd name="connsiteY836" fmla="*/ 399337 h 1576253"/>
                    <a:gd name="connsiteX837" fmla="*/ 919292 w 2617696"/>
                    <a:gd name="connsiteY837" fmla="*/ 405856 h 1576253"/>
                    <a:gd name="connsiteX838" fmla="*/ 924182 w 2617696"/>
                    <a:gd name="connsiteY838" fmla="*/ 409116 h 1576253"/>
                    <a:gd name="connsiteX839" fmla="*/ 928999 w 2617696"/>
                    <a:gd name="connsiteY839" fmla="*/ 411339 h 1576253"/>
                    <a:gd name="connsiteX840" fmla="*/ 911143 w 2617696"/>
                    <a:gd name="connsiteY840" fmla="*/ 399337 h 1576253"/>
                    <a:gd name="connsiteX841" fmla="*/ 907883 w 2617696"/>
                    <a:gd name="connsiteY841" fmla="*/ 394447 h 1576253"/>
                    <a:gd name="connsiteX842" fmla="*/ 911143 w 2617696"/>
                    <a:gd name="connsiteY842" fmla="*/ 389557 h 1576253"/>
                    <a:gd name="connsiteX843" fmla="*/ 922552 w 2617696"/>
                    <a:gd name="connsiteY843" fmla="*/ 387927 h 1576253"/>
                    <a:gd name="connsiteX844" fmla="*/ 927442 w 2617696"/>
                    <a:gd name="connsiteY844" fmla="*/ 384667 h 1576253"/>
                    <a:gd name="connsiteX845" fmla="*/ 947001 w 2617696"/>
                    <a:gd name="connsiteY845" fmla="*/ 373257 h 1576253"/>
                    <a:gd name="connsiteX846" fmla="*/ 955151 w 2617696"/>
                    <a:gd name="connsiteY846" fmla="*/ 371627 h 1576253"/>
                    <a:gd name="connsiteX847" fmla="*/ 964931 w 2617696"/>
                    <a:gd name="connsiteY847" fmla="*/ 368368 h 1576253"/>
                    <a:gd name="connsiteX848" fmla="*/ 981230 w 2617696"/>
                    <a:gd name="connsiteY848" fmla="*/ 365108 h 1576253"/>
                    <a:gd name="connsiteX849" fmla="*/ 986120 w 2617696"/>
                    <a:gd name="connsiteY849" fmla="*/ 361848 h 1576253"/>
                    <a:gd name="connsiteX850" fmla="*/ 1005679 w 2617696"/>
                    <a:gd name="connsiteY850" fmla="*/ 358588 h 1576253"/>
                    <a:gd name="connsiteX851" fmla="*/ 1010569 w 2617696"/>
                    <a:gd name="connsiteY851" fmla="*/ 353698 h 1576253"/>
                    <a:gd name="connsiteX852" fmla="*/ 1023609 w 2617696"/>
                    <a:gd name="connsiteY852" fmla="*/ 350438 h 1576253"/>
                    <a:gd name="connsiteX853" fmla="*/ 1036648 w 2617696"/>
                    <a:gd name="connsiteY853" fmla="*/ 347178 h 1576253"/>
                    <a:gd name="connsiteX854" fmla="*/ 1049688 w 2617696"/>
                    <a:gd name="connsiteY854" fmla="*/ 335769 h 1576253"/>
                    <a:gd name="connsiteX855" fmla="*/ 1056208 w 2617696"/>
                    <a:gd name="connsiteY855" fmla="*/ 330879 h 1576253"/>
                    <a:gd name="connsiteX856" fmla="*/ 1057838 w 2617696"/>
                    <a:gd name="connsiteY856" fmla="*/ 325989 h 1576253"/>
                    <a:gd name="connsiteX857" fmla="*/ 1062728 w 2617696"/>
                    <a:gd name="connsiteY857" fmla="*/ 319469 h 1576253"/>
                    <a:gd name="connsiteX858" fmla="*/ 1077397 w 2617696"/>
                    <a:gd name="connsiteY858" fmla="*/ 314579 h 1576253"/>
                    <a:gd name="connsiteX859" fmla="*/ 1082287 w 2617696"/>
                    <a:gd name="connsiteY859" fmla="*/ 317839 h 1576253"/>
                    <a:gd name="connsiteX860" fmla="*/ 1083917 w 2617696"/>
                    <a:gd name="connsiteY860" fmla="*/ 329249 h 1576253"/>
                    <a:gd name="connsiteX861" fmla="*/ 1085547 w 2617696"/>
                    <a:gd name="connsiteY861" fmla="*/ 335769 h 1576253"/>
                    <a:gd name="connsiteX862" fmla="*/ 1087177 w 2617696"/>
                    <a:gd name="connsiteY862" fmla="*/ 345548 h 1576253"/>
                    <a:gd name="connsiteX863" fmla="*/ 1092067 w 2617696"/>
                    <a:gd name="connsiteY863" fmla="*/ 348808 h 1576253"/>
                    <a:gd name="connsiteX864" fmla="*/ 1095326 w 2617696"/>
                    <a:gd name="connsiteY864" fmla="*/ 355328 h 1576253"/>
                    <a:gd name="connsiteX865" fmla="*/ 1100216 w 2617696"/>
                    <a:gd name="connsiteY865" fmla="*/ 361848 h 1576253"/>
                    <a:gd name="connsiteX866" fmla="*/ 1124666 w 2617696"/>
                    <a:gd name="connsiteY866" fmla="*/ 363478 h 1576253"/>
                    <a:gd name="connsiteX867" fmla="*/ 1131185 w 2617696"/>
                    <a:gd name="connsiteY867" fmla="*/ 366738 h 1576253"/>
                    <a:gd name="connsiteX868" fmla="*/ 1136075 w 2617696"/>
                    <a:gd name="connsiteY868" fmla="*/ 369997 h 1576253"/>
                    <a:gd name="connsiteX869" fmla="*/ 1163784 w 2617696"/>
                    <a:gd name="connsiteY869" fmla="*/ 368368 h 1576253"/>
                    <a:gd name="connsiteX870" fmla="*/ 1170304 w 2617696"/>
                    <a:gd name="connsiteY870" fmla="*/ 366738 h 1576253"/>
                    <a:gd name="connsiteX871" fmla="*/ 1183344 w 2617696"/>
                    <a:gd name="connsiteY871" fmla="*/ 355328 h 1576253"/>
                    <a:gd name="connsiteX872" fmla="*/ 1188233 w 2617696"/>
                    <a:gd name="connsiteY872" fmla="*/ 352068 h 1576253"/>
                    <a:gd name="connsiteX873" fmla="*/ 1191493 w 2617696"/>
                    <a:gd name="connsiteY873" fmla="*/ 335769 h 1576253"/>
                    <a:gd name="connsiteX874" fmla="*/ 1194753 w 2617696"/>
                    <a:gd name="connsiteY874" fmla="*/ 340658 h 1576253"/>
                    <a:gd name="connsiteX875" fmla="*/ 1202903 w 2617696"/>
                    <a:gd name="connsiteY875" fmla="*/ 339028 h 1576253"/>
                    <a:gd name="connsiteX876" fmla="*/ 1206163 w 2617696"/>
                    <a:gd name="connsiteY876" fmla="*/ 343918 h 1576253"/>
                    <a:gd name="connsiteX877" fmla="*/ 1215943 w 2617696"/>
                    <a:gd name="connsiteY877" fmla="*/ 347178 h 1576253"/>
                    <a:gd name="connsiteX878" fmla="*/ 1217572 w 2617696"/>
                    <a:gd name="connsiteY878" fmla="*/ 355328 h 1576253"/>
                    <a:gd name="connsiteX879" fmla="*/ 1219202 w 2617696"/>
                    <a:gd name="connsiteY879" fmla="*/ 347178 h 1576253"/>
                    <a:gd name="connsiteX880" fmla="*/ 1227352 w 2617696"/>
                    <a:gd name="connsiteY880" fmla="*/ 353698 h 1576253"/>
                    <a:gd name="connsiteX881" fmla="*/ 1233872 w 2617696"/>
                    <a:gd name="connsiteY881" fmla="*/ 363478 h 1576253"/>
                    <a:gd name="connsiteX882" fmla="*/ 1237132 w 2617696"/>
                    <a:gd name="connsiteY882" fmla="*/ 368368 h 1576253"/>
                    <a:gd name="connsiteX883" fmla="*/ 1240392 w 2617696"/>
                    <a:gd name="connsiteY883" fmla="*/ 374887 h 1576253"/>
                    <a:gd name="connsiteX884" fmla="*/ 1246912 w 2617696"/>
                    <a:gd name="connsiteY884" fmla="*/ 379777 h 1576253"/>
                    <a:gd name="connsiteX885" fmla="*/ 1282770 w 2617696"/>
                    <a:gd name="connsiteY885" fmla="*/ 384667 h 1576253"/>
                    <a:gd name="connsiteX886" fmla="*/ 1292550 w 2617696"/>
                    <a:gd name="connsiteY886" fmla="*/ 379777 h 1576253"/>
                    <a:gd name="connsiteX887" fmla="*/ 1295810 w 2617696"/>
                    <a:gd name="connsiteY887" fmla="*/ 363478 h 1576253"/>
                    <a:gd name="connsiteX888" fmla="*/ 1294180 w 2617696"/>
                    <a:gd name="connsiteY888" fmla="*/ 358588 h 1576253"/>
                    <a:gd name="connsiteX889" fmla="*/ 1300700 w 2617696"/>
                    <a:gd name="connsiteY889" fmla="*/ 356958 h 1576253"/>
                    <a:gd name="connsiteX890" fmla="*/ 1326779 w 2617696"/>
                    <a:gd name="connsiteY890" fmla="*/ 355328 h 1576253"/>
                    <a:gd name="connsiteX891" fmla="*/ 1333299 w 2617696"/>
                    <a:gd name="connsiteY891" fmla="*/ 353698 h 1576253"/>
                    <a:gd name="connsiteX892" fmla="*/ 1341448 w 2617696"/>
                    <a:gd name="connsiteY892" fmla="*/ 350438 h 1576253"/>
                    <a:gd name="connsiteX893" fmla="*/ 1336559 w 2617696"/>
                    <a:gd name="connsiteY893" fmla="*/ 355328 h 1576253"/>
                    <a:gd name="connsiteX894" fmla="*/ 1344708 w 2617696"/>
                    <a:gd name="connsiteY894" fmla="*/ 352068 h 1576253"/>
                    <a:gd name="connsiteX895" fmla="*/ 1349598 w 2617696"/>
                    <a:gd name="connsiteY895" fmla="*/ 353698 h 1576253"/>
                    <a:gd name="connsiteX896" fmla="*/ 1351228 w 2617696"/>
                    <a:gd name="connsiteY896" fmla="*/ 360218 h 1576253"/>
                    <a:gd name="connsiteX897" fmla="*/ 1352858 w 2617696"/>
                    <a:gd name="connsiteY897" fmla="*/ 374887 h 1576253"/>
                    <a:gd name="connsiteX898" fmla="*/ 1388717 w 2617696"/>
                    <a:gd name="connsiteY898" fmla="*/ 376517 h 1576253"/>
                    <a:gd name="connsiteX899" fmla="*/ 1398497 w 2617696"/>
                    <a:gd name="connsiteY899" fmla="*/ 374887 h 1576253"/>
                    <a:gd name="connsiteX900" fmla="*/ 1409906 w 2617696"/>
                    <a:gd name="connsiteY900" fmla="*/ 373257 h 1576253"/>
                    <a:gd name="connsiteX901" fmla="*/ 1435985 w 2617696"/>
                    <a:gd name="connsiteY901" fmla="*/ 376517 h 1576253"/>
                    <a:gd name="connsiteX902" fmla="*/ 1439245 w 2617696"/>
                    <a:gd name="connsiteY902" fmla="*/ 369997 h 1576253"/>
                    <a:gd name="connsiteX903" fmla="*/ 1435985 w 2617696"/>
                    <a:gd name="connsiteY903" fmla="*/ 358588 h 1576253"/>
                    <a:gd name="connsiteX904" fmla="*/ 1444135 w 2617696"/>
                    <a:gd name="connsiteY904" fmla="*/ 355328 h 1576253"/>
                    <a:gd name="connsiteX905" fmla="*/ 1447039 w 2617696"/>
                    <a:gd name="connsiteY905" fmla="*/ 361776 h 1576253"/>
                    <a:gd name="connsiteX906" fmla="*/ 1445764 w 2617696"/>
                    <a:gd name="connsiteY906" fmla="*/ 358588 h 1576253"/>
                    <a:gd name="connsiteX907" fmla="*/ 1463693 w 2617696"/>
                    <a:gd name="connsiteY907" fmla="*/ 353698 h 1576253"/>
                    <a:gd name="connsiteX908" fmla="*/ 1473473 w 2617696"/>
                    <a:gd name="connsiteY908" fmla="*/ 356958 h 1576253"/>
                    <a:gd name="connsiteX909" fmla="*/ 1475103 w 2617696"/>
                    <a:gd name="connsiteY909" fmla="*/ 363478 h 1576253"/>
                    <a:gd name="connsiteX910" fmla="*/ 1496292 w 2617696"/>
                    <a:gd name="connsiteY910" fmla="*/ 360218 h 1576253"/>
                    <a:gd name="connsiteX911" fmla="*/ 1507702 w 2617696"/>
                    <a:gd name="connsiteY911" fmla="*/ 356958 h 1576253"/>
                    <a:gd name="connsiteX912" fmla="*/ 1512592 w 2617696"/>
                    <a:gd name="connsiteY912" fmla="*/ 358588 h 1576253"/>
                    <a:gd name="connsiteX913" fmla="*/ 1530521 w 2617696"/>
                    <a:gd name="connsiteY913" fmla="*/ 360218 h 1576253"/>
                    <a:gd name="connsiteX914" fmla="*/ 1537041 w 2617696"/>
                    <a:gd name="connsiteY914" fmla="*/ 358588 h 1576253"/>
                    <a:gd name="connsiteX915" fmla="*/ 1553340 w 2617696"/>
                    <a:gd name="connsiteY915" fmla="*/ 348808 h 1576253"/>
                    <a:gd name="connsiteX916" fmla="*/ 1559860 w 2617696"/>
                    <a:gd name="connsiteY916" fmla="*/ 340658 h 1576253"/>
                    <a:gd name="connsiteX917" fmla="*/ 1563120 w 2617696"/>
                    <a:gd name="connsiteY917" fmla="*/ 335769 h 1576253"/>
                    <a:gd name="connsiteX918" fmla="*/ 1574530 w 2617696"/>
                    <a:gd name="connsiteY918" fmla="*/ 327619 h 1576253"/>
                    <a:gd name="connsiteX919" fmla="*/ 1581050 w 2617696"/>
                    <a:gd name="connsiteY919" fmla="*/ 322729 h 1576253"/>
                    <a:gd name="connsiteX920" fmla="*/ 1584309 w 2617696"/>
                    <a:gd name="connsiteY920" fmla="*/ 317839 h 1576253"/>
                    <a:gd name="connsiteX921" fmla="*/ 1602239 w 2617696"/>
                    <a:gd name="connsiteY921" fmla="*/ 316209 h 1576253"/>
                    <a:gd name="connsiteX922" fmla="*/ 1608759 w 2617696"/>
                    <a:gd name="connsiteY922" fmla="*/ 306430 h 1576253"/>
                    <a:gd name="connsiteX923" fmla="*/ 1613648 w 2617696"/>
                    <a:gd name="connsiteY923" fmla="*/ 304800 h 1576253"/>
                    <a:gd name="connsiteX924" fmla="*/ 1618538 w 2617696"/>
                    <a:gd name="connsiteY924" fmla="*/ 306430 h 1576253"/>
                    <a:gd name="connsiteX925" fmla="*/ 1629948 w 2617696"/>
                    <a:gd name="connsiteY925" fmla="*/ 298280 h 1576253"/>
                    <a:gd name="connsiteX926" fmla="*/ 1641358 w 2617696"/>
                    <a:gd name="connsiteY926" fmla="*/ 295020 h 1576253"/>
                    <a:gd name="connsiteX927" fmla="*/ 1646247 w 2617696"/>
                    <a:gd name="connsiteY927" fmla="*/ 293390 h 1576253"/>
                    <a:gd name="connsiteX928" fmla="*/ 1656027 w 2617696"/>
                    <a:gd name="connsiteY928" fmla="*/ 280350 h 1576253"/>
                    <a:gd name="connsiteX929" fmla="*/ 1659287 w 2617696"/>
                    <a:gd name="connsiteY929" fmla="*/ 272201 h 1576253"/>
                    <a:gd name="connsiteX930" fmla="*/ 1688626 w 2617696"/>
                    <a:gd name="connsiteY930" fmla="*/ 273831 h 1576253"/>
                    <a:gd name="connsiteX931" fmla="*/ 1690256 w 2617696"/>
                    <a:gd name="connsiteY931" fmla="*/ 280350 h 1576253"/>
                    <a:gd name="connsiteX932" fmla="*/ 1693516 w 2617696"/>
                    <a:gd name="connsiteY932" fmla="*/ 285240 h 1576253"/>
                    <a:gd name="connsiteX933" fmla="*/ 1698406 w 2617696"/>
                    <a:gd name="connsiteY933" fmla="*/ 283610 h 1576253"/>
                    <a:gd name="connsiteX934" fmla="*/ 1708185 w 2617696"/>
                    <a:gd name="connsiteY934" fmla="*/ 278720 h 1576253"/>
                    <a:gd name="connsiteX935" fmla="*/ 1763604 w 2617696"/>
                    <a:gd name="connsiteY935" fmla="*/ 273831 h 1576253"/>
                    <a:gd name="connsiteX936" fmla="*/ 1765234 w 2617696"/>
                    <a:gd name="connsiteY936" fmla="*/ 268941 h 1576253"/>
                    <a:gd name="connsiteX937" fmla="*/ 1768493 w 2617696"/>
                    <a:gd name="connsiteY937" fmla="*/ 262421 h 1576253"/>
                    <a:gd name="connsiteX938" fmla="*/ 1776643 w 2617696"/>
                    <a:gd name="connsiteY938" fmla="*/ 259161 h 1576253"/>
                    <a:gd name="connsiteX939" fmla="*/ 1781533 w 2617696"/>
                    <a:gd name="connsiteY939" fmla="*/ 254271 h 1576253"/>
                    <a:gd name="connsiteX940" fmla="*/ 1788053 w 2617696"/>
                    <a:gd name="connsiteY940" fmla="*/ 249381 h 1576253"/>
                    <a:gd name="connsiteX941" fmla="*/ 1796202 w 2617696"/>
                    <a:gd name="connsiteY941" fmla="*/ 244492 h 1576253"/>
                    <a:gd name="connsiteX942" fmla="*/ 1797832 w 2617696"/>
                    <a:gd name="connsiteY942" fmla="*/ 233082 h 1576253"/>
                    <a:gd name="connsiteX943" fmla="*/ 1805982 w 2617696"/>
                    <a:gd name="connsiteY943" fmla="*/ 228192 h 1576253"/>
                    <a:gd name="connsiteX944" fmla="*/ 1815762 w 2617696"/>
                    <a:gd name="connsiteY944" fmla="*/ 205373 h 1576253"/>
                    <a:gd name="connsiteX945" fmla="*/ 1822282 w 2617696"/>
                    <a:gd name="connsiteY945" fmla="*/ 200483 h 1576253"/>
                    <a:gd name="connsiteX946" fmla="*/ 1833691 w 2617696"/>
                    <a:gd name="connsiteY946" fmla="*/ 190703 h 1576253"/>
                    <a:gd name="connsiteX947" fmla="*/ 1835321 w 2617696"/>
                    <a:gd name="connsiteY947" fmla="*/ 184184 h 1576253"/>
                    <a:gd name="connsiteX948" fmla="*/ 1841841 w 2617696"/>
                    <a:gd name="connsiteY948" fmla="*/ 174404 h 1576253"/>
                    <a:gd name="connsiteX949" fmla="*/ 1846731 w 2617696"/>
                    <a:gd name="connsiteY949" fmla="*/ 171144 h 1576253"/>
                    <a:gd name="connsiteX950" fmla="*/ 1851621 w 2617696"/>
                    <a:gd name="connsiteY950" fmla="*/ 166254 h 1576253"/>
                    <a:gd name="connsiteX951" fmla="*/ 1858140 w 2617696"/>
                    <a:gd name="connsiteY951" fmla="*/ 162994 h 1576253"/>
                    <a:gd name="connsiteX952" fmla="*/ 1863030 w 2617696"/>
                    <a:gd name="connsiteY952" fmla="*/ 161364 h 1576253"/>
                    <a:gd name="connsiteX953" fmla="*/ 1864660 w 2617696"/>
                    <a:gd name="connsiteY953" fmla="*/ 154845 h 1576253"/>
                    <a:gd name="connsiteX954" fmla="*/ 1869550 w 2617696"/>
                    <a:gd name="connsiteY954" fmla="*/ 148325 h 1576253"/>
                    <a:gd name="connsiteX955" fmla="*/ 1874440 w 2617696"/>
                    <a:gd name="connsiteY955" fmla="*/ 143435 h 1576253"/>
                    <a:gd name="connsiteX956" fmla="*/ 1876070 w 2617696"/>
                    <a:gd name="connsiteY956" fmla="*/ 135285 h 1576253"/>
                    <a:gd name="connsiteX957" fmla="*/ 1880960 w 2617696"/>
                    <a:gd name="connsiteY957" fmla="*/ 130395 h 1576253"/>
                    <a:gd name="connsiteX958" fmla="*/ 1884220 w 2617696"/>
                    <a:gd name="connsiteY958" fmla="*/ 125506 h 1576253"/>
                    <a:gd name="connsiteX959" fmla="*/ 1889109 w 2617696"/>
                    <a:gd name="connsiteY959" fmla="*/ 122246 h 1576253"/>
                    <a:gd name="connsiteX960" fmla="*/ 1892369 w 2617696"/>
                    <a:gd name="connsiteY960" fmla="*/ 110836 h 1576253"/>
                    <a:gd name="connsiteX961" fmla="*/ 1893999 w 2617696"/>
                    <a:gd name="connsiteY961" fmla="*/ 105946 h 1576253"/>
                    <a:gd name="connsiteX962" fmla="*/ 1905409 w 2617696"/>
                    <a:gd name="connsiteY962" fmla="*/ 91277 h 1576253"/>
                    <a:gd name="connsiteX963" fmla="*/ 1908669 w 2617696"/>
                    <a:gd name="connsiteY963" fmla="*/ 86387 h 1576253"/>
                    <a:gd name="connsiteX964" fmla="*/ 1916819 w 2617696"/>
                    <a:gd name="connsiteY964" fmla="*/ 83127 h 1576253"/>
                    <a:gd name="connsiteX965" fmla="*/ 1924968 w 2617696"/>
                    <a:gd name="connsiteY965" fmla="*/ 92907 h 1576253"/>
                    <a:gd name="connsiteX966" fmla="*/ 1936378 w 2617696"/>
                    <a:gd name="connsiteY966" fmla="*/ 97796 h 1576253"/>
                    <a:gd name="connsiteX967" fmla="*/ 1947788 w 2617696"/>
                    <a:gd name="connsiteY967" fmla="*/ 83127 h 1576253"/>
                    <a:gd name="connsiteX968" fmla="*/ 1951047 w 2617696"/>
                    <a:gd name="connsiteY968" fmla="*/ 73347 h 1576253"/>
                    <a:gd name="connsiteX969" fmla="*/ 1965717 w 2617696"/>
                    <a:gd name="connsiteY969" fmla="*/ 70087 h 1576253"/>
                    <a:gd name="connsiteX970" fmla="*/ 1970607 w 2617696"/>
                    <a:gd name="connsiteY970" fmla="*/ 68457 h 1576253"/>
                    <a:gd name="connsiteX971" fmla="*/ 1978756 w 2617696"/>
                    <a:gd name="connsiteY971" fmla="*/ 63568 h 1576253"/>
                    <a:gd name="connsiteX972" fmla="*/ 1985276 w 2617696"/>
                    <a:gd name="connsiteY972" fmla="*/ 61938 h 1576253"/>
                    <a:gd name="connsiteX973" fmla="*/ 1990166 w 2617696"/>
                    <a:gd name="connsiteY973" fmla="*/ 58678 h 1576253"/>
                    <a:gd name="connsiteX974" fmla="*/ 1995056 w 2617696"/>
                    <a:gd name="connsiteY974" fmla="*/ 60308 h 1576253"/>
                    <a:gd name="connsiteX975" fmla="*/ 2008096 w 2617696"/>
                    <a:gd name="connsiteY975" fmla="*/ 61938 h 1576253"/>
                    <a:gd name="connsiteX976" fmla="*/ 2016245 w 2617696"/>
                    <a:gd name="connsiteY976" fmla="*/ 50528 h 1576253"/>
                    <a:gd name="connsiteX977" fmla="*/ 2026025 w 2617696"/>
                    <a:gd name="connsiteY977" fmla="*/ 35858 h 1576253"/>
                    <a:gd name="connsiteX978" fmla="*/ 2021135 w 2617696"/>
                    <a:gd name="connsiteY978" fmla="*/ 32599 h 1576253"/>
                    <a:gd name="connsiteX979" fmla="*/ 2017875 w 2617696"/>
                    <a:gd name="connsiteY979" fmla="*/ 27709 h 1576253"/>
                    <a:gd name="connsiteX980" fmla="*/ 2021135 w 2617696"/>
                    <a:gd name="connsiteY980" fmla="*/ 21189 h 1576253"/>
                    <a:gd name="connsiteX981" fmla="*/ 2032545 w 2617696"/>
                    <a:gd name="connsiteY981" fmla="*/ 11409 h 1576253"/>
                    <a:gd name="connsiteX982" fmla="*/ 2042324 w 2617696"/>
                    <a:gd name="connsiteY982" fmla="*/ 8149 h 1576253"/>
                    <a:gd name="connsiteX983" fmla="*/ 2045584 w 2617696"/>
                    <a:gd name="connsiteY983" fmla="*/ 3260 h 1576253"/>
                    <a:gd name="connsiteX984" fmla="*/ 2052104 w 2617696"/>
                    <a:gd name="connsiteY984" fmla="*/ 1630 h 1576253"/>
                    <a:gd name="connsiteX985" fmla="*/ 2056994 w 2617696"/>
                    <a:gd name="connsiteY985" fmla="*/ 0 h 1576253"/>
                    <a:gd name="connsiteX0" fmla="*/ 361849 w 2617696"/>
                    <a:gd name="connsiteY0" fmla="*/ 1512590 h 1576253"/>
                    <a:gd name="connsiteX1" fmla="*/ 362167 w 2617696"/>
                    <a:gd name="connsiteY1" fmla="*/ 1513862 h 1576253"/>
                    <a:gd name="connsiteX2" fmla="*/ 361350 w 2617696"/>
                    <a:gd name="connsiteY2" fmla="*/ 1514089 h 1576253"/>
                    <a:gd name="connsiteX3" fmla="*/ 361849 w 2617696"/>
                    <a:gd name="connsiteY3" fmla="*/ 1512590 h 1576253"/>
                    <a:gd name="connsiteX4" fmla="*/ 332510 w 2617696"/>
                    <a:gd name="connsiteY4" fmla="*/ 1510960 h 1576253"/>
                    <a:gd name="connsiteX5" fmla="*/ 337399 w 2617696"/>
                    <a:gd name="connsiteY5" fmla="*/ 1512590 h 1576253"/>
                    <a:gd name="connsiteX6" fmla="*/ 353431 w 2617696"/>
                    <a:gd name="connsiteY6" fmla="*/ 1516291 h 1576253"/>
                    <a:gd name="connsiteX7" fmla="*/ 361350 w 2617696"/>
                    <a:gd name="connsiteY7" fmla="*/ 1514089 h 1576253"/>
                    <a:gd name="connsiteX8" fmla="*/ 360219 w 2617696"/>
                    <a:gd name="connsiteY8" fmla="*/ 1517480 h 1576253"/>
                    <a:gd name="connsiteX9" fmla="*/ 337399 w 2617696"/>
                    <a:gd name="connsiteY9" fmla="*/ 1524000 h 1576253"/>
                    <a:gd name="connsiteX10" fmla="*/ 327620 w 2617696"/>
                    <a:gd name="connsiteY10" fmla="*/ 1528889 h 1576253"/>
                    <a:gd name="connsiteX11" fmla="*/ 325990 w 2617696"/>
                    <a:gd name="connsiteY11" fmla="*/ 1533779 h 1576253"/>
                    <a:gd name="connsiteX12" fmla="*/ 319470 w 2617696"/>
                    <a:gd name="connsiteY12" fmla="*/ 1540299 h 1576253"/>
                    <a:gd name="connsiteX13" fmla="*/ 312950 w 2617696"/>
                    <a:gd name="connsiteY13" fmla="*/ 1545189 h 1576253"/>
                    <a:gd name="connsiteX14" fmla="*/ 311320 w 2617696"/>
                    <a:gd name="connsiteY14" fmla="*/ 1556599 h 1576253"/>
                    <a:gd name="connsiteX15" fmla="*/ 304800 w 2617696"/>
                    <a:gd name="connsiteY15" fmla="*/ 1558228 h 1576253"/>
                    <a:gd name="connsiteX16" fmla="*/ 285241 w 2617696"/>
                    <a:gd name="connsiteY16" fmla="*/ 1556599 h 1576253"/>
                    <a:gd name="connsiteX17" fmla="*/ 273831 w 2617696"/>
                    <a:gd name="connsiteY17" fmla="*/ 1563118 h 1576253"/>
                    <a:gd name="connsiteX18" fmla="*/ 267312 w 2617696"/>
                    <a:gd name="connsiteY18" fmla="*/ 1558228 h 1576253"/>
                    <a:gd name="connsiteX19" fmla="*/ 277091 w 2617696"/>
                    <a:gd name="connsiteY19" fmla="*/ 1543559 h 1576253"/>
                    <a:gd name="connsiteX20" fmla="*/ 281981 w 2617696"/>
                    <a:gd name="connsiteY20" fmla="*/ 1538669 h 1576253"/>
                    <a:gd name="connsiteX21" fmla="*/ 291761 w 2617696"/>
                    <a:gd name="connsiteY21" fmla="*/ 1527260 h 1576253"/>
                    <a:gd name="connsiteX22" fmla="*/ 303170 w 2617696"/>
                    <a:gd name="connsiteY22" fmla="*/ 1528889 h 1576253"/>
                    <a:gd name="connsiteX23" fmla="*/ 308060 w 2617696"/>
                    <a:gd name="connsiteY23" fmla="*/ 1525630 h 1576253"/>
                    <a:gd name="connsiteX24" fmla="*/ 312950 w 2617696"/>
                    <a:gd name="connsiteY24" fmla="*/ 1524000 h 1576253"/>
                    <a:gd name="connsiteX25" fmla="*/ 319470 w 2617696"/>
                    <a:gd name="connsiteY25" fmla="*/ 1520740 h 1576253"/>
                    <a:gd name="connsiteX26" fmla="*/ 324360 w 2617696"/>
                    <a:gd name="connsiteY26" fmla="*/ 1517480 h 1576253"/>
                    <a:gd name="connsiteX27" fmla="*/ 332510 w 2617696"/>
                    <a:gd name="connsiteY27" fmla="*/ 1510960 h 1576253"/>
                    <a:gd name="connsiteX28" fmla="*/ 2056994 w 2617696"/>
                    <a:gd name="connsiteY28" fmla="*/ 0 h 1576253"/>
                    <a:gd name="connsiteX29" fmla="*/ 2078183 w 2617696"/>
                    <a:gd name="connsiteY29" fmla="*/ 4889 h 1576253"/>
                    <a:gd name="connsiteX30" fmla="*/ 2081443 w 2617696"/>
                    <a:gd name="connsiteY30" fmla="*/ 21189 h 1576253"/>
                    <a:gd name="connsiteX31" fmla="*/ 2089593 w 2617696"/>
                    <a:gd name="connsiteY31" fmla="*/ 32599 h 1576253"/>
                    <a:gd name="connsiteX32" fmla="*/ 2097743 w 2617696"/>
                    <a:gd name="connsiteY32" fmla="*/ 34228 h 1576253"/>
                    <a:gd name="connsiteX33" fmla="*/ 2127082 w 2617696"/>
                    <a:gd name="connsiteY33" fmla="*/ 37488 h 1576253"/>
                    <a:gd name="connsiteX34" fmla="*/ 2133601 w 2617696"/>
                    <a:gd name="connsiteY34" fmla="*/ 35858 h 1576253"/>
                    <a:gd name="connsiteX35" fmla="*/ 2138491 w 2617696"/>
                    <a:gd name="connsiteY35" fmla="*/ 34228 h 1576253"/>
                    <a:gd name="connsiteX36" fmla="*/ 2159681 w 2617696"/>
                    <a:gd name="connsiteY36" fmla="*/ 32599 h 1576253"/>
                    <a:gd name="connsiteX37" fmla="*/ 2162940 w 2617696"/>
                    <a:gd name="connsiteY37" fmla="*/ 44008 h 1576253"/>
                    <a:gd name="connsiteX38" fmla="*/ 2164570 w 2617696"/>
                    <a:gd name="connsiteY38" fmla="*/ 48898 h 1576253"/>
                    <a:gd name="connsiteX39" fmla="*/ 2174350 w 2617696"/>
                    <a:gd name="connsiteY39" fmla="*/ 47268 h 1576253"/>
                    <a:gd name="connsiteX40" fmla="*/ 2187390 w 2617696"/>
                    <a:gd name="connsiteY40" fmla="*/ 57048 h 1576253"/>
                    <a:gd name="connsiteX41" fmla="*/ 2189020 w 2617696"/>
                    <a:gd name="connsiteY41" fmla="*/ 63568 h 1576253"/>
                    <a:gd name="connsiteX42" fmla="*/ 2195539 w 2617696"/>
                    <a:gd name="connsiteY42" fmla="*/ 65197 h 1576253"/>
                    <a:gd name="connsiteX43" fmla="*/ 2200429 w 2617696"/>
                    <a:gd name="connsiteY43" fmla="*/ 68457 h 1576253"/>
                    <a:gd name="connsiteX44" fmla="*/ 2216729 w 2617696"/>
                    <a:gd name="connsiteY44" fmla="*/ 76607 h 1576253"/>
                    <a:gd name="connsiteX45" fmla="*/ 2224878 w 2617696"/>
                    <a:gd name="connsiteY45" fmla="*/ 84757 h 1576253"/>
                    <a:gd name="connsiteX46" fmla="*/ 2229768 w 2617696"/>
                    <a:gd name="connsiteY46" fmla="*/ 88017 h 1576253"/>
                    <a:gd name="connsiteX47" fmla="*/ 2234658 w 2617696"/>
                    <a:gd name="connsiteY47" fmla="*/ 89647 h 1576253"/>
                    <a:gd name="connsiteX48" fmla="*/ 2236288 w 2617696"/>
                    <a:gd name="connsiteY48" fmla="*/ 104316 h 1576253"/>
                    <a:gd name="connsiteX49" fmla="*/ 2237918 w 2617696"/>
                    <a:gd name="connsiteY49" fmla="*/ 109206 h 1576253"/>
                    <a:gd name="connsiteX50" fmla="*/ 2241178 w 2617696"/>
                    <a:gd name="connsiteY50" fmla="*/ 114096 h 1576253"/>
                    <a:gd name="connsiteX51" fmla="*/ 2242808 w 2617696"/>
                    <a:gd name="connsiteY51" fmla="*/ 122246 h 1576253"/>
                    <a:gd name="connsiteX52" fmla="*/ 2246068 w 2617696"/>
                    <a:gd name="connsiteY52" fmla="*/ 127135 h 1576253"/>
                    <a:gd name="connsiteX53" fmla="*/ 2242808 w 2617696"/>
                    <a:gd name="connsiteY53" fmla="*/ 132025 h 1576253"/>
                    <a:gd name="connsiteX54" fmla="*/ 2237918 w 2617696"/>
                    <a:gd name="connsiteY54" fmla="*/ 135285 h 1576253"/>
                    <a:gd name="connsiteX55" fmla="*/ 2226508 w 2617696"/>
                    <a:gd name="connsiteY55" fmla="*/ 140175 h 1576253"/>
                    <a:gd name="connsiteX56" fmla="*/ 2218359 w 2617696"/>
                    <a:gd name="connsiteY56" fmla="*/ 148325 h 1576253"/>
                    <a:gd name="connsiteX57" fmla="*/ 2223248 w 2617696"/>
                    <a:gd name="connsiteY57" fmla="*/ 151585 h 1576253"/>
                    <a:gd name="connsiteX58" fmla="*/ 2234658 w 2617696"/>
                    <a:gd name="connsiteY58" fmla="*/ 158104 h 1576253"/>
                    <a:gd name="connsiteX59" fmla="*/ 2233028 w 2617696"/>
                    <a:gd name="connsiteY59" fmla="*/ 162994 h 1576253"/>
                    <a:gd name="connsiteX60" fmla="*/ 2241178 w 2617696"/>
                    <a:gd name="connsiteY60" fmla="*/ 167884 h 1576253"/>
                    <a:gd name="connsiteX61" fmla="*/ 2260737 w 2617696"/>
                    <a:gd name="connsiteY61" fmla="*/ 171144 h 1576253"/>
                    <a:gd name="connsiteX62" fmla="*/ 2262367 w 2617696"/>
                    <a:gd name="connsiteY62" fmla="*/ 180924 h 1576253"/>
                    <a:gd name="connsiteX63" fmla="*/ 2255847 w 2617696"/>
                    <a:gd name="connsiteY63" fmla="*/ 185814 h 1576253"/>
                    <a:gd name="connsiteX64" fmla="*/ 2283556 w 2617696"/>
                    <a:gd name="connsiteY64" fmla="*/ 192333 h 1576253"/>
                    <a:gd name="connsiteX65" fmla="*/ 2319415 w 2617696"/>
                    <a:gd name="connsiteY65" fmla="*/ 185814 h 1576253"/>
                    <a:gd name="connsiteX66" fmla="*/ 2327565 w 2617696"/>
                    <a:gd name="connsiteY66" fmla="*/ 179294 h 1576253"/>
                    <a:gd name="connsiteX67" fmla="*/ 2334085 w 2617696"/>
                    <a:gd name="connsiteY67" fmla="*/ 167884 h 1576253"/>
                    <a:gd name="connsiteX68" fmla="*/ 2345494 w 2617696"/>
                    <a:gd name="connsiteY68" fmla="*/ 164624 h 1576253"/>
                    <a:gd name="connsiteX69" fmla="*/ 2352014 w 2617696"/>
                    <a:gd name="connsiteY69" fmla="*/ 166254 h 1576253"/>
                    <a:gd name="connsiteX70" fmla="*/ 2365054 w 2617696"/>
                    <a:gd name="connsiteY70" fmla="*/ 172774 h 1576253"/>
                    <a:gd name="connsiteX71" fmla="*/ 2371574 w 2617696"/>
                    <a:gd name="connsiteY71" fmla="*/ 182554 h 1576253"/>
                    <a:gd name="connsiteX72" fmla="*/ 2392763 w 2617696"/>
                    <a:gd name="connsiteY72" fmla="*/ 185814 h 1576253"/>
                    <a:gd name="connsiteX73" fmla="*/ 2407432 w 2617696"/>
                    <a:gd name="connsiteY73" fmla="*/ 195593 h 1576253"/>
                    <a:gd name="connsiteX74" fmla="*/ 2417212 w 2617696"/>
                    <a:gd name="connsiteY74" fmla="*/ 202113 h 1576253"/>
                    <a:gd name="connsiteX75" fmla="*/ 2422102 w 2617696"/>
                    <a:gd name="connsiteY75" fmla="*/ 205373 h 1576253"/>
                    <a:gd name="connsiteX76" fmla="*/ 2423732 w 2617696"/>
                    <a:gd name="connsiteY76" fmla="*/ 210263 h 1576253"/>
                    <a:gd name="connsiteX77" fmla="*/ 2404173 w 2617696"/>
                    <a:gd name="connsiteY77" fmla="*/ 207003 h 1576253"/>
                    <a:gd name="connsiteX78" fmla="*/ 2399283 w 2617696"/>
                    <a:gd name="connsiteY78" fmla="*/ 208633 h 1576253"/>
                    <a:gd name="connsiteX79" fmla="*/ 2396023 w 2617696"/>
                    <a:gd name="connsiteY79" fmla="*/ 223302 h 1576253"/>
                    <a:gd name="connsiteX80" fmla="*/ 2399283 w 2617696"/>
                    <a:gd name="connsiteY80" fmla="*/ 236342 h 1576253"/>
                    <a:gd name="connsiteX81" fmla="*/ 2400913 w 2617696"/>
                    <a:gd name="connsiteY81" fmla="*/ 244492 h 1576253"/>
                    <a:gd name="connsiteX82" fmla="*/ 2404173 w 2617696"/>
                    <a:gd name="connsiteY82" fmla="*/ 251011 h 1576253"/>
                    <a:gd name="connsiteX83" fmla="*/ 2407432 w 2617696"/>
                    <a:gd name="connsiteY83" fmla="*/ 255901 h 1576253"/>
                    <a:gd name="connsiteX84" fmla="*/ 2410692 w 2617696"/>
                    <a:gd name="connsiteY84" fmla="*/ 267311 h 1576253"/>
                    <a:gd name="connsiteX85" fmla="*/ 2405802 w 2617696"/>
                    <a:gd name="connsiteY85" fmla="*/ 270571 h 1576253"/>
                    <a:gd name="connsiteX86" fmla="*/ 2404173 w 2617696"/>
                    <a:gd name="connsiteY86" fmla="*/ 277091 h 1576253"/>
                    <a:gd name="connsiteX87" fmla="*/ 2399283 w 2617696"/>
                    <a:gd name="connsiteY87" fmla="*/ 283610 h 1576253"/>
                    <a:gd name="connsiteX88" fmla="*/ 2379723 w 2617696"/>
                    <a:gd name="connsiteY88" fmla="*/ 285240 h 1576253"/>
                    <a:gd name="connsiteX89" fmla="*/ 2366684 w 2617696"/>
                    <a:gd name="connsiteY89" fmla="*/ 281980 h 1576253"/>
                    <a:gd name="connsiteX90" fmla="*/ 2361794 w 2617696"/>
                    <a:gd name="connsiteY90" fmla="*/ 285240 h 1576253"/>
                    <a:gd name="connsiteX91" fmla="*/ 2363424 w 2617696"/>
                    <a:gd name="connsiteY91" fmla="*/ 295020 h 1576253"/>
                    <a:gd name="connsiteX92" fmla="*/ 2365054 w 2617696"/>
                    <a:gd name="connsiteY92" fmla="*/ 301540 h 1576253"/>
                    <a:gd name="connsiteX93" fmla="*/ 2376463 w 2617696"/>
                    <a:gd name="connsiteY93" fmla="*/ 308060 h 1576253"/>
                    <a:gd name="connsiteX94" fmla="*/ 2378093 w 2617696"/>
                    <a:gd name="connsiteY94" fmla="*/ 312949 h 1576253"/>
                    <a:gd name="connsiteX95" fmla="*/ 2381353 w 2617696"/>
                    <a:gd name="connsiteY95" fmla="*/ 319469 h 1576253"/>
                    <a:gd name="connsiteX96" fmla="*/ 2392763 w 2617696"/>
                    <a:gd name="connsiteY96" fmla="*/ 334139 h 1576253"/>
                    <a:gd name="connsiteX97" fmla="*/ 2397653 w 2617696"/>
                    <a:gd name="connsiteY97" fmla="*/ 355328 h 1576253"/>
                    <a:gd name="connsiteX98" fmla="*/ 2412322 w 2617696"/>
                    <a:gd name="connsiteY98" fmla="*/ 358588 h 1576253"/>
                    <a:gd name="connsiteX99" fmla="*/ 2422102 w 2617696"/>
                    <a:gd name="connsiteY99" fmla="*/ 360218 h 1576253"/>
                    <a:gd name="connsiteX100" fmla="*/ 2428622 w 2617696"/>
                    <a:gd name="connsiteY100" fmla="*/ 363478 h 1576253"/>
                    <a:gd name="connsiteX101" fmla="*/ 2436771 w 2617696"/>
                    <a:gd name="connsiteY101" fmla="*/ 365108 h 1576253"/>
                    <a:gd name="connsiteX102" fmla="*/ 2438401 w 2617696"/>
                    <a:gd name="connsiteY102" fmla="*/ 384667 h 1576253"/>
                    <a:gd name="connsiteX103" fmla="*/ 2440031 w 2617696"/>
                    <a:gd name="connsiteY103" fmla="*/ 389557 h 1576253"/>
                    <a:gd name="connsiteX104" fmla="*/ 2449811 w 2617696"/>
                    <a:gd name="connsiteY104" fmla="*/ 399337 h 1576253"/>
                    <a:gd name="connsiteX105" fmla="*/ 2453071 w 2617696"/>
                    <a:gd name="connsiteY105" fmla="*/ 409116 h 1576253"/>
                    <a:gd name="connsiteX106" fmla="*/ 2454701 w 2617696"/>
                    <a:gd name="connsiteY106" fmla="*/ 415636 h 1576253"/>
                    <a:gd name="connsiteX107" fmla="*/ 2459591 w 2617696"/>
                    <a:gd name="connsiteY107" fmla="*/ 438455 h 1576253"/>
                    <a:gd name="connsiteX108" fmla="*/ 2487300 w 2617696"/>
                    <a:gd name="connsiteY108" fmla="*/ 440085 h 1576253"/>
                    <a:gd name="connsiteX109" fmla="*/ 2492190 w 2617696"/>
                    <a:gd name="connsiteY109" fmla="*/ 441715 h 1576253"/>
                    <a:gd name="connsiteX110" fmla="*/ 2493820 w 2617696"/>
                    <a:gd name="connsiteY110" fmla="*/ 451495 h 1576253"/>
                    <a:gd name="connsiteX111" fmla="*/ 2490560 w 2617696"/>
                    <a:gd name="connsiteY111" fmla="*/ 466164 h 1576253"/>
                    <a:gd name="connsiteX112" fmla="*/ 2487300 w 2617696"/>
                    <a:gd name="connsiteY112" fmla="*/ 471054 h 1576253"/>
                    <a:gd name="connsiteX113" fmla="*/ 2492190 w 2617696"/>
                    <a:gd name="connsiteY113" fmla="*/ 475944 h 1576253"/>
                    <a:gd name="connsiteX114" fmla="*/ 2493820 w 2617696"/>
                    <a:gd name="connsiteY114" fmla="*/ 482464 h 1576253"/>
                    <a:gd name="connsiteX115" fmla="*/ 2495450 w 2617696"/>
                    <a:gd name="connsiteY115" fmla="*/ 492243 h 1576253"/>
                    <a:gd name="connsiteX116" fmla="*/ 2493820 w 2617696"/>
                    <a:gd name="connsiteY116" fmla="*/ 497133 h 1576253"/>
                    <a:gd name="connsiteX117" fmla="*/ 2492190 w 2617696"/>
                    <a:gd name="connsiteY117" fmla="*/ 508543 h 1576253"/>
                    <a:gd name="connsiteX118" fmla="*/ 2485670 w 2617696"/>
                    <a:gd name="connsiteY118" fmla="*/ 519953 h 1576253"/>
                    <a:gd name="connsiteX119" fmla="*/ 2482410 w 2617696"/>
                    <a:gd name="connsiteY119" fmla="*/ 526472 h 1576253"/>
                    <a:gd name="connsiteX120" fmla="*/ 2484040 w 2617696"/>
                    <a:gd name="connsiteY120" fmla="*/ 531362 h 1576253"/>
                    <a:gd name="connsiteX121" fmla="*/ 2495450 w 2617696"/>
                    <a:gd name="connsiteY121" fmla="*/ 529732 h 1576253"/>
                    <a:gd name="connsiteX122" fmla="*/ 2501969 w 2617696"/>
                    <a:gd name="connsiteY122" fmla="*/ 528102 h 1576253"/>
                    <a:gd name="connsiteX123" fmla="*/ 2506859 w 2617696"/>
                    <a:gd name="connsiteY123" fmla="*/ 526472 h 1576253"/>
                    <a:gd name="connsiteX124" fmla="*/ 2516639 w 2617696"/>
                    <a:gd name="connsiteY124" fmla="*/ 524842 h 1576253"/>
                    <a:gd name="connsiteX125" fmla="*/ 2518269 w 2617696"/>
                    <a:gd name="connsiteY125" fmla="*/ 534622 h 1576253"/>
                    <a:gd name="connsiteX126" fmla="*/ 2523159 w 2617696"/>
                    <a:gd name="connsiteY126" fmla="*/ 532992 h 1576253"/>
                    <a:gd name="connsiteX127" fmla="*/ 2539458 w 2617696"/>
                    <a:gd name="connsiteY127" fmla="*/ 531362 h 1576253"/>
                    <a:gd name="connsiteX128" fmla="*/ 2545978 w 2617696"/>
                    <a:gd name="connsiteY128" fmla="*/ 532992 h 1576253"/>
                    <a:gd name="connsiteX129" fmla="*/ 2550868 w 2617696"/>
                    <a:gd name="connsiteY129" fmla="*/ 549292 h 1576253"/>
                    <a:gd name="connsiteX130" fmla="*/ 2552498 w 2617696"/>
                    <a:gd name="connsiteY130" fmla="*/ 555811 h 1576253"/>
                    <a:gd name="connsiteX131" fmla="*/ 2563907 w 2617696"/>
                    <a:gd name="connsiteY131" fmla="*/ 562331 h 1576253"/>
                    <a:gd name="connsiteX132" fmla="*/ 2562277 w 2617696"/>
                    <a:gd name="connsiteY132" fmla="*/ 572111 h 1576253"/>
                    <a:gd name="connsiteX133" fmla="*/ 2567167 w 2617696"/>
                    <a:gd name="connsiteY133" fmla="*/ 573741 h 1576253"/>
                    <a:gd name="connsiteX134" fmla="*/ 2573687 w 2617696"/>
                    <a:gd name="connsiteY134" fmla="*/ 577001 h 1576253"/>
                    <a:gd name="connsiteX135" fmla="*/ 2589986 w 2617696"/>
                    <a:gd name="connsiteY135" fmla="*/ 581891 h 1576253"/>
                    <a:gd name="connsiteX136" fmla="*/ 2594876 w 2617696"/>
                    <a:gd name="connsiteY136" fmla="*/ 583520 h 1576253"/>
                    <a:gd name="connsiteX137" fmla="*/ 2599766 w 2617696"/>
                    <a:gd name="connsiteY137" fmla="*/ 586780 h 1576253"/>
                    <a:gd name="connsiteX138" fmla="*/ 2604656 w 2617696"/>
                    <a:gd name="connsiteY138" fmla="*/ 588410 h 1576253"/>
                    <a:gd name="connsiteX139" fmla="*/ 2609546 w 2617696"/>
                    <a:gd name="connsiteY139" fmla="*/ 609600 h 1576253"/>
                    <a:gd name="connsiteX140" fmla="*/ 2611176 w 2617696"/>
                    <a:gd name="connsiteY140" fmla="*/ 614489 h 1576253"/>
                    <a:gd name="connsiteX141" fmla="*/ 2617696 w 2617696"/>
                    <a:gd name="connsiteY141" fmla="*/ 621009 h 1576253"/>
                    <a:gd name="connsiteX142" fmla="*/ 2596506 w 2617696"/>
                    <a:gd name="connsiteY142" fmla="*/ 622639 h 1576253"/>
                    <a:gd name="connsiteX143" fmla="*/ 2588356 w 2617696"/>
                    <a:gd name="connsiteY143" fmla="*/ 624269 h 1576253"/>
                    <a:gd name="connsiteX144" fmla="*/ 2580207 w 2617696"/>
                    <a:gd name="connsiteY144" fmla="*/ 635679 h 1576253"/>
                    <a:gd name="connsiteX145" fmla="*/ 2578577 w 2617696"/>
                    <a:gd name="connsiteY145" fmla="*/ 647088 h 1576253"/>
                    <a:gd name="connsiteX146" fmla="*/ 2576947 w 2617696"/>
                    <a:gd name="connsiteY146" fmla="*/ 651978 h 1576253"/>
                    <a:gd name="connsiteX147" fmla="*/ 2568797 w 2617696"/>
                    <a:gd name="connsiteY147" fmla="*/ 661758 h 1576253"/>
                    <a:gd name="connsiteX148" fmla="*/ 2567167 w 2617696"/>
                    <a:gd name="connsiteY148" fmla="*/ 666648 h 1576253"/>
                    <a:gd name="connsiteX149" fmla="*/ 2562277 w 2617696"/>
                    <a:gd name="connsiteY149" fmla="*/ 668278 h 1576253"/>
                    <a:gd name="connsiteX150" fmla="*/ 2572057 w 2617696"/>
                    <a:gd name="connsiteY150" fmla="*/ 682947 h 1576253"/>
                    <a:gd name="connsiteX151" fmla="*/ 2576947 w 2617696"/>
                    <a:gd name="connsiteY151" fmla="*/ 689467 h 1576253"/>
                    <a:gd name="connsiteX152" fmla="*/ 2545978 w 2617696"/>
                    <a:gd name="connsiteY152" fmla="*/ 691097 h 1576253"/>
                    <a:gd name="connsiteX153" fmla="*/ 2539458 w 2617696"/>
                    <a:gd name="connsiteY153" fmla="*/ 686207 h 1576253"/>
                    <a:gd name="connsiteX154" fmla="*/ 2534568 w 2617696"/>
                    <a:gd name="connsiteY154" fmla="*/ 682947 h 1576253"/>
                    <a:gd name="connsiteX155" fmla="*/ 2531308 w 2617696"/>
                    <a:gd name="connsiteY155" fmla="*/ 669908 h 1576253"/>
                    <a:gd name="connsiteX156" fmla="*/ 2537828 w 2617696"/>
                    <a:gd name="connsiteY156" fmla="*/ 643828 h 1576253"/>
                    <a:gd name="connsiteX157" fmla="*/ 2534568 w 2617696"/>
                    <a:gd name="connsiteY157" fmla="*/ 637309 h 1576253"/>
                    <a:gd name="connsiteX158" fmla="*/ 2510119 w 2617696"/>
                    <a:gd name="connsiteY158" fmla="*/ 635679 h 1576253"/>
                    <a:gd name="connsiteX159" fmla="*/ 2500339 w 2617696"/>
                    <a:gd name="connsiteY159" fmla="*/ 638939 h 1576253"/>
                    <a:gd name="connsiteX160" fmla="*/ 2497079 w 2617696"/>
                    <a:gd name="connsiteY160" fmla="*/ 650348 h 1576253"/>
                    <a:gd name="connsiteX161" fmla="*/ 2493820 w 2617696"/>
                    <a:gd name="connsiteY161" fmla="*/ 674797 h 1576253"/>
                    <a:gd name="connsiteX162" fmla="*/ 2484040 w 2617696"/>
                    <a:gd name="connsiteY162" fmla="*/ 681317 h 1576253"/>
                    <a:gd name="connsiteX163" fmla="*/ 2477520 w 2617696"/>
                    <a:gd name="connsiteY163" fmla="*/ 686207 h 1576253"/>
                    <a:gd name="connsiteX164" fmla="*/ 2471000 w 2617696"/>
                    <a:gd name="connsiteY164" fmla="*/ 676427 h 1576253"/>
                    <a:gd name="connsiteX165" fmla="*/ 2466111 w 2617696"/>
                    <a:gd name="connsiteY165" fmla="*/ 674797 h 1576253"/>
                    <a:gd name="connsiteX166" fmla="*/ 2461221 w 2617696"/>
                    <a:gd name="connsiteY166" fmla="*/ 671538 h 1576253"/>
                    <a:gd name="connsiteX167" fmla="*/ 2451441 w 2617696"/>
                    <a:gd name="connsiteY167" fmla="*/ 678057 h 1576253"/>
                    <a:gd name="connsiteX168" fmla="*/ 2443291 w 2617696"/>
                    <a:gd name="connsiteY168" fmla="*/ 681317 h 1576253"/>
                    <a:gd name="connsiteX169" fmla="*/ 2438401 w 2617696"/>
                    <a:gd name="connsiteY169" fmla="*/ 678057 h 1576253"/>
                    <a:gd name="connsiteX170" fmla="*/ 2430252 w 2617696"/>
                    <a:gd name="connsiteY170" fmla="*/ 671538 h 1576253"/>
                    <a:gd name="connsiteX171" fmla="*/ 2420472 w 2617696"/>
                    <a:gd name="connsiteY171" fmla="*/ 673168 h 1576253"/>
                    <a:gd name="connsiteX172" fmla="*/ 2397653 w 2617696"/>
                    <a:gd name="connsiteY172" fmla="*/ 674797 h 1576253"/>
                    <a:gd name="connsiteX173" fmla="*/ 2391801 w 2617696"/>
                    <a:gd name="connsiteY173" fmla="*/ 676051 h 1576253"/>
                    <a:gd name="connsiteX174" fmla="*/ 2391132 w 2617696"/>
                    <a:gd name="connsiteY174" fmla="*/ 678057 h 1576253"/>
                    <a:gd name="connsiteX175" fmla="*/ 2384612 w 2617696"/>
                    <a:gd name="connsiteY175" fmla="*/ 681317 h 1576253"/>
                    <a:gd name="connsiteX176" fmla="*/ 2382982 w 2617696"/>
                    <a:gd name="connsiteY176" fmla="*/ 686207 h 1576253"/>
                    <a:gd name="connsiteX177" fmla="*/ 2369943 w 2617696"/>
                    <a:gd name="connsiteY177" fmla="*/ 702507 h 1576253"/>
                    <a:gd name="connsiteX178" fmla="*/ 2361793 w 2617696"/>
                    <a:gd name="connsiteY178" fmla="*/ 704137 h 1576253"/>
                    <a:gd name="connsiteX179" fmla="*/ 2337344 w 2617696"/>
                    <a:gd name="connsiteY179" fmla="*/ 748145 h 1576253"/>
                    <a:gd name="connsiteX180" fmla="*/ 2330824 w 2617696"/>
                    <a:gd name="connsiteY180" fmla="*/ 751405 h 1576253"/>
                    <a:gd name="connsiteX181" fmla="*/ 2322674 w 2617696"/>
                    <a:gd name="connsiteY181" fmla="*/ 754665 h 1576253"/>
                    <a:gd name="connsiteX182" fmla="*/ 2321044 w 2617696"/>
                    <a:gd name="connsiteY182" fmla="*/ 759555 h 1576253"/>
                    <a:gd name="connsiteX183" fmla="*/ 2306375 w 2617696"/>
                    <a:gd name="connsiteY183" fmla="*/ 769334 h 1576253"/>
                    <a:gd name="connsiteX184" fmla="*/ 2296595 w 2617696"/>
                    <a:gd name="connsiteY184" fmla="*/ 764445 h 1576253"/>
                    <a:gd name="connsiteX185" fmla="*/ 2298225 w 2617696"/>
                    <a:gd name="connsiteY185" fmla="*/ 759555 h 1576253"/>
                    <a:gd name="connsiteX186" fmla="*/ 2299855 w 2617696"/>
                    <a:gd name="connsiteY186" fmla="*/ 743255 h 1576253"/>
                    <a:gd name="connsiteX187" fmla="*/ 2268886 w 2617696"/>
                    <a:gd name="connsiteY187" fmla="*/ 746515 h 1576253"/>
                    <a:gd name="connsiteX188" fmla="*/ 2260736 w 2617696"/>
                    <a:gd name="connsiteY188" fmla="*/ 753035 h 1576253"/>
                    <a:gd name="connsiteX189" fmla="*/ 2254216 w 2617696"/>
                    <a:gd name="connsiteY189" fmla="*/ 759555 h 1576253"/>
                    <a:gd name="connsiteX190" fmla="*/ 2252587 w 2617696"/>
                    <a:gd name="connsiteY190" fmla="*/ 764445 h 1576253"/>
                    <a:gd name="connsiteX191" fmla="*/ 2249327 w 2617696"/>
                    <a:gd name="connsiteY191" fmla="*/ 772594 h 1576253"/>
                    <a:gd name="connsiteX192" fmla="*/ 2247697 w 2617696"/>
                    <a:gd name="connsiteY192" fmla="*/ 779114 h 1576253"/>
                    <a:gd name="connsiteX193" fmla="*/ 2244437 w 2617696"/>
                    <a:gd name="connsiteY193" fmla="*/ 788894 h 1576253"/>
                    <a:gd name="connsiteX194" fmla="*/ 2229767 w 2617696"/>
                    <a:gd name="connsiteY194" fmla="*/ 798673 h 1576253"/>
                    <a:gd name="connsiteX195" fmla="*/ 2224877 w 2617696"/>
                    <a:gd name="connsiteY195" fmla="*/ 801933 h 1576253"/>
                    <a:gd name="connsiteX196" fmla="*/ 2218358 w 2617696"/>
                    <a:gd name="connsiteY196" fmla="*/ 808453 h 1576253"/>
                    <a:gd name="connsiteX197" fmla="*/ 2210208 w 2617696"/>
                    <a:gd name="connsiteY197" fmla="*/ 816603 h 1576253"/>
                    <a:gd name="connsiteX198" fmla="*/ 2200428 w 2617696"/>
                    <a:gd name="connsiteY198" fmla="*/ 826383 h 1576253"/>
                    <a:gd name="connsiteX199" fmla="*/ 2189019 w 2617696"/>
                    <a:gd name="connsiteY199" fmla="*/ 834532 h 1576253"/>
                    <a:gd name="connsiteX200" fmla="*/ 2171089 w 2617696"/>
                    <a:gd name="connsiteY200" fmla="*/ 837792 h 1576253"/>
                    <a:gd name="connsiteX201" fmla="*/ 2166199 w 2617696"/>
                    <a:gd name="connsiteY201" fmla="*/ 841052 h 1576253"/>
                    <a:gd name="connsiteX202" fmla="*/ 2149900 w 2617696"/>
                    <a:gd name="connsiteY202" fmla="*/ 850832 h 1576253"/>
                    <a:gd name="connsiteX203" fmla="*/ 2143380 w 2617696"/>
                    <a:gd name="connsiteY203" fmla="*/ 855722 h 1576253"/>
                    <a:gd name="connsiteX204" fmla="*/ 2138490 w 2617696"/>
                    <a:gd name="connsiteY204" fmla="*/ 858981 h 1576253"/>
                    <a:gd name="connsiteX205" fmla="*/ 2135230 w 2617696"/>
                    <a:gd name="connsiteY205" fmla="*/ 863871 h 1576253"/>
                    <a:gd name="connsiteX206" fmla="*/ 2115671 w 2617696"/>
                    <a:gd name="connsiteY206" fmla="*/ 865501 h 1576253"/>
                    <a:gd name="connsiteX207" fmla="*/ 2110781 w 2617696"/>
                    <a:gd name="connsiteY207" fmla="*/ 868761 h 1576253"/>
                    <a:gd name="connsiteX208" fmla="*/ 2105891 w 2617696"/>
                    <a:gd name="connsiteY208" fmla="*/ 870391 h 1576253"/>
                    <a:gd name="connsiteX209" fmla="*/ 2096112 w 2617696"/>
                    <a:gd name="connsiteY209" fmla="*/ 873651 h 1576253"/>
                    <a:gd name="connsiteX210" fmla="*/ 2092852 w 2617696"/>
                    <a:gd name="connsiteY210" fmla="*/ 878541 h 1576253"/>
                    <a:gd name="connsiteX211" fmla="*/ 2079812 w 2617696"/>
                    <a:gd name="connsiteY211" fmla="*/ 888320 h 1576253"/>
                    <a:gd name="connsiteX212" fmla="*/ 2071662 w 2617696"/>
                    <a:gd name="connsiteY212" fmla="*/ 896470 h 1576253"/>
                    <a:gd name="connsiteX213" fmla="*/ 2066773 w 2617696"/>
                    <a:gd name="connsiteY213" fmla="*/ 899730 h 1576253"/>
                    <a:gd name="connsiteX214" fmla="*/ 2063513 w 2617696"/>
                    <a:gd name="connsiteY214" fmla="*/ 906250 h 1576253"/>
                    <a:gd name="connsiteX215" fmla="*/ 2060253 w 2617696"/>
                    <a:gd name="connsiteY215" fmla="*/ 922549 h 1576253"/>
                    <a:gd name="connsiteX216" fmla="*/ 2058623 w 2617696"/>
                    <a:gd name="connsiteY216" fmla="*/ 927439 h 1576253"/>
                    <a:gd name="connsiteX217" fmla="*/ 2050473 w 2617696"/>
                    <a:gd name="connsiteY217" fmla="*/ 938849 h 1576253"/>
                    <a:gd name="connsiteX218" fmla="*/ 2045583 w 2617696"/>
                    <a:gd name="connsiteY218" fmla="*/ 943739 h 1576253"/>
                    <a:gd name="connsiteX219" fmla="*/ 2040693 w 2617696"/>
                    <a:gd name="connsiteY219" fmla="*/ 950258 h 1576253"/>
                    <a:gd name="connsiteX220" fmla="*/ 2027654 w 2617696"/>
                    <a:gd name="connsiteY220" fmla="*/ 961668 h 1576253"/>
                    <a:gd name="connsiteX221" fmla="*/ 2021134 w 2617696"/>
                    <a:gd name="connsiteY221" fmla="*/ 969818 h 1576253"/>
                    <a:gd name="connsiteX222" fmla="*/ 2014614 w 2617696"/>
                    <a:gd name="connsiteY222" fmla="*/ 973078 h 1576253"/>
                    <a:gd name="connsiteX223" fmla="*/ 2009724 w 2617696"/>
                    <a:gd name="connsiteY223" fmla="*/ 974708 h 1576253"/>
                    <a:gd name="connsiteX224" fmla="*/ 1991795 w 2617696"/>
                    <a:gd name="connsiteY224" fmla="*/ 986117 h 1576253"/>
                    <a:gd name="connsiteX225" fmla="*/ 1985275 w 2617696"/>
                    <a:gd name="connsiteY225" fmla="*/ 987747 h 1576253"/>
                    <a:gd name="connsiteX226" fmla="*/ 1967346 w 2617696"/>
                    <a:gd name="connsiteY226" fmla="*/ 994267 h 1576253"/>
                    <a:gd name="connsiteX227" fmla="*/ 1959196 w 2617696"/>
                    <a:gd name="connsiteY227" fmla="*/ 995897 h 1576253"/>
                    <a:gd name="connsiteX228" fmla="*/ 1954306 w 2617696"/>
                    <a:gd name="connsiteY228" fmla="*/ 1005677 h 1576253"/>
                    <a:gd name="connsiteX229" fmla="*/ 1942897 w 2617696"/>
                    <a:gd name="connsiteY229" fmla="*/ 1010566 h 1576253"/>
                    <a:gd name="connsiteX230" fmla="*/ 1938007 w 2617696"/>
                    <a:gd name="connsiteY230" fmla="*/ 1012196 h 1576253"/>
                    <a:gd name="connsiteX231" fmla="*/ 1928227 w 2617696"/>
                    <a:gd name="connsiteY231" fmla="*/ 1017086 h 1576253"/>
                    <a:gd name="connsiteX232" fmla="*/ 1915188 w 2617696"/>
                    <a:gd name="connsiteY232" fmla="*/ 1026866 h 1576253"/>
                    <a:gd name="connsiteX233" fmla="*/ 1905408 w 2617696"/>
                    <a:gd name="connsiteY233" fmla="*/ 1030126 h 1576253"/>
                    <a:gd name="connsiteX234" fmla="*/ 1890738 w 2617696"/>
                    <a:gd name="connsiteY234" fmla="*/ 1033386 h 1576253"/>
                    <a:gd name="connsiteX235" fmla="*/ 1884219 w 2617696"/>
                    <a:gd name="connsiteY235" fmla="*/ 1035016 h 1576253"/>
                    <a:gd name="connsiteX236" fmla="*/ 1871179 w 2617696"/>
                    <a:gd name="connsiteY236" fmla="*/ 1036646 h 1576253"/>
                    <a:gd name="connsiteX237" fmla="*/ 1866289 w 2617696"/>
                    <a:gd name="connsiteY237" fmla="*/ 1039906 h 1576253"/>
                    <a:gd name="connsiteX238" fmla="*/ 1863029 w 2617696"/>
                    <a:gd name="connsiteY238" fmla="*/ 1044795 h 1576253"/>
                    <a:gd name="connsiteX239" fmla="*/ 1838580 w 2617696"/>
                    <a:gd name="connsiteY239" fmla="*/ 1046425 h 1576253"/>
                    <a:gd name="connsiteX240" fmla="*/ 1830430 w 2617696"/>
                    <a:gd name="connsiteY240" fmla="*/ 1044795 h 1576253"/>
                    <a:gd name="connsiteX241" fmla="*/ 1823911 w 2617696"/>
                    <a:gd name="connsiteY241" fmla="*/ 1043165 h 1576253"/>
                    <a:gd name="connsiteX242" fmla="*/ 1822281 w 2617696"/>
                    <a:gd name="connsiteY242" fmla="*/ 1038276 h 1576253"/>
                    <a:gd name="connsiteX243" fmla="*/ 1792942 w 2617696"/>
                    <a:gd name="connsiteY243" fmla="*/ 1038276 h 1576253"/>
                    <a:gd name="connsiteX244" fmla="*/ 1771752 w 2617696"/>
                    <a:gd name="connsiteY244" fmla="*/ 1039906 h 1576253"/>
                    <a:gd name="connsiteX245" fmla="*/ 1765233 w 2617696"/>
                    <a:gd name="connsiteY245" fmla="*/ 1041535 h 1576253"/>
                    <a:gd name="connsiteX246" fmla="*/ 1761973 w 2617696"/>
                    <a:gd name="connsiteY246" fmla="*/ 1046425 h 1576253"/>
                    <a:gd name="connsiteX247" fmla="*/ 1750563 w 2617696"/>
                    <a:gd name="connsiteY247" fmla="*/ 1056205 h 1576253"/>
                    <a:gd name="connsiteX248" fmla="*/ 1748933 w 2617696"/>
                    <a:gd name="connsiteY248" fmla="*/ 1061095 h 1576253"/>
                    <a:gd name="connsiteX249" fmla="*/ 1744043 w 2617696"/>
                    <a:gd name="connsiteY249" fmla="*/ 1069245 h 1576253"/>
                    <a:gd name="connsiteX250" fmla="*/ 1734264 w 2617696"/>
                    <a:gd name="connsiteY250" fmla="*/ 1082284 h 1576253"/>
                    <a:gd name="connsiteX251" fmla="*/ 1731004 w 2617696"/>
                    <a:gd name="connsiteY251" fmla="*/ 1087174 h 1576253"/>
                    <a:gd name="connsiteX252" fmla="*/ 1719594 w 2617696"/>
                    <a:gd name="connsiteY252" fmla="*/ 1090434 h 1576253"/>
                    <a:gd name="connsiteX253" fmla="*/ 1711444 w 2617696"/>
                    <a:gd name="connsiteY253" fmla="*/ 1096954 h 1576253"/>
                    <a:gd name="connsiteX254" fmla="*/ 1704924 w 2617696"/>
                    <a:gd name="connsiteY254" fmla="*/ 1109993 h 1576253"/>
                    <a:gd name="connsiteX255" fmla="*/ 1701665 w 2617696"/>
                    <a:gd name="connsiteY255" fmla="*/ 1118143 h 1576253"/>
                    <a:gd name="connsiteX256" fmla="*/ 1693515 w 2617696"/>
                    <a:gd name="connsiteY256" fmla="*/ 1129553 h 1576253"/>
                    <a:gd name="connsiteX257" fmla="*/ 1686995 w 2617696"/>
                    <a:gd name="connsiteY257" fmla="*/ 1139332 h 1576253"/>
                    <a:gd name="connsiteX258" fmla="*/ 1680475 w 2617696"/>
                    <a:gd name="connsiteY258" fmla="*/ 1142592 h 1576253"/>
                    <a:gd name="connsiteX259" fmla="*/ 1641357 w 2617696"/>
                    <a:gd name="connsiteY259" fmla="*/ 1142592 h 1576253"/>
                    <a:gd name="connsiteX260" fmla="*/ 1638097 w 2617696"/>
                    <a:gd name="connsiteY260" fmla="*/ 1137702 h 1576253"/>
                    <a:gd name="connsiteX261" fmla="*/ 1631577 w 2617696"/>
                    <a:gd name="connsiteY261" fmla="*/ 1136072 h 1576253"/>
                    <a:gd name="connsiteX262" fmla="*/ 1626687 w 2617696"/>
                    <a:gd name="connsiteY262" fmla="*/ 1132812 h 1576253"/>
                    <a:gd name="connsiteX263" fmla="*/ 1598978 w 2617696"/>
                    <a:gd name="connsiteY263" fmla="*/ 1127923 h 1576253"/>
                    <a:gd name="connsiteX264" fmla="*/ 1574529 w 2617696"/>
                    <a:gd name="connsiteY264" fmla="*/ 1132812 h 1576253"/>
                    <a:gd name="connsiteX265" fmla="*/ 1568009 w 2617696"/>
                    <a:gd name="connsiteY265" fmla="*/ 1134442 h 1576253"/>
                    <a:gd name="connsiteX266" fmla="*/ 1564600 w 2617696"/>
                    <a:gd name="connsiteY266" fmla="*/ 1138186 h 1576253"/>
                    <a:gd name="connsiteX267" fmla="*/ 1566380 w 2617696"/>
                    <a:gd name="connsiteY267" fmla="*/ 1144222 h 1576253"/>
                    <a:gd name="connsiteX268" fmla="*/ 1572900 w 2617696"/>
                    <a:gd name="connsiteY268" fmla="*/ 1168671 h 1576253"/>
                    <a:gd name="connsiteX269" fmla="*/ 1571270 w 2617696"/>
                    <a:gd name="connsiteY269" fmla="*/ 1173561 h 1576253"/>
                    <a:gd name="connsiteX270" fmla="*/ 1569640 w 2617696"/>
                    <a:gd name="connsiteY270" fmla="*/ 1202900 h 1576253"/>
                    <a:gd name="connsiteX271" fmla="*/ 1572900 w 2617696"/>
                    <a:gd name="connsiteY271" fmla="*/ 1207790 h 1576253"/>
                    <a:gd name="connsiteX272" fmla="*/ 1579420 w 2617696"/>
                    <a:gd name="connsiteY272" fmla="*/ 1212680 h 1576253"/>
                    <a:gd name="connsiteX273" fmla="*/ 1579420 w 2617696"/>
                    <a:gd name="connsiteY273" fmla="*/ 1225719 h 1576253"/>
                    <a:gd name="connsiteX274" fmla="*/ 1577790 w 2617696"/>
                    <a:gd name="connsiteY274" fmla="*/ 1230609 h 1576253"/>
                    <a:gd name="connsiteX275" fmla="*/ 1585939 w 2617696"/>
                    <a:gd name="connsiteY275" fmla="*/ 1232239 h 1576253"/>
                    <a:gd name="connsiteX276" fmla="*/ 1594089 w 2617696"/>
                    <a:gd name="connsiteY276" fmla="*/ 1240389 h 1576253"/>
                    <a:gd name="connsiteX277" fmla="*/ 1595719 w 2617696"/>
                    <a:gd name="connsiteY277" fmla="*/ 1253428 h 1576253"/>
                    <a:gd name="connsiteX278" fmla="*/ 1563120 w 2617696"/>
                    <a:gd name="connsiteY278" fmla="*/ 1255058 h 1576253"/>
                    <a:gd name="connsiteX279" fmla="*/ 1556600 w 2617696"/>
                    <a:gd name="connsiteY279" fmla="*/ 1263208 h 1576253"/>
                    <a:gd name="connsiteX280" fmla="*/ 1550081 w 2617696"/>
                    <a:gd name="connsiteY280" fmla="*/ 1264838 h 1576253"/>
                    <a:gd name="connsiteX281" fmla="*/ 1556600 w 2617696"/>
                    <a:gd name="connsiteY281" fmla="*/ 1274618 h 1576253"/>
                    <a:gd name="connsiteX282" fmla="*/ 1564750 w 2617696"/>
                    <a:gd name="connsiteY282" fmla="*/ 1305587 h 1576253"/>
                    <a:gd name="connsiteX283" fmla="*/ 1563120 w 2617696"/>
                    <a:gd name="connsiteY283" fmla="*/ 1310477 h 1576253"/>
                    <a:gd name="connsiteX284" fmla="*/ 1558230 w 2617696"/>
                    <a:gd name="connsiteY284" fmla="*/ 1312107 h 1576253"/>
                    <a:gd name="connsiteX285" fmla="*/ 1556600 w 2617696"/>
                    <a:gd name="connsiteY285" fmla="*/ 1338186 h 1576253"/>
                    <a:gd name="connsiteX286" fmla="*/ 1554970 w 2617696"/>
                    <a:gd name="connsiteY286" fmla="*/ 1343076 h 1576253"/>
                    <a:gd name="connsiteX287" fmla="*/ 1543561 w 2617696"/>
                    <a:gd name="connsiteY287" fmla="*/ 1336556 h 1576253"/>
                    <a:gd name="connsiteX288" fmla="*/ 1525631 w 2617696"/>
                    <a:gd name="connsiteY288" fmla="*/ 1333296 h 1576253"/>
                    <a:gd name="connsiteX289" fmla="*/ 1524001 w 2617696"/>
                    <a:gd name="connsiteY289" fmla="*/ 1326776 h 1576253"/>
                    <a:gd name="connsiteX290" fmla="*/ 1512592 w 2617696"/>
                    <a:gd name="connsiteY290" fmla="*/ 1334926 h 1576253"/>
                    <a:gd name="connsiteX291" fmla="*/ 1507702 w 2617696"/>
                    <a:gd name="connsiteY291" fmla="*/ 1313737 h 1576253"/>
                    <a:gd name="connsiteX292" fmla="*/ 1501182 w 2617696"/>
                    <a:gd name="connsiteY292" fmla="*/ 1308847 h 1576253"/>
                    <a:gd name="connsiteX293" fmla="*/ 1496292 w 2617696"/>
                    <a:gd name="connsiteY293" fmla="*/ 1307217 h 1576253"/>
                    <a:gd name="connsiteX294" fmla="*/ 1493032 w 2617696"/>
                    <a:gd name="connsiteY294" fmla="*/ 1302327 h 1576253"/>
                    <a:gd name="connsiteX295" fmla="*/ 1483253 w 2617696"/>
                    <a:gd name="connsiteY295" fmla="*/ 1294177 h 1576253"/>
                    <a:gd name="connsiteX296" fmla="*/ 1476733 w 2617696"/>
                    <a:gd name="connsiteY296" fmla="*/ 1292547 h 1576253"/>
                    <a:gd name="connsiteX297" fmla="*/ 1470213 w 2617696"/>
                    <a:gd name="connsiteY297" fmla="*/ 1259948 h 1576253"/>
                    <a:gd name="connsiteX298" fmla="*/ 1475103 w 2617696"/>
                    <a:gd name="connsiteY298" fmla="*/ 1255058 h 1576253"/>
                    <a:gd name="connsiteX299" fmla="*/ 1476733 w 2617696"/>
                    <a:gd name="connsiteY299" fmla="*/ 1248539 h 1576253"/>
                    <a:gd name="connsiteX300" fmla="*/ 1484883 w 2617696"/>
                    <a:gd name="connsiteY300" fmla="*/ 1233869 h 1576253"/>
                    <a:gd name="connsiteX301" fmla="*/ 1489773 w 2617696"/>
                    <a:gd name="connsiteY301" fmla="*/ 1227349 h 1576253"/>
                    <a:gd name="connsiteX302" fmla="*/ 1493032 w 2617696"/>
                    <a:gd name="connsiteY302" fmla="*/ 1222460 h 1576253"/>
                    <a:gd name="connsiteX303" fmla="*/ 1499552 w 2617696"/>
                    <a:gd name="connsiteY303" fmla="*/ 1219200 h 1576253"/>
                    <a:gd name="connsiteX304" fmla="*/ 1504442 w 2617696"/>
                    <a:gd name="connsiteY304" fmla="*/ 1196380 h 1576253"/>
                    <a:gd name="connsiteX305" fmla="*/ 1506072 w 2617696"/>
                    <a:gd name="connsiteY305" fmla="*/ 1183341 h 1576253"/>
                    <a:gd name="connsiteX306" fmla="*/ 1502812 w 2617696"/>
                    <a:gd name="connsiteY306" fmla="*/ 1178451 h 1576253"/>
                    <a:gd name="connsiteX307" fmla="*/ 1501182 w 2617696"/>
                    <a:gd name="connsiteY307" fmla="*/ 1171931 h 1576253"/>
                    <a:gd name="connsiteX308" fmla="*/ 1488143 w 2617696"/>
                    <a:gd name="connsiteY308" fmla="*/ 1165411 h 1576253"/>
                    <a:gd name="connsiteX309" fmla="*/ 1486513 w 2617696"/>
                    <a:gd name="connsiteY309" fmla="*/ 1160522 h 1576253"/>
                    <a:gd name="connsiteX310" fmla="*/ 1484883 w 2617696"/>
                    <a:gd name="connsiteY310" fmla="*/ 1154002 h 1576253"/>
                    <a:gd name="connsiteX311" fmla="*/ 1470213 w 2617696"/>
                    <a:gd name="connsiteY311" fmla="*/ 1154002 h 1576253"/>
                    <a:gd name="connsiteX312" fmla="*/ 1468583 w 2617696"/>
                    <a:gd name="connsiteY312" fmla="*/ 1158892 h 1576253"/>
                    <a:gd name="connsiteX313" fmla="*/ 1465323 w 2617696"/>
                    <a:gd name="connsiteY313" fmla="*/ 1163781 h 1576253"/>
                    <a:gd name="connsiteX314" fmla="*/ 1462063 w 2617696"/>
                    <a:gd name="connsiteY314" fmla="*/ 1170301 h 1576253"/>
                    <a:gd name="connsiteX315" fmla="*/ 1455544 w 2617696"/>
                    <a:gd name="connsiteY315" fmla="*/ 1175191 h 1576253"/>
                    <a:gd name="connsiteX316" fmla="*/ 1452284 w 2617696"/>
                    <a:gd name="connsiteY316" fmla="*/ 1180081 h 1576253"/>
                    <a:gd name="connsiteX317" fmla="*/ 1447394 w 2617696"/>
                    <a:gd name="connsiteY317" fmla="*/ 1183341 h 1576253"/>
                    <a:gd name="connsiteX318" fmla="*/ 1444134 w 2617696"/>
                    <a:gd name="connsiteY318" fmla="*/ 1189861 h 1576253"/>
                    <a:gd name="connsiteX319" fmla="*/ 1440874 w 2617696"/>
                    <a:gd name="connsiteY319" fmla="*/ 1194750 h 1576253"/>
                    <a:gd name="connsiteX320" fmla="*/ 1432724 w 2617696"/>
                    <a:gd name="connsiteY320" fmla="*/ 1198010 h 1576253"/>
                    <a:gd name="connsiteX321" fmla="*/ 1431094 w 2617696"/>
                    <a:gd name="connsiteY321" fmla="*/ 1202900 h 1576253"/>
                    <a:gd name="connsiteX322" fmla="*/ 1421315 w 2617696"/>
                    <a:gd name="connsiteY322" fmla="*/ 1212680 h 1576253"/>
                    <a:gd name="connsiteX323" fmla="*/ 1416425 w 2617696"/>
                    <a:gd name="connsiteY323" fmla="*/ 1214310 h 1576253"/>
                    <a:gd name="connsiteX324" fmla="*/ 1414795 w 2617696"/>
                    <a:gd name="connsiteY324" fmla="*/ 1220830 h 1576253"/>
                    <a:gd name="connsiteX325" fmla="*/ 1431094 w 2617696"/>
                    <a:gd name="connsiteY325" fmla="*/ 1228979 h 1576253"/>
                    <a:gd name="connsiteX326" fmla="*/ 1424575 w 2617696"/>
                    <a:gd name="connsiteY326" fmla="*/ 1232239 h 1576253"/>
                    <a:gd name="connsiteX327" fmla="*/ 1414795 w 2617696"/>
                    <a:gd name="connsiteY327" fmla="*/ 1235499 h 1576253"/>
                    <a:gd name="connsiteX328" fmla="*/ 1413165 w 2617696"/>
                    <a:gd name="connsiteY328" fmla="*/ 1240389 h 1576253"/>
                    <a:gd name="connsiteX329" fmla="*/ 1406645 w 2617696"/>
                    <a:gd name="connsiteY329" fmla="*/ 1243649 h 1576253"/>
                    <a:gd name="connsiteX330" fmla="*/ 1395236 w 2617696"/>
                    <a:gd name="connsiteY330" fmla="*/ 1246909 h 1576253"/>
                    <a:gd name="connsiteX331" fmla="*/ 1390346 w 2617696"/>
                    <a:gd name="connsiteY331" fmla="*/ 1248539 h 1576253"/>
                    <a:gd name="connsiteX332" fmla="*/ 1385456 w 2617696"/>
                    <a:gd name="connsiteY332" fmla="*/ 1251799 h 1576253"/>
                    <a:gd name="connsiteX333" fmla="*/ 1378936 w 2617696"/>
                    <a:gd name="connsiteY333" fmla="*/ 1248539 h 1576253"/>
                    <a:gd name="connsiteX334" fmla="*/ 1380566 w 2617696"/>
                    <a:gd name="connsiteY334" fmla="*/ 1237129 h 1576253"/>
                    <a:gd name="connsiteX335" fmla="*/ 1377306 w 2617696"/>
                    <a:gd name="connsiteY335" fmla="*/ 1232239 h 1576253"/>
                    <a:gd name="connsiteX336" fmla="*/ 1372416 w 2617696"/>
                    <a:gd name="connsiteY336" fmla="*/ 1228979 h 1576253"/>
                    <a:gd name="connsiteX337" fmla="*/ 1364267 w 2617696"/>
                    <a:gd name="connsiteY337" fmla="*/ 1245279 h 1576253"/>
                    <a:gd name="connsiteX338" fmla="*/ 1346337 w 2617696"/>
                    <a:gd name="connsiteY338" fmla="*/ 1248539 h 1576253"/>
                    <a:gd name="connsiteX339" fmla="*/ 1325148 w 2617696"/>
                    <a:gd name="connsiteY339" fmla="*/ 1250169 h 1576253"/>
                    <a:gd name="connsiteX340" fmla="*/ 1323518 w 2617696"/>
                    <a:gd name="connsiteY340" fmla="*/ 1243649 h 1576253"/>
                    <a:gd name="connsiteX341" fmla="*/ 1310478 w 2617696"/>
                    <a:gd name="connsiteY341" fmla="*/ 1232239 h 1576253"/>
                    <a:gd name="connsiteX342" fmla="*/ 1305589 w 2617696"/>
                    <a:gd name="connsiteY342" fmla="*/ 1237129 h 1576253"/>
                    <a:gd name="connsiteX343" fmla="*/ 1302329 w 2617696"/>
                    <a:gd name="connsiteY343" fmla="*/ 1242019 h 1576253"/>
                    <a:gd name="connsiteX344" fmla="*/ 1295809 w 2617696"/>
                    <a:gd name="connsiteY344" fmla="*/ 1243649 h 1576253"/>
                    <a:gd name="connsiteX345" fmla="*/ 1290919 w 2617696"/>
                    <a:gd name="connsiteY345" fmla="*/ 1246909 h 1576253"/>
                    <a:gd name="connsiteX346" fmla="*/ 1282769 w 2617696"/>
                    <a:gd name="connsiteY346" fmla="*/ 1248539 h 1576253"/>
                    <a:gd name="connsiteX347" fmla="*/ 1277879 w 2617696"/>
                    <a:gd name="connsiteY347" fmla="*/ 1250169 h 1576253"/>
                    <a:gd name="connsiteX348" fmla="*/ 1276250 w 2617696"/>
                    <a:gd name="connsiteY348" fmla="*/ 1255058 h 1576253"/>
                    <a:gd name="connsiteX349" fmla="*/ 1271360 w 2617696"/>
                    <a:gd name="connsiteY349" fmla="*/ 1258318 h 1576253"/>
                    <a:gd name="connsiteX350" fmla="*/ 1269730 w 2617696"/>
                    <a:gd name="connsiteY350" fmla="*/ 1263208 h 1576253"/>
                    <a:gd name="connsiteX351" fmla="*/ 1266470 w 2617696"/>
                    <a:gd name="connsiteY351" fmla="*/ 1276248 h 1576253"/>
                    <a:gd name="connsiteX352" fmla="*/ 1261580 w 2617696"/>
                    <a:gd name="connsiteY352" fmla="*/ 1282768 h 1576253"/>
                    <a:gd name="connsiteX353" fmla="*/ 1256690 w 2617696"/>
                    <a:gd name="connsiteY353" fmla="*/ 1287657 h 1576253"/>
                    <a:gd name="connsiteX354" fmla="*/ 1253430 w 2617696"/>
                    <a:gd name="connsiteY354" fmla="*/ 1294177 h 1576253"/>
                    <a:gd name="connsiteX355" fmla="*/ 1250170 w 2617696"/>
                    <a:gd name="connsiteY355" fmla="*/ 1299067 h 1576253"/>
                    <a:gd name="connsiteX356" fmla="*/ 1243651 w 2617696"/>
                    <a:gd name="connsiteY356" fmla="*/ 1302327 h 1576253"/>
                    <a:gd name="connsiteX357" fmla="*/ 1237131 w 2617696"/>
                    <a:gd name="connsiteY357" fmla="*/ 1334926 h 1576253"/>
                    <a:gd name="connsiteX358" fmla="*/ 1235501 w 2617696"/>
                    <a:gd name="connsiteY358" fmla="*/ 1339816 h 1576253"/>
                    <a:gd name="connsiteX359" fmla="*/ 1233871 w 2617696"/>
                    <a:gd name="connsiteY359" fmla="*/ 1351225 h 1576253"/>
                    <a:gd name="connsiteX360" fmla="*/ 1224091 w 2617696"/>
                    <a:gd name="connsiteY360" fmla="*/ 1357745 h 1576253"/>
                    <a:gd name="connsiteX361" fmla="*/ 1222461 w 2617696"/>
                    <a:gd name="connsiteY361" fmla="*/ 1377304 h 1576253"/>
                    <a:gd name="connsiteX362" fmla="*/ 1212682 w 2617696"/>
                    <a:gd name="connsiteY362" fmla="*/ 1370785 h 1576253"/>
                    <a:gd name="connsiteX363" fmla="*/ 1196382 w 2617696"/>
                    <a:gd name="connsiteY363" fmla="*/ 1364265 h 1576253"/>
                    <a:gd name="connsiteX364" fmla="*/ 1191492 w 2617696"/>
                    <a:gd name="connsiteY364" fmla="*/ 1370785 h 1576253"/>
                    <a:gd name="connsiteX365" fmla="*/ 1186602 w 2617696"/>
                    <a:gd name="connsiteY365" fmla="*/ 1375674 h 1576253"/>
                    <a:gd name="connsiteX366" fmla="*/ 1183343 w 2617696"/>
                    <a:gd name="connsiteY366" fmla="*/ 1396864 h 1576253"/>
                    <a:gd name="connsiteX367" fmla="*/ 1175193 w 2617696"/>
                    <a:gd name="connsiteY367" fmla="*/ 1398494 h 1576253"/>
                    <a:gd name="connsiteX368" fmla="*/ 1170303 w 2617696"/>
                    <a:gd name="connsiteY368" fmla="*/ 1405014 h 1576253"/>
                    <a:gd name="connsiteX369" fmla="*/ 1167043 w 2617696"/>
                    <a:gd name="connsiteY369" fmla="*/ 1409903 h 1576253"/>
                    <a:gd name="connsiteX370" fmla="*/ 1154004 w 2617696"/>
                    <a:gd name="connsiteY370" fmla="*/ 1406643 h 1576253"/>
                    <a:gd name="connsiteX371" fmla="*/ 1147484 w 2617696"/>
                    <a:gd name="connsiteY371" fmla="*/ 1408273 h 1576253"/>
                    <a:gd name="connsiteX372" fmla="*/ 1142594 w 2617696"/>
                    <a:gd name="connsiteY372" fmla="*/ 1411533 h 1576253"/>
                    <a:gd name="connsiteX373" fmla="*/ 1129554 w 2617696"/>
                    <a:gd name="connsiteY373" fmla="*/ 1418053 h 1576253"/>
                    <a:gd name="connsiteX374" fmla="*/ 1118145 w 2617696"/>
                    <a:gd name="connsiteY374" fmla="*/ 1421313 h 1576253"/>
                    <a:gd name="connsiteX375" fmla="*/ 1108365 w 2617696"/>
                    <a:gd name="connsiteY375" fmla="*/ 1429463 h 1576253"/>
                    <a:gd name="connsiteX376" fmla="*/ 1088806 w 2617696"/>
                    <a:gd name="connsiteY376" fmla="*/ 1431093 h 1576253"/>
                    <a:gd name="connsiteX377" fmla="*/ 1085546 w 2617696"/>
                    <a:gd name="connsiteY377" fmla="*/ 1435983 h 1576253"/>
                    <a:gd name="connsiteX378" fmla="*/ 1083916 w 2617696"/>
                    <a:gd name="connsiteY378" fmla="*/ 1447392 h 1576253"/>
                    <a:gd name="connsiteX379" fmla="*/ 1082286 w 2617696"/>
                    <a:gd name="connsiteY379" fmla="*/ 1452282 h 1576253"/>
                    <a:gd name="connsiteX380" fmla="*/ 1072506 w 2617696"/>
                    <a:gd name="connsiteY380" fmla="*/ 1462062 h 1576253"/>
                    <a:gd name="connsiteX381" fmla="*/ 1061097 w 2617696"/>
                    <a:gd name="connsiteY381" fmla="*/ 1462062 h 1576253"/>
                    <a:gd name="connsiteX382" fmla="*/ 1036647 w 2617696"/>
                    <a:gd name="connsiteY382" fmla="*/ 1458802 h 1576253"/>
                    <a:gd name="connsiteX383" fmla="*/ 1031758 w 2617696"/>
                    <a:gd name="connsiteY383" fmla="*/ 1457172 h 1576253"/>
                    <a:gd name="connsiteX384" fmla="*/ 1025238 w 2617696"/>
                    <a:gd name="connsiteY384" fmla="*/ 1455542 h 1576253"/>
                    <a:gd name="connsiteX385" fmla="*/ 1015458 w 2617696"/>
                    <a:gd name="connsiteY385" fmla="*/ 1452282 h 1576253"/>
                    <a:gd name="connsiteX386" fmla="*/ 1005678 w 2617696"/>
                    <a:gd name="connsiteY386" fmla="*/ 1453912 h 1576253"/>
                    <a:gd name="connsiteX387" fmla="*/ 994269 w 2617696"/>
                    <a:gd name="connsiteY387" fmla="*/ 1449022 h 1576253"/>
                    <a:gd name="connsiteX388" fmla="*/ 986119 w 2617696"/>
                    <a:gd name="connsiteY388" fmla="*/ 1445762 h 1576253"/>
                    <a:gd name="connsiteX389" fmla="*/ 984489 w 2617696"/>
                    <a:gd name="connsiteY389" fmla="*/ 1440872 h 1576253"/>
                    <a:gd name="connsiteX390" fmla="*/ 981229 w 2617696"/>
                    <a:gd name="connsiteY390" fmla="*/ 1435983 h 1576253"/>
                    <a:gd name="connsiteX391" fmla="*/ 969820 w 2617696"/>
                    <a:gd name="connsiteY391" fmla="*/ 1432723 h 1576253"/>
                    <a:gd name="connsiteX392" fmla="*/ 956780 w 2617696"/>
                    <a:gd name="connsiteY392" fmla="*/ 1418053 h 1576253"/>
                    <a:gd name="connsiteX393" fmla="*/ 955150 w 2617696"/>
                    <a:gd name="connsiteY393" fmla="*/ 1413163 h 1576253"/>
                    <a:gd name="connsiteX394" fmla="*/ 950260 w 2617696"/>
                    <a:gd name="connsiteY394" fmla="*/ 1411533 h 1576253"/>
                    <a:gd name="connsiteX395" fmla="*/ 947000 w 2617696"/>
                    <a:gd name="connsiteY395" fmla="*/ 1405014 h 1576253"/>
                    <a:gd name="connsiteX396" fmla="*/ 925811 w 2617696"/>
                    <a:gd name="connsiteY396" fmla="*/ 1406643 h 1576253"/>
                    <a:gd name="connsiteX397" fmla="*/ 916031 w 2617696"/>
                    <a:gd name="connsiteY397" fmla="*/ 1405014 h 1576253"/>
                    <a:gd name="connsiteX398" fmla="*/ 906252 w 2617696"/>
                    <a:gd name="connsiteY398" fmla="*/ 1400124 h 1576253"/>
                    <a:gd name="connsiteX399" fmla="*/ 896472 w 2617696"/>
                    <a:gd name="connsiteY399" fmla="*/ 1398494 h 1576253"/>
                    <a:gd name="connsiteX400" fmla="*/ 870393 w 2617696"/>
                    <a:gd name="connsiteY400" fmla="*/ 1396864 h 1576253"/>
                    <a:gd name="connsiteX401" fmla="*/ 865503 w 2617696"/>
                    <a:gd name="connsiteY401" fmla="*/ 1395234 h 1576253"/>
                    <a:gd name="connsiteX402" fmla="*/ 855723 w 2617696"/>
                    <a:gd name="connsiteY402" fmla="*/ 1393604 h 1576253"/>
                    <a:gd name="connsiteX403" fmla="*/ 850834 w 2617696"/>
                    <a:gd name="connsiteY403" fmla="*/ 1388714 h 1576253"/>
                    <a:gd name="connsiteX404" fmla="*/ 844314 w 2617696"/>
                    <a:gd name="connsiteY404" fmla="*/ 1385454 h 1576253"/>
                    <a:gd name="connsiteX405" fmla="*/ 839424 w 2617696"/>
                    <a:gd name="connsiteY405" fmla="*/ 1383824 h 1576253"/>
                    <a:gd name="connsiteX406" fmla="*/ 818235 w 2617696"/>
                    <a:gd name="connsiteY406" fmla="*/ 1378934 h 1576253"/>
                    <a:gd name="connsiteX407" fmla="*/ 775856 w 2617696"/>
                    <a:gd name="connsiteY407" fmla="*/ 1380564 h 1576253"/>
                    <a:gd name="connsiteX408" fmla="*/ 766076 w 2617696"/>
                    <a:gd name="connsiteY408" fmla="*/ 1387084 h 1576253"/>
                    <a:gd name="connsiteX409" fmla="*/ 748147 w 2617696"/>
                    <a:gd name="connsiteY409" fmla="*/ 1395234 h 1576253"/>
                    <a:gd name="connsiteX410" fmla="*/ 739997 w 2617696"/>
                    <a:gd name="connsiteY410" fmla="*/ 1396864 h 1576253"/>
                    <a:gd name="connsiteX411" fmla="*/ 731847 w 2617696"/>
                    <a:gd name="connsiteY411" fmla="*/ 1403384 h 1576253"/>
                    <a:gd name="connsiteX412" fmla="*/ 726801 w 2617696"/>
                    <a:gd name="connsiteY412" fmla="*/ 1404393 h 1576253"/>
                    <a:gd name="connsiteX413" fmla="*/ 723697 w 2617696"/>
                    <a:gd name="connsiteY413" fmla="*/ 1424573 h 1576253"/>
                    <a:gd name="connsiteX414" fmla="*/ 725327 w 2617696"/>
                    <a:gd name="connsiteY414" fmla="*/ 1429463 h 1576253"/>
                    <a:gd name="connsiteX415" fmla="*/ 728587 w 2617696"/>
                    <a:gd name="connsiteY415" fmla="*/ 1434353 h 1576253"/>
                    <a:gd name="connsiteX416" fmla="*/ 731846 w 2617696"/>
                    <a:gd name="connsiteY416" fmla="*/ 1452282 h 1576253"/>
                    <a:gd name="connsiteX417" fmla="*/ 733476 w 2617696"/>
                    <a:gd name="connsiteY417" fmla="*/ 1457172 h 1576253"/>
                    <a:gd name="connsiteX418" fmla="*/ 738366 w 2617696"/>
                    <a:gd name="connsiteY418" fmla="*/ 1460432 h 1576253"/>
                    <a:gd name="connsiteX419" fmla="*/ 735106 w 2617696"/>
                    <a:gd name="connsiteY419" fmla="*/ 1465322 h 1576253"/>
                    <a:gd name="connsiteX420" fmla="*/ 730216 w 2617696"/>
                    <a:gd name="connsiteY420" fmla="*/ 1470211 h 1576253"/>
                    <a:gd name="connsiteX421" fmla="*/ 725327 w 2617696"/>
                    <a:gd name="connsiteY421" fmla="*/ 1491401 h 1576253"/>
                    <a:gd name="connsiteX422" fmla="*/ 733476 w 2617696"/>
                    <a:gd name="connsiteY422" fmla="*/ 1510960 h 1576253"/>
                    <a:gd name="connsiteX423" fmla="*/ 731846 w 2617696"/>
                    <a:gd name="connsiteY423" fmla="*/ 1517480 h 1576253"/>
                    <a:gd name="connsiteX424" fmla="*/ 726957 w 2617696"/>
                    <a:gd name="connsiteY424" fmla="*/ 1522370 h 1576253"/>
                    <a:gd name="connsiteX425" fmla="*/ 725327 w 2617696"/>
                    <a:gd name="connsiteY425" fmla="*/ 1538669 h 1576253"/>
                    <a:gd name="connsiteX426" fmla="*/ 723697 w 2617696"/>
                    <a:gd name="connsiteY426" fmla="*/ 1515850 h 1576253"/>
                    <a:gd name="connsiteX427" fmla="*/ 692728 w 2617696"/>
                    <a:gd name="connsiteY427" fmla="*/ 1514220 h 1576253"/>
                    <a:gd name="connsiteX428" fmla="*/ 687838 w 2617696"/>
                    <a:gd name="connsiteY428" fmla="*/ 1515850 h 1576253"/>
                    <a:gd name="connsiteX429" fmla="*/ 686208 w 2617696"/>
                    <a:gd name="connsiteY429" fmla="*/ 1520740 h 1576253"/>
                    <a:gd name="connsiteX430" fmla="*/ 681318 w 2617696"/>
                    <a:gd name="connsiteY430" fmla="*/ 1522370 h 1576253"/>
                    <a:gd name="connsiteX431" fmla="*/ 665019 w 2617696"/>
                    <a:gd name="connsiteY431" fmla="*/ 1525630 h 1576253"/>
                    <a:gd name="connsiteX432" fmla="*/ 658499 w 2617696"/>
                    <a:gd name="connsiteY432" fmla="*/ 1528889 h 1576253"/>
                    <a:gd name="connsiteX433" fmla="*/ 656869 w 2617696"/>
                    <a:gd name="connsiteY433" fmla="*/ 1546819 h 1576253"/>
                    <a:gd name="connsiteX434" fmla="*/ 638939 w 2617696"/>
                    <a:gd name="connsiteY434" fmla="*/ 1550079 h 1576253"/>
                    <a:gd name="connsiteX435" fmla="*/ 634050 w 2617696"/>
                    <a:gd name="connsiteY435" fmla="*/ 1551709 h 1576253"/>
                    <a:gd name="connsiteX436" fmla="*/ 632420 w 2617696"/>
                    <a:gd name="connsiteY436" fmla="*/ 1564748 h 1576253"/>
                    <a:gd name="connsiteX437" fmla="*/ 627530 w 2617696"/>
                    <a:gd name="connsiteY437" fmla="*/ 1566378 h 1576253"/>
                    <a:gd name="connsiteX438" fmla="*/ 624270 w 2617696"/>
                    <a:gd name="connsiteY438" fmla="*/ 1571268 h 1576253"/>
                    <a:gd name="connsiteX439" fmla="*/ 619380 w 2617696"/>
                    <a:gd name="connsiteY439" fmla="*/ 1574528 h 1576253"/>
                    <a:gd name="connsiteX440" fmla="*/ 614490 w 2617696"/>
                    <a:gd name="connsiteY440" fmla="*/ 1572898 h 1576253"/>
                    <a:gd name="connsiteX441" fmla="*/ 612860 w 2617696"/>
                    <a:gd name="connsiteY441" fmla="*/ 1564748 h 1576253"/>
                    <a:gd name="connsiteX442" fmla="*/ 611230 w 2617696"/>
                    <a:gd name="connsiteY442" fmla="*/ 1559858 h 1576253"/>
                    <a:gd name="connsiteX443" fmla="*/ 596561 w 2617696"/>
                    <a:gd name="connsiteY443" fmla="*/ 1551709 h 1576253"/>
                    <a:gd name="connsiteX444" fmla="*/ 586781 w 2617696"/>
                    <a:gd name="connsiteY444" fmla="*/ 1558228 h 1576253"/>
                    <a:gd name="connsiteX445" fmla="*/ 583521 w 2617696"/>
                    <a:gd name="connsiteY445" fmla="*/ 1563118 h 1576253"/>
                    <a:gd name="connsiteX446" fmla="*/ 557442 w 2617696"/>
                    <a:gd name="connsiteY446" fmla="*/ 1561488 h 1576253"/>
                    <a:gd name="connsiteX447" fmla="*/ 544403 w 2617696"/>
                    <a:gd name="connsiteY447" fmla="*/ 1559858 h 1576253"/>
                    <a:gd name="connsiteX448" fmla="*/ 541143 w 2617696"/>
                    <a:gd name="connsiteY448" fmla="*/ 1554969 h 1576253"/>
                    <a:gd name="connsiteX449" fmla="*/ 536253 w 2617696"/>
                    <a:gd name="connsiteY449" fmla="*/ 1535409 h 1576253"/>
                    <a:gd name="connsiteX450" fmla="*/ 531363 w 2617696"/>
                    <a:gd name="connsiteY450" fmla="*/ 1537039 h 1576253"/>
                    <a:gd name="connsiteX451" fmla="*/ 529733 w 2617696"/>
                    <a:gd name="connsiteY451" fmla="*/ 1528889 h 1576253"/>
                    <a:gd name="connsiteX452" fmla="*/ 528103 w 2617696"/>
                    <a:gd name="connsiteY452" fmla="*/ 1522370 h 1576253"/>
                    <a:gd name="connsiteX453" fmla="*/ 520406 w 2617696"/>
                    <a:gd name="connsiteY453" fmla="*/ 1503216 h 1576253"/>
                    <a:gd name="connsiteX454" fmla="*/ 521150 w 2617696"/>
                    <a:gd name="connsiteY454" fmla="*/ 1492659 h 1576253"/>
                    <a:gd name="connsiteX455" fmla="*/ 534721 w 2617696"/>
                    <a:gd name="connsiteY455" fmla="*/ 1497021 h 1576253"/>
                    <a:gd name="connsiteX456" fmla="*/ 537883 w 2617696"/>
                    <a:gd name="connsiteY456" fmla="*/ 1499550 h 1576253"/>
                    <a:gd name="connsiteX457" fmla="*/ 547662 w 2617696"/>
                    <a:gd name="connsiteY457" fmla="*/ 1501180 h 1576253"/>
                    <a:gd name="connsiteX458" fmla="*/ 534721 w 2617696"/>
                    <a:gd name="connsiteY458" fmla="*/ 1497021 h 1576253"/>
                    <a:gd name="connsiteX459" fmla="*/ 529733 w 2617696"/>
                    <a:gd name="connsiteY459" fmla="*/ 1493031 h 1576253"/>
                    <a:gd name="connsiteX460" fmla="*/ 524843 w 2617696"/>
                    <a:gd name="connsiteY460" fmla="*/ 1481621 h 1576253"/>
                    <a:gd name="connsiteX461" fmla="*/ 521583 w 2617696"/>
                    <a:gd name="connsiteY461" fmla="*/ 1486511 h 1576253"/>
                    <a:gd name="connsiteX462" fmla="*/ 521150 w 2617696"/>
                    <a:gd name="connsiteY462" fmla="*/ 1492659 h 1576253"/>
                    <a:gd name="connsiteX463" fmla="*/ 502024 w 2617696"/>
                    <a:gd name="connsiteY463" fmla="*/ 1486511 h 1576253"/>
                    <a:gd name="connsiteX464" fmla="*/ 495504 w 2617696"/>
                    <a:gd name="connsiteY464" fmla="*/ 1493031 h 1576253"/>
                    <a:gd name="connsiteX465" fmla="*/ 490614 w 2617696"/>
                    <a:gd name="connsiteY465" fmla="*/ 1496291 h 1576253"/>
                    <a:gd name="connsiteX466" fmla="*/ 488984 w 2617696"/>
                    <a:gd name="connsiteY466" fmla="*/ 1504440 h 1576253"/>
                    <a:gd name="connsiteX467" fmla="*/ 482465 w 2617696"/>
                    <a:gd name="connsiteY467" fmla="*/ 1501180 h 1576253"/>
                    <a:gd name="connsiteX468" fmla="*/ 459645 w 2617696"/>
                    <a:gd name="connsiteY468" fmla="*/ 1496291 h 1576253"/>
                    <a:gd name="connsiteX469" fmla="*/ 456385 w 2617696"/>
                    <a:gd name="connsiteY469" fmla="*/ 1491401 h 1576253"/>
                    <a:gd name="connsiteX470" fmla="*/ 454755 w 2617696"/>
                    <a:gd name="connsiteY470" fmla="*/ 1483251 h 1576253"/>
                    <a:gd name="connsiteX471" fmla="*/ 449866 w 2617696"/>
                    <a:gd name="connsiteY471" fmla="*/ 1481621 h 1576253"/>
                    <a:gd name="connsiteX472" fmla="*/ 448236 w 2617696"/>
                    <a:gd name="connsiteY472" fmla="*/ 1491401 h 1576253"/>
                    <a:gd name="connsiteX473" fmla="*/ 446606 w 2617696"/>
                    <a:gd name="connsiteY473" fmla="*/ 1496291 h 1576253"/>
                    <a:gd name="connsiteX474" fmla="*/ 438456 w 2617696"/>
                    <a:gd name="connsiteY474" fmla="*/ 1486511 h 1576253"/>
                    <a:gd name="connsiteX475" fmla="*/ 433566 w 2617696"/>
                    <a:gd name="connsiteY475" fmla="*/ 1481621 h 1576253"/>
                    <a:gd name="connsiteX476" fmla="*/ 430306 w 2617696"/>
                    <a:gd name="connsiteY476" fmla="*/ 1486511 h 1576253"/>
                    <a:gd name="connsiteX477" fmla="*/ 418897 w 2617696"/>
                    <a:gd name="connsiteY477" fmla="*/ 1486511 h 1576253"/>
                    <a:gd name="connsiteX478" fmla="*/ 410747 w 2617696"/>
                    <a:gd name="connsiteY478" fmla="*/ 1484881 h 1576253"/>
                    <a:gd name="connsiteX479" fmla="*/ 405857 w 2617696"/>
                    <a:gd name="connsiteY479" fmla="*/ 1488141 h 1576253"/>
                    <a:gd name="connsiteX480" fmla="*/ 399337 w 2617696"/>
                    <a:gd name="connsiteY480" fmla="*/ 1491401 h 1576253"/>
                    <a:gd name="connsiteX481" fmla="*/ 396077 w 2617696"/>
                    <a:gd name="connsiteY481" fmla="*/ 1496291 h 1576253"/>
                    <a:gd name="connsiteX482" fmla="*/ 402597 w 2617696"/>
                    <a:gd name="connsiteY482" fmla="*/ 1510960 h 1576253"/>
                    <a:gd name="connsiteX483" fmla="*/ 399337 w 2617696"/>
                    <a:gd name="connsiteY483" fmla="*/ 1517480 h 1576253"/>
                    <a:gd name="connsiteX484" fmla="*/ 389558 w 2617696"/>
                    <a:gd name="connsiteY484" fmla="*/ 1519110 h 1576253"/>
                    <a:gd name="connsiteX485" fmla="*/ 387928 w 2617696"/>
                    <a:gd name="connsiteY485" fmla="*/ 1527260 h 1576253"/>
                    <a:gd name="connsiteX486" fmla="*/ 384668 w 2617696"/>
                    <a:gd name="connsiteY486" fmla="*/ 1535409 h 1576253"/>
                    <a:gd name="connsiteX487" fmla="*/ 383038 w 2617696"/>
                    <a:gd name="connsiteY487" fmla="*/ 1541929 h 1576253"/>
                    <a:gd name="connsiteX488" fmla="*/ 376518 w 2617696"/>
                    <a:gd name="connsiteY488" fmla="*/ 1553339 h 1576253"/>
                    <a:gd name="connsiteX489" fmla="*/ 371628 w 2617696"/>
                    <a:gd name="connsiteY489" fmla="*/ 1561488 h 1576253"/>
                    <a:gd name="connsiteX490" fmla="*/ 363478 w 2617696"/>
                    <a:gd name="connsiteY490" fmla="*/ 1576158 h 1576253"/>
                    <a:gd name="connsiteX491" fmla="*/ 365108 w 2617696"/>
                    <a:gd name="connsiteY491" fmla="*/ 1553339 h 1576253"/>
                    <a:gd name="connsiteX492" fmla="*/ 356959 w 2617696"/>
                    <a:gd name="connsiteY492" fmla="*/ 1550079 h 1576253"/>
                    <a:gd name="connsiteX493" fmla="*/ 352069 w 2617696"/>
                    <a:gd name="connsiteY493" fmla="*/ 1546819 h 1576253"/>
                    <a:gd name="connsiteX494" fmla="*/ 358589 w 2617696"/>
                    <a:gd name="connsiteY494" fmla="*/ 1545189 h 1576253"/>
                    <a:gd name="connsiteX495" fmla="*/ 360219 w 2617696"/>
                    <a:gd name="connsiteY495" fmla="*/ 1533779 h 1576253"/>
                    <a:gd name="connsiteX496" fmla="*/ 363478 w 2617696"/>
                    <a:gd name="connsiteY496" fmla="*/ 1519110 h 1576253"/>
                    <a:gd name="connsiteX497" fmla="*/ 362167 w 2617696"/>
                    <a:gd name="connsiteY497" fmla="*/ 1513862 h 1576253"/>
                    <a:gd name="connsiteX498" fmla="*/ 366738 w 2617696"/>
                    <a:gd name="connsiteY498" fmla="*/ 1512590 h 1576253"/>
                    <a:gd name="connsiteX499" fmla="*/ 369998 w 2617696"/>
                    <a:gd name="connsiteY499" fmla="*/ 1507700 h 1576253"/>
                    <a:gd name="connsiteX500" fmla="*/ 365108 w 2617696"/>
                    <a:gd name="connsiteY500" fmla="*/ 1506070 h 1576253"/>
                    <a:gd name="connsiteX501" fmla="*/ 363478 w 2617696"/>
                    <a:gd name="connsiteY501" fmla="*/ 1497920 h 1576253"/>
                    <a:gd name="connsiteX502" fmla="*/ 360219 w 2617696"/>
                    <a:gd name="connsiteY502" fmla="*/ 1489771 h 1576253"/>
                    <a:gd name="connsiteX503" fmla="*/ 358589 w 2617696"/>
                    <a:gd name="connsiteY503" fmla="*/ 1484881 h 1576253"/>
                    <a:gd name="connsiteX504" fmla="*/ 381408 w 2617696"/>
                    <a:gd name="connsiteY504" fmla="*/ 1483251 h 1576253"/>
                    <a:gd name="connsiteX505" fmla="*/ 387928 w 2617696"/>
                    <a:gd name="connsiteY505" fmla="*/ 1481621 h 1576253"/>
                    <a:gd name="connsiteX506" fmla="*/ 389558 w 2617696"/>
                    <a:gd name="connsiteY506" fmla="*/ 1473471 h 1576253"/>
                    <a:gd name="connsiteX507" fmla="*/ 391188 w 2617696"/>
                    <a:gd name="connsiteY507" fmla="*/ 1466951 h 1576253"/>
                    <a:gd name="connsiteX508" fmla="*/ 394447 w 2617696"/>
                    <a:gd name="connsiteY508" fmla="*/ 1455542 h 1576253"/>
                    <a:gd name="connsiteX509" fmla="*/ 384668 w 2617696"/>
                    <a:gd name="connsiteY509" fmla="*/ 1449022 h 1576253"/>
                    <a:gd name="connsiteX510" fmla="*/ 378148 w 2617696"/>
                    <a:gd name="connsiteY510" fmla="*/ 1455542 h 1576253"/>
                    <a:gd name="connsiteX511" fmla="*/ 365108 w 2617696"/>
                    <a:gd name="connsiteY511" fmla="*/ 1465322 h 1576253"/>
                    <a:gd name="connsiteX512" fmla="*/ 356959 w 2617696"/>
                    <a:gd name="connsiteY512" fmla="*/ 1471841 h 1576253"/>
                    <a:gd name="connsiteX513" fmla="*/ 347179 w 2617696"/>
                    <a:gd name="connsiteY513" fmla="*/ 1475101 h 1576253"/>
                    <a:gd name="connsiteX514" fmla="*/ 337399 w 2617696"/>
                    <a:gd name="connsiteY514" fmla="*/ 1476731 h 1576253"/>
                    <a:gd name="connsiteX515" fmla="*/ 324360 w 2617696"/>
                    <a:gd name="connsiteY515" fmla="*/ 1471841 h 1576253"/>
                    <a:gd name="connsiteX516" fmla="*/ 317840 w 2617696"/>
                    <a:gd name="connsiteY516" fmla="*/ 1479991 h 1576253"/>
                    <a:gd name="connsiteX517" fmla="*/ 309690 w 2617696"/>
                    <a:gd name="connsiteY517" fmla="*/ 1484881 h 1576253"/>
                    <a:gd name="connsiteX518" fmla="*/ 303170 w 2617696"/>
                    <a:gd name="connsiteY518" fmla="*/ 1489771 h 1576253"/>
                    <a:gd name="connsiteX519" fmla="*/ 298281 w 2617696"/>
                    <a:gd name="connsiteY519" fmla="*/ 1491401 h 1576253"/>
                    <a:gd name="connsiteX520" fmla="*/ 293391 w 2617696"/>
                    <a:gd name="connsiteY520" fmla="*/ 1488141 h 1576253"/>
                    <a:gd name="connsiteX521" fmla="*/ 280351 w 2617696"/>
                    <a:gd name="connsiteY521" fmla="*/ 1484881 h 1576253"/>
                    <a:gd name="connsiteX522" fmla="*/ 275461 w 2617696"/>
                    <a:gd name="connsiteY522" fmla="*/ 1493031 h 1576253"/>
                    <a:gd name="connsiteX523" fmla="*/ 268942 w 2617696"/>
                    <a:gd name="connsiteY523" fmla="*/ 1494661 h 1576253"/>
                    <a:gd name="connsiteX524" fmla="*/ 257532 w 2617696"/>
                    <a:gd name="connsiteY524" fmla="*/ 1489771 h 1576253"/>
                    <a:gd name="connsiteX525" fmla="*/ 251012 w 2617696"/>
                    <a:gd name="connsiteY525" fmla="*/ 1488141 h 1576253"/>
                    <a:gd name="connsiteX526" fmla="*/ 249382 w 2617696"/>
                    <a:gd name="connsiteY526" fmla="*/ 1473471 h 1576253"/>
                    <a:gd name="connsiteX527" fmla="*/ 251012 w 2617696"/>
                    <a:gd name="connsiteY527" fmla="*/ 1468581 h 1576253"/>
                    <a:gd name="connsiteX528" fmla="*/ 257532 w 2617696"/>
                    <a:gd name="connsiteY528" fmla="*/ 1466951 h 1576253"/>
                    <a:gd name="connsiteX529" fmla="*/ 278721 w 2617696"/>
                    <a:gd name="connsiteY529" fmla="*/ 1470211 h 1576253"/>
                    <a:gd name="connsiteX530" fmla="*/ 285241 w 2617696"/>
                    <a:gd name="connsiteY530" fmla="*/ 1468581 h 1576253"/>
                    <a:gd name="connsiteX531" fmla="*/ 295021 w 2617696"/>
                    <a:gd name="connsiteY531" fmla="*/ 1458802 h 1576253"/>
                    <a:gd name="connsiteX532" fmla="*/ 296651 w 2617696"/>
                    <a:gd name="connsiteY532" fmla="*/ 1452282 h 1576253"/>
                    <a:gd name="connsiteX533" fmla="*/ 295021 w 2617696"/>
                    <a:gd name="connsiteY533" fmla="*/ 1447392 h 1576253"/>
                    <a:gd name="connsiteX534" fmla="*/ 281981 w 2617696"/>
                    <a:gd name="connsiteY534" fmla="*/ 1442502 h 1576253"/>
                    <a:gd name="connsiteX535" fmla="*/ 280351 w 2617696"/>
                    <a:gd name="connsiteY535" fmla="*/ 1437612 h 1576253"/>
                    <a:gd name="connsiteX536" fmla="*/ 267312 w 2617696"/>
                    <a:gd name="connsiteY536" fmla="*/ 1435983 h 1576253"/>
                    <a:gd name="connsiteX537" fmla="*/ 264052 w 2617696"/>
                    <a:gd name="connsiteY537" fmla="*/ 1431093 h 1576253"/>
                    <a:gd name="connsiteX538" fmla="*/ 262422 w 2617696"/>
                    <a:gd name="connsiteY538" fmla="*/ 1414793 h 1576253"/>
                    <a:gd name="connsiteX539" fmla="*/ 259162 w 2617696"/>
                    <a:gd name="connsiteY539" fmla="*/ 1419683 h 1576253"/>
                    <a:gd name="connsiteX540" fmla="*/ 254272 w 2617696"/>
                    <a:gd name="connsiteY540" fmla="*/ 1429463 h 1576253"/>
                    <a:gd name="connsiteX541" fmla="*/ 244492 w 2617696"/>
                    <a:gd name="connsiteY541" fmla="*/ 1431093 h 1576253"/>
                    <a:gd name="connsiteX542" fmla="*/ 237973 w 2617696"/>
                    <a:gd name="connsiteY542" fmla="*/ 1432723 h 1576253"/>
                    <a:gd name="connsiteX543" fmla="*/ 229823 w 2617696"/>
                    <a:gd name="connsiteY543" fmla="*/ 1408273 h 1576253"/>
                    <a:gd name="connsiteX544" fmla="*/ 210264 w 2617696"/>
                    <a:gd name="connsiteY544" fmla="*/ 1405014 h 1576253"/>
                    <a:gd name="connsiteX545" fmla="*/ 200484 w 2617696"/>
                    <a:gd name="connsiteY545" fmla="*/ 1400124 h 1576253"/>
                    <a:gd name="connsiteX546" fmla="*/ 208634 w 2617696"/>
                    <a:gd name="connsiteY546" fmla="*/ 1390344 h 1576253"/>
                    <a:gd name="connsiteX547" fmla="*/ 220043 w 2617696"/>
                    <a:gd name="connsiteY547" fmla="*/ 1383824 h 1576253"/>
                    <a:gd name="connsiteX548" fmla="*/ 221673 w 2617696"/>
                    <a:gd name="connsiteY548" fmla="*/ 1378934 h 1576253"/>
                    <a:gd name="connsiteX549" fmla="*/ 224933 w 2617696"/>
                    <a:gd name="connsiteY549" fmla="*/ 1374045 h 1576253"/>
                    <a:gd name="connsiteX550" fmla="*/ 223303 w 2617696"/>
                    <a:gd name="connsiteY550" fmla="*/ 1365895 h 1576253"/>
                    <a:gd name="connsiteX551" fmla="*/ 220043 w 2617696"/>
                    <a:gd name="connsiteY551" fmla="*/ 1361005 h 1576253"/>
                    <a:gd name="connsiteX552" fmla="*/ 218413 w 2617696"/>
                    <a:gd name="connsiteY552" fmla="*/ 1346335 h 1576253"/>
                    <a:gd name="connsiteX553" fmla="*/ 216783 w 2617696"/>
                    <a:gd name="connsiteY553" fmla="*/ 1341446 h 1576253"/>
                    <a:gd name="connsiteX554" fmla="*/ 197224 w 2617696"/>
                    <a:gd name="connsiteY554" fmla="*/ 1333296 h 1576253"/>
                    <a:gd name="connsiteX555" fmla="*/ 189074 w 2617696"/>
                    <a:gd name="connsiteY555" fmla="*/ 1321886 h 1576253"/>
                    <a:gd name="connsiteX556" fmla="*/ 177665 w 2617696"/>
                    <a:gd name="connsiteY556" fmla="*/ 1320256 h 1576253"/>
                    <a:gd name="connsiteX557" fmla="*/ 161365 w 2617696"/>
                    <a:gd name="connsiteY557" fmla="*/ 1330036 h 1576253"/>
                    <a:gd name="connsiteX558" fmla="*/ 156475 w 2617696"/>
                    <a:gd name="connsiteY558" fmla="*/ 1334926 h 1576253"/>
                    <a:gd name="connsiteX559" fmla="*/ 154845 w 2617696"/>
                    <a:gd name="connsiteY559" fmla="*/ 1326776 h 1576253"/>
                    <a:gd name="connsiteX560" fmla="*/ 153215 w 2617696"/>
                    <a:gd name="connsiteY560" fmla="*/ 1321886 h 1576253"/>
                    <a:gd name="connsiteX561" fmla="*/ 149955 w 2617696"/>
                    <a:gd name="connsiteY561" fmla="*/ 1312107 h 1576253"/>
                    <a:gd name="connsiteX562" fmla="*/ 141806 w 2617696"/>
                    <a:gd name="connsiteY562" fmla="*/ 1297437 h 1576253"/>
                    <a:gd name="connsiteX563" fmla="*/ 135286 w 2617696"/>
                    <a:gd name="connsiteY563" fmla="*/ 1299067 h 1576253"/>
                    <a:gd name="connsiteX564" fmla="*/ 130396 w 2617696"/>
                    <a:gd name="connsiteY564" fmla="*/ 1302327 h 1576253"/>
                    <a:gd name="connsiteX565" fmla="*/ 128766 w 2617696"/>
                    <a:gd name="connsiteY565" fmla="*/ 1307217 h 1576253"/>
                    <a:gd name="connsiteX566" fmla="*/ 125506 w 2617696"/>
                    <a:gd name="connsiteY566" fmla="*/ 1320256 h 1576253"/>
                    <a:gd name="connsiteX567" fmla="*/ 118987 w 2617696"/>
                    <a:gd name="connsiteY567" fmla="*/ 1325146 h 1576253"/>
                    <a:gd name="connsiteX568" fmla="*/ 115727 w 2617696"/>
                    <a:gd name="connsiteY568" fmla="*/ 1344706 h 1576253"/>
                    <a:gd name="connsiteX569" fmla="*/ 110837 w 2617696"/>
                    <a:gd name="connsiteY569" fmla="*/ 1339816 h 1576253"/>
                    <a:gd name="connsiteX570" fmla="*/ 104317 w 2617696"/>
                    <a:gd name="connsiteY570" fmla="*/ 1336556 h 1576253"/>
                    <a:gd name="connsiteX571" fmla="*/ 97797 w 2617696"/>
                    <a:gd name="connsiteY571" fmla="*/ 1325146 h 1576253"/>
                    <a:gd name="connsiteX572" fmla="*/ 92907 w 2617696"/>
                    <a:gd name="connsiteY572" fmla="*/ 1318626 h 1576253"/>
                    <a:gd name="connsiteX573" fmla="*/ 88018 w 2617696"/>
                    <a:gd name="connsiteY573" fmla="*/ 1305587 h 1576253"/>
                    <a:gd name="connsiteX574" fmla="*/ 78238 w 2617696"/>
                    <a:gd name="connsiteY574" fmla="*/ 1310477 h 1576253"/>
                    <a:gd name="connsiteX575" fmla="*/ 70088 w 2617696"/>
                    <a:gd name="connsiteY575" fmla="*/ 1308847 h 1576253"/>
                    <a:gd name="connsiteX576" fmla="*/ 71718 w 2617696"/>
                    <a:gd name="connsiteY576" fmla="*/ 1303957 h 1576253"/>
                    <a:gd name="connsiteX577" fmla="*/ 76608 w 2617696"/>
                    <a:gd name="connsiteY577" fmla="*/ 1300697 h 1576253"/>
                    <a:gd name="connsiteX578" fmla="*/ 79868 w 2617696"/>
                    <a:gd name="connsiteY578" fmla="*/ 1295807 h 1576253"/>
                    <a:gd name="connsiteX579" fmla="*/ 89647 w 2617696"/>
                    <a:gd name="connsiteY579" fmla="*/ 1286027 h 1576253"/>
                    <a:gd name="connsiteX580" fmla="*/ 92907 w 2617696"/>
                    <a:gd name="connsiteY580" fmla="*/ 1277878 h 1576253"/>
                    <a:gd name="connsiteX581" fmla="*/ 89647 w 2617696"/>
                    <a:gd name="connsiteY581" fmla="*/ 1272988 h 1576253"/>
                    <a:gd name="connsiteX582" fmla="*/ 81498 w 2617696"/>
                    <a:gd name="connsiteY582" fmla="*/ 1271358 h 1576253"/>
                    <a:gd name="connsiteX583" fmla="*/ 79868 w 2617696"/>
                    <a:gd name="connsiteY583" fmla="*/ 1263208 h 1576253"/>
                    <a:gd name="connsiteX584" fmla="*/ 78238 w 2617696"/>
                    <a:gd name="connsiteY584" fmla="*/ 1258318 h 1576253"/>
                    <a:gd name="connsiteX585" fmla="*/ 71718 w 2617696"/>
                    <a:gd name="connsiteY585" fmla="*/ 1256688 h 1576253"/>
                    <a:gd name="connsiteX586" fmla="*/ 65198 w 2617696"/>
                    <a:gd name="connsiteY586" fmla="*/ 1242019 h 1576253"/>
                    <a:gd name="connsiteX587" fmla="*/ 74978 w 2617696"/>
                    <a:gd name="connsiteY587" fmla="*/ 1232239 h 1576253"/>
                    <a:gd name="connsiteX588" fmla="*/ 81498 w 2617696"/>
                    <a:gd name="connsiteY588" fmla="*/ 1233869 h 1576253"/>
                    <a:gd name="connsiteX589" fmla="*/ 86388 w 2617696"/>
                    <a:gd name="connsiteY589" fmla="*/ 1238759 h 1576253"/>
                    <a:gd name="connsiteX590" fmla="*/ 99427 w 2617696"/>
                    <a:gd name="connsiteY590" fmla="*/ 1242019 h 1576253"/>
                    <a:gd name="connsiteX591" fmla="*/ 105947 w 2617696"/>
                    <a:gd name="connsiteY591" fmla="*/ 1246909 h 1576253"/>
                    <a:gd name="connsiteX592" fmla="*/ 109207 w 2617696"/>
                    <a:gd name="connsiteY592" fmla="*/ 1268098 h 1576253"/>
                    <a:gd name="connsiteX593" fmla="*/ 109207 w 2617696"/>
                    <a:gd name="connsiteY593" fmla="*/ 1277878 h 1576253"/>
                    <a:gd name="connsiteX594" fmla="*/ 120616 w 2617696"/>
                    <a:gd name="connsiteY594" fmla="*/ 1284397 h 1576253"/>
                    <a:gd name="connsiteX595" fmla="*/ 122246 w 2617696"/>
                    <a:gd name="connsiteY595" fmla="*/ 1269728 h 1576253"/>
                    <a:gd name="connsiteX596" fmla="*/ 123876 w 2617696"/>
                    <a:gd name="connsiteY596" fmla="*/ 1264838 h 1576253"/>
                    <a:gd name="connsiteX597" fmla="*/ 130396 w 2617696"/>
                    <a:gd name="connsiteY597" fmla="*/ 1272988 h 1576253"/>
                    <a:gd name="connsiteX598" fmla="*/ 145066 w 2617696"/>
                    <a:gd name="connsiteY598" fmla="*/ 1269728 h 1576253"/>
                    <a:gd name="connsiteX599" fmla="*/ 159735 w 2617696"/>
                    <a:gd name="connsiteY599" fmla="*/ 1266468 h 1576253"/>
                    <a:gd name="connsiteX600" fmla="*/ 179295 w 2617696"/>
                    <a:gd name="connsiteY600" fmla="*/ 1264838 h 1576253"/>
                    <a:gd name="connsiteX601" fmla="*/ 187444 w 2617696"/>
                    <a:gd name="connsiteY601" fmla="*/ 1261578 h 1576253"/>
                    <a:gd name="connsiteX602" fmla="*/ 185814 w 2617696"/>
                    <a:gd name="connsiteY602" fmla="*/ 1253428 h 1576253"/>
                    <a:gd name="connsiteX603" fmla="*/ 179295 w 2617696"/>
                    <a:gd name="connsiteY603" fmla="*/ 1251799 h 1576253"/>
                    <a:gd name="connsiteX604" fmla="*/ 184056 w 2617696"/>
                    <a:gd name="connsiteY604" fmla="*/ 1247990 h 1576253"/>
                    <a:gd name="connsiteX605" fmla="*/ 178136 w 2617696"/>
                    <a:gd name="connsiteY605" fmla="*/ 1247031 h 1576253"/>
                    <a:gd name="connsiteX606" fmla="*/ 166255 w 2617696"/>
                    <a:gd name="connsiteY606" fmla="*/ 1248539 h 1576253"/>
                    <a:gd name="connsiteX607" fmla="*/ 162995 w 2617696"/>
                    <a:gd name="connsiteY607" fmla="*/ 1253428 h 1576253"/>
                    <a:gd name="connsiteX608" fmla="*/ 156475 w 2617696"/>
                    <a:gd name="connsiteY608" fmla="*/ 1251799 h 1576253"/>
                    <a:gd name="connsiteX609" fmla="*/ 143436 w 2617696"/>
                    <a:gd name="connsiteY609" fmla="*/ 1246909 h 1576253"/>
                    <a:gd name="connsiteX610" fmla="*/ 138546 w 2617696"/>
                    <a:gd name="connsiteY610" fmla="*/ 1227349 h 1576253"/>
                    <a:gd name="connsiteX611" fmla="*/ 132026 w 2617696"/>
                    <a:gd name="connsiteY611" fmla="*/ 1238759 h 1576253"/>
                    <a:gd name="connsiteX612" fmla="*/ 125506 w 2617696"/>
                    <a:gd name="connsiteY612" fmla="*/ 1228979 h 1576253"/>
                    <a:gd name="connsiteX613" fmla="*/ 122246 w 2617696"/>
                    <a:gd name="connsiteY613" fmla="*/ 1220830 h 1576253"/>
                    <a:gd name="connsiteX614" fmla="*/ 120616 w 2617696"/>
                    <a:gd name="connsiteY614" fmla="*/ 1212680 h 1576253"/>
                    <a:gd name="connsiteX615" fmla="*/ 128766 w 2617696"/>
                    <a:gd name="connsiteY615" fmla="*/ 1198010 h 1576253"/>
                    <a:gd name="connsiteX616" fmla="*/ 136891 w 2617696"/>
                    <a:gd name="connsiteY616" fmla="*/ 1197107 h 1576253"/>
                    <a:gd name="connsiteX617" fmla="*/ 138546 w 2617696"/>
                    <a:gd name="connsiteY617" fmla="*/ 1202900 h 1576253"/>
                    <a:gd name="connsiteX618" fmla="*/ 145066 w 2617696"/>
                    <a:gd name="connsiteY618" fmla="*/ 1201270 h 1576253"/>
                    <a:gd name="connsiteX619" fmla="*/ 143436 w 2617696"/>
                    <a:gd name="connsiteY619" fmla="*/ 1196380 h 1576253"/>
                    <a:gd name="connsiteX620" fmla="*/ 136891 w 2617696"/>
                    <a:gd name="connsiteY620" fmla="*/ 1197107 h 1576253"/>
                    <a:gd name="connsiteX621" fmla="*/ 135286 w 2617696"/>
                    <a:gd name="connsiteY621" fmla="*/ 1191491 h 1576253"/>
                    <a:gd name="connsiteX622" fmla="*/ 136916 w 2617696"/>
                    <a:gd name="connsiteY622" fmla="*/ 1184971 h 1576253"/>
                    <a:gd name="connsiteX623" fmla="*/ 158105 w 2617696"/>
                    <a:gd name="connsiteY623" fmla="*/ 1183341 h 1576253"/>
                    <a:gd name="connsiteX624" fmla="*/ 162995 w 2617696"/>
                    <a:gd name="connsiteY624" fmla="*/ 1181711 h 1576253"/>
                    <a:gd name="connsiteX625" fmla="*/ 158105 w 2617696"/>
                    <a:gd name="connsiteY625" fmla="*/ 1170301 h 1576253"/>
                    <a:gd name="connsiteX626" fmla="*/ 153215 w 2617696"/>
                    <a:gd name="connsiteY626" fmla="*/ 1168671 h 1576253"/>
                    <a:gd name="connsiteX627" fmla="*/ 145066 w 2617696"/>
                    <a:gd name="connsiteY627" fmla="*/ 1167041 h 1576253"/>
                    <a:gd name="connsiteX628" fmla="*/ 141806 w 2617696"/>
                    <a:gd name="connsiteY628" fmla="*/ 1162151 h 1576253"/>
                    <a:gd name="connsiteX629" fmla="*/ 140176 w 2617696"/>
                    <a:gd name="connsiteY629" fmla="*/ 1168671 h 1576253"/>
                    <a:gd name="connsiteX630" fmla="*/ 114097 w 2617696"/>
                    <a:gd name="connsiteY630" fmla="*/ 1175191 h 1576253"/>
                    <a:gd name="connsiteX631" fmla="*/ 112467 w 2617696"/>
                    <a:gd name="connsiteY631" fmla="*/ 1167041 h 1576253"/>
                    <a:gd name="connsiteX632" fmla="*/ 114097 w 2617696"/>
                    <a:gd name="connsiteY632" fmla="*/ 1160522 h 1576253"/>
                    <a:gd name="connsiteX633" fmla="*/ 123876 w 2617696"/>
                    <a:gd name="connsiteY633" fmla="*/ 1149112 h 1576253"/>
                    <a:gd name="connsiteX634" fmla="*/ 125506 w 2617696"/>
                    <a:gd name="connsiteY634" fmla="*/ 1144222 h 1576253"/>
                    <a:gd name="connsiteX635" fmla="*/ 117357 w 2617696"/>
                    <a:gd name="connsiteY635" fmla="*/ 1140962 h 1576253"/>
                    <a:gd name="connsiteX636" fmla="*/ 117357 w 2617696"/>
                    <a:gd name="connsiteY636" fmla="*/ 1129553 h 1576253"/>
                    <a:gd name="connsiteX637" fmla="*/ 104317 w 2617696"/>
                    <a:gd name="connsiteY637" fmla="*/ 1127923 h 1576253"/>
                    <a:gd name="connsiteX638" fmla="*/ 99427 w 2617696"/>
                    <a:gd name="connsiteY638" fmla="*/ 1126293 h 1576253"/>
                    <a:gd name="connsiteX639" fmla="*/ 97797 w 2617696"/>
                    <a:gd name="connsiteY639" fmla="*/ 1121403 h 1576253"/>
                    <a:gd name="connsiteX640" fmla="*/ 84758 w 2617696"/>
                    <a:gd name="connsiteY640" fmla="*/ 1118143 h 1576253"/>
                    <a:gd name="connsiteX641" fmla="*/ 88018 w 2617696"/>
                    <a:gd name="connsiteY641" fmla="*/ 1113253 h 1576253"/>
                    <a:gd name="connsiteX642" fmla="*/ 101057 w 2617696"/>
                    <a:gd name="connsiteY642" fmla="*/ 1098584 h 1576253"/>
                    <a:gd name="connsiteX643" fmla="*/ 96167 w 2617696"/>
                    <a:gd name="connsiteY643" fmla="*/ 1101843 h 1576253"/>
                    <a:gd name="connsiteX644" fmla="*/ 99427 w 2617696"/>
                    <a:gd name="connsiteY644" fmla="*/ 1093694 h 1576253"/>
                    <a:gd name="connsiteX645" fmla="*/ 110837 w 2617696"/>
                    <a:gd name="connsiteY645" fmla="*/ 1088804 h 1576253"/>
                    <a:gd name="connsiteX646" fmla="*/ 112467 w 2617696"/>
                    <a:gd name="connsiteY646" fmla="*/ 1083914 h 1576253"/>
                    <a:gd name="connsiteX647" fmla="*/ 120616 w 2617696"/>
                    <a:gd name="connsiteY647" fmla="*/ 1061095 h 1576253"/>
                    <a:gd name="connsiteX648" fmla="*/ 112467 w 2617696"/>
                    <a:gd name="connsiteY648" fmla="*/ 1057835 h 1576253"/>
                    <a:gd name="connsiteX649" fmla="*/ 105947 w 2617696"/>
                    <a:gd name="connsiteY649" fmla="*/ 1059465 h 1576253"/>
                    <a:gd name="connsiteX650" fmla="*/ 101057 w 2617696"/>
                    <a:gd name="connsiteY650" fmla="*/ 1057835 h 1576253"/>
                    <a:gd name="connsiteX651" fmla="*/ 96167 w 2617696"/>
                    <a:gd name="connsiteY651" fmla="*/ 1061095 h 1576253"/>
                    <a:gd name="connsiteX652" fmla="*/ 83128 w 2617696"/>
                    <a:gd name="connsiteY652" fmla="*/ 1064355 h 1576253"/>
                    <a:gd name="connsiteX653" fmla="*/ 78238 w 2617696"/>
                    <a:gd name="connsiteY653" fmla="*/ 1067615 h 1576253"/>
                    <a:gd name="connsiteX654" fmla="*/ 71718 w 2617696"/>
                    <a:gd name="connsiteY654" fmla="*/ 1070874 h 1576253"/>
                    <a:gd name="connsiteX655" fmla="*/ 65198 w 2617696"/>
                    <a:gd name="connsiteY655" fmla="*/ 1075764 h 1576253"/>
                    <a:gd name="connsiteX656" fmla="*/ 60308 w 2617696"/>
                    <a:gd name="connsiteY656" fmla="*/ 1079024 h 1576253"/>
                    <a:gd name="connsiteX657" fmla="*/ 44009 w 2617696"/>
                    <a:gd name="connsiteY657" fmla="*/ 1082284 h 1576253"/>
                    <a:gd name="connsiteX658" fmla="*/ 40749 w 2617696"/>
                    <a:gd name="connsiteY658" fmla="*/ 1087174 h 1576253"/>
                    <a:gd name="connsiteX659" fmla="*/ 30969 w 2617696"/>
                    <a:gd name="connsiteY659" fmla="*/ 1090434 h 1576253"/>
                    <a:gd name="connsiteX660" fmla="*/ 19560 w 2617696"/>
                    <a:gd name="connsiteY660" fmla="*/ 1096954 h 1576253"/>
                    <a:gd name="connsiteX661" fmla="*/ 1630 w 2617696"/>
                    <a:gd name="connsiteY661" fmla="*/ 1096954 h 1576253"/>
                    <a:gd name="connsiteX662" fmla="*/ 0 w 2617696"/>
                    <a:gd name="connsiteY662" fmla="*/ 1092064 h 1576253"/>
                    <a:gd name="connsiteX663" fmla="*/ 1630 w 2617696"/>
                    <a:gd name="connsiteY663" fmla="*/ 1077394 h 1576253"/>
                    <a:gd name="connsiteX664" fmla="*/ 6520 w 2617696"/>
                    <a:gd name="connsiteY664" fmla="*/ 1072504 h 1576253"/>
                    <a:gd name="connsiteX665" fmla="*/ 8150 w 2617696"/>
                    <a:gd name="connsiteY665" fmla="*/ 1059465 h 1576253"/>
                    <a:gd name="connsiteX666" fmla="*/ 3260 w 2617696"/>
                    <a:gd name="connsiteY666" fmla="*/ 1038276 h 1576253"/>
                    <a:gd name="connsiteX667" fmla="*/ 4890 w 2617696"/>
                    <a:gd name="connsiteY667" fmla="*/ 1002417 h 1576253"/>
                    <a:gd name="connsiteX668" fmla="*/ 17930 w 2617696"/>
                    <a:gd name="connsiteY668" fmla="*/ 1000787 h 1576253"/>
                    <a:gd name="connsiteX669" fmla="*/ 22820 w 2617696"/>
                    <a:gd name="connsiteY669" fmla="*/ 992637 h 1576253"/>
                    <a:gd name="connsiteX670" fmla="*/ 24450 w 2617696"/>
                    <a:gd name="connsiteY670" fmla="*/ 971448 h 1576253"/>
                    <a:gd name="connsiteX671" fmla="*/ 32599 w 2617696"/>
                    <a:gd name="connsiteY671" fmla="*/ 969818 h 1576253"/>
                    <a:gd name="connsiteX672" fmla="*/ 40749 w 2617696"/>
                    <a:gd name="connsiteY672" fmla="*/ 960038 h 1576253"/>
                    <a:gd name="connsiteX673" fmla="*/ 52159 w 2617696"/>
                    <a:gd name="connsiteY673" fmla="*/ 953518 h 1576253"/>
                    <a:gd name="connsiteX674" fmla="*/ 53789 w 2617696"/>
                    <a:gd name="connsiteY674" fmla="*/ 932329 h 1576253"/>
                    <a:gd name="connsiteX675" fmla="*/ 57049 w 2617696"/>
                    <a:gd name="connsiteY675" fmla="*/ 917660 h 1576253"/>
                    <a:gd name="connsiteX676" fmla="*/ 66828 w 2617696"/>
                    <a:gd name="connsiteY676" fmla="*/ 916030 h 1576253"/>
                    <a:gd name="connsiteX677" fmla="*/ 73348 w 2617696"/>
                    <a:gd name="connsiteY677" fmla="*/ 912770 h 1576253"/>
                    <a:gd name="connsiteX678" fmla="*/ 79868 w 2617696"/>
                    <a:gd name="connsiteY678" fmla="*/ 911140 h 1576253"/>
                    <a:gd name="connsiteX679" fmla="*/ 97797 w 2617696"/>
                    <a:gd name="connsiteY679" fmla="*/ 909510 h 1576253"/>
                    <a:gd name="connsiteX680" fmla="*/ 102687 w 2617696"/>
                    <a:gd name="connsiteY680" fmla="*/ 907880 h 1576253"/>
                    <a:gd name="connsiteX681" fmla="*/ 107577 w 2617696"/>
                    <a:gd name="connsiteY681" fmla="*/ 902990 h 1576253"/>
                    <a:gd name="connsiteX682" fmla="*/ 112467 w 2617696"/>
                    <a:gd name="connsiteY682" fmla="*/ 899730 h 1576253"/>
                    <a:gd name="connsiteX683" fmla="*/ 117356 w 2617696"/>
                    <a:gd name="connsiteY683" fmla="*/ 896470 h 1576253"/>
                    <a:gd name="connsiteX684" fmla="*/ 141806 w 2617696"/>
                    <a:gd name="connsiteY684" fmla="*/ 904620 h 1576253"/>
                    <a:gd name="connsiteX685" fmla="*/ 146696 w 2617696"/>
                    <a:gd name="connsiteY685" fmla="*/ 906250 h 1576253"/>
                    <a:gd name="connsiteX686" fmla="*/ 177665 w 2617696"/>
                    <a:gd name="connsiteY686" fmla="*/ 902990 h 1576253"/>
                    <a:gd name="connsiteX687" fmla="*/ 190704 w 2617696"/>
                    <a:gd name="connsiteY687" fmla="*/ 901360 h 1576253"/>
                    <a:gd name="connsiteX688" fmla="*/ 195594 w 2617696"/>
                    <a:gd name="connsiteY688" fmla="*/ 899730 h 1576253"/>
                    <a:gd name="connsiteX689" fmla="*/ 205374 w 2617696"/>
                    <a:gd name="connsiteY689" fmla="*/ 888320 h 1576253"/>
                    <a:gd name="connsiteX690" fmla="*/ 203744 w 2617696"/>
                    <a:gd name="connsiteY690" fmla="*/ 883431 h 1576253"/>
                    <a:gd name="connsiteX691" fmla="*/ 189074 w 2617696"/>
                    <a:gd name="connsiteY691" fmla="*/ 880171 h 1576253"/>
                    <a:gd name="connsiteX692" fmla="*/ 184184 w 2617696"/>
                    <a:gd name="connsiteY692" fmla="*/ 876911 h 1576253"/>
                    <a:gd name="connsiteX693" fmla="*/ 192334 w 2617696"/>
                    <a:gd name="connsiteY693" fmla="*/ 867131 h 1576253"/>
                    <a:gd name="connsiteX694" fmla="*/ 211893 w 2617696"/>
                    <a:gd name="connsiteY694" fmla="*/ 865501 h 1576253"/>
                    <a:gd name="connsiteX695" fmla="*/ 223303 w 2617696"/>
                    <a:gd name="connsiteY695" fmla="*/ 862241 h 1576253"/>
                    <a:gd name="connsiteX696" fmla="*/ 228193 w 2617696"/>
                    <a:gd name="connsiteY696" fmla="*/ 860611 h 1576253"/>
                    <a:gd name="connsiteX697" fmla="*/ 229823 w 2617696"/>
                    <a:gd name="connsiteY697" fmla="*/ 868761 h 1576253"/>
                    <a:gd name="connsiteX698" fmla="*/ 228193 w 2617696"/>
                    <a:gd name="connsiteY698" fmla="*/ 873651 h 1576253"/>
                    <a:gd name="connsiteX699" fmla="*/ 221673 w 2617696"/>
                    <a:gd name="connsiteY699" fmla="*/ 878541 h 1576253"/>
                    <a:gd name="connsiteX700" fmla="*/ 218413 w 2617696"/>
                    <a:gd name="connsiteY700" fmla="*/ 883431 h 1576253"/>
                    <a:gd name="connsiteX701" fmla="*/ 220043 w 2617696"/>
                    <a:gd name="connsiteY701" fmla="*/ 888320 h 1576253"/>
                    <a:gd name="connsiteX702" fmla="*/ 231453 w 2617696"/>
                    <a:gd name="connsiteY702" fmla="*/ 885061 h 1576253"/>
                    <a:gd name="connsiteX703" fmla="*/ 244492 w 2617696"/>
                    <a:gd name="connsiteY703" fmla="*/ 883431 h 1576253"/>
                    <a:gd name="connsiteX704" fmla="*/ 251012 w 2617696"/>
                    <a:gd name="connsiteY704" fmla="*/ 880171 h 1576253"/>
                    <a:gd name="connsiteX705" fmla="*/ 255902 w 2617696"/>
                    <a:gd name="connsiteY705" fmla="*/ 878541 h 1576253"/>
                    <a:gd name="connsiteX706" fmla="*/ 260792 w 2617696"/>
                    <a:gd name="connsiteY706" fmla="*/ 875281 h 1576253"/>
                    <a:gd name="connsiteX707" fmla="*/ 272201 w 2617696"/>
                    <a:gd name="connsiteY707" fmla="*/ 872021 h 1576253"/>
                    <a:gd name="connsiteX708" fmla="*/ 301541 w 2617696"/>
                    <a:gd name="connsiteY708" fmla="*/ 868761 h 1576253"/>
                    <a:gd name="connsiteX709" fmla="*/ 308060 w 2617696"/>
                    <a:gd name="connsiteY709" fmla="*/ 865501 h 1576253"/>
                    <a:gd name="connsiteX710" fmla="*/ 327620 w 2617696"/>
                    <a:gd name="connsiteY710" fmla="*/ 863871 h 1576253"/>
                    <a:gd name="connsiteX711" fmla="*/ 335769 w 2617696"/>
                    <a:gd name="connsiteY711" fmla="*/ 857351 h 1576253"/>
                    <a:gd name="connsiteX712" fmla="*/ 353699 w 2617696"/>
                    <a:gd name="connsiteY712" fmla="*/ 852462 h 1576253"/>
                    <a:gd name="connsiteX713" fmla="*/ 360219 w 2617696"/>
                    <a:gd name="connsiteY713" fmla="*/ 854092 h 1576253"/>
                    <a:gd name="connsiteX714" fmla="*/ 371628 w 2617696"/>
                    <a:gd name="connsiteY714" fmla="*/ 854092 h 1576253"/>
                    <a:gd name="connsiteX715" fmla="*/ 376518 w 2617696"/>
                    <a:gd name="connsiteY715" fmla="*/ 849202 h 1576253"/>
                    <a:gd name="connsiteX716" fmla="*/ 381408 w 2617696"/>
                    <a:gd name="connsiteY716" fmla="*/ 847572 h 1576253"/>
                    <a:gd name="connsiteX717" fmla="*/ 379778 w 2617696"/>
                    <a:gd name="connsiteY717" fmla="*/ 836162 h 1576253"/>
                    <a:gd name="connsiteX718" fmla="*/ 368368 w 2617696"/>
                    <a:gd name="connsiteY718" fmla="*/ 831272 h 1576253"/>
                    <a:gd name="connsiteX719" fmla="*/ 348809 w 2617696"/>
                    <a:gd name="connsiteY719" fmla="*/ 826383 h 1576253"/>
                    <a:gd name="connsiteX720" fmla="*/ 337399 w 2617696"/>
                    <a:gd name="connsiteY720" fmla="*/ 832902 h 1576253"/>
                    <a:gd name="connsiteX721" fmla="*/ 332510 w 2617696"/>
                    <a:gd name="connsiteY721" fmla="*/ 836162 h 1576253"/>
                    <a:gd name="connsiteX722" fmla="*/ 327620 w 2617696"/>
                    <a:gd name="connsiteY722" fmla="*/ 829642 h 1576253"/>
                    <a:gd name="connsiteX723" fmla="*/ 337399 w 2617696"/>
                    <a:gd name="connsiteY723" fmla="*/ 826383 h 1576253"/>
                    <a:gd name="connsiteX724" fmla="*/ 347179 w 2617696"/>
                    <a:gd name="connsiteY724" fmla="*/ 813343 h 1576253"/>
                    <a:gd name="connsiteX725" fmla="*/ 350439 w 2617696"/>
                    <a:gd name="connsiteY725" fmla="*/ 808453 h 1576253"/>
                    <a:gd name="connsiteX726" fmla="*/ 360219 w 2617696"/>
                    <a:gd name="connsiteY726" fmla="*/ 806823 h 1576253"/>
                    <a:gd name="connsiteX727" fmla="*/ 365108 w 2617696"/>
                    <a:gd name="connsiteY727" fmla="*/ 808453 h 1576253"/>
                    <a:gd name="connsiteX728" fmla="*/ 369998 w 2617696"/>
                    <a:gd name="connsiteY728" fmla="*/ 801933 h 1576253"/>
                    <a:gd name="connsiteX729" fmla="*/ 374888 w 2617696"/>
                    <a:gd name="connsiteY729" fmla="*/ 798673 h 1576253"/>
                    <a:gd name="connsiteX730" fmla="*/ 381408 w 2617696"/>
                    <a:gd name="connsiteY730" fmla="*/ 793784 h 1576253"/>
                    <a:gd name="connsiteX731" fmla="*/ 386298 w 2617696"/>
                    <a:gd name="connsiteY731" fmla="*/ 790524 h 1576253"/>
                    <a:gd name="connsiteX732" fmla="*/ 387928 w 2617696"/>
                    <a:gd name="connsiteY732" fmla="*/ 780744 h 1576253"/>
                    <a:gd name="connsiteX733" fmla="*/ 397707 w 2617696"/>
                    <a:gd name="connsiteY733" fmla="*/ 785634 h 1576253"/>
                    <a:gd name="connsiteX734" fmla="*/ 402597 w 2617696"/>
                    <a:gd name="connsiteY734" fmla="*/ 787264 h 1576253"/>
                    <a:gd name="connsiteX735" fmla="*/ 409117 w 2617696"/>
                    <a:gd name="connsiteY735" fmla="*/ 777484 h 1576253"/>
                    <a:gd name="connsiteX736" fmla="*/ 430306 w 2617696"/>
                    <a:gd name="connsiteY736" fmla="*/ 769334 h 1576253"/>
                    <a:gd name="connsiteX737" fmla="*/ 436826 w 2617696"/>
                    <a:gd name="connsiteY737" fmla="*/ 762815 h 1576253"/>
                    <a:gd name="connsiteX738" fmla="*/ 441716 w 2617696"/>
                    <a:gd name="connsiteY738" fmla="*/ 761185 h 1576253"/>
                    <a:gd name="connsiteX739" fmla="*/ 461275 w 2617696"/>
                    <a:gd name="connsiteY739" fmla="*/ 762815 h 1576253"/>
                    <a:gd name="connsiteX740" fmla="*/ 466165 w 2617696"/>
                    <a:gd name="connsiteY740" fmla="*/ 759555 h 1576253"/>
                    <a:gd name="connsiteX741" fmla="*/ 482465 w 2617696"/>
                    <a:gd name="connsiteY741" fmla="*/ 753035 h 1576253"/>
                    <a:gd name="connsiteX742" fmla="*/ 485724 w 2617696"/>
                    <a:gd name="connsiteY742" fmla="*/ 746515 h 1576253"/>
                    <a:gd name="connsiteX743" fmla="*/ 433566 w 2617696"/>
                    <a:gd name="connsiteY743" fmla="*/ 743255 h 1576253"/>
                    <a:gd name="connsiteX744" fmla="*/ 427046 w 2617696"/>
                    <a:gd name="connsiteY744" fmla="*/ 748145 h 1576253"/>
                    <a:gd name="connsiteX745" fmla="*/ 422157 w 2617696"/>
                    <a:gd name="connsiteY745" fmla="*/ 751405 h 1576253"/>
                    <a:gd name="connsiteX746" fmla="*/ 412377 w 2617696"/>
                    <a:gd name="connsiteY746" fmla="*/ 762815 h 1576253"/>
                    <a:gd name="connsiteX747" fmla="*/ 389558 w 2617696"/>
                    <a:gd name="connsiteY747" fmla="*/ 766074 h 1576253"/>
                    <a:gd name="connsiteX748" fmla="*/ 384668 w 2617696"/>
                    <a:gd name="connsiteY748" fmla="*/ 764445 h 1576253"/>
                    <a:gd name="connsiteX749" fmla="*/ 381408 w 2617696"/>
                    <a:gd name="connsiteY749" fmla="*/ 759555 h 1576253"/>
                    <a:gd name="connsiteX750" fmla="*/ 376476 w 2617696"/>
                    <a:gd name="connsiteY750" fmla="*/ 754660 h 1576253"/>
                    <a:gd name="connsiteX751" fmla="*/ 374586 w 2617696"/>
                    <a:gd name="connsiteY751" fmla="*/ 751791 h 1576253"/>
                    <a:gd name="connsiteX752" fmla="*/ 376518 w 2617696"/>
                    <a:gd name="connsiteY752" fmla="*/ 751405 h 1576253"/>
                    <a:gd name="connsiteX753" fmla="*/ 376009 w 2617696"/>
                    <a:gd name="connsiteY753" fmla="*/ 749431 h 1576253"/>
                    <a:gd name="connsiteX754" fmla="*/ 386298 w 2617696"/>
                    <a:gd name="connsiteY754" fmla="*/ 748145 h 1576253"/>
                    <a:gd name="connsiteX755" fmla="*/ 386299 w 2617696"/>
                    <a:gd name="connsiteY755" fmla="*/ 726956 h 1576253"/>
                    <a:gd name="connsiteX756" fmla="*/ 391188 w 2617696"/>
                    <a:gd name="connsiteY756" fmla="*/ 725326 h 1576253"/>
                    <a:gd name="connsiteX757" fmla="*/ 387928 w 2617696"/>
                    <a:gd name="connsiteY757" fmla="*/ 713916 h 1576253"/>
                    <a:gd name="connsiteX758" fmla="*/ 381408 w 2617696"/>
                    <a:gd name="connsiteY758" fmla="*/ 722066 h 1576253"/>
                    <a:gd name="connsiteX759" fmla="*/ 376518 w 2617696"/>
                    <a:gd name="connsiteY759" fmla="*/ 723696 h 1576253"/>
                    <a:gd name="connsiteX760" fmla="*/ 373258 w 2617696"/>
                    <a:gd name="connsiteY760" fmla="*/ 733476 h 1576253"/>
                    <a:gd name="connsiteX761" fmla="*/ 369998 w 2617696"/>
                    <a:gd name="connsiteY761" fmla="*/ 739995 h 1576253"/>
                    <a:gd name="connsiteX762" fmla="*/ 374810 w 2617696"/>
                    <a:gd name="connsiteY762" fmla="*/ 744789 h 1576253"/>
                    <a:gd name="connsiteX763" fmla="*/ 376009 w 2617696"/>
                    <a:gd name="connsiteY763" fmla="*/ 749431 h 1576253"/>
                    <a:gd name="connsiteX764" fmla="*/ 373258 w 2617696"/>
                    <a:gd name="connsiteY764" fmla="*/ 749775 h 1576253"/>
                    <a:gd name="connsiteX765" fmla="*/ 374586 w 2617696"/>
                    <a:gd name="connsiteY765" fmla="*/ 751791 h 1576253"/>
                    <a:gd name="connsiteX766" fmla="*/ 368368 w 2617696"/>
                    <a:gd name="connsiteY766" fmla="*/ 753035 h 1576253"/>
                    <a:gd name="connsiteX767" fmla="*/ 358589 w 2617696"/>
                    <a:gd name="connsiteY767" fmla="*/ 749775 h 1576253"/>
                    <a:gd name="connsiteX768" fmla="*/ 355329 w 2617696"/>
                    <a:gd name="connsiteY768" fmla="*/ 744885 h 1576253"/>
                    <a:gd name="connsiteX769" fmla="*/ 350439 w 2617696"/>
                    <a:gd name="connsiteY769" fmla="*/ 741625 h 1576253"/>
                    <a:gd name="connsiteX770" fmla="*/ 350439 w 2617696"/>
                    <a:gd name="connsiteY770" fmla="*/ 728586 h 1576253"/>
                    <a:gd name="connsiteX771" fmla="*/ 349115 w 2617696"/>
                    <a:gd name="connsiteY771" fmla="*/ 721964 h 1576253"/>
                    <a:gd name="connsiteX772" fmla="*/ 358589 w 2617696"/>
                    <a:gd name="connsiteY772" fmla="*/ 718806 h 1576253"/>
                    <a:gd name="connsiteX773" fmla="*/ 365108 w 2617696"/>
                    <a:gd name="connsiteY773" fmla="*/ 717176 h 1576253"/>
                    <a:gd name="connsiteX774" fmla="*/ 348809 w 2617696"/>
                    <a:gd name="connsiteY774" fmla="*/ 720436 h 1576253"/>
                    <a:gd name="connsiteX775" fmla="*/ 349115 w 2617696"/>
                    <a:gd name="connsiteY775" fmla="*/ 721964 h 1576253"/>
                    <a:gd name="connsiteX776" fmla="*/ 348809 w 2617696"/>
                    <a:gd name="connsiteY776" fmla="*/ 722066 h 1576253"/>
                    <a:gd name="connsiteX777" fmla="*/ 345549 w 2617696"/>
                    <a:gd name="connsiteY777" fmla="*/ 712286 h 1576253"/>
                    <a:gd name="connsiteX778" fmla="*/ 348809 w 2617696"/>
                    <a:gd name="connsiteY778" fmla="*/ 700877 h 1576253"/>
                    <a:gd name="connsiteX779" fmla="*/ 345549 w 2617696"/>
                    <a:gd name="connsiteY779" fmla="*/ 699247 h 1576253"/>
                    <a:gd name="connsiteX780" fmla="*/ 355329 w 2617696"/>
                    <a:gd name="connsiteY780" fmla="*/ 694357 h 1576253"/>
                    <a:gd name="connsiteX781" fmla="*/ 378148 w 2617696"/>
                    <a:gd name="connsiteY781" fmla="*/ 691097 h 1576253"/>
                    <a:gd name="connsiteX782" fmla="*/ 383038 w 2617696"/>
                    <a:gd name="connsiteY782" fmla="*/ 689467 h 1576253"/>
                    <a:gd name="connsiteX783" fmla="*/ 461275 w 2617696"/>
                    <a:gd name="connsiteY783" fmla="*/ 686207 h 1576253"/>
                    <a:gd name="connsiteX784" fmla="*/ 477575 w 2617696"/>
                    <a:gd name="connsiteY784" fmla="*/ 684577 h 1576253"/>
                    <a:gd name="connsiteX785" fmla="*/ 488984 w 2617696"/>
                    <a:gd name="connsiteY785" fmla="*/ 661758 h 1576253"/>
                    <a:gd name="connsiteX786" fmla="*/ 505284 w 2617696"/>
                    <a:gd name="connsiteY786" fmla="*/ 653608 h 1576253"/>
                    <a:gd name="connsiteX787" fmla="*/ 510174 w 2617696"/>
                    <a:gd name="connsiteY787" fmla="*/ 655238 h 1576253"/>
                    <a:gd name="connsiteX788" fmla="*/ 515064 w 2617696"/>
                    <a:gd name="connsiteY788" fmla="*/ 658498 h 1576253"/>
                    <a:gd name="connsiteX789" fmla="*/ 529733 w 2617696"/>
                    <a:gd name="connsiteY789" fmla="*/ 661758 h 1576253"/>
                    <a:gd name="connsiteX790" fmla="*/ 544403 w 2617696"/>
                    <a:gd name="connsiteY790" fmla="*/ 658498 h 1576253"/>
                    <a:gd name="connsiteX791" fmla="*/ 554182 w 2617696"/>
                    <a:gd name="connsiteY791" fmla="*/ 655238 h 1576253"/>
                    <a:gd name="connsiteX792" fmla="*/ 562332 w 2617696"/>
                    <a:gd name="connsiteY792" fmla="*/ 653608 h 1576253"/>
                    <a:gd name="connsiteX793" fmla="*/ 567222 w 2617696"/>
                    <a:gd name="connsiteY793" fmla="*/ 651978 h 1576253"/>
                    <a:gd name="connsiteX794" fmla="*/ 583521 w 2617696"/>
                    <a:gd name="connsiteY794" fmla="*/ 648718 h 1576253"/>
                    <a:gd name="connsiteX795" fmla="*/ 601451 w 2617696"/>
                    <a:gd name="connsiteY795" fmla="*/ 647088 h 1576253"/>
                    <a:gd name="connsiteX796" fmla="*/ 609600 w 2617696"/>
                    <a:gd name="connsiteY796" fmla="*/ 642199 h 1576253"/>
                    <a:gd name="connsiteX797" fmla="*/ 616120 w 2617696"/>
                    <a:gd name="connsiteY797" fmla="*/ 638939 h 1576253"/>
                    <a:gd name="connsiteX798" fmla="*/ 624270 w 2617696"/>
                    <a:gd name="connsiteY798" fmla="*/ 629159 h 1576253"/>
                    <a:gd name="connsiteX799" fmla="*/ 638939 w 2617696"/>
                    <a:gd name="connsiteY799" fmla="*/ 614489 h 1576253"/>
                    <a:gd name="connsiteX800" fmla="*/ 640569 w 2617696"/>
                    <a:gd name="connsiteY800" fmla="*/ 603080 h 1576253"/>
                    <a:gd name="connsiteX801" fmla="*/ 635680 w 2617696"/>
                    <a:gd name="connsiteY801" fmla="*/ 598190 h 1576253"/>
                    <a:gd name="connsiteX802" fmla="*/ 632420 w 2617696"/>
                    <a:gd name="connsiteY802" fmla="*/ 593300 h 1576253"/>
                    <a:gd name="connsiteX803" fmla="*/ 637757 w 2617696"/>
                    <a:gd name="connsiteY803" fmla="*/ 591966 h 1576253"/>
                    <a:gd name="connsiteX804" fmla="*/ 638941 w 2617696"/>
                    <a:gd name="connsiteY804" fmla="*/ 588410 h 1576253"/>
                    <a:gd name="connsiteX805" fmla="*/ 645461 w 2617696"/>
                    <a:gd name="connsiteY805" fmla="*/ 586780 h 1576253"/>
                    <a:gd name="connsiteX806" fmla="*/ 650351 w 2617696"/>
                    <a:gd name="connsiteY806" fmla="*/ 583520 h 1576253"/>
                    <a:gd name="connsiteX807" fmla="*/ 676430 w 2617696"/>
                    <a:gd name="connsiteY807" fmla="*/ 572111 h 1576253"/>
                    <a:gd name="connsiteX808" fmla="*/ 684580 w 2617696"/>
                    <a:gd name="connsiteY808" fmla="*/ 560701 h 1576253"/>
                    <a:gd name="connsiteX809" fmla="*/ 700879 w 2617696"/>
                    <a:gd name="connsiteY809" fmla="*/ 547662 h 1576253"/>
                    <a:gd name="connsiteX810" fmla="*/ 704139 w 2617696"/>
                    <a:gd name="connsiteY810" fmla="*/ 537882 h 1576253"/>
                    <a:gd name="connsiteX811" fmla="*/ 709029 w 2617696"/>
                    <a:gd name="connsiteY811" fmla="*/ 531362 h 1576253"/>
                    <a:gd name="connsiteX812" fmla="*/ 720439 w 2617696"/>
                    <a:gd name="connsiteY812" fmla="*/ 516693 h 1576253"/>
                    <a:gd name="connsiteX813" fmla="*/ 725329 w 2617696"/>
                    <a:gd name="connsiteY813" fmla="*/ 513433 h 1576253"/>
                    <a:gd name="connsiteX814" fmla="*/ 726959 w 2617696"/>
                    <a:gd name="connsiteY814" fmla="*/ 506913 h 1576253"/>
                    <a:gd name="connsiteX815" fmla="*/ 731848 w 2617696"/>
                    <a:gd name="connsiteY815" fmla="*/ 500393 h 1576253"/>
                    <a:gd name="connsiteX816" fmla="*/ 735108 w 2617696"/>
                    <a:gd name="connsiteY816" fmla="*/ 493873 h 1576253"/>
                    <a:gd name="connsiteX817" fmla="*/ 746518 w 2617696"/>
                    <a:gd name="connsiteY817" fmla="*/ 488984 h 1576253"/>
                    <a:gd name="connsiteX818" fmla="*/ 751408 w 2617696"/>
                    <a:gd name="connsiteY818" fmla="*/ 479204 h 1576253"/>
                    <a:gd name="connsiteX819" fmla="*/ 754668 w 2617696"/>
                    <a:gd name="connsiteY819" fmla="*/ 474314 h 1576253"/>
                    <a:gd name="connsiteX820" fmla="*/ 757928 w 2617696"/>
                    <a:gd name="connsiteY820" fmla="*/ 467794 h 1576253"/>
                    <a:gd name="connsiteX821" fmla="*/ 767707 w 2617696"/>
                    <a:gd name="connsiteY821" fmla="*/ 462904 h 1576253"/>
                    <a:gd name="connsiteX822" fmla="*/ 777487 w 2617696"/>
                    <a:gd name="connsiteY822" fmla="*/ 456385 h 1576253"/>
                    <a:gd name="connsiteX823" fmla="*/ 782377 w 2617696"/>
                    <a:gd name="connsiteY823" fmla="*/ 454755 h 1576253"/>
                    <a:gd name="connsiteX824" fmla="*/ 785637 w 2617696"/>
                    <a:gd name="connsiteY824" fmla="*/ 449865 h 1576253"/>
                    <a:gd name="connsiteX825" fmla="*/ 790526 w 2617696"/>
                    <a:gd name="connsiteY825" fmla="*/ 444975 h 1576253"/>
                    <a:gd name="connsiteX826" fmla="*/ 797046 w 2617696"/>
                    <a:gd name="connsiteY826" fmla="*/ 441715 h 1576253"/>
                    <a:gd name="connsiteX827" fmla="*/ 798676 w 2617696"/>
                    <a:gd name="connsiteY827" fmla="*/ 436825 h 1576253"/>
                    <a:gd name="connsiteX828" fmla="*/ 801936 w 2617696"/>
                    <a:gd name="connsiteY828" fmla="*/ 430306 h 1576253"/>
                    <a:gd name="connsiteX829" fmla="*/ 814976 w 2617696"/>
                    <a:gd name="connsiteY829" fmla="*/ 420526 h 1576253"/>
                    <a:gd name="connsiteX830" fmla="*/ 828015 w 2617696"/>
                    <a:gd name="connsiteY830" fmla="*/ 417266 h 1576253"/>
                    <a:gd name="connsiteX831" fmla="*/ 832905 w 2617696"/>
                    <a:gd name="connsiteY831" fmla="*/ 412376 h 1576253"/>
                    <a:gd name="connsiteX832" fmla="*/ 836165 w 2617696"/>
                    <a:gd name="connsiteY832" fmla="*/ 400966 h 1576253"/>
                    <a:gd name="connsiteX833" fmla="*/ 841055 w 2617696"/>
                    <a:gd name="connsiteY833" fmla="*/ 397707 h 1576253"/>
                    <a:gd name="connsiteX834" fmla="*/ 867134 w 2617696"/>
                    <a:gd name="connsiteY834" fmla="*/ 396077 h 1576253"/>
                    <a:gd name="connsiteX835" fmla="*/ 881803 w 2617696"/>
                    <a:gd name="connsiteY835" fmla="*/ 397707 h 1576253"/>
                    <a:gd name="connsiteX836" fmla="*/ 904623 w 2617696"/>
                    <a:gd name="connsiteY836" fmla="*/ 399337 h 1576253"/>
                    <a:gd name="connsiteX837" fmla="*/ 919292 w 2617696"/>
                    <a:gd name="connsiteY837" fmla="*/ 405856 h 1576253"/>
                    <a:gd name="connsiteX838" fmla="*/ 924182 w 2617696"/>
                    <a:gd name="connsiteY838" fmla="*/ 409116 h 1576253"/>
                    <a:gd name="connsiteX839" fmla="*/ 911143 w 2617696"/>
                    <a:gd name="connsiteY839" fmla="*/ 399337 h 1576253"/>
                    <a:gd name="connsiteX840" fmla="*/ 907883 w 2617696"/>
                    <a:gd name="connsiteY840" fmla="*/ 394447 h 1576253"/>
                    <a:gd name="connsiteX841" fmla="*/ 911143 w 2617696"/>
                    <a:gd name="connsiteY841" fmla="*/ 389557 h 1576253"/>
                    <a:gd name="connsiteX842" fmla="*/ 922552 w 2617696"/>
                    <a:gd name="connsiteY842" fmla="*/ 387927 h 1576253"/>
                    <a:gd name="connsiteX843" fmla="*/ 927442 w 2617696"/>
                    <a:gd name="connsiteY843" fmla="*/ 384667 h 1576253"/>
                    <a:gd name="connsiteX844" fmla="*/ 947001 w 2617696"/>
                    <a:gd name="connsiteY844" fmla="*/ 373257 h 1576253"/>
                    <a:gd name="connsiteX845" fmla="*/ 955151 w 2617696"/>
                    <a:gd name="connsiteY845" fmla="*/ 371627 h 1576253"/>
                    <a:gd name="connsiteX846" fmla="*/ 964931 w 2617696"/>
                    <a:gd name="connsiteY846" fmla="*/ 368368 h 1576253"/>
                    <a:gd name="connsiteX847" fmla="*/ 981230 w 2617696"/>
                    <a:gd name="connsiteY847" fmla="*/ 365108 h 1576253"/>
                    <a:gd name="connsiteX848" fmla="*/ 986120 w 2617696"/>
                    <a:gd name="connsiteY848" fmla="*/ 361848 h 1576253"/>
                    <a:gd name="connsiteX849" fmla="*/ 1005679 w 2617696"/>
                    <a:gd name="connsiteY849" fmla="*/ 358588 h 1576253"/>
                    <a:gd name="connsiteX850" fmla="*/ 1010569 w 2617696"/>
                    <a:gd name="connsiteY850" fmla="*/ 353698 h 1576253"/>
                    <a:gd name="connsiteX851" fmla="*/ 1023609 w 2617696"/>
                    <a:gd name="connsiteY851" fmla="*/ 350438 h 1576253"/>
                    <a:gd name="connsiteX852" fmla="*/ 1036648 w 2617696"/>
                    <a:gd name="connsiteY852" fmla="*/ 347178 h 1576253"/>
                    <a:gd name="connsiteX853" fmla="*/ 1049688 w 2617696"/>
                    <a:gd name="connsiteY853" fmla="*/ 335769 h 1576253"/>
                    <a:gd name="connsiteX854" fmla="*/ 1056208 w 2617696"/>
                    <a:gd name="connsiteY854" fmla="*/ 330879 h 1576253"/>
                    <a:gd name="connsiteX855" fmla="*/ 1057838 w 2617696"/>
                    <a:gd name="connsiteY855" fmla="*/ 325989 h 1576253"/>
                    <a:gd name="connsiteX856" fmla="*/ 1062728 w 2617696"/>
                    <a:gd name="connsiteY856" fmla="*/ 319469 h 1576253"/>
                    <a:gd name="connsiteX857" fmla="*/ 1077397 w 2617696"/>
                    <a:gd name="connsiteY857" fmla="*/ 314579 h 1576253"/>
                    <a:gd name="connsiteX858" fmla="*/ 1082287 w 2617696"/>
                    <a:gd name="connsiteY858" fmla="*/ 317839 h 1576253"/>
                    <a:gd name="connsiteX859" fmla="*/ 1083917 w 2617696"/>
                    <a:gd name="connsiteY859" fmla="*/ 329249 h 1576253"/>
                    <a:gd name="connsiteX860" fmla="*/ 1085547 w 2617696"/>
                    <a:gd name="connsiteY860" fmla="*/ 335769 h 1576253"/>
                    <a:gd name="connsiteX861" fmla="*/ 1087177 w 2617696"/>
                    <a:gd name="connsiteY861" fmla="*/ 345548 h 1576253"/>
                    <a:gd name="connsiteX862" fmla="*/ 1092067 w 2617696"/>
                    <a:gd name="connsiteY862" fmla="*/ 348808 h 1576253"/>
                    <a:gd name="connsiteX863" fmla="*/ 1095326 w 2617696"/>
                    <a:gd name="connsiteY863" fmla="*/ 355328 h 1576253"/>
                    <a:gd name="connsiteX864" fmla="*/ 1100216 w 2617696"/>
                    <a:gd name="connsiteY864" fmla="*/ 361848 h 1576253"/>
                    <a:gd name="connsiteX865" fmla="*/ 1124666 w 2617696"/>
                    <a:gd name="connsiteY865" fmla="*/ 363478 h 1576253"/>
                    <a:gd name="connsiteX866" fmla="*/ 1131185 w 2617696"/>
                    <a:gd name="connsiteY866" fmla="*/ 366738 h 1576253"/>
                    <a:gd name="connsiteX867" fmla="*/ 1136075 w 2617696"/>
                    <a:gd name="connsiteY867" fmla="*/ 369997 h 1576253"/>
                    <a:gd name="connsiteX868" fmla="*/ 1163784 w 2617696"/>
                    <a:gd name="connsiteY868" fmla="*/ 368368 h 1576253"/>
                    <a:gd name="connsiteX869" fmla="*/ 1170304 w 2617696"/>
                    <a:gd name="connsiteY869" fmla="*/ 366738 h 1576253"/>
                    <a:gd name="connsiteX870" fmla="*/ 1183344 w 2617696"/>
                    <a:gd name="connsiteY870" fmla="*/ 355328 h 1576253"/>
                    <a:gd name="connsiteX871" fmla="*/ 1188233 w 2617696"/>
                    <a:gd name="connsiteY871" fmla="*/ 352068 h 1576253"/>
                    <a:gd name="connsiteX872" fmla="*/ 1191493 w 2617696"/>
                    <a:gd name="connsiteY872" fmla="*/ 335769 h 1576253"/>
                    <a:gd name="connsiteX873" fmla="*/ 1194753 w 2617696"/>
                    <a:gd name="connsiteY873" fmla="*/ 340658 h 1576253"/>
                    <a:gd name="connsiteX874" fmla="*/ 1202903 w 2617696"/>
                    <a:gd name="connsiteY874" fmla="*/ 339028 h 1576253"/>
                    <a:gd name="connsiteX875" fmla="*/ 1206163 w 2617696"/>
                    <a:gd name="connsiteY875" fmla="*/ 343918 h 1576253"/>
                    <a:gd name="connsiteX876" fmla="*/ 1215943 w 2617696"/>
                    <a:gd name="connsiteY876" fmla="*/ 347178 h 1576253"/>
                    <a:gd name="connsiteX877" fmla="*/ 1217572 w 2617696"/>
                    <a:gd name="connsiteY877" fmla="*/ 355328 h 1576253"/>
                    <a:gd name="connsiteX878" fmla="*/ 1219202 w 2617696"/>
                    <a:gd name="connsiteY878" fmla="*/ 347178 h 1576253"/>
                    <a:gd name="connsiteX879" fmla="*/ 1227352 w 2617696"/>
                    <a:gd name="connsiteY879" fmla="*/ 353698 h 1576253"/>
                    <a:gd name="connsiteX880" fmla="*/ 1233872 w 2617696"/>
                    <a:gd name="connsiteY880" fmla="*/ 363478 h 1576253"/>
                    <a:gd name="connsiteX881" fmla="*/ 1237132 w 2617696"/>
                    <a:gd name="connsiteY881" fmla="*/ 368368 h 1576253"/>
                    <a:gd name="connsiteX882" fmla="*/ 1240392 w 2617696"/>
                    <a:gd name="connsiteY882" fmla="*/ 374887 h 1576253"/>
                    <a:gd name="connsiteX883" fmla="*/ 1246912 w 2617696"/>
                    <a:gd name="connsiteY883" fmla="*/ 379777 h 1576253"/>
                    <a:gd name="connsiteX884" fmla="*/ 1282770 w 2617696"/>
                    <a:gd name="connsiteY884" fmla="*/ 384667 h 1576253"/>
                    <a:gd name="connsiteX885" fmla="*/ 1292550 w 2617696"/>
                    <a:gd name="connsiteY885" fmla="*/ 379777 h 1576253"/>
                    <a:gd name="connsiteX886" fmla="*/ 1295810 w 2617696"/>
                    <a:gd name="connsiteY886" fmla="*/ 363478 h 1576253"/>
                    <a:gd name="connsiteX887" fmla="*/ 1294180 w 2617696"/>
                    <a:gd name="connsiteY887" fmla="*/ 358588 h 1576253"/>
                    <a:gd name="connsiteX888" fmla="*/ 1300700 w 2617696"/>
                    <a:gd name="connsiteY888" fmla="*/ 356958 h 1576253"/>
                    <a:gd name="connsiteX889" fmla="*/ 1326779 w 2617696"/>
                    <a:gd name="connsiteY889" fmla="*/ 355328 h 1576253"/>
                    <a:gd name="connsiteX890" fmla="*/ 1333299 w 2617696"/>
                    <a:gd name="connsiteY890" fmla="*/ 353698 h 1576253"/>
                    <a:gd name="connsiteX891" fmla="*/ 1341448 w 2617696"/>
                    <a:gd name="connsiteY891" fmla="*/ 350438 h 1576253"/>
                    <a:gd name="connsiteX892" fmla="*/ 1336559 w 2617696"/>
                    <a:gd name="connsiteY892" fmla="*/ 355328 h 1576253"/>
                    <a:gd name="connsiteX893" fmla="*/ 1344708 w 2617696"/>
                    <a:gd name="connsiteY893" fmla="*/ 352068 h 1576253"/>
                    <a:gd name="connsiteX894" fmla="*/ 1349598 w 2617696"/>
                    <a:gd name="connsiteY894" fmla="*/ 353698 h 1576253"/>
                    <a:gd name="connsiteX895" fmla="*/ 1351228 w 2617696"/>
                    <a:gd name="connsiteY895" fmla="*/ 360218 h 1576253"/>
                    <a:gd name="connsiteX896" fmla="*/ 1352858 w 2617696"/>
                    <a:gd name="connsiteY896" fmla="*/ 374887 h 1576253"/>
                    <a:gd name="connsiteX897" fmla="*/ 1388717 w 2617696"/>
                    <a:gd name="connsiteY897" fmla="*/ 376517 h 1576253"/>
                    <a:gd name="connsiteX898" fmla="*/ 1398497 w 2617696"/>
                    <a:gd name="connsiteY898" fmla="*/ 374887 h 1576253"/>
                    <a:gd name="connsiteX899" fmla="*/ 1409906 w 2617696"/>
                    <a:gd name="connsiteY899" fmla="*/ 373257 h 1576253"/>
                    <a:gd name="connsiteX900" fmla="*/ 1435985 w 2617696"/>
                    <a:gd name="connsiteY900" fmla="*/ 376517 h 1576253"/>
                    <a:gd name="connsiteX901" fmla="*/ 1439245 w 2617696"/>
                    <a:gd name="connsiteY901" fmla="*/ 369997 h 1576253"/>
                    <a:gd name="connsiteX902" fmla="*/ 1435985 w 2617696"/>
                    <a:gd name="connsiteY902" fmla="*/ 358588 h 1576253"/>
                    <a:gd name="connsiteX903" fmla="*/ 1444135 w 2617696"/>
                    <a:gd name="connsiteY903" fmla="*/ 355328 h 1576253"/>
                    <a:gd name="connsiteX904" fmla="*/ 1447039 w 2617696"/>
                    <a:gd name="connsiteY904" fmla="*/ 361776 h 1576253"/>
                    <a:gd name="connsiteX905" fmla="*/ 1445764 w 2617696"/>
                    <a:gd name="connsiteY905" fmla="*/ 358588 h 1576253"/>
                    <a:gd name="connsiteX906" fmla="*/ 1463693 w 2617696"/>
                    <a:gd name="connsiteY906" fmla="*/ 353698 h 1576253"/>
                    <a:gd name="connsiteX907" fmla="*/ 1473473 w 2617696"/>
                    <a:gd name="connsiteY907" fmla="*/ 356958 h 1576253"/>
                    <a:gd name="connsiteX908" fmla="*/ 1475103 w 2617696"/>
                    <a:gd name="connsiteY908" fmla="*/ 363478 h 1576253"/>
                    <a:gd name="connsiteX909" fmla="*/ 1496292 w 2617696"/>
                    <a:gd name="connsiteY909" fmla="*/ 360218 h 1576253"/>
                    <a:gd name="connsiteX910" fmla="*/ 1507702 w 2617696"/>
                    <a:gd name="connsiteY910" fmla="*/ 356958 h 1576253"/>
                    <a:gd name="connsiteX911" fmla="*/ 1512592 w 2617696"/>
                    <a:gd name="connsiteY911" fmla="*/ 358588 h 1576253"/>
                    <a:gd name="connsiteX912" fmla="*/ 1530521 w 2617696"/>
                    <a:gd name="connsiteY912" fmla="*/ 360218 h 1576253"/>
                    <a:gd name="connsiteX913" fmla="*/ 1537041 w 2617696"/>
                    <a:gd name="connsiteY913" fmla="*/ 358588 h 1576253"/>
                    <a:gd name="connsiteX914" fmla="*/ 1553340 w 2617696"/>
                    <a:gd name="connsiteY914" fmla="*/ 348808 h 1576253"/>
                    <a:gd name="connsiteX915" fmla="*/ 1559860 w 2617696"/>
                    <a:gd name="connsiteY915" fmla="*/ 340658 h 1576253"/>
                    <a:gd name="connsiteX916" fmla="*/ 1563120 w 2617696"/>
                    <a:gd name="connsiteY916" fmla="*/ 335769 h 1576253"/>
                    <a:gd name="connsiteX917" fmla="*/ 1574530 w 2617696"/>
                    <a:gd name="connsiteY917" fmla="*/ 327619 h 1576253"/>
                    <a:gd name="connsiteX918" fmla="*/ 1581050 w 2617696"/>
                    <a:gd name="connsiteY918" fmla="*/ 322729 h 1576253"/>
                    <a:gd name="connsiteX919" fmla="*/ 1584309 w 2617696"/>
                    <a:gd name="connsiteY919" fmla="*/ 317839 h 1576253"/>
                    <a:gd name="connsiteX920" fmla="*/ 1602239 w 2617696"/>
                    <a:gd name="connsiteY920" fmla="*/ 316209 h 1576253"/>
                    <a:gd name="connsiteX921" fmla="*/ 1608759 w 2617696"/>
                    <a:gd name="connsiteY921" fmla="*/ 306430 h 1576253"/>
                    <a:gd name="connsiteX922" fmla="*/ 1613648 w 2617696"/>
                    <a:gd name="connsiteY922" fmla="*/ 304800 h 1576253"/>
                    <a:gd name="connsiteX923" fmla="*/ 1618538 w 2617696"/>
                    <a:gd name="connsiteY923" fmla="*/ 306430 h 1576253"/>
                    <a:gd name="connsiteX924" fmla="*/ 1629948 w 2617696"/>
                    <a:gd name="connsiteY924" fmla="*/ 298280 h 1576253"/>
                    <a:gd name="connsiteX925" fmla="*/ 1641358 w 2617696"/>
                    <a:gd name="connsiteY925" fmla="*/ 295020 h 1576253"/>
                    <a:gd name="connsiteX926" fmla="*/ 1646247 w 2617696"/>
                    <a:gd name="connsiteY926" fmla="*/ 293390 h 1576253"/>
                    <a:gd name="connsiteX927" fmla="*/ 1656027 w 2617696"/>
                    <a:gd name="connsiteY927" fmla="*/ 280350 h 1576253"/>
                    <a:gd name="connsiteX928" fmla="*/ 1659287 w 2617696"/>
                    <a:gd name="connsiteY928" fmla="*/ 272201 h 1576253"/>
                    <a:gd name="connsiteX929" fmla="*/ 1688626 w 2617696"/>
                    <a:gd name="connsiteY929" fmla="*/ 273831 h 1576253"/>
                    <a:gd name="connsiteX930" fmla="*/ 1690256 w 2617696"/>
                    <a:gd name="connsiteY930" fmla="*/ 280350 h 1576253"/>
                    <a:gd name="connsiteX931" fmla="*/ 1693516 w 2617696"/>
                    <a:gd name="connsiteY931" fmla="*/ 285240 h 1576253"/>
                    <a:gd name="connsiteX932" fmla="*/ 1698406 w 2617696"/>
                    <a:gd name="connsiteY932" fmla="*/ 283610 h 1576253"/>
                    <a:gd name="connsiteX933" fmla="*/ 1708185 w 2617696"/>
                    <a:gd name="connsiteY933" fmla="*/ 278720 h 1576253"/>
                    <a:gd name="connsiteX934" fmla="*/ 1763604 w 2617696"/>
                    <a:gd name="connsiteY934" fmla="*/ 273831 h 1576253"/>
                    <a:gd name="connsiteX935" fmla="*/ 1765234 w 2617696"/>
                    <a:gd name="connsiteY935" fmla="*/ 268941 h 1576253"/>
                    <a:gd name="connsiteX936" fmla="*/ 1768493 w 2617696"/>
                    <a:gd name="connsiteY936" fmla="*/ 262421 h 1576253"/>
                    <a:gd name="connsiteX937" fmla="*/ 1776643 w 2617696"/>
                    <a:gd name="connsiteY937" fmla="*/ 259161 h 1576253"/>
                    <a:gd name="connsiteX938" fmla="*/ 1781533 w 2617696"/>
                    <a:gd name="connsiteY938" fmla="*/ 254271 h 1576253"/>
                    <a:gd name="connsiteX939" fmla="*/ 1788053 w 2617696"/>
                    <a:gd name="connsiteY939" fmla="*/ 249381 h 1576253"/>
                    <a:gd name="connsiteX940" fmla="*/ 1796202 w 2617696"/>
                    <a:gd name="connsiteY940" fmla="*/ 244492 h 1576253"/>
                    <a:gd name="connsiteX941" fmla="*/ 1797832 w 2617696"/>
                    <a:gd name="connsiteY941" fmla="*/ 233082 h 1576253"/>
                    <a:gd name="connsiteX942" fmla="*/ 1805982 w 2617696"/>
                    <a:gd name="connsiteY942" fmla="*/ 228192 h 1576253"/>
                    <a:gd name="connsiteX943" fmla="*/ 1815762 w 2617696"/>
                    <a:gd name="connsiteY943" fmla="*/ 205373 h 1576253"/>
                    <a:gd name="connsiteX944" fmla="*/ 1822282 w 2617696"/>
                    <a:gd name="connsiteY944" fmla="*/ 200483 h 1576253"/>
                    <a:gd name="connsiteX945" fmla="*/ 1833691 w 2617696"/>
                    <a:gd name="connsiteY945" fmla="*/ 190703 h 1576253"/>
                    <a:gd name="connsiteX946" fmla="*/ 1835321 w 2617696"/>
                    <a:gd name="connsiteY946" fmla="*/ 184184 h 1576253"/>
                    <a:gd name="connsiteX947" fmla="*/ 1841841 w 2617696"/>
                    <a:gd name="connsiteY947" fmla="*/ 174404 h 1576253"/>
                    <a:gd name="connsiteX948" fmla="*/ 1846731 w 2617696"/>
                    <a:gd name="connsiteY948" fmla="*/ 171144 h 1576253"/>
                    <a:gd name="connsiteX949" fmla="*/ 1851621 w 2617696"/>
                    <a:gd name="connsiteY949" fmla="*/ 166254 h 1576253"/>
                    <a:gd name="connsiteX950" fmla="*/ 1858140 w 2617696"/>
                    <a:gd name="connsiteY950" fmla="*/ 162994 h 1576253"/>
                    <a:gd name="connsiteX951" fmla="*/ 1863030 w 2617696"/>
                    <a:gd name="connsiteY951" fmla="*/ 161364 h 1576253"/>
                    <a:gd name="connsiteX952" fmla="*/ 1864660 w 2617696"/>
                    <a:gd name="connsiteY952" fmla="*/ 154845 h 1576253"/>
                    <a:gd name="connsiteX953" fmla="*/ 1869550 w 2617696"/>
                    <a:gd name="connsiteY953" fmla="*/ 148325 h 1576253"/>
                    <a:gd name="connsiteX954" fmla="*/ 1874440 w 2617696"/>
                    <a:gd name="connsiteY954" fmla="*/ 143435 h 1576253"/>
                    <a:gd name="connsiteX955" fmla="*/ 1876070 w 2617696"/>
                    <a:gd name="connsiteY955" fmla="*/ 135285 h 1576253"/>
                    <a:gd name="connsiteX956" fmla="*/ 1880960 w 2617696"/>
                    <a:gd name="connsiteY956" fmla="*/ 130395 h 1576253"/>
                    <a:gd name="connsiteX957" fmla="*/ 1884220 w 2617696"/>
                    <a:gd name="connsiteY957" fmla="*/ 125506 h 1576253"/>
                    <a:gd name="connsiteX958" fmla="*/ 1889109 w 2617696"/>
                    <a:gd name="connsiteY958" fmla="*/ 122246 h 1576253"/>
                    <a:gd name="connsiteX959" fmla="*/ 1892369 w 2617696"/>
                    <a:gd name="connsiteY959" fmla="*/ 110836 h 1576253"/>
                    <a:gd name="connsiteX960" fmla="*/ 1893999 w 2617696"/>
                    <a:gd name="connsiteY960" fmla="*/ 105946 h 1576253"/>
                    <a:gd name="connsiteX961" fmla="*/ 1905409 w 2617696"/>
                    <a:gd name="connsiteY961" fmla="*/ 91277 h 1576253"/>
                    <a:gd name="connsiteX962" fmla="*/ 1908669 w 2617696"/>
                    <a:gd name="connsiteY962" fmla="*/ 86387 h 1576253"/>
                    <a:gd name="connsiteX963" fmla="*/ 1916819 w 2617696"/>
                    <a:gd name="connsiteY963" fmla="*/ 83127 h 1576253"/>
                    <a:gd name="connsiteX964" fmla="*/ 1924968 w 2617696"/>
                    <a:gd name="connsiteY964" fmla="*/ 92907 h 1576253"/>
                    <a:gd name="connsiteX965" fmla="*/ 1936378 w 2617696"/>
                    <a:gd name="connsiteY965" fmla="*/ 97796 h 1576253"/>
                    <a:gd name="connsiteX966" fmla="*/ 1947788 w 2617696"/>
                    <a:gd name="connsiteY966" fmla="*/ 83127 h 1576253"/>
                    <a:gd name="connsiteX967" fmla="*/ 1951047 w 2617696"/>
                    <a:gd name="connsiteY967" fmla="*/ 73347 h 1576253"/>
                    <a:gd name="connsiteX968" fmla="*/ 1965717 w 2617696"/>
                    <a:gd name="connsiteY968" fmla="*/ 70087 h 1576253"/>
                    <a:gd name="connsiteX969" fmla="*/ 1970607 w 2617696"/>
                    <a:gd name="connsiteY969" fmla="*/ 68457 h 1576253"/>
                    <a:gd name="connsiteX970" fmla="*/ 1978756 w 2617696"/>
                    <a:gd name="connsiteY970" fmla="*/ 63568 h 1576253"/>
                    <a:gd name="connsiteX971" fmla="*/ 1985276 w 2617696"/>
                    <a:gd name="connsiteY971" fmla="*/ 61938 h 1576253"/>
                    <a:gd name="connsiteX972" fmla="*/ 1990166 w 2617696"/>
                    <a:gd name="connsiteY972" fmla="*/ 58678 h 1576253"/>
                    <a:gd name="connsiteX973" fmla="*/ 1995056 w 2617696"/>
                    <a:gd name="connsiteY973" fmla="*/ 60308 h 1576253"/>
                    <a:gd name="connsiteX974" fmla="*/ 2008096 w 2617696"/>
                    <a:gd name="connsiteY974" fmla="*/ 61938 h 1576253"/>
                    <a:gd name="connsiteX975" fmla="*/ 2016245 w 2617696"/>
                    <a:gd name="connsiteY975" fmla="*/ 50528 h 1576253"/>
                    <a:gd name="connsiteX976" fmla="*/ 2026025 w 2617696"/>
                    <a:gd name="connsiteY976" fmla="*/ 35858 h 1576253"/>
                    <a:gd name="connsiteX977" fmla="*/ 2021135 w 2617696"/>
                    <a:gd name="connsiteY977" fmla="*/ 32599 h 1576253"/>
                    <a:gd name="connsiteX978" fmla="*/ 2017875 w 2617696"/>
                    <a:gd name="connsiteY978" fmla="*/ 27709 h 1576253"/>
                    <a:gd name="connsiteX979" fmla="*/ 2021135 w 2617696"/>
                    <a:gd name="connsiteY979" fmla="*/ 21189 h 1576253"/>
                    <a:gd name="connsiteX980" fmla="*/ 2032545 w 2617696"/>
                    <a:gd name="connsiteY980" fmla="*/ 11409 h 1576253"/>
                    <a:gd name="connsiteX981" fmla="*/ 2042324 w 2617696"/>
                    <a:gd name="connsiteY981" fmla="*/ 8149 h 1576253"/>
                    <a:gd name="connsiteX982" fmla="*/ 2045584 w 2617696"/>
                    <a:gd name="connsiteY982" fmla="*/ 3260 h 1576253"/>
                    <a:gd name="connsiteX983" fmla="*/ 2052104 w 2617696"/>
                    <a:gd name="connsiteY983" fmla="*/ 1630 h 1576253"/>
                    <a:gd name="connsiteX984" fmla="*/ 2056994 w 2617696"/>
                    <a:gd name="connsiteY984" fmla="*/ 0 h 1576253"/>
                    <a:gd name="connsiteX0" fmla="*/ 361849 w 2617696"/>
                    <a:gd name="connsiteY0" fmla="*/ 1512590 h 1576253"/>
                    <a:gd name="connsiteX1" fmla="*/ 362167 w 2617696"/>
                    <a:gd name="connsiteY1" fmla="*/ 1513862 h 1576253"/>
                    <a:gd name="connsiteX2" fmla="*/ 361350 w 2617696"/>
                    <a:gd name="connsiteY2" fmla="*/ 1514089 h 1576253"/>
                    <a:gd name="connsiteX3" fmla="*/ 361849 w 2617696"/>
                    <a:gd name="connsiteY3" fmla="*/ 1512590 h 1576253"/>
                    <a:gd name="connsiteX4" fmla="*/ 332510 w 2617696"/>
                    <a:gd name="connsiteY4" fmla="*/ 1510960 h 1576253"/>
                    <a:gd name="connsiteX5" fmla="*/ 337399 w 2617696"/>
                    <a:gd name="connsiteY5" fmla="*/ 1512590 h 1576253"/>
                    <a:gd name="connsiteX6" fmla="*/ 353431 w 2617696"/>
                    <a:gd name="connsiteY6" fmla="*/ 1516291 h 1576253"/>
                    <a:gd name="connsiteX7" fmla="*/ 361350 w 2617696"/>
                    <a:gd name="connsiteY7" fmla="*/ 1514089 h 1576253"/>
                    <a:gd name="connsiteX8" fmla="*/ 360219 w 2617696"/>
                    <a:gd name="connsiteY8" fmla="*/ 1517480 h 1576253"/>
                    <a:gd name="connsiteX9" fmla="*/ 337399 w 2617696"/>
                    <a:gd name="connsiteY9" fmla="*/ 1524000 h 1576253"/>
                    <a:gd name="connsiteX10" fmla="*/ 327620 w 2617696"/>
                    <a:gd name="connsiteY10" fmla="*/ 1528889 h 1576253"/>
                    <a:gd name="connsiteX11" fmla="*/ 325990 w 2617696"/>
                    <a:gd name="connsiteY11" fmla="*/ 1533779 h 1576253"/>
                    <a:gd name="connsiteX12" fmla="*/ 319470 w 2617696"/>
                    <a:gd name="connsiteY12" fmla="*/ 1540299 h 1576253"/>
                    <a:gd name="connsiteX13" fmla="*/ 312950 w 2617696"/>
                    <a:gd name="connsiteY13" fmla="*/ 1545189 h 1576253"/>
                    <a:gd name="connsiteX14" fmla="*/ 311320 w 2617696"/>
                    <a:gd name="connsiteY14" fmla="*/ 1556599 h 1576253"/>
                    <a:gd name="connsiteX15" fmla="*/ 304800 w 2617696"/>
                    <a:gd name="connsiteY15" fmla="*/ 1558228 h 1576253"/>
                    <a:gd name="connsiteX16" fmla="*/ 285241 w 2617696"/>
                    <a:gd name="connsiteY16" fmla="*/ 1556599 h 1576253"/>
                    <a:gd name="connsiteX17" fmla="*/ 273831 w 2617696"/>
                    <a:gd name="connsiteY17" fmla="*/ 1563118 h 1576253"/>
                    <a:gd name="connsiteX18" fmla="*/ 267312 w 2617696"/>
                    <a:gd name="connsiteY18" fmla="*/ 1558228 h 1576253"/>
                    <a:gd name="connsiteX19" fmla="*/ 277091 w 2617696"/>
                    <a:gd name="connsiteY19" fmla="*/ 1543559 h 1576253"/>
                    <a:gd name="connsiteX20" fmla="*/ 281981 w 2617696"/>
                    <a:gd name="connsiteY20" fmla="*/ 1538669 h 1576253"/>
                    <a:gd name="connsiteX21" fmla="*/ 291761 w 2617696"/>
                    <a:gd name="connsiteY21" fmla="*/ 1527260 h 1576253"/>
                    <a:gd name="connsiteX22" fmla="*/ 303170 w 2617696"/>
                    <a:gd name="connsiteY22" fmla="*/ 1528889 h 1576253"/>
                    <a:gd name="connsiteX23" fmla="*/ 308060 w 2617696"/>
                    <a:gd name="connsiteY23" fmla="*/ 1525630 h 1576253"/>
                    <a:gd name="connsiteX24" fmla="*/ 312950 w 2617696"/>
                    <a:gd name="connsiteY24" fmla="*/ 1524000 h 1576253"/>
                    <a:gd name="connsiteX25" fmla="*/ 319470 w 2617696"/>
                    <a:gd name="connsiteY25" fmla="*/ 1520740 h 1576253"/>
                    <a:gd name="connsiteX26" fmla="*/ 324360 w 2617696"/>
                    <a:gd name="connsiteY26" fmla="*/ 1517480 h 1576253"/>
                    <a:gd name="connsiteX27" fmla="*/ 332510 w 2617696"/>
                    <a:gd name="connsiteY27" fmla="*/ 1510960 h 1576253"/>
                    <a:gd name="connsiteX28" fmla="*/ 2056994 w 2617696"/>
                    <a:gd name="connsiteY28" fmla="*/ 0 h 1576253"/>
                    <a:gd name="connsiteX29" fmla="*/ 2078183 w 2617696"/>
                    <a:gd name="connsiteY29" fmla="*/ 4889 h 1576253"/>
                    <a:gd name="connsiteX30" fmla="*/ 2081443 w 2617696"/>
                    <a:gd name="connsiteY30" fmla="*/ 21189 h 1576253"/>
                    <a:gd name="connsiteX31" fmla="*/ 2089593 w 2617696"/>
                    <a:gd name="connsiteY31" fmla="*/ 32599 h 1576253"/>
                    <a:gd name="connsiteX32" fmla="*/ 2097743 w 2617696"/>
                    <a:gd name="connsiteY32" fmla="*/ 34228 h 1576253"/>
                    <a:gd name="connsiteX33" fmla="*/ 2127082 w 2617696"/>
                    <a:gd name="connsiteY33" fmla="*/ 37488 h 1576253"/>
                    <a:gd name="connsiteX34" fmla="*/ 2133601 w 2617696"/>
                    <a:gd name="connsiteY34" fmla="*/ 35858 h 1576253"/>
                    <a:gd name="connsiteX35" fmla="*/ 2138491 w 2617696"/>
                    <a:gd name="connsiteY35" fmla="*/ 34228 h 1576253"/>
                    <a:gd name="connsiteX36" fmla="*/ 2159681 w 2617696"/>
                    <a:gd name="connsiteY36" fmla="*/ 32599 h 1576253"/>
                    <a:gd name="connsiteX37" fmla="*/ 2162940 w 2617696"/>
                    <a:gd name="connsiteY37" fmla="*/ 44008 h 1576253"/>
                    <a:gd name="connsiteX38" fmla="*/ 2164570 w 2617696"/>
                    <a:gd name="connsiteY38" fmla="*/ 48898 h 1576253"/>
                    <a:gd name="connsiteX39" fmla="*/ 2174350 w 2617696"/>
                    <a:gd name="connsiteY39" fmla="*/ 47268 h 1576253"/>
                    <a:gd name="connsiteX40" fmla="*/ 2187390 w 2617696"/>
                    <a:gd name="connsiteY40" fmla="*/ 57048 h 1576253"/>
                    <a:gd name="connsiteX41" fmla="*/ 2189020 w 2617696"/>
                    <a:gd name="connsiteY41" fmla="*/ 63568 h 1576253"/>
                    <a:gd name="connsiteX42" fmla="*/ 2195539 w 2617696"/>
                    <a:gd name="connsiteY42" fmla="*/ 65197 h 1576253"/>
                    <a:gd name="connsiteX43" fmla="*/ 2200429 w 2617696"/>
                    <a:gd name="connsiteY43" fmla="*/ 68457 h 1576253"/>
                    <a:gd name="connsiteX44" fmla="*/ 2216729 w 2617696"/>
                    <a:gd name="connsiteY44" fmla="*/ 76607 h 1576253"/>
                    <a:gd name="connsiteX45" fmla="*/ 2224878 w 2617696"/>
                    <a:gd name="connsiteY45" fmla="*/ 84757 h 1576253"/>
                    <a:gd name="connsiteX46" fmla="*/ 2229768 w 2617696"/>
                    <a:gd name="connsiteY46" fmla="*/ 88017 h 1576253"/>
                    <a:gd name="connsiteX47" fmla="*/ 2234658 w 2617696"/>
                    <a:gd name="connsiteY47" fmla="*/ 89647 h 1576253"/>
                    <a:gd name="connsiteX48" fmla="*/ 2236288 w 2617696"/>
                    <a:gd name="connsiteY48" fmla="*/ 104316 h 1576253"/>
                    <a:gd name="connsiteX49" fmla="*/ 2237918 w 2617696"/>
                    <a:gd name="connsiteY49" fmla="*/ 109206 h 1576253"/>
                    <a:gd name="connsiteX50" fmla="*/ 2241178 w 2617696"/>
                    <a:gd name="connsiteY50" fmla="*/ 114096 h 1576253"/>
                    <a:gd name="connsiteX51" fmla="*/ 2242808 w 2617696"/>
                    <a:gd name="connsiteY51" fmla="*/ 122246 h 1576253"/>
                    <a:gd name="connsiteX52" fmla="*/ 2246068 w 2617696"/>
                    <a:gd name="connsiteY52" fmla="*/ 127135 h 1576253"/>
                    <a:gd name="connsiteX53" fmla="*/ 2242808 w 2617696"/>
                    <a:gd name="connsiteY53" fmla="*/ 132025 h 1576253"/>
                    <a:gd name="connsiteX54" fmla="*/ 2237918 w 2617696"/>
                    <a:gd name="connsiteY54" fmla="*/ 135285 h 1576253"/>
                    <a:gd name="connsiteX55" fmla="*/ 2226508 w 2617696"/>
                    <a:gd name="connsiteY55" fmla="*/ 140175 h 1576253"/>
                    <a:gd name="connsiteX56" fmla="*/ 2218359 w 2617696"/>
                    <a:gd name="connsiteY56" fmla="*/ 148325 h 1576253"/>
                    <a:gd name="connsiteX57" fmla="*/ 2223248 w 2617696"/>
                    <a:gd name="connsiteY57" fmla="*/ 151585 h 1576253"/>
                    <a:gd name="connsiteX58" fmla="*/ 2234658 w 2617696"/>
                    <a:gd name="connsiteY58" fmla="*/ 158104 h 1576253"/>
                    <a:gd name="connsiteX59" fmla="*/ 2233028 w 2617696"/>
                    <a:gd name="connsiteY59" fmla="*/ 162994 h 1576253"/>
                    <a:gd name="connsiteX60" fmla="*/ 2241178 w 2617696"/>
                    <a:gd name="connsiteY60" fmla="*/ 167884 h 1576253"/>
                    <a:gd name="connsiteX61" fmla="*/ 2260737 w 2617696"/>
                    <a:gd name="connsiteY61" fmla="*/ 171144 h 1576253"/>
                    <a:gd name="connsiteX62" fmla="*/ 2262367 w 2617696"/>
                    <a:gd name="connsiteY62" fmla="*/ 180924 h 1576253"/>
                    <a:gd name="connsiteX63" fmla="*/ 2255847 w 2617696"/>
                    <a:gd name="connsiteY63" fmla="*/ 185814 h 1576253"/>
                    <a:gd name="connsiteX64" fmla="*/ 2283556 w 2617696"/>
                    <a:gd name="connsiteY64" fmla="*/ 192333 h 1576253"/>
                    <a:gd name="connsiteX65" fmla="*/ 2319415 w 2617696"/>
                    <a:gd name="connsiteY65" fmla="*/ 185814 h 1576253"/>
                    <a:gd name="connsiteX66" fmla="*/ 2327565 w 2617696"/>
                    <a:gd name="connsiteY66" fmla="*/ 179294 h 1576253"/>
                    <a:gd name="connsiteX67" fmla="*/ 2334085 w 2617696"/>
                    <a:gd name="connsiteY67" fmla="*/ 167884 h 1576253"/>
                    <a:gd name="connsiteX68" fmla="*/ 2345494 w 2617696"/>
                    <a:gd name="connsiteY68" fmla="*/ 164624 h 1576253"/>
                    <a:gd name="connsiteX69" fmla="*/ 2352014 w 2617696"/>
                    <a:gd name="connsiteY69" fmla="*/ 166254 h 1576253"/>
                    <a:gd name="connsiteX70" fmla="*/ 2365054 w 2617696"/>
                    <a:gd name="connsiteY70" fmla="*/ 172774 h 1576253"/>
                    <a:gd name="connsiteX71" fmla="*/ 2371574 w 2617696"/>
                    <a:gd name="connsiteY71" fmla="*/ 182554 h 1576253"/>
                    <a:gd name="connsiteX72" fmla="*/ 2392763 w 2617696"/>
                    <a:gd name="connsiteY72" fmla="*/ 185814 h 1576253"/>
                    <a:gd name="connsiteX73" fmla="*/ 2407432 w 2617696"/>
                    <a:gd name="connsiteY73" fmla="*/ 195593 h 1576253"/>
                    <a:gd name="connsiteX74" fmla="*/ 2417212 w 2617696"/>
                    <a:gd name="connsiteY74" fmla="*/ 202113 h 1576253"/>
                    <a:gd name="connsiteX75" fmla="*/ 2422102 w 2617696"/>
                    <a:gd name="connsiteY75" fmla="*/ 205373 h 1576253"/>
                    <a:gd name="connsiteX76" fmla="*/ 2423732 w 2617696"/>
                    <a:gd name="connsiteY76" fmla="*/ 210263 h 1576253"/>
                    <a:gd name="connsiteX77" fmla="*/ 2404173 w 2617696"/>
                    <a:gd name="connsiteY77" fmla="*/ 207003 h 1576253"/>
                    <a:gd name="connsiteX78" fmla="*/ 2399283 w 2617696"/>
                    <a:gd name="connsiteY78" fmla="*/ 208633 h 1576253"/>
                    <a:gd name="connsiteX79" fmla="*/ 2396023 w 2617696"/>
                    <a:gd name="connsiteY79" fmla="*/ 223302 h 1576253"/>
                    <a:gd name="connsiteX80" fmla="*/ 2399283 w 2617696"/>
                    <a:gd name="connsiteY80" fmla="*/ 236342 h 1576253"/>
                    <a:gd name="connsiteX81" fmla="*/ 2400913 w 2617696"/>
                    <a:gd name="connsiteY81" fmla="*/ 244492 h 1576253"/>
                    <a:gd name="connsiteX82" fmla="*/ 2404173 w 2617696"/>
                    <a:gd name="connsiteY82" fmla="*/ 251011 h 1576253"/>
                    <a:gd name="connsiteX83" fmla="*/ 2407432 w 2617696"/>
                    <a:gd name="connsiteY83" fmla="*/ 255901 h 1576253"/>
                    <a:gd name="connsiteX84" fmla="*/ 2410692 w 2617696"/>
                    <a:gd name="connsiteY84" fmla="*/ 267311 h 1576253"/>
                    <a:gd name="connsiteX85" fmla="*/ 2405802 w 2617696"/>
                    <a:gd name="connsiteY85" fmla="*/ 270571 h 1576253"/>
                    <a:gd name="connsiteX86" fmla="*/ 2404173 w 2617696"/>
                    <a:gd name="connsiteY86" fmla="*/ 277091 h 1576253"/>
                    <a:gd name="connsiteX87" fmla="*/ 2399283 w 2617696"/>
                    <a:gd name="connsiteY87" fmla="*/ 283610 h 1576253"/>
                    <a:gd name="connsiteX88" fmla="*/ 2379723 w 2617696"/>
                    <a:gd name="connsiteY88" fmla="*/ 285240 h 1576253"/>
                    <a:gd name="connsiteX89" fmla="*/ 2366684 w 2617696"/>
                    <a:gd name="connsiteY89" fmla="*/ 281980 h 1576253"/>
                    <a:gd name="connsiteX90" fmla="*/ 2361794 w 2617696"/>
                    <a:gd name="connsiteY90" fmla="*/ 285240 h 1576253"/>
                    <a:gd name="connsiteX91" fmla="*/ 2363424 w 2617696"/>
                    <a:gd name="connsiteY91" fmla="*/ 295020 h 1576253"/>
                    <a:gd name="connsiteX92" fmla="*/ 2365054 w 2617696"/>
                    <a:gd name="connsiteY92" fmla="*/ 301540 h 1576253"/>
                    <a:gd name="connsiteX93" fmla="*/ 2376463 w 2617696"/>
                    <a:gd name="connsiteY93" fmla="*/ 308060 h 1576253"/>
                    <a:gd name="connsiteX94" fmla="*/ 2378093 w 2617696"/>
                    <a:gd name="connsiteY94" fmla="*/ 312949 h 1576253"/>
                    <a:gd name="connsiteX95" fmla="*/ 2381353 w 2617696"/>
                    <a:gd name="connsiteY95" fmla="*/ 319469 h 1576253"/>
                    <a:gd name="connsiteX96" fmla="*/ 2392763 w 2617696"/>
                    <a:gd name="connsiteY96" fmla="*/ 334139 h 1576253"/>
                    <a:gd name="connsiteX97" fmla="*/ 2397653 w 2617696"/>
                    <a:gd name="connsiteY97" fmla="*/ 355328 h 1576253"/>
                    <a:gd name="connsiteX98" fmla="*/ 2412322 w 2617696"/>
                    <a:gd name="connsiteY98" fmla="*/ 358588 h 1576253"/>
                    <a:gd name="connsiteX99" fmla="*/ 2422102 w 2617696"/>
                    <a:gd name="connsiteY99" fmla="*/ 360218 h 1576253"/>
                    <a:gd name="connsiteX100" fmla="*/ 2428622 w 2617696"/>
                    <a:gd name="connsiteY100" fmla="*/ 363478 h 1576253"/>
                    <a:gd name="connsiteX101" fmla="*/ 2436771 w 2617696"/>
                    <a:gd name="connsiteY101" fmla="*/ 365108 h 1576253"/>
                    <a:gd name="connsiteX102" fmla="*/ 2438401 w 2617696"/>
                    <a:gd name="connsiteY102" fmla="*/ 384667 h 1576253"/>
                    <a:gd name="connsiteX103" fmla="*/ 2440031 w 2617696"/>
                    <a:gd name="connsiteY103" fmla="*/ 389557 h 1576253"/>
                    <a:gd name="connsiteX104" fmla="*/ 2449811 w 2617696"/>
                    <a:gd name="connsiteY104" fmla="*/ 399337 h 1576253"/>
                    <a:gd name="connsiteX105" fmla="*/ 2453071 w 2617696"/>
                    <a:gd name="connsiteY105" fmla="*/ 409116 h 1576253"/>
                    <a:gd name="connsiteX106" fmla="*/ 2454701 w 2617696"/>
                    <a:gd name="connsiteY106" fmla="*/ 415636 h 1576253"/>
                    <a:gd name="connsiteX107" fmla="*/ 2459591 w 2617696"/>
                    <a:gd name="connsiteY107" fmla="*/ 438455 h 1576253"/>
                    <a:gd name="connsiteX108" fmla="*/ 2487300 w 2617696"/>
                    <a:gd name="connsiteY108" fmla="*/ 440085 h 1576253"/>
                    <a:gd name="connsiteX109" fmla="*/ 2492190 w 2617696"/>
                    <a:gd name="connsiteY109" fmla="*/ 441715 h 1576253"/>
                    <a:gd name="connsiteX110" fmla="*/ 2493820 w 2617696"/>
                    <a:gd name="connsiteY110" fmla="*/ 451495 h 1576253"/>
                    <a:gd name="connsiteX111" fmla="*/ 2490560 w 2617696"/>
                    <a:gd name="connsiteY111" fmla="*/ 466164 h 1576253"/>
                    <a:gd name="connsiteX112" fmla="*/ 2487300 w 2617696"/>
                    <a:gd name="connsiteY112" fmla="*/ 471054 h 1576253"/>
                    <a:gd name="connsiteX113" fmla="*/ 2492190 w 2617696"/>
                    <a:gd name="connsiteY113" fmla="*/ 475944 h 1576253"/>
                    <a:gd name="connsiteX114" fmla="*/ 2493820 w 2617696"/>
                    <a:gd name="connsiteY114" fmla="*/ 482464 h 1576253"/>
                    <a:gd name="connsiteX115" fmla="*/ 2495450 w 2617696"/>
                    <a:gd name="connsiteY115" fmla="*/ 492243 h 1576253"/>
                    <a:gd name="connsiteX116" fmla="*/ 2493820 w 2617696"/>
                    <a:gd name="connsiteY116" fmla="*/ 497133 h 1576253"/>
                    <a:gd name="connsiteX117" fmla="*/ 2492190 w 2617696"/>
                    <a:gd name="connsiteY117" fmla="*/ 508543 h 1576253"/>
                    <a:gd name="connsiteX118" fmla="*/ 2485670 w 2617696"/>
                    <a:gd name="connsiteY118" fmla="*/ 519953 h 1576253"/>
                    <a:gd name="connsiteX119" fmla="*/ 2482410 w 2617696"/>
                    <a:gd name="connsiteY119" fmla="*/ 526472 h 1576253"/>
                    <a:gd name="connsiteX120" fmla="*/ 2484040 w 2617696"/>
                    <a:gd name="connsiteY120" fmla="*/ 531362 h 1576253"/>
                    <a:gd name="connsiteX121" fmla="*/ 2495450 w 2617696"/>
                    <a:gd name="connsiteY121" fmla="*/ 529732 h 1576253"/>
                    <a:gd name="connsiteX122" fmla="*/ 2501969 w 2617696"/>
                    <a:gd name="connsiteY122" fmla="*/ 528102 h 1576253"/>
                    <a:gd name="connsiteX123" fmla="*/ 2506859 w 2617696"/>
                    <a:gd name="connsiteY123" fmla="*/ 526472 h 1576253"/>
                    <a:gd name="connsiteX124" fmla="*/ 2516639 w 2617696"/>
                    <a:gd name="connsiteY124" fmla="*/ 524842 h 1576253"/>
                    <a:gd name="connsiteX125" fmla="*/ 2518269 w 2617696"/>
                    <a:gd name="connsiteY125" fmla="*/ 534622 h 1576253"/>
                    <a:gd name="connsiteX126" fmla="*/ 2523159 w 2617696"/>
                    <a:gd name="connsiteY126" fmla="*/ 532992 h 1576253"/>
                    <a:gd name="connsiteX127" fmla="*/ 2539458 w 2617696"/>
                    <a:gd name="connsiteY127" fmla="*/ 531362 h 1576253"/>
                    <a:gd name="connsiteX128" fmla="*/ 2545978 w 2617696"/>
                    <a:gd name="connsiteY128" fmla="*/ 532992 h 1576253"/>
                    <a:gd name="connsiteX129" fmla="*/ 2550868 w 2617696"/>
                    <a:gd name="connsiteY129" fmla="*/ 549292 h 1576253"/>
                    <a:gd name="connsiteX130" fmla="*/ 2552498 w 2617696"/>
                    <a:gd name="connsiteY130" fmla="*/ 555811 h 1576253"/>
                    <a:gd name="connsiteX131" fmla="*/ 2563907 w 2617696"/>
                    <a:gd name="connsiteY131" fmla="*/ 562331 h 1576253"/>
                    <a:gd name="connsiteX132" fmla="*/ 2562277 w 2617696"/>
                    <a:gd name="connsiteY132" fmla="*/ 572111 h 1576253"/>
                    <a:gd name="connsiteX133" fmla="*/ 2567167 w 2617696"/>
                    <a:gd name="connsiteY133" fmla="*/ 573741 h 1576253"/>
                    <a:gd name="connsiteX134" fmla="*/ 2573687 w 2617696"/>
                    <a:gd name="connsiteY134" fmla="*/ 577001 h 1576253"/>
                    <a:gd name="connsiteX135" fmla="*/ 2589986 w 2617696"/>
                    <a:gd name="connsiteY135" fmla="*/ 581891 h 1576253"/>
                    <a:gd name="connsiteX136" fmla="*/ 2594876 w 2617696"/>
                    <a:gd name="connsiteY136" fmla="*/ 583520 h 1576253"/>
                    <a:gd name="connsiteX137" fmla="*/ 2599766 w 2617696"/>
                    <a:gd name="connsiteY137" fmla="*/ 586780 h 1576253"/>
                    <a:gd name="connsiteX138" fmla="*/ 2604656 w 2617696"/>
                    <a:gd name="connsiteY138" fmla="*/ 588410 h 1576253"/>
                    <a:gd name="connsiteX139" fmla="*/ 2609546 w 2617696"/>
                    <a:gd name="connsiteY139" fmla="*/ 609600 h 1576253"/>
                    <a:gd name="connsiteX140" fmla="*/ 2611176 w 2617696"/>
                    <a:gd name="connsiteY140" fmla="*/ 614489 h 1576253"/>
                    <a:gd name="connsiteX141" fmla="*/ 2617696 w 2617696"/>
                    <a:gd name="connsiteY141" fmla="*/ 621009 h 1576253"/>
                    <a:gd name="connsiteX142" fmla="*/ 2596506 w 2617696"/>
                    <a:gd name="connsiteY142" fmla="*/ 622639 h 1576253"/>
                    <a:gd name="connsiteX143" fmla="*/ 2588356 w 2617696"/>
                    <a:gd name="connsiteY143" fmla="*/ 624269 h 1576253"/>
                    <a:gd name="connsiteX144" fmla="*/ 2580207 w 2617696"/>
                    <a:gd name="connsiteY144" fmla="*/ 635679 h 1576253"/>
                    <a:gd name="connsiteX145" fmla="*/ 2578577 w 2617696"/>
                    <a:gd name="connsiteY145" fmla="*/ 647088 h 1576253"/>
                    <a:gd name="connsiteX146" fmla="*/ 2576947 w 2617696"/>
                    <a:gd name="connsiteY146" fmla="*/ 651978 h 1576253"/>
                    <a:gd name="connsiteX147" fmla="*/ 2568797 w 2617696"/>
                    <a:gd name="connsiteY147" fmla="*/ 661758 h 1576253"/>
                    <a:gd name="connsiteX148" fmla="*/ 2567167 w 2617696"/>
                    <a:gd name="connsiteY148" fmla="*/ 666648 h 1576253"/>
                    <a:gd name="connsiteX149" fmla="*/ 2562277 w 2617696"/>
                    <a:gd name="connsiteY149" fmla="*/ 668278 h 1576253"/>
                    <a:gd name="connsiteX150" fmla="*/ 2572057 w 2617696"/>
                    <a:gd name="connsiteY150" fmla="*/ 682947 h 1576253"/>
                    <a:gd name="connsiteX151" fmla="*/ 2576947 w 2617696"/>
                    <a:gd name="connsiteY151" fmla="*/ 689467 h 1576253"/>
                    <a:gd name="connsiteX152" fmla="*/ 2545978 w 2617696"/>
                    <a:gd name="connsiteY152" fmla="*/ 691097 h 1576253"/>
                    <a:gd name="connsiteX153" fmla="*/ 2539458 w 2617696"/>
                    <a:gd name="connsiteY153" fmla="*/ 686207 h 1576253"/>
                    <a:gd name="connsiteX154" fmla="*/ 2534568 w 2617696"/>
                    <a:gd name="connsiteY154" fmla="*/ 682947 h 1576253"/>
                    <a:gd name="connsiteX155" fmla="*/ 2531308 w 2617696"/>
                    <a:gd name="connsiteY155" fmla="*/ 669908 h 1576253"/>
                    <a:gd name="connsiteX156" fmla="*/ 2537828 w 2617696"/>
                    <a:gd name="connsiteY156" fmla="*/ 643828 h 1576253"/>
                    <a:gd name="connsiteX157" fmla="*/ 2534568 w 2617696"/>
                    <a:gd name="connsiteY157" fmla="*/ 637309 h 1576253"/>
                    <a:gd name="connsiteX158" fmla="*/ 2510119 w 2617696"/>
                    <a:gd name="connsiteY158" fmla="*/ 635679 h 1576253"/>
                    <a:gd name="connsiteX159" fmla="*/ 2500339 w 2617696"/>
                    <a:gd name="connsiteY159" fmla="*/ 638939 h 1576253"/>
                    <a:gd name="connsiteX160" fmla="*/ 2497079 w 2617696"/>
                    <a:gd name="connsiteY160" fmla="*/ 650348 h 1576253"/>
                    <a:gd name="connsiteX161" fmla="*/ 2493820 w 2617696"/>
                    <a:gd name="connsiteY161" fmla="*/ 674797 h 1576253"/>
                    <a:gd name="connsiteX162" fmla="*/ 2484040 w 2617696"/>
                    <a:gd name="connsiteY162" fmla="*/ 681317 h 1576253"/>
                    <a:gd name="connsiteX163" fmla="*/ 2477520 w 2617696"/>
                    <a:gd name="connsiteY163" fmla="*/ 686207 h 1576253"/>
                    <a:gd name="connsiteX164" fmla="*/ 2471000 w 2617696"/>
                    <a:gd name="connsiteY164" fmla="*/ 676427 h 1576253"/>
                    <a:gd name="connsiteX165" fmla="*/ 2466111 w 2617696"/>
                    <a:gd name="connsiteY165" fmla="*/ 674797 h 1576253"/>
                    <a:gd name="connsiteX166" fmla="*/ 2461221 w 2617696"/>
                    <a:gd name="connsiteY166" fmla="*/ 671538 h 1576253"/>
                    <a:gd name="connsiteX167" fmla="*/ 2451441 w 2617696"/>
                    <a:gd name="connsiteY167" fmla="*/ 678057 h 1576253"/>
                    <a:gd name="connsiteX168" fmla="*/ 2443291 w 2617696"/>
                    <a:gd name="connsiteY168" fmla="*/ 681317 h 1576253"/>
                    <a:gd name="connsiteX169" fmla="*/ 2438401 w 2617696"/>
                    <a:gd name="connsiteY169" fmla="*/ 678057 h 1576253"/>
                    <a:gd name="connsiteX170" fmla="*/ 2430252 w 2617696"/>
                    <a:gd name="connsiteY170" fmla="*/ 671538 h 1576253"/>
                    <a:gd name="connsiteX171" fmla="*/ 2420472 w 2617696"/>
                    <a:gd name="connsiteY171" fmla="*/ 673168 h 1576253"/>
                    <a:gd name="connsiteX172" fmla="*/ 2397653 w 2617696"/>
                    <a:gd name="connsiteY172" fmla="*/ 674797 h 1576253"/>
                    <a:gd name="connsiteX173" fmla="*/ 2391801 w 2617696"/>
                    <a:gd name="connsiteY173" fmla="*/ 676051 h 1576253"/>
                    <a:gd name="connsiteX174" fmla="*/ 2391132 w 2617696"/>
                    <a:gd name="connsiteY174" fmla="*/ 678057 h 1576253"/>
                    <a:gd name="connsiteX175" fmla="*/ 2384612 w 2617696"/>
                    <a:gd name="connsiteY175" fmla="*/ 681317 h 1576253"/>
                    <a:gd name="connsiteX176" fmla="*/ 2382982 w 2617696"/>
                    <a:gd name="connsiteY176" fmla="*/ 686207 h 1576253"/>
                    <a:gd name="connsiteX177" fmla="*/ 2369943 w 2617696"/>
                    <a:gd name="connsiteY177" fmla="*/ 702507 h 1576253"/>
                    <a:gd name="connsiteX178" fmla="*/ 2361793 w 2617696"/>
                    <a:gd name="connsiteY178" fmla="*/ 704137 h 1576253"/>
                    <a:gd name="connsiteX179" fmla="*/ 2337344 w 2617696"/>
                    <a:gd name="connsiteY179" fmla="*/ 748145 h 1576253"/>
                    <a:gd name="connsiteX180" fmla="*/ 2330824 w 2617696"/>
                    <a:gd name="connsiteY180" fmla="*/ 751405 h 1576253"/>
                    <a:gd name="connsiteX181" fmla="*/ 2322674 w 2617696"/>
                    <a:gd name="connsiteY181" fmla="*/ 754665 h 1576253"/>
                    <a:gd name="connsiteX182" fmla="*/ 2321044 w 2617696"/>
                    <a:gd name="connsiteY182" fmla="*/ 759555 h 1576253"/>
                    <a:gd name="connsiteX183" fmla="*/ 2306375 w 2617696"/>
                    <a:gd name="connsiteY183" fmla="*/ 769334 h 1576253"/>
                    <a:gd name="connsiteX184" fmla="*/ 2296595 w 2617696"/>
                    <a:gd name="connsiteY184" fmla="*/ 764445 h 1576253"/>
                    <a:gd name="connsiteX185" fmla="*/ 2298225 w 2617696"/>
                    <a:gd name="connsiteY185" fmla="*/ 759555 h 1576253"/>
                    <a:gd name="connsiteX186" fmla="*/ 2299855 w 2617696"/>
                    <a:gd name="connsiteY186" fmla="*/ 743255 h 1576253"/>
                    <a:gd name="connsiteX187" fmla="*/ 2268886 w 2617696"/>
                    <a:gd name="connsiteY187" fmla="*/ 746515 h 1576253"/>
                    <a:gd name="connsiteX188" fmla="*/ 2260736 w 2617696"/>
                    <a:gd name="connsiteY188" fmla="*/ 753035 h 1576253"/>
                    <a:gd name="connsiteX189" fmla="*/ 2254216 w 2617696"/>
                    <a:gd name="connsiteY189" fmla="*/ 759555 h 1576253"/>
                    <a:gd name="connsiteX190" fmla="*/ 2252587 w 2617696"/>
                    <a:gd name="connsiteY190" fmla="*/ 764445 h 1576253"/>
                    <a:gd name="connsiteX191" fmla="*/ 2249327 w 2617696"/>
                    <a:gd name="connsiteY191" fmla="*/ 772594 h 1576253"/>
                    <a:gd name="connsiteX192" fmla="*/ 2247697 w 2617696"/>
                    <a:gd name="connsiteY192" fmla="*/ 779114 h 1576253"/>
                    <a:gd name="connsiteX193" fmla="*/ 2244437 w 2617696"/>
                    <a:gd name="connsiteY193" fmla="*/ 788894 h 1576253"/>
                    <a:gd name="connsiteX194" fmla="*/ 2229767 w 2617696"/>
                    <a:gd name="connsiteY194" fmla="*/ 798673 h 1576253"/>
                    <a:gd name="connsiteX195" fmla="*/ 2224877 w 2617696"/>
                    <a:gd name="connsiteY195" fmla="*/ 801933 h 1576253"/>
                    <a:gd name="connsiteX196" fmla="*/ 2218358 w 2617696"/>
                    <a:gd name="connsiteY196" fmla="*/ 808453 h 1576253"/>
                    <a:gd name="connsiteX197" fmla="*/ 2210208 w 2617696"/>
                    <a:gd name="connsiteY197" fmla="*/ 816603 h 1576253"/>
                    <a:gd name="connsiteX198" fmla="*/ 2200428 w 2617696"/>
                    <a:gd name="connsiteY198" fmla="*/ 826383 h 1576253"/>
                    <a:gd name="connsiteX199" fmla="*/ 2189019 w 2617696"/>
                    <a:gd name="connsiteY199" fmla="*/ 834532 h 1576253"/>
                    <a:gd name="connsiteX200" fmla="*/ 2171089 w 2617696"/>
                    <a:gd name="connsiteY200" fmla="*/ 837792 h 1576253"/>
                    <a:gd name="connsiteX201" fmla="*/ 2166199 w 2617696"/>
                    <a:gd name="connsiteY201" fmla="*/ 841052 h 1576253"/>
                    <a:gd name="connsiteX202" fmla="*/ 2149900 w 2617696"/>
                    <a:gd name="connsiteY202" fmla="*/ 850832 h 1576253"/>
                    <a:gd name="connsiteX203" fmla="*/ 2143380 w 2617696"/>
                    <a:gd name="connsiteY203" fmla="*/ 855722 h 1576253"/>
                    <a:gd name="connsiteX204" fmla="*/ 2138490 w 2617696"/>
                    <a:gd name="connsiteY204" fmla="*/ 858981 h 1576253"/>
                    <a:gd name="connsiteX205" fmla="*/ 2135230 w 2617696"/>
                    <a:gd name="connsiteY205" fmla="*/ 863871 h 1576253"/>
                    <a:gd name="connsiteX206" fmla="*/ 2115671 w 2617696"/>
                    <a:gd name="connsiteY206" fmla="*/ 865501 h 1576253"/>
                    <a:gd name="connsiteX207" fmla="*/ 2110781 w 2617696"/>
                    <a:gd name="connsiteY207" fmla="*/ 868761 h 1576253"/>
                    <a:gd name="connsiteX208" fmla="*/ 2105891 w 2617696"/>
                    <a:gd name="connsiteY208" fmla="*/ 870391 h 1576253"/>
                    <a:gd name="connsiteX209" fmla="*/ 2096112 w 2617696"/>
                    <a:gd name="connsiteY209" fmla="*/ 873651 h 1576253"/>
                    <a:gd name="connsiteX210" fmla="*/ 2092852 w 2617696"/>
                    <a:gd name="connsiteY210" fmla="*/ 878541 h 1576253"/>
                    <a:gd name="connsiteX211" fmla="*/ 2079812 w 2617696"/>
                    <a:gd name="connsiteY211" fmla="*/ 888320 h 1576253"/>
                    <a:gd name="connsiteX212" fmla="*/ 2071662 w 2617696"/>
                    <a:gd name="connsiteY212" fmla="*/ 896470 h 1576253"/>
                    <a:gd name="connsiteX213" fmla="*/ 2066773 w 2617696"/>
                    <a:gd name="connsiteY213" fmla="*/ 899730 h 1576253"/>
                    <a:gd name="connsiteX214" fmla="*/ 2063513 w 2617696"/>
                    <a:gd name="connsiteY214" fmla="*/ 906250 h 1576253"/>
                    <a:gd name="connsiteX215" fmla="*/ 2060253 w 2617696"/>
                    <a:gd name="connsiteY215" fmla="*/ 922549 h 1576253"/>
                    <a:gd name="connsiteX216" fmla="*/ 2058623 w 2617696"/>
                    <a:gd name="connsiteY216" fmla="*/ 927439 h 1576253"/>
                    <a:gd name="connsiteX217" fmla="*/ 2050473 w 2617696"/>
                    <a:gd name="connsiteY217" fmla="*/ 938849 h 1576253"/>
                    <a:gd name="connsiteX218" fmla="*/ 2045583 w 2617696"/>
                    <a:gd name="connsiteY218" fmla="*/ 943739 h 1576253"/>
                    <a:gd name="connsiteX219" fmla="*/ 2040693 w 2617696"/>
                    <a:gd name="connsiteY219" fmla="*/ 950258 h 1576253"/>
                    <a:gd name="connsiteX220" fmla="*/ 2027654 w 2617696"/>
                    <a:gd name="connsiteY220" fmla="*/ 961668 h 1576253"/>
                    <a:gd name="connsiteX221" fmla="*/ 2021134 w 2617696"/>
                    <a:gd name="connsiteY221" fmla="*/ 969818 h 1576253"/>
                    <a:gd name="connsiteX222" fmla="*/ 2014614 w 2617696"/>
                    <a:gd name="connsiteY222" fmla="*/ 973078 h 1576253"/>
                    <a:gd name="connsiteX223" fmla="*/ 2009724 w 2617696"/>
                    <a:gd name="connsiteY223" fmla="*/ 974708 h 1576253"/>
                    <a:gd name="connsiteX224" fmla="*/ 1991795 w 2617696"/>
                    <a:gd name="connsiteY224" fmla="*/ 986117 h 1576253"/>
                    <a:gd name="connsiteX225" fmla="*/ 1985275 w 2617696"/>
                    <a:gd name="connsiteY225" fmla="*/ 987747 h 1576253"/>
                    <a:gd name="connsiteX226" fmla="*/ 1967346 w 2617696"/>
                    <a:gd name="connsiteY226" fmla="*/ 994267 h 1576253"/>
                    <a:gd name="connsiteX227" fmla="*/ 1959196 w 2617696"/>
                    <a:gd name="connsiteY227" fmla="*/ 995897 h 1576253"/>
                    <a:gd name="connsiteX228" fmla="*/ 1954306 w 2617696"/>
                    <a:gd name="connsiteY228" fmla="*/ 1005677 h 1576253"/>
                    <a:gd name="connsiteX229" fmla="*/ 1942897 w 2617696"/>
                    <a:gd name="connsiteY229" fmla="*/ 1010566 h 1576253"/>
                    <a:gd name="connsiteX230" fmla="*/ 1938007 w 2617696"/>
                    <a:gd name="connsiteY230" fmla="*/ 1012196 h 1576253"/>
                    <a:gd name="connsiteX231" fmla="*/ 1928227 w 2617696"/>
                    <a:gd name="connsiteY231" fmla="*/ 1017086 h 1576253"/>
                    <a:gd name="connsiteX232" fmla="*/ 1915188 w 2617696"/>
                    <a:gd name="connsiteY232" fmla="*/ 1026866 h 1576253"/>
                    <a:gd name="connsiteX233" fmla="*/ 1905408 w 2617696"/>
                    <a:gd name="connsiteY233" fmla="*/ 1030126 h 1576253"/>
                    <a:gd name="connsiteX234" fmla="*/ 1890738 w 2617696"/>
                    <a:gd name="connsiteY234" fmla="*/ 1033386 h 1576253"/>
                    <a:gd name="connsiteX235" fmla="*/ 1884219 w 2617696"/>
                    <a:gd name="connsiteY235" fmla="*/ 1035016 h 1576253"/>
                    <a:gd name="connsiteX236" fmla="*/ 1871179 w 2617696"/>
                    <a:gd name="connsiteY236" fmla="*/ 1036646 h 1576253"/>
                    <a:gd name="connsiteX237" fmla="*/ 1866289 w 2617696"/>
                    <a:gd name="connsiteY237" fmla="*/ 1039906 h 1576253"/>
                    <a:gd name="connsiteX238" fmla="*/ 1863029 w 2617696"/>
                    <a:gd name="connsiteY238" fmla="*/ 1044795 h 1576253"/>
                    <a:gd name="connsiteX239" fmla="*/ 1838580 w 2617696"/>
                    <a:gd name="connsiteY239" fmla="*/ 1046425 h 1576253"/>
                    <a:gd name="connsiteX240" fmla="*/ 1830430 w 2617696"/>
                    <a:gd name="connsiteY240" fmla="*/ 1044795 h 1576253"/>
                    <a:gd name="connsiteX241" fmla="*/ 1823911 w 2617696"/>
                    <a:gd name="connsiteY241" fmla="*/ 1043165 h 1576253"/>
                    <a:gd name="connsiteX242" fmla="*/ 1822281 w 2617696"/>
                    <a:gd name="connsiteY242" fmla="*/ 1038276 h 1576253"/>
                    <a:gd name="connsiteX243" fmla="*/ 1792942 w 2617696"/>
                    <a:gd name="connsiteY243" fmla="*/ 1038276 h 1576253"/>
                    <a:gd name="connsiteX244" fmla="*/ 1771752 w 2617696"/>
                    <a:gd name="connsiteY244" fmla="*/ 1039906 h 1576253"/>
                    <a:gd name="connsiteX245" fmla="*/ 1765233 w 2617696"/>
                    <a:gd name="connsiteY245" fmla="*/ 1041535 h 1576253"/>
                    <a:gd name="connsiteX246" fmla="*/ 1761973 w 2617696"/>
                    <a:gd name="connsiteY246" fmla="*/ 1046425 h 1576253"/>
                    <a:gd name="connsiteX247" fmla="*/ 1750563 w 2617696"/>
                    <a:gd name="connsiteY247" fmla="*/ 1056205 h 1576253"/>
                    <a:gd name="connsiteX248" fmla="*/ 1748933 w 2617696"/>
                    <a:gd name="connsiteY248" fmla="*/ 1061095 h 1576253"/>
                    <a:gd name="connsiteX249" fmla="*/ 1744043 w 2617696"/>
                    <a:gd name="connsiteY249" fmla="*/ 1069245 h 1576253"/>
                    <a:gd name="connsiteX250" fmla="*/ 1734264 w 2617696"/>
                    <a:gd name="connsiteY250" fmla="*/ 1082284 h 1576253"/>
                    <a:gd name="connsiteX251" fmla="*/ 1731004 w 2617696"/>
                    <a:gd name="connsiteY251" fmla="*/ 1087174 h 1576253"/>
                    <a:gd name="connsiteX252" fmla="*/ 1719594 w 2617696"/>
                    <a:gd name="connsiteY252" fmla="*/ 1090434 h 1576253"/>
                    <a:gd name="connsiteX253" fmla="*/ 1711444 w 2617696"/>
                    <a:gd name="connsiteY253" fmla="*/ 1096954 h 1576253"/>
                    <a:gd name="connsiteX254" fmla="*/ 1704924 w 2617696"/>
                    <a:gd name="connsiteY254" fmla="*/ 1109993 h 1576253"/>
                    <a:gd name="connsiteX255" fmla="*/ 1701665 w 2617696"/>
                    <a:gd name="connsiteY255" fmla="*/ 1118143 h 1576253"/>
                    <a:gd name="connsiteX256" fmla="*/ 1693515 w 2617696"/>
                    <a:gd name="connsiteY256" fmla="*/ 1129553 h 1576253"/>
                    <a:gd name="connsiteX257" fmla="*/ 1686995 w 2617696"/>
                    <a:gd name="connsiteY257" fmla="*/ 1139332 h 1576253"/>
                    <a:gd name="connsiteX258" fmla="*/ 1680475 w 2617696"/>
                    <a:gd name="connsiteY258" fmla="*/ 1142592 h 1576253"/>
                    <a:gd name="connsiteX259" fmla="*/ 1641357 w 2617696"/>
                    <a:gd name="connsiteY259" fmla="*/ 1142592 h 1576253"/>
                    <a:gd name="connsiteX260" fmla="*/ 1638097 w 2617696"/>
                    <a:gd name="connsiteY260" fmla="*/ 1137702 h 1576253"/>
                    <a:gd name="connsiteX261" fmla="*/ 1631577 w 2617696"/>
                    <a:gd name="connsiteY261" fmla="*/ 1136072 h 1576253"/>
                    <a:gd name="connsiteX262" fmla="*/ 1626687 w 2617696"/>
                    <a:gd name="connsiteY262" fmla="*/ 1132812 h 1576253"/>
                    <a:gd name="connsiteX263" fmla="*/ 1598978 w 2617696"/>
                    <a:gd name="connsiteY263" fmla="*/ 1127923 h 1576253"/>
                    <a:gd name="connsiteX264" fmla="*/ 1574529 w 2617696"/>
                    <a:gd name="connsiteY264" fmla="*/ 1132812 h 1576253"/>
                    <a:gd name="connsiteX265" fmla="*/ 1568009 w 2617696"/>
                    <a:gd name="connsiteY265" fmla="*/ 1134442 h 1576253"/>
                    <a:gd name="connsiteX266" fmla="*/ 1564600 w 2617696"/>
                    <a:gd name="connsiteY266" fmla="*/ 1138186 h 1576253"/>
                    <a:gd name="connsiteX267" fmla="*/ 1566380 w 2617696"/>
                    <a:gd name="connsiteY267" fmla="*/ 1144222 h 1576253"/>
                    <a:gd name="connsiteX268" fmla="*/ 1572900 w 2617696"/>
                    <a:gd name="connsiteY268" fmla="*/ 1168671 h 1576253"/>
                    <a:gd name="connsiteX269" fmla="*/ 1571270 w 2617696"/>
                    <a:gd name="connsiteY269" fmla="*/ 1173561 h 1576253"/>
                    <a:gd name="connsiteX270" fmla="*/ 1569640 w 2617696"/>
                    <a:gd name="connsiteY270" fmla="*/ 1202900 h 1576253"/>
                    <a:gd name="connsiteX271" fmla="*/ 1572900 w 2617696"/>
                    <a:gd name="connsiteY271" fmla="*/ 1207790 h 1576253"/>
                    <a:gd name="connsiteX272" fmla="*/ 1579420 w 2617696"/>
                    <a:gd name="connsiteY272" fmla="*/ 1212680 h 1576253"/>
                    <a:gd name="connsiteX273" fmla="*/ 1579420 w 2617696"/>
                    <a:gd name="connsiteY273" fmla="*/ 1225719 h 1576253"/>
                    <a:gd name="connsiteX274" fmla="*/ 1577790 w 2617696"/>
                    <a:gd name="connsiteY274" fmla="*/ 1230609 h 1576253"/>
                    <a:gd name="connsiteX275" fmla="*/ 1585939 w 2617696"/>
                    <a:gd name="connsiteY275" fmla="*/ 1232239 h 1576253"/>
                    <a:gd name="connsiteX276" fmla="*/ 1594089 w 2617696"/>
                    <a:gd name="connsiteY276" fmla="*/ 1240389 h 1576253"/>
                    <a:gd name="connsiteX277" fmla="*/ 1595719 w 2617696"/>
                    <a:gd name="connsiteY277" fmla="*/ 1253428 h 1576253"/>
                    <a:gd name="connsiteX278" fmla="*/ 1563120 w 2617696"/>
                    <a:gd name="connsiteY278" fmla="*/ 1255058 h 1576253"/>
                    <a:gd name="connsiteX279" fmla="*/ 1556600 w 2617696"/>
                    <a:gd name="connsiteY279" fmla="*/ 1263208 h 1576253"/>
                    <a:gd name="connsiteX280" fmla="*/ 1550081 w 2617696"/>
                    <a:gd name="connsiteY280" fmla="*/ 1264838 h 1576253"/>
                    <a:gd name="connsiteX281" fmla="*/ 1556600 w 2617696"/>
                    <a:gd name="connsiteY281" fmla="*/ 1274618 h 1576253"/>
                    <a:gd name="connsiteX282" fmla="*/ 1564750 w 2617696"/>
                    <a:gd name="connsiteY282" fmla="*/ 1305587 h 1576253"/>
                    <a:gd name="connsiteX283" fmla="*/ 1563120 w 2617696"/>
                    <a:gd name="connsiteY283" fmla="*/ 1310477 h 1576253"/>
                    <a:gd name="connsiteX284" fmla="*/ 1558230 w 2617696"/>
                    <a:gd name="connsiteY284" fmla="*/ 1312107 h 1576253"/>
                    <a:gd name="connsiteX285" fmla="*/ 1556600 w 2617696"/>
                    <a:gd name="connsiteY285" fmla="*/ 1338186 h 1576253"/>
                    <a:gd name="connsiteX286" fmla="*/ 1554970 w 2617696"/>
                    <a:gd name="connsiteY286" fmla="*/ 1343076 h 1576253"/>
                    <a:gd name="connsiteX287" fmla="*/ 1543561 w 2617696"/>
                    <a:gd name="connsiteY287" fmla="*/ 1336556 h 1576253"/>
                    <a:gd name="connsiteX288" fmla="*/ 1525631 w 2617696"/>
                    <a:gd name="connsiteY288" fmla="*/ 1333296 h 1576253"/>
                    <a:gd name="connsiteX289" fmla="*/ 1524001 w 2617696"/>
                    <a:gd name="connsiteY289" fmla="*/ 1326776 h 1576253"/>
                    <a:gd name="connsiteX290" fmla="*/ 1512592 w 2617696"/>
                    <a:gd name="connsiteY290" fmla="*/ 1334926 h 1576253"/>
                    <a:gd name="connsiteX291" fmla="*/ 1507702 w 2617696"/>
                    <a:gd name="connsiteY291" fmla="*/ 1313737 h 1576253"/>
                    <a:gd name="connsiteX292" fmla="*/ 1501182 w 2617696"/>
                    <a:gd name="connsiteY292" fmla="*/ 1308847 h 1576253"/>
                    <a:gd name="connsiteX293" fmla="*/ 1496292 w 2617696"/>
                    <a:gd name="connsiteY293" fmla="*/ 1307217 h 1576253"/>
                    <a:gd name="connsiteX294" fmla="*/ 1493032 w 2617696"/>
                    <a:gd name="connsiteY294" fmla="*/ 1302327 h 1576253"/>
                    <a:gd name="connsiteX295" fmla="*/ 1483253 w 2617696"/>
                    <a:gd name="connsiteY295" fmla="*/ 1294177 h 1576253"/>
                    <a:gd name="connsiteX296" fmla="*/ 1476733 w 2617696"/>
                    <a:gd name="connsiteY296" fmla="*/ 1292547 h 1576253"/>
                    <a:gd name="connsiteX297" fmla="*/ 1470213 w 2617696"/>
                    <a:gd name="connsiteY297" fmla="*/ 1259948 h 1576253"/>
                    <a:gd name="connsiteX298" fmla="*/ 1475103 w 2617696"/>
                    <a:gd name="connsiteY298" fmla="*/ 1255058 h 1576253"/>
                    <a:gd name="connsiteX299" fmla="*/ 1476733 w 2617696"/>
                    <a:gd name="connsiteY299" fmla="*/ 1248539 h 1576253"/>
                    <a:gd name="connsiteX300" fmla="*/ 1484883 w 2617696"/>
                    <a:gd name="connsiteY300" fmla="*/ 1233869 h 1576253"/>
                    <a:gd name="connsiteX301" fmla="*/ 1489773 w 2617696"/>
                    <a:gd name="connsiteY301" fmla="*/ 1227349 h 1576253"/>
                    <a:gd name="connsiteX302" fmla="*/ 1493032 w 2617696"/>
                    <a:gd name="connsiteY302" fmla="*/ 1222460 h 1576253"/>
                    <a:gd name="connsiteX303" fmla="*/ 1499552 w 2617696"/>
                    <a:gd name="connsiteY303" fmla="*/ 1219200 h 1576253"/>
                    <a:gd name="connsiteX304" fmla="*/ 1504442 w 2617696"/>
                    <a:gd name="connsiteY304" fmla="*/ 1196380 h 1576253"/>
                    <a:gd name="connsiteX305" fmla="*/ 1506072 w 2617696"/>
                    <a:gd name="connsiteY305" fmla="*/ 1183341 h 1576253"/>
                    <a:gd name="connsiteX306" fmla="*/ 1502812 w 2617696"/>
                    <a:gd name="connsiteY306" fmla="*/ 1178451 h 1576253"/>
                    <a:gd name="connsiteX307" fmla="*/ 1501182 w 2617696"/>
                    <a:gd name="connsiteY307" fmla="*/ 1171931 h 1576253"/>
                    <a:gd name="connsiteX308" fmla="*/ 1488143 w 2617696"/>
                    <a:gd name="connsiteY308" fmla="*/ 1165411 h 1576253"/>
                    <a:gd name="connsiteX309" fmla="*/ 1486513 w 2617696"/>
                    <a:gd name="connsiteY309" fmla="*/ 1160522 h 1576253"/>
                    <a:gd name="connsiteX310" fmla="*/ 1484883 w 2617696"/>
                    <a:gd name="connsiteY310" fmla="*/ 1154002 h 1576253"/>
                    <a:gd name="connsiteX311" fmla="*/ 1470213 w 2617696"/>
                    <a:gd name="connsiteY311" fmla="*/ 1154002 h 1576253"/>
                    <a:gd name="connsiteX312" fmla="*/ 1468583 w 2617696"/>
                    <a:gd name="connsiteY312" fmla="*/ 1158892 h 1576253"/>
                    <a:gd name="connsiteX313" fmla="*/ 1465323 w 2617696"/>
                    <a:gd name="connsiteY313" fmla="*/ 1163781 h 1576253"/>
                    <a:gd name="connsiteX314" fmla="*/ 1462063 w 2617696"/>
                    <a:gd name="connsiteY314" fmla="*/ 1170301 h 1576253"/>
                    <a:gd name="connsiteX315" fmla="*/ 1455544 w 2617696"/>
                    <a:gd name="connsiteY315" fmla="*/ 1175191 h 1576253"/>
                    <a:gd name="connsiteX316" fmla="*/ 1452284 w 2617696"/>
                    <a:gd name="connsiteY316" fmla="*/ 1180081 h 1576253"/>
                    <a:gd name="connsiteX317" fmla="*/ 1447394 w 2617696"/>
                    <a:gd name="connsiteY317" fmla="*/ 1183341 h 1576253"/>
                    <a:gd name="connsiteX318" fmla="*/ 1444134 w 2617696"/>
                    <a:gd name="connsiteY318" fmla="*/ 1189861 h 1576253"/>
                    <a:gd name="connsiteX319" fmla="*/ 1440874 w 2617696"/>
                    <a:gd name="connsiteY319" fmla="*/ 1194750 h 1576253"/>
                    <a:gd name="connsiteX320" fmla="*/ 1432724 w 2617696"/>
                    <a:gd name="connsiteY320" fmla="*/ 1198010 h 1576253"/>
                    <a:gd name="connsiteX321" fmla="*/ 1431094 w 2617696"/>
                    <a:gd name="connsiteY321" fmla="*/ 1202900 h 1576253"/>
                    <a:gd name="connsiteX322" fmla="*/ 1421315 w 2617696"/>
                    <a:gd name="connsiteY322" fmla="*/ 1212680 h 1576253"/>
                    <a:gd name="connsiteX323" fmla="*/ 1416425 w 2617696"/>
                    <a:gd name="connsiteY323" fmla="*/ 1214310 h 1576253"/>
                    <a:gd name="connsiteX324" fmla="*/ 1414795 w 2617696"/>
                    <a:gd name="connsiteY324" fmla="*/ 1220830 h 1576253"/>
                    <a:gd name="connsiteX325" fmla="*/ 1431094 w 2617696"/>
                    <a:gd name="connsiteY325" fmla="*/ 1228979 h 1576253"/>
                    <a:gd name="connsiteX326" fmla="*/ 1424575 w 2617696"/>
                    <a:gd name="connsiteY326" fmla="*/ 1232239 h 1576253"/>
                    <a:gd name="connsiteX327" fmla="*/ 1414795 w 2617696"/>
                    <a:gd name="connsiteY327" fmla="*/ 1235499 h 1576253"/>
                    <a:gd name="connsiteX328" fmla="*/ 1413165 w 2617696"/>
                    <a:gd name="connsiteY328" fmla="*/ 1240389 h 1576253"/>
                    <a:gd name="connsiteX329" fmla="*/ 1406645 w 2617696"/>
                    <a:gd name="connsiteY329" fmla="*/ 1243649 h 1576253"/>
                    <a:gd name="connsiteX330" fmla="*/ 1395236 w 2617696"/>
                    <a:gd name="connsiteY330" fmla="*/ 1246909 h 1576253"/>
                    <a:gd name="connsiteX331" fmla="*/ 1390346 w 2617696"/>
                    <a:gd name="connsiteY331" fmla="*/ 1248539 h 1576253"/>
                    <a:gd name="connsiteX332" fmla="*/ 1385456 w 2617696"/>
                    <a:gd name="connsiteY332" fmla="*/ 1251799 h 1576253"/>
                    <a:gd name="connsiteX333" fmla="*/ 1378936 w 2617696"/>
                    <a:gd name="connsiteY333" fmla="*/ 1248539 h 1576253"/>
                    <a:gd name="connsiteX334" fmla="*/ 1380566 w 2617696"/>
                    <a:gd name="connsiteY334" fmla="*/ 1237129 h 1576253"/>
                    <a:gd name="connsiteX335" fmla="*/ 1377306 w 2617696"/>
                    <a:gd name="connsiteY335" fmla="*/ 1232239 h 1576253"/>
                    <a:gd name="connsiteX336" fmla="*/ 1372416 w 2617696"/>
                    <a:gd name="connsiteY336" fmla="*/ 1228979 h 1576253"/>
                    <a:gd name="connsiteX337" fmla="*/ 1364267 w 2617696"/>
                    <a:gd name="connsiteY337" fmla="*/ 1245279 h 1576253"/>
                    <a:gd name="connsiteX338" fmla="*/ 1346337 w 2617696"/>
                    <a:gd name="connsiteY338" fmla="*/ 1248539 h 1576253"/>
                    <a:gd name="connsiteX339" fmla="*/ 1325148 w 2617696"/>
                    <a:gd name="connsiteY339" fmla="*/ 1250169 h 1576253"/>
                    <a:gd name="connsiteX340" fmla="*/ 1323518 w 2617696"/>
                    <a:gd name="connsiteY340" fmla="*/ 1243649 h 1576253"/>
                    <a:gd name="connsiteX341" fmla="*/ 1310478 w 2617696"/>
                    <a:gd name="connsiteY341" fmla="*/ 1232239 h 1576253"/>
                    <a:gd name="connsiteX342" fmla="*/ 1305589 w 2617696"/>
                    <a:gd name="connsiteY342" fmla="*/ 1237129 h 1576253"/>
                    <a:gd name="connsiteX343" fmla="*/ 1302329 w 2617696"/>
                    <a:gd name="connsiteY343" fmla="*/ 1242019 h 1576253"/>
                    <a:gd name="connsiteX344" fmla="*/ 1295809 w 2617696"/>
                    <a:gd name="connsiteY344" fmla="*/ 1243649 h 1576253"/>
                    <a:gd name="connsiteX345" fmla="*/ 1290919 w 2617696"/>
                    <a:gd name="connsiteY345" fmla="*/ 1246909 h 1576253"/>
                    <a:gd name="connsiteX346" fmla="*/ 1282769 w 2617696"/>
                    <a:gd name="connsiteY346" fmla="*/ 1248539 h 1576253"/>
                    <a:gd name="connsiteX347" fmla="*/ 1277879 w 2617696"/>
                    <a:gd name="connsiteY347" fmla="*/ 1250169 h 1576253"/>
                    <a:gd name="connsiteX348" fmla="*/ 1276250 w 2617696"/>
                    <a:gd name="connsiteY348" fmla="*/ 1255058 h 1576253"/>
                    <a:gd name="connsiteX349" fmla="*/ 1271360 w 2617696"/>
                    <a:gd name="connsiteY349" fmla="*/ 1258318 h 1576253"/>
                    <a:gd name="connsiteX350" fmla="*/ 1269730 w 2617696"/>
                    <a:gd name="connsiteY350" fmla="*/ 1263208 h 1576253"/>
                    <a:gd name="connsiteX351" fmla="*/ 1266470 w 2617696"/>
                    <a:gd name="connsiteY351" fmla="*/ 1276248 h 1576253"/>
                    <a:gd name="connsiteX352" fmla="*/ 1261580 w 2617696"/>
                    <a:gd name="connsiteY352" fmla="*/ 1282768 h 1576253"/>
                    <a:gd name="connsiteX353" fmla="*/ 1256690 w 2617696"/>
                    <a:gd name="connsiteY353" fmla="*/ 1287657 h 1576253"/>
                    <a:gd name="connsiteX354" fmla="*/ 1253430 w 2617696"/>
                    <a:gd name="connsiteY354" fmla="*/ 1294177 h 1576253"/>
                    <a:gd name="connsiteX355" fmla="*/ 1250170 w 2617696"/>
                    <a:gd name="connsiteY355" fmla="*/ 1299067 h 1576253"/>
                    <a:gd name="connsiteX356" fmla="*/ 1243651 w 2617696"/>
                    <a:gd name="connsiteY356" fmla="*/ 1302327 h 1576253"/>
                    <a:gd name="connsiteX357" fmla="*/ 1237131 w 2617696"/>
                    <a:gd name="connsiteY357" fmla="*/ 1334926 h 1576253"/>
                    <a:gd name="connsiteX358" fmla="*/ 1235501 w 2617696"/>
                    <a:gd name="connsiteY358" fmla="*/ 1339816 h 1576253"/>
                    <a:gd name="connsiteX359" fmla="*/ 1233871 w 2617696"/>
                    <a:gd name="connsiteY359" fmla="*/ 1351225 h 1576253"/>
                    <a:gd name="connsiteX360" fmla="*/ 1224091 w 2617696"/>
                    <a:gd name="connsiteY360" fmla="*/ 1357745 h 1576253"/>
                    <a:gd name="connsiteX361" fmla="*/ 1222461 w 2617696"/>
                    <a:gd name="connsiteY361" fmla="*/ 1377304 h 1576253"/>
                    <a:gd name="connsiteX362" fmla="*/ 1212682 w 2617696"/>
                    <a:gd name="connsiteY362" fmla="*/ 1370785 h 1576253"/>
                    <a:gd name="connsiteX363" fmla="*/ 1196382 w 2617696"/>
                    <a:gd name="connsiteY363" fmla="*/ 1364265 h 1576253"/>
                    <a:gd name="connsiteX364" fmla="*/ 1191492 w 2617696"/>
                    <a:gd name="connsiteY364" fmla="*/ 1370785 h 1576253"/>
                    <a:gd name="connsiteX365" fmla="*/ 1186602 w 2617696"/>
                    <a:gd name="connsiteY365" fmla="*/ 1375674 h 1576253"/>
                    <a:gd name="connsiteX366" fmla="*/ 1183343 w 2617696"/>
                    <a:gd name="connsiteY366" fmla="*/ 1396864 h 1576253"/>
                    <a:gd name="connsiteX367" fmla="*/ 1175193 w 2617696"/>
                    <a:gd name="connsiteY367" fmla="*/ 1398494 h 1576253"/>
                    <a:gd name="connsiteX368" fmla="*/ 1170303 w 2617696"/>
                    <a:gd name="connsiteY368" fmla="*/ 1405014 h 1576253"/>
                    <a:gd name="connsiteX369" fmla="*/ 1167043 w 2617696"/>
                    <a:gd name="connsiteY369" fmla="*/ 1409903 h 1576253"/>
                    <a:gd name="connsiteX370" fmla="*/ 1154004 w 2617696"/>
                    <a:gd name="connsiteY370" fmla="*/ 1406643 h 1576253"/>
                    <a:gd name="connsiteX371" fmla="*/ 1147484 w 2617696"/>
                    <a:gd name="connsiteY371" fmla="*/ 1408273 h 1576253"/>
                    <a:gd name="connsiteX372" fmla="*/ 1142594 w 2617696"/>
                    <a:gd name="connsiteY372" fmla="*/ 1411533 h 1576253"/>
                    <a:gd name="connsiteX373" fmla="*/ 1129554 w 2617696"/>
                    <a:gd name="connsiteY373" fmla="*/ 1418053 h 1576253"/>
                    <a:gd name="connsiteX374" fmla="*/ 1118145 w 2617696"/>
                    <a:gd name="connsiteY374" fmla="*/ 1421313 h 1576253"/>
                    <a:gd name="connsiteX375" fmla="*/ 1108365 w 2617696"/>
                    <a:gd name="connsiteY375" fmla="*/ 1429463 h 1576253"/>
                    <a:gd name="connsiteX376" fmla="*/ 1088806 w 2617696"/>
                    <a:gd name="connsiteY376" fmla="*/ 1431093 h 1576253"/>
                    <a:gd name="connsiteX377" fmla="*/ 1085546 w 2617696"/>
                    <a:gd name="connsiteY377" fmla="*/ 1435983 h 1576253"/>
                    <a:gd name="connsiteX378" fmla="*/ 1083916 w 2617696"/>
                    <a:gd name="connsiteY378" fmla="*/ 1447392 h 1576253"/>
                    <a:gd name="connsiteX379" fmla="*/ 1082286 w 2617696"/>
                    <a:gd name="connsiteY379" fmla="*/ 1452282 h 1576253"/>
                    <a:gd name="connsiteX380" fmla="*/ 1072506 w 2617696"/>
                    <a:gd name="connsiteY380" fmla="*/ 1462062 h 1576253"/>
                    <a:gd name="connsiteX381" fmla="*/ 1061097 w 2617696"/>
                    <a:gd name="connsiteY381" fmla="*/ 1462062 h 1576253"/>
                    <a:gd name="connsiteX382" fmla="*/ 1036647 w 2617696"/>
                    <a:gd name="connsiteY382" fmla="*/ 1458802 h 1576253"/>
                    <a:gd name="connsiteX383" fmla="*/ 1031758 w 2617696"/>
                    <a:gd name="connsiteY383" fmla="*/ 1457172 h 1576253"/>
                    <a:gd name="connsiteX384" fmla="*/ 1025238 w 2617696"/>
                    <a:gd name="connsiteY384" fmla="*/ 1455542 h 1576253"/>
                    <a:gd name="connsiteX385" fmla="*/ 1015458 w 2617696"/>
                    <a:gd name="connsiteY385" fmla="*/ 1452282 h 1576253"/>
                    <a:gd name="connsiteX386" fmla="*/ 1005678 w 2617696"/>
                    <a:gd name="connsiteY386" fmla="*/ 1453912 h 1576253"/>
                    <a:gd name="connsiteX387" fmla="*/ 994269 w 2617696"/>
                    <a:gd name="connsiteY387" fmla="*/ 1449022 h 1576253"/>
                    <a:gd name="connsiteX388" fmla="*/ 986119 w 2617696"/>
                    <a:gd name="connsiteY388" fmla="*/ 1445762 h 1576253"/>
                    <a:gd name="connsiteX389" fmla="*/ 984489 w 2617696"/>
                    <a:gd name="connsiteY389" fmla="*/ 1440872 h 1576253"/>
                    <a:gd name="connsiteX390" fmla="*/ 981229 w 2617696"/>
                    <a:gd name="connsiteY390" fmla="*/ 1435983 h 1576253"/>
                    <a:gd name="connsiteX391" fmla="*/ 969820 w 2617696"/>
                    <a:gd name="connsiteY391" fmla="*/ 1432723 h 1576253"/>
                    <a:gd name="connsiteX392" fmla="*/ 956780 w 2617696"/>
                    <a:gd name="connsiteY392" fmla="*/ 1418053 h 1576253"/>
                    <a:gd name="connsiteX393" fmla="*/ 955150 w 2617696"/>
                    <a:gd name="connsiteY393" fmla="*/ 1413163 h 1576253"/>
                    <a:gd name="connsiteX394" fmla="*/ 950260 w 2617696"/>
                    <a:gd name="connsiteY394" fmla="*/ 1411533 h 1576253"/>
                    <a:gd name="connsiteX395" fmla="*/ 947000 w 2617696"/>
                    <a:gd name="connsiteY395" fmla="*/ 1405014 h 1576253"/>
                    <a:gd name="connsiteX396" fmla="*/ 925811 w 2617696"/>
                    <a:gd name="connsiteY396" fmla="*/ 1406643 h 1576253"/>
                    <a:gd name="connsiteX397" fmla="*/ 916031 w 2617696"/>
                    <a:gd name="connsiteY397" fmla="*/ 1405014 h 1576253"/>
                    <a:gd name="connsiteX398" fmla="*/ 906252 w 2617696"/>
                    <a:gd name="connsiteY398" fmla="*/ 1400124 h 1576253"/>
                    <a:gd name="connsiteX399" fmla="*/ 896472 w 2617696"/>
                    <a:gd name="connsiteY399" fmla="*/ 1398494 h 1576253"/>
                    <a:gd name="connsiteX400" fmla="*/ 870393 w 2617696"/>
                    <a:gd name="connsiteY400" fmla="*/ 1396864 h 1576253"/>
                    <a:gd name="connsiteX401" fmla="*/ 865503 w 2617696"/>
                    <a:gd name="connsiteY401" fmla="*/ 1395234 h 1576253"/>
                    <a:gd name="connsiteX402" fmla="*/ 855723 w 2617696"/>
                    <a:gd name="connsiteY402" fmla="*/ 1393604 h 1576253"/>
                    <a:gd name="connsiteX403" fmla="*/ 850834 w 2617696"/>
                    <a:gd name="connsiteY403" fmla="*/ 1388714 h 1576253"/>
                    <a:gd name="connsiteX404" fmla="*/ 844314 w 2617696"/>
                    <a:gd name="connsiteY404" fmla="*/ 1385454 h 1576253"/>
                    <a:gd name="connsiteX405" fmla="*/ 839424 w 2617696"/>
                    <a:gd name="connsiteY405" fmla="*/ 1383824 h 1576253"/>
                    <a:gd name="connsiteX406" fmla="*/ 818235 w 2617696"/>
                    <a:gd name="connsiteY406" fmla="*/ 1378934 h 1576253"/>
                    <a:gd name="connsiteX407" fmla="*/ 775856 w 2617696"/>
                    <a:gd name="connsiteY407" fmla="*/ 1380564 h 1576253"/>
                    <a:gd name="connsiteX408" fmla="*/ 766076 w 2617696"/>
                    <a:gd name="connsiteY408" fmla="*/ 1387084 h 1576253"/>
                    <a:gd name="connsiteX409" fmla="*/ 748147 w 2617696"/>
                    <a:gd name="connsiteY409" fmla="*/ 1395234 h 1576253"/>
                    <a:gd name="connsiteX410" fmla="*/ 739997 w 2617696"/>
                    <a:gd name="connsiteY410" fmla="*/ 1396864 h 1576253"/>
                    <a:gd name="connsiteX411" fmla="*/ 731847 w 2617696"/>
                    <a:gd name="connsiteY411" fmla="*/ 1403384 h 1576253"/>
                    <a:gd name="connsiteX412" fmla="*/ 726801 w 2617696"/>
                    <a:gd name="connsiteY412" fmla="*/ 1404393 h 1576253"/>
                    <a:gd name="connsiteX413" fmla="*/ 723697 w 2617696"/>
                    <a:gd name="connsiteY413" fmla="*/ 1424573 h 1576253"/>
                    <a:gd name="connsiteX414" fmla="*/ 725327 w 2617696"/>
                    <a:gd name="connsiteY414" fmla="*/ 1429463 h 1576253"/>
                    <a:gd name="connsiteX415" fmla="*/ 728587 w 2617696"/>
                    <a:gd name="connsiteY415" fmla="*/ 1434353 h 1576253"/>
                    <a:gd name="connsiteX416" fmla="*/ 731846 w 2617696"/>
                    <a:gd name="connsiteY416" fmla="*/ 1452282 h 1576253"/>
                    <a:gd name="connsiteX417" fmla="*/ 733476 w 2617696"/>
                    <a:gd name="connsiteY417" fmla="*/ 1457172 h 1576253"/>
                    <a:gd name="connsiteX418" fmla="*/ 738366 w 2617696"/>
                    <a:gd name="connsiteY418" fmla="*/ 1460432 h 1576253"/>
                    <a:gd name="connsiteX419" fmla="*/ 735106 w 2617696"/>
                    <a:gd name="connsiteY419" fmla="*/ 1465322 h 1576253"/>
                    <a:gd name="connsiteX420" fmla="*/ 730216 w 2617696"/>
                    <a:gd name="connsiteY420" fmla="*/ 1470211 h 1576253"/>
                    <a:gd name="connsiteX421" fmla="*/ 725327 w 2617696"/>
                    <a:gd name="connsiteY421" fmla="*/ 1491401 h 1576253"/>
                    <a:gd name="connsiteX422" fmla="*/ 733476 w 2617696"/>
                    <a:gd name="connsiteY422" fmla="*/ 1510960 h 1576253"/>
                    <a:gd name="connsiteX423" fmla="*/ 731846 w 2617696"/>
                    <a:gd name="connsiteY423" fmla="*/ 1517480 h 1576253"/>
                    <a:gd name="connsiteX424" fmla="*/ 726957 w 2617696"/>
                    <a:gd name="connsiteY424" fmla="*/ 1522370 h 1576253"/>
                    <a:gd name="connsiteX425" fmla="*/ 725327 w 2617696"/>
                    <a:gd name="connsiteY425" fmla="*/ 1538669 h 1576253"/>
                    <a:gd name="connsiteX426" fmla="*/ 723697 w 2617696"/>
                    <a:gd name="connsiteY426" fmla="*/ 1515850 h 1576253"/>
                    <a:gd name="connsiteX427" fmla="*/ 692728 w 2617696"/>
                    <a:gd name="connsiteY427" fmla="*/ 1514220 h 1576253"/>
                    <a:gd name="connsiteX428" fmla="*/ 687838 w 2617696"/>
                    <a:gd name="connsiteY428" fmla="*/ 1515850 h 1576253"/>
                    <a:gd name="connsiteX429" fmla="*/ 686208 w 2617696"/>
                    <a:gd name="connsiteY429" fmla="*/ 1520740 h 1576253"/>
                    <a:gd name="connsiteX430" fmla="*/ 681318 w 2617696"/>
                    <a:gd name="connsiteY430" fmla="*/ 1522370 h 1576253"/>
                    <a:gd name="connsiteX431" fmla="*/ 665019 w 2617696"/>
                    <a:gd name="connsiteY431" fmla="*/ 1525630 h 1576253"/>
                    <a:gd name="connsiteX432" fmla="*/ 658499 w 2617696"/>
                    <a:gd name="connsiteY432" fmla="*/ 1528889 h 1576253"/>
                    <a:gd name="connsiteX433" fmla="*/ 656869 w 2617696"/>
                    <a:gd name="connsiteY433" fmla="*/ 1546819 h 1576253"/>
                    <a:gd name="connsiteX434" fmla="*/ 638939 w 2617696"/>
                    <a:gd name="connsiteY434" fmla="*/ 1550079 h 1576253"/>
                    <a:gd name="connsiteX435" fmla="*/ 634050 w 2617696"/>
                    <a:gd name="connsiteY435" fmla="*/ 1551709 h 1576253"/>
                    <a:gd name="connsiteX436" fmla="*/ 632420 w 2617696"/>
                    <a:gd name="connsiteY436" fmla="*/ 1564748 h 1576253"/>
                    <a:gd name="connsiteX437" fmla="*/ 627530 w 2617696"/>
                    <a:gd name="connsiteY437" fmla="*/ 1566378 h 1576253"/>
                    <a:gd name="connsiteX438" fmla="*/ 624270 w 2617696"/>
                    <a:gd name="connsiteY438" fmla="*/ 1571268 h 1576253"/>
                    <a:gd name="connsiteX439" fmla="*/ 619380 w 2617696"/>
                    <a:gd name="connsiteY439" fmla="*/ 1574528 h 1576253"/>
                    <a:gd name="connsiteX440" fmla="*/ 614490 w 2617696"/>
                    <a:gd name="connsiteY440" fmla="*/ 1572898 h 1576253"/>
                    <a:gd name="connsiteX441" fmla="*/ 612860 w 2617696"/>
                    <a:gd name="connsiteY441" fmla="*/ 1564748 h 1576253"/>
                    <a:gd name="connsiteX442" fmla="*/ 611230 w 2617696"/>
                    <a:gd name="connsiteY442" fmla="*/ 1559858 h 1576253"/>
                    <a:gd name="connsiteX443" fmla="*/ 596561 w 2617696"/>
                    <a:gd name="connsiteY443" fmla="*/ 1551709 h 1576253"/>
                    <a:gd name="connsiteX444" fmla="*/ 586781 w 2617696"/>
                    <a:gd name="connsiteY444" fmla="*/ 1558228 h 1576253"/>
                    <a:gd name="connsiteX445" fmla="*/ 583521 w 2617696"/>
                    <a:gd name="connsiteY445" fmla="*/ 1563118 h 1576253"/>
                    <a:gd name="connsiteX446" fmla="*/ 557442 w 2617696"/>
                    <a:gd name="connsiteY446" fmla="*/ 1561488 h 1576253"/>
                    <a:gd name="connsiteX447" fmla="*/ 544403 w 2617696"/>
                    <a:gd name="connsiteY447" fmla="*/ 1559858 h 1576253"/>
                    <a:gd name="connsiteX448" fmla="*/ 541143 w 2617696"/>
                    <a:gd name="connsiteY448" fmla="*/ 1554969 h 1576253"/>
                    <a:gd name="connsiteX449" fmla="*/ 536253 w 2617696"/>
                    <a:gd name="connsiteY449" fmla="*/ 1535409 h 1576253"/>
                    <a:gd name="connsiteX450" fmla="*/ 531363 w 2617696"/>
                    <a:gd name="connsiteY450" fmla="*/ 1537039 h 1576253"/>
                    <a:gd name="connsiteX451" fmla="*/ 529733 w 2617696"/>
                    <a:gd name="connsiteY451" fmla="*/ 1528889 h 1576253"/>
                    <a:gd name="connsiteX452" fmla="*/ 528103 w 2617696"/>
                    <a:gd name="connsiteY452" fmla="*/ 1522370 h 1576253"/>
                    <a:gd name="connsiteX453" fmla="*/ 520406 w 2617696"/>
                    <a:gd name="connsiteY453" fmla="*/ 1503216 h 1576253"/>
                    <a:gd name="connsiteX454" fmla="*/ 521150 w 2617696"/>
                    <a:gd name="connsiteY454" fmla="*/ 1492659 h 1576253"/>
                    <a:gd name="connsiteX455" fmla="*/ 534721 w 2617696"/>
                    <a:gd name="connsiteY455" fmla="*/ 1497021 h 1576253"/>
                    <a:gd name="connsiteX456" fmla="*/ 537883 w 2617696"/>
                    <a:gd name="connsiteY456" fmla="*/ 1499550 h 1576253"/>
                    <a:gd name="connsiteX457" fmla="*/ 547662 w 2617696"/>
                    <a:gd name="connsiteY457" fmla="*/ 1501180 h 1576253"/>
                    <a:gd name="connsiteX458" fmla="*/ 534721 w 2617696"/>
                    <a:gd name="connsiteY458" fmla="*/ 1497021 h 1576253"/>
                    <a:gd name="connsiteX459" fmla="*/ 529733 w 2617696"/>
                    <a:gd name="connsiteY459" fmla="*/ 1493031 h 1576253"/>
                    <a:gd name="connsiteX460" fmla="*/ 524843 w 2617696"/>
                    <a:gd name="connsiteY460" fmla="*/ 1481621 h 1576253"/>
                    <a:gd name="connsiteX461" fmla="*/ 521583 w 2617696"/>
                    <a:gd name="connsiteY461" fmla="*/ 1486511 h 1576253"/>
                    <a:gd name="connsiteX462" fmla="*/ 521150 w 2617696"/>
                    <a:gd name="connsiteY462" fmla="*/ 1492659 h 1576253"/>
                    <a:gd name="connsiteX463" fmla="*/ 502024 w 2617696"/>
                    <a:gd name="connsiteY463" fmla="*/ 1486511 h 1576253"/>
                    <a:gd name="connsiteX464" fmla="*/ 495504 w 2617696"/>
                    <a:gd name="connsiteY464" fmla="*/ 1493031 h 1576253"/>
                    <a:gd name="connsiteX465" fmla="*/ 490614 w 2617696"/>
                    <a:gd name="connsiteY465" fmla="*/ 1496291 h 1576253"/>
                    <a:gd name="connsiteX466" fmla="*/ 488984 w 2617696"/>
                    <a:gd name="connsiteY466" fmla="*/ 1504440 h 1576253"/>
                    <a:gd name="connsiteX467" fmla="*/ 482465 w 2617696"/>
                    <a:gd name="connsiteY467" fmla="*/ 1501180 h 1576253"/>
                    <a:gd name="connsiteX468" fmla="*/ 459645 w 2617696"/>
                    <a:gd name="connsiteY468" fmla="*/ 1496291 h 1576253"/>
                    <a:gd name="connsiteX469" fmla="*/ 456385 w 2617696"/>
                    <a:gd name="connsiteY469" fmla="*/ 1491401 h 1576253"/>
                    <a:gd name="connsiteX470" fmla="*/ 454755 w 2617696"/>
                    <a:gd name="connsiteY470" fmla="*/ 1483251 h 1576253"/>
                    <a:gd name="connsiteX471" fmla="*/ 449866 w 2617696"/>
                    <a:gd name="connsiteY471" fmla="*/ 1481621 h 1576253"/>
                    <a:gd name="connsiteX472" fmla="*/ 448236 w 2617696"/>
                    <a:gd name="connsiteY472" fmla="*/ 1491401 h 1576253"/>
                    <a:gd name="connsiteX473" fmla="*/ 446606 w 2617696"/>
                    <a:gd name="connsiteY473" fmla="*/ 1496291 h 1576253"/>
                    <a:gd name="connsiteX474" fmla="*/ 438456 w 2617696"/>
                    <a:gd name="connsiteY474" fmla="*/ 1486511 h 1576253"/>
                    <a:gd name="connsiteX475" fmla="*/ 433566 w 2617696"/>
                    <a:gd name="connsiteY475" fmla="*/ 1481621 h 1576253"/>
                    <a:gd name="connsiteX476" fmla="*/ 430306 w 2617696"/>
                    <a:gd name="connsiteY476" fmla="*/ 1486511 h 1576253"/>
                    <a:gd name="connsiteX477" fmla="*/ 418897 w 2617696"/>
                    <a:gd name="connsiteY477" fmla="*/ 1486511 h 1576253"/>
                    <a:gd name="connsiteX478" fmla="*/ 410747 w 2617696"/>
                    <a:gd name="connsiteY478" fmla="*/ 1484881 h 1576253"/>
                    <a:gd name="connsiteX479" fmla="*/ 405857 w 2617696"/>
                    <a:gd name="connsiteY479" fmla="*/ 1488141 h 1576253"/>
                    <a:gd name="connsiteX480" fmla="*/ 399337 w 2617696"/>
                    <a:gd name="connsiteY480" fmla="*/ 1491401 h 1576253"/>
                    <a:gd name="connsiteX481" fmla="*/ 396077 w 2617696"/>
                    <a:gd name="connsiteY481" fmla="*/ 1496291 h 1576253"/>
                    <a:gd name="connsiteX482" fmla="*/ 402597 w 2617696"/>
                    <a:gd name="connsiteY482" fmla="*/ 1510960 h 1576253"/>
                    <a:gd name="connsiteX483" fmla="*/ 399337 w 2617696"/>
                    <a:gd name="connsiteY483" fmla="*/ 1517480 h 1576253"/>
                    <a:gd name="connsiteX484" fmla="*/ 389558 w 2617696"/>
                    <a:gd name="connsiteY484" fmla="*/ 1519110 h 1576253"/>
                    <a:gd name="connsiteX485" fmla="*/ 387928 w 2617696"/>
                    <a:gd name="connsiteY485" fmla="*/ 1527260 h 1576253"/>
                    <a:gd name="connsiteX486" fmla="*/ 384668 w 2617696"/>
                    <a:gd name="connsiteY486" fmla="*/ 1535409 h 1576253"/>
                    <a:gd name="connsiteX487" fmla="*/ 383038 w 2617696"/>
                    <a:gd name="connsiteY487" fmla="*/ 1541929 h 1576253"/>
                    <a:gd name="connsiteX488" fmla="*/ 376518 w 2617696"/>
                    <a:gd name="connsiteY488" fmla="*/ 1553339 h 1576253"/>
                    <a:gd name="connsiteX489" fmla="*/ 371628 w 2617696"/>
                    <a:gd name="connsiteY489" fmla="*/ 1561488 h 1576253"/>
                    <a:gd name="connsiteX490" fmla="*/ 363478 w 2617696"/>
                    <a:gd name="connsiteY490" fmla="*/ 1576158 h 1576253"/>
                    <a:gd name="connsiteX491" fmla="*/ 365108 w 2617696"/>
                    <a:gd name="connsiteY491" fmla="*/ 1553339 h 1576253"/>
                    <a:gd name="connsiteX492" fmla="*/ 356959 w 2617696"/>
                    <a:gd name="connsiteY492" fmla="*/ 1550079 h 1576253"/>
                    <a:gd name="connsiteX493" fmla="*/ 352069 w 2617696"/>
                    <a:gd name="connsiteY493" fmla="*/ 1546819 h 1576253"/>
                    <a:gd name="connsiteX494" fmla="*/ 358589 w 2617696"/>
                    <a:gd name="connsiteY494" fmla="*/ 1545189 h 1576253"/>
                    <a:gd name="connsiteX495" fmla="*/ 360219 w 2617696"/>
                    <a:gd name="connsiteY495" fmla="*/ 1533779 h 1576253"/>
                    <a:gd name="connsiteX496" fmla="*/ 363478 w 2617696"/>
                    <a:gd name="connsiteY496" fmla="*/ 1519110 h 1576253"/>
                    <a:gd name="connsiteX497" fmla="*/ 362167 w 2617696"/>
                    <a:gd name="connsiteY497" fmla="*/ 1513862 h 1576253"/>
                    <a:gd name="connsiteX498" fmla="*/ 366738 w 2617696"/>
                    <a:gd name="connsiteY498" fmla="*/ 1512590 h 1576253"/>
                    <a:gd name="connsiteX499" fmla="*/ 369998 w 2617696"/>
                    <a:gd name="connsiteY499" fmla="*/ 1507700 h 1576253"/>
                    <a:gd name="connsiteX500" fmla="*/ 365108 w 2617696"/>
                    <a:gd name="connsiteY500" fmla="*/ 1506070 h 1576253"/>
                    <a:gd name="connsiteX501" fmla="*/ 363478 w 2617696"/>
                    <a:gd name="connsiteY501" fmla="*/ 1497920 h 1576253"/>
                    <a:gd name="connsiteX502" fmla="*/ 360219 w 2617696"/>
                    <a:gd name="connsiteY502" fmla="*/ 1489771 h 1576253"/>
                    <a:gd name="connsiteX503" fmla="*/ 358589 w 2617696"/>
                    <a:gd name="connsiteY503" fmla="*/ 1484881 h 1576253"/>
                    <a:gd name="connsiteX504" fmla="*/ 381408 w 2617696"/>
                    <a:gd name="connsiteY504" fmla="*/ 1483251 h 1576253"/>
                    <a:gd name="connsiteX505" fmla="*/ 387928 w 2617696"/>
                    <a:gd name="connsiteY505" fmla="*/ 1481621 h 1576253"/>
                    <a:gd name="connsiteX506" fmla="*/ 389558 w 2617696"/>
                    <a:gd name="connsiteY506" fmla="*/ 1473471 h 1576253"/>
                    <a:gd name="connsiteX507" fmla="*/ 391188 w 2617696"/>
                    <a:gd name="connsiteY507" fmla="*/ 1466951 h 1576253"/>
                    <a:gd name="connsiteX508" fmla="*/ 394447 w 2617696"/>
                    <a:gd name="connsiteY508" fmla="*/ 1455542 h 1576253"/>
                    <a:gd name="connsiteX509" fmla="*/ 384668 w 2617696"/>
                    <a:gd name="connsiteY509" fmla="*/ 1449022 h 1576253"/>
                    <a:gd name="connsiteX510" fmla="*/ 378148 w 2617696"/>
                    <a:gd name="connsiteY510" fmla="*/ 1455542 h 1576253"/>
                    <a:gd name="connsiteX511" fmla="*/ 365108 w 2617696"/>
                    <a:gd name="connsiteY511" fmla="*/ 1465322 h 1576253"/>
                    <a:gd name="connsiteX512" fmla="*/ 356959 w 2617696"/>
                    <a:gd name="connsiteY512" fmla="*/ 1471841 h 1576253"/>
                    <a:gd name="connsiteX513" fmla="*/ 347179 w 2617696"/>
                    <a:gd name="connsiteY513" fmla="*/ 1475101 h 1576253"/>
                    <a:gd name="connsiteX514" fmla="*/ 337399 w 2617696"/>
                    <a:gd name="connsiteY514" fmla="*/ 1476731 h 1576253"/>
                    <a:gd name="connsiteX515" fmla="*/ 324360 w 2617696"/>
                    <a:gd name="connsiteY515" fmla="*/ 1471841 h 1576253"/>
                    <a:gd name="connsiteX516" fmla="*/ 317840 w 2617696"/>
                    <a:gd name="connsiteY516" fmla="*/ 1479991 h 1576253"/>
                    <a:gd name="connsiteX517" fmla="*/ 309690 w 2617696"/>
                    <a:gd name="connsiteY517" fmla="*/ 1484881 h 1576253"/>
                    <a:gd name="connsiteX518" fmla="*/ 303170 w 2617696"/>
                    <a:gd name="connsiteY518" fmla="*/ 1489771 h 1576253"/>
                    <a:gd name="connsiteX519" fmla="*/ 298281 w 2617696"/>
                    <a:gd name="connsiteY519" fmla="*/ 1491401 h 1576253"/>
                    <a:gd name="connsiteX520" fmla="*/ 293391 w 2617696"/>
                    <a:gd name="connsiteY520" fmla="*/ 1488141 h 1576253"/>
                    <a:gd name="connsiteX521" fmla="*/ 280351 w 2617696"/>
                    <a:gd name="connsiteY521" fmla="*/ 1484881 h 1576253"/>
                    <a:gd name="connsiteX522" fmla="*/ 275461 w 2617696"/>
                    <a:gd name="connsiteY522" fmla="*/ 1493031 h 1576253"/>
                    <a:gd name="connsiteX523" fmla="*/ 268942 w 2617696"/>
                    <a:gd name="connsiteY523" fmla="*/ 1494661 h 1576253"/>
                    <a:gd name="connsiteX524" fmla="*/ 257532 w 2617696"/>
                    <a:gd name="connsiteY524" fmla="*/ 1489771 h 1576253"/>
                    <a:gd name="connsiteX525" fmla="*/ 251012 w 2617696"/>
                    <a:gd name="connsiteY525" fmla="*/ 1488141 h 1576253"/>
                    <a:gd name="connsiteX526" fmla="*/ 249382 w 2617696"/>
                    <a:gd name="connsiteY526" fmla="*/ 1473471 h 1576253"/>
                    <a:gd name="connsiteX527" fmla="*/ 251012 w 2617696"/>
                    <a:gd name="connsiteY527" fmla="*/ 1468581 h 1576253"/>
                    <a:gd name="connsiteX528" fmla="*/ 257532 w 2617696"/>
                    <a:gd name="connsiteY528" fmla="*/ 1466951 h 1576253"/>
                    <a:gd name="connsiteX529" fmla="*/ 278721 w 2617696"/>
                    <a:gd name="connsiteY529" fmla="*/ 1470211 h 1576253"/>
                    <a:gd name="connsiteX530" fmla="*/ 285241 w 2617696"/>
                    <a:gd name="connsiteY530" fmla="*/ 1468581 h 1576253"/>
                    <a:gd name="connsiteX531" fmla="*/ 295021 w 2617696"/>
                    <a:gd name="connsiteY531" fmla="*/ 1458802 h 1576253"/>
                    <a:gd name="connsiteX532" fmla="*/ 296651 w 2617696"/>
                    <a:gd name="connsiteY532" fmla="*/ 1452282 h 1576253"/>
                    <a:gd name="connsiteX533" fmla="*/ 295021 w 2617696"/>
                    <a:gd name="connsiteY533" fmla="*/ 1447392 h 1576253"/>
                    <a:gd name="connsiteX534" fmla="*/ 281981 w 2617696"/>
                    <a:gd name="connsiteY534" fmla="*/ 1442502 h 1576253"/>
                    <a:gd name="connsiteX535" fmla="*/ 280351 w 2617696"/>
                    <a:gd name="connsiteY535" fmla="*/ 1437612 h 1576253"/>
                    <a:gd name="connsiteX536" fmla="*/ 267312 w 2617696"/>
                    <a:gd name="connsiteY536" fmla="*/ 1435983 h 1576253"/>
                    <a:gd name="connsiteX537" fmla="*/ 264052 w 2617696"/>
                    <a:gd name="connsiteY537" fmla="*/ 1431093 h 1576253"/>
                    <a:gd name="connsiteX538" fmla="*/ 262422 w 2617696"/>
                    <a:gd name="connsiteY538" fmla="*/ 1414793 h 1576253"/>
                    <a:gd name="connsiteX539" fmla="*/ 259162 w 2617696"/>
                    <a:gd name="connsiteY539" fmla="*/ 1419683 h 1576253"/>
                    <a:gd name="connsiteX540" fmla="*/ 254272 w 2617696"/>
                    <a:gd name="connsiteY540" fmla="*/ 1429463 h 1576253"/>
                    <a:gd name="connsiteX541" fmla="*/ 244492 w 2617696"/>
                    <a:gd name="connsiteY541" fmla="*/ 1431093 h 1576253"/>
                    <a:gd name="connsiteX542" fmla="*/ 237973 w 2617696"/>
                    <a:gd name="connsiteY542" fmla="*/ 1432723 h 1576253"/>
                    <a:gd name="connsiteX543" fmla="*/ 229823 w 2617696"/>
                    <a:gd name="connsiteY543" fmla="*/ 1408273 h 1576253"/>
                    <a:gd name="connsiteX544" fmla="*/ 210264 w 2617696"/>
                    <a:gd name="connsiteY544" fmla="*/ 1405014 h 1576253"/>
                    <a:gd name="connsiteX545" fmla="*/ 200484 w 2617696"/>
                    <a:gd name="connsiteY545" fmla="*/ 1400124 h 1576253"/>
                    <a:gd name="connsiteX546" fmla="*/ 208634 w 2617696"/>
                    <a:gd name="connsiteY546" fmla="*/ 1390344 h 1576253"/>
                    <a:gd name="connsiteX547" fmla="*/ 220043 w 2617696"/>
                    <a:gd name="connsiteY547" fmla="*/ 1383824 h 1576253"/>
                    <a:gd name="connsiteX548" fmla="*/ 221673 w 2617696"/>
                    <a:gd name="connsiteY548" fmla="*/ 1378934 h 1576253"/>
                    <a:gd name="connsiteX549" fmla="*/ 224933 w 2617696"/>
                    <a:gd name="connsiteY549" fmla="*/ 1374045 h 1576253"/>
                    <a:gd name="connsiteX550" fmla="*/ 223303 w 2617696"/>
                    <a:gd name="connsiteY550" fmla="*/ 1365895 h 1576253"/>
                    <a:gd name="connsiteX551" fmla="*/ 220043 w 2617696"/>
                    <a:gd name="connsiteY551" fmla="*/ 1361005 h 1576253"/>
                    <a:gd name="connsiteX552" fmla="*/ 218413 w 2617696"/>
                    <a:gd name="connsiteY552" fmla="*/ 1346335 h 1576253"/>
                    <a:gd name="connsiteX553" fmla="*/ 216783 w 2617696"/>
                    <a:gd name="connsiteY553" fmla="*/ 1341446 h 1576253"/>
                    <a:gd name="connsiteX554" fmla="*/ 197224 w 2617696"/>
                    <a:gd name="connsiteY554" fmla="*/ 1333296 h 1576253"/>
                    <a:gd name="connsiteX555" fmla="*/ 189074 w 2617696"/>
                    <a:gd name="connsiteY555" fmla="*/ 1321886 h 1576253"/>
                    <a:gd name="connsiteX556" fmla="*/ 177665 w 2617696"/>
                    <a:gd name="connsiteY556" fmla="*/ 1320256 h 1576253"/>
                    <a:gd name="connsiteX557" fmla="*/ 161365 w 2617696"/>
                    <a:gd name="connsiteY557" fmla="*/ 1330036 h 1576253"/>
                    <a:gd name="connsiteX558" fmla="*/ 156475 w 2617696"/>
                    <a:gd name="connsiteY558" fmla="*/ 1334926 h 1576253"/>
                    <a:gd name="connsiteX559" fmla="*/ 154845 w 2617696"/>
                    <a:gd name="connsiteY559" fmla="*/ 1326776 h 1576253"/>
                    <a:gd name="connsiteX560" fmla="*/ 153215 w 2617696"/>
                    <a:gd name="connsiteY560" fmla="*/ 1321886 h 1576253"/>
                    <a:gd name="connsiteX561" fmla="*/ 149955 w 2617696"/>
                    <a:gd name="connsiteY561" fmla="*/ 1312107 h 1576253"/>
                    <a:gd name="connsiteX562" fmla="*/ 141806 w 2617696"/>
                    <a:gd name="connsiteY562" fmla="*/ 1297437 h 1576253"/>
                    <a:gd name="connsiteX563" fmla="*/ 135286 w 2617696"/>
                    <a:gd name="connsiteY563" fmla="*/ 1299067 h 1576253"/>
                    <a:gd name="connsiteX564" fmla="*/ 130396 w 2617696"/>
                    <a:gd name="connsiteY564" fmla="*/ 1302327 h 1576253"/>
                    <a:gd name="connsiteX565" fmla="*/ 128766 w 2617696"/>
                    <a:gd name="connsiteY565" fmla="*/ 1307217 h 1576253"/>
                    <a:gd name="connsiteX566" fmla="*/ 125506 w 2617696"/>
                    <a:gd name="connsiteY566" fmla="*/ 1320256 h 1576253"/>
                    <a:gd name="connsiteX567" fmla="*/ 118987 w 2617696"/>
                    <a:gd name="connsiteY567" fmla="*/ 1325146 h 1576253"/>
                    <a:gd name="connsiteX568" fmla="*/ 115727 w 2617696"/>
                    <a:gd name="connsiteY568" fmla="*/ 1344706 h 1576253"/>
                    <a:gd name="connsiteX569" fmla="*/ 110837 w 2617696"/>
                    <a:gd name="connsiteY569" fmla="*/ 1339816 h 1576253"/>
                    <a:gd name="connsiteX570" fmla="*/ 104317 w 2617696"/>
                    <a:gd name="connsiteY570" fmla="*/ 1336556 h 1576253"/>
                    <a:gd name="connsiteX571" fmla="*/ 97797 w 2617696"/>
                    <a:gd name="connsiteY571" fmla="*/ 1325146 h 1576253"/>
                    <a:gd name="connsiteX572" fmla="*/ 92907 w 2617696"/>
                    <a:gd name="connsiteY572" fmla="*/ 1318626 h 1576253"/>
                    <a:gd name="connsiteX573" fmla="*/ 88018 w 2617696"/>
                    <a:gd name="connsiteY573" fmla="*/ 1305587 h 1576253"/>
                    <a:gd name="connsiteX574" fmla="*/ 78238 w 2617696"/>
                    <a:gd name="connsiteY574" fmla="*/ 1310477 h 1576253"/>
                    <a:gd name="connsiteX575" fmla="*/ 70088 w 2617696"/>
                    <a:gd name="connsiteY575" fmla="*/ 1308847 h 1576253"/>
                    <a:gd name="connsiteX576" fmla="*/ 71718 w 2617696"/>
                    <a:gd name="connsiteY576" fmla="*/ 1303957 h 1576253"/>
                    <a:gd name="connsiteX577" fmla="*/ 76608 w 2617696"/>
                    <a:gd name="connsiteY577" fmla="*/ 1300697 h 1576253"/>
                    <a:gd name="connsiteX578" fmla="*/ 79868 w 2617696"/>
                    <a:gd name="connsiteY578" fmla="*/ 1295807 h 1576253"/>
                    <a:gd name="connsiteX579" fmla="*/ 89647 w 2617696"/>
                    <a:gd name="connsiteY579" fmla="*/ 1286027 h 1576253"/>
                    <a:gd name="connsiteX580" fmla="*/ 92907 w 2617696"/>
                    <a:gd name="connsiteY580" fmla="*/ 1277878 h 1576253"/>
                    <a:gd name="connsiteX581" fmla="*/ 89647 w 2617696"/>
                    <a:gd name="connsiteY581" fmla="*/ 1272988 h 1576253"/>
                    <a:gd name="connsiteX582" fmla="*/ 81498 w 2617696"/>
                    <a:gd name="connsiteY582" fmla="*/ 1271358 h 1576253"/>
                    <a:gd name="connsiteX583" fmla="*/ 79868 w 2617696"/>
                    <a:gd name="connsiteY583" fmla="*/ 1263208 h 1576253"/>
                    <a:gd name="connsiteX584" fmla="*/ 78238 w 2617696"/>
                    <a:gd name="connsiteY584" fmla="*/ 1258318 h 1576253"/>
                    <a:gd name="connsiteX585" fmla="*/ 71718 w 2617696"/>
                    <a:gd name="connsiteY585" fmla="*/ 1256688 h 1576253"/>
                    <a:gd name="connsiteX586" fmla="*/ 65198 w 2617696"/>
                    <a:gd name="connsiteY586" fmla="*/ 1242019 h 1576253"/>
                    <a:gd name="connsiteX587" fmla="*/ 74978 w 2617696"/>
                    <a:gd name="connsiteY587" fmla="*/ 1232239 h 1576253"/>
                    <a:gd name="connsiteX588" fmla="*/ 81498 w 2617696"/>
                    <a:gd name="connsiteY588" fmla="*/ 1233869 h 1576253"/>
                    <a:gd name="connsiteX589" fmla="*/ 86388 w 2617696"/>
                    <a:gd name="connsiteY589" fmla="*/ 1238759 h 1576253"/>
                    <a:gd name="connsiteX590" fmla="*/ 99427 w 2617696"/>
                    <a:gd name="connsiteY590" fmla="*/ 1242019 h 1576253"/>
                    <a:gd name="connsiteX591" fmla="*/ 105947 w 2617696"/>
                    <a:gd name="connsiteY591" fmla="*/ 1246909 h 1576253"/>
                    <a:gd name="connsiteX592" fmla="*/ 109207 w 2617696"/>
                    <a:gd name="connsiteY592" fmla="*/ 1268098 h 1576253"/>
                    <a:gd name="connsiteX593" fmla="*/ 109207 w 2617696"/>
                    <a:gd name="connsiteY593" fmla="*/ 1277878 h 1576253"/>
                    <a:gd name="connsiteX594" fmla="*/ 120616 w 2617696"/>
                    <a:gd name="connsiteY594" fmla="*/ 1284397 h 1576253"/>
                    <a:gd name="connsiteX595" fmla="*/ 122246 w 2617696"/>
                    <a:gd name="connsiteY595" fmla="*/ 1269728 h 1576253"/>
                    <a:gd name="connsiteX596" fmla="*/ 123876 w 2617696"/>
                    <a:gd name="connsiteY596" fmla="*/ 1264838 h 1576253"/>
                    <a:gd name="connsiteX597" fmla="*/ 130396 w 2617696"/>
                    <a:gd name="connsiteY597" fmla="*/ 1272988 h 1576253"/>
                    <a:gd name="connsiteX598" fmla="*/ 145066 w 2617696"/>
                    <a:gd name="connsiteY598" fmla="*/ 1269728 h 1576253"/>
                    <a:gd name="connsiteX599" fmla="*/ 159735 w 2617696"/>
                    <a:gd name="connsiteY599" fmla="*/ 1266468 h 1576253"/>
                    <a:gd name="connsiteX600" fmla="*/ 179295 w 2617696"/>
                    <a:gd name="connsiteY600" fmla="*/ 1264838 h 1576253"/>
                    <a:gd name="connsiteX601" fmla="*/ 187444 w 2617696"/>
                    <a:gd name="connsiteY601" fmla="*/ 1261578 h 1576253"/>
                    <a:gd name="connsiteX602" fmla="*/ 185814 w 2617696"/>
                    <a:gd name="connsiteY602" fmla="*/ 1253428 h 1576253"/>
                    <a:gd name="connsiteX603" fmla="*/ 179295 w 2617696"/>
                    <a:gd name="connsiteY603" fmla="*/ 1251799 h 1576253"/>
                    <a:gd name="connsiteX604" fmla="*/ 184056 w 2617696"/>
                    <a:gd name="connsiteY604" fmla="*/ 1247990 h 1576253"/>
                    <a:gd name="connsiteX605" fmla="*/ 178136 w 2617696"/>
                    <a:gd name="connsiteY605" fmla="*/ 1247031 h 1576253"/>
                    <a:gd name="connsiteX606" fmla="*/ 166255 w 2617696"/>
                    <a:gd name="connsiteY606" fmla="*/ 1248539 h 1576253"/>
                    <a:gd name="connsiteX607" fmla="*/ 162995 w 2617696"/>
                    <a:gd name="connsiteY607" fmla="*/ 1253428 h 1576253"/>
                    <a:gd name="connsiteX608" fmla="*/ 156475 w 2617696"/>
                    <a:gd name="connsiteY608" fmla="*/ 1251799 h 1576253"/>
                    <a:gd name="connsiteX609" fmla="*/ 143436 w 2617696"/>
                    <a:gd name="connsiteY609" fmla="*/ 1246909 h 1576253"/>
                    <a:gd name="connsiteX610" fmla="*/ 138546 w 2617696"/>
                    <a:gd name="connsiteY610" fmla="*/ 1227349 h 1576253"/>
                    <a:gd name="connsiteX611" fmla="*/ 132026 w 2617696"/>
                    <a:gd name="connsiteY611" fmla="*/ 1238759 h 1576253"/>
                    <a:gd name="connsiteX612" fmla="*/ 125506 w 2617696"/>
                    <a:gd name="connsiteY612" fmla="*/ 1228979 h 1576253"/>
                    <a:gd name="connsiteX613" fmla="*/ 122246 w 2617696"/>
                    <a:gd name="connsiteY613" fmla="*/ 1220830 h 1576253"/>
                    <a:gd name="connsiteX614" fmla="*/ 120616 w 2617696"/>
                    <a:gd name="connsiteY614" fmla="*/ 1212680 h 1576253"/>
                    <a:gd name="connsiteX615" fmla="*/ 128766 w 2617696"/>
                    <a:gd name="connsiteY615" fmla="*/ 1198010 h 1576253"/>
                    <a:gd name="connsiteX616" fmla="*/ 136891 w 2617696"/>
                    <a:gd name="connsiteY616" fmla="*/ 1197107 h 1576253"/>
                    <a:gd name="connsiteX617" fmla="*/ 138546 w 2617696"/>
                    <a:gd name="connsiteY617" fmla="*/ 1202900 h 1576253"/>
                    <a:gd name="connsiteX618" fmla="*/ 145066 w 2617696"/>
                    <a:gd name="connsiteY618" fmla="*/ 1201270 h 1576253"/>
                    <a:gd name="connsiteX619" fmla="*/ 143436 w 2617696"/>
                    <a:gd name="connsiteY619" fmla="*/ 1196380 h 1576253"/>
                    <a:gd name="connsiteX620" fmla="*/ 136891 w 2617696"/>
                    <a:gd name="connsiteY620" fmla="*/ 1197107 h 1576253"/>
                    <a:gd name="connsiteX621" fmla="*/ 135286 w 2617696"/>
                    <a:gd name="connsiteY621" fmla="*/ 1191491 h 1576253"/>
                    <a:gd name="connsiteX622" fmla="*/ 136916 w 2617696"/>
                    <a:gd name="connsiteY622" fmla="*/ 1184971 h 1576253"/>
                    <a:gd name="connsiteX623" fmla="*/ 158105 w 2617696"/>
                    <a:gd name="connsiteY623" fmla="*/ 1183341 h 1576253"/>
                    <a:gd name="connsiteX624" fmla="*/ 162995 w 2617696"/>
                    <a:gd name="connsiteY624" fmla="*/ 1181711 h 1576253"/>
                    <a:gd name="connsiteX625" fmla="*/ 158105 w 2617696"/>
                    <a:gd name="connsiteY625" fmla="*/ 1170301 h 1576253"/>
                    <a:gd name="connsiteX626" fmla="*/ 153215 w 2617696"/>
                    <a:gd name="connsiteY626" fmla="*/ 1168671 h 1576253"/>
                    <a:gd name="connsiteX627" fmla="*/ 145066 w 2617696"/>
                    <a:gd name="connsiteY627" fmla="*/ 1167041 h 1576253"/>
                    <a:gd name="connsiteX628" fmla="*/ 141806 w 2617696"/>
                    <a:gd name="connsiteY628" fmla="*/ 1162151 h 1576253"/>
                    <a:gd name="connsiteX629" fmla="*/ 140176 w 2617696"/>
                    <a:gd name="connsiteY629" fmla="*/ 1168671 h 1576253"/>
                    <a:gd name="connsiteX630" fmla="*/ 114097 w 2617696"/>
                    <a:gd name="connsiteY630" fmla="*/ 1175191 h 1576253"/>
                    <a:gd name="connsiteX631" fmla="*/ 112467 w 2617696"/>
                    <a:gd name="connsiteY631" fmla="*/ 1167041 h 1576253"/>
                    <a:gd name="connsiteX632" fmla="*/ 114097 w 2617696"/>
                    <a:gd name="connsiteY632" fmla="*/ 1160522 h 1576253"/>
                    <a:gd name="connsiteX633" fmla="*/ 123876 w 2617696"/>
                    <a:gd name="connsiteY633" fmla="*/ 1149112 h 1576253"/>
                    <a:gd name="connsiteX634" fmla="*/ 125506 w 2617696"/>
                    <a:gd name="connsiteY634" fmla="*/ 1144222 h 1576253"/>
                    <a:gd name="connsiteX635" fmla="*/ 117357 w 2617696"/>
                    <a:gd name="connsiteY635" fmla="*/ 1140962 h 1576253"/>
                    <a:gd name="connsiteX636" fmla="*/ 117357 w 2617696"/>
                    <a:gd name="connsiteY636" fmla="*/ 1129553 h 1576253"/>
                    <a:gd name="connsiteX637" fmla="*/ 104317 w 2617696"/>
                    <a:gd name="connsiteY637" fmla="*/ 1127923 h 1576253"/>
                    <a:gd name="connsiteX638" fmla="*/ 99427 w 2617696"/>
                    <a:gd name="connsiteY638" fmla="*/ 1126293 h 1576253"/>
                    <a:gd name="connsiteX639" fmla="*/ 97797 w 2617696"/>
                    <a:gd name="connsiteY639" fmla="*/ 1121403 h 1576253"/>
                    <a:gd name="connsiteX640" fmla="*/ 84758 w 2617696"/>
                    <a:gd name="connsiteY640" fmla="*/ 1118143 h 1576253"/>
                    <a:gd name="connsiteX641" fmla="*/ 88018 w 2617696"/>
                    <a:gd name="connsiteY641" fmla="*/ 1113253 h 1576253"/>
                    <a:gd name="connsiteX642" fmla="*/ 101057 w 2617696"/>
                    <a:gd name="connsiteY642" fmla="*/ 1098584 h 1576253"/>
                    <a:gd name="connsiteX643" fmla="*/ 96167 w 2617696"/>
                    <a:gd name="connsiteY643" fmla="*/ 1101843 h 1576253"/>
                    <a:gd name="connsiteX644" fmla="*/ 99427 w 2617696"/>
                    <a:gd name="connsiteY644" fmla="*/ 1093694 h 1576253"/>
                    <a:gd name="connsiteX645" fmla="*/ 110837 w 2617696"/>
                    <a:gd name="connsiteY645" fmla="*/ 1088804 h 1576253"/>
                    <a:gd name="connsiteX646" fmla="*/ 112467 w 2617696"/>
                    <a:gd name="connsiteY646" fmla="*/ 1083914 h 1576253"/>
                    <a:gd name="connsiteX647" fmla="*/ 120616 w 2617696"/>
                    <a:gd name="connsiteY647" fmla="*/ 1061095 h 1576253"/>
                    <a:gd name="connsiteX648" fmla="*/ 112467 w 2617696"/>
                    <a:gd name="connsiteY648" fmla="*/ 1057835 h 1576253"/>
                    <a:gd name="connsiteX649" fmla="*/ 105947 w 2617696"/>
                    <a:gd name="connsiteY649" fmla="*/ 1059465 h 1576253"/>
                    <a:gd name="connsiteX650" fmla="*/ 101057 w 2617696"/>
                    <a:gd name="connsiteY650" fmla="*/ 1057835 h 1576253"/>
                    <a:gd name="connsiteX651" fmla="*/ 96167 w 2617696"/>
                    <a:gd name="connsiteY651" fmla="*/ 1061095 h 1576253"/>
                    <a:gd name="connsiteX652" fmla="*/ 83128 w 2617696"/>
                    <a:gd name="connsiteY652" fmla="*/ 1064355 h 1576253"/>
                    <a:gd name="connsiteX653" fmla="*/ 78238 w 2617696"/>
                    <a:gd name="connsiteY653" fmla="*/ 1067615 h 1576253"/>
                    <a:gd name="connsiteX654" fmla="*/ 71718 w 2617696"/>
                    <a:gd name="connsiteY654" fmla="*/ 1070874 h 1576253"/>
                    <a:gd name="connsiteX655" fmla="*/ 65198 w 2617696"/>
                    <a:gd name="connsiteY655" fmla="*/ 1075764 h 1576253"/>
                    <a:gd name="connsiteX656" fmla="*/ 60308 w 2617696"/>
                    <a:gd name="connsiteY656" fmla="*/ 1079024 h 1576253"/>
                    <a:gd name="connsiteX657" fmla="*/ 44009 w 2617696"/>
                    <a:gd name="connsiteY657" fmla="*/ 1082284 h 1576253"/>
                    <a:gd name="connsiteX658" fmla="*/ 40749 w 2617696"/>
                    <a:gd name="connsiteY658" fmla="*/ 1087174 h 1576253"/>
                    <a:gd name="connsiteX659" fmla="*/ 30969 w 2617696"/>
                    <a:gd name="connsiteY659" fmla="*/ 1090434 h 1576253"/>
                    <a:gd name="connsiteX660" fmla="*/ 19560 w 2617696"/>
                    <a:gd name="connsiteY660" fmla="*/ 1096954 h 1576253"/>
                    <a:gd name="connsiteX661" fmla="*/ 1630 w 2617696"/>
                    <a:gd name="connsiteY661" fmla="*/ 1096954 h 1576253"/>
                    <a:gd name="connsiteX662" fmla="*/ 0 w 2617696"/>
                    <a:gd name="connsiteY662" fmla="*/ 1092064 h 1576253"/>
                    <a:gd name="connsiteX663" fmla="*/ 1630 w 2617696"/>
                    <a:gd name="connsiteY663" fmla="*/ 1077394 h 1576253"/>
                    <a:gd name="connsiteX664" fmla="*/ 6520 w 2617696"/>
                    <a:gd name="connsiteY664" fmla="*/ 1072504 h 1576253"/>
                    <a:gd name="connsiteX665" fmla="*/ 8150 w 2617696"/>
                    <a:gd name="connsiteY665" fmla="*/ 1059465 h 1576253"/>
                    <a:gd name="connsiteX666" fmla="*/ 3260 w 2617696"/>
                    <a:gd name="connsiteY666" fmla="*/ 1038276 h 1576253"/>
                    <a:gd name="connsiteX667" fmla="*/ 4890 w 2617696"/>
                    <a:gd name="connsiteY667" fmla="*/ 1002417 h 1576253"/>
                    <a:gd name="connsiteX668" fmla="*/ 17930 w 2617696"/>
                    <a:gd name="connsiteY668" fmla="*/ 1000787 h 1576253"/>
                    <a:gd name="connsiteX669" fmla="*/ 22820 w 2617696"/>
                    <a:gd name="connsiteY669" fmla="*/ 992637 h 1576253"/>
                    <a:gd name="connsiteX670" fmla="*/ 24450 w 2617696"/>
                    <a:gd name="connsiteY670" fmla="*/ 971448 h 1576253"/>
                    <a:gd name="connsiteX671" fmla="*/ 32599 w 2617696"/>
                    <a:gd name="connsiteY671" fmla="*/ 969818 h 1576253"/>
                    <a:gd name="connsiteX672" fmla="*/ 40749 w 2617696"/>
                    <a:gd name="connsiteY672" fmla="*/ 960038 h 1576253"/>
                    <a:gd name="connsiteX673" fmla="*/ 52159 w 2617696"/>
                    <a:gd name="connsiteY673" fmla="*/ 953518 h 1576253"/>
                    <a:gd name="connsiteX674" fmla="*/ 53789 w 2617696"/>
                    <a:gd name="connsiteY674" fmla="*/ 932329 h 1576253"/>
                    <a:gd name="connsiteX675" fmla="*/ 57049 w 2617696"/>
                    <a:gd name="connsiteY675" fmla="*/ 917660 h 1576253"/>
                    <a:gd name="connsiteX676" fmla="*/ 66828 w 2617696"/>
                    <a:gd name="connsiteY676" fmla="*/ 916030 h 1576253"/>
                    <a:gd name="connsiteX677" fmla="*/ 73348 w 2617696"/>
                    <a:gd name="connsiteY677" fmla="*/ 912770 h 1576253"/>
                    <a:gd name="connsiteX678" fmla="*/ 79868 w 2617696"/>
                    <a:gd name="connsiteY678" fmla="*/ 911140 h 1576253"/>
                    <a:gd name="connsiteX679" fmla="*/ 97797 w 2617696"/>
                    <a:gd name="connsiteY679" fmla="*/ 909510 h 1576253"/>
                    <a:gd name="connsiteX680" fmla="*/ 102687 w 2617696"/>
                    <a:gd name="connsiteY680" fmla="*/ 907880 h 1576253"/>
                    <a:gd name="connsiteX681" fmla="*/ 107577 w 2617696"/>
                    <a:gd name="connsiteY681" fmla="*/ 902990 h 1576253"/>
                    <a:gd name="connsiteX682" fmla="*/ 112467 w 2617696"/>
                    <a:gd name="connsiteY682" fmla="*/ 899730 h 1576253"/>
                    <a:gd name="connsiteX683" fmla="*/ 117356 w 2617696"/>
                    <a:gd name="connsiteY683" fmla="*/ 896470 h 1576253"/>
                    <a:gd name="connsiteX684" fmla="*/ 141806 w 2617696"/>
                    <a:gd name="connsiteY684" fmla="*/ 904620 h 1576253"/>
                    <a:gd name="connsiteX685" fmla="*/ 146696 w 2617696"/>
                    <a:gd name="connsiteY685" fmla="*/ 906250 h 1576253"/>
                    <a:gd name="connsiteX686" fmla="*/ 177665 w 2617696"/>
                    <a:gd name="connsiteY686" fmla="*/ 902990 h 1576253"/>
                    <a:gd name="connsiteX687" fmla="*/ 190704 w 2617696"/>
                    <a:gd name="connsiteY687" fmla="*/ 901360 h 1576253"/>
                    <a:gd name="connsiteX688" fmla="*/ 195594 w 2617696"/>
                    <a:gd name="connsiteY688" fmla="*/ 899730 h 1576253"/>
                    <a:gd name="connsiteX689" fmla="*/ 205374 w 2617696"/>
                    <a:gd name="connsiteY689" fmla="*/ 888320 h 1576253"/>
                    <a:gd name="connsiteX690" fmla="*/ 203744 w 2617696"/>
                    <a:gd name="connsiteY690" fmla="*/ 883431 h 1576253"/>
                    <a:gd name="connsiteX691" fmla="*/ 189074 w 2617696"/>
                    <a:gd name="connsiteY691" fmla="*/ 880171 h 1576253"/>
                    <a:gd name="connsiteX692" fmla="*/ 184184 w 2617696"/>
                    <a:gd name="connsiteY692" fmla="*/ 876911 h 1576253"/>
                    <a:gd name="connsiteX693" fmla="*/ 192334 w 2617696"/>
                    <a:gd name="connsiteY693" fmla="*/ 867131 h 1576253"/>
                    <a:gd name="connsiteX694" fmla="*/ 211893 w 2617696"/>
                    <a:gd name="connsiteY694" fmla="*/ 865501 h 1576253"/>
                    <a:gd name="connsiteX695" fmla="*/ 223303 w 2617696"/>
                    <a:gd name="connsiteY695" fmla="*/ 862241 h 1576253"/>
                    <a:gd name="connsiteX696" fmla="*/ 228193 w 2617696"/>
                    <a:gd name="connsiteY696" fmla="*/ 860611 h 1576253"/>
                    <a:gd name="connsiteX697" fmla="*/ 229823 w 2617696"/>
                    <a:gd name="connsiteY697" fmla="*/ 868761 h 1576253"/>
                    <a:gd name="connsiteX698" fmla="*/ 228193 w 2617696"/>
                    <a:gd name="connsiteY698" fmla="*/ 873651 h 1576253"/>
                    <a:gd name="connsiteX699" fmla="*/ 221673 w 2617696"/>
                    <a:gd name="connsiteY699" fmla="*/ 878541 h 1576253"/>
                    <a:gd name="connsiteX700" fmla="*/ 218413 w 2617696"/>
                    <a:gd name="connsiteY700" fmla="*/ 883431 h 1576253"/>
                    <a:gd name="connsiteX701" fmla="*/ 220043 w 2617696"/>
                    <a:gd name="connsiteY701" fmla="*/ 888320 h 1576253"/>
                    <a:gd name="connsiteX702" fmla="*/ 231453 w 2617696"/>
                    <a:gd name="connsiteY702" fmla="*/ 885061 h 1576253"/>
                    <a:gd name="connsiteX703" fmla="*/ 244492 w 2617696"/>
                    <a:gd name="connsiteY703" fmla="*/ 883431 h 1576253"/>
                    <a:gd name="connsiteX704" fmla="*/ 251012 w 2617696"/>
                    <a:gd name="connsiteY704" fmla="*/ 880171 h 1576253"/>
                    <a:gd name="connsiteX705" fmla="*/ 255902 w 2617696"/>
                    <a:gd name="connsiteY705" fmla="*/ 878541 h 1576253"/>
                    <a:gd name="connsiteX706" fmla="*/ 260792 w 2617696"/>
                    <a:gd name="connsiteY706" fmla="*/ 875281 h 1576253"/>
                    <a:gd name="connsiteX707" fmla="*/ 272201 w 2617696"/>
                    <a:gd name="connsiteY707" fmla="*/ 872021 h 1576253"/>
                    <a:gd name="connsiteX708" fmla="*/ 301541 w 2617696"/>
                    <a:gd name="connsiteY708" fmla="*/ 868761 h 1576253"/>
                    <a:gd name="connsiteX709" fmla="*/ 308060 w 2617696"/>
                    <a:gd name="connsiteY709" fmla="*/ 865501 h 1576253"/>
                    <a:gd name="connsiteX710" fmla="*/ 327620 w 2617696"/>
                    <a:gd name="connsiteY710" fmla="*/ 863871 h 1576253"/>
                    <a:gd name="connsiteX711" fmla="*/ 335769 w 2617696"/>
                    <a:gd name="connsiteY711" fmla="*/ 857351 h 1576253"/>
                    <a:gd name="connsiteX712" fmla="*/ 353699 w 2617696"/>
                    <a:gd name="connsiteY712" fmla="*/ 852462 h 1576253"/>
                    <a:gd name="connsiteX713" fmla="*/ 360219 w 2617696"/>
                    <a:gd name="connsiteY713" fmla="*/ 854092 h 1576253"/>
                    <a:gd name="connsiteX714" fmla="*/ 371628 w 2617696"/>
                    <a:gd name="connsiteY714" fmla="*/ 854092 h 1576253"/>
                    <a:gd name="connsiteX715" fmla="*/ 376518 w 2617696"/>
                    <a:gd name="connsiteY715" fmla="*/ 849202 h 1576253"/>
                    <a:gd name="connsiteX716" fmla="*/ 381408 w 2617696"/>
                    <a:gd name="connsiteY716" fmla="*/ 847572 h 1576253"/>
                    <a:gd name="connsiteX717" fmla="*/ 379778 w 2617696"/>
                    <a:gd name="connsiteY717" fmla="*/ 836162 h 1576253"/>
                    <a:gd name="connsiteX718" fmla="*/ 368368 w 2617696"/>
                    <a:gd name="connsiteY718" fmla="*/ 831272 h 1576253"/>
                    <a:gd name="connsiteX719" fmla="*/ 348809 w 2617696"/>
                    <a:gd name="connsiteY719" fmla="*/ 826383 h 1576253"/>
                    <a:gd name="connsiteX720" fmla="*/ 337399 w 2617696"/>
                    <a:gd name="connsiteY720" fmla="*/ 832902 h 1576253"/>
                    <a:gd name="connsiteX721" fmla="*/ 332510 w 2617696"/>
                    <a:gd name="connsiteY721" fmla="*/ 836162 h 1576253"/>
                    <a:gd name="connsiteX722" fmla="*/ 327620 w 2617696"/>
                    <a:gd name="connsiteY722" fmla="*/ 829642 h 1576253"/>
                    <a:gd name="connsiteX723" fmla="*/ 337399 w 2617696"/>
                    <a:gd name="connsiteY723" fmla="*/ 826383 h 1576253"/>
                    <a:gd name="connsiteX724" fmla="*/ 347179 w 2617696"/>
                    <a:gd name="connsiteY724" fmla="*/ 813343 h 1576253"/>
                    <a:gd name="connsiteX725" fmla="*/ 350439 w 2617696"/>
                    <a:gd name="connsiteY725" fmla="*/ 808453 h 1576253"/>
                    <a:gd name="connsiteX726" fmla="*/ 360219 w 2617696"/>
                    <a:gd name="connsiteY726" fmla="*/ 806823 h 1576253"/>
                    <a:gd name="connsiteX727" fmla="*/ 365108 w 2617696"/>
                    <a:gd name="connsiteY727" fmla="*/ 808453 h 1576253"/>
                    <a:gd name="connsiteX728" fmla="*/ 369998 w 2617696"/>
                    <a:gd name="connsiteY728" fmla="*/ 801933 h 1576253"/>
                    <a:gd name="connsiteX729" fmla="*/ 374888 w 2617696"/>
                    <a:gd name="connsiteY729" fmla="*/ 798673 h 1576253"/>
                    <a:gd name="connsiteX730" fmla="*/ 381408 w 2617696"/>
                    <a:gd name="connsiteY730" fmla="*/ 793784 h 1576253"/>
                    <a:gd name="connsiteX731" fmla="*/ 386298 w 2617696"/>
                    <a:gd name="connsiteY731" fmla="*/ 790524 h 1576253"/>
                    <a:gd name="connsiteX732" fmla="*/ 387928 w 2617696"/>
                    <a:gd name="connsiteY732" fmla="*/ 780744 h 1576253"/>
                    <a:gd name="connsiteX733" fmla="*/ 397707 w 2617696"/>
                    <a:gd name="connsiteY733" fmla="*/ 785634 h 1576253"/>
                    <a:gd name="connsiteX734" fmla="*/ 402597 w 2617696"/>
                    <a:gd name="connsiteY734" fmla="*/ 787264 h 1576253"/>
                    <a:gd name="connsiteX735" fmla="*/ 409117 w 2617696"/>
                    <a:gd name="connsiteY735" fmla="*/ 777484 h 1576253"/>
                    <a:gd name="connsiteX736" fmla="*/ 430306 w 2617696"/>
                    <a:gd name="connsiteY736" fmla="*/ 769334 h 1576253"/>
                    <a:gd name="connsiteX737" fmla="*/ 436826 w 2617696"/>
                    <a:gd name="connsiteY737" fmla="*/ 762815 h 1576253"/>
                    <a:gd name="connsiteX738" fmla="*/ 441716 w 2617696"/>
                    <a:gd name="connsiteY738" fmla="*/ 761185 h 1576253"/>
                    <a:gd name="connsiteX739" fmla="*/ 461275 w 2617696"/>
                    <a:gd name="connsiteY739" fmla="*/ 762815 h 1576253"/>
                    <a:gd name="connsiteX740" fmla="*/ 466165 w 2617696"/>
                    <a:gd name="connsiteY740" fmla="*/ 759555 h 1576253"/>
                    <a:gd name="connsiteX741" fmla="*/ 482465 w 2617696"/>
                    <a:gd name="connsiteY741" fmla="*/ 753035 h 1576253"/>
                    <a:gd name="connsiteX742" fmla="*/ 485724 w 2617696"/>
                    <a:gd name="connsiteY742" fmla="*/ 746515 h 1576253"/>
                    <a:gd name="connsiteX743" fmla="*/ 433566 w 2617696"/>
                    <a:gd name="connsiteY743" fmla="*/ 743255 h 1576253"/>
                    <a:gd name="connsiteX744" fmla="*/ 427046 w 2617696"/>
                    <a:gd name="connsiteY744" fmla="*/ 748145 h 1576253"/>
                    <a:gd name="connsiteX745" fmla="*/ 422157 w 2617696"/>
                    <a:gd name="connsiteY745" fmla="*/ 751405 h 1576253"/>
                    <a:gd name="connsiteX746" fmla="*/ 412377 w 2617696"/>
                    <a:gd name="connsiteY746" fmla="*/ 762815 h 1576253"/>
                    <a:gd name="connsiteX747" fmla="*/ 389558 w 2617696"/>
                    <a:gd name="connsiteY747" fmla="*/ 766074 h 1576253"/>
                    <a:gd name="connsiteX748" fmla="*/ 384668 w 2617696"/>
                    <a:gd name="connsiteY748" fmla="*/ 764445 h 1576253"/>
                    <a:gd name="connsiteX749" fmla="*/ 381408 w 2617696"/>
                    <a:gd name="connsiteY749" fmla="*/ 759555 h 1576253"/>
                    <a:gd name="connsiteX750" fmla="*/ 376476 w 2617696"/>
                    <a:gd name="connsiteY750" fmla="*/ 754660 h 1576253"/>
                    <a:gd name="connsiteX751" fmla="*/ 374586 w 2617696"/>
                    <a:gd name="connsiteY751" fmla="*/ 751791 h 1576253"/>
                    <a:gd name="connsiteX752" fmla="*/ 376518 w 2617696"/>
                    <a:gd name="connsiteY752" fmla="*/ 751405 h 1576253"/>
                    <a:gd name="connsiteX753" fmla="*/ 376009 w 2617696"/>
                    <a:gd name="connsiteY753" fmla="*/ 749431 h 1576253"/>
                    <a:gd name="connsiteX754" fmla="*/ 386298 w 2617696"/>
                    <a:gd name="connsiteY754" fmla="*/ 748145 h 1576253"/>
                    <a:gd name="connsiteX755" fmla="*/ 386299 w 2617696"/>
                    <a:gd name="connsiteY755" fmla="*/ 726956 h 1576253"/>
                    <a:gd name="connsiteX756" fmla="*/ 391188 w 2617696"/>
                    <a:gd name="connsiteY756" fmla="*/ 725326 h 1576253"/>
                    <a:gd name="connsiteX757" fmla="*/ 387928 w 2617696"/>
                    <a:gd name="connsiteY757" fmla="*/ 713916 h 1576253"/>
                    <a:gd name="connsiteX758" fmla="*/ 381408 w 2617696"/>
                    <a:gd name="connsiteY758" fmla="*/ 722066 h 1576253"/>
                    <a:gd name="connsiteX759" fmla="*/ 376518 w 2617696"/>
                    <a:gd name="connsiteY759" fmla="*/ 723696 h 1576253"/>
                    <a:gd name="connsiteX760" fmla="*/ 373258 w 2617696"/>
                    <a:gd name="connsiteY760" fmla="*/ 733476 h 1576253"/>
                    <a:gd name="connsiteX761" fmla="*/ 369998 w 2617696"/>
                    <a:gd name="connsiteY761" fmla="*/ 739995 h 1576253"/>
                    <a:gd name="connsiteX762" fmla="*/ 374810 w 2617696"/>
                    <a:gd name="connsiteY762" fmla="*/ 744789 h 1576253"/>
                    <a:gd name="connsiteX763" fmla="*/ 376009 w 2617696"/>
                    <a:gd name="connsiteY763" fmla="*/ 749431 h 1576253"/>
                    <a:gd name="connsiteX764" fmla="*/ 373258 w 2617696"/>
                    <a:gd name="connsiteY764" fmla="*/ 749775 h 1576253"/>
                    <a:gd name="connsiteX765" fmla="*/ 374586 w 2617696"/>
                    <a:gd name="connsiteY765" fmla="*/ 751791 h 1576253"/>
                    <a:gd name="connsiteX766" fmla="*/ 368368 w 2617696"/>
                    <a:gd name="connsiteY766" fmla="*/ 753035 h 1576253"/>
                    <a:gd name="connsiteX767" fmla="*/ 358589 w 2617696"/>
                    <a:gd name="connsiteY767" fmla="*/ 749775 h 1576253"/>
                    <a:gd name="connsiteX768" fmla="*/ 355329 w 2617696"/>
                    <a:gd name="connsiteY768" fmla="*/ 744885 h 1576253"/>
                    <a:gd name="connsiteX769" fmla="*/ 350439 w 2617696"/>
                    <a:gd name="connsiteY769" fmla="*/ 741625 h 1576253"/>
                    <a:gd name="connsiteX770" fmla="*/ 350439 w 2617696"/>
                    <a:gd name="connsiteY770" fmla="*/ 728586 h 1576253"/>
                    <a:gd name="connsiteX771" fmla="*/ 349115 w 2617696"/>
                    <a:gd name="connsiteY771" fmla="*/ 721964 h 1576253"/>
                    <a:gd name="connsiteX772" fmla="*/ 358589 w 2617696"/>
                    <a:gd name="connsiteY772" fmla="*/ 718806 h 1576253"/>
                    <a:gd name="connsiteX773" fmla="*/ 365108 w 2617696"/>
                    <a:gd name="connsiteY773" fmla="*/ 717176 h 1576253"/>
                    <a:gd name="connsiteX774" fmla="*/ 348809 w 2617696"/>
                    <a:gd name="connsiteY774" fmla="*/ 720436 h 1576253"/>
                    <a:gd name="connsiteX775" fmla="*/ 349115 w 2617696"/>
                    <a:gd name="connsiteY775" fmla="*/ 721964 h 1576253"/>
                    <a:gd name="connsiteX776" fmla="*/ 348809 w 2617696"/>
                    <a:gd name="connsiteY776" fmla="*/ 722066 h 1576253"/>
                    <a:gd name="connsiteX777" fmla="*/ 345549 w 2617696"/>
                    <a:gd name="connsiteY777" fmla="*/ 712286 h 1576253"/>
                    <a:gd name="connsiteX778" fmla="*/ 348809 w 2617696"/>
                    <a:gd name="connsiteY778" fmla="*/ 700877 h 1576253"/>
                    <a:gd name="connsiteX779" fmla="*/ 345549 w 2617696"/>
                    <a:gd name="connsiteY779" fmla="*/ 699247 h 1576253"/>
                    <a:gd name="connsiteX780" fmla="*/ 355329 w 2617696"/>
                    <a:gd name="connsiteY780" fmla="*/ 694357 h 1576253"/>
                    <a:gd name="connsiteX781" fmla="*/ 378148 w 2617696"/>
                    <a:gd name="connsiteY781" fmla="*/ 691097 h 1576253"/>
                    <a:gd name="connsiteX782" fmla="*/ 383038 w 2617696"/>
                    <a:gd name="connsiteY782" fmla="*/ 689467 h 1576253"/>
                    <a:gd name="connsiteX783" fmla="*/ 461275 w 2617696"/>
                    <a:gd name="connsiteY783" fmla="*/ 686207 h 1576253"/>
                    <a:gd name="connsiteX784" fmla="*/ 477575 w 2617696"/>
                    <a:gd name="connsiteY784" fmla="*/ 684577 h 1576253"/>
                    <a:gd name="connsiteX785" fmla="*/ 488984 w 2617696"/>
                    <a:gd name="connsiteY785" fmla="*/ 661758 h 1576253"/>
                    <a:gd name="connsiteX786" fmla="*/ 505284 w 2617696"/>
                    <a:gd name="connsiteY786" fmla="*/ 653608 h 1576253"/>
                    <a:gd name="connsiteX787" fmla="*/ 510174 w 2617696"/>
                    <a:gd name="connsiteY787" fmla="*/ 655238 h 1576253"/>
                    <a:gd name="connsiteX788" fmla="*/ 515064 w 2617696"/>
                    <a:gd name="connsiteY788" fmla="*/ 658498 h 1576253"/>
                    <a:gd name="connsiteX789" fmla="*/ 529733 w 2617696"/>
                    <a:gd name="connsiteY789" fmla="*/ 661758 h 1576253"/>
                    <a:gd name="connsiteX790" fmla="*/ 544403 w 2617696"/>
                    <a:gd name="connsiteY790" fmla="*/ 658498 h 1576253"/>
                    <a:gd name="connsiteX791" fmla="*/ 554182 w 2617696"/>
                    <a:gd name="connsiteY791" fmla="*/ 655238 h 1576253"/>
                    <a:gd name="connsiteX792" fmla="*/ 562332 w 2617696"/>
                    <a:gd name="connsiteY792" fmla="*/ 653608 h 1576253"/>
                    <a:gd name="connsiteX793" fmla="*/ 567222 w 2617696"/>
                    <a:gd name="connsiteY793" fmla="*/ 651978 h 1576253"/>
                    <a:gd name="connsiteX794" fmla="*/ 583521 w 2617696"/>
                    <a:gd name="connsiteY794" fmla="*/ 648718 h 1576253"/>
                    <a:gd name="connsiteX795" fmla="*/ 601451 w 2617696"/>
                    <a:gd name="connsiteY795" fmla="*/ 647088 h 1576253"/>
                    <a:gd name="connsiteX796" fmla="*/ 609600 w 2617696"/>
                    <a:gd name="connsiteY796" fmla="*/ 642199 h 1576253"/>
                    <a:gd name="connsiteX797" fmla="*/ 616120 w 2617696"/>
                    <a:gd name="connsiteY797" fmla="*/ 638939 h 1576253"/>
                    <a:gd name="connsiteX798" fmla="*/ 624270 w 2617696"/>
                    <a:gd name="connsiteY798" fmla="*/ 629159 h 1576253"/>
                    <a:gd name="connsiteX799" fmla="*/ 638939 w 2617696"/>
                    <a:gd name="connsiteY799" fmla="*/ 614489 h 1576253"/>
                    <a:gd name="connsiteX800" fmla="*/ 640569 w 2617696"/>
                    <a:gd name="connsiteY800" fmla="*/ 603080 h 1576253"/>
                    <a:gd name="connsiteX801" fmla="*/ 635680 w 2617696"/>
                    <a:gd name="connsiteY801" fmla="*/ 598190 h 1576253"/>
                    <a:gd name="connsiteX802" fmla="*/ 632420 w 2617696"/>
                    <a:gd name="connsiteY802" fmla="*/ 593300 h 1576253"/>
                    <a:gd name="connsiteX803" fmla="*/ 637757 w 2617696"/>
                    <a:gd name="connsiteY803" fmla="*/ 591966 h 1576253"/>
                    <a:gd name="connsiteX804" fmla="*/ 638941 w 2617696"/>
                    <a:gd name="connsiteY804" fmla="*/ 588410 h 1576253"/>
                    <a:gd name="connsiteX805" fmla="*/ 645461 w 2617696"/>
                    <a:gd name="connsiteY805" fmla="*/ 586780 h 1576253"/>
                    <a:gd name="connsiteX806" fmla="*/ 650351 w 2617696"/>
                    <a:gd name="connsiteY806" fmla="*/ 583520 h 1576253"/>
                    <a:gd name="connsiteX807" fmla="*/ 676430 w 2617696"/>
                    <a:gd name="connsiteY807" fmla="*/ 572111 h 1576253"/>
                    <a:gd name="connsiteX808" fmla="*/ 684580 w 2617696"/>
                    <a:gd name="connsiteY808" fmla="*/ 560701 h 1576253"/>
                    <a:gd name="connsiteX809" fmla="*/ 700879 w 2617696"/>
                    <a:gd name="connsiteY809" fmla="*/ 547662 h 1576253"/>
                    <a:gd name="connsiteX810" fmla="*/ 704139 w 2617696"/>
                    <a:gd name="connsiteY810" fmla="*/ 537882 h 1576253"/>
                    <a:gd name="connsiteX811" fmla="*/ 709029 w 2617696"/>
                    <a:gd name="connsiteY811" fmla="*/ 531362 h 1576253"/>
                    <a:gd name="connsiteX812" fmla="*/ 720439 w 2617696"/>
                    <a:gd name="connsiteY812" fmla="*/ 516693 h 1576253"/>
                    <a:gd name="connsiteX813" fmla="*/ 725329 w 2617696"/>
                    <a:gd name="connsiteY813" fmla="*/ 513433 h 1576253"/>
                    <a:gd name="connsiteX814" fmla="*/ 726959 w 2617696"/>
                    <a:gd name="connsiteY814" fmla="*/ 506913 h 1576253"/>
                    <a:gd name="connsiteX815" fmla="*/ 731848 w 2617696"/>
                    <a:gd name="connsiteY815" fmla="*/ 500393 h 1576253"/>
                    <a:gd name="connsiteX816" fmla="*/ 735108 w 2617696"/>
                    <a:gd name="connsiteY816" fmla="*/ 493873 h 1576253"/>
                    <a:gd name="connsiteX817" fmla="*/ 746518 w 2617696"/>
                    <a:gd name="connsiteY817" fmla="*/ 488984 h 1576253"/>
                    <a:gd name="connsiteX818" fmla="*/ 751408 w 2617696"/>
                    <a:gd name="connsiteY818" fmla="*/ 479204 h 1576253"/>
                    <a:gd name="connsiteX819" fmla="*/ 754668 w 2617696"/>
                    <a:gd name="connsiteY819" fmla="*/ 474314 h 1576253"/>
                    <a:gd name="connsiteX820" fmla="*/ 757928 w 2617696"/>
                    <a:gd name="connsiteY820" fmla="*/ 467794 h 1576253"/>
                    <a:gd name="connsiteX821" fmla="*/ 767707 w 2617696"/>
                    <a:gd name="connsiteY821" fmla="*/ 462904 h 1576253"/>
                    <a:gd name="connsiteX822" fmla="*/ 777487 w 2617696"/>
                    <a:gd name="connsiteY822" fmla="*/ 456385 h 1576253"/>
                    <a:gd name="connsiteX823" fmla="*/ 782377 w 2617696"/>
                    <a:gd name="connsiteY823" fmla="*/ 454755 h 1576253"/>
                    <a:gd name="connsiteX824" fmla="*/ 785637 w 2617696"/>
                    <a:gd name="connsiteY824" fmla="*/ 449865 h 1576253"/>
                    <a:gd name="connsiteX825" fmla="*/ 790526 w 2617696"/>
                    <a:gd name="connsiteY825" fmla="*/ 444975 h 1576253"/>
                    <a:gd name="connsiteX826" fmla="*/ 797046 w 2617696"/>
                    <a:gd name="connsiteY826" fmla="*/ 441715 h 1576253"/>
                    <a:gd name="connsiteX827" fmla="*/ 798676 w 2617696"/>
                    <a:gd name="connsiteY827" fmla="*/ 436825 h 1576253"/>
                    <a:gd name="connsiteX828" fmla="*/ 801936 w 2617696"/>
                    <a:gd name="connsiteY828" fmla="*/ 430306 h 1576253"/>
                    <a:gd name="connsiteX829" fmla="*/ 814976 w 2617696"/>
                    <a:gd name="connsiteY829" fmla="*/ 420526 h 1576253"/>
                    <a:gd name="connsiteX830" fmla="*/ 828015 w 2617696"/>
                    <a:gd name="connsiteY830" fmla="*/ 417266 h 1576253"/>
                    <a:gd name="connsiteX831" fmla="*/ 832905 w 2617696"/>
                    <a:gd name="connsiteY831" fmla="*/ 412376 h 1576253"/>
                    <a:gd name="connsiteX832" fmla="*/ 836165 w 2617696"/>
                    <a:gd name="connsiteY832" fmla="*/ 400966 h 1576253"/>
                    <a:gd name="connsiteX833" fmla="*/ 841055 w 2617696"/>
                    <a:gd name="connsiteY833" fmla="*/ 397707 h 1576253"/>
                    <a:gd name="connsiteX834" fmla="*/ 867134 w 2617696"/>
                    <a:gd name="connsiteY834" fmla="*/ 396077 h 1576253"/>
                    <a:gd name="connsiteX835" fmla="*/ 881803 w 2617696"/>
                    <a:gd name="connsiteY835" fmla="*/ 397707 h 1576253"/>
                    <a:gd name="connsiteX836" fmla="*/ 904623 w 2617696"/>
                    <a:gd name="connsiteY836" fmla="*/ 399337 h 1576253"/>
                    <a:gd name="connsiteX837" fmla="*/ 919292 w 2617696"/>
                    <a:gd name="connsiteY837" fmla="*/ 405856 h 1576253"/>
                    <a:gd name="connsiteX838" fmla="*/ 911143 w 2617696"/>
                    <a:gd name="connsiteY838" fmla="*/ 399337 h 1576253"/>
                    <a:gd name="connsiteX839" fmla="*/ 907883 w 2617696"/>
                    <a:gd name="connsiteY839" fmla="*/ 394447 h 1576253"/>
                    <a:gd name="connsiteX840" fmla="*/ 911143 w 2617696"/>
                    <a:gd name="connsiteY840" fmla="*/ 389557 h 1576253"/>
                    <a:gd name="connsiteX841" fmla="*/ 922552 w 2617696"/>
                    <a:gd name="connsiteY841" fmla="*/ 387927 h 1576253"/>
                    <a:gd name="connsiteX842" fmla="*/ 927442 w 2617696"/>
                    <a:gd name="connsiteY842" fmla="*/ 384667 h 1576253"/>
                    <a:gd name="connsiteX843" fmla="*/ 947001 w 2617696"/>
                    <a:gd name="connsiteY843" fmla="*/ 373257 h 1576253"/>
                    <a:gd name="connsiteX844" fmla="*/ 955151 w 2617696"/>
                    <a:gd name="connsiteY844" fmla="*/ 371627 h 1576253"/>
                    <a:gd name="connsiteX845" fmla="*/ 964931 w 2617696"/>
                    <a:gd name="connsiteY845" fmla="*/ 368368 h 1576253"/>
                    <a:gd name="connsiteX846" fmla="*/ 981230 w 2617696"/>
                    <a:gd name="connsiteY846" fmla="*/ 365108 h 1576253"/>
                    <a:gd name="connsiteX847" fmla="*/ 986120 w 2617696"/>
                    <a:gd name="connsiteY847" fmla="*/ 361848 h 1576253"/>
                    <a:gd name="connsiteX848" fmla="*/ 1005679 w 2617696"/>
                    <a:gd name="connsiteY848" fmla="*/ 358588 h 1576253"/>
                    <a:gd name="connsiteX849" fmla="*/ 1010569 w 2617696"/>
                    <a:gd name="connsiteY849" fmla="*/ 353698 h 1576253"/>
                    <a:gd name="connsiteX850" fmla="*/ 1023609 w 2617696"/>
                    <a:gd name="connsiteY850" fmla="*/ 350438 h 1576253"/>
                    <a:gd name="connsiteX851" fmla="*/ 1036648 w 2617696"/>
                    <a:gd name="connsiteY851" fmla="*/ 347178 h 1576253"/>
                    <a:gd name="connsiteX852" fmla="*/ 1049688 w 2617696"/>
                    <a:gd name="connsiteY852" fmla="*/ 335769 h 1576253"/>
                    <a:gd name="connsiteX853" fmla="*/ 1056208 w 2617696"/>
                    <a:gd name="connsiteY853" fmla="*/ 330879 h 1576253"/>
                    <a:gd name="connsiteX854" fmla="*/ 1057838 w 2617696"/>
                    <a:gd name="connsiteY854" fmla="*/ 325989 h 1576253"/>
                    <a:gd name="connsiteX855" fmla="*/ 1062728 w 2617696"/>
                    <a:gd name="connsiteY855" fmla="*/ 319469 h 1576253"/>
                    <a:gd name="connsiteX856" fmla="*/ 1077397 w 2617696"/>
                    <a:gd name="connsiteY856" fmla="*/ 314579 h 1576253"/>
                    <a:gd name="connsiteX857" fmla="*/ 1082287 w 2617696"/>
                    <a:gd name="connsiteY857" fmla="*/ 317839 h 1576253"/>
                    <a:gd name="connsiteX858" fmla="*/ 1083917 w 2617696"/>
                    <a:gd name="connsiteY858" fmla="*/ 329249 h 1576253"/>
                    <a:gd name="connsiteX859" fmla="*/ 1085547 w 2617696"/>
                    <a:gd name="connsiteY859" fmla="*/ 335769 h 1576253"/>
                    <a:gd name="connsiteX860" fmla="*/ 1087177 w 2617696"/>
                    <a:gd name="connsiteY860" fmla="*/ 345548 h 1576253"/>
                    <a:gd name="connsiteX861" fmla="*/ 1092067 w 2617696"/>
                    <a:gd name="connsiteY861" fmla="*/ 348808 h 1576253"/>
                    <a:gd name="connsiteX862" fmla="*/ 1095326 w 2617696"/>
                    <a:gd name="connsiteY862" fmla="*/ 355328 h 1576253"/>
                    <a:gd name="connsiteX863" fmla="*/ 1100216 w 2617696"/>
                    <a:gd name="connsiteY863" fmla="*/ 361848 h 1576253"/>
                    <a:gd name="connsiteX864" fmla="*/ 1124666 w 2617696"/>
                    <a:gd name="connsiteY864" fmla="*/ 363478 h 1576253"/>
                    <a:gd name="connsiteX865" fmla="*/ 1131185 w 2617696"/>
                    <a:gd name="connsiteY865" fmla="*/ 366738 h 1576253"/>
                    <a:gd name="connsiteX866" fmla="*/ 1136075 w 2617696"/>
                    <a:gd name="connsiteY866" fmla="*/ 369997 h 1576253"/>
                    <a:gd name="connsiteX867" fmla="*/ 1163784 w 2617696"/>
                    <a:gd name="connsiteY867" fmla="*/ 368368 h 1576253"/>
                    <a:gd name="connsiteX868" fmla="*/ 1170304 w 2617696"/>
                    <a:gd name="connsiteY868" fmla="*/ 366738 h 1576253"/>
                    <a:gd name="connsiteX869" fmla="*/ 1183344 w 2617696"/>
                    <a:gd name="connsiteY869" fmla="*/ 355328 h 1576253"/>
                    <a:gd name="connsiteX870" fmla="*/ 1188233 w 2617696"/>
                    <a:gd name="connsiteY870" fmla="*/ 352068 h 1576253"/>
                    <a:gd name="connsiteX871" fmla="*/ 1191493 w 2617696"/>
                    <a:gd name="connsiteY871" fmla="*/ 335769 h 1576253"/>
                    <a:gd name="connsiteX872" fmla="*/ 1194753 w 2617696"/>
                    <a:gd name="connsiteY872" fmla="*/ 340658 h 1576253"/>
                    <a:gd name="connsiteX873" fmla="*/ 1202903 w 2617696"/>
                    <a:gd name="connsiteY873" fmla="*/ 339028 h 1576253"/>
                    <a:gd name="connsiteX874" fmla="*/ 1206163 w 2617696"/>
                    <a:gd name="connsiteY874" fmla="*/ 343918 h 1576253"/>
                    <a:gd name="connsiteX875" fmla="*/ 1215943 w 2617696"/>
                    <a:gd name="connsiteY875" fmla="*/ 347178 h 1576253"/>
                    <a:gd name="connsiteX876" fmla="*/ 1217572 w 2617696"/>
                    <a:gd name="connsiteY876" fmla="*/ 355328 h 1576253"/>
                    <a:gd name="connsiteX877" fmla="*/ 1219202 w 2617696"/>
                    <a:gd name="connsiteY877" fmla="*/ 347178 h 1576253"/>
                    <a:gd name="connsiteX878" fmla="*/ 1227352 w 2617696"/>
                    <a:gd name="connsiteY878" fmla="*/ 353698 h 1576253"/>
                    <a:gd name="connsiteX879" fmla="*/ 1233872 w 2617696"/>
                    <a:gd name="connsiteY879" fmla="*/ 363478 h 1576253"/>
                    <a:gd name="connsiteX880" fmla="*/ 1237132 w 2617696"/>
                    <a:gd name="connsiteY880" fmla="*/ 368368 h 1576253"/>
                    <a:gd name="connsiteX881" fmla="*/ 1240392 w 2617696"/>
                    <a:gd name="connsiteY881" fmla="*/ 374887 h 1576253"/>
                    <a:gd name="connsiteX882" fmla="*/ 1246912 w 2617696"/>
                    <a:gd name="connsiteY882" fmla="*/ 379777 h 1576253"/>
                    <a:gd name="connsiteX883" fmla="*/ 1282770 w 2617696"/>
                    <a:gd name="connsiteY883" fmla="*/ 384667 h 1576253"/>
                    <a:gd name="connsiteX884" fmla="*/ 1292550 w 2617696"/>
                    <a:gd name="connsiteY884" fmla="*/ 379777 h 1576253"/>
                    <a:gd name="connsiteX885" fmla="*/ 1295810 w 2617696"/>
                    <a:gd name="connsiteY885" fmla="*/ 363478 h 1576253"/>
                    <a:gd name="connsiteX886" fmla="*/ 1294180 w 2617696"/>
                    <a:gd name="connsiteY886" fmla="*/ 358588 h 1576253"/>
                    <a:gd name="connsiteX887" fmla="*/ 1300700 w 2617696"/>
                    <a:gd name="connsiteY887" fmla="*/ 356958 h 1576253"/>
                    <a:gd name="connsiteX888" fmla="*/ 1326779 w 2617696"/>
                    <a:gd name="connsiteY888" fmla="*/ 355328 h 1576253"/>
                    <a:gd name="connsiteX889" fmla="*/ 1333299 w 2617696"/>
                    <a:gd name="connsiteY889" fmla="*/ 353698 h 1576253"/>
                    <a:gd name="connsiteX890" fmla="*/ 1341448 w 2617696"/>
                    <a:gd name="connsiteY890" fmla="*/ 350438 h 1576253"/>
                    <a:gd name="connsiteX891" fmla="*/ 1336559 w 2617696"/>
                    <a:gd name="connsiteY891" fmla="*/ 355328 h 1576253"/>
                    <a:gd name="connsiteX892" fmla="*/ 1344708 w 2617696"/>
                    <a:gd name="connsiteY892" fmla="*/ 352068 h 1576253"/>
                    <a:gd name="connsiteX893" fmla="*/ 1349598 w 2617696"/>
                    <a:gd name="connsiteY893" fmla="*/ 353698 h 1576253"/>
                    <a:gd name="connsiteX894" fmla="*/ 1351228 w 2617696"/>
                    <a:gd name="connsiteY894" fmla="*/ 360218 h 1576253"/>
                    <a:gd name="connsiteX895" fmla="*/ 1352858 w 2617696"/>
                    <a:gd name="connsiteY895" fmla="*/ 374887 h 1576253"/>
                    <a:gd name="connsiteX896" fmla="*/ 1388717 w 2617696"/>
                    <a:gd name="connsiteY896" fmla="*/ 376517 h 1576253"/>
                    <a:gd name="connsiteX897" fmla="*/ 1398497 w 2617696"/>
                    <a:gd name="connsiteY897" fmla="*/ 374887 h 1576253"/>
                    <a:gd name="connsiteX898" fmla="*/ 1409906 w 2617696"/>
                    <a:gd name="connsiteY898" fmla="*/ 373257 h 1576253"/>
                    <a:gd name="connsiteX899" fmla="*/ 1435985 w 2617696"/>
                    <a:gd name="connsiteY899" fmla="*/ 376517 h 1576253"/>
                    <a:gd name="connsiteX900" fmla="*/ 1439245 w 2617696"/>
                    <a:gd name="connsiteY900" fmla="*/ 369997 h 1576253"/>
                    <a:gd name="connsiteX901" fmla="*/ 1435985 w 2617696"/>
                    <a:gd name="connsiteY901" fmla="*/ 358588 h 1576253"/>
                    <a:gd name="connsiteX902" fmla="*/ 1444135 w 2617696"/>
                    <a:gd name="connsiteY902" fmla="*/ 355328 h 1576253"/>
                    <a:gd name="connsiteX903" fmla="*/ 1447039 w 2617696"/>
                    <a:gd name="connsiteY903" fmla="*/ 361776 h 1576253"/>
                    <a:gd name="connsiteX904" fmla="*/ 1445764 w 2617696"/>
                    <a:gd name="connsiteY904" fmla="*/ 358588 h 1576253"/>
                    <a:gd name="connsiteX905" fmla="*/ 1463693 w 2617696"/>
                    <a:gd name="connsiteY905" fmla="*/ 353698 h 1576253"/>
                    <a:gd name="connsiteX906" fmla="*/ 1473473 w 2617696"/>
                    <a:gd name="connsiteY906" fmla="*/ 356958 h 1576253"/>
                    <a:gd name="connsiteX907" fmla="*/ 1475103 w 2617696"/>
                    <a:gd name="connsiteY907" fmla="*/ 363478 h 1576253"/>
                    <a:gd name="connsiteX908" fmla="*/ 1496292 w 2617696"/>
                    <a:gd name="connsiteY908" fmla="*/ 360218 h 1576253"/>
                    <a:gd name="connsiteX909" fmla="*/ 1507702 w 2617696"/>
                    <a:gd name="connsiteY909" fmla="*/ 356958 h 1576253"/>
                    <a:gd name="connsiteX910" fmla="*/ 1512592 w 2617696"/>
                    <a:gd name="connsiteY910" fmla="*/ 358588 h 1576253"/>
                    <a:gd name="connsiteX911" fmla="*/ 1530521 w 2617696"/>
                    <a:gd name="connsiteY911" fmla="*/ 360218 h 1576253"/>
                    <a:gd name="connsiteX912" fmla="*/ 1537041 w 2617696"/>
                    <a:gd name="connsiteY912" fmla="*/ 358588 h 1576253"/>
                    <a:gd name="connsiteX913" fmla="*/ 1553340 w 2617696"/>
                    <a:gd name="connsiteY913" fmla="*/ 348808 h 1576253"/>
                    <a:gd name="connsiteX914" fmla="*/ 1559860 w 2617696"/>
                    <a:gd name="connsiteY914" fmla="*/ 340658 h 1576253"/>
                    <a:gd name="connsiteX915" fmla="*/ 1563120 w 2617696"/>
                    <a:gd name="connsiteY915" fmla="*/ 335769 h 1576253"/>
                    <a:gd name="connsiteX916" fmla="*/ 1574530 w 2617696"/>
                    <a:gd name="connsiteY916" fmla="*/ 327619 h 1576253"/>
                    <a:gd name="connsiteX917" fmla="*/ 1581050 w 2617696"/>
                    <a:gd name="connsiteY917" fmla="*/ 322729 h 1576253"/>
                    <a:gd name="connsiteX918" fmla="*/ 1584309 w 2617696"/>
                    <a:gd name="connsiteY918" fmla="*/ 317839 h 1576253"/>
                    <a:gd name="connsiteX919" fmla="*/ 1602239 w 2617696"/>
                    <a:gd name="connsiteY919" fmla="*/ 316209 h 1576253"/>
                    <a:gd name="connsiteX920" fmla="*/ 1608759 w 2617696"/>
                    <a:gd name="connsiteY920" fmla="*/ 306430 h 1576253"/>
                    <a:gd name="connsiteX921" fmla="*/ 1613648 w 2617696"/>
                    <a:gd name="connsiteY921" fmla="*/ 304800 h 1576253"/>
                    <a:gd name="connsiteX922" fmla="*/ 1618538 w 2617696"/>
                    <a:gd name="connsiteY922" fmla="*/ 306430 h 1576253"/>
                    <a:gd name="connsiteX923" fmla="*/ 1629948 w 2617696"/>
                    <a:gd name="connsiteY923" fmla="*/ 298280 h 1576253"/>
                    <a:gd name="connsiteX924" fmla="*/ 1641358 w 2617696"/>
                    <a:gd name="connsiteY924" fmla="*/ 295020 h 1576253"/>
                    <a:gd name="connsiteX925" fmla="*/ 1646247 w 2617696"/>
                    <a:gd name="connsiteY925" fmla="*/ 293390 h 1576253"/>
                    <a:gd name="connsiteX926" fmla="*/ 1656027 w 2617696"/>
                    <a:gd name="connsiteY926" fmla="*/ 280350 h 1576253"/>
                    <a:gd name="connsiteX927" fmla="*/ 1659287 w 2617696"/>
                    <a:gd name="connsiteY927" fmla="*/ 272201 h 1576253"/>
                    <a:gd name="connsiteX928" fmla="*/ 1688626 w 2617696"/>
                    <a:gd name="connsiteY928" fmla="*/ 273831 h 1576253"/>
                    <a:gd name="connsiteX929" fmla="*/ 1690256 w 2617696"/>
                    <a:gd name="connsiteY929" fmla="*/ 280350 h 1576253"/>
                    <a:gd name="connsiteX930" fmla="*/ 1693516 w 2617696"/>
                    <a:gd name="connsiteY930" fmla="*/ 285240 h 1576253"/>
                    <a:gd name="connsiteX931" fmla="*/ 1698406 w 2617696"/>
                    <a:gd name="connsiteY931" fmla="*/ 283610 h 1576253"/>
                    <a:gd name="connsiteX932" fmla="*/ 1708185 w 2617696"/>
                    <a:gd name="connsiteY932" fmla="*/ 278720 h 1576253"/>
                    <a:gd name="connsiteX933" fmla="*/ 1763604 w 2617696"/>
                    <a:gd name="connsiteY933" fmla="*/ 273831 h 1576253"/>
                    <a:gd name="connsiteX934" fmla="*/ 1765234 w 2617696"/>
                    <a:gd name="connsiteY934" fmla="*/ 268941 h 1576253"/>
                    <a:gd name="connsiteX935" fmla="*/ 1768493 w 2617696"/>
                    <a:gd name="connsiteY935" fmla="*/ 262421 h 1576253"/>
                    <a:gd name="connsiteX936" fmla="*/ 1776643 w 2617696"/>
                    <a:gd name="connsiteY936" fmla="*/ 259161 h 1576253"/>
                    <a:gd name="connsiteX937" fmla="*/ 1781533 w 2617696"/>
                    <a:gd name="connsiteY937" fmla="*/ 254271 h 1576253"/>
                    <a:gd name="connsiteX938" fmla="*/ 1788053 w 2617696"/>
                    <a:gd name="connsiteY938" fmla="*/ 249381 h 1576253"/>
                    <a:gd name="connsiteX939" fmla="*/ 1796202 w 2617696"/>
                    <a:gd name="connsiteY939" fmla="*/ 244492 h 1576253"/>
                    <a:gd name="connsiteX940" fmla="*/ 1797832 w 2617696"/>
                    <a:gd name="connsiteY940" fmla="*/ 233082 h 1576253"/>
                    <a:gd name="connsiteX941" fmla="*/ 1805982 w 2617696"/>
                    <a:gd name="connsiteY941" fmla="*/ 228192 h 1576253"/>
                    <a:gd name="connsiteX942" fmla="*/ 1815762 w 2617696"/>
                    <a:gd name="connsiteY942" fmla="*/ 205373 h 1576253"/>
                    <a:gd name="connsiteX943" fmla="*/ 1822282 w 2617696"/>
                    <a:gd name="connsiteY943" fmla="*/ 200483 h 1576253"/>
                    <a:gd name="connsiteX944" fmla="*/ 1833691 w 2617696"/>
                    <a:gd name="connsiteY944" fmla="*/ 190703 h 1576253"/>
                    <a:gd name="connsiteX945" fmla="*/ 1835321 w 2617696"/>
                    <a:gd name="connsiteY945" fmla="*/ 184184 h 1576253"/>
                    <a:gd name="connsiteX946" fmla="*/ 1841841 w 2617696"/>
                    <a:gd name="connsiteY946" fmla="*/ 174404 h 1576253"/>
                    <a:gd name="connsiteX947" fmla="*/ 1846731 w 2617696"/>
                    <a:gd name="connsiteY947" fmla="*/ 171144 h 1576253"/>
                    <a:gd name="connsiteX948" fmla="*/ 1851621 w 2617696"/>
                    <a:gd name="connsiteY948" fmla="*/ 166254 h 1576253"/>
                    <a:gd name="connsiteX949" fmla="*/ 1858140 w 2617696"/>
                    <a:gd name="connsiteY949" fmla="*/ 162994 h 1576253"/>
                    <a:gd name="connsiteX950" fmla="*/ 1863030 w 2617696"/>
                    <a:gd name="connsiteY950" fmla="*/ 161364 h 1576253"/>
                    <a:gd name="connsiteX951" fmla="*/ 1864660 w 2617696"/>
                    <a:gd name="connsiteY951" fmla="*/ 154845 h 1576253"/>
                    <a:gd name="connsiteX952" fmla="*/ 1869550 w 2617696"/>
                    <a:gd name="connsiteY952" fmla="*/ 148325 h 1576253"/>
                    <a:gd name="connsiteX953" fmla="*/ 1874440 w 2617696"/>
                    <a:gd name="connsiteY953" fmla="*/ 143435 h 1576253"/>
                    <a:gd name="connsiteX954" fmla="*/ 1876070 w 2617696"/>
                    <a:gd name="connsiteY954" fmla="*/ 135285 h 1576253"/>
                    <a:gd name="connsiteX955" fmla="*/ 1880960 w 2617696"/>
                    <a:gd name="connsiteY955" fmla="*/ 130395 h 1576253"/>
                    <a:gd name="connsiteX956" fmla="*/ 1884220 w 2617696"/>
                    <a:gd name="connsiteY956" fmla="*/ 125506 h 1576253"/>
                    <a:gd name="connsiteX957" fmla="*/ 1889109 w 2617696"/>
                    <a:gd name="connsiteY957" fmla="*/ 122246 h 1576253"/>
                    <a:gd name="connsiteX958" fmla="*/ 1892369 w 2617696"/>
                    <a:gd name="connsiteY958" fmla="*/ 110836 h 1576253"/>
                    <a:gd name="connsiteX959" fmla="*/ 1893999 w 2617696"/>
                    <a:gd name="connsiteY959" fmla="*/ 105946 h 1576253"/>
                    <a:gd name="connsiteX960" fmla="*/ 1905409 w 2617696"/>
                    <a:gd name="connsiteY960" fmla="*/ 91277 h 1576253"/>
                    <a:gd name="connsiteX961" fmla="*/ 1908669 w 2617696"/>
                    <a:gd name="connsiteY961" fmla="*/ 86387 h 1576253"/>
                    <a:gd name="connsiteX962" fmla="*/ 1916819 w 2617696"/>
                    <a:gd name="connsiteY962" fmla="*/ 83127 h 1576253"/>
                    <a:gd name="connsiteX963" fmla="*/ 1924968 w 2617696"/>
                    <a:gd name="connsiteY963" fmla="*/ 92907 h 1576253"/>
                    <a:gd name="connsiteX964" fmla="*/ 1936378 w 2617696"/>
                    <a:gd name="connsiteY964" fmla="*/ 97796 h 1576253"/>
                    <a:gd name="connsiteX965" fmla="*/ 1947788 w 2617696"/>
                    <a:gd name="connsiteY965" fmla="*/ 83127 h 1576253"/>
                    <a:gd name="connsiteX966" fmla="*/ 1951047 w 2617696"/>
                    <a:gd name="connsiteY966" fmla="*/ 73347 h 1576253"/>
                    <a:gd name="connsiteX967" fmla="*/ 1965717 w 2617696"/>
                    <a:gd name="connsiteY967" fmla="*/ 70087 h 1576253"/>
                    <a:gd name="connsiteX968" fmla="*/ 1970607 w 2617696"/>
                    <a:gd name="connsiteY968" fmla="*/ 68457 h 1576253"/>
                    <a:gd name="connsiteX969" fmla="*/ 1978756 w 2617696"/>
                    <a:gd name="connsiteY969" fmla="*/ 63568 h 1576253"/>
                    <a:gd name="connsiteX970" fmla="*/ 1985276 w 2617696"/>
                    <a:gd name="connsiteY970" fmla="*/ 61938 h 1576253"/>
                    <a:gd name="connsiteX971" fmla="*/ 1990166 w 2617696"/>
                    <a:gd name="connsiteY971" fmla="*/ 58678 h 1576253"/>
                    <a:gd name="connsiteX972" fmla="*/ 1995056 w 2617696"/>
                    <a:gd name="connsiteY972" fmla="*/ 60308 h 1576253"/>
                    <a:gd name="connsiteX973" fmla="*/ 2008096 w 2617696"/>
                    <a:gd name="connsiteY973" fmla="*/ 61938 h 1576253"/>
                    <a:gd name="connsiteX974" fmla="*/ 2016245 w 2617696"/>
                    <a:gd name="connsiteY974" fmla="*/ 50528 h 1576253"/>
                    <a:gd name="connsiteX975" fmla="*/ 2026025 w 2617696"/>
                    <a:gd name="connsiteY975" fmla="*/ 35858 h 1576253"/>
                    <a:gd name="connsiteX976" fmla="*/ 2021135 w 2617696"/>
                    <a:gd name="connsiteY976" fmla="*/ 32599 h 1576253"/>
                    <a:gd name="connsiteX977" fmla="*/ 2017875 w 2617696"/>
                    <a:gd name="connsiteY977" fmla="*/ 27709 h 1576253"/>
                    <a:gd name="connsiteX978" fmla="*/ 2021135 w 2617696"/>
                    <a:gd name="connsiteY978" fmla="*/ 21189 h 1576253"/>
                    <a:gd name="connsiteX979" fmla="*/ 2032545 w 2617696"/>
                    <a:gd name="connsiteY979" fmla="*/ 11409 h 1576253"/>
                    <a:gd name="connsiteX980" fmla="*/ 2042324 w 2617696"/>
                    <a:gd name="connsiteY980" fmla="*/ 8149 h 1576253"/>
                    <a:gd name="connsiteX981" fmla="*/ 2045584 w 2617696"/>
                    <a:gd name="connsiteY981" fmla="*/ 3260 h 1576253"/>
                    <a:gd name="connsiteX982" fmla="*/ 2052104 w 2617696"/>
                    <a:gd name="connsiteY982" fmla="*/ 1630 h 1576253"/>
                    <a:gd name="connsiteX983" fmla="*/ 2056994 w 2617696"/>
                    <a:gd name="connsiteY983" fmla="*/ 0 h 1576253"/>
                    <a:gd name="connsiteX0" fmla="*/ 361849 w 2617696"/>
                    <a:gd name="connsiteY0" fmla="*/ 1512590 h 1576253"/>
                    <a:gd name="connsiteX1" fmla="*/ 362167 w 2617696"/>
                    <a:gd name="connsiteY1" fmla="*/ 1513862 h 1576253"/>
                    <a:gd name="connsiteX2" fmla="*/ 361350 w 2617696"/>
                    <a:gd name="connsiteY2" fmla="*/ 1514089 h 1576253"/>
                    <a:gd name="connsiteX3" fmla="*/ 361849 w 2617696"/>
                    <a:gd name="connsiteY3" fmla="*/ 1512590 h 1576253"/>
                    <a:gd name="connsiteX4" fmla="*/ 332510 w 2617696"/>
                    <a:gd name="connsiteY4" fmla="*/ 1510960 h 1576253"/>
                    <a:gd name="connsiteX5" fmla="*/ 337399 w 2617696"/>
                    <a:gd name="connsiteY5" fmla="*/ 1512590 h 1576253"/>
                    <a:gd name="connsiteX6" fmla="*/ 353431 w 2617696"/>
                    <a:gd name="connsiteY6" fmla="*/ 1516291 h 1576253"/>
                    <a:gd name="connsiteX7" fmla="*/ 361350 w 2617696"/>
                    <a:gd name="connsiteY7" fmla="*/ 1514089 h 1576253"/>
                    <a:gd name="connsiteX8" fmla="*/ 360219 w 2617696"/>
                    <a:gd name="connsiteY8" fmla="*/ 1517480 h 1576253"/>
                    <a:gd name="connsiteX9" fmla="*/ 337399 w 2617696"/>
                    <a:gd name="connsiteY9" fmla="*/ 1524000 h 1576253"/>
                    <a:gd name="connsiteX10" fmla="*/ 327620 w 2617696"/>
                    <a:gd name="connsiteY10" fmla="*/ 1528889 h 1576253"/>
                    <a:gd name="connsiteX11" fmla="*/ 325990 w 2617696"/>
                    <a:gd name="connsiteY11" fmla="*/ 1533779 h 1576253"/>
                    <a:gd name="connsiteX12" fmla="*/ 319470 w 2617696"/>
                    <a:gd name="connsiteY12" fmla="*/ 1540299 h 1576253"/>
                    <a:gd name="connsiteX13" fmla="*/ 312950 w 2617696"/>
                    <a:gd name="connsiteY13" fmla="*/ 1545189 h 1576253"/>
                    <a:gd name="connsiteX14" fmla="*/ 311320 w 2617696"/>
                    <a:gd name="connsiteY14" fmla="*/ 1556599 h 1576253"/>
                    <a:gd name="connsiteX15" fmla="*/ 304800 w 2617696"/>
                    <a:gd name="connsiteY15" fmla="*/ 1558228 h 1576253"/>
                    <a:gd name="connsiteX16" fmla="*/ 285241 w 2617696"/>
                    <a:gd name="connsiteY16" fmla="*/ 1556599 h 1576253"/>
                    <a:gd name="connsiteX17" fmla="*/ 273831 w 2617696"/>
                    <a:gd name="connsiteY17" fmla="*/ 1563118 h 1576253"/>
                    <a:gd name="connsiteX18" fmla="*/ 267312 w 2617696"/>
                    <a:gd name="connsiteY18" fmla="*/ 1558228 h 1576253"/>
                    <a:gd name="connsiteX19" fmla="*/ 277091 w 2617696"/>
                    <a:gd name="connsiteY19" fmla="*/ 1543559 h 1576253"/>
                    <a:gd name="connsiteX20" fmla="*/ 281981 w 2617696"/>
                    <a:gd name="connsiteY20" fmla="*/ 1538669 h 1576253"/>
                    <a:gd name="connsiteX21" fmla="*/ 291761 w 2617696"/>
                    <a:gd name="connsiteY21" fmla="*/ 1527260 h 1576253"/>
                    <a:gd name="connsiteX22" fmla="*/ 303170 w 2617696"/>
                    <a:gd name="connsiteY22" fmla="*/ 1528889 h 1576253"/>
                    <a:gd name="connsiteX23" fmla="*/ 308060 w 2617696"/>
                    <a:gd name="connsiteY23" fmla="*/ 1525630 h 1576253"/>
                    <a:gd name="connsiteX24" fmla="*/ 312950 w 2617696"/>
                    <a:gd name="connsiteY24" fmla="*/ 1524000 h 1576253"/>
                    <a:gd name="connsiteX25" fmla="*/ 319470 w 2617696"/>
                    <a:gd name="connsiteY25" fmla="*/ 1520740 h 1576253"/>
                    <a:gd name="connsiteX26" fmla="*/ 324360 w 2617696"/>
                    <a:gd name="connsiteY26" fmla="*/ 1517480 h 1576253"/>
                    <a:gd name="connsiteX27" fmla="*/ 332510 w 2617696"/>
                    <a:gd name="connsiteY27" fmla="*/ 1510960 h 1576253"/>
                    <a:gd name="connsiteX28" fmla="*/ 2056994 w 2617696"/>
                    <a:gd name="connsiteY28" fmla="*/ 0 h 1576253"/>
                    <a:gd name="connsiteX29" fmla="*/ 2078183 w 2617696"/>
                    <a:gd name="connsiteY29" fmla="*/ 4889 h 1576253"/>
                    <a:gd name="connsiteX30" fmla="*/ 2081443 w 2617696"/>
                    <a:gd name="connsiteY30" fmla="*/ 21189 h 1576253"/>
                    <a:gd name="connsiteX31" fmla="*/ 2089593 w 2617696"/>
                    <a:gd name="connsiteY31" fmla="*/ 32599 h 1576253"/>
                    <a:gd name="connsiteX32" fmla="*/ 2097743 w 2617696"/>
                    <a:gd name="connsiteY32" fmla="*/ 34228 h 1576253"/>
                    <a:gd name="connsiteX33" fmla="*/ 2127082 w 2617696"/>
                    <a:gd name="connsiteY33" fmla="*/ 37488 h 1576253"/>
                    <a:gd name="connsiteX34" fmla="*/ 2133601 w 2617696"/>
                    <a:gd name="connsiteY34" fmla="*/ 35858 h 1576253"/>
                    <a:gd name="connsiteX35" fmla="*/ 2138491 w 2617696"/>
                    <a:gd name="connsiteY35" fmla="*/ 34228 h 1576253"/>
                    <a:gd name="connsiteX36" fmla="*/ 2159681 w 2617696"/>
                    <a:gd name="connsiteY36" fmla="*/ 32599 h 1576253"/>
                    <a:gd name="connsiteX37" fmla="*/ 2162940 w 2617696"/>
                    <a:gd name="connsiteY37" fmla="*/ 44008 h 1576253"/>
                    <a:gd name="connsiteX38" fmla="*/ 2164570 w 2617696"/>
                    <a:gd name="connsiteY38" fmla="*/ 48898 h 1576253"/>
                    <a:gd name="connsiteX39" fmla="*/ 2174350 w 2617696"/>
                    <a:gd name="connsiteY39" fmla="*/ 47268 h 1576253"/>
                    <a:gd name="connsiteX40" fmla="*/ 2187390 w 2617696"/>
                    <a:gd name="connsiteY40" fmla="*/ 57048 h 1576253"/>
                    <a:gd name="connsiteX41" fmla="*/ 2189020 w 2617696"/>
                    <a:gd name="connsiteY41" fmla="*/ 63568 h 1576253"/>
                    <a:gd name="connsiteX42" fmla="*/ 2195539 w 2617696"/>
                    <a:gd name="connsiteY42" fmla="*/ 65197 h 1576253"/>
                    <a:gd name="connsiteX43" fmla="*/ 2200429 w 2617696"/>
                    <a:gd name="connsiteY43" fmla="*/ 68457 h 1576253"/>
                    <a:gd name="connsiteX44" fmla="*/ 2216729 w 2617696"/>
                    <a:gd name="connsiteY44" fmla="*/ 76607 h 1576253"/>
                    <a:gd name="connsiteX45" fmla="*/ 2224878 w 2617696"/>
                    <a:gd name="connsiteY45" fmla="*/ 84757 h 1576253"/>
                    <a:gd name="connsiteX46" fmla="*/ 2229768 w 2617696"/>
                    <a:gd name="connsiteY46" fmla="*/ 88017 h 1576253"/>
                    <a:gd name="connsiteX47" fmla="*/ 2234658 w 2617696"/>
                    <a:gd name="connsiteY47" fmla="*/ 89647 h 1576253"/>
                    <a:gd name="connsiteX48" fmla="*/ 2236288 w 2617696"/>
                    <a:gd name="connsiteY48" fmla="*/ 104316 h 1576253"/>
                    <a:gd name="connsiteX49" fmla="*/ 2237918 w 2617696"/>
                    <a:gd name="connsiteY49" fmla="*/ 109206 h 1576253"/>
                    <a:gd name="connsiteX50" fmla="*/ 2241178 w 2617696"/>
                    <a:gd name="connsiteY50" fmla="*/ 114096 h 1576253"/>
                    <a:gd name="connsiteX51" fmla="*/ 2242808 w 2617696"/>
                    <a:gd name="connsiteY51" fmla="*/ 122246 h 1576253"/>
                    <a:gd name="connsiteX52" fmla="*/ 2246068 w 2617696"/>
                    <a:gd name="connsiteY52" fmla="*/ 127135 h 1576253"/>
                    <a:gd name="connsiteX53" fmla="*/ 2242808 w 2617696"/>
                    <a:gd name="connsiteY53" fmla="*/ 132025 h 1576253"/>
                    <a:gd name="connsiteX54" fmla="*/ 2237918 w 2617696"/>
                    <a:gd name="connsiteY54" fmla="*/ 135285 h 1576253"/>
                    <a:gd name="connsiteX55" fmla="*/ 2226508 w 2617696"/>
                    <a:gd name="connsiteY55" fmla="*/ 140175 h 1576253"/>
                    <a:gd name="connsiteX56" fmla="*/ 2218359 w 2617696"/>
                    <a:gd name="connsiteY56" fmla="*/ 148325 h 1576253"/>
                    <a:gd name="connsiteX57" fmla="*/ 2223248 w 2617696"/>
                    <a:gd name="connsiteY57" fmla="*/ 151585 h 1576253"/>
                    <a:gd name="connsiteX58" fmla="*/ 2234658 w 2617696"/>
                    <a:gd name="connsiteY58" fmla="*/ 158104 h 1576253"/>
                    <a:gd name="connsiteX59" fmla="*/ 2233028 w 2617696"/>
                    <a:gd name="connsiteY59" fmla="*/ 162994 h 1576253"/>
                    <a:gd name="connsiteX60" fmla="*/ 2241178 w 2617696"/>
                    <a:gd name="connsiteY60" fmla="*/ 167884 h 1576253"/>
                    <a:gd name="connsiteX61" fmla="*/ 2260737 w 2617696"/>
                    <a:gd name="connsiteY61" fmla="*/ 171144 h 1576253"/>
                    <a:gd name="connsiteX62" fmla="*/ 2262367 w 2617696"/>
                    <a:gd name="connsiteY62" fmla="*/ 180924 h 1576253"/>
                    <a:gd name="connsiteX63" fmla="*/ 2255847 w 2617696"/>
                    <a:gd name="connsiteY63" fmla="*/ 185814 h 1576253"/>
                    <a:gd name="connsiteX64" fmla="*/ 2283556 w 2617696"/>
                    <a:gd name="connsiteY64" fmla="*/ 192333 h 1576253"/>
                    <a:gd name="connsiteX65" fmla="*/ 2319415 w 2617696"/>
                    <a:gd name="connsiteY65" fmla="*/ 185814 h 1576253"/>
                    <a:gd name="connsiteX66" fmla="*/ 2327565 w 2617696"/>
                    <a:gd name="connsiteY66" fmla="*/ 179294 h 1576253"/>
                    <a:gd name="connsiteX67" fmla="*/ 2334085 w 2617696"/>
                    <a:gd name="connsiteY67" fmla="*/ 167884 h 1576253"/>
                    <a:gd name="connsiteX68" fmla="*/ 2345494 w 2617696"/>
                    <a:gd name="connsiteY68" fmla="*/ 164624 h 1576253"/>
                    <a:gd name="connsiteX69" fmla="*/ 2352014 w 2617696"/>
                    <a:gd name="connsiteY69" fmla="*/ 166254 h 1576253"/>
                    <a:gd name="connsiteX70" fmla="*/ 2365054 w 2617696"/>
                    <a:gd name="connsiteY70" fmla="*/ 172774 h 1576253"/>
                    <a:gd name="connsiteX71" fmla="*/ 2371574 w 2617696"/>
                    <a:gd name="connsiteY71" fmla="*/ 182554 h 1576253"/>
                    <a:gd name="connsiteX72" fmla="*/ 2392763 w 2617696"/>
                    <a:gd name="connsiteY72" fmla="*/ 185814 h 1576253"/>
                    <a:gd name="connsiteX73" fmla="*/ 2407432 w 2617696"/>
                    <a:gd name="connsiteY73" fmla="*/ 195593 h 1576253"/>
                    <a:gd name="connsiteX74" fmla="*/ 2417212 w 2617696"/>
                    <a:gd name="connsiteY74" fmla="*/ 202113 h 1576253"/>
                    <a:gd name="connsiteX75" fmla="*/ 2422102 w 2617696"/>
                    <a:gd name="connsiteY75" fmla="*/ 205373 h 1576253"/>
                    <a:gd name="connsiteX76" fmla="*/ 2423732 w 2617696"/>
                    <a:gd name="connsiteY76" fmla="*/ 210263 h 1576253"/>
                    <a:gd name="connsiteX77" fmla="*/ 2404173 w 2617696"/>
                    <a:gd name="connsiteY77" fmla="*/ 207003 h 1576253"/>
                    <a:gd name="connsiteX78" fmla="*/ 2399283 w 2617696"/>
                    <a:gd name="connsiteY78" fmla="*/ 208633 h 1576253"/>
                    <a:gd name="connsiteX79" fmla="*/ 2396023 w 2617696"/>
                    <a:gd name="connsiteY79" fmla="*/ 223302 h 1576253"/>
                    <a:gd name="connsiteX80" fmla="*/ 2399283 w 2617696"/>
                    <a:gd name="connsiteY80" fmla="*/ 236342 h 1576253"/>
                    <a:gd name="connsiteX81" fmla="*/ 2400913 w 2617696"/>
                    <a:gd name="connsiteY81" fmla="*/ 244492 h 1576253"/>
                    <a:gd name="connsiteX82" fmla="*/ 2404173 w 2617696"/>
                    <a:gd name="connsiteY82" fmla="*/ 251011 h 1576253"/>
                    <a:gd name="connsiteX83" fmla="*/ 2407432 w 2617696"/>
                    <a:gd name="connsiteY83" fmla="*/ 255901 h 1576253"/>
                    <a:gd name="connsiteX84" fmla="*/ 2410692 w 2617696"/>
                    <a:gd name="connsiteY84" fmla="*/ 267311 h 1576253"/>
                    <a:gd name="connsiteX85" fmla="*/ 2405802 w 2617696"/>
                    <a:gd name="connsiteY85" fmla="*/ 270571 h 1576253"/>
                    <a:gd name="connsiteX86" fmla="*/ 2404173 w 2617696"/>
                    <a:gd name="connsiteY86" fmla="*/ 277091 h 1576253"/>
                    <a:gd name="connsiteX87" fmla="*/ 2399283 w 2617696"/>
                    <a:gd name="connsiteY87" fmla="*/ 283610 h 1576253"/>
                    <a:gd name="connsiteX88" fmla="*/ 2379723 w 2617696"/>
                    <a:gd name="connsiteY88" fmla="*/ 285240 h 1576253"/>
                    <a:gd name="connsiteX89" fmla="*/ 2366684 w 2617696"/>
                    <a:gd name="connsiteY89" fmla="*/ 281980 h 1576253"/>
                    <a:gd name="connsiteX90" fmla="*/ 2361794 w 2617696"/>
                    <a:gd name="connsiteY90" fmla="*/ 285240 h 1576253"/>
                    <a:gd name="connsiteX91" fmla="*/ 2363424 w 2617696"/>
                    <a:gd name="connsiteY91" fmla="*/ 295020 h 1576253"/>
                    <a:gd name="connsiteX92" fmla="*/ 2365054 w 2617696"/>
                    <a:gd name="connsiteY92" fmla="*/ 301540 h 1576253"/>
                    <a:gd name="connsiteX93" fmla="*/ 2376463 w 2617696"/>
                    <a:gd name="connsiteY93" fmla="*/ 308060 h 1576253"/>
                    <a:gd name="connsiteX94" fmla="*/ 2378093 w 2617696"/>
                    <a:gd name="connsiteY94" fmla="*/ 312949 h 1576253"/>
                    <a:gd name="connsiteX95" fmla="*/ 2381353 w 2617696"/>
                    <a:gd name="connsiteY95" fmla="*/ 319469 h 1576253"/>
                    <a:gd name="connsiteX96" fmla="*/ 2392763 w 2617696"/>
                    <a:gd name="connsiteY96" fmla="*/ 334139 h 1576253"/>
                    <a:gd name="connsiteX97" fmla="*/ 2397653 w 2617696"/>
                    <a:gd name="connsiteY97" fmla="*/ 355328 h 1576253"/>
                    <a:gd name="connsiteX98" fmla="*/ 2412322 w 2617696"/>
                    <a:gd name="connsiteY98" fmla="*/ 358588 h 1576253"/>
                    <a:gd name="connsiteX99" fmla="*/ 2422102 w 2617696"/>
                    <a:gd name="connsiteY99" fmla="*/ 360218 h 1576253"/>
                    <a:gd name="connsiteX100" fmla="*/ 2428622 w 2617696"/>
                    <a:gd name="connsiteY100" fmla="*/ 363478 h 1576253"/>
                    <a:gd name="connsiteX101" fmla="*/ 2436771 w 2617696"/>
                    <a:gd name="connsiteY101" fmla="*/ 365108 h 1576253"/>
                    <a:gd name="connsiteX102" fmla="*/ 2438401 w 2617696"/>
                    <a:gd name="connsiteY102" fmla="*/ 384667 h 1576253"/>
                    <a:gd name="connsiteX103" fmla="*/ 2440031 w 2617696"/>
                    <a:gd name="connsiteY103" fmla="*/ 389557 h 1576253"/>
                    <a:gd name="connsiteX104" fmla="*/ 2449811 w 2617696"/>
                    <a:gd name="connsiteY104" fmla="*/ 399337 h 1576253"/>
                    <a:gd name="connsiteX105" fmla="*/ 2453071 w 2617696"/>
                    <a:gd name="connsiteY105" fmla="*/ 409116 h 1576253"/>
                    <a:gd name="connsiteX106" fmla="*/ 2454701 w 2617696"/>
                    <a:gd name="connsiteY106" fmla="*/ 415636 h 1576253"/>
                    <a:gd name="connsiteX107" fmla="*/ 2459591 w 2617696"/>
                    <a:gd name="connsiteY107" fmla="*/ 438455 h 1576253"/>
                    <a:gd name="connsiteX108" fmla="*/ 2487300 w 2617696"/>
                    <a:gd name="connsiteY108" fmla="*/ 440085 h 1576253"/>
                    <a:gd name="connsiteX109" fmla="*/ 2492190 w 2617696"/>
                    <a:gd name="connsiteY109" fmla="*/ 441715 h 1576253"/>
                    <a:gd name="connsiteX110" fmla="*/ 2493820 w 2617696"/>
                    <a:gd name="connsiteY110" fmla="*/ 451495 h 1576253"/>
                    <a:gd name="connsiteX111" fmla="*/ 2490560 w 2617696"/>
                    <a:gd name="connsiteY111" fmla="*/ 466164 h 1576253"/>
                    <a:gd name="connsiteX112" fmla="*/ 2487300 w 2617696"/>
                    <a:gd name="connsiteY112" fmla="*/ 471054 h 1576253"/>
                    <a:gd name="connsiteX113" fmla="*/ 2492190 w 2617696"/>
                    <a:gd name="connsiteY113" fmla="*/ 475944 h 1576253"/>
                    <a:gd name="connsiteX114" fmla="*/ 2493820 w 2617696"/>
                    <a:gd name="connsiteY114" fmla="*/ 482464 h 1576253"/>
                    <a:gd name="connsiteX115" fmla="*/ 2495450 w 2617696"/>
                    <a:gd name="connsiteY115" fmla="*/ 492243 h 1576253"/>
                    <a:gd name="connsiteX116" fmla="*/ 2493820 w 2617696"/>
                    <a:gd name="connsiteY116" fmla="*/ 497133 h 1576253"/>
                    <a:gd name="connsiteX117" fmla="*/ 2492190 w 2617696"/>
                    <a:gd name="connsiteY117" fmla="*/ 508543 h 1576253"/>
                    <a:gd name="connsiteX118" fmla="*/ 2485670 w 2617696"/>
                    <a:gd name="connsiteY118" fmla="*/ 519953 h 1576253"/>
                    <a:gd name="connsiteX119" fmla="*/ 2482410 w 2617696"/>
                    <a:gd name="connsiteY119" fmla="*/ 526472 h 1576253"/>
                    <a:gd name="connsiteX120" fmla="*/ 2484040 w 2617696"/>
                    <a:gd name="connsiteY120" fmla="*/ 531362 h 1576253"/>
                    <a:gd name="connsiteX121" fmla="*/ 2495450 w 2617696"/>
                    <a:gd name="connsiteY121" fmla="*/ 529732 h 1576253"/>
                    <a:gd name="connsiteX122" fmla="*/ 2501969 w 2617696"/>
                    <a:gd name="connsiteY122" fmla="*/ 528102 h 1576253"/>
                    <a:gd name="connsiteX123" fmla="*/ 2506859 w 2617696"/>
                    <a:gd name="connsiteY123" fmla="*/ 526472 h 1576253"/>
                    <a:gd name="connsiteX124" fmla="*/ 2516639 w 2617696"/>
                    <a:gd name="connsiteY124" fmla="*/ 524842 h 1576253"/>
                    <a:gd name="connsiteX125" fmla="*/ 2518269 w 2617696"/>
                    <a:gd name="connsiteY125" fmla="*/ 534622 h 1576253"/>
                    <a:gd name="connsiteX126" fmla="*/ 2523159 w 2617696"/>
                    <a:gd name="connsiteY126" fmla="*/ 532992 h 1576253"/>
                    <a:gd name="connsiteX127" fmla="*/ 2539458 w 2617696"/>
                    <a:gd name="connsiteY127" fmla="*/ 531362 h 1576253"/>
                    <a:gd name="connsiteX128" fmla="*/ 2545978 w 2617696"/>
                    <a:gd name="connsiteY128" fmla="*/ 532992 h 1576253"/>
                    <a:gd name="connsiteX129" fmla="*/ 2550868 w 2617696"/>
                    <a:gd name="connsiteY129" fmla="*/ 549292 h 1576253"/>
                    <a:gd name="connsiteX130" fmla="*/ 2552498 w 2617696"/>
                    <a:gd name="connsiteY130" fmla="*/ 555811 h 1576253"/>
                    <a:gd name="connsiteX131" fmla="*/ 2563907 w 2617696"/>
                    <a:gd name="connsiteY131" fmla="*/ 562331 h 1576253"/>
                    <a:gd name="connsiteX132" fmla="*/ 2562277 w 2617696"/>
                    <a:gd name="connsiteY132" fmla="*/ 572111 h 1576253"/>
                    <a:gd name="connsiteX133" fmla="*/ 2567167 w 2617696"/>
                    <a:gd name="connsiteY133" fmla="*/ 573741 h 1576253"/>
                    <a:gd name="connsiteX134" fmla="*/ 2573687 w 2617696"/>
                    <a:gd name="connsiteY134" fmla="*/ 577001 h 1576253"/>
                    <a:gd name="connsiteX135" fmla="*/ 2589986 w 2617696"/>
                    <a:gd name="connsiteY135" fmla="*/ 581891 h 1576253"/>
                    <a:gd name="connsiteX136" fmla="*/ 2594876 w 2617696"/>
                    <a:gd name="connsiteY136" fmla="*/ 583520 h 1576253"/>
                    <a:gd name="connsiteX137" fmla="*/ 2599766 w 2617696"/>
                    <a:gd name="connsiteY137" fmla="*/ 586780 h 1576253"/>
                    <a:gd name="connsiteX138" fmla="*/ 2604656 w 2617696"/>
                    <a:gd name="connsiteY138" fmla="*/ 588410 h 1576253"/>
                    <a:gd name="connsiteX139" fmla="*/ 2609546 w 2617696"/>
                    <a:gd name="connsiteY139" fmla="*/ 609600 h 1576253"/>
                    <a:gd name="connsiteX140" fmla="*/ 2611176 w 2617696"/>
                    <a:gd name="connsiteY140" fmla="*/ 614489 h 1576253"/>
                    <a:gd name="connsiteX141" fmla="*/ 2617696 w 2617696"/>
                    <a:gd name="connsiteY141" fmla="*/ 621009 h 1576253"/>
                    <a:gd name="connsiteX142" fmla="*/ 2596506 w 2617696"/>
                    <a:gd name="connsiteY142" fmla="*/ 622639 h 1576253"/>
                    <a:gd name="connsiteX143" fmla="*/ 2588356 w 2617696"/>
                    <a:gd name="connsiteY143" fmla="*/ 624269 h 1576253"/>
                    <a:gd name="connsiteX144" fmla="*/ 2580207 w 2617696"/>
                    <a:gd name="connsiteY144" fmla="*/ 635679 h 1576253"/>
                    <a:gd name="connsiteX145" fmla="*/ 2578577 w 2617696"/>
                    <a:gd name="connsiteY145" fmla="*/ 647088 h 1576253"/>
                    <a:gd name="connsiteX146" fmla="*/ 2576947 w 2617696"/>
                    <a:gd name="connsiteY146" fmla="*/ 651978 h 1576253"/>
                    <a:gd name="connsiteX147" fmla="*/ 2568797 w 2617696"/>
                    <a:gd name="connsiteY147" fmla="*/ 661758 h 1576253"/>
                    <a:gd name="connsiteX148" fmla="*/ 2567167 w 2617696"/>
                    <a:gd name="connsiteY148" fmla="*/ 666648 h 1576253"/>
                    <a:gd name="connsiteX149" fmla="*/ 2562277 w 2617696"/>
                    <a:gd name="connsiteY149" fmla="*/ 668278 h 1576253"/>
                    <a:gd name="connsiteX150" fmla="*/ 2572057 w 2617696"/>
                    <a:gd name="connsiteY150" fmla="*/ 682947 h 1576253"/>
                    <a:gd name="connsiteX151" fmla="*/ 2576947 w 2617696"/>
                    <a:gd name="connsiteY151" fmla="*/ 689467 h 1576253"/>
                    <a:gd name="connsiteX152" fmla="*/ 2545978 w 2617696"/>
                    <a:gd name="connsiteY152" fmla="*/ 691097 h 1576253"/>
                    <a:gd name="connsiteX153" fmla="*/ 2539458 w 2617696"/>
                    <a:gd name="connsiteY153" fmla="*/ 686207 h 1576253"/>
                    <a:gd name="connsiteX154" fmla="*/ 2534568 w 2617696"/>
                    <a:gd name="connsiteY154" fmla="*/ 682947 h 1576253"/>
                    <a:gd name="connsiteX155" fmla="*/ 2531308 w 2617696"/>
                    <a:gd name="connsiteY155" fmla="*/ 669908 h 1576253"/>
                    <a:gd name="connsiteX156" fmla="*/ 2537828 w 2617696"/>
                    <a:gd name="connsiteY156" fmla="*/ 643828 h 1576253"/>
                    <a:gd name="connsiteX157" fmla="*/ 2534568 w 2617696"/>
                    <a:gd name="connsiteY157" fmla="*/ 637309 h 1576253"/>
                    <a:gd name="connsiteX158" fmla="*/ 2510119 w 2617696"/>
                    <a:gd name="connsiteY158" fmla="*/ 635679 h 1576253"/>
                    <a:gd name="connsiteX159" fmla="*/ 2500339 w 2617696"/>
                    <a:gd name="connsiteY159" fmla="*/ 638939 h 1576253"/>
                    <a:gd name="connsiteX160" fmla="*/ 2497079 w 2617696"/>
                    <a:gd name="connsiteY160" fmla="*/ 650348 h 1576253"/>
                    <a:gd name="connsiteX161" fmla="*/ 2493820 w 2617696"/>
                    <a:gd name="connsiteY161" fmla="*/ 674797 h 1576253"/>
                    <a:gd name="connsiteX162" fmla="*/ 2484040 w 2617696"/>
                    <a:gd name="connsiteY162" fmla="*/ 681317 h 1576253"/>
                    <a:gd name="connsiteX163" fmla="*/ 2477520 w 2617696"/>
                    <a:gd name="connsiteY163" fmla="*/ 686207 h 1576253"/>
                    <a:gd name="connsiteX164" fmla="*/ 2471000 w 2617696"/>
                    <a:gd name="connsiteY164" fmla="*/ 676427 h 1576253"/>
                    <a:gd name="connsiteX165" fmla="*/ 2466111 w 2617696"/>
                    <a:gd name="connsiteY165" fmla="*/ 674797 h 1576253"/>
                    <a:gd name="connsiteX166" fmla="*/ 2461221 w 2617696"/>
                    <a:gd name="connsiteY166" fmla="*/ 671538 h 1576253"/>
                    <a:gd name="connsiteX167" fmla="*/ 2451441 w 2617696"/>
                    <a:gd name="connsiteY167" fmla="*/ 678057 h 1576253"/>
                    <a:gd name="connsiteX168" fmla="*/ 2443291 w 2617696"/>
                    <a:gd name="connsiteY168" fmla="*/ 681317 h 1576253"/>
                    <a:gd name="connsiteX169" fmla="*/ 2438401 w 2617696"/>
                    <a:gd name="connsiteY169" fmla="*/ 678057 h 1576253"/>
                    <a:gd name="connsiteX170" fmla="*/ 2430252 w 2617696"/>
                    <a:gd name="connsiteY170" fmla="*/ 671538 h 1576253"/>
                    <a:gd name="connsiteX171" fmla="*/ 2420472 w 2617696"/>
                    <a:gd name="connsiteY171" fmla="*/ 673168 h 1576253"/>
                    <a:gd name="connsiteX172" fmla="*/ 2397653 w 2617696"/>
                    <a:gd name="connsiteY172" fmla="*/ 674797 h 1576253"/>
                    <a:gd name="connsiteX173" fmla="*/ 2391801 w 2617696"/>
                    <a:gd name="connsiteY173" fmla="*/ 676051 h 1576253"/>
                    <a:gd name="connsiteX174" fmla="*/ 2391132 w 2617696"/>
                    <a:gd name="connsiteY174" fmla="*/ 678057 h 1576253"/>
                    <a:gd name="connsiteX175" fmla="*/ 2384612 w 2617696"/>
                    <a:gd name="connsiteY175" fmla="*/ 681317 h 1576253"/>
                    <a:gd name="connsiteX176" fmla="*/ 2382982 w 2617696"/>
                    <a:gd name="connsiteY176" fmla="*/ 686207 h 1576253"/>
                    <a:gd name="connsiteX177" fmla="*/ 2369943 w 2617696"/>
                    <a:gd name="connsiteY177" fmla="*/ 702507 h 1576253"/>
                    <a:gd name="connsiteX178" fmla="*/ 2361793 w 2617696"/>
                    <a:gd name="connsiteY178" fmla="*/ 704137 h 1576253"/>
                    <a:gd name="connsiteX179" fmla="*/ 2337344 w 2617696"/>
                    <a:gd name="connsiteY179" fmla="*/ 748145 h 1576253"/>
                    <a:gd name="connsiteX180" fmla="*/ 2330824 w 2617696"/>
                    <a:gd name="connsiteY180" fmla="*/ 751405 h 1576253"/>
                    <a:gd name="connsiteX181" fmla="*/ 2322674 w 2617696"/>
                    <a:gd name="connsiteY181" fmla="*/ 754665 h 1576253"/>
                    <a:gd name="connsiteX182" fmla="*/ 2321044 w 2617696"/>
                    <a:gd name="connsiteY182" fmla="*/ 759555 h 1576253"/>
                    <a:gd name="connsiteX183" fmla="*/ 2306375 w 2617696"/>
                    <a:gd name="connsiteY183" fmla="*/ 769334 h 1576253"/>
                    <a:gd name="connsiteX184" fmla="*/ 2296595 w 2617696"/>
                    <a:gd name="connsiteY184" fmla="*/ 764445 h 1576253"/>
                    <a:gd name="connsiteX185" fmla="*/ 2298225 w 2617696"/>
                    <a:gd name="connsiteY185" fmla="*/ 759555 h 1576253"/>
                    <a:gd name="connsiteX186" fmla="*/ 2299855 w 2617696"/>
                    <a:gd name="connsiteY186" fmla="*/ 743255 h 1576253"/>
                    <a:gd name="connsiteX187" fmla="*/ 2268886 w 2617696"/>
                    <a:gd name="connsiteY187" fmla="*/ 746515 h 1576253"/>
                    <a:gd name="connsiteX188" fmla="*/ 2260736 w 2617696"/>
                    <a:gd name="connsiteY188" fmla="*/ 753035 h 1576253"/>
                    <a:gd name="connsiteX189" fmla="*/ 2254216 w 2617696"/>
                    <a:gd name="connsiteY189" fmla="*/ 759555 h 1576253"/>
                    <a:gd name="connsiteX190" fmla="*/ 2252587 w 2617696"/>
                    <a:gd name="connsiteY190" fmla="*/ 764445 h 1576253"/>
                    <a:gd name="connsiteX191" fmla="*/ 2249327 w 2617696"/>
                    <a:gd name="connsiteY191" fmla="*/ 772594 h 1576253"/>
                    <a:gd name="connsiteX192" fmla="*/ 2247697 w 2617696"/>
                    <a:gd name="connsiteY192" fmla="*/ 779114 h 1576253"/>
                    <a:gd name="connsiteX193" fmla="*/ 2244437 w 2617696"/>
                    <a:gd name="connsiteY193" fmla="*/ 788894 h 1576253"/>
                    <a:gd name="connsiteX194" fmla="*/ 2229767 w 2617696"/>
                    <a:gd name="connsiteY194" fmla="*/ 798673 h 1576253"/>
                    <a:gd name="connsiteX195" fmla="*/ 2224877 w 2617696"/>
                    <a:gd name="connsiteY195" fmla="*/ 801933 h 1576253"/>
                    <a:gd name="connsiteX196" fmla="*/ 2218358 w 2617696"/>
                    <a:gd name="connsiteY196" fmla="*/ 808453 h 1576253"/>
                    <a:gd name="connsiteX197" fmla="*/ 2210208 w 2617696"/>
                    <a:gd name="connsiteY197" fmla="*/ 816603 h 1576253"/>
                    <a:gd name="connsiteX198" fmla="*/ 2200428 w 2617696"/>
                    <a:gd name="connsiteY198" fmla="*/ 826383 h 1576253"/>
                    <a:gd name="connsiteX199" fmla="*/ 2189019 w 2617696"/>
                    <a:gd name="connsiteY199" fmla="*/ 834532 h 1576253"/>
                    <a:gd name="connsiteX200" fmla="*/ 2171089 w 2617696"/>
                    <a:gd name="connsiteY200" fmla="*/ 837792 h 1576253"/>
                    <a:gd name="connsiteX201" fmla="*/ 2166199 w 2617696"/>
                    <a:gd name="connsiteY201" fmla="*/ 841052 h 1576253"/>
                    <a:gd name="connsiteX202" fmla="*/ 2149900 w 2617696"/>
                    <a:gd name="connsiteY202" fmla="*/ 850832 h 1576253"/>
                    <a:gd name="connsiteX203" fmla="*/ 2143380 w 2617696"/>
                    <a:gd name="connsiteY203" fmla="*/ 855722 h 1576253"/>
                    <a:gd name="connsiteX204" fmla="*/ 2138490 w 2617696"/>
                    <a:gd name="connsiteY204" fmla="*/ 858981 h 1576253"/>
                    <a:gd name="connsiteX205" fmla="*/ 2135230 w 2617696"/>
                    <a:gd name="connsiteY205" fmla="*/ 863871 h 1576253"/>
                    <a:gd name="connsiteX206" fmla="*/ 2115671 w 2617696"/>
                    <a:gd name="connsiteY206" fmla="*/ 865501 h 1576253"/>
                    <a:gd name="connsiteX207" fmla="*/ 2110781 w 2617696"/>
                    <a:gd name="connsiteY207" fmla="*/ 868761 h 1576253"/>
                    <a:gd name="connsiteX208" fmla="*/ 2105891 w 2617696"/>
                    <a:gd name="connsiteY208" fmla="*/ 870391 h 1576253"/>
                    <a:gd name="connsiteX209" fmla="*/ 2096112 w 2617696"/>
                    <a:gd name="connsiteY209" fmla="*/ 873651 h 1576253"/>
                    <a:gd name="connsiteX210" fmla="*/ 2092852 w 2617696"/>
                    <a:gd name="connsiteY210" fmla="*/ 878541 h 1576253"/>
                    <a:gd name="connsiteX211" fmla="*/ 2079812 w 2617696"/>
                    <a:gd name="connsiteY211" fmla="*/ 888320 h 1576253"/>
                    <a:gd name="connsiteX212" fmla="*/ 2071662 w 2617696"/>
                    <a:gd name="connsiteY212" fmla="*/ 896470 h 1576253"/>
                    <a:gd name="connsiteX213" fmla="*/ 2066773 w 2617696"/>
                    <a:gd name="connsiteY213" fmla="*/ 899730 h 1576253"/>
                    <a:gd name="connsiteX214" fmla="*/ 2063513 w 2617696"/>
                    <a:gd name="connsiteY214" fmla="*/ 906250 h 1576253"/>
                    <a:gd name="connsiteX215" fmla="*/ 2060253 w 2617696"/>
                    <a:gd name="connsiteY215" fmla="*/ 922549 h 1576253"/>
                    <a:gd name="connsiteX216" fmla="*/ 2058623 w 2617696"/>
                    <a:gd name="connsiteY216" fmla="*/ 927439 h 1576253"/>
                    <a:gd name="connsiteX217" fmla="*/ 2050473 w 2617696"/>
                    <a:gd name="connsiteY217" fmla="*/ 938849 h 1576253"/>
                    <a:gd name="connsiteX218" fmla="*/ 2045583 w 2617696"/>
                    <a:gd name="connsiteY218" fmla="*/ 943739 h 1576253"/>
                    <a:gd name="connsiteX219" fmla="*/ 2040693 w 2617696"/>
                    <a:gd name="connsiteY219" fmla="*/ 950258 h 1576253"/>
                    <a:gd name="connsiteX220" fmla="*/ 2027654 w 2617696"/>
                    <a:gd name="connsiteY220" fmla="*/ 961668 h 1576253"/>
                    <a:gd name="connsiteX221" fmla="*/ 2021134 w 2617696"/>
                    <a:gd name="connsiteY221" fmla="*/ 969818 h 1576253"/>
                    <a:gd name="connsiteX222" fmla="*/ 2014614 w 2617696"/>
                    <a:gd name="connsiteY222" fmla="*/ 973078 h 1576253"/>
                    <a:gd name="connsiteX223" fmla="*/ 2009724 w 2617696"/>
                    <a:gd name="connsiteY223" fmla="*/ 974708 h 1576253"/>
                    <a:gd name="connsiteX224" fmla="*/ 1991795 w 2617696"/>
                    <a:gd name="connsiteY224" fmla="*/ 986117 h 1576253"/>
                    <a:gd name="connsiteX225" fmla="*/ 1985275 w 2617696"/>
                    <a:gd name="connsiteY225" fmla="*/ 987747 h 1576253"/>
                    <a:gd name="connsiteX226" fmla="*/ 1967346 w 2617696"/>
                    <a:gd name="connsiteY226" fmla="*/ 994267 h 1576253"/>
                    <a:gd name="connsiteX227" fmla="*/ 1959196 w 2617696"/>
                    <a:gd name="connsiteY227" fmla="*/ 995897 h 1576253"/>
                    <a:gd name="connsiteX228" fmla="*/ 1954306 w 2617696"/>
                    <a:gd name="connsiteY228" fmla="*/ 1005677 h 1576253"/>
                    <a:gd name="connsiteX229" fmla="*/ 1942897 w 2617696"/>
                    <a:gd name="connsiteY229" fmla="*/ 1010566 h 1576253"/>
                    <a:gd name="connsiteX230" fmla="*/ 1938007 w 2617696"/>
                    <a:gd name="connsiteY230" fmla="*/ 1012196 h 1576253"/>
                    <a:gd name="connsiteX231" fmla="*/ 1928227 w 2617696"/>
                    <a:gd name="connsiteY231" fmla="*/ 1017086 h 1576253"/>
                    <a:gd name="connsiteX232" fmla="*/ 1915188 w 2617696"/>
                    <a:gd name="connsiteY232" fmla="*/ 1026866 h 1576253"/>
                    <a:gd name="connsiteX233" fmla="*/ 1905408 w 2617696"/>
                    <a:gd name="connsiteY233" fmla="*/ 1030126 h 1576253"/>
                    <a:gd name="connsiteX234" fmla="*/ 1890738 w 2617696"/>
                    <a:gd name="connsiteY234" fmla="*/ 1033386 h 1576253"/>
                    <a:gd name="connsiteX235" fmla="*/ 1884219 w 2617696"/>
                    <a:gd name="connsiteY235" fmla="*/ 1035016 h 1576253"/>
                    <a:gd name="connsiteX236" fmla="*/ 1871179 w 2617696"/>
                    <a:gd name="connsiteY236" fmla="*/ 1036646 h 1576253"/>
                    <a:gd name="connsiteX237" fmla="*/ 1866289 w 2617696"/>
                    <a:gd name="connsiteY237" fmla="*/ 1039906 h 1576253"/>
                    <a:gd name="connsiteX238" fmla="*/ 1863029 w 2617696"/>
                    <a:gd name="connsiteY238" fmla="*/ 1044795 h 1576253"/>
                    <a:gd name="connsiteX239" fmla="*/ 1838580 w 2617696"/>
                    <a:gd name="connsiteY239" fmla="*/ 1046425 h 1576253"/>
                    <a:gd name="connsiteX240" fmla="*/ 1830430 w 2617696"/>
                    <a:gd name="connsiteY240" fmla="*/ 1044795 h 1576253"/>
                    <a:gd name="connsiteX241" fmla="*/ 1823911 w 2617696"/>
                    <a:gd name="connsiteY241" fmla="*/ 1043165 h 1576253"/>
                    <a:gd name="connsiteX242" fmla="*/ 1822281 w 2617696"/>
                    <a:gd name="connsiteY242" fmla="*/ 1038276 h 1576253"/>
                    <a:gd name="connsiteX243" fmla="*/ 1792942 w 2617696"/>
                    <a:gd name="connsiteY243" fmla="*/ 1038276 h 1576253"/>
                    <a:gd name="connsiteX244" fmla="*/ 1771752 w 2617696"/>
                    <a:gd name="connsiteY244" fmla="*/ 1039906 h 1576253"/>
                    <a:gd name="connsiteX245" fmla="*/ 1765233 w 2617696"/>
                    <a:gd name="connsiteY245" fmla="*/ 1041535 h 1576253"/>
                    <a:gd name="connsiteX246" fmla="*/ 1761973 w 2617696"/>
                    <a:gd name="connsiteY246" fmla="*/ 1046425 h 1576253"/>
                    <a:gd name="connsiteX247" fmla="*/ 1750563 w 2617696"/>
                    <a:gd name="connsiteY247" fmla="*/ 1056205 h 1576253"/>
                    <a:gd name="connsiteX248" fmla="*/ 1748933 w 2617696"/>
                    <a:gd name="connsiteY248" fmla="*/ 1061095 h 1576253"/>
                    <a:gd name="connsiteX249" fmla="*/ 1744043 w 2617696"/>
                    <a:gd name="connsiteY249" fmla="*/ 1069245 h 1576253"/>
                    <a:gd name="connsiteX250" fmla="*/ 1734264 w 2617696"/>
                    <a:gd name="connsiteY250" fmla="*/ 1082284 h 1576253"/>
                    <a:gd name="connsiteX251" fmla="*/ 1731004 w 2617696"/>
                    <a:gd name="connsiteY251" fmla="*/ 1087174 h 1576253"/>
                    <a:gd name="connsiteX252" fmla="*/ 1719594 w 2617696"/>
                    <a:gd name="connsiteY252" fmla="*/ 1090434 h 1576253"/>
                    <a:gd name="connsiteX253" fmla="*/ 1711444 w 2617696"/>
                    <a:gd name="connsiteY253" fmla="*/ 1096954 h 1576253"/>
                    <a:gd name="connsiteX254" fmla="*/ 1704924 w 2617696"/>
                    <a:gd name="connsiteY254" fmla="*/ 1109993 h 1576253"/>
                    <a:gd name="connsiteX255" fmla="*/ 1701665 w 2617696"/>
                    <a:gd name="connsiteY255" fmla="*/ 1118143 h 1576253"/>
                    <a:gd name="connsiteX256" fmla="*/ 1693515 w 2617696"/>
                    <a:gd name="connsiteY256" fmla="*/ 1129553 h 1576253"/>
                    <a:gd name="connsiteX257" fmla="*/ 1686995 w 2617696"/>
                    <a:gd name="connsiteY257" fmla="*/ 1139332 h 1576253"/>
                    <a:gd name="connsiteX258" fmla="*/ 1680475 w 2617696"/>
                    <a:gd name="connsiteY258" fmla="*/ 1142592 h 1576253"/>
                    <a:gd name="connsiteX259" fmla="*/ 1641357 w 2617696"/>
                    <a:gd name="connsiteY259" fmla="*/ 1142592 h 1576253"/>
                    <a:gd name="connsiteX260" fmla="*/ 1638097 w 2617696"/>
                    <a:gd name="connsiteY260" fmla="*/ 1137702 h 1576253"/>
                    <a:gd name="connsiteX261" fmla="*/ 1631577 w 2617696"/>
                    <a:gd name="connsiteY261" fmla="*/ 1136072 h 1576253"/>
                    <a:gd name="connsiteX262" fmla="*/ 1626687 w 2617696"/>
                    <a:gd name="connsiteY262" fmla="*/ 1132812 h 1576253"/>
                    <a:gd name="connsiteX263" fmla="*/ 1598978 w 2617696"/>
                    <a:gd name="connsiteY263" fmla="*/ 1127923 h 1576253"/>
                    <a:gd name="connsiteX264" fmla="*/ 1574529 w 2617696"/>
                    <a:gd name="connsiteY264" fmla="*/ 1132812 h 1576253"/>
                    <a:gd name="connsiteX265" fmla="*/ 1568009 w 2617696"/>
                    <a:gd name="connsiteY265" fmla="*/ 1134442 h 1576253"/>
                    <a:gd name="connsiteX266" fmla="*/ 1564600 w 2617696"/>
                    <a:gd name="connsiteY266" fmla="*/ 1138186 h 1576253"/>
                    <a:gd name="connsiteX267" fmla="*/ 1566380 w 2617696"/>
                    <a:gd name="connsiteY267" fmla="*/ 1144222 h 1576253"/>
                    <a:gd name="connsiteX268" fmla="*/ 1572900 w 2617696"/>
                    <a:gd name="connsiteY268" fmla="*/ 1168671 h 1576253"/>
                    <a:gd name="connsiteX269" fmla="*/ 1571270 w 2617696"/>
                    <a:gd name="connsiteY269" fmla="*/ 1173561 h 1576253"/>
                    <a:gd name="connsiteX270" fmla="*/ 1569640 w 2617696"/>
                    <a:gd name="connsiteY270" fmla="*/ 1202900 h 1576253"/>
                    <a:gd name="connsiteX271" fmla="*/ 1572900 w 2617696"/>
                    <a:gd name="connsiteY271" fmla="*/ 1207790 h 1576253"/>
                    <a:gd name="connsiteX272" fmla="*/ 1579420 w 2617696"/>
                    <a:gd name="connsiteY272" fmla="*/ 1212680 h 1576253"/>
                    <a:gd name="connsiteX273" fmla="*/ 1579420 w 2617696"/>
                    <a:gd name="connsiteY273" fmla="*/ 1225719 h 1576253"/>
                    <a:gd name="connsiteX274" fmla="*/ 1577790 w 2617696"/>
                    <a:gd name="connsiteY274" fmla="*/ 1230609 h 1576253"/>
                    <a:gd name="connsiteX275" fmla="*/ 1585939 w 2617696"/>
                    <a:gd name="connsiteY275" fmla="*/ 1232239 h 1576253"/>
                    <a:gd name="connsiteX276" fmla="*/ 1594089 w 2617696"/>
                    <a:gd name="connsiteY276" fmla="*/ 1240389 h 1576253"/>
                    <a:gd name="connsiteX277" fmla="*/ 1595719 w 2617696"/>
                    <a:gd name="connsiteY277" fmla="*/ 1253428 h 1576253"/>
                    <a:gd name="connsiteX278" fmla="*/ 1563120 w 2617696"/>
                    <a:gd name="connsiteY278" fmla="*/ 1255058 h 1576253"/>
                    <a:gd name="connsiteX279" fmla="*/ 1556600 w 2617696"/>
                    <a:gd name="connsiteY279" fmla="*/ 1263208 h 1576253"/>
                    <a:gd name="connsiteX280" fmla="*/ 1550081 w 2617696"/>
                    <a:gd name="connsiteY280" fmla="*/ 1264838 h 1576253"/>
                    <a:gd name="connsiteX281" fmla="*/ 1556600 w 2617696"/>
                    <a:gd name="connsiteY281" fmla="*/ 1274618 h 1576253"/>
                    <a:gd name="connsiteX282" fmla="*/ 1564750 w 2617696"/>
                    <a:gd name="connsiteY282" fmla="*/ 1305587 h 1576253"/>
                    <a:gd name="connsiteX283" fmla="*/ 1563120 w 2617696"/>
                    <a:gd name="connsiteY283" fmla="*/ 1310477 h 1576253"/>
                    <a:gd name="connsiteX284" fmla="*/ 1558230 w 2617696"/>
                    <a:gd name="connsiteY284" fmla="*/ 1312107 h 1576253"/>
                    <a:gd name="connsiteX285" fmla="*/ 1556600 w 2617696"/>
                    <a:gd name="connsiteY285" fmla="*/ 1338186 h 1576253"/>
                    <a:gd name="connsiteX286" fmla="*/ 1554970 w 2617696"/>
                    <a:gd name="connsiteY286" fmla="*/ 1343076 h 1576253"/>
                    <a:gd name="connsiteX287" fmla="*/ 1543561 w 2617696"/>
                    <a:gd name="connsiteY287" fmla="*/ 1336556 h 1576253"/>
                    <a:gd name="connsiteX288" fmla="*/ 1525631 w 2617696"/>
                    <a:gd name="connsiteY288" fmla="*/ 1333296 h 1576253"/>
                    <a:gd name="connsiteX289" fmla="*/ 1524001 w 2617696"/>
                    <a:gd name="connsiteY289" fmla="*/ 1326776 h 1576253"/>
                    <a:gd name="connsiteX290" fmla="*/ 1512592 w 2617696"/>
                    <a:gd name="connsiteY290" fmla="*/ 1334926 h 1576253"/>
                    <a:gd name="connsiteX291" fmla="*/ 1507702 w 2617696"/>
                    <a:gd name="connsiteY291" fmla="*/ 1313737 h 1576253"/>
                    <a:gd name="connsiteX292" fmla="*/ 1501182 w 2617696"/>
                    <a:gd name="connsiteY292" fmla="*/ 1308847 h 1576253"/>
                    <a:gd name="connsiteX293" fmla="*/ 1496292 w 2617696"/>
                    <a:gd name="connsiteY293" fmla="*/ 1307217 h 1576253"/>
                    <a:gd name="connsiteX294" fmla="*/ 1493032 w 2617696"/>
                    <a:gd name="connsiteY294" fmla="*/ 1302327 h 1576253"/>
                    <a:gd name="connsiteX295" fmla="*/ 1483253 w 2617696"/>
                    <a:gd name="connsiteY295" fmla="*/ 1294177 h 1576253"/>
                    <a:gd name="connsiteX296" fmla="*/ 1476733 w 2617696"/>
                    <a:gd name="connsiteY296" fmla="*/ 1292547 h 1576253"/>
                    <a:gd name="connsiteX297" fmla="*/ 1470213 w 2617696"/>
                    <a:gd name="connsiteY297" fmla="*/ 1259948 h 1576253"/>
                    <a:gd name="connsiteX298" fmla="*/ 1475103 w 2617696"/>
                    <a:gd name="connsiteY298" fmla="*/ 1255058 h 1576253"/>
                    <a:gd name="connsiteX299" fmla="*/ 1476733 w 2617696"/>
                    <a:gd name="connsiteY299" fmla="*/ 1248539 h 1576253"/>
                    <a:gd name="connsiteX300" fmla="*/ 1484883 w 2617696"/>
                    <a:gd name="connsiteY300" fmla="*/ 1233869 h 1576253"/>
                    <a:gd name="connsiteX301" fmla="*/ 1489773 w 2617696"/>
                    <a:gd name="connsiteY301" fmla="*/ 1227349 h 1576253"/>
                    <a:gd name="connsiteX302" fmla="*/ 1493032 w 2617696"/>
                    <a:gd name="connsiteY302" fmla="*/ 1222460 h 1576253"/>
                    <a:gd name="connsiteX303" fmla="*/ 1499552 w 2617696"/>
                    <a:gd name="connsiteY303" fmla="*/ 1219200 h 1576253"/>
                    <a:gd name="connsiteX304" fmla="*/ 1504442 w 2617696"/>
                    <a:gd name="connsiteY304" fmla="*/ 1196380 h 1576253"/>
                    <a:gd name="connsiteX305" fmla="*/ 1506072 w 2617696"/>
                    <a:gd name="connsiteY305" fmla="*/ 1183341 h 1576253"/>
                    <a:gd name="connsiteX306" fmla="*/ 1502812 w 2617696"/>
                    <a:gd name="connsiteY306" fmla="*/ 1178451 h 1576253"/>
                    <a:gd name="connsiteX307" fmla="*/ 1501182 w 2617696"/>
                    <a:gd name="connsiteY307" fmla="*/ 1171931 h 1576253"/>
                    <a:gd name="connsiteX308" fmla="*/ 1488143 w 2617696"/>
                    <a:gd name="connsiteY308" fmla="*/ 1165411 h 1576253"/>
                    <a:gd name="connsiteX309" fmla="*/ 1486513 w 2617696"/>
                    <a:gd name="connsiteY309" fmla="*/ 1160522 h 1576253"/>
                    <a:gd name="connsiteX310" fmla="*/ 1484883 w 2617696"/>
                    <a:gd name="connsiteY310" fmla="*/ 1154002 h 1576253"/>
                    <a:gd name="connsiteX311" fmla="*/ 1470213 w 2617696"/>
                    <a:gd name="connsiteY311" fmla="*/ 1154002 h 1576253"/>
                    <a:gd name="connsiteX312" fmla="*/ 1468583 w 2617696"/>
                    <a:gd name="connsiteY312" fmla="*/ 1158892 h 1576253"/>
                    <a:gd name="connsiteX313" fmla="*/ 1465323 w 2617696"/>
                    <a:gd name="connsiteY313" fmla="*/ 1163781 h 1576253"/>
                    <a:gd name="connsiteX314" fmla="*/ 1462063 w 2617696"/>
                    <a:gd name="connsiteY314" fmla="*/ 1170301 h 1576253"/>
                    <a:gd name="connsiteX315" fmla="*/ 1455544 w 2617696"/>
                    <a:gd name="connsiteY315" fmla="*/ 1175191 h 1576253"/>
                    <a:gd name="connsiteX316" fmla="*/ 1452284 w 2617696"/>
                    <a:gd name="connsiteY316" fmla="*/ 1180081 h 1576253"/>
                    <a:gd name="connsiteX317" fmla="*/ 1447394 w 2617696"/>
                    <a:gd name="connsiteY317" fmla="*/ 1183341 h 1576253"/>
                    <a:gd name="connsiteX318" fmla="*/ 1444134 w 2617696"/>
                    <a:gd name="connsiteY318" fmla="*/ 1189861 h 1576253"/>
                    <a:gd name="connsiteX319" fmla="*/ 1440874 w 2617696"/>
                    <a:gd name="connsiteY319" fmla="*/ 1194750 h 1576253"/>
                    <a:gd name="connsiteX320" fmla="*/ 1432724 w 2617696"/>
                    <a:gd name="connsiteY320" fmla="*/ 1198010 h 1576253"/>
                    <a:gd name="connsiteX321" fmla="*/ 1431094 w 2617696"/>
                    <a:gd name="connsiteY321" fmla="*/ 1202900 h 1576253"/>
                    <a:gd name="connsiteX322" fmla="*/ 1421315 w 2617696"/>
                    <a:gd name="connsiteY322" fmla="*/ 1212680 h 1576253"/>
                    <a:gd name="connsiteX323" fmla="*/ 1416425 w 2617696"/>
                    <a:gd name="connsiteY323" fmla="*/ 1214310 h 1576253"/>
                    <a:gd name="connsiteX324" fmla="*/ 1414795 w 2617696"/>
                    <a:gd name="connsiteY324" fmla="*/ 1220830 h 1576253"/>
                    <a:gd name="connsiteX325" fmla="*/ 1431094 w 2617696"/>
                    <a:gd name="connsiteY325" fmla="*/ 1228979 h 1576253"/>
                    <a:gd name="connsiteX326" fmla="*/ 1424575 w 2617696"/>
                    <a:gd name="connsiteY326" fmla="*/ 1232239 h 1576253"/>
                    <a:gd name="connsiteX327" fmla="*/ 1414795 w 2617696"/>
                    <a:gd name="connsiteY327" fmla="*/ 1235499 h 1576253"/>
                    <a:gd name="connsiteX328" fmla="*/ 1413165 w 2617696"/>
                    <a:gd name="connsiteY328" fmla="*/ 1240389 h 1576253"/>
                    <a:gd name="connsiteX329" fmla="*/ 1406645 w 2617696"/>
                    <a:gd name="connsiteY329" fmla="*/ 1243649 h 1576253"/>
                    <a:gd name="connsiteX330" fmla="*/ 1395236 w 2617696"/>
                    <a:gd name="connsiteY330" fmla="*/ 1246909 h 1576253"/>
                    <a:gd name="connsiteX331" fmla="*/ 1390346 w 2617696"/>
                    <a:gd name="connsiteY331" fmla="*/ 1248539 h 1576253"/>
                    <a:gd name="connsiteX332" fmla="*/ 1385456 w 2617696"/>
                    <a:gd name="connsiteY332" fmla="*/ 1251799 h 1576253"/>
                    <a:gd name="connsiteX333" fmla="*/ 1378936 w 2617696"/>
                    <a:gd name="connsiteY333" fmla="*/ 1248539 h 1576253"/>
                    <a:gd name="connsiteX334" fmla="*/ 1380566 w 2617696"/>
                    <a:gd name="connsiteY334" fmla="*/ 1237129 h 1576253"/>
                    <a:gd name="connsiteX335" fmla="*/ 1377306 w 2617696"/>
                    <a:gd name="connsiteY335" fmla="*/ 1232239 h 1576253"/>
                    <a:gd name="connsiteX336" fmla="*/ 1372416 w 2617696"/>
                    <a:gd name="connsiteY336" fmla="*/ 1228979 h 1576253"/>
                    <a:gd name="connsiteX337" fmla="*/ 1364267 w 2617696"/>
                    <a:gd name="connsiteY337" fmla="*/ 1245279 h 1576253"/>
                    <a:gd name="connsiteX338" fmla="*/ 1346337 w 2617696"/>
                    <a:gd name="connsiteY338" fmla="*/ 1248539 h 1576253"/>
                    <a:gd name="connsiteX339" fmla="*/ 1325148 w 2617696"/>
                    <a:gd name="connsiteY339" fmla="*/ 1250169 h 1576253"/>
                    <a:gd name="connsiteX340" fmla="*/ 1323518 w 2617696"/>
                    <a:gd name="connsiteY340" fmla="*/ 1243649 h 1576253"/>
                    <a:gd name="connsiteX341" fmla="*/ 1310478 w 2617696"/>
                    <a:gd name="connsiteY341" fmla="*/ 1232239 h 1576253"/>
                    <a:gd name="connsiteX342" fmla="*/ 1305589 w 2617696"/>
                    <a:gd name="connsiteY342" fmla="*/ 1237129 h 1576253"/>
                    <a:gd name="connsiteX343" fmla="*/ 1302329 w 2617696"/>
                    <a:gd name="connsiteY343" fmla="*/ 1242019 h 1576253"/>
                    <a:gd name="connsiteX344" fmla="*/ 1295809 w 2617696"/>
                    <a:gd name="connsiteY344" fmla="*/ 1243649 h 1576253"/>
                    <a:gd name="connsiteX345" fmla="*/ 1290919 w 2617696"/>
                    <a:gd name="connsiteY345" fmla="*/ 1246909 h 1576253"/>
                    <a:gd name="connsiteX346" fmla="*/ 1282769 w 2617696"/>
                    <a:gd name="connsiteY346" fmla="*/ 1248539 h 1576253"/>
                    <a:gd name="connsiteX347" fmla="*/ 1277879 w 2617696"/>
                    <a:gd name="connsiteY347" fmla="*/ 1250169 h 1576253"/>
                    <a:gd name="connsiteX348" fmla="*/ 1276250 w 2617696"/>
                    <a:gd name="connsiteY348" fmla="*/ 1255058 h 1576253"/>
                    <a:gd name="connsiteX349" fmla="*/ 1271360 w 2617696"/>
                    <a:gd name="connsiteY349" fmla="*/ 1258318 h 1576253"/>
                    <a:gd name="connsiteX350" fmla="*/ 1269730 w 2617696"/>
                    <a:gd name="connsiteY350" fmla="*/ 1263208 h 1576253"/>
                    <a:gd name="connsiteX351" fmla="*/ 1266470 w 2617696"/>
                    <a:gd name="connsiteY351" fmla="*/ 1276248 h 1576253"/>
                    <a:gd name="connsiteX352" fmla="*/ 1261580 w 2617696"/>
                    <a:gd name="connsiteY352" fmla="*/ 1282768 h 1576253"/>
                    <a:gd name="connsiteX353" fmla="*/ 1256690 w 2617696"/>
                    <a:gd name="connsiteY353" fmla="*/ 1287657 h 1576253"/>
                    <a:gd name="connsiteX354" fmla="*/ 1253430 w 2617696"/>
                    <a:gd name="connsiteY354" fmla="*/ 1294177 h 1576253"/>
                    <a:gd name="connsiteX355" fmla="*/ 1250170 w 2617696"/>
                    <a:gd name="connsiteY355" fmla="*/ 1299067 h 1576253"/>
                    <a:gd name="connsiteX356" fmla="*/ 1243651 w 2617696"/>
                    <a:gd name="connsiteY356" fmla="*/ 1302327 h 1576253"/>
                    <a:gd name="connsiteX357" fmla="*/ 1237131 w 2617696"/>
                    <a:gd name="connsiteY357" fmla="*/ 1334926 h 1576253"/>
                    <a:gd name="connsiteX358" fmla="*/ 1235501 w 2617696"/>
                    <a:gd name="connsiteY358" fmla="*/ 1339816 h 1576253"/>
                    <a:gd name="connsiteX359" fmla="*/ 1233871 w 2617696"/>
                    <a:gd name="connsiteY359" fmla="*/ 1351225 h 1576253"/>
                    <a:gd name="connsiteX360" fmla="*/ 1224091 w 2617696"/>
                    <a:gd name="connsiteY360" fmla="*/ 1357745 h 1576253"/>
                    <a:gd name="connsiteX361" fmla="*/ 1222461 w 2617696"/>
                    <a:gd name="connsiteY361" fmla="*/ 1377304 h 1576253"/>
                    <a:gd name="connsiteX362" fmla="*/ 1212682 w 2617696"/>
                    <a:gd name="connsiteY362" fmla="*/ 1370785 h 1576253"/>
                    <a:gd name="connsiteX363" fmla="*/ 1196382 w 2617696"/>
                    <a:gd name="connsiteY363" fmla="*/ 1364265 h 1576253"/>
                    <a:gd name="connsiteX364" fmla="*/ 1191492 w 2617696"/>
                    <a:gd name="connsiteY364" fmla="*/ 1370785 h 1576253"/>
                    <a:gd name="connsiteX365" fmla="*/ 1186602 w 2617696"/>
                    <a:gd name="connsiteY365" fmla="*/ 1375674 h 1576253"/>
                    <a:gd name="connsiteX366" fmla="*/ 1183343 w 2617696"/>
                    <a:gd name="connsiteY366" fmla="*/ 1396864 h 1576253"/>
                    <a:gd name="connsiteX367" fmla="*/ 1175193 w 2617696"/>
                    <a:gd name="connsiteY367" fmla="*/ 1398494 h 1576253"/>
                    <a:gd name="connsiteX368" fmla="*/ 1170303 w 2617696"/>
                    <a:gd name="connsiteY368" fmla="*/ 1405014 h 1576253"/>
                    <a:gd name="connsiteX369" fmla="*/ 1167043 w 2617696"/>
                    <a:gd name="connsiteY369" fmla="*/ 1409903 h 1576253"/>
                    <a:gd name="connsiteX370" fmla="*/ 1154004 w 2617696"/>
                    <a:gd name="connsiteY370" fmla="*/ 1406643 h 1576253"/>
                    <a:gd name="connsiteX371" fmla="*/ 1147484 w 2617696"/>
                    <a:gd name="connsiteY371" fmla="*/ 1408273 h 1576253"/>
                    <a:gd name="connsiteX372" fmla="*/ 1142594 w 2617696"/>
                    <a:gd name="connsiteY372" fmla="*/ 1411533 h 1576253"/>
                    <a:gd name="connsiteX373" fmla="*/ 1129554 w 2617696"/>
                    <a:gd name="connsiteY373" fmla="*/ 1418053 h 1576253"/>
                    <a:gd name="connsiteX374" fmla="*/ 1118145 w 2617696"/>
                    <a:gd name="connsiteY374" fmla="*/ 1421313 h 1576253"/>
                    <a:gd name="connsiteX375" fmla="*/ 1108365 w 2617696"/>
                    <a:gd name="connsiteY375" fmla="*/ 1429463 h 1576253"/>
                    <a:gd name="connsiteX376" fmla="*/ 1088806 w 2617696"/>
                    <a:gd name="connsiteY376" fmla="*/ 1431093 h 1576253"/>
                    <a:gd name="connsiteX377" fmla="*/ 1085546 w 2617696"/>
                    <a:gd name="connsiteY377" fmla="*/ 1435983 h 1576253"/>
                    <a:gd name="connsiteX378" fmla="*/ 1083916 w 2617696"/>
                    <a:gd name="connsiteY378" fmla="*/ 1447392 h 1576253"/>
                    <a:gd name="connsiteX379" fmla="*/ 1082286 w 2617696"/>
                    <a:gd name="connsiteY379" fmla="*/ 1452282 h 1576253"/>
                    <a:gd name="connsiteX380" fmla="*/ 1072506 w 2617696"/>
                    <a:gd name="connsiteY380" fmla="*/ 1462062 h 1576253"/>
                    <a:gd name="connsiteX381" fmla="*/ 1061097 w 2617696"/>
                    <a:gd name="connsiteY381" fmla="*/ 1462062 h 1576253"/>
                    <a:gd name="connsiteX382" fmla="*/ 1036647 w 2617696"/>
                    <a:gd name="connsiteY382" fmla="*/ 1458802 h 1576253"/>
                    <a:gd name="connsiteX383" fmla="*/ 1031758 w 2617696"/>
                    <a:gd name="connsiteY383" fmla="*/ 1457172 h 1576253"/>
                    <a:gd name="connsiteX384" fmla="*/ 1025238 w 2617696"/>
                    <a:gd name="connsiteY384" fmla="*/ 1455542 h 1576253"/>
                    <a:gd name="connsiteX385" fmla="*/ 1015458 w 2617696"/>
                    <a:gd name="connsiteY385" fmla="*/ 1452282 h 1576253"/>
                    <a:gd name="connsiteX386" fmla="*/ 1005678 w 2617696"/>
                    <a:gd name="connsiteY386" fmla="*/ 1453912 h 1576253"/>
                    <a:gd name="connsiteX387" fmla="*/ 994269 w 2617696"/>
                    <a:gd name="connsiteY387" fmla="*/ 1449022 h 1576253"/>
                    <a:gd name="connsiteX388" fmla="*/ 986119 w 2617696"/>
                    <a:gd name="connsiteY388" fmla="*/ 1445762 h 1576253"/>
                    <a:gd name="connsiteX389" fmla="*/ 984489 w 2617696"/>
                    <a:gd name="connsiteY389" fmla="*/ 1440872 h 1576253"/>
                    <a:gd name="connsiteX390" fmla="*/ 981229 w 2617696"/>
                    <a:gd name="connsiteY390" fmla="*/ 1435983 h 1576253"/>
                    <a:gd name="connsiteX391" fmla="*/ 969820 w 2617696"/>
                    <a:gd name="connsiteY391" fmla="*/ 1432723 h 1576253"/>
                    <a:gd name="connsiteX392" fmla="*/ 956780 w 2617696"/>
                    <a:gd name="connsiteY392" fmla="*/ 1418053 h 1576253"/>
                    <a:gd name="connsiteX393" fmla="*/ 955150 w 2617696"/>
                    <a:gd name="connsiteY393" fmla="*/ 1413163 h 1576253"/>
                    <a:gd name="connsiteX394" fmla="*/ 950260 w 2617696"/>
                    <a:gd name="connsiteY394" fmla="*/ 1411533 h 1576253"/>
                    <a:gd name="connsiteX395" fmla="*/ 947000 w 2617696"/>
                    <a:gd name="connsiteY395" fmla="*/ 1405014 h 1576253"/>
                    <a:gd name="connsiteX396" fmla="*/ 925811 w 2617696"/>
                    <a:gd name="connsiteY396" fmla="*/ 1406643 h 1576253"/>
                    <a:gd name="connsiteX397" fmla="*/ 916031 w 2617696"/>
                    <a:gd name="connsiteY397" fmla="*/ 1405014 h 1576253"/>
                    <a:gd name="connsiteX398" fmla="*/ 906252 w 2617696"/>
                    <a:gd name="connsiteY398" fmla="*/ 1400124 h 1576253"/>
                    <a:gd name="connsiteX399" fmla="*/ 896472 w 2617696"/>
                    <a:gd name="connsiteY399" fmla="*/ 1398494 h 1576253"/>
                    <a:gd name="connsiteX400" fmla="*/ 870393 w 2617696"/>
                    <a:gd name="connsiteY400" fmla="*/ 1396864 h 1576253"/>
                    <a:gd name="connsiteX401" fmla="*/ 865503 w 2617696"/>
                    <a:gd name="connsiteY401" fmla="*/ 1395234 h 1576253"/>
                    <a:gd name="connsiteX402" fmla="*/ 855723 w 2617696"/>
                    <a:gd name="connsiteY402" fmla="*/ 1393604 h 1576253"/>
                    <a:gd name="connsiteX403" fmla="*/ 850834 w 2617696"/>
                    <a:gd name="connsiteY403" fmla="*/ 1388714 h 1576253"/>
                    <a:gd name="connsiteX404" fmla="*/ 844314 w 2617696"/>
                    <a:gd name="connsiteY404" fmla="*/ 1385454 h 1576253"/>
                    <a:gd name="connsiteX405" fmla="*/ 839424 w 2617696"/>
                    <a:gd name="connsiteY405" fmla="*/ 1383824 h 1576253"/>
                    <a:gd name="connsiteX406" fmla="*/ 818235 w 2617696"/>
                    <a:gd name="connsiteY406" fmla="*/ 1378934 h 1576253"/>
                    <a:gd name="connsiteX407" fmla="*/ 775856 w 2617696"/>
                    <a:gd name="connsiteY407" fmla="*/ 1380564 h 1576253"/>
                    <a:gd name="connsiteX408" fmla="*/ 766076 w 2617696"/>
                    <a:gd name="connsiteY408" fmla="*/ 1387084 h 1576253"/>
                    <a:gd name="connsiteX409" fmla="*/ 748147 w 2617696"/>
                    <a:gd name="connsiteY409" fmla="*/ 1395234 h 1576253"/>
                    <a:gd name="connsiteX410" fmla="*/ 739997 w 2617696"/>
                    <a:gd name="connsiteY410" fmla="*/ 1396864 h 1576253"/>
                    <a:gd name="connsiteX411" fmla="*/ 731847 w 2617696"/>
                    <a:gd name="connsiteY411" fmla="*/ 1403384 h 1576253"/>
                    <a:gd name="connsiteX412" fmla="*/ 726801 w 2617696"/>
                    <a:gd name="connsiteY412" fmla="*/ 1404393 h 1576253"/>
                    <a:gd name="connsiteX413" fmla="*/ 723697 w 2617696"/>
                    <a:gd name="connsiteY413" fmla="*/ 1424573 h 1576253"/>
                    <a:gd name="connsiteX414" fmla="*/ 725327 w 2617696"/>
                    <a:gd name="connsiteY414" fmla="*/ 1429463 h 1576253"/>
                    <a:gd name="connsiteX415" fmla="*/ 728587 w 2617696"/>
                    <a:gd name="connsiteY415" fmla="*/ 1434353 h 1576253"/>
                    <a:gd name="connsiteX416" fmla="*/ 731846 w 2617696"/>
                    <a:gd name="connsiteY416" fmla="*/ 1452282 h 1576253"/>
                    <a:gd name="connsiteX417" fmla="*/ 733476 w 2617696"/>
                    <a:gd name="connsiteY417" fmla="*/ 1457172 h 1576253"/>
                    <a:gd name="connsiteX418" fmla="*/ 738366 w 2617696"/>
                    <a:gd name="connsiteY418" fmla="*/ 1460432 h 1576253"/>
                    <a:gd name="connsiteX419" fmla="*/ 735106 w 2617696"/>
                    <a:gd name="connsiteY419" fmla="*/ 1465322 h 1576253"/>
                    <a:gd name="connsiteX420" fmla="*/ 730216 w 2617696"/>
                    <a:gd name="connsiteY420" fmla="*/ 1470211 h 1576253"/>
                    <a:gd name="connsiteX421" fmla="*/ 725327 w 2617696"/>
                    <a:gd name="connsiteY421" fmla="*/ 1491401 h 1576253"/>
                    <a:gd name="connsiteX422" fmla="*/ 733476 w 2617696"/>
                    <a:gd name="connsiteY422" fmla="*/ 1510960 h 1576253"/>
                    <a:gd name="connsiteX423" fmla="*/ 731846 w 2617696"/>
                    <a:gd name="connsiteY423" fmla="*/ 1517480 h 1576253"/>
                    <a:gd name="connsiteX424" fmla="*/ 726957 w 2617696"/>
                    <a:gd name="connsiteY424" fmla="*/ 1522370 h 1576253"/>
                    <a:gd name="connsiteX425" fmla="*/ 725327 w 2617696"/>
                    <a:gd name="connsiteY425" fmla="*/ 1538669 h 1576253"/>
                    <a:gd name="connsiteX426" fmla="*/ 723697 w 2617696"/>
                    <a:gd name="connsiteY426" fmla="*/ 1515850 h 1576253"/>
                    <a:gd name="connsiteX427" fmla="*/ 692728 w 2617696"/>
                    <a:gd name="connsiteY427" fmla="*/ 1514220 h 1576253"/>
                    <a:gd name="connsiteX428" fmla="*/ 687838 w 2617696"/>
                    <a:gd name="connsiteY428" fmla="*/ 1515850 h 1576253"/>
                    <a:gd name="connsiteX429" fmla="*/ 686208 w 2617696"/>
                    <a:gd name="connsiteY429" fmla="*/ 1520740 h 1576253"/>
                    <a:gd name="connsiteX430" fmla="*/ 681318 w 2617696"/>
                    <a:gd name="connsiteY430" fmla="*/ 1522370 h 1576253"/>
                    <a:gd name="connsiteX431" fmla="*/ 665019 w 2617696"/>
                    <a:gd name="connsiteY431" fmla="*/ 1525630 h 1576253"/>
                    <a:gd name="connsiteX432" fmla="*/ 658499 w 2617696"/>
                    <a:gd name="connsiteY432" fmla="*/ 1528889 h 1576253"/>
                    <a:gd name="connsiteX433" fmla="*/ 656869 w 2617696"/>
                    <a:gd name="connsiteY433" fmla="*/ 1546819 h 1576253"/>
                    <a:gd name="connsiteX434" fmla="*/ 638939 w 2617696"/>
                    <a:gd name="connsiteY434" fmla="*/ 1550079 h 1576253"/>
                    <a:gd name="connsiteX435" fmla="*/ 634050 w 2617696"/>
                    <a:gd name="connsiteY435" fmla="*/ 1551709 h 1576253"/>
                    <a:gd name="connsiteX436" fmla="*/ 632420 w 2617696"/>
                    <a:gd name="connsiteY436" fmla="*/ 1564748 h 1576253"/>
                    <a:gd name="connsiteX437" fmla="*/ 627530 w 2617696"/>
                    <a:gd name="connsiteY437" fmla="*/ 1566378 h 1576253"/>
                    <a:gd name="connsiteX438" fmla="*/ 624270 w 2617696"/>
                    <a:gd name="connsiteY438" fmla="*/ 1571268 h 1576253"/>
                    <a:gd name="connsiteX439" fmla="*/ 619380 w 2617696"/>
                    <a:gd name="connsiteY439" fmla="*/ 1574528 h 1576253"/>
                    <a:gd name="connsiteX440" fmla="*/ 614490 w 2617696"/>
                    <a:gd name="connsiteY440" fmla="*/ 1572898 h 1576253"/>
                    <a:gd name="connsiteX441" fmla="*/ 612860 w 2617696"/>
                    <a:gd name="connsiteY441" fmla="*/ 1564748 h 1576253"/>
                    <a:gd name="connsiteX442" fmla="*/ 611230 w 2617696"/>
                    <a:gd name="connsiteY442" fmla="*/ 1559858 h 1576253"/>
                    <a:gd name="connsiteX443" fmla="*/ 596561 w 2617696"/>
                    <a:gd name="connsiteY443" fmla="*/ 1551709 h 1576253"/>
                    <a:gd name="connsiteX444" fmla="*/ 586781 w 2617696"/>
                    <a:gd name="connsiteY444" fmla="*/ 1558228 h 1576253"/>
                    <a:gd name="connsiteX445" fmla="*/ 583521 w 2617696"/>
                    <a:gd name="connsiteY445" fmla="*/ 1563118 h 1576253"/>
                    <a:gd name="connsiteX446" fmla="*/ 557442 w 2617696"/>
                    <a:gd name="connsiteY446" fmla="*/ 1561488 h 1576253"/>
                    <a:gd name="connsiteX447" fmla="*/ 544403 w 2617696"/>
                    <a:gd name="connsiteY447" fmla="*/ 1559858 h 1576253"/>
                    <a:gd name="connsiteX448" fmla="*/ 541143 w 2617696"/>
                    <a:gd name="connsiteY448" fmla="*/ 1554969 h 1576253"/>
                    <a:gd name="connsiteX449" fmla="*/ 536253 w 2617696"/>
                    <a:gd name="connsiteY449" fmla="*/ 1535409 h 1576253"/>
                    <a:gd name="connsiteX450" fmla="*/ 531363 w 2617696"/>
                    <a:gd name="connsiteY450" fmla="*/ 1537039 h 1576253"/>
                    <a:gd name="connsiteX451" fmla="*/ 529733 w 2617696"/>
                    <a:gd name="connsiteY451" fmla="*/ 1528889 h 1576253"/>
                    <a:gd name="connsiteX452" fmla="*/ 528103 w 2617696"/>
                    <a:gd name="connsiteY452" fmla="*/ 1522370 h 1576253"/>
                    <a:gd name="connsiteX453" fmla="*/ 520406 w 2617696"/>
                    <a:gd name="connsiteY453" fmla="*/ 1503216 h 1576253"/>
                    <a:gd name="connsiteX454" fmla="*/ 521150 w 2617696"/>
                    <a:gd name="connsiteY454" fmla="*/ 1492659 h 1576253"/>
                    <a:gd name="connsiteX455" fmla="*/ 534721 w 2617696"/>
                    <a:gd name="connsiteY455" fmla="*/ 1497021 h 1576253"/>
                    <a:gd name="connsiteX456" fmla="*/ 537883 w 2617696"/>
                    <a:gd name="connsiteY456" fmla="*/ 1499550 h 1576253"/>
                    <a:gd name="connsiteX457" fmla="*/ 547662 w 2617696"/>
                    <a:gd name="connsiteY457" fmla="*/ 1501180 h 1576253"/>
                    <a:gd name="connsiteX458" fmla="*/ 534721 w 2617696"/>
                    <a:gd name="connsiteY458" fmla="*/ 1497021 h 1576253"/>
                    <a:gd name="connsiteX459" fmla="*/ 529733 w 2617696"/>
                    <a:gd name="connsiteY459" fmla="*/ 1493031 h 1576253"/>
                    <a:gd name="connsiteX460" fmla="*/ 524843 w 2617696"/>
                    <a:gd name="connsiteY460" fmla="*/ 1481621 h 1576253"/>
                    <a:gd name="connsiteX461" fmla="*/ 521583 w 2617696"/>
                    <a:gd name="connsiteY461" fmla="*/ 1486511 h 1576253"/>
                    <a:gd name="connsiteX462" fmla="*/ 521150 w 2617696"/>
                    <a:gd name="connsiteY462" fmla="*/ 1492659 h 1576253"/>
                    <a:gd name="connsiteX463" fmla="*/ 502024 w 2617696"/>
                    <a:gd name="connsiteY463" fmla="*/ 1486511 h 1576253"/>
                    <a:gd name="connsiteX464" fmla="*/ 495504 w 2617696"/>
                    <a:gd name="connsiteY464" fmla="*/ 1493031 h 1576253"/>
                    <a:gd name="connsiteX465" fmla="*/ 490614 w 2617696"/>
                    <a:gd name="connsiteY465" fmla="*/ 1496291 h 1576253"/>
                    <a:gd name="connsiteX466" fmla="*/ 488984 w 2617696"/>
                    <a:gd name="connsiteY466" fmla="*/ 1504440 h 1576253"/>
                    <a:gd name="connsiteX467" fmla="*/ 482465 w 2617696"/>
                    <a:gd name="connsiteY467" fmla="*/ 1501180 h 1576253"/>
                    <a:gd name="connsiteX468" fmla="*/ 459645 w 2617696"/>
                    <a:gd name="connsiteY468" fmla="*/ 1496291 h 1576253"/>
                    <a:gd name="connsiteX469" fmla="*/ 456385 w 2617696"/>
                    <a:gd name="connsiteY469" fmla="*/ 1491401 h 1576253"/>
                    <a:gd name="connsiteX470" fmla="*/ 454755 w 2617696"/>
                    <a:gd name="connsiteY470" fmla="*/ 1483251 h 1576253"/>
                    <a:gd name="connsiteX471" fmla="*/ 449866 w 2617696"/>
                    <a:gd name="connsiteY471" fmla="*/ 1481621 h 1576253"/>
                    <a:gd name="connsiteX472" fmla="*/ 448236 w 2617696"/>
                    <a:gd name="connsiteY472" fmla="*/ 1491401 h 1576253"/>
                    <a:gd name="connsiteX473" fmla="*/ 446606 w 2617696"/>
                    <a:gd name="connsiteY473" fmla="*/ 1496291 h 1576253"/>
                    <a:gd name="connsiteX474" fmla="*/ 438456 w 2617696"/>
                    <a:gd name="connsiteY474" fmla="*/ 1486511 h 1576253"/>
                    <a:gd name="connsiteX475" fmla="*/ 433566 w 2617696"/>
                    <a:gd name="connsiteY475" fmla="*/ 1481621 h 1576253"/>
                    <a:gd name="connsiteX476" fmla="*/ 430306 w 2617696"/>
                    <a:gd name="connsiteY476" fmla="*/ 1486511 h 1576253"/>
                    <a:gd name="connsiteX477" fmla="*/ 418897 w 2617696"/>
                    <a:gd name="connsiteY477" fmla="*/ 1486511 h 1576253"/>
                    <a:gd name="connsiteX478" fmla="*/ 410747 w 2617696"/>
                    <a:gd name="connsiteY478" fmla="*/ 1484881 h 1576253"/>
                    <a:gd name="connsiteX479" fmla="*/ 405857 w 2617696"/>
                    <a:gd name="connsiteY479" fmla="*/ 1488141 h 1576253"/>
                    <a:gd name="connsiteX480" fmla="*/ 399337 w 2617696"/>
                    <a:gd name="connsiteY480" fmla="*/ 1491401 h 1576253"/>
                    <a:gd name="connsiteX481" fmla="*/ 396077 w 2617696"/>
                    <a:gd name="connsiteY481" fmla="*/ 1496291 h 1576253"/>
                    <a:gd name="connsiteX482" fmla="*/ 402597 w 2617696"/>
                    <a:gd name="connsiteY482" fmla="*/ 1510960 h 1576253"/>
                    <a:gd name="connsiteX483" fmla="*/ 399337 w 2617696"/>
                    <a:gd name="connsiteY483" fmla="*/ 1517480 h 1576253"/>
                    <a:gd name="connsiteX484" fmla="*/ 389558 w 2617696"/>
                    <a:gd name="connsiteY484" fmla="*/ 1519110 h 1576253"/>
                    <a:gd name="connsiteX485" fmla="*/ 387928 w 2617696"/>
                    <a:gd name="connsiteY485" fmla="*/ 1527260 h 1576253"/>
                    <a:gd name="connsiteX486" fmla="*/ 384668 w 2617696"/>
                    <a:gd name="connsiteY486" fmla="*/ 1535409 h 1576253"/>
                    <a:gd name="connsiteX487" fmla="*/ 383038 w 2617696"/>
                    <a:gd name="connsiteY487" fmla="*/ 1541929 h 1576253"/>
                    <a:gd name="connsiteX488" fmla="*/ 376518 w 2617696"/>
                    <a:gd name="connsiteY488" fmla="*/ 1553339 h 1576253"/>
                    <a:gd name="connsiteX489" fmla="*/ 371628 w 2617696"/>
                    <a:gd name="connsiteY489" fmla="*/ 1561488 h 1576253"/>
                    <a:gd name="connsiteX490" fmla="*/ 363478 w 2617696"/>
                    <a:gd name="connsiteY490" fmla="*/ 1576158 h 1576253"/>
                    <a:gd name="connsiteX491" fmla="*/ 365108 w 2617696"/>
                    <a:gd name="connsiteY491" fmla="*/ 1553339 h 1576253"/>
                    <a:gd name="connsiteX492" fmla="*/ 356959 w 2617696"/>
                    <a:gd name="connsiteY492" fmla="*/ 1550079 h 1576253"/>
                    <a:gd name="connsiteX493" fmla="*/ 352069 w 2617696"/>
                    <a:gd name="connsiteY493" fmla="*/ 1546819 h 1576253"/>
                    <a:gd name="connsiteX494" fmla="*/ 358589 w 2617696"/>
                    <a:gd name="connsiteY494" fmla="*/ 1545189 h 1576253"/>
                    <a:gd name="connsiteX495" fmla="*/ 360219 w 2617696"/>
                    <a:gd name="connsiteY495" fmla="*/ 1533779 h 1576253"/>
                    <a:gd name="connsiteX496" fmla="*/ 363478 w 2617696"/>
                    <a:gd name="connsiteY496" fmla="*/ 1519110 h 1576253"/>
                    <a:gd name="connsiteX497" fmla="*/ 362167 w 2617696"/>
                    <a:gd name="connsiteY497" fmla="*/ 1513862 h 1576253"/>
                    <a:gd name="connsiteX498" fmla="*/ 366738 w 2617696"/>
                    <a:gd name="connsiteY498" fmla="*/ 1512590 h 1576253"/>
                    <a:gd name="connsiteX499" fmla="*/ 369998 w 2617696"/>
                    <a:gd name="connsiteY499" fmla="*/ 1507700 h 1576253"/>
                    <a:gd name="connsiteX500" fmla="*/ 365108 w 2617696"/>
                    <a:gd name="connsiteY500" fmla="*/ 1506070 h 1576253"/>
                    <a:gd name="connsiteX501" fmla="*/ 363478 w 2617696"/>
                    <a:gd name="connsiteY501" fmla="*/ 1497920 h 1576253"/>
                    <a:gd name="connsiteX502" fmla="*/ 360219 w 2617696"/>
                    <a:gd name="connsiteY502" fmla="*/ 1489771 h 1576253"/>
                    <a:gd name="connsiteX503" fmla="*/ 358589 w 2617696"/>
                    <a:gd name="connsiteY503" fmla="*/ 1484881 h 1576253"/>
                    <a:gd name="connsiteX504" fmla="*/ 381408 w 2617696"/>
                    <a:gd name="connsiteY504" fmla="*/ 1483251 h 1576253"/>
                    <a:gd name="connsiteX505" fmla="*/ 387928 w 2617696"/>
                    <a:gd name="connsiteY505" fmla="*/ 1481621 h 1576253"/>
                    <a:gd name="connsiteX506" fmla="*/ 389558 w 2617696"/>
                    <a:gd name="connsiteY506" fmla="*/ 1473471 h 1576253"/>
                    <a:gd name="connsiteX507" fmla="*/ 391188 w 2617696"/>
                    <a:gd name="connsiteY507" fmla="*/ 1466951 h 1576253"/>
                    <a:gd name="connsiteX508" fmla="*/ 394447 w 2617696"/>
                    <a:gd name="connsiteY508" fmla="*/ 1455542 h 1576253"/>
                    <a:gd name="connsiteX509" fmla="*/ 384668 w 2617696"/>
                    <a:gd name="connsiteY509" fmla="*/ 1449022 h 1576253"/>
                    <a:gd name="connsiteX510" fmla="*/ 378148 w 2617696"/>
                    <a:gd name="connsiteY510" fmla="*/ 1455542 h 1576253"/>
                    <a:gd name="connsiteX511" fmla="*/ 365108 w 2617696"/>
                    <a:gd name="connsiteY511" fmla="*/ 1465322 h 1576253"/>
                    <a:gd name="connsiteX512" fmla="*/ 356959 w 2617696"/>
                    <a:gd name="connsiteY512" fmla="*/ 1471841 h 1576253"/>
                    <a:gd name="connsiteX513" fmla="*/ 347179 w 2617696"/>
                    <a:gd name="connsiteY513" fmla="*/ 1475101 h 1576253"/>
                    <a:gd name="connsiteX514" fmla="*/ 337399 w 2617696"/>
                    <a:gd name="connsiteY514" fmla="*/ 1476731 h 1576253"/>
                    <a:gd name="connsiteX515" fmla="*/ 324360 w 2617696"/>
                    <a:gd name="connsiteY515" fmla="*/ 1471841 h 1576253"/>
                    <a:gd name="connsiteX516" fmla="*/ 317840 w 2617696"/>
                    <a:gd name="connsiteY516" fmla="*/ 1479991 h 1576253"/>
                    <a:gd name="connsiteX517" fmla="*/ 309690 w 2617696"/>
                    <a:gd name="connsiteY517" fmla="*/ 1484881 h 1576253"/>
                    <a:gd name="connsiteX518" fmla="*/ 303170 w 2617696"/>
                    <a:gd name="connsiteY518" fmla="*/ 1489771 h 1576253"/>
                    <a:gd name="connsiteX519" fmla="*/ 298281 w 2617696"/>
                    <a:gd name="connsiteY519" fmla="*/ 1491401 h 1576253"/>
                    <a:gd name="connsiteX520" fmla="*/ 293391 w 2617696"/>
                    <a:gd name="connsiteY520" fmla="*/ 1488141 h 1576253"/>
                    <a:gd name="connsiteX521" fmla="*/ 280351 w 2617696"/>
                    <a:gd name="connsiteY521" fmla="*/ 1484881 h 1576253"/>
                    <a:gd name="connsiteX522" fmla="*/ 275461 w 2617696"/>
                    <a:gd name="connsiteY522" fmla="*/ 1493031 h 1576253"/>
                    <a:gd name="connsiteX523" fmla="*/ 268942 w 2617696"/>
                    <a:gd name="connsiteY523" fmla="*/ 1494661 h 1576253"/>
                    <a:gd name="connsiteX524" fmla="*/ 257532 w 2617696"/>
                    <a:gd name="connsiteY524" fmla="*/ 1489771 h 1576253"/>
                    <a:gd name="connsiteX525" fmla="*/ 251012 w 2617696"/>
                    <a:gd name="connsiteY525" fmla="*/ 1488141 h 1576253"/>
                    <a:gd name="connsiteX526" fmla="*/ 249382 w 2617696"/>
                    <a:gd name="connsiteY526" fmla="*/ 1473471 h 1576253"/>
                    <a:gd name="connsiteX527" fmla="*/ 251012 w 2617696"/>
                    <a:gd name="connsiteY527" fmla="*/ 1468581 h 1576253"/>
                    <a:gd name="connsiteX528" fmla="*/ 257532 w 2617696"/>
                    <a:gd name="connsiteY528" fmla="*/ 1466951 h 1576253"/>
                    <a:gd name="connsiteX529" fmla="*/ 278721 w 2617696"/>
                    <a:gd name="connsiteY529" fmla="*/ 1470211 h 1576253"/>
                    <a:gd name="connsiteX530" fmla="*/ 285241 w 2617696"/>
                    <a:gd name="connsiteY530" fmla="*/ 1468581 h 1576253"/>
                    <a:gd name="connsiteX531" fmla="*/ 295021 w 2617696"/>
                    <a:gd name="connsiteY531" fmla="*/ 1458802 h 1576253"/>
                    <a:gd name="connsiteX532" fmla="*/ 296651 w 2617696"/>
                    <a:gd name="connsiteY532" fmla="*/ 1452282 h 1576253"/>
                    <a:gd name="connsiteX533" fmla="*/ 295021 w 2617696"/>
                    <a:gd name="connsiteY533" fmla="*/ 1447392 h 1576253"/>
                    <a:gd name="connsiteX534" fmla="*/ 281981 w 2617696"/>
                    <a:gd name="connsiteY534" fmla="*/ 1442502 h 1576253"/>
                    <a:gd name="connsiteX535" fmla="*/ 280351 w 2617696"/>
                    <a:gd name="connsiteY535" fmla="*/ 1437612 h 1576253"/>
                    <a:gd name="connsiteX536" fmla="*/ 267312 w 2617696"/>
                    <a:gd name="connsiteY536" fmla="*/ 1435983 h 1576253"/>
                    <a:gd name="connsiteX537" fmla="*/ 264052 w 2617696"/>
                    <a:gd name="connsiteY537" fmla="*/ 1431093 h 1576253"/>
                    <a:gd name="connsiteX538" fmla="*/ 262422 w 2617696"/>
                    <a:gd name="connsiteY538" fmla="*/ 1414793 h 1576253"/>
                    <a:gd name="connsiteX539" fmla="*/ 259162 w 2617696"/>
                    <a:gd name="connsiteY539" fmla="*/ 1419683 h 1576253"/>
                    <a:gd name="connsiteX540" fmla="*/ 254272 w 2617696"/>
                    <a:gd name="connsiteY540" fmla="*/ 1429463 h 1576253"/>
                    <a:gd name="connsiteX541" fmla="*/ 244492 w 2617696"/>
                    <a:gd name="connsiteY541" fmla="*/ 1431093 h 1576253"/>
                    <a:gd name="connsiteX542" fmla="*/ 237973 w 2617696"/>
                    <a:gd name="connsiteY542" fmla="*/ 1432723 h 1576253"/>
                    <a:gd name="connsiteX543" fmla="*/ 229823 w 2617696"/>
                    <a:gd name="connsiteY543" fmla="*/ 1408273 h 1576253"/>
                    <a:gd name="connsiteX544" fmla="*/ 210264 w 2617696"/>
                    <a:gd name="connsiteY544" fmla="*/ 1405014 h 1576253"/>
                    <a:gd name="connsiteX545" fmla="*/ 200484 w 2617696"/>
                    <a:gd name="connsiteY545" fmla="*/ 1400124 h 1576253"/>
                    <a:gd name="connsiteX546" fmla="*/ 208634 w 2617696"/>
                    <a:gd name="connsiteY546" fmla="*/ 1390344 h 1576253"/>
                    <a:gd name="connsiteX547" fmla="*/ 220043 w 2617696"/>
                    <a:gd name="connsiteY547" fmla="*/ 1383824 h 1576253"/>
                    <a:gd name="connsiteX548" fmla="*/ 221673 w 2617696"/>
                    <a:gd name="connsiteY548" fmla="*/ 1378934 h 1576253"/>
                    <a:gd name="connsiteX549" fmla="*/ 224933 w 2617696"/>
                    <a:gd name="connsiteY549" fmla="*/ 1374045 h 1576253"/>
                    <a:gd name="connsiteX550" fmla="*/ 223303 w 2617696"/>
                    <a:gd name="connsiteY550" fmla="*/ 1365895 h 1576253"/>
                    <a:gd name="connsiteX551" fmla="*/ 220043 w 2617696"/>
                    <a:gd name="connsiteY551" fmla="*/ 1361005 h 1576253"/>
                    <a:gd name="connsiteX552" fmla="*/ 218413 w 2617696"/>
                    <a:gd name="connsiteY552" fmla="*/ 1346335 h 1576253"/>
                    <a:gd name="connsiteX553" fmla="*/ 216783 w 2617696"/>
                    <a:gd name="connsiteY553" fmla="*/ 1341446 h 1576253"/>
                    <a:gd name="connsiteX554" fmla="*/ 197224 w 2617696"/>
                    <a:gd name="connsiteY554" fmla="*/ 1333296 h 1576253"/>
                    <a:gd name="connsiteX555" fmla="*/ 189074 w 2617696"/>
                    <a:gd name="connsiteY555" fmla="*/ 1321886 h 1576253"/>
                    <a:gd name="connsiteX556" fmla="*/ 177665 w 2617696"/>
                    <a:gd name="connsiteY556" fmla="*/ 1320256 h 1576253"/>
                    <a:gd name="connsiteX557" fmla="*/ 161365 w 2617696"/>
                    <a:gd name="connsiteY557" fmla="*/ 1330036 h 1576253"/>
                    <a:gd name="connsiteX558" fmla="*/ 156475 w 2617696"/>
                    <a:gd name="connsiteY558" fmla="*/ 1334926 h 1576253"/>
                    <a:gd name="connsiteX559" fmla="*/ 154845 w 2617696"/>
                    <a:gd name="connsiteY559" fmla="*/ 1326776 h 1576253"/>
                    <a:gd name="connsiteX560" fmla="*/ 153215 w 2617696"/>
                    <a:gd name="connsiteY560" fmla="*/ 1321886 h 1576253"/>
                    <a:gd name="connsiteX561" fmla="*/ 149955 w 2617696"/>
                    <a:gd name="connsiteY561" fmla="*/ 1312107 h 1576253"/>
                    <a:gd name="connsiteX562" fmla="*/ 141806 w 2617696"/>
                    <a:gd name="connsiteY562" fmla="*/ 1297437 h 1576253"/>
                    <a:gd name="connsiteX563" fmla="*/ 135286 w 2617696"/>
                    <a:gd name="connsiteY563" fmla="*/ 1299067 h 1576253"/>
                    <a:gd name="connsiteX564" fmla="*/ 130396 w 2617696"/>
                    <a:gd name="connsiteY564" fmla="*/ 1302327 h 1576253"/>
                    <a:gd name="connsiteX565" fmla="*/ 128766 w 2617696"/>
                    <a:gd name="connsiteY565" fmla="*/ 1307217 h 1576253"/>
                    <a:gd name="connsiteX566" fmla="*/ 125506 w 2617696"/>
                    <a:gd name="connsiteY566" fmla="*/ 1320256 h 1576253"/>
                    <a:gd name="connsiteX567" fmla="*/ 118987 w 2617696"/>
                    <a:gd name="connsiteY567" fmla="*/ 1325146 h 1576253"/>
                    <a:gd name="connsiteX568" fmla="*/ 115727 w 2617696"/>
                    <a:gd name="connsiteY568" fmla="*/ 1344706 h 1576253"/>
                    <a:gd name="connsiteX569" fmla="*/ 110837 w 2617696"/>
                    <a:gd name="connsiteY569" fmla="*/ 1339816 h 1576253"/>
                    <a:gd name="connsiteX570" fmla="*/ 104317 w 2617696"/>
                    <a:gd name="connsiteY570" fmla="*/ 1336556 h 1576253"/>
                    <a:gd name="connsiteX571" fmla="*/ 97797 w 2617696"/>
                    <a:gd name="connsiteY571" fmla="*/ 1325146 h 1576253"/>
                    <a:gd name="connsiteX572" fmla="*/ 92907 w 2617696"/>
                    <a:gd name="connsiteY572" fmla="*/ 1318626 h 1576253"/>
                    <a:gd name="connsiteX573" fmla="*/ 88018 w 2617696"/>
                    <a:gd name="connsiteY573" fmla="*/ 1305587 h 1576253"/>
                    <a:gd name="connsiteX574" fmla="*/ 78238 w 2617696"/>
                    <a:gd name="connsiteY574" fmla="*/ 1310477 h 1576253"/>
                    <a:gd name="connsiteX575" fmla="*/ 70088 w 2617696"/>
                    <a:gd name="connsiteY575" fmla="*/ 1308847 h 1576253"/>
                    <a:gd name="connsiteX576" fmla="*/ 71718 w 2617696"/>
                    <a:gd name="connsiteY576" fmla="*/ 1303957 h 1576253"/>
                    <a:gd name="connsiteX577" fmla="*/ 76608 w 2617696"/>
                    <a:gd name="connsiteY577" fmla="*/ 1300697 h 1576253"/>
                    <a:gd name="connsiteX578" fmla="*/ 79868 w 2617696"/>
                    <a:gd name="connsiteY578" fmla="*/ 1295807 h 1576253"/>
                    <a:gd name="connsiteX579" fmla="*/ 89647 w 2617696"/>
                    <a:gd name="connsiteY579" fmla="*/ 1286027 h 1576253"/>
                    <a:gd name="connsiteX580" fmla="*/ 92907 w 2617696"/>
                    <a:gd name="connsiteY580" fmla="*/ 1277878 h 1576253"/>
                    <a:gd name="connsiteX581" fmla="*/ 89647 w 2617696"/>
                    <a:gd name="connsiteY581" fmla="*/ 1272988 h 1576253"/>
                    <a:gd name="connsiteX582" fmla="*/ 81498 w 2617696"/>
                    <a:gd name="connsiteY582" fmla="*/ 1271358 h 1576253"/>
                    <a:gd name="connsiteX583" fmla="*/ 79868 w 2617696"/>
                    <a:gd name="connsiteY583" fmla="*/ 1263208 h 1576253"/>
                    <a:gd name="connsiteX584" fmla="*/ 78238 w 2617696"/>
                    <a:gd name="connsiteY584" fmla="*/ 1258318 h 1576253"/>
                    <a:gd name="connsiteX585" fmla="*/ 71718 w 2617696"/>
                    <a:gd name="connsiteY585" fmla="*/ 1256688 h 1576253"/>
                    <a:gd name="connsiteX586" fmla="*/ 65198 w 2617696"/>
                    <a:gd name="connsiteY586" fmla="*/ 1242019 h 1576253"/>
                    <a:gd name="connsiteX587" fmla="*/ 74978 w 2617696"/>
                    <a:gd name="connsiteY587" fmla="*/ 1232239 h 1576253"/>
                    <a:gd name="connsiteX588" fmla="*/ 81498 w 2617696"/>
                    <a:gd name="connsiteY588" fmla="*/ 1233869 h 1576253"/>
                    <a:gd name="connsiteX589" fmla="*/ 86388 w 2617696"/>
                    <a:gd name="connsiteY589" fmla="*/ 1238759 h 1576253"/>
                    <a:gd name="connsiteX590" fmla="*/ 99427 w 2617696"/>
                    <a:gd name="connsiteY590" fmla="*/ 1242019 h 1576253"/>
                    <a:gd name="connsiteX591" fmla="*/ 105947 w 2617696"/>
                    <a:gd name="connsiteY591" fmla="*/ 1246909 h 1576253"/>
                    <a:gd name="connsiteX592" fmla="*/ 109207 w 2617696"/>
                    <a:gd name="connsiteY592" fmla="*/ 1268098 h 1576253"/>
                    <a:gd name="connsiteX593" fmla="*/ 109207 w 2617696"/>
                    <a:gd name="connsiteY593" fmla="*/ 1277878 h 1576253"/>
                    <a:gd name="connsiteX594" fmla="*/ 120616 w 2617696"/>
                    <a:gd name="connsiteY594" fmla="*/ 1284397 h 1576253"/>
                    <a:gd name="connsiteX595" fmla="*/ 122246 w 2617696"/>
                    <a:gd name="connsiteY595" fmla="*/ 1269728 h 1576253"/>
                    <a:gd name="connsiteX596" fmla="*/ 123876 w 2617696"/>
                    <a:gd name="connsiteY596" fmla="*/ 1264838 h 1576253"/>
                    <a:gd name="connsiteX597" fmla="*/ 130396 w 2617696"/>
                    <a:gd name="connsiteY597" fmla="*/ 1272988 h 1576253"/>
                    <a:gd name="connsiteX598" fmla="*/ 145066 w 2617696"/>
                    <a:gd name="connsiteY598" fmla="*/ 1269728 h 1576253"/>
                    <a:gd name="connsiteX599" fmla="*/ 159735 w 2617696"/>
                    <a:gd name="connsiteY599" fmla="*/ 1266468 h 1576253"/>
                    <a:gd name="connsiteX600" fmla="*/ 179295 w 2617696"/>
                    <a:gd name="connsiteY600" fmla="*/ 1264838 h 1576253"/>
                    <a:gd name="connsiteX601" fmla="*/ 187444 w 2617696"/>
                    <a:gd name="connsiteY601" fmla="*/ 1261578 h 1576253"/>
                    <a:gd name="connsiteX602" fmla="*/ 185814 w 2617696"/>
                    <a:gd name="connsiteY602" fmla="*/ 1253428 h 1576253"/>
                    <a:gd name="connsiteX603" fmla="*/ 179295 w 2617696"/>
                    <a:gd name="connsiteY603" fmla="*/ 1251799 h 1576253"/>
                    <a:gd name="connsiteX604" fmla="*/ 184056 w 2617696"/>
                    <a:gd name="connsiteY604" fmla="*/ 1247990 h 1576253"/>
                    <a:gd name="connsiteX605" fmla="*/ 178136 w 2617696"/>
                    <a:gd name="connsiteY605" fmla="*/ 1247031 h 1576253"/>
                    <a:gd name="connsiteX606" fmla="*/ 166255 w 2617696"/>
                    <a:gd name="connsiteY606" fmla="*/ 1248539 h 1576253"/>
                    <a:gd name="connsiteX607" fmla="*/ 162995 w 2617696"/>
                    <a:gd name="connsiteY607" fmla="*/ 1253428 h 1576253"/>
                    <a:gd name="connsiteX608" fmla="*/ 156475 w 2617696"/>
                    <a:gd name="connsiteY608" fmla="*/ 1251799 h 1576253"/>
                    <a:gd name="connsiteX609" fmla="*/ 143436 w 2617696"/>
                    <a:gd name="connsiteY609" fmla="*/ 1246909 h 1576253"/>
                    <a:gd name="connsiteX610" fmla="*/ 138546 w 2617696"/>
                    <a:gd name="connsiteY610" fmla="*/ 1227349 h 1576253"/>
                    <a:gd name="connsiteX611" fmla="*/ 132026 w 2617696"/>
                    <a:gd name="connsiteY611" fmla="*/ 1238759 h 1576253"/>
                    <a:gd name="connsiteX612" fmla="*/ 125506 w 2617696"/>
                    <a:gd name="connsiteY612" fmla="*/ 1228979 h 1576253"/>
                    <a:gd name="connsiteX613" fmla="*/ 122246 w 2617696"/>
                    <a:gd name="connsiteY613" fmla="*/ 1220830 h 1576253"/>
                    <a:gd name="connsiteX614" fmla="*/ 120616 w 2617696"/>
                    <a:gd name="connsiteY614" fmla="*/ 1212680 h 1576253"/>
                    <a:gd name="connsiteX615" fmla="*/ 128766 w 2617696"/>
                    <a:gd name="connsiteY615" fmla="*/ 1198010 h 1576253"/>
                    <a:gd name="connsiteX616" fmla="*/ 136891 w 2617696"/>
                    <a:gd name="connsiteY616" fmla="*/ 1197107 h 1576253"/>
                    <a:gd name="connsiteX617" fmla="*/ 138546 w 2617696"/>
                    <a:gd name="connsiteY617" fmla="*/ 1202900 h 1576253"/>
                    <a:gd name="connsiteX618" fmla="*/ 145066 w 2617696"/>
                    <a:gd name="connsiteY618" fmla="*/ 1201270 h 1576253"/>
                    <a:gd name="connsiteX619" fmla="*/ 143436 w 2617696"/>
                    <a:gd name="connsiteY619" fmla="*/ 1196380 h 1576253"/>
                    <a:gd name="connsiteX620" fmla="*/ 136891 w 2617696"/>
                    <a:gd name="connsiteY620" fmla="*/ 1197107 h 1576253"/>
                    <a:gd name="connsiteX621" fmla="*/ 135286 w 2617696"/>
                    <a:gd name="connsiteY621" fmla="*/ 1191491 h 1576253"/>
                    <a:gd name="connsiteX622" fmla="*/ 136916 w 2617696"/>
                    <a:gd name="connsiteY622" fmla="*/ 1184971 h 1576253"/>
                    <a:gd name="connsiteX623" fmla="*/ 158105 w 2617696"/>
                    <a:gd name="connsiteY623" fmla="*/ 1183341 h 1576253"/>
                    <a:gd name="connsiteX624" fmla="*/ 162995 w 2617696"/>
                    <a:gd name="connsiteY624" fmla="*/ 1181711 h 1576253"/>
                    <a:gd name="connsiteX625" fmla="*/ 158105 w 2617696"/>
                    <a:gd name="connsiteY625" fmla="*/ 1170301 h 1576253"/>
                    <a:gd name="connsiteX626" fmla="*/ 153215 w 2617696"/>
                    <a:gd name="connsiteY626" fmla="*/ 1168671 h 1576253"/>
                    <a:gd name="connsiteX627" fmla="*/ 145066 w 2617696"/>
                    <a:gd name="connsiteY627" fmla="*/ 1167041 h 1576253"/>
                    <a:gd name="connsiteX628" fmla="*/ 141806 w 2617696"/>
                    <a:gd name="connsiteY628" fmla="*/ 1162151 h 1576253"/>
                    <a:gd name="connsiteX629" fmla="*/ 140176 w 2617696"/>
                    <a:gd name="connsiteY629" fmla="*/ 1168671 h 1576253"/>
                    <a:gd name="connsiteX630" fmla="*/ 114097 w 2617696"/>
                    <a:gd name="connsiteY630" fmla="*/ 1175191 h 1576253"/>
                    <a:gd name="connsiteX631" fmla="*/ 112467 w 2617696"/>
                    <a:gd name="connsiteY631" fmla="*/ 1167041 h 1576253"/>
                    <a:gd name="connsiteX632" fmla="*/ 114097 w 2617696"/>
                    <a:gd name="connsiteY632" fmla="*/ 1160522 h 1576253"/>
                    <a:gd name="connsiteX633" fmla="*/ 123876 w 2617696"/>
                    <a:gd name="connsiteY633" fmla="*/ 1149112 h 1576253"/>
                    <a:gd name="connsiteX634" fmla="*/ 125506 w 2617696"/>
                    <a:gd name="connsiteY634" fmla="*/ 1144222 h 1576253"/>
                    <a:gd name="connsiteX635" fmla="*/ 117357 w 2617696"/>
                    <a:gd name="connsiteY635" fmla="*/ 1140962 h 1576253"/>
                    <a:gd name="connsiteX636" fmla="*/ 117357 w 2617696"/>
                    <a:gd name="connsiteY636" fmla="*/ 1129553 h 1576253"/>
                    <a:gd name="connsiteX637" fmla="*/ 104317 w 2617696"/>
                    <a:gd name="connsiteY637" fmla="*/ 1127923 h 1576253"/>
                    <a:gd name="connsiteX638" fmla="*/ 99427 w 2617696"/>
                    <a:gd name="connsiteY638" fmla="*/ 1126293 h 1576253"/>
                    <a:gd name="connsiteX639" fmla="*/ 97797 w 2617696"/>
                    <a:gd name="connsiteY639" fmla="*/ 1121403 h 1576253"/>
                    <a:gd name="connsiteX640" fmla="*/ 84758 w 2617696"/>
                    <a:gd name="connsiteY640" fmla="*/ 1118143 h 1576253"/>
                    <a:gd name="connsiteX641" fmla="*/ 88018 w 2617696"/>
                    <a:gd name="connsiteY641" fmla="*/ 1113253 h 1576253"/>
                    <a:gd name="connsiteX642" fmla="*/ 101057 w 2617696"/>
                    <a:gd name="connsiteY642" fmla="*/ 1098584 h 1576253"/>
                    <a:gd name="connsiteX643" fmla="*/ 96167 w 2617696"/>
                    <a:gd name="connsiteY643" fmla="*/ 1101843 h 1576253"/>
                    <a:gd name="connsiteX644" fmla="*/ 99427 w 2617696"/>
                    <a:gd name="connsiteY644" fmla="*/ 1093694 h 1576253"/>
                    <a:gd name="connsiteX645" fmla="*/ 110837 w 2617696"/>
                    <a:gd name="connsiteY645" fmla="*/ 1088804 h 1576253"/>
                    <a:gd name="connsiteX646" fmla="*/ 112467 w 2617696"/>
                    <a:gd name="connsiteY646" fmla="*/ 1083914 h 1576253"/>
                    <a:gd name="connsiteX647" fmla="*/ 120616 w 2617696"/>
                    <a:gd name="connsiteY647" fmla="*/ 1061095 h 1576253"/>
                    <a:gd name="connsiteX648" fmla="*/ 112467 w 2617696"/>
                    <a:gd name="connsiteY648" fmla="*/ 1057835 h 1576253"/>
                    <a:gd name="connsiteX649" fmla="*/ 105947 w 2617696"/>
                    <a:gd name="connsiteY649" fmla="*/ 1059465 h 1576253"/>
                    <a:gd name="connsiteX650" fmla="*/ 101057 w 2617696"/>
                    <a:gd name="connsiteY650" fmla="*/ 1057835 h 1576253"/>
                    <a:gd name="connsiteX651" fmla="*/ 96167 w 2617696"/>
                    <a:gd name="connsiteY651" fmla="*/ 1061095 h 1576253"/>
                    <a:gd name="connsiteX652" fmla="*/ 83128 w 2617696"/>
                    <a:gd name="connsiteY652" fmla="*/ 1064355 h 1576253"/>
                    <a:gd name="connsiteX653" fmla="*/ 78238 w 2617696"/>
                    <a:gd name="connsiteY653" fmla="*/ 1067615 h 1576253"/>
                    <a:gd name="connsiteX654" fmla="*/ 71718 w 2617696"/>
                    <a:gd name="connsiteY654" fmla="*/ 1070874 h 1576253"/>
                    <a:gd name="connsiteX655" fmla="*/ 65198 w 2617696"/>
                    <a:gd name="connsiteY655" fmla="*/ 1075764 h 1576253"/>
                    <a:gd name="connsiteX656" fmla="*/ 60308 w 2617696"/>
                    <a:gd name="connsiteY656" fmla="*/ 1079024 h 1576253"/>
                    <a:gd name="connsiteX657" fmla="*/ 44009 w 2617696"/>
                    <a:gd name="connsiteY657" fmla="*/ 1082284 h 1576253"/>
                    <a:gd name="connsiteX658" fmla="*/ 40749 w 2617696"/>
                    <a:gd name="connsiteY658" fmla="*/ 1087174 h 1576253"/>
                    <a:gd name="connsiteX659" fmla="*/ 30969 w 2617696"/>
                    <a:gd name="connsiteY659" fmla="*/ 1090434 h 1576253"/>
                    <a:gd name="connsiteX660" fmla="*/ 19560 w 2617696"/>
                    <a:gd name="connsiteY660" fmla="*/ 1096954 h 1576253"/>
                    <a:gd name="connsiteX661" fmla="*/ 1630 w 2617696"/>
                    <a:gd name="connsiteY661" fmla="*/ 1096954 h 1576253"/>
                    <a:gd name="connsiteX662" fmla="*/ 0 w 2617696"/>
                    <a:gd name="connsiteY662" fmla="*/ 1092064 h 1576253"/>
                    <a:gd name="connsiteX663" fmla="*/ 1630 w 2617696"/>
                    <a:gd name="connsiteY663" fmla="*/ 1077394 h 1576253"/>
                    <a:gd name="connsiteX664" fmla="*/ 6520 w 2617696"/>
                    <a:gd name="connsiteY664" fmla="*/ 1072504 h 1576253"/>
                    <a:gd name="connsiteX665" fmla="*/ 8150 w 2617696"/>
                    <a:gd name="connsiteY665" fmla="*/ 1059465 h 1576253"/>
                    <a:gd name="connsiteX666" fmla="*/ 3260 w 2617696"/>
                    <a:gd name="connsiteY666" fmla="*/ 1038276 h 1576253"/>
                    <a:gd name="connsiteX667" fmla="*/ 4890 w 2617696"/>
                    <a:gd name="connsiteY667" fmla="*/ 1002417 h 1576253"/>
                    <a:gd name="connsiteX668" fmla="*/ 17930 w 2617696"/>
                    <a:gd name="connsiteY668" fmla="*/ 1000787 h 1576253"/>
                    <a:gd name="connsiteX669" fmla="*/ 22820 w 2617696"/>
                    <a:gd name="connsiteY669" fmla="*/ 992637 h 1576253"/>
                    <a:gd name="connsiteX670" fmla="*/ 24450 w 2617696"/>
                    <a:gd name="connsiteY670" fmla="*/ 971448 h 1576253"/>
                    <a:gd name="connsiteX671" fmla="*/ 32599 w 2617696"/>
                    <a:gd name="connsiteY671" fmla="*/ 969818 h 1576253"/>
                    <a:gd name="connsiteX672" fmla="*/ 40749 w 2617696"/>
                    <a:gd name="connsiteY672" fmla="*/ 960038 h 1576253"/>
                    <a:gd name="connsiteX673" fmla="*/ 52159 w 2617696"/>
                    <a:gd name="connsiteY673" fmla="*/ 953518 h 1576253"/>
                    <a:gd name="connsiteX674" fmla="*/ 53789 w 2617696"/>
                    <a:gd name="connsiteY674" fmla="*/ 932329 h 1576253"/>
                    <a:gd name="connsiteX675" fmla="*/ 57049 w 2617696"/>
                    <a:gd name="connsiteY675" fmla="*/ 917660 h 1576253"/>
                    <a:gd name="connsiteX676" fmla="*/ 66828 w 2617696"/>
                    <a:gd name="connsiteY676" fmla="*/ 916030 h 1576253"/>
                    <a:gd name="connsiteX677" fmla="*/ 73348 w 2617696"/>
                    <a:gd name="connsiteY677" fmla="*/ 912770 h 1576253"/>
                    <a:gd name="connsiteX678" fmla="*/ 79868 w 2617696"/>
                    <a:gd name="connsiteY678" fmla="*/ 911140 h 1576253"/>
                    <a:gd name="connsiteX679" fmla="*/ 97797 w 2617696"/>
                    <a:gd name="connsiteY679" fmla="*/ 909510 h 1576253"/>
                    <a:gd name="connsiteX680" fmla="*/ 102687 w 2617696"/>
                    <a:gd name="connsiteY680" fmla="*/ 907880 h 1576253"/>
                    <a:gd name="connsiteX681" fmla="*/ 107577 w 2617696"/>
                    <a:gd name="connsiteY681" fmla="*/ 902990 h 1576253"/>
                    <a:gd name="connsiteX682" fmla="*/ 112467 w 2617696"/>
                    <a:gd name="connsiteY682" fmla="*/ 899730 h 1576253"/>
                    <a:gd name="connsiteX683" fmla="*/ 117356 w 2617696"/>
                    <a:gd name="connsiteY683" fmla="*/ 896470 h 1576253"/>
                    <a:gd name="connsiteX684" fmla="*/ 141806 w 2617696"/>
                    <a:gd name="connsiteY684" fmla="*/ 904620 h 1576253"/>
                    <a:gd name="connsiteX685" fmla="*/ 146696 w 2617696"/>
                    <a:gd name="connsiteY685" fmla="*/ 906250 h 1576253"/>
                    <a:gd name="connsiteX686" fmla="*/ 177665 w 2617696"/>
                    <a:gd name="connsiteY686" fmla="*/ 902990 h 1576253"/>
                    <a:gd name="connsiteX687" fmla="*/ 190704 w 2617696"/>
                    <a:gd name="connsiteY687" fmla="*/ 901360 h 1576253"/>
                    <a:gd name="connsiteX688" fmla="*/ 195594 w 2617696"/>
                    <a:gd name="connsiteY688" fmla="*/ 899730 h 1576253"/>
                    <a:gd name="connsiteX689" fmla="*/ 205374 w 2617696"/>
                    <a:gd name="connsiteY689" fmla="*/ 888320 h 1576253"/>
                    <a:gd name="connsiteX690" fmla="*/ 203744 w 2617696"/>
                    <a:gd name="connsiteY690" fmla="*/ 883431 h 1576253"/>
                    <a:gd name="connsiteX691" fmla="*/ 189074 w 2617696"/>
                    <a:gd name="connsiteY691" fmla="*/ 880171 h 1576253"/>
                    <a:gd name="connsiteX692" fmla="*/ 184184 w 2617696"/>
                    <a:gd name="connsiteY692" fmla="*/ 876911 h 1576253"/>
                    <a:gd name="connsiteX693" fmla="*/ 192334 w 2617696"/>
                    <a:gd name="connsiteY693" fmla="*/ 867131 h 1576253"/>
                    <a:gd name="connsiteX694" fmla="*/ 211893 w 2617696"/>
                    <a:gd name="connsiteY694" fmla="*/ 865501 h 1576253"/>
                    <a:gd name="connsiteX695" fmla="*/ 223303 w 2617696"/>
                    <a:gd name="connsiteY695" fmla="*/ 862241 h 1576253"/>
                    <a:gd name="connsiteX696" fmla="*/ 228193 w 2617696"/>
                    <a:gd name="connsiteY696" fmla="*/ 860611 h 1576253"/>
                    <a:gd name="connsiteX697" fmla="*/ 229823 w 2617696"/>
                    <a:gd name="connsiteY697" fmla="*/ 868761 h 1576253"/>
                    <a:gd name="connsiteX698" fmla="*/ 228193 w 2617696"/>
                    <a:gd name="connsiteY698" fmla="*/ 873651 h 1576253"/>
                    <a:gd name="connsiteX699" fmla="*/ 221673 w 2617696"/>
                    <a:gd name="connsiteY699" fmla="*/ 878541 h 1576253"/>
                    <a:gd name="connsiteX700" fmla="*/ 218413 w 2617696"/>
                    <a:gd name="connsiteY700" fmla="*/ 883431 h 1576253"/>
                    <a:gd name="connsiteX701" fmla="*/ 220043 w 2617696"/>
                    <a:gd name="connsiteY701" fmla="*/ 888320 h 1576253"/>
                    <a:gd name="connsiteX702" fmla="*/ 231453 w 2617696"/>
                    <a:gd name="connsiteY702" fmla="*/ 885061 h 1576253"/>
                    <a:gd name="connsiteX703" fmla="*/ 244492 w 2617696"/>
                    <a:gd name="connsiteY703" fmla="*/ 883431 h 1576253"/>
                    <a:gd name="connsiteX704" fmla="*/ 251012 w 2617696"/>
                    <a:gd name="connsiteY704" fmla="*/ 880171 h 1576253"/>
                    <a:gd name="connsiteX705" fmla="*/ 255902 w 2617696"/>
                    <a:gd name="connsiteY705" fmla="*/ 878541 h 1576253"/>
                    <a:gd name="connsiteX706" fmla="*/ 260792 w 2617696"/>
                    <a:gd name="connsiteY706" fmla="*/ 875281 h 1576253"/>
                    <a:gd name="connsiteX707" fmla="*/ 272201 w 2617696"/>
                    <a:gd name="connsiteY707" fmla="*/ 872021 h 1576253"/>
                    <a:gd name="connsiteX708" fmla="*/ 301541 w 2617696"/>
                    <a:gd name="connsiteY708" fmla="*/ 868761 h 1576253"/>
                    <a:gd name="connsiteX709" fmla="*/ 308060 w 2617696"/>
                    <a:gd name="connsiteY709" fmla="*/ 865501 h 1576253"/>
                    <a:gd name="connsiteX710" fmla="*/ 327620 w 2617696"/>
                    <a:gd name="connsiteY710" fmla="*/ 863871 h 1576253"/>
                    <a:gd name="connsiteX711" fmla="*/ 335769 w 2617696"/>
                    <a:gd name="connsiteY711" fmla="*/ 857351 h 1576253"/>
                    <a:gd name="connsiteX712" fmla="*/ 353699 w 2617696"/>
                    <a:gd name="connsiteY712" fmla="*/ 852462 h 1576253"/>
                    <a:gd name="connsiteX713" fmla="*/ 360219 w 2617696"/>
                    <a:gd name="connsiteY713" fmla="*/ 854092 h 1576253"/>
                    <a:gd name="connsiteX714" fmla="*/ 371628 w 2617696"/>
                    <a:gd name="connsiteY714" fmla="*/ 854092 h 1576253"/>
                    <a:gd name="connsiteX715" fmla="*/ 376518 w 2617696"/>
                    <a:gd name="connsiteY715" fmla="*/ 849202 h 1576253"/>
                    <a:gd name="connsiteX716" fmla="*/ 381408 w 2617696"/>
                    <a:gd name="connsiteY716" fmla="*/ 847572 h 1576253"/>
                    <a:gd name="connsiteX717" fmla="*/ 379778 w 2617696"/>
                    <a:gd name="connsiteY717" fmla="*/ 836162 h 1576253"/>
                    <a:gd name="connsiteX718" fmla="*/ 368368 w 2617696"/>
                    <a:gd name="connsiteY718" fmla="*/ 831272 h 1576253"/>
                    <a:gd name="connsiteX719" fmla="*/ 348809 w 2617696"/>
                    <a:gd name="connsiteY719" fmla="*/ 826383 h 1576253"/>
                    <a:gd name="connsiteX720" fmla="*/ 337399 w 2617696"/>
                    <a:gd name="connsiteY720" fmla="*/ 832902 h 1576253"/>
                    <a:gd name="connsiteX721" fmla="*/ 332510 w 2617696"/>
                    <a:gd name="connsiteY721" fmla="*/ 836162 h 1576253"/>
                    <a:gd name="connsiteX722" fmla="*/ 327620 w 2617696"/>
                    <a:gd name="connsiteY722" fmla="*/ 829642 h 1576253"/>
                    <a:gd name="connsiteX723" fmla="*/ 337399 w 2617696"/>
                    <a:gd name="connsiteY723" fmla="*/ 826383 h 1576253"/>
                    <a:gd name="connsiteX724" fmla="*/ 347179 w 2617696"/>
                    <a:gd name="connsiteY724" fmla="*/ 813343 h 1576253"/>
                    <a:gd name="connsiteX725" fmla="*/ 350439 w 2617696"/>
                    <a:gd name="connsiteY725" fmla="*/ 808453 h 1576253"/>
                    <a:gd name="connsiteX726" fmla="*/ 360219 w 2617696"/>
                    <a:gd name="connsiteY726" fmla="*/ 806823 h 1576253"/>
                    <a:gd name="connsiteX727" fmla="*/ 365108 w 2617696"/>
                    <a:gd name="connsiteY727" fmla="*/ 808453 h 1576253"/>
                    <a:gd name="connsiteX728" fmla="*/ 369998 w 2617696"/>
                    <a:gd name="connsiteY728" fmla="*/ 801933 h 1576253"/>
                    <a:gd name="connsiteX729" fmla="*/ 374888 w 2617696"/>
                    <a:gd name="connsiteY729" fmla="*/ 798673 h 1576253"/>
                    <a:gd name="connsiteX730" fmla="*/ 381408 w 2617696"/>
                    <a:gd name="connsiteY730" fmla="*/ 793784 h 1576253"/>
                    <a:gd name="connsiteX731" fmla="*/ 386298 w 2617696"/>
                    <a:gd name="connsiteY731" fmla="*/ 790524 h 1576253"/>
                    <a:gd name="connsiteX732" fmla="*/ 387928 w 2617696"/>
                    <a:gd name="connsiteY732" fmla="*/ 780744 h 1576253"/>
                    <a:gd name="connsiteX733" fmla="*/ 397707 w 2617696"/>
                    <a:gd name="connsiteY733" fmla="*/ 785634 h 1576253"/>
                    <a:gd name="connsiteX734" fmla="*/ 402597 w 2617696"/>
                    <a:gd name="connsiteY734" fmla="*/ 787264 h 1576253"/>
                    <a:gd name="connsiteX735" fmla="*/ 409117 w 2617696"/>
                    <a:gd name="connsiteY735" fmla="*/ 777484 h 1576253"/>
                    <a:gd name="connsiteX736" fmla="*/ 430306 w 2617696"/>
                    <a:gd name="connsiteY736" fmla="*/ 769334 h 1576253"/>
                    <a:gd name="connsiteX737" fmla="*/ 436826 w 2617696"/>
                    <a:gd name="connsiteY737" fmla="*/ 762815 h 1576253"/>
                    <a:gd name="connsiteX738" fmla="*/ 441716 w 2617696"/>
                    <a:gd name="connsiteY738" fmla="*/ 761185 h 1576253"/>
                    <a:gd name="connsiteX739" fmla="*/ 461275 w 2617696"/>
                    <a:gd name="connsiteY739" fmla="*/ 762815 h 1576253"/>
                    <a:gd name="connsiteX740" fmla="*/ 466165 w 2617696"/>
                    <a:gd name="connsiteY740" fmla="*/ 759555 h 1576253"/>
                    <a:gd name="connsiteX741" fmla="*/ 482465 w 2617696"/>
                    <a:gd name="connsiteY741" fmla="*/ 753035 h 1576253"/>
                    <a:gd name="connsiteX742" fmla="*/ 485724 w 2617696"/>
                    <a:gd name="connsiteY742" fmla="*/ 746515 h 1576253"/>
                    <a:gd name="connsiteX743" fmla="*/ 433566 w 2617696"/>
                    <a:gd name="connsiteY743" fmla="*/ 743255 h 1576253"/>
                    <a:gd name="connsiteX744" fmla="*/ 427046 w 2617696"/>
                    <a:gd name="connsiteY744" fmla="*/ 748145 h 1576253"/>
                    <a:gd name="connsiteX745" fmla="*/ 422157 w 2617696"/>
                    <a:gd name="connsiteY745" fmla="*/ 751405 h 1576253"/>
                    <a:gd name="connsiteX746" fmla="*/ 412377 w 2617696"/>
                    <a:gd name="connsiteY746" fmla="*/ 762815 h 1576253"/>
                    <a:gd name="connsiteX747" fmla="*/ 389558 w 2617696"/>
                    <a:gd name="connsiteY747" fmla="*/ 766074 h 1576253"/>
                    <a:gd name="connsiteX748" fmla="*/ 384668 w 2617696"/>
                    <a:gd name="connsiteY748" fmla="*/ 764445 h 1576253"/>
                    <a:gd name="connsiteX749" fmla="*/ 381408 w 2617696"/>
                    <a:gd name="connsiteY749" fmla="*/ 759555 h 1576253"/>
                    <a:gd name="connsiteX750" fmla="*/ 376476 w 2617696"/>
                    <a:gd name="connsiteY750" fmla="*/ 754660 h 1576253"/>
                    <a:gd name="connsiteX751" fmla="*/ 374586 w 2617696"/>
                    <a:gd name="connsiteY751" fmla="*/ 751791 h 1576253"/>
                    <a:gd name="connsiteX752" fmla="*/ 376518 w 2617696"/>
                    <a:gd name="connsiteY752" fmla="*/ 751405 h 1576253"/>
                    <a:gd name="connsiteX753" fmla="*/ 376009 w 2617696"/>
                    <a:gd name="connsiteY753" fmla="*/ 749431 h 1576253"/>
                    <a:gd name="connsiteX754" fmla="*/ 386298 w 2617696"/>
                    <a:gd name="connsiteY754" fmla="*/ 748145 h 1576253"/>
                    <a:gd name="connsiteX755" fmla="*/ 386299 w 2617696"/>
                    <a:gd name="connsiteY755" fmla="*/ 726956 h 1576253"/>
                    <a:gd name="connsiteX756" fmla="*/ 391188 w 2617696"/>
                    <a:gd name="connsiteY756" fmla="*/ 725326 h 1576253"/>
                    <a:gd name="connsiteX757" fmla="*/ 387928 w 2617696"/>
                    <a:gd name="connsiteY757" fmla="*/ 713916 h 1576253"/>
                    <a:gd name="connsiteX758" fmla="*/ 381408 w 2617696"/>
                    <a:gd name="connsiteY758" fmla="*/ 722066 h 1576253"/>
                    <a:gd name="connsiteX759" fmla="*/ 376518 w 2617696"/>
                    <a:gd name="connsiteY759" fmla="*/ 723696 h 1576253"/>
                    <a:gd name="connsiteX760" fmla="*/ 373258 w 2617696"/>
                    <a:gd name="connsiteY760" fmla="*/ 733476 h 1576253"/>
                    <a:gd name="connsiteX761" fmla="*/ 369998 w 2617696"/>
                    <a:gd name="connsiteY761" fmla="*/ 739995 h 1576253"/>
                    <a:gd name="connsiteX762" fmla="*/ 374810 w 2617696"/>
                    <a:gd name="connsiteY762" fmla="*/ 744789 h 1576253"/>
                    <a:gd name="connsiteX763" fmla="*/ 376009 w 2617696"/>
                    <a:gd name="connsiteY763" fmla="*/ 749431 h 1576253"/>
                    <a:gd name="connsiteX764" fmla="*/ 373258 w 2617696"/>
                    <a:gd name="connsiteY764" fmla="*/ 749775 h 1576253"/>
                    <a:gd name="connsiteX765" fmla="*/ 374586 w 2617696"/>
                    <a:gd name="connsiteY765" fmla="*/ 751791 h 1576253"/>
                    <a:gd name="connsiteX766" fmla="*/ 368368 w 2617696"/>
                    <a:gd name="connsiteY766" fmla="*/ 753035 h 1576253"/>
                    <a:gd name="connsiteX767" fmla="*/ 358589 w 2617696"/>
                    <a:gd name="connsiteY767" fmla="*/ 749775 h 1576253"/>
                    <a:gd name="connsiteX768" fmla="*/ 355329 w 2617696"/>
                    <a:gd name="connsiteY768" fmla="*/ 744885 h 1576253"/>
                    <a:gd name="connsiteX769" fmla="*/ 350439 w 2617696"/>
                    <a:gd name="connsiteY769" fmla="*/ 741625 h 1576253"/>
                    <a:gd name="connsiteX770" fmla="*/ 350439 w 2617696"/>
                    <a:gd name="connsiteY770" fmla="*/ 728586 h 1576253"/>
                    <a:gd name="connsiteX771" fmla="*/ 349115 w 2617696"/>
                    <a:gd name="connsiteY771" fmla="*/ 721964 h 1576253"/>
                    <a:gd name="connsiteX772" fmla="*/ 358589 w 2617696"/>
                    <a:gd name="connsiteY772" fmla="*/ 718806 h 1576253"/>
                    <a:gd name="connsiteX773" fmla="*/ 365108 w 2617696"/>
                    <a:gd name="connsiteY773" fmla="*/ 717176 h 1576253"/>
                    <a:gd name="connsiteX774" fmla="*/ 348809 w 2617696"/>
                    <a:gd name="connsiteY774" fmla="*/ 720436 h 1576253"/>
                    <a:gd name="connsiteX775" fmla="*/ 349115 w 2617696"/>
                    <a:gd name="connsiteY775" fmla="*/ 721964 h 1576253"/>
                    <a:gd name="connsiteX776" fmla="*/ 348809 w 2617696"/>
                    <a:gd name="connsiteY776" fmla="*/ 722066 h 1576253"/>
                    <a:gd name="connsiteX777" fmla="*/ 345549 w 2617696"/>
                    <a:gd name="connsiteY777" fmla="*/ 712286 h 1576253"/>
                    <a:gd name="connsiteX778" fmla="*/ 348809 w 2617696"/>
                    <a:gd name="connsiteY778" fmla="*/ 700877 h 1576253"/>
                    <a:gd name="connsiteX779" fmla="*/ 345549 w 2617696"/>
                    <a:gd name="connsiteY779" fmla="*/ 699247 h 1576253"/>
                    <a:gd name="connsiteX780" fmla="*/ 355329 w 2617696"/>
                    <a:gd name="connsiteY780" fmla="*/ 694357 h 1576253"/>
                    <a:gd name="connsiteX781" fmla="*/ 378148 w 2617696"/>
                    <a:gd name="connsiteY781" fmla="*/ 691097 h 1576253"/>
                    <a:gd name="connsiteX782" fmla="*/ 383038 w 2617696"/>
                    <a:gd name="connsiteY782" fmla="*/ 689467 h 1576253"/>
                    <a:gd name="connsiteX783" fmla="*/ 461275 w 2617696"/>
                    <a:gd name="connsiteY783" fmla="*/ 686207 h 1576253"/>
                    <a:gd name="connsiteX784" fmla="*/ 477575 w 2617696"/>
                    <a:gd name="connsiteY784" fmla="*/ 684577 h 1576253"/>
                    <a:gd name="connsiteX785" fmla="*/ 488984 w 2617696"/>
                    <a:gd name="connsiteY785" fmla="*/ 661758 h 1576253"/>
                    <a:gd name="connsiteX786" fmla="*/ 505284 w 2617696"/>
                    <a:gd name="connsiteY786" fmla="*/ 653608 h 1576253"/>
                    <a:gd name="connsiteX787" fmla="*/ 510174 w 2617696"/>
                    <a:gd name="connsiteY787" fmla="*/ 655238 h 1576253"/>
                    <a:gd name="connsiteX788" fmla="*/ 515064 w 2617696"/>
                    <a:gd name="connsiteY788" fmla="*/ 658498 h 1576253"/>
                    <a:gd name="connsiteX789" fmla="*/ 529733 w 2617696"/>
                    <a:gd name="connsiteY789" fmla="*/ 661758 h 1576253"/>
                    <a:gd name="connsiteX790" fmla="*/ 544403 w 2617696"/>
                    <a:gd name="connsiteY790" fmla="*/ 658498 h 1576253"/>
                    <a:gd name="connsiteX791" fmla="*/ 554182 w 2617696"/>
                    <a:gd name="connsiteY791" fmla="*/ 655238 h 1576253"/>
                    <a:gd name="connsiteX792" fmla="*/ 562332 w 2617696"/>
                    <a:gd name="connsiteY792" fmla="*/ 653608 h 1576253"/>
                    <a:gd name="connsiteX793" fmla="*/ 567222 w 2617696"/>
                    <a:gd name="connsiteY793" fmla="*/ 651978 h 1576253"/>
                    <a:gd name="connsiteX794" fmla="*/ 583521 w 2617696"/>
                    <a:gd name="connsiteY794" fmla="*/ 648718 h 1576253"/>
                    <a:gd name="connsiteX795" fmla="*/ 601451 w 2617696"/>
                    <a:gd name="connsiteY795" fmla="*/ 647088 h 1576253"/>
                    <a:gd name="connsiteX796" fmla="*/ 609600 w 2617696"/>
                    <a:gd name="connsiteY796" fmla="*/ 642199 h 1576253"/>
                    <a:gd name="connsiteX797" fmla="*/ 616120 w 2617696"/>
                    <a:gd name="connsiteY797" fmla="*/ 638939 h 1576253"/>
                    <a:gd name="connsiteX798" fmla="*/ 624270 w 2617696"/>
                    <a:gd name="connsiteY798" fmla="*/ 629159 h 1576253"/>
                    <a:gd name="connsiteX799" fmla="*/ 638939 w 2617696"/>
                    <a:gd name="connsiteY799" fmla="*/ 614489 h 1576253"/>
                    <a:gd name="connsiteX800" fmla="*/ 640569 w 2617696"/>
                    <a:gd name="connsiteY800" fmla="*/ 603080 h 1576253"/>
                    <a:gd name="connsiteX801" fmla="*/ 635680 w 2617696"/>
                    <a:gd name="connsiteY801" fmla="*/ 598190 h 1576253"/>
                    <a:gd name="connsiteX802" fmla="*/ 632420 w 2617696"/>
                    <a:gd name="connsiteY802" fmla="*/ 593300 h 1576253"/>
                    <a:gd name="connsiteX803" fmla="*/ 637757 w 2617696"/>
                    <a:gd name="connsiteY803" fmla="*/ 591966 h 1576253"/>
                    <a:gd name="connsiteX804" fmla="*/ 638941 w 2617696"/>
                    <a:gd name="connsiteY804" fmla="*/ 588410 h 1576253"/>
                    <a:gd name="connsiteX805" fmla="*/ 645461 w 2617696"/>
                    <a:gd name="connsiteY805" fmla="*/ 586780 h 1576253"/>
                    <a:gd name="connsiteX806" fmla="*/ 650351 w 2617696"/>
                    <a:gd name="connsiteY806" fmla="*/ 583520 h 1576253"/>
                    <a:gd name="connsiteX807" fmla="*/ 676430 w 2617696"/>
                    <a:gd name="connsiteY807" fmla="*/ 572111 h 1576253"/>
                    <a:gd name="connsiteX808" fmla="*/ 684580 w 2617696"/>
                    <a:gd name="connsiteY808" fmla="*/ 560701 h 1576253"/>
                    <a:gd name="connsiteX809" fmla="*/ 700879 w 2617696"/>
                    <a:gd name="connsiteY809" fmla="*/ 547662 h 1576253"/>
                    <a:gd name="connsiteX810" fmla="*/ 704139 w 2617696"/>
                    <a:gd name="connsiteY810" fmla="*/ 537882 h 1576253"/>
                    <a:gd name="connsiteX811" fmla="*/ 709029 w 2617696"/>
                    <a:gd name="connsiteY811" fmla="*/ 531362 h 1576253"/>
                    <a:gd name="connsiteX812" fmla="*/ 720439 w 2617696"/>
                    <a:gd name="connsiteY812" fmla="*/ 516693 h 1576253"/>
                    <a:gd name="connsiteX813" fmla="*/ 725329 w 2617696"/>
                    <a:gd name="connsiteY813" fmla="*/ 513433 h 1576253"/>
                    <a:gd name="connsiteX814" fmla="*/ 726959 w 2617696"/>
                    <a:gd name="connsiteY814" fmla="*/ 506913 h 1576253"/>
                    <a:gd name="connsiteX815" fmla="*/ 731848 w 2617696"/>
                    <a:gd name="connsiteY815" fmla="*/ 500393 h 1576253"/>
                    <a:gd name="connsiteX816" fmla="*/ 735108 w 2617696"/>
                    <a:gd name="connsiteY816" fmla="*/ 493873 h 1576253"/>
                    <a:gd name="connsiteX817" fmla="*/ 746518 w 2617696"/>
                    <a:gd name="connsiteY817" fmla="*/ 488984 h 1576253"/>
                    <a:gd name="connsiteX818" fmla="*/ 751408 w 2617696"/>
                    <a:gd name="connsiteY818" fmla="*/ 479204 h 1576253"/>
                    <a:gd name="connsiteX819" fmla="*/ 754668 w 2617696"/>
                    <a:gd name="connsiteY819" fmla="*/ 474314 h 1576253"/>
                    <a:gd name="connsiteX820" fmla="*/ 757928 w 2617696"/>
                    <a:gd name="connsiteY820" fmla="*/ 467794 h 1576253"/>
                    <a:gd name="connsiteX821" fmla="*/ 767707 w 2617696"/>
                    <a:gd name="connsiteY821" fmla="*/ 462904 h 1576253"/>
                    <a:gd name="connsiteX822" fmla="*/ 777487 w 2617696"/>
                    <a:gd name="connsiteY822" fmla="*/ 456385 h 1576253"/>
                    <a:gd name="connsiteX823" fmla="*/ 782377 w 2617696"/>
                    <a:gd name="connsiteY823" fmla="*/ 454755 h 1576253"/>
                    <a:gd name="connsiteX824" fmla="*/ 785637 w 2617696"/>
                    <a:gd name="connsiteY824" fmla="*/ 449865 h 1576253"/>
                    <a:gd name="connsiteX825" fmla="*/ 790526 w 2617696"/>
                    <a:gd name="connsiteY825" fmla="*/ 444975 h 1576253"/>
                    <a:gd name="connsiteX826" fmla="*/ 797046 w 2617696"/>
                    <a:gd name="connsiteY826" fmla="*/ 441715 h 1576253"/>
                    <a:gd name="connsiteX827" fmla="*/ 798676 w 2617696"/>
                    <a:gd name="connsiteY827" fmla="*/ 436825 h 1576253"/>
                    <a:gd name="connsiteX828" fmla="*/ 801936 w 2617696"/>
                    <a:gd name="connsiteY828" fmla="*/ 430306 h 1576253"/>
                    <a:gd name="connsiteX829" fmla="*/ 814976 w 2617696"/>
                    <a:gd name="connsiteY829" fmla="*/ 420526 h 1576253"/>
                    <a:gd name="connsiteX830" fmla="*/ 828015 w 2617696"/>
                    <a:gd name="connsiteY830" fmla="*/ 417266 h 1576253"/>
                    <a:gd name="connsiteX831" fmla="*/ 832905 w 2617696"/>
                    <a:gd name="connsiteY831" fmla="*/ 412376 h 1576253"/>
                    <a:gd name="connsiteX832" fmla="*/ 836165 w 2617696"/>
                    <a:gd name="connsiteY832" fmla="*/ 400966 h 1576253"/>
                    <a:gd name="connsiteX833" fmla="*/ 841055 w 2617696"/>
                    <a:gd name="connsiteY833" fmla="*/ 397707 h 1576253"/>
                    <a:gd name="connsiteX834" fmla="*/ 867134 w 2617696"/>
                    <a:gd name="connsiteY834" fmla="*/ 396077 h 1576253"/>
                    <a:gd name="connsiteX835" fmla="*/ 881803 w 2617696"/>
                    <a:gd name="connsiteY835" fmla="*/ 397707 h 1576253"/>
                    <a:gd name="connsiteX836" fmla="*/ 904623 w 2617696"/>
                    <a:gd name="connsiteY836" fmla="*/ 399337 h 1576253"/>
                    <a:gd name="connsiteX837" fmla="*/ 911143 w 2617696"/>
                    <a:gd name="connsiteY837" fmla="*/ 399337 h 1576253"/>
                    <a:gd name="connsiteX838" fmla="*/ 907883 w 2617696"/>
                    <a:gd name="connsiteY838" fmla="*/ 394447 h 1576253"/>
                    <a:gd name="connsiteX839" fmla="*/ 911143 w 2617696"/>
                    <a:gd name="connsiteY839" fmla="*/ 389557 h 1576253"/>
                    <a:gd name="connsiteX840" fmla="*/ 922552 w 2617696"/>
                    <a:gd name="connsiteY840" fmla="*/ 387927 h 1576253"/>
                    <a:gd name="connsiteX841" fmla="*/ 927442 w 2617696"/>
                    <a:gd name="connsiteY841" fmla="*/ 384667 h 1576253"/>
                    <a:gd name="connsiteX842" fmla="*/ 947001 w 2617696"/>
                    <a:gd name="connsiteY842" fmla="*/ 373257 h 1576253"/>
                    <a:gd name="connsiteX843" fmla="*/ 955151 w 2617696"/>
                    <a:gd name="connsiteY843" fmla="*/ 371627 h 1576253"/>
                    <a:gd name="connsiteX844" fmla="*/ 964931 w 2617696"/>
                    <a:gd name="connsiteY844" fmla="*/ 368368 h 1576253"/>
                    <a:gd name="connsiteX845" fmla="*/ 981230 w 2617696"/>
                    <a:gd name="connsiteY845" fmla="*/ 365108 h 1576253"/>
                    <a:gd name="connsiteX846" fmla="*/ 986120 w 2617696"/>
                    <a:gd name="connsiteY846" fmla="*/ 361848 h 1576253"/>
                    <a:gd name="connsiteX847" fmla="*/ 1005679 w 2617696"/>
                    <a:gd name="connsiteY847" fmla="*/ 358588 h 1576253"/>
                    <a:gd name="connsiteX848" fmla="*/ 1010569 w 2617696"/>
                    <a:gd name="connsiteY848" fmla="*/ 353698 h 1576253"/>
                    <a:gd name="connsiteX849" fmla="*/ 1023609 w 2617696"/>
                    <a:gd name="connsiteY849" fmla="*/ 350438 h 1576253"/>
                    <a:gd name="connsiteX850" fmla="*/ 1036648 w 2617696"/>
                    <a:gd name="connsiteY850" fmla="*/ 347178 h 1576253"/>
                    <a:gd name="connsiteX851" fmla="*/ 1049688 w 2617696"/>
                    <a:gd name="connsiteY851" fmla="*/ 335769 h 1576253"/>
                    <a:gd name="connsiteX852" fmla="*/ 1056208 w 2617696"/>
                    <a:gd name="connsiteY852" fmla="*/ 330879 h 1576253"/>
                    <a:gd name="connsiteX853" fmla="*/ 1057838 w 2617696"/>
                    <a:gd name="connsiteY853" fmla="*/ 325989 h 1576253"/>
                    <a:gd name="connsiteX854" fmla="*/ 1062728 w 2617696"/>
                    <a:gd name="connsiteY854" fmla="*/ 319469 h 1576253"/>
                    <a:gd name="connsiteX855" fmla="*/ 1077397 w 2617696"/>
                    <a:gd name="connsiteY855" fmla="*/ 314579 h 1576253"/>
                    <a:gd name="connsiteX856" fmla="*/ 1082287 w 2617696"/>
                    <a:gd name="connsiteY856" fmla="*/ 317839 h 1576253"/>
                    <a:gd name="connsiteX857" fmla="*/ 1083917 w 2617696"/>
                    <a:gd name="connsiteY857" fmla="*/ 329249 h 1576253"/>
                    <a:gd name="connsiteX858" fmla="*/ 1085547 w 2617696"/>
                    <a:gd name="connsiteY858" fmla="*/ 335769 h 1576253"/>
                    <a:gd name="connsiteX859" fmla="*/ 1087177 w 2617696"/>
                    <a:gd name="connsiteY859" fmla="*/ 345548 h 1576253"/>
                    <a:gd name="connsiteX860" fmla="*/ 1092067 w 2617696"/>
                    <a:gd name="connsiteY860" fmla="*/ 348808 h 1576253"/>
                    <a:gd name="connsiteX861" fmla="*/ 1095326 w 2617696"/>
                    <a:gd name="connsiteY861" fmla="*/ 355328 h 1576253"/>
                    <a:gd name="connsiteX862" fmla="*/ 1100216 w 2617696"/>
                    <a:gd name="connsiteY862" fmla="*/ 361848 h 1576253"/>
                    <a:gd name="connsiteX863" fmla="*/ 1124666 w 2617696"/>
                    <a:gd name="connsiteY863" fmla="*/ 363478 h 1576253"/>
                    <a:gd name="connsiteX864" fmla="*/ 1131185 w 2617696"/>
                    <a:gd name="connsiteY864" fmla="*/ 366738 h 1576253"/>
                    <a:gd name="connsiteX865" fmla="*/ 1136075 w 2617696"/>
                    <a:gd name="connsiteY865" fmla="*/ 369997 h 1576253"/>
                    <a:gd name="connsiteX866" fmla="*/ 1163784 w 2617696"/>
                    <a:gd name="connsiteY866" fmla="*/ 368368 h 1576253"/>
                    <a:gd name="connsiteX867" fmla="*/ 1170304 w 2617696"/>
                    <a:gd name="connsiteY867" fmla="*/ 366738 h 1576253"/>
                    <a:gd name="connsiteX868" fmla="*/ 1183344 w 2617696"/>
                    <a:gd name="connsiteY868" fmla="*/ 355328 h 1576253"/>
                    <a:gd name="connsiteX869" fmla="*/ 1188233 w 2617696"/>
                    <a:gd name="connsiteY869" fmla="*/ 352068 h 1576253"/>
                    <a:gd name="connsiteX870" fmla="*/ 1191493 w 2617696"/>
                    <a:gd name="connsiteY870" fmla="*/ 335769 h 1576253"/>
                    <a:gd name="connsiteX871" fmla="*/ 1194753 w 2617696"/>
                    <a:gd name="connsiteY871" fmla="*/ 340658 h 1576253"/>
                    <a:gd name="connsiteX872" fmla="*/ 1202903 w 2617696"/>
                    <a:gd name="connsiteY872" fmla="*/ 339028 h 1576253"/>
                    <a:gd name="connsiteX873" fmla="*/ 1206163 w 2617696"/>
                    <a:gd name="connsiteY873" fmla="*/ 343918 h 1576253"/>
                    <a:gd name="connsiteX874" fmla="*/ 1215943 w 2617696"/>
                    <a:gd name="connsiteY874" fmla="*/ 347178 h 1576253"/>
                    <a:gd name="connsiteX875" fmla="*/ 1217572 w 2617696"/>
                    <a:gd name="connsiteY875" fmla="*/ 355328 h 1576253"/>
                    <a:gd name="connsiteX876" fmla="*/ 1219202 w 2617696"/>
                    <a:gd name="connsiteY876" fmla="*/ 347178 h 1576253"/>
                    <a:gd name="connsiteX877" fmla="*/ 1227352 w 2617696"/>
                    <a:gd name="connsiteY877" fmla="*/ 353698 h 1576253"/>
                    <a:gd name="connsiteX878" fmla="*/ 1233872 w 2617696"/>
                    <a:gd name="connsiteY878" fmla="*/ 363478 h 1576253"/>
                    <a:gd name="connsiteX879" fmla="*/ 1237132 w 2617696"/>
                    <a:gd name="connsiteY879" fmla="*/ 368368 h 1576253"/>
                    <a:gd name="connsiteX880" fmla="*/ 1240392 w 2617696"/>
                    <a:gd name="connsiteY880" fmla="*/ 374887 h 1576253"/>
                    <a:gd name="connsiteX881" fmla="*/ 1246912 w 2617696"/>
                    <a:gd name="connsiteY881" fmla="*/ 379777 h 1576253"/>
                    <a:gd name="connsiteX882" fmla="*/ 1282770 w 2617696"/>
                    <a:gd name="connsiteY882" fmla="*/ 384667 h 1576253"/>
                    <a:gd name="connsiteX883" fmla="*/ 1292550 w 2617696"/>
                    <a:gd name="connsiteY883" fmla="*/ 379777 h 1576253"/>
                    <a:gd name="connsiteX884" fmla="*/ 1295810 w 2617696"/>
                    <a:gd name="connsiteY884" fmla="*/ 363478 h 1576253"/>
                    <a:gd name="connsiteX885" fmla="*/ 1294180 w 2617696"/>
                    <a:gd name="connsiteY885" fmla="*/ 358588 h 1576253"/>
                    <a:gd name="connsiteX886" fmla="*/ 1300700 w 2617696"/>
                    <a:gd name="connsiteY886" fmla="*/ 356958 h 1576253"/>
                    <a:gd name="connsiteX887" fmla="*/ 1326779 w 2617696"/>
                    <a:gd name="connsiteY887" fmla="*/ 355328 h 1576253"/>
                    <a:gd name="connsiteX888" fmla="*/ 1333299 w 2617696"/>
                    <a:gd name="connsiteY888" fmla="*/ 353698 h 1576253"/>
                    <a:gd name="connsiteX889" fmla="*/ 1341448 w 2617696"/>
                    <a:gd name="connsiteY889" fmla="*/ 350438 h 1576253"/>
                    <a:gd name="connsiteX890" fmla="*/ 1336559 w 2617696"/>
                    <a:gd name="connsiteY890" fmla="*/ 355328 h 1576253"/>
                    <a:gd name="connsiteX891" fmla="*/ 1344708 w 2617696"/>
                    <a:gd name="connsiteY891" fmla="*/ 352068 h 1576253"/>
                    <a:gd name="connsiteX892" fmla="*/ 1349598 w 2617696"/>
                    <a:gd name="connsiteY892" fmla="*/ 353698 h 1576253"/>
                    <a:gd name="connsiteX893" fmla="*/ 1351228 w 2617696"/>
                    <a:gd name="connsiteY893" fmla="*/ 360218 h 1576253"/>
                    <a:gd name="connsiteX894" fmla="*/ 1352858 w 2617696"/>
                    <a:gd name="connsiteY894" fmla="*/ 374887 h 1576253"/>
                    <a:gd name="connsiteX895" fmla="*/ 1388717 w 2617696"/>
                    <a:gd name="connsiteY895" fmla="*/ 376517 h 1576253"/>
                    <a:gd name="connsiteX896" fmla="*/ 1398497 w 2617696"/>
                    <a:gd name="connsiteY896" fmla="*/ 374887 h 1576253"/>
                    <a:gd name="connsiteX897" fmla="*/ 1409906 w 2617696"/>
                    <a:gd name="connsiteY897" fmla="*/ 373257 h 1576253"/>
                    <a:gd name="connsiteX898" fmla="*/ 1435985 w 2617696"/>
                    <a:gd name="connsiteY898" fmla="*/ 376517 h 1576253"/>
                    <a:gd name="connsiteX899" fmla="*/ 1439245 w 2617696"/>
                    <a:gd name="connsiteY899" fmla="*/ 369997 h 1576253"/>
                    <a:gd name="connsiteX900" fmla="*/ 1435985 w 2617696"/>
                    <a:gd name="connsiteY900" fmla="*/ 358588 h 1576253"/>
                    <a:gd name="connsiteX901" fmla="*/ 1444135 w 2617696"/>
                    <a:gd name="connsiteY901" fmla="*/ 355328 h 1576253"/>
                    <a:gd name="connsiteX902" fmla="*/ 1447039 w 2617696"/>
                    <a:gd name="connsiteY902" fmla="*/ 361776 h 1576253"/>
                    <a:gd name="connsiteX903" fmla="*/ 1445764 w 2617696"/>
                    <a:gd name="connsiteY903" fmla="*/ 358588 h 1576253"/>
                    <a:gd name="connsiteX904" fmla="*/ 1463693 w 2617696"/>
                    <a:gd name="connsiteY904" fmla="*/ 353698 h 1576253"/>
                    <a:gd name="connsiteX905" fmla="*/ 1473473 w 2617696"/>
                    <a:gd name="connsiteY905" fmla="*/ 356958 h 1576253"/>
                    <a:gd name="connsiteX906" fmla="*/ 1475103 w 2617696"/>
                    <a:gd name="connsiteY906" fmla="*/ 363478 h 1576253"/>
                    <a:gd name="connsiteX907" fmla="*/ 1496292 w 2617696"/>
                    <a:gd name="connsiteY907" fmla="*/ 360218 h 1576253"/>
                    <a:gd name="connsiteX908" fmla="*/ 1507702 w 2617696"/>
                    <a:gd name="connsiteY908" fmla="*/ 356958 h 1576253"/>
                    <a:gd name="connsiteX909" fmla="*/ 1512592 w 2617696"/>
                    <a:gd name="connsiteY909" fmla="*/ 358588 h 1576253"/>
                    <a:gd name="connsiteX910" fmla="*/ 1530521 w 2617696"/>
                    <a:gd name="connsiteY910" fmla="*/ 360218 h 1576253"/>
                    <a:gd name="connsiteX911" fmla="*/ 1537041 w 2617696"/>
                    <a:gd name="connsiteY911" fmla="*/ 358588 h 1576253"/>
                    <a:gd name="connsiteX912" fmla="*/ 1553340 w 2617696"/>
                    <a:gd name="connsiteY912" fmla="*/ 348808 h 1576253"/>
                    <a:gd name="connsiteX913" fmla="*/ 1559860 w 2617696"/>
                    <a:gd name="connsiteY913" fmla="*/ 340658 h 1576253"/>
                    <a:gd name="connsiteX914" fmla="*/ 1563120 w 2617696"/>
                    <a:gd name="connsiteY914" fmla="*/ 335769 h 1576253"/>
                    <a:gd name="connsiteX915" fmla="*/ 1574530 w 2617696"/>
                    <a:gd name="connsiteY915" fmla="*/ 327619 h 1576253"/>
                    <a:gd name="connsiteX916" fmla="*/ 1581050 w 2617696"/>
                    <a:gd name="connsiteY916" fmla="*/ 322729 h 1576253"/>
                    <a:gd name="connsiteX917" fmla="*/ 1584309 w 2617696"/>
                    <a:gd name="connsiteY917" fmla="*/ 317839 h 1576253"/>
                    <a:gd name="connsiteX918" fmla="*/ 1602239 w 2617696"/>
                    <a:gd name="connsiteY918" fmla="*/ 316209 h 1576253"/>
                    <a:gd name="connsiteX919" fmla="*/ 1608759 w 2617696"/>
                    <a:gd name="connsiteY919" fmla="*/ 306430 h 1576253"/>
                    <a:gd name="connsiteX920" fmla="*/ 1613648 w 2617696"/>
                    <a:gd name="connsiteY920" fmla="*/ 304800 h 1576253"/>
                    <a:gd name="connsiteX921" fmla="*/ 1618538 w 2617696"/>
                    <a:gd name="connsiteY921" fmla="*/ 306430 h 1576253"/>
                    <a:gd name="connsiteX922" fmla="*/ 1629948 w 2617696"/>
                    <a:gd name="connsiteY922" fmla="*/ 298280 h 1576253"/>
                    <a:gd name="connsiteX923" fmla="*/ 1641358 w 2617696"/>
                    <a:gd name="connsiteY923" fmla="*/ 295020 h 1576253"/>
                    <a:gd name="connsiteX924" fmla="*/ 1646247 w 2617696"/>
                    <a:gd name="connsiteY924" fmla="*/ 293390 h 1576253"/>
                    <a:gd name="connsiteX925" fmla="*/ 1656027 w 2617696"/>
                    <a:gd name="connsiteY925" fmla="*/ 280350 h 1576253"/>
                    <a:gd name="connsiteX926" fmla="*/ 1659287 w 2617696"/>
                    <a:gd name="connsiteY926" fmla="*/ 272201 h 1576253"/>
                    <a:gd name="connsiteX927" fmla="*/ 1688626 w 2617696"/>
                    <a:gd name="connsiteY927" fmla="*/ 273831 h 1576253"/>
                    <a:gd name="connsiteX928" fmla="*/ 1690256 w 2617696"/>
                    <a:gd name="connsiteY928" fmla="*/ 280350 h 1576253"/>
                    <a:gd name="connsiteX929" fmla="*/ 1693516 w 2617696"/>
                    <a:gd name="connsiteY929" fmla="*/ 285240 h 1576253"/>
                    <a:gd name="connsiteX930" fmla="*/ 1698406 w 2617696"/>
                    <a:gd name="connsiteY930" fmla="*/ 283610 h 1576253"/>
                    <a:gd name="connsiteX931" fmla="*/ 1708185 w 2617696"/>
                    <a:gd name="connsiteY931" fmla="*/ 278720 h 1576253"/>
                    <a:gd name="connsiteX932" fmla="*/ 1763604 w 2617696"/>
                    <a:gd name="connsiteY932" fmla="*/ 273831 h 1576253"/>
                    <a:gd name="connsiteX933" fmla="*/ 1765234 w 2617696"/>
                    <a:gd name="connsiteY933" fmla="*/ 268941 h 1576253"/>
                    <a:gd name="connsiteX934" fmla="*/ 1768493 w 2617696"/>
                    <a:gd name="connsiteY934" fmla="*/ 262421 h 1576253"/>
                    <a:gd name="connsiteX935" fmla="*/ 1776643 w 2617696"/>
                    <a:gd name="connsiteY935" fmla="*/ 259161 h 1576253"/>
                    <a:gd name="connsiteX936" fmla="*/ 1781533 w 2617696"/>
                    <a:gd name="connsiteY936" fmla="*/ 254271 h 1576253"/>
                    <a:gd name="connsiteX937" fmla="*/ 1788053 w 2617696"/>
                    <a:gd name="connsiteY937" fmla="*/ 249381 h 1576253"/>
                    <a:gd name="connsiteX938" fmla="*/ 1796202 w 2617696"/>
                    <a:gd name="connsiteY938" fmla="*/ 244492 h 1576253"/>
                    <a:gd name="connsiteX939" fmla="*/ 1797832 w 2617696"/>
                    <a:gd name="connsiteY939" fmla="*/ 233082 h 1576253"/>
                    <a:gd name="connsiteX940" fmla="*/ 1805982 w 2617696"/>
                    <a:gd name="connsiteY940" fmla="*/ 228192 h 1576253"/>
                    <a:gd name="connsiteX941" fmla="*/ 1815762 w 2617696"/>
                    <a:gd name="connsiteY941" fmla="*/ 205373 h 1576253"/>
                    <a:gd name="connsiteX942" fmla="*/ 1822282 w 2617696"/>
                    <a:gd name="connsiteY942" fmla="*/ 200483 h 1576253"/>
                    <a:gd name="connsiteX943" fmla="*/ 1833691 w 2617696"/>
                    <a:gd name="connsiteY943" fmla="*/ 190703 h 1576253"/>
                    <a:gd name="connsiteX944" fmla="*/ 1835321 w 2617696"/>
                    <a:gd name="connsiteY944" fmla="*/ 184184 h 1576253"/>
                    <a:gd name="connsiteX945" fmla="*/ 1841841 w 2617696"/>
                    <a:gd name="connsiteY945" fmla="*/ 174404 h 1576253"/>
                    <a:gd name="connsiteX946" fmla="*/ 1846731 w 2617696"/>
                    <a:gd name="connsiteY946" fmla="*/ 171144 h 1576253"/>
                    <a:gd name="connsiteX947" fmla="*/ 1851621 w 2617696"/>
                    <a:gd name="connsiteY947" fmla="*/ 166254 h 1576253"/>
                    <a:gd name="connsiteX948" fmla="*/ 1858140 w 2617696"/>
                    <a:gd name="connsiteY948" fmla="*/ 162994 h 1576253"/>
                    <a:gd name="connsiteX949" fmla="*/ 1863030 w 2617696"/>
                    <a:gd name="connsiteY949" fmla="*/ 161364 h 1576253"/>
                    <a:gd name="connsiteX950" fmla="*/ 1864660 w 2617696"/>
                    <a:gd name="connsiteY950" fmla="*/ 154845 h 1576253"/>
                    <a:gd name="connsiteX951" fmla="*/ 1869550 w 2617696"/>
                    <a:gd name="connsiteY951" fmla="*/ 148325 h 1576253"/>
                    <a:gd name="connsiteX952" fmla="*/ 1874440 w 2617696"/>
                    <a:gd name="connsiteY952" fmla="*/ 143435 h 1576253"/>
                    <a:gd name="connsiteX953" fmla="*/ 1876070 w 2617696"/>
                    <a:gd name="connsiteY953" fmla="*/ 135285 h 1576253"/>
                    <a:gd name="connsiteX954" fmla="*/ 1880960 w 2617696"/>
                    <a:gd name="connsiteY954" fmla="*/ 130395 h 1576253"/>
                    <a:gd name="connsiteX955" fmla="*/ 1884220 w 2617696"/>
                    <a:gd name="connsiteY955" fmla="*/ 125506 h 1576253"/>
                    <a:gd name="connsiteX956" fmla="*/ 1889109 w 2617696"/>
                    <a:gd name="connsiteY956" fmla="*/ 122246 h 1576253"/>
                    <a:gd name="connsiteX957" fmla="*/ 1892369 w 2617696"/>
                    <a:gd name="connsiteY957" fmla="*/ 110836 h 1576253"/>
                    <a:gd name="connsiteX958" fmla="*/ 1893999 w 2617696"/>
                    <a:gd name="connsiteY958" fmla="*/ 105946 h 1576253"/>
                    <a:gd name="connsiteX959" fmla="*/ 1905409 w 2617696"/>
                    <a:gd name="connsiteY959" fmla="*/ 91277 h 1576253"/>
                    <a:gd name="connsiteX960" fmla="*/ 1908669 w 2617696"/>
                    <a:gd name="connsiteY960" fmla="*/ 86387 h 1576253"/>
                    <a:gd name="connsiteX961" fmla="*/ 1916819 w 2617696"/>
                    <a:gd name="connsiteY961" fmla="*/ 83127 h 1576253"/>
                    <a:gd name="connsiteX962" fmla="*/ 1924968 w 2617696"/>
                    <a:gd name="connsiteY962" fmla="*/ 92907 h 1576253"/>
                    <a:gd name="connsiteX963" fmla="*/ 1936378 w 2617696"/>
                    <a:gd name="connsiteY963" fmla="*/ 97796 h 1576253"/>
                    <a:gd name="connsiteX964" fmla="*/ 1947788 w 2617696"/>
                    <a:gd name="connsiteY964" fmla="*/ 83127 h 1576253"/>
                    <a:gd name="connsiteX965" fmla="*/ 1951047 w 2617696"/>
                    <a:gd name="connsiteY965" fmla="*/ 73347 h 1576253"/>
                    <a:gd name="connsiteX966" fmla="*/ 1965717 w 2617696"/>
                    <a:gd name="connsiteY966" fmla="*/ 70087 h 1576253"/>
                    <a:gd name="connsiteX967" fmla="*/ 1970607 w 2617696"/>
                    <a:gd name="connsiteY967" fmla="*/ 68457 h 1576253"/>
                    <a:gd name="connsiteX968" fmla="*/ 1978756 w 2617696"/>
                    <a:gd name="connsiteY968" fmla="*/ 63568 h 1576253"/>
                    <a:gd name="connsiteX969" fmla="*/ 1985276 w 2617696"/>
                    <a:gd name="connsiteY969" fmla="*/ 61938 h 1576253"/>
                    <a:gd name="connsiteX970" fmla="*/ 1990166 w 2617696"/>
                    <a:gd name="connsiteY970" fmla="*/ 58678 h 1576253"/>
                    <a:gd name="connsiteX971" fmla="*/ 1995056 w 2617696"/>
                    <a:gd name="connsiteY971" fmla="*/ 60308 h 1576253"/>
                    <a:gd name="connsiteX972" fmla="*/ 2008096 w 2617696"/>
                    <a:gd name="connsiteY972" fmla="*/ 61938 h 1576253"/>
                    <a:gd name="connsiteX973" fmla="*/ 2016245 w 2617696"/>
                    <a:gd name="connsiteY973" fmla="*/ 50528 h 1576253"/>
                    <a:gd name="connsiteX974" fmla="*/ 2026025 w 2617696"/>
                    <a:gd name="connsiteY974" fmla="*/ 35858 h 1576253"/>
                    <a:gd name="connsiteX975" fmla="*/ 2021135 w 2617696"/>
                    <a:gd name="connsiteY975" fmla="*/ 32599 h 1576253"/>
                    <a:gd name="connsiteX976" fmla="*/ 2017875 w 2617696"/>
                    <a:gd name="connsiteY976" fmla="*/ 27709 h 1576253"/>
                    <a:gd name="connsiteX977" fmla="*/ 2021135 w 2617696"/>
                    <a:gd name="connsiteY977" fmla="*/ 21189 h 1576253"/>
                    <a:gd name="connsiteX978" fmla="*/ 2032545 w 2617696"/>
                    <a:gd name="connsiteY978" fmla="*/ 11409 h 1576253"/>
                    <a:gd name="connsiteX979" fmla="*/ 2042324 w 2617696"/>
                    <a:gd name="connsiteY979" fmla="*/ 8149 h 1576253"/>
                    <a:gd name="connsiteX980" fmla="*/ 2045584 w 2617696"/>
                    <a:gd name="connsiteY980" fmla="*/ 3260 h 1576253"/>
                    <a:gd name="connsiteX981" fmla="*/ 2052104 w 2617696"/>
                    <a:gd name="connsiteY981" fmla="*/ 1630 h 1576253"/>
                    <a:gd name="connsiteX982" fmla="*/ 2056994 w 2617696"/>
                    <a:gd name="connsiteY982" fmla="*/ 0 h 15762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Lst>
                  <a:rect l="l" t="t" r="r" b="b"/>
                  <a:pathLst>
                    <a:path w="2617696" h="1576253">
                      <a:moveTo>
                        <a:pt x="361849" y="1512590"/>
                      </a:moveTo>
                      <a:lnTo>
                        <a:pt x="362167" y="1513862"/>
                      </a:lnTo>
                      <a:lnTo>
                        <a:pt x="361350" y="1514089"/>
                      </a:lnTo>
                      <a:lnTo>
                        <a:pt x="361849" y="1512590"/>
                      </a:lnTo>
                      <a:close/>
                      <a:moveTo>
                        <a:pt x="332510" y="1510960"/>
                      </a:moveTo>
                      <a:cubicBezTo>
                        <a:pt x="334228" y="1510960"/>
                        <a:pt x="335769" y="1512047"/>
                        <a:pt x="337399" y="1512590"/>
                      </a:cubicBezTo>
                      <a:cubicBezTo>
                        <a:pt x="343355" y="1513384"/>
                        <a:pt x="348620" y="1515454"/>
                        <a:pt x="353431" y="1516291"/>
                      </a:cubicBezTo>
                      <a:lnTo>
                        <a:pt x="361350" y="1514089"/>
                      </a:lnTo>
                      <a:lnTo>
                        <a:pt x="360219" y="1517480"/>
                      </a:lnTo>
                      <a:cubicBezTo>
                        <a:pt x="337463" y="1520008"/>
                        <a:pt x="352947" y="1516225"/>
                        <a:pt x="337399" y="1524000"/>
                      </a:cubicBezTo>
                      <a:cubicBezTo>
                        <a:pt x="333464" y="1525968"/>
                        <a:pt x="330732" y="1524999"/>
                        <a:pt x="327620" y="1528889"/>
                      </a:cubicBezTo>
                      <a:cubicBezTo>
                        <a:pt x="326547" y="1530231"/>
                        <a:pt x="326533" y="1532149"/>
                        <a:pt x="325990" y="1533779"/>
                      </a:cubicBezTo>
                      <a:cubicBezTo>
                        <a:pt x="323817" y="1535952"/>
                        <a:pt x="321783" y="1538275"/>
                        <a:pt x="319470" y="1540299"/>
                      </a:cubicBezTo>
                      <a:cubicBezTo>
                        <a:pt x="317425" y="1542088"/>
                        <a:pt x="314165" y="1542759"/>
                        <a:pt x="312950" y="1545189"/>
                      </a:cubicBezTo>
                      <a:cubicBezTo>
                        <a:pt x="311232" y="1548625"/>
                        <a:pt x="313356" y="1553341"/>
                        <a:pt x="311320" y="1556599"/>
                      </a:cubicBezTo>
                      <a:cubicBezTo>
                        <a:pt x="310133" y="1558499"/>
                        <a:pt x="307040" y="1558228"/>
                        <a:pt x="304800" y="1558228"/>
                      </a:cubicBezTo>
                      <a:cubicBezTo>
                        <a:pt x="298258" y="1558228"/>
                        <a:pt x="291761" y="1557142"/>
                        <a:pt x="285241" y="1556599"/>
                      </a:cubicBezTo>
                      <a:cubicBezTo>
                        <a:pt x="282371" y="1559468"/>
                        <a:pt x="279084" y="1564431"/>
                        <a:pt x="273831" y="1563118"/>
                      </a:cubicBezTo>
                      <a:cubicBezTo>
                        <a:pt x="271196" y="1562459"/>
                        <a:pt x="269485" y="1559858"/>
                        <a:pt x="267312" y="1558228"/>
                      </a:cubicBezTo>
                      <a:cubicBezTo>
                        <a:pt x="267312" y="1558228"/>
                        <a:pt x="273565" y="1548260"/>
                        <a:pt x="277091" y="1543559"/>
                      </a:cubicBezTo>
                      <a:cubicBezTo>
                        <a:pt x="278474" y="1541715"/>
                        <a:pt x="280641" y="1540545"/>
                        <a:pt x="281981" y="1538669"/>
                      </a:cubicBezTo>
                      <a:cubicBezTo>
                        <a:pt x="285130" y="1534261"/>
                        <a:pt x="284780" y="1528529"/>
                        <a:pt x="291761" y="1527260"/>
                      </a:cubicBezTo>
                      <a:cubicBezTo>
                        <a:pt x="295541" y="1526573"/>
                        <a:pt x="299367" y="1528346"/>
                        <a:pt x="303170" y="1528889"/>
                      </a:cubicBezTo>
                      <a:cubicBezTo>
                        <a:pt x="304800" y="1527803"/>
                        <a:pt x="306308" y="1526506"/>
                        <a:pt x="308060" y="1525630"/>
                      </a:cubicBezTo>
                      <a:cubicBezTo>
                        <a:pt x="309597" y="1524862"/>
                        <a:pt x="311371" y="1524677"/>
                        <a:pt x="312950" y="1524000"/>
                      </a:cubicBezTo>
                      <a:cubicBezTo>
                        <a:pt x="315183" y="1523043"/>
                        <a:pt x="317360" y="1521946"/>
                        <a:pt x="319470" y="1520740"/>
                      </a:cubicBezTo>
                      <a:cubicBezTo>
                        <a:pt x="321171" y="1519768"/>
                        <a:pt x="322975" y="1518865"/>
                        <a:pt x="324360" y="1517480"/>
                      </a:cubicBezTo>
                      <a:cubicBezTo>
                        <a:pt x="328115" y="1513725"/>
                        <a:pt x="326163" y="1510960"/>
                        <a:pt x="332510" y="1510960"/>
                      </a:cubicBezTo>
                      <a:close/>
                      <a:moveTo>
                        <a:pt x="2056994" y="0"/>
                      </a:moveTo>
                      <a:cubicBezTo>
                        <a:pt x="2064057" y="1630"/>
                        <a:pt x="2072705" y="142"/>
                        <a:pt x="2078183" y="4889"/>
                      </a:cubicBezTo>
                      <a:cubicBezTo>
                        <a:pt x="2082370" y="8518"/>
                        <a:pt x="2080282" y="15771"/>
                        <a:pt x="2081443" y="21189"/>
                      </a:cubicBezTo>
                      <a:cubicBezTo>
                        <a:pt x="2083342" y="30052"/>
                        <a:pt x="2081753" y="26719"/>
                        <a:pt x="2089593" y="32599"/>
                      </a:cubicBezTo>
                      <a:cubicBezTo>
                        <a:pt x="2092310" y="33142"/>
                        <a:pt x="2094986" y="33952"/>
                        <a:pt x="2097743" y="34228"/>
                      </a:cubicBezTo>
                      <a:cubicBezTo>
                        <a:pt x="2127640" y="37217"/>
                        <a:pt x="2113658" y="33013"/>
                        <a:pt x="2127082" y="37488"/>
                      </a:cubicBezTo>
                      <a:cubicBezTo>
                        <a:pt x="2129255" y="36945"/>
                        <a:pt x="2131447" y="36473"/>
                        <a:pt x="2133601" y="35858"/>
                      </a:cubicBezTo>
                      <a:cubicBezTo>
                        <a:pt x="2135253" y="35386"/>
                        <a:pt x="2136786" y="34441"/>
                        <a:pt x="2138491" y="34228"/>
                      </a:cubicBezTo>
                      <a:cubicBezTo>
                        <a:pt x="2145521" y="33350"/>
                        <a:pt x="2152618" y="33142"/>
                        <a:pt x="2159681" y="32599"/>
                      </a:cubicBezTo>
                      <a:cubicBezTo>
                        <a:pt x="2163587" y="44315"/>
                        <a:pt x="2158850" y="29690"/>
                        <a:pt x="2162940" y="44008"/>
                      </a:cubicBezTo>
                      <a:cubicBezTo>
                        <a:pt x="2163412" y="45660"/>
                        <a:pt x="2162918" y="48426"/>
                        <a:pt x="2164570" y="48898"/>
                      </a:cubicBezTo>
                      <a:cubicBezTo>
                        <a:pt x="2167748" y="49806"/>
                        <a:pt x="2171090" y="47811"/>
                        <a:pt x="2174350" y="47268"/>
                      </a:cubicBezTo>
                      <a:cubicBezTo>
                        <a:pt x="2181415" y="50801"/>
                        <a:pt x="2184509" y="50326"/>
                        <a:pt x="2187390" y="57048"/>
                      </a:cubicBezTo>
                      <a:cubicBezTo>
                        <a:pt x="2188272" y="59107"/>
                        <a:pt x="2188477" y="61395"/>
                        <a:pt x="2189020" y="63568"/>
                      </a:cubicBezTo>
                      <a:cubicBezTo>
                        <a:pt x="2191193" y="64111"/>
                        <a:pt x="2193480" y="64315"/>
                        <a:pt x="2195539" y="65197"/>
                      </a:cubicBezTo>
                      <a:cubicBezTo>
                        <a:pt x="2197340" y="65969"/>
                        <a:pt x="2198799" y="67370"/>
                        <a:pt x="2200429" y="68457"/>
                      </a:cubicBezTo>
                      <a:cubicBezTo>
                        <a:pt x="2205483" y="71827"/>
                        <a:pt x="2211675" y="73237"/>
                        <a:pt x="2216729" y="76607"/>
                      </a:cubicBezTo>
                      <a:cubicBezTo>
                        <a:pt x="2219925" y="78738"/>
                        <a:pt x="2221987" y="82227"/>
                        <a:pt x="2224878" y="84757"/>
                      </a:cubicBezTo>
                      <a:cubicBezTo>
                        <a:pt x="2226352" y="86047"/>
                        <a:pt x="2228016" y="87141"/>
                        <a:pt x="2229768" y="88017"/>
                      </a:cubicBezTo>
                      <a:cubicBezTo>
                        <a:pt x="2231305" y="88785"/>
                        <a:pt x="2234020" y="88052"/>
                        <a:pt x="2234658" y="89647"/>
                      </a:cubicBezTo>
                      <a:cubicBezTo>
                        <a:pt x="2236485" y="94215"/>
                        <a:pt x="2235745" y="99426"/>
                        <a:pt x="2236288" y="104316"/>
                      </a:cubicBezTo>
                      <a:cubicBezTo>
                        <a:pt x="2236831" y="105946"/>
                        <a:pt x="2237150" y="107669"/>
                        <a:pt x="2237918" y="109206"/>
                      </a:cubicBezTo>
                      <a:cubicBezTo>
                        <a:pt x="2238794" y="110958"/>
                        <a:pt x="2240490" y="112262"/>
                        <a:pt x="2241178" y="114096"/>
                      </a:cubicBezTo>
                      <a:cubicBezTo>
                        <a:pt x="2242151" y="116690"/>
                        <a:pt x="2241835" y="119652"/>
                        <a:pt x="2242808" y="122246"/>
                      </a:cubicBezTo>
                      <a:cubicBezTo>
                        <a:pt x="2243496" y="124080"/>
                        <a:pt x="2246068" y="125176"/>
                        <a:pt x="2246068" y="127135"/>
                      </a:cubicBezTo>
                      <a:cubicBezTo>
                        <a:pt x="2246068" y="129094"/>
                        <a:pt x="2243895" y="130395"/>
                        <a:pt x="2242808" y="132025"/>
                      </a:cubicBezTo>
                      <a:cubicBezTo>
                        <a:pt x="2241178" y="133112"/>
                        <a:pt x="2239719" y="134513"/>
                        <a:pt x="2237918" y="135285"/>
                      </a:cubicBezTo>
                      <a:cubicBezTo>
                        <a:pt x="2223182" y="141600"/>
                        <a:pt x="2238785" y="131991"/>
                        <a:pt x="2226508" y="140175"/>
                      </a:cubicBezTo>
                      <a:cubicBezTo>
                        <a:pt x="2222495" y="141178"/>
                        <a:pt x="2215852" y="140802"/>
                        <a:pt x="2218359" y="148325"/>
                      </a:cubicBezTo>
                      <a:cubicBezTo>
                        <a:pt x="2218978" y="150183"/>
                        <a:pt x="2221618" y="150498"/>
                        <a:pt x="2223248" y="151585"/>
                      </a:cubicBezTo>
                      <a:cubicBezTo>
                        <a:pt x="2228054" y="152546"/>
                        <a:pt x="2233583" y="151654"/>
                        <a:pt x="2234658" y="158104"/>
                      </a:cubicBezTo>
                      <a:cubicBezTo>
                        <a:pt x="2234940" y="159799"/>
                        <a:pt x="2233571" y="161364"/>
                        <a:pt x="2233028" y="162994"/>
                      </a:cubicBezTo>
                      <a:cubicBezTo>
                        <a:pt x="2235745" y="164624"/>
                        <a:pt x="2238139" y="166990"/>
                        <a:pt x="2241178" y="167884"/>
                      </a:cubicBezTo>
                      <a:cubicBezTo>
                        <a:pt x="2247519" y="169749"/>
                        <a:pt x="2255108" y="167680"/>
                        <a:pt x="2260737" y="171144"/>
                      </a:cubicBezTo>
                      <a:cubicBezTo>
                        <a:pt x="2263552" y="172876"/>
                        <a:pt x="2261824" y="177664"/>
                        <a:pt x="2262367" y="180924"/>
                      </a:cubicBezTo>
                      <a:cubicBezTo>
                        <a:pt x="2260194" y="182554"/>
                        <a:pt x="2258058" y="184235"/>
                        <a:pt x="2255847" y="185814"/>
                      </a:cubicBezTo>
                      <a:cubicBezTo>
                        <a:pt x="2242690" y="195212"/>
                        <a:pt x="2244448" y="188422"/>
                        <a:pt x="2283556" y="192333"/>
                      </a:cubicBezTo>
                      <a:cubicBezTo>
                        <a:pt x="2289768" y="191557"/>
                        <a:pt x="2310454" y="190702"/>
                        <a:pt x="2319415" y="185814"/>
                      </a:cubicBezTo>
                      <a:cubicBezTo>
                        <a:pt x="2322469" y="184148"/>
                        <a:pt x="2325274" y="181912"/>
                        <a:pt x="2327565" y="179294"/>
                      </a:cubicBezTo>
                      <a:cubicBezTo>
                        <a:pt x="2330373" y="176085"/>
                        <a:pt x="2330548" y="170713"/>
                        <a:pt x="2334085" y="167884"/>
                      </a:cubicBezTo>
                      <a:cubicBezTo>
                        <a:pt x="2335147" y="167034"/>
                        <a:pt x="2345068" y="164730"/>
                        <a:pt x="2345494" y="164624"/>
                      </a:cubicBezTo>
                      <a:cubicBezTo>
                        <a:pt x="2347667" y="165167"/>
                        <a:pt x="2349967" y="165344"/>
                        <a:pt x="2352014" y="166254"/>
                      </a:cubicBezTo>
                      <a:cubicBezTo>
                        <a:pt x="2375110" y="176519"/>
                        <a:pt x="2349852" y="167707"/>
                        <a:pt x="2365054" y="172774"/>
                      </a:cubicBezTo>
                      <a:cubicBezTo>
                        <a:pt x="2368771" y="174013"/>
                        <a:pt x="2369401" y="179294"/>
                        <a:pt x="2371574" y="182554"/>
                      </a:cubicBezTo>
                      <a:cubicBezTo>
                        <a:pt x="2373053" y="182739"/>
                        <a:pt x="2389368" y="184456"/>
                        <a:pt x="2392763" y="185814"/>
                      </a:cubicBezTo>
                      <a:cubicBezTo>
                        <a:pt x="2397259" y="187612"/>
                        <a:pt x="2403509" y="192650"/>
                        <a:pt x="2407432" y="195593"/>
                      </a:cubicBezTo>
                      <a:cubicBezTo>
                        <a:pt x="2416026" y="198458"/>
                        <a:pt x="2409072" y="195330"/>
                        <a:pt x="2417212" y="202113"/>
                      </a:cubicBezTo>
                      <a:cubicBezTo>
                        <a:pt x="2418717" y="203367"/>
                        <a:pt x="2420878" y="203843"/>
                        <a:pt x="2422102" y="205373"/>
                      </a:cubicBezTo>
                      <a:cubicBezTo>
                        <a:pt x="2423175" y="206715"/>
                        <a:pt x="2423189" y="208633"/>
                        <a:pt x="2423732" y="210263"/>
                      </a:cubicBezTo>
                      <a:cubicBezTo>
                        <a:pt x="2416866" y="208546"/>
                        <a:pt x="2411803" y="207003"/>
                        <a:pt x="2404173" y="207003"/>
                      </a:cubicBezTo>
                      <a:cubicBezTo>
                        <a:pt x="2402455" y="207003"/>
                        <a:pt x="2400051" y="207096"/>
                        <a:pt x="2399283" y="208633"/>
                      </a:cubicBezTo>
                      <a:cubicBezTo>
                        <a:pt x="2397043" y="213113"/>
                        <a:pt x="2397110" y="218412"/>
                        <a:pt x="2396023" y="223302"/>
                      </a:cubicBezTo>
                      <a:cubicBezTo>
                        <a:pt x="2396023" y="223302"/>
                        <a:pt x="2398276" y="231976"/>
                        <a:pt x="2399283" y="236342"/>
                      </a:cubicBezTo>
                      <a:cubicBezTo>
                        <a:pt x="2399906" y="239042"/>
                        <a:pt x="2400370" y="241775"/>
                        <a:pt x="2400913" y="244492"/>
                      </a:cubicBezTo>
                      <a:cubicBezTo>
                        <a:pt x="2402000" y="246665"/>
                        <a:pt x="2402968" y="248902"/>
                        <a:pt x="2404173" y="251011"/>
                      </a:cubicBezTo>
                      <a:cubicBezTo>
                        <a:pt x="2405145" y="252712"/>
                        <a:pt x="2406556" y="254149"/>
                        <a:pt x="2407432" y="255901"/>
                      </a:cubicBezTo>
                      <a:cubicBezTo>
                        <a:pt x="2408601" y="258240"/>
                        <a:pt x="2410169" y="265221"/>
                        <a:pt x="2410692" y="267311"/>
                      </a:cubicBezTo>
                      <a:cubicBezTo>
                        <a:pt x="2409062" y="268398"/>
                        <a:pt x="2406889" y="268941"/>
                        <a:pt x="2405802" y="270571"/>
                      </a:cubicBezTo>
                      <a:cubicBezTo>
                        <a:pt x="2404560" y="272435"/>
                        <a:pt x="2405175" y="275087"/>
                        <a:pt x="2404173" y="277091"/>
                      </a:cubicBezTo>
                      <a:cubicBezTo>
                        <a:pt x="2402958" y="279521"/>
                        <a:pt x="2400913" y="281437"/>
                        <a:pt x="2399283" y="283610"/>
                      </a:cubicBezTo>
                      <a:cubicBezTo>
                        <a:pt x="2392763" y="284153"/>
                        <a:pt x="2386266" y="285240"/>
                        <a:pt x="2379723" y="285240"/>
                      </a:cubicBezTo>
                      <a:cubicBezTo>
                        <a:pt x="2375790" y="285240"/>
                        <a:pt x="2370542" y="283266"/>
                        <a:pt x="2366684" y="281980"/>
                      </a:cubicBezTo>
                      <a:cubicBezTo>
                        <a:pt x="2365054" y="283067"/>
                        <a:pt x="2363018" y="283710"/>
                        <a:pt x="2361794" y="285240"/>
                      </a:cubicBezTo>
                      <a:cubicBezTo>
                        <a:pt x="2357587" y="290499"/>
                        <a:pt x="2361443" y="290398"/>
                        <a:pt x="2363424" y="295020"/>
                      </a:cubicBezTo>
                      <a:cubicBezTo>
                        <a:pt x="2364306" y="297079"/>
                        <a:pt x="2364511" y="299367"/>
                        <a:pt x="2365054" y="301540"/>
                      </a:cubicBezTo>
                      <a:cubicBezTo>
                        <a:pt x="2366660" y="302343"/>
                        <a:pt x="2374926" y="306139"/>
                        <a:pt x="2376463" y="308060"/>
                      </a:cubicBezTo>
                      <a:cubicBezTo>
                        <a:pt x="2377536" y="309401"/>
                        <a:pt x="2377416" y="311370"/>
                        <a:pt x="2378093" y="312949"/>
                      </a:cubicBezTo>
                      <a:cubicBezTo>
                        <a:pt x="2379050" y="315182"/>
                        <a:pt x="2380266" y="317296"/>
                        <a:pt x="2381353" y="319469"/>
                      </a:cubicBezTo>
                      <a:cubicBezTo>
                        <a:pt x="2384123" y="325010"/>
                        <a:pt x="2388960" y="329249"/>
                        <a:pt x="2392763" y="334139"/>
                      </a:cubicBezTo>
                      <a:cubicBezTo>
                        <a:pt x="2393822" y="335500"/>
                        <a:pt x="2396921" y="351668"/>
                        <a:pt x="2397653" y="355328"/>
                      </a:cubicBezTo>
                      <a:cubicBezTo>
                        <a:pt x="2402543" y="356415"/>
                        <a:pt x="2407410" y="357606"/>
                        <a:pt x="2412322" y="358588"/>
                      </a:cubicBezTo>
                      <a:cubicBezTo>
                        <a:pt x="2415563" y="359236"/>
                        <a:pt x="2418936" y="359268"/>
                        <a:pt x="2422102" y="360218"/>
                      </a:cubicBezTo>
                      <a:cubicBezTo>
                        <a:pt x="2424429" y="360916"/>
                        <a:pt x="2426449" y="362391"/>
                        <a:pt x="2428622" y="363478"/>
                      </a:cubicBezTo>
                      <a:cubicBezTo>
                        <a:pt x="2431338" y="364021"/>
                        <a:pt x="2435610" y="362593"/>
                        <a:pt x="2436771" y="365108"/>
                      </a:cubicBezTo>
                      <a:cubicBezTo>
                        <a:pt x="2439512" y="371048"/>
                        <a:pt x="2437536" y="378182"/>
                        <a:pt x="2438401" y="384667"/>
                      </a:cubicBezTo>
                      <a:cubicBezTo>
                        <a:pt x="2438628" y="386370"/>
                        <a:pt x="2439488" y="387927"/>
                        <a:pt x="2440031" y="389557"/>
                      </a:cubicBezTo>
                      <a:cubicBezTo>
                        <a:pt x="2446096" y="397644"/>
                        <a:pt x="2442661" y="394570"/>
                        <a:pt x="2449811" y="399337"/>
                      </a:cubicBezTo>
                      <a:cubicBezTo>
                        <a:pt x="2452670" y="401243"/>
                        <a:pt x="2451984" y="405856"/>
                        <a:pt x="2453071" y="409116"/>
                      </a:cubicBezTo>
                      <a:cubicBezTo>
                        <a:pt x="2453779" y="411241"/>
                        <a:pt x="2454158" y="413463"/>
                        <a:pt x="2454701" y="415636"/>
                      </a:cubicBezTo>
                      <a:cubicBezTo>
                        <a:pt x="2458762" y="431882"/>
                        <a:pt x="2457224" y="424257"/>
                        <a:pt x="2459591" y="438455"/>
                      </a:cubicBezTo>
                      <a:cubicBezTo>
                        <a:pt x="2468827" y="438998"/>
                        <a:pt x="2478094" y="439164"/>
                        <a:pt x="2487300" y="440085"/>
                      </a:cubicBezTo>
                      <a:cubicBezTo>
                        <a:pt x="2489010" y="440256"/>
                        <a:pt x="2491338" y="440223"/>
                        <a:pt x="2492190" y="441715"/>
                      </a:cubicBezTo>
                      <a:cubicBezTo>
                        <a:pt x="2493830" y="444585"/>
                        <a:pt x="2493277" y="448235"/>
                        <a:pt x="2493820" y="451495"/>
                      </a:cubicBezTo>
                      <a:cubicBezTo>
                        <a:pt x="2493530" y="452946"/>
                        <a:pt x="2491424" y="464149"/>
                        <a:pt x="2490560" y="466164"/>
                      </a:cubicBezTo>
                      <a:cubicBezTo>
                        <a:pt x="2489788" y="467965"/>
                        <a:pt x="2488387" y="469424"/>
                        <a:pt x="2487300" y="471054"/>
                      </a:cubicBezTo>
                      <a:cubicBezTo>
                        <a:pt x="2488930" y="472684"/>
                        <a:pt x="2491046" y="473943"/>
                        <a:pt x="2492190" y="475944"/>
                      </a:cubicBezTo>
                      <a:cubicBezTo>
                        <a:pt x="2493301" y="477889"/>
                        <a:pt x="2493381" y="480267"/>
                        <a:pt x="2493820" y="482464"/>
                      </a:cubicBezTo>
                      <a:cubicBezTo>
                        <a:pt x="2494468" y="485704"/>
                        <a:pt x="2495450" y="488938"/>
                        <a:pt x="2495450" y="492243"/>
                      </a:cubicBezTo>
                      <a:cubicBezTo>
                        <a:pt x="2495450" y="493961"/>
                        <a:pt x="2494157" y="495448"/>
                        <a:pt x="2493820" y="497133"/>
                      </a:cubicBezTo>
                      <a:cubicBezTo>
                        <a:pt x="2493067" y="500900"/>
                        <a:pt x="2492733" y="504740"/>
                        <a:pt x="2492190" y="508543"/>
                      </a:cubicBezTo>
                      <a:cubicBezTo>
                        <a:pt x="2488988" y="518149"/>
                        <a:pt x="2492718" y="508677"/>
                        <a:pt x="2485670" y="519953"/>
                      </a:cubicBezTo>
                      <a:cubicBezTo>
                        <a:pt x="2484382" y="522013"/>
                        <a:pt x="2483497" y="524299"/>
                        <a:pt x="2482410" y="526472"/>
                      </a:cubicBezTo>
                      <a:cubicBezTo>
                        <a:pt x="2482953" y="528102"/>
                        <a:pt x="2482698" y="530289"/>
                        <a:pt x="2484040" y="531362"/>
                      </a:cubicBezTo>
                      <a:cubicBezTo>
                        <a:pt x="2489303" y="535572"/>
                        <a:pt x="2491457" y="532394"/>
                        <a:pt x="2495450" y="529732"/>
                      </a:cubicBezTo>
                      <a:cubicBezTo>
                        <a:pt x="2497623" y="529189"/>
                        <a:pt x="2499815" y="528717"/>
                        <a:pt x="2501969" y="528102"/>
                      </a:cubicBezTo>
                      <a:cubicBezTo>
                        <a:pt x="2503621" y="527630"/>
                        <a:pt x="2505182" y="526845"/>
                        <a:pt x="2506859" y="526472"/>
                      </a:cubicBezTo>
                      <a:cubicBezTo>
                        <a:pt x="2510085" y="525755"/>
                        <a:pt x="2513379" y="525385"/>
                        <a:pt x="2516639" y="524842"/>
                      </a:cubicBezTo>
                      <a:cubicBezTo>
                        <a:pt x="2517182" y="528102"/>
                        <a:pt x="2516204" y="532041"/>
                        <a:pt x="2518269" y="534622"/>
                      </a:cubicBezTo>
                      <a:cubicBezTo>
                        <a:pt x="2519342" y="535964"/>
                        <a:pt x="2521461" y="533253"/>
                        <a:pt x="2523159" y="532992"/>
                      </a:cubicBezTo>
                      <a:cubicBezTo>
                        <a:pt x="2528556" y="532162"/>
                        <a:pt x="2534025" y="531905"/>
                        <a:pt x="2539458" y="531362"/>
                      </a:cubicBezTo>
                      <a:cubicBezTo>
                        <a:pt x="2541631" y="531905"/>
                        <a:pt x="2544394" y="531408"/>
                        <a:pt x="2545978" y="532992"/>
                      </a:cubicBezTo>
                      <a:cubicBezTo>
                        <a:pt x="2548761" y="535775"/>
                        <a:pt x="2550090" y="545790"/>
                        <a:pt x="2550868" y="549292"/>
                      </a:cubicBezTo>
                      <a:cubicBezTo>
                        <a:pt x="2551354" y="551479"/>
                        <a:pt x="2550675" y="554509"/>
                        <a:pt x="2552498" y="555811"/>
                      </a:cubicBezTo>
                      <a:cubicBezTo>
                        <a:pt x="2566720" y="565970"/>
                        <a:pt x="2559803" y="550019"/>
                        <a:pt x="2563907" y="562331"/>
                      </a:cubicBezTo>
                      <a:cubicBezTo>
                        <a:pt x="2563364" y="565591"/>
                        <a:pt x="2561369" y="568933"/>
                        <a:pt x="2562277" y="572111"/>
                      </a:cubicBezTo>
                      <a:cubicBezTo>
                        <a:pt x="2562749" y="573763"/>
                        <a:pt x="2565588" y="573064"/>
                        <a:pt x="2567167" y="573741"/>
                      </a:cubicBezTo>
                      <a:cubicBezTo>
                        <a:pt x="2569400" y="574698"/>
                        <a:pt x="2571514" y="575914"/>
                        <a:pt x="2573687" y="577001"/>
                      </a:cubicBezTo>
                      <a:cubicBezTo>
                        <a:pt x="2586162" y="579496"/>
                        <a:pt x="2577727" y="577294"/>
                        <a:pt x="2589986" y="581891"/>
                      </a:cubicBezTo>
                      <a:cubicBezTo>
                        <a:pt x="2591595" y="582494"/>
                        <a:pt x="2593339" y="582752"/>
                        <a:pt x="2594876" y="583520"/>
                      </a:cubicBezTo>
                      <a:cubicBezTo>
                        <a:pt x="2596628" y="584396"/>
                        <a:pt x="2598014" y="585904"/>
                        <a:pt x="2599766" y="586780"/>
                      </a:cubicBezTo>
                      <a:cubicBezTo>
                        <a:pt x="2601303" y="587548"/>
                        <a:pt x="2603979" y="586831"/>
                        <a:pt x="2604656" y="588410"/>
                      </a:cubicBezTo>
                      <a:cubicBezTo>
                        <a:pt x="2607512" y="595073"/>
                        <a:pt x="2607788" y="602567"/>
                        <a:pt x="2609546" y="609600"/>
                      </a:cubicBezTo>
                      <a:cubicBezTo>
                        <a:pt x="2609963" y="611267"/>
                        <a:pt x="2609961" y="613274"/>
                        <a:pt x="2611176" y="614489"/>
                      </a:cubicBezTo>
                      <a:cubicBezTo>
                        <a:pt x="2619869" y="623180"/>
                        <a:pt x="2613350" y="607971"/>
                        <a:pt x="2617696" y="621009"/>
                      </a:cubicBezTo>
                      <a:cubicBezTo>
                        <a:pt x="2610633" y="621552"/>
                        <a:pt x="2603547" y="621857"/>
                        <a:pt x="2596506" y="622639"/>
                      </a:cubicBezTo>
                      <a:cubicBezTo>
                        <a:pt x="2593752" y="622945"/>
                        <a:pt x="2590834" y="623030"/>
                        <a:pt x="2588356" y="624269"/>
                      </a:cubicBezTo>
                      <a:cubicBezTo>
                        <a:pt x="2584935" y="625980"/>
                        <a:pt x="2581139" y="632260"/>
                        <a:pt x="2580207" y="635679"/>
                      </a:cubicBezTo>
                      <a:cubicBezTo>
                        <a:pt x="2579196" y="639385"/>
                        <a:pt x="2579330" y="643321"/>
                        <a:pt x="2578577" y="647088"/>
                      </a:cubicBezTo>
                      <a:cubicBezTo>
                        <a:pt x="2578240" y="648773"/>
                        <a:pt x="2577490" y="650348"/>
                        <a:pt x="2576947" y="651978"/>
                      </a:cubicBezTo>
                      <a:cubicBezTo>
                        <a:pt x="2573342" y="655583"/>
                        <a:pt x="2571066" y="657219"/>
                        <a:pt x="2568797" y="661758"/>
                      </a:cubicBezTo>
                      <a:cubicBezTo>
                        <a:pt x="2568029" y="663295"/>
                        <a:pt x="2568382" y="665433"/>
                        <a:pt x="2567167" y="666648"/>
                      </a:cubicBezTo>
                      <a:cubicBezTo>
                        <a:pt x="2565952" y="667863"/>
                        <a:pt x="2563907" y="667735"/>
                        <a:pt x="2562277" y="668278"/>
                      </a:cubicBezTo>
                      <a:cubicBezTo>
                        <a:pt x="2574452" y="684510"/>
                        <a:pt x="2559490" y="664096"/>
                        <a:pt x="2572057" y="682947"/>
                      </a:cubicBezTo>
                      <a:cubicBezTo>
                        <a:pt x="2573564" y="685207"/>
                        <a:pt x="2579540" y="688657"/>
                        <a:pt x="2576947" y="689467"/>
                      </a:cubicBezTo>
                      <a:cubicBezTo>
                        <a:pt x="2567080" y="692550"/>
                        <a:pt x="2556301" y="690554"/>
                        <a:pt x="2545978" y="691097"/>
                      </a:cubicBezTo>
                      <a:cubicBezTo>
                        <a:pt x="2543805" y="689467"/>
                        <a:pt x="2541669" y="687786"/>
                        <a:pt x="2539458" y="686207"/>
                      </a:cubicBezTo>
                      <a:cubicBezTo>
                        <a:pt x="2537864" y="685068"/>
                        <a:pt x="2535792" y="684477"/>
                        <a:pt x="2534568" y="682947"/>
                      </a:cubicBezTo>
                      <a:cubicBezTo>
                        <a:pt x="2533232" y="681277"/>
                        <a:pt x="2531389" y="670314"/>
                        <a:pt x="2531308" y="669908"/>
                      </a:cubicBezTo>
                      <a:cubicBezTo>
                        <a:pt x="2541764" y="662937"/>
                        <a:pt x="2539092" y="666580"/>
                        <a:pt x="2537828" y="643828"/>
                      </a:cubicBezTo>
                      <a:cubicBezTo>
                        <a:pt x="2537693" y="641402"/>
                        <a:pt x="2536899" y="637994"/>
                        <a:pt x="2534568" y="637309"/>
                      </a:cubicBezTo>
                      <a:cubicBezTo>
                        <a:pt x="2526732" y="635005"/>
                        <a:pt x="2518269" y="636222"/>
                        <a:pt x="2510119" y="635679"/>
                      </a:cubicBezTo>
                      <a:cubicBezTo>
                        <a:pt x="2506859" y="636766"/>
                        <a:pt x="2502622" y="636371"/>
                        <a:pt x="2500339" y="638939"/>
                      </a:cubicBezTo>
                      <a:cubicBezTo>
                        <a:pt x="2497711" y="641895"/>
                        <a:pt x="2497729" y="646447"/>
                        <a:pt x="2497079" y="650348"/>
                      </a:cubicBezTo>
                      <a:cubicBezTo>
                        <a:pt x="2490667" y="688829"/>
                        <a:pt x="2498615" y="655618"/>
                        <a:pt x="2493820" y="674797"/>
                      </a:cubicBezTo>
                      <a:cubicBezTo>
                        <a:pt x="2493820" y="674797"/>
                        <a:pt x="2487250" y="679070"/>
                        <a:pt x="2484040" y="681317"/>
                      </a:cubicBezTo>
                      <a:cubicBezTo>
                        <a:pt x="2481814" y="682875"/>
                        <a:pt x="2479693" y="684577"/>
                        <a:pt x="2477520" y="686207"/>
                      </a:cubicBezTo>
                      <a:cubicBezTo>
                        <a:pt x="2477520" y="686207"/>
                        <a:pt x="2473770" y="679198"/>
                        <a:pt x="2471000" y="676427"/>
                      </a:cubicBezTo>
                      <a:cubicBezTo>
                        <a:pt x="2469785" y="675212"/>
                        <a:pt x="2467648" y="675565"/>
                        <a:pt x="2466111" y="674797"/>
                      </a:cubicBezTo>
                      <a:cubicBezTo>
                        <a:pt x="2464359" y="673921"/>
                        <a:pt x="2462851" y="672624"/>
                        <a:pt x="2461221" y="671538"/>
                      </a:cubicBezTo>
                      <a:cubicBezTo>
                        <a:pt x="2461221" y="671538"/>
                        <a:pt x="2454881" y="676181"/>
                        <a:pt x="2451441" y="678057"/>
                      </a:cubicBezTo>
                      <a:cubicBezTo>
                        <a:pt x="2448872" y="679458"/>
                        <a:pt x="2446217" y="681317"/>
                        <a:pt x="2443291" y="681317"/>
                      </a:cubicBezTo>
                      <a:cubicBezTo>
                        <a:pt x="2441332" y="681317"/>
                        <a:pt x="2439968" y="679232"/>
                        <a:pt x="2438401" y="678057"/>
                      </a:cubicBezTo>
                      <a:cubicBezTo>
                        <a:pt x="2435618" y="675970"/>
                        <a:pt x="2432968" y="673711"/>
                        <a:pt x="2430252" y="671538"/>
                      </a:cubicBezTo>
                      <a:cubicBezTo>
                        <a:pt x="2418173" y="667512"/>
                        <a:pt x="2432869" y="670981"/>
                        <a:pt x="2420472" y="673168"/>
                      </a:cubicBezTo>
                      <a:cubicBezTo>
                        <a:pt x="2412962" y="674493"/>
                        <a:pt x="2409063" y="672896"/>
                        <a:pt x="2397653" y="674797"/>
                      </a:cubicBezTo>
                      <a:lnTo>
                        <a:pt x="2391801" y="676051"/>
                      </a:lnTo>
                      <a:lnTo>
                        <a:pt x="2391132" y="678057"/>
                      </a:lnTo>
                      <a:cubicBezTo>
                        <a:pt x="2388959" y="679144"/>
                        <a:pt x="2386330" y="679599"/>
                        <a:pt x="2384612" y="681317"/>
                      </a:cubicBezTo>
                      <a:cubicBezTo>
                        <a:pt x="2383397" y="682532"/>
                        <a:pt x="2383525" y="684577"/>
                        <a:pt x="2382982" y="686207"/>
                      </a:cubicBezTo>
                      <a:cubicBezTo>
                        <a:pt x="2380926" y="692374"/>
                        <a:pt x="2374393" y="698056"/>
                        <a:pt x="2369943" y="702507"/>
                      </a:cubicBezTo>
                      <a:cubicBezTo>
                        <a:pt x="2367226" y="703050"/>
                        <a:pt x="2364563" y="704137"/>
                        <a:pt x="2361793" y="704137"/>
                      </a:cubicBezTo>
                      <a:cubicBezTo>
                        <a:pt x="2323693" y="704137"/>
                        <a:pt x="2339440" y="689467"/>
                        <a:pt x="2337344" y="748145"/>
                      </a:cubicBezTo>
                      <a:cubicBezTo>
                        <a:pt x="2335171" y="749232"/>
                        <a:pt x="2333044" y="750418"/>
                        <a:pt x="2330824" y="751405"/>
                      </a:cubicBezTo>
                      <a:cubicBezTo>
                        <a:pt x="2328150" y="752593"/>
                        <a:pt x="2324922" y="752792"/>
                        <a:pt x="2322674" y="754665"/>
                      </a:cubicBezTo>
                      <a:cubicBezTo>
                        <a:pt x="2321354" y="755765"/>
                        <a:pt x="2321587" y="757925"/>
                        <a:pt x="2321044" y="759555"/>
                      </a:cubicBezTo>
                      <a:cubicBezTo>
                        <a:pt x="2319186" y="765130"/>
                        <a:pt x="2311265" y="766074"/>
                        <a:pt x="2306375" y="769334"/>
                      </a:cubicBezTo>
                      <a:cubicBezTo>
                        <a:pt x="2304318" y="768648"/>
                        <a:pt x="2297567" y="766874"/>
                        <a:pt x="2296595" y="764445"/>
                      </a:cubicBezTo>
                      <a:cubicBezTo>
                        <a:pt x="2295957" y="762850"/>
                        <a:pt x="2297964" y="761253"/>
                        <a:pt x="2298225" y="759555"/>
                      </a:cubicBezTo>
                      <a:cubicBezTo>
                        <a:pt x="2299055" y="754158"/>
                        <a:pt x="2299312" y="748688"/>
                        <a:pt x="2299855" y="743255"/>
                      </a:cubicBezTo>
                      <a:cubicBezTo>
                        <a:pt x="2289532" y="744342"/>
                        <a:pt x="2279171" y="745112"/>
                        <a:pt x="2268886" y="746515"/>
                      </a:cubicBezTo>
                      <a:cubicBezTo>
                        <a:pt x="2262232" y="747422"/>
                        <a:pt x="2264841" y="748246"/>
                        <a:pt x="2260736" y="753035"/>
                      </a:cubicBezTo>
                      <a:cubicBezTo>
                        <a:pt x="2258736" y="755369"/>
                        <a:pt x="2256002" y="757054"/>
                        <a:pt x="2254216" y="759555"/>
                      </a:cubicBezTo>
                      <a:cubicBezTo>
                        <a:pt x="2253217" y="760953"/>
                        <a:pt x="2253190" y="762836"/>
                        <a:pt x="2252587" y="764445"/>
                      </a:cubicBezTo>
                      <a:cubicBezTo>
                        <a:pt x="2251560" y="767184"/>
                        <a:pt x="2250252" y="769819"/>
                        <a:pt x="2249327" y="772594"/>
                      </a:cubicBezTo>
                      <a:cubicBezTo>
                        <a:pt x="2248619" y="774719"/>
                        <a:pt x="2248240" y="776941"/>
                        <a:pt x="2247697" y="779114"/>
                      </a:cubicBezTo>
                      <a:cubicBezTo>
                        <a:pt x="2246864" y="782448"/>
                        <a:pt x="2245524" y="785634"/>
                        <a:pt x="2244437" y="788894"/>
                      </a:cubicBezTo>
                      <a:cubicBezTo>
                        <a:pt x="2230661" y="797160"/>
                        <a:pt x="2241648" y="790187"/>
                        <a:pt x="2229767" y="798673"/>
                      </a:cubicBezTo>
                      <a:cubicBezTo>
                        <a:pt x="2228173" y="799812"/>
                        <a:pt x="2226364" y="800658"/>
                        <a:pt x="2224877" y="801933"/>
                      </a:cubicBezTo>
                      <a:cubicBezTo>
                        <a:pt x="2222544" y="803933"/>
                        <a:pt x="2220817" y="806609"/>
                        <a:pt x="2218358" y="808453"/>
                      </a:cubicBezTo>
                      <a:cubicBezTo>
                        <a:pt x="2209406" y="815168"/>
                        <a:pt x="2213240" y="807508"/>
                        <a:pt x="2210208" y="816603"/>
                      </a:cubicBezTo>
                      <a:cubicBezTo>
                        <a:pt x="2210208" y="816603"/>
                        <a:pt x="2204157" y="823671"/>
                        <a:pt x="2200428" y="826383"/>
                      </a:cubicBezTo>
                      <a:cubicBezTo>
                        <a:pt x="2186239" y="836701"/>
                        <a:pt x="2196726" y="822968"/>
                        <a:pt x="2189019" y="834532"/>
                      </a:cubicBezTo>
                      <a:cubicBezTo>
                        <a:pt x="2186375" y="834910"/>
                        <a:pt x="2174932" y="836145"/>
                        <a:pt x="2171089" y="837792"/>
                      </a:cubicBezTo>
                      <a:cubicBezTo>
                        <a:pt x="2169288" y="838564"/>
                        <a:pt x="2167900" y="840080"/>
                        <a:pt x="2166199" y="841052"/>
                      </a:cubicBezTo>
                      <a:cubicBezTo>
                        <a:pt x="2152505" y="848878"/>
                        <a:pt x="2167621" y="838427"/>
                        <a:pt x="2149900" y="850832"/>
                      </a:cubicBezTo>
                      <a:cubicBezTo>
                        <a:pt x="2147674" y="852390"/>
                        <a:pt x="2145591" y="854143"/>
                        <a:pt x="2143380" y="855722"/>
                      </a:cubicBezTo>
                      <a:cubicBezTo>
                        <a:pt x="2141786" y="856860"/>
                        <a:pt x="2139875" y="857596"/>
                        <a:pt x="2138490" y="858981"/>
                      </a:cubicBezTo>
                      <a:cubicBezTo>
                        <a:pt x="2137105" y="860366"/>
                        <a:pt x="2136317" y="862241"/>
                        <a:pt x="2135230" y="863871"/>
                      </a:cubicBezTo>
                      <a:cubicBezTo>
                        <a:pt x="2128710" y="864414"/>
                        <a:pt x="2122086" y="864218"/>
                        <a:pt x="2115671" y="865501"/>
                      </a:cubicBezTo>
                      <a:cubicBezTo>
                        <a:pt x="2113750" y="865885"/>
                        <a:pt x="2112411" y="867674"/>
                        <a:pt x="2110781" y="868761"/>
                      </a:cubicBezTo>
                      <a:cubicBezTo>
                        <a:pt x="2109351" y="869714"/>
                        <a:pt x="2107521" y="869848"/>
                        <a:pt x="2105891" y="870391"/>
                      </a:cubicBezTo>
                      <a:cubicBezTo>
                        <a:pt x="2102631" y="871478"/>
                        <a:pt x="2099026" y="871830"/>
                        <a:pt x="2096112" y="873651"/>
                      </a:cubicBezTo>
                      <a:cubicBezTo>
                        <a:pt x="2094451" y="874689"/>
                        <a:pt x="2093939" y="876911"/>
                        <a:pt x="2092852" y="878541"/>
                      </a:cubicBezTo>
                      <a:cubicBezTo>
                        <a:pt x="2089838" y="883062"/>
                        <a:pt x="2083960" y="884811"/>
                        <a:pt x="2079812" y="888320"/>
                      </a:cubicBezTo>
                      <a:cubicBezTo>
                        <a:pt x="2076879" y="890802"/>
                        <a:pt x="2074553" y="893940"/>
                        <a:pt x="2071662" y="896470"/>
                      </a:cubicBezTo>
                      <a:cubicBezTo>
                        <a:pt x="2070188" y="897760"/>
                        <a:pt x="2068027" y="898225"/>
                        <a:pt x="2066773" y="899730"/>
                      </a:cubicBezTo>
                      <a:cubicBezTo>
                        <a:pt x="2065218" y="901597"/>
                        <a:pt x="2064470" y="904017"/>
                        <a:pt x="2063513" y="906250"/>
                      </a:cubicBezTo>
                      <a:cubicBezTo>
                        <a:pt x="2061075" y="911940"/>
                        <a:pt x="2061217" y="915800"/>
                        <a:pt x="2060253" y="922549"/>
                      </a:cubicBezTo>
                      <a:cubicBezTo>
                        <a:pt x="2059710" y="924179"/>
                        <a:pt x="2059391" y="925902"/>
                        <a:pt x="2058623" y="927439"/>
                      </a:cubicBezTo>
                      <a:cubicBezTo>
                        <a:pt x="2057591" y="929503"/>
                        <a:pt x="2051359" y="937815"/>
                        <a:pt x="2050473" y="938849"/>
                      </a:cubicBezTo>
                      <a:cubicBezTo>
                        <a:pt x="2048973" y="940599"/>
                        <a:pt x="2047083" y="941989"/>
                        <a:pt x="2045583" y="943739"/>
                      </a:cubicBezTo>
                      <a:cubicBezTo>
                        <a:pt x="2043815" y="945801"/>
                        <a:pt x="2042461" y="948196"/>
                        <a:pt x="2040693" y="950258"/>
                      </a:cubicBezTo>
                      <a:cubicBezTo>
                        <a:pt x="2032774" y="959496"/>
                        <a:pt x="2038464" y="950858"/>
                        <a:pt x="2027654" y="961668"/>
                      </a:cubicBezTo>
                      <a:cubicBezTo>
                        <a:pt x="2025194" y="964128"/>
                        <a:pt x="2023307" y="967101"/>
                        <a:pt x="2021134" y="969818"/>
                      </a:cubicBezTo>
                      <a:cubicBezTo>
                        <a:pt x="2018961" y="970905"/>
                        <a:pt x="2016847" y="972121"/>
                        <a:pt x="2014614" y="973078"/>
                      </a:cubicBezTo>
                      <a:cubicBezTo>
                        <a:pt x="2013035" y="973755"/>
                        <a:pt x="2011261" y="973940"/>
                        <a:pt x="2009724" y="974708"/>
                      </a:cubicBezTo>
                      <a:cubicBezTo>
                        <a:pt x="1999889" y="979625"/>
                        <a:pt x="1999380" y="980428"/>
                        <a:pt x="1991795" y="986117"/>
                      </a:cubicBezTo>
                      <a:cubicBezTo>
                        <a:pt x="1989622" y="986660"/>
                        <a:pt x="1987400" y="987039"/>
                        <a:pt x="1985275" y="987747"/>
                      </a:cubicBezTo>
                      <a:cubicBezTo>
                        <a:pt x="1972147" y="992123"/>
                        <a:pt x="1982002" y="990270"/>
                        <a:pt x="1967346" y="994267"/>
                      </a:cubicBezTo>
                      <a:cubicBezTo>
                        <a:pt x="1964673" y="994996"/>
                        <a:pt x="1961601" y="994522"/>
                        <a:pt x="1959196" y="995897"/>
                      </a:cubicBezTo>
                      <a:cubicBezTo>
                        <a:pt x="1956594" y="997384"/>
                        <a:pt x="1955143" y="1003167"/>
                        <a:pt x="1954306" y="1005677"/>
                      </a:cubicBezTo>
                      <a:cubicBezTo>
                        <a:pt x="1942838" y="1009500"/>
                        <a:pt x="1956996" y="1004524"/>
                        <a:pt x="1942897" y="1010566"/>
                      </a:cubicBezTo>
                      <a:cubicBezTo>
                        <a:pt x="1941318" y="1011243"/>
                        <a:pt x="1939544" y="1011428"/>
                        <a:pt x="1938007" y="1012196"/>
                      </a:cubicBezTo>
                      <a:cubicBezTo>
                        <a:pt x="1925368" y="1018516"/>
                        <a:pt x="1940518" y="1012989"/>
                        <a:pt x="1928227" y="1017086"/>
                      </a:cubicBezTo>
                      <a:cubicBezTo>
                        <a:pt x="1923073" y="1018804"/>
                        <a:pt x="1919534" y="1023606"/>
                        <a:pt x="1915188" y="1026866"/>
                      </a:cubicBezTo>
                      <a:cubicBezTo>
                        <a:pt x="1911928" y="1027953"/>
                        <a:pt x="1908699" y="1029139"/>
                        <a:pt x="1905408" y="1030126"/>
                      </a:cubicBezTo>
                      <a:cubicBezTo>
                        <a:pt x="1899728" y="1031830"/>
                        <a:pt x="1896722" y="1032056"/>
                        <a:pt x="1890738" y="1033386"/>
                      </a:cubicBezTo>
                      <a:cubicBezTo>
                        <a:pt x="1888551" y="1033872"/>
                        <a:pt x="1886392" y="1034473"/>
                        <a:pt x="1884219" y="1035016"/>
                      </a:cubicBezTo>
                      <a:cubicBezTo>
                        <a:pt x="1879872" y="1035559"/>
                        <a:pt x="1875405" y="1035493"/>
                        <a:pt x="1871179" y="1036646"/>
                      </a:cubicBezTo>
                      <a:cubicBezTo>
                        <a:pt x="1869289" y="1037161"/>
                        <a:pt x="1867674" y="1038521"/>
                        <a:pt x="1866289" y="1039906"/>
                      </a:cubicBezTo>
                      <a:cubicBezTo>
                        <a:pt x="1864904" y="1041291"/>
                        <a:pt x="1864936" y="1044346"/>
                        <a:pt x="1863029" y="1044795"/>
                      </a:cubicBezTo>
                      <a:cubicBezTo>
                        <a:pt x="1855078" y="1046666"/>
                        <a:pt x="1846730" y="1045882"/>
                        <a:pt x="1838580" y="1046425"/>
                      </a:cubicBezTo>
                      <a:cubicBezTo>
                        <a:pt x="1835863" y="1045882"/>
                        <a:pt x="1833134" y="1045396"/>
                        <a:pt x="1830430" y="1044795"/>
                      </a:cubicBezTo>
                      <a:cubicBezTo>
                        <a:pt x="1828243" y="1044309"/>
                        <a:pt x="1825660" y="1044564"/>
                        <a:pt x="1823911" y="1043165"/>
                      </a:cubicBezTo>
                      <a:cubicBezTo>
                        <a:pt x="1822570" y="1042092"/>
                        <a:pt x="1823818" y="1039044"/>
                        <a:pt x="1822281" y="1038276"/>
                      </a:cubicBezTo>
                      <a:cubicBezTo>
                        <a:pt x="1810243" y="1032258"/>
                        <a:pt x="1804980" y="1035601"/>
                        <a:pt x="1792942" y="1038276"/>
                      </a:cubicBezTo>
                      <a:cubicBezTo>
                        <a:pt x="1785879" y="1038819"/>
                        <a:pt x="1778788" y="1039078"/>
                        <a:pt x="1771752" y="1039906"/>
                      </a:cubicBezTo>
                      <a:cubicBezTo>
                        <a:pt x="1769528" y="1040168"/>
                        <a:pt x="1767097" y="1040293"/>
                        <a:pt x="1765233" y="1041535"/>
                      </a:cubicBezTo>
                      <a:cubicBezTo>
                        <a:pt x="1763603" y="1042622"/>
                        <a:pt x="1763060" y="1044795"/>
                        <a:pt x="1761973" y="1046425"/>
                      </a:cubicBezTo>
                      <a:cubicBezTo>
                        <a:pt x="1757274" y="1049558"/>
                        <a:pt x="1754156" y="1051174"/>
                        <a:pt x="1750563" y="1056205"/>
                      </a:cubicBezTo>
                      <a:cubicBezTo>
                        <a:pt x="1749564" y="1057603"/>
                        <a:pt x="1749701" y="1059558"/>
                        <a:pt x="1748933" y="1061095"/>
                      </a:cubicBezTo>
                      <a:cubicBezTo>
                        <a:pt x="1747516" y="1063929"/>
                        <a:pt x="1745722" y="1066558"/>
                        <a:pt x="1744043" y="1069245"/>
                      </a:cubicBezTo>
                      <a:cubicBezTo>
                        <a:pt x="1739442" y="1076606"/>
                        <a:pt x="1740960" y="1073355"/>
                        <a:pt x="1734264" y="1082284"/>
                      </a:cubicBezTo>
                      <a:cubicBezTo>
                        <a:pt x="1733089" y="1083851"/>
                        <a:pt x="1732091" y="1085544"/>
                        <a:pt x="1731004" y="1087174"/>
                      </a:cubicBezTo>
                      <a:cubicBezTo>
                        <a:pt x="1729931" y="1087442"/>
                        <a:pt x="1721153" y="1089460"/>
                        <a:pt x="1719594" y="1090434"/>
                      </a:cubicBezTo>
                      <a:cubicBezTo>
                        <a:pt x="1716644" y="1092278"/>
                        <a:pt x="1713755" y="1094354"/>
                        <a:pt x="1711444" y="1096954"/>
                      </a:cubicBezTo>
                      <a:cubicBezTo>
                        <a:pt x="1706650" y="1102346"/>
                        <a:pt x="1707024" y="1104392"/>
                        <a:pt x="1704924" y="1109993"/>
                      </a:cubicBezTo>
                      <a:cubicBezTo>
                        <a:pt x="1703897" y="1112733"/>
                        <a:pt x="1702853" y="1115469"/>
                        <a:pt x="1701665" y="1118143"/>
                      </a:cubicBezTo>
                      <a:cubicBezTo>
                        <a:pt x="1698233" y="1125866"/>
                        <a:pt x="1699308" y="1123760"/>
                        <a:pt x="1693515" y="1129553"/>
                      </a:cubicBezTo>
                      <a:cubicBezTo>
                        <a:pt x="1690745" y="1132323"/>
                        <a:pt x="1689765" y="1136562"/>
                        <a:pt x="1686995" y="1139332"/>
                      </a:cubicBezTo>
                      <a:cubicBezTo>
                        <a:pt x="1685277" y="1141050"/>
                        <a:pt x="1682648" y="1141505"/>
                        <a:pt x="1680475" y="1142592"/>
                      </a:cubicBezTo>
                      <a:cubicBezTo>
                        <a:pt x="1673318" y="1143069"/>
                        <a:pt x="1650771" y="1146016"/>
                        <a:pt x="1641357" y="1142592"/>
                      </a:cubicBezTo>
                      <a:cubicBezTo>
                        <a:pt x="1639516" y="1141922"/>
                        <a:pt x="1639184" y="1139332"/>
                        <a:pt x="1638097" y="1137702"/>
                      </a:cubicBezTo>
                      <a:cubicBezTo>
                        <a:pt x="1635924" y="1137159"/>
                        <a:pt x="1633636" y="1136954"/>
                        <a:pt x="1631577" y="1136072"/>
                      </a:cubicBezTo>
                      <a:cubicBezTo>
                        <a:pt x="1629776" y="1135300"/>
                        <a:pt x="1628588" y="1133287"/>
                        <a:pt x="1626687" y="1132812"/>
                      </a:cubicBezTo>
                      <a:cubicBezTo>
                        <a:pt x="1617588" y="1130537"/>
                        <a:pt x="1608214" y="1129553"/>
                        <a:pt x="1598978" y="1127923"/>
                      </a:cubicBezTo>
                      <a:cubicBezTo>
                        <a:pt x="1583865" y="1131701"/>
                        <a:pt x="1601984" y="1127322"/>
                        <a:pt x="1574529" y="1132812"/>
                      </a:cubicBezTo>
                      <a:cubicBezTo>
                        <a:pt x="1572332" y="1133251"/>
                        <a:pt x="1570056" y="1133532"/>
                        <a:pt x="1568009" y="1134442"/>
                      </a:cubicBezTo>
                      <a:lnTo>
                        <a:pt x="1564600" y="1138186"/>
                      </a:lnTo>
                      <a:lnTo>
                        <a:pt x="1566380" y="1144222"/>
                      </a:lnTo>
                      <a:cubicBezTo>
                        <a:pt x="1569007" y="1152760"/>
                        <a:pt x="1572126" y="1159385"/>
                        <a:pt x="1572900" y="1168671"/>
                      </a:cubicBezTo>
                      <a:cubicBezTo>
                        <a:pt x="1573043" y="1170383"/>
                        <a:pt x="1571433" y="1171851"/>
                        <a:pt x="1571270" y="1173561"/>
                      </a:cubicBezTo>
                      <a:cubicBezTo>
                        <a:pt x="1570341" y="1183312"/>
                        <a:pt x="1570183" y="1193120"/>
                        <a:pt x="1569640" y="1202900"/>
                      </a:cubicBezTo>
                      <a:cubicBezTo>
                        <a:pt x="1570727" y="1204530"/>
                        <a:pt x="1571515" y="1206405"/>
                        <a:pt x="1572900" y="1207790"/>
                      </a:cubicBezTo>
                      <a:cubicBezTo>
                        <a:pt x="1574821" y="1209711"/>
                        <a:pt x="1577841" y="1210469"/>
                        <a:pt x="1579420" y="1212680"/>
                      </a:cubicBezTo>
                      <a:cubicBezTo>
                        <a:pt x="1582525" y="1217027"/>
                        <a:pt x="1580662" y="1221372"/>
                        <a:pt x="1579420" y="1225719"/>
                      </a:cubicBezTo>
                      <a:cubicBezTo>
                        <a:pt x="1578948" y="1227371"/>
                        <a:pt x="1578333" y="1228979"/>
                        <a:pt x="1577790" y="1230609"/>
                      </a:cubicBezTo>
                      <a:cubicBezTo>
                        <a:pt x="1580506" y="1231152"/>
                        <a:pt x="1583345" y="1231266"/>
                        <a:pt x="1585939" y="1232239"/>
                      </a:cubicBezTo>
                      <a:cubicBezTo>
                        <a:pt x="1589020" y="1233395"/>
                        <a:pt x="1593181" y="1237060"/>
                        <a:pt x="1594089" y="1240389"/>
                      </a:cubicBezTo>
                      <a:cubicBezTo>
                        <a:pt x="1595242" y="1244615"/>
                        <a:pt x="1595176" y="1249082"/>
                        <a:pt x="1595719" y="1253428"/>
                      </a:cubicBezTo>
                      <a:cubicBezTo>
                        <a:pt x="1584853" y="1253971"/>
                        <a:pt x="1573909" y="1253651"/>
                        <a:pt x="1563120" y="1255058"/>
                      </a:cubicBezTo>
                      <a:cubicBezTo>
                        <a:pt x="1553435" y="1256321"/>
                        <a:pt x="1561801" y="1259047"/>
                        <a:pt x="1556600" y="1263208"/>
                      </a:cubicBezTo>
                      <a:cubicBezTo>
                        <a:pt x="1554851" y="1264607"/>
                        <a:pt x="1552254" y="1264295"/>
                        <a:pt x="1550081" y="1264838"/>
                      </a:cubicBezTo>
                      <a:cubicBezTo>
                        <a:pt x="1556834" y="1269341"/>
                        <a:pt x="1554495" y="1266198"/>
                        <a:pt x="1556600" y="1274618"/>
                      </a:cubicBezTo>
                      <a:cubicBezTo>
                        <a:pt x="1565804" y="1293025"/>
                        <a:pt x="1562680" y="1282818"/>
                        <a:pt x="1564750" y="1305587"/>
                      </a:cubicBezTo>
                      <a:cubicBezTo>
                        <a:pt x="1564207" y="1307217"/>
                        <a:pt x="1564335" y="1309262"/>
                        <a:pt x="1563120" y="1310477"/>
                      </a:cubicBezTo>
                      <a:cubicBezTo>
                        <a:pt x="1561905" y="1311692"/>
                        <a:pt x="1558624" y="1310435"/>
                        <a:pt x="1558230" y="1312107"/>
                      </a:cubicBezTo>
                      <a:cubicBezTo>
                        <a:pt x="1556235" y="1320585"/>
                        <a:pt x="1557143" y="1329493"/>
                        <a:pt x="1556600" y="1338186"/>
                      </a:cubicBezTo>
                      <a:cubicBezTo>
                        <a:pt x="1556057" y="1339816"/>
                        <a:pt x="1556655" y="1342739"/>
                        <a:pt x="1554970" y="1343076"/>
                      </a:cubicBezTo>
                      <a:cubicBezTo>
                        <a:pt x="1553380" y="1343394"/>
                        <a:pt x="1545085" y="1337572"/>
                        <a:pt x="1543561" y="1336556"/>
                      </a:cubicBezTo>
                      <a:cubicBezTo>
                        <a:pt x="1537584" y="1335469"/>
                        <a:pt x="1531064" y="1336013"/>
                        <a:pt x="1525631" y="1333296"/>
                      </a:cubicBezTo>
                      <a:cubicBezTo>
                        <a:pt x="1523627" y="1332294"/>
                        <a:pt x="1525400" y="1328525"/>
                        <a:pt x="1524001" y="1326776"/>
                      </a:cubicBezTo>
                      <a:cubicBezTo>
                        <a:pt x="1518264" y="1319604"/>
                        <a:pt x="1513522" y="1333531"/>
                        <a:pt x="1512592" y="1334926"/>
                      </a:cubicBezTo>
                      <a:cubicBezTo>
                        <a:pt x="1511741" y="1326413"/>
                        <a:pt x="1513642" y="1319676"/>
                        <a:pt x="1507702" y="1313737"/>
                      </a:cubicBezTo>
                      <a:cubicBezTo>
                        <a:pt x="1505781" y="1311816"/>
                        <a:pt x="1503355" y="1310477"/>
                        <a:pt x="1501182" y="1308847"/>
                      </a:cubicBezTo>
                      <a:cubicBezTo>
                        <a:pt x="1499552" y="1308304"/>
                        <a:pt x="1497634" y="1308290"/>
                        <a:pt x="1496292" y="1307217"/>
                      </a:cubicBezTo>
                      <a:cubicBezTo>
                        <a:pt x="1494762" y="1305993"/>
                        <a:pt x="1494286" y="1303832"/>
                        <a:pt x="1493032" y="1302327"/>
                      </a:cubicBezTo>
                      <a:cubicBezTo>
                        <a:pt x="1489109" y="1297619"/>
                        <a:pt x="1488062" y="1297383"/>
                        <a:pt x="1483253" y="1294177"/>
                      </a:cubicBezTo>
                      <a:cubicBezTo>
                        <a:pt x="1481080" y="1293634"/>
                        <a:pt x="1478792" y="1293429"/>
                        <a:pt x="1476733" y="1292547"/>
                      </a:cubicBezTo>
                      <a:cubicBezTo>
                        <a:pt x="1464316" y="1287225"/>
                        <a:pt x="1468838" y="1274386"/>
                        <a:pt x="1470213" y="1259948"/>
                      </a:cubicBezTo>
                      <a:cubicBezTo>
                        <a:pt x="1470432" y="1257653"/>
                        <a:pt x="1473959" y="1257059"/>
                        <a:pt x="1475103" y="1255058"/>
                      </a:cubicBezTo>
                      <a:cubicBezTo>
                        <a:pt x="1476214" y="1253113"/>
                        <a:pt x="1476190" y="1250712"/>
                        <a:pt x="1476733" y="1248539"/>
                      </a:cubicBezTo>
                      <a:cubicBezTo>
                        <a:pt x="1489324" y="1231751"/>
                        <a:pt x="1474211" y="1253079"/>
                        <a:pt x="1484883" y="1233869"/>
                      </a:cubicBezTo>
                      <a:cubicBezTo>
                        <a:pt x="1486202" y="1231494"/>
                        <a:pt x="1488194" y="1229560"/>
                        <a:pt x="1489773" y="1227349"/>
                      </a:cubicBezTo>
                      <a:cubicBezTo>
                        <a:pt x="1490911" y="1225755"/>
                        <a:pt x="1491946" y="1224090"/>
                        <a:pt x="1493032" y="1222460"/>
                      </a:cubicBezTo>
                      <a:cubicBezTo>
                        <a:pt x="1495205" y="1221373"/>
                        <a:pt x="1497685" y="1220756"/>
                        <a:pt x="1499552" y="1219200"/>
                      </a:cubicBezTo>
                      <a:cubicBezTo>
                        <a:pt x="1505736" y="1214046"/>
                        <a:pt x="1503874" y="1201771"/>
                        <a:pt x="1504442" y="1196380"/>
                      </a:cubicBezTo>
                      <a:cubicBezTo>
                        <a:pt x="1504901" y="1192024"/>
                        <a:pt x="1506469" y="1187703"/>
                        <a:pt x="1506072" y="1183341"/>
                      </a:cubicBezTo>
                      <a:cubicBezTo>
                        <a:pt x="1505895" y="1181390"/>
                        <a:pt x="1503584" y="1180252"/>
                        <a:pt x="1502812" y="1178451"/>
                      </a:cubicBezTo>
                      <a:cubicBezTo>
                        <a:pt x="1501930" y="1176392"/>
                        <a:pt x="1501725" y="1174104"/>
                        <a:pt x="1501182" y="1171931"/>
                      </a:cubicBezTo>
                      <a:cubicBezTo>
                        <a:pt x="1501182" y="1171931"/>
                        <a:pt x="1491979" y="1168394"/>
                        <a:pt x="1488143" y="1165411"/>
                      </a:cubicBezTo>
                      <a:cubicBezTo>
                        <a:pt x="1486787" y="1164356"/>
                        <a:pt x="1486985" y="1162174"/>
                        <a:pt x="1486513" y="1160522"/>
                      </a:cubicBezTo>
                      <a:cubicBezTo>
                        <a:pt x="1485898" y="1158368"/>
                        <a:pt x="1485426" y="1156175"/>
                        <a:pt x="1484883" y="1154002"/>
                      </a:cubicBezTo>
                      <a:cubicBezTo>
                        <a:pt x="1482229" y="1153560"/>
                        <a:pt x="1473652" y="1150563"/>
                        <a:pt x="1470213" y="1154002"/>
                      </a:cubicBezTo>
                      <a:cubicBezTo>
                        <a:pt x="1468998" y="1155217"/>
                        <a:pt x="1469126" y="1157262"/>
                        <a:pt x="1468583" y="1158892"/>
                      </a:cubicBezTo>
                      <a:cubicBezTo>
                        <a:pt x="1467496" y="1160522"/>
                        <a:pt x="1466295" y="1162080"/>
                        <a:pt x="1465323" y="1163781"/>
                      </a:cubicBezTo>
                      <a:cubicBezTo>
                        <a:pt x="1464117" y="1165891"/>
                        <a:pt x="1463644" y="1168456"/>
                        <a:pt x="1462063" y="1170301"/>
                      </a:cubicBezTo>
                      <a:cubicBezTo>
                        <a:pt x="1460295" y="1172364"/>
                        <a:pt x="1457465" y="1173270"/>
                        <a:pt x="1455544" y="1175191"/>
                      </a:cubicBezTo>
                      <a:cubicBezTo>
                        <a:pt x="1454159" y="1176576"/>
                        <a:pt x="1453371" y="1178451"/>
                        <a:pt x="1452284" y="1180081"/>
                      </a:cubicBezTo>
                      <a:cubicBezTo>
                        <a:pt x="1450654" y="1181168"/>
                        <a:pt x="1448648" y="1181836"/>
                        <a:pt x="1447394" y="1183341"/>
                      </a:cubicBezTo>
                      <a:cubicBezTo>
                        <a:pt x="1445838" y="1185208"/>
                        <a:pt x="1445340" y="1187751"/>
                        <a:pt x="1444134" y="1189861"/>
                      </a:cubicBezTo>
                      <a:cubicBezTo>
                        <a:pt x="1443162" y="1191562"/>
                        <a:pt x="1441961" y="1193120"/>
                        <a:pt x="1440874" y="1194750"/>
                      </a:cubicBezTo>
                      <a:cubicBezTo>
                        <a:pt x="1438157" y="1195837"/>
                        <a:pt x="1434972" y="1196137"/>
                        <a:pt x="1432724" y="1198010"/>
                      </a:cubicBezTo>
                      <a:cubicBezTo>
                        <a:pt x="1431404" y="1199110"/>
                        <a:pt x="1431637" y="1201270"/>
                        <a:pt x="1431094" y="1202900"/>
                      </a:cubicBezTo>
                      <a:cubicBezTo>
                        <a:pt x="1429636" y="1207274"/>
                        <a:pt x="1424575" y="1209420"/>
                        <a:pt x="1421315" y="1212680"/>
                      </a:cubicBezTo>
                      <a:cubicBezTo>
                        <a:pt x="1419685" y="1213223"/>
                        <a:pt x="1417498" y="1212968"/>
                        <a:pt x="1416425" y="1214310"/>
                      </a:cubicBezTo>
                      <a:cubicBezTo>
                        <a:pt x="1415026" y="1216059"/>
                        <a:pt x="1412634" y="1220241"/>
                        <a:pt x="1414795" y="1220830"/>
                      </a:cubicBezTo>
                      <a:cubicBezTo>
                        <a:pt x="1435277" y="1226416"/>
                        <a:pt x="1437736" y="1209054"/>
                        <a:pt x="1431094" y="1228979"/>
                      </a:cubicBezTo>
                      <a:lnTo>
                        <a:pt x="1424575" y="1232239"/>
                      </a:lnTo>
                      <a:cubicBezTo>
                        <a:pt x="1421502" y="1233776"/>
                        <a:pt x="1417591" y="1233502"/>
                        <a:pt x="1414795" y="1235499"/>
                      </a:cubicBezTo>
                      <a:cubicBezTo>
                        <a:pt x="1413397" y="1236498"/>
                        <a:pt x="1413708" y="1238759"/>
                        <a:pt x="1413165" y="1240389"/>
                      </a:cubicBezTo>
                      <a:cubicBezTo>
                        <a:pt x="1410992" y="1241476"/>
                        <a:pt x="1408929" y="1242819"/>
                        <a:pt x="1406645" y="1243649"/>
                      </a:cubicBezTo>
                      <a:cubicBezTo>
                        <a:pt x="1402928" y="1245001"/>
                        <a:pt x="1399024" y="1245772"/>
                        <a:pt x="1395236" y="1246909"/>
                      </a:cubicBezTo>
                      <a:cubicBezTo>
                        <a:pt x="1393590" y="1247403"/>
                        <a:pt x="1391883" y="1247771"/>
                        <a:pt x="1390346" y="1248539"/>
                      </a:cubicBezTo>
                      <a:cubicBezTo>
                        <a:pt x="1388594" y="1249415"/>
                        <a:pt x="1387086" y="1250712"/>
                        <a:pt x="1385456" y="1251799"/>
                      </a:cubicBezTo>
                      <a:cubicBezTo>
                        <a:pt x="1383283" y="1250712"/>
                        <a:pt x="1379704" y="1250844"/>
                        <a:pt x="1378936" y="1248539"/>
                      </a:cubicBezTo>
                      <a:cubicBezTo>
                        <a:pt x="1377721" y="1244894"/>
                        <a:pt x="1380948" y="1240952"/>
                        <a:pt x="1380566" y="1237129"/>
                      </a:cubicBezTo>
                      <a:cubicBezTo>
                        <a:pt x="1380371" y="1235180"/>
                        <a:pt x="1378393" y="1233869"/>
                        <a:pt x="1377306" y="1232239"/>
                      </a:cubicBezTo>
                      <a:cubicBezTo>
                        <a:pt x="1375676" y="1231152"/>
                        <a:pt x="1374217" y="1229751"/>
                        <a:pt x="1372416" y="1228979"/>
                      </a:cubicBezTo>
                      <a:cubicBezTo>
                        <a:pt x="1360268" y="1223772"/>
                        <a:pt x="1365583" y="1230801"/>
                        <a:pt x="1364267" y="1245279"/>
                      </a:cubicBezTo>
                      <a:cubicBezTo>
                        <a:pt x="1378123" y="1255672"/>
                        <a:pt x="1371082" y="1248539"/>
                        <a:pt x="1346337" y="1248539"/>
                      </a:cubicBezTo>
                      <a:cubicBezTo>
                        <a:pt x="1339253" y="1248539"/>
                        <a:pt x="1332211" y="1249626"/>
                        <a:pt x="1325148" y="1250169"/>
                      </a:cubicBezTo>
                      <a:cubicBezTo>
                        <a:pt x="1324605" y="1247996"/>
                        <a:pt x="1323518" y="1245889"/>
                        <a:pt x="1323518" y="1243649"/>
                      </a:cubicBezTo>
                      <a:cubicBezTo>
                        <a:pt x="1323518" y="1228745"/>
                        <a:pt x="1332063" y="1234637"/>
                        <a:pt x="1310478" y="1232239"/>
                      </a:cubicBezTo>
                      <a:cubicBezTo>
                        <a:pt x="1308848" y="1233869"/>
                        <a:pt x="1307064" y="1235358"/>
                        <a:pt x="1305589" y="1237129"/>
                      </a:cubicBezTo>
                      <a:cubicBezTo>
                        <a:pt x="1304335" y="1238634"/>
                        <a:pt x="1303959" y="1240932"/>
                        <a:pt x="1302329" y="1242019"/>
                      </a:cubicBezTo>
                      <a:cubicBezTo>
                        <a:pt x="1300465" y="1243262"/>
                        <a:pt x="1297868" y="1242767"/>
                        <a:pt x="1295809" y="1243649"/>
                      </a:cubicBezTo>
                      <a:cubicBezTo>
                        <a:pt x="1294008" y="1244421"/>
                        <a:pt x="1292549" y="1245822"/>
                        <a:pt x="1290919" y="1246909"/>
                      </a:cubicBezTo>
                      <a:cubicBezTo>
                        <a:pt x="1288202" y="1247452"/>
                        <a:pt x="1285457" y="1247867"/>
                        <a:pt x="1282769" y="1248539"/>
                      </a:cubicBezTo>
                      <a:cubicBezTo>
                        <a:pt x="1281102" y="1248956"/>
                        <a:pt x="1279094" y="1248954"/>
                        <a:pt x="1277879" y="1250169"/>
                      </a:cubicBezTo>
                      <a:cubicBezTo>
                        <a:pt x="1276664" y="1251384"/>
                        <a:pt x="1276793" y="1253428"/>
                        <a:pt x="1276250" y="1255058"/>
                      </a:cubicBezTo>
                      <a:cubicBezTo>
                        <a:pt x="1274620" y="1256145"/>
                        <a:pt x="1272584" y="1256788"/>
                        <a:pt x="1271360" y="1258318"/>
                      </a:cubicBezTo>
                      <a:cubicBezTo>
                        <a:pt x="1270287" y="1259660"/>
                        <a:pt x="1270182" y="1261550"/>
                        <a:pt x="1269730" y="1263208"/>
                      </a:cubicBezTo>
                      <a:cubicBezTo>
                        <a:pt x="1268551" y="1267531"/>
                        <a:pt x="1267557" y="1271901"/>
                        <a:pt x="1266470" y="1276248"/>
                      </a:cubicBezTo>
                      <a:cubicBezTo>
                        <a:pt x="1264840" y="1278421"/>
                        <a:pt x="1263348" y="1280705"/>
                        <a:pt x="1261580" y="1282768"/>
                      </a:cubicBezTo>
                      <a:cubicBezTo>
                        <a:pt x="1260080" y="1284518"/>
                        <a:pt x="1258030" y="1285781"/>
                        <a:pt x="1256690" y="1287657"/>
                      </a:cubicBezTo>
                      <a:cubicBezTo>
                        <a:pt x="1255278" y="1289634"/>
                        <a:pt x="1254636" y="1292067"/>
                        <a:pt x="1253430" y="1294177"/>
                      </a:cubicBezTo>
                      <a:cubicBezTo>
                        <a:pt x="1252458" y="1295878"/>
                        <a:pt x="1251257" y="1297437"/>
                        <a:pt x="1250170" y="1299067"/>
                      </a:cubicBezTo>
                      <a:cubicBezTo>
                        <a:pt x="1247997" y="1300154"/>
                        <a:pt x="1245517" y="1300772"/>
                        <a:pt x="1243651" y="1302327"/>
                      </a:cubicBezTo>
                      <a:cubicBezTo>
                        <a:pt x="1235963" y="1308734"/>
                        <a:pt x="1237149" y="1334805"/>
                        <a:pt x="1237131" y="1334926"/>
                      </a:cubicBezTo>
                      <a:cubicBezTo>
                        <a:pt x="1236876" y="1336625"/>
                        <a:pt x="1235838" y="1338131"/>
                        <a:pt x="1235501" y="1339816"/>
                      </a:cubicBezTo>
                      <a:cubicBezTo>
                        <a:pt x="1234748" y="1343583"/>
                        <a:pt x="1234414" y="1347422"/>
                        <a:pt x="1233871" y="1351225"/>
                      </a:cubicBezTo>
                      <a:cubicBezTo>
                        <a:pt x="1233871" y="1351225"/>
                        <a:pt x="1225661" y="1354155"/>
                        <a:pt x="1224091" y="1357745"/>
                      </a:cubicBezTo>
                      <a:cubicBezTo>
                        <a:pt x="1221469" y="1363739"/>
                        <a:pt x="1223004" y="1370784"/>
                        <a:pt x="1222461" y="1377304"/>
                      </a:cubicBezTo>
                      <a:cubicBezTo>
                        <a:pt x="1222461" y="1377304"/>
                        <a:pt x="1215630" y="1373365"/>
                        <a:pt x="1212682" y="1370785"/>
                      </a:cubicBezTo>
                      <a:cubicBezTo>
                        <a:pt x="1202250" y="1361657"/>
                        <a:pt x="1221969" y="1367463"/>
                        <a:pt x="1196382" y="1364265"/>
                      </a:cubicBezTo>
                      <a:cubicBezTo>
                        <a:pt x="1194752" y="1366438"/>
                        <a:pt x="1193260" y="1368722"/>
                        <a:pt x="1191492" y="1370785"/>
                      </a:cubicBezTo>
                      <a:cubicBezTo>
                        <a:pt x="1189992" y="1372535"/>
                        <a:pt x="1187633" y="1373612"/>
                        <a:pt x="1186602" y="1375674"/>
                      </a:cubicBezTo>
                      <a:cubicBezTo>
                        <a:pt x="1185359" y="1378159"/>
                        <a:pt x="1183348" y="1396824"/>
                        <a:pt x="1183343" y="1396864"/>
                      </a:cubicBezTo>
                      <a:cubicBezTo>
                        <a:pt x="1180626" y="1397407"/>
                        <a:pt x="1177542" y="1397026"/>
                        <a:pt x="1175193" y="1398494"/>
                      </a:cubicBezTo>
                      <a:cubicBezTo>
                        <a:pt x="1172889" y="1399934"/>
                        <a:pt x="1171882" y="1402803"/>
                        <a:pt x="1170303" y="1405014"/>
                      </a:cubicBezTo>
                      <a:cubicBezTo>
                        <a:pt x="1169164" y="1406608"/>
                        <a:pt x="1168992" y="1409708"/>
                        <a:pt x="1167043" y="1409903"/>
                      </a:cubicBezTo>
                      <a:cubicBezTo>
                        <a:pt x="1162585" y="1410349"/>
                        <a:pt x="1158350" y="1407730"/>
                        <a:pt x="1154004" y="1406643"/>
                      </a:cubicBezTo>
                      <a:cubicBezTo>
                        <a:pt x="1151831" y="1407186"/>
                        <a:pt x="1149543" y="1407391"/>
                        <a:pt x="1147484" y="1408273"/>
                      </a:cubicBezTo>
                      <a:cubicBezTo>
                        <a:pt x="1145683" y="1409045"/>
                        <a:pt x="1144452" y="1410914"/>
                        <a:pt x="1142594" y="1411533"/>
                      </a:cubicBezTo>
                      <a:cubicBezTo>
                        <a:pt x="1129208" y="1415995"/>
                        <a:pt x="1135639" y="1408925"/>
                        <a:pt x="1129554" y="1418053"/>
                      </a:cubicBezTo>
                      <a:cubicBezTo>
                        <a:pt x="1125751" y="1419140"/>
                        <a:pt x="1121537" y="1419278"/>
                        <a:pt x="1118145" y="1421313"/>
                      </a:cubicBezTo>
                      <a:cubicBezTo>
                        <a:pt x="1095945" y="1434634"/>
                        <a:pt x="1126128" y="1423542"/>
                        <a:pt x="1108365" y="1429463"/>
                      </a:cubicBezTo>
                      <a:cubicBezTo>
                        <a:pt x="1101845" y="1430006"/>
                        <a:pt x="1095097" y="1429296"/>
                        <a:pt x="1088806" y="1431093"/>
                      </a:cubicBezTo>
                      <a:cubicBezTo>
                        <a:pt x="1086922" y="1431631"/>
                        <a:pt x="1086109" y="1434107"/>
                        <a:pt x="1085546" y="1435983"/>
                      </a:cubicBezTo>
                      <a:cubicBezTo>
                        <a:pt x="1084442" y="1439663"/>
                        <a:pt x="1084669" y="1443625"/>
                        <a:pt x="1083916" y="1447392"/>
                      </a:cubicBezTo>
                      <a:cubicBezTo>
                        <a:pt x="1083579" y="1449077"/>
                        <a:pt x="1082829" y="1450652"/>
                        <a:pt x="1082286" y="1452282"/>
                      </a:cubicBezTo>
                      <a:cubicBezTo>
                        <a:pt x="1082286" y="1452282"/>
                        <a:pt x="1076283" y="1459418"/>
                        <a:pt x="1072506" y="1462062"/>
                      </a:cubicBezTo>
                      <a:cubicBezTo>
                        <a:pt x="1067884" y="1465297"/>
                        <a:pt x="1065378" y="1463489"/>
                        <a:pt x="1061097" y="1462062"/>
                      </a:cubicBezTo>
                      <a:cubicBezTo>
                        <a:pt x="1052947" y="1460975"/>
                        <a:pt x="1044757" y="1460154"/>
                        <a:pt x="1036647" y="1458802"/>
                      </a:cubicBezTo>
                      <a:cubicBezTo>
                        <a:pt x="1034953" y="1458520"/>
                        <a:pt x="1033410" y="1457644"/>
                        <a:pt x="1031758" y="1457172"/>
                      </a:cubicBezTo>
                      <a:cubicBezTo>
                        <a:pt x="1029604" y="1456557"/>
                        <a:pt x="1027411" y="1456085"/>
                        <a:pt x="1025238" y="1455542"/>
                      </a:cubicBezTo>
                      <a:cubicBezTo>
                        <a:pt x="1021904" y="1454709"/>
                        <a:pt x="1018882" y="1452567"/>
                        <a:pt x="1015458" y="1452282"/>
                      </a:cubicBezTo>
                      <a:cubicBezTo>
                        <a:pt x="1012164" y="1452008"/>
                        <a:pt x="1008938" y="1453369"/>
                        <a:pt x="1005678" y="1453912"/>
                      </a:cubicBezTo>
                      <a:cubicBezTo>
                        <a:pt x="995634" y="1450563"/>
                        <a:pt x="1006356" y="1454394"/>
                        <a:pt x="994269" y="1449022"/>
                      </a:cubicBezTo>
                      <a:cubicBezTo>
                        <a:pt x="991595" y="1447834"/>
                        <a:pt x="988367" y="1447635"/>
                        <a:pt x="986119" y="1445762"/>
                      </a:cubicBezTo>
                      <a:cubicBezTo>
                        <a:pt x="984799" y="1444662"/>
                        <a:pt x="985257" y="1442409"/>
                        <a:pt x="984489" y="1440872"/>
                      </a:cubicBezTo>
                      <a:cubicBezTo>
                        <a:pt x="983613" y="1439120"/>
                        <a:pt x="982316" y="1437613"/>
                        <a:pt x="981229" y="1435983"/>
                      </a:cubicBezTo>
                      <a:cubicBezTo>
                        <a:pt x="973042" y="1433936"/>
                        <a:pt x="976834" y="1435062"/>
                        <a:pt x="969820" y="1432723"/>
                      </a:cubicBezTo>
                      <a:cubicBezTo>
                        <a:pt x="967228" y="1431859"/>
                        <a:pt x="958954" y="1422402"/>
                        <a:pt x="956780" y="1418053"/>
                      </a:cubicBezTo>
                      <a:cubicBezTo>
                        <a:pt x="956012" y="1416516"/>
                        <a:pt x="955693" y="1414793"/>
                        <a:pt x="955150" y="1413163"/>
                      </a:cubicBezTo>
                      <a:cubicBezTo>
                        <a:pt x="953520" y="1412620"/>
                        <a:pt x="951475" y="1412748"/>
                        <a:pt x="950260" y="1411533"/>
                      </a:cubicBezTo>
                      <a:cubicBezTo>
                        <a:pt x="948542" y="1409815"/>
                        <a:pt x="949243" y="1405948"/>
                        <a:pt x="947000" y="1405014"/>
                      </a:cubicBezTo>
                      <a:cubicBezTo>
                        <a:pt x="934087" y="1399634"/>
                        <a:pt x="933331" y="1401631"/>
                        <a:pt x="925811" y="1406643"/>
                      </a:cubicBezTo>
                      <a:cubicBezTo>
                        <a:pt x="922551" y="1406100"/>
                        <a:pt x="919166" y="1406059"/>
                        <a:pt x="916031" y="1405014"/>
                      </a:cubicBezTo>
                      <a:cubicBezTo>
                        <a:pt x="898435" y="1399149"/>
                        <a:pt x="922893" y="1403822"/>
                        <a:pt x="906252" y="1400124"/>
                      </a:cubicBezTo>
                      <a:cubicBezTo>
                        <a:pt x="903026" y="1399407"/>
                        <a:pt x="899732" y="1399037"/>
                        <a:pt x="896472" y="1398494"/>
                      </a:cubicBezTo>
                      <a:cubicBezTo>
                        <a:pt x="887779" y="1397951"/>
                        <a:pt x="879055" y="1397776"/>
                        <a:pt x="870393" y="1396864"/>
                      </a:cubicBezTo>
                      <a:cubicBezTo>
                        <a:pt x="868684" y="1396684"/>
                        <a:pt x="867180" y="1395607"/>
                        <a:pt x="865503" y="1395234"/>
                      </a:cubicBezTo>
                      <a:cubicBezTo>
                        <a:pt x="862277" y="1394517"/>
                        <a:pt x="858743" y="1394946"/>
                        <a:pt x="855723" y="1393604"/>
                      </a:cubicBezTo>
                      <a:cubicBezTo>
                        <a:pt x="853617" y="1392668"/>
                        <a:pt x="852464" y="1390344"/>
                        <a:pt x="850834" y="1388714"/>
                      </a:cubicBezTo>
                      <a:cubicBezTo>
                        <a:pt x="848661" y="1387627"/>
                        <a:pt x="846547" y="1386411"/>
                        <a:pt x="844314" y="1385454"/>
                      </a:cubicBezTo>
                      <a:cubicBezTo>
                        <a:pt x="842735" y="1384777"/>
                        <a:pt x="841091" y="1384241"/>
                        <a:pt x="839424" y="1383824"/>
                      </a:cubicBezTo>
                      <a:lnTo>
                        <a:pt x="818235" y="1378934"/>
                      </a:lnTo>
                      <a:lnTo>
                        <a:pt x="775856" y="1380564"/>
                      </a:lnTo>
                      <a:cubicBezTo>
                        <a:pt x="771941" y="1380715"/>
                        <a:pt x="769336" y="1384911"/>
                        <a:pt x="766076" y="1387084"/>
                      </a:cubicBezTo>
                      <a:cubicBezTo>
                        <a:pt x="762703" y="1389333"/>
                        <a:pt x="753686" y="1393849"/>
                        <a:pt x="748147" y="1395234"/>
                      </a:cubicBezTo>
                      <a:cubicBezTo>
                        <a:pt x="745459" y="1395906"/>
                        <a:pt x="742475" y="1395625"/>
                        <a:pt x="739997" y="1396864"/>
                      </a:cubicBezTo>
                      <a:cubicBezTo>
                        <a:pt x="736885" y="1398420"/>
                        <a:pt x="734564" y="1401211"/>
                        <a:pt x="731847" y="1403384"/>
                      </a:cubicBezTo>
                      <a:lnTo>
                        <a:pt x="726801" y="1404393"/>
                      </a:lnTo>
                      <a:lnTo>
                        <a:pt x="723697" y="1424573"/>
                      </a:lnTo>
                      <a:cubicBezTo>
                        <a:pt x="724240" y="1426203"/>
                        <a:pt x="724559" y="1427926"/>
                        <a:pt x="725327" y="1429463"/>
                      </a:cubicBezTo>
                      <a:cubicBezTo>
                        <a:pt x="726203" y="1431215"/>
                        <a:pt x="728049" y="1432469"/>
                        <a:pt x="728587" y="1434353"/>
                      </a:cubicBezTo>
                      <a:cubicBezTo>
                        <a:pt x="730256" y="1440194"/>
                        <a:pt x="730573" y="1446343"/>
                        <a:pt x="731846" y="1452282"/>
                      </a:cubicBezTo>
                      <a:cubicBezTo>
                        <a:pt x="732206" y="1453962"/>
                        <a:pt x="732403" y="1455830"/>
                        <a:pt x="733476" y="1457172"/>
                      </a:cubicBezTo>
                      <a:cubicBezTo>
                        <a:pt x="734700" y="1458702"/>
                        <a:pt x="736736" y="1459345"/>
                        <a:pt x="738366" y="1460432"/>
                      </a:cubicBezTo>
                      <a:cubicBezTo>
                        <a:pt x="737279" y="1462062"/>
                        <a:pt x="736360" y="1463817"/>
                        <a:pt x="735106" y="1465322"/>
                      </a:cubicBezTo>
                      <a:cubicBezTo>
                        <a:pt x="733630" y="1467093"/>
                        <a:pt x="731170" y="1468113"/>
                        <a:pt x="730216" y="1470211"/>
                      </a:cubicBezTo>
                      <a:cubicBezTo>
                        <a:pt x="728814" y="1473296"/>
                        <a:pt x="726272" y="1486675"/>
                        <a:pt x="725327" y="1491401"/>
                      </a:cubicBezTo>
                      <a:cubicBezTo>
                        <a:pt x="729280" y="1497330"/>
                        <a:pt x="733476" y="1503445"/>
                        <a:pt x="733476" y="1510960"/>
                      </a:cubicBezTo>
                      <a:cubicBezTo>
                        <a:pt x="733476" y="1513200"/>
                        <a:pt x="732389" y="1515307"/>
                        <a:pt x="731846" y="1517480"/>
                      </a:cubicBezTo>
                      <a:cubicBezTo>
                        <a:pt x="730216" y="1519110"/>
                        <a:pt x="727635" y="1520167"/>
                        <a:pt x="726957" y="1522370"/>
                      </a:cubicBezTo>
                      <a:cubicBezTo>
                        <a:pt x="725351" y="1527589"/>
                        <a:pt x="727769" y="1543553"/>
                        <a:pt x="725327" y="1538669"/>
                      </a:cubicBezTo>
                      <a:cubicBezTo>
                        <a:pt x="721917" y="1531848"/>
                        <a:pt x="724240" y="1523456"/>
                        <a:pt x="723697" y="1515850"/>
                      </a:cubicBezTo>
                      <a:cubicBezTo>
                        <a:pt x="713374" y="1515307"/>
                        <a:pt x="703065" y="1514220"/>
                        <a:pt x="692728" y="1514220"/>
                      </a:cubicBezTo>
                      <a:cubicBezTo>
                        <a:pt x="691010" y="1514220"/>
                        <a:pt x="689053" y="1514635"/>
                        <a:pt x="687838" y="1515850"/>
                      </a:cubicBezTo>
                      <a:cubicBezTo>
                        <a:pt x="686623" y="1517065"/>
                        <a:pt x="686751" y="1519110"/>
                        <a:pt x="686208" y="1520740"/>
                      </a:cubicBezTo>
                      <a:cubicBezTo>
                        <a:pt x="684578" y="1521283"/>
                        <a:pt x="682992" y="1521984"/>
                        <a:pt x="681318" y="1522370"/>
                      </a:cubicBezTo>
                      <a:cubicBezTo>
                        <a:pt x="675919" y="1523616"/>
                        <a:pt x="670346" y="1524108"/>
                        <a:pt x="665019" y="1525630"/>
                      </a:cubicBezTo>
                      <a:cubicBezTo>
                        <a:pt x="662683" y="1526297"/>
                        <a:pt x="659371" y="1526621"/>
                        <a:pt x="658499" y="1528889"/>
                      </a:cubicBezTo>
                      <a:cubicBezTo>
                        <a:pt x="656345" y="1534490"/>
                        <a:pt x="657412" y="1540842"/>
                        <a:pt x="656869" y="1546819"/>
                      </a:cubicBezTo>
                      <a:cubicBezTo>
                        <a:pt x="650892" y="1547906"/>
                        <a:pt x="644879" y="1548806"/>
                        <a:pt x="638939" y="1550079"/>
                      </a:cubicBezTo>
                      <a:cubicBezTo>
                        <a:pt x="637259" y="1550439"/>
                        <a:pt x="634748" y="1550139"/>
                        <a:pt x="634050" y="1551709"/>
                      </a:cubicBezTo>
                      <a:cubicBezTo>
                        <a:pt x="632271" y="1555712"/>
                        <a:pt x="632963" y="1560402"/>
                        <a:pt x="632420" y="1564748"/>
                      </a:cubicBezTo>
                      <a:cubicBezTo>
                        <a:pt x="630790" y="1565291"/>
                        <a:pt x="628872" y="1565305"/>
                        <a:pt x="627530" y="1566378"/>
                      </a:cubicBezTo>
                      <a:cubicBezTo>
                        <a:pt x="626000" y="1567602"/>
                        <a:pt x="625655" y="1569883"/>
                        <a:pt x="624270" y="1571268"/>
                      </a:cubicBezTo>
                      <a:cubicBezTo>
                        <a:pt x="622885" y="1572653"/>
                        <a:pt x="621010" y="1573441"/>
                        <a:pt x="619380" y="1574528"/>
                      </a:cubicBezTo>
                      <a:cubicBezTo>
                        <a:pt x="617750" y="1573985"/>
                        <a:pt x="615443" y="1574328"/>
                        <a:pt x="614490" y="1572898"/>
                      </a:cubicBezTo>
                      <a:cubicBezTo>
                        <a:pt x="612953" y="1570593"/>
                        <a:pt x="613532" y="1567436"/>
                        <a:pt x="612860" y="1564748"/>
                      </a:cubicBezTo>
                      <a:cubicBezTo>
                        <a:pt x="612443" y="1563081"/>
                        <a:pt x="611773" y="1561488"/>
                        <a:pt x="611230" y="1559858"/>
                      </a:cubicBezTo>
                      <a:cubicBezTo>
                        <a:pt x="602624" y="1556989"/>
                        <a:pt x="607770" y="1559181"/>
                        <a:pt x="596561" y="1551709"/>
                      </a:cubicBezTo>
                      <a:cubicBezTo>
                        <a:pt x="596561" y="1551709"/>
                        <a:pt x="589730" y="1555648"/>
                        <a:pt x="586781" y="1558228"/>
                      </a:cubicBezTo>
                      <a:cubicBezTo>
                        <a:pt x="585307" y="1559518"/>
                        <a:pt x="585379" y="1562498"/>
                        <a:pt x="583521" y="1563118"/>
                      </a:cubicBezTo>
                      <a:cubicBezTo>
                        <a:pt x="570704" y="1567390"/>
                        <a:pt x="568058" y="1565027"/>
                        <a:pt x="557442" y="1561488"/>
                      </a:cubicBezTo>
                      <a:cubicBezTo>
                        <a:pt x="553096" y="1560945"/>
                        <a:pt x="548470" y="1561485"/>
                        <a:pt x="544403" y="1559858"/>
                      </a:cubicBezTo>
                      <a:cubicBezTo>
                        <a:pt x="542584" y="1559131"/>
                        <a:pt x="541618" y="1556869"/>
                        <a:pt x="541143" y="1554969"/>
                      </a:cubicBezTo>
                      <a:cubicBezTo>
                        <a:pt x="535604" y="1532812"/>
                        <a:pt x="543713" y="1546598"/>
                        <a:pt x="536253" y="1535409"/>
                      </a:cubicBezTo>
                      <a:cubicBezTo>
                        <a:pt x="534623" y="1535952"/>
                        <a:pt x="532578" y="1538254"/>
                        <a:pt x="531363" y="1537039"/>
                      </a:cubicBezTo>
                      <a:cubicBezTo>
                        <a:pt x="529404" y="1535080"/>
                        <a:pt x="530334" y="1531593"/>
                        <a:pt x="529733" y="1528889"/>
                      </a:cubicBezTo>
                      <a:cubicBezTo>
                        <a:pt x="529247" y="1526702"/>
                        <a:pt x="528646" y="1524543"/>
                        <a:pt x="528103" y="1522370"/>
                      </a:cubicBezTo>
                      <a:cubicBezTo>
                        <a:pt x="519476" y="1513743"/>
                        <a:pt x="519351" y="1514845"/>
                        <a:pt x="520406" y="1503216"/>
                      </a:cubicBezTo>
                      <a:lnTo>
                        <a:pt x="521150" y="1492659"/>
                      </a:lnTo>
                      <a:lnTo>
                        <a:pt x="534721" y="1497021"/>
                      </a:lnTo>
                      <a:lnTo>
                        <a:pt x="537883" y="1499550"/>
                      </a:lnTo>
                      <a:cubicBezTo>
                        <a:pt x="540891" y="1500917"/>
                        <a:pt x="550768" y="1502309"/>
                        <a:pt x="547662" y="1501180"/>
                      </a:cubicBezTo>
                      <a:lnTo>
                        <a:pt x="534721" y="1497021"/>
                      </a:lnTo>
                      <a:lnTo>
                        <a:pt x="529733" y="1493031"/>
                      </a:lnTo>
                      <a:cubicBezTo>
                        <a:pt x="528103" y="1489228"/>
                        <a:pt x="528074" y="1484206"/>
                        <a:pt x="524843" y="1481621"/>
                      </a:cubicBezTo>
                      <a:cubicBezTo>
                        <a:pt x="523313" y="1480397"/>
                        <a:pt x="521672" y="1484554"/>
                        <a:pt x="521583" y="1486511"/>
                      </a:cubicBezTo>
                      <a:cubicBezTo>
                        <a:pt x="521439" y="1488560"/>
                        <a:pt x="521294" y="1490610"/>
                        <a:pt x="521150" y="1492659"/>
                      </a:cubicBezTo>
                      <a:lnTo>
                        <a:pt x="502024" y="1486511"/>
                      </a:lnTo>
                      <a:cubicBezTo>
                        <a:pt x="499851" y="1488684"/>
                        <a:pt x="497838" y="1491031"/>
                        <a:pt x="495504" y="1493031"/>
                      </a:cubicBezTo>
                      <a:cubicBezTo>
                        <a:pt x="494017" y="1494306"/>
                        <a:pt x="491586" y="1494590"/>
                        <a:pt x="490614" y="1496291"/>
                      </a:cubicBezTo>
                      <a:cubicBezTo>
                        <a:pt x="489240" y="1498696"/>
                        <a:pt x="490342" y="1503625"/>
                        <a:pt x="488984" y="1504440"/>
                      </a:cubicBezTo>
                      <a:cubicBezTo>
                        <a:pt x="487626" y="1505255"/>
                        <a:pt x="487355" y="1502538"/>
                        <a:pt x="482465" y="1501180"/>
                      </a:cubicBezTo>
                      <a:cubicBezTo>
                        <a:pt x="475401" y="1500474"/>
                        <a:pt x="465864" y="1501473"/>
                        <a:pt x="459645" y="1496291"/>
                      </a:cubicBezTo>
                      <a:cubicBezTo>
                        <a:pt x="458140" y="1495037"/>
                        <a:pt x="457073" y="1493235"/>
                        <a:pt x="456385" y="1491401"/>
                      </a:cubicBezTo>
                      <a:cubicBezTo>
                        <a:pt x="455412" y="1488807"/>
                        <a:pt x="455298" y="1485968"/>
                        <a:pt x="454755" y="1483251"/>
                      </a:cubicBezTo>
                      <a:cubicBezTo>
                        <a:pt x="453125" y="1482708"/>
                        <a:pt x="450939" y="1480280"/>
                        <a:pt x="449866" y="1481621"/>
                      </a:cubicBezTo>
                      <a:cubicBezTo>
                        <a:pt x="447802" y="1484202"/>
                        <a:pt x="448953" y="1488175"/>
                        <a:pt x="448236" y="1491401"/>
                      </a:cubicBezTo>
                      <a:cubicBezTo>
                        <a:pt x="447863" y="1493078"/>
                        <a:pt x="447149" y="1494661"/>
                        <a:pt x="446606" y="1496291"/>
                      </a:cubicBezTo>
                      <a:cubicBezTo>
                        <a:pt x="432320" y="1482005"/>
                        <a:pt x="449803" y="1500127"/>
                        <a:pt x="438456" y="1486511"/>
                      </a:cubicBezTo>
                      <a:cubicBezTo>
                        <a:pt x="436980" y="1484740"/>
                        <a:pt x="435871" y="1481621"/>
                        <a:pt x="433566" y="1481621"/>
                      </a:cubicBezTo>
                      <a:cubicBezTo>
                        <a:pt x="431607" y="1481621"/>
                        <a:pt x="431393" y="1484881"/>
                        <a:pt x="430306" y="1486511"/>
                      </a:cubicBezTo>
                      <a:cubicBezTo>
                        <a:pt x="407187" y="1498072"/>
                        <a:pt x="427244" y="1492076"/>
                        <a:pt x="418897" y="1486511"/>
                      </a:cubicBezTo>
                      <a:cubicBezTo>
                        <a:pt x="416592" y="1484974"/>
                        <a:pt x="413464" y="1485424"/>
                        <a:pt x="410747" y="1484881"/>
                      </a:cubicBezTo>
                      <a:cubicBezTo>
                        <a:pt x="409117" y="1485968"/>
                        <a:pt x="407558" y="1487169"/>
                        <a:pt x="405857" y="1488141"/>
                      </a:cubicBezTo>
                      <a:cubicBezTo>
                        <a:pt x="403747" y="1489347"/>
                        <a:pt x="401204" y="1489845"/>
                        <a:pt x="399337" y="1491401"/>
                      </a:cubicBezTo>
                      <a:cubicBezTo>
                        <a:pt x="397832" y="1492655"/>
                        <a:pt x="397164" y="1494661"/>
                        <a:pt x="396077" y="1496291"/>
                      </a:cubicBezTo>
                      <a:cubicBezTo>
                        <a:pt x="401266" y="1501479"/>
                        <a:pt x="403510" y="1501828"/>
                        <a:pt x="402597" y="1510960"/>
                      </a:cubicBezTo>
                      <a:cubicBezTo>
                        <a:pt x="402355" y="1513378"/>
                        <a:pt x="400424" y="1515307"/>
                        <a:pt x="399337" y="1517480"/>
                      </a:cubicBezTo>
                      <a:cubicBezTo>
                        <a:pt x="396077" y="1518023"/>
                        <a:pt x="392067" y="1516959"/>
                        <a:pt x="389558" y="1519110"/>
                      </a:cubicBezTo>
                      <a:cubicBezTo>
                        <a:pt x="387455" y="1520913"/>
                        <a:pt x="388724" y="1524606"/>
                        <a:pt x="387928" y="1527260"/>
                      </a:cubicBezTo>
                      <a:cubicBezTo>
                        <a:pt x="387087" y="1530062"/>
                        <a:pt x="385593" y="1532634"/>
                        <a:pt x="384668" y="1535409"/>
                      </a:cubicBezTo>
                      <a:cubicBezTo>
                        <a:pt x="383960" y="1537534"/>
                        <a:pt x="383581" y="1539756"/>
                        <a:pt x="383038" y="1541929"/>
                      </a:cubicBezTo>
                      <a:cubicBezTo>
                        <a:pt x="376205" y="1552179"/>
                        <a:pt x="383414" y="1540926"/>
                        <a:pt x="376518" y="1553339"/>
                      </a:cubicBezTo>
                      <a:cubicBezTo>
                        <a:pt x="374979" y="1556108"/>
                        <a:pt x="373167" y="1558719"/>
                        <a:pt x="371628" y="1561488"/>
                      </a:cubicBezTo>
                      <a:cubicBezTo>
                        <a:pt x="371412" y="1561876"/>
                        <a:pt x="363802" y="1577614"/>
                        <a:pt x="363478" y="1576158"/>
                      </a:cubicBezTo>
                      <a:cubicBezTo>
                        <a:pt x="361824" y="1568714"/>
                        <a:pt x="364565" y="1560945"/>
                        <a:pt x="365108" y="1553339"/>
                      </a:cubicBezTo>
                      <a:cubicBezTo>
                        <a:pt x="362392" y="1552252"/>
                        <a:pt x="359132" y="1551166"/>
                        <a:pt x="356959" y="1550079"/>
                      </a:cubicBezTo>
                      <a:cubicBezTo>
                        <a:pt x="354786" y="1548992"/>
                        <a:pt x="351797" y="1547634"/>
                        <a:pt x="352069" y="1546819"/>
                      </a:cubicBezTo>
                      <a:cubicBezTo>
                        <a:pt x="352341" y="1546004"/>
                        <a:pt x="357402" y="1547089"/>
                        <a:pt x="358589" y="1545189"/>
                      </a:cubicBezTo>
                      <a:cubicBezTo>
                        <a:pt x="360625" y="1541931"/>
                        <a:pt x="359511" y="1537555"/>
                        <a:pt x="360219" y="1533779"/>
                      </a:cubicBezTo>
                      <a:cubicBezTo>
                        <a:pt x="361142" y="1528856"/>
                        <a:pt x="363094" y="1524104"/>
                        <a:pt x="363478" y="1519110"/>
                      </a:cubicBezTo>
                      <a:lnTo>
                        <a:pt x="362167" y="1513862"/>
                      </a:lnTo>
                      <a:lnTo>
                        <a:pt x="366738" y="1512590"/>
                      </a:lnTo>
                      <a:cubicBezTo>
                        <a:pt x="368123" y="1511205"/>
                        <a:pt x="368911" y="1509330"/>
                        <a:pt x="369998" y="1507700"/>
                      </a:cubicBezTo>
                      <a:cubicBezTo>
                        <a:pt x="368368" y="1507157"/>
                        <a:pt x="366061" y="1507500"/>
                        <a:pt x="365108" y="1506070"/>
                      </a:cubicBezTo>
                      <a:cubicBezTo>
                        <a:pt x="363571" y="1503765"/>
                        <a:pt x="364274" y="1500574"/>
                        <a:pt x="363478" y="1497920"/>
                      </a:cubicBezTo>
                      <a:cubicBezTo>
                        <a:pt x="362637" y="1495118"/>
                        <a:pt x="361246" y="1492510"/>
                        <a:pt x="360219" y="1489771"/>
                      </a:cubicBezTo>
                      <a:cubicBezTo>
                        <a:pt x="359616" y="1488162"/>
                        <a:pt x="359132" y="1486511"/>
                        <a:pt x="358589" y="1484881"/>
                      </a:cubicBezTo>
                      <a:cubicBezTo>
                        <a:pt x="366195" y="1484338"/>
                        <a:pt x="373829" y="1484093"/>
                        <a:pt x="381408" y="1483251"/>
                      </a:cubicBezTo>
                      <a:cubicBezTo>
                        <a:pt x="383635" y="1483004"/>
                        <a:pt x="386494" y="1483342"/>
                        <a:pt x="387928" y="1481621"/>
                      </a:cubicBezTo>
                      <a:cubicBezTo>
                        <a:pt x="389702" y="1479493"/>
                        <a:pt x="388957" y="1476175"/>
                        <a:pt x="389558" y="1473471"/>
                      </a:cubicBezTo>
                      <a:cubicBezTo>
                        <a:pt x="390044" y="1471284"/>
                        <a:pt x="390186" y="1468955"/>
                        <a:pt x="391188" y="1466951"/>
                      </a:cubicBezTo>
                      <a:cubicBezTo>
                        <a:pt x="396318" y="1456689"/>
                        <a:pt x="397435" y="1464507"/>
                        <a:pt x="394447" y="1455542"/>
                      </a:cubicBezTo>
                      <a:cubicBezTo>
                        <a:pt x="394447" y="1455542"/>
                        <a:pt x="388586" y="1449022"/>
                        <a:pt x="384668" y="1449022"/>
                      </a:cubicBezTo>
                      <a:cubicBezTo>
                        <a:pt x="381594" y="1449022"/>
                        <a:pt x="380321" y="1453369"/>
                        <a:pt x="378148" y="1455542"/>
                      </a:cubicBezTo>
                      <a:cubicBezTo>
                        <a:pt x="368874" y="1458633"/>
                        <a:pt x="376126" y="1455406"/>
                        <a:pt x="365108" y="1465322"/>
                      </a:cubicBezTo>
                      <a:cubicBezTo>
                        <a:pt x="362522" y="1467649"/>
                        <a:pt x="359675" y="1469668"/>
                        <a:pt x="356959" y="1471841"/>
                      </a:cubicBezTo>
                      <a:cubicBezTo>
                        <a:pt x="356959" y="1471841"/>
                        <a:pt x="350513" y="1474268"/>
                        <a:pt x="347179" y="1475101"/>
                      </a:cubicBezTo>
                      <a:cubicBezTo>
                        <a:pt x="343973" y="1475903"/>
                        <a:pt x="340659" y="1476188"/>
                        <a:pt x="337399" y="1476731"/>
                      </a:cubicBezTo>
                      <a:cubicBezTo>
                        <a:pt x="334334" y="1474687"/>
                        <a:pt x="328590" y="1469961"/>
                        <a:pt x="324360" y="1471841"/>
                      </a:cubicBezTo>
                      <a:cubicBezTo>
                        <a:pt x="321181" y="1473254"/>
                        <a:pt x="320013" y="1477274"/>
                        <a:pt x="317840" y="1479991"/>
                      </a:cubicBezTo>
                      <a:cubicBezTo>
                        <a:pt x="315123" y="1481621"/>
                        <a:pt x="312326" y="1483124"/>
                        <a:pt x="309690" y="1484881"/>
                      </a:cubicBezTo>
                      <a:cubicBezTo>
                        <a:pt x="307430" y="1486388"/>
                        <a:pt x="305529" y="1488423"/>
                        <a:pt x="303170" y="1489771"/>
                      </a:cubicBezTo>
                      <a:cubicBezTo>
                        <a:pt x="301679" y="1490623"/>
                        <a:pt x="299975" y="1491683"/>
                        <a:pt x="298281" y="1491401"/>
                      </a:cubicBezTo>
                      <a:cubicBezTo>
                        <a:pt x="296349" y="1491079"/>
                        <a:pt x="295021" y="1489228"/>
                        <a:pt x="293391" y="1488141"/>
                      </a:cubicBezTo>
                      <a:cubicBezTo>
                        <a:pt x="289044" y="1487054"/>
                        <a:pt x="284674" y="1483702"/>
                        <a:pt x="280351" y="1484881"/>
                      </a:cubicBezTo>
                      <a:cubicBezTo>
                        <a:pt x="277294" y="1485715"/>
                        <a:pt x="277866" y="1490969"/>
                        <a:pt x="275461" y="1493031"/>
                      </a:cubicBezTo>
                      <a:cubicBezTo>
                        <a:pt x="273760" y="1494489"/>
                        <a:pt x="271115" y="1494118"/>
                        <a:pt x="268942" y="1494661"/>
                      </a:cubicBezTo>
                      <a:cubicBezTo>
                        <a:pt x="263146" y="1491763"/>
                        <a:pt x="263128" y="1491370"/>
                        <a:pt x="257532" y="1489771"/>
                      </a:cubicBezTo>
                      <a:cubicBezTo>
                        <a:pt x="255378" y="1489156"/>
                        <a:pt x="252014" y="1490145"/>
                        <a:pt x="251012" y="1488141"/>
                      </a:cubicBezTo>
                      <a:cubicBezTo>
                        <a:pt x="248812" y="1483740"/>
                        <a:pt x="249925" y="1478361"/>
                        <a:pt x="249382" y="1473471"/>
                      </a:cubicBezTo>
                      <a:cubicBezTo>
                        <a:pt x="249925" y="1471841"/>
                        <a:pt x="249670" y="1469654"/>
                        <a:pt x="251012" y="1468581"/>
                      </a:cubicBezTo>
                      <a:cubicBezTo>
                        <a:pt x="252761" y="1467182"/>
                        <a:pt x="255296" y="1466819"/>
                        <a:pt x="257532" y="1466951"/>
                      </a:cubicBezTo>
                      <a:cubicBezTo>
                        <a:pt x="264666" y="1467371"/>
                        <a:pt x="271658" y="1469124"/>
                        <a:pt x="278721" y="1470211"/>
                      </a:cubicBezTo>
                      <a:cubicBezTo>
                        <a:pt x="280894" y="1469668"/>
                        <a:pt x="283182" y="1469463"/>
                        <a:pt x="285241" y="1468581"/>
                      </a:cubicBezTo>
                      <a:cubicBezTo>
                        <a:pt x="289454" y="1466776"/>
                        <a:pt x="293030" y="1462783"/>
                        <a:pt x="295021" y="1458802"/>
                      </a:cubicBezTo>
                      <a:cubicBezTo>
                        <a:pt x="296023" y="1456798"/>
                        <a:pt x="296651" y="1454522"/>
                        <a:pt x="296651" y="1452282"/>
                      </a:cubicBezTo>
                      <a:cubicBezTo>
                        <a:pt x="296651" y="1450564"/>
                        <a:pt x="295564" y="1449022"/>
                        <a:pt x="295021" y="1447392"/>
                      </a:cubicBezTo>
                      <a:cubicBezTo>
                        <a:pt x="290603" y="1446508"/>
                        <a:pt x="285179" y="1446499"/>
                        <a:pt x="281981" y="1442502"/>
                      </a:cubicBezTo>
                      <a:cubicBezTo>
                        <a:pt x="280908" y="1441160"/>
                        <a:pt x="280894" y="1439242"/>
                        <a:pt x="280351" y="1437612"/>
                      </a:cubicBezTo>
                      <a:cubicBezTo>
                        <a:pt x="276005" y="1437069"/>
                        <a:pt x="271379" y="1437610"/>
                        <a:pt x="267312" y="1435983"/>
                      </a:cubicBezTo>
                      <a:cubicBezTo>
                        <a:pt x="265493" y="1435255"/>
                        <a:pt x="264493" y="1433002"/>
                        <a:pt x="264052" y="1431093"/>
                      </a:cubicBezTo>
                      <a:cubicBezTo>
                        <a:pt x="262824" y="1425772"/>
                        <a:pt x="264573" y="1419812"/>
                        <a:pt x="262422" y="1414793"/>
                      </a:cubicBezTo>
                      <a:cubicBezTo>
                        <a:pt x="261650" y="1412992"/>
                        <a:pt x="260113" y="1417971"/>
                        <a:pt x="259162" y="1419683"/>
                      </a:cubicBezTo>
                      <a:cubicBezTo>
                        <a:pt x="257392" y="1422869"/>
                        <a:pt x="255902" y="1426203"/>
                        <a:pt x="254272" y="1429463"/>
                      </a:cubicBezTo>
                      <a:cubicBezTo>
                        <a:pt x="251012" y="1430006"/>
                        <a:pt x="247733" y="1430445"/>
                        <a:pt x="244492" y="1431093"/>
                      </a:cubicBezTo>
                      <a:cubicBezTo>
                        <a:pt x="242296" y="1431532"/>
                        <a:pt x="240418" y="1436526"/>
                        <a:pt x="237973" y="1432723"/>
                      </a:cubicBezTo>
                      <a:cubicBezTo>
                        <a:pt x="235528" y="1428920"/>
                        <a:pt x="234441" y="1412891"/>
                        <a:pt x="229823" y="1408273"/>
                      </a:cubicBezTo>
                      <a:cubicBezTo>
                        <a:pt x="223303" y="1407187"/>
                        <a:pt x="216745" y="1406310"/>
                        <a:pt x="210264" y="1405014"/>
                      </a:cubicBezTo>
                      <a:cubicBezTo>
                        <a:pt x="208707" y="1404703"/>
                        <a:pt x="200885" y="1402127"/>
                        <a:pt x="200484" y="1400124"/>
                      </a:cubicBezTo>
                      <a:cubicBezTo>
                        <a:pt x="200106" y="1398233"/>
                        <a:pt x="208144" y="1390834"/>
                        <a:pt x="208634" y="1390344"/>
                      </a:cubicBezTo>
                      <a:cubicBezTo>
                        <a:pt x="213508" y="1388719"/>
                        <a:pt x="216248" y="1388378"/>
                        <a:pt x="220043" y="1383824"/>
                      </a:cubicBezTo>
                      <a:cubicBezTo>
                        <a:pt x="221143" y="1382504"/>
                        <a:pt x="220905" y="1380471"/>
                        <a:pt x="221673" y="1378934"/>
                      </a:cubicBezTo>
                      <a:cubicBezTo>
                        <a:pt x="222549" y="1377182"/>
                        <a:pt x="224690" y="1375989"/>
                        <a:pt x="224933" y="1374045"/>
                      </a:cubicBezTo>
                      <a:cubicBezTo>
                        <a:pt x="225277" y="1371296"/>
                        <a:pt x="223846" y="1368612"/>
                        <a:pt x="223303" y="1365895"/>
                      </a:cubicBezTo>
                      <a:cubicBezTo>
                        <a:pt x="222216" y="1364265"/>
                        <a:pt x="220518" y="1362906"/>
                        <a:pt x="220043" y="1361005"/>
                      </a:cubicBezTo>
                      <a:cubicBezTo>
                        <a:pt x="218850" y="1356232"/>
                        <a:pt x="219222" y="1351188"/>
                        <a:pt x="218413" y="1346335"/>
                      </a:cubicBezTo>
                      <a:cubicBezTo>
                        <a:pt x="218131" y="1344641"/>
                        <a:pt x="217326" y="1343076"/>
                        <a:pt x="216783" y="1341446"/>
                      </a:cubicBezTo>
                      <a:cubicBezTo>
                        <a:pt x="206248" y="1339690"/>
                        <a:pt x="206068" y="1341035"/>
                        <a:pt x="197224" y="1333296"/>
                      </a:cubicBezTo>
                      <a:cubicBezTo>
                        <a:pt x="194232" y="1330678"/>
                        <a:pt x="192679" y="1323688"/>
                        <a:pt x="189074" y="1321886"/>
                      </a:cubicBezTo>
                      <a:cubicBezTo>
                        <a:pt x="185638" y="1320168"/>
                        <a:pt x="181468" y="1320799"/>
                        <a:pt x="177665" y="1320256"/>
                      </a:cubicBezTo>
                      <a:cubicBezTo>
                        <a:pt x="170568" y="1323804"/>
                        <a:pt x="168446" y="1324529"/>
                        <a:pt x="161365" y="1330036"/>
                      </a:cubicBezTo>
                      <a:cubicBezTo>
                        <a:pt x="159545" y="1331451"/>
                        <a:pt x="158105" y="1333296"/>
                        <a:pt x="156475" y="1334926"/>
                      </a:cubicBezTo>
                      <a:lnTo>
                        <a:pt x="154845" y="1326776"/>
                      </a:lnTo>
                      <a:cubicBezTo>
                        <a:pt x="154508" y="1325091"/>
                        <a:pt x="153758" y="1323516"/>
                        <a:pt x="153215" y="1321886"/>
                      </a:cubicBezTo>
                      <a:cubicBezTo>
                        <a:pt x="152128" y="1318626"/>
                        <a:pt x="151231" y="1315297"/>
                        <a:pt x="149955" y="1312107"/>
                      </a:cubicBezTo>
                      <a:cubicBezTo>
                        <a:pt x="148082" y="1307424"/>
                        <a:pt x="144292" y="1301580"/>
                        <a:pt x="141806" y="1297437"/>
                      </a:cubicBezTo>
                      <a:cubicBezTo>
                        <a:pt x="139633" y="1297980"/>
                        <a:pt x="137345" y="1298185"/>
                        <a:pt x="135286" y="1299067"/>
                      </a:cubicBezTo>
                      <a:cubicBezTo>
                        <a:pt x="133485" y="1299839"/>
                        <a:pt x="131620" y="1300797"/>
                        <a:pt x="130396" y="1302327"/>
                      </a:cubicBezTo>
                      <a:cubicBezTo>
                        <a:pt x="129323" y="1303669"/>
                        <a:pt x="129218" y="1305559"/>
                        <a:pt x="128766" y="1307217"/>
                      </a:cubicBezTo>
                      <a:cubicBezTo>
                        <a:pt x="127587" y="1311539"/>
                        <a:pt x="126593" y="1315910"/>
                        <a:pt x="125506" y="1320256"/>
                      </a:cubicBezTo>
                      <a:cubicBezTo>
                        <a:pt x="123333" y="1321886"/>
                        <a:pt x="120617" y="1321071"/>
                        <a:pt x="118987" y="1325146"/>
                      </a:cubicBezTo>
                      <a:cubicBezTo>
                        <a:pt x="117357" y="1329221"/>
                        <a:pt x="117085" y="1342261"/>
                        <a:pt x="115727" y="1344706"/>
                      </a:cubicBezTo>
                      <a:cubicBezTo>
                        <a:pt x="114097" y="1343076"/>
                        <a:pt x="112713" y="1341156"/>
                        <a:pt x="110837" y="1339816"/>
                      </a:cubicBezTo>
                      <a:cubicBezTo>
                        <a:pt x="108860" y="1338404"/>
                        <a:pt x="106184" y="1338112"/>
                        <a:pt x="104317" y="1336556"/>
                      </a:cubicBezTo>
                      <a:cubicBezTo>
                        <a:pt x="101976" y="1334605"/>
                        <a:pt x="99121" y="1327265"/>
                        <a:pt x="97797" y="1325146"/>
                      </a:cubicBezTo>
                      <a:cubicBezTo>
                        <a:pt x="96357" y="1322842"/>
                        <a:pt x="94347" y="1320930"/>
                        <a:pt x="92907" y="1318626"/>
                      </a:cubicBezTo>
                      <a:cubicBezTo>
                        <a:pt x="89354" y="1312942"/>
                        <a:pt x="89582" y="1311847"/>
                        <a:pt x="88018" y="1305587"/>
                      </a:cubicBezTo>
                      <a:cubicBezTo>
                        <a:pt x="85546" y="1307235"/>
                        <a:pt x="81612" y="1310477"/>
                        <a:pt x="78238" y="1310477"/>
                      </a:cubicBezTo>
                      <a:cubicBezTo>
                        <a:pt x="75468" y="1310477"/>
                        <a:pt x="72805" y="1309390"/>
                        <a:pt x="70088" y="1308847"/>
                      </a:cubicBezTo>
                      <a:cubicBezTo>
                        <a:pt x="70631" y="1307217"/>
                        <a:pt x="70645" y="1305299"/>
                        <a:pt x="71718" y="1303957"/>
                      </a:cubicBezTo>
                      <a:cubicBezTo>
                        <a:pt x="72942" y="1302427"/>
                        <a:pt x="75223" y="1302082"/>
                        <a:pt x="76608" y="1300697"/>
                      </a:cubicBezTo>
                      <a:cubicBezTo>
                        <a:pt x="77993" y="1299312"/>
                        <a:pt x="78781" y="1297437"/>
                        <a:pt x="79868" y="1295807"/>
                      </a:cubicBezTo>
                      <a:cubicBezTo>
                        <a:pt x="85218" y="1292240"/>
                        <a:pt x="86079" y="1292450"/>
                        <a:pt x="89647" y="1286027"/>
                      </a:cubicBezTo>
                      <a:cubicBezTo>
                        <a:pt x="91068" y="1283470"/>
                        <a:pt x="92907" y="1280804"/>
                        <a:pt x="92907" y="1277878"/>
                      </a:cubicBezTo>
                      <a:cubicBezTo>
                        <a:pt x="92907" y="1275919"/>
                        <a:pt x="90734" y="1274618"/>
                        <a:pt x="89647" y="1272988"/>
                      </a:cubicBezTo>
                      <a:cubicBezTo>
                        <a:pt x="86931" y="1272445"/>
                        <a:pt x="83457" y="1273317"/>
                        <a:pt x="81498" y="1271358"/>
                      </a:cubicBezTo>
                      <a:cubicBezTo>
                        <a:pt x="79539" y="1269399"/>
                        <a:pt x="80540" y="1265896"/>
                        <a:pt x="79868" y="1263208"/>
                      </a:cubicBezTo>
                      <a:cubicBezTo>
                        <a:pt x="79451" y="1261541"/>
                        <a:pt x="79580" y="1259391"/>
                        <a:pt x="78238" y="1258318"/>
                      </a:cubicBezTo>
                      <a:cubicBezTo>
                        <a:pt x="76489" y="1256919"/>
                        <a:pt x="73118" y="1258437"/>
                        <a:pt x="71718" y="1256688"/>
                      </a:cubicBezTo>
                      <a:cubicBezTo>
                        <a:pt x="68375" y="1252510"/>
                        <a:pt x="67371" y="1246909"/>
                        <a:pt x="65198" y="1242019"/>
                      </a:cubicBezTo>
                      <a:cubicBezTo>
                        <a:pt x="67632" y="1238368"/>
                        <a:pt x="70126" y="1233452"/>
                        <a:pt x="74978" y="1232239"/>
                      </a:cubicBezTo>
                      <a:cubicBezTo>
                        <a:pt x="77151" y="1231696"/>
                        <a:pt x="79553" y="1232758"/>
                        <a:pt x="81498" y="1233869"/>
                      </a:cubicBezTo>
                      <a:cubicBezTo>
                        <a:pt x="83499" y="1235013"/>
                        <a:pt x="84758" y="1237129"/>
                        <a:pt x="86388" y="1238759"/>
                      </a:cubicBezTo>
                      <a:cubicBezTo>
                        <a:pt x="88451" y="1239172"/>
                        <a:pt x="96729" y="1240477"/>
                        <a:pt x="99427" y="1242019"/>
                      </a:cubicBezTo>
                      <a:cubicBezTo>
                        <a:pt x="101786" y="1243367"/>
                        <a:pt x="104993" y="1244365"/>
                        <a:pt x="105947" y="1246909"/>
                      </a:cubicBezTo>
                      <a:cubicBezTo>
                        <a:pt x="108456" y="1253600"/>
                        <a:pt x="108761" y="1260966"/>
                        <a:pt x="109207" y="1268098"/>
                      </a:cubicBezTo>
                      <a:cubicBezTo>
                        <a:pt x="110210" y="1284147"/>
                        <a:pt x="103857" y="1261829"/>
                        <a:pt x="109207" y="1277878"/>
                      </a:cubicBezTo>
                      <a:cubicBezTo>
                        <a:pt x="109987" y="1278398"/>
                        <a:pt x="119949" y="1285331"/>
                        <a:pt x="120616" y="1284397"/>
                      </a:cubicBezTo>
                      <a:cubicBezTo>
                        <a:pt x="123475" y="1280393"/>
                        <a:pt x="121703" y="1274618"/>
                        <a:pt x="122246" y="1269728"/>
                      </a:cubicBezTo>
                      <a:cubicBezTo>
                        <a:pt x="122789" y="1268098"/>
                        <a:pt x="122339" y="1265606"/>
                        <a:pt x="123876" y="1264838"/>
                      </a:cubicBezTo>
                      <a:cubicBezTo>
                        <a:pt x="129592" y="1261980"/>
                        <a:pt x="130043" y="1271577"/>
                        <a:pt x="130396" y="1272988"/>
                      </a:cubicBezTo>
                      <a:cubicBezTo>
                        <a:pt x="146305" y="1269011"/>
                        <a:pt x="126432" y="1273869"/>
                        <a:pt x="145066" y="1269728"/>
                      </a:cubicBezTo>
                      <a:cubicBezTo>
                        <a:pt x="165783" y="1265124"/>
                        <a:pt x="135152" y="1271385"/>
                        <a:pt x="159735" y="1266468"/>
                      </a:cubicBezTo>
                      <a:cubicBezTo>
                        <a:pt x="166255" y="1265925"/>
                        <a:pt x="172852" y="1265975"/>
                        <a:pt x="179295" y="1264838"/>
                      </a:cubicBezTo>
                      <a:cubicBezTo>
                        <a:pt x="182176" y="1264330"/>
                        <a:pt x="185993" y="1264118"/>
                        <a:pt x="187444" y="1261578"/>
                      </a:cubicBezTo>
                      <a:cubicBezTo>
                        <a:pt x="188818" y="1259172"/>
                        <a:pt x="187172" y="1255058"/>
                        <a:pt x="185814" y="1253428"/>
                      </a:cubicBezTo>
                      <a:cubicBezTo>
                        <a:pt x="184456" y="1251798"/>
                        <a:pt x="169303" y="1258043"/>
                        <a:pt x="179295" y="1251799"/>
                      </a:cubicBezTo>
                      <a:lnTo>
                        <a:pt x="184056" y="1247990"/>
                      </a:lnTo>
                      <a:lnTo>
                        <a:pt x="178136" y="1247031"/>
                      </a:lnTo>
                      <a:cubicBezTo>
                        <a:pt x="173623" y="1246564"/>
                        <a:pt x="168680" y="1246600"/>
                        <a:pt x="166255" y="1248539"/>
                      </a:cubicBezTo>
                      <a:cubicBezTo>
                        <a:pt x="164725" y="1249763"/>
                        <a:pt x="164082" y="1251798"/>
                        <a:pt x="162995" y="1253428"/>
                      </a:cubicBezTo>
                      <a:cubicBezTo>
                        <a:pt x="160822" y="1252885"/>
                        <a:pt x="158573" y="1252585"/>
                        <a:pt x="156475" y="1251799"/>
                      </a:cubicBezTo>
                      <a:cubicBezTo>
                        <a:pt x="139415" y="1245403"/>
                        <a:pt x="160181" y="1251096"/>
                        <a:pt x="143436" y="1246909"/>
                      </a:cubicBezTo>
                      <a:cubicBezTo>
                        <a:pt x="136916" y="1245279"/>
                        <a:pt x="144015" y="1231255"/>
                        <a:pt x="138546" y="1227349"/>
                      </a:cubicBezTo>
                      <a:cubicBezTo>
                        <a:pt x="134981" y="1224803"/>
                        <a:pt x="134199" y="1234956"/>
                        <a:pt x="132026" y="1238759"/>
                      </a:cubicBezTo>
                      <a:cubicBezTo>
                        <a:pt x="120392" y="1234881"/>
                        <a:pt x="134110" y="1241026"/>
                        <a:pt x="125506" y="1228979"/>
                      </a:cubicBezTo>
                      <a:cubicBezTo>
                        <a:pt x="119802" y="1220992"/>
                        <a:pt x="115570" y="1230845"/>
                        <a:pt x="122246" y="1220830"/>
                      </a:cubicBezTo>
                      <a:cubicBezTo>
                        <a:pt x="121703" y="1218113"/>
                        <a:pt x="120365" y="1215439"/>
                        <a:pt x="120616" y="1212680"/>
                      </a:cubicBezTo>
                      <a:cubicBezTo>
                        <a:pt x="121414" y="1203904"/>
                        <a:pt x="123587" y="1203189"/>
                        <a:pt x="128766" y="1198010"/>
                      </a:cubicBezTo>
                      <a:lnTo>
                        <a:pt x="136891" y="1197107"/>
                      </a:lnTo>
                      <a:lnTo>
                        <a:pt x="138546" y="1202900"/>
                      </a:lnTo>
                      <a:cubicBezTo>
                        <a:pt x="140719" y="1202357"/>
                        <a:pt x="143722" y="1203062"/>
                        <a:pt x="145066" y="1201270"/>
                      </a:cubicBezTo>
                      <a:cubicBezTo>
                        <a:pt x="146097" y="1199895"/>
                        <a:pt x="145121" y="1196717"/>
                        <a:pt x="143436" y="1196380"/>
                      </a:cubicBezTo>
                      <a:lnTo>
                        <a:pt x="136891" y="1197107"/>
                      </a:lnTo>
                      <a:lnTo>
                        <a:pt x="135286" y="1191491"/>
                      </a:lnTo>
                      <a:cubicBezTo>
                        <a:pt x="135286" y="1189251"/>
                        <a:pt x="136373" y="1187144"/>
                        <a:pt x="136916" y="1184971"/>
                      </a:cubicBezTo>
                      <a:cubicBezTo>
                        <a:pt x="143979" y="1184428"/>
                        <a:pt x="151076" y="1184220"/>
                        <a:pt x="158105" y="1183341"/>
                      </a:cubicBezTo>
                      <a:cubicBezTo>
                        <a:pt x="159810" y="1183128"/>
                        <a:pt x="162995" y="1183429"/>
                        <a:pt x="162995" y="1181711"/>
                      </a:cubicBezTo>
                      <a:cubicBezTo>
                        <a:pt x="162995" y="1177573"/>
                        <a:pt x="159735" y="1174104"/>
                        <a:pt x="158105" y="1170301"/>
                      </a:cubicBezTo>
                      <a:cubicBezTo>
                        <a:pt x="156475" y="1169758"/>
                        <a:pt x="154882" y="1169088"/>
                        <a:pt x="153215" y="1168671"/>
                      </a:cubicBezTo>
                      <a:cubicBezTo>
                        <a:pt x="150528" y="1167999"/>
                        <a:pt x="147471" y="1168415"/>
                        <a:pt x="145066" y="1167041"/>
                      </a:cubicBezTo>
                      <a:cubicBezTo>
                        <a:pt x="143365" y="1166069"/>
                        <a:pt x="142893" y="1163781"/>
                        <a:pt x="141806" y="1162151"/>
                      </a:cubicBezTo>
                      <a:cubicBezTo>
                        <a:pt x="141263" y="1164324"/>
                        <a:pt x="141478" y="1166848"/>
                        <a:pt x="140176" y="1168671"/>
                      </a:cubicBezTo>
                      <a:cubicBezTo>
                        <a:pt x="134225" y="1177003"/>
                        <a:pt x="122390" y="1174500"/>
                        <a:pt x="114097" y="1175191"/>
                      </a:cubicBezTo>
                      <a:cubicBezTo>
                        <a:pt x="113554" y="1172474"/>
                        <a:pt x="112467" y="1169811"/>
                        <a:pt x="112467" y="1167041"/>
                      </a:cubicBezTo>
                      <a:cubicBezTo>
                        <a:pt x="112467" y="1164801"/>
                        <a:pt x="112196" y="1163510"/>
                        <a:pt x="114097" y="1160522"/>
                      </a:cubicBezTo>
                      <a:cubicBezTo>
                        <a:pt x="115999" y="1157534"/>
                        <a:pt x="121975" y="1151829"/>
                        <a:pt x="123876" y="1149112"/>
                      </a:cubicBezTo>
                      <a:cubicBezTo>
                        <a:pt x="125777" y="1146395"/>
                        <a:pt x="124963" y="1145852"/>
                        <a:pt x="125506" y="1144222"/>
                      </a:cubicBezTo>
                      <a:cubicBezTo>
                        <a:pt x="122790" y="1143135"/>
                        <a:pt x="119426" y="1143031"/>
                        <a:pt x="117357" y="1140962"/>
                      </a:cubicBezTo>
                      <a:cubicBezTo>
                        <a:pt x="113775" y="1137380"/>
                        <a:pt x="116196" y="1133036"/>
                        <a:pt x="117357" y="1129553"/>
                      </a:cubicBezTo>
                      <a:cubicBezTo>
                        <a:pt x="113010" y="1129010"/>
                        <a:pt x="108627" y="1128707"/>
                        <a:pt x="104317" y="1127923"/>
                      </a:cubicBezTo>
                      <a:cubicBezTo>
                        <a:pt x="102627" y="1127616"/>
                        <a:pt x="100642" y="1127508"/>
                        <a:pt x="99427" y="1126293"/>
                      </a:cubicBezTo>
                      <a:cubicBezTo>
                        <a:pt x="98212" y="1125078"/>
                        <a:pt x="99299" y="1122237"/>
                        <a:pt x="97797" y="1121403"/>
                      </a:cubicBezTo>
                      <a:cubicBezTo>
                        <a:pt x="93881" y="1119227"/>
                        <a:pt x="89104" y="1119230"/>
                        <a:pt x="84758" y="1118143"/>
                      </a:cubicBezTo>
                      <a:cubicBezTo>
                        <a:pt x="85845" y="1116513"/>
                        <a:pt x="86764" y="1114758"/>
                        <a:pt x="88018" y="1113253"/>
                      </a:cubicBezTo>
                      <a:cubicBezTo>
                        <a:pt x="92649" y="1107695"/>
                        <a:pt x="97430" y="1105839"/>
                        <a:pt x="101057" y="1098584"/>
                      </a:cubicBezTo>
                      <a:cubicBezTo>
                        <a:pt x="101933" y="1096832"/>
                        <a:pt x="96786" y="1103701"/>
                        <a:pt x="96167" y="1101843"/>
                      </a:cubicBezTo>
                      <a:cubicBezTo>
                        <a:pt x="95242" y="1099068"/>
                        <a:pt x="98340" y="1096410"/>
                        <a:pt x="99427" y="1093694"/>
                      </a:cubicBezTo>
                      <a:cubicBezTo>
                        <a:pt x="103342" y="1092715"/>
                        <a:pt x="108023" y="1092322"/>
                        <a:pt x="110837" y="1088804"/>
                      </a:cubicBezTo>
                      <a:cubicBezTo>
                        <a:pt x="111910" y="1087462"/>
                        <a:pt x="111924" y="1085544"/>
                        <a:pt x="112467" y="1083914"/>
                      </a:cubicBezTo>
                      <a:cubicBezTo>
                        <a:pt x="123474" y="1081162"/>
                        <a:pt x="126359" y="1082632"/>
                        <a:pt x="120616" y="1061095"/>
                      </a:cubicBezTo>
                      <a:cubicBezTo>
                        <a:pt x="119862" y="1058268"/>
                        <a:pt x="115183" y="1058922"/>
                        <a:pt x="112467" y="1057835"/>
                      </a:cubicBezTo>
                      <a:cubicBezTo>
                        <a:pt x="110294" y="1058378"/>
                        <a:pt x="108187" y="1059465"/>
                        <a:pt x="105947" y="1059465"/>
                      </a:cubicBezTo>
                      <a:cubicBezTo>
                        <a:pt x="104229" y="1059465"/>
                        <a:pt x="102752" y="1057553"/>
                        <a:pt x="101057" y="1057835"/>
                      </a:cubicBezTo>
                      <a:cubicBezTo>
                        <a:pt x="99125" y="1058157"/>
                        <a:pt x="97797" y="1060008"/>
                        <a:pt x="96167" y="1061095"/>
                      </a:cubicBezTo>
                      <a:cubicBezTo>
                        <a:pt x="91821" y="1062182"/>
                        <a:pt x="87338" y="1062824"/>
                        <a:pt x="83128" y="1064355"/>
                      </a:cubicBezTo>
                      <a:cubicBezTo>
                        <a:pt x="81287" y="1065025"/>
                        <a:pt x="79939" y="1066643"/>
                        <a:pt x="78238" y="1067615"/>
                      </a:cubicBezTo>
                      <a:cubicBezTo>
                        <a:pt x="76128" y="1068820"/>
                        <a:pt x="73778" y="1069586"/>
                        <a:pt x="71718" y="1070874"/>
                      </a:cubicBezTo>
                      <a:cubicBezTo>
                        <a:pt x="69414" y="1072314"/>
                        <a:pt x="67409" y="1074185"/>
                        <a:pt x="65198" y="1075764"/>
                      </a:cubicBezTo>
                      <a:cubicBezTo>
                        <a:pt x="63604" y="1076903"/>
                        <a:pt x="61938" y="1077937"/>
                        <a:pt x="60308" y="1079024"/>
                      </a:cubicBezTo>
                      <a:cubicBezTo>
                        <a:pt x="60308" y="1079024"/>
                        <a:pt x="49123" y="1080153"/>
                        <a:pt x="44009" y="1082284"/>
                      </a:cubicBezTo>
                      <a:cubicBezTo>
                        <a:pt x="42201" y="1083038"/>
                        <a:pt x="41836" y="1085544"/>
                        <a:pt x="40749" y="1087174"/>
                      </a:cubicBezTo>
                      <a:cubicBezTo>
                        <a:pt x="40749" y="1087174"/>
                        <a:pt x="34160" y="1089158"/>
                        <a:pt x="30969" y="1090434"/>
                      </a:cubicBezTo>
                      <a:cubicBezTo>
                        <a:pt x="25801" y="1092501"/>
                        <a:pt x="23969" y="1094015"/>
                        <a:pt x="19560" y="1096954"/>
                      </a:cubicBezTo>
                      <a:cubicBezTo>
                        <a:pt x="14657" y="1097771"/>
                        <a:pt x="6642" y="1100295"/>
                        <a:pt x="1630" y="1096954"/>
                      </a:cubicBezTo>
                      <a:cubicBezTo>
                        <a:pt x="200" y="1096001"/>
                        <a:pt x="543" y="1093694"/>
                        <a:pt x="0" y="1092064"/>
                      </a:cubicBezTo>
                      <a:cubicBezTo>
                        <a:pt x="543" y="1087174"/>
                        <a:pt x="74" y="1082062"/>
                        <a:pt x="1630" y="1077394"/>
                      </a:cubicBezTo>
                      <a:cubicBezTo>
                        <a:pt x="2359" y="1075207"/>
                        <a:pt x="5732" y="1074670"/>
                        <a:pt x="6520" y="1072504"/>
                      </a:cubicBezTo>
                      <a:cubicBezTo>
                        <a:pt x="8017" y="1068388"/>
                        <a:pt x="7607" y="1063811"/>
                        <a:pt x="8150" y="1059465"/>
                      </a:cubicBezTo>
                      <a:cubicBezTo>
                        <a:pt x="2937" y="1049038"/>
                        <a:pt x="4659" y="1054361"/>
                        <a:pt x="3260" y="1038276"/>
                      </a:cubicBezTo>
                      <a:cubicBezTo>
                        <a:pt x="996" y="1012245"/>
                        <a:pt x="-35" y="1022115"/>
                        <a:pt x="4890" y="1002417"/>
                      </a:cubicBezTo>
                      <a:cubicBezTo>
                        <a:pt x="9237" y="1001874"/>
                        <a:pt x="14084" y="1002885"/>
                        <a:pt x="17930" y="1000787"/>
                      </a:cubicBezTo>
                      <a:cubicBezTo>
                        <a:pt x="20711" y="999270"/>
                        <a:pt x="21754" y="995621"/>
                        <a:pt x="22820" y="992637"/>
                      </a:cubicBezTo>
                      <a:cubicBezTo>
                        <a:pt x="27502" y="979527"/>
                        <a:pt x="26876" y="981152"/>
                        <a:pt x="24450" y="971448"/>
                      </a:cubicBezTo>
                      <a:cubicBezTo>
                        <a:pt x="27166" y="970905"/>
                        <a:pt x="30121" y="971057"/>
                        <a:pt x="32599" y="969818"/>
                      </a:cubicBezTo>
                      <a:cubicBezTo>
                        <a:pt x="35737" y="968249"/>
                        <a:pt x="38877" y="962846"/>
                        <a:pt x="40749" y="960038"/>
                      </a:cubicBezTo>
                      <a:cubicBezTo>
                        <a:pt x="40888" y="959969"/>
                        <a:pt x="51805" y="954847"/>
                        <a:pt x="52159" y="953518"/>
                      </a:cubicBezTo>
                      <a:cubicBezTo>
                        <a:pt x="53984" y="946673"/>
                        <a:pt x="52832" y="939348"/>
                        <a:pt x="53789" y="932329"/>
                      </a:cubicBezTo>
                      <a:cubicBezTo>
                        <a:pt x="54466" y="927366"/>
                        <a:pt x="55962" y="922550"/>
                        <a:pt x="57049" y="917660"/>
                      </a:cubicBezTo>
                      <a:cubicBezTo>
                        <a:pt x="60309" y="917117"/>
                        <a:pt x="63663" y="916980"/>
                        <a:pt x="66828" y="916030"/>
                      </a:cubicBezTo>
                      <a:cubicBezTo>
                        <a:pt x="69155" y="915332"/>
                        <a:pt x="71073" y="913623"/>
                        <a:pt x="73348" y="912770"/>
                      </a:cubicBezTo>
                      <a:cubicBezTo>
                        <a:pt x="75446" y="911983"/>
                        <a:pt x="77695" y="911683"/>
                        <a:pt x="79868" y="911140"/>
                      </a:cubicBezTo>
                      <a:cubicBezTo>
                        <a:pt x="85844" y="910597"/>
                        <a:pt x="91856" y="910359"/>
                        <a:pt x="97797" y="909510"/>
                      </a:cubicBezTo>
                      <a:cubicBezTo>
                        <a:pt x="99498" y="909267"/>
                        <a:pt x="101057" y="908967"/>
                        <a:pt x="102687" y="907880"/>
                      </a:cubicBezTo>
                      <a:cubicBezTo>
                        <a:pt x="104317" y="906793"/>
                        <a:pt x="105806" y="904466"/>
                        <a:pt x="107577" y="902990"/>
                      </a:cubicBezTo>
                      <a:cubicBezTo>
                        <a:pt x="109082" y="901736"/>
                        <a:pt x="110837" y="900817"/>
                        <a:pt x="112467" y="899730"/>
                      </a:cubicBezTo>
                      <a:cubicBezTo>
                        <a:pt x="114097" y="898643"/>
                        <a:pt x="112466" y="895655"/>
                        <a:pt x="117356" y="896470"/>
                      </a:cubicBezTo>
                      <a:cubicBezTo>
                        <a:pt x="122246" y="897285"/>
                        <a:pt x="136916" y="902990"/>
                        <a:pt x="141806" y="904620"/>
                      </a:cubicBezTo>
                      <a:lnTo>
                        <a:pt x="146696" y="906250"/>
                      </a:lnTo>
                      <a:cubicBezTo>
                        <a:pt x="184154" y="903368"/>
                        <a:pt x="154844" y="906250"/>
                        <a:pt x="177665" y="902990"/>
                      </a:cubicBezTo>
                      <a:cubicBezTo>
                        <a:pt x="182001" y="902371"/>
                        <a:pt x="186394" y="902144"/>
                        <a:pt x="190704" y="901360"/>
                      </a:cubicBezTo>
                      <a:cubicBezTo>
                        <a:pt x="192394" y="901053"/>
                        <a:pt x="194196" y="900729"/>
                        <a:pt x="195594" y="899730"/>
                      </a:cubicBezTo>
                      <a:cubicBezTo>
                        <a:pt x="196440" y="899125"/>
                        <a:pt x="204908" y="891114"/>
                        <a:pt x="205374" y="888320"/>
                      </a:cubicBezTo>
                      <a:cubicBezTo>
                        <a:pt x="205656" y="886626"/>
                        <a:pt x="204287" y="885061"/>
                        <a:pt x="203744" y="883431"/>
                      </a:cubicBezTo>
                      <a:cubicBezTo>
                        <a:pt x="198854" y="882344"/>
                        <a:pt x="193826" y="881755"/>
                        <a:pt x="189074" y="880171"/>
                      </a:cubicBezTo>
                      <a:cubicBezTo>
                        <a:pt x="187216" y="879552"/>
                        <a:pt x="184568" y="878832"/>
                        <a:pt x="184184" y="876911"/>
                      </a:cubicBezTo>
                      <a:cubicBezTo>
                        <a:pt x="183806" y="875020"/>
                        <a:pt x="191844" y="867621"/>
                        <a:pt x="192334" y="867131"/>
                      </a:cubicBezTo>
                      <a:cubicBezTo>
                        <a:pt x="198854" y="866588"/>
                        <a:pt x="205431" y="866521"/>
                        <a:pt x="211893" y="865501"/>
                      </a:cubicBezTo>
                      <a:cubicBezTo>
                        <a:pt x="215800" y="864884"/>
                        <a:pt x="219514" y="863378"/>
                        <a:pt x="223303" y="862241"/>
                      </a:cubicBezTo>
                      <a:cubicBezTo>
                        <a:pt x="224949" y="861747"/>
                        <a:pt x="226978" y="859396"/>
                        <a:pt x="228193" y="860611"/>
                      </a:cubicBezTo>
                      <a:cubicBezTo>
                        <a:pt x="230152" y="862570"/>
                        <a:pt x="229280" y="866044"/>
                        <a:pt x="229823" y="868761"/>
                      </a:cubicBezTo>
                      <a:cubicBezTo>
                        <a:pt x="229280" y="870391"/>
                        <a:pt x="229293" y="872331"/>
                        <a:pt x="228193" y="873651"/>
                      </a:cubicBezTo>
                      <a:cubicBezTo>
                        <a:pt x="226454" y="875738"/>
                        <a:pt x="223594" y="876620"/>
                        <a:pt x="221673" y="878541"/>
                      </a:cubicBezTo>
                      <a:cubicBezTo>
                        <a:pt x="220288" y="879926"/>
                        <a:pt x="219500" y="881801"/>
                        <a:pt x="218413" y="883431"/>
                      </a:cubicBezTo>
                      <a:cubicBezTo>
                        <a:pt x="218956" y="885061"/>
                        <a:pt x="218448" y="887682"/>
                        <a:pt x="220043" y="888320"/>
                      </a:cubicBezTo>
                      <a:cubicBezTo>
                        <a:pt x="220975" y="888693"/>
                        <a:pt x="230002" y="885545"/>
                        <a:pt x="231453" y="885061"/>
                      </a:cubicBezTo>
                      <a:cubicBezTo>
                        <a:pt x="235799" y="884518"/>
                        <a:pt x="240243" y="884493"/>
                        <a:pt x="244492" y="883431"/>
                      </a:cubicBezTo>
                      <a:cubicBezTo>
                        <a:pt x="246849" y="882842"/>
                        <a:pt x="248779" y="881128"/>
                        <a:pt x="251012" y="880171"/>
                      </a:cubicBezTo>
                      <a:cubicBezTo>
                        <a:pt x="252591" y="879494"/>
                        <a:pt x="254365" y="879309"/>
                        <a:pt x="255902" y="878541"/>
                      </a:cubicBezTo>
                      <a:cubicBezTo>
                        <a:pt x="257654" y="877665"/>
                        <a:pt x="259040" y="876157"/>
                        <a:pt x="260792" y="875281"/>
                      </a:cubicBezTo>
                      <a:cubicBezTo>
                        <a:pt x="263130" y="874112"/>
                        <a:pt x="270113" y="872543"/>
                        <a:pt x="272201" y="872021"/>
                      </a:cubicBezTo>
                      <a:cubicBezTo>
                        <a:pt x="276078" y="871723"/>
                        <a:pt x="294295" y="871176"/>
                        <a:pt x="301541" y="868761"/>
                      </a:cubicBezTo>
                      <a:cubicBezTo>
                        <a:pt x="303846" y="867993"/>
                        <a:pt x="305887" y="866588"/>
                        <a:pt x="308060" y="865501"/>
                      </a:cubicBezTo>
                      <a:cubicBezTo>
                        <a:pt x="314580" y="864958"/>
                        <a:pt x="321135" y="864736"/>
                        <a:pt x="327620" y="863871"/>
                      </a:cubicBezTo>
                      <a:cubicBezTo>
                        <a:pt x="341951" y="861960"/>
                        <a:pt x="322912" y="863285"/>
                        <a:pt x="335769" y="857351"/>
                      </a:cubicBezTo>
                      <a:cubicBezTo>
                        <a:pt x="341394" y="854755"/>
                        <a:pt x="347722" y="854092"/>
                        <a:pt x="353699" y="852462"/>
                      </a:cubicBezTo>
                      <a:cubicBezTo>
                        <a:pt x="355872" y="853005"/>
                        <a:pt x="358065" y="853477"/>
                        <a:pt x="360219" y="854092"/>
                      </a:cubicBezTo>
                      <a:cubicBezTo>
                        <a:pt x="365269" y="855535"/>
                        <a:pt x="366003" y="857306"/>
                        <a:pt x="371628" y="854092"/>
                      </a:cubicBezTo>
                      <a:cubicBezTo>
                        <a:pt x="373629" y="852948"/>
                        <a:pt x="374888" y="850832"/>
                        <a:pt x="376518" y="849202"/>
                      </a:cubicBezTo>
                      <a:cubicBezTo>
                        <a:pt x="378148" y="848659"/>
                        <a:pt x="380335" y="848914"/>
                        <a:pt x="381408" y="847572"/>
                      </a:cubicBezTo>
                      <a:cubicBezTo>
                        <a:pt x="385618" y="842309"/>
                        <a:pt x="382440" y="840155"/>
                        <a:pt x="379778" y="836162"/>
                      </a:cubicBezTo>
                      <a:cubicBezTo>
                        <a:pt x="371357" y="834057"/>
                        <a:pt x="375122" y="835775"/>
                        <a:pt x="368368" y="831272"/>
                      </a:cubicBezTo>
                      <a:cubicBezTo>
                        <a:pt x="364061" y="828400"/>
                        <a:pt x="353700" y="827198"/>
                        <a:pt x="348809" y="826383"/>
                      </a:cubicBezTo>
                      <a:cubicBezTo>
                        <a:pt x="340875" y="829026"/>
                        <a:pt x="346032" y="826735"/>
                        <a:pt x="337399" y="832902"/>
                      </a:cubicBezTo>
                      <a:cubicBezTo>
                        <a:pt x="335805" y="834041"/>
                        <a:pt x="334368" y="836781"/>
                        <a:pt x="332510" y="836162"/>
                      </a:cubicBezTo>
                      <a:cubicBezTo>
                        <a:pt x="329933" y="835303"/>
                        <a:pt x="329250" y="831815"/>
                        <a:pt x="327620" y="829642"/>
                      </a:cubicBezTo>
                      <a:cubicBezTo>
                        <a:pt x="330880" y="828556"/>
                        <a:pt x="334395" y="828052"/>
                        <a:pt x="337399" y="826383"/>
                      </a:cubicBezTo>
                      <a:cubicBezTo>
                        <a:pt x="341777" y="823951"/>
                        <a:pt x="344885" y="817013"/>
                        <a:pt x="347179" y="813343"/>
                      </a:cubicBezTo>
                      <a:cubicBezTo>
                        <a:pt x="348217" y="811682"/>
                        <a:pt x="348687" y="809329"/>
                        <a:pt x="350439" y="808453"/>
                      </a:cubicBezTo>
                      <a:cubicBezTo>
                        <a:pt x="353395" y="806975"/>
                        <a:pt x="356914" y="806823"/>
                        <a:pt x="360219" y="806823"/>
                      </a:cubicBezTo>
                      <a:cubicBezTo>
                        <a:pt x="361937" y="806823"/>
                        <a:pt x="363478" y="807910"/>
                        <a:pt x="365108" y="808453"/>
                      </a:cubicBezTo>
                      <a:cubicBezTo>
                        <a:pt x="366738" y="806280"/>
                        <a:pt x="368077" y="803854"/>
                        <a:pt x="369998" y="801933"/>
                      </a:cubicBezTo>
                      <a:cubicBezTo>
                        <a:pt x="371383" y="800548"/>
                        <a:pt x="373294" y="799812"/>
                        <a:pt x="374888" y="798673"/>
                      </a:cubicBezTo>
                      <a:cubicBezTo>
                        <a:pt x="377099" y="797094"/>
                        <a:pt x="379197" y="795363"/>
                        <a:pt x="381408" y="793784"/>
                      </a:cubicBezTo>
                      <a:cubicBezTo>
                        <a:pt x="383002" y="792645"/>
                        <a:pt x="385422" y="792276"/>
                        <a:pt x="386298" y="790524"/>
                      </a:cubicBezTo>
                      <a:cubicBezTo>
                        <a:pt x="387776" y="787568"/>
                        <a:pt x="387385" y="784004"/>
                        <a:pt x="387928" y="780744"/>
                      </a:cubicBezTo>
                      <a:cubicBezTo>
                        <a:pt x="400220" y="784841"/>
                        <a:pt x="385069" y="779314"/>
                        <a:pt x="397707" y="785634"/>
                      </a:cubicBezTo>
                      <a:cubicBezTo>
                        <a:pt x="399244" y="786402"/>
                        <a:pt x="401199" y="788263"/>
                        <a:pt x="402597" y="787264"/>
                      </a:cubicBezTo>
                      <a:cubicBezTo>
                        <a:pt x="405785" y="784987"/>
                        <a:pt x="406944" y="780744"/>
                        <a:pt x="409117" y="777484"/>
                      </a:cubicBezTo>
                      <a:cubicBezTo>
                        <a:pt x="409117" y="777484"/>
                        <a:pt x="423618" y="772875"/>
                        <a:pt x="430306" y="769334"/>
                      </a:cubicBezTo>
                      <a:cubicBezTo>
                        <a:pt x="433022" y="767896"/>
                        <a:pt x="434653" y="764988"/>
                        <a:pt x="436826" y="762815"/>
                      </a:cubicBezTo>
                      <a:cubicBezTo>
                        <a:pt x="438456" y="762272"/>
                        <a:pt x="440179" y="761953"/>
                        <a:pt x="441716" y="761185"/>
                      </a:cubicBezTo>
                      <a:cubicBezTo>
                        <a:pt x="452730" y="755678"/>
                        <a:pt x="439918" y="755695"/>
                        <a:pt x="461275" y="762815"/>
                      </a:cubicBezTo>
                      <a:cubicBezTo>
                        <a:pt x="462905" y="761728"/>
                        <a:pt x="464413" y="760431"/>
                        <a:pt x="466165" y="759555"/>
                      </a:cubicBezTo>
                      <a:cubicBezTo>
                        <a:pt x="473489" y="755893"/>
                        <a:pt x="473068" y="760344"/>
                        <a:pt x="482465" y="753035"/>
                      </a:cubicBezTo>
                      <a:cubicBezTo>
                        <a:pt x="484383" y="751543"/>
                        <a:pt x="488107" y="746992"/>
                        <a:pt x="485724" y="746515"/>
                      </a:cubicBezTo>
                      <a:cubicBezTo>
                        <a:pt x="468642" y="743099"/>
                        <a:pt x="450952" y="744342"/>
                        <a:pt x="433566" y="743255"/>
                      </a:cubicBezTo>
                      <a:cubicBezTo>
                        <a:pt x="431393" y="744885"/>
                        <a:pt x="429257" y="746566"/>
                        <a:pt x="427046" y="748145"/>
                      </a:cubicBezTo>
                      <a:cubicBezTo>
                        <a:pt x="425452" y="749284"/>
                        <a:pt x="423542" y="750020"/>
                        <a:pt x="422157" y="751405"/>
                      </a:cubicBezTo>
                      <a:cubicBezTo>
                        <a:pt x="420949" y="752613"/>
                        <a:pt x="414890" y="762076"/>
                        <a:pt x="412377" y="762815"/>
                      </a:cubicBezTo>
                      <a:cubicBezTo>
                        <a:pt x="405006" y="764983"/>
                        <a:pt x="397164" y="764988"/>
                        <a:pt x="389558" y="766074"/>
                      </a:cubicBezTo>
                      <a:cubicBezTo>
                        <a:pt x="387928" y="765531"/>
                        <a:pt x="386010" y="765518"/>
                        <a:pt x="384668" y="764445"/>
                      </a:cubicBezTo>
                      <a:cubicBezTo>
                        <a:pt x="383138" y="763221"/>
                        <a:pt x="382662" y="761060"/>
                        <a:pt x="381408" y="759555"/>
                      </a:cubicBezTo>
                      <a:cubicBezTo>
                        <a:pt x="373564" y="750142"/>
                        <a:pt x="377455" y="756177"/>
                        <a:pt x="376476" y="754660"/>
                      </a:cubicBezTo>
                      <a:lnTo>
                        <a:pt x="374586" y="751791"/>
                      </a:lnTo>
                      <a:lnTo>
                        <a:pt x="376518" y="751405"/>
                      </a:lnTo>
                      <a:lnTo>
                        <a:pt x="376009" y="749431"/>
                      </a:lnTo>
                      <a:lnTo>
                        <a:pt x="386298" y="748145"/>
                      </a:lnTo>
                      <a:cubicBezTo>
                        <a:pt x="388472" y="744342"/>
                        <a:pt x="385484" y="730759"/>
                        <a:pt x="386299" y="726956"/>
                      </a:cubicBezTo>
                      <a:cubicBezTo>
                        <a:pt x="387114" y="723153"/>
                        <a:pt x="390645" y="728043"/>
                        <a:pt x="391188" y="725326"/>
                      </a:cubicBezTo>
                      <a:cubicBezTo>
                        <a:pt x="390645" y="723696"/>
                        <a:pt x="389558" y="714459"/>
                        <a:pt x="387928" y="713916"/>
                      </a:cubicBezTo>
                      <a:cubicBezTo>
                        <a:pt x="386298" y="713373"/>
                        <a:pt x="382094" y="720007"/>
                        <a:pt x="381408" y="722066"/>
                      </a:cubicBezTo>
                      <a:cubicBezTo>
                        <a:pt x="379778" y="722609"/>
                        <a:pt x="377517" y="722298"/>
                        <a:pt x="376518" y="723696"/>
                      </a:cubicBezTo>
                      <a:cubicBezTo>
                        <a:pt x="374521" y="726492"/>
                        <a:pt x="374534" y="730285"/>
                        <a:pt x="373258" y="733476"/>
                      </a:cubicBezTo>
                      <a:cubicBezTo>
                        <a:pt x="372356" y="735732"/>
                        <a:pt x="371085" y="737822"/>
                        <a:pt x="369998" y="739995"/>
                      </a:cubicBezTo>
                      <a:cubicBezTo>
                        <a:pt x="370607" y="740604"/>
                        <a:pt x="372967" y="742544"/>
                        <a:pt x="374810" y="744789"/>
                      </a:cubicBezTo>
                      <a:lnTo>
                        <a:pt x="376009" y="749431"/>
                      </a:lnTo>
                      <a:lnTo>
                        <a:pt x="373258" y="749775"/>
                      </a:lnTo>
                      <a:lnTo>
                        <a:pt x="374586" y="751791"/>
                      </a:lnTo>
                      <a:lnTo>
                        <a:pt x="368368" y="753035"/>
                      </a:lnTo>
                      <a:cubicBezTo>
                        <a:pt x="368368" y="753035"/>
                        <a:pt x="361503" y="751596"/>
                        <a:pt x="358589" y="749775"/>
                      </a:cubicBezTo>
                      <a:cubicBezTo>
                        <a:pt x="356928" y="748737"/>
                        <a:pt x="356416" y="746515"/>
                        <a:pt x="355329" y="744885"/>
                      </a:cubicBezTo>
                      <a:cubicBezTo>
                        <a:pt x="353699" y="743798"/>
                        <a:pt x="351663" y="743155"/>
                        <a:pt x="350439" y="741625"/>
                      </a:cubicBezTo>
                      <a:cubicBezTo>
                        <a:pt x="346713" y="736967"/>
                        <a:pt x="350439" y="733808"/>
                        <a:pt x="350439" y="728586"/>
                      </a:cubicBezTo>
                      <a:lnTo>
                        <a:pt x="349115" y="721964"/>
                      </a:lnTo>
                      <a:lnTo>
                        <a:pt x="358589" y="718806"/>
                      </a:lnTo>
                      <a:cubicBezTo>
                        <a:pt x="360734" y="718162"/>
                        <a:pt x="367317" y="716808"/>
                        <a:pt x="365108" y="717176"/>
                      </a:cubicBezTo>
                      <a:cubicBezTo>
                        <a:pt x="359643" y="718087"/>
                        <a:pt x="354242" y="719349"/>
                        <a:pt x="348809" y="720436"/>
                      </a:cubicBezTo>
                      <a:lnTo>
                        <a:pt x="349115" y="721964"/>
                      </a:lnTo>
                      <a:lnTo>
                        <a:pt x="348809" y="722066"/>
                      </a:lnTo>
                      <a:cubicBezTo>
                        <a:pt x="348809" y="722066"/>
                        <a:pt x="345549" y="715722"/>
                        <a:pt x="345549" y="712286"/>
                      </a:cubicBezTo>
                      <a:cubicBezTo>
                        <a:pt x="345549" y="708331"/>
                        <a:pt x="348809" y="703050"/>
                        <a:pt x="348809" y="700877"/>
                      </a:cubicBezTo>
                      <a:cubicBezTo>
                        <a:pt x="348809" y="698704"/>
                        <a:pt x="343398" y="699554"/>
                        <a:pt x="345549" y="699247"/>
                      </a:cubicBezTo>
                      <a:cubicBezTo>
                        <a:pt x="349843" y="698634"/>
                        <a:pt x="351807" y="696705"/>
                        <a:pt x="355329" y="694357"/>
                      </a:cubicBezTo>
                      <a:cubicBezTo>
                        <a:pt x="364457" y="693343"/>
                        <a:pt x="373530" y="691912"/>
                        <a:pt x="378148" y="691097"/>
                      </a:cubicBezTo>
                      <a:cubicBezTo>
                        <a:pt x="382766" y="690282"/>
                        <a:pt x="381408" y="690010"/>
                        <a:pt x="383038" y="689467"/>
                      </a:cubicBezTo>
                      <a:cubicBezTo>
                        <a:pt x="462840" y="687421"/>
                        <a:pt x="445519" y="687022"/>
                        <a:pt x="461275" y="686207"/>
                      </a:cubicBezTo>
                      <a:cubicBezTo>
                        <a:pt x="477031" y="685392"/>
                        <a:pt x="472325" y="686077"/>
                        <a:pt x="477575" y="684577"/>
                      </a:cubicBezTo>
                      <a:cubicBezTo>
                        <a:pt x="487779" y="681662"/>
                        <a:pt x="486280" y="669331"/>
                        <a:pt x="488984" y="661758"/>
                      </a:cubicBezTo>
                      <a:cubicBezTo>
                        <a:pt x="491800" y="653872"/>
                        <a:pt x="497043" y="655668"/>
                        <a:pt x="505284" y="653608"/>
                      </a:cubicBezTo>
                      <a:cubicBezTo>
                        <a:pt x="506914" y="654151"/>
                        <a:pt x="508637" y="654470"/>
                        <a:pt x="510174" y="655238"/>
                      </a:cubicBezTo>
                      <a:cubicBezTo>
                        <a:pt x="511926" y="656114"/>
                        <a:pt x="513263" y="657726"/>
                        <a:pt x="515064" y="658498"/>
                      </a:cubicBezTo>
                      <a:cubicBezTo>
                        <a:pt x="517079" y="659362"/>
                        <a:pt x="528282" y="661468"/>
                        <a:pt x="529733" y="661758"/>
                      </a:cubicBezTo>
                      <a:lnTo>
                        <a:pt x="544403" y="658498"/>
                      </a:lnTo>
                      <a:cubicBezTo>
                        <a:pt x="547757" y="657753"/>
                        <a:pt x="550867" y="656142"/>
                        <a:pt x="554182" y="655238"/>
                      </a:cubicBezTo>
                      <a:cubicBezTo>
                        <a:pt x="556855" y="654509"/>
                        <a:pt x="559644" y="654280"/>
                        <a:pt x="562332" y="653608"/>
                      </a:cubicBezTo>
                      <a:cubicBezTo>
                        <a:pt x="563999" y="653191"/>
                        <a:pt x="565537" y="652315"/>
                        <a:pt x="567222" y="651978"/>
                      </a:cubicBezTo>
                      <a:cubicBezTo>
                        <a:pt x="585951" y="648232"/>
                        <a:pt x="572473" y="652401"/>
                        <a:pt x="583521" y="648718"/>
                      </a:cubicBezTo>
                      <a:cubicBezTo>
                        <a:pt x="589498" y="648175"/>
                        <a:pt x="595629" y="648543"/>
                        <a:pt x="601451" y="647088"/>
                      </a:cubicBezTo>
                      <a:cubicBezTo>
                        <a:pt x="604524" y="646320"/>
                        <a:pt x="606831" y="643737"/>
                        <a:pt x="609600" y="642199"/>
                      </a:cubicBezTo>
                      <a:cubicBezTo>
                        <a:pt x="611724" y="641019"/>
                        <a:pt x="614143" y="640351"/>
                        <a:pt x="616120" y="638939"/>
                      </a:cubicBezTo>
                      <a:cubicBezTo>
                        <a:pt x="620113" y="636087"/>
                        <a:pt x="621671" y="633058"/>
                        <a:pt x="624270" y="629159"/>
                      </a:cubicBezTo>
                      <a:cubicBezTo>
                        <a:pt x="628106" y="623405"/>
                        <a:pt x="635274" y="620353"/>
                        <a:pt x="638939" y="614489"/>
                      </a:cubicBezTo>
                      <a:cubicBezTo>
                        <a:pt x="640975" y="611231"/>
                        <a:pt x="640026" y="606883"/>
                        <a:pt x="640569" y="603080"/>
                      </a:cubicBezTo>
                      <a:cubicBezTo>
                        <a:pt x="638939" y="601450"/>
                        <a:pt x="637155" y="599961"/>
                        <a:pt x="635680" y="598190"/>
                      </a:cubicBezTo>
                      <a:cubicBezTo>
                        <a:pt x="634426" y="596685"/>
                        <a:pt x="630915" y="594554"/>
                        <a:pt x="632420" y="593300"/>
                      </a:cubicBezTo>
                      <a:lnTo>
                        <a:pt x="637757" y="591966"/>
                      </a:lnTo>
                      <a:lnTo>
                        <a:pt x="638941" y="588410"/>
                      </a:lnTo>
                      <a:cubicBezTo>
                        <a:pt x="640690" y="587010"/>
                        <a:pt x="643402" y="587662"/>
                        <a:pt x="645461" y="586780"/>
                      </a:cubicBezTo>
                      <a:cubicBezTo>
                        <a:pt x="647262" y="586008"/>
                        <a:pt x="648721" y="584607"/>
                        <a:pt x="650351" y="583520"/>
                      </a:cubicBezTo>
                      <a:cubicBezTo>
                        <a:pt x="663360" y="580269"/>
                        <a:pt x="665315" y="581205"/>
                        <a:pt x="676430" y="572111"/>
                      </a:cubicBezTo>
                      <a:cubicBezTo>
                        <a:pt x="683491" y="566334"/>
                        <a:pt x="679095" y="566186"/>
                        <a:pt x="684580" y="560701"/>
                      </a:cubicBezTo>
                      <a:cubicBezTo>
                        <a:pt x="688537" y="556744"/>
                        <a:pt x="696028" y="551300"/>
                        <a:pt x="700879" y="547662"/>
                      </a:cubicBezTo>
                      <a:cubicBezTo>
                        <a:pt x="703628" y="545600"/>
                        <a:pt x="703052" y="541142"/>
                        <a:pt x="704139" y="537882"/>
                      </a:cubicBezTo>
                      <a:cubicBezTo>
                        <a:pt x="704139" y="537882"/>
                        <a:pt x="707373" y="533515"/>
                        <a:pt x="709029" y="531362"/>
                      </a:cubicBezTo>
                      <a:cubicBezTo>
                        <a:pt x="712806" y="526452"/>
                        <a:pt x="716272" y="521277"/>
                        <a:pt x="720439" y="516693"/>
                      </a:cubicBezTo>
                      <a:cubicBezTo>
                        <a:pt x="721757" y="515243"/>
                        <a:pt x="724242" y="515063"/>
                        <a:pt x="725329" y="513433"/>
                      </a:cubicBezTo>
                      <a:cubicBezTo>
                        <a:pt x="726572" y="511569"/>
                        <a:pt x="725957" y="508917"/>
                        <a:pt x="726959" y="506913"/>
                      </a:cubicBezTo>
                      <a:cubicBezTo>
                        <a:pt x="728174" y="504483"/>
                        <a:pt x="730408" y="502697"/>
                        <a:pt x="731848" y="500393"/>
                      </a:cubicBezTo>
                      <a:cubicBezTo>
                        <a:pt x="733136" y="498332"/>
                        <a:pt x="734021" y="496046"/>
                        <a:pt x="735108" y="493873"/>
                      </a:cubicBezTo>
                      <a:cubicBezTo>
                        <a:pt x="737778" y="492983"/>
                        <a:pt x="744861" y="490878"/>
                        <a:pt x="746518" y="488984"/>
                      </a:cubicBezTo>
                      <a:cubicBezTo>
                        <a:pt x="748918" y="486241"/>
                        <a:pt x="749638" y="482390"/>
                        <a:pt x="751408" y="479204"/>
                      </a:cubicBezTo>
                      <a:cubicBezTo>
                        <a:pt x="752359" y="477492"/>
                        <a:pt x="753696" y="476015"/>
                        <a:pt x="754668" y="474314"/>
                      </a:cubicBezTo>
                      <a:cubicBezTo>
                        <a:pt x="755874" y="472204"/>
                        <a:pt x="756841" y="469967"/>
                        <a:pt x="757928" y="467794"/>
                      </a:cubicBezTo>
                      <a:cubicBezTo>
                        <a:pt x="761188" y="466164"/>
                        <a:pt x="764559" y="464740"/>
                        <a:pt x="767707" y="462904"/>
                      </a:cubicBezTo>
                      <a:cubicBezTo>
                        <a:pt x="771091" y="460930"/>
                        <a:pt x="774062" y="458287"/>
                        <a:pt x="777487" y="456385"/>
                      </a:cubicBezTo>
                      <a:cubicBezTo>
                        <a:pt x="778989" y="455551"/>
                        <a:pt x="781035" y="455828"/>
                        <a:pt x="782377" y="454755"/>
                      </a:cubicBezTo>
                      <a:cubicBezTo>
                        <a:pt x="783907" y="453531"/>
                        <a:pt x="784383" y="451370"/>
                        <a:pt x="785637" y="449865"/>
                      </a:cubicBezTo>
                      <a:cubicBezTo>
                        <a:pt x="787112" y="448094"/>
                        <a:pt x="788896" y="446605"/>
                        <a:pt x="790526" y="444975"/>
                      </a:cubicBezTo>
                      <a:cubicBezTo>
                        <a:pt x="792699" y="443888"/>
                        <a:pt x="795328" y="443433"/>
                        <a:pt x="797046" y="441715"/>
                      </a:cubicBezTo>
                      <a:cubicBezTo>
                        <a:pt x="798261" y="440500"/>
                        <a:pt x="797999" y="438404"/>
                        <a:pt x="798676" y="436825"/>
                      </a:cubicBezTo>
                      <a:cubicBezTo>
                        <a:pt x="799633" y="434592"/>
                        <a:pt x="800849" y="432479"/>
                        <a:pt x="801936" y="430306"/>
                      </a:cubicBezTo>
                      <a:cubicBezTo>
                        <a:pt x="804366" y="425446"/>
                        <a:pt x="810629" y="423786"/>
                        <a:pt x="814976" y="420526"/>
                      </a:cubicBezTo>
                      <a:cubicBezTo>
                        <a:pt x="816152" y="420291"/>
                        <a:pt x="825867" y="418698"/>
                        <a:pt x="828015" y="417266"/>
                      </a:cubicBezTo>
                      <a:cubicBezTo>
                        <a:pt x="829933" y="415987"/>
                        <a:pt x="831761" y="414377"/>
                        <a:pt x="832905" y="412376"/>
                      </a:cubicBezTo>
                      <a:cubicBezTo>
                        <a:pt x="833490" y="411352"/>
                        <a:pt x="834947" y="402488"/>
                        <a:pt x="836165" y="400966"/>
                      </a:cubicBezTo>
                      <a:cubicBezTo>
                        <a:pt x="837389" y="399436"/>
                        <a:pt x="839425" y="398793"/>
                        <a:pt x="841055" y="397707"/>
                      </a:cubicBezTo>
                      <a:cubicBezTo>
                        <a:pt x="849748" y="397164"/>
                        <a:pt x="858424" y="396077"/>
                        <a:pt x="867134" y="396077"/>
                      </a:cubicBezTo>
                      <a:cubicBezTo>
                        <a:pt x="872054" y="396077"/>
                        <a:pt x="876902" y="397281"/>
                        <a:pt x="881803" y="397707"/>
                      </a:cubicBezTo>
                      <a:cubicBezTo>
                        <a:pt x="889400" y="398368"/>
                        <a:pt x="899733" y="399065"/>
                        <a:pt x="904623" y="399337"/>
                      </a:cubicBezTo>
                      <a:cubicBezTo>
                        <a:pt x="909513" y="399609"/>
                        <a:pt x="910600" y="400152"/>
                        <a:pt x="911143" y="399337"/>
                      </a:cubicBezTo>
                      <a:cubicBezTo>
                        <a:pt x="911686" y="398522"/>
                        <a:pt x="907883" y="396406"/>
                        <a:pt x="907883" y="394447"/>
                      </a:cubicBezTo>
                      <a:cubicBezTo>
                        <a:pt x="907883" y="392488"/>
                        <a:pt x="910056" y="391187"/>
                        <a:pt x="911143" y="389557"/>
                      </a:cubicBezTo>
                      <a:cubicBezTo>
                        <a:pt x="914946" y="389014"/>
                        <a:pt x="918872" y="389031"/>
                        <a:pt x="922552" y="387927"/>
                      </a:cubicBezTo>
                      <a:cubicBezTo>
                        <a:pt x="924428" y="387364"/>
                        <a:pt x="925812" y="385754"/>
                        <a:pt x="927442" y="384667"/>
                      </a:cubicBezTo>
                      <a:cubicBezTo>
                        <a:pt x="938765" y="377118"/>
                        <a:pt x="937688" y="377914"/>
                        <a:pt x="947001" y="373257"/>
                      </a:cubicBezTo>
                      <a:cubicBezTo>
                        <a:pt x="949718" y="372714"/>
                        <a:pt x="952478" y="372356"/>
                        <a:pt x="955151" y="371627"/>
                      </a:cubicBezTo>
                      <a:cubicBezTo>
                        <a:pt x="958466" y="370723"/>
                        <a:pt x="961597" y="369201"/>
                        <a:pt x="964931" y="368368"/>
                      </a:cubicBezTo>
                      <a:cubicBezTo>
                        <a:pt x="968165" y="367560"/>
                        <a:pt x="977439" y="366733"/>
                        <a:pt x="981230" y="365108"/>
                      </a:cubicBezTo>
                      <a:cubicBezTo>
                        <a:pt x="983031" y="364336"/>
                        <a:pt x="984490" y="362935"/>
                        <a:pt x="986120" y="361848"/>
                      </a:cubicBezTo>
                      <a:cubicBezTo>
                        <a:pt x="986391" y="361809"/>
                        <a:pt x="1003772" y="359542"/>
                        <a:pt x="1005679" y="358588"/>
                      </a:cubicBezTo>
                      <a:cubicBezTo>
                        <a:pt x="1007741" y="357557"/>
                        <a:pt x="1008939" y="355328"/>
                        <a:pt x="1010569" y="353698"/>
                      </a:cubicBezTo>
                      <a:lnTo>
                        <a:pt x="1023609" y="350438"/>
                      </a:lnTo>
                      <a:cubicBezTo>
                        <a:pt x="1027955" y="349351"/>
                        <a:pt x="1032513" y="348901"/>
                        <a:pt x="1036648" y="347178"/>
                      </a:cubicBezTo>
                      <a:cubicBezTo>
                        <a:pt x="1041130" y="345310"/>
                        <a:pt x="1046334" y="338703"/>
                        <a:pt x="1049688" y="335769"/>
                      </a:cubicBezTo>
                      <a:cubicBezTo>
                        <a:pt x="1051733" y="333980"/>
                        <a:pt x="1054469" y="332966"/>
                        <a:pt x="1056208" y="330879"/>
                      </a:cubicBezTo>
                      <a:cubicBezTo>
                        <a:pt x="1057308" y="329559"/>
                        <a:pt x="1056986" y="327481"/>
                        <a:pt x="1057838" y="325989"/>
                      </a:cubicBezTo>
                      <a:cubicBezTo>
                        <a:pt x="1059186" y="323630"/>
                        <a:pt x="1061098" y="321642"/>
                        <a:pt x="1062728" y="319469"/>
                      </a:cubicBezTo>
                      <a:cubicBezTo>
                        <a:pt x="1071334" y="322338"/>
                        <a:pt x="1066188" y="322052"/>
                        <a:pt x="1077397" y="314579"/>
                      </a:cubicBezTo>
                      <a:cubicBezTo>
                        <a:pt x="1079027" y="315666"/>
                        <a:pt x="1081491" y="316049"/>
                        <a:pt x="1082287" y="317839"/>
                      </a:cubicBezTo>
                      <a:cubicBezTo>
                        <a:pt x="1083847" y="321350"/>
                        <a:pt x="1083230" y="325469"/>
                        <a:pt x="1083917" y="329249"/>
                      </a:cubicBezTo>
                      <a:cubicBezTo>
                        <a:pt x="1084318" y="331453"/>
                        <a:pt x="1085108" y="333572"/>
                        <a:pt x="1085547" y="335769"/>
                      </a:cubicBezTo>
                      <a:cubicBezTo>
                        <a:pt x="1086195" y="339009"/>
                        <a:pt x="1086634" y="342288"/>
                        <a:pt x="1087177" y="345548"/>
                      </a:cubicBezTo>
                      <a:cubicBezTo>
                        <a:pt x="1088807" y="346635"/>
                        <a:pt x="1090813" y="347303"/>
                        <a:pt x="1092067" y="348808"/>
                      </a:cubicBezTo>
                      <a:cubicBezTo>
                        <a:pt x="1093622" y="350675"/>
                        <a:pt x="1094038" y="353268"/>
                        <a:pt x="1095326" y="355328"/>
                      </a:cubicBezTo>
                      <a:cubicBezTo>
                        <a:pt x="1096766" y="357632"/>
                        <a:pt x="1098586" y="359675"/>
                        <a:pt x="1100216" y="361848"/>
                      </a:cubicBezTo>
                      <a:cubicBezTo>
                        <a:pt x="1108366" y="362391"/>
                        <a:pt x="1116598" y="362204"/>
                        <a:pt x="1124666" y="363478"/>
                      </a:cubicBezTo>
                      <a:cubicBezTo>
                        <a:pt x="1127066" y="363857"/>
                        <a:pt x="1129076" y="365533"/>
                        <a:pt x="1131185" y="366738"/>
                      </a:cubicBezTo>
                      <a:cubicBezTo>
                        <a:pt x="1132886" y="367710"/>
                        <a:pt x="1134146" y="369657"/>
                        <a:pt x="1136075" y="369997"/>
                      </a:cubicBezTo>
                      <a:cubicBezTo>
                        <a:pt x="1157762" y="373823"/>
                        <a:pt x="1153341" y="375328"/>
                        <a:pt x="1163784" y="368368"/>
                      </a:cubicBezTo>
                      <a:cubicBezTo>
                        <a:pt x="1165957" y="367825"/>
                        <a:pt x="1168300" y="367740"/>
                        <a:pt x="1170304" y="366738"/>
                      </a:cubicBezTo>
                      <a:cubicBezTo>
                        <a:pt x="1175981" y="363899"/>
                        <a:pt x="1178639" y="359362"/>
                        <a:pt x="1183344" y="355328"/>
                      </a:cubicBezTo>
                      <a:cubicBezTo>
                        <a:pt x="1184831" y="354053"/>
                        <a:pt x="1187480" y="353876"/>
                        <a:pt x="1188233" y="352068"/>
                      </a:cubicBezTo>
                      <a:cubicBezTo>
                        <a:pt x="1190364" y="346954"/>
                        <a:pt x="1188744" y="340580"/>
                        <a:pt x="1191493" y="335769"/>
                      </a:cubicBezTo>
                      <a:cubicBezTo>
                        <a:pt x="1192465" y="334068"/>
                        <a:pt x="1193666" y="339028"/>
                        <a:pt x="1194753" y="340658"/>
                      </a:cubicBezTo>
                      <a:cubicBezTo>
                        <a:pt x="1194753" y="340658"/>
                        <a:pt x="1200239" y="338267"/>
                        <a:pt x="1202903" y="339028"/>
                      </a:cubicBezTo>
                      <a:cubicBezTo>
                        <a:pt x="1204787" y="339566"/>
                        <a:pt x="1205076" y="342288"/>
                        <a:pt x="1206163" y="343918"/>
                      </a:cubicBezTo>
                      <a:cubicBezTo>
                        <a:pt x="1206163" y="343918"/>
                        <a:pt x="1213513" y="344748"/>
                        <a:pt x="1215943" y="347178"/>
                      </a:cubicBezTo>
                      <a:cubicBezTo>
                        <a:pt x="1217902" y="349137"/>
                        <a:pt x="1217029" y="352611"/>
                        <a:pt x="1217572" y="355328"/>
                      </a:cubicBezTo>
                      <a:cubicBezTo>
                        <a:pt x="1218115" y="352611"/>
                        <a:pt x="1217243" y="349137"/>
                        <a:pt x="1219202" y="347178"/>
                      </a:cubicBezTo>
                      <a:cubicBezTo>
                        <a:pt x="1222351" y="344029"/>
                        <a:pt x="1227243" y="353534"/>
                        <a:pt x="1227352" y="353698"/>
                      </a:cubicBezTo>
                      <a:cubicBezTo>
                        <a:pt x="1235947" y="359428"/>
                        <a:pt x="1229662" y="353654"/>
                        <a:pt x="1233872" y="363478"/>
                      </a:cubicBezTo>
                      <a:cubicBezTo>
                        <a:pt x="1234644" y="365279"/>
                        <a:pt x="1236160" y="366667"/>
                        <a:pt x="1237132" y="368368"/>
                      </a:cubicBezTo>
                      <a:cubicBezTo>
                        <a:pt x="1238337" y="370477"/>
                        <a:pt x="1239305" y="372714"/>
                        <a:pt x="1240392" y="374887"/>
                      </a:cubicBezTo>
                      <a:cubicBezTo>
                        <a:pt x="1242565" y="376517"/>
                        <a:pt x="1244294" y="379050"/>
                        <a:pt x="1246912" y="379777"/>
                      </a:cubicBezTo>
                      <a:cubicBezTo>
                        <a:pt x="1250085" y="380659"/>
                        <a:pt x="1275778" y="383793"/>
                        <a:pt x="1282770" y="384667"/>
                      </a:cubicBezTo>
                      <a:cubicBezTo>
                        <a:pt x="1284870" y="383967"/>
                        <a:pt x="1291531" y="382223"/>
                        <a:pt x="1292550" y="379777"/>
                      </a:cubicBezTo>
                      <a:cubicBezTo>
                        <a:pt x="1294681" y="374663"/>
                        <a:pt x="1295385" y="369002"/>
                        <a:pt x="1295810" y="363478"/>
                      </a:cubicBezTo>
                      <a:cubicBezTo>
                        <a:pt x="1295942" y="361765"/>
                        <a:pt x="1293149" y="359963"/>
                        <a:pt x="1294180" y="358588"/>
                      </a:cubicBezTo>
                      <a:cubicBezTo>
                        <a:pt x="1295524" y="356796"/>
                        <a:pt x="1298527" y="357501"/>
                        <a:pt x="1300700" y="356958"/>
                      </a:cubicBezTo>
                      <a:cubicBezTo>
                        <a:pt x="1309393" y="356415"/>
                        <a:pt x="1318112" y="356195"/>
                        <a:pt x="1326779" y="355328"/>
                      </a:cubicBezTo>
                      <a:cubicBezTo>
                        <a:pt x="1329008" y="355105"/>
                        <a:pt x="1331174" y="354406"/>
                        <a:pt x="1333299" y="353698"/>
                      </a:cubicBezTo>
                      <a:cubicBezTo>
                        <a:pt x="1336074" y="352773"/>
                        <a:pt x="1338831" y="349130"/>
                        <a:pt x="1341448" y="350438"/>
                      </a:cubicBezTo>
                      <a:cubicBezTo>
                        <a:pt x="1343510" y="351469"/>
                        <a:pt x="1334497" y="354297"/>
                        <a:pt x="1336559" y="355328"/>
                      </a:cubicBezTo>
                      <a:cubicBezTo>
                        <a:pt x="1339176" y="356636"/>
                        <a:pt x="1341992" y="353155"/>
                        <a:pt x="1344708" y="352068"/>
                      </a:cubicBezTo>
                      <a:cubicBezTo>
                        <a:pt x="1346338" y="352611"/>
                        <a:pt x="1348525" y="352356"/>
                        <a:pt x="1349598" y="353698"/>
                      </a:cubicBezTo>
                      <a:cubicBezTo>
                        <a:pt x="1350997" y="355447"/>
                        <a:pt x="1350887" y="358004"/>
                        <a:pt x="1351228" y="360218"/>
                      </a:cubicBezTo>
                      <a:cubicBezTo>
                        <a:pt x="1351976" y="365081"/>
                        <a:pt x="1352315" y="369997"/>
                        <a:pt x="1352858" y="374887"/>
                      </a:cubicBezTo>
                      <a:cubicBezTo>
                        <a:pt x="1364811" y="375430"/>
                        <a:pt x="1376752" y="376517"/>
                        <a:pt x="1388717" y="376517"/>
                      </a:cubicBezTo>
                      <a:cubicBezTo>
                        <a:pt x="1392022" y="376517"/>
                        <a:pt x="1395230" y="375390"/>
                        <a:pt x="1398497" y="374887"/>
                      </a:cubicBezTo>
                      <a:lnTo>
                        <a:pt x="1409906" y="373257"/>
                      </a:lnTo>
                      <a:cubicBezTo>
                        <a:pt x="1417990" y="375278"/>
                        <a:pt x="1428163" y="378193"/>
                        <a:pt x="1435985" y="376517"/>
                      </a:cubicBezTo>
                      <a:cubicBezTo>
                        <a:pt x="1438361" y="376008"/>
                        <a:pt x="1438158" y="372170"/>
                        <a:pt x="1439245" y="369997"/>
                      </a:cubicBezTo>
                      <a:cubicBezTo>
                        <a:pt x="1438825" y="368737"/>
                        <a:pt x="1435530" y="359271"/>
                        <a:pt x="1435985" y="358588"/>
                      </a:cubicBezTo>
                      <a:cubicBezTo>
                        <a:pt x="1437608" y="356153"/>
                        <a:pt x="1440603" y="350982"/>
                        <a:pt x="1444135" y="355328"/>
                      </a:cubicBezTo>
                      <a:lnTo>
                        <a:pt x="1447039" y="361776"/>
                      </a:lnTo>
                      <a:lnTo>
                        <a:pt x="1445764" y="358588"/>
                      </a:lnTo>
                      <a:cubicBezTo>
                        <a:pt x="1450394" y="354472"/>
                        <a:pt x="1457717" y="355328"/>
                        <a:pt x="1463693" y="353698"/>
                      </a:cubicBezTo>
                      <a:cubicBezTo>
                        <a:pt x="1466953" y="354785"/>
                        <a:pt x="1470864" y="354722"/>
                        <a:pt x="1473473" y="356958"/>
                      </a:cubicBezTo>
                      <a:cubicBezTo>
                        <a:pt x="1475174" y="358416"/>
                        <a:pt x="1473035" y="362616"/>
                        <a:pt x="1475103" y="363478"/>
                      </a:cubicBezTo>
                      <a:cubicBezTo>
                        <a:pt x="1491604" y="370354"/>
                        <a:pt x="1490806" y="368447"/>
                        <a:pt x="1496292" y="360218"/>
                      </a:cubicBezTo>
                      <a:cubicBezTo>
                        <a:pt x="1498598" y="359449"/>
                        <a:pt x="1505655" y="356958"/>
                        <a:pt x="1507702" y="356958"/>
                      </a:cubicBezTo>
                      <a:cubicBezTo>
                        <a:pt x="1509420" y="356958"/>
                        <a:pt x="1510891" y="358345"/>
                        <a:pt x="1512592" y="358588"/>
                      </a:cubicBezTo>
                      <a:cubicBezTo>
                        <a:pt x="1518533" y="359437"/>
                        <a:pt x="1524545" y="359675"/>
                        <a:pt x="1530521" y="360218"/>
                      </a:cubicBezTo>
                      <a:cubicBezTo>
                        <a:pt x="1532694" y="359675"/>
                        <a:pt x="1534943" y="359375"/>
                        <a:pt x="1537041" y="358588"/>
                      </a:cubicBezTo>
                      <a:cubicBezTo>
                        <a:pt x="1541426" y="356944"/>
                        <a:pt x="1550631" y="351246"/>
                        <a:pt x="1553340" y="348808"/>
                      </a:cubicBezTo>
                      <a:cubicBezTo>
                        <a:pt x="1555926" y="346481"/>
                        <a:pt x="1557772" y="343441"/>
                        <a:pt x="1559860" y="340658"/>
                      </a:cubicBezTo>
                      <a:cubicBezTo>
                        <a:pt x="1561035" y="339091"/>
                        <a:pt x="1561735" y="337154"/>
                        <a:pt x="1563120" y="335769"/>
                      </a:cubicBezTo>
                      <a:cubicBezTo>
                        <a:pt x="1565784" y="333105"/>
                        <a:pt x="1571290" y="329933"/>
                        <a:pt x="1574530" y="327619"/>
                      </a:cubicBezTo>
                      <a:cubicBezTo>
                        <a:pt x="1576741" y="326040"/>
                        <a:pt x="1579129" y="324650"/>
                        <a:pt x="1581050" y="322729"/>
                      </a:cubicBezTo>
                      <a:cubicBezTo>
                        <a:pt x="1582435" y="321344"/>
                        <a:pt x="1583223" y="319469"/>
                        <a:pt x="1584309" y="317839"/>
                      </a:cubicBezTo>
                      <a:lnTo>
                        <a:pt x="1602239" y="316209"/>
                      </a:lnTo>
                      <a:cubicBezTo>
                        <a:pt x="1606141" y="315854"/>
                        <a:pt x="1605989" y="309200"/>
                        <a:pt x="1608759" y="306430"/>
                      </a:cubicBezTo>
                      <a:cubicBezTo>
                        <a:pt x="1609974" y="305215"/>
                        <a:pt x="1612018" y="305343"/>
                        <a:pt x="1613648" y="304800"/>
                      </a:cubicBezTo>
                      <a:cubicBezTo>
                        <a:pt x="1615278" y="305343"/>
                        <a:pt x="1616837" y="306673"/>
                        <a:pt x="1618538" y="306430"/>
                      </a:cubicBezTo>
                      <a:cubicBezTo>
                        <a:pt x="1623544" y="305715"/>
                        <a:pt x="1626732" y="301496"/>
                        <a:pt x="1629948" y="298280"/>
                      </a:cubicBezTo>
                      <a:lnTo>
                        <a:pt x="1641358" y="295020"/>
                      </a:lnTo>
                      <a:cubicBezTo>
                        <a:pt x="1643003" y="294526"/>
                        <a:pt x="1644943" y="294508"/>
                        <a:pt x="1646247" y="293390"/>
                      </a:cubicBezTo>
                      <a:cubicBezTo>
                        <a:pt x="1647297" y="292490"/>
                        <a:pt x="1654606" y="283191"/>
                        <a:pt x="1656027" y="280350"/>
                      </a:cubicBezTo>
                      <a:cubicBezTo>
                        <a:pt x="1657335" y="277733"/>
                        <a:pt x="1658200" y="274917"/>
                        <a:pt x="1659287" y="272201"/>
                      </a:cubicBezTo>
                      <a:cubicBezTo>
                        <a:pt x="1659777" y="272168"/>
                        <a:pt x="1683155" y="265626"/>
                        <a:pt x="1688626" y="273831"/>
                      </a:cubicBezTo>
                      <a:cubicBezTo>
                        <a:pt x="1689869" y="275695"/>
                        <a:pt x="1689713" y="278177"/>
                        <a:pt x="1690256" y="280350"/>
                      </a:cubicBezTo>
                      <a:cubicBezTo>
                        <a:pt x="1691343" y="281980"/>
                        <a:pt x="1691697" y="284512"/>
                        <a:pt x="1693516" y="285240"/>
                      </a:cubicBezTo>
                      <a:cubicBezTo>
                        <a:pt x="1695111" y="285878"/>
                        <a:pt x="1696836" y="284308"/>
                        <a:pt x="1698406" y="283610"/>
                      </a:cubicBezTo>
                      <a:cubicBezTo>
                        <a:pt x="1701736" y="282130"/>
                        <a:pt x="1704925" y="280350"/>
                        <a:pt x="1708185" y="278720"/>
                      </a:cubicBezTo>
                      <a:cubicBezTo>
                        <a:pt x="1712566" y="278530"/>
                        <a:pt x="1752394" y="278502"/>
                        <a:pt x="1763604" y="273831"/>
                      </a:cubicBezTo>
                      <a:cubicBezTo>
                        <a:pt x="1765190" y="273170"/>
                        <a:pt x="1764557" y="270520"/>
                        <a:pt x="1765234" y="268941"/>
                      </a:cubicBezTo>
                      <a:cubicBezTo>
                        <a:pt x="1766191" y="266708"/>
                        <a:pt x="1767407" y="264594"/>
                        <a:pt x="1768493" y="262421"/>
                      </a:cubicBezTo>
                      <a:cubicBezTo>
                        <a:pt x="1771210" y="261334"/>
                        <a:pt x="1774162" y="260712"/>
                        <a:pt x="1776643" y="259161"/>
                      </a:cubicBezTo>
                      <a:cubicBezTo>
                        <a:pt x="1778598" y="257939"/>
                        <a:pt x="1779783" y="255771"/>
                        <a:pt x="1781533" y="254271"/>
                      </a:cubicBezTo>
                      <a:cubicBezTo>
                        <a:pt x="1783596" y="252503"/>
                        <a:pt x="1785793" y="250888"/>
                        <a:pt x="1788053" y="249381"/>
                      </a:cubicBezTo>
                      <a:cubicBezTo>
                        <a:pt x="1790689" y="247624"/>
                        <a:pt x="1794572" y="247208"/>
                        <a:pt x="1796202" y="244492"/>
                      </a:cubicBezTo>
                      <a:cubicBezTo>
                        <a:pt x="1798179" y="241198"/>
                        <a:pt x="1797289" y="236885"/>
                        <a:pt x="1797832" y="233082"/>
                      </a:cubicBezTo>
                      <a:cubicBezTo>
                        <a:pt x="1800549" y="231452"/>
                        <a:pt x="1803598" y="230278"/>
                        <a:pt x="1805982" y="228192"/>
                      </a:cubicBezTo>
                      <a:cubicBezTo>
                        <a:pt x="1812463" y="222521"/>
                        <a:pt x="1813793" y="213250"/>
                        <a:pt x="1815762" y="205373"/>
                      </a:cubicBezTo>
                      <a:cubicBezTo>
                        <a:pt x="1817935" y="203743"/>
                        <a:pt x="1820071" y="202062"/>
                        <a:pt x="1822282" y="200483"/>
                      </a:cubicBezTo>
                      <a:cubicBezTo>
                        <a:pt x="1826715" y="197316"/>
                        <a:pt x="1830514" y="195786"/>
                        <a:pt x="1833691" y="190703"/>
                      </a:cubicBezTo>
                      <a:cubicBezTo>
                        <a:pt x="1834878" y="188804"/>
                        <a:pt x="1834210" y="186129"/>
                        <a:pt x="1835321" y="184184"/>
                      </a:cubicBezTo>
                      <a:cubicBezTo>
                        <a:pt x="1845088" y="167094"/>
                        <a:pt x="1836753" y="189669"/>
                        <a:pt x="1841841" y="174404"/>
                      </a:cubicBezTo>
                      <a:cubicBezTo>
                        <a:pt x="1843471" y="173317"/>
                        <a:pt x="1845226" y="172398"/>
                        <a:pt x="1846731" y="171144"/>
                      </a:cubicBezTo>
                      <a:cubicBezTo>
                        <a:pt x="1848502" y="169668"/>
                        <a:pt x="1849745" y="167594"/>
                        <a:pt x="1851621" y="166254"/>
                      </a:cubicBezTo>
                      <a:cubicBezTo>
                        <a:pt x="1853598" y="164842"/>
                        <a:pt x="1855907" y="163951"/>
                        <a:pt x="1858140" y="162994"/>
                      </a:cubicBezTo>
                      <a:cubicBezTo>
                        <a:pt x="1859719" y="162317"/>
                        <a:pt x="1861957" y="162706"/>
                        <a:pt x="1863030" y="161364"/>
                      </a:cubicBezTo>
                      <a:cubicBezTo>
                        <a:pt x="1864429" y="159615"/>
                        <a:pt x="1864117" y="157018"/>
                        <a:pt x="1864660" y="154845"/>
                      </a:cubicBezTo>
                      <a:cubicBezTo>
                        <a:pt x="1866290" y="152672"/>
                        <a:pt x="1867782" y="150388"/>
                        <a:pt x="1869550" y="148325"/>
                      </a:cubicBezTo>
                      <a:cubicBezTo>
                        <a:pt x="1871050" y="146575"/>
                        <a:pt x="1873409" y="145497"/>
                        <a:pt x="1874440" y="143435"/>
                      </a:cubicBezTo>
                      <a:cubicBezTo>
                        <a:pt x="1875679" y="140957"/>
                        <a:pt x="1874831" y="137763"/>
                        <a:pt x="1876070" y="135285"/>
                      </a:cubicBezTo>
                      <a:cubicBezTo>
                        <a:pt x="1877101" y="133223"/>
                        <a:pt x="1879484" y="132166"/>
                        <a:pt x="1880960" y="130395"/>
                      </a:cubicBezTo>
                      <a:cubicBezTo>
                        <a:pt x="1882214" y="128890"/>
                        <a:pt x="1883133" y="127136"/>
                        <a:pt x="1884220" y="125506"/>
                      </a:cubicBezTo>
                      <a:cubicBezTo>
                        <a:pt x="1885850" y="124419"/>
                        <a:pt x="1888158" y="123958"/>
                        <a:pt x="1889109" y="122246"/>
                      </a:cubicBezTo>
                      <a:cubicBezTo>
                        <a:pt x="1891030" y="118788"/>
                        <a:pt x="1891232" y="114625"/>
                        <a:pt x="1892369" y="110836"/>
                      </a:cubicBezTo>
                      <a:cubicBezTo>
                        <a:pt x="1892863" y="109190"/>
                        <a:pt x="1893165" y="107448"/>
                        <a:pt x="1893999" y="105946"/>
                      </a:cubicBezTo>
                      <a:cubicBezTo>
                        <a:pt x="1902241" y="91111"/>
                        <a:pt x="1897488" y="100782"/>
                        <a:pt x="1905409" y="91277"/>
                      </a:cubicBezTo>
                      <a:cubicBezTo>
                        <a:pt x="1906663" y="89772"/>
                        <a:pt x="1907075" y="87526"/>
                        <a:pt x="1908669" y="86387"/>
                      </a:cubicBezTo>
                      <a:cubicBezTo>
                        <a:pt x="1911050" y="84686"/>
                        <a:pt x="1914102" y="84214"/>
                        <a:pt x="1916819" y="83127"/>
                      </a:cubicBezTo>
                      <a:cubicBezTo>
                        <a:pt x="1928734" y="91072"/>
                        <a:pt x="1914624" y="80496"/>
                        <a:pt x="1924968" y="92907"/>
                      </a:cubicBezTo>
                      <a:cubicBezTo>
                        <a:pt x="1927929" y="96460"/>
                        <a:pt x="1932295" y="96775"/>
                        <a:pt x="1936378" y="97796"/>
                      </a:cubicBezTo>
                      <a:cubicBezTo>
                        <a:pt x="1936378" y="97796"/>
                        <a:pt x="1944601" y="88439"/>
                        <a:pt x="1947788" y="83127"/>
                      </a:cubicBezTo>
                      <a:cubicBezTo>
                        <a:pt x="1949556" y="80180"/>
                        <a:pt x="1949961" y="76607"/>
                        <a:pt x="1951047" y="73347"/>
                      </a:cubicBezTo>
                      <a:cubicBezTo>
                        <a:pt x="1956649" y="72227"/>
                        <a:pt x="1960346" y="71622"/>
                        <a:pt x="1965717" y="70087"/>
                      </a:cubicBezTo>
                      <a:cubicBezTo>
                        <a:pt x="1967369" y="69615"/>
                        <a:pt x="1969070" y="69225"/>
                        <a:pt x="1970607" y="68457"/>
                      </a:cubicBezTo>
                      <a:cubicBezTo>
                        <a:pt x="1973440" y="67040"/>
                        <a:pt x="1976040" y="65198"/>
                        <a:pt x="1978756" y="63568"/>
                      </a:cubicBezTo>
                      <a:cubicBezTo>
                        <a:pt x="1980929" y="63025"/>
                        <a:pt x="1983217" y="62820"/>
                        <a:pt x="1985276" y="61938"/>
                      </a:cubicBezTo>
                      <a:cubicBezTo>
                        <a:pt x="1987077" y="61166"/>
                        <a:pt x="1988234" y="59000"/>
                        <a:pt x="1990166" y="58678"/>
                      </a:cubicBezTo>
                      <a:cubicBezTo>
                        <a:pt x="1991861" y="58396"/>
                        <a:pt x="1993426" y="59765"/>
                        <a:pt x="1995056" y="60308"/>
                      </a:cubicBezTo>
                      <a:cubicBezTo>
                        <a:pt x="1999403" y="60851"/>
                        <a:pt x="2003786" y="62722"/>
                        <a:pt x="2008096" y="61938"/>
                      </a:cubicBezTo>
                      <a:cubicBezTo>
                        <a:pt x="2011729" y="61277"/>
                        <a:pt x="2015089" y="52839"/>
                        <a:pt x="2016245" y="50528"/>
                      </a:cubicBezTo>
                      <a:cubicBezTo>
                        <a:pt x="2021420" y="46647"/>
                        <a:pt x="2027084" y="44331"/>
                        <a:pt x="2026025" y="35858"/>
                      </a:cubicBezTo>
                      <a:cubicBezTo>
                        <a:pt x="2025782" y="33914"/>
                        <a:pt x="2022520" y="33984"/>
                        <a:pt x="2021135" y="32599"/>
                      </a:cubicBezTo>
                      <a:cubicBezTo>
                        <a:pt x="2019750" y="31214"/>
                        <a:pt x="2018962" y="29339"/>
                        <a:pt x="2017875" y="27709"/>
                      </a:cubicBezTo>
                      <a:cubicBezTo>
                        <a:pt x="2018962" y="25536"/>
                        <a:pt x="2019723" y="23166"/>
                        <a:pt x="2021135" y="21189"/>
                      </a:cubicBezTo>
                      <a:cubicBezTo>
                        <a:pt x="2023755" y="17522"/>
                        <a:pt x="2029120" y="13977"/>
                        <a:pt x="2032545" y="11409"/>
                      </a:cubicBezTo>
                      <a:cubicBezTo>
                        <a:pt x="2032545" y="11409"/>
                        <a:pt x="2039410" y="9970"/>
                        <a:pt x="2042324" y="8149"/>
                      </a:cubicBezTo>
                      <a:cubicBezTo>
                        <a:pt x="2043985" y="7111"/>
                        <a:pt x="2043954" y="4346"/>
                        <a:pt x="2045584" y="3260"/>
                      </a:cubicBezTo>
                      <a:cubicBezTo>
                        <a:pt x="2047448" y="2017"/>
                        <a:pt x="2049950" y="2245"/>
                        <a:pt x="2052104" y="1630"/>
                      </a:cubicBezTo>
                      <a:cubicBezTo>
                        <a:pt x="2053756" y="1158"/>
                        <a:pt x="2055364" y="543"/>
                        <a:pt x="2056994" y="0"/>
                      </a:cubicBezTo>
                      <a:close/>
                    </a:path>
                  </a:pathLst>
                </a:custGeom>
                <a:solidFill>
                  <a:schemeClr val="bg1">
                    <a:lumMod val="85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gl-ES"/>
                </a:p>
              </p:txBody>
            </p:sp>
          </p:grpSp>
        </p:grpSp>
        <p:grpSp>
          <p:nvGrpSpPr>
            <p:cNvPr id="349" name="Group 348">
              <a:extLst>
                <a:ext uri="{FF2B5EF4-FFF2-40B4-BE49-F238E27FC236}">
                  <a16:creationId xmlns:a16="http://schemas.microsoft.com/office/drawing/2014/main" id="{BEA1AF73-509A-4E4B-8C52-A750E414732C}"/>
                </a:ext>
              </a:extLst>
            </p:cNvPr>
            <p:cNvGrpSpPr/>
            <p:nvPr/>
          </p:nvGrpSpPr>
          <p:grpSpPr>
            <a:xfrm>
              <a:off x="8015588" y="155073"/>
              <a:ext cx="4021386" cy="4401009"/>
              <a:chOff x="8015588" y="155073"/>
              <a:chExt cx="4021386" cy="4401009"/>
            </a:xfrm>
          </p:grpSpPr>
          <p:sp>
            <p:nvSpPr>
              <p:cNvPr id="358" name="Forma libre: forma 356">
                <a:extLst>
                  <a:ext uri="{FF2B5EF4-FFF2-40B4-BE49-F238E27FC236}">
                    <a16:creationId xmlns:a16="http://schemas.microsoft.com/office/drawing/2014/main" id="{57C54620-FE2C-4126-8D33-13EE52AB5ED1}"/>
                  </a:ext>
                </a:extLst>
              </p:cNvPr>
              <p:cNvSpPr/>
              <p:nvPr/>
            </p:nvSpPr>
            <p:spPr>
              <a:xfrm>
                <a:off x="8015588" y="3100192"/>
                <a:ext cx="320997" cy="182595"/>
              </a:xfrm>
              <a:custGeom>
                <a:avLst/>
                <a:gdLst>
                  <a:gd name="connsiteX0" fmla="*/ 151106 w 320997"/>
                  <a:gd name="connsiteY0" fmla="*/ 17461 h 180974"/>
                  <a:gd name="connsiteX1" fmla="*/ 152694 w 320997"/>
                  <a:gd name="connsiteY1" fmla="*/ 28574 h 180974"/>
                  <a:gd name="connsiteX2" fmla="*/ 146344 w 320997"/>
                  <a:gd name="connsiteY2" fmla="*/ 31749 h 180974"/>
                  <a:gd name="connsiteX3" fmla="*/ 141581 w 320997"/>
                  <a:gd name="connsiteY3" fmla="*/ 34924 h 180974"/>
                  <a:gd name="connsiteX4" fmla="*/ 138406 w 320997"/>
                  <a:gd name="connsiteY4" fmla="*/ 30161 h 180974"/>
                  <a:gd name="connsiteX5" fmla="*/ 139994 w 320997"/>
                  <a:gd name="connsiteY5" fmla="*/ 36511 h 180974"/>
                  <a:gd name="connsiteX6" fmla="*/ 132056 w 320997"/>
                  <a:gd name="connsiteY6" fmla="*/ 80961 h 180974"/>
                  <a:gd name="connsiteX7" fmla="*/ 117769 w 320997"/>
                  <a:gd name="connsiteY7" fmla="*/ 79374 h 180974"/>
                  <a:gd name="connsiteX8" fmla="*/ 95544 w 320997"/>
                  <a:gd name="connsiteY8" fmla="*/ 74611 h 180974"/>
                  <a:gd name="connsiteX9" fmla="*/ 66969 w 320997"/>
                  <a:gd name="connsiteY9" fmla="*/ 79374 h 180974"/>
                  <a:gd name="connsiteX10" fmla="*/ 70144 w 320997"/>
                  <a:gd name="connsiteY10" fmla="*/ 73024 h 180974"/>
                  <a:gd name="connsiteX11" fmla="*/ 74906 w 320997"/>
                  <a:gd name="connsiteY11" fmla="*/ 68261 h 180974"/>
                  <a:gd name="connsiteX12" fmla="*/ 82844 w 320997"/>
                  <a:gd name="connsiteY12" fmla="*/ 52386 h 180974"/>
                  <a:gd name="connsiteX13" fmla="*/ 89194 w 320997"/>
                  <a:gd name="connsiteY13" fmla="*/ 44449 h 180974"/>
                  <a:gd name="connsiteX14" fmla="*/ 97131 w 320997"/>
                  <a:gd name="connsiteY14" fmla="*/ 34924 h 180974"/>
                  <a:gd name="connsiteX15" fmla="*/ 98719 w 320997"/>
                  <a:gd name="connsiteY15" fmla="*/ 28574 h 180974"/>
                  <a:gd name="connsiteX16" fmla="*/ 87606 w 320997"/>
                  <a:gd name="connsiteY16" fmla="*/ 47624 h 180974"/>
                  <a:gd name="connsiteX17" fmla="*/ 86019 w 320997"/>
                  <a:gd name="connsiteY17" fmla="*/ 52386 h 180974"/>
                  <a:gd name="connsiteX18" fmla="*/ 82844 w 320997"/>
                  <a:gd name="connsiteY18" fmla="*/ 57149 h 180974"/>
                  <a:gd name="connsiteX19" fmla="*/ 81256 w 320997"/>
                  <a:gd name="connsiteY19" fmla="*/ 61911 h 180974"/>
                  <a:gd name="connsiteX20" fmla="*/ 73319 w 320997"/>
                  <a:gd name="connsiteY20" fmla="*/ 66674 h 180974"/>
                  <a:gd name="connsiteX21" fmla="*/ 71731 w 320997"/>
                  <a:gd name="connsiteY21" fmla="*/ 71436 h 180974"/>
                  <a:gd name="connsiteX22" fmla="*/ 35219 w 320997"/>
                  <a:gd name="connsiteY22" fmla="*/ 82549 h 180974"/>
                  <a:gd name="connsiteX23" fmla="*/ 16169 w 320997"/>
                  <a:gd name="connsiteY23" fmla="*/ 82549 h 180974"/>
                  <a:gd name="connsiteX24" fmla="*/ 14581 w 320997"/>
                  <a:gd name="connsiteY24" fmla="*/ 95249 h 180974"/>
                  <a:gd name="connsiteX25" fmla="*/ 12994 w 320997"/>
                  <a:gd name="connsiteY25" fmla="*/ 100011 h 180974"/>
                  <a:gd name="connsiteX26" fmla="*/ 11406 w 320997"/>
                  <a:gd name="connsiteY26" fmla="*/ 107949 h 180974"/>
                  <a:gd name="connsiteX27" fmla="*/ 14581 w 320997"/>
                  <a:gd name="connsiteY27" fmla="*/ 117474 h 180974"/>
                  <a:gd name="connsiteX28" fmla="*/ 19344 w 320997"/>
                  <a:gd name="connsiteY28" fmla="*/ 120649 h 180974"/>
                  <a:gd name="connsiteX29" fmla="*/ 17756 w 320997"/>
                  <a:gd name="connsiteY29" fmla="*/ 138111 h 180974"/>
                  <a:gd name="connsiteX30" fmla="*/ 14581 w 320997"/>
                  <a:gd name="connsiteY30" fmla="*/ 146049 h 180974"/>
                  <a:gd name="connsiteX31" fmla="*/ 5056 w 320997"/>
                  <a:gd name="connsiteY31" fmla="*/ 147636 h 180974"/>
                  <a:gd name="connsiteX32" fmla="*/ 3469 w 320997"/>
                  <a:gd name="connsiteY32" fmla="*/ 152399 h 180974"/>
                  <a:gd name="connsiteX33" fmla="*/ 294 w 320997"/>
                  <a:gd name="connsiteY33" fmla="*/ 157161 h 180974"/>
                  <a:gd name="connsiteX34" fmla="*/ 5056 w 320997"/>
                  <a:gd name="connsiteY34" fmla="*/ 152399 h 180974"/>
                  <a:gd name="connsiteX35" fmla="*/ 12994 w 320997"/>
                  <a:gd name="connsiteY35" fmla="*/ 139699 h 180974"/>
                  <a:gd name="connsiteX36" fmla="*/ 17756 w 320997"/>
                  <a:gd name="connsiteY36" fmla="*/ 134936 h 180974"/>
                  <a:gd name="connsiteX37" fmla="*/ 25694 w 320997"/>
                  <a:gd name="connsiteY37" fmla="*/ 128586 h 180974"/>
                  <a:gd name="connsiteX38" fmla="*/ 36806 w 320997"/>
                  <a:gd name="connsiteY38" fmla="*/ 130174 h 180974"/>
                  <a:gd name="connsiteX39" fmla="*/ 41569 w 320997"/>
                  <a:gd name="connsiteY39" fmla="*/ 131761 h 180974"/>
                  <a:gd name="connsiteX40" fmla="*/ 46331 w 320997"/>
                  <a:gd name="connsiteY40" fmla="*/ 130174 h 180974"/>
                  <a:gd name="connsiteX41" fmla="*/ 60619 w 320997"/>
                  <a:gd name="connsiteY41" fmla="*/ 131761 h 180974"/>
                  <a:gd name="connsiteX42" fmla="*/ 65381 w 320997"/>
                  <a:gd name="connsiteY42" fmla="*/ 130174 h 180974"/>
                  <a:gd name="connsiteX43" fmla="*/ 74906 w 320997"/>
                  <a:gd name="connsiteY43" fmla="*/ 128586 h 180974"/>
                  <a:gd name="connsiteX44" fmla="*/ 81256 w 320997"/>
                  <a:gd name="connsiteY44" fmla="*/ 126999 h 180974"/>
                  <a:gd name="connsiteX45" fmla="*/ 76494 w 320997"/>
                  <a:gd name="connsiteY45" fmla="*/ 131761 h 180974"/>
                  <a:gd name="connsiteX46" fmla="*/ 63794 w 320997"/>
                  <a:gd name="connsiteY46" fmla="*/ 138111 h 180974"/>
                  <a:gd name="connsiteX47" fmla="*/ 54269 w 320997"/>
                  <a:gd name="connsiteY47" fmla="*/ 141286 h 180974"/>
                  <a:gd name="connsiteX48" fmla="*/ 52681 w 320997"/>
                  <a:gd name="connsiteY48" fmla="*/ 150811 h 180974"/>
                  <a:gd name="connsiteX49" fmla="*/ 47919 w 320997"/>
                  <a:gd name="connsiteY49" fmla="*/ 149224 h 180974"/>
                  <a:gd name="connsiteX50" fmla="*/ 38394 w 320997"/>
                  <a:gd name="connsiteY50" fmla="*/ 158749 h 180974"/>
                  <a:gd name="connsiteX51" fmla="*/ 33631 w 320997"/>
                  <a:gd name="connsiteY51" fmla="*/ 160336 h 180974"/>
                  <a:gd name="connsiteX52" fmla="*/ 30456 w 320997"/>
                  <a:gd name="connsiteY52" fmla="*/ 165099 h 180974"/>
                  <a:gd name="connsiteX53" fmla="*/ 28869 w 320997"/>
                  <a:gd name="connsiteY53" fmla="*/ 176211 h 180974"/>
                  <a:gd name="connsiteX54" fmla="*/ 33631 w 320997"/>
                  <a:gd name="connsiteY54" fmla="*/ 177799 h 180974"/>
                  <a:gd name="connsiteX55" fmla="*/ 49506 w 320997"/>
                  <a:gd name="connsiteY55" fmla="*/ 179386 h 180974"/>
                  <a:gd name="connsiteX56" fmla="*/ 59031 w 320997"/>
                  <a:gd name="connsiteY56" fmla="*/ 180974 h 180974"/>
                  <a:gd name="connsiteX57" fmla="*/ 76494 w 320997"/>
                  <a:gd name="connsiteY57" fmla="*/ 179386 h 180974"/>
                  <a:gd name="connsiteX58" fmla="*/ 82844 w 320997"/>
                  <a:gd name="connsiteY58" fmla="*/ 177799 h 180974"/>
                  <a:gd name="connsiteX59" fmla="*/ 93956 w 320997"/>
                  <a:gd name="connsiteY59" fmla="*/ 176211 h 180974"/>
                  <a:gd name="connsiteX60" fmla="*/ 119356 w 320997"/>
                  <a:gd name="connsiteY60" fmla="*/ 171449 h 180974"/>
                  <a:gd name="connsiteX61" fmla="*/ 200319 w 320997"/>
                  <a:gd name="connsiteY61" fmla="*/ 173036 h 180974"/>
                  <a:gd name="connsiteX62" fmla="*/ 220956 w 320997"/>
                  <a:gd name="connsiteY62" fmla="*/ 173036 h 180974"/>
                  <a:gd name="connsiteX63" fmla="*/ 246356 w 320997"/>
                  <a:gd name="connsiteY63" fmla="*/ 168274 h 180974"/>
                  <a:gd name="connsiteX64" fmla="*/ 255881 w 320997"/>
                  <a:gd name="connsiteY64" fmla="*/ 165099 h 180974"/>
                  <a:gd name="connsiteX65" fmla="*/ 268581 w 320997"/>
                  <a:gd name="connsiteY65" fmla="*/ 161924 h 180974"/>
                  <a:gd name="connsiteX66" fmla="*/ 276519 w 320997"/>
                  <a:gd name="connsiteY66" fmla="*/ 158749 h 180974"/>
                  <a:gd name="connsiteX67" fmla="*/ 284456 w 320997"/>
                  <a:gd name="connsiteY67" fmla="*/ 157161 h 180974"/>
                  <a:gd name="connsiteX68" fmla="*/ 298744 w 320997"/>
                  <a:gd name="connsiteY68" fmla="*/ 153986 h 180974"/>
                  <a:gd name="connsiteX69" fmla="*/ 316206 w 320997"/>
                  <a:gd name="connsiteY69" fmla="*/ 142874 h 180974"/>
                  <a:gd name="connsiteX70" fmla="*/ 314619 w 320997"/>
                  <a:gd name="connsiteY70" fmla="*/ 138111 h 180974"/>
                  <a:gd name="connsiteX71" fmla="*/ 309856 w 320997"/>
                  <a:gd name="connsiteY71" fmla="*/ 134936 h 180974"/>
                  <a:gd name="connsiteX72" fmla="*/ 308269 w 320997"/>
                  <a:gd name="connsiteY72" fmla="*/ 115886 h 180974"/>
                  <a:gd name="connsiteX73" fmla="*/ 311444 w 320997"/>
                  <a:gd name="connsiteY73" fmla="*/ 106361 h 180974"/>
                  <a:gd name="connsiteX74" fmla="*/ 306681 w 320997"/>
                  <a:gd name="connsiteY74" fmla="*/ 98424 h 180974"/>
                  <a:gd name="connsiteX75" fmla="*/ 305094 w 320997"/>
                  <a:gd name="connsiteY75" fmla="*/ 93661 h 180974"/>
                  <a:gd name="connsiteX76" fmla="*/ 308269 w 320997"/>
                  <a:gd name="connsiteY76" fmla="*/ 80961 h 180974"/>
                  <a:gd name="connsiteX77" fmla="*/ 317794 w 320997"/>
                  <a:gd name="connsiteY77" fmla="*/ 77786 h 180974"/>
                  <a:gd name="connsiteX78" fmla="*/ 317794 w 320997"/>
                  <a:gd name="connsiteY78" fmla="*/ 52386 h 180974"/>
                  <a:gd name="connsiteX79" fmla="*/ 308269 w 320997"/>
                  <a:gd name="connsiteY79" fmla="*/ 50799 h 180974"/>
                  <a:gd name="connsiteX80" fmla="*/ 305094 w 320997"/>
                  <a:gd name="connsiteY80" fmla="*/ 42861 h 180974"/>
                  <a:gd name="connsiteX81" fmla="*/ 298744 w 320997"/>
                  <a:gd name="connsiteY81" fmla="*/ 41274 h 180974"/>
                  <a:gd name="connsiteX82" fmla="*/ 287631 w 320997"/>
                  <a:gd name="connsiteY82" fmla="*/ 31749 h 180974"/>
                  <a:gd name="connsiteX83" fmla="*/ 284456 w 320997"/>
                  <a:gd name="connsiteY83" fmla="*/ 9524 h 180974"/>
                  <a:gd name="connsiteX84" fmla="*/ 274931 w 320997"/>
                  <a:gd name="connsiteY84" fmla="*/ 14286 h 180974"/>
                  <a:gd name="connsiteX85" fmla="*/ 273344 w 320997"/>
                  <a:gd name="connsiteY85" fmla="*/ 19049 h 180974"/>
                  <a:gd name="connsiteX86" fmla="*/ 271756 w 320997"/>
                  <a:gd name="connsiteY86" fmla="*/ 25399 h 180974"/>
                  <a:gd name="connsiteX87" fmla="*/ 259056 w 320997"/>
                  <a:gd name="connsiteY87" fmla="*/ 30161 h 180974"/>
                  <a:gd name="connsiteX88" fmla="*/ 240006 w 320997"/>
                  <a:gd name="connsiteY88" fmla="*/ 28574 h 180974"/>
                  <a:gd name="connsiteX89" fmla="*/ 233656 w 320997"/>
                  <a:gd name="connsiteY89" fmla="*/ 44449 h 180974"/>
                  <a:gd name="connsiteX90" fmla="*/ 230481 w 320997"/>
                  <a:gd name="connsiteY90" fmla="*/ 38099 h 180974"/>
                  <a:gd name="connsiteX91" fmla="*/ 228894 w 320997"/>
                  <a:gd name="connsiteY91" fmla="*/ 33336 h 180974"/>
                  <a:gd name="connsiteX92" fmla="*/ 224131 w 320997"/>
                  <a:gd name="connsiteY92" fmla="*/ 31749 h 180974"/>
                  <a:gd name="connsiteX93" fmla="*/ 201906 w 320997"/>
                  <a:gd name="connsiteY93" fmla="*/ 30161 h 180974"/>
                  <a:gd name="connsiteX94" fmla="*/ 200319 w 320997"/>
                  <a:gd name="connsiteY94" fmla="*/ 22224 h 180974"/>
                  <a:gd name="connsiteX95" fmla="*/ 186031 w 320997"/>
                  <a:gd name="connsiteY95" fmla="*/ 25399 h 180974"/>
                  <a:gd name="connsiteX96" fmla="*/ 181269 w 320997"/>
                  <a:gd name="connsiteY96" fmla="*/ 23811 h 180974"/>
                  <a:gd name="connsiteX97" fmla="*/ 179681 w 320997"/>
                  <a:gd name="connsiteY97" fmla="*/ 19049 h 180974"/>
                  <a:gd name="connsiteX98" fmla="*/ 174919 w 320997"/>
                  <a:gd name="connsiteY98" fmla="*/ 7936 h 180974"/>
                  <a:gd name="connsiteX99" fmla="*/ 170156 w 320997"/>
                  <a:gd name="connsiteY99" fmla="*/ 4761 h 180974"/>
                  <a:gd name="connsiteX100" fmla="*/ 162219 w 320997"/>
                  <a:gd name="connsiteY100" fmla="*/ 9524 h 180974"/>
                  <a:gd name="connsiteX101" fmla="*/ 152694 w 320997"/>
                  <a:gd name="connsiteY101" fmla="*/ 12699 h 180974"/>
                  <a:gd name="connsiteX102" fmla="*/ 151106 w 320997"/>
                  <a:gd name="connsiteY102" fmla="*/ 17461 h 180974"/>
                  <a:gd name="connsiteX0" fmla="*/ 151106 w 320997"/>
                  <a:gd name="connsiteY0" fmla="*/ 17461 h 180974"/>
                  <a:gd name="connsiteX1" fmla="*/ 152694 w 320997"/>
                  <a:gd name="connsiteY1" fmla="*/ 28574 h 180974"/>
                  <a:gd name="connsiteX2" fmla="*/ 146344 w 320997"/>
                  <a:gd name="connsiteY2" fmla="*/ 31749 h 180974"/>
                  <a:gd name="connsiteX3" fmla="*/ 141581 w 320997"/>
                  <a:gd name="connsiteY3" fmla="*/ 34924 h 180974"/>
                  <a:gd name="connsiteX4" fmla="*/ 138406 w 320997"/>
                  <a:gd name="connsiteY4" fmla="*/ 30161 h 180974"/>
                  <a:gd name="connsiteX5" fmla="*/ 139994 w 320997"/>
                  <a:gd name="connsiteY5" fmla="*/ 36511 h 180974"/>
                  <a:gd name="connsiteX6" fmla="*/ 132056 w 320997"/>
                  <a:gd name="connsiteY6" fmla="*/ 80961 h 180974"/>
                  <a:gd name="connsiteX7" fmla="*/ 117769 w 320997"/>
                  <a:gd name="connsiteY7" fmla="*/ 79374 h 180974"/>
                  <a:gd name="connsiteX8" fmla="*/ 95544 w 320997"/>
                  <a:gd name="connsiteY8" fmla="*/ 74611 h 180974"/>
                  <a:gd name="connsiteX9" fmla="*/ 66969 w 320997"/>
                  <a:gd name="connsiteY9" fmla="*/ 79374 h 180974"/>
                  <a:gd name="connsiteX10" fmla="*/ 70144 w 320997"/>
                  <a:gd name="connsiteY10" fmla="*/ 73024 h 180974"/>
                  <a:gd name="connsiteX11" fmla="*/ 74906 w 320997"/>
                  <a:gd name="connsiteY11" fmla="*/ 68261 h 180974"/>
                  <a:gd name="connsiteX12" fmla="*/ 82844 w 320997"/>
                  <a:gd name="connsiteY12" fmla="*/ 52386 h 180974"/>
                  <a:gd name="connsiteX13" fmla="*/ 89194 w 320997"/>
                  <a:gd name="connsiteY13" fmla="*/ 44449 h 180974"/>
                  <a:gd name="connsiteX14" fmla="*/ 97131 w 320997"/>
                  <a:gd name="connsiteY14" fmla="*/ 34924 h 180974"/>
                  <a:gd name="connsiteX15" fmla="*/ 98719 w 320997"/>
                  <a:gd name="connsiteY15" fmla="*/ 28574 h 180974"/>
                  <a:gd name="connsiteX16" fmla="*/ 87606 w 320997"/>
                  <a:gd name="connsiteY16" fmla="*/ 47624 h 180974"/>
                  <a:gd name="connsiteX17" fmla="*/ 86019 w 320997"/>
                  <a:gd name="connsiteY17" fmla="*/ 52386 h 180974"/>
                  <a:gd name="connsiteX18" fmla="*/ 82844 w 320997"/>
                  <a:gd name="connsiteY18" fmla="*/ 57149 h 180974"/>
                  <a:gd name="connsiteX19" fmla="*/ 81256 w 320997"/>
                  <a:gd name="connsiteY19" fmla="*/ 61911 h 180974"/>
                  <a:gd name="connsiteX20" fmla="*/ 73319 w 320997"/>
                  <a:gd name="connsiteY20" fmla="*/ 66674 h 180974"/>
                  <a:gd name="connsiteX21" fmla="*/ 71731 w 320997"/>
                  <a:gd name="connsiteY21" fmla="*/ 71436 h 180974"/>
                  <a:gd name="connsiteX22" fmla="*/ 35219 w 320997"/>
                  <a:gd name="connsiteY22" fmla="*/ 82549 h 180974"/>
                  <a:gd name="connsiteX23" fmla="*/ 16169 w 320997"/>
                  <a:gd name="connsiteY23" fmla="*/ 82549 h 180974"/>
                  <a:gd name="connsiteX24" fmla="*/ 14581 w 320997"/>
                  <a:gd name="connsiteY24" fmla="*/ 95249 h 180974"/>
                  <a:gd name="connsiteX25" fmla="*/ 12994 w 320997"/>
                  <a:gd name="connsiteY25" fmla="*/ 100011 h 180974"/>
                  <a:gd name="connsiteX26" fmla="*/ 11406 w 320997"/>
                  <a:gd name="connsiteY26" fmla="*/ 107949 h 180974"/>
                  <a:gd name="connsiteX27" fmla="*/ 14581 w 320997"/>
                  <a:gd name="connsiteY27" fmla="*/ 117474 h 180974"/>
                  <a:gd name="connsiteX28" fmla="*/ 19344 w 320997"/>
                  <a:gd name="connsiteY28" fmla="*/ 120649 h 180974"/>
                  <a:gd name="connsiteX29" fmla="*/ 17756 w 320997"/>
                  <a:gd name="connsiteY29" fmla="*/ 138111 h 180974"/>
                  <a:gd name="connsiteX30" fmla="*/ 14581 w 320997"/>
                  <a:gd name="connsiteY30" fmla="*/ 146049 h 180974"/>
                  <a:gd name="connsiteX31" fmla="*/ 5056 w 320997"/>
                  <a:gd name="connsiteY31" fmla="*/ 147636 h 180974"/>
                  <a:gd name="connsiteX32" fmla="*/ 3469 w 320997"/>
                  <a:gd name="connsiteY32" fmla="*/ 152399 h 180974"/>
                  <a:gd name="connsiteX33" fmla="*/ 294 w 320997"/>
                  <a:gd name="connsiteY33" fmla="*/ 157161 h 180974"/>
                  <a:gd name="connsiteX34" fmla="*/ 5056 w 320997"/>
                  <a:gd name="connsiteY34" fmla="*/ 152399 h 180974"/>
                  <a:gd name="connsiteX35" fmla="*/ 12994 w 320997"/>
                  <a:gd name="connsiteY35" fmla="*/ 139699 h 180974"/>
                  <a:gd name="connsiteX36" fmla="*/ 17756 w 320997"/>
                  <a:gd name="connsiteY36" fmla="*/ 134936 h 180974"/>
                  <a:gd name="connsiteX37" fmla="*/ 25694 w 320997"/>
                  <a:gd name="connsiteY37" fmla="*/ 128586 h 180974"/>
                  <a:gd name="connsiteX38" fmla="*/ 36806 w 320997"/>
                  <a:gd name="connsiteY38" fmla="*/ 130174 h 180974"/>
                  <a:gd name="connsiteX39" fmla="*/ 41569 w 320997"/>
                  <a:gd name="connsiteY39" fmla="*/ 131761 h 180974"/>
                  <a:gd name="connsiteX40" fmla="*/ 46331 w 320997"/>
                  <a:gd name="connsiteY40" fmla="*/ 130174 h 180974"/>
                  <a:gd name="connsiteX41" fmla="*/ 60619 w 320997"/>
                  <a:gd name="connsiteY41" fmla="*/ 131761 h 180974"/>
                  <a:gd name="connsiteX42" fmla="*/ 65381 w 320997"/>
                  <a:gd name="connsiteY42" fmla="*/ 130174 h 180974"/>
                  <a:gd name="connsiteX43" fmla="*/ 74906 w 320997"/>
                  <a:gd name="connsiteY43" fmla="*/ 128586 h 180974"/>
                  <a:gd name="connsiteX44" fmla="*/ 81256 w 320997"/>
                  <a:gd name="connsiteY44" fmla="*/ 126999 h 180974"/>
                  <a:gd name="connsiteX45" fmla="*/ 76494 w 320997"/>
                  <a:gd name="connsiteY45" fmla="*/ 131761 h 180974"/>
                  <a:gd name="connsiteX46" fmla="*/ 63794 w 320997"/>
                  <a:gd name="connsiteY46" fmla="*/ 138111 h 180974"/>
                  <a:gd name="connsiteX47" fmla="*/ 54269 w 320997"/>
                  <a:gd name="connsiteY47" fmla="*/ 141286 h 180974"/>
                  <a:gd name="connsiteX48" fmla="*/ 52681 w 320997"/>
                  <a:gd name="connsiteY48" fmla="*/ 150811 h 180974"/>
                  <a:gd name="connsiteX49" fmla="*/ 47919 w 320997"/>
                  <a:gd name="connsiteY49" fmla="*/ 149224 h 180974"/>
                  <a:gd name="connsiteX50" fmla="*/ 38394 w 320997"/>
                  <a:gd name="connsiteY50" fmla="*/ 158749 h 180974"/>
                  <a:gd name="connsiteX51" fmla="*/ 33631 w 320997"/>
                  <a:gd name="connsiteY51" fmla="*/ 160336 h 180974"/>
                  <a:gd name="connsiteX52" fmla="*/ 30456 w 320997"/>
                  <a:gd name="connsiteY52" fmla="*/ 165099 h 180974"/>
                  <a:gd name="connsiteX53" fmla="*/ 28869 w 320997"/>
                  <a:gd name="connsiteY53" fmla="*/ 176211 h 180974"/>
                  <a:gd name="connsiteX54" fmla="*/ 33631 w 320997"/>
                  <a:gd name="connsiteY54" fmla="*/ 177799 h 180974"/>
                  <a:gd name="connsiteX55" fmla="*/ 49506 w 320997"/>
                  <a:gd name="connsiteY55" fmla="*/ 179386 h 180974"/>
                  <a:gd name="connsiteX56" fmla="*/ 59031 w 320997"/>
                  <a:gd name="connsiteY56" fmla="*/ 180974 h 180974"/>
                  <a:gd name="connsiteX57" fmla="*/ 76494 w 320997"/>
                  <a:gd name="connsiteY57" fmla="*/ 179386 h 180974"/>
                  <a:gd name="connsiteX58" fmla="*/ 82844 w 320997"/>
                  <a:gd name="connsiteY58" fmla="*/ 177799 h 180974"/>
                  <a:gd name="connsiteX59" fmla="*/ 93956 w 320997"/>
                  <a:gd name="connsiteY59" fmla="*/ 176211 h 180974"/>
                  <a:gd name="connsiteX60" fmla="*/ 119356 w 320997"/>
                  <a:gd name="connsiteY60" fmla="*/ 171449 h 180974"/>
                  <a:gd name="connsiteX61" fmla="*/ 200319 w 320997"/>
                  <a:gd name="connsiteY61" fmla="*/ 173036 h 180974"/>
                  <a:gd name="connsiteX62" fmla="*/ 220956 w 320997"/>
                  <a:gd name="connsiteY62" fmla="*/ 173036 h 180974"/>
                  <a:gd name="connsiteX63" fmla="*/ 246356 w 320997"/>
                  <a:gd name="connsiteY63" fmla="*/ 168274 h 180974"/>
                  <a:gd name="connsiteX64" fmla="*/ 255881 w 320997"/>
                  <a:gd name="connsiteY64" fmla="*/ 165099 h 180974"/>
                  <a:gd name="connsiteX65" fmla="*/ 268581 w 320997"/>
                  <a:gd name="connsiteY65" fmla="*/ 161924 h 180974"/>
                  <a:gd name="connsiteX66" fmla="*/ 276519 w 320997"/>
                  <a:gd name="connsiteY66" fmla="*/ 158749 h 180974"/>
                  <a:gd name="connsiteX67" fmla="*/ 284456 w 320997"/>
                  <a:gd name="connsiteY67" fmla="*/ 157161 h 180974"/>
                  <a:gd name="connsiteX68" fmla="*/ 298744 w 320997"/>
                  <a:gd name="connsiteY68" fmla="*/ 153986 h 180974"/>
                  <a:gd name="connsiteX69" fmla="*/ 316206 w 320997"/>
                  <a:gd name="connsiteY69" fmla="*/ 142874 h 180974"/>
                  <a:gd name="connsiteX70" fmla="*/ 314619 w 320997"/>
                  <a:gd name="connsiteY70" fmla="*/ 138111 h 180974"/>
                  <a:gd name="connsiteX71" fmla="*/ 309856 w 320997"/>
                  <a:gd name="connsiteY71" fmla="*/ 134936 h 180974"/>
                  <a:gd name="connsiteX72" fmla="*/ 308269 w 320997"/>
                  <a:gd name="connsiteY72" fmla="*/ 115886 h 180974"/>
                  <a:gd name="connsiteX73" fmla="*/ 311444 w 320997"/>
                  <a:gd name="connsiteY73" fmla="*/ 106361 h 180974"/>
                  <a:gd name="connsiteX74" fmla="*/ 306681 w 320997"/>
                  <a:gd name="connsiteY74" fmla="*/ 98424 h 180974"/>
                  <a:gd name="connsiteX75" fmla="*/ 305094 w 320997"/>
                  <a:gd name="connsiteY75" fmla="*/ 93661 h 180974"/>
                  <a:gd name="connsiteX76" fmla="*/ 308269 w 320997"/>
                  <a:gd name="connsiteY76" fmla="*/ 80961 h 180974"/>
                  <a:gd name="connsiteX77" fmla="*/ 317794 w 320997"/>
                  <a:gd name="connsiteY77" fmla="*/ 77786 h 180974"/>
                  <a:gd name="connsiteX78" fmla="*/ 317794 w 320997"/>
                  <a:gd name="connsiteY78" fmla="*/ 52386 h 180974"/>
                  <a:gd name="connsiteX79" fmla="*/ 308269 w 320997"/>
                  <a:gd name="connsiteY79" fmla="*/ 50799 h 180974"/>
                  <a:gd name="connsiteX80" fmla="*/ 305094 w 320997"/>
                  <a:gd name="connsiteY80" fmla="*/ 42861 h 180974"/>
                  <a:gd name="connsiteX81" fmla="*/ 298744 w 320997"/>
                  <a:gd name="connsiteY81" fmla="*/ 41274 h 180974"/>
                  <a:gd name="connsiteX82" fmla="*/ 287631 w 320997"/>
                  <a:gd name="connsiteY82" fmla="*/ 31749 h 180974"/>
                  <a:gd name="connsiteX83" fmla="*/ 274931 w 320997"/>
                  <a:gd name="connsiteY83" fmla="*/ 14286 h 180974"/>
                  <a:gd name="connsiteX84" fmla="*/ 273344 w 320997"/>
                  <a:gd name="connsiteY84" fmla="*/ 19049 h 180974"/>
                  <a:gd name="connsiteX85" fmla="*/ 271756 w 320997"/>
                  <a:gd name="connsiteY85" fmla="*/ 25399 h 180974"/>
                  <a:gd name="connsiteX86" fmla="*/ 259056 w 320997"/>
                  <a:gd name="connsiteY86" fmla="*/ 30161 h 180974"/>
                  <a:gd name="connsiteX87" fmla="*/ 240006 w 320997"/>
                  <a:gd name="connsiteY87" fmla="*/ 28574 h 180974"/>
                  <a:gd name="connsiteX88" fmla="*/ 233656 w 320997"/>
                  <a:gd name="connsiteY88" fmla="*/ 44449 h 180974"/>
                  <a:gd name="connsiteX89" fmla="*/ 230481 w 320997"/>
                  <a:gd name="connsiteY89" fmla="*/ 38099 h 180974"/>
                  <a:gd name="connsiteX90" fmla="*/ 228894 w 320997"/>
                  <a:gd name="connsiteY90" fmla="*/ 33336 h 180974"/>
                  <a:gd name="connsiteX91" fmla="*/ 224131 w 320997"/>
                  <a:gd name="connsiteY91" fmla="*/ 31749 h 180974"/>
                  <a:gd name="connsiteX92" fmla="*/ 201906 w 320997"/>
                  <a:gd name="connsiteY92" fmla="*/ 30161 h 180974"/>
                  <a:gd name="connsiteX93" fmla="*/ 200319 w 320997"/>
                  <a:gd name="connsiteY93" fmla="*/ 22224 h 180974"/>
                  <a:gd name="connsiteX94" fmla="*/ 186031 w 320997"/>
                  <a:gd name="connsiteY94" fmla="*/ 25399 h 180974"/>
                  <a:gd name="connsiteX95" fmla="*/ 181269 w 320997"/>
                  <a:gd name="connsiteY95" fmla="*/ 23811 h 180974"/>
                  <a:gd name="connsiteX96" fmla="*/ 179681 w 320997"/>
                  <a:gd name="connsiteY96" fmla="*/ 19049 h 180974"/>
                  <a:gd name="connsiteX97" fmla="*/ 174919 w 320997"/>
                  <a:gd name="connsiteY97" fmla="*/ 7936 h 180974"/>
                  <a:gd name="connsiteX98" fmla="*/ 170156 w 320997"/>
                  <a:gd name="connsiteY98" fmla="*/ 4761 h 180974"/>
                  <a:gd name="connsiteX99" fmla="*/ 162219 w 320997"/>
                  <a:gd name="connsiteY99" fmla="*/ 9524 h 180974"/>
                  <a:gd name="connsiteX100" fmla="*/ 152694 w 320997"/>
                  <a:gd name="connsiteY100" fmla="*/ 12699 h 180974"/>
                  <a:gd name="connsiteX101" fmla="*/ 151106 w 320997"/>
                  <a:gd name="connsiteY101" fmla="*/ 17461 h 180974"/>
                  <a:gd name="connsiteX0" fmla="*/ 151106 w 320997"/>
                  <a:gd name="connsiteY0" fmla="*/ 17461 h 180974"/>
                  <a:gd name="connsiteX1" fmla="*/ 152694 w 320997"/>
                  <a:gd name="connsiteY1" fmla="*/ 28574 h 180974"/>
                  <a:gd name="connsiteX2" fmla="*/ 146344 w 320997"/>
                  <a:gd name="connsiteY2" fmla="*/ 31749 h 180974"/>
                  <a:gd name="connsiteX3" fmla="*/ 141581 w 320997"/>
                  <a:gd name="connsiteY3" fmla="*/ 34924 h 180974"/>
                  <a:gd name="connsiteX4" fmla="*/ 138406 w 320997"/>
                  <a:gd name="connsiteY4" fmla="*/ 30161 h 180974"/>
                  <a:gd name="connsiteX5" fmla="*/ 139994 w 320997"/>
                  <a:gd name="connsiteY5" fmla="*/ 36511 h 180974"/>
                  <a:gd name="connsiteX6" fmla="*/ 132056 w 320997"/>
                  <a:gd name="connsiteY6" fmla="*/ 80961 h 180974"/>
                  <a:gd name="connsiteX7" fmla="*/ 117769 w 320997"/>
                  <a:gd name="connsiteY7" fmla="*/ 79374 h 180974"/>
                  <a:gd name="connsiteX8" fmla="*/ 95544 w 320997"/>
                  <a:gd name="connsiteY8" fmla="*/ 74611 h 180974"/>
                  <a:gd name="connsiteX9" fmla="*/ 66969 w 320997"/>
                  <a:gd name="connsiteY9" fmla="*/ 79374 h 180974"/>
                  <a:gd name="connsiteX10" fmla="*/ 70144 w 320997"/>
                  <a:gd name="connsiteY10" fmla="*/ 73024 h 180974"/>
                  <a:gd name="connsiteX11" fmla="*/ 74906 w 320997"/>
                  <a:gd name="connsiteY11" fmla="*/ 68261 h 180974"/>
                  <a:gd name="connsiteX12" fmla="*/ 82844 w 320997"/>
                  <a:gd name="connsiteY12" fmla="*/ 52386 h 180974"/>
                  <a:gd name="connsiteX13" fmla="*/ 89194 w 320997"/>
                  <a:gd name="connsiteY13" fmla="*/ 44449 h 180974"/>
                  <a:gd name="connsiteX14" fmla="*/ 97131 w 320997"/>
                  <a:gd name="connsiteY14" fmla="*/ 34924 h 180974"/>
                  <a:gd name="connsiteX15" fmla="*/ 98719 w 320997"/>
                  <a:gd name="connsiteY15" fmla="*/ 28574 h 180974"/>
                  <a:gd name="connsiteX16" fmla="*/ 87606 w 320997"/>
                  <a:gd name="connsiteY16" fmla="*/ 47624 h 180974"/>
                  <a:gd name="connsiteX17" fmla="*/ 86019 w 320997"/>
                  <a:gd name="connsiteY17" fmla="*/ 52386 h 180974"/>
                  <a:gd name="connsiteX18" fmla="*/ 82844 w 320997"/>
                  <a:gd name="connsiteY18" fmla="*/ 57149 h 180974"/>
                  <a:gd name="connsiteX19" fmla="*/ 81256 w 320997"/>
                  <a:gd name="connsiteY19" fmla="*/ 61911 h 180974"/>
                  <a:gd name="connsiteX20" fmla="*/ 73319 w 320997"/>
                  <a:gd name="connsiteY20" fmla="*/ 66674 h 180974"/>
                  <a:gd name="connsiteX21" fmla="*/ 71731 w 320997"/>
                  <a:gd name="connsiteY21" fmla="*/ 71436 h 180974"/>
                  <a:gd name="connsiteX22" fmla="*/ 35219 w 320997"/>
                  <a:gd name="connsiteY22" fmla="*/ 82549 h 180974"/>
                  <a:gd name="connsiteX23" fmla="*/ 16169 w 320997"/>
                  <a:gd name="connsiteY23" fmla="*/ 82549 h 180974"/>
                  <a:gd name="connsiteX24" fmla="*/ 14581 w 320997"/>
                  <a:gd name="connsiteY24" fmla="*/ 95249 h 180974"/>
                  <a:gd name="connsiteX25" fmla="*/ 12994 w 320997"/>
                  <a:gd name="connsiteY25" fmla="*/ 100011 h 180974"/>
                  <a:gd name="connsiteX26" fmla="*/ 11406 w 320997"/>
                  <a:gd name="connsiteY26" fmla="*/ 107949 h 180974"/>
                  <a:gd name="connsiteX27" fmla="*/ 14581 w 320997"/>
                  <a:gd name="connsiteY27" fmla="*/ 117474 h 180974"/>
                  <a:gd name="connsiteX28" fmla="*/ 19344 w 320997"/>
                  <a:gd name="connsiteY28" fmla="*/ 120649 h 180974"/>
                  <a:gd name="connsiteX29" fmla="*/ 17756 w 320997"/>
                  <a:gd name="connsiteY29" fmla="*/ 138111 h 180974"/>
                  <a:gd name="connsiteX30" fmla="*/ 14581 w 320997"/>
                  <a:gd name="connsiteY30" fmla="*/ 146049 h 180974"/>
                  <a:gd name="connsiteX31" fmla="*/ 5056 w 320997"/>
                  <a:gd name="connsiteY31" fmla="*/ 147636 h 180974"/>
                  <a:gd name="connsiteX32" fmla="*/ 3469 w 320997"/>
                  <a:gd name="connsiteY32" fmla="*/ 152399 h 180974"/>
                  <a:gd name="connsiteX33" fmla="*/ 294 w 320997"/>
                  <a:gd name="connsiteY33" fmla="*/ 157161 h 180974"/>
                  <a:gd name="connsiteX34" fmla="*/ 5056 w 320997"/>
                  <a:gd name="connsiteY34" fmla="*/ 152399 h 180974"/>
                  <a:gd name="connsiteX35" fmla="*/ 12994 w 320997"/>
                  <a:gd name="connsiteY35" fmla="*/ 139699 h 180974"/>
                  <a:gd name="connsiteX36" fmla="*/ 17756 w 320997"/>
                  <a:gd name="connsiteY36" fmla="*/ 134936 h 180974"/>
                  <a:gd name="connsiteX37" fmla="*/ 25694 w 320997"/>
                  <a:gd name="connsiteY37" fmla="*/ 128586 h 180974"/>
                  <a:gd name="connsiteX38" fmla="*/ 36806 w 320997"/>
                  <a:gd name="connsiteY38" fmla="*/ 130174 h 180974"/>
                  <a:gd name="connsiteX39" fmla="*/ 41569 w 320997"/>
                  <a:gd name="connsiteY39" fmla="*/ 131761 h 180974"/>
                  <a:gd name="connsiteX40" fmla="*/ 46331 w 320997"/>
                  <a:gd name="connsiteY40" fmla="*/ 130174 h 180974"/>
                  <a:gd name="connsiteX41" fmla="*/ 60619 w 320997"/>
                  <a:gd name="connsiteY41" fmla="*/ 131761 h 180974"/>
                  <a:gd name="connsiteX42" fmla="*/ 65381 w 320997"/>
                  <a:gd name="connsiteY42" fmla="*/ 130174 h 180974"/>
                  <a:gd name="connsiteX43" fmla="*/ 74906 w 320997"/>
                  <a:gd name="connsiteY43" fmla="*/ 128586 h 180974"/>
                  <a:gd name="connsiteX44" fmla="*/ 81256 w 320997"/>
                  <a:gd name="connsiteY44" fmla="*/ 126999 h 180974"/>
                  <a:gd name="connsiteX45" fmla="*/ 76494 w 320997"/>
                  <a:gd name="connsiteY45" fmla="*/ 131761 h 180974"/>
                  <a:gd name="connsiteX46" fmla="*/ 63794 w 320997"/>
                  <a:gd name="connsiteY46" fmla="*/ 138111 h 180974"/>
                  <a:gd name="connsiteX47" fmla="*/ 54269 w 320997"/>
                  <a:gd name="connsiteY47" fmla="*/ 141286 h 180974"/>
                  <a:gd name="connsiteX48" fmla="*/ 52681 w 320997"/>
                  <a:gd name="connsiteY48" fmla="*/ 150811 h 180974"/>
                  <a:gd name="connsiteX49" fmla="*/ 47919 w 320997"/>
                  <a:gd name="connsiteY49" fmla="*/ 149224 h 180974"/>
                  <a:gd name="connsiteX50" fmla="*/ 38394 w 320997"/>
                  <a:gd name="connsiteY50" fmla="*/ 158749 h 180974"/>
                  <a:gd name="connsiteX51" fmla="*/ 33631 w 320997"/>
                  <a:gd name="connsiteY51" fmla="*/ 160336 h 180974"/>
                  <a:gd name="connsiteX52" fmla="*/ 30456 w 320997"/>
                  <a:gd name="connsiteY52" fmla="*/ 165099 h 180974"/>
                  <a:gd name="connsiteX53" fmla="*/ 28869 w 320997"/>
                  <a:gd name="connsiteY53" fmla="*/ 176211 h 180974"/>
                  <a:gd name="connsiteX54" fmla="*/ 33631 w 320997"/>
                  <a:gd name="connsiteY54" fmla="*/ 177799 h 180974"/>
                  <a:gd name="connsiteX55" fmla="*/ 49506 w 320997"/>
                  <a:gd name="connsiteY55" fmla="*/ 179386 h 180974"/>
                  <a:gd name="connsiteX56" fmla="*/ 59031 w 320997"/>
                  <a:gd name="connsiteY56" fmla="*/ 180974 h 180974"/>
                  <a:gd name="connsiteX57" fmla="*/ 76494 w 320997"/>
                  <a:gd name="connsiteY57" fmla="*/ 179386 h 180974"/>
                  <a:gd name="connsiteX58" fmla="*/ 82844 w 320997"/>
                  <a:gd name="connsiteY58" fmla="*/ 177799 h 180974"/>
                  <a:gd name="connsiteX59" fmla="*/ 93956 w 320997"/>
                  <a:gd name="connsiteY59" fmla="*/ 176211 h 180974"/>
                  <a:gd name="connsiteX60" fmla="*/ 119356 w 320997"/>
                  <a:gd name="connsiteY60" fmla="*/ 171449 h 180974"/>
                  <a:gd name="connsiteX61" fmla="*/ 200319 w 320997"/>
                  <a:gd name="connsiteY61" fmla="*/ 173036 h 180974"/>
                  <a:gd name="connsiteX62" fmla="*/ 220956 w 320997"/>
                  <a:gd name="connsiteY62" fmla="*/ 173036 h 180974"/>
                  <a:gd name="connsiteX63" fmla="*/ 246356 w 320997"/>
                  <a:gd name="connsiteY63" fmla="*/ 168274 h 180974"/>
                  <a:gd name="connsiteX64" fmla="*/ 255881 w 320997"/>
                  <a:gd name="connsiteY64" fmla="*/ 165099 h 180974"/>
                  <a:gd name="connsiteX65" fmla="*/ 268581 w 320997"/>
                  <a:gd name="connsiteY65" fmla="*/ 161924 h 180974"/>
                  <a:gd name="connsiteX66" fmla="*/ 276519 w 320997"/>
                  <a:gd name="connsiteY66" fmla="*/ 158749 h 180974"/>
                  <a:gd name="connsiteX67" fmla="*/ 284456 w 320997"/>
                  <a:gd name="connsiteY67" fmla="*/ 157161 h 180974"/>
                  <a:gd name="connsiteX68" fmla="*/ 298744 w 320997"/>
                  <a:gd name="connsiteY68" fmla="*/ 153986 h 180974"/>
                  <a:gd name="connsiteX69" fmla="*/ 316206 w 320997"/>
                  <a:gd name="connsiteY69" fmla="*/ 142874 h 180974"/>
                  <a:gd name="connsiteX70" fmla="*/ 314619 w 320997"/>
                  <a:gd name="connsiteY70" fmla="*/ 138111 h 180974"/>
                  <a:gd name="connsiteX71" fmla="*/ 309856 w 320997"/>
                  <a:gd name="connsiteY71" fmla="*/ 134936 h 180974"/>
                  <a:gd name="connsiteX72" fmla="*/ 308269 w 320997"/>
                  <a:gd name="connsiteY72" fmla="*/ 115886 h 180974"/>
                  <a:gd name="connsiteX73" fmla="*/ 311444 w 320997"/>
                  <a:gd name="connsiteY73" fmla="*/ 106361 h 180974"/>
                  <a:gd name="connsiteX74" fmla="*/ 306681 w 320997"/>
                  <a:gd name="connsiteY74" fmla="*/ 98424 h 180974"/>
                  <a:gd name="connsiteX75" fmla="*/ 305094 w 320997"/>
                  <a:gd name="connsiteY75" fmla="*/ 93661 h 180974"/>
                  <a:gd name="connsiteX76" fmla="*/ 308269 w 320997"/>
                  <a:gd name="connsiteY76" fmla="*/ 80961 h 180974"/>
                  <a:gd name="connsiteX77" fmla="*/ 317794 w 320997"/>
                  <a:gd name="connsiteY77" fmla="*/ 77786 h 180974"/>
                  <a:gd name="connsiteX78" fmla="*/ 317794 w 320997"/>
                  <a:gd name="connsiteY78" fmla="*/ 52386 h 180974"/>
                  <a:gd name="connsiteX79" fmla="*/ 308269 w 320997"/>
                  <a:gd name="connsiteY79" fmla="*/ 50799 h 180974"/>
                  <a:gd name="connsiteX80" fmla="*/ 305094 w 320997"/>
                  <a:gd name="connsiteY80" fmla="*/ 42861 h 180974"/>
                  <a:gd name="connsiteX81" fmla="*/ 298744 w 320997"/>
                  <a:gd name="connsiteY81" fmla="*/ 41274 h 180974"/>
                  <a:gd name="connsiteX82" fmla="*/ 287631 w 320997"/>
                  <a:gd name="connsiteY82" fmla="*/ 31749 h 180974"/>
                  <a:gd name="connsiteX83" fmla="*/ 273344 w 320997"/>
                  <a:gd name="connsiteY83" fmla="*/ 19049 h 180974"/>
                  <a:gd name="connsiteX84" fmla="*/ 271756 w 320997"/>
                  <a:gd name="connsiteY84" fmla="*/ 25399 h 180974"/>
                  <a:gd name="connsiteX85" fmla="*/ 259056 w 320997"/>
                  <a:gd name="connsiteY85" fmla="*/ 30161 h 180974"/>
                  <a:gd name="connsiteX86" fmla="*/ 240006 w 320997"/>
                  <a:gd name="connsiteY86" fmla="*/ 28574 h 180974"/>
                  <a:gd name="connsiteX87" fmla="*/ 233656 w 320997"/>
                  <a:gd name="connsiteY87" fmla="*/ 44449 h 180974"/>
                  <a:gd name="connsiteX88" fmla="*/ 230481 w 320997"/>
                  <a:gd name="connsiteY88" fmla="*/ 38099 h 180974"/>
                  <a:gd name="connsiteX89" fmla="*/ 228894 w 320997"/>
                  <a:gd name="connsiteY89" fmla="*/ 33336 h 180974"/>
                  <a:gd name="connsiteX90" fmla="*/ 224131 w 320997"/>
                  <a:gd name="connsiteY90" fmla="*/ 31749 h 180974"/>
                  <a:gd name="connsiteX91" fmla="*/ 201906 w 320997"/>
                  <a:gd name="connsiteY91" fmla="*/ 30161 h 180974"/>
                  <a:gd name="connsiteX92" fmla="*/ 200319 w 320997"/>
                  <a:gd name="connsiteY92" fmla="*/ 22224 h 180974"/>
                  <a:gd name="connsiteX93" fmla="*/ 186031 w 320997"/>
                  <a:gd name="connsiteY93" fmla="*/ 25399 h 180974"/>
                  <a:gd name="connsiteX94" fmla="*/ 181269 w 320997"/>
                  <a:gd name="connsiteY94" fmla="*/ 23811 h 180974"/>
                  <a:gd name="connsiteX95" fmla="*/ 179681 w 320997"/>
                  <a:gd name="connsiteY95" fmla="*/ 19049 h 180974"/>
                  <a:gd name="connsiteX96" fmla="*/ 174919 w 320997"/>
                  <a:gd name="connsiteY96" fmla="*/ 7936 h 180974"/>
                  <a:gd name="connsiteX97" fmla="*/ 170156 w 320997"/>
                  <a:gd name="connsiteY97" fmla="*/ 4761 h 180974"/>
                  <a:gd name="connsiteX98" fmla="*/ 162219 w 320997"/>
                  <a:gd name="connsiteY98" fmla="*/ 9524 h 180974"/>
                  <a:gd name="connsiteX99" fmla="*/ 152694 w 320997"/>
                  <a:gd name="connsiteY99" fmla="*/ 12699 h 180974"/>
                  <a:gd name="connsiteX100" fmla="*/ 151106 w 320997"/>
                  <a:gd name="connsiteY100" fmla="*/ 17461 h 180974"/>
                  <a:gd name="connsiteX0" fmla="*/ 151106 w 320997"/>
                  <a:gd name="connsiteY0" fmla="*/ 17461 h 180974"/>
                  <a:gd name="connsiteX1" fmla="*/ 152694 w 320997"/>
                  <a:gd name="connsiteY1" fmla="*/ 28574 h 180974"/>
                  <a:gd name="connsiteX2" fmla="*/ 146344 w 320997"/>
                  <a:gd name="connsiteY2" fmla="*/ 31749 h 180974"/>
                  <a:gd name="connsiteX3" fmla="*/ 141581 w 320997"/>
                  <a:gd name="connsiteY3" fmla="*/ 34924 h 180974"/>
                  <a:gd name="connsiteX4" fmla="*/ 138406 w 320997"/>
                  <a:gd name="connsiteY4" fmla="*/ 30161 h 180974"/>
                  <a:gd name="connsiteX5" fmla="*/ 139994 w 320997"/>
                  <a:gd name="connsiteY5" fmla="*/ 36511 h 180974"/>
                  <a:gd name="connsiteX6" fmla="*/ 132056 w 320997"/>
                  <a:gd name="connsiteY6" fmla="*/ 80961 h 180974"/>
                  <a:gd name="connsiteX7" fmla="*/ 117769 w 320997"/>
                  <a:gd name="connsiteY7" fmla="*/ 79374 h 180974"/>
                  <a:gd name="connsiteX8" fmla="*/ 95544 w 320997"/>
                  <a:gd name="connsiteY8" fmla="*/ 74611 h 180974"/>
                  <a:gd name="connsiteX9" fmla="*/ 66969 w 320997"/>
                  <a:gd name="connsiteY9" fmla="*/ 79374 h 180974"/>
                  <a:gd name="connsiteX10" fmla="*/ 70144 w 320997"/>
                  <a:gd name="connsiteY10" fmla="*/ 73024 h 180974"/>
                  <a:gd name="connsiteX11" fmla="*/ 74906 w 320997"/>
                  <a:gd name="connsiteY11" fmla="*/ 68261 h 180974"/>
                  <a:gd name="connsiteX12" fmla="*/ 82844 w 320997"/>
                  <a:gd name="connsiteY12" fmla="*/ 52386 h 180974"/>
                  <a:gd name="connsiteX13" fmla="*/ 89194 w 320997"/>
                  <a:gd name="connsiteY13" fmla="*/ 44449 h 180974"/>
                  <a:gd name="connsiteX14" fmla="*/ 97131 w 320997"/>
                  <a:gd name="connsiteY14" fmla="*/ 34924 h 180974"/>
                  <a:gd name="connsiteX15" fmla="*/ 98719 w 320997"/>
                  <a:gd name="connsiteY15" fmla="*/ 28574 h 180974"/>
                  <a:gd name="connsiteX16" fmla="*/ 87606 w 320997"/>
                  <a:gd name="connsiteY16" fmla="*/ 47624 h 180974"/>
                  <a:gd name="connsiteX17" fmla="*/ 86019 w 320997"/>
                  <a:gd name="connsiteY17" fmla="*/ 52386 h 180974"/>
                  <a:gd name="connsiteX18" fmla="*/ 82844 w 320997"/>
                  <a:gd name="connsiteY18" fmla="*/ 57149 h 180974"/>
                  <a:gd name="connsiteX19" fmla="*/ 81256 w 320997"/>
                  <a:gd name="connsiteY19" fmla="*/ 61911 h 180974"/>
                  <a:gd name="connsiteX20" fmla="*/ 73319 w 320997"/>
                  <a:gd name="connsiteY20" fmla="*/ 66674 h 180974"/>
                  <a:gd name="connsiteX21" fmla="*/ 71731 w 320997"/>
                  <a:gd name="connsiteY21" fmla="*/ 71436 h 180974"/>
                  <a:gd name="connsiteX22" fmla="*/ 35219 w 320997"/>
                  <a:gd name="connsiteY22" fmla="*/ 82549 h 180974"/>
                  <a:gd name="connsiteX23" fmla="*/ 16169 w 320997"/>
                  <a:gd name="connsiteY23" fmla="*/ 82549 h 180974"/>
                  <a:gd name="connsiteX24" fmla="*/ 14581 w 320997"/>
                  <a:gd name="connsiteY24" fmla="*/ 95249 h 180974"/>
                  <a:gd name="connsiteX25" fmla="*/ 12994 w 320997"/>
                  <a:gd name="connsiteY25" fmla="*/ 100011 h 180974"/>
                  <a:gd name="connsiteX26" fmla="*/ 11406 w 320997"/>
                  <a:gd name="connsiteY26" fmla="*/ 107949 h 180974"/>
                  <a:gd name="connsiteX27" fmla="*/ 14581 w 320997"/>
                  <a:gd name="connsiteY27" fmla="*/ 117474 h 180974"/>
                  <a:gd name="connsiteX28" fmla="*/ 19344 w 320997"/>
                  <a:gd name="connsiteY28" fmla="*/ 120649 h 180974"/>
                  <a:gd name="connsiteX29" fmla="*/ 17756 w 320997"/>
                  <a:gd name="connsiteY29" fmla="*/ 138111 h 180974"/>
                  <a:gd name="connsiteX30" fmla="*/ 14581 w 320997"/>
                  <a:gd name="connsiteY30" fmla="*/ 146049 h 180974"/>
                  <a:gd name="connsiteX31" fmla="*/ 5056 w 320997"/>
                  <a:gd name="connsiteY31" fmla="*/ 147636 h 180974"/>
                  <a:gd name="connsiteX32" fmla="*/ 3469 w 320997"/>
                  <a:gd name="connsiteY32" fmla="*/ 152399 h 180974"/>
                  <a:gd name="connsiteX33" fmla="*/ 294 w 320997"/>
                  <a:gd name="connsiteY33" fmla="*/ 157161 h 180974"/>
                  <a:gd name="connsiteX34" fmla="*/ 5056 w 320997"/>
                  <a:gd name="connsiteY34" fmla="*/ 152399 h 180974"/>
                  <a:gd name="connsiteX35" fmla="*/ 12994 w 320997"/>
                  <a:gd name="connsiteY35" fmla="*/ 139699 h 180974"/>
                  <a:gd name="connsiteX36" fmla="*/ 17756 w 320997"/>
                  <a:gd name="connsiteY36" fmla="*/ 134936 h 180974"/>
                  <a:gd name="connsiteX37" fmla="*/ 25694 w 320997"/>
                  <a:gd name="connsiteY37" fmla="*/ 128586 h 180974"/>
                  <a:gd name="connsiteX38" fmla="*/ 36806 w 320997"/>
                  <a:gd name="connsiteY38" fmla="*/ 130174 h 180974"/>
                  <a:gd name="connsiteX39" fmla="*/ 41569 w 320997"/>
                  <a:gd name="connsiteY39" fmla="*/ 131761 h 180974"/>
                  <a:gd name="connsiteX40" fmla="*/ 46331 w 320997"/>
                  <a:gd name="connsiteY40" fmla="*/ 130174 h 180974"/>
                  <a:gd name="connsiteX41" fmla="*/ 60619 w 320997"/>
                  <a:gd name="connsiteY41" fmla="*/ 131761 h 180974"/>
                  <a:gd name="connsiteX42" fmla="*/ 65381 w 320997"/>
                  <a:gd name="connsiteY42" fmla="*/ 130174 h 180974"/>
                  <a:gd name="connsiteX43" fmla="*/ 74906 w 320997"/>
                  <a:gd name="connsiteY43" fmla="*/ 128586 h 180974"/>
                  <a:gd name="connsiteX44" fmla="*/ 81256 w 320997"/>
                  <a:gd name="connsiteY44" fmla="*/ 126999 h 180974"/>
                  <a:gd name="connsiteX45" fmla="*/ 63794 w 320997"/>
                  <a:gd name="connsiteY45" fmla="*/ 138111 h 180974"/>
                  <a:gd name="connsiteX46" fmla="*/ 54269 w 320997"/>
                  <a:gd name="connsiteY46" fmla="*/ 141286 h 180974"/>
                  <a:gd name="connsiteX47" fmla="*/ 52681 w 320997"/>
                  <a:gd name="connsiteY47" fmla="*/ 150811 h 180974"/>
                  <a:gd name="connsiteX48" fmla="*/ 47919 w 320997"/>
                  <a:gd name="connsiteY48" fmla="*/ 149224 h 180974"/>
                  <a:gd name="connsiteX49" fmla="*/ 38394 w 320997"/>
                  <a:gd name="connsiteY49" fmla="*/ 158749 h 180974"/>
                  <a:gd name="connsiteX50" fmla="*/ 33631 w 320997"/>
                  <a:gd name="connsiteY50" fmla="*/ 160336 h 180974"/>
                  <a:gd name="connsiteX51" fmla="*/ 30456 w 320997"/>
                  <a:gd name="connsiteY51" fmla="*/ 165099 h 180974"/>
                  <a:gd name="connsiteX52" fmla="*/ 28869 w 320997"/>
                  <a:gd name="connsiteY52" fmla="*/ 176211 h 180974"/>
                  <a:gd name="connsiteX53" fmla="*/ 33631 w 320997"/>
                  <a:gd name="connsiteY53" fmla="*/ 177799 h 180974"/>
                  <a:gd name="connsiteX54" fmla="*/ 49506 w 320997"/>
                  <a:gd name="connsiteY54" fmla="*/ 179386 h 180974"/>
                  <a:gd name="connsiteX55" fmla="*/ 59031 w 320997"/>
                  <a:gd name="connsiteY55" fmla="*/ 180974 h 180974"/>
                  <a:gd name="connsiteX56" fmla="*/ 76494 w 320997"/>
                  <a:gd name="connsiteY56" fmla="*/ 179386 h 180974"/>
                  <a:gd name="connsiteX57" fmla="*/ 82844 w 320997"/>
                  <a:gd name="connsiteY57" fmla="*/ 177799 h 180974"/>
                  <a:gd name="connsiteX58" fmla="*/ 93956 w 320997"/>
                  <a:gd name="connsiteY58" fmla="*/ 176211 h 180974"/>
                  <a:gd name="connsiteX59" fmla="*/ 119356 w 320997"/>
                  <a:gd name="connsiteY59" fmla="*/ 171449 h 180974"/>
                  <a:gd name="connsiteX60" fmla="*/ 200319 w 320997"/>
                  <a:gd name="connsiteY60" fmla="*/ 173036 h 180974"/>
                  <a:gd name="connsiteX61" fmla="*/ 220956 w 320997"/>
                  <a:gd name="connsiteY61" fmla="*/ 173036 h 180974"/>
                  <a:gd name="connsiteX62" fmla="*/ 246356 w 320997"/>
                  <a:gd name="connsiteY62" fmla="*/ 168274 h 180974"/>
                  <a:gd name="connsiteX63" fmla="*/ 255881 w 320997"/>
                  <a:gd name="connsiteY63" fmla="*/ 165099 h 180974"/>
                  <a:gd name="connsiteX64" fmla="*/ 268581 w 320997"/>
                  <a:gd name="connsiteY64" fmla="*/ 161924 h 180974"/>
                  <a:gd name="connsiteX65" fmla="*/ 276519 w 320997"/>
                  <a:gd name="connsiteY65" fmla="*/ 158749 h 180974"/>
                  <a:gd name="connsiteX66" fmla="*/ 284456 w 320997"/>
                  <a:gd name="connsiteY66" fmla="*/ 157161 h 180974"/>
                  <a:gd name="connsiteX67" fmla="*/ 298744 w 320997"/>
                  <a:gd name="connsiteY67" fmla="*/ 153986 h 180974"/>
                  <a:gd name="connsiteX68" fmla="*/ 316206 w 320997"/>
                  <a:gd name="connsiteY68" fmla="*/ 142874 h 180974"/>
                  <a:gd name="connsiteX69" fmla="*/ 314619 w 320997"/>
                  <a:gd name="connsiteY69" fmla="*/ 138111 h 180974"/>
                  <a:gd name="connsiteX70" fmla="*/ 309856 w 320997"/>
                  <a:gd name="connsiteY70" fmla="*/ 134936 h 180974"/>
                  <a:gd name="connsiteX71" fmla="*/ 308269 w 320997"/>
                  <a:gd name="connsiteY71" fmla="*/ 115886 h 180974"/>
                  <a:gd name="connsiteX72" fmla="*/ 311444 w 320997"/>
                  <a:gd name="connsiteY72" fmla="*/ 106361 h 180974"/>
                  <a:gd name="connsiteX73" fmla="*/ 306681 w 320997"/>
                  <a:gd name="connsiteY73" fmla="*/ 98424 h 180974"/>
                  <a:gd name="connsiteX74" fmla="*/ 305094 w 320997"/>
                  <a:gd name="connsiteY74" fmla="*/ 93661 h 180974"/>
                  <a:gd name="connsiteX75" fmla="*/ 308269 w 320997"/>
                  <a:gd name="connsiteY75" fmla="*/ 80961 h 180974"/>
                  <a:gd name="connsiteX76" fmla="*/ 317794 w 320997"/>
                  <a:gd name="connsiteY76" fmla="*/ 77786 h 180974"/>
                  <a:gd name="connsiteX77" fmla="*/ 317794 w 320997"/>
                  <a:gd name="connsiteY77" fmla="*/ 52386 h 180974"/>
                  <a:gd name="connsiteX78" fmla="*/ 308269 w 320997"/>
                  <a:gd name="connsiteY78" fmla="*/ 50799 h 180974"/>
                  <a:gd name="connsiteX79" fmla="*/ 305094 w 320997"/>
                  <a:gd name="connsiteY79" fmla="*/ 42861 h 180974"/>
                  <a:gd name="connsiteX80" fmla="*/ 298744 w 320997"/>
                  <a:gd name="connsiteY80" fmla="*/ 41274 h 180974"/>
                  <a:gd name="connsiteX81" fmla="*/ 287631 w 320997"/>
                  <a:gd name="connsiteY81" fmla="*/ 31749 h 180974"/>
                  <a:gd name="connsiteX82" fmla="*/ 273344 w 320997"/>
                  <a:gd name="connsiteY82" fmla="*/ 19049 h 180974"/>
                  <a:gd name="connsiteX83" fmla="*/ 271756 w 320997"/>
                  <a:gd name="connsiteY83" fmla="*/ 25399 h 180974"/>
                  <a:gd name="connsiteX84" fmla="*/ 259056 w 320997"/>
                  <a:gd name="connsiteY84" fmla="*/ 30161 h 180974"/>
                  <a:gd name="connsiteX85" fmla="*/ 240006 w 320997"/>
                  <a:gd name="connsiteY85" fmla="*/ 28574 h 180974"/>
                  <a:gd name="connsiteX86" fmla="*/ 233656 w 320997"/>
                  <a:gd name="connsiteY86" fmla="*/ 44449 h 180974"/>
                  <a:gd name="connsiteX87" fmla="*/ 230481 w 320997"/>
                  <a:gd name="connsiteY87" fmla="*/ 38099 h 180974"/>
                  <a:gd name="connsiteX88" fmla="*/ 228894 w 320997"/>
                  <a:gd name="connsiteY88" fmla="*/ 33336 h 180974"/>
                  <a:gd name="connsiteX89" fmla="*/ 224131 w 320997"/>
                  <a:gd name="connsiteY89" fmla="*/ 31749 h 180974"/>
                  <a:gd name="connsiteX90" fmla="*/ 201906 w 320997"/>
                  <a:gd name="connsiteY90" fmla="*/ 30161 h 180974"/>
                  <a:gd name="connsiteX91" fmla="*/ 200319 w 320997"/>
                  <a:gd name="connsiteY91" fmla="*/ 22224 h 180974"/>
                  <a:gd name="connsiteX92" fmla="*/ 186031 w 320997"/>
                  <a:gd name="connsiteY92" fmla="*/ 25399 h 180974"/>
                  <a:gd name="connsiteX93" fmla="*/ 181269 w 320997"/>
                  <a:gd name="connsiteY93" fmla="*/ 23811 h 180974"/>
                  <a:gd name="connsiteX94" fmla="*/ 179681 w 320997"/>
                  <a:gd name="connsiteY94" fmla="*/ 19049 h 180974"/>
                  <a:gd name="connsiteX95" fmla="*/ 174919 w 320997"/>
                  <a:gd name="connsiteY95" fmla="*/ 7936 h 180974"/>
                  <a:gd name="connsiteX96" fmla="*/ 170156 w 320997"/>
                  <a:gd name="connsiteY96" fmla="*/ 4761 h 180974"/>
                  <a:gd name="connsiteX97" fmla="*/ 162219 w 320997"/>
                  <a:gd name="connsiteY97" fmla="*/ 9524 h 180974"/>
                  <a:gd name="connsiteX98" fmla="*/ 152694 w 320997"/>
                  <a:gd name="connsiteY98" fmla="*/ 12699 h 180974"/>
                  <a:gd name="connsiteX99" fmla="*/ 151106 w 320997"/>
                  <a:gd name="connsiteY99" fmla="*/ 17461 h 180974"/>
                  <a:gd name="connsiteX0" fmla="*/ 151106 w 320997"/>
                  <a:gd name="connsiteY0" fmla="*/ 17461 h 180974"/>
                  <a:gd name="connsiteX1" fmla="*/ 152694 w 320997"/>
                  <a:gd name="connsiteY1" fmla="*/ 28574 h 180974"/>
                  <a:gd name="connsiteX2" fmla="*/ 146344 w 320997"/>
                  <a:gd name="connsiteY2" fmla="*/ 31749 h 180974"/>
                  <a:gd name="connsiteX3" fmla="*/ 141581 w 320997"/>
                  <a:gd name="connsiteY3" fmla="*/ 34924 h 180974"/>
                  <a:gd name="connsiteX4" fmla="*/ 138406 w 320997"/>
                  <a:gd name="connsiteY4" fmla="*/ 30161 h 180974"/>
                  <a:gd name="connsiteX5" fmla="*/ 139994 w 320997"/>
                  <a:gd name="connsiteY5" fmla="*/ 36511 h 180974"/>
                  <a:gd name="connsiteX6" fmla="*/ 132056 w 320997"/>
                  <a:gd name="connsiteY6" fmla="*/ 80961 h 180974"/>
                  <a:gd name="connsiteX7" fmla="*/ 117769 w 320997"/>
                  <a:gd name="connsiteY7" fmla="*/ 79374 h 180974"/>
                  <a:gd name="connsiteX8" fmla="*/ 95544 w 320997"/>
                  <a:gd name="connsiteY8" fmla="*/ 74611 h 180974"/>
                  <a:gd name="connsiteX9" fmla="*/ 66969 w 320997"/>
                  <a:gd name="connsiteY9" fmla="*/ 79374 h 180974"/>
                  <a:gd name="connsiteX10" fmla="*/ 70144 w 320997"/>
                  <a:gd name="connsiteY10" fmla="*/ 73024 h 180974"/>
                  <a:gd name="connsiteX11" fmla="*/ 74906 w 320997"/>
                  <a:gd name="connsiteY11" fmla="*/ 68261 h 180974"/>
                  <a:gd name="connsiteX12" fmla="*/ 82844 w 320997"/>
                  <a:gd name="connsiteY12" fmla="*/ 52386 h 180974"/>
                  <a:gd name="connsiteX13" fmla="*/ 89194 w 320997"/>
                  <a:gd name="connsiteY13" fmla="*/ 44449 h 180974"/>
                  <a:gd name="connsiteX14" fmla="*/ 97131 w 320997"/>
                  <a:gd name="connsiteY14" fmla="*/ 34924 h 180974"/>
                  <a:gd name="connsiteX15" fmla="*/ 98719 w 320997"/>
                  <a:gd name="connsiteY15" fmla="*/ 28574 h 180974"/>
                  <a:gd name="connsiteX16" fmla="*/ 87606 w 320997"/>
                  <a:gd name="connsiteY16" fmla="*/ 47624 h 180974"/>
                  <a:gd name="connsiteX17" fmla="*/ 86019 w 320997"/>
                  <a:gd name="connsiteY17" fmla="*/ 52386 h 180974"/>
                  <a:gd name="connsiteX18" fmla="*/ 82844 w 320997"/>
                  <a:gd name="connsiteY18" fmla="*/ 57149 h 180974"/>
                  <a:gd name="connsiteX19" fmla="*/ 81256 w 320997"/>
                  <a:gd name="connsiteY19" fmla="*/ 61911 h 180974"/>
                  <a:gd name="connsiteX20" fmla="*/ 73319 w 320997"/>
                  <a:gd name="connsiteY20" fmla="*/ 66674 h 180974"/>
                  <a:gd name="connsiteX21" fmla="*/ 71731 w 320997"/>
                  <a:gd name="connsiteY21" fmla="*/ 71436 h 180974"/>
                  <a:gd name="connsiteX22" fmla="*/ 35219 w 320997"/>
                  <a:gd name="connsiteY22" fmla="*/ 82549 h 180974"/>
                  <a:gd name="connsiteX23" fmla="*/ 16169 w 320997"/>
                  <a:gd name="connsiteY23" fmla="*/ 82549 h 180974"/>
                  <a:gd name="connsiteX24" fmla="*/ 14581 w 320997"/>
                  <a:gd name="connsiteY24" fmla="*/ 95249 h 180974"/>
                  <a:gd name="connsiteX25" fmla="*/ 12994 w 320997"/>
                  <a:gd name="connsiteY25" fmla="*/ 100011 h 180974"/>
                  <a:gd name="connsiteX26" fmla="*/ 11406 w 320997"/>
                  <a:gd name="connsiteY26" fmla="*/ 107949 h 180974"/>
                  <a:gd name="connsiteX27" fmla="*/ 14581 w 320997"/>
                  <a:gd name="connsiteY27" fmla="*/ 117474 h 180974"/>
                  <a:gd name="connsiteX28" fmla="*/ 19344 w 320997"/>
                  <a:gd name="connsiteY28" fmla="*/ 120649 h 180974"/>
                  <a:gd name="connsiteX29" fmla="*/ 17756 w 320997"/>
                  <a:gd name="connsiteY29" fmla="*/ 138111 h 180974"/>
                  <a:gd name="connsiteX30" fmla="*/ 14581 w 320997"/>
                  <a:gd name="connsiteY30" fmla="*/ 146049 h 180974"/>
                  <a:gd name="connsiteX31" fmla="*/ 5056 w 320997"/>
                  <a:gd name="connsiteY31" fmla="*/ 147636 h 180974"/>
                  <a:gd name="connsiteX32" fmla="*/ 3469 w 320997"/>
                  <a:gd name="connsiteY32" fmla="*/ 152399 h 180974"/>
                  <a:gd name="connsiteX33" fmla="*/ 294 w 320997"/>
                  <a:gd name="connsiteY33" fmla="*/ 157161 h 180974"/>
                  <a:gd name="connsiteX34" fmla="*/ 5056 w 320997"/>
                  <a:gd name="connsiteY34" fmla="*/ 152399 h 180974"/>
                  <a:gd name="connsiteX35" fmla="*/ 12994 w 320997"/>
                  <a:gd name="connsiteY35" fmla="*/ 139699 h 180974"/>
                  <a:gd name="connsiteX36" fmla="*/ 17756 w 320997"/>
                  <a:gd name="connsiteY36" fmla="*/ 134936 h 180974"/>
                  <a:gd name="connsiteX37" fmla="*/ 25694 w 320997"/>
                  <a:gd name="connsiteY37" fmla="*/ 128586 h 180974"/>
                  <a:gd name="connsiteX38" fmla="*/ 36806 w 320997"/>
                  <a:gd name="connsiteY38" fmla="*/ 130174 h 180974"/>
                  <a:gd name="connsiteX39" fmla="*/ 41569 w 320997"/>
                  <a:gd name="connsiteY39" fmla="*/ 131761 h 180974"/>
                  <a:gd name="connsiteX40" fmla="*/ 46331 w 320997"/>
                  <a:gd name="connsiteY40" fmla="*/ 130174 h 180974"/>
                  <a:gd name="connsiteX41" fmla="*/ 60619 w 320997"/>
                  <a:gd name="connsiteY41" fmla="*/ 131761 h 180974"/>
                  <a:gd name="connsiteX42" fmla="*/ 65381 w 320997"/>
                  <a:gd name="connsiteY42" fmla="*/ 130174 h 180974"/>
                  <a:gd name="connsiteX43" fmla="*/ 74906 w 320997"/>
                  <a:gd name="connsiteY43" fmla="*/ 128586 h 180974"/>
                  <a:gd name="connsiteX44" fmla="*/ 63794 w 320997"/>
                  <a:gd name="connsiteY44" fmla="*/ 138111 h 180974"/>
                  <a:gd name="connsiteX45" fmla="*/ 54269 w 320997"/>
                  <a:gd name="connsiteY45" fmla="*/ 141286 h 180974"/>
                  <a:gd name="connsiteX46" fmla="*/ 52681 w 320997"/>
                  <a:gd name="connsiteY46" fmla="*/ 150811 h 180974"/>
                  <a:gd name="connsiteX47" fmla="*/ 47919 w 320997"/>
                  <a:gd name="connsiteY47" fmla="*/ 149224 h 180974"/>
                  <a:gd name="connsiteX48" fmla="*/ 38394 w 320997"/>
                  <a:gd name="connsiteY48" fmla="*/ 158749 h 180974"/>
                  <a:gd name="connsiteX49" fmla="*/ 33631 w 320997"/>
                  <a:gd name="connsiteY49" fmla="*/ 160336 h 180974"/>
                  <a:gd name="connsiteX50" fmla="*/ 30456 w 320997"/>
                  <a:gd name="connsiteY50" fmla="*/ 165099 h 180974"/>
                  <a:gd name="connsiteX51" fmla="*/ 28869 w 320997"/>
                  <a:gd name="connsiteY51" fmla="*/ 176211 h 180974"/>
                  <a:gd name="connsiteX52" fmla="*/ 33631 w 320997"/>
                  <a:gd name="connsiteY52" fmla="*/ 177799 h 180974"/>
                  <a:gd name="connsiteX53" fmla="*/ 49506 w 320997"/>
                  <a:gd name="connsiteY53" fmla="*/ 179386 h 180974"/>
                  <a:gd name="connsiteX54" fmla="*/ 59031 w 320997"/>
                  <a:gd name="connsiteY54" fmla="*/ 180974 h 180974"/>
                  <a:gd name="connsiteX55" fmla="*/ 76494 w 320997"/>
                  <a:gd name="connsiteY55" fmla="*/ 179386 h 180974"/>
                  <a:gd name="connsiteX56" fmla="*/ 82844 w 320997"/>
                  <a:gd name="connsiteY56" fmla="*/ 177799 h 180974"/>
                  <a:gd name="connsiteX57" fmla="*/ 93956 w 320997"/>
                  <a:gd name="connsiteY57" fmla="*/ 176211 h 180974"/>
                  <a:gd name="connsiteX58" fmla="*/ 119356 w 320997"/>
                  <a:gd name="connsiteY58" fmla="*/ 171449 h 180974"/>
                  <a:gd name="connsiteX59" fmla="*/ 200319 w 320997"/>
                  <a:gd name="connsiteY59" fmla="*/ 173036 h 180974"/>
                  <a:gd name="connsiteX60" fmla="*/ 220956 w 320997"/>
                  <a:gd name="connsiteY60" fmla="*/ 173036 h 180974"/>
                  <a:gd name="connsiteX61" fmla="*/ 246356 w 320997"/>
                  <a:gd name="connsiteY61" fmla="*/ 168274 h 180974"/>
                  <a:gd name="connsiteX62" fmla="*/ 255881 w 320997"/>
                  <a:gd name="connsiteY62" fmla="*/ 165099 h 180974"/>
                  <a:gd name="connsiteX63" fmla="*/ 268581 w 320997"/>
                  <a:gd name="connsiteY63" fmla="*/ 161924 h 180974"/>
                  <a:gd name="connsiteX64" fmla="*/ 276519 w 320997"/>
                  <a:gd name="connsiteY64" fmla="*/ 158749 h 180974"/>
                  <a:gd name="connsiteX65" fmla="*/ 284456 w 320997"/>
                  <a:gd name="connsiteY65" fmla="*/ 157161 h 180974"/>
                  <a:gd name="connsiteX66" fmla="*/ 298744 w 320997"/>
                  <a:gd name="connsiteY66" fmla="*/ 153986 h 180974"/>
                  <a:gd name="connsiteX67" fmla="*/ 316206 w 320997"/>
                  <a:gd name="connsiteY67" fmla="*/ 142874 h 180974"/>
                  <a:gd name="connsiteX68" fmla="*/ 314619 w 320997"/>
                  <a:gd name="connsiteY68" fmla="*/ 138111 h 180974"/>
                  <a:gd name="connsiteX69" fmla="*/ 309856 w 320997"/>
                  <a:gd name="connsiteY69" fmla="*/ 134936 h 180974"/>
                  <a:gd name="connsiteX70" fmla="*/ 308269 w 320997"/>
                  <a:gd name="connsiteY70" fmla="*/ 115886 h 180974"/>
                  <a:gd name="connsiteX71" fmla="*/ 311444 w 320997"/>
                  <a:gd name="connsiteY71" fmla="*/ 106361 h 180974"/>
                  <a:gd name="connsiteX72" fmla="*/ 306681 w 320997"/>
                  <a:gd name="connsiteY72" fmla="*/ 98424 h 180974"/>
                  <a:gd name="connsiteX73" fmla="*/ 305094 w 320997"/>
                  <a:gd name="connsiteY73" fmla="*/ 93661 h 180974"/>
                  <a:gd name="connsiteX74" fmla="*/ 308269 w 320997"/>
                  <a:gd name="connsiteY74" fmla="*/ 80961 h 180974"/>
                  <a:gd name="connsiteX75" fmla="*/ 317794 w 320997"/>
                  <a:gd name="connsiteY75" fmla="*/ 77786 h 180974"/>
                  <a:gd name="connsiteX76" fmla="*/ 317794 w 320997"/>
                  <a:gd name="connsiteY76" fmla="*/ 52386 h 180974"/>
                  <a:gd name="connsiteX77" fmla="*/ 308269 w 320997"/>
                  <a:gd name="connsiteY77" fmla="*/ 50799 h 180974"/>
                  <a:gd name="connsiteX78" fmla="*/ 305094 w 320997"/>
                  <a:gd name="connsiteY78" fmla="*/ 42861 h 180974"/>
                  <a:gd name="connsiteX79" fmla="*/ 298744 w 320997"/>
                  <a:gd name="connsiteY79" fmla="*/ 41274 h 180974"/>
                  <a:gd name="connsiteX80" fmla="*/ 287631 w 320997"/>
                  <a:gd name="connsiteY80" fmla="*/ 31749 h 180974"/>
                  <a:gd name="connsiteX81" fmla="*/ 273344 w 320997"/>
                  <a:gd name="connsiteY81" fmla="*/ 19049 h 180974"/>
                  <a:gd name="connsiteX82" fmla="*/ 271756 w 320997"/>
                  <a:gd name="connsiteY82" fmla="*/ 25399 h 180974"/>
                  <a:gd name="connsiteX83" fmla="*/ 259056 w 320997"/>
                  <a:gd name="connsiteY83" fmla="*/ 30161 h 180974"/>
                  <a:gd name="connsiteX84" fmla="*/ 240006 w 320997"/>
                  <a:gd name="connsiteY84" fmla="*/ 28574 h 180974"/>
                  <a:gd name="connsiteX85" fmla="*/ 233656 w 320997"/>
                  <a:gd name="connsiteY85" fmla="*/ 44449 h 180974"/>
                  <a:gd name="connsiteX86" fmla="*/ 230481 w 320997"/>
                  <a:gd name="connsiteY86" fmla="*/ 38099 h 180974"/>
                  <a:gd name="connsiteX87" fmla="*/ 228894 w 320997"/>
                  <a:gd name="connsiteY87" fmla="*/ 33336 h 180974"/>
                  <a:gd name="connsiteX88" fmla="*/ 224131 w 320997"/>
                  <a:gd name="connsiteY88" fmla="*/ 31749 h 180974"/>
                  <a:gd name="connsiteX89" fmla="*/ 201906 w 320997"/>
                  <a:gd name="connsiteY89" fmla="*/ 30161 h 180974"/>
                  <a:gd name="connsiteX90" fmla="*/ 200319 w 320997"/>
                  <a:gd name="connsiteY90" fmla="*/ 22224 h 180974"/>
                  <a:gd name="connsiteX91" fmla="*/ 186031 w 320997"/>
                  <a:gd name="connsiteY91" fmla="*/ 25399 h 180974"/>
                  <a:gd name="connsiteX92" fmla="*/ 181269 w 320997"/>
                  <a:gd name="connsiteY92" fmla="*/ 23811 h 180974"/>
                  <a:gd name="connsiteX93" fmla="*/ 179681 w 320997"/>
                  <a:gd name="connsiteY93" fmla="*/ 19049 h 180974"/>
                  <a:gd name="connsiteX94" fmla="*/ 174919 w 320997"/>
                  <a:gd name="connsiteY94" fmla="*/ 7936 h 180974"/>
                  <a:gd name="connsiteX95" fmla="*/ 170156 w 320997"/>
                  <a:gd name="connsiteY95" fmla="*/ 4761 h 180974"/>
                  <a:gd name="connsiteX96" fmla="*/ 162219 w 320997"/>
                  <a:gd name="connsiteY96" fmla="*/ 9524 h 180974"/>
                  <a:gd name="connsiteX97" fmla="*/ 152694 w 320997"/>
                  <a:gd name="connsiteY97" fmla="*/ 12699 h 180974"/>
                  <a:gd name="connsiteX98" fmla="*/ 151106 w 320997"/>
                  <a:gd name="connsiteY98" fmla="*/ 17461 h 180974"/>
                  <a:gd name="connsiteX0" fmla="*/ 151106 w 320997"/>
                  <a:gd name="connsiteY0" fmla="*/ 17461 h 180974"/>
                  <a:gd name="connsiteX1" fmla="*/ 152694 w 320997"/>
                  <a:gd name="connsiteY1" fmla="*/ 28574 h 180974"/>
                  <a:gd name="connsiteX2" fmla="*/ 146344 w 320997"/>
                  <a:gd name="connsiteY2" fmla="*/ 31749 h 180974"/>
                  <a:gd name="connsiteX3" fmla="*/ 141581 w 320997"/>
                  <a:gd name="connsiteY3" fmla="*/ 34924 h 180974"/>
                  <a:gd name="connsiteX4" fmla="*/ 138406 w 320997"/>
                  <a:gd name="connsiteY4" fmla="*/ 30161 h 180974"/>
                  <a:gd name="connsiteX5" fmla="*/ 139994 w 320997"/>
                  <a:gd name="connsiteY5" fmla="*/ 36511 h 180974"/>
                  <a:gd name="connsiteX6" fmla="*/ 132056 w 320997"/>
                  <a:gd name="connsiteY6" fmla="*/ 80961 h 180974"/>
                  <a:gd name="connsiteX7" fmla="*/ 117769 w 320997"/>
                  <a:gd name="connsiteY7" fmla="*/ 79374 h 180974"/>
                  <a:gd name="connsiteX8" fmla="*/ 95544 w 320997"/>
                  <a:gd name="connsiteY8" fmla="*/ 74611 h 180974"/>
                  <a:gd name="connsiteX9" fmla="*/ 66969 w 320997"/>
                  <a:gd name="connsiteY9" fmla="*/ 79374 h 180974"/>
                  <a:gd name="connsiteX10" fmla="*/ 70144 w 320997"/>
                  <a:gd name="connsiteY10" fmla="*/ 73024 h 180974"/>
                  <a:gd name="connsiteX11" fmla="*/ 74906 w 320997"/>
                  <a:gd name="connsiteY11" fmla="*/ 68261 h 180974"/>
                  <a:gd name="connsiteX12" fmla="*/ 82844 w 320997"/>
                  <a:gd name="connsiteY12" fmla="*/ 52386 h 180974"/>
                  <a:gd name="connsiteX13" fmla="*/ 89194 w 320997"/>
                  <a:gd name="connsiteY13" fmla="*/ 44449 h 180974"/>
                  <a:gd name="connsiteX14" fmla="*/ 97131 w 320997"/>
                  <a:gd name="connsiteY14" fmla="*/ 34924 h 180974"/>
                  <a:gd name="connsiteX15" fmla="*/ 98719 w 320997"/>
                  <a:gd name="connsiteY15" fmla="*/ 28574 h 180974"/>
                  <a:gd name="connsiteX16" fmla="*/ 87606 w 320997"/>
                  <a:gd name="connsiteY16" fmla="*/ 47624 h 180974"/>
                  <a:gd name="connsiteX17" fmla="*/ 86019 w 320997"/>
                  <a:gd name="connsiteY17" fmla="*/ 52386 h 180974"/>
                  <a:gd name="connsiteX18" fmla="*/ 82844 w 320997"/>
                  <a:gd name="connsiteY18" fmla="*/ 57149 h 180974"/>
                  <a:gd name="connsiteX19" fmla="*/ 81256 w 320997"/>
                  <a:gd name="connsiteY19" fmla="*/ 61911 h 180974"/>
                  <a:gd name="connsiteX20" fmla="*/ 73319 w 320997"/>
                  <a:gd name="connsiteY20" fmla="*/ 66674 h 180974"/>
                  <a:gd name="connsiteX21" fmla="*/ 71731 w 320997"/>
                  <a:gd name="connsiteY21" fmla="*/ 71436 h 180974"/>
                  <a:gd name="connsiteX22" fmla="*/ 35219 w 320997"/>
                  <a:gd name="connsiteY22" fmla="*/ 82549 h 180974"/>
                  <a:gd name="connsiteX23" fmla="*/ 16169 w 320997"/>
                  <a:gd name="connsiteY23" fmla="*/ 82549 h 180974"/>
                  <a:gd name="connsiteX24" fmla="*/ 14581 w 320997"/>
                  <a:gd name="connsiteY24" fmla="*/ 95249 h 180974"/>
                  <a:gd name="connsiteX25" fmla="*/ 12994 w 320997"/>
                  <a:gd name="connsiteY25" fmla="*/ 100011 h 180974"/>
                  <a:gd name="connsiteX26" fmla="*/ 11406 w 320997"/>
                  <a:gd name="connsiteY26" fmla="*/ 107949 h 180974"/>
                  <a:gd name="connsiteX27" fmla="*/ 14581 w 320997"/>
                  <a:gd name="connsiteY27" fmla="*/ 117474 h 180974"/>
                  <a:gd name="connsiteX28" fmla="*/ 19344 w 320997"/>
                  <a:gd name="connsiteY28" fmla="*/ 120649 h 180974"/>
                  <a:gd name="connsiteX29" fmla="*/ 17756 w 320997"/>
                  <a:gd name="connsiteY29" fmla="*/ 138111 h 180974"/>
                  <a:gd name="connsiteX30" fmla="*/ 14581 w 320997"/>
                  <a:gd name="connsiteY30" fmla="*/ 146049 h 180974"/>
                  <a:gd name="connsiteX31" fmla="*/ 5056 w 320997"/>
                  <a:gd name="connsiteY31" fmla="*/ 147636 h 180974"/>
                  <a:gd name="connsiteX32" fmla="*/ 3469 w 320997"/>
                  <a:gd name="connsiteY32" fmla="*/ 152399 h 180974"/>
                  <a:gd name="connsiteX33" fmla="*/ 294 w 320997"/>
                  <a:gd name="connsiteY33" fmla="*/ 157161 h 180974"/>
                  <a:gd name="connsiteX34" fmla="*/ 5056 w 320997"/>
                  <a:gd name="connsiteY34" fmla="*/ 152399 h 180974"/>
                  <a:gd name="connsiteX35" fmla="*/ 12994 w 320997"/>
                  <a:gd name="connsiteY35" fmla="*/ 139699 h 180974"/>
                  <a:gd name="connsiteX36" fmla="*/ 17756 w 320997"/>
                  <a:gd name="connsiteY36" fmla="*/ 134936 h 180974"/>
                  <a:gd name="connsiteX37" fmla="*/ 25694 w 320997"/>
                  <a:gd name="connsiteY37" fmla="*/ 128586 h 180974"/>
                  <a:gd name="connsiteX38" fmla="*/ 36806 w 320997"/>
                  <a:gd name="connsiteY38" fmla="*/ 130174 h 180974"/>
                  <a:gd name="connsiteX39" fmla="*/ 41569 w 320997"/>
                  <a:gd name="connsiteY39" fmla="*/ 131761 h 180974"/>
                  <a:gd name="connsiteX40" fmla="*/ 46331 w 320997"/>
                  <a:gd name="connsiteY40" fmla="*/ 130174 h 180974"/>
                  <a:gd name="connsiteX41" fmla="*/ 60619 w 320997"/>
                  <a:gd name="connsiteY41" fmla="*/ 131761 h 180974"/>
                  <a:gd name="connsiteX42" fmla="*/ 65381 w 320997"/>
                  <a:gd name="connsiteY42" fmla="*/ 130174 h 180974"/>
                  <a:gd name="connsiteX43" fmla="*/ 84431 w 320997"/>
                  <a:gd name="connsiteY43" fmla="*/ 120649 h 180974"/>
                  <a:gd name="connsiteX44" fmla="*/ 63794 w 320997"/>
                  <a:gd name="connsiteY44" fmla="*/ 138111 h 180974"/>
                  <a:gd name="connsiteX45" fmla="*/ 54269 w 320997"/>
                  <a:gd name="connsiteY45" fmla="*/ 141286 h 180974"/>
                  <a:gd name="connsiteX46" fmla="*/ 52681 w 320997"/>
                  <a:gd name="connsiteY46" fmla="*/ 150811 h 180974"/>
                  <a:gd name="connsiteX47" fmla="*/ 47919 w 320997"/>
                  <a:gd name="connsiteY47" fmla="*/ 149224 h 180974"/>
                  <a:gd name="connsiteX48" fmla="*/ 38394 w 320997"/>
                  <a:gd name="connsiteY48" fmla="*/ 158749 h 180974"/>
                  <a:gd name="connsiteX49" fmla="*/ 33631 w 320997"/>
                  <a:gd name="connsiteY49" fmla="*/ 160336 h 180974"/>
                  <a:gd name="connsiteX50" fmla="*/ 30456 w 320997"/>
                  <a:gd name="connsiteY50" fmla="*/ 165099 h 180974"/>
                  <a:gd name="connsiteX51" fmla="*/ 28869 w 320997"/>
                  <a:gd name="connsiteY51" fmla="*/ 176211 h 180974"/>
                  <a:gd name="connsiteX52" fmla="*/ 33631 w 320997"/>
                  <a:gd name="connsiteY52" fmla="*/ 177799 h 180974"/>
                  <a:gd name="connsiteX53" fmla="*/ 49506 w 320997"/>
                  <a:gd name="connsiteY53" fmla="*/ 179386 h 180974"/>
                  <a:gd name="connsiteX54" fmla="*/ 59031 w 320997"/>
                  <a:gd name="connsiteY54" fmla="*/ 180974 h 180974"/>
                  <a:gd name="connsiteX55" fmla="*/ 76494 w 320997"/>
                  <a:gd name="connsiteY55" fmla="*/ 179386 h 180974"/>
                  <a:gd name="connsiteX56" fmla="*/ 82844 w 320997"/>
                  <a:gd name="connsiteY56" fmla="*/ 177799 h 180974"/>
                  <a:gd name="connsiteX57" fmla="*/ 93956 w 320997"/>
                  <a:gd name="connsiteY57" fmla="*/ 176211 h 180974"/>
                  <a:gd name="connsiteX58" fmla="*/ 119356 w 320997"/>
                  <a:gd name="connsiteY58" fmla="*/ 171449 h 180974"/>
                  <a:gd name="connsiteX59" fmla="*/ 200319 w 320997"/>
                  <a:gd name="connsiteY59" fmla="*/ 173036 h 180974"/>
                  <a:gd name="connsiteX60" fmla="*/ 220956 w 320997"/>
                  <a:gd name="connsiteY60" fmla="*/ 173036 h 180974"/>
                  <a:gd name="connsiteX61" fmla="*/ 246356 w 320997"/>
                  <a:gd name="connsiteY61" fmla="*/ 168274 h 180974"/>
                  <a:gd name="connsiteX62" fmla="*/ 255881 w 320997"/>
                  <a:gd name="connsiteY62" fmla="*/ 165099 h 180974"/>
                  <a:gd name="connsiteX63" fmla="*/ 268581 w 320997"/>
                  <a:gd name="connsiteY63" fmla="*/ 161924 h 180974"/>
                  <a:gd name="connsiteX64" fmla="*/ 276519 w 320997"/>
                  <a:gd name="connsiteY64" fmla="*/ 158749 h 180974"/>
                  <a:gd name="connsiteX65" fmla="*/ 284456 w 320997"/>
                  <a:gd name="connsiteY65" fmla="*/ 157161 h 180974"/>
                  <a:gd name="connsiteX66" fmla="*/ 298744 w 320997"/>
                  <a:gd name="connsiteY66" fmla="*/ 153986 h 180974"/>
                  <a:gd name="connsiteX67" fmla="*/ 316206 w 320997"/>
                  <a:gd name="connsiteY67" fmla="*/ 142874 h 180974"/>
                  <a:gd name="connsiteX68" fmla="*/ 314619 w 320997"/>
                  <a:gd name="connsiteY68" fmla="*/ 138111 h 180974"/>
                  <a:gd name="connsiteX69" fmla="*/ 309856 w 320997"/>
                  <a:gd name="connsiteY69" fmla="*/ 134936 h 180974"/>
                  <a:gd name="connsiteX70" fmla="*/ 308269 w 320997"/>
                  <a:gd name="connsiteY70" fmla="*/ 115886 h 180974"/>
                  <a:gd name="connsiteX71" fmla="*/ 311444 w 320997"/>
                  <a:gd name="connsiteY71" fmla="*/ 106361 h 180974"/>
                  <a:gd name="connsiteX72" fmla="*/ 306681 w 320997"/>
                  <a:gd name="connsiteY72" fmla="*/ 98424 h 180974"/>
                  <a:gd name="connsiteX73" fmla="*/ 305094 w 320997"/>
                  <a:gd name="connsiteY73" fmla="*/ 93661 h 180974"/>
                  <a:gd name="connsiteX74" fmla="*/ 308269 w 320997"/>
                  <a:gd name="connsiteY74" fmla="*/ 80961 h 180974"/>
                  <a:gd name="connsiteX75" fmla="*/ 317794 w 320997"/>
                  <a:gd name="connsiteY75" fmla="*/ 77786 h 180974"/>
                  <a:gd name="connsiteX76" fmla="*/ 317794 w 320997"/>
                  <a:gd name="connsiteY76" fmla="*/ 52386 h 180974"/>
                  <a:gd name="connsiteX77" fmla="*/ 308269 w 320997"/>
                  <a:gd name="connsiteY77" fmla="*/ 50799 h 180974"/>
                  <a:gd name="connsiteX78" fmla="*/ 305094 w 320997"/>
                  <a:gd name="connsiteY78" fmla="*/ 42861 h 180974"/>
                  <a:gd name="connsiteX79" fmla="*/ 298744 w 320997"/>
                  <a:gd name="connsiteY79" fmla="*/ 41274 h 180974"/>
                  <a:gd name="connsiteX80" fmla="*/ 287631 w 320997"/>
                  <a:gd name="connsiteY80" fmla="*/ 31749 h 180974"/>
                  <a:gd name="connsiteX81" fmla="*/ 273344 w 320997"/>
                  <a:gd name="connsiteY81" fmla="*/ 19049 h 180974"/>
                  <a:gd name="connsiteX82" fmla="*/ 271756 w 320997"/>
                  <a:gd name="connsiteY82" fmla="*/ 25399 h 180974"/>
                  <a:gd name="connsiteX83" fmla="*/ 259056 w 320997"/>
                  <a:gd name="connsiteY83" fmla="*/ 30161 h 180974"/>
                  <a:gd name="connsiteX84" fmla="*/ 240006 w 320997"/>
                  <a:gd name="connsiteY84" fmla="*/ 28574 h 180974"/>
                  <a:gd name="connsiteX85" fmla="*/ 233656 w 320997"/>
                  <a:gd name="connsiteY85" fmla="*/ 44449 h 180974"/>
                  <a:gd name="connsiteX86" fmla="*/ 230481 w 320997"/>
                  <a:gd name="connsiteY86" fmla="*/ 38099 h 180974"/>
                  <a:gd name="connsiteX87" fmla="*/ 228894 w 320997"/>
                  <a:gd name="connsiteY87" fmla="*/ 33336 h 180974"/>
                  <a:gd name="connsiteX88" fmla="*/ 224131 w 320997"/>
                  <a:gd name="connsiteY88" fmla="*/ 31749 h 180974"/>
                  <a:gd name="connsiteX89" fmla="*/ 201906 w 320997"/>
                  <a:gd name="connsiteY89" fmla="*/ 30161 h 180974"/>
                  <a:gd name="connsiteX90" fmla="*/ 200319 w 320997"/>
                  <a:gd name="connsiteY90" fmla="*/ 22224 h 180974"/>
                  <a:gd name="connsiteX91" fmla="*/ 186031 w 320997"/>
                  <a:gd name="connsiteY91" fmla="*/ 25399 h 180974"/>
                  <a:gd name="connsiteX92" fmla="*/ 181269 w 320997"/>
                  <a:gd name="connsiteY92" fmla="*/ 23811 h 180974"/>
                  <a:gd name="connsiteX93" fmla="*/ 179681 w 320997"/>
                  <a:gd name="connsiteY93" fmla="*/ 19049 h 180974"/>
                  <a:gd name="connsiteX94" fmla="*/ 174919 w 320997"/>
                  <a:gd name="connsiteY94" fmla="*/ 7936 h 180974"/>
                  <a:gd name="connsiteX95" fmla="*/ 170156 w 320997"/>
                  <a:gd name="connsiteY95" fmla="*/ 4761 h 180974"/>
                  <a:gd name="connsiteX96" fmla="*/ 162219 w 320997"/>
                  <a:gd name="connsiteY96" fmla="*/ 9524 h 180974"/>
                  <a:gd name="connsiteX97" fmla="*/ 152694 w 320997"/>
                  <a:gd name="connsiteY97" fmla="*/ 12699 h 180974"/>
                  <a:gd name="connsiteX98" fmla="*/ 151106 w 320997"/>
                  <a:gd name="connsiteY98" fmla="*/ 17461 h 180974"/>
                  <a:gd name="connsiteX0" fmla="*/ 151106 w 320997"/>
                  <a:gd name="connsiteY0" fmla="*/ 17461 h 180974"/>
                  <a:gd name="connsiteX1" fmla="*/ 152694 w 320997"/>
                  <a:gd name="connsiteY1" fmla="*/ 28574 h 180974"/>
                  <a:gd name="connsiteX2" fmla="*/ 146344 w 320997"/>
                  <a:gd name="connsiteY2" fmla="*/ 31749 h 180974"/>
                  <a:gd name="connsiteX3" fmla="*/ 141581 w 320997"/>
                  <a:gd name="connsiteY3" fmla="*/ 34924 h 180974"/>
                  <a:gd name="connsiteX4" fmla="*/ 138406 w 320997"/>
                  <a:gd name="connsiteY4" fmla="*/ 30161 h 180974"/>
                  <a:gd name="connsiteX5" fmla="*/ 139994 w 320997"/>
                  <a:gd name="connsiteY5" fmla="*/ 36511 h 180974"/>
                  <a:gd name="connsiteX6" fmla="*/ 132056 w 320997"/>
                  <a:gd name="connsiteY6" fmla="*/ 80961 h 180974"/>
                  <a:gd name="connsiteX7" fmla="*/ 117769 w 320997"/>
                  <a:gd name="connsiteY7" fmla="*/ 79374 h 180974"/>
                  <a:gd name="connsiteX8" fmla="*/ 95544 w 320997"/>
                  <a:gd name="connsiteY8" fmla="*/ 74611 h 180974"/>
                  <a:gd name="connsiteX9" fmla="*/ 66969 w 320997"/>
                  <a:gd name="connsiteY9" fmla="*/ 79374 h 180974"/>
                  <a:gd name="connsiteX10" fmla="*/ 70144 w 320997"/>
                  <a:gd name="connsiteY10" fmla="*/ 73024 h 180974"/>
                  <a:gd name="connsiteX11" fmla="*/ 74906 w 320997"/>
                  <a:gd name="connsiteY11" fmla="*/ 68261 h 180974"/>
                  <a:gd name="connsiteX12" fmla="*/ 82844 w 320997"/>
                  <a:gd name="connsiteY12" fmla="*/ 52386 h 180974"/>
                  <a:gd name="connsiteX13" fmla="*/ 89194 w 320997"/>
                  <a:gd name="connsiteY13" fmla="*/ 44449 h 180974"/>
                  <a:gd name="connsiteX14" fmla="*/ 97131 w 320997"/>
                  <a:gd name="connsiteY14" fmla="*/ 34924 h 180974"/>
                  <a:gd name="connsiteX15" fmla="*/ 98719 w 320997"/>
                  <a:gd name="connsiteY15" fmla="*/ 28574 h 180974"/>
                  <a:gd name="connsiteX16" fmla="*/ 87606 w 320997"/>
                  <a:gd name="connsiteY16" fmla="*/ 47624 h 180974"/>
                  <a:gd name="connsiteX17" fmla="*/ 86019 w 320997"/>
                  <a:gd name="connsiteY17" fmla="*/ 52386 h 180974"/>
                  <a:gd name="connsiteX18" fmla="*/ 82844 w 320997"/>
                  <a:gd name="connsiteY18" fmla="*/ 57149 h 180974"/>
                  <a:gd name="connsiteX19" fmla="*/ 81256 w 320997"/>
                  <a:gd name="connsiteY19" fmla="*/ 61911 h 180974"/>
                  <a:gd name="connsiteX20" fmla="*/ 73319 w 320997"/>
                  <a:gd name="connsiteY20" fmla="*/ 66674 h 180974"/>
                  <a:gd name="connsiteX21" fmla="*/ 71731 w 320997"/>
                  <a:gd name="connsiteY21" fmla="*/ 71436 h 180974"/>
                  <a:gd name="connsiteX22" fmla="*/ 35219 w 320997"/>
                  <a:gd name="connsiteY22" fmla="*/ 82549 h 180974"/>
                  <a:gd name="connsiteX23" fmla="*/ 16169 w 320997"/>
                  <a:gd name="connsiteY23" fmla="*/ 82549 h 180974"/>
                  <a:gd name="connsiteX24" fmla="*/ 14581 w 320997"/>
                  <a:gd name="connsiteY24" fmla="*/ 95249 h 180974"/>
                  <a:gd name="connsiteX25" fmla="*/ 12994 w 320997"/>
                  <a:gd name="connsiteY25" fmla="*/ 100011 h 180974"/>
                  <a:gd name="connsiteX26" fmla="*/ 11406 w 320997"/>
                  <a:gd name="connsiteY26" fmla="*/ 107949 h 180974"/>
                  <a:gd name="connsiteX27" fmla="*/ 14581 w 320997"/>
                  <a:gd name="connsiteY27" fmla="*/ 117474 h 180974"/>
                  <a:gd name="connsiteX28" fmla="*/ 19344 w 320997"/>
                  <a:gd name="connsiteY28" fmla="*/ 120649 h 180974"/>
                  <a:gd name="connsiteX29" fmla="*/ 17756 w 320997"/>
                  <a:gd name="connsiteY29" fmla="*/ 138111 h 180974"/>
                  <a:gd name="connsiteX30" fmla="*/ 14581 w 320997"/>
                  <a:gd name="connsiteY30" fmla="*/ 146049 h 180974"/>
                  <a:gd name="connsiteX31" fmla="*/ 5056 w 320997"/>
                  <a:gd name="connsiteY31" fmla="*/ 147636 h 180974"/>
                  <a:gd name="connsiteX32" fmla="*/ 3469 w 320997"/>
                  <a:gd name="connsiteY32" fmla="*/ 152399 h 180974"/>
                  <a:gd name="connsiteX33" fmla="*/ 294 w 320997"/>
                  <a:gd name="connsiteY33" fmla="*/ 157161 h 180974"/>
                  <a:gd name="connsiteX34" fmla="*/ 5056 w 320997"/>
                  <a:gd name="connsiteY34" fmla="*/ 152399 h 180974"/>
                  <a:gd name="connsiteX35" fmla="*/ 12994 w 320997"/>
                  <a:gd name="connsiteY35" fmla="*/ 139699 h 180974"/>
                  <a:gd name="connsiteX36" fmla="*/ 17756 w 320997"/>
                  <a:gd name="connsiteY36" fmla="*/ 134936 h 180974"/>
                  <a:gd name="connsiteX37" fmla="*/ 25694 w 320997"/>
                  <a:gd name="connsiteY37" fmla="*/ 128586 h 180974"/>
                  <a:gd name="connsiteX38" fmla="*/ 36806 w 320997"/>
                  <a:gd name="connsiteY38" fmla="*/ 130174 h 180974"/>
                  <a:gd name="connsiteX39" fmla="*/ 41569 w 320997"/>
                  <a:gd name="connsiteY39" fmla="*/ 131761 h 180974"/>
                  <a:gd name="connsiteX40" fmla="*/ 46331 w 320997"/>
                  <a:gd name="connsiteY40" fmla="*/ 130174 h 180974"/>
                  <a:gd name="connsiteX41" fmla="*/ 60619 w 320997"/>
                  <a:gd name="connsiteY41" fmla="*/ 131761 h 180974"/>
                  <a:gd name="connsiteX42" fmla="*/ 65381 w 320997"/>
                  <a:gd name="connsiteY42" fmla="*/ 130174 h 180974"/>
                  <a:gd name="connsiteX43" fmla="*/ 86018 w 320997"/>
                  <a:gd name="connsiteY43" fmla="*/ 130174 h 180974"/>
                  <a:gd name="connsiteX44" fmla="*/ 63794 w 320997"/>
                  <a:gd name="connsiteY44" fmla="*/ 138111 h 180974"/>
                  <a:gd name="connsiteX45" fmla="*/ 54269 w 320997"/>
                  <a:gd name="connsiteY45" fmla="*/ 141286 h 180974"/>
                  <a:gd name="connsiteX46" fmla="*/ 52681 w 320997"/>
                  <a:gd name="connsiteY46" fmla="*/ 150811 h 180974"/>
                  <a:gd name="connsiteX47" fmla="*/ 47919 w 320997"/>
                  <a:gd name="connsiteY47" fmla="*/ 149224 h 180974"/>
                  <a:gd name="connsiteX48" fmla="*/ 38394 w 320997"/>
                  <a:gd name="connsiteY48" fmla="*/ 158749 h 180974"/>
                  <a:gd name="connsiteX49" fmla="*/ 33631 w 320997"/>
                  <a:gd name="connsiteY49" fmla="*/ 160336 h 180974"/>
                  <a:gd name="connsiteX50" fmla="*/ 30456 w 320997"/>
                  <a:gd name="connsiteY50" fmla="*/ 165099 h 180974"/>
                  <a:gd name="connsiteX51" fmla="*/ 28869 w 320997"/>
                  <a:gd name="connsiteY51" fmla="*/ 176211 h 180974"/>
                  <a:gd name="connsiteX52" fmla="*/ 33631 w 320997"/>
                  <a:gd name="connsiteY52" fmla="*/ 177799 h 180974"/>
                  <a:gd name="connsiteX53" fmla="*/ 49506 w 320997"/>
                  <a:gd name="connsiteY53" fmla="*/ 179386 h 180974"/>
                  <a:gd name="connsiteX54" fmla="*/ 59031 w 320997"/>
                  <a:gd name="connsiteY54" fmla="*/ 180974 h 180974"/>
                  <a:gd name="connsiteX55" fmla="*/ 76494 w 320997"/>
                  <a:gd name="connsiteY55" fmla="*/ 179386 h 180974"/>
                  <a:gd name="connsiteX56" fmla="*/ 82844 w 320997"/>
                  <a:gd name="connsiteY56" fmla="*/ 177799 h 180974"/>
                  <a:gd name="connsiteX57" fmla="*/ 93956 w 320997"/>
                  <a:gd name="connsiteY57" fmla="*/ 176211 h 180974"/>
                  <a:gd name="connsiteX58" fmla="*/ 119356 w 320997"/>
                  <a:gd name="connsiteY58" fmla="*/ 171449 h 180974"/>
                  <a:gd name="connsiteX59" fmla="*/ 200319 w 320997"/>
                  <a:gd name="connsiteY59" fmla="*/ 173036 h 180974"/>
                  <a:gd name="connsiteX60" fmla="*/ 220956 w 320997"/>
                  <a:gd name="connsiteY60" fmla="*/ 173036 h 180974"/>
                  <a:gd name="connsiteX61" fmla="*/ 246356 w 320997"/>
                  <a:gd name="connsiteY61" fmla="*/ 168274 h 180974"/>
                  <a:gd name="connsiteX62" fmla="*/ 255881 w 320997"/>
                  <a:gd name="connsiteY62" fmla="*/ 165099 h 180974"/>
                  <a:gd name="connsiteX63" fmla="*/ 268581 w 320997"/>
                  <a:gd name="connsiteY63" fmla="*/ 161924 h 180974"/>
                  <a:gd name="connsiteX64" fmla="*/ 276519 w 320997"/>
                  <a:gd name="connsiteY64" fmla="*/ 158749 h 180974"/>
                  <a:gd name="connsiteX65" fmla="*/ 284456 w 320997"/>
                  <a:gd name="connsiteY65" fmla="*/ 157161 h 180974"/>
                  <a:gd name="connsiteX66" fmla="*/ 298744 w 320997"/>
                  <a:gd name="connsiteY66" fmla="*/ 153986 h 180974"/>
                  <a:gd name="connsiteX67" fmla="*/ 316206 w 320997"/>
                  <a:gd name="connsiteY67" fmla="*/ 142874 h 180974"/>
                  <a:gd name="connsiteX68" fmla="*/ 314619 w 320997"/>
                  <a:gd name="connsiteY68" fmla="*/ 138111 h 180974"/>
                  <a:gd name="connsiteX69" fmla="*/ 309856 w 320997"/>
                  <a:gd name="connsiteY69" fmla="*/ 134936 h 180974"/>
                  <a:gd name="connsiteX70" fmla="*/ 308269 w 320997"/>
                  <a:gd name="connsiteY70" fmla="*/ 115886 h 180974"/>
                  <a:gd name="connsiteX71" fmla="*/ 311444 w 320997"/>
                  <a:gd name="connsiteY71" fmla="*/ 106361 h 180974"/>
                  <a:gd name="connsiteX72" fmla="*/ 306681 w 320997"/>
                  <a:gd name="connsiteY72" fmla="*/ 98424 h 180974"/>
                  <a:gd name="connsiteX73" fmla="*/ 305094 w 320997"/>
                  <a:gd name="connsiteY73" fmla="*/ 93661 h 180974"/>
                  <a:gd name="connsiteX74" fmla="*/ 308269 w 320997"/>
                  <a:gd name="connsiteY74" fmla="*/ 80961 h 180974"/>
                  <a:gd name="connsiteX75" fmla="*/ 317794 w 320997"/>
                  <a:gd name="connsiteY75" fmla="*/ 77786 h 180974"/>
                  <a:gd name="connsiteX76" fmla="*/ 317794 w 320997"/>
                  <a:gd name="connsiteY76" fmla="*/ 52386 h 180974"/>
                  <a:gd name="connsiteX77" fmla="*/ 308269 w 320997"/>
                  <a:gd name="connsiteY77" fmla="*/ 50799 h 180974"/>
                  <a:gd name="connsiteX78" fmla="*/ 305094 w 320997"/>
                  <a:gd name="connsiteY78" fmla="*/ 42861 h 180974"/>
                  <a:gd name="connsiteX79" fmla="*/ 298744 w 320997"/>
                  <a:gd name="connsiteY79" fmla="*/ 41274 h 180974"/>
                  <a:gd name="connsiteX80" fmla="*/ 287631 w 320997"/>
                  <a:gd name="connsiteY80" fmla="*/ 31749 h 180974"/>
                  <a:gd name="connsiteX81" fmla="*/ 273344 w 320997"/>
                  <a:gd name="connsiteY81" fmla="*/ 19049 h 180974"/>
                  <a:gd name="connsiteX82" fmla="*/ 271756 w 320997"/>
                  <a:gd name="connsiteY82" fmla="*/ 25399 h 180974"/>
                  <a:gd name="connsiteX83" fmla="*/ 259056 w 320997"/>
                  <a:gd name="connsiteY83" fmla="*/ 30161 h 180974"/>
                  <a:gd name="connsiteX84" fmla="*/ 240006 w 320997"/>
                  <a:gd name="connsiteY84" fmla="*/ 28574 h 180974"/>
                  <a:gd name="connsiteX85" fmla="*/ 233656 w 320997"/>
                  <a:gd name="connsiteY85" fmla="*/ 44449 h 180974"/>
                  <a:gd name="connsiteX86" fmla="*/ 230481 w 320997"/>
                  <a:gd name="connsiteY86" fmla="*/ 38099 h 180974"/>
                  <a:gd name="connsiteX87" fmla="*/ 228894 w 320997"/>
                  <a:gd name="connsiteY87" fmla="*/ 33336 h 180974"/>
                  <a:gd name="connsiteX88" fmla="*/ 224131 w 320997"/>
                  <a:gd name="connsiteY88" fmla="*/ 31749 h 180974"/>
                  <a:gd name="connsiteX89" fmla="*/ 201906 w 320997"/>
                  <a:gd name="connsiteY89" fmla="*/ 30161 h 180974"/>
                  <a:gd name="connsiteX90" fmla="*/ 200319 w 320997"/>
                  <a:gd name="connsiteY90" fmla="*/ 22224 h 180974"/>
                  <a:gd name="connsiteX91" fmla="*/ 186031 w 320997"/>
                  <a:gd name="connsiteY91" fmla="*/ 25399 h 180974"/>
                  <a:gd name="connsiteX92" fmla="*/ 181269 w 320997"/>
                  <a:gd name="connsiteY92" fmla="*/ 23811 h 180974"/>
                  <a:gd name="connsiteX93" fmla="*/ 179681 w 320997"/>
                  <a:gd name="connsiteY93" fmla="*/ 19049 h 180974"/>
                  <a:gd name="connsiteX94" fmla="*/ 174919 w 320997"/>
                  <a:gd name="connsiteY94" fmla="*/ 7936 h 180974"/>
                  <a:gd name="connsiteX95" fmla="*/ 170156 w 320997"/>
                  <a:gd name="connsiteY95" fmla="*/ 4761 h 180974"/>
                  <a:gd name="connsiteX96" fmla="*/ 162219 w 320997"/>
                  <a:gd name="connsiteY96" fmla="*/ 9524 h 180974"/>
                  <a:gd name="connsiteX97" fmla="*/ 152694 w 320997"/>
                  <a:gd name="connsiteY97" fmla="*/ 12699 h 180974"/>
                  <a:gd name="connsiteX98" fmla="*/ 151106 w 320997"/>
                  <a:gd name="connsiteY98" fmla="*/ 17461 h 180974"/>
                  <a:gd name="connsiteX0" fmla="*/ 151106 w 320997"/>
                  <a:gd name="connsiteY0" fmla="*/ 17461 h 180974"/>
                  <a:gd name="connsiteX1" fmla="*/ 152694 w 320997"/>
                  <a:gd name="connsiteY1" fmla="*/ 28574 h 180974"/>
                  <a:gd name="connsiteX2" fmla="*/ 146344 w 320997"/>
                  <a:gd name="connsiteY2" fmla="*/ 31749 h 180974"/>
                  <a:gd name="connsiteX3" fmla="*/ 141581 w 320997"/>
                  <a:gd name="connsiteY3" fmla="*/ 34924 h 180974"/>
                  <a:gd name="connsiteX4" fmla="*/ 138406 w 320997"/>
                  <a:gd name="connsiteY4" fmla="*/ 30161 h 180974"/>
                  <a:gd name="connsiteX5" fmla="*/ 139994 w 320997"/>
                  <a:gd name="connsiteY5" fmla="*/ 36511 h 180974"/>
                  <a:gd name="connsiteX6" fmla="*/ 132056 w 320997"/>
                  <a:gd name="connsiteY6" fmla="*/ 80961 h 180974"/>
                  <a:gd name="connsiteX7" fmla="*/ 117769 w 320997"/>
                  <a:gd name="connsiteY7" fmla="*/ 79374 h 180974"/>
                  <a:gd name="connsiteX8" fmla="*/ 95544 w 320997"/>
                  <a:gd name="connsiteY8" fmla="*/ 74611 h 180974"/>
                  <a:gd name="connsiteX9" fmla="*/ 66969 w 320997"/>
                  <a:gd name="connsiteY9" fmla="*/ 79374 h 180974"/>
                  <a:gd name="connsiteX10" fmla="*/ 70144 w 320997"/>
                  <a:gd name="connsiteY10" fmla="*/ 73024 h 180974"/>
                  <a:gd name="connsiteX11" fmla="*/ 74906 w 320997"/>
                  <a:gd name="connsiteY11" fmla="*/ 68261 h 180974"/>
                  <a:gd name="connsiteX12" fmla="*/ 82844 w 320997"/>
                  <a:gd name="connsiteY12" fmla="*/ 52386 h 180974"/>
                  <a:gd name="connsiteX13" fmla="*/ 89194 w 320997"/>
                  <a:gd name="connsiteY13" fmla="*/ 44449 h 180974"/>
                  <a:gd name="connsiteX14" fmla="*/ 97131 w 320997"/>
                  <a:gd name="connsiteY14" fmla="*/ 34924 h 180974"/>
                  <a:gd name="connsiteX15" fmla="*/ 98719 w 320997"/>
                  <a:gd name="connsiteY15" fmla="*/ 28574 h 180974"/>
                  <a:gd name="connsiteX16" fmla="*/ 87606 w 320997"/>
                  <a:gd name="connsiteY16" fmla="*/ 47624 h 180974"/>
                  <a:gd name="connsiteX17" fmla="*/ 86019 w 320997"/>
                  <a:gd name="connsiteY17" fmla="*/ 52386 h 180974"/>
                  <a:gd name="connsiteX18" fmla="*/ 82844 w 320997"/>
                  <a:gd name="connsiteY18" fmla="*/ 57149 h 180974"/>
                  <a:gd name="connsiteX19" fmla="*/ 81256 w 320997"/>
                  <a:gd name="connsiteY19" fmla="*/ 61911 h 180974"/>
                  <a:gd name="connsiteX20" fmla="*/ 73319 w 320997"/>
                  <a:gd name="connsiteY20" fmla="*/ 66674 h 180974"/>
                  <a:gd name="connsiteX21" fmla="*/ 71731 w 320997"/>
                  <a:gd name="connsiteY21" fmla="*/ 71436 h 180974"/>
                  <a:gd name="connsiteX22" fmla="*/ 35219 w 320997"/>
                  <a:gd name="connsiteY22" fmla="*/ 82549 h 180974"/>
                  <a:gd name="connsiteX23" fmla="*/ 16169 w 320997"/>
                  <a:gd name="connsiteY23" fmla="*/ 82549 h 180974"/>
                  <a:gd name="connsiteX24" fmla="*/ 14581 w 320997"/>
                  <a:gd name="connsiteY24" fmla="*/ 95249 h 180974"/>
                  <a:gd name="connsiteX25" fmla="*/ 12994 w 320997"/>
                  <a:gd name="connsiteY25" fmla="*/ 100011 h 180974"/>
                  <a:gd name="connsiteX26" fmla="*/ 11406 w 320997"/>
                  <a:gd name="connsiteY26" fmla="*/ 107949 h 180974"/>
                  <a:gd name="connsiteX27" fmla="*/ 14581 w 320997"/>
                  <a:gd name="connsiteY27" fmla="*/ 117474 h 180974"/>
                  <a:gd name="connsiteX28" fmla="*/ 19344 w 320997"/>
                  <a:gd name="connsiteY28" fmla="*/ 120649 h 180974"/>
                  <a:gd name="connsiteX29" fmla="*/ 17756 w 320997"/>
                  <a:gd name="connsiteY29" fmla="*/ 138111 h 180974"/>
                  <a:gd name="connsiteX30" fmla="*/ 14581 w 320997"/>
                  <a:gd name="connsiteY30" fmla="*/ 146049 h 180974"/>
                  <a:gd name="connsiteX31" fmla="*/ 5056 w 320997"/>
                  <a:gd name="connsiteY31" fmla="*/ 147636 h 180974"/>
                  <a:gd name="connsiteX32" fmla="*/ 3469 w 320997"/>
                  <a:gd name="connsiteY32" fmla="*/ 152399 h 180974"/>
                  <a:gd name="connsiteX33" fmla="*/ 294 w 320997"/>
                  <a:gd name="connsiteY33" fmla="*/ 157161 h 180974"/>
                  <a:gd name="connsiteX34" fmla="*/ 5056 w 320997"/>
                  <a:gd name="connsiteY34" fmla="*/ 152399 h 180974"/>
                  <a:gd name="connsiteX35" fmla="*/ 12994 w 320997"/>
                  <a:gd name="connsiteY35" fmla="*/ 139699 h 180974"/>
                  <a:gd name="connsiteX36" fmla="*/ 17756 w 320997"/>
                  <a:gd name="connsiteY36" fmla="*/ 134936 h 180974"/>
                  <a:gd name="connsiteX37" fmla="*/ 25694 w 320997"/>
                  <a:gd name="connsiteY37" fmla="*/ 128586 h 180974"/>
                  <a:gd name="connsiteX38" fmla="*/ 36806 w 320997"/>
                  <a:gd name="connsiteY38" fmla="*/ 130174 h 180974"/>
                  <a:gd name="connsiteX39" fmla="*/ 41569 w 320997"/>
                  <a:gd name="connsiteY39" fmla="*/ 131761 h 180974"/>
                  <a:gd name="connsiteX40" fmla="*/ 46331 w 320997"/>
                  <a:gd name="connsiteY40" fmla="*/ 130174 h 180974"/>
                  <a:gd name="connsiteX41" fmla="*/ 60619 w 320997"/>
                  <a:gd name="connsiteY41" fmla="*/ 131761 h 180974"/>
                  <a:gd name="connsiteX42" fmla="*/ 65381 w 320997"/>
                  <a:gd name="connsiteY42" fmla="*/ 130174 h 180974"/>
                  <a:gd name="connsiteX43" fmla="*/ 76493 w 320997"/>
                  <a:gd name="connsiteY43" fmla="*/ 128587 h 180974"/>
                  <a:gd name="connsiteX44" fmla="*/ 63794 w 320997"/>
                  <a:gd name="connsiteY44" fmla="*/ 138111 h 180974"/>
                  <a:gd name="connsiteX45" fmla="*/ 54269 w 320997"/>
                  <a:gd name="connsiteY45" fmla="*/ 141286 h 180974"/>
                  <a:gd name="connsiteX46" fmla="*/ 52681 w 320997"/>
                  <a:gd name="connsiteY46" fmla="*/ 150811 h 180974"/>
                  <a:gd name="connsiteX47" fmla="*/ 47919 w 320997"/>
                  <a:gd name="connsiteY47" fmla="*/ 149224 h 180974"/>
                  <a:gd name="connsiteX48" fmla="*/ 38394 w 320997"/>
                  <a:gd name="connsiteY48" fmla="*/ 158749 h 180974"/>
                  <a:gd name="connsiteX49" fmla="*/ 33631 w 320997"/>
                  <a:gd name="connsiteY49" fmla="*/ 160336 h 180974"/>
                  <a:gd name="connsiteX50" fmla="*/ 30456 w 320997"/>
                  <a:gd name="connsiteY50" fmla="*/ 165099 h 180974"/>
                  <a:gd name="connsiteX51" fmla="*/ 28869 w 320997"/>
                  <a:gd name="connsiteY51" fmla="*/ 176211 h 180974"/>
                  <a:gd name="connsiteX52" fmla="*/ 33631 w 320997"/>
                  <a:gd name="connsiteY52" fmla="*/ 177799 h 180974"/>
                  <a:gd name="connsiteX53" fmla="*/ 49506 w 320997"/>
                  <a:gd name="connsiteY53" fmla="*/ 179386 h 180974"/>
                  <a:gd name="connsiteX54" fmla="*/ 59031 w 320997"/>
                  <a:gd name="connsiteY54" fmla="*/ 180974 h 180974"/>
                  <a:gd name="connsiteX55" fmla="*/ 76494 w 320997"/>
                  <a:gd name="connsiteY55" fmla="*/ 179386 h 180974"/>
                  <a:gd name="connsiteX56" fmla="*/ 82844 w 320997"/>
                  <a:gd name="connsiteY56" fmla="*/ 177799 h 180974"/>
                  <a:gd name="connsiteX57" fmla="*/ 93956 w 320997"/>
                  <a:gd name="connsiteY57" fmla="*/ 176211 h 180974"/>
                  <a:gd name="connsiteX58" fmla="*/ 119356 w 320997"/>
                  <a:gd name="connsiteY58" fmla="*/ 171449 h 180974"/>
                  <a:gd name="connsiteX59" fmla="*/ 200319 w 320997"/>
                  <a:gd name="connsiteY59" fmla="*/ 173036 h 180974"/>
                  <a:gd name="connsiteX60" fmla="*/ 220956 w 320997"/>
                  <a:gd name="connsiteY60" fmla="*/ 173036 h 180974"/>
                  <a:gd name="connsiteX61" fmla="*/ 246356 w 320997"/>
                  <a:gd name="connsiteY61" fmla="*/ 168274 h 180974"/>
                  <a:gd name="connsiteX62" fmla="*/ 255881 w 320997"/>
                  <a:gd name="connsiteY62" fmla="*/ 165099 h 180974"/>
                  <a:gd name="connsiteX63" fmla="*/ 268581 w 320997"/>
                  <a:gd name="connsiteY63" fmla="*/ 161924 h 180974"/>
                  <a:gd name="connsiteX64" fmla="*/ 276519 w 320997"/>
                  <a:gd name="connsiteY64" fmla="*/ 158749 h 180974"/>
                  <a:gd name="connsiteX65" fmla="*/ 284456 w 320997"/>
                  <a:gd name="connsiteY65" fmla="*/ 157161 h 180974"/>
                  <a:gd name="connsiteX66" fmla="*/ 298744 w 320997"/>
                  <a:gd name="connsiteY66" fmla="*/ 153986 h 180974"/>
                  <a:gd name="connsiteX67" fmla="*/ 316206 w 320997"/>
                  <a:gd name="connsiteY67" fmla="*/ 142874 h 180974"/>
                  <a:gd name="connsiteX68" fmla="*/ 314619 w 320997"/>
                  <a:gd name="connsiteY68" fmla="*/ 138111 h 180974"/>
                  <a:gd name="connsiteX69" fmla="*/ 309856 w 320997"/>
                  <a:gd name="connsiteY69" fmla="*/ 134936 h 180974"/>
                  <a:gd name="connsiteX70" fmla="*/ 308269 w 320997"/>
                  <a:gd name="connsiteY70" fmla="*/ 115886 h 180974"/>
                  <a:gd name="connsiteX71" fmla="*/ 311444 w 320997"/>
                  <a:gd name="connsiteY71" fmla="*/ 106361 h 180974"/>
                  <a:gd name="connsiteX72" fmla="*/ 306681 w 320997"/>
                  <a:gd name="connsiteY72" fmla="*/ 98424 h 180974"/>
                  <a:gd name="connsiteX73" fmla="*/ 305094 w 320997"/>
                  <a:gd name="connsiteY73" fmla="*/ 93661 h 180974"/>
                  <a:gd name="connsiteX74" fmla="*/ 308269 w 320997"/>
                  <a:gd name="connsiteY74" fmla="*/ 80961 h 180974"/>
                  <a:gd name="connsiteX75" fmla="*/ 317794 w 320997"/>
                  <a:gd name="connsiteY75" fmla="*/ 77786 h 180974"/>
                  <a:gd name="connsiteX76" fmla="*/ 317794 w 320997"/>
                  <a:gd name="connsiteY76" fmla="*/ 52386 h 180974"/>
                  <a:gd name="connsiteX77" fmla="*/ 308269 w 320997"/>
                  <a:gd name="connsiteY77" fmla="*/ 50799 h 180974"/>
                  <a:gd name="connsiteX78" fmla="*/ 305094 w 320997"/>
                  <a:gd name="connsiteY78" fmla="*/ 42861 h 180974"/>
                  <a:gd name="connsiteX79" fmla="*/ 298744 w 320997"/>
                  <a:gd name="connsiteY79" fmla="*/ 41274 h 180974"/>
                  <a:gd name="connsiteX80" fmla="*/ 287631 w 320997"/>
                  <a:gd name="connsiteY80" fmla="*/ 31749 h 180974"/>
                  <a:gd name="connsiteX81" fmla="*/ 273344 w 320997"/>
                  <a:gd name="connsiteY81" fmla="*/ 19049 h 180974"/>
                  <a:gd name="connsiteX82" fmla="*/ 271756 w 320997"/>
                  <a:gd name="connsiteY82" fmla="*/ 25399 h 180974"/>
                  <a:gd name="connsiteX83" fmla="*/ 259056 w 320997"/>
                  <a:gd name="connsiteY83" fmla="*/ 30161 h 180974"/>
                  <a:gd name="connsiteX84" fmla="*/ 240006 w 320997"/>
                  <a:gd name="connsiteY84" fmla="*/ 28574 h 180974"/>
                  <a:gd name="connsiteX85" fmla="*/ 233656 w 320997"/>
                  <a:gd name="connsiteY85" fmla="*/ 44449 h 180974"/>
                  <a:gd name="connsiteX86" fmla="*/ 230481 w 320997"/>
                  <a:gd name="connsiteY86" fmla="*/ 38099 h 180974"/>
                  <a:gd name="connsiteX87" fmla="*/ 228894 w 320997"/>
                  <a:gd name="connsiteY87" fmla="*/ 33336 h 180974"/>
                  <a:gd name="connsiteX88" fmla="*/ 224131 w 320997"/>
                  <a:gd name="connsiteY88" fmla="*/ 31749 h 180974"/>
                  <a:gd name="connsiteX89" fmla="*/ 201906 w 320997"/>
                  <a:gd name="connsiteY89" fmla="*/ 30161 h 180974"/>
                  <a:gd name="connsiteX90" fmla="*/ 200319 w 320997"/>
                  <a:gd name="connsiteY90" fmla="*/ 22224 h 180974"/>
                  <a:gd name="connsiteX91" fmla="*/ 186031 w 320997"/>
                  <a:gd name="connsiteY91" fmla="*/ 25399 h 180974"/>
                  <a:gd name="connsiteX92" fmla="*/ 181269 w 320997"/>
                  <a:gd name="connsiteY92" fmla="*/ 23811 h 180974"/>
                  <a:gd name="connsiteX93" fmla="*/ 179681 w 320997"/>
                  <a:gd name="connsiteY93" fmla="*/ 19049 h 180974"/>
                  <a:gd name="connsiteX94" fmla="*/ 174919 w 320997"/>
                  <a:gd name="connsiteY94" fmla="*/ 7936 h 180974"/>
                  <a:gd name="connsiteX95" fmla="*/ 170156 w 320997"/>
                  <a:gd name="connsiteY95" fmla="*/ 4761 h 180974"/>
                  <a:gd name="connsiteX96" fmla="*/ 162219 w 320997"/>
                  <a:gd name="connsiteY96" fmla="*/ 9524 h 180974"/>
                  <a:gd name="connsiteX97" fmla="*/ 152694 w 320997"/>
                  <a:gd name="connsiteY97" fmla="*/ 12699 h 180974"/>
                  <a:gd name="connsiteX98" fmla="*/ 151106 w 320997"/>
                  <a:gd name="connsiteY98" fmla="*/ 17461 h 180974"/>
                  <a:gd name="connsiteX0" fmla="*/ 151106 w 320997"/>
                  <a:gd name="connsiteY0" fmla="*/ 17461 h 180974"/>
                  <a:gd name="connsiteX1" fmla="*/ 152694 w 320997"/>
                  <a:gd name="connsiteY1" fmla="*/ 28574 h 180974"/>
                  <a:gd name="connsiteX2" fmla="*/ 146344 w 320997"/>
                  <a:gd name="connsiteY2" fmla="*/ 31749 h 180974"/>
                  <a:gd name="connsiteX3" fmla="*/ 141581 w 320997"/>
                  <a:gd name="connsiteY3" fmla="*/ 34924 h 180974"/>
                  <a:gd name="connsiteX4" fmla="*/ 138406 w 320997"/>
                  <a:gd name="connsiteY4" fmla="*/ 30161 h 180974"/>
                  <a:gd name="connsiteX5" fmla="*/ 139994 w 320997"/>
                  <a:gd name="connsiteY5" fmla="*/ 36511 h 180974"/>
                  <a:gd name="connsiteX6" fmla="*/ 132056 w 320997"/>
                  <a:gd name="connsiteY6" fmla="*/ 80961 h 180974"/>
                  <a:gd name="connsiteX7" fmla="*/ 117769 w 320997"/>
                  <a:gd name="connsiteY7" fmla="*/ 79374 h 180974"/>
                  <a:gd name="connsiteX8" fmla="*/ 95544 w 320997"/>
                  <a:gd name="connsiteY8" fmla="*/ 74611 h 180974"/>
                  <a:gd name="connsiteX9" fmla="*/ 66969 w 320997"/>
                  <a:gd name="connsiteY9" fmla="*/ 79374 h 180974"/>
                  <a:gd name="connsiteX10" fmla="*/ 70144 w 320997"/>
                  <a:gd name="connsiteY10" fmla="*/ 73024 h 180974"/>
                  <a:gd name="connsiteX11" fmla="*/ 74906 w 320997"/>
                  <a:gd name="connsiteY11" fmla="*/ 68261 h 180974"/>
                  <a:gd name="connsiteX12" fmla="*/ 82844 w 320997"/>
                  <a:gd name="connsiteY12" fmla="*/ 52386 h 180974"/>
                  <a:gd name="connsiteX13" fmla="*/ 89194 w 320997"/>
                  <a:gd name="connsiteY13" fmla="*/ 44449 h 180974"/>
                  <a:gd name="connsiteX14" fmla="*/ 97131 w 320997"/>
                  <a:gd name="connsiteY14" fmla="*/ 34924 h 180974"/>
                  <a:gd name="connsiteX15" fmla="*/ 98719 w 320997"/>
                  <a:gd name="connsiteY15" fmla="*/ 28574 h 180974"/>
                  <a:gd name="connsiteX16" fmla="*/ 87606 w 320997"/>
                  <a:gd name="connsiteY16" fmla="*/ 47624 h 180974"/>
                  <a:gd name="connsiteX17" fmla="*/ 86019 w 320997"/>
                  <a:gd name="connsiteY17" fmla="*/ 52386 h 180974"/>
                  <a:gd name="connsiteX18" fmla="*/ 82844 w 320997"/>
                  <a:gd name="connsiteY18" fmla="*/ 57149 h 180974"/>
                  <a:gd name="connsiteX19" fmla="*/ 81256 w 320997"/>
                  <a:gd name="connsiteY19" fmla="*/ 61911 h 180974"/>
                  <a:gd name="connsiteX20" fmla="*/ 73319 w 320997"/>
                  <a:gd name="connsiteY20" fmla="*/ 66674 h 180974"/>
                  <a:gd name="connsiteX21" fmla="*/ 71731 w 320997"/>
                  <a:gd name="connsiteY21" fmla="*/ 71436 h 180974"/>
                  <a:gd name="connsiteX22" fmla="*/ 35219 w 320997"/>
                  <a:gd name="connsiteY22" fmla="*/ 82549 h 180974"/>
                  <a:gd name="connsiteX23" fmla="*/ 16169 w 320997"/>
                  <a:gd name="connsiteY23" fmla="*/ 82549 h 180974"/>
                  <a:gd name="connsiteX24" fmla="*/ 14581 w 320997"/>
                  <a:gd name="connsiteY24" fmla="*/ 95249 h 180974"/>
                  <a:gd name="connsiteX25" fmla="*/ 12994 w 320997"/>
                  <a:gd name="connsiteY25" fmla="*/ 100011 h 180974"/>
                  <a:gd name="connsiteX26" fmla="*/ 11406 w 320997"/>
                  <a:gd name="connsiteY26" fmla="*/ 107949 h 180974"/>
                  <a:gd name="connsiteX27" fmla="*/ 14581 w 320997"/>
                  <a:gd name="connsiteY27" fmla="*/ 117474 h 180974"/>
                  <a:gd name="connsiteX28" fmla="*/ 19344 w 320997"/>
                  <a:gd name="connsiteY28" fmla="*/ 120649 h 180974"/>
                  <a:gd name="connsiteX29" fmla="*/ 17756 w 320997"/>
                  <a:gd name="connsiteY29" fmla="*/ 138111 h 180974"/>
                  <a:gd name="connsiteX30" fmla="*/ 14581 w 320997"/>
                  <a:gd name="connsiteY30" fmla="*/ 146049 h 180974"/>
                  <a:gd name="connsiteX31" fmla="*/ 5056 w 320997"/>
                  <a:gd name="connsiteY31" fmla="*/ 147636 h 180974"/>
                  <a:gd name="connsiteX32" fmla="*/ 3469 w 320997"/>
                  <a:gd name="connsiteY32" fmla="*/ 152399 h 180974"/>
                  <a:gd name="connsiteX33" fmla="*/ 294 w 320997"/>
                  <a:gd name="connsiteY33" fmla="*/ 157161 h 180974"/>
                  <a:gd name="connsiteX34" fmla="*/ 5056 w 320997"/>
                  <a:gd name="connsiteY34" fmla="*/ 152399 h 180974"/>
                  <a:gd name="connsiteX35" fmla="*/ 12994 w 320997"/>
                  <a:gd name="connsiteY35" fmla="*/ 139699 h 180974"/>
                  <a:gd name="connsiteX36" fmla="*/ 17756 w 320997"/>
                  <a:gd name="connsiteY36" fmla="*/ 134936 h 180974"/>
                  <a:gd name="connsiteX37" fmla="*/ 25694 w 320997"/>
                  <a:gd name="connsiteY37" fmla="*/ 128586 h 180974"/>
                  <a:gd name="connsiteX38" fmla="*/ 36806 w 320997"/>
                  <a:gd name="connsiteY38" fmla="*/ 130174 h 180974"/>
                  <a:gd name="connsiteX39" fmla="*/ 41569 w 320997"/>
                  <a:gd name="connsiteY39" fmla="*/ 131761 h 180974"/>
                  <a:gd name="connsiteX40" fmla="*/ 46331 w 320997"/>
                  <a:gd name="connsiteY40" fmla="*/ 131761 h 180974"/>
                  <a:gd name="connsiteX41" fmla="*/ 60619 w 320997"/>
                  <a:gd name="connsiteY41" fmla="*/ 131761 h 180974"/>
                  <a:gd name="connsiteX42" fmla="*/ 65381 w 320997"/>
                  <a:gd name="connsiteY42" fmla="*/ 130174 h 180974"/>
                  <a:gd name="connsiteX43" fmla="*/ 76493 w 320997"/>
                  <a:gd name="connsiteY43" fmla="*/ 128587 h 180974"/>
                  <a:gd name="connsiteX44" fmla="*/ 63794 w 320997"/>
                  <a:gd name="connsiteY44" fmla="*/ 138111 h 180974"/>
                  <a:gd name="connsiteX45" fmla="*/ 54269 w 320997"/>
                  <a:gd name="connsiteY45" fmla="*/ 141286 h 180974"/>
                  <a:gd name="connsiteX46" fmla="*/ 52681 w 320997"/>
                  <a:gd name="connsiteY46" fmla="*/ 150811 h 180974"/>
                  <a:gd name="connsiteX47" fmla="*/ 47919 w 320997"/>
                  <a:gd name="connsiteY47" fmla="*/ 149224 h 180974"/>
                  <a:gd name="connsiteX48" fmla="*/ 38394 w 320997"/>
                  <a:gd name="connsiteY48" fmla="*/ 158749 h 180974"/>
                  <a:gd name="connsiteX49" fmla="*/ 33631 w 320997"/>
                  <a:gd name="connsiteY49" fmla="*/ 160336 h 180974"/>
                  <a:gd name="connsiteX50" fmla="*/ 30456 w 320997"/>
                  <a:gd name="connsiteY50" fmla="*/ 165099 h 180974"/>
                  <a:gd name="connsiteX51" fmla="*/ 28869 w 320997"/>
                  <a:gd name="connsiteY51" fmla="*/ 176211 h 180974"/>
                  <a:gd name="connsiteX52" fmla="*/ 33631 w 320997"/>
                  <a:gd name="connsiteY52" fmla="*/ 177799 h 180974"/>
                  <a:gd name="connsiteX53" fmla="*/ 49506 w 320997"/>
                  <a:gd name="connsiteY53" fmla="*/ 179386 h 180974"/>
                  <a:gd name="connsiteX54" fmla="*/ 59031 w 320997"/>
                  <a:gd name="connsiteY54" fmla="*/ 180974 h 180974"/>
                  <a:gd name="connsiteX55" fmla="*/ 76494 w 320997"/>
                  <a:gd name="connsiteY55" fmla="*/ 179386 h 180974"/>
                  <a:gd name="connsiteX56" fmla="*/ 82844 w 320997"/>
                  <a:gd name="connsiteY56" fmla="*/ 177799 h 180974"/>
                  <a:gd name="connsiteX57" fmla="*/ 93956 w 320997"/>
                  <a:gd name="connsiteY57" fmla="*/ 176211 h 180974"/>
                  <a:gd name="connsiteX58" fmla="*/ 119356 w 320997"/>
                  <a:gd name="connsiteY58" fmla="*/ 171449 h 180974"/>
                  <a:gd name="connsiteX59" fmla="*/ 200319 w 320997"/>
                  <a:gd name="connsiteY59" fmla="*/ 173036 h 180974"/>
                  <a:gd name="connsiteX60" fmla="*/ 220956 w 320997"/>
                  <a:gd name="connsiteY60" fmla="*/ 173036 h 180974"/>
                  <a:gd name="connsiteX61" fmla="*/ 246356 w 320997"/>
                  <a:gd name="connsiteY61" fmla="*/ 168274 h 180974"/>
                  <a:gd name="connsiteX62" fmla="*/ 255881 w 320997"/>
                  <a:gd name="connsiteY62" fmla="*/ 165099 h 180974"/>
                  <a:gd name="connsiteX63" fmla="*/ 268581 w 320997"/>
                  <a:gd name="connsiteY63" fmla="*/ 161924 h 180974"/>
                  <a:gd name="connsiteX64" fmla="*/ 276519 w 320997"/>
                  <a:gd name="connsiteY64" fmla="*/ 158749 h 180974"/>
                  <a:gd name="connsiteX65" fmla="*/ 284456 w 320997"/>
                  <a:gd name="connsiteY65" fmla="*/ 157161 h 180974"/>
                  <a:gd name="connsiteX66" fmla="*/ 298744 w 320997"/>
                  <a:gd name="connsiteY66" fmla="*/ 153986 h 180974"/>
                  <a:gd name="connsiteX67" fmla="*/ 316206 w 320997"/>
                  <a:gd name="connsiteY67" fmla="*/ 142874 h 180974"/>
                  <a:gd name="connsiteX68" fmla="*/ 314619 w 320997"/>
                  <a:gd name="connsiteY68" fmla="*/ 138111 h 180974"/>
                  <a:gd name="connsiteX69" fmla="*/ 309856 w 320997"/>
                  <a:gd name="connsiteY69" fmla="*/ 134936 h 180974"/>
                  <a:gd name="connsiteX70" fmla="*/ 308269 w 320997"/>
                  <a:gd name="connsiteY70" fmla="*/ 115886 h 180974"/>
                  <a:gd name="connsiteX71" fmla="*/ 311444 w 320997"/>
                  <a:gd name="connsiteY71" fmla="*/ 106361 h 180974"/>
                  <a:gd name="connsiteX72" fmla="*/ 306681 w 320997"/>
                  <a:gd name="connsiteY72" fmla="*/ 98424 h 180974"/>
                  <a:gd name="connsiteX73" fmla="*/ 305094 w 320997"/>
                  <a:gd name="connsiteY73" fmla="*/ 93661 h 180974"/>
                  <a:gd name="connsiteX74" fmla="*/ 308269 w 320997"/>
                  <a:gd name="connsiteY74" fmla="*/ 80961 h 180974"/>
                  <a:gd name="connsiteX75" fmla="*/ 317794 w 320997"/>
                  <a:gd name="connsiteY75" fmla="*/ 77786 h 180974"/>
                  <a:gd name="connsiteX76" fmla="*/ 317794 w 320997"/>
                  <a:gd name="connsiteY76" fmla="*/ 52386 h 180974"/>
                  <a:gd name="connsiteX77" fmla="*/ 308269 w 320997"/>
                  <a:gd name="connsiteY77" fmla="*/ 50799 h 180974"/>
                  <a:gd name="connsiteX78" fmla="*/ 305094 w 320997"/>
                  <a:gd name="connsiteY78" fmla="*/ 42861 h 180974"/>
                  <a:gd name="connsiteX79" fmla="*/ 298744 w 320997"/>
                  <a:gd name="connsiteY79" fmla="*/ 41274 h 180974"/>
                  <a:gd name="connsiteX80" fmla="*/ 287631 w 320997"/>
                  <a:gd name="connsiteY80" fmla="*/ 31749 h 180974"/>
                  <a:gd name="connsiteX81" fmla="*/ 273344 w 320997"/>
                  <a:gd name="connsiteY81" fmla="*/ 19049 h 180974"/>
                  <a:gd name="connsiteX82" fmla="*/ 271756 w 320997"/>
                  <a:gd name="connsiteY82" fmla="*/ 25399 h 180974"/>
                  <a:gd name="connsiteX83" fmla="*/ 259056 w 320997"/>
                  <a:gd name="connsiteY83" fmla="*/ 30161 h 180974"/>
                  <a:gd name="connsiteX84" fmla="*/ 240006 w 320997"/>
                  <a:gd name="connsiteY84" fmla="*/ 28574 h 180974"/>
                  <a:gd name="connsiteX85" fmla="*/ 233656 w 320997"/>
                  <a:gd name="connsiteY85" fmla="*/ 44449 h 180974"/>
                  <a:gd name="connsiteX86" fmla="*/ 230481 w 320997"/>
                  <a:gd name="connsiteY86" fmla="*/ 38099 h 180974"/>
                  <a:gd name="connsiteX87" fmla="*/ 228894 w 320997"/>
                  <a:gd name="connsiteY87" fmla="*/ 33336 h 180974"/>
                  <a:gd name="connsiteX88" fmla="*/ 224131 w 320997"/>
                  <a:gd name="connsiteY88" fmla="*/ 31749 h 180974"/>
                  <a:gd name="connsiteX89" fmla="*/ 201906 w 320997"/>
                  <a:gd name="connsiteY89" fmla="*/ 30161 h 180974"/>
                  <a:gd name="connsiteX90" fmla="*/ 200319 w 320997"/>
                  <a:gd name="connsiteY90" fmla="*/ 22224 h 180974"/>
                  <a:gd name="connsiteX91" fmla="*/ 186031 w 320997"/>
                  <a:gd name="connsiteY91" fmla="*/ 25399 h 180974"/>
                  <a:gd name="connsiteX92" fmla="*/ 181269 w 320997"/>
                  <a:gd name="connsiteY92" fmla="*/ 23811 h 180974"/>
                  <a:gd name="connsiteX93" fmla="*/ 179681 w 320997"/>
                  <a:gd name="connsiteY93" fmla="*/ 19049 h 180974"/>
                  <a:gd name="connsiteX94" fmla="*/ 174919 w 320997"/>
                  <a:gd name="connsiteY94" fmla="*/ 7936 h 180974"/>
                  <a:gd name="connsiteX95" fmla="*/ 170156 w 320997"/>
                  <a:gd name="connsiteY95" fmla="*/ 4761 h 180974"/>
                  <a:gd name="connsiteX96" fmla="*/ 162219 w 320997"/>
                  <a:gd name="connsiteY96" fmla="*/ 9524 h 180974"/>
                  <a:gd name="connsiteX97" fmla="*/ 152694 w 320997"/>
                  <a:gd name="connsiteY97" fmla="*/ 12699 h 180974"/>
                  <a:gd name="connsiteX98" fmla="*/ 151106 w 320997"/>
                  <a:gd name="connsiteY98" fmla="*/ 17461 h 180974"/>
                  <a:gd name="connsiteX0" fmla="*/ 151106 w 320997"/>
                  <a:gd name="connsiteY0" fmla="*/ 17461 h 180974"/>
                  <a:gd name="connsiteX1" fmla="*/ 152694 w 320997"/>
                  <a:gd name="connsiteY1" fmla="*/ 28574 h 180974"/>
                  <a:gd name="connsiteX2" fmla="*/ 146344 w 320997"/>
                  <a:gd name="connsiteY2" fmla="*/ 31749 h 180974"/>
                  <a:gd name="connsiteX3" fmla="*/ 141581 w 320997"/>
                  <a:gd name="connsiteY3" fmla="*/ 34924 h 180974"/>
                  <a:gd name="connsiteX4" fmla="*/ 138406 w 320997"/>
                  <a:gd name="connsiteY4" fmla="*/ 30161 h 180974"/>
                  <a:gd name="connsiteX5" fmla="*/ 139994 w 320997"/>
                  <a:gd name="connsiteY5" fmla="*/ 36511 h 180974"/>
                  <a:gd name="connsiteX6" fmla="*/ 132056 w 320997"/>
                  <a:gd name="connsiteY6" fmla="*/ 80961 h 180974"/>
                  <a:gd name="connsiteX7" fmla="*/ 117769 w 320997"/>
                  <a:gd name="connsiteY7" fmla="*/ 79374 h 180974"/>
                  <a:gd name="connsiteX8" fmla="*/ 95544 w 320997"/>
                  <a:gd name="connsiteY8" fmla="*/ 74611 h 180974"/>
                  <a:gd name="connsiteX9" fmla="*/ 66969 w 320997"/>
                  <a:gd name="connsiteY9" fmla="*/ 79374 h 180974"/>
                  <a:gd name="connsiteX10" fmla="*/ 70144 w 320997"/>
                  <a:gd name="connsiteY10" fmla="*/ 73024 h 180974"/>
                  <a:gd name="connsiteX11" fmla="*/ 74906 w 320997"/>
                  <a:gd name="connsiteY11" fmla="*/ 68261 h 180974"/>
                  <a:gd name="connsiteX12" fmla="*/ 82844 w 320997"/>
                  <a:gd name="connsiteY12" fmla="*/ 52386 h 180974"/>
                  <a:gd name="connsiteX13" fmla="*/ 89194 w 320997"/>
                  <a:gd name="connsiteY13" fmla="*/ 44449 h 180974"/>
                  <a:gd name="connsiteX14" fmla="*/ 97131 w 320997"/>
                  <a:gd name="connsiteY14" fmla="*/ 34924 h 180974"/>
                  <a:gd name="connsiteX15" fmla="*/ 98719 w 320997"/>
                  <a:gd name="connsiteY15" fmla="*/ 28574 h 180974"/>
                  <a:gd name="connsiteX16" fmla="*/ 87606 w 320997"/>
                  <a:gd name="connsiteY16" fmla="*/ 47624 h 180974"/>
                  <a:gd name="connsiteX17" fmla="*/ 86019 w 320997"/>
                  <a:gd name="connsiteY17" fmla="*/ 52386 h 180974"/>
                  <a:gd name="connsiteX18" fmla="*/ 82844 w 320997"/>
                  <a:gd name="connsiteY18" fmla="*/ 57149 h 180974"/>
                  <a:gd name="connsiteX19" fmla="*/ 81256 w 320997"/>
                  <a:gd name="connsiteY19" fmla="*/ 61911 h 180974"/>
                  <a:gd name="connsiteX20" fmla="*/ 73319 w 320997"/>
                  <a:gd name="connsiteY20" fmla="*/ 66674 h 180974"/>
                  <a:gd name="connsiteX21" fmla="*/ 71731 w 320997"/>
                  <a:gd name="connsiteY21" fmla="*/ 71436 h 180974"/>
                  <a:gd name="connsiteX22" fmla="*/ 35219 w 320997"/>
                  <a:gd name="connsiteY22" fmla="*/ 82549 h 180974"/>
                  <a:gd name="connsiteX23" fmla="*/ 16169 w 320997"/>
                  <a:gd name="connsiteY23" fmla="*/ 82549 h 180974"/>
                  <a:gd name="connsiteX24" fmla="*/ 14581 w 320997"/>
                  <a:gd name="connsiteY24" fmla="*/ 95249 h 180974"/>
                  <a:gd name="connsiteX25" fmla="*/ 12994 w 320997"/>
                  <a:gd name="connsiteY25" fmla="*/ 100011 h 180974"/>
                  <a:gd name="connsiteX26" fmla="*/ 11406 w 320997"/>
                  <a:gd name="connsiteY26" fmla="*/ 107949 h 180974"/>
                  <a:gd name="connsiteX27" fmla="*/ 14581 w 320997"/>
                  <a:gd name="connsiteY27" fmla="*/ 117474 h 180974"/>
                  <a:gd name="connsiteX28" fmla="*/ 19344 w 320997"/>
                  <a:gd name="connsiteY28" fmla="*/ 120649 h 180974"/>
                  <a:gd name="connsiteX29" fmla="*/ 17756 w 320997"/>
                  <a:gd name="connsiteY29" fmla="*/ 138111 h 180974"/>
                  <a:gd name="connsiteX30" fmla="*/ 14581 w 320997"/>
                  <a:gd name="connsiteY30" fmla="*/ 146049 h 180974"/>
                  <a:gd name="connsiteX31" fmla="*/ 5056 w 320997"/>
                  <a:gd name="connsiteY31" fmla="*/ 147636 h 180974"/>
                  <a:gd name="connsiteX32" fmla="*/ 3469 w 320997"/>
                  <a:gd name="connsiteY32" fmla="*/ 152399 h 180974"/>
                  <a:gd name="connsiteX33" fmla="*/ 294 w 320997"/>
                  <a:gd name="connsiteY33" fmla="*/ 157161 h 180974"/>
                  <a:gd name="connsiteX34" fmla="*/ 5056 w 320997"/>
                  <a:gd name="connsiteY34" fmla="*/ 152399 h 180974"/>
                  <a:gd name="connsiteX35" fmla="*/ 12994 w 320997"/>
                  <a:gd name="connsiteY35" fmla="*/ 139699 h 180974"/>
                  <a:gd name="connsiteX36" fmla="*/ 17756 w 320997"/>
                  <a:gd name="connsiteY36" fmla="*/ 134936 h 180974"/>
                  <a:gd name="connsiteX37" fmla="*/ 25694 w 320997"/>
                  <a:gd name="connsiteY37" fmla="*/ 128586 h 180974"/>
                  <a:gd name="connsiteX38" fmla="*/ 36806 w 320997"/>
                  <a:gd name="connsiteY38" fmla="*/ 130174 h 180974"/>
                  <a:gd name="connsiteX39" fmla="*/ 41569 w 320997"/>
                  <a:gd name="connsiteY39" fmla="*/ 131761 h 180974"/>
                  <a:gd name="connsiteX40" fmla="*/ 46331 w 320997"/>
                  <a:gd name="connsiteY40" fmla="*/ 131761 h 180974"/>
                  <a:gd name="connsiteX41" fmla="*/ 60619 w 320997"/>
                  <a:gd name="connsiteY41" fmla="*/ 131761 h 180974"/>
                  <a:gd name="connsiteX42" fmla="*/ 65381 w 320997"/>
                  <a:gd name="connsiteY42" fmla="*/ 130174 h 180974"/>
                  <a:gd name="connsiteX43" fmla="*/ 76493 w 320997"/>
                  <a:gd name="connsiteY43" fmla="*/ 128587 h 180974"/>
                  <a:gd name="connsiteX44" fmla="*/ 63794 w 320997"/>
                  <a:gd name="connsiteY44" fmla="*/ 138111 h 180974"/>
                  <a:gd name="connsiteX45" fmla="*/ 54269 w 320997"/>
                  <a:gd name="connsiteY45" fmla="*/ 141286 h 180974"/>
                  <a:gd name="connsiteX46" fmla="*/ 52681 w 320997"/>
                  <a:gd name="connsiteY46" fmla="*/ 150811 h 180974"/>
                  <a:gd name="connsiteX47" fmla="*/ 47919 w 320997"/>
                  <a:gd name="connsiteY47" fmla="*/ 149224 h 180974"/>
                  <a:gd name="connsiteX48" fmla="*/ 35219 w 320997"/>
                  <a:gd name="connsiteY48" fmla="*/ 139699 h 180974"/>
                  <a:gd name="connsiteX49" fmla="*/ 33631 w 320997"/>
                  <a:gd name="connsiteY49" fmla="*/ 160336 h 180974"/>
                  <a:gd name="connsiteX50" fmla="*/ 30456 w 320997"/>
                  <a:gd name="connsiteY50" fmla="*/ 165099 h 180974"/>
                  <a:gd name="connsiteX51" fmla="*/ 28869 w 320997"/>
                  <a:gd name="connsiteY51" fmla="*/ 176211 h 180974"/>
                  <a:gd name="connsiteX52" fmla="*/ 33631 w 320997"/>
                  <a:gd name="connsiteY52" fmla="*/ 177799 h 180974"/>
                  <a:gd name="connsiteX53" fmla="*/ 49506 w 320997"/>
                  <a:gd name="connsiteY53" fmla="*/ 179386 h 180974"/>
                  <a:gd name="connsiteX54" fmla="*/ 59031 w 320997"/>
                  <a:gd name="connsiteY54" fmla="*/ 180974 h 180974"/>
                  <a:gd name="connsiteX55" fmla="*/ 76494 w 320997"/>
                  <a:gd name="connsiteY55" fmla="*/ 179386 h 180974"/>
                  <a:gd name="connsiteX56" fmla="*/ 82844 w 320997"/>
                  <a:gd name="connsiteY56" fmla="*/ 177799 h 180974"/>
                  <a:gd name="connsiteX57" fmla="*/ 93956 w 320997"/>
                  <a:gd name="connsiteY57" fmla="*/ 176211 h 180974"/>
                  <a:gd name="connsiteX58" fmla="*/ 119356 w 320997"/>
                  <a:gd name="connsiteY58" fmla="*/ 171449 h 180974"/>
                  <a:gd name="connsiteX59" fmla="*/ 200319 w 320997"/>
                  <a:gd name="connsiteY59" fmla="*/ 173036 h 180974"/>
                  <a:gd name="connsiteX60" fmla="*/ 220956 w 320997"/>
                  <a:gd name="connsiteY60" fmla="*/ 173036 h 180974"/>
                  <a:gd name="connsiteX61" fmla="*/ 246356 w 320997"/>
                  <a:gd name="connsiteY61" fmla="*/ 168274 h 180974"/>
                  <a:gd name="connsiteX62" fmla="*/ 255881 w 320997"/>
                  <a:gd name="connsiteY62" fmla="*/ 165099 h 180974"/>
                  <a:gd name="connsiteX63" fmla="*/ 268581 w 320997"/>
                  <a:gd name="connsiteY63" fmla="*/ 161924 h 180974"/>
                  <a:gd name="connsiteX64" fmla="*/ 276519 w 320997"/>
                  <a:gd name="connsiteY64" fmla="*/ 158749 h 180974"/>
                  <a:gd name="connsiteX65" fmla="*/ 284456 w 320997"/>
                  <a:gd name="connsiteY65" fmla="*/ 157161 h 180974"/>
                  <a:gd name="connsiteX66" fmla="*/ 298744 w 320997"/>
                  <a:gd name="connsiteY66" fmla="*/ 153986 h 180974"/>
                  <a:gd name="connsiteX67" fmla="*/ 316206 w 320997"/>
                  <a:gd name="connsiteY67" fmla="*/ 142874 h 180974"/>
                  <a:gd name="connsiteX68" fmla="*/ 314619 w 320997"/>
                  <a:gd name="connsiteY68" fmla="*/ 138111 h 180974"/>
                  <a:gd name="connsiteX69" fmla="*/ 309856 w 320997"/>
                  <a:gd name="connsiteY69" fmla="*/ 134936 h 180974"/>
                  <a:gd name="connsiteX70" fmla="*/ 308269 w 320997"/>
                  <a:gd name="connsiteY70" fmla="*/ 115886 h 180974"/>
                  <a:gd name="connsiteX71" fmla="*/ 311444 w 320997"/>
                  <a:gd name="connsiteY71" fmla="*/ 106361 h 180974"/>
                  <a:gd name="connsiteX72" fmla="*/ 306681 w 320997"/>
                  <a:gd name="connsiteY72" fmla="*/ 98424 h 180974"/>
                  <a:gd name="connsiteX73" fmla="*/ 305094 w 320997"/>
                  <a:gd name="connsiteY73" fmla="*/ 93661 h 180974"/>
                  <a:gd name="connsiteX74" fmla="*/ 308269 w 320997"/>
                  <a:gd name="connsiteY74" fmla="*/ 80961 h 180974"/>
                  <a:gd name="connsiteX75" fmla="*/ 317794 w 320997"/>
                  <a:gd name="connsiteY75" fmla="*/ 77786 h 180974"/>
                  <a:gd name="connsiteX76" fmla="*/ 317794 w 320997"/>
                  <a:gd name="connsiteY76" fmla="*/ 52386 h 180974"/>
                  <a:gd name="connsiteX77" fmla="*/ 308269 w 320997"/>
                  <a:gd name="connsiteY77" fmla="*/ 50799 h 180974"/>
                  <a:gd name="connsiteX78" fmla="*/ 305094 w 320997"/>
                  <a:gd name="connsiteY78" fmla="*/ 42861 h 180974"/>
                  <a:gd name="connsiteX79" fmla="*/ 298744 w 320997"/>
                  <a:gd name="connsiteY79" fmla="*/ 41274 h 180974"/>
                  <a:gd name="connsiteX80" fmla="*/ 287631 w 320997"/>
                  <a:gd name="connsiteY80" fmla="*/ 31749 h 180974"/>
                  <a:gd name="connsiteX81" fmla="*/ 273344 w 320997"/>
                  <a:gd name="connsiteY81" fmla="*/ 19049 h 180974"/>
                  <a:gd name="connsiteX82" fmla="*/ 271756 w 320997"/>
                  <a:gd name="connsiteY82" fmla="*/ 25399 h 180974"/>
                  <a:gd name="connsiteX83" fmla="*/ 259056 w 320997"/>
                  <a:gd name="connsiteY83" fmla="*/ 30161 h 180974"/>
                  <a:gd name="connsiteX84" fmla="*/ 240006 w 320997"/>
                  <a:gd name="connsiteY84" fmla="*/ 28574 h 180974"/>
                  <a:gd name="connsiteX85" fmla="*/ 233656 w 320997"/>
                  <a:gd name="connsiteY85" fmla="*/ 44449 h 180974"/>
                  <a:gd name="connsiteX86" fmla="*/ 230481 w 320997"/>
                  <a:gd name="connsiteY86" fmla="*/ 38099 h 180974"/>
                  <a:gd name="connsiteX87" fmla="*/ 228894 w 320997"/>
                  <a:gd name="connsiteY87" fmla="*/ 33336 h 180974"/>
                  <a:gd name="connsiteX88" fmla="*/ 224131 w 320997"/>
                  <a:gd name="connsiteY88" fmla="*/ 31749 h 180974"/>
                  <a:gd name="connsiteX89" fmla="*/ 201906 w 320997"/>
                  <a:gd name="connsiteY89" fmla="*/ 30161 h 180974"/>
                  <a:gd name="connsiteX90" fmla="*/ 200319 w 320997"/>
                  <a:gd name="connsiteY90" fmla="*/ 22224 h 180974"/>
                  <a:gd name="connsiteX91" fmla="*/ 186031 w 320997"/>
                  <a:gd name="connsiteY91" fmla="*/ 25399 h 180974"/>
                  <a:gd name="connsiteX92" fmla="*/ 181269 w 320997"/>
                  <a:gd name="connsiteY92" fmla="*/ 23811 h 180974"/>
                  <a:gd name="connsiteX93" fmla="*/ 179681 w 320997"/>
                  <a:gd name="connsiteY93" fmla="*/ 19049 h 180974"/>
                  <a:gd name="connsiteX94" fmla="*/ 174919 w 320997"/>
                  <a:gd name="connsiteY94" fmla="*/ 7936 h 180974"/>
                  <a:gd name="connsiteX95" fmla="*/ 170156 w 320997"/>
                  <a:gd name="connsiteY95" fmla="*/ 4761 h 180974"/>
                  <a:gd name="connsiteX96" fmla="*/ 162219 w 320997"/>
                  <a:gd name="connsiteY96" fmla="*/ 9524 h 180974"/>
                  <a:gd name="connsiteX97" fmla="*/ 152694 w 320997"/>
                  <a:gd name="connsiteY97" fmla="*/ 12699 h 180974"/>
                  <a:gd name="connsiteX98" fmla="*/ 151106 w 320997"/>
                  <a:gd name="connsiteY98" fmla="*/ 17461 h 180974"/>
                  <a:gd name="connsiteX0" fmla="*/ 151106 w 320997"/>
                  <a:gd name="connsiteY0" fmla="*/ 17461 h 180974"/>
                  <a:gd name="connsiteX1" fmla="*/ 152694 w 320997"/>
                  <a:gd name="connsiteY1" fmla="*/ 28574 h 180974"/>
                  <a:gd name="connsiteX2" fmla="*/ 146344 w 320997"/>
                  <a:gd name="connsiteY2" fmla="*/ 31749 h 180974"/>
                  <a:gd name="connsiteX3" fmla="*/ 141581 w 320997"/>
                  <a:gd name="connsiteY3" fmla="*/ 34924 h 180974"/>
                  <a:gd name="connsiteX4" fmla="*/ 138406 w 320997"/>
                  <a:gd name="connsiteY4" fmla="*/ 30161 h 180974"/>
                  <a:gd name="connsiteX5" fmla="*/ 139994 w 320997"/>
                  <a:gd name="connsiteY5" fmla="*/ 36511 h 180974"/>
                  <a:gd name="connsiteX6" fmla="*/ 132056 w 320997"/>
                  <a:gd name="connsiteY6" fmla="*/ 80961 h 180974"/>
                  <a:gd name="connsiteX7" fmla="*/ 117769 w 320997"/>
                  <a:gd name="connsiteY7" fmla="*/ 79374 h 180974"/>
                  <a:gd name="connsiteX8" fmla="*/ 95544 w 320997"/>
                  <a:gd name="connsiteY8" fmla="*/ 74611 h 180974"/>
                  <a:gd name="connsiteX9" fmla="*/ 66969 w 320997"/>
                  <a:gd name="connsiteY9" fmla="*/ 79374 h 180974"/>
                  <a:gd name="connsiteX10" fmla="*/ 70144 w 320997"/>
                  <a:gd name="connsiteY10" fmla="*/ 73024 h 180974"/>
                  <a:gd name="connsiteX11" fmla="*/ 74906 w 320997"/>
                  <a:gd name="connsiteY11" fmla="*/ 68261 h 180974"/>
                  <a:gd name="connsiteX12" fmla="*/ 82844 w 320997"/>
                  <a:gd name="connsiteY12" fmla="*/ 52386 h 180974"/>
                  <a:gd name="connsiteX13" fmla="*/ 89194 w 320997"/>
                  <a:gd name="connsiteY13" fmla="*/ 44449 h 180974"/>
                  <a:gd name="connsiteX14" fmla="*/ 97131 w 320997"/>
                  <a:gd name="connsiteY14" fmla="*/ 34924 h 180974"/>
                  <a:gd name="connsiteX15" fmla="*/ 98719 w 320997"/>
                  <a:gd name="connsiteY15" fmla="*/ 28574 h 180974"/>
                  <a:gd name="connsiteX16" fmla="*/ 87606 w 320997"/>
                  <a:gd name="connsiteY16" fmla="*/ 47624 h 180974"/>
                  <a:gd name="connsiteX17" fmla="*/ 86019 w 320997"/>
                  <a:gd name="connsiteY17" fmla="*/ 52386 h 180974"/>
                  <a:gd name="connsiteX18" fmla="*/ 82844 w 320997"/>
                  <a:gd name="connsiteY18" fmla="*/ 57149 h 180974"/>
                  <a:gd name="connsiteX19" fmla="*/ 81256 w 320997"/>
                  <a:gd name="connsiteY19" fmla="*/ 61911 h 180974"/>
                  <a:gd name="connsiteX20" fmla="*/ 73319 w 320997"/>
                  <a:gd name="connsiteY20" fmla="*/ 66674 h 180974"/>
                  <a:gd name="connsiteX21" fmla="*/ 71731 w 320997"/>
                  <a:gd name="connsiteY21" fmla="*/ 71436 h 180974"/>
                  <a:gd name="connsiteX22" fmla="*/ 35219 w 320997"/>
                  <a:gd name="connsiteY22" fmla="*/ 82549 h 180974"/>
                  <a:gd name="connsiteX23" fmla="*/ 16169 w 320997"/>
                  <a:gd name="connsiteY23" fmla="*/ 82549 h 180974"/>
                  <a:gd name="connsiteX24" fmla="*/ 14581 w 320997"/>
                  <a:gd name="connsiteY24" fmla="*/ 95249 h 180974"/>
                  <a:gd name="connsiteX25" fmla="*/ 12994 w 320997"/>
                  <a:gd name="connsiteY25" fmla="*/ 100011 h 180974"/>
                  <a:gd name="connsiteX26" fmla="*/ 11406 w 320997"/>
                  <a:gd name="connsiteY26" fmla="*/ 107949 h 180974"/>
                  <a:gd name="connsiteX27" fmla="*/ 14581 w 320997"/>
                  <a:gd name="connsiteY27" fmla="*/ 117474 h 180974"/>
                  <a:gd name="connsiteX28" fmla="*/ 19344 w 320997"/>
                  <a:gd name="connsiteY28" fmla="*/ 120649 h 180974"/>
                  <a:gd name="connsiteX29" fmla="*/ 17756 w 320997"/>
                  <a:gd name="connsiteY29" fmla="*/ 138111 h 180974"/>
                  <a:gd name="connsiteX30" fmla="*/ 14581 w 320997"/>
                  <a:gd name="connsiteY30" fmla="*/ 146049 h 180974"/>
                  <a:gd name="connsiteX31" fmla="*/ 5056 w 320997"/>
                  <a:gd name="connsiteY31" fmla="*/ 147636 h 180974"/>
                  <a:gd name="connsiteX32" fmla="*/ 3469 w 320997"/>
                  <a:gd name="connsiteY32" fmla="*/ 152399 h 180974"/>
                  <a:gd name="connsiteX33" fmla="*/ 294 w 320997"/>
                  <a:gd name="connsiteY33" fmla="*/ 157161 h 180974"/>
                  <a:gd name="connsiteX34" fmla="*/ 5056 w 320997"/>
                  <a:gd name="connsiteY34" fmla="*/ 152399 h 180974"/>
                  <a:gd name="connsiteX35" fmla="*/ 12994 w 320997"/>
                  <a:gd name="connsiteY35" fmla="*/ 139699 h 180974"/>
                  <a:gd name="connsiteX36" fmla="*/ 17756 w 320997"/>
                  <a:gd name="connsiteY36" fmla="*/ 134936 h 180974"/>
                  <a:gd name="connsiteX37" fmla="*/ 25694 w 320997"/>
                  <a:gd name="connsiteY37" fmla="*/ 128586 h 180974"/>
                  <a:gd name="connsiteX38" fmla="*/ 36806 w 320997"/>
                  <a:gd name="connsiteY38" fmla="*/ 130174 h 180974"/>
                  <a:gd name="connsiteX39" fmla="*/ 41569 w 320997"/>
                  <a:gd name="connsiteY39" fmla="*/ 131761 h 180974"/>
                  <a:gd name="connsiteX40" fmla="*/ 46331 w 320997"/>
                  <a:gd name="connsiteY40" fmla="*/ 131761 h 180974"/>
                  <a:gd name="connsiteX41" fmla="*/ 60619 w 320997"/>
                  <a:gd name="connsiteY41" fmla="*/ 131761 h 180974"/>
                  <a:gd name="connsiteX42" fmla="*/ 65381 w 320997"/>
                  <a:gd name="connsiteY42" fmla="*/ 130174 h 180974"/>
                  <a:gd name="connsiteX43" fmla="*/ 76493 w 320997"/>
                  <a:gd name="connsiteY43" fmla="*/ 128587 h 180974"/>
                  <a:gd name="connsiteX44" fmla="*/ 63794 w 320997"/>
                  <a:gd name="connsiteY44" fmla="*/ 138111 h 180974"/>
                  <a:gd name="connsiteX45" fmla="*/ 54269 w 320997"/>
                  <a:gd name="connsiteY45" fmla="*/ 141286 h 180974"/>
                  <a:gd name="connsiteX46" fmla="*/ 52681 w 320997"/>
                  <a:gd name="connsiteY46" fmla="*/ 150811 h 180974"/>
                  <a:gd name="connsiteX47" fmla="*/ 47919 w 320997"/>
                  <a:gd name="connsiteY47" fmla="*/ 149224 h 180974"/>
                  <a:gd name="connsiteX48" fmla="*/ 35219 w 320997"/>
                  <a:gd name="connsiteY48" fmla="*/ 139699 h 180974"/>
                  <a:gd name="connsiteX49" fmla="*/ 33631 w 320997"/>
                  <a:gd name="connsiteY49" fmla="*/ 160336 h 180974"/>
                  <a:gd name="connsiteX50" fmla="*/ 30456 w 320997"/>
                  <a:gd name="connsiteY50" fmla="*/ 165099 h 180974"/>
                  <a:gd name="connsiteX51" fmla="*/ 28869 w 320997"/>
                  <a:gd name="connsiteY51" fmla="*/ 176211 h 180974"/>
                  <a:gd name="connsiteX52" fmla="*/ 33631 w 320997"/>
                  <a:gd name="connsiteY52" fmla="*/ 177799 h 180974"/>
                  <a:gd name="connsiteX53" fmla="*/ 49506 w 320997"/>
                  <a:gd name="connsiteY53" fmla="*/ 179386 h 180974"/>
                  <a:gd name="connsiteX54" fmla="*/ 59031 w 320997"/>
                  <a:gd name="connsiteY54" fmla="*/ 180974 h 180974"/>
                  <a:gd name="connsiteX55" fmla="*/ 76494 w 320997"/>
                  <a:gd name="connsiteY55" fmla="*/ 179386 h 180974"/>
                  <a:gd name="connsiteX56" fmla="*/ 82844 w 320997"/>
                  <a:gd name="connsiteY56" fmla="*/ 177799 h 180974"/>
                  <a:gd name="connsiteX57" fmla="*/ 93956 w 320997"/>
                  <a:gd name="connsiteY57" fmla="*/ 176211 h 180974"/>
                  <a:gd name="connsiteX58" fmla="*/ 127294 w 320997"/>
                  <a:gd name="connsiteY58" fmla="*/ 174624 h 180974"/>
                  <a:gd name="connsiteX59" fmla="*/ 200319 w 320997"/>
                  <a:gd name="connsiteY59" fmla="*/ 173036 h 180974"/>
                  <a:gd name="connsiteX60" fmla="*/ 220956 w 320997"/>
                  <a:gd name="connsiteY60" fmla="*/ 173036 h 180974"/>
                  <a:gd name="connsiteX61" fmla="*/ 246356 w 320997"/>
                  <a:gd name="connsiteY61" fmla="*/ 168274 h 180974"/>
                  <a:gd name="connsiteX62" fmla="*/ 255881 w 320997"/>
                  <a:gd name="connsiteY62" fmla="*/ 165099 h 180974"/>
                  <a:gd name="connsiteX63" fmla="*/ 268581 w 320997"/>
                  <a:gd name="connsiteY63" fmla="*/ 161924 h 180974"/>
                  <a:gd name="connsiteX64" fmla="*/ 276519 w 320997"/>
                  <a:gd name="connsiteY64" fmla="*/ 158749 h 180974"/>
                  <a:gd name="connsiteX65" fmla="*/ 284456 w 320997"/>
                  <a:gd name="connsiteY65" fmla="*/ 157161 h 180974"/>
                  <a:gd name="connsiteX66" fmla="*/ 298744 w 320997"/>
                  <a:gd name="connsiteY66" fmla="*/ 153986 h 180974"/>
                  <a:gd name="connsiteX67" fmla="*/ 316206 w 320997"/>
                  <a:gd name="connsiteY67" fmla="*/ 142874 h 180974"/>
                  <a:gd name="connsiteX68" fmla="*/ 314619 w 320997"/>
                  <a:gd name="connsiteY68" fmla="*/ 138111 h 180974"/>
                  <a:gd name="connsiteX69" fmla="*/ 309856 w 320997"/>
                  <a:gd name="connsiteY69" fmla="*/ 134936 h 180974"/>
                  <a:gd name="connsiteX70" fmla="*/ 308269 w 320997"/>
                  <a:gd name="connsiteY70" fmla="*/ 115886 h 180974"/>
                  <a:gd name="connsiteX71" fmla="*/ 311444 w 320997"/>
                  <a:gd name="connsiteY71" fmla="*/ 106361 h 180974"/>
                  <a:gd name="connsiteX72" fmla="*/ 306681 w 320997"/>
                  <a:gd name="connsiteY72" fmla="*/ 98424 h 180974"/>
                  <a:gd name="connsiteX73" fmla="*/ 305094 w 320997"/>
                  <a:gd name="connsiteY73" fmla="*/ 93661 h 180974"/>
                  <a:gd name="connsiteX74" fmla="*/ 308269 w 320997"/>
                  <a:gd name="connsiteY74" fmla="*/ 80961 h 180974"/>
                  <a:gd name="connsiteX75" fmla="*/ 317794 w 320997"/>
                  <a:gd name="connsiteY75" fmla="*/ 77786 h 180974"/>
                  <a:gd name="connsiteX76" fmla="*/ 317794 w 320997"/>
                  <a:gd name="connsiteY76" fmla="*/ 52386 h 180974"/>
                  <a:gd name="connsiteX77" fmla="*/ 308269 w 320997"/>
                  <a:gd name="connsiteY77" fmla="*/ 50799 h 180974"/>
                  <a:gd name="connsiteX78" fmla="*/ 305094 w 320997"/>
                  <a:gd name="connsiteY78" fmla="*/ 42861 h 180974"/>
                  <a:gd name="connsiteX79" fmla="*/ 298744 w 320997"/>
                  <a:gd name="connsiteY79" fmla="*/ 41274 h 180974"/>
                  <a:gd name="connsiteX80" fmla="*/ 287631 w 320997"/>
                  <a:gd name="connsiteY80" fmla="*/ 31749 h 180974"/>
                  <a:gd name="connsiteX81" fmla="*/ 273344 w 320997"/>
                  <a:gd name="connsiteY81" fmla="*/ 19049 h 180974"/>
                  <a:gd name="connsiteX82" fmla="*/ 271756 w 320997"/>
                  <a:gd name="connsiteY82" fmla="*/ 25399 h 180974"/>
                  <a:gd name="connsiteX83" fmla="*/ 259056 w 320997"/>
                  <a:gd name="connsiteY83" fmla="*/ 30161 h 180974"/>
                  <a:gd name="connsiteX84" fmla="*/ 240006 w 320997"/>
                  <a:gd name="connsiteY84" fmla="*/ 28574 h 180974"/>
                  <a:gd name="connsiteX85" fmla="*/ 233656 w 320997"/>
                  <a:gd name="connsiteY85" fmla="*/ 44449 h 180974"/>
                  <a:gd name="connsiteX86" fmla="*/ 230481 w 320997"/>
                  <a:gd name="connsiteY86" fmla="*/ 38099 h 180974"/>
                  <a:gd name="connsiteX87" fmla="*/ 228894 w 320997"/>
                  <a:gd name="connsiteY87" fmla="*/ 33336 h 180974"/>
                  <a:gd name="connsiteX88" fmla="*/ 224131 w 320997"/>
                  <a:gd name="connsiteY88" fmla="*/ 31749 h 180974"/>
                  <a:gd name="connsiteX89" fmla="*/ 201906 w 320997"/>
                  <a:gd name="connsiteY89" fmla="*/ 30161 h 180974"/>
                  <a:gd name="connsiteX90" fmla="*/ 200319 w 320997"/>
                  <a:gd name="connsiteY90" fmla="*/ 22224 h 180974"/>
                  <a:gd name="connsiteX91" fmla="*/ 186031 w 320997"/>
                  <a:gd name="connsiteY91" fmla="*/ 25399 h 180974"/>
                  <a:gd name="connsiteX92" fmla="*/ 181269 w 320997"/>
                  <a:gd name="connsiteY92" fmla="*/ 23811 h 180974"/>
                  <a:gd name="connsiteX93" fmla="*/ 179681 w 320997"/>
                  <a:gd name="connsiteY93" fmla="*/ 19049 h 180974"/>
                  <a:gd name="connsiteX94" fmla="*/ 174919 w 320997"/>
                  <a:gd name="connsiteY94" fmla="*/ 7936 h 180974"/>
                  <a:gd name="connsiteX95" fmla="*/ 170156 w 320997"/>
                  <a:gd name="connsiteY95" fmla="*/ 4761 h 180974"/>
                  <a:gd name="connsiteX96" fmla="*/ 162219 w 320997"/>
                  <a:gd name="connsiteY96" fmla="*/ 9524 h 180974"/>
                  <a:gd name="connsiteX97" fmla="*/ 152694 w 320997"/>
                  <a:gd name="connsiteY97" fmla="*/ 12699 h 180974"/>
                  <a:gd name="connsiteX98" fmla="*/ 151106 w 320997"/>
                  <a:gd name="connsiteY98" fmla="*/ 17461 h 180974"/>
                  <a:gd name="connsiteX0" fmla="*/ 151106 w 320997"/>
                  <a:gd name="connsiteY0" fmla="*/ 17461 h 182601"/>
                  <a:gd name="connsiteX1" fmla="*/ 152694 w 320997"/>
                  <a:gd name="connsiteY1" fmla="*/ 28574 h 182601"/>
                  <a:gd name="connsiteX2" fmla="*/ 146344 w 320997"/>
                  <a:gd name="connsiteY2" fmla="*/ 31749 h 182601"/>
                  <a:gd name="connsiteX3" fmla="*/ 141581 w 320997"/>
                  <a:gd name="connsiteY3" fmla="*/ 34924 h 182601"/>
                  <a:gd name="connsiteX4" fmla="*/ 138406 w 320997"/>
                  <a:gd name="connsiteY4" fmla="*/ 30161 h 182601"/>
                  <a:gd name="connsiteX5" fmla="*/ 139994 w 320997"/>
                  <a:gd name="connsiteY5" fmla="*/ 36511 h 182601"/>
                  <a:gd name="connsiteX6" fmla="*/ 132056 w 320997"/>
                  <a:gd name="connsiteY6" fmla="*/ 80961 h 182601"/>
                  <a:gd name="connsiteX7" fmla="*/ 117769 w 320997"/>
                  <a:gd name="connsiteY7" fmla="*/ 79374 h 182601"/>
                  <a:gd name="connsiteX8" fmla="*/ 95544 w 320997"/>
                  <a:gd name="connsiteY8" fmla="*/ 74611 h 182601"/>
                  <a:gd name="connsiteX9" fmla="*/ 66969 w 320997"/>
                  <a:gd name="connsiteY9" fmla="*/ 79374 h 182601"/>
                  <a:gd name="connsiteX10" fmla="*/ 70144 w 320997"/>
                  <a:gd name="connsiteY10" fmla="*/ 73024 h 182601"/>
                  <a:gd name="connsiteX11" fmla="*/ 74906 w 320997"/>
                  <a:gd name="connsiteY11" fmla="*/ 68261 h 182601"/>
                  <a:gd name="connsiteX12" fmla="*/ 82844 w 320997"/>
                  <a:gd name="connsiteY12" fmla="*/ 52386 h 182601"/>
                  <a:gd name="connsiteX13" fmla="*/ 89194 w 320997"/>
                  <a:gd name="connsiteY13" fmla="*/ 44449 h 182601"/>
                  <a:gd name="connsiteX14" fmla="*/ 97131 w 320997"/>
                  <a:gd name="connsiteY14" fmla="*/ 34924 h 182601"/>
                  <a:gd name="connsiteX15" fmla="*/ 98719 w 320997"/>
                  <a:gd name="connsiteY15" fmla="*/ 28574 h 182601"/>
                  <a:gd name="connsiteX16" fmla="*/ 87606 w 320997"/>
                  <a:gd name="connsiteY16" fmla="*/ 47624 h 182601"/>
                  <a:gd name="connsiteX17" fmla="*/ 86019 w 320997"/>
                  <a:gd name="connsiteY17" fmla="*/ 52386 h 182601"/>
                  <a:gd name="connsiteX18" fmla="*/ 82844 w 320997"/>
                  <a:gd name="connsiteY18" fmla="*/ 57149 h 182601"/>
                  <a:gd name="connsiteX19" fmla="*/ 81256 w 320997"/>
                  <a:gd name="connsiteY19" fmla="*/ 61911 h 182601"/>
                  <a:gd name="connsiteX20" fmla="*/ 73319 w 320997"/>
                  <a:gd name="connsiteY20" fmla="*/ 66674 h 182601"/>
                  <a:gd name="connsiteX21" fmla="*/ 71731 w 320997"/>
                  <a:gd name="connsiteY21" fmla="*/ 71436 h 182601"/>
                  <a:gd name="connsiteX22" fmla="*/ 35219 w 320997"/>
                  <a:gd name="connsiteY22" fmla="*/ 82549 h 182601"/>
                  <a:gd name="connsiteX23" fmla="*/ 16169 w 320997"/>
                  <a:gd name="connsiteY23" fmla="*/ 82549 h 182601"/>
                  <a:gd name="connsiteX24" fmla="*/ 14581 w 320997"/>
                  <a:gd name="connsiteY24" fmla="*/ 95249 h 182601"/>
                  <a:gd name="connsiteX25" fmla="*/ 12994 w 320997"/>
                  <a:gd name="connsiteY25" fmla="*/ 100011 h 182601"/>
                  <a:gd name="connsiteX26" fmla="*/ 11406 w 320997"/>
                  <a:gd name="connsiteY26" fmla="*/ 107949 h 182601"/>
                  <a:gd name="connsiteX27" fmla="*/ 14581 w 320997"/>
                  <a:gd name="connsiteY27" fmla="*/ 117474 h 182601"/>
                  <a:gd name="connsiteX28" fmla="*/ 19344 w 320997"/>
                  <a:gd name="connsiteY28" fmla="*/ 120649 h 182601"/>
                  <a:gd name="connsiteX29" fmla="*/ 17756 w 320997"/>
                  <a:gd name="connsiteY29" fmla="*/ 138111 h 182601"/>
                  <a:gd name="connsiteX30" fmla="*/ 14581 w 320997"/>
                  <a:gd name="connsiteY30" fmla="*/ 146049 h 182601"/>
                  <a:gd name="connsiteX31" fmla="*/ 5056 w 320997"/>
                  <a:gd name="connsiteY31" fmla="*/ 147636 h 182601"/>
                  <a:gd name="connsiteX32" fmla="*/ 3469 w 320997"/>
                  <a:gd name="connsiteY32" fmla="*/ 152399 h 182601"/>
                  <a:gd name="connsiteX33" fmla="*/ 294 w 320997"/>
                  <a:gd name="connsiteY33" fmla="*/ 157161 h 182601"/>
                  <a:gd name="connsiteX34" fmla="*/ 5056 w 320997"/>
                  <a:gd name="connsiteY34" fmla="*/ 152399 h 182601"/>
                  <a:gd name="connsiteX35" fmla="*/ 12994 w 320997"/>
                  <a:gd name="connsiteY35" fmla="*/ 139699 h 182601"/>
                  <a:gd name="connsiteX36" fmla="*/ 17756 w 320997"/>
                  <a:gd name="connsiteY36" fmla="*/ 134936 h 182601"/>
                  <a:gd name="connsiteX37" fmla="*/ 25694 w 320997"/>
                  <a:gd name="connsiteY37" fmla="*/ 128586 h 182601"/>
                  <a:gd name="connsiteX38" fmla="*/ 36806 w 320997"/>
                  <a:gd name="connsiteY38" fmla="*/ 130174 h 182601"/>
                  <a:gd name="connsiteX39" fmla="*/ 41569 w 320997"/>
                  <a:gd name="connsiteY39" fmla="*/ 131761 h 182601"/>
                  <a:gd name="connsiteX40" fmla="*/ 46331 w 320997"/>
                  <a:gd name="connsiteY40" fmla="*/ 131761 h 182601"/>
                  <a:gd name="connsiteX41" fmla="*/ 60619 w 320997"/>
                  <a:gd name="connsiteY41" fmla="*/ 131761 h 182601"/>
                  <a:gd name="connsiteX42" fmla="*/ 65381 w 320997"/>
                  <a:gd name="connsiteY42" fmla="*/ 130174 h 182601"/>
                  <a:gd name="connsiteX43" fmla="*/ 76493 w 320997"/>
                  <a:gd name="connsiteY43" fmla="*/ 128587 h 182601"/>
                  <a:gd name="connsiteX44" fmla="*/ 63794 w 320997"/>
                  <a:gd name="connsiteY44" fmla="*/ 138111 h 182601"/>
                  <a:gd name="connsiteX45" fmla="*/ 54269 w 320997"/>
                  <a:gd name="connsiteY45" fmla="*/ 141286 h 182601"/>
                  <a:gd name="connsiteX46" fmla="*/ 52681 w 320997"/>
                  <a:gd name="connsiteY46" fmla="*/ 150811 h 182601"/>
                  <a:gd name="connsiteX47" fmla="*/ 47919 w 320997"/>
                  <a:gd name="connsiteY47" fmla="*/ 149224 h 182601"/>
                  <a:gd name="connsiteX48" fmla="*/ 35219 w 320997"/>
                  <a:gd name="connsiteY48" fmla="*/ 139699 h 182601"/>
                  <a:gd name="connsiteX49" fmla="*/ 33631 w 320997"/>
                  <a:gd name="connsiteY49" fmla="*/ 160336 h 182601"/>
                  <a:gd name="connsiteX50" fmla="*/ 30456 w 320997"/>
                  <a:gd name="connsiteY50" fmla="*/ 165099 h 182601"/>
                  <a:gd name="connsiteX51" fmla="*/ 28869 w 320997"/>
                  <a:gd name="connsiteY51" fmla="*/ 176211 h 182601"/>
                  <a:gd name="connsiteX52" fmla="*/ 33631 w 320997"/>
                  <a:gd name="connsiteY52" fmla="*/ 177799 h 182601"/>
                  <a:gd name="connsiteX53" fmla="*/ 49506 w 320997"/>
                  <a:gd name="connsiteY53" fmla="*/ 179386 h 182601"/>
                  <a:gd name="connsiteX54" fmla="*/ 59031 w 320997"/>
                  <a:gd name="connsiteY54" fmla="*/ 180974 h 182601"/>
                  <a:gd name="connsiteX55" fmla="*/ 76494 w 320997"/>
                  <a:gd name="connsiteY55" fmla="*/ 179386 h 182601"/>
                  <a:gd name="connsiteX56" fmla="*/ 82844 w 320997"/>
                  <a:gd name="connsiteY56" fmla="*/ 177799 h 182601"/>
                  <a:gd name="connsiteX57" fmla="*/ 93956 w 320997"/>
                  <a:gd name="connsiteY57" fmla="*/ 182561 h 182601"/>
                  <a:gd name="connsiteX58" fmla="*/ 127294 w 320997"/>
                  <a:gd name="connsiteY58" fmla="*/ 174624 h 182601"/>
                  <a:gd name="connsiteX59" fmla="*/ 200319 w 320997"/>
                  <a:gd name="connsiteY59" fmla="*/ 173036 h 182601"/>
                  <a:gd name="connsiteX60" fmla="*/ 220956 w 320997"/>
                  <a:gd name="connsiteY60" fmla="*/ 173036 h 182601"/>
                  <a:gd name="connsiteX61" fmla="*/ 246356 w 320997"/>
                  <a:gd name="connsiteY61" fmla="*/ 168274 h 182601"/>
                  <a:gd name="connsiteX62" fmla="*/ 255881 w 320997"/>
                  <a:gd name="connsiteY62" fmla="*/ 165099 h 182601"/>
                  <a:gd name="connsiteX63" fmla="*/ 268581 w 320997"/>
                  <a:gd name="connsiteY63" fmla="*/ 161924 h 182601"/>
                  <a:gd name="connsiteX64" fmla="*/ 276519 w 320997"/>
                  <a:gd name="connsiteY64" fmla="*/ 158749 h 182601"/>
                  <a:gd name="connsiteX65" fmla="*/ 284456 w 320997"/>
                  <a:gd name="connsiteY65" fmla="*/ 157161 h 182601"/>
                  <a:gd name="connsiteX66" fmla="*/ 298744 w 320997"/>
                  <a:gd name="connsiteY66" fmla="*/ 153986 h 182601"/>
                  <a:gd name="connsiteX67" fmla="*/ 316206 w 320997"/>
                  <a:gd name="connsiteY67" fmla="*/ 142874 h 182601"/>
                  <a:gd name="connsiteX68" fmla="*/ 314619 w 320997"/>
                  <a:gd name="connsiteY68" fmla="*/ 138111 h 182601"/>
                  <a:gd name="connsiteX69" fmla="*/ 309856 w 320997"/>
                  <a:gd name="connsiteY69" fmla="*/ 134936 h 182601"/>
                  <a:gd name="connsiteX70" fmla="*/ 308269 w 320997"/>
                  <a:gd name="connsiteY70" fmla="*/ 115886 h 182601"/>
                  <a:gd name="connsiteX71" fmla="*/ 311444 w 320997"/>
                  <a:gd name="connsiteY71" fmla="*/ 106361 h 182601"/>
                  <a:gd name="connsiteX72" fmla="*/ 306681 w 320997"/>
                  <a:gd name="connsiteY72" fmla="*/ 98424 h 182601"/>
                  <a:gd name="connsiteX73" fmla="*/ 305094 w 320997"/>
                  <a:gd name="connsiteY73" fmla="*/ 93661 h 182601"/>
                  <a:gd name="connsiteX74" fmla="*/ 308269 w 320997"/>
                  <a:gd name="connsiteY74" fmla="*/ 80961 h 182601"/>
                  <a:gd name="connsiteX75" fmla="*/ 317794 w 320997"/>
                  <a:gd name="connsiteY75" fmla="*/ 77786 h 182601"/>
                  <a:gd name="connsiteX76" fmla="*/ 317794 w 320997"/>
                  <a:gd name="connsiteY76" fmla="*/ 52386 h 182601"/>
                  <a:gd name="connsiteX77" fmla="*/ 308269 w 320997"/>
                  <a:gd name="connsiteY77" fmla="*/ 50799 h 182601"/>
                  <a:gd name="connsiteX78" fmla="*/ 305094 w 320997"/>
                  <a:gd name="connsiteY78" fmla="*/ 42861 h 182601"/>
                  <a:gd name="connsiteX79" fmla="*/ 298744 w 320997"/>
                  <a:gd name="connsiteY79" fmla="*/ 41274 h 182601"/>
                  <a:gd name="connsiteX80" fmla="*/ 287631 w 320997"/>
                  <a:gd name="connsiteY80" fmla="*/ 31749 h 182601"/>
                  <a:gd name="connsiteX81" fmla="*/ 273344 w 320997"/>
                  <a:gd name="connsiteY81" fmla="*/ 19049 h 182601"/>
                  <a:gd name="connsiteX82" fmla="*/ 271756 w 320997"/>
                  <a:gd name="connsiteY82" fmla="*/ 25399 h 182601"/>
                  <a:gd name="connsiteX83" fmla="*/ 259056 w 320997"/>
                  <a:gd name="connsiteY83" fmla="*/ 30161 h 182601"/>
                  <a:gd name="connsiteX84" fmla="*/ 240006 w 320997"/>
                  <a:gd name="connsiteY84" fmla="*/ 28574 h 182601"/>
                  <a:gd name="connsiteX85" fmla="*/ 233656 w 320997"/>
                  <a:gd name="connsiteY85" fmla="*/ 44449 h 182601"/>
                  <a:gd name="connsiteX86" fmla="*/ 230481 w 320997"/>
                  <a:gd name="connsiteY86" fmla="*/ 38099 h 182601"/>
                  <a:gd name="connsiteX87" fmla="*/ 228894 w 320997"/>
                  <a:gd name="connsiteY87" fmla="*/ 33336 h 182601"/>
                  <a:gd name="connsiteX88" fmla="*/ 224131 w 320997"/>
                  <a:gd name="connsiteY88" fmla="*/ 31749 h 182601"/>
                  <a:gd name="connsiteX89" fmla="*/ 201906 w 320997"/>
                  <a:gd name="connsiteY89" fmla="*/ 30161 h 182601"/>
                  <a:gd name="connsiteX90" fmla="*/ 200319 w 320997"/>
                  <a:gd name="connsiteY90" fmla="*/ 22224 h 182601"/>
                  <a:gd name="connsiteX91" fmla="*/ 186031 w 320997"/>
                  <a:gd name="connsiteY91" fmla="*/ 25399 h 182601"/>
                  <a:gd name="connsiteX92" fmla="*/ 181269 w 320997"/>
                  <a:gd name="connsiteY92" fmla="*/ 23811 h 182601"/>
                  <a:gd name="connsiteX93" fmla="*/ 179681 w 320997"/>
                  <a:gd name="connsiteY93" fmla="*/ 19049 h 182601"/>
                  <a:gd name="connsiteX94" fmla="*/ 174919 w 320997"/>
                  <a:gd name="connsiteY94" fmla="*/ 7936 h 182601"/>
                  <a:gd name="connsiteX95" fmla="*/ 170156 w 320997"/>
                  <a:gd name="connsiteY95" fmla="*/ 4761 h 182601"/>
                  <a:gd name="connsiteX96" fmla="*/ 162219 w 320997"/>
                  <a:gd name="connsiteY96" fmla="*/ 9524 h 182601"/>
                  <a:gd name="connsiteX97" fmla="*/ 152694 w 320997"/>
                  <a:gd name="connsiteY97" fmla="*/ 12699 h 182601"/>
                  <a:gd name="connsiteX98" fmla="*/ 151106 w 320997"/>
                  <a:gd name="connsiteY98" fmla="*/ 17461 h 182601"/>
                  <a:gd name="connsiteX0" fmla="*/ 151106 w 320997"/>
                  <a:gd name="connsiteY0" fmla="*/ 17461 h 182575"/>
                  <a:gd name="connsiteX1" fmla="*/ 152694 w 320997"/>
                  <a:gd name="connsiteY1" fmla="*/ 28574 h 182575"/>
                  <a:gd name="connsiteX2" fmla="*/ 146344 w 320997"/>
                  <a:gd name="connsiteY2" fmla="*/ 31749 h 182575"/>
                  <a:gd name="connsiteX3" fmla="*/ 141581 w 320997"/>
                  <a:gd name="connsiteY3" fmla="*/ 34924 h 182575"/>
                  <a:gd name="connsiteX4" fmla="*/ 138406 w 320997"/>
                  <a:gd name="connsiteY4" fmla="*/ 30161 h 182575"/>
                  <a:gd name="connsiteX5" fmla="*/ 139994 w 320997"/>
                  <a:gd name="connsiteY5" fmla="*/ 36511 h 182575"/>
                  <a:gd name="connsiteX6" fmla="*/ 132056 w 320997"/>
                  <a:gd name="connsiteY6" fmla="*/ 80961 h 182575"/>
                  <a:gd name="connsiteX7" fmla="*/ 117769 w 320997"/>
                  <a:gd name="connsiteY7" fmla="*/ 79374 h 182575"/>
                  <a:gd name="connsiteX8" fmla="*/ 95544 w 320997"/>
                  <a:gd name="connsiteY8" fmla="*/ 74611 h 182575"/>
                  <a:gd name="connsiteX9" fmla="*/ 66969 w 320997"/>
                  <a:gd name="connsiteY9" fmla="*/ 79374 h 182575"/>
                  <a:gd name="connsiteX10" fmla="*/ 70144 w 320997"/>
                  <a:gd name="connsiteY10" fmla="*/ 73024 h 182575"/>
                  <a:gd name="connsiteX11" fmla="*/ 74906 w 320997"/>
                  <a:gd name="connsiteY11" fmla="*/ 68261 h 182575"/>
                  <a:gd name="connsiteX12" fmla="*/ 82844 w 320997"/>
                  <a:gd name="connsiteY12" fmla="*/ 52386 h 182575"/>
                  <a:gd name="connsiteX13" fmla="*/ 89194 w 320997"/>
                  <a:gd name="connsiteY13" fmla="*/ 44449 h 182575"/>
                  <a:gd name="connsiteX14" fmla="*/ 97131 w 320997"/>
                  <a:gd name="connsiteY14" fmla="*/ 34924 h 182575"/>
                  <a:gd name="connsiteX15" fmla="*/ 98719 w 320997"/>
                  <a:gd name="connsiteY15" fmla="*/ 28574 h 182575"/>
                  <a:gd name="connsiteX16" fmla="*/ 87606 w 320997"/>
                  <a:gd name="connsiteY16" fmla="*/ 47624 h 182575"/>
                  <a:gd name="connsiteX17" fmla="*/ 86019 w 320997"/>
                  <a:gd name="connsiteY17" fmla="*/ 52386 h 182575"/>
                  <a:gd name="connsiteX18" fmla="*/ 82844 w 320997"/>
                  <a:gd name="connsiteY18" fmla="*/ 57149 h 182575"/>
                  <a:gd name="connsiteX19" fmla="*/ 81256 w 320997"/>
                  <a:gd name="connsiteY19" fmla="*/ 61911 h 182575"/>
                  <a:gd name="connsiteX20" fmla="*/ 73319 w 320997"/>
                  <a:gd name="connsiteY20" fmla="*/ 66674 h 182575"/>
                  <a:gd name="connsiteX21" fmla="*/ 71731 w 320997"/>
                  <a:gd name="connsiteY21" fmla="*/ 71436 h 182575"/>
                  <a:gd name="connsiteX22" fmla="*/ 35219 w 320997"/>
                  <a:gd name="connsiteY22" fmla="*/ 82549 h 182575"/>
                  <a:gd name="connsiteX23" fmla="*/ 16169 w 320997"/>
                  <a:gd name="connsiteY23" fmla="*/ 82549 h 182575"/>
                  <a:gd name="connsiteX24" fmla="*/ 14581 w 320997"/>
                  <a:gd name="connsiteY24" fmla="*/ 95249 h 182575"/>
                  <a:gd name="connsiteX25" fmla="*/ 12994 w 320997"/>
                  <a:gd name="connsiteY25" fmla="*/ 100011 h 182575"/>
                  <a:gd name="connsiteX26" fmla="*/ 11406 w 320997"/>
                  <a:gd name="connsiteY26" fmla="*/ 107949 h 182575"/>
                  <a:gd name="connsiteX27" fmla="*/ 14581 w 320997"/>
                  <a:gd name="connsiteY27" fmla="*/ 117474 h 182575"/>
                  <a:gd name="connsiteX28" fmla="*/ 19344 w 320997"/>
                  <a:gd name="connsiteY28" fmla="*/ 120649 h 182575"/>
                  <a:gd name="connsiteX29" fmla="*/ 17756 w 320997"/>
                  <a:gd name="connsiteY29" fmla="*/ 138111 h 182575"/>
                  <a:gd name="connsiteX30" fmla="*/ 14581 w 320997"/>
                  <a:gd name="connsiteY30" fmla="*/ 146049 h 182575"/>
                  <a:gd name="connsiteX31" fmla="*/ 5056 w 320997"/>
                  <a:gd name="connsiteY31" fmla="*/ 147636 h 182575"/>
                  <a:gd name="connsiteX32" fmla="*/ 3469 w 320997"/>
                  <a:gd name="connsiteY32" fmla="*/ 152399 h 182575"/>
                  <a:gd name="connsiteX33" fmla="*/ 294 w 320997"/>
                  <a:gd name="connsiteY33" fmla="*/ 157161 h 182575"/>
                  <a:gd name="connsiteX34" fmla="*/ 5056 w 320997"/>
                  <a:gd name="connsiteY34" fmla="*/ 152399 h 182575"/>
                  <a:gd name="connsiteX35" fmla="*/ 12994 w 320997"/>
                  <a:gd name="connsiteY35" fmla="*/ 139699 h 182575"/>
                  <a:gd name="connsiteX36" fmla="*/ 17756 w 320997"/>
                  <a:gd name="connsiteY36" fmla="*/ 134936 h 182575"/>
                  <a:gd name="connsiteX37" fmla="*/ 25694 w 320997"/>
                  <a:gd name="connsiteY37" fmla="*/ 128586 h 182575"/>
                  <a:gd name="connsiteX38" fmla="*/ 36806 w 320997"/>
                  <a:gd name="connsiteY38" fmla="*/ 130174 h 182575"/>
                  <a:gd name="connsiteX39" fmla="*/ 41569 w 320997"/>
                  <a:gd name="connsiteY39" fmla="*/ 131761 h 182575"/>
                  <a:gd name="connsiteX40" fmla="*/ 46331 w 320997"/>
                  <a:gd name="connsiteY40" fmla="*/ 131761 h 182575"/>
                  <a:gd name="connsiteX41" fmla="*/ 60619 w 320997"/>
                  <a:gd name="connsiteY41" fmla="*/ 131761 h 182575"/>
                  <a:gd name="connsiteX42" fmla="*/ 65381 w 320997"/>
                  <a:gd name="connsiteY42" fmla="*/ 130174 h 182575"/>
                  <a:gd name="connsiteX43" fmla="*/ 76493 w 320997"/>
                  <a:gd name="connsiteY43" fmla="*/ 128587 h 182575"/>
                  <a:gd name="connsiteX44" fmla="*/ 63794 w 320997"/>
                  <a:gd name="connsiteY44" fmla="*/ 138111 h 182575"/>
                  <a:gd name="connsiteX45" fmla="*/ 54269 w 320997"/>
                  <a:gd name="connsiteY45" fmla="*/ 141286 h 182575"/>
                  <a:gd name="connsiteX46" fmla="*/ 52681 w 320997"/>
                  <a:gd name="connsiteY46" fmla="*/ 150811 h 182575"/>
                  <a:gd name="connsiteX47" fmla="*/ 47919 w 320997"/>
                  <a:gd name="connsiteY47" fmla="*/ 149224 h 182575"/>
                  <a:gd name="connsiteX48" fmla="*/ 35219 w 320997"/>
                  <a:gd name="connsiteY48" fmla="*/ 139699 h 182575"/>
                  <a:gd name="connsiteX49" fmla="*/ 33631 w 320997"/>
                  <a:gd name="connsiteY49" fmla="*/ 160336 h 182575"/>
                  <a:gd name="connsiteX50" fmla="*/ 30456 w 320997"/>
                  <a:gd name="connsiteY50" fmla="*/ 165099 h 182575"/>
                  <a:gd name="connsiteX51" fmla="*/ 28869 w 320997"/>
                  <a:gd name="connsiteY51" fmla="*/ 176211 h 182575"/>
                  <a:gd name="connsiteX52" fmla="*/ 33631 w 320997"/>
                  <a:gd name="connsiteY52" fmla="*/ 177799 h 182575"/>
                  <a:gd name="connsiteX53" fmla="*/ 49506 w 320997"/>
                  <a:gd name="connsiteY53" fmla="*/ 179386 h 182575"/>
                  <a:gd name="connsiteX54" fmla="*/ 59031 w 320997"/>
                  <a:gd name="connsiteY54" fmla="*/ 180974 h 182575"/>
                  <a:gd name="connsiteX55" fmla="*/ 76494 w 320997"/>
                  <a:gd name="connsiteY55" fmla="*/ 179386 h 182575"/>
                  <a:gd name="connsiteX56" fmla="*/ 82844 w 320997"/>
                  <a:gd name="connsiteY56" fmla="*/ 177799 h 182575"/>
                  <a:gd name="connsiteX57" fmla="*/ 93956 w 320997"/>
                  <a:gd name="connsiteY57" fmla="*/ 182561 h 182575"/>
                  <a:gd name="connsiteX58" fmla="*/ 130469 w 320997"/>
                  <a:gd name="connsiteY58" fmla="*/ 179386 h 182575"/>
                  <a:gd name="connsiteX59" fmla="*/ 200319 w 320997"/>
                  <a:gd name="connsiteY59" fmla="*/ 173036 h 182575"/>
                  <a:gd name="connsiteX60" fmla="*/ 220956 w 320997"/>
                  <a:gd name="connsiteY60" fmla="*/ 173036 h 182575"/>
                  <a:gd name="connsiteX61" fmla="*/ 246356 w 320997"/>
                  <a:gd name="connsiteY61" fmla="*/ 168274 h 182575"/>
                  <a:gd name="connsiteX62" fmla="*/ 255881 w 320997"/>
                  <a:gd name="connsiteY62" fmla="*/ 165099 h 182575"/>
                  <a:gd name="connsiteX63" fmla="*/ 268581 w 320997"/>
                  <a:gd name="connsiteY63" fmla="*/ 161924 h 182575"/>
                  <a:gd name="connsiteX64" fmla="*/ 276519 w 320997"/>
                  <a:gd name="connsiteY64" fmla="*/ 158749 h 182575"/>
                  <a:gd name="connsiteX65" fmla="*/ 284456 w 320997"/>
                  <a:gd name="connsiteY65" fmla="*/ 157161 h 182575"/>
                  <a:gd name="connsiteX66" fmla="*/ 298744 w 320997"/>
                  <a:gd name="connsiteY66" fmla="*/ 153986 h 182575"/>
                  <a:gd name="connsiteX67" fmla="*/ 316206 w 320997"/>
                  <a:gd name="connsiteY67" fmla="*/ 142874 h 182575"/>
                  <a:gd name="connsiteX68" fmla="*/ 314619 w 320997"/>
                  <a:gd name="connsiteY68" fmla="*/ 138111 h 182575"/>
                  <a:gd name="connsiteX69" fmla="*/ 309856 w 320997"/>
                  <a:gd name="connsiteY69" fmla="*/ 134936 h 182575"/>
                  <a:gd name="connsiteX70" fmla="*/ 308269 w 320997"/>
                  <a:gd name="connsiteY70" fmla="*/ 115886 h 182575"/>
                  <a:gd name="connsiteX71" fmla="*/ 311444 w 320997"/>
                  <a:gd name="connsiteY71" fmla="*/ 106361 h 182575"/>
                  <a:gd name="connsiteX72" fmla="*/ 306681 w 320997"/>
                  <a:gd name="connsiteY72" fmla="*/ 98424 h 182575"/>
                  <a:gd name="connsiteX73" fmla="*/ 305094 w 320997"/>
                  <a:gd name="connsiteY73" fmla="*/ 93661 h 182575"/>
                  <a:gd name="connsiteX74" fmla="*/ 308269 w 320997"/>
                  <a:gd name="connsiteY74" fmla="*/ 80961 h 182575"/>
                  <a:gd name="connsiteX75" fmla="*/ 317794 w 320997"/>
                  <a:gd name="connsiteY75" fmla="*/ 77786 h 182575"/>
                  <a:gd name="connsiteX76" fmla="*/ 317794 w 320997"/>
                  <a:gd name="connsiteY76" fmla="*/ 52386 h 182575"/>
                  <a:gd name="connsiteX77" fmla="*/ 308269 w 320997"/>
                  <a:gd name="connsiteY77" fmla="*/ 50799 h 182575"/>
                  <a:gd name="connsiteX78" fmla="*/ 305094 w 320997"/>
                  <a:gd name="connsiteY78" fmla="*/ 42861 h 182575"/>
                  <a:gd name="connsiteX79" fmla="*/ 298744 w 320997"/>
                  <a:gd name="connsiteY79" fmla="*/ 41274 h 182575"/>
                  <a:gd name="connsiteX80" fmla="*/ 287631 w 320997"/>
                  <a:gd name="connsiteY80" fmla="*/ 31749 h 182575"/>
                  <a:gd name="connsiteX81" fmla="*/ 273344 w 320997"/>
                  <a:gd name="connsiteY81" fmla="*/ 19049 h 182575"/>
                  <a:gd name="connsiteX82" fmla="*/ 271756 w 320997"/>
                  <a:gd name="connsiteY82" fmla="*/ 25399 h 182575"/>
                  <a:gd name="connsiteX83" fmla="*/ 259056 w 320997"/>
                  <a:gd name="connsiteY83" fmla="*/ 30161 h 182575"/>
                  <a:gd name="connsiteX84" fmla="*/ 240006 w 320997"/>
                  <a:gd name="connsiteY84" fmla="*/ 28574 h 182575"/>
                  <a:gd name="connsiteX85" fmla="*/ 233656 w 320997"/>
                  <a:gd name="connsiteY85" fmla="*/ 44449 h 182575"/>
                  <a:gd name="connsiteX86" fmla="*/ 230481 w 320997"/>
                  <a:gd name="connsiteY86" fmla="*/ 38099 h 182575"/>
                  <a:gd name="connsiteX87" fmla="*/ 228894 w 320997"/>
                  <a:gd name="connsiteY87" fmla="*/ 33336 h 182575"/>
                  <a:gd name="connsiteX88" fmla="*/ 224131 w 320997"/>
                  <a:gd name="connsiteY88" fmla="*/ 31749 h 182575"/>
                  <a:gd name="connsiteX89" fmla="*/ 201906 w 320997"/>
                  <a:gd name="connsiteY89" fmla="*/ 30161 h 182575"/>
                  <a:gd name="connsiteX90" fmla="*/ 200319 w 320997"/>
                  <a:gd name="connsiteY90" fmla="*/ 22224 h 182575"/>
                  <a:gd name="connsiteX91" fmla="*/ 186031 w 320997"/>
                  <a:gd name="connsiteY91" fmla="*/ 25399 h 182575"/>
                  <a:gd name="connsiteX92" fmla="*/ 181269 w 320997"/>
                  <a:gd name="connsiteY92" fmla="*/ 23811 h 182575"/>
                  <a:gd name="connsiteX93" fmla="*/ 179681 w 320997"/>
                  <a:gd name="connsiteY93" fmla="*/ 19049 h 182575"/>
                  <a:gd name="connsiteX94" fmla="*/ 174919 w 320997"/>
                  <a:gd name="connsiteY94" fmla="*/ 7936 h 182575"/>
                  <a:gd name="connsiteX95" fmla="*/ 170156 w 320997"/>
                  <a:gd name="connsiteY95" fmla="*/ 4761 h 182575"/>
                  <a:gd name="connsiteX96" fmla="*/ 162219 w 320997"/>
                  <a:gd name="connsiteY96" fmla="*/ 9524 h 182575"/>
                  <a:gd name="connsiteX97" fmla="*/ 152694 w 320997"/>
                  <a:gd name="connsiteY97" fmla="*/ 12699 h 182575"/>
                  <a:gd name="connsiteX98" fmla="*/ 151106 w 320997"/>
                  <a:gd name="connsiteY98" fmla="*/ 17461 h 182575"/>
                  <a:gd name="connsiteX0" fmla="*/ 151106 w 320997"/>
                  <a:gd name="connsiteY0" fmla="*/ 17461 h 182561"/>
                  <a:gd name="connsiteX1" fmla="*/ 152694 w 320997"/>
                  <a:gd name="connsiteY1" fmla="*/ 28574 h 182561"/>
                  <a:gd name="connsiteX2" fmla="*/ 146344 w 320997"/>
                  <a:gd name="connsiteY2" fmla="*/ 31749 h 182561"/>
                  <a:gd name="connsiteX3" fmla="*/ 141581 w 320997"/>
                  <a:gd name="connsiteY3" fmla="*/ 34924 h 182561"/>
                  <a:gd name="connsiteX4" fmla="*/ 138406 w 320997"/>
                  <a:gd name="connsiteY4" fmla="*/ 30161 h 182561"/>
                  <a:gd name="connsiteX5" fmla="*/ 139994 w 320997"/>
                  <a:gd name="connsiteY5" fmla="*/ 36511 h 182561"/>
                  <a:gd name="connsiteX6" fmla="*/ 132056 w 320997"/>
                  <a:gd name="connsiteY6" fmla="*/ 80961 h 182561"/>
                  <a:gd name="connsiteX7" fmla="*/ 117769 w 320997"/>
                  <a:gd name="connsiteY7" fmla="*/ 79374 h 182561"/>
                  <a:gd name="connsiteX8" fmla="*/ 95544 w 320997"/>
                  <a:gd name="connsiteY8" fmla="*/ 74611 h 182561"/>
                  <a:gd name="connsiteX9" fmla="*/ 66969 w 320997"/>
                  <a:gd name="connsiteY9" fmla="*/ 79374 h 182561"/>
                  <a:gd name="connsiteX10" fmla="*/ 70144 w 320997"/>
                  <a:gd name="connsiteY10" fmla="*/ 73024 h 182561"/>
                  <a:gd name="connsiteX11" fmla="*/ 74906 w 320997"/>
                  <a:gd name="connsiteY11" fmla="*/ 68261 h 182561"/>
                  <a:gd name="connsiteX12" fmla="*/ 82844 w 320997"/>
                  <a:gd name="connsiteY12" fmla="*/ 52386 h 182561"/>
                  <a:gd name="connsiteX13" fmla="*/ 89194 w 320997"/>
                  <a:gd name="connsiteY13" fmla="*/ 44449 h 182561"/>
                  <a:gd name="connsiteX14" fmla="*/ 97131 w 320997"/>
                  <a:gd name="connsiteY14" fmla="*/ 34924 h 182561"/>
                  <a:gd name="connsiteX15" fmla="*/ 98719 w 320997"/>
                  <a:gd name="connsiteY15" fmla="*/ 28574 h 182561"/>
                  <a:gd name="connsiteX16" fmla="*/ 87606 w 320997"/>
                  <a:gd name="connsiteY16" fmla="*/ 47624 h 182561"/>
                  <a:gd name="connsiteX17" fmla="*/ 86019 w 320997"/>
                  <a:gd name="connsiteY17" fmla="*/ 52386 h 182561"/>
                  <a:gd name="connsiteX18" fmla="*/ 82844 w 320997"/>
                  <a:gd name="connsiteY18" fmla="*/ 57149 h 182561"/>
                  <a:gd name="connsiteX19" fmla="*/ 81256 w 320997"/>
                  <a:gd name="connsiteY19" fmla="*/ 61911 h 182561"/>
                  <a:gd name="connsiteX20" fmla="*/ 73319 w 320997"/>
                  <a:gd name="connsiteY20" fmla="*/ 66674 h 182561"/>
                  <a:gd name="connsiteX21" fmla="*/ 71731 w 320997"/>
                  <a:gd name="connsiteY21" fmla="*/ 71436 h 182561"/>
                  <a:gd name="connsiteX22" fmla="*/ 35219 w 320997"/>
                  <a:gd name="connsiteY22" fmla="*/ 82549 h 182561"/>
                  <a:gd name="connsiteX23" fmla="*/ 16169 w 320997"/>
                  <a:gd name="connsiteY23" fmla="*/ 82549 h 182561"/>
                  <a:gd name="connsiteX24" fmla="*/ 14581 w 320997"/>
                  <a:gd name="connsiteY24" fmla="*/ 95249 h 182561"/>
                  <a:gd name="connsiteX25" fmla="*/ 12994 w 320997"/>
                  <a:gd name="connsiteY25" fmla="*/ 100011 h 182561"/>
                  <a:gd name="connsiteX26" fmla="*/ 11406 w 320997"/>
                  <a:gd name="connsiteY26" fmla="*/ 107949 h 182561"/>
                  <a:gd name="connsiteX27" fmla="*/ 14581 w 320997"/>
                  <a:gd name="connsiteY27" fmla="*/ 117474 h 182561"/>
                  <a:gd name="connsiteX28" fmla="*/ 19344 w 320997"/>
                  <a:gd name="connsiteY28" fmla="*/ 120649 h 182561"/>
                  <a:gd name="connsiteX29" fmla="*/ 17756 w 320997"/>
                  <a:gd name="connsiteY29" fmla="*/ 138111 h 182561"/>
                  <a:gd name="connsiteX30" fmla="*/ 14581 w 320997"/>
                  <a:gd name="connsiteY30" fmla="*/ 146049 h 182561"/>
                  <a:gd name="connsiteX31" fmla="*/ 5056 w 320997"/>
                  <a:gd name="connsiteY31" fmla="*/ 147636 h 182561"/>
                  <a:gd name="connsiteX32" fmla="*/ 3469 w 320997"/>
                  <a:gd name="connsiteY32" fmla="*/ 152399 h 182561"/>
                  <a:gd name="connsiteX33" fmla="*/ 294 w 320997"/>
                  <a:gd name="connsiteY33" fmla="*/ 157161 h 182561"/>
                  <a:gd name="connsiteX34" fmla="*/ 5056 w 320997"/>
                  <a:gd name="connsiteY34" fmla="*/ 152399 h 182561"/>
                  <a:gd name="connsiteX35" fmla="*/ 12994 w 320997"/>
                  <a:gd name="connsiteY35" fmla="*/ 139699 h 182561"/>
                  <a:gd name="connsiteX36" fmla="*/ 17756 w 320997"/>
                  <a:gd name="connsiteY36" fmla="*/ 134936 h 182561"/>
                  <a:gd name="connsiteX37" fmla="*/ 25694 w 320997"/>
                  <a:gd name="connsiteY37" fmla="*/ 128586 h 182561"/>
                  <a:gd name="connsiteX38" fmla="*/ 36806 w 320997"/>
                  <a:gd name="connsiteY38" fmla="*/ 130174 h 182561"/>
                  <a:gd name="connsiteX39" fmla="*/ 41569 w 320997"/>
                  <a:gd name="connsiteY39" fmla="*/ 131761 h 182561"/>
                  <a:gd name="connsiteX40" fmla="*/ 46331 w 320997"/>
                  <a:gd name="connsiteY40" fmla="*/ 131761 h 182561"/>
                  <a:gd name="connsiteX41" fmla="*/ 60619 w 320997"/>
                  <a:gd name="connsiteY41" fmla="*/ 131761 h 182561"/>
                  <a:gd name="connsiteX42" fmla="*/ 65381 w 320997"/>
                  <a:gd name="connsiteY42" fmla="*/ 130174 h 182561"/>
                  <a:gd name="connsiteX43" fmla="*/ 76493 w 320997"/>
                  <a:gd name="connsiteY43" fmla="*/ 128587 h 182561"/>
                  <a:gd name="connsiteX44" fmla="*/ 63794 w 320997"/>
                  <a:gd name="connsiteY44" fmla="*/ 138111 h 182561"/>
                  <a:gd name="connsiteX45" fmla="*/ 54269 w 320997"/>
                  <a:gd name="connsiteY45" fmla="*/ 141286 h 182561"/>
                  <a:gd name="connsiteX46" fmla="*/ 52681 w 320997"/>
                  <a:gd name="connsiteY46" fmla="*/ 150811 h 182561"/>
                  <a:gd name="connsiteX47" fmla="*/ 47919 w 320997"/>
                  <a:gd name="connsiteY47" fmla="*/ 149224 h 182561"/>
                  <a:gd name="connsiteX48" fmla="*/ 35219 w 320997"/>
                  <a:gd name="connsiteY48" fmla="*/ 139699 h 182561"/>
                  <a:gd name="connsiteX49" fmla="*/ 33631 w 320997"/>
                  <a:gd name="connsiteY49" fmla="*/ 160336 h 182561"/>
                  <a:gd name="connsiteX50" fmla="*/ 30456 w 320997"/>
                  <a:gd name="connsiteY50" fmla="*/ 165099 h 182561"/>
                  <a:gd name="connsiteX51" fmla="*/ 28869 w 320997"/>
                  <a:gd name="connsiteY51" fmla="*/ 176211 h 182561"/>
                  <a:gd name="connsiteX52" fmla="*/ 33631 w 320997"/>
                  <a:gd name="connsiteY52" fmla="*/ 177799 h 182561"/>
                  <a:gd name="connsiteX53" fmla="*/ 49506 w 320997"/>
                  <a:gd name="connsiteY53" fmla="*/ 179386 h 182561"/>
                  <a:gd name="connsiteX54" fmla="*/ 59031 w 320997"/>
                  <a:gd name="connsiteY54" fmla="*/ 180974 h 182561"/>
                  <a:gd name="connsiteX55" fmla="*/ 76494 w 320997"/>
                  <a:gd name="connsiteY55" fmla="*/ 179386 h 182561"/>
                  <a:gd name="connsiteX56" fmla="*/ 93956 w 320997"/>
                  <a:gd name="connsiteY56" fmla="*/ 182561 h 182561"/>
                  <a:gd name="connsiteX57" fmla="*/ 130469 w 320997"/>
                  <a:gd name="connsiteY57" fmla="*/ 179386 h 182561"/>
                  <a:gd name="connsiteX58" fmla="*/ 200319 w 320997"/>
                  <a:gd name="connsiteY58" fmla="*/ 173036 h 182561"/>
                  <a:gd name="connsiteX59" fmla="*/ 220956 w 320997"/>
                  <a:gd name="connsiteY59" fmla="*/ 173036 h 182561"/>
                  <a:gd name="connsiteX60" fmla="*/ 246356 w 320997"/>
                  <a:gd name="connsiteY60" fmla="*/ 168274 h 182561"/>
                  <a:gd name="connsiteX61" fmla="*/ 255881 w 320997"/>
                  <a:gd name="connsiteY61" fmla="*/ 165099 h 182561"/>
                  <a:gd name="connsiteX62" fmla="*/ 268581 w 320997"/>
                  <a:gd name="connsiteY62" fmla="*/ 161924 h 182561"/>
                  <a:gd name="connsiteX63" fmla="*/ 276519 w 320997"/>
                  <a:gd name="connsiteY63" fmla="*/ 158749 h 182561"/>
                  <a:gd name="connsiteX64" fmla="*/ 284456 w 320997"/>
                  <a:gd name="connsiteY64" fmla="*/ 157161 h 182561"/>
                  <a:gd name="connsiteX65" fmla="*/ 298744 w 320997"/>
                  <a:gd name="connsiteY65" fmla="*/ 153986 h 182561"/>
                  <a:gd name="connsiteX66" fmla="*/ 316206 w 320997"/>
                  <a:gd name="connsiteY66" fmla="*/ 142874 h 182561"/>
                  <a:gd name="connsiteX67" fmla="*/ 314619 w 320997"/>
                  <a:gd name="connsiteY67" fmla="*/ 138111 h 182561"/>
                  <a:gd name="connsiteX68" fmla="*/ 309856 w 320997"/>
                  <a:gd name="connsiteY68" fmla="*/ 134936 h 182561"/>
                  <a:gd name="connsiteX69" fmla="*/ 308269 w 320997"/>
                  <a:gd name="connsiteY69" fmla="*/ 115886 h 182561"/>
                  <a:gd name="connsiteX70" fmla="*/ 311444 w 320997"/>
                  <a:gd name="connsiteY70" fmla="*/ 106361 h 182561"/>
                  <a:gd name="connsiteX71" fmla="*/ 306681 w 320997"/>
                  <a:gd name="connsiteY71" fmla="*/ 98424 h 182561"/>
                  <a:gd name="connsiteX72" fmla="*/ 305094 w 320997"/>
                  <a:gd name="connsiteY72" fmla="*/ 93661 h 182561"/>
                  <a:gd name="connsiteX73" fmla="*/ 308269 w 320997"/>
                  <a:gd name="connsiteY73" fmla="*/ 80961 h 182561"/>
                  <a:gd name="connsiteX74" fmla="*/ 317794 w 320997"/>
                  <a:gd name="connsiteY74" fmla="*/ 77786 h 182561"/>
                  <a:gd name="connsiteX75" fmla="*/ 317794 w 320997"/>
                  <a:gd name="connsiteY75" fmla="*/ 52386 h 182561"/>
                  <a:gd name="connsiteX76" fmla="*/ 308269 w 320997"/>
                  <a:gd name="connsiteY76" fmla="*/ 50799 h 182561"/>
                  <a:gd name="connsiteX77" fmla="*/ 305094 w 320997"/>
                  <a:gd name="connsiteY77" fmla="*/ 42861 h 182561"/>
                  <a:gd name="connsiteX78" fmla="*/ 298744 w 320997"/>
                  <a:gd name="connsiteY78" fmla="*/ 41274 h 182561"/>
                  <a:gd name="connsiteX79" fmla="*/ 287631 w 320997"/>
                  <a:gd name="connsiteY79" fmla="*/ 31749 h 182561"/>
                  <a:gd name="connsiteX80" fmla="*/ 273344 w 320997"/>
                  <a:gd name="connsiteY80" fmla="*/ 19049 h 182561"/>
                  <a:gd name="connsiteX81" fmla="*/ 271756 w 320997"/>
                  <a:gd name="connsiteY81" fmla="*/ 25399 h 182561"/>
                  <a:gd name="connsiteX82" fmla="*/ 259056 w 320997"/>
                  <a:gd name="connsiteY82" fmla="*/ 30161 h 182561"/>
                  <a:gd name="connsiteX83" fmla="*/ 240006 w 320997"/>
                  <a:gd name="connsiteY83" fmla="*/ 28574 h 182561"/>
                  <a:gd name="connsiteX84" fmla="*/ 233656 w 320997"/>
                  <a:gd name="connsiteY84" fmla="*/ 44449 h 182561"/>
                  <a:gd name="connsiteX85" fmla="*/ 230481 w 320997"/>
                  <a:gd name="connsiteY85" fmla="*/ 38099 h 182561"/>
                  <a:gd name="connsiteX86" fmla="*/ 228894 w 320997"/>
                  <a:gd name="connsiteY86" fmla="*/ 33336 h 182561"/>
                  <a:gd name="connsiteX87" fmla="*/ 224131 w 320997"/>
                  <a:gd name="connsiteY87" fmla="*/ 31749 h 182561"/>
                  <a:gd name="connsiteX88" fmla="*/ 201906 w 320997"/>
                  <a:gd name="connsiteY88" fmla="*/ 30161 h 182561"/>
                  <a:gd name="connsiteX89" fmla="*/ 200319 w 320997"/>
                  <a:gd name="connsiteY89" fmla="*/ 22224 h 182561"/>
                  <a:gd name="connsiteX90" fmla="*/ 186031 w 320997"/>
                  <a:gd name="connsiteY90" fmla="*/ 25399 h 182561"/>
                  <a:gd name="connsiteX91" fmla="*/ 181269 w 320997"/>
                  <a:gd name="connsiteY91" fmla="*/ 23811 h 182561"/>
                  <a:gd name="connsiteX92" fmla="*/ 179681 w 320997"/>
                  <a:gd name="connsiteY92" fmla="*/ 19049 h 182561"/>
                  <a:gd name="connsiteX93" fmla="*/ 174919 w 320997"/>
                  <a:gd name="connsiteY93" fmla="*/ 7936 h 182561"/>
                  <a:gd name="connsiteX94" fmla="*/ 170156 w 320997"/>
                  <a:gd name="connsiteY94" fmla="*/ 4761 h 182561"/>
                  <a:gd name="connsiteX95" fmla="*/ 162219 w 320997"/>
                  <a:gd name="connsiteY95" fmla="*/ 9524 h 182561"/>
                  <a:gd name="connsiteX96" fmla="*/ 152694 w 320997"/>
                  <a:gd name="connsiteY96" fmla="*/ 12699 h 182561"/>
                  <a:gd name="connsiteX97" fmla="*/ 151106 w 320997"/>
                  <a:gd name="connsiteY97" fmla="*/ 17461 h 182561"/>
                  <a:gd name="connsiteX0" fmla="*/ 151106 w 320997"/>
                  <a:gd name="connsiteY0" fmla="*/ 17461 h 182595"/>
                  <a:gd name="connsiteX1" fmla="*/ 152694 w 320997"/>
                  <a:gd name="connsiteY1" fmla="*/ 28574 h 182595"/>
                  <a:gd name="connsiteX2" fmla="*/ 146344 w 320997"/>
                  <a:gd name="connsiteY2" fmla="*/ 31749 h 182595"/>
                  <a:gd name="connsiteX3" fmla="*/ 141581 w 320997"/>
                  <a:gd name="connsiteY3" fmla="*/ 34924 h 182595"/>
                  <a:gd name="connsiteX4" fmla="*/ 138406 w 320997"/>
                  <a:gd name="connsiteY4" fmla="*/ 30161 h 182595"/>
                  <a:gd name="connsiteX5" fmla="*/ 139994 w 320997"/>
                  <a:gd name="connsiteY5" fmla="*/ 36511 h 182595"/>
                  <a:gd name="connsiteX6" fmla="*/ 132056 w 320997"/>
                  <a:gd name="connsiteY6" fmla="*/ 80961 h 182595"/>
                  <a:gd name="connsiteX7" fmla="*/ 117769 w 320997"/>
                  <a:gd name="connsiteY7" fmla="*/ 79374 h 182595"/>
                  <a:gd name="connsiteX8" fmla="*/ 95544 w 320997"/>
                  <a:gd name="connsiteY8" fmla="*/ 74611 h 182595"/>
                  <a:gd name="connsiteX9" fmla="*/ 66969 w 320997"/>
                  <a:gd name="connsiteY9" fmla="*/ 79374 h 182595"/>
                  <a:gd name="connsiteX10" fmla="*/ 70144 w 320997"/>
                  <a:gd name="connsiteY10" fmla="*/ 73024 h 182595"/>
                  <a:gd name="connsiteX11" fmla="*/ 74906 w 320997"/>
                  <a:gd name="connsiteY11" fmla="*/ 68261 h 182595"/>
                  <a:gd name="connsiteX12" fmla="*/ 82844 w 320997"/>
                  <a:gd name="connsiteY12" fmla="*/ 52386 h 182595"/>
                  <a:gd name="connsiteX13" fmla="*/ 89194 w 320997"/>
                  <a:gd name="connsiteY13" fmla="*/ 44449 h 182595"/>
                  <a:gd name="connsiteX14" fmla="*/ 97131 w 320997"/>
                  <a:gd name="connsiteY14" fmla="*/ 34924 h 182595"/>
                  <a:gd name="connsiteX15" fmla="*/ 98719 w 320997"/>
                  <a:gd name="connsiteY15" fmla="*/ 28574 h 182595"/>
                  <a:gd name="connsiteX16" fmla="*/ 87606 w 320997"/>
                  <a:gd name="connsiteY16" fmla="*/ 47624 h 182595"/>
                  <a:gd name="connsiteX17" fmla="*/ 86019 w 320997"/>
                  <a:gd name="connsiteY17" fmla="*/ 52386 h 182595"/>
                  <a:gd name="connsiteX18" fmla="*/ 82844 w 320997"/>
                  <a:gd name="connsiteY18" fmla="*/ 57149 h 182595"/>
                  <a:gd name="connsiteX19" fmla="*/ 81256 w 320997"/>
                  <a:gd name="connsiteY19" fmla="*/ 61911 h 182595"/>
                  <a:gd name="connsiteX20" fmla="*/ 73319 w 320997"/>
                  <a:gd name="connsiteY20" fmla="*/ 66674 h 182595"/>
                  <a:gd name="connsiteX21" fmla="*/ 71731 w 320997"/>
                  <a:gd name="connsiteY21" fmla="*/ 71436 h 182595"/>
                  <a:gd name="connsiteX22" fmla="*/ 35219 w 320997"/>
                  <a:gd name="connsiteY22" fmla="*/ 82549 h 182595"/>
                  <a:gd name="connsiteX23" fmla="*/ 16169 w 320997"/>
                  <a:gd name="connsiteY23" fmla="*/ 82549 h 182595"/>
                  <a:gd name="connsiteX24" fmla="*/ 14581 w 320997"/>
                  <a:gd name="connsiteY24" fmla="*/ 95249 h 182595"/>
                  <a:gd name="connsiteX25" fmla="*/ 12994 w 320997"/>
                  <a:gd name="connsiteY25" fmla="*/ 100011 h 182595"/>
                  <a:gd name="connsiteX26" fmla="*/ 11406 w 320997"/>
                  <a:gd name="connsiteY26" fmla="*/ 107949 h 182595"/>
                  <a:gd name="connsiteX27" fmla="*/ 14581 w 320997"/>
                  <a:gd name="connsiteY27" fmla="*/ 117474 h 182595"/>
                  <a:gd name="connsiteX28" fmla="*/ 19344 w 320997"/>
                  <a:gd name="connsiteY28" fmla="*/ 120649 h 182595"/>
                  <a:gd name="connsiteX29" fmla="*/ 17756 w 320997"/>
                  <a:gd name="connsiteY29" fmla="*/ 138111 h 182595"/>
                  <a:gd name="connsiteX30" fmla="*/ 14581 w 320997"/>
                  <a:gd name="connsiteY30" fmla="*/ 146049 h 182595"/>
                  <a:gd name="connsiteX31" fmla="*/ 5056 w 320997"/>
                  <a:gd name="connsiteY31" fmla="*/ 147636 h 182595"/>
                  <a:gd name="connsiteX32" fmla="*/ 3469 w 320997"/>
                  <a:gd name="connsiteY32" fmla="*/ 152399 h 182595"/>
                  <a:gd name="connsiteX33" fmla="*/ 294 w 320997"/>
                  <a:gd name="connsiteY33" fmla="*/ 157161 h 182595"/>
                  <a:gd name="connsiteX34" fmla="*/ 5056 w 320997"/>
                  <a:gd name="connsiteY34" fmla="*/ 152399 h 182595"/>
                  <a:gd name="connsiteX35" fmla="*/ 12994 w 320997"/>
                  <a:gd name="connsiteY35" fmla="*/ 139699 h 182595"/>
                  <a:gd name="connsiteX36" fmla="*/ 17756 w 320997"/>
                  <a:gd name="connsiteY36" fmla="*/ 134936 h 182595"/>
                  <a:gd name="connsiteX37" fmla="*/ 25694 w 320997"/>
                  <a:gd name="connsiteY37" fmla="*/ 128586 h 182595"/>
                  <a:gd name="connsiteX38" fmla="*/ 36806 w 320997"/>
                  <a:gd name="connsiteY38" fmla="*/ 130174 h 182595"/>
                  <a:gd name="connsiteX39" fmla="*/ 41569 w 320997"/>
                  <a:gd name="connsiteY39" fmla="*/ 131761 h 182595"/>
                  <a:gd name="connsiteX40" fmla="*/ 46331 w 320997"/>
                  <a:gd name="connsiteY40" fmla="*/ 131761 h 182595"/>
                  <a:gd name="connsiteX41" fmla="*/ 60619 w 320997"/>
                  <a:gd name="connsiteY41" fmla="*/ 131761 h 182595"/>
                  <a:gd name="connsiteX42" fmla="*/ 65381 w 320997"/>
                  <a:gd name="connsiteY42" fmla="*/ 130174 h 182595"/>
                  <a:gd name="connsiteX43" fmla="*/ 76493 w 320997"/>
                  <a:gd name="connsiteY43" fmla="*/ 128587 h 182595"/>
                  <a:gd name="connsiteX44" fmla="*/ 63794 w 320997"/>
                  <a:gd name="connsiteY44" fmla="*/ 138111 h 182595"/>
                  <a:gd name="connsiteX45" fmla="*/ 54269 w 320997"/>
                  <a:gd name="connsiteY45" fmla="*/ 141286 h 182595"/>
                  <a:gd name="connsiteX46" fmla="*/ 52681 w 320997"/>
                  <a:gd name="connsiteY46" fmla="*/ 150811 h 182595"/>
                  <a:gd name="connsiteX47" fmla="*/ 47919 w 320997"/>
                  <a:gd name="connsiteY47" fmla="*/ 149224 h 182595"/>
                  <a:gd name="connsiteX48" fmla="*/ 35219 w 320997"/>
                  <a:gd name="connsiteY48" fmla="*/ 139699 h 182595"/>
                  <a:gd name="connsiteX49" fmla="*/ 33631 w 320997"/>
                  <a:gd name="connsiteY49" fmla="*/ 160336 h 182595"/>
                  <a:gd name="connsiteX50" fmla="*/ 30456 w 320997"/>
                  <a:gd name="connsiteY50" fmla="*/ 165099 h 182595"/>
                  <a:gd name="connsiteX51" fmla="*/ 28869 w 320997"/>
                  <a:gd name="connsiteY51" fmla="*/ 176211 h 182595"/>
                  <a:gd name="connsiteX52" fmla="*/ 33631 w 320997"/>
                  <a:gd name="connsiteY52" fmla="*/ 177799 h 182595"/>
                  <a:gd name="connsiteX53" fmla="*/ 49506 w 320997"/>
                  <a:gd name="connsiteY53" fmla="*/ 179386 h 182595"/>
                  <a:gd name="connsiteX54" fmla="*/ 59031 w 320997"/>
                  <a:gd name="connsiteY54" fmla="*/ 180974 h 182595"/>
                  <a:gd name="connsiteX55" fmla="*/ 93956 w 320997"/>
                  <a:gd name="connsiteY55" fmla="*/ 182561 h 182595"/>
                  <a:gd name="connsiteX56" fmla="*/ 130469 w 320997"/>
                  <a:gd name="connsiteY56" fmla="*/ 179386 h 182595"/>
                  <a:gd name="connsiteX57" fmla="*/ 200319 w 320997"/>
                  <a:gd name="connsiteY57" fmla="*/ 173036 h 182595"/>
                  <a:gd name="connsiteX58" fmla="*/ 220956 w 320997"/>
                  <a:gd name="connsiteY58" fmla="*/ 173036 h 182595"/>
                  <a:gd name="connsiteX59" fmla="*/ 246356 w 320997"/>
                  <a:gd name="connsiteY59" fmla="*/ 168274 h 182595"/>
                  <a:gd name="connsiteX60" fmla="*/ 255881 w 320997"/>
                  <a:gd name="connsiteY60" fmla="*/ 165099 h 182595"/>
                  <a:gd name="connsiteX61" fmla="*/ 268581 w 320997"/>
                  <a:gd name="connsiteY61" fmla="*/ 161924 h 182595"/>
                  <a:gd name="connsiteX62" fmla="*/ 276519 w 320997"/>
                  <a:gd name="connsiteY62" fmla="*/ 158749 h 182595"/>
                  <a:gd name="connsiteX63" fmla="*/ 284456 w 320997"/>
                  <a:gd name="connsiteY63" fmla="*/ 157161 h 182595"/>
                  <a:gd name="connsiteX64" fmla="*/ 298744 w 320997"/>
                  <a:gd name="connsiteY64" fmla="*/ 153986 h 182595"/>
                  <a:gd name="connsiteX65" fmla="*/ 316206 w 320997"/>
                  <a:gd name="connsiteY65" fmla="*/ 142874 h 182595"/>
                  <a:gd name="connsiteX66" fmla="*/ 314619 w 320997"/>
                  <a:gd name="connsiteY66" fmla="*/ 138111 h 182595"/>
                  <a:gd name="connsiteX67" fmla="*/ 309856 w 320997"/>
                  <a:gd name="connsiteY67" fmla="*/ 134936 h 182595"/>
                  <a:gd name="connsiteX68" fmla="*/ 308269 w 320997"/>
                  <a:gd name="connsiteY68" fmla="*/ 115886 h 182595"/>
                  <a:gd name="connsiteX69" fmla="*/ 311444 w 320997"/>
                  <a:gd name="connsiteY69" fmla="*/ 106361 h 182595"/>
                  <a:gd name="connsiteX70" fmla="*/ 306681 w 320997"/>
                  <a:gd name="connsiteY70" fmla="*/ 98424 h 182595"/>
                  <a:gd name="connsiteX71" fmla="*/ 305094 w 320997"/>
                  <a:gd name="connsiteY71" fmla="*/ 93661 h 182595"/>
                  <a:gd name="connsiteX72" fmla="*/ 308269 w 320997"/>
                  <a:gd name="connsiteY72" fmla="*/ 80961 h 182595"/>
                  <a:gd name="connsiteX73" fmla="*/ 317794 w 320997"/>
                  <a:gd name="connsiteY73" fmla="*/ 77786 h 182595"/>
                  <a:gd name="connsiteX74" fmla="*/ 317794 w 320997"/>
                  <a:gd name="connsiteY74" fmla="*/ 52386 h 182595"/>
                  <a:gd name="connsiteX75" fmla="*/ 308269 w 320997"/>
                  <a:gd name="connsiteY75" fmla="*/ 50799 h 182595"/>
                  <a:gd name="connsiteX76" fmla="*/ 305094 w 320997"/>
                  <a:gd name="connsiteY76" fmla="*/ 42861 h 182595"/>
                  <a:gd name="connsiteX77" fmla="*/ 298744 w 320997"/>
                  <a:gd name="connsiteY77" fmla="*/ 41274 h 182595"/>
                  <a:gd name="connsiteX78" fmla="*/ 287631 w 320997"/>
                  <a:gd name="connsiteY78" fmla="*/ 31749 h 182595"/>
                  <a:gd name="connsiteX79" fmla="*/ 273344 w 320997"/>
                  <a:gd name="connsiteY79" fmla="*/ 19049 h 182595"/>
                  <a:gd name="connsiteX80" fmla="*/ 271756 w 320997"/>
                  <a:gd name="connsiteY80" fmla="*/ 25399 h 182595"/>
                  <a:gd name="connsiteX81" fmla="*/ 259056 w 320997"/>
                  <a:gd name="connsiteY81" fmla="*/ 30161 h 182595"/>
                  <a:gd name="connsiteX82" fmla="*/ 240006 w 320997"/>
                  <a:gd name="connsiteY82" fmla="*/ 28574 h 182595"/>
                  <a:gd name="connsiteX83" fmla="*/ 233656 w 320997"/>
                  <a:gd name="connsiteY83" fmla="*/ 44449 h 182595"/>
                  <a:gd name="connsiteX84" fmla="*/ 230481 w 320997"/>
                  <a:gd name="connsiteY84" fmla="*/ 38099 h 182595"/>
                  <a:gd name="connsiteX85" fmla="*/ 228894 w 320997"/>
                  <a:gd name="connsiteY85" fmla="*/ 33336 h 182595"/>
                  <a:gd name="connsiteX86" fmla="*/ 224131 w 320997"/>
                  <a:gd name="connsiteY86" fmla="*/ 31749 h 182595"/>
                  <a:gd name="connsiteX87" fmla="*/ 201906 w 320997"/>
                  <a:gd name="connsiteY87" fmla="*/ 30161 h 182595"/>
                  <a:gd name="connsiteX88" fmla="*/ 200319 w 320997"/>
                  <a:gd name="connsiteY88" fmla="*/ 22224 h 182595"/>
                  <a:gd name="connsiteX89" fmla="*/ 186031 w 320997"/>
                  <a:gd name="connsiteY89" fmla="*/ 25399 h 182595"/>
                  <a:gd name="connsiteX90" fmla="*/ 181269 w 320997"/>
                  <a:gd name="connsiteY90" fmla="*/ 23811 h 182595"/>
                  <a:gd name="connsiteX91" fmla="*/ 179681 w 320997"/>
                  <a:gd name="connsiteY91" fmla="*/ 19049 h 182595"/>
                  <a:gd name="connsiteX92" fmla="*/ 174919 w 320997"/>
                  <a:gd name="connsiteY92" fmla="*/ 7936 h 182595"/>
                  <a:gd name="connsiteX93" fmla="*/ 170156 w 320997"/>
                  <a:gd name="connsiteY93" fmla="*/ 4761 h 182595"/>
                  <a:gd name="connsiteX94" fmla="*/ 162219 w 320997"/>
                  <a:gd name="connsiteY94" fmla="*/ 9524 h 182595"/>
                  <a:gd name="connsiteX95" fmla="*/ 152694 w 320997"/>
                  <a:gd name="connsiteY95" fmla="*/ 12699 h 182595"/>
                  <a:gd name="connsiteX96" fmla="*/ 151106 w 320997"/>
                  <a:gd name="connsiteY96" fmla="*/ 17461 h 182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320997" h="182595">
                    <a:moveTo>
                      <a:pt x="151106" y="17461"/>
                    </a:moveTo>
                    <a:cubicBezTo>
                      <a:pt x="151635" y="21165"/>
                      <a:pt x="153877" y="25024"/>
                      <a:pt x="152694" y="28574"/>
                    </a:cubicBezTo>
                    <a:cubicBezTo>
                      <a:pt x="151946" y="30819"/>
                      <a:pt x="148399" y="30575"/>
                      <a:pt x="146344" y="31749"/>
                    </a:cubicBezTo>
                    <a:cubicBezTo>
                      <a:pt x="144687" y="32696"/>
                      <a:pt x="143169" y="33866"/>
                      <a:pt x="141581" y="34924"/>
                    </a:cubicBezTo>
                    <a:cubicBezTo>
                      <a:pt x="140523" y="33336"/>
                      <a:pt x="139755" y="28812"/>
                      <a:pt x="138406" y="30161"/>
                    </a:cubicBezTo>
                    <a:cubicBezTo>
                      <a:pt x="136863" y="31704"/>
                      <a:pt x="139994" y="34329"/>
                      <a:pt x="139994" y="36511"/>
                    </a:cubicBezTo>
                    <a:cubicBezTo>
                      <a:pt x="139994" y="79311"/>
                      <a:pt x="150432" y="71773"/>
                      <a:pt x="132056" y="80961"/>
                    </a:cubicBezTo>
                    <a:lnTo>
                      <a:pt x="117769" y="79374"/>
                    </a:lnTo>
                    <a:cubicBezTo>
                      <a:pt x="98096" y="77407"/>
                      <a:pt x="105270" y="81096"/>
                      <a:pt x="95544" y="74611"/>
                    </a:cubicBezTo>
                    <a:cubicBezTo>
                      <a:pt x="87636" y="85154"/>
                      <a:pt x="88525" y="87664"/>
                      <a:pt x="66969" y="79374"/>
                    </a:cubicBezTo>
                    <a:cubicBezTo>
                      <a:pt x="64760" y="78525"/>
                      <a:pt x="68769" y="74950"/>
                      <a:pt x="70144" y="73024"/>
                    </a:cubicBezTo>
                    <a:cubicBezTo>
                      <a:pt x="71449" y="71197"/>
                      <a:pt x="73729" y="70173"/>
                      <a:pt x="74906" y="68261"/>
                    </a:cubicBezTo>
                    <a:cubicBezTo>
                      <a:pt x="78007" y="63222"/>
                      <a:pt x="79148" y="57006"/>
                      <a:pt x="82844" y="52386"/>
                    </a:cubicBezTo>
                    <a:cubicBezTo>
                      <a:pt x="84961" y="49740"/>
                      <a:pt x="87315" y="47268"/>
                      <a:pt x="89194" y="44449"/>
                    </a:cubicBezTo>
                    <a:cubicBezTo>
                      <a:pt x="95640" y="34781"/>
                      <a:pt x="88451" y="40711"/>
                      <a:pt x="97131" y="34924"/>
                    </a:cubicBezTo>
                    <a:cubicBezTo>
                      <a:pt x="97660" y="32807"/>
                      <a:pt x="100262" y="27031"/>
                      <a:pt x="98719" y="28574"/>
                    </a:cubicBezTo>
                    <a:cubicBezTo>
                      <a:pt x="96515" y="30778"/>
                      <a:pt x="89701" y="42736"/>
                      <a:pt x="87606" y="47624"/>
                    </a:cubicBezTo>
                    <a:cubicBezTo>
                      <a:pt x="86947" y="49162"/>
                      <a:pt x="86767" y="50889"/>
                      <a:pt x="86019" y="52386"/>
                    </a:cubicBezTo>
                    <a:cubicBezTo>
                      <a:pt x="85166" y="54093"/>
                      <a:pt x="83697" y="55442"/>
                      <a:pt x="82844" y="57149"/>
                    </a:cubicBezTo>
                    <a:cubicBezTo>
                      <a:pt x="82096" y="58646"/>
                      <a:pt x="82439" y="60728"/>
                      <a:pt x="81256" y="61911"/>
                    </a:cubicBezTo>
                    <a:cubicBezTo>
                      <a:pt x="79074" y="64093"/>
                      <a:pt x="75965" y="65086"/>
                      <a:pt x="73319" y="66674"/>
                    </a:cubicBezTo>
                    <a:cubicBezTo>
                      <a:pt x="72790" y="68261"/>
                      <a:pt x="72758" y="70115"/>
                      <a:pt x="71731" y="71436"/>
                    </a:cubicBezTo>
                    <a:cubicBezTo>
                      <a:pt x="59535" y="87115"/>
                      <a:pt x="59261" y="81134"/>
                      <a:pt x="35219" y="82549"/>
                    </a:cubicBezTo>
                    <a:cubicBezTo>
                      <a:pt x="32303" y="82063"/>
                      <a:pt x="19085" y="78800"/>
                      <a:pt x="16169" y="82549"/>
                    </a:cubicBezTo>
                    <a:cubicBezTo>
                      <a:pt x="13550" y="85917"/>
                      <a:pt x="15344" y="91052"/>
                      <a:pt x="14581" y="95249"/>
                    </a:cubicBezTo>
                    <a:cubicBezTo>
                      <a:pt x="14282" y="96895"/>
                      <a:pt x="13400" y="98388"/>
                      <a:pt x="12994" y="100011"/>
                    </a:cubicBezTo>
                    <a:cubicBezTo>
                      <a:pt x="12340" y="102629"/>
                      <a:pt x="11935" y="105303"/>
                      <a:pt x="11406" y="107949"/>
                    </a:cubicBezTo>
                    <a:cubicBezTo>
                      <a:pt x="12464" y="111124"/>
                      <a:pt x="12807" y="114636"/>
                      <a:pt x="14581" y="117474"/>
                    </a:cubicBezTo>
                    <a:cubicBezTo>
                      <a:pt x="15592" y="119092"/>
                      <a:pt x="19054" y="118763"/>
                      <a:pt x="19344" y="120649"/>
                    </a:cubicBezTo>
                    <a:cubicBezTo>
                      <a:pt x="20233" y="126426"/>
                      <a:pt x="18833" y="132366"/>
                      <a:pt x="17756" y="138111"/>
                    </a:cubicBezTo>
                    <a:cubicBezTo>
                      <a:pt x="17231" y="140912"/>
                      <a:pt x="16861" y="144339"/>
                      <a:pt x="14581" y="146049"/>
                    </a:cubicBezTo>
                    <a:cubicBezTo>
                      <a:pt x="12006" y="147980"/>
                      <a:pt x="8231" y="147107"/>
                      <a:pt x="5056" y="147636"/>
                    </a:cubicBezTo>
                    <a:cubicBezTo>
                      <a:pt x="4527" y="149224"/>
                      <a:pt x="4217" y="150902"/>
                      <a:pt x="3469" y="152399"/>
                    </a:cubicBezTo>
                    <a:cubicBezTo>
                      <a:pt x="2616" y="154105"/>
                      <a:pt x="-1055" y="158510"/>
                      <a:pt x="294" y="157161"/>
                    </a:cubicBezTo>
                    <a:cubicBezTo>
                      <a:pt x="1881" y="155574"/>
                      <a:pt x="3709" y="154195"/>
                      <a:pt x="5056" y="152399"/>
                    </a:cubicBezTo>
                    <a:cubicBezTo>
                      <a:pt x="7387" y="149292"/>
                      <a:pt x="10218" y="143030"/>
                      <a:pt x="12994" y="139699"/>
                    </a:cubicBezTo>
                    <a:cubicBezTo>
                      <a:pt x="14431" y="137974"/>
                      <a:pt x="16319" y="136661"/>
                      <a:pt x="17756" y="134936"/>
                    </a:cubicBezTo>
                    <a:cubicBezTo>
                      <a:pt x="23279" y="128308"/>
                      <a:pt x="17876" y="131193"/>
                      <a:pt x="25694" y="128586"/>
                    </a:cubicBezTo>
                    <a:cubicBezTo>
                      <a:pt x="29398" y="129115"/>
                      <a:pt x="33137" y="129440"/>
                      <a:pt x="36806" y="130174"/>
                    </a:cubicBezTo>
                    <a:cubicBezTo>
                      <a:pt x="38447" y="130502"/>
                      <a:pt x="39982" y="131497"/>
                      <a:pt x="41569" y="131761"/>
                    </a:cubicBezTo>
                    <a:cubicBezTo>
                      <a:pt x="43156" y="132025"/>
                      <a:pt x="44744" y="132290"/>
                      <a:pt x="46331" y="131761"/>
                    </a:cubicBezTo>
                    <a:cubicBezTo>
                      <a:pt x="51094" y="132290"/>
                      <a:pt x="57444" y="132026"/>
                      <a:pt x="60619" y="131761"/>
                    </a:cubicBezTo>
                    <a:cubicBezTo>
                      <a:pt x="63794" y="131497"/>
                      <a:pt x="62735" y="130703"/>
                      <a:pt x="65381" y="130174"/>
                    </a:cubicBezTo>
                    <a:cubicBezTo>
                      <a:pt x="68027" y="129645"/>
                      <a:pt x="76757" y="127264"/>
                      <a:pt x="76493" y="128587"/>
                    </a:cubicBezTo>
                    <a:cubicBezTo>
                      <a:pt x="76229" y="129910"/>
                      <a:pt x="67498" y="135995"/>
                      <a:pt x="63794" y="138111"/>
                    </a:cubicBezTo>
                    <a:cubicBezTo>
                      <a:pt x="60090" y="140227"/>
                      <a:pt x="54269" y="141286"/>
                      <a:pt x="54269" y="141286"/>
                    </a:cubicBezTo>
                    <a:cubicBezTo>
                      <a:pt x="53740" y="144461"/>
                      <a:pt x="54692" y="148297"/>
                      <a:pt x="52681" y="150811"/>
                    </a:cubicBezTo>
                    <a:cubicBezTo>
                      <a:pt x="51636" y="152118"/>
                      <a:pt x="50829" y="151076"/>
                      <a:pt x="47919" y="149224"/>
                    </a:cubicBezTo>
                    <a:cubicBezTo>
                      <a:pt x="45009" y="147372"/>
                      <a:pt x="39479" y="138280"/>
                      <a:pt x="35219" y="139699"/>
                    </a:cubicBezTo>
                    <a:lnTo>
                      <a:pt x="33631" y="160336"/>
                    </a:lnTo>
                    <a:cubicBezTo>
                      <a:pt x="32573" y="161924"/>
                      <a:pt x="31004" y="163271"/>
                      <a:pt x="30456" y="165099"/>
                    </a:cubicBezTo>
                    <a:cubicBezTo>
                      <a:pt x="29381" y="168683"/>
                      <a:pt x="27962" y="172581"/>
                      <a:pt x="28869" y="176211"/>
                    </a:cubicBezTo>
                    <a:cubicBezTo>
                      <a:pt x="29275" y="177834"/>
                      <a:pt x="31977" y="177545"/>
                      <a:pt x="33631" y="177799"/>
                    </a:cubicBezTo>
                    <a:cubicBezTo>
                      <a:pt x="38887" y="178608"/>
                      <a:pt x="44229" y="178726"/>
                      <a:pt x="49506" y="179386"/>
                    </a:cubicBezTo>
                    <a:cubicBezTo>
                      <a:pt x="52700" y="179785"/>
                      <a:pt x="55856" y="180445"/>
                      <a:pt x="59031" y="180974"/>
                    </a:cubicBezTo>
                    <a:cubicBezTo>
                      <a:pt x="66439" y="181503"/>
                      <a:pt x="82050" y="182826"/>
                      <a:pt x="93956" y="182561"/>
                    </a:cubicBezTo>
                    <a:cubicBezTo>
                      <a:pt x="105862" y="182296"/>
                      <a:pt x="130469" y="179386"/>
                      <a:pt x="130469" y="179386"/>
                    </a:cubicBezTo>
                    <a:lnTo>
                      <a:pt x="200319" y="173036"/>
                    </a:lnTo>
                    <a:cubicBezTo>
                      <a:pt x="221293" y="173735"/>
                      <a:pt x="207900" y="176301"/>
                      <a:pt x="220956" y="173036"/>
                    </a:cubicBezTo>
                    <a:cubicBezTo>
                      <a:pt x="232452" y="165373"/>
                      <a:pt x="220229" y="172399"/>
                      <a:pt x="246356" y="168274"/>
                    </a:cubicBezTo>
                    <a:cubicBezTo>
                      <a:pt x="249662" y="167752"/>
                      <a:pt x="252634" y="165911"/>
                      <a:pt x="255881" y="165099"/>
                    </a:cubicBezTo>
                    <a:cubicBezTo>
                      <a:pt x="260114" y="164041"/>
                      <a:pt x="264529" y="163545"/>
                      <a:pt x="268581" y="161924"/>
                    </a:cubicBezTo>
                    <a:cubicBezTo>
                      <a:pt x="271227" y="160866"/>
                      <a:pt x="273789" y="159568"/>
                      <a:pt x="276519" y="158749"/>
                    </a:cubicBezTo>
                    <a:cubicBezTo>
                      <a:pt x="279103" y="157974"/>
                      <a:pt x="281838" y="157815"/>
                      <a:pt x="284456" y="157161"/>
                    </a:cubicBezTo>
                    <a:cubicBezTo>
                      <a:pt x="300081" y="153255"/>
                      <a:pt x="272549" y="158353"/>
                      <a:pt x="298744" y="153986"/>
                    </a:cubicBezTo>
                    <a:cubicBezTo>
                      <a:pt x="313452" y="146632"/>
                      <a:pt x="308097" y="150983"/>
                      <a:pt x="316206" y="142874"/>
                    </a:cubicBezTo>
                    <a:cubicBezTo>
                      <a:pt x="315677" y="141286"/>
                      <a:pt x="315664" y="139418"/>
                      <a:pt x="314619" y="138111"/>
                    </a:cubicBezTo>
                    <a:cubicBezTo>
                      <a:pt x="313427" y="136621"/>
                      <a:pt x="310380" y="136771"/>
                      <a:pt x="309856" y="134936"/>
                    </a:cubicBezTo>
                    <a:cubicBezTo>
                      <a:pt x="308105" y="128809"/>
                      <a:pt x="308798" y="122236"/>
                      <a:pt x="308269" y="115886"/>
                    </a:cubicBezTo>
                    <a:cubicBezTo>
                      <a:pt x="309327" y="112711"/>
                      <a:pt x="311747" y="109694"/>
                      <a:pt x="311444" y="106361"/>
                    </a:cubicBezTo>
                    <a:cubicBezTo>
                      <a:pt x="311165" y="103288"/>
                      <a:pt x="308061" y="101184"/>
                      <a:pt x="306681" y="98424"/>
                    </a:cubicBezTo>
                    <a:cubicBezTo>
                      <a:pt x="305933" y="96927"/>
                      <a:pt x="305623" y="95249"/>
                      <a:pt x="305094" y="93661"/>
                    </a:cubicBezTo>
                    <a:cubicBezTo>
                      <a:pt x="306152" y="89428"/>
                      <a:pt x="305543" y="84368"/>
                      <a:pt x="308269" y="80961"/>
                    </a:cubicBezTo>
                    <a:cubicBezTo>
                      <a:pt x="310360" y="78348"/>
                      <a:pt x="317794" y="77786"/>
                      <a:pt x="317794" y="77786"/>
                    </a:cubicBezTo>
                    <a:cubicBezTo>
                      <a:pt x="320647" y="69225"/>
                      <a:pt x="323284" y="63366"/>
                      <a:pt x="317794" y="52386"/>
                    </a:cubicBezTo>
                    <a:cubicBezTo>
                      <a:pt x="316355" y="49507"/>
                      <a:pt x="311444" y="51328"/>
                      <a:pt x="308269" y="50799"/>
                    </a:cubicBezTo>
                    <a:cubicBezTo>
                      <a:pt x="307211" y="48153"/>
                      <a:pt x="307109" y="44876"/>
                      <a:pt x="305094" y="42861"/>
                    </a:cubicBezTo>
                    <a:cubicBezTo>
                      <a:pt x="303551" y="41318"/>
                      <a:pt x="300141" y="42950"/>
                      <a:pt x="298744" y="41274"/>
                    </a:cubicBezTo>
                    <a:cubicBezTo>
                      <a:pt x="288365" y="28820"/>
                      <a:pt x="309550" y="35401"/>
                      <a:pt x="287631" y="31749"/>
                    </a:cubicBezTo>
                    <a:cubicBezTo>
                      <a:pt x="283398" y="28045"/>
                      <a:pt x="275990" y="20107"/>
                      <a:pt x="273344" y="19049"/>
                    </a:cubicBezTo>
                    <a:cubicBezTo>
                      <a:pt x="270698" y="17991"/>
                      <a:pt x="273153" y="23723"/>
                      <a:pt x="271756" y="25399"/>
                    </a:cubicBezTo>
                    <a:cubicBezTo>
                      <a:pt x="269571" y="28021"/>
                      <a:pt x="262063" y="29409"/>
                      <a:pt x="259056" y="30161"/>
                    </a:cubicBezTo>
                    <a:cubicBezTo>
                      <a:pt x="253999" y="27633"/>
                      <a:pt x="245844" y="22087"/>
                      <a:pt x="240006" y="28574"/>
                    </a:cubicBezTo>
                    <a:cubicBezTo>
                      <a:pt x="220257" y="50518"/>
                      <a:pt x="249244" y="39252"/>
                      <a:pt x="233656" y="44449"/>
                    </a:cubicBezTo>
                    <a:cubicBezTo>
                      <a:pt x="232598" y="42332"/>
                      <a:pt x="231413" y="40274"/>
                      <a:pt x="230481" y="38099"/>
                    </a:cubicBezTo>
                    <a:cubicBezTo>
                      <a:pt x="229822" y="36561"/>
                      <a:pt x="230077" y="34519"/>
                      <a:pt x="228894" y="33336"/>
                    </a:cubicBezTo>
                    <a:cubicBezTo>
                      <a:pt x="227711" y="32153"/>
                      <a:pt x="225793" y="31945"/>
                      <a:pt x="224131" y="31749"/>
                    </a:cubicBezTo>
                    <a:cubicBezTo>
                      <a:pt x="216755" y="30881"/>
                      <a:pt x="209314" y="30690"/>
                      <a:pt x="201906" y="30161"/>
                    </a:cubicBezTo>
                    <a:cubicBezTo>
                      <a:pt x="201377" y="27515"/>
                      <a:pt x="202564" y="23721"/>
                      <a:pt x="200319" y="22224"/>
                    </a:cubicBezTo>
                    <a:cubicBezTo>
                      <a:pt x="199768" y="21856"/>
                      <a:pt x="187296" y="25083"/>
                      <a:pt x="186031" y="25399"/>
                    </a:cubicBezTo>
                    <a:cubicBezTo>
                      <a:pt x="184444" y="24870"/>
                      <a:pt x="182452" y="24994"/>
                      <a:pt x="181269" y="23811"/>
                    </a:cubicBezTo>
                    <a:cubicBezTo>
                      <a:pt x="180086" y="22628"/>
                      <a:pt x="180302" y="20603"/>
                      <a:pt x="179681" y="19049"/>
                    </a:cubicBezTo>
                    <a:cubicBezTo>
                      <a:pt x="178184" y="15307"/>
                      <a:pt x="177154" y="11289"/>
                      <a:pt x="174919" y="7936"/>
                    </a:cubicBezTo>
                    <a:cubicBezTo>
                      <a:pt x="173861" y="6348"/>
                      <a:pt x="171744" y="5819"/>
                      <a:pt x="170156" y="4761"/>
                    </a:cubicBezTo>
                    <a:cubicBezTo>
                      <a:pt x="163608" y="-5060"/>
                      <a:pt x="170446" y="2211"/>
                      <a:pt x="162219" y="9524"/>
                    </a:cubicBezTo>
                    <a:cubicBezTo>
                      <a:pt x="159718" y="11747"/>
                      <a:pt x="155869" y="11641"/>
                      <a:pt x="152694" y="12699"/>
                    </a:cubicBezTo>
                    <a:lnTo>
                      <a:pt x="151106" y="17461"/>
                    </a:lnTo>
                    <a:close/>
                  </a:path>
                </a:pathLst>
              </a:custGeom>
              <a:solidFill>
                <a:srgbClr val="D0CECE"/>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dirty="0"/>
              </a:p>
            </p:txBody>
          </p:sp>
          <p:grpSp>
            <p:nvGrpSpPr>
              <p:cNvPr id="359" name="Grupo 39">
                <a:extLst>
                  <a:ext uri="{FF2B5EF4-FFF2-40B4-BE49-F238E27FC236}">
                    <a16:creationId xmlns:a16="http://schemas.microsoft.com/office/drawing/2014/main" id="{01B8F774-E64B-4758-B20D-8CBF934DE3D6}"/>
                  </a:ext>
                </a:extLst>
              </p:cNvPr>
              <p:cNvGrpSpPr/>
              <p:nvPr/>
            </p:nvGrpSpPr>
            <p:grpSpPr>
              <a:xfrm>
                <a:off x="8206071" y="155073"/>
                <a:ext cx="3830903" cy="4401009"/>
                <a:chOff x="5481327" y="558495"/>
                <a:chExt cx="3830903" cy="4401009"/>
              </a:xfrm>
              <a:solidFill>
                <a:schemeClr val="bg2">
                  <a:lumMod val="90000"/>
                </a:schemeClr>
              </a:solidFill>
            </p:grpSpPr>
            <p:sp>
              <p:nvSpPr>
                <p:cNvPr id="360" name="Forma libre: forma 364">
                  <a:extLst>
                    <a:ext uri="{FF2B5EF4-FFF2-40B4-BE49-F238E27FC236}">
                      <a16:creationId xmlns:a16="http://schemas.microsoft.com/office/drawing/2014/main" id="{58EC5404-9328-473B-A944-86DF84DF7676}"/>
                    </a:ext>
                  </a:extLst>
                </p:cNvPr>
                <p:cNvSpPr/>
                <p:nvPr/>
              </p:nvSpPr>
              <p:spPr>
                <a:xfrm>
                  <a:off x="6501609" y="1002273"/>
                  <a:ext cx="36562" cy="8621"/>
                </a:xfrm>
                <a:custGeom>
                  <a:avLst/>
                  <a:gdLst>
                    <a:gd name="connsiteX0" fmla="*/ 603 w 36562"/>
                    <a:gd name="connsiteY0" fmla="*/ 18 h 8621"/>
                    <a:gd name="connsiteX1" fmla="*/ 31027 w 36562"/>
                    <a:gd name="connsiteY1" fmla="*/ 5088 h 8621"/>
                    <a:gd name="connsiteX2" fmla="*/ 36097 w 36562"/>
                    <a:gd name="connsiteY2" fmla="*/ 8469 h 8621"/>
                    <a:gd name="connsiteX3" fmla="*/ 10744 w 36562"/>
                    <a:gd name="connsiteY3" fmla="*/ 6778 h 8621"/>
                    <a:gd name="connsiteX4" fmla="*/ 603 w 36562"/>
                    <a:gd name="connsiteY4" fmla="*/ 18 h 8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62" h="8621">
                      <a:moveTo>
                        <a:pt x="603" y="18"/>
                      </a:moveTo>
                      <a:cubicBezTo>
                        <a:pt x="3983" y="-264"/>
                        <a:pt x="21025" y="2707"/>
                        <a:pt x="31027" y="5088"/>
                      </a:cubicBezTo>
                      <a:cubicBezTo>
                        <a:pt x="33003" y="5558"/>
                        <a:pt x="38121" y="8300"/>
                        <a:pt x="36097" y="8469"/>
                      </a:cubicBezTo>
                      <a:cubicBezTo>
                        <a:pt x="27656" y="9172"/>
                        <a:pt x="19201" y="7248"/>
                        <a:pt x="10744" y="6778"/>
                      </a:cubicBezTo>
                      <a:cubicBezTo>
                        <a:pt x="9057" y="6684"/>
                        <a:pt x="-2777" y="300"/>
                        <a:pt x="603" y="18"/>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61" name="Forma libre: forma 365">
                  <a:extLst>
                    <a:ext uri="{FF2B5EF4-FFF2-40B4-BE49-F238E27FC236}">
                      <a16:creationId xmlns:a16="http://schemas.microsoft.com/office/drawing/2014/main" id="{200387D5-B931-4EDF-AC5B-CBAC88DA9F3B}"/>
                    </a:ext>
                  </a:extLst>
                </p:cNvPr>
                <p:cNvSpPr/>
                <p:nvPr/>
              </p:nvSpPr>
              <p:spPr>
                <a:xfrm>
                  <a:off x="6174313" y="1462375"/>
                  <a:ext cx="43984" cy="41906"/>
                </a:xfrm>
                <a:custGeom>
                  <a:avLst/>
                  <a:gdLst>
                    <a:gd name="connsiteX0" fmla="*/ 15212 w 43984"/>
                    <a:gd name="connsiteY0" fmla="*/ 1341 h 41906"/>
                    <a:gd name="connsiteX1" fmla="*/ 6761 w 43984"/>
                    <a:gd name="connsiteY1" fmla="*/ 3031 h 41906"/>
                    <a:gd name="connsiteX2" fmla="*/ 0 w 43984"/>
                    <a:gd name="connsiteY2" fmla="*/ 11482 h 41906"/>
                    <a:gd name="connsiteX3" fmla="*/ 6761 w 43984"/>
                    <a:gd name="connsiteY3" fmla="*/ 25004 h 41906"/>
                    <a:gd name="connsiteX4" fmla="*/ 13521 w 43984"/>
                    <a:gd name="connsiteY4" fmla="*/ 26694 h 41906"/>
                    <a:gd name="connsiteX5" fmla="*/ 32114 w 43984"/>
                    <a:gd name="connsiteY5" fmla="*/ 36835 h 41906"/>
                    <a:gd name="connsiteX6" fmla="*/ 35494 w 43984"/>
                    <a:gd name="connsiteY6" fmla="*/ 40216 h 41906"/>
                    <a:gd name="connsiteX7" fmla="*/ 42255 w 43984"/>
                    <a:gd name="connsiteY7" fmla="*/ 41906 h 41906"/>
                    <a:gd name="connsiteX8" fmla="*/ 43945 w 43984"/>
                    <a:gd name="connsiteY8" fmla="*/ 36835 h 41906"/>
                    <a:gd name="connsiteX9" fmla="*/ 40565 w 43984"/>
                    <a:gd name="connsiteY9" fmla="*/ 31765 h 41906"/>
                    <a:gd name="connsiteX10" fmla="*/ 28733 w 43984"/>
                    <a:gd name="connsiteY10" fmla="*/ 23314 h 41906"/>
                    <a:gd name="connsiteX11" fmla="*/ 15212 w 43984"/>
                    <a:gd name="connsiteY11" fmla="*/ 1341 h 419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3984" h="41906">
                      <a:moveTo>
                        <a:pt x="15212" y="1341"/>
                      </a:moveTo>
                      <a:cubicBezTo>
                        <a:pt x="11550" y="-2040"/>
                        <a:pt x="9401" y="1899"/>
                        <a:pt x="6761" y="3031"/>
                      </a:cubicBezTo>
                      <a:cubicBezTo>
                        <a:pt x="4513" y="3994"/>
                        <a:pt x="990" y="9997"/>
                        <a:pt x="0" y="11482"/>
                      </a:cubicBezTo>
                      <a:cubicBezTo>
                        <a:pt x="2254" y="15989"/>
                        <a:pt x="3413" y="21237"/>
                        <a:pt x="6761" y="25004"/>
                      </a:cubicBezTo>
                      <a:cubicBezTo>
                        <a:pt x="8304" y="26740"/>
                        <a:pt x="11364" y="25831"/>
                        <a:pt x="13521" y="26694"/>
                      </a:cubicBezTo>
                      <a:cubicBezTo>
                        <a:pt x="17544" y="28303"/>
                        <a:pt x="28294" y="34106"/>
                        <a:pt x="32114" y="36835"/>
                      </a:cubicBezTo>
                      <a:cubicBezTo>
                        <a:pt x="33411" y="37761"/>
                        <a:pt x="34069" y="39503"/>
                        <a:pt x="35494" y="40216"/>
                      </a:cubicBezTo>
                      <a:cubicBezTo>
                        <a:pt x="37572" y="41255"/>
                        <a:pt x="40001" y="41343"/>
                        <a:pt x="42255" y="41906"/>
                      </a:cubicBezTo>
                      <a:cubicBezTo>
                        <a:pt x="42818" y="40216"/>
                        <a:pt x="44238" y="38592"/>
                        <a:pt x="43945" y="36835"/>
                      </a:cubicBezTo>
                      <a:cubicBezTo>
                        <a:pt x="43611" y="34832"/>
                        <a:pt x="42001" y="33201"/>
                        <a:pt x="40565" y="31765"/>
                      </a:cubicBezTo>
                      <a:cubicBezTo>
                        <a:pt x="38465" y="29665"/>
                        <a:pt x="31615" y="25235"/>
                        <a:pt x="28733" y="23314"/>
                      </a:cubicBezTo>
                      <a:cubicBezTo>
                        <a:pt x="25974" y="15036"/>
                        <a:pt x="18874" y="4722"/>
                        <a:pt x="15212" y="1341"/>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62" name="Forma libre: forma 366">
                  <a:extLst>
                    <a:ext uri="{FF2B5EF4-FFF2-40B4-BE49-F238E27FC236}">
                      <a16:creationId xmlns:a16="http://schemas.microsoft.com/office/drawing/2014/main" id="{FD94BF85-44AA-4DF0-82DC-D19B4AF24C02}"/>
                    </a:ext>
                  </a:extLst>
                </p:cNvPr>
                <p:cNvSpPr/>
                <p:nvPr/>
              </p:nvSpPr>
              <p:spPr>
                <a:xfrm>
                  <a:off x="5481327" y="558495"/>
                  <a:ext cx="3830903" cy="4401009"/>
                </a:xfrm>
                <a:custGeom>
                  <a:avLst/>
                  <a:gdLst>
                    <a:gd name="connsiteX0" fmla="*/ 3303979 w 3830903"/>
                    <a:gd name="connsiteY0" fmla="*/ 4248325 h 4401009"/>
                    <a:gd name="connsiteX1" fmla="*/ 3303762 w 3830903"/>
                    <a:gd name="connsiteY1" fmla="*/ 4248470 h 4401009"/>
                    <a:gd name="connsiteX2" fmla="*/ 3301903 w 3830903"/>
                    <a:gd name="connsiteY2" fmla="*/ 4248833 h 4401009"/>
                    <a:gd name="connsiteX3" fmla="*/ 2098712 w 3830903"/>
                    <a:gd name="connsiteY3" fmla="*/ 4203075 h 4401009"/>
                    <a:gd name="connsiteX4" fmla="*/ 2099886 w 3830903"/>
                    <a:gd name="connsiteY4" fmla="*/ 4204836 h 4401009"/>
                    <a:gd name="connsiteX5" fmla="*/ 2090349 w 3830903"/>
                    <a:gd name="connsiteY5" fmla="*/ 4208650 h 4401009"/>
                    <a:gd name="connsiteX6" fmla="*/ 2098712 w 3830903"/>
                    <a:gd name="connsiteY6" fmla="*/ 4203075 h 4401009"/>
                    <a:gd name="connsiteX7" fmla="*/ 3395042 w 3830903"/>
                    <a:gd name="connsiteY7" fmla="*/ 3469882 h 4401009"/>
                    <a:gd name="connsiteX8" fmla="*/ 3408981 w 3830903"/>
                    <a:gd name="connsiteY8" fmla="*/ 3492184 h 4401009"/>
                    <a:gd name="connsiteX9" fmla="*/ 3403405 w 3830903"/>
                    <a:gd name="connsiteY9" fmla="*/ 3478245 h 4401009"/>
                    <a:gd name="connsiteX10" fmla="*/ 3395042 w 3830903"/>
                    <a:gd name="connsiteY10" fmla="*/ 3475458 h 4401009"/>
                    <a:gd name="connsiteX11" fmla="*/ 3389581 w 3830903"/>
                    <a:gd name="connsiteY11" fmla="*/ 3471787 h 4401009"/>
                    <a:gd name="connsiteX12" fmla="*/ 3133016 w 3830903"/>
                    <a:gd name="connsiteY12" fmla="*/ 2427197 h 4401009"/>
                    <a:gd name="connsiteX13" fmla="*/ 3135776 w 3830903"/>
                    <a:gd name="connsiteY13" fmla="*/ 2427243 h 4401009"/>
                    <a:gd name="connsiteX14" fmla="*/ 3105110 w 3830903"/>
                    <a:gd name="connsiteY14" fmla="*/ 2430031 h 4401009"/>
                    <a:gd name="connsiteX15" fmla="*/ 3132988 w 3830903"/>
                    <a:gd name="connsiteY15" fmla="*/ 2427243 h 4401009"/>
                    <a:gd name="connsiteX16" fmla="*/ 3133016 w 3830903"/>
                    <a:gd name="connsiteY16" fmla="*/ 2427197 h 4401009"/>
                    <a:gd name="connsiteX17" fmla="*/ 1201429 w 3830903"/>
                    <a:gd name="connsiteY17" fmla="*/ 525806 h 4401009"/>
                    <a:gd name="connsiteX18" fmla="*/ 1201462 w 3830903"/>
                    <a:gd name="connsiteY18" fmla="*/ 525823 h 4401009"/>
                    <a:gd name="connsiteX19" fmla="*/ 1201471 w 3830903"/>
                    <a:gd name="connsiteY19" fmla="*/ 525891 h 4401009"/>
                    <a:gd name="connsiteX20" fmla="*/ 1201429 w 3830903"/>
                    <a:gd name="connsiteY20" fmla="*/ 525806 h 4401009"/>
                    <a:gd name="connsiteX21" fmla="*/ 305657 w 3830903"/>
                    <a:gd name="connsiteY21" fmla="*/ 262606 h 4401009"/>
                    <a:gd name="connsiteX22" fmla="*/ 304837 w 3830903"/>
                    <a:gd name="connsiteY22" fmla="*/ 266706 h 4401009"/>
                    <a:gd name="connsiteX23" fmla="*/ 303871 w 3830903"/>
                    <a:gd name="connsiteY23" fmla="*/ 268080 h 4401009"/>
                    <a:gd name="connsiteX24" fmla="*/ 303240 w 3830903"/>
                    <a:gd name="connsiteY24" fmla="*/ 265282 h 4401009"/>
                    <a:gd name="connsiteX25" fmla="*/ 1409367 w 3830903"/>
                    <a:gd name="connsiteY25" fmla="*/ 0 h 4401009"/>
                    <a:gd name="connsiteX26" fmla="*/ 3830903 w 3830903"/>
                    <a:gd name="connsiteY26" fmla="*/ 0 h 4401009"/>
                    <a:gd name="connsiteX27" fmla="*/ 3830903 w 3830903"/>
                    <a:gd name="connsiteY27" fmla="*/ 1239845 h 4401009"/>
                    <a:gd name="connsiteX28" fmla="*/ 3829690 w 3830903"/>
                    <a:gd name="connsiteY28" fmla="*/ 1239845 h 4401009"/>
                    <a:gd name="connsiteX29" fmla="*/ 3830902 w 3830903"/>
                    <a:gd name="connsiteY29" fmla="*/ 1327925 h 4401009"/>
                    <a:gd name="connsiteX30" fmla="*/ 3793540 w 3830903"/>
                    <a:gd name="connsiteY30" fmla="*/ 1327925 h 4401009"/>
                    <a:gd name="connsiteX31" fmla="*/ 3790911 w 3830903"/>
                    <a:gd name="connsiteY31" fmla="*/ 1339999 h 4401009"/>
                    <a:gd name="connsiteX32" fmla="*/ 3763033 w 3830903"/>
                    <a:gd name="connsiteY32" fmla="*/ 1345575 h 4401009"/>
                    <a:gd name="connsiteX33" fmla="*/ 3760245 w 3830903"/>
                    <a:gd name="connsiteY33" fmla="*/ 1362302 h 4401009"/>
                    <a:gd name="connsiteX34" fmla="*/ 3754670 w 3830903"/>
                    <a:gd name="connsiteY34" fmla="*/ 1373453 h 4401009"/>
                    <a:gd name="connsiteX35" fmla="*/ 3751882 w 3830903"/>
                    <a:gd name="connsiteY35" fmla="*/ 1384604 h 4401009"/>
                    <a:gd name="connsiteX36" fmla="*/ 3737943 w 3830903"/>
                    <a:gd name="connsiteY36" fmla="*/ 1390180 h 4401009"/>
                    <a:gd name="connsiteX37" fmla="*/ 3729579 w 3830903"/>
                    <a:gd name="connsiteY37" fmla="*/ 1392967 h 4401009"/>
                    <a:gd name="connsiteX38" fmla="*/ 3715640 w 3830903"/>
                    <a:gd name="connsiteY38" fmla="*/ 1401331 h 4401009"/>
                    <a:gd name="connsiteX39" fmla="*/ 3701701 w 3830903"/>
                    <a:gd name="connsiteY39" fmla="*/ 1404119 h 4401009"/>
                    <a:gd name="connsiteX40" fmla="*/ 3684974 w 3830903"/>
                    <a:gd name="connsiteY40" fmla="*/ 1423633 h 4401009"/>
                    <a:gd name="connsiteX41" fmla="*/ 3693338 w 3830903"/>
                    <a:gd name="connsiteY41" fmla="*/ 1440360 h 4401009"/>
                    <a:gd name="connsiteX42" fmla="*/ 3704489 w 3830903"/>
                    <a:gd name="connsiteY42" fmla="*/ 1445936 h 4401009"/>
                    <a:gd name="connsiteX43" fmla="*/ 3718428 w 3830903"/>
                    <a:gd name="connsiteY43" fmla="*/ 1451511 h 4401009"/>
                    <a:gd name="connsiteX44" fmla="*/ 3726792 w 3830903"/>
                    <a:gd name="connsiteY44" fmla="*/ 1459875 h 4401009"/>
                    <a:gd name="connsiteX45" fmla="*/ 3728484 w 3830903"/>
                    <a:gd name="connsiteY45" fmla="*/ 1475108 h 4401009"/>
                    <a:gd name="connsiteX46" fmla="*/ 3715640 w 3830903"/>
                    <a:gd name="connsiteY46" fmla="*/ 1479389 h 4401009"/>
                    <a:gd name="connsiteX47" fmla="*/ 3721216 w 3830903"/>
                    <a:gd name="connsiteY47" fmla="*/ 1487753 h 4401009"/>
                    <a:gd name="connsiteX48" fmla="*/ 3729579 w 3830903"/>
                    <a:gd name="connsiteY48" fmla="*/ 1484965 h 4401009"/>
                    <a:gd name="connsiteX49" fmla="*/ 3728484 w 3830903"/>
                    <a:gd name="connsiteY49" fmla="*/ 1475108 h 4401009"/>
                    <a:gd name="connsiteX50" fmla="*/ 3732367 w 3830903"/>
                    <a:gd name="connsiteY50" fmla="*/ 1473814 h 4401009"/>
                    <a:gd name="connsiteX51" fmla="*/ 3749094 w 3830903"/>
                    <a:gd name="connsiteY51" fmla="*/ 1471026 h 4401009"/>
                    <a:gd name="connsiteX52" fmla="*/ 3785335 w 3830903"/>
                    <a:gd name="connsiteY52" fmla="*/ 1451511 h 4401009"/>
                    <a:gd name="connsiteX53" fmla="*/ 3788123 w 3830903"/>
                    <a:gd name="connsiteY53" fmla="*/ 1468238 h 4401009"/>
                    <a:gd name="connsiteX54" fmla="*/ 3785335 w 3830903"/>
                    <a:gd name="connsiteY54" fmla="*/ 1482177 h 4401009"/>
                    <a:gd name="connsiteX55" fmla="*/ 3782548 w 3830903"/>
                    <a:gd name="connsiteY55" fmla="*/ 1490541 h 4401009"/>
                    <a:gd name="connsiteX56" fmla="*/ 3768609 w 3830903"/>
                    <a:gd name="connsiteY56" fmla="*/ 1512843 h 4401009"/>
                    <a:gd name="connsiteX57" fmla="*/ 3802062 w 3830903"/>
                    <a:gd name="connsiteY57" fmla="*/ 1518419 h 4401009"/>
                    <a:gd name="connsiteX58" fmla="*/ 3802223 w 3830903"/>
                    <a:gd name="connsiteY58" fmla="*/ 1518941 h 4401009"/>
                    <a:gd name="connsiteX59" fmla="*/ 3830902 w 3830903"/>
                    <a:gd name="connsiteY59" fmla="*/ 1518941 h 4401009"/>
                    <a:gd name="connsiteX60" fmla="*/ 3830902 w 3830903"/>
                    <a:gd name="connsiteY60" fmla="*/ 2055091 h 4401009"/>
                    <a:gd name="connsiteX61" fmla="*/ 3792991 w 3830903"/>
                    <a:gd name="connsiteY61" fmla="*/ 2055091 h 4401009"/>
                    <a:gd name="connsiteX62" fmla="*/ 3788122 w 3830903"/>
                    <a:gd name="connsiteY62" fmla="*/ 2064828 h 4401009"/>
                    <a:gd name="connsiteX63" fmla="*/ 3765820 w 3830903"/>
                    <a:gd name="connsiteY63" fmla="*/ 2087131 h 4401009"/>
                    <a:gd name="connsiteX64" fmla="*/ 3768608 w 3830903"/>
                    <a:gd name="connsiteY64" fmla="*/ 2109433 h 4401009"/>
                    <a:gd name="connsiteX65" fmla="*/ 3760244 w 3830903"/>
                    <a:gd name="connsiteY65" fmla="*/ 2128948 h 4401009"/>
                    <a:gd name="connsiteX66" fmla="*/ 3757456 w 3830903"/>
                    <a:gd name="connsiteY66" fmla="*/ 2137311 h 4401009"/>
                    <a:gd name="connsiteX67" fmla="*/ 3746305 w 3830903"/>
                    <a:gd name="connsiteY67" fmla="*/ 2131736 h 4401009"/>
                    <a:gd name="connsiteX68" fmla="*/ 3721215 w 3830903"/>
                    <a:gd name="connsiteY68" fmla="*/ 2128948 h 4401009"/>
                    <a:gd name="connsiteX69" fmla="*/ 3701700 w 3830903"/>
                    <a:gd name="connsiteY69" fmla="*/ 2131736 h 4401009"/>
                    <a:gd name="connsiteX70" fmla="*/ 3679398 w 3830903"/>
                    <a:gd name="connsiteY70" fmla="*/ 2134524 h 4401009"/>
                    <a:gd name="connsiteX71" fmla="*/ 3676610 w 3830903"/>
                    <a:gd name="connsiteY71" fmla="*/ 2151250 h 4401009"/>
                    <a:gd name="connsiteX72" fmla="*/ 3671034 w 3830903"/>
                    <a:gd name="connsiteY72" fmla="*/ 2162402 h 4401009"/>
                    <a:gd name="connsiteX73" fmla="*/ 3657095 w 3830903"/>
                    <a:gd name="connsiteY73" fmla="*/ 2167977 h 4401009"/>
                    <a:gd name="connsiteX74" fmla="*/ 3659883 w 3830903"/>
                    <a:gd name="connsiteY74" fmla="*/ 2184704 h 4401009"/>
                    <a:gd name="connsiteX75" fmla="*/ 3654308 w 3830903"/>
                    <a:gd name="connsiteY75" fmla="*/ 2198643 h 4401009"/>
                    <a:gd name="connsiteX76" fmla="*/ 3645944 w 3830903"/>
                    <a:gd name="connsiteY76" fmla="*/ 2201431 h 4401009"/>
                    <a:gd name="connsiteX77" fmla="*/ 3640369 w 3830903"/>
                    <a:gd name="connsiteY77" fmla="*/ 2209794 h 4401009"/>
                    <a:gd name="connsiteX78" fmla="*/ 3643156 w 3830903"/>
                    <a:gd name="connsiteY78" fmla="*/ 2218158 h 4401009"/>
                    <a:gd name="connsiteX79" fmla="*/ 3648732 w 3830903"/>
                    <a:gd name="connsiteY79" fmla="*/ 2226521 h 4401009"/>
                    <a:gd name="connsiteX80" fmla="*/ 3645944 w 3830903"/>
                    <a:gd name="connsiteY80" fmla="*/ 2273914 h 4401009"/>
                    <a:gd name="connsiteX81" fmla="*/ 3643156 w 3830903"/>
                    <a:gd name="connsiteY81" fmla="*/ 2290641 h 4401009"/>
                    <a:gd name="connsiteX82" fmla="*/ 3609703 w 3830903"/>
                    <a:gd name="connsiteY82" fmla="*/ 2307367 h 4401009"/>
                    <a:gd name="connsiteX83" fmla="*/ 3595764 w 3830903"/>
                    <a:gd name="connsiteY83" fmla="*/ 2304580 h 4401009"/>
                    <a:gd name="connsiteX84" fmla="*/ 3517705 w 3830903"/>
                    <a:gd name="connsiteY84" fmla="*/ 2299004 h 4401009"/>
                    <a:gd name="connsiteX85" fmla="*/ 3506554 w 3830903"/>
                    <a:gd name="connsiteY85" fmla="*/ 2304580 h 4401009"/>
                    <a:gd name="connsiteX86" fmla="*/ 3514917 w 3830903"/>
                    <a:gd name="connsiteY86" fmla="*/ 2324094 h 4401009"/>
                    <a:gd name="connsiteX87" fmla="*/ 3534432 w 3830903"/>
                    <a:gd name="connsiteY87" fmla="*/ 2340821 h 4401009"/>
                    <a:gd name="connsiteX88" fmla="*/ 3545583 w 3830903"/>
                    <a:gd name="connsiteY88" fmla="*/ 2349184 h 4401009"/>
                    <a:gd name="connsiteX89" fmla="*/ 3542795 w 3830903"/>
                    <a:gd name="connsiteY89" fmla="*/ 2377063 h 4401009"/>
                    <a:gd name="connsiteX90" fmla="*/ 3523281 w 3830903"/>
                    <a:gd name="connsiteY90" fmla="*/ 2379850 h 4401009"/>
                    <a:gd name="connsiteX91" fmla="*/ 3514917 w 3830903"/>
                    <a:gd name="connsiteY91" fmla="*/ 2374275 h 4401009"/>
                    <a:gd name="connsiteX92" fmla="*/ 3506554 w 3830903"/>
                    <a:gd name="connsiteY92" fmla="*/ 2335245 h 4401009"/>
                    <a:gd name="connsiteX93" fmla="*/ 3503766 w 3830903"/>
                    <a:gd name="connsiteY93" fmla="*/ 2326882 h 4401009"/>
                    <a:gd name="connsiteX94" fmla="*/ 3500978 w 3830903"/>
                    <a:gd name="connsiteY94" fmla="*/ 2335245 h 4401009"/>
                    <a:gd name="connsiteX95" fmla="*/ 3475888 w 3830903"/>
                    <a:gd name="connsiteY95" fmla="*/ 2340821 h 4401009"/>
                    <a:gd name="connsiteX96" fmla="*/ 3459161 w 3830903"/>
                    <a:gd name="connsiteY96" fmla="*/ 2335245 h 4401009"/>
                    <a:gd name="connsiteX97" fmla="*/ 3439647 w 3830903"/>
                    <a:gd name="connsiteY97" fmla="*/ 2324094 h 4401009"/>
                    <a:gd name="connsiteX98" fmla="*/ 3411769 w 3830903"/>
                    <a:gd name="connsiteY98" fmla="*/ 2318519 h 4401009"/>
                    <a:gd name="connsiteX99" fmla="*/ 3392254 w 3830903"/>
                    <a:gd name="connsiteY99" fmla="*/ 2335245 h 4401009"/>
                    <a:gd name="connsiteX100" fmla="*/ 3383891 w 3830903"/>
                    <a:gd name="connsiteY100" fmla="*/ 2329670 h 4401009"/>
                    <a:gd name="connsiteX101" fmla="*/ 3372739 w 3830903"/>
                    <a:gd name="connsiteY101" fmla="*/ 2310155 h 4401009"/>
                    <a:gd name="connsiteX102" fmla="*/ 3347649 w 3830903"/>
                    <a:gd name="connsiteY102" fmla="*/ 2307367 h 4401009"/>
                    <a:gd name="connsiteX103" fmla="*/ 3316983 w 3830903"/>
                    <a:gd name="connsiteY103" fmla="*/ 2324094 h 4401009"/>
                    <a:gd name="connsiteX104" fmla="*/ 3311408 w 3830903"/>
                    <a:gd name="connsiteY104" fmla="*/ 2332458 h 4401009"/>
                    <a:gd name="connsiteX105" fmla="*/ 3303044 w 3830903"/>
                    <a:gd name="connsiteY105" fmla="*/ 2338033 h 4401009"/>
                    <a:gd name="connsiteX106" fmla="*/ 3294681 w 3830903"/>
                    <a:gd name="connsiteY106" fmla="*/ 2346397 h 4401009"/>
                    <a:gd name="connsiteX107" fmla="*/ 3277954 w 3830903"/>
                    <a:gd name="connsiteY107" fmla="*/ 2354760 h 4401009"/>
                    <a:gd name="connsiteX108" fmla="*/ 3266803 w 3830903"/>
                    <a:gd name="connsiteY108" fmla="*/ 2363124 h 4401009"/>
                    <a:gd name="connsiteX109" fmla="*/ 3244500 w 3830903"/>
                    <a:gd name="connsiteY109" fmla="*/ 2335245 h 4401009"/>
                    <a:gd name="connsiteX110" fmla="*/ 3243412 w 3830903"/>
                    <a:gd name="connsiteY110" fmla="*/ 2334429 h 4401009"/>
                    <a:gd name="connsiteX111" fmla="*/ 3244431 w 3830903"/>
                    <a:gd name="connsiteY111" fmla="*/ 2334497 h 4401009"/>
                    <a:gd name="connsiteX112" fmla="*/ 3252864 w 3830903"/>
                    <a:gd name="connsiteY112" fmla="*/ 2340821 h 4401009"/>
                    <a:gd name="connsiteX113" fmla="*/ 3275166 w 3830903"/>
                    <a:gd name="connsiteY113" fmla="*/ 2346397 h 4401009"/>
                    <a:gd name="connsiteX114" fmla="*/ 3255651 w 3830903"/>
                    <a:gd name="connsiteY114" fmla="*/ 2335245 h 4401009"/>
                    <a:gd name="connsiteX115" fmla="*/ 3244431 w 3830903"/>
                    <a:gd name="connsiteY115" fmla="*/ 2334497 h 4401009"/>
                    <a:gd name="connsiteX116" fmla="*/ 3241712 w 3830903"/>
                    <a:gd name="connsiteY116" fmla="*/ 2332458 h 4401009"/>
                    <a:gd name="connsiteX117" fmla="*/ 3233349 w 3830903"/>
                    <a:gd name="connsiteY117" fmla="*/ 2326882 h 4401009"/>
                    <a:gd name="connsiteX118" fmla="*/ 3243412 w 3830903"/>
                    <a:gd name="connsiteY118" fmla="*/ 2334429 h 4401009"/>
                    <a:gd name="connsiteX119" fmla="*/ 3213834 w 3830903"/>
                    <a:gd name="connsiteY119" fmla="*/ 2332458 h 4401009"/>
                    <a:gd name="connsiteX120" fmla="*/ 3197108 w 3830903"/>
                    <a:gd name="connsiteY120" fmla="*/ 2363124 h 4401009"/>
                    <a:gd name="connsiteX121" fmla="*/ 3180381 w 3830903"/>
                    <a:gd name="connsiteY121" fmla="*/ 2374275 h 4401009"/>
                    <a:gd name="connsiteX122" fmla="*/ 3174805 w 3830903"/>
                    <a:gd name="connsiteY122" fmla="*/ 2385426 h 4401009"/>
                    <a:gd name="connsiteX123" fmla="*/ 3183169 w 3830903"/>
                    <a:gd name="connsiteY123" fmla="*/ 2388214 h 4401009"/>
                    <a:gd name="connsiteX124" fmla="*/ 3191532 w 3830903"/>
                    <a:gd name="connsiteY124" fmla="*/ 2393789 h 4401009"/>
                    <a:gd name="connsiteX125" fmla="*/ 3185956 w 3830903"/>
                    <a:gd name="connsiteY125" fmla="*/ 2416092 h 4401009"/>
                    <a:gd name="connsiteX126" fmla="*/ 3169230 w 3830903"/>
                    <a:gd name="connsiteY126" fmla="*/ 2427243 h 4401009"/>
                    <a:gd name="connsiteX127" fmla="*/ 3149715 w 3830903"/>
                    <a:gd name="connsiteY127" fmla="*/ 2418880 h 4401009"/>
                    <a:gd name="connsiteX128" fmla="*/ 3141351 w 3830903"/>
                    <a:gd name="connsiteY128" fmla="*/ 2413304 h 4401009"/>
                    <a:gd name="connsiteX129" fmla="*/ 3133016 w 3830903"/>
                    <a:gd name="connsiteY129" fmla="*/ 2427197 h 4401009"/>
                    <a:gd name="connsiteX130" fmla="*/ 3110925 w 3830903"/>
                    <a:gd name="connsiteY130" fmla="*/ 2426829 h 4401009"/>
                    <a:gd name="connsiteX131" fmla="*/ 3074444 w 3830903"/>
                    <a:gd name="connsiteY131" fmla="*/ 2488575 h 4401009"/>
                    <a:gd name="connsiteX132" fmla="*/ 3080020 w 3830903"/>
                    <a:gd name="connsiteY132" fmla="*/ 2505302 h 4401009"/>
                    <a:gd name="connsiteX133" fmla="*/ 3071656 w 3830903"/>
                    <a:gd name="connsiteY133" fmla="*/ 2530392 h 4401009"/>
                    <a:gd name="connsiteX134" fmla="*/ 3057717 w 3830903"/>
                    <a:gd name="connsiteY134" fmla="*/ 2533180 h 4401009"/>
                    <a:gd name="connsiteX135" fmla="*/ 3049354 w 3830903"/>
                    <a:gd name="connsiteY135" fmla="*/ 2552694 h 4401009"/>
                    <a:gd name="connsiteX136" fmla="*/ 3046566 w 3830903"/>
                    <a:gd name="connsiteY136" fmla="*/ 2616814 h 4401009"/>
                    <a:gd name="connsiteX137" fmla="*/ 3032627 w 3830903"/>
                    <a:gd name="connsiteY137" fmla="*/ 2619602 h 4401009"/>
                    <a:gd name="connsiteX138" fmla="*/ 3018688 w 3830903"/>
                    <a:gd name="connsiteY138" fmla="*/ 2630753 h 4401009"/>
                    <a:gd name="connsiteX139" fmla="*/ 3024264 w 3830903"/>
                    <a:gd name="connsiteY139" fmla="*/ 2653055 h 4401009"/>
                    <a:gd name="connsiteX140" fmla="*/ 3035415 w 3830903"/>
                    <a:gd name="connsiteY140" fmla="*/ 2666994 h 4401009"/>
                    <a:gd name="connsiteX141" fmla="*/ 3024264 w 3830903"/>
                    <a:gd name="connsiteY141" fmla="*/ 2669782 h 4401009"/>
                    <a:gd name="connsiteX142" fmla="*/ 3021476 w 3830903"/>
                    <a:gd name="connsiteY142" fmla="*/ 2697660 h 4401009"/>
                    <a:gd name="connsiteX143" fmla="*/ 3018688 w 3830903"/>
                    <a:gd name="connsiteY143" fmla="*/ 2708811 h 4401009"/>
                    <a:gd name="connsiteX144" fmla="*/ 3001961 w 3830903"/>
                    <a:gd name="connsiteY144" fmla="*/ 2714387 h 4401009"/>
                    <a:gd name="connsiteX145" fmla="*/ 2999173 w 3830903"/>
                    <a:gd name="connsiteY145" fmla="*/ 2742265 h 4401009"/>
                    <a:gd name="connsiteX146" fmla="*/ 3004749 w 3830903"/>
                    <a:gd name="connsiteY146" fmla="*/ 2750628 h 4401009"/>
                    <a:gd name="connsiteX147" fmla="*/ 3013112 w 3830903"/>
                    <a:gd name="connsiteY147" fmla="*/ 2761780 h 4401009"/>
                    <a:gd name="connsiteX148" fmla="*/ 3018688 w 3830903"/>
                    <a:gd name="connsiteY148" fmla="*/ 2772931 h 4401009"/>
                    <a:gd name="connsiteX149" fmla="*/ 3038203 w 3830903"/>
                    <a:gd name="connsiteY149" fmla="*/ 2789658 h 4401009"/>
                    <a:gd name="connsiteX150" fmla="*/ 3046566 w 3830903"/>
                    <a:gd name="connsiteY150" fmla="*/ 2798021 h 4401009"/>
                    <a:gd name="connsiteX151" fmla="*/ 3063293 w 3830903"/>
                    <a:gd name="connsiteY151" fmla="*/ 2814748 h 4401009"/>
                    <a:gd name="connsiteX152" fmla="*/ 3060505 w 3830903"/>
                    <a:gd name="connsiteY152" fmla="*/ 2831475 h 4401009"/>
                    <a:gd name="connsiteX153" fmla="*/ 3057717 w 3830903"/>
                    <a:gd name="connsiteY153" fmla="*/ 2850989 h 4401009"/>
                    <a:gd name="connsiteX154" fmla="*/ 3054930 w 3830903"/>
                    <a:gd name="connsiteY154" fmla="*/ 2862141 h 4401009"/>
                    <a:gd name="connsiteX155" fmla="*/ 3040991 w 3830903"/>
                    <a:gd name="connsiteY155" fmla="*/ 2867716 h 4401009"/>
                    <a:gd name="connsiteX156" fmla="*/ 3013112 w 3830903"/>
                    <a:gd name="connsiteY156" fmla="*/ 2853777 h 4401009"/>
                    <a:gd name="connsiteX157" fmla="*/ 2974083 w 3830903"/>
                    <a:gd name="connsiteY157" fmla="*/ 2842626 h 4401009"/>
                    <a:gd name="connsiteX158" fmla="*/ 2943417 w 3830903"/>
                    <a:gd name="connsiteY158" fmla="*/ 2839838 h 4401009"/>
                    <a:gd name="connsiteX159" fmla="*/ 2923903 w 3830903"/>
                    <a:gd name="connsiteY159" fmla="*/ 2834263 h 4401009"/>
                    <a:gd name="connsiteX160" fmla="*/ 2901600 w 3830903"/>
                    <a:gd name="connsiteY160" fmla="*/ 2828687 h 4401009"/>
                    <a:gd name="connsiteX161" fmla="*/ 2893237 w 3830903"/>
                    <a:gd name="connsiteY161" fmla="*/ 2859353 h 4401009"/>
                    <a:gd name="connsiteX162" fmla="*/ 2896025 w 3830903"/>
                    <a:gd name="connsiteY162" fmla="*/ 2870504 h 4401009"/>
                    <a:gd name="connsiteX163" fmla="*/ 2898812 w 3830903"/>
                    <a:gd name="connsiteY163" fmla="*/ 2931836 h 4401009"/>
                    <a:gd name="connsiteX164" fmla="*/ 2896025 w 3830903"/>
                    <a:gd name="connsiteY164" fmla="*/ 2951350 h 4401009"/>
                    <a:gd name="connsiteX165" fmla="*/ 2901600 w 3830903"/>
                    <a:gd name="connsiteY165" fmla="*/ 2998744 h 4401009"/>
                    <a:gd name="connsiteX166" fmla="*/ 2904388 w 3830903"/>
                    <a:gd name="connsiteY166" fmla="*/ 3037772 h 4401009"/>
                    <a:gd name="connsiteX167" fmla="*/ 2912751 w 3830903"/>
                    <a:gd name="connsiteY167" fmla="*/ 3040560 h 4401009"/>
                    <a:gd name="connsiteX168" fmla="*/ 2946205 w 3830903"/>
                    <a:gd name="connsiteY168" fmla="*/ 3048924 h 4401009"/>
                    <a:gd name="connsiteX169" fmla="*/ 2962932 w 3830903"/>
                    <a:gd name="connsiteY169" fmla="*/ 3071226 h 4401009"/>
                    <a:gd name="connsiteX170" fmla="*/ 2954569 w 3830903"/>
                    <a:gd name="connsiteY170" fmla="*/ 3135345 h 4401009"/>
                    <a:gd name="connsiteX171" fmla="*/ 2960144 w 3830903"/>
                    <a:gd name="connsiteY171" fmla="*/ 3216192 h 4401009"/>
                    <a:gd name="connsiteX172" fmla="*/ 2971295 w 3830903"/>
                    <a:gd name="connsiteY172" fmla="*/ 3213404 h 4401009"/>
                    <a:gd name="connsiteX173" fmla="*/ 2979659 w 3830903"/>
                    <a:gd name="connsiteY173" fmla="*/ 3210616 h 4401009"/>
                    <a:gd name="connsiteX174" fmla="*/ 2993598 w 3830903"/>
                    <a:gd name="connsiteY174" fmla="*/ 3207828 h 4401009"/>
                    <a:gd name="connsiteX175" fmla="*/ 3004749 w 3830903"/>
                    <a:gd name="connsiteY175" fmla="*/ 3205041 h 4401009"/>
                    <a:gd name="connsiteX176" fmla="*/ 3029839 w 3830903"/>
                    <a:gd name="connsiteY176" fmla="*/ 3202253 h 4401009"/>
                    <a:gd name="connsiteX177" fmla="*/ 3049354 w 3830903"/>
                    <a:gd name="connsiteY177" fmla="*/ 3230131 h 4401009"/>
                    <a:gd name="connsiteX178" fmla="*/ 3052142 w 3830903"/>
                    <a:gd name="connsiteY178" fmla="*/ 3238494 h 4401009"/>
                    <a:gd name="connsiteX179" fmla="*/ 3057717 w 3830903"/>
                    <a:gd name="connsiteY179" fmla="*/ 3255221 h 4401009"/>
                    <a:gd name="connsiteX180" fmla="*/ 3077232 w 3830903"/>
                    <a:gd name="connsiteY180" fmla="*/ 3274736 h 4401009"/>
                    <a:gd name="connsiteX181" fmla="*/ 3077922 w 3830903"/>
                    <a:gd name="connsiteY181" fmla="*/ 3275698 h 4401009"/>
                    <a:gd name="connsiteX182" fmla="*/ 3066081 w 3830903"/>
                    <a:gd name="connsiteY182" fmla="*/ 3283099 h 4401009"/>
                    <a:gd name="connsiteX183" fmla="*/ 3052142 w 3830903"/>
                    <a:gd name="connsiteY183" fmla="*/ 3288675 h 4401009"/>
                    <a:gd name="connsiteX184" fmla="*/ 3066081 w 3830903"/>
                    <a:gd name="connsiteY184" fmla="*/ 3291463 h 4401009"/>
                    <a:gd name="connsiteX185" fmla="*/ 3082808 w 3830903"/>
                    <a:gd name="connsiteY185" fmla="*/ 3288675 h 4401009"/>
                    <a:gd name="connsiteX186" fmla="*/ 3082187 w 3830903"/>
                    <a:gd name="connsiteY186" fmla="*/ 3281645 h 4401009"/>
                    <a:gd name="connsiteX187" fmla="*/ 3077922 w 3830903"/>
                    <a:gd name="connsiteY187" fmla="*/ 3275698 h 4401009"/>
                    <a:gd name="connsiteX188" fmla="*/ 3110686 w 3830903"/>
                    <a:gd name="connsiteY188" fmla="*/ 3255221 h 4401009"/>
                    <a:gd name="connsiteX189" fmla="*/ 3124625 w 3830903"/>
                    <a:gd name="connsiteY189" fmla="*/ 3252433 h 4401009"/>
                    <a:gd name="connsiteX190" fmla="*/ 3135776 w 3830903"/>
                    <a:gd name="connsiteY190" fmla="*/ 3246858 h 4401009"/>
                    <a:gd name="connsiteX191" fmla="*/ 3155291 w 3830903"/>
                    <a:gd name="connsiteY191" fmla="*/ 3241282 h 4401009"/>
                    <a:gd name="connsiteX192" fmla="*/ 3172017 w 3830903"/>
                    <a:gd name="connsiteY192" fmla="*/ 3238494 h 4401009"/>
                    <a:gd name="connsiteX193" fmla="*/ 3177593 w 3830903"/>
                    <a:gd name="connsiteY193" fmla="*/ 3227343 h 4401009"/>
                    <a:gd name="connsiteX194" fmla="*/ 3205471 w 3830903"/>
                    <a:gd name="connsiteY194" fmla="*/ 3232919 h 4401009"/>
                    <a:gd name="connsiteX195" fmla="*/ 3211047 w 3830903"/>
                    <a:gd name="connsiteY195" fmla="*/ 3241282 h 4401009"/>
                    <a:gd name="connsiteX196" fmla="*/ 3258439 w 3830903"/>
                    <a:gd name="connsiteY196" fmla="*/ 3246858 h 4401009"/>
                    <a:gd name="connsiteX197" fmla="*/ 3266803 w 3830903"/>
                    <a:gd name="connsiteY197" fmla="*/ 3252433 h 4401009"/>
                    <a:gd name="connsiteX198" fmla="*/ 3277954 w 3830903"/>
                    <a:gd name="connsiteY198" fmla="*/ 3258009 h 4401009"/>
                    <a:gd name="connsiteX199" fmla="*/ 3286317 w 3830903"/>
                    <a:gd name="connsiteY199" fmla="*/ 3260797 h 4401009"/>
                    <a:gd name="connsiteX200" fmla="*/ 3289105 w 3830903"/>
                    <a:gd name="connsiteY200" fmla="*/ 3274736 h 4401009"/>
                    <a:gd name="connsiteX201" fmla="*/ 3297469 w 3830903"/>
                    <a:gd name="connsiteY201" fmla="*/ 3294250 h 4401009"/>
                    <a:gd name="connsiteX202" fmla="*/ 3319771 w 3830903"/>
                    <a:gd name="connsiteY202" fmla="*/ 3302614 h 4401009"/>
                    <a:gd name="connsiteX203" fmla="*/ 3330922 w 3830903"/>
                    <a:gd name="connsiteY203" fmla="*/ 3305402 h 4401009"/>
                    <a:gd name="connsiteX204" fmla="*/ 3339286 w 3830903"/>
                    <a:gd name="connsiteY204" fmla="*/ 3310977 h 4401009"/>
                    <a:gd name="connsiteX205" fmla="*/ 3350437 w 3830903"/>
                    <a:gd name="connsiteY205" fmla="*/ 3316553 h 4401009"/>
                    <a:gd name="connsiteX206" fmla="*/ 3364376 w 3830903"/>
                    <a:gd name="connsiteY206" fmla="*/ 3341643 h 4401009"/>
                    <a:gd name="connsiteX207" fmla="*/ 3356012 w 3830903"/>
                    <a:gd name="connsiteY207" fmla="*/ 3350006 h 4401009"/>
                    <a:gd name="connsiteX208" fmla="*/ 3344861 w 3830903"/>
                    <a:gd name="connsiteY208" fmla="*/ 3352794 h 4401009"/>
                    <a:gd name="connsiteX209" fmla="*/ 3336498 w 3830903"/>
                    <a:gd name="connsiteY209" fmla="*/ 3355582 h 4401009"/>
                    <a:gd name="connsiteX210" fmla="*/ 3336498 w 3830903"/>
                    <a:gd name="connsiteY210" fmla="*/ 3386248 h 4401009"/>
                    <a:gd name="connsiteX211" fmla="*/ 3375527 w 3830903"/>
                    <a:gd name="connsiteY211" fmla="*/ 3391824 h 4401009"/>
                    <a:gd name="connsiteX212" fmla="*/ 3397830 w 3830903"/>
                    <a:gd name="connsiteY212" fmla="*/ 3383460 h 4401009"/>
                    <a:gd name="connsiteX213" fmla="*/ 3428495 w 3830903"/>
                    <a:gd name="connsiteY213" fmla="*/ 3380672 h 4401009"/>
                    <a:gd name="connsiteX214" fmla="*/ 3417344 w 3830903"/>
                    <a:gd name="connsiteY214" fmla="*/ 3408550 h 4401009"/>
                    <a:gd name="connsiteX215" fmla="*/ 3414556 w 3830903"/>
                    <a:gd name="connsiteY215" fmla="*/ 3447580 h 4401009"/>
                    <a:gd name="connsiteX216" fmla="*/ 3389466 w 3830903"/>
                    <a:gd name="connsiteY216" fmla="*/ 3455943 h 4401009"/>
                    <a:gd name="connsiteX217" fmla="*/ 3378315 w 3830903"/>
                    <a:gd name="connsiteY217" fmla="*/ 3461519 h 4401009"/>
                    <a:gd name="connsiteX218" fmla="*/ 3385697 w 3830903"/>
                    <a:gd name="connsiteY218" fmla="*/ 3469176 h 4401009"/>
                    <a:gd name="connsiteX219" fmla="*/ 3389581 w 3830903"/>
                    <a:gd name="connsiteY219" fmla="*/ 3471787 h 4401009"/>
                    <a:gd name="connsiteX220" fmla="*/ 3385390 w 3830903"/>
                    <a:gd name="connsiteY220" fmla="*/ 3473250 h 4401009"/>
                    <a:gd name="connsiteX221" fmla="*/ 3383891 w 3830903"/>
                    <a:gd name="connsiteY221" fmla="*/ 3508911 h 4401009"/>
                    <a:gd name="connsiteX222" fmla="*/ 3381103 w 3830903"/>
                    <a:gd name="connsiteY222" fmla="*/ 3525638 h 4401009"/>
                    <a:gd name="connsiteX223" fmla="*/ 3367164 w 3830903"/>
                    <a:gd name="connsiteY223" fmla="*/ 3547941 h 4401009"/>
                    <a:gd name="connsiteX224" fmla="*/ 3356012 w 3830903"/>
                    <a:gd name="connsiteY224" fmla="*/ 3559092 h 4401009"/>
                    <a:gd name="connsiteX225" fmla="*/ 3342073 w 3830903"/>
                    <a:gd name="connsiteY225" fmla="*/ 3570243 h 4401009"/>
                    <a:gd name="connsiteX226" fmla="*/ 3322559 w 3830903"/>
                    <a:gd name="connsiteY226" fmla="*/ 3586970 h 4401009"/>
                    <a:gd name="connsiteX227" fmla="*/ 3289105 w 3830903"/>
                    <a:gd name="connsiteY227" fmla="*/ 3598121 h 4401009"/>
                    <a:gd name="connsiteX228" fmla="*/ 3314195 w 3830903"/>
                    <a:gd name="connsiteY228" fmla="*/ 3609272 h 4401009"/>
                    <a:gd name="connsiteX229" fmla="*/ 3319771 w 3830903"/>
                    <a:gd name="connsiteY229" fmla="*/ 3625999 h 4401009"/>
                    <a:gd name="connsiteX230" fmla="*/ 3316983 w 3830903"/>
                    <a:gd name="connsiteY230" fmla="*/ 3651089 h 4401009"/>
                    <a:gd name="connsiteX231" fmla="*/ 3311408 w 3830903"/>
                    <a:gd name="connsiteY231" fmla="*/ 3715209 h 4401009"/>
                    <a:gd name="connsiteX232" fmla="*/ 3314195 w 3830903"/>
                    <a:gd name="connsiteY232" fmla="*/ 3723572 h 4401009"/>
                    <a:gd name="connsiteX233" fmla="*/ 3319771 w 3830903"/>
                    <a:gd name="connsiteY233" fmla="*/ 3757026 h 4401009"/>
                    <a:gd name="connsiteX234" fmla="*/ 3311408 w 3830903"/>
                    <a:gd name="connsiteY234" fmla="*/ 3798843 h 4401009"/>
                    <a:gd name="connsiteX235" fmla="*/ 3314195 w 3830903"/>
                    <a:gd name="connsiteY235" fmla="*/ 3812782 h 4401009"/>
                    <a:gd name="connsiteX236" fmla="*/ 3364376 w 3830903"/>
                    <a:gd name="connsiteY236" fmla="*/ 3832297 h 4401009"/>
                    <a:gd name="connsiteX237" fmla="*/ 3378315 w 3830903"/>
                    <a:gd name="connsiteY237" fmla="*/ 3843448 h 4401009"/>
                    <a:gd name="connsiteX238" fmla="*/ 3422920 w 3830903"/>
                    <a:gd name="connsiteY238" fmla="*/ 3871326 h 4401009"/>
                    <a:gd name="connsiteX239" fmla="*/ 3442434 w 3830903"/>
                    <a:gd name="connsiteY239" fmla="*/ 3879689 h 4401009"/>
                    <a:gd name="connsiteX240" fmla="*/ 3448010 w 3830903"/>
                    <a:gd name="connsiteY240" fmla="*/ 3888053 h 4401009"/>
                    <a:gd name="connsiteX241" fmla="*/ 3464737 w 3830903"/>
                    <a:gd name="connsiteY241" fmla="*/ 3893628 h 4401009"/>
                    <a:gd name="connsiteX242" fmla="*/ 3467525 w 3830903"/>
                    <a:gd name="connsiteY242" fmla="*/ 3904780 h 4401009"/>
                    <a:gd name="connsiteX243" fmla="*/ 3475888 w 3830903"/>
                    <a:gd name="connsiteY243" fmla="*/ 3943809 h 4401009"/>
                    <a:gd name="connsiteX244" fmla="*/ 3509342 w 3830903"/>
                    <a:gd name="connsiteY244" fmla="*/ 3968899 h 4401009"/>
                    <a:gd name="connsiteX245" fmla="*/ 3517705 w 3830903"/>
                    <a:gd name="connsiteY245" fmla="*/ 4021867 h 4401009"/>
                    <a:gd name="connsiteX246" fmla="*/ 3520493 w 3830903"/>
                    <a:gd name="connsiteY246" fmla="*/ 4030231 h 4401009"/>
                    <a:gd name="connsiteX247" fmla="*/ 3531644 w 3830903"/>
                    <a:gd name="connsiteY247" fmla="*/ 4035806 h 4401009"/>
                    <a:gd name="connsiteX248" fmla="*/ 3559522 w 3830903"/>
                    <a:gd name="connsiteY248" fmla="*/ 4044170 h 4401009"/>
                    <a:gd name="connsiteX249" fmla="*/ 3567886 w 3830903"/>
                    <a:gd name="connsiteY249" fmla="*/ 4063684 h 4401009"/>
                    <a:gd name="connsiteX250" fmla="*/ 3576249 w 3830903"/>
                    <a:gd name="connsiteY250" fmla="*/ 4072048 h 4401009"/>
                    <a:gd name="connsiteX251" fmla="*/ 3584612 w 3830903"/>
                    <a:gd name="connsiteY251" fmla="*/ 4074836 h 4401009"/>
                    <a:gd name="connsiteX252" fmla="*/ 3629217 w 3830903"/>
                    <a:gd name="connsiteY252" fmla="*/ 4097138 h 4401009"/>
                    <a:gd name="connsiteX253" fmla="*/ 3651520 w 3830903"/>
                    <a:gd name="connsiteY253" fmla="*/ 4105502 h 4401009"/>
                    <a:gd name="connsiteX254" fmla="*/ 3662671 w 3830903"/>
                    <a:gd name="connsiteY254" fmla="*/ 4108289 h 4401009"/>
                    <a:gd name="connsiteX255" fmla="*/ 3679398 w 3830903"/>
                    <a:gd name="connsiteY255" fmla="*/ 4127804 h 4401009"/>
                    <a:gd name="connsiteX256" fmla="*/ 3693337 w 3830903"/>
                    <a:gd name="connsiteY256" fmla="*/ 4133380 h 4401009"/>
                    <a:gd name="connsiteX257" fmla="*/ 3704488 w 3830903"/>
                    <a:gd name="connsiteY257" fmla="*/ 4138955 h 4401009"/>
                    <a:gd name="connsiteX258" fmla="*/ 3743517 w 3830903"/>
                    <a:gd name="connsiteY258" fmla="*/ 4141743 h 4401009"/>
                    <a:gd name="connsiteX259" fmla="*/ 3735154 w 3830903"/>
                    <a:gd name="connsiteY259" fmla="*/ 4161258 h 4401009"/>
                    <a:gd name="connsiteX260" fmla="*/ 3732366 w 3830903"/>
                    <a:gd name="connsiteY260" fmla="*/ 4175197 h 4401009"/>
                    <a:gd name="connsiteX261" fmla="*/ 3732366 w 3830903"/>
                    <a:gd name="connsiteY261" fmla="*/ 4217014 h 4401009"/>
                    <a:gd name="connsiteX262" fmla="*/ 3724003 w 3830903"/>
                    <a:gd name="connsiteY262" fmla="*/ 4222589 h 4401009"/>
                    <a:gd name="connsiteX263" fmla="*/ 3721215 w 3830903"/>
                    <a:gd name="connsiteY263" fmla="*/ 4230953 h 4401009"/>
                    <a:gd name="connsiteX264" fmla="*/ 3710064 w 3830903"/>
                    <a:gd name="connsiteY264" fmla="*/ 4275558 h 4401009"/>
                    <a:gd name="connsiteX265" fmla="*/ 3710064 w 3830903"/>
                    <a:gd name="connsiteY265" fmla="*/ 4297860 h 4401009"/>
                    <a:gd name="connsiteX266" fmla="*/ 3696125 w 3830903"/>
                    <a:gd name="connsiteY266" fmla="*/ 4303436 h 4401009"/>
                    <a:gd name="connsiteX267" fmla="*/ 3679398 w 3830903"/>
                    <a:gd name="connsiteY267" fmla="*/ 4306224 h 4401009"/>
                    <a:gd name="connsiteX268" fmla="*/ 3676610 w 3830903"/>
                    <a:gd name="connsiteY268" fmla="*/ 4317375 h 4401009"/>
                    <a:gd name="connsiteX269" fmla="*/ 3651520 w 3830903"/>
                    <a:gd name="connsiteY269" fmla="*/ 4320163 h 4401009"/>
                    <a:gd name="connsiteX270" fmla="*/ 3598551 w 3830903"/>
                    <a:gd name="connsiteY270" fmla="*/ 4297860 h 4401009"/>
                    <a:gd name="connsiteX271" fmla="*/ 3590188 w 3830903"/>
                    <a:gd name="connsiteY271" fmla="*/ 4289497 h 4401009"/>
                    <a:gd name="connsiteX272" fmla="*/ 3545583 w 3830903"/>
                    <a:gd name="connsiteY272" fmla="*/ 4281133 h 4401009"/>
                    <a:gd name="connsiteX273" fmla="*/ 3537220 w 3830903"/>
                    <a:gd name="connsiteY273" fmla="*/ 4275558 h 4401009"/>
                    <a:gd name="connsiteX274" fmla="*/ 3528856 w 3830903"/>
                    <a:gd name="connsiteY274" fmla="*/ 4267194 h 4401009"/>
                    <a:gd name="connsiteX275" fmla="*/ 3520493 w 3830903"/>
                    <a:gd name="connsiteY275" fmla="*/ 4269982 h 4401009"/>
                    <a:gd name="connsiteX276" fmla="*/ 3498191 w 3830903"/>
                    <a:gd name="connsiteY276" fmla="*/ 4275558 h 4401009"/>
                    <a:gd name="connsiteX277" fmla="*/ 3484251 w 3830903"/>
                    <a:gd name="connsiteY277" fmla="*/ 4269982 h 4401009"/>
                    <a:gd name="connsiteX278" fmla="*/ 3467525 w 3830903"/>
                    <a:gd name="connsiteY278" fmla="*/ 4272770 h 4401009"/>
                    <a:gd name="connsiteX279" fmla="*/ 3448010 w 3830903"/>
                    <a:gd name="connsiteY279" fmla="*/ 4278345 h 4401009"/>
                    <a:gd name="connsiteX280" fmla="*/ 3439647 w 3830903"/>
                    <a:gd name="connsiteY280" fmla="*/ 4281133 h 4401009"/>
                    <a:gd name="connsiteX281" fmla="*/ 3381103 w 3830903"/>
                    <a:gd name="connsiteY281" fmla="*/ 4286709 h 4401009"/>
                    <a:gd name="connsiteX282" fmla="*/ 3372739 w 3830903"/>
                    <a:gd name="connsiteY282" fmla="*/ 4283921 h 4401009"/>
                    <a:gd name="connsiteX283" fmla="*/ 3369951 w 3830903"/>
                    <a:gd name="connsiteY283" fmla="*/ 4272770 h 4401009"/>
                    <a:gd name="connsiteX284" fmla="*/ 3361588 w 3830903"/>
                    <a:gd name="connsiteY284" fmla="*/ 4253255 h 4401009"/>
                    <a:gd name="connsiteX285" fmla="*/ 3358800 w 3830903"/>
                    <a:gd name="connsiteY285" fmla="*/ 4244892 h 4401009"/>
                    <a:gd name="connsiteX286" fmla="*/ 3347649 w 3830903"/>
                    <a:gd name="connsiteY286" fmla="*/ 4228165 h 4401009"/>
                    <a:gd name="connsiteX287" fmla="*/ 3333710 w 3830903"/>
                    <a:gd name="connsiteY287" fmla="*/ 4225377 h 4401009"/>
                    <a:gd name="connsiteX288" fmla="*/ 3319771 w 3830903"/>
                    <a:gd name="connsiteY288" fmla="*/ 4244892 h 4401009"/>
                    <a:gd name="connsiteX289" fmla="*/ 3307290 w 3830903"/>
                    <a:gd name="connsiteY289" fmla="*/ 4247515 h 4401009"/>
                    <a:gd name="connsiteX290" fmla="*/ 3303979 w 3830903"/>
                    <a:gd name="connsiteY290" fmla="*/ 4248325 h 4401009"/>
                    <a:gd name="connsiteX291" fmla="*/ 3308049 w 3830903"/>
                    <a:gd name="connsiteY291" fmla="*/ 4245620 h 4401009"/>
                    <a:gd name="connsiteX292" fmla="*/ 3297469 w 3830903"/>
                    <a:gd name="connsiteY292" fmla="*/ 4242104 h 4401009"/>
                    <a:gd name="connsiteX293" fmla="*/ 3244500 w 3830903"/>
                    <a:gd name="connsiteY293" fmla="*/ 4239316 h 4401009"/>
                    <a:gd name="connsiteX294" fmla="*/ 3236137 w 3830903"/>
                    <a:gd name="connsiteY294" fmla="*/ 4247680 h 4401009"/>
                    <a:gd name="connsiteX295" fmla="*/ 3233349 w 3830903"/>
                    <a:gd name="connsiteY295" fmla="*/ 4256043 h 4401009"/>
                    <a:gd name="connsiteX296" fmla="*/ 3227773 w 3830903"/>
                    <a:gd name="connsiteY296" fmla="*/ 4247680 h 4401009"/>
                    <a:gd name="connsiteX297" fmla="*/ 3219410 w 3830903"/>
                    <a:gd name="connsiteY297" fmla="*/ 4244892 h 4401009"/>
                    <a:gd name="connsiteX298" fmla="*/ 3199895 w 3830903"/>
                    <a:gd name="connsiteY298" fmla="*/ 4242104 h 4401009"/>
                    <a:gd name="connsiteX299" fmla="*/ 3197108 w 3830903"/>
                    <a:gd name="connsiteY299" fmla="*/ 4253255 h 4401009"/>
                    <a:gd name="connsiteX300" fmla="*/ 3188744 w 3830903"/>
                    <a:gd name="connsiteY300" fmla="*/ 4264406 h 4401009"/>
                    <a:gd name="connsiteX301" fmla="*/ 3180381 w 3830903"/>
                    <a:gd name="connsiteY301" fmla="*/ 4267194 h 4401009"/>
                    <a:gd name="connsiteX302" fmla="*/ 3163654 w 3830903"/>
                    <a:gd name="connsiteY302" fmla="*/ 4283921 h 4401009"/>
                    <a:gd name="connsiteX303" fmla="*/ 3160866 w 3830903"/>
                    <a:gd name="connsiteY303" fmla="*/ 4297860 h 4401009"/>
                    <a:gd name="connsiteX304" fmla="*/ 3158078 w 3830903"/>
                    <a:gd name="connsiteY304" fmla="*/ 4309011 h 4401009"/>
                    <a:gd name="connsiteX305" fmla="*/ 3135776 w 3830903"/>
                    <a:gd name="connsiteY305" fmla="*/ 4311799 h 4401009"/>
                    <a:gd name="connsiteX306" fmla="*/ 3127412 w 3830903"/>
                    <a:gd name="connsiteY306" fmla="*/ 4314587 h 4401009"/>
                    <a:gd name="connsiteX307" fmla="*/ 3121837 w 3830903"/>
                    <a:gd name="connsiteY307" fmla="*/ 4322950 h 4401009"/>
                    <a:gd name="connsiteX308" fmla="*/ 3110686 w 3830903"/>
                    <a:gd name="connsiteY308" fmla="*/ 4317375 h 4401009"/>
                    <a:gd name="connsiteX309" fmla="*/ 3107898 w 3830903"/>
                    <a:gd name="connsiteY309" fmla="*/ 4295072 h 4401009"/>
                    <a:gd name="connsiteX310" fmla="*/ 3060505 w 3830903"/>
                    <a:gd name="connsiteY310" fmla="*/ 4286709 h 4401009"/>
                    <a:gd name="connsiteX311" fmla="*/ 3054930 w 3830903"/>
                    <a:gd name="connsiteY311" fmla="*/ 4295072 h 4401009"/>
                    <a:gd name="connsiteX312" fmla="*/ 3004749 w 3830903"/>
                    <a:gd name="connsiteY312" fmla="*/ 4297860 h 4401009"/>
                    <a:gd name="connsiteX313" fmla="*/ 2988022 w 3830903"/>
                    <a:gd name="connsiteY313" fmla="*/ 4289497 h 4401009"/>
                    <a:gd name="connsiteX314" fmla="*/ 2962932 w 3830903"/>
                    <a:gd name="connsiteY314" fmla="*/ 4275558 h 4401009"/>
                    <a:gd name="connsiteX315" fmla="*/ 2960144 w 3830903"/>
                    <a:gd name="connsiteY315" fmla="*/ 4283921 h 4401009"/>
                    <a:gd name="connsiteX316" fmla="*/ 2951781 w 3830903"/>
                    <a:gd name="connsiteY316" fmla="*/ 4289497 h 4401009"/>
                    <a:gd name="connsiteX317" fmla="*/ 2946205 w 3830903"/>
                    <a:gd name="connsiteY317" fmla="*/ 4297860 h 4401009"/>
                    <a:gd name="connsiteX318" fmla="*/ 2929478 w 3830903"/>
                    <a:gd name="connsiteY318" fmla="*/ 4300648 h 4401009"/>
                    <a:gd name="connsiteX319" fmla="*/ 2912751 w 3830903"/>
                    <a:gd name="connsiteY319" fmla="*/ 4292284 h 4401009"/>
                    <a:gd name="connsiteX320" fmla="*/ 2904388 w 3830903"/>
                    <a:gd name="connsiteY320" fmla="*/ 4297860 h 4401009"/>
                    <a:gd name="connsiteX321" fmla="*/ 2896025 w 3830903"/>
                    <a:gd name="connsiteY321" fmla="*/ 4300648 h 4401009"/>
                    <a:gd name="connsiteX322" fmla="*/ 2884873 w 3830903"/>
                    <a:gd name="connsiteY322" fmla="*/ 4311799 h 4401009"/>
                    <a:gd name="connsiteX323" fmla="*/ 2862571 w 3830903"/>
                    <a:gd name="connsiteY323" fmla="*/ 4317375 h 4401009"/>
                    <a:gd name="connsiteX324" fmla="*/ 2854208 w 3830903"/>
                    <a:gd name="connsiteY324" fmla="*/ 4339677 h 4401009"/>
                    <a:gd name="connsiteX325" fmla="*/ 2762210 w 3830903"/>
                    <a:gd name="connsiteY325" fmla="*/ 4348041 h 4401009"/>
                    <a:gd name="connsiteX326" fmla="*/ 2751059 w 3830903"/>
                    <a:gd name="connsiteY326" fmla="*/ 4350828 h 4401009"/>
                    <a:gd name="connsiteX327" fmla="*/ 2734332 w 3830903"/>
                    <a:gd name="connsiteY327" fmla="*/ 4353616 h 4401009"/>
                    <a:gd name="connsiteX328" fmla="*/ 2703666 w 3830903"/>
                    <a:gd name="connsiteY328" fmla="*/ 4348041 h 4401009"/>
                    <a:gd name="connsiteX329" fmla="*/ 2684151 w 3830903"/>
                    <a:gd name="connsiteY329" fmla="*/ 4342465 h 4401009"/>
                    <a:gd name="connsiteX330" fmla="*/ 2673000 w 3830903"/>
                    <a:gd name="connsiteY330" fmla="*/ 4345253 h 4401009"/>
                    <a:gd name="connsiteX331" fmla="*/ 2667425 w 3830903"/>
                    <a:gd name="connsiteY331" fmla="*/ 4356404 h 4401009"/>
                    <a:gd name="connsiteX332" fmla="*/ 2636759 w 3830903"/>
                    <a:gd name="connsiteY332" fmla="*/ 4359192 h 4401009"/>
                    <a:gd name="connsiteX333" fmla="*/ 2628395 w 3830903"/>
                    <a:gd name="connsiteY333" fmla="*/ 4361980 h 4401009"/>
                    <a:gd name="connsiteX334" fmla="*/ 2622820 w 3830903"/>
                    <a:gd name="connsiteY334" fmla="*/ 4370343 h 4401009"/>
                    <a:gd name="connsiteX335" fmla="*/ 2620032 w 3830903"/>
                    <a:gd name="connsiteY335" fmla="*/ 4387070 h 4401009"/>
                    <a:gd name="connsiteX336" fmla="*/ 2622820 w 3830903"/>
                    <a:gd name="connsiteY336" fmla="*/ 4401009 h 4401009"/>
                    <a:gd name="connsiteX337" fmla="*/ 2564276 w 3830903"/>
                    <a:gd name="connsiteY337" fmla="*/ 4384282 h 4401009"/>
                    <a:gd name="connsiteX338" fmla="*/ 2550337 w 3830903"/>
                    <a:gd name="connsiteY338" fmla="*/ 4375919 h 4401009"/>
                    <a:gd name="connsiteX339" fmla="*/ 2541973 w 3830903"/>
                    <a:gd name="connsiteY339" fmla="*/ 4373131 h 4401009"/>
                    <a:gd name="connsiteX340" fmla="*/ 2522459 w 3830903"/>
                    <a:gd name="connsiteY340" fmla="*/ 4364767 h 4401009"/>
                    <a:gd name="connsiteX341" fmla="*/ 2491793 w 3830903"/>
                    <a:gd name="connsiteY341" fmla="*/ 4361980 h 4401009"/>
                    <a:gd name="connsiteX342" fmla="*/ 2455551 w 3830903"/>
                    <a:gd name="connsiteY342" fmla="*/ 4348041 h 4401009"/>
                    <a:gd name="connsiteX343" fmla="*/ 2441612 w 3830903"/>
                    <a:gd name="connsiteY343" fmla="*/ 4342465 h 4401009"/>
                    <a:gd name="connsiteX344" fmla="*/ 2424886 w 3830903"/>
                    <a:gd name="connsiteY344" fmla="*/ 4322950 h 4401009"/>
                    <a:gd name="connsiteX345" fmla="*/ 2313373 w 3830903"/>
                    <a:gd name="connsiteY345" fmla="*/ 4309011 h 4401009"/>
                    <a:gd name="connsiteX346" fmla="*/ 2307798 w 3830903"/>
                    <a:gd name="connsiteY346" fmla="*/ 4300648 h 4401009"/>
                    <a:gd name="connsiteX347" fmla="*/ 2282708 w 3830903"/>
                    <a:gd name="connsiteY347" fmla="*/ 4289497 h 4401009"/>
                    <a:gd name="connsiteX348" fmla="*/ 2265981 w 3830903"/>
                    <a:gd name="connsiteY348" fmla="*/ 4300648 h 4401009"/>
                    <a:gd name="connsiteX349" fmla="*/ 2257617 w 3830903"/>
                    <a:gd name="connsiteY349" fmla="*/ 4317375 h 4401009"/>
                    <a:gd name="connsiteX350" fmla="*/ 2235315 w 3830903"/>
                    <a:gd name="connsiteY350" fmla="*/ 4320163 h 4401009"/>
                    <a:gd name="connsiteX351" fmla="*/ 2207437 w 3830903"/>
                    <a:gd name="connsiteY351" fmla="*/ 4309011 h 4401009"/>
                    <a:gd name="connsiteX352" fmla="*/ 2201861 w 3830903"/>
                    <a:gd name="connsiteY352" fmla="*/ 4297860 h 4401009"/>
                    <a:gd name="connsiteX353" fmla="*/ 2187922 w 3830903"/>
                    <a:gd name="connsiteY353" fmla="*/ 4281133 h 4401009"/>
                    <a:gd name="connsiteX354" fmla="*/ 2179559 w 3830903"/>
                    <a:gd name="connsiteY354" fmla="*/ 4275558 h 4401009"/>
                    <a:gd name="connsiteX355" fmla="*/ 2132166 w 3830903"/>
                    <a:gd name="connsiteY355" fmla="*/ 4275558 h 4401009"/>
                    <a:gd name="connsiteX356" fmla="*/ 2112651 w 3830903"/>
                    <a:gd name="connsiteY356" fmla="*/ 4267194 h 4401009"/>
                    <a:gd name="connsiteX357" fmla="*/ 2109864 w 3830903"/>
                    <a:gd name="connsiteY357" fmla="*/ 4253255 h 4401009"/>
                    <a:gd name="connsiteX358" fmla="*/ 2115439 w 3830903"/>
                    <a:gd name="connsiteY358" fmla="*/ 4244892 h 4401009"/>
                    <a:gd name="connsiteX359" fmla="*/ 2123803 w 3830903"/>
                    <a:gd name="connsiteY359" fmla="*/ 4239316 h 4401009"/>
                    <a:gd name="connsiteX360" fmla="*/ 2132166 w 3830903"/>
                    <a:gd name="connsiteY360" fmla="*/ 4230953 h 4401009"/>
                    <a:gd name="connsiteX361" fmla="*/ 2143317 w 3830903"/>
                    <a:gd name="connsiteY361" fmla="*/ 4225377 h 4401009"/>
                    <a:gd name="connsiteX362" fmla="*/ 2137742 w 3830903"/>
                    <a:gd name="connsiteY362" fmla="*/ 4217014 h 4401009"/>
                    <a:gd name="connsiteX363" fmla="*/ 2112651 w 3830903"/>
                    <a:gd name="connsiteY363" fmla="*/ 4214226 h 4401009"/>
                    <a:gd name="connsiteX364" fmla="*/ 2104288 w 3830903"/>
                    <a:gd name="connsiteY364" fmla="*/ 4211438 h 4401009"/>
                    <a:gd name="connsiteX365" fmla="*/ 2099886 w 3830903"/>
                    <a:gd name="connsiteY365" fmla="*/ 4204836 h 4401009"/>
                    <a:gd name="connsiteX366" fmla="*/ 2104288 w 3830903"/>
                    <a:gd name="connsiteY366" fmla="*/ 4203075 h 4401009"/>
                    <a:gd name="connsiteX367" fmla="*/ 2112651 w 3830903"/>
                    <a:gd name="connsiteY367" fmla="*/ 4200287 h 4401009"/>
                    <a:gd name="connsiteX368" fmla="*/ 2123803 w 3830903"/>
                    <a:gd name="connsiteY368" fmla="*/ 4197499 h 4401009"/>
                    <a:gd name="connsiteX369" fmla="*/ 2134954 w 3830903"/>
                    <a:gd name="connsiteY369" fmla="*/ 4205863 h 4401009"/>
                    <a:gd name="connsiteX370" fmla="*/ 2151681 w 3830903"/>
                    <a:gd name="connsiteY370" fmla="*/ 4208650 h 4401009"/>
                    <a:gd name="connsiteX371" fmla="*/ 2160044 w 3830903"/>
                    <a:gd name="connsiteY371" fmla="*/ 4214226 h 4401009"/>
                    <a:gd name="connsiteX372" fmla="*/ 2168408 w 3830903"/>
                    <a:gd name="connsiteY372" fmla="*/ 4208650 h 4401009"/>
                    <a:gd name="connsiteX373" fmla="*/ 2190710 w 3830903"/>
                    <a:gd name="connsiteY373" fmla="*/ 4205863 h 4401009"/>
                    <a:gd name="connsiteX374" fmla="*/ 2201861 w 3830903"/>
                    <a:gd name="connsiteY374" fmla="*/ 4203075 h 4401009"/>
                    <a:gd name="connsiteX375" fmla="*/ 2204649 w 3830903"/>
                    <a:gd name="connsiteY375" fmla="*/ 4194711 h 4401009"/>
                    <a:gd name="connsiteX376" fmla="*/ 2229739 w 3830903"/>
                    <a:gd name="connsiteY376" fmla="*/ 4191924 h 4401009"/>
                    <a:gd name="connsiteX377" fmla="*/ 2215800 w 3830903"/>
                    <a:gd name="connsiteY377" fmla="*/ 4175197 h 4401009"/>
                    <a:gd name="connsiteX378" fmla="*/ 2213012 w 3830903"/>
                    <a:gd name="connsiteY378" fmla="*/ 4164045 h 4401009"/>
                    <a:gd name="connsiteX379" fmla="*/ 2204649 w 3830903"/>
                    <a:gd name="connsiteY379" fmla="*/ 4119441 h 4401009"/>
                    <a:gd name="connsiteX380" fmla="*/ 2213012 w 3830903"/>
                    <a:gd name="connsiteY380" fmla="*/ 4077624 h 4401009"/>
                    <a:gd name="connsiteX381" fmla="*/ 2215800 w 3830903"/>
                    <a:gd name="connsiteY381" fmla="*/ 4060897 h 4401009"/>
                    <a:gd name="connsiteX382" fmla="*/ 2215800 w 3830903"/>
                    <a:gd name="connsiteY382" fmla="*/ 4049745 h 4401009"/>
                    <a:gd name="connsiteX383" fmla="*/ 2218588 w 3830903"/>
                    <a:gd name="connsiteY383" fmla="*/ 4038594 h 4401009"/>
                    <a:gd name="connsiteX384" fmla="*/ 2235315 w 3830903"/>
                    <a:gd name="connsiteY384" fmla="*/ 4021867 h 4401009"/>
                    <a:gd name="connsiteX385" fmla="*/ 2243678 w 3830903"/>
                    <a:gd name="connsiteY385" fmla="*/ 4024655 h 4401009"/>
                    <a:gd name="connsiteX386" fmla="*/ 2257617 w 3830903"/>
                    <a:gd name="connsiteY386" fmla="*/ 4027443 h 4401009"/>
                    <a:gd name="connsiteX387" fmla="*/ 2271556 w 3830903"/>
                    <a:gd name="connsiteY387" fmla="*/ 4024655 h 4401009"/>
                    <a:gd name="connsiteX388" fmla="*/ 2268769 w 3830903"/>
                    <a:gd name="connsiteY388" fmla="*/ 4016292 h 4401009"/>
                    <a:gd name="connsiteX389" fmla="*/ 2257617 w 3830903"/>
                    <a:gd name="connsiteY389" fmla="*/ 4013504 h 4401009"/>
                    <a:gd name="connsiteX390" fmla="*/ 2229739 w 3830903"/>
                    <a:gd name="connsiteY390" fmla="*/ 4010716 h 4401009"/>
                    <a:gd name="connsiteX391" fmla="*/ 2221376 w 3830903"/>
                    <a:gd name="connsiteY391" fmla="*/ 4007928 h 4401009"/>
                    <a:gd name="connsiteX392" fmla="*/ 2218588 w 3830903"/>
                    <a:gd name="connsiteY392" fmla="*/ 3999565 h 4401009"/>
                    <a:gd name="connsiteX393" fmla="*/ 2185134 w 3830903"/>
                    <a:gd name="connsiteY393" fmla="*/ 3996777 h 4401009"/>
                    <a:gd name="connsiteX394" fmla="*/ 2171195 w 3830903"/>
                    <a:gd name="connsiteY394" fmla="*/ 3993989 h 4401009"/>
                    <a:gd name="connsiteX395" fmla="*/ 2162832 w 3830903"/>
                    <a:gd name="connsiteY395" fmla="*/ 3982838 h 4401009"/>
                    <a:gd name="connsiteX396" fmla="*/ 2151681 w 3830903"/>
                    <a:gd name="connsiteY396" fmla="*/ 3968899 h 4401009"/>
                    <a:gd name="connsiteX397" fmla="*/ 2143317 w 3830903"/>
                    <a:gd name="connsiteY397" fmla="*/ 3960536 h 4401009"/>
                    <a:gd name="connsiteX398" fmla="*/ 2165620 w 3830903"/>
                    <a:gd name="connsiteY398" fmla="*/ 3952172 h 4401009"/>
                    <a:gd name="connsiteX399" fmla="*/ 2176771 w 3830903"/>
                    <a:gd name="connsiteY399" fmla="*/ 3946597 h 4401009"/>
                    <a:gd name="connsiteX400" fmla="*/ 2182347 w 3830903"/>
                    <a:gd name="connsiteY400" fmla="*/ 3935445 h 4401009"/>
                    <a:gd name="connsiteX401" fmla="*/ 2201861 w 3830903"/>
                    <a:gd name="connsiteY401" fmla="*/ 3929870 h 4401009"/>
                    <a:gd name="connsiteX402" fmla="*/ 2210225 w 3830903"/>
                    <a:gd name="connsiteY402" fmla="*/ 3924294 h 4401009"/>
                    <a:gd name="connsiteX403" fmla="*/ 2232527 w 3830903"/>
                    <a:gd name="connsiteY403" fmla="*/ 3915931 h 4401009"/>
                    <a:gd name="connsiteX404" fmla="*/ 2218588 w 3830903"/>
                    <a:gd name="connsiteY404" fmla="*/ 3913143 h 4401009"/>
                    <a:gd name="connsiteX405" fmla="*/ 2221376 w 3830903"/>
                    <a:gd name="connsiteY405" fmla="*/ 3890841 h 4401009"/>
                    <a:gd name="connsiteX406" fmla="*/ 2243678 w 3830903"/>
                    <a:gd name="connsiteY406" fmla="*/ 3876902 h 4401009"/>
                    <a:gd name="connsiteX407" fmla="*/ 2252042 w 3830903"/>
                    <a:gd name="connsiteY407" fmla="*/ 3854599 h 4401009"/>
                    <a:gd name="connsiteX408" fmla="*/ 2263193 w 3830903"/>
                    <a:gd name="connsiteY408" fmla="*/ 3837872 h 4401009"/>
                    <a:gd name="connsiteX409" fmla="*/ 2285495 w 3830903"/>
                    <a:gd name="connsiteY409" fmla="*/ 3835084 h 4401009"/>
                    <a:gd name="connsiteX410" fmla="*/ 2285495 w 3830903"/>
                    <a:gd name="connsiteY410" fmla="*/ 3818358 h 4401009"/>
                    <a:gd name="connsiteX411" fmla="*/ 2282708 w 3830903"/>
                    <a:gd name="connsiteY411" fmla="*/ 3807206 h 4401009"/>
                    <a:gd name="connsiteX412" fmla="*/ 2271556 w 3830903"/>
                    <a:gd name="connsiteY412" fmla="*/ 3790480 h 4401009"/>
                    <a:gd name="connsiteX413" fmla="*/ 2263193 w 3830903"/>
                    <a:gd name="connsiteY413" fmla="*/ 3787692 h 4401009"/>
                    <a:gd name="connsiteX414" fmla="*/ 2243678 w 3830903"/>
                    <a:gd name="connsiteY414" fmla="*/ 3801631 h 4401009"/>
                    <a:gd name="connsiteX415" fmla="*/ 2240891 w 3830903"/>
                    <a:gd name="connsiteY415" fmla="*/ 3812782 h 4401009"/>
                    <a:gd name="connsiteX416" fmla="*/ 2218588 w 3830903"/>
                    <a:gd name="connsiteY416" fmla="*/ 3835084 h 4401009"/>
                    <a:gd name="connsiteX417" fmla="*/ 2213012 w 3830903"/>
                    <a:gd name="connsiteY417" fmla="*/ 3823933 h 4401009"/>
                    <a:gd name="connsiteX418" fmla="*/ 2207437 w 3830903"/>
                    <a:gd name="connsiteY418" fmla="*/ 3809994 h 4401009"/>
                    <a:gd name="connsiteX419" fmla="*/ 2201861 w 3830903"/>
                    <a:gd name="connsiteY419" fmla="*/ 3829509 h 4401009"/>
                    <a:gd name="connsiteX420" fmla="*/ 2199073 w 3830903"/>
                    <a:gd name="connsiteY420" fmla="*/ 3837872 h 4401009"/>
                    <a:gd name="connsiteX421" fmla="*/ 2193498 w 3830903"/>
                    <a:gd name="connsiteY421" fmla="*/ 3846236 h 4401009"/>
                    <a:gd name="connsiteX422" fmla="*/ 2173983 w 3830903"/>
                    <a:gd name="connsiteY422" fmla="*/ 3854599 h 4401009"/>
                    <a:gd name="connsiteX423" fmla="*/ 2171195 w 3830903"/>
                    <a:gd name="connsiteY423" fmla="*/ 3835084 h 4401009"/>
                    <a:gd name="connsiteX424" fmla="*/ 2160044 w 3830903"/>
                    <a:gd name="connsiteY424" fmla="*/ 3804419 h 4401009"/>
                    <a:gd name="connsiteX425" fmla="*/ 2148893 w 3830903"/>
                    <a:gd name="connsiteY425" fmla="*/ 3784904 h 4401009"/>
                    <a:gd name="connsiteX426" fmla="*/ 2160044 w 3830903"/>
                    <a:gd name="connsiteY426" fmla="*/ 3762602 h 4401009"/>
                    <a:gd name="connsiteX427" fmla="*/ 2190710 w 3830903"/>
                    <a:gd name="connsiteY427" fmla="*/ 3740299 h 4401009"/>
                    <a:gd name="connsiteX428" fmla="*/ 2193498 w 3830903"/>
                    <a:gd name="connsiteY428" fmla="*/ 3715209 h 4401009"/>
                    <a:gd name="connsiteX429" fmla="*/ 2196286 w 3830903"/>
                    <a:gd name="connsiteY429" fmla="*/ 3704058 h 4401009"/>
                    <a:gd name="connsiteX430" fmla="*/ 2232527 w 3830903"/>
                    <a:gd name="connsiteY430" fmla="*/ 3701270 h 4401009"/>
                    <a:gd name="connsiteX431" fmla="*/ 2246466 w 3830903"/>
                    <a:gd name="connsiteY431" fmla="*/ 3692906 h 4401009"/>
                    <a:gd name="connsiteX432" fmla="*/ 2265981 w 3830903"/>
                    <a:gd name="connsiteY432" fmla="*/ 3678967 h 4401009"/>
                    <a:gd name="connsiteX433" fmla="*/ 2282708 w 3830903"/>
                    <a:gd name="connsiteY433" fmla="*/ 3676180 h 4401009"/>
                    <a:gd name="connsiteX434" fmla="*/ 2291071 w 3830903"/>
                    <a:gd name="connsiteY434" fmla="*/ 3673392 h 4401009"/>
                    <a:gd name="connsiteX435" fmla="*/ 2293859 w 3830903"/>
                    <a:gd name="connsiteY435" fmla="*/ 3651089 h 4401009"/>
                    <a:gd name="connsiteX436" fmla="*/ 2291071 w 3830903"/>
                    <a:gd name="connsiteY436" fmla="*/ 3642726 h 4401009"/>
                    <a:gd name="connsiteX437" fmla="*/ 2285495 w 3830903"/>
                    <a:gd name="connsiteY437" fmla="*/ 3631575 h 4401009"/>
                    <a:gd name="connsiteX438" fmla="*/ 2282708 w 3830903"/>
                    <a:gd name="connsiteY438" fmla="*/ 3575819 h 4401009"/>
                    <a:gd name="connsiteX439" fmla="*/ 2274344 w 3830903"/>
                    <a:gd name="connsiteY439" fmla="*/ 3567455 h 4401009"/>
                    <a:gd name="connsiteX440" fmla="*/ 2268769 w 3830903"/>
                    <a:gd name="connsiteY440" fmla="*/ 3559092 h 4401009"/>
                    <a:gd name="connsiteX441" fmla="*/ 2252042 w 3830903"/>
                    <a:gd name="connsiteY441" fmla="*/ 3550728 h 4401009"/>
                    <a:gd name="connsiteX442" fmla="*/ 2246466 w 3830903"/>
                    <a:gd name="connsiteY442" fmla="*/ 3536789 h 4401009"/>
                    <a:gd name="connsiteX443" fmla="*/ 2229739 w 3830903"/>
                    <a:gd name="connsiteY443" fmla="*/ 3522850 h 4401009"/>
                    <a:gd name="connsiteX444" fmla="*/ 2238103 w 3830903"/>
                    <a:gd name="connsiteY444" fmla="*/ 3506124 h 4401009"/>
                    <a:gd name="connsiteX445" fmla="*/ 2249254 w 3830903"/>
                    <a:gd name="connsiteY445" fmla="*/ 3489397 h 4401009"/>
                    <a:gd name="connsiteX446" fmla="*/ 2246466 w 3830903"/>
                    <a:gd name="connsiteY446" fmla="*/ 3481033 h 4401009"/>
                    <a:gd name="connsiteX447" fmla="*/ 2218588 w 3830903"/>
                    <a:gd name="connsiteY447" fmla="*/ 3478245 h 4401009"/>
                    <a:gd name="connsiteX448" fmla="*/ 2210225 w 3830903"/>
                    <a:gd name="connsiteY448" fmla="*/ 3475458 h 4401009"/>
                    <a:gd name="connsiteX449" fmla="*/ 2207437 w 3830903"/>
                    <a:gd name="connsiteY449" fmla="*/ 3467094 h 4401009"/>
                    <a:gd name="connsiteX450" fmla="*/ 2210225 w 3830903"/>
                    <a:gd name="connsiteY450" fmla="*/ 3455943 h 4401009"/>
                    <a:gd name="connsiteX451" fmla="*/ 2224164 w 3830903"/>
                    <a:gd name="connsiteY451" fmla="*/ 3453155 h 4401009"/>
                    <a:gd name="connsiteX452" fmla="*/ 2226951 w 3830903"/>
                    <a:gd name="connsiteY452" fmla="*/ 3428065 h 4401009"/>
                    <a:gd name="connsiteX453" fmla="*/ 2252042 w 3830903"/>
                    <a:gd name="connsiteY453" fmla="*/ 3408550 h 4401009"/>
                    <a:gd name="connsiteX454" fmla="*/ 2243678 w 3830903"/>
                    <a:gd name="connsiteY454" fmla="*/ 3400187 h 4401009"/>
                    <a:gd name="connsiteX455" fmla="*/ 2232527 w 3830903"/>
                    <a:gd name="connsiteY455" fmla="*/ 3397399 h 4401009"/>
                    <a:gd name="connsiteX456" fmla="*/ 2226951 w 3830903"/>
                    <a:gd name="connsiteY456" fmla="*/ 3383460 h 4401009"/>
                    <a:gd name="connsiteX457" fmla="*/ 2224164 w 3830903"/>
                    <a:gd name="connsiteY457" fmla="*/ 3375097 h 4401009"/>
                    <a:gd name="connsiteX458" fmla="*/ 2216413 w 3830903"/>
                    <a:gd name="connsiteY458" fmla="*/ 3372718 h 4401009"/>
                    <a:gd name="connsiteX459" fmla="*/ 2213299 w 3830903"/>
                    <a:gd name="connsiteY459" fmla="*/ 3372512 h 4401009"/>
                    <a:gd name="connsiteX460" fmla="*/ 2213336 w 3830903"/>
                    <a:gd name="connsiteY460" fmla="*/ 3372183 h 4401009"/>
                    <a:gd name="connsiteX461" fmla="*/ 2210241 w 3830903"/>
                    <a:gd name="connsiteY461" fmla="*/ 3372228 h 4401009"/>
                    <a:gd name="connsiteX462" fmla="*/ 2210225 w 3830903"/>
                    <a:gd name="connsiteY462" fmla="*/ 3372309 h 4401009"/>
                    <a:gd name="connsiteX463" fmla="*/ 2213299 w 3830903"/>
                    <a:gd name="connsiteY463" fmla="*/ 3372512 h 4401009"/>
                    <a:gd name="connsiteX464" fmla="*/ 2213012 w 3830903"/>
                    <a:gd name="connsiteY464" fmla="*/ 3375097 h 4401009"/>
                    <a:gd name="connsiteX465" fmla="*/ 2201861 w 3830903"/>
                    <a:gd name="connsiteY465" fmla="*/ 3377884 h 4401009"/>
                    <a:gd name="connsiteX466" fmla="*/ 2188235 w 3830903"/>
                    <a:gd name="connsiteY466" fmla="*/ 3373439 h 4401009"/>
                    <a:gd name="connsiteX467" fmla="*/ 2180379 w 3830903"/>
                    <a:gd name="connsiteY467" fmla="*/ 3369743 h 4401009"/>
                    <a:gd name="connsiteX468" fmla="*/ 2188814 w 3830903"/>
                    <a:gd name="connsiteY468" fmla="*/ 3369537 h 4401009"/>
                    <a:gd name="connsiteX469" fmla="*/ 2191799 w 3830903"/>
                    <a:gd name="connsiteY469" fmla="*/ 3367999 h 4401009"/>
                    <a:gd name="connsiteX470" fmla="*/ 2187923 w 3830903"/>
                    <a:gd name="connsiteY470" fmla="*/ 3366733 h 4401009"/>
                    <a:gd name="connsiteX471" fmla="*/ 2176772 w 3830903"/>
                    <a:gd name="connsiteY471" fmla="*/ 3363945 h 4401009"/>
                    <a:gd name="connsiteX472" fmla="*/ 2172335 w 3830903"/>
                    <a:gd name="connsiteY472" fmla="*/ 3363436 h 4401009"/>
                    <a:gd name="connsiteX473" fmla="*/ 2173983 w 3830903"/>
                    <a:gd name="connsiteY473" fmla="*/ 3366733 h 4401009"/>
                    <a:gd name="connsiteX474" fmla="*/ 2180379 w 3830903"/>
                    <a:gd name="connsiteY474" fmla="*/ 3369743 h 4401009"/>
                    <a:gd name="connsiteX475" fmla="*/ 2119515 w 3830903"/>
                    <a:gd name="connsiteY475" fmla="*/ 3371227 h 4401009"/>
                    <a:gd name="connsiteX476" fmla="*/ 2099233 w 3830903"/>
                    <a:gd name="connsiteY476" fmla="*/ 3377988 h 4401009"/>
                    <a:gd name="connsiteX477" fmla="*/ 2084021 w 3830903"/>
                    <a:gd name="connsiteY477" fmla="*/ 3383058 h 4401009"/>
                    <a:gd name="connsiteX478" fmla="*/ 2075570 w 3830903"/>
                    <a:gd name="connsiteY478" fmla="*/ 3374607 h 4401009"/>
                    <a:gd name="connsiteX479" fmla="*/ 2019793 w 3830903"/>
                    <a:gd name="connsiteY479" fmla="*/ 3374607 h 4401009"/>
                    <a:gd name="connsiteX480" fmla="*/ 2014723 w 3830903"/>
                    <a:gd name="connsiteY480" fmla="*/ 3376297 h 4401009"/>
                    <a:gd name="connsiteX481" fmla="*/ 2007962 w 3830903"/>
                    <a:gd name="connsiteY481" fmla="*/ 3374607 h 4401009"/>
                    <a:gd name="connsiteX482" fmla="*/ 2002891 w 3830903"/>
                    <a:gd name="connsiteY482" fmla="*/ 3372917 h 4401009"/>
                    <a:gd name="connsiteX483" fmla="*/ 1989370 w 3830903"/>
                    <a:gd name="connsiteY483" fmla="*/ 3371227 h 4401009"/>
                    <a:gd name="connsiteX484" fmla="*/ 1982609 w 3830903"/>
                    <a:gd name="connsiteY484" fmla="*/ 3374607 h 4401009"/>
                    <a:gd name="connsiteX485" fmla="*/ 1970777 w 3830903"/>
                    <a:gd name="connsiteY485" fmla="*/ 3381368 h 4401009"/>
                    <a:gd name="connsiteX486" fmla="*/ 1964017 w 3830903"/>
                    <a:gd name="connsiteY486" fmla="*/ 3383058 h 4401009"/>
                    <a:gd name="connsiteX487" fmla="*/ 1957256 w 3830903"/>
                    <a:gd name="connsiteY487" fmla="*/ 3394890 h 4401009"/>
                    <a:gd name="connsiteX488" fmla="*/ 1931903 w 3830903"/>
                    <a:gd name="connsiteY488" fmla="*/ 3391509 h 4401009"/>
                    <a:gd name="connsiteX489" fmla="*/ 1928522 w 3830903"/>
                    <a:gd name="connsiteY489" fmla="*/ 3386439 h 4401009"/>
                    <a:gd name="connsiteX490" fmla="*/ 1925142 w 3830903"/>
                    <a:gd name="connsiteY490" fmla="*/ 3383058 h 4401009"/>
                    <a:gd name="connsiteX491" fmla="*/ 1916691 w 3830903"/>
                    <a:gd name="connsiteY491" fmla="*/ 3374607 h 4401009"/>
                    <a:gd name="connsiteX492" fmla="*/ 1911620 w 3830903"/>
                    <a:gd name="connsiteY492" fmla="*/ 3366156 h 4401009"/>
                    <a:gd name="connsiteX493" fmla="*/ 1898099 w 3830903"/>
                    <a:gd name="connsiteY493" fmla="*/ 3356015 h 4401009"/>
                    <a:gd name="connsiteX494" fmla="*/ 1894718 w 3830903"/>
                    <a:gd name="connsiteY494" fmla="*/ 3352634 h 4401009"/>
                    <a:gd name="connsiteX495" fmla="*/ 1877816 w 3830903"/>
                    <a:gd name="connsiteY495" fmla="*/ 3342493 h 4401009"/>
                    <a:gd name="connsiteX496" fmla="*/ 1867675 w 3830903"/>
                    <a:gd name="connsiteY496" fmla="*/ 3340803 h 4401009"/>
                    <a:gd name="connsiteX497" fmla="*/ 1857534 w 3830903"/>
                    <a:gd name="connsiteY497" fmla="*/ 3350944 h 4401009"/>
                    <a:gd name="connsiteX498" fmla="*/ 1842322 w 3830903"/>
                    <a:gd name="connsiteY498" fmla="*/ 3362776 h 4401009"/>
                    <a:gd name="connsiteX499" fmla="*/ 1825420 w 3830903"/>
                    <a:gd name="connsiteY499" fmla="*/ 3372917 h 4401009"/>
                    <a:gd name="connsiteX500" fmla="*/ 1818659 w 3830903"/>
                    <a:gd name="connsiteY500" fmla="*/ 3377988 h 4401009"/>
                    <a:gd name="connsiteX501" fmla="*/ 1806828 w 3830903"/>
                    <a:gd name="connsiteY501" fmla="*/ 3384748 h 4401009"/>
                    <a:gd name="connsiteX502" fmla="*/ 1801757 w 3830903"/>
                    <a:gd name="connsiteY502" fmla="*/ 3389819 h 4401009"/>
                    <a:gd name="connsiteX503" fmla="*/ 1800067 w 3830903"/>
                    <a:gd name="connsiteY503" fmla="*/ 3399960 h 4401009"/>
                    <a:gd name="connsiteX504" fmla="*/ 1794996 w 3830903"/>
                    <a:gd name="connsiteY504" fmla="*/ 3405031 h 4401009"/>
                    <a:gd name="connsiteX505" fmla="*/ 1793306 w 3830903"/>
                    <a:gd name="connsiteY505" fmla="*/ 3410101 h 4401009"/>
                    <a:gd name="connsiteX506" fmla="*/ 1789926 w 3830903"/>
                    <a:gd name="connsiteY506" fmla="*/ 3415172 h 4401009"/>
                    <a:gd name="connsiteX507" fmla="*/ 1778094 w 3830903"/>
                    <a:gd name="connsiteY507" fmla="*/ 3408411 h 4401009"/>
                    <a:gd name="connsiteX508" fmla="*/ 1764573 w 3830903"/>
                    <a:gd name="connsiteY508" fmla="*/ 3403341 h 4401009"/>
                    <a:gd name="connsiteX509" fmla="*/ 1742600 w 3830903"/>
                    <a:gd name="connsiteY509" fmla="*/ 3401650 h 4401009"/>
                    <a:gd name="connsiteX510" fmla="*/ 1737529 w 3830903"/>
                    <a:gd name="connsiteY510" fmla="*/ 3398270 h 4401009"/>
                    <a:gd name="connsiteX511" fmla="*/ 1724008 w 3830903"/>
                    <a:gd name="connsiteY511" fmla="*/ 3394890 h 4401009"/>
                    <a:gd name="connsiteX512" fmla="*/ 1710486 w 3830903"/>
                    <a:gd name="connsiteY512" fmla="*/ 3401650 h 4401009"/>
                    <a:gd name="connsiteX513" fmla="*/ 1705416 w 3830903"/>
                    <a:gd name="connsiteY513" fmla="*/ 3403341 h 4401009"/>
                    <a:gd name="connsiteX514" fmla="*/ 1696965 w 3830903"/>
                    <a:gd name="connsiteY514" fmla="*/ 3410101 h 4401009"/>
                    <a:gd name="connsiteX515" fmla="*/ 1680062 w 3830903"/>
                    <a:gd name="connsiteY515" fmla="*/ 3413482 h 4401009"/>
                    <a:gd name="connsiteX516" fmla="*/ 1653019 w 3830903"/>
                    <a:gd name="connsiteY516" fmla="*/ 3405031 h 4401009"/>
                    <a:gd name="connsiteX517" fmla="*/ 1649639 w 3830903"/>
                    <a:gd name="connsiteY517" fmla="*/ 3396580 h 4401009"/>
                    <a:gd name="connsiteX518" fmla="*/ 1642878 w 3830903"/>
                    <a:gd name="connsiteY518" fmla="*/ 3386439 h 4401009"/>
                    <a:gd name="connsiteX519" fmla="*/ 1646258 w 3830903"/>
                    <a:gd name="connsiteY519" fmla="*/ 3383058 h 4401009"/>
                    <a:gd name="connsiteX520" fmla="*/ 1636117 w 3830903"/>
                    <a:gd name="connsiteY520" fmla="*/ 3369537 h 4401009"/>
                    <a:gd name="connsiteX521" fmla="*/ 1627666 w 3830903"/>
                    <a:gd name="connsiteY521" fmla="*/ 3357705 h 4401009"/>
                    <a:gd name="connsiteX522" fmla="*/ 1617525 w 3830903"/>
                    <a:gd name="connsiteY522" fmla="*/ 3349254 h 4401009"/>
                    <a:gd name="connsiteX523" fmla="*/ 1605694 w 3830903"/>
                    <a:gd name="connsiteY523" fmla="*/ 3337423 h 4401009"/>
                    <a:gd name="connsiteX524" fmla="*/ 1600623 w 3830903"/>
                    <a:gd name="connsiteY524" fmla="*/ 3328972 h 4401009"/>
                    <a:gd name="connsiteX525" fmla="*/ 1593862 w 3830903"/>
                    <a:gd name="connsiteY525" fmla="*/ 3317140 h 4401009"/>
                    <a:gd name="connsiteX526" fmla="*/ 1575270 w 3830903"/>
                    <a:gd name="connsiteY526" fmla="*/ 3296858 h 4401009"/>
                    <a:gd name="connsiteX527" fmla="*/ 1548227 w 3830903"/>
                    <a:gd name="connsiteY527" fmla="*/ 3310379 h 4401009"/>
                    <a:gd name="connsiteX528" fmla="*/ 1546536 w 3830903"/>
                    <a:gd name="connsiteY528" fmla="*/ 3315450 h 4401009"/>
                    <a:gd name="connsiteX529" fmla="*/ 1536395 w 3830903"/>
                    <a:gd name="connsiteY529" fmla="*/ 3317140 h 4401009"/>
                    <a:gd name="connsiteX530" fmla="*/ 1514423 w 3830903"/>
                    <a:gd name="connsiteY530" fmla="*/ 3318830 h 4401009"/>
                    <a:gd name="connsiteX531" fmla="*/ 1497521 w 3830903"/>
                    <a:gd name="connsiteY531" fmla="*/ 3322211 h 4401009"/>
                    <a:gd name="connsiteX532" fmla="*/ 1485689 w 3830903"/>
                    <a:gd name="connsiteY532" fmla="*/ 3288407 h 4401009"/>
                    <a:gd name="connsiteX533" fmla="*/ 1470477 w 3830903"/>
                    <a:gd name="connsiteY533" fmla="*/ 3283336 h 4401009"/>
                    <a:gd name="connsiteX534" fmla="*/ 1450195 w 3830903"/>
                    <a:gd name="connsiteY534" fmla="*/ 3279956 h 4401009"/>
                    <a:gd name="connsiteX535" fmla="*/ 1446814 w 3830903"/>
                    <a:gd name="connsiteY535" fmla="*/ 3266434 h 4401009"/>
                    <a:gd name="connsiteX536" fmla="*/ 1441744 w 3830903"/>
                    <a:gd name="connsiteY536" fmla="*/ 3259673 h 4401009"/>
                    <a:gd name="connsiteX537" fmla="*/ 1446814 w 3830903"/>
                    <a:gd name="connsiteY537" fmla="*/ 3254603 h 4401009"/>
                    <a:gd name="connsiteX538" fmla="*/ 1453575 w 3830903"/>
                    <a:gd name="connsiteY538" fmla="*/ 3252913 h 4401009"/>
                    <a:gd name="connsiteX539" fmla="*/ 1465407 w 3830903"/>
                    <a:gd name="connsiteY539" fmla="*/ 3239391 h 4401009"/>
                    <a:gd name="connsiteX540" fmla="*/ 1468787 w 3830903"/>
                    <a:gd name="connsiteY540" fmla="*/ 3230940 h 4401009"/>
                    <a:gd name="connsiteX541" fmla="*/ 1470477 w 3830903"/>
                    <a:gd name="connsiteY541" fmla="*/ 3225869 h 4401009"/>
                    <a:gd name="connsiteX542" fmla="*/ 1467097 w 3830903"/>
                    <a:gd name="connsiteY542" fmla="*/ 3220799 h 4401009"/>
                    <a:gd name="connsiteX543" fmla="*/ 1450195 w 3830903"/>
                    <a:gd name="connsiteY543" fmla="*/ 3214038 h 4401009"/>
                    <a:gd name="connsiteX544" fmla="*/ 1445124 w 3830903"/>
                    <a:gd name="connsiteY544" fmla="*/ 3212348 h 4401009"/>
                    <a:gd name="connsiteX545" fmla="*/ 1441744 w 3830903"/>
                    <a:gd name="connsiteY545" fmla="*/ 3208967 h 4401009"/>
                    <a:gd name="connsiteX546" fmla="*/ 1434983 w 3830903"/>
                    <a:gd name="connsiteY546" fmla="*/ 3203897 h 4401009"/>
                    <a:gd name="connsiteX547" fmla="*/ 1429912 w 3830903"/>
                    <a:gd name="connsiteY547" fmla="*/ 3193755 h 4401009"/>
                    <a:gd name="connsiteX548" fmla="*/ 1419771 w 3830903"/>
                    <a:gd name="connsiteY548" fmla="*/ 3192065 h 4401009"/>
                    <a:gd name="connsiteX549" fmla="*/ 1407940 w 3830903"/>
                    <a:gd name="connsiteY549" fmla="*/ 3178544 h 4401009"/>
                    <a:gd name="connsiteX550" fmla="*/ 1396108 w 3830903"/>
                    <a:gd name="connsiteY550" fmla="*/ 3173473 h 4401009"/>
                    <a:gd name="connsiteX551" fmla="*/ 1392728 w 3830903"/>
                    <a:gd name="connsiteY551" fmla="*/ 3166712 h 4401009"/>
                    <a:gd name="connsiteX552" fmla="*/ 1377516 w 3830903"/>
                    <a:gd name="connsiteY552" fmla="*/ 3153191 h 4401009"/>
                    <a:gd name="connsiteX553" fmla="*/ 1362304 w 3830903"/>
                    <a:gd name="connsiteY553" fmla="*/ 3146430 h 4401009"/>
                    <a:gd name="connsiteX554" fmla="*/ 1357234 w 3830903"/>
                    <a:gd name="connsiteY554" fmla="*/ 3149810 h 4401009"/>
                    <a:gd name="connsiteX555" fmla="*/ 1342022 w 3830903"/>
                    <a:gd name="connsiteY555" fmla="*/ 3153191 h 4401009"/>
                    <a:gd name="connsiteX556" fmla="*/ 1316669 w 3830903"/>
                    <a:gd name="connsiteY556" fmla="*/ 3149810 h 4401009"/>
                    <a:gd name="connsiteX557" fmla="*/ 1309908 w 3830903"/>
                    <a:gd name="connsiteY557" fmla="*/ 3158261 h 4401009"/>
                    <a:gd name="connsiteX558" fmla="*/ 1308218 w 3830903"/>
                    <a:gd name="connsiteY558" fmla="*/ 3192065 h 4401009"/>
                    <a:gd name="connsiteX559" fmla="*/ 1286245 w 3830903"/>
                    <a:gd name="connsiteY559" fmla="*/ 3200516 h 4401009"/>
                    <a:gd name="connsiteX560" fmla="*/ 1279484 w 3830903"/>
                    <a:gd name="connsiteY560" fmla="*/ 3198826 h 4401009"/>
                    <a:gd name="connsiteX561" fmla="*/ 1223708 w 3830903"/>
                    <a:gd name="connsiteY561" fmla="*/ 3230940 h 4401009"/>
                    <a:gd name="connsiteX562" fmla="*/ 1216947 w 3830903"/>
                    <a:gd name="connsiteY562" fmla="*/ 3241081 h 4401009"/>
                    <a:gd name="connsiteX563" fmla="*/ 1194974 w 3830903"/>
                    <a:gd name="connsiteY563" fmla="*/ 3251222 h 4401009"/>
                    <a:gd name="connsiteX564" fmla="*/ 1184833 w 3830903"/>
                    <a:gd name="connsiteY564" fmla="*/ 3261364 h 4401009"/>
                    <a:gd name="connsiteX565" fmla="*/ 1173001 w 3830903"/>
                    <a:gd name="connsiteY565" fmla="*/ 3266434 h 4401009"/>
                    <a:gd name="connsiteX566" fmla="*/ 1159480 w 3830903"/>
                    <a:gd name="connsiteY566" fmla="*/ 3268124 h 4401009"/>
                    <a:gd name="connsiteX567" fmla="*/ 1157790 w 3830903"/>
                    <a:gd name="connsiteY567" fmla="*/ 3256293 h 4401009"/>
                    <a:gd name="connsiteX568" fmla="*/ 1156099 w 3830903"/>
                    <a:gd name="connsiteY568" fmla="*/ 3247842 h 4401009"/>
                    <a:gd name="connsiteX569" fmla="*/ 1151029 w 3830903"/>
                    <a:gd name="connsiteY569" fmla="*/ 3244461 h 4401009"/>
                    <a:gd name="connsiteX570" fmla="*/ 1142578 w 3830903"/>
                    <a:gd name="connsiteY570" fmla="*/ 3232630 h 4401009"/>
                    <a:gd name="connsiteX571" fmla="*/ 1132437 w 3830903"/>
                    <a:gd name="connsiteY571" fmla="*/ 3217418 h 4401009"/>
                    <a:gd name="connsiteX572" fmla="*/ 1127366 w 3830903"/>
                    <a:gd name="connsiteY572" fmla="*/ 3212348 h 4401009"/>
                    <a:gd name="connsiteX573" fmla="*/ 1120605 w 3830903"/>
                    <a:gd name="connsiteY573" fmla="*/ 3200516 h 4401009"/>
                    <a:gd name="connsiteX574" fmla="*/ 1118915 w 3830903"/>
                    <a:gd name="connsiteY574" fmla="*/ 3190375 h 4401009"/>
                    <a:gd name="connsiteX575" fmla="*/ 1115535 w 3830903"/>
                    <a:gd name="connsiteY575" fmla="*/ 3183614 h 4401009"/>
                    <a:gd name="connsiteX576" fmla="*/ 1122295 w 3830903"/>
                    <a:gd name="connsiteY576" fmla="*/ 3148120 h 4401009"/>
                    <a:gd name="connsiteX577" fmla="*/ 1115535 w 3830903"/>
                    <a:gd name="connsiteY577" fmla="*/ 3136288 h 4401009"/>
                    <a:gd name="connsiteX578" fmla="*/ 1108774 w 3830903"/>
                    <a:gd name="connsiteY578" fmla="*/ 3132908 h 4401009"/>
                    <a:gd name="connsiteX579" fmla="*/ 1095252 w 3830903"/>
                    <a:gd name="connsiteY579" fmla="*/ 3129528 h 4401009"/>
                    <a:gd name="connsiteX580" fmla="*/ 1083421 w 3830903"/>
                    <a:gd name="connsiteY580" fmla="*/ 3126147 h 4401009"/>
                    <a:gd name="connsiteX581" fmla="*/ 1076660 w 3830903"/>
                    <a:gd name="connsiteY581" fmla="*/ 3122767 h 4401009"/>
                    <a:gd name="connsiteX582" fmla="*/ 1076660 w 3830903"/>
                    <a:gd name="connsiteY582" fmla="*/ 3090653 h 4401009"/>
                    <a:gd name="connsiteX583" fmla="*/ 1081731 w 3830903"/>
                    <a:gd name="connsiteY583" fmla="*/ 3087273 h 4401009"/>
                    <a:gd name="connsiteX584" fmla="*/ 1095252 w 3830903"/>
                    <a:gd name="connsiteY584" fmla="*/ 3070371 h 4401009"/>
                    <a:gd name="connsiteX585" fmla="*/ 1117225 w 3830903"/>
                    <a:gd name="connsiteY585" fmla="*/ 3065300 h 4401009"/>
                    <a:gd name="connsiteX586" fmla="*/ 1129056 w 3830903"/>
                    <a:gd name="connsiteY586" fmla="*/ 3061920 h 4401009"/>
                    <a:gd name="connsiteX587" fmla="*/ 1139197 w 3830903"/>
                    <a:gd name="connsiteY587" fmla="*/ 3063610 h 4401009"/>
                    <a:gd name="connsiteX588" fmla="*/ 1156099 w 3830903"/>
                    <a:gd name="connsiteY588" fmla="*/ 3066990 h 4401009"/>
                    <a:gd name="connsiteX589" fmla="*/ 1161170 w 3830903"/>
                    <a:gd name="connsiteY589" fmla="*/ 3061920 h 4401009"/>
                    <a:gd name="connsiteX590" fmla="*/ 1167931 w 3830903"/>
                    <a:gd name="connsiteY590" fmla="*/ 3053469 h 4401009"/>
                    <a:gd name="connsiteX591" fmla="*/ 1173001 w 3830903"/>
                    <a:gd name="connsiteY591" fmla="*/ 3050088 h 4401009"/>
                    <a:gd name="connsiteX592" fmla="*/ 1178072 w 3830903"/>
                    <a:gd name="connsiteY592" fmla="*/ 3036566 h 4401009"/>
                    <a:gd name="connsiteX593" fmla="*/ 1186523 w 3830903"/>
                    <a:gd name="connsiteY593" fmla="*/ 2990931 h 4401009"/>
                    <a:gd name="connsiteX594" fmla="*/ 1167931 w 3830903"/>
                    <a:gd name="connsiteY594" fmla="*/ 2989241 h 4401009"/>
                    <a:gd name="connsiteX595" fmla="*/ 1164550 w 3830903"/>
                    <a:gd name="connsiteY595" fmla="*/ 2977409 h 4401009"/>
                    <a:gd name="connsiteX596" fmla="*/ 1157790 w 3830903"/>
                    <a:gd name="connsiteY596" fmla="*/ 2965578 h 4401009"/>
                    <a:gd name="connsiteX597" fmla="*/ 1147648 w 3830903"/>
                    <a:gd name="connsiteY597" fmla="*/ 2958817 h 4401009"/>
                    <a:gd name="connsiteX598" fmla="*/ 1139197 w 3830903"/>
                    <a:gd name="connsiteY598" fmla="*/ 2955437 h 4401009"/>
                    <a:gd name="connsiteX599" fmla="*/ 1108774 w 3830903"/>
                    <a:gd name="connsiteY599" fmla="*/ 2953747 h 4401009"/>
                    <a:gd name="connsiteX600" fmla="*/ 1100323 w 3830903"/>
                    <a:gd name="connsiteY600" fmla="*/ 2955437 h 4401009"/>
                    <a:gd name="connsiteX601" fmla="*/ 1090182 w 3830903"/>
                    <a:gd name="connsiteY601" fmla="*/ 2965578 h 4401009"/>
                    <a:gd name="connsiteX602" fmla="*/ 1083421 w 3830903"/>
                    <a:gd name="connsiteY602" fmla="*/ 2967268 h 4401009"/>
                    <a:gd name="connsiteX603" fmla="*/ 1085111 w 3830903"/>
                    <a:gd name="connsiteY603" fmla="*/ 2953747 h 4401009"/>
                    <a:gd name="connsiteX604" fmla="*/ 1081731 w 3830903"/>
                    <a:gd name="connsiteY604" fmla="*/ 2946986 h 4401009"/>
                    <a:gd name="connsiteX605" fmla="*/ 1080040 w 3830903"/>
                    <a:gd name="connsiteY605" fmla="*/ 2935154 h 4401009"/>
                    <a:gd name="connsiteX606" fmla="*/ 1063138 w 3830903"/>
                    <a:gd name="connsiteY606" fmla="*/ 2921633 h 4401009"/>
                    <a:gd name="connsiteX607" fmla="*/ 1058068 w 3830903"/>
                    <a:gd name="connsiteY607" fmla="*/ 2916562 h 4401009"/>
                    <a:gd name="connsiteX608" fmla="*/ 1031024 w 3830903"/>
                    <a:gd name="connsiteY608" fmla="*/ 2914872 h 4401009"/>
                    <a:gd name="connsiteX609" fmla="*/ 1025954 w 3830903"/>
                    <a:gd name="connsiteY609" fmla="*/ 2913182 h 4401009"/>
                    <a:gd name="connsiteX610" fmla="*/ 1015813 w 3830903"/>
                    <a:gd name="connsiteY610" fmla="*/ 2906421 h 4401009"/>
                    <a:gd name="connsiteX611" fmla="*/ 1002291 w 3830903"/>
                    <a:gd name="connsiteY611" fmla="*/ 2904731 h 4401009"/>
                    <a:gd name="connsiteX612" fmla="*/ 992150 w 3830903"/>
                    <a:gd name="connsiteY612" fmla="*/ 2896280 h 4401009"/>
                    <a:gd name="connsiteX613" fmla="*/ 988769 w 3830903"/>
                    <a:gd name="connsiteY613" fmla="*/ 2889519 h 4401009"/>
                    <a:gd name="connsiteX614" fmla="*/ 978628 w 3830903"/>
                    <a:gd name="connsiteY614" fmla="*/ 2875997 h 4401009"/>
                    <a:gd name="connsiteX615" fmla="*/ 966797 w 3830903"/>
                    <a:gd name="connsiteY615" fmla="*/ 2854025 h 4401009"/>
                    <a:gd name="connsiteX616" fmla="*/ 954965 w 3830903"/>
                    <a:gd name="connsiteY616" fmla="*/ 2832052 h 4401009"/>
                    <a:gd name="connsiteX617" fmla="*/ 946514 w 3830903"/>
                    <a:gd name="connsiteY617" fmla="*/ 2823601 h 4401009"/>
                    <a:gd name="connsiteX618" fmla="*/ 938063 w 3830903"/>
                    <a:gd name="connsiteY618" fmla="*/ 2821911 h 4401009"/>
                    <a:gd name="connsiteX619" fmla="*/ 932993 w 3830903"/>
                    <a:gd name="connsiteY619" fmla="*/ 2823601 h 4401009"/>
                    <a:gd name="connsiteX620" fmla="*/ 919471 w 3830903"/>
                    <a:gd name="connsiteY620" fmla="*/ 2825291 h 4401009"/>
                    <a:gd name="connsiteX621" fmla="*/ 916091 w 3830903"/>
                    <a:gd name="connsiteY621" fmla="*/ 2791487 h 4401009"/>
                    <a:gd name="connsiteX622" fmla="*/ 921161 w 3830903"/>
                    <a:gd name="connsiteY622" fmla="*/ 2788107 h 4401009"/>
                    <a:gd name="connsiteX623" fmla="*/ 926232 w 3830903"/>
                    <a:gd name="connsiteY623" fmla="*/ 2776275 h 4401009"/>
                    <a:gd name="connsiteX624" fmla="*/ 931302 w 3830903"/>
                    <a:gd name="connsiteY624" fmla="*/ 2771205 h 4401009"/>
                    <a:gd name="connsiteX625" fmla="*/ 917781 w 3830903"/>
                    <a:gd name="connsiteY625" fmla="*/ 2742471 h 4401009"/>
                    <a:gd name="connsiteX626" fmla="*/ 911020 w 3830903"/>
                    <a:gd name="connsiteY626" fmla="*/ 2739091 h 4401009"/>
                    <a:gd name="connsiteX627" fmla="*/ 907640 w 3830903"/>
                    <a:gd name="connsiteY627" fmla="*/ 2735710 h 4401009"/>
                    <a:gd name="connsiteX628" fmla="*/ 907640 w 3830903"/>
                    <a:gd name="connsiteY628" fmla="*/ 2713738 h 4401009"/>
                    <a:gd name="connsiteX629" fmla="*/ 902569 w 3830903"/>
                    <a:gd name="connsiteY629" fmla="*/ 2703596 h 4401009"/>
                    <a:gd name="connsiteX630" fmla="*/ 899189 w 3830903"/>
                    <a:gd name="connsiteY630" fmla="*/ 2696836 h 4401009"/>
                    <a:gd name="connsiteX631" fmla="*/ 895808 w 3830903"/>
                    <a:gd name="connsiteY631" fmla="*/ 2691765 h 4401009"/>
                    <a:gd name="connsiteX632" fmla="*/ 889047 w 3830903"/>
                    <a:gd name="connsiteY632" fmla="*/ 2678243 h 4401009"/>
                    <a:gd name="connsiteX633" fmla="*/ 883977 w 3830903"/>
                    <a:gd name="connsiteY633" fmla="*/ 2674863 h 4401009"/>
                    <a:gd name="connsiteX634" fmla="*/ 878906 w 3830903"/>
                    <a:gd name="connsiteY634" fmla="*/ 2678243 h 4401009"/>
                    <a:gd name="connsiteX635" fmla="*/ 868765 w 3830903"/>
                    <a:gd name="connsiteY635" fmla="*/ 2679934 h 4401009"/>
                    <a:gd name="connsiteX636" fmla="*/ 860314 w 3830903"/>
                    <a:gd name="connsiteY636" fmla="*/ 2668102 h 4401009"/>
                    <a:gd name="connsiteX637" fmla="*/ 821439 w 3830903"/>
                    <a:gd name="connsiteY637" fmla="*/ 2654581 h 4401009"/>
                    <a:gd name="connsiteX638" fmla="*/ 806227 w 3830903"/>
                    <a:gd name="connsiteY638" fmla="*/ 2656271 h 4401009"/>
                    <a:gd name="connsiteX639" fmla="*/ 796086 w 3830903"/>
                    <a:gd name="connsiteY639" fmla="*/ 2657961 h 4401009"/>
                    <a:gd name="connsiteX640" fmla="*/ 787635 w 3830903"/>
                    <a:gd name="connsiteY640" fmla="*/ 2668102 h 4401009"/>
                    <a:gd name="connsiteX641" fmla="*/ 785945 w 3830903"/>
                    <a:gd name="connsiteY641" fmla="*/ 2676553 h 4401009"/>
                    <a:gd name="connsiteX642" fmla="*/ 784255 w 3830903"/>
                    <a:gd name="connsiteY642" fmla="*/ 2681624 h 4401009"/>
                    <a:gd name="connsiteX643" fmla="*/ 777494 w 3830903"/>
                    <a:gd name="connsiteY643" fmla="*/ 2690075 h 4401009"/>
                    <a:gd name="connsiteX644" fmla="*/ 774114 w 3830903"/>
                    <a:gd name="connsiteY644" fmla="*/ 2695145 h 4401009"/>
                    <a:gd name="connsiteX645" fmla="*/ 770733 w 3830903"/>
                    <a:gd name="connsiteY645" fmla="*/ 2698526 h 4401009"/>
                    <a:gd name="connsiteX646" fmla="*/ 752141 w 3830903"/>
                    <a:gd name="connsiteY646" fmla="*/ 2701906 h 4401009"/>
                    <a:gd name="connsiteX647" fmla="*/ 745380 w 3830903"/>
                    <a:gd name="connsiteY647" fmla="*/ 2695145 h 4401009"/>
                    <a:gd name="connsiteX648" fmla="*/ 743690 w 3830903"/>
                    <a:gd name="connsiteY648" fmla="*/ 2671483 h 4401009"/>
                    <a:gd name="connsiteX649" fmla="*/ 730168 w 3830903"/>
                    <a:gd name="connsiteY649" fmla="*/ 2664722 h 4401009"/>
                    <a:gd name="connsiteX650" fmla="*/ 728478 w 3830903"/>
                    <a:gd name="connsiteY650" fmla="*/ 2669792 h 4401009"/>
                    <a:gd name="connsiteX651" fmla="*/ 721717 w 3830903"/>
                    <a:gd name="connsiteY651" fmla="*/ 2673173 h 4401009"/>
                    <a:gd name="connsiteX652" fmla="*/ 725098 w 3830903"/>
                    <a:gd name="connsiteY652" fmla="*/ 2668102 h 4401009"/>
                    <a:gd name="connsiteX653" fmla="*/ 718337 w 3830903"/>
                    <a:gd name="connsiteY653" fmla="*/ 2661341 h 4401009"/>
                    <a:gd name="connsiteX654" fmla="*/ 703125 w 3830903"/>
                    <a:gd name="connsiteY654" fmla="*/ 2659651 h 4401009"/>
                    <a:gd name="connsiteX655" fmla="*/ 699745 w 3830903"/>
                    <a:gd name="connsiteY655" fmla="*/ 2663032 h 4401009"/>
                    <a:gd name="connsiteX656" fmla="*/ 694674 w 3830903"/>
                    <a:gd name="connsiteY656" fmla="*/ 2666412 h 4401009"/>
                    <a:gd name="connsiteX657" fmla="*/ 674392 w 3830903"/>
                    <a:gd name="connsiteY657" fmla="*/ 2657961 h 4401009"/>
                    <a:gd name="connsiteX658" fmla="*/ 669321 w 3830903"/>
                    <a:gd name="connsiteY658" fmla="*/ 2669792 h 4401009"/>
                    <a:gd name="connsiteX659" fmla="*/ 667631 w 3830903"/>
                    <a:gd name="connsiteY659" fmla="*/ 2674863 h 4401009"/>
                    <a:gd name="connsiteX660" fmla="*/ 662560 w 3830903"/>
                    <a:gd name="connsiteY660" fmla="*/ 2671483 h 4401009"/>
                    <a:gd name="connsiteX661" fmla="*/ 655799 w 3830903"/>
                    <a:gd name="connsiteY661" fmla="*/ 2664722 h 4401009"/>
                    <a:gd name="connsiteX662" fmla="*/ 642278 w 3830903"/>
                    <a:gd name="connsiteY662" fmla="*/ 2661341 h 4401009"/>
                    <a:gd name="connsiteX663" fmla="*/ 635517 w 3830903"/>
                    <a:gd name="connsiteY663" fmla="*/ 2663032 h 4401009"/>
                    <a:gd name="connsiteX664" fmla="*/ 633827 w 3830903"/>
                    <a:gd name="connsiteY664" fmla="*/ 2668102 h 4401009"/>
                    <a:gd name="connsiteX665" fmla="*/ 628756 w 3830903"/>
                    <a:gd name="connsiteY665" fmla="*/ 2674863 h 4401009"/>
                    <a:gd name="connsiteX666" fmla="*/ 623685 w 3830903"/>
                    <a:gd name="connsiteY666" fmla="*/ 2673173 h 4401009"/>
                    <a:gd name="connsiteX667" fmla="*/ 616925 w 3830903"/>
                    <a:gd name="connsiteY667" fmla="*/ 2659651 h 4401009"/>
                    <a:gd name="connsiteX668" fmla="*/ 610164 w 3830903"/>
                    <a:gd name="connsiteY668" fmla="*/ 2642749 h 4401009"/>
                    <a:gd name="connsiteX669" fmla="*/ 601713 w 3830903"/>
                    <a:gd name="connsiteY669" fmla="*/ 2632608 h 4401009"/>
                    <a:gd name="connsiteX670" fmla="*/ 596642 w 3830903"/>
                    <a:gd name="connsiteY670" fmla="*/ 2629227 h 4401009"/>
                    <a:gd name="connsiteX671" fmla="*/ 591572 w 3830903"/>
                    <a:gd name="connsiteY671" fmla="*/ 2622467 h 4401009"/>
                    <a:gd name="connsiteX672" fmla="*/ 586501 w 3830903"/>
                    <a:gd name="connsiteY672" fmla="*/ 2617396 h 4401009"/>
                    <a:gd name="connsiteX673" fmla="*/ 581430 w 3830903"/>
                    <a:gd name="connsiteY673" fmla="*/ 2598804 h 4401009"/>
                    <a:gd name="connsiteX674" fmla="*/ 583121 w 3830903"/>
                    <a:gd name="connsiteY674" fmla="*/ 2583592 h 4401009"/>
                    <a:gd name="connsiteX675" fmla="*/ 562838 w 3830903"/>
                    <a:gd name="connsiteY675" fmla="*/ 2581902 h 4401009"/>
                    <a:gd name="connsiteX676" fmla="*/ 557767 w 3830903"/>
                    <a:gd name="connsiteY676" fmla="*/ 2580212 h 4401009"/>
                    <a:gd name="connsiteX677" fmla="*/ 552697 w 3830903"/>
                    <a:gd name="connsiteY677" fmla="*/ 2553168 h 4401009"/>
                    <a:gd name="connsiteX678" fmla="*/ 544246 w 3830903"/>
                    <a:gd name="connsiteY678" fmla="*/ 2546408 h 4401009"/>
                    <a:gd name="connsiteX679" fmla="*/ 537485 w 3830903"/>
                    <a:gd name="connsiteY679" fmla="*/ 2544717 h 4401009"/>
                    <a:gd name="connsiteX680" fmla="*/ 535795 w 3830903"/>
                    <a:gd name="connsiteY680" fmla="*/ 2537956 h 4401009"/>
                    <a:gd name="connsiteX681" fmla="*/ 534105 w 3830903"/>
                    <a:gd name="connsiteY681" fmla="*/ 2532886 h 4401009"/>
                    <a:gd name="connsiteX682" fmla="*/ 529034 w 3830903"/>
                    <a:gd name="connsiteY682" fmla="*/ 2527815 h 4401009"/>
                    <a:gd name="connsiteX683" fmla="*/ 523963 w 3830903"/>
                    <a:gd name="connsiteY683" fmla="*/ 2475419 h 4401009"/>
                    <a:gd name="connsiteX684" fmla="*/ 513822 w 3830903"/>
                    <a:gd name="connsiteY684" fmla="*/ 2468658 h 4401009"/>
                    <a:gd name="connsiteX685" fmla="*/ 505371 w 3830903"/>
                    <a:gd name="connsiteY685" fmla="*/ 2463588 h 4401009"/>
                    <a:gd name="connsiteX686" fmla="*/ 495230 w 3830903"/>
                    <a:gd name="connsiteY686" fmla="*/ 2456827 h 4401009"/>
                    <a:gd name="connsiteX687" fmla="*/ 493540 w 3830903"/>
                    <a:gd name="connsiteY687" fmla="*/ 2451756 h 4401009"/>
                    <a:gd name="connsiteX688" fmla="*/ 490159 w 3830903"/>
                    <a:gd name="connsiteY688" fmla="*/ 2446686 h 4401009"/>
                    <a:gd name="connsiteX689" fmla="*/ 478328 w 3830903"/>
                    <a:gd name="connsiteY689" fmla="*/ 2444995 h 4401009"/>
                    <a:gd name="connsiteX690" fmla="*/ 474948 w 3830903"/>
                    <a:gd name="connsiteY690" fmla="*/ 2439925 h 4401009"/>
                    <a:gd name="connsiteX691" fmla="*/ 466497 w 3830903"/>
                    <a:gd name="connsiteY691" fmla="*/ 2417952 h 4401009"/>
                    <a:gd name="connsiteX692" fmla="*/ 469877 w 3830903"/>
                    <a:gd name="connsiteY692" fmla="*/ 2407811 h 4401009"/>
                    <a:gd name="connsiteX693" fmla="*/ 473257 w 3830903"/>
                    <a:gd name="connsiteY693" fmla="*/ 2389219 h 4401009"/>
                    <a:gd name="connsiteX694" fmla="*/ 478328 w 3830903"/>
                    <a:gd name="connsiteY694" fmla="*/ 2384148 h 4401009"/>
                    <a:gd name="connsiteX695" fmla="*/ 485089 w 3830903"/>
                    <a:gd name="connsiteY695" fmla="*/ 2380768 h 4401009"/>
                    <a:gd name="connsiteX696" fmla="*/ 495230 w 3830903"/>
                    <a:gd name="connsiteY696" fmla="*/ 2377387 h 4401009"/>
                    <a:gd name="connsiteX697" fmla="*/ 493540 w 3830903"/>
                    <a:gd name="connsiteY697" fmla="*/ 2370626 h 4401009"/>
                    <a:gd name="connsiteX698" fmla="*/ 490159 w 3830903"/>
                    <a:gd name="connsiteY698" fmla="*/ 2367246 h 4401009"/>
                    <a:gd name="connsiteX699" fmla="*/ 481708 w 3830903"/>
                    <a:gd name="connsiteY699" fmla="*/ 2362175 h 4401009"/>
                    <a:gd name="connsiteX700" fmla="*/ 478328 w 3830903"/>
                    <a:gd name="connsiteY700" fmla="*/ 2355415 h 4401009"/>
                    <a:gd name="connsiteX701" fmla="*/ 473257 w 3830903"/>
                    <a:gd name="connsiteY701" fmla="*/ 2350344 h 4401009"/>
                    <a:gd name="connsiteX702" fmla="*/ 468187 w 3830903"/>
                    <a:gd name="connsiteY702" fmla="*/ 2341893 h 4401009"/>
                    <a:gd name="connsiteX703" fmla="*/ 461426 w 3830903"/>
                    <a:gd name="connsiteY703" fmla="*/ 2333442 h 4401009"/>
                    <a:gd name="connsiteX704" fmla="*/ 458045 w 3830903"/>
                    <a:gd name="connsiteY704" fmla="*/ 2328371 h 4401009"/>
                    <a:gd name="connsiteX705" fmla="*/ 451285 w 3830903"/>
                    <a:gd name="connsiteY705" fmla="*/ 2324991 h 4401009"/>
                    <a:gd name="connsiteX706" fmla="*/ 446214 w 3830903"/>
                    <a:gd name="connsiteY706" fmla="*/ 2321610 h 4401009"/>
                    <a:gd name="connsiteX707" fmla="*/ 441143 w 3830903"/>
                    <a:gd name="connsiteY707" fmla="*/ 2319920 h 4401009"/>
                    <a:gd name="connsiteX708" fmla="*/ 439453 w 3830903"/>
                    <a:gd name="connsiteY708" fmla="*/ 2287806 h 4401009"/>
                    <a:gd name="connsiteX709" fmla="*/ 436073 w 3830903"/>
                    <a:gd name="connsiteY709" fmla="*/ 2270904 h 4401009"/>
                    <a:gd name="connsiteX710" fmla="*/ 432692 w 3830903"/>
                    <a:gd name="connsiteY710" fmla="*/ 2265834 h 4401009"/>
                    <a:gd name="connsiteX711" fmla="*/ 429312 w 3830903"/>
                    <a:gd name="connsiteY711" fmla="*/ 2245551 h 4401009"/>
                    <a:gd name="connsiteX712" fmla="*/ 427622 w 3830903"/>
                    <a:gd name="connsiteY712" fmla="*/ 2238791 h 4401009"/>
                    <a:gd name="connsiteX713" fmla="*/ 419171 w 3830903"/>
                    <a:gd name="connsiteY713" fmla="*/ 2237100 h 4401009"/>
                    <a:gd name="connsiteX714" fmla="*/ 415790 w 3830903"/>
                    <a:gd name="connsiteY714" fmla="*/ 2232030 h 4401009"/>
                    <a:gd name="connsiteX715" fmla="*/ 414100 w 3830903"/>
                    <a:gd name="connsiteY715" fmla="*/ 2196535 h 4401009"/>
                    <a:gd name="connsiteX716" fmla="*/ 420861 w 3830903"/>
                    <a:gd name="connsiteY716" fmla="*/ 2189775 h 4401009"/>
                    <a:gd name="connsiteX717" fmla="*/ 427622 w 3830903"/>
                    <a:gd name="connsiteY717" fmla="*/ 2179633 h 4401009"/>
                    <a:gd name="connsiteX718" fmla="*/ 441143 w 3830903"/>
                    <a:gd name="connsiteY718" fmla="*/ 2169492 h 4401009"/>
                    <a:gd name="connsiteX719" fmla="*/ 444524 w 3830903"/>
                    <a:gd name="connsiteY719" fmla="*/ 2154280 h 4401009"/>
                    <a:gd name="connsiteX720" fmla="*/ 441143 w 3830903"/>
                    <a:gd name="connsiteY720" fmla="*/ 2137378 h 4401009"/>
                    <a:gd name="connsiteX721" fmla="*/ 442834 w 3830903"/>
                    <a:gd name="connsiteY721" fmla="*/ 2125547 h 4401009"/>
                    <a:gd name="connsiteX722" fmla="*/ 446214 w 3830903"/>
                    <a:gd name="connsiteY722" fmla="*/ 2120476 h 4401009"/>
                    <a:gd name="connsiteX723" fmla="*/ 447904 w 3830903"/>
                    <a:gd name="connsiteY723" fmla="*/ 2115406 h 4401009"/>
                    <a:gd name="connsiteX724" fmla="*/ 456355 w 3830903"/>
                    <a:gd name="connsiteY724" fmla="*/ 2110335 h 4401009"/>
                    <a:gd name="connsiteX725" fmla="*/ 465341 w 3830903"/>
                    <a:gd name="connsiteY725" fmla="*/ 2099673 h 4401009"/>
                    <a:gd name="connsiteX726" fmla="*/ 456355 w 3830903"/>
                    <a:gd name="connsiteY726" fmla="*/ 2086672 h 4401009"/>
                    <a:gd name="connsiteX727" fmla="*/ 451285 w 3830903"/>
                    <a:gd name="connsiteY727" fmla="*/ 2083292 h 4401009"/>
                    <a:gd name="connsiteX728" fmla="*/ 439453 w 3830903"/>
                    <a:gd name="connsiteY728" fmla="*/ 2079911 h 4401009"/>
                    <a:gd name="connsiteX729" fmla="*/ 434383 w 3830903"/>
                    <a:gd name="connsiteY729" fmla="*/ 2078221 h 4401009"/>
                    <a:gd name="connsiteX730" fmla="*/ 429312 w 3830903"/>
                    <a:gd name="connsiteY730" fmla="*/ 2066390 h 4401009"/>
                    <a:gd name="connsiteX731" fmla="*/ 431002 w 3830903"/>
                    <a:gd name="connsiteY731" fmla="*/ 2046107 h 4401009"/>
                    <a:gd name="connsiteX732" fmla="*/ 429312 w 3830903"/>
                    <a:gd name="connsiteY732" fmla="*/ 2034276 h 4401009"/>
                    <a:gd name="connsiteX733" fmla="*/ 425932 w 3830903"/>
                    <a:gd name="connsiteY733" fmla="*/ 2027515 h 4401009"/>
                    <a:gd name="connsiteX734" fmla="*/ 424241 w 3830903"/>
                    <a:gd name="connsiteY734" fmla="*/ 2022444 h 4401009"/>
                    <a:gd name="connsiteX735" fmla="*/ 441143 w 3830903"/>
                    <a:gd name="connsiteY735" fmla="*/ 2020754 h 4401009"/>
                    <a:gd name="connsiteX736" fmla="*/ 444524 w 3830903"/>
                    <a:gd name="connsiteY736" fmla="*/ 2024135 h 4401009"/>
                    <a:gd name="connsiteX737" fmla="*/ 464806 w 3830903"/>
                    <a:gd name="connsiteY737" fmla="*/ 2025825 h 4401009"/>
                    <a:gd name="connsiteX738" fmla="*/ 466497 w 3830903"/>
                    <a:gd name="connsiteY738" fmla="*/ 2017374 h 4401009"/>
                    <a:gd name="connsiteX739" fmla="*/ 459736 w 3830903"/>
                    <a:gd name="connsiteY739" fmla="*/ 2013993 h 4401009"/>
                    <a:gd name="connsiteX740" fmla="*/ 456355 w 3830903"/>
                    <a:gd name="connsiteY740" fmla="*/ 2007233 h 4401009"/>
                    <a:gd name="connsiteX741" fmla="*/ 464806 w 3830903"/>
                    <a:gd name="connsiteY741" fmla="*/ 2005542 h 4401009"/>
                    <a:gd name="connsiteX742" fmla="*/ 500301 w 3830903"/>
                    <a:gd name="connsiteY742" fmla="*/ 2002162 h 4401009"/>
                    <a:gd name="connsiteX743" fmla="*/ 501991 w 3830903"/>
                    <a:gd name="connsiteY743" fmla="*/ 1992021 h 4401009"/>
                    <a:gd name="connsiteX744" fmla="*/ 512132 w 3830903"/>
                    <a:gd name="connsiteY744" fmla="*/ 1978499 h 4401009"/>
                    <a:gd name="connsiteX745" fmla="*/ 510442 w 3830903"/>
                    <a:gd name="connsiteY745" fmla="*/ 1968358 h 4401009"/>
                    <a:gd name="connsiteX746" fmla="*/ 523963 w 3830903"/>
                    <a:gd name="connsiteY746" fmla="*/ 1968358 h 4401009"/>
                    <a:gd name="connsiteX747" fmla="*/ 567909 w 3830903"/>
                    <a:gd name="connsiteY747" fmla="*/ 1970048 h 4401009"/>
                    <a:gd name="connsiteX748" fmla="*/ 593262 w 3830903"/>
                    <a:gd name="connsiteY748" fmla="*/ 1966668 h 4401009"/>
                    <a:gd name="connsiteX749" fmla="*/ 601713 w 3830903"/>
                    <a:gd name="connsiteY749" fmla="*/ 1963287 h 4401009"/>
                    <a:gd name="connsiteX750" fmla="*/ 600023 w 3830903"/>
                    <a:gd name="connsiteY750" fmla="*/ 1958217 h 4401009"/>
                    <a:gd name="connsiteX751" fmla="*/ 571289 w 3830903"/>
                    <a:gd name="connsiteY751" fmla="*/ 1956527 h 4401009"/>
                    <a:gd name="connsiteX752" fmla="*/ 571289 w 3830903"/>
                    <a:gd name="connsiteY752" fmla="*/ 1946385 h 4401009"/>
                    <a:gd name="connsiteX753" fmla="*/ 586501 w 3830903"/>
                    <a:gd name="connsiteY753" fmla="*/ 1944695 h 4401009"/>
                    <a:gd name="connsiteX754" fmla="*/ 581430 w 3830903"/>
                    <a:gd name="connsiteY754" fmla="*/ 1941315 h 4401009"/>
                    <a:gd name="connsiteX755" fmla="*/ 574670 w 3830903"/>
                    <a:gd name="connsiteY755" fmla="*/ 1924413 h 4401009"/>
                    <a:gd name="connsiteX756" fmla="*/ 532414 w 3830903"/>
                    <a:gd name="connsiteY756" fmla="*/ 1922722 h 4401009"/>
                    <a:gd name="connsiteX757" fmla="*/ 518893 w 3830903"/>
                    <a:gd name="connsiteY757" fmla="*/ 1926103 h 4401009"/>
                    <a:gd name="connsiteX758" fmla="*/ 508752 w 3830903"/>
                    <a:gd name="connsiteY758" fmla="*/ 1939625 h 4401009"/>
                    <a:gd name="connsiteX759" fmla="*/ 505371 w 3830903"/>
                    <a:gd name="connsiteY759" fmla="*/ 1943005 h 4401009"/>
                    <a:gd name="connsiteX760" fmla="*/ 496920 w 3830903"/>
                    <a:gd name="connsiteY760" fmla="*/ 1944695 h 4401009"/>
                    <a:gd name="connsiteX761" fmla="*/ 491850 w 3830903"/>
                    <a:gd name="connsiteY761" fmla="*/ 1943005 h 4401009"/>
                    <a:gd name="connsiteX762" fmla="*/ 481708 w 3830903"/>
                    <a:gd name="connsiteY762" fmla="*/ 1939625 h 4401009"/>
                    <a:gd name="connsiteX763" fmla="*/ 476638 w 3830903"/>
                    <a:gd name="connsiteY763" fmla="*/ 1934554 h 4401009"/>
                    <a:gd name="connsiteX764" fmla="*/ 468187 w 3830903"/>
                    <a:gd name="connsiteY764" fmla="*/ 1926103 h 4401009"/>
                    <a:gd name="connsiteX765" fmla="*/ 456355 w 3830903"/>
                    <a:gd name="connsiteY765" fmla="*/ 1909201 h 4401009"/>
                    <a:gd name="connsiteX766" fmla="*/ 444524 w 3830903"/>
                    <a:gd name="connsiteY766" fmla="*/ 1900750 h 4401009"/>
                    <a:gd name="connsiteX767" fmla="*/ 441143 w 3830903"/>
                    <a:gd name="connsiteY767" fmla="*/ 1861875 h 4401009"/>
                    <a:gd name="connsiteX768" fmla="*/ 439453 w 3830903"/>
                    <a:gd name="connsiteY768" fmla="*/ 1855114 h 4401009"/>
                    <a:gd name="connsiteX769" fmla="*/ 432692 w 3830903"/>
                    <a:gd name="connsiteY769" fmla="*/ 1853424 h 4401009"/>
                    <a:gd name="connsiteX770" fmla="*/ 427622 w 3830903"/>
                    <a:gd name="connsiteY770" fmla="*/ 1856805 h 4401009"/>
                    <a:gd name="connsiteX771" fmla="*/ 415790 w 3830903"/>
                    <a:gd name="connsiteY771" fmla="*/ 1870326 h 4401009"/>
                    <a:gd name="connsiteX772" fmla="*/ 407339 w 3830903"/>
                    <a:gd name="connsiteY772" fmla="*/ 1883848 h 4401009"/>
                    <a:gd name="connsiteX773" fmla="*/ 398888 w 3830903"/>
                    <a:gd name="connsiteY773" fmla="*/ 1888918 h 4401009"/>
                    <a:gd name="connsiteX774" fmla="*/ 390437 w 3830903"/>
                    <a:gd name="connsiteY774" fmla="*/ 1895679 h 4401009"/>
                    <a:gd name="connsiteX775" fmla="*/ 387057 w 3830903"/>
                    <a:gd name="connsiteY775" fmla="*/ 1900750 h 4401009"/>
                    <a:gd name="connsiteX776" fmla="*/ 378606 w 3830903"/>
                    <a:gd name="connsiteY776" fmla="*/ 1902440 h 4401009"/>
                    <a:gd name="connsiteX777" fmla="*/ 368465 w 3830903"/>
                    <a:gd name="connsiteY777" fmla="*/ 1905820 h 4401009"/>
                    <a:gd name="connsiteX778" fmla="*/ 358323 w 3830903"/>
                    <a:gd name="connsiteY778" fmla="*/ 1904130 h 4401009"/>
                    <a:gd name="connsiteX779" fmla="*/ 361704 w 3830903"/>
                    <a:gd name="connsiteY779" fmla="*/ 1895679 h 4401009"/>
                    <a:gd name="connsiteX780" fmla="*/ 380296 w 3830903"/>
                    <a:gd name="connsiteY780" fmla="*/ 1873707 h 4401009"/>
                    <a:gd name="connsiteX781" fmla="*/ 387057 w 3830903"/>
                    <a:gd name="connsiteY781" fmla="*/ 1861875 h 4401009"/>
                    <a:gd name="connsiteX782" fmla="*/ 388747 w 3830903"/>
                    <a:gd name="connsiteY782" fmla="*/ 1856805 h 4401009"/>
                    <a:gd name="connsiteX783" fmla="*/ 393818 w 3830903"/>
                    <a:gd name="connsiteY783" fmla="*/ 1841593 h 4401009"/>
                    <a:gd name="connsiteX784" fmla="*/ 397198 w 3830903"/>
                    <a:gd name="connsiteY784" fmla="*/ 1836522 h 4401009"/>
                    <a:gd name="connsiteX785" fmla="*/ 400579 w 3830903"/>
                    <a:gd name="connsiteY785" fmla="*/ 1817930 h 4401009"/>
                    <a:gd name="connsiteX786" fmla="*/ 407339 w 3830903"/>
                    <a:gd name="connsiteY786" fmla="*/ 1807789 h 4401009"/>
                    <a:gd name="connsiteX787" fmla="*/ 414100 w 3830903"/>
                    <a:gd name="connsiteY787" fmla="*/ 1792577 h 4401009"/>
                    <a:gd name="connsiteX788" fmla="*/ 429312 w 3830903"/>
                    <a:gd name="connsiteY788" fmla="*/ 1773985 h 4401009"/>
                    <a:gd name="connsiteX789" fmla="*/ 459736 w 3830903"/>
                    <a:gd name="connsiteY789" fmla="*/ 1687784 h 4401009"/>
                    <a:gd name="connsiteX790" fmla="*/ 476638 w 3830903"/>
                    <a:gd name="connsiteY790" fmla="*/ 1645529 h 4401009"/>
                    <a:gd name="connsiteX791" fmla="*/ 485089 w 3830903"/>
                    <a:gd name="connsiteY791" fmla="*/ 1625247 h 4401009"/>
                    <a:gd name="connsiteX792" fmla="*/ 488469 w 3830903"/>
                    <a:gd name="connsiteY792" fmla="*/ 1611725 h 4401009"/>
                    <a:gd name="connsiteX793" fmla="*/ 493540 w 3830903"/>
                    <a:gd name="connsiteY793" fmla="*/ 1606654 h 4401009"/>
                    <a:gd name="connsiteX794" fmla="*/ 539175 w 3830903"/>
                    <a:gd name="connsiteY794" fmla="*/ 1498481 h 4401009"/>
                    <a:gd name="connsiteX795" fmla="*/ 545936 w 3830903"/>
                    <a:gd name="connsiteY795" fmla="*/ 1457916 h 4401009"/>
                    <a:gd name="connsiteX796" fmla="*/ 534105 w 3830903"/>
                    <a:gd name="connsiteY796" fmla="*/ 1424113 h 4401009"/>
                    <a:gd name="connsiteX797" fmla="*/ 520583 w 3830903"/>
                    <a:gd name="connsiteY797" fmla="*/ 1408901 h 4401009"/>
                    <a:gd name="connsiteX798" fmla="*/ 501991 w 3830903"/>
                    <a:gd name="connsiteY798" fmla="*/ 1402140 h 4401009"/>
                    <a:gd name="connsiteX799" fmla="*/ 495230 w 3830903"/>
                    <a:gd name="connsiteY799" fmla="*/ 1400450 h 4401009"/>
                    <a:gd name="connsiteX800" fmla="*/ 478328 w 3830903"/>
                    <a:gd name="connsiteY800" fmla="*/ 1393689 h 4401009"/>
                    <a:gd name="connsiteX801" fmla="*/ 464806 w 3830903"/>
                    <a:gd name="connsiteY801" fmla="*/ 1378477 h 4401009"/>
                    <a:gd name="connsiteX802" fmla="*/ 476638 w 3830903"/>
                    <a:gd name="connsiteY802" fmla="*/ 1351434 h 4401009"/>
                    <a:gd name="connsiteX803" fmla="*/ 458045 w 3830903"/>
                    <a:gd name="connsiteY803" fmla="*/ 1349744 h 4401009"/>
                    <a:gd name="connsiteX804" fmla="*/ 452975 w 3830903"/>
                    <a:gd name="connsiteY804" fmla="*/ 1348053 h 4401009"/>
                    <a:gd name="connsiteX805" fmla="*/ 444524 w 3830903"/>
                    <a:gd name="connsiteY805" fmla="*/ 1346363 h 4401009"/>
                    <a:gd name="connsiteX806" fmla="*/ 434383 w 3830903"/>
                    <a:gd name="connsiteY806" fmla="*/ 1336222 h 4401009"/>
                    <a:gd name="connsiteX807" fmla="*/ 422551 w 3830903"/>
                    <a:gd name="connsiteY807" fmla="*/ 1334532 h 4401009"/>
                    <a:gd name="connsiteX808" fmla="*/ 417481 w 3830903"/>
                    <a:gd name="connsiteY808" fmla="*/ 1332842 h 4401009"/>
                    <a:gd name="connsiteX809" fmla="*/ 415790 w 3830903"/>
                    <a:gd name="connsiteY809" fmla="*/ 1326081 h 4401009"/>
                    <a:gd name="connsiteX810" fmla="*/ 410720 w 3830903"/>
                    <a:gd name="connsiteY810" fmla="*/ 1321010 h 4401009"/>
                    <a:gd name="connsiteX811" fmla="*/ 400579 w 3830903"/>
                    <a:gd name="connsiteY811" fmla="*/ 1314249 h 4401009"/>
                    <a:gd name="connsiteX812" fmla="*/ 395508 w 3830903"/>
                    <a:gd name="connsiteY812" fmla="*/ 1312559 h 4401009"/>
                    <a:gd name="connsiteX813" fmla="*/ 390437 w 3830903"/>
                    <a:gd name="connsiteY813" fmla="*/ 1295657 h 4401009"/>
                    <a:gd name="connsiteX814" fmla="*/ 392128 w 3830903"/>
                    <a:gd name="connsiteY814" fmla="*/ 1288896 h 4401009"/>
                    <a:gd name="connsiteX815" fmla="*/ 397198 w 3830903"/>
                    <a:gd name="connsiteY815" fmla="*/ 1280445 h 4401009"/>
                    <a:gd name="connsiteX816" fmla="*/ 405649 w 3830903"/>
                    <a:gd name="connsiteY816" fmla="*/ 1224669 h 4401009"/>
                    <a:gd name="connsiteX817" fmla="*/ 402269 w 3830903"/>
                    <a:gd name="connsiteY817" fmla="*/ 1217908 h 4401009"/>
                    <a:gd name="connsiteX818" fmla="*/ 397198 w 3830903"/>
                    <a:gd name="connsiteY818" fmla="*/ 1216217 h 4401009"/>
                    <a:gd name="connsiteX819" fmla="*/ 395508 w 3830903"/>
                    <a:gd name="connsiteY819" fmla="*/ 1211147 h 4401009"/>
                    <a:gd name="connsiteX820" fmla="*/ 392128 w 3830903"/>
                    <a:gd name="connsiteY820" fmla="*/ 1206076 h 4401009"/>
                    <a:gd name="connsiteX821" fmla="*/ 387057 w 3830903"/>
                    <a:gd name="connsiteY821" fmla="*/ 1202696 h 4401009"/>
                    <a:gd name="connsiteX822" fmla="*/ 380296 w 3830903"/>
                    <a:gd name="connsiteY822" fmla="*/ 1195935 h 4401009"/>
                    <a:gd name="connsiteX823" fmla="*/ 375226 w 3830903"/>
                    <a:gd name="connsiteY823" fmla="*/ 1192555 h 4401009"/>
                    <a:gd name="connsiteX824" fmla="*/ 353253 w 3830903"/>
                    <a:gd name="connsiteY824" fmla="*/ 1185794 h 4401009"/>
                    <a:gd name="connsiteX825" fmla="*/ 348182 w 3830903"/>
                    <a:gd name="connsiteY825" fmla="*/ 1173962 h 4401009"/>
                    <a:gd name="connsiteX826" fmla="*/ 344802 w 3830903"/>
                    <a:gd name="connsiteY826" fmla="*/ 1168892 h 4401009"/>
                    <a:gd name="connsiteX827" fmla="*/ 339731 w 3830903"/>
                    <a:gd name="connsiteY827" fmla="*/ 1153680 h 4401009"/>
                    <a:gd name="connsiteX828" fmla="*/ 336351 w 3830903"/>
                    <a:gd name="connsiteY828" fmla="*/ 1123256 h 4401009"/>
                    <a:gd name="connsiteX829" fmla="*/ 297476 w 3830903"/>
                    <a:gd name="connsiteY829" fmla="*/ 1121566 h 4401009"/>
                    <a:gd name="connsiteX830" fmla="*/ 287335 w 3830903"/>
                    <a:gd name="connsiteY830" fmla="*/ 1113115 h 4401009"/>
                    <a:gd name="connsiteX831" fmla="*/ 285645 w 3830903"/>
                    <a:gd name="connsiteY831" fmla="*/ 1092833 h 4401009"/>
                    <a:gd name="connsiteX832" fmla="*/ 287335 w 3830903"/>
                    <a:gd name="connsiteY832" fmla="*/ 1082691 h 4401009"/>
                    <a:gd name="connsiteX833" fmla="*/ 299166 w 3830903"/>
                    <a:gd name="connsiteY833" fmla="*/ 1057338 h 4401009"/>
                    <a:gd name="connsiteX834" fmla="*/ 287335 w 3830903"/>
                    <a:gd name="connsiteY834" fmla="*/ 1052268 h 4401009"/>
                    <a:gd name="connsiteX835" fmla="*/ 270433 w 3830903"/>
                    <a:gd name="connsiteY835" fmla="*/ 1047197 h 4401009"/>
                    <a:gd name="connsiteX836" fmla="*/ 272123 w 3830903"/>
                    <a:gd name="connsiteY836" fmla="*/ 1013393 h 4401009"/>
                    <a:gd name="connsiteX837" fmla="*/ 273813 w 3830903"/>
                    <a:gd name="connsiteY837" fmla="*/ 991420 h 4401009"/>
                    <a:gd name="connsiteX838" fmla="*/ 272123 w 3830903"/>
                    <a:gd name="connsiteY838" fmla="*/ 974518 h 4401009"/>
                    <a:gd name="connsiteX839" fmla="*/ 270433 w 3830903"/>
                    <a:gd name="connsiteY839" fmla="*/ 967758 h 4401009"/>
                    <a:gd name="connsiteX840" fmla="*/ 273813 w 3830903"/>
                    <a:gd name="connsiteY840" fmla="*/ 955926 h 4401009"/>
                    <a:gd name="connsiteX841" fmla="*/ 279877 w 3830903"/>
                    <a:gd name="connsiteY841" fmla="*/ 969184 h 4401009"/>
                    <a:gd name="connsiteX842" fmla="*/ 282592 w 3830903"/>
                    <a:gd name="connsiteY842" fmla="*/ 974081 h 4401009"/>
                    <a:gd name="connsiteX843" fmla="*/ 282264 w 3830903"/>
                    <a:gd name="connsiteY843" fmla="*/ 974518 h 4401009"/>
                    <a:gd name="connsiteX844" fmla="*/ 283747 w 3830903"/>
                    <a:gd name="connsiteY844" fmla="*/ 976166 h 4401009"/>
                    <a:gd name="connsiteX845" fmla="*/ 285645 w 3830903"/>
                    <a:gd name="connsiteY845" fmla="*/ 979589 h 4401009"/>
                    <a:gd name="connsiteX846" fmla="*/ 286268 w 3830903"/>
                    <a:gd name="connsiteY846" fmla="*/ 978966 h 4401009"/>
                    <a:gd name="connsiteX847" fmla="*/ 283747 w 3830903"/>
                    <a:gd name="connsiteY847" fmla="*/ 976166 h 4401009"/>
                    <a:gd name="connsiteX848" fmla="*/ 282592 w 3830903"/>
                    <a:gd name="connsiteY848" fmla="*/ 974081 h 4401009"/>
                    <a:gd name="connsiteX849" fmla="*/ 287335 w 3830903"/>
                    <a:gd name="connsiteY849" fmla="*/ 967758 h 4401009"/>
                    <a:gd name="connsiteX850" fmla="*/ 294096 w 3830903"/>
                    <a:gd name="connsiteY850" fmla="*/ 960997 h 4401009"/>
                    <a:gd name="connsiteX851" fmla="*/ 292406 w 3830903"/>
                    <a:gd name="connsiteY851" fmla="*/ 955926 h 4401009"/>
                    <a:gd name="connsiteX852" fmla="*/ 280574 w 3830903"/>
                    <a:gd name="connsiteY852" fmla="*/ 945785 h 4401009"/>
                    <a:gd name="connsiteX853" fmla="*/ 275504 w 3830903"/>
                    <a:gd name="connsiteY853" fmla="*/ 939024 h 4401009"/>
                    <a:gd name="connsiteX854" fmla="*/ 272123 w 3830903"/>
                    <a:gd name="connsiteY854" fmla="*/ 935644 h 4401009"/>
                    <a:gd name="connsiteX855" fmla="*/ 267053 w 3830903"/>
                    <a:gd name="connsiteY855" fmla="*/ 928883 h 4401009"/>
                    <a:gd name="connsiteX856" fmla="*/ 255221 w 3830903"/>
                    <a:gd name="connsiteY856" fmla="*/ 913671 h 4401009"/>
                    <a:gd name="connsiteX857" fmla="*/ 251841 w 3830903"/>
                    <a:gd name="connsiteY857" fmla="*/ 908600 h 4401009"/>
                    <a:gd name="connsiteX858" fmla="*/ 241699 w 3830903"/>
                    <a:gd name="connsiteY858" fmla="*/ 900149 h 4401009"/>
                    <a:gd name="connsiteX859" fmla="*/ 238319 w 3830903"/>
                    <a:gd name="connsiteY859" fmla="*/ 895079 h 4401009"/>
                    <a:gd name="connsiteX860" fmla="*/ 231558 w 3830903"/>
                    <a:gd name="connsiteY860" fmla="*/ 888318 h 4401009"/>
                    <a:gd name="connsiteX861" fmla="*/ 226488 w 3830903"/>
                    <a:gd name="connsiteY861" fmla="*/ 884938 h 4401009"/>
                    <a:gd name="connsiteX862" fmla="*/ 211276 w 3830903"/>
                    <a:gd name="connsiteY862" fmla="*/ 868036 h 4401009"/>
                    <a:gd name="connsiteX863" fmla="*/ 209586 w 3830903"/>
                    <a:gd name="connsiteY863" fmla="*/ 857894 h 4401009"/>
                    <a:gd name="connsiteX864" fmla="*/ 206205 w 3830903"/>
                    <a:gd name="connsiteY864" fmla="*/ 854514 h 4401009"/>
                    <a:gd name="connsiteX865" fmla="*/ 197754 w 3830903"/>
                    <a:gd name="connsiteY865" fmla="*/ 846063 h 4401009"/>
                    <a:gd name="connsiteX866" fmla="*/ 194374 w 3830903"/>
                    <a:gd name="connsiteY866" fmla="*/ 840992 h 4401009"/>
                    <a:gd name="connsiteX867" fmla="*/ 184233 w 3830903"/>
                    <a:gd name="connsiteY867" fmla="*/ 825781 h 4401009"/>
                    <a:gd name="connsiteX868" fmla="*/ 180852 w 3830903"/>
                    <a:gd name="connsiteY868" fmla="*/ 817330 h 4401009"/>
                    <a:gd name="connsiteX869" fmla="*/ 175782 w 3830903"/>
                    <a:gd name="connsiteY869" fmla="*/ 812259 h 4401009"/>
                    <a:gd name="connsiteX870" fmla="*/ 170711 w 3830903"/>
                    <a:gd name="connsiteY870" fmla="*/ 810569 h 4401009"/>
                    <a:gd name="connsiteX871" fmla="*/ 152119 w 3830903"/>
                    <a:gd name="connsiteY871" fmla="*/ 795357 h 4401009"/>
                    <a:gd name="connsiteX872" fmla="*/ 150428 w 3830903"/>
                    <a:gd name="connsiteY872" fmla="*/ 758172 h 4401009"/>
                    <a:gd name="connsiteX873" fmla="*/ 153809 w 3830903"/>
                    <a:gd name="connsiteY873" fmla="*/ 742961 h 4401009"/>
                    <a:gd name="connsiteX874" fmla="*/ 157189 w 3830903"/>
                    <a:gd name="connsiteY874" fmla="*/ 736200 h 4401009"/>
                    <a:gd name="connsiteX875" fmla="*/ 158880 w 3830903"/>
                    <a:gd name="connsiteY875" fmla="*/ 704086 h 4401009"/>
                    <a:gd name="connsiteX876" fmla="*/ 160570 w 3830903"/>
                    <a:gd name="connsiteY876" fmla="*/ 688874 h 4401009"/>
                    <a:gd name="connsiteX877" fmla="*/ 165640 w 3830903"/>
                    <a:gd name="connsiteY877" fmla="*/ 668592 h 4401009"/>
                    <a:gd name="connsiteX878" fmla="*/ 167331 w 3830903"/>
                    <a:gd name="connsiteY878" fmla="*/ 663521 h 4401009"/>
                    <a:gd name="connsiteX879" fmla="*/ 170711 w 3830903"/>
                    <a:gd name="connsiteY879" fmla="*/ 658450 h 4401009"/>
                    <a:gd name="connsiteX880" fmla="*/ 172401 w 3830903"/>
                    <a:gd name="connsiteY880" fmla="*/ 639858 h 4401009"/>
                    <a:gd name="connsiteX881" fmla="*/ 167331 w 3830903"/>
                    <a:gd name="connsiteY881" fmla="*/ 636478 h 4401009"/>
                    <a:gd name="connsiteX882" fmla="*/ 160570 w 3830903"/>
                    <a:gd name="connsiteY882" fmla="*/ 629717 h 4401009"/>
                    <a:gd name="connsiteX883" fmla="*/ 150428 w 3830903"/>
                    <a:gd name="connsiteY883" fmla="*/ 619576 h 4401009"/>
                    <a:gd name="connsiteX884" fmla="*/ 143668 w 3830903"/>
                    <a:gd name="connsiteY884" fmla="*/ 606054 h 4401009"/>
                    <a:gd name="connsiteX885" fmla="*/ 136907 w 3830903"/>
                    <a:gd name="connsiteY885" fmla="*/ 602674 h 4401009"/>
                    <a:gd name="connsiteX886" fmla="*/ 133526 w 3830903"/>
                    <a:gd name="connsiteY886" fmla="*/ 597603 h 4401009"/>
                    <a:gd name="connsiteX887" fmla="*/ 108173 w 3830903"/>
                    <a:gd name="connsiteY887" fmla="*/ 575630 h 4401009"/>
                    <a:gd name="connsiteX888" fmla="*/ 103103 w 3830903"/>
                    <a:gd name="connsiteY888" fmla="*/ 570560 h 4401009"/>
                    <a:gd name="connsiteX889" fmla="*/ 96342 w 3830903"/>
                    <a:gd name="connsiteY889" fmla="*/ 568870 h 4401009"/>
                    <a:gd name="connsiteX890" fmla="*/ 57467 w 3830903"/>
                    <a:gd name="connsiteY890" fmla="*/ 565489 h 4401009"/>
                    <a:gd name="connsiteX891" fmla="*/ 50706 w 3830903"/>
                    <a:gd name="connsiteY891" fmla="*/ 563799 h 4401009"/>
                    <a:gd name="connsiteX892" fmla="*/ 49016 w 3830903"/>
                    <a:gd name="connsiteY892" fmla="*/ 557038 h 4401009"/>
                    <a:gd name="connsiteX893" fmla="*/ 42255 w 3830903"/>
                    <a:gd name="connsiteY893" fmla="*/ 545207 h 4401009"/>
                    <a:gd name="connsiteX894" fmla="*/ 35495 w 3830903"/>
                    <a:gd name="connsiteY894" fmla="*/ 541826 h 4401009"/>
                    <a:gd name="connsiteX895" fmla="*/ 28734 w 3830903"/>
                    <a:gd name="connsiteY895" fmla="*/ 536756 h 4401009"/>
                    <a:gd name="connsiteX896" fmla="*/ 25353 w 3830903"/>
                    <a:gd name="connsiteY896" fmla="*/ 531685 h 4401009"/>
                    <a:gd name="connsiteX897" fmla="*/ 21973 w 3830903"/>
                    <a:gd name="connsiteY897" fmla="*/ 479289 h 4401009"/>
                    <a:gd name="connsiteX898" fmla="*/ 30424 w 3830903"/>
                    <a:gd name="connsiteY898" fmla="*/ 462387 h 4401009"/>
                    <a:gd name="connsiteX899" fmla="*/ 33804 w 3830903"/>
                    <a:gd name="connsiteY899" fmla="*/ 459006 h 4401009"/>
                    <a:gd name="connsiteX900" fmla="*/ 18593 w 3830903"/>
                    <a:gd name="connsiteY900" fmla="*/ 450555 h 4401009"/>
                    <a:gd name="connsiteX901" fmla="*/ 11832 w 3830903"/>
                    <a:gd name="connsiteY901" fmla="*/ 443795 h 4401009"/>
                    <a:gd name="connsiteX902" fmla="*/ 12395 w 3830903"/>
                    <a:gd name="connsiteY902" fmla="*/ 443232 h 4401009"/>
                    <a:gd name="connsiteX903" fmla="*/ 13522 w 3830903"/>
                    <a:gd name="connsiteY903" fmla="*/ 443795 h 4401009"/>
                    <a:gd name="connsiteX904" fmla="*/ 15212 w 3830903"/>
                    <a:gd name="connsiteY904" fmla="*/ 440414 h 4401009"/>
                    <a:gd name="connsiteX905" fmla="*/ 12395 w 3830903"/>
                    <a:gd name="connsiteY905" fmla="*/ 443232 h 4401009"/>
                    <a:gd name="connsiteX906" fmla="*/ 3381 w 3830903"/>
                    <a:gd name="connsiteY906" fmla="*/ 438724 h 4401009"/>
                    <a:gd name="connsiteX907" fmla="*/ 0 w 3830903"/>
                    <a:gd name="connsiteY907" fmla="*/ 433653 h 4401009"/>
                    <a:gd name="connsiteX908" fmla="*/ 6761 w 3830903"/>
                    <a:gd name="connsiteY908" fmla="*/ 428583 h 4401009"/>
                    <a:gd name="connsiteX909" fmla="*/ 10142 w 3830903"/>
                    <a:gd name="connsiteY909" fmla="*/ 425202 h 4401009"/>
                    <a:gd name="connsiteX910" fmla="*/ 21973 w 3830903"/>
                    <a:gd name="connsiteY910" fmla="*/ 416751 h 4401009"/>
                    <a:gd name="connsiteX911" fmla="*/ 32114 w 3830903"/>
                    <a:gd name="connsiteY911" fmla="*/ 406610 h 4401009"/>
                    <a:gd name="connsiteX912" fmla="*/ 38875 w 3830903"/>
                    <a:gd name="connsiteY912" fmla="*/ 396469 h 4401009"/>
                    <a:gd name="connsiteX913" fmla="*/ 42255 w 3830903"/>
                    <a:gd name="connsiteY913" fmla="*/ 367735 h 4401009"/>
                    <a:gd name="connsiteX914" fmla="*/ 37185 w 3830903"/>
                    <a:gd name="connsiteY914" fmla="*/ 362665 h 4401009"/>
                    <a:gd name="connsiteX915" fmla="*/ 33804 w 3830903"/>
                    <a:gd name="connsiteY915" fmla="*/ 352524 h 4401009"/>
                    <a:gd name="connsiteX916" fmla="*/ 54087 w 3830903"/>
                    <a:gd name="connsiteY916" fmla="*/ 344073 h 4401009"/>
                    <a:gd name="connsiteX917" fmla="*/ 60848 w 3830903"/>
                    <a:gd name="connsiteY917" fmla="*/ 333931 h 4401009"/>
                    <a:gd name="connsiteX918" fmla="*/ 64228 w 3830903"/>
                    <a:gd name="connsiteY918" fmla="*/ 327171 h 4401009"/>
                    <a:gd name="connsiteX919" fmla="*/ 69299 w 3830903"/>
                    <a:gd name="connsiteY919" fmla="*/ 322100 h 4401009"/>
                    <a:gd name="connsiteX920" fmla="*/ 70989 w 3830903"/>
                    <a:gd name="connsiteY920" fmla="*/ 317029 h 4401009"/>
                    <a:gd name="connsiteX921" fmla="*/ 77750 w 3830903"/>
                    <a:gd name="connsiteY921" fmla="*/ 303508 h 4401009"/>
                    <a:gd name="connsiteX922" fmla="*/ 113244 w 3830903"/>
                    <a:gd name="connsiteY922" fmla="*/ 295057 h 4401009"/>
                    <a:gd name="connsiteX923" fmla="*/ 118315 w 3830903"/>
                    <a:gd name="connsiteY923" fmla="*/ 284915 h 4401009"/>
                    <a:gd name="connsiteX924" fmla="*/ 113244 w 3830903"/>
                    <a:gd name="connsiteY924" fmla="*/ 247731 h 4401009"/>
                    <a:gd name="connsiteX925" fmla="*/ 125075 w 3830903"/>
                    <a:gd name="connsiteY925" fmla="*/ 244351 h 4401009"/>
                    <a:gd name="connsiteX926" fmla="*/ 128456 w 3830903"/>
                    <a:gd name="connsiteY926" fmla="*/ 247731 h 4401009"/>
                    <a:gd name="connsiteX927" fmla="*/ 143668 w 3830903"/>
                    <a:gd name="connsiteY927" fmla="*/ 254492 h 4401009"/>
                    <a:gd name="connsiteX928" fmla="*/ 148738 w 3830903"/>
                    <a:gd name="connsiteY928" fmla="*/ 244351 h 4401009"/>
                    <a:gd name="connsiteX929" fmla="*/ 152119 w 3830903"/>
                    <a:gd name="connsiteY929" fmla="*/ 229139 h 4401009"/>
                    <a:gd name="connsiteX930" fmla="*/ 157189 w 3830903"/>
                    <a:gd name="connsiteY930" fmla="*/ 222378 h 4401009"/>
                    <a:gd name="connsiteX931" fmla="*/ 152119 w 3830903"/>
                    <a:gd name="connsiteY931" fmla="*/ 207166 h 4401009"/>
                    <a:gd name="connsiteX932" fmla="*/ 174091 w 3830903"/>
                    <a:gd name="connsiteY932" fmla="*/ 207166 h 4401009"/>
                    <a:gd name="connsiteX933" fmla="*/ 223107 w 3830903"/>
                    <a:gd name="connsiteY933" fmla="*/ 208856 h 4401009"/>
                    <a:gd name="connsiteX934" fmla="*/ 236629 w 3830903"/>
                    <a:gd name="connsiteY934" fmla="*/ 229139 h 4401009"/>
                    <a:gd name="connsiteX935" fmla="*/ 233248 w 3830903"/>
                    <a:gd name="connsiteY935" fmla="*/ 235900 h 4401009"/>
                    <a:gd name="connsiteX936" fmla="*/ 221417 w 3830903"/>
                    <a:gd name="connsiteY936" fmla="*/ 242660 h 4401009"/>
                    <a:gd name="connsiteX937" fmla="*/ 187613 w 3830903"/>
                    <a:gd name="connsiteY937" fmla="*/ 244351 h 4401009"/>
                    <a:gd name="connsiteX938" fmla="*/ 184233 w 3830903"/>
                    <a:gd name="connsiteY938" fmla="*/ 240970 h 4401009"/>
                    <a:gd name="connsiteX939" fmla="*/ 172401 w 3830903"/>
                    <a:gd name="connsiteY939" fmla="*/ 235900 h 4401009"/>
                    <a:gd name="connsiteX940" fmla="*/ 170711 w 3830903"/>
                    <a:gd name="connsiteY940" fmla="*/ 242660 h 4401009"/>
                    <a:gd name="connsiteX941" fmla="*/ 174091 w 3830903"/>
                    <a:gd name="connsiteY941" fmla="*/ 251111 h 4401009"/>
                    <a:gd name="connsiteX942" fmla="*/ 177472 w 3830903"/>
                    <a:gd name="connsiteY942" fmla="*/ 254492 h 4401009"/>
                    <a:gd name="connsiteX943" fmla="*/ 196064 w 3830903"/>
                    <a:gd name="connsiteY943" fmla="*/ 259562 h 4401009"/>
                    <a:gd name="connsiteX944" fmla="*/ 199444 w 3830903"/>
                    <a:gd name="connsiteY944" fmla="*/ 283225 h 4401009"/>
                    <a:gd name="connsiteX945" fmla="*/ 204515 w 3830903"/>
                    <a:gd name="connsiteY945" fmla="*/ 279845 h 4401009"/>
                    <a:gd name="connsiteX946" fmla="*/ 209586 w 3830903"/>
                    <a:gd name="connsiteY946" fmla="*/ 269704 h 4401009"/>
                    <a:gd name="connsiteX947" fmla="*/ 214656 w 3830903"/>
                    <a:gd name="connsiteY947" fmla="*/ 259562 h 4401009"/>
                    <a:gd name="connsiteX948" fmla="*/ 219727 w 3830903"/>
                    <a:gd name="connsiteY948" fmla="*/ 256182 h 4401009"/>
                    <a:gd name="connsiteX949" fmla="*/ 228178 w 3830903"/>
                    <a:gd name="connsiteY949" fmla="*/ 254492 h 4401009"/>
                    <a:gd name="connsiteX950" fmla="*/ 231558 w 3830903"/>
                    <a:gd name="connsiteY950" fmla="*/ 284915 h 4401009"/>
                    <a:gd name="connsiteX951" fmla="*/ 234939 w 3830903"/>
                    <a:gd name="connsiteY951" fmla="*/ 291676 h 4401009"/>
                    <a:gd name="connsiteX952" fmla="*/ 238319 w 3830903"/>
                    <a:gd name="connsiteY952" fmla="*/ 269704 h 4401009"/>
                    <a:gd name="connsiteX953" fmla="*/ 243390 w 3830903"/>
                    <a:gd name="connsiteY953" fmla="*/ 262943 h 4401009"/>
                    <a:gd name="connsiteX954" fmla="*/ 253531 w 3830903"/>
                    <a:gd name="connsiteY954" fmla="*/ 261253 h 4401009"/>
                    <a:gd name="connsiteX955" fmla="*/ 265362 w 3830903"/>
                    <a:gd name="connsiteY955" fmla="*/ 256182 h 4401009"/>
                    <a:gd name="connsiteX956" fmla="*/ 273813 w 3830903"/>
                    <a:gd name="connsiteY956" fmla="*/ 266323 h 4401009"/>
                    <a:gd name="connsiteX957" fmla="*/ 282264 w 3830903"/>
                    <a:gd name="connsiteY957" fmla="*/ 271394 h 4401009"/>
                    <a:gd name="connsiteX958" fmla="*/ 283955 w 3830903"/>
                    <a:gd name="connsiteY958" fmla="*/ 278155 h 4401009"/>
                    <a:gd name="connsiteX959" fmla="*/ 287335 w 3830903"/>
                    <a:gd name="connsiteY959" fmla="*/ 296747 h 4401009"/>
                    <a:gd name="connsiteX960" fmla="*/ 278884 w 3830903"/>
                    <a:gd name="connsiteY960" fmla="*/ 315339 h 4401009"/>
                    <a:gd name="connsiteX961" fmla="*/ 275504 w 3830903"/>
                    <a:gd name="connsiteY961" fmla="*/ 318720 h 4401009"/>
                    <a:gd name="connsiteX962" fmla="*/ 270433 w 3830903"/>
                    <a:gd name="connsiteY962" fmla="*/ 328861 h 4401009"/>
                    <a:gd name="connsiteX963" fmla="*/ 278884 w 3830903"/>
                    <a:gd name="connsiteY963" fmla="*/ 327171 h 4401009"/>
                    <a:gd name="connsiteX964" fmla="*/ 283955 w 3830903"/>
                    <a:gd name="connsiteY964" fmla="*/ 320410 h 4401009"/>
                    <a:gd name="connsiteX965" fmla="*/ 299166 w 3830903"/>
                    <a:gd name="connsiteY965" fmla="*/ 274774 h 4401009"/>
                    <a:gd name="connsiteX966" fmla="*/ 303871 w 3830903"/>
                    <a:gd name="connsiteY966" fmla="*/ 268080 h 4401009"/>
                    <a:gd name="connsiteX967" fmla="*/ 304237 w 3830903"/>
                    <a:gd name="connsiteY967" fmla="*/ 269705 h 4401009"/>
                    <a:gd name="connsiteX968" fmla="*/ 304837 w 3830903"/>
                    <a:gd name="connsiteY968" fmla="*/ 266706 h 4401009"/>
                    <a:gd name="connsiteX969" fmla="*/ 306626 w 3830903"/>
                    <a:gd name="connsiteY969" fmla="*/ 264161 h 4401009"/>
                    <a:gd name="connsiteX970" fmla="*/ 306011 w 3830903"/>
                    <a:gd name="connsiteY970" fmla="*/ 262215 h 4401009"/>
                    <a:gd name="connsiteX971" fmla="*/ 305657 w 3830903"/>
                    <a:gd name="connsiteY971" fmla="*/ 262606 h 4401009"/>
                    <a:gd name="connsiteX972" fmla="*/ 310998 w 3830903"/>
                    <a:gd name="connsiteY972" fmla="*/ 235900 h 4401009"/>
                    <a:gd name="connsiteX973" fmla="*/ 383677 w 3830903"/>
                    <a:gd name="connsiteY973" fmla="*/ 251111 h 4401009"/>
                    <a:gd name="connsiteX974" fmla="*/ 390437 w 3830903"/>
                    <a:gd name="connsiteY974" fmla="*/ 249421 h 4401009"/>
                    <a:gd name="connsiteX975" fmla="*/ 395508 w 3830903"/>
                    <a:gd name="connsiteY975" fmla="*/ 247731 h 4401009"/>
                    <a:gd name="connsiteX976" fmla="*/ 417481 w 3830903"/>
                    <a:gd name="connsiteY976" fmla="*/ 244351 h 4401009"/>
                    <a:gd name="connsiteX977" fmla="*/ 431002 w 3830903"/>
                    <a:gd name="connsiteY977" fmla="*/ 246041 h 4401009"/>
                    <a:gd name="connsiteX978" fmla="*/ 451285 w 3830903"/>
                    <a:gd name="connsiteY978" fmla="*/ 247731 h 4401009"/>
                    <a:gd name="connsiteX979" fmla="*/ 463116 w 3830903"/>
                    <a:gd name="connsiteY979" fmla="*/ 251111 h 4401009"/>
                    <a:gd name="connsiteX980" fmla="*/ 474948 w 3830903"/>
                    <a:gd name="connsiteY980" fmla="*/ 252802 h 4401009"/>
                    <a:gd name="connsiteX981" fmla="*/ 503681 w 3830903"/>
                    <a:gd name="connsiteY981" fmla="*/ 256182 h 4401009"/>
                    <a:gd name="connsiteX982" fmla="*/ 522273 w 3830903"/>
                    <a:gd name="connsiteY982" fmla="*/ 259562 h 4401009"/>
                    <a:gd name="connsiteX983" fmla="*/ 562838 w 3830903"/>
                    <a:gd name="connsiteY983" fmla="*/ 271394 h 4401009"/>
                    <a:gd name="connsiteX984" fmla="*/ 574670 w 3830903"/>
                    <a:gd name="connsiteY984" fmla="*/ 276464 h 4401009"/>
                    <a:gd name="connsiteX985" fmla="*/ 581430 w 3830903"/>
                    <a:gd name="connsiteY985" fmla="*/ 278155 h 4401009"/>
                    <a:gd name="connsiteX986" fmla="*/ 588191 w 3830903"/>
                    <a:gd name="connsiteY986" fmla="*/ 283225 h 4401009"/>
                    <a:gd name="connsiteX987" fmla="*/ 594952 w 3830903"/>
                    <a:gd name="connsiteY987" fmla="*/ 286606 h 4401009"/>
                    <a:gd name="connsiteX988" fmla="*/ 618615 w 3830903"/>
                    <a:gd name="connsiteY988" fmla="*/ 293366 h 4401009"/>
                    <a:gd name="connsiteX989" fmla="*/ 640587 w 3830903"/>
                    <a:gd name="connsiteY989" fmla="*/ 306888 h 4401009"/>
                    <a:gd name="connsiteX990" fmla="*/ 655799 w 3830903"/>
                    <a:gd name="connsiteY990" fmla="*/ 311959 h 4401009"/>
                    <a:gd name="connsiteX991" fmla="*/ 662560 w 3830903"/>
                    <a:gd name="connsiteY991" fmla="*/ 306888 h 4401009"/>
                    <a:gd name="connsiteX992" fmla="*/ 667631 w 3830903"/>
                    <a:gd name="connsiteY992" fmla="*/ 305198 h 4401009"/>
                    <a:gd name="connsiteX993" fmla="*/ 699745 w 3830903"/>
                    <a:gd name="connsiteY993" fmla="*/ 301817 h 4401009"/>
                    <a:gd name="connsiteX994" fmla="*/ 708196 w 3830903"/>
                    <a:gd name="connsiteY994" fmla="*/ 306888 h 4401009"/>
                    <a:gd name="connsiteX995" fmla="*/ 714956 w 3830903"/>
                    <a:gd name="connsiteY995" fmla="*/ 310269 h 4401009"/>
                    <a:gd name="connsiteX996" fmla="*/ 738619 w 3830903"/>
                    <a:gd name="connsiteY996" fmla="*/ 320410 h 4401009"/>
                    <a:gd name="connsiteX997" fmla="*/ 743690 w 3830903"/>
                    <a:gd name="connsiteY997" fmla="*/ 318720 h 4401009"/>
                    <a:gd name="connsiteX998" fmla="*/ 758902 w 3830903"/>
                    <a:gd name="connsiteY998" fmla="*/ 320410 h 4401009"/>
                    <a:gd name="connsiteX999" fmla="*/ 784255 w 3830903"/>
                    <a:gd name="connsiteY999" fmla="*/ 327171 h 4401009"/>
                    <a:gd name="connsiteX1000" fmla="*/ 802847 w 3830903"/>
                    <a:gd name="connsiteY1000" fmla="*/ 332241 h 4401009"/>
                    <a:gd name="connsiteX1001" fmla="*/ 812988 w 3830903"/>
                    <a:gd name="connsiteY1001" fmla="*/ 335622 h 4401009"/>
                    <a:gd name="connsiteX1002" fmla="*/ 819749 w 3830903"/>
                    <a:gd name="connsiteY1002" fmla="*/ 342382 h 4401009"/>
                    <a:gd name="connsiteX1003" fmla="*/ 824820 w 3830903"/>
                    <a:gd name="connsiteY1003" fmla="*/ 345763 h 4401009"/>
                    <a:gd name="connsiteX1004" fmla="*/ 851863 w 3830903"/>
                    <a:gd name="connsiteY1004" fmla="*/ 349143 h 4401009"/>
                    <a:gd name="connsiteX1005" fmla="*/ 860314 w 3830903"/>
                    <a:gd name="connsiteY1005" fmla="*/ 354214 h 4401009"/>
                    <a:gd name="connsiteX1006" fmla="*/ 862004 w 3830903"/>
                    <a:gd name="connsiteY1006" fmla="*/ 367735 h 4401009"/>
                    <a:gd name="connsiteX1007" fmla="*/ 865384 w 3830903"/>
                    <a:gd name="connsiteY1007" fmla="*/ 379567 h 4401009"/>
                    <a:gd name="connsiteX1008" fmla="*/ 870455 w 3830903"/>
                    <a:gd name="connsiteY1008" fmla="*/ 382947 h 4401009"/>
                    <a:gd name="connsiteX1009" fmla="*/ 875526 w 3830903"/>
                    <a:gd name="connsiteY1009" fmla="*/ 388018 h 4401009"/>
                    <a:gd name="connsiteX1010" fmla="*/ 890738 w 3830903"/>
                    <a:gd name="connsiteY1010" fmla="*/ 394779 h 4401009"/>
                    <a:gd name="connsiteX1011" fmla="*/ 895808 w 3830903"/>
                    <a:gd name="connsiteY1011" fmla="*/ 399849 h 4401009"/>
                    <a:gd name="connsiteX1012" fmla="*/ 905949 w 3830903"/>
                    <a:gd name="connsiteY1012" fmla="*/ 408300 h 4401009"/>
                    <a:gd name="connsiteX1013" fmla="*/ 912710 w 3830903"/>
                    <a:gd name="connsiteY1013" fmla="*/ 409991 h 4401009"/>
                    <a:gd name="connsiteX1014" fmla="*/ 919471 w 3830903"/>
                    <a:gd name="connsiteY1014" fmla="*/ 415061 h 4401009"/>
                    <a:gd name="connsiteX1015" fmla="*/ 934683 w 3830903"/>
                    <a:gd name="connsiteY1015" fmla="*/ 428583 h 4401009"/>
                    <a:gd name="connsiteX1016" fmla="*/ 936373 w 3830903"/>
                    <a:gd name="connsiteY1016" fmla="*/ 435344 h 4401009"/>
                    <a:gd name="connsiteX1017" fmla="*/ 939753 w 3830903"/>
                    <a:gd name="connsiteY1017" fmla="*/ 443795 h 4401009"/>
                    <a:gd name="connsiteX1018" fmla="*/ 943134 w 3830903"/>
                    <a:gd name="connsiteY1018" fmla="*/ 453936 h 4401009"/>
                    <a:gd name="connsiteX1019" fmla="*/ 953275 w 3830903"/>
                    <a:gd name="connsiteY1019" fmla="*/ 472528 h 4401009"/>
                    <a:gd name="connsiteX1020" fmla="*/ 956655 w 3830903"/>
                    <a:gd name="connsiteY1020" fmla="*/ 477599 h 4401009"/>
                    <a:gd name="connsiteX1021" fmla="*/ 953275 w 3830903"/>
                    <a:gd name="connsiteY1021" fmla="*/ 489430 h 4401009"/>
                    <a:gd name="connsiteX1022" fmla="*/ 944824 w 3830903"/>
                    <a:gd name="connsiteY1022" fmla="*/ 504642 h 4401009"/>
                    <a:gd name="connsiteX1023" fmla="*/ 941444 w 3830903"/>
                    <a:gd name="connsiteY1023" fmla="*/ 543517 h 4401009"/>
                    <a:gd name="connsiteX1024" fmla="*/ 938063 w 3830903"/>
                    <a:gd name="connsiteY1024" fmla="*/ 548587 h 4401009"/>
                    <a:gd name="connsiteX1025" fmla="*/ 934683 w 3830903"/>
                    <a:gd name="connsiteY1025" fmla="*/ 565489 h 4401009"/>
                    <a:gd name="connsiteX1026" fmla="*/ 929612 w 3830903"/>
                    <a:gd name="connsiteY1026" fmla="*/ 584081 h 4401009"/>
                    <a:gd name="connsiteX1027" fmla="*/ 921161 w 3830903"/>
                    <a:gd name="connsiteY1027" fmla="*/ 599293 h 4401009"/>
                    <a:gd name="connsiteX1028" fmla="*/ 916091 w 3830903"/>
                    <a:gd name="connsiteY1028" fmla="*/ 606054 h 4401009"/>
                    <a:gd name="connsiteX1029" fmla="*/ 905949 w 3830903"/>
                    <a:gd name="connsiteY1029" fmla="*/ 622956 h 4401009"/>
                    <a:gd name="connsiteX1030" fmla="*/ 890738 w 3830903"/>
                    <a:gd name="connsiteY1030" fmla="*/ 638168 h 4401009"/>
                    <a:gd name="connsiteX1031" fmla="*/ 883977 w 3830903"/>
                    <a:gd name="connsiteY1031" fmla="*/ 641548 h 4401009"/>
                    <a:gd name="connsiteX1032" fmla="*/ 878906 w 3830903"/>
                    <a:gd name="connsiteY1032" fmla="*/ 648309 h 4401009"/>
                    <a:gd name="connsiteX1033" fmla="*/ 872145 w 3830903"/>
                    <a:gd name="connsiteY1033" fmla="*/ 653380 h 4401009"/>
                    <a:gd name="connsiteX1034" fmla="*/ 867075 w 3830903"/>
                    <a:gd name="connsiteY1034" fmla="*/ 658450 h 4401009"/>
                    <a:gd name="connsiteX1035" fmla="*/ 856933 w 3830903"/>
                    <a:gd name="connsiteY1035" fmla="*/ 663521 h 4401009"/>
                    <a:gd name="connsiteX1036" fmla="*/ 838341 w 3830903"/>
                    <a:gd name="connsiteY1036" fmla="*/ 677043 h 4401009"/>
                    <a:gd name="connsiteX1037" fmla="*/ 824820 w 3830903"/>
                    <a:gd name="connsiteY1037" fmla="*/ 680423 h 4401009"/>
                    <a:gd name="connsiteX1038" fmla="*/ 804537 w 3830903"/>
                    <a:gd name="connsiteY1038" fmla="*/ 685494 h 4401009"/>
                    <a:gd name="connsiteX1039" fmla="*/ 736929 w 3830903"/>
                    <a:gd name="connsiteY1039" fmla="*/ 677043 h 4401009"/>
                    <a:gd name="connsiteX1040" fmla="*/ 731858 w 3830903"/>
                    <a:gd name="connsiteY1040" fmla="*/ 683803 h 4401009"/>
                    <a:gd name="connsiteX1041" fmla="*/ 708196 w 3830903"/>
                    <a:gd name="connsiteY1041" fmla="*/ 697325 h 4401009"/>
                    <a:gd name="connsiteX1042" fmla="*/ 689603 w 3830903"/>
                    <a:gd name="connsiteY1042" fmla="*/ 707466 h 4401009"/>
                    <a:gd name="connsiteX1043" fmla="*/ 676082 w 3830903"/>
                    <a:gd name="connsiteY1043" fmla="*/ 717608 h 4401009"/>
                    <a:gd name="connsiteX1044" fmla="*/ 654109 w 3830903"/>
                    <a:gd name="connsiteY1044" fmla="*/ 719298 h 4401009"/>
                    <a:gd name="connsiteX1045" fmla="*/ 627066 w 3830903"/>
                    <a:gd name="connsiteY1045" fmla="*/ 724368 h 4401009"/>
                    <a:gd name="connsiteX1046" fmla="*/ 620305 w 3830903"/>
                    <a:gd name="connsiteY1046" fmla="*/ 720988 h 4401009"/>
                    <a:gd name="connsiteX1047" fmla="*/ 598332 w 3830903"/>
                    <a:gd name="connsiteY1047" fmla="*/ 717608 h 4401009"/>
                    <a:gd name="connsiteX1048" fmla="*/ 583121 w 3830903"/>
                    <a:gd name="connsiteY1048" fmla="*/ 712537 h 4401009"/>
                    <a:gd name="connsiteX1049" fmla="*/ 564528 w 3830903"/>
                    <a:gd name="connsiteY1049" fmla="*/ 697325 h 4401009"/>
                    <a:gd name="connsiteX1050" fmla="*/ 552697 w 3830903"/>
                    <a:gd name="connsiteY1050" fmla="*/ 700705 h 4401009"/>
                    <a:gd name="connsiteX1051" fmla="*/ 545936 w 3830903"/>
                    <a:gd name="connsiteY1051" fmla="*/ 709156 h 4401009"/>
                    <a:gd name="connsiteX1052" fmla="*/ 540865 w 3830903"/>
                    <a:gd name="connsiteY1052" fmla="*/ 710847 h 4401009"/>
                    <a:gd name="connsiteX1053" fmla="*/ 535795 w 3830903"/>
                    <a:gd name="connsiteY1053" fmla="*/ 724368 h 4401009"/>
                    <a:gd name="connsiteX1054" fmla="*/ 523963 w 3830903"/>
                    <a:gd name="connsiteY1054" fmla="*/ 727749 h 4401009"/>
                    <a:gd name="connsiteX1055" fmla="*/ 508752 w 3830903"/>
                    <a:gd name="connsiteY1055" fmla="*/ 715917 h 4401009"/>
                    <a:gd name="connsiteX1056" fmla="*/ 505371 w 3830903"/>
                    <a:gd name="connsiteY1056" fmla="*/ 709156 h 4401009"/>
                    <a:gd name="connsiteX1057" fmla="*/ 503681 w 3830903"/>
                    <a:gd name="connsiteY1057" fmla="*/ 714227 h 4401009"/>
                    <a:gd name="connsiteX1058" fmla="*/ 498610 w 3830903"/>
                    <a:gd name="connsiteY1058" fmla="*/ 715917 h 4401009"/>
                    <a:gd name="connsiteX1059" fmla="*/ 486779 w 3830903"/>
                    <a:gd name="connsiteY1059" fmla="*/ 709156 h 4401009"/>
                    <a:gd name="connsiteX1060" fmla="*/ 481708 w 3830903"/>
                    <a:gd name="connsiteY1060" fmla="*/ 707466 h 4401009"/>
                    <a:gd name="connsiteX1061" fmla="*/ 478328 w 3830903"/>
                    <a:gd name="connsiteY1061" fmla="*/ 702396 h 4401009"/>
                    <a:gd name="connsiteX1062" fmla="*/ 473257 w 3830903"/>
                    <a:gd name="connsiteY1062" fmla="*/ 695635 h 4401009"/>
                    <a:gd name="connsiteX1063" fmla="*/ 461426 w 3830903"/>
                    <a:gd name="connsiteY1063" fmla="*/ 688874 h 4401009"/>
                    <a:gd name="connsiteX1064" fmla="*/ 452975 w 3830903"/>
                    <a:gd name="connsiteY1064" fmla="*/ 697325 h 4401009"/>
                    <a:gd name="connsiteX1065" fmla="*/ 451285 w 3830903"/>
                    <a:gd name="connsiteY1065" fmla="*/ 705776 h 4401009"/>
                    <a:gd name="connsiteX1066" fmla="*/ 441143 w 3830903"/>
                    <a:gd name="connsiteY1066" fmla="*/ 717608 h 4401009"/>
                    <a:gd name="connsiteX1067" fmla="*/ 436073 w 3830903"/>
                    <a:gd name="connsiteY1067" fmla="*/ 710847 h 4401009"/>
                    <a:gd name="connsiteX1068" fmla="*/ 432692 w 3830903"/>
                    <a:gd name="connsiteY1068" fmla="*/ 707466 h 4401009"/>
                    <a:gd name="connsiteX1069" fmla="*/ 427622 w 3830903"/>
                    <a:gd name="connsiteY1069" fmla="*/ 705776 h 4401009"/>
                    <a:gd name="connsiteX1070" fmla="*/ 417481 w 3830903"/>
                    <a:gd name="connsiteY1070" fmla="*/ 693945 h 4401009"/>
                    <a:gd name="connsiteX1071" fmla="*/ 402269 w 3830903"/>
                    <a:gd name="connsiteY1071" fmla="*/ 685494 h 4401009"/>
                    <a:gd name="connsiteX1072" fmla="*/ 387057 w 3830903"/>
                    <a:gd name="connsiteY1072" fmla="*/ 670282 h 4401009"/>
                    <a:gd name="connsiteX1073" fmla="*/ 339731 w 3830903"/>
                    <a:gd name="connsiteY1073" fmla="*/ 665211 h 4401009"/>
                    <a:gd name="connsiteX1074" fmla="*/ 321139 w 3830903"/>
                    <a:gd name="connsiteY1074" fmla="*/ 671972 h 4401009"/>
                    <a:gd name="connsiteX1075" fmla="*/ 327900 w 3830903"/>
                    <a:gd name="connsiteY1075" fmla="*/ 675352 h 4401009"/>
                    <a:gd name="connsiteX1076" fmla="*/ 343112 w 3830903"/>
                    <a:gd name="connsiteY1076" fmla="*/ 677043 h 4401009"/>
                    <a:gd name="connsiteX1077" fmla="*/ 361704 w 3830903"/>
                    <a:gd name="connsiteY1077" fmla="*/ 687184 h 4401009"/>
                    <a:gd name="connsiteX1078" fmla="*/ 370155 w 3830903"/>
                    <a:gd name="connsiteY1078" fmla="*/ 688874 h 4401009"/>
                    <a:gd name="connsiteX1079" fmla="*/ 371845 w 3830903"/>
                    <a:gd name="connsiteY1079" fmla="*/ 695635 h 4401009"/>
                    <a:gd name="connsiteX1080" fmla="*/ 375226 w 3830903"/>
                    <a:gd name="connsiteY1080" fmla="*/ 707466 h 4401009"/>
                    <a:gd name="connsiteX1081" fmla="*/ 387057 w 3830903"/>
                    <a:gd name="connsiteY1081" fmla="*/ 714227 h 4401009"/>
                    <a:gd name="connsiteX1082" fmla="*/ 390437 w 3830903"/>
                    <a:gd name="connsiteY1082" fmla="*/ 720988 h 4401009"/>
                    <a:gd name="connsiteX1083" fmla="*/ 414100 w 3830903"/>
                    <a:gd name="connsiteY1083" fmla="*/ 726059 h 4401009"/>
                    <a:gd name="connsiteX1084" fmla="*/ 417481 w 3830903"/>
                    <a:gd name="connsiteY1084" fmla="*/ 731129 h 4401009"/>
                    <a:gd name="connsiteX1085" fmla="*/ 422551 w 3830903"/>
                    <a:gd name="connsiteY1085" fmla="*/ 736200 h 4401009"/>
                    <a:gd name="connsiteX1086" fmla="*/ 424241 w 3830903"/>
                    <a:gd name="connsiteY1086" fmla="*/ 741270 h 4401009"/>
                    <a:gd name="connsiteX1087" fmla="*/ 425932 w 3830903"/>
                    <a:gd name="connsiteY1087" fmla="*/ 753102 h 4401009"/>
                    <a:gd name="connsiteX1088" fmla="*/ 485089 w 3830903"/>
                    <a:gd name="connsiteY1088" fmla="*/ 764933 h 4401009"/>
                    <a:gd name="connsiteX1089" fmla="*/ 476638 w 3830903"/>
                    <a:gd name="connsiteY1089" fmla="*/ 770004 h 4401009"/>
                    <a:gd name="connsiteX1090" fmla="*/ 469877 w 3830903"/>
                    <a:gd name="connsiteY1090" fmla="*/ 773384 h 4401009"/>
                    <a:gd name="connsiteX1091" fmla="*/ 478328 w 3830903"/>
                    <a:gd name="connsiteY1091" fmla="*/ 775074 h 4401009"/>
                    <a:gd name="connsiteX1092" fmla="*/ 491850 w 3830903"/>
                    <a:gd name="connsiteY1092" fmla="*/ 773384 h 4401009"/>
                    <a:gd name="connsiteX1093" fmla="*/ 508752 w 3830903"/>
                    <a:gd name="connsiteY1093" fmla="*/ 770004 h 4401009"/>
                    <a:gd name="connsiteX1094" fmla="*/ 515512 w 3830903"/>
                    <a:gd name="connsiteY1094" fmla="*/ 771694 h 4401009"/>
                    <a:gd name="connsiteX1095" fmla="*/ 551007 w 3830903"/>
                    <a:gd name="connsiteY1095" fmla="*/ 775074 h 4401009"/>
                    <a:gd name="connsiteX1096" fmla="*/ 564528 w 3830903"/>
                    <a:gd name="connsiteY1096" fmla="*/ 785216 h 4401009"/>
                    <a:gd name="connsiteX1097" fmla="*/ 571289 w 3830903"/>
                    <a:gd name="connsiteY1097" fmla="*/ 793667 h 4401009"/>
                    <a:gd name="connsiteX1098" fmla="*/ 574670 w 3830903"/>
                    <a:gd name="connsiteY1098" fmla="*/ 803808 h 4401009"/>
                    <a:gd name="connsiteX1099" fmla="*/ 584811 w 3830903"/>
                    <a:gd name="connsiteY1099" fmla="*/ 805498 h 4401009"/>
                    <a:gd name="connsiteX1100" fmla="*/ 591572 w 3830903"/>
                    <a:gd name="connsiteY1100" fmla="*/ 807188 h 4401009"/>
                    <a:gd name="connsiteX1101" fmla="*/ 596642 w 3830903"/>
                    <a:gd name="connsiteY1101" fmla="*/ 812259 h 4401009"/>
                    <a:gd name="connsiteX1102" fmla="*/ 605093 w 3830903"/>
                    <a:gd name="connsiteY1102" fmla="*/ 820710 h 4401009"/>
                    <a:gd name="connsiteX1103" fmla="*/ 610164 w 3830903"/>
                    <a:gd name="connsiteY1103" fmla="*/ 822400 h 4401009"/>
                    <a:gd name="connsiteX1104" fmla="*/ 610164 w 3830903"/>
                    <a:gd name="connsiteY1104" fmla="*/ 839302 h 4401009"/>
                    <a:gd name="connsiteX1105" fmla="*/ 603737 w 3830903"/>
                    <a:gd name="connsiteY1105" fmla="*/ 835446 h 4401009"/>
                    <a:gd name="connsiteX1106" fmla="*/ 603091 w 3830903"/>
                    <a:gd name="connsiteY1106" fmla="*/ 834987 h 4401009"/>
                    <a:gd name="connsiteX1107" fmla="*/ 601713 w 3830903"/>
                    <a:gd name="connsiteY1107" fmla="*/ 834232 h 4401009"/>
                    <a:gd name="connsiteX1108" fmla="*/ 603737 w 3830903"/>
                    <a:gd name="connsiteY1108" fmla="*/ 835446 h 4401009"/>
                    <a:gd name="connsiteX1109" fmla="*/ 606783 w 3830903"/>
                    <a:gd name="connsiteY1109" fmla="*/ 837612 h 4401009"/>
                    <a:gd name="connsiteX1110" fmla="*/ 608474 w 3830903"/>
                    <a:gd name="connsiteY1110" fmla="*/ 842683 h 4401009"/>
                    <a:gd name="connsiteX1111" fmla="*/ 615234 w 3830903"/>
                    <a:gd name="connsiteY1111" fmla="*/ 854514 h 4401009"/>
                    <a:gd name="connsiteX1112" fmla="*/ 616925 w 3830903"/>
                    <a:gd name="connsiteY1112" fmla="*/ 861275 h 4401009"/>
                    <a:gd name="connsiteX1113" fmla="*/ 618615 w 3830903"/>
                    <a:gd name="connsiteY1113" fmla="*/ 866345 h 4401009"/>
                    <a:gd name="connsiteX1114" fmla="*/ 623685 w 3830903"/>
                    <a:gd name="connsiteY1114" fmla="*/ 873106 h 4401009"/>
                    <a:gd name="connsiteX1115" fmla="*/ 620305 w 3830903"/>
                    <a:gd name="connsiteY1115" fmla="*/ 890008 h 4401009"/>
                    <a:gd name="connsiteX1116" fmla="*/ 615234 w 3830903"/>
                    <a:gd name="connsiteY1116" fmla="*/ 891698 h 4401009"/>
                    <a:gd name="connsiteX1117" fmla="*/ 598332 w 3830903"/>
                    <a:gd name="connsiteY1117" fmla="*/ 911981 h 4401009"/>
                    <a:gd name="connsiteX1118" fmla="*/ 596642 w 3830903"/>
                    <a:gd name="connsiteY1118" fmla="*/ 922122 h 4401009"/>
                    <a:gd name="connsiteX1119" fmla="*/ 633827 w 3830903"/>
                    <a:gd name="connsiteY1119" fmla="*/ 930573 h 4401009"/>
                    <a:gd name="connsiteX1120" fmla="*/ 638897 w 3830903"/>
                    <a:gd name="connsiteY1120" fmla="*/ 940714 h 4401009"/>
                    <a:gd name="connsiteX1121" fmla="*/ 647348 w 3830903"/>
                    <a:gd name="connsiteY1121" fmla="*/ 950856 h 4401009"/>
                    <a:gd name="connsiteX1122" fmla="*/ 650729 w 3830903"/>
                    <a:gd name="connsiteY1122" fmla="*/ 954236 h 4401009"/>
                    <a:gd name="connsiteX1123" fmla="*/ 654109 w 3830903"/>
                    <a:gd name="connsiteY1123" fmla="*/ 960997 h 4401009"/>
                    <a:gd name="connsiteX1124" fmla="*/ 660870 w 3830903"/>
                    <a:gd name="connsiteY1124" fmla="*/ 967758 h 4401009"/>
                    <a:gd name="connsiteX1125" fmla="*/ 665941 w 3830903"/>
                    <a:gd name="connsiteY1125" fmla="*/ 971138 h 4401009"/>
                    <a:gd name="connsiteX1126" fmla="*/ 671011 w 3830903"/>
                    <a:gd name="connsiteY1126" fmla="*/ 977899 h 4401009"/>
                    <a:gd name="connsiteX1127" fmla="*/ 687913 w 3830903"/>
                    <a:gd name="connsiteY1127" fmla="*/ 994801 h 4401009"/>
                    <a:gd name="connsiteX1128" fmla="*/ 692984 w 3830903"/>
                    <a:gd name="connsiteY1128" fmla="*/ 1001562 h 4401009"/>
                    <a:gd name="connsiteX1129" fmla="*/ 694674 w 3830903"/>
                    <a:gd name="connsiteY1129" fmla="*/ 1030295 h 4401009"/>
                    <a:gd name="connsiteX1130" fmla="*/ 713266 w 3830903"/>
                    <a:gd name="connsiteY1130" fmla="*/ 1038746 h 4401009"/>
                    <a:gd name="connsiteX1131" fmla="*/ 720027 w 3830903"/>
                    <a:gd name="connsiteY1131" fmla="*/ 1042127 h 4401009"/>
                    <a:gd name="connsiteX1132" fmla="*/ 723407 w 3830903"/>
                    <a:gd name="connsiteY1132" fmla="*/ 1048887 h 4401009"/>
                    <a:gd name="connsiteX1133" fmla="*/ 726788 w 3830903"/>
                    <a:gd name="connsiteY1133" fmla="*/ 1052268 h 4401009"/>
                    <a:gd name="connsiteX1134" fmla="*/ 748760 w 3830903"/>
                    <a:gd name="connsiteY1134" fmla="*/ 1055648 h 4401009"/>
                    <a:gd name="connsiteX1135" fmla="*/ 755521 w 3830903"/>
                    <a:gd name="connsiteY1135" fmla="*/ 1045507 h 4401009"/>
                    <a:gd name="connsiteX1136" fmla="*/ 757211 w 3830903"/>
                    <a:gd name="connsiteY1136" fmla="*/ 1040436 h 4401009"/>
                    <a:gd name="connsiteX1137" fmla="*/ 772423 w 3830903"/>
                    <a:gd name="connsiteY1137" fmla="*/ 1038746 h 4401009"/>
                    <a:gd name="connsiteX1138" fmla="*/ 777494 w 3830903"/>
                    <a:gd name="connsiteY1138" fmla="*/ 1040436 h 4401009"/>
                    <a:gd name="connsiteX1139" fmla="*/ 780874 w 3830903"/>
                    <a:gd name="connsiteY1139" fmla="*/ 1043817 h 4401009"/>
                    <a:gd name="connsiteX1140" fmla="*/ 796086 w 3830903"/>
                    <a:gd name="connsiteY1140" fmla="*/ 1055648 h 4401009"/>
                    <a:gd name="connsiteX1141" fmla="*/ 809608 w 3830903"/>
                    <a:gd name="connsiteY1141" fmla="*/ 1053958 h 4401009"/>
                    <a:gd name="connsiteX1142" fmla="*/ 814678 w 3830903"/>
                    <a:gd name="connsiteY1142" fmla="*/ 1055648 h 4401009"/>
                    <a:gd name="connsiteX1143" fmla="*/ 826510 w 3830903"/>
                    <a:gd name="connsiteY1143" fmla="*/ 1059029 h 4401009"/>
                    <a:gd name="connsiteX1144" fmla="*/ 831580 w 3830903"/>
                    <a:gd name="connsiteY1144" fmla="*/ 1064099 h 4401009"/>
                    <a:gd name="connsiteX1145" fmla="*/ 833271 w 3830903"/>
                    <a:gd name="connsiteY1145" fmla="*/ 1075931 h 4401009"/>
                    <a:gd name="connsiteX1146" fmla="*/ 877216 w 3830903"/>
                    <a:gd name="connsiteY1146" fmla="*/ 1077621 h 4401009"/>
                    <a:gd name="connsiteX1147" fmla="*/ 885667 w 3830903"/>
                    <a:gd name="connsiteY1147" fmla="*/ 1081001 h 4401009"/>
                    <a:gd name="connsiteX1148" fmla="*/ 905949 w 3830903"/>
                    <a:gd name="connsiteY1148" fmla="*/ 1082691 h 4401009"/>
                    <a:gd name="connsiteX1149" fmla="*/ 934683 w 3830903"/>
                    <a:gd name="connsiteY1149" fmla="*/ 1081001 h 4401009"/>
                    <a:gd name="connsiteX1150" fmla="*/ 936373 w 3830903"/>
                    <a:gd name="connsiteY1150" fmla="*/ 1072550 h 4401009"/>
                    <a:gd name="connsiteX1151" fmla="*/ 944824 w 3830903"/>
                    <a:gd name="connsiteY1151" fmla="*/ 1060719 h 4401009"/>
                    <a:gd name="connsiteX1152" fmla="*/ 946514 w 3830903"/>
                    <a:gd name="connsiteY1152" fmla="*/ 1053958 h 4401009"/>
                    <a:gd name="connsiteX1153" fmla="*/ 949895 w 3830903"/>
                    <a:gd name="connsiteY1153" fmla="*/ 1048887 h 4401009"/>
                    <a:gd name="connsiteX1154" fmla="*/ 960036 w 3830903"/>
                    <a:gd name="connsiteY1154" fmla="*/ 1035366 h 4401009"/>
                    <a:gd name="connsiteX1155" fmla="*/ 954965 w 3830903"/>
                    <a:gd name="connsiteY1155" fmla="*/ 1028605 h 4401009"/>
                    <a:gd name="connsiteX1156" fmla="*/ 953275 w 3830903"/>
                    <a:gd name="connsiteY1156" fmla="*/ 1023534 h 4401009"/>
                    <a:gd name="connsiteX1157" fmla="*/ 949895 w 3830903"/>
                    <a:gd name="connsiteY1157" fmla="*/ 1018464 h 4401009"/>
                    <a:gd name="connsiteX1158" fmla="*/ 941444 w 3830903"/>
                    <a:gd name="connsiteY1158" fmla="*/ 1011703 h 4401009"/>
                    <a:gd name="connsiteX1159" fmla="*/ 936373 w 3830903"/>
                    <a:gd name="connsiteY1159" fmla="*/ 1010013 h 4401009"/>
                    <a:gd name="connsiteX1160" fmla="*/ 919471 w 3830903"/>
                    <a:gd name="connsiteY1160" fmla="*/ 996491 h 4401009"/>
                    <a:gd name="connsiteX1161" fmla="*/ 916091 w 3830903"/>
                    <a:gd name="connsiteY1161" fmla="*/ 991420 h 4401009"/>
                    <a:gd name="connsiteX1162" fmla="*/ 905949 w 3830903"/>
                    <a:gd name="connsiteY1162" fmla="*/ 988040 h 4401009"/>
                    <a:gd name="connsiteX1163" fmla="*/ 894118 w 3830903"/>
                    <a:gd name="connsiteY1163" fmla="*/ 996491 h 4401009"/>
                    <a:gd name="connsiteX1164" fmla="*/ 878906 w 3830903"/>
                    <a:gd name="connsiteY1164" fmla="*/ 1003252 h 4401009"/>
                    <a:gd name="connsiteX1165" fmla="*/ 872145 w 3830903"/>
                    <a:gd name="connsiteY1165" fmla="*/ 996491 h 4401009"/>
                    <a:gd name="connsiteX1166" fmla="*/ 867075 w 3830903"/>
                    <a:gd name="connsiteY1166" fmla="*/ 994801 h 4401009"/>
                    <a:gd name="connsiteX1167" fmla="*/ 862004 w 3830903"/>
                    <a:gd name="connsiteY1167" fmla="*/ 991420 h 4401009"/>
                    <a:gd name="connsiteX1168" fmla="*/ 851863 w 3830903"/>
                    <a:gd name="connsiteY1168" fmla="*/ 988040 h 4401009"/>
                    <a:gd name="connsiteX1169" fmla="*/ 848482 w 3830903"/>
                    <a:gd name="connsiteY1169" fmla="*/ 984660 h 4401009"/>
                    <a:gd name="connsiteX1170" fmla="*/ 838341 w 3830903"/>
                    <a:gd name="connsiteY1170" fmla="*/ 981279 h 4401009"/>
                    <a:gd name="connsiteX1171" fmla="*/ 833271 w 3830903"/>
                    <a:gd name="connsiteY1171" fmla="*/ 974518 h 4401009"/>
                    <a:gd name="connsiteX1172" fmla="*/ 821439 w 3830903"/>
                    <a:gd name="connsiteY1172" fmla="*/ 966067 h 4401009"/>
                    <a:gd name="connsiteX1173" fmla="*/ 812988 w 3830903"/>
                    <a:gd name="connsiteY1173" fmla="*/ 957616 h 4401009"/>
                    <a:gd name="connsiteX1174" fmla="*/ 792706 w 3830903"/>
                    <a:gd name="connsiteY1174" fmla="*/ 950856 h 4401009"/>
                    <a:gd name="connsiteX1175" fmla="*/ 789325 w 3830903"/>
                    <a:gd name="connsiteY1175" fmla="*/ 947475 h 4401009"/>
                    <a:gd name="connsiteX1176" fmla="*/ 777494 w 3830903"/>
                    <a:gd name="connsiteY1176" fmla="*/ 933954 h 4401009"/>
                    <a:gd name="connsiteX1177" fmla="*/ 782565 w 3830903"/>
                    <a:gd name="connsiteY1177" fmla="*/ 930573 h 4401009"/>
                    <a:gd name="connsiteX1178" fmla="*/ 796086 w 3830903"/>
                    <a:gd name="connsiteY1178" fmla="*/ 927193 h 4401009"/>
                    <a:gd name="connsiteX1179" fmla="*/ 797776 w 3830903"/>
                    <a:gd name="connsiteY1179" fmla="*/ 906910 h 4401009"/>
                    <a:gd name="connsiteX1180" fmla="*/ 799467 w 3830903"/>
                    <a:gd name="connsiteY1180" fmla="*/ 901840 h 4401009"/>
                    <a:gd name="connsiteX1181" fmla="*/ 804537 w 3830903"/>
                    <a:gd name="connsiteY1181" fmla="*/ 888318 h 4401009"/>
                    <a:gd name="connsiteX1182" fmla="*/ 802847 w 3830903"/>
                    <a:gd name="connsiteY1182" fmla="*/ 879867 h 4401009"/>
                    <a:gd name="connsiteX1183" fmla="*/ 804537 w 3830903"/>
                    <a:gd name="connsiteY1183" fmla="*/ 874796 h 4401009"/>
                    <a:gd name="connsiteX1184" fmla="*/ 806227 w 3830903"/>
                    <a:gd name="connsiteY1184" fmla="*/ 868036 h 4401009"/>
                    <a:gd name="connsiteX1185" fmla="*/ 828200 w 3830903"/>
                    <a:gd name="connsiteY1185" fmla="*/ 869726 h 4401009"/>
                    <a:gd name="connsiteX1186" fmla="*/ 851863 w 3830903"/>
                    <a:gd name="connsiteY1186" fmla="*/ 866345 h 4401009"/>
                    <a:gd name="connsiteX1187" fmla="*/ 865384 w 3830903"/>
                    <a:gd name="connsiteY1187" fmla="*/ 876487 h 4401009"/>
                    <a:gd name="connsiteX1188" fmla="*/ 877216 w 3830903"/>
                    <a:gd name="connsiteY1188" fmla="*/ 881557 h 4401009"/>
                    <a:gd name="connsiteX1189" fmla="*/ 894118 w 3830903"/>
                    <a:gd name="connsiteY1189" fmla="*/ 884938 h 4401009"/>
                    <a:gd name="connsiteX1190" fmla="*/ 922851 w 3830903"/>
                    <a:gd name="connsiteY1190" fmla="*/ 891698 h 4401009"/>
                    <a:gd name="connsiteX1191" fmla="*/ 914400 w 3830903"/>
                    <a:gd name="connsiteY1191" fmla="*/ 900149 h 4401009"/>
                    <a:gd name="connsiteX1192" fmla="*/ 905949 w 3830903"/>
                    <a:gd name="connsiteY1192" fmla="*/ 913671 h 4401009"/>
                    <a:gd name="connsiteX1193" fmla="*/ 907640 w 3830903"/>
                    <a:gd name="connsiteY1193" fmla="*/ 922122 h 4401009"/>
                    <a:gd name="connsiteX1194" fmla="*/ 911020 w 3830903"/>
                    <a:gd name="connsiteY1194" fmla="*/ 925503 h 4401009"/>
                    <a:gd name="connsiteX1195" fmla="*/ 914400 w 3830903"/>
                    <a:gd name="connsiteY1195" fmla="*/ 915361 h 4401009"/>
                    <a:gd name="connsiteX1196" fmla="*/ 921161 w 3830903"/>
                    <a:gd name="connsiteY1196" fmla="*/ 905220 h 4401009"/>
                    <a:gd name="connsiteX1197" fmla="*/ 927922 w 3830903"/>
                    <a:gd name="connsiteY1197" fmla="*/ 901840 h 4401009"/>
                    <a:gd name="connsiteX1198" fmla="*/ 931302 w 3830903"/>
                    <a:gd name="connsiteY1198" fmla="*/ 890008 h 4401009"/>
                    <a:gd name="connsiteX1199" fmla="*/ 970177 w 3830903"/>
                    <a:gd name="connsiteY1199" fmla="*/ 888318 h 4401009"/>
                    <a:gd name="connsiteX1200" fmla="*/ 978628 w 3830903"/>
                    <a:gd name="connsiteY1200" fmla="*/ 890008 h 4401009"/>
                    <a:gd name="connsiteX1201" fmla="*/ 1007362 w 3830903"/>
                    <a:gd name="connsiteY1201" fmla="*/ 896769 h 4401009"/>
                    <a:gd name="connsiteX1202" fmla="*/ 1024264 w 3830903"/>
                    <a:gd name="connsiteY1202" fmla="*/ 891698 h 4401009"/>
                    <a:gd name="connsiteX1203" fmla="*/ 1037785 w 3830903"/>
                    <a:gd name="connsiteY1203" fmla="*/ 886628 h 4401009"/>
                    <a:gd name="connsiteX1204" fmla="*/ 1041166 w 3830903"/>
                    <a:gd name="connsiteY1204" fmla="*/ 881557 h 4401009"/>
                    <a:gd name="connsiteX1205" fmla="*/ 1046236 w 3830903"/>
                    <a:gd name="connsiteY1205" fmla="*/ 874796 h 4401009"/>
                    <a:gd name="connsiteX1206" fmla="*/ 1052997 w 3830903"/>
                    <a:gd name="connsiteY1206" fmla="*/ 861275 h 4401009"/>
                    <a:gd name="connsiteX1207" fmla="*/ 1061448 w 3830903"/>
                    <a:gd name="connsiteY1207" fmla="*/ 862965 h 4401009"/>
                    <a:gd name="connsiteX1208" fmla="*/ 1063138 w 3830903"/>
                    <a:gd name="connsiteY1208" fmla="*/ 874796 h 4401009"/>
                    <a:gd name="connsiteX1209" fmla="*/ 1064828 w 3830903"/>
                    <a:gd name="connsiteY1209" fmla="*/ 879867 h 4401009"/>
                    <a:gd name="connsiteX1210" fmla="*/ 1076660 w 3830903"/>
                    <a:gd name="connsiteY1210" fmla="*/ 883247 h 4401009"/>
                    <a:gd name="connsiteX1211" fmla="*/ 1102013 w 3830903"/>
                    <a:gd name="connsiteY1211" fmla="*/ 871416 h 4401009"/>
                    <a:gd name="connsiteX1212" fmla="*/ 1096942 w 3830903"/>
                    <a:gd name="connsiteY1212" fmla="*/ 868036 h 4401009"/>
                    <a:gd name="connsiteX1213" fmla="*/ 1083421 w 3830903"/>
                    <a:gd name="connsiteY1213" fmla="*/ 862965 h 4401009"/>
                    <a:gd name="connsiteX1214" fmla="*/ 1080040 w 3830903"/>
                    <a:gd name="connsiteY1214" fmla="*/ 859585 h 4401009"/>
                    <a:gd name="connsiteX1215" fmla="*/ 1078350 w 3830903"/>
                    <a:gd name="connsiteY1215" fmla="*/ 852824 h 4401009"/>
                    <a:gd name="connsiteX1216" fmla="*/ 1071589 w 3830903"/>
                    <a:gd name="connsiteY1216" fmla="*/ 842683 h 4401009"/>
                    <a:gd name="connsiteX1217" fmla="*/ 1069899 w 3830903"/>
                    <a:gd name="connsiteY1217" fmla="*/ 837612 h 4401009"/>
                    <a:gd name="connsiteX1218" fmla="*/ 1059758 w 3830903"/>
                    <a:gd name="connsiteY1218" fmla="*/ 834232 h 4401009"/>
                    <a:gd name="connsiteX1219" fmla="*/ 1058068 w 3830903"/>
                    <a:gd name="connsiteY1219" fmla="*/ 829161 h 4401009"/>
                    <a:gd name="connsiteX1220" fmla="*/ 1054687 w 3830903"/>
                    <a:gd name="connsiteY1220" fmla="*/ 822400 h 4401009"/>
                    <a:gd name="connsiteX1221" fmla="*/ 1052997 w 3830903"/>
                    <a:gd name="connsiteY1221" fmla="*/ 817330 h 4401009"/>
                    <a:gd name="connsiteX1222" fmla="*/ 1049617 w 3830903"/>
                    <a:gd name="connsiteY1222" fmla="*/ 810569 h 4401009"/>
                    <a:gd name="connsiteX1223" fmla="*/ 1046236 w 3830903"/>
                    <a:gd name="connsiteY1223" fmla="*/ 807188 h 4401009"/>
                    <a:gd name="connsiteX1224" fmla="*/ 1041166 w 3830903"/>
                    <a:gd name="connsiteY1224" fmla="*/ 800427 h 4401009"/>
                    <a:gd name="connsiteX1225" fmla="*/ 1027644 w 3830903"/>
                    <a:gd name="connsiteY1225" fmla="*/ 797047 h 4401009"/>
                    <a:gd name="connsiteX1226" fmla="*/ 1020883 w 3830903"/>
                    <a:gd name="connsiteY1226" fmla="*/ 791976 h 4401009"/>
                    <a:gd name="connsiteX1227" fmla="*/ 997220 w 3830903"/>
                    <a:gd name="connsiteY1227" fmla="*/ 785216 h 4401009"/>
                    <a:gd name="connsiteX1228" fmla="*/ 992150 w 3830903"/>
                    <a:gd name="connsiteY1228" fmla="*/ 783525 h 4401009"/>
                    <a:gd name="connsiteX1229" fmla="*/ 988769 w 3830903"/>
                    <a:gd name="connsiteY1229" fmla="*/ 775074 h 4401009"/>
                    <a:gd name="connsiteX1230" fmla="*/ 980318 w 3830903"/>
                    <a:gd name="connsiteY1230" fmla="*/ 761553 h 4401009"/>
                    <a:gd name="connsiteX1231" fmla="*/ 965106 w 3830903"/>
                    <a:gd name="connsiteY1231" fmla="*/ 753102 h 4401009"/>
                    <a:gd name="connsiteX1232" fmla="*/ 956655 w 3830903"/>
                    <a:gd name="connsiteY1232" fmla="*/ 746341 h 4401009"/>
                    <a:gd name="connsiteX1233" fmla="*/ 956655 w 3830903"/>
                    <a:gd name="connsiteY1233" fmla="*/ 705776 h 4401009"/>
                    <a:gd name="connsiteX1234" fmla="*/ 960036 w 3830903"/>
                    <a:gd name="connsiteY1234" fmla="*/ 699015 h 4401009"/>
                    <a:gd name="connsiteX1235" fmla="*/ 970177 w 3830903"/>
                    <a:gd name="connsiteY1235" fmla="*/ 690564 h 4401009"/>
                    <a:gd name="connsiteX1236" fmla="*/ 978628 w 3830903"/>
                    <a:gd name="connsiteY1236" fmla="*/ 682113 h 4401009"/>
                    <a:gd name="connsiteX1237" fmla="*/ 982009 w 3830903"/>
                    <a:gd name="connsiteY1237" fmla="*/ 660141 h 4401009"/>
                    <a:gd name="connsiteX1238" fmla="*/ 987079 w 3830903"/>
                    <a:gd name="connsiteY1238" fmla="*/ 644929 h 4401009"/>
                    <a:gd name="connsiteX1239" fmla="*/ 990460 w 3830903"/>
                    <a:gd name="connsiteY1239" fmla="*/ 633097 h 4401009"/>
                    <a:gd name="connsiteX1240" fmla="*/ 995530 w 3830903"/>
                    <a:gd name="connsiteY1240" fmla="*/ 624646 h 4401009"/>
                    <a:gd name="connsiteX1241" fmla="*/ 1007362 w 3830903"/>
                    <a:gd name="connsiteY1241" fmla="*/ 616195 h 4401009"/>
                    <a:gd name="connsiteX1242" fmla="*/ 1010742 w 3830903"/>
                    <a:gd name="connsiteY1242" fmla="*/ 606054 h 4401009"/>
                    <a:gd name="connsiteX1243" fmla="*/ 1017503 w 3830903"/>
                    <a:gd name="connsiteY1243" fmla="*/ 580701 h 4401009"/>
                    <a:gd name="connsiteX1244" fmla="*/ 1024264 w 3830903"/>
                    <a:gd name="connsiteY1244" fmla="*/ 577321 h 4401009"/>
                    <a:gd name="connsiteX1245" fmla="*/ 1029334 w 3830903"/>
                    <a:gd name="connsiteY1245" fmla="*/ 575630 h 4401009"/>
                    <a:gd name="connsiteX1246" fmla="*/ 1031024 w 3830903"/>
                    <a:gd name="connsiteY1246" fmla="*/ 570560 h 4401009"/>
                    <a:gd name="connsiteX1247" fmla="*/ 1032715 w 3830903"/>
                    <a:gd name="connsiteY1247" fmla="*/ 558728 h 4401009"/>
                    <a:gd name="connsiteX1248" fmla="*/ 1034405 w 3830903"/>
                    <a:gd name="connsiteY1248" fmla="*/ 545207 h 4401009"/>
                    <a:gd name="connsiteX1249" fmla="*/ 1036095 w 3830903"/>
                    <a:gd name="connsiteY1249" fmla="*/ 536756 h 4401009"/>
                    <a:gd name="connsiteX1250" fmla="*/ 1039475 w 3830903"/>
                    <a:gd name="connsiteY1250" fmla="*/ 516473 h 4401009"/>
                    <a:gd name="connsiteX1251" fmla="*/ 1037785 w 3830903"/>
                    <a:gd name="connsiteY1251" fmla="*/ 509713 h 4401009"/>
                    <a:gd name="connsiteX1252" fmla="*/ 1036095 w 3830903"/>
                    <a:gd name="connsiteY1252" fmla="*/ 504642 h 4401009"/>
                    <a:gd name="connsiteX1253" fmla="*/ 1034405 w 3830903"/>
                    <a:gd name="connsiteY1253" fmla="*/ 492810 h 4401009"/>
                    <a:gd name="connsiteX1254" fmla="*/ 1056377 w 3830903"/>
                    <a:gd name="connsiteY1254" fmla="*/ 491120 h 4401009"/>
                    <a:gd name="connsiteX1255" fmla="*/ 1066519 w 3830903"/>
                    <a:gd name="connsiteY1255" fmla="*/ 492810 h 4401009"/>
                    <a:gd name="connsiteX1256" fmla="*/ 1088491 w 3830903"/>
                    <a:gd name="connsiteY1256" fmla="*/ 494501 h 4401009"/>
                    <a:gd name="connsiteX1257" fmla="*/ 1091872 w 3830903"/>
                    <a:gd name="connsiteY1257" fmla="*/ 486050 h 4401009"/>
                    <a:gd name="connsiteX1258" fmla="*/ 1123986 w 3830903"/>
                    <a:gd name="connsiteY1258" fmla="*/ 477599 h 4401009"/>
                    <a:gd name="connsiteX1259" fmla="*/ 1135817 w 3830903"/>
                    <a:gd name="connsiteY1259" fmla="*/ 480979 h 4401009"/>
                    <a:gd name="connsiteX1260" fmla="*/ 1149339 w 3830903"/>
                    <a:gd name="connsiteY1260" fmla="*/ 487740 h 4401009"/>
                    <a:gd name="connsiteX1261" fmla="*/ 1151029 w 3830903"/>
                    <a:gd name="connsiteY1261" fmla="*/ 501261 h 4401009"/>
                    <a:gd name="connsiteX1262" fmla="*/ 1147648 w 3830903"/>
                    <a:gd name="connsiteY1262" fmla="*/ 513093 h 4401009"/>
                    <a:gd name="connsiteX1263" fmla="*/ 1144268 w 3830903"/>
                    <a:gd name="connsiteY1263" fmla="*/ 521544 h 4401009"/>
                    <a:gd name="connsiteX1264" fmla="*/ 1142578 w 3830903"/>
                    <a:gd name="connsiteY1264" fmla="*/ 531685 h 4401009"/>
                    <a:gd name="connsiteX1265" fmla="*/ 1162860 w 3830903"/>
                    <a:gd name="connsiteY1265" fmla="*/ 528305 h 4401009"/>
                    <a:gd name="connsiteX1266" fmla="*/ 1149339 w 3830903"/>
                    <a:gd name="connsiteY1266" fmla="*/ 519854 h 4401009"/>
                    <a:gd name="connsiteX1267" fmla="*/ 1152719 w 3830903"/>
                    <a:gd name="connsiteY1267" fmla="*/ 513093 h 4401009"/>
                    <a:gd name="connsiteX1268" fmla="*/ 1164550 w 3830903"/>
                    <a:gd name="connsiteY1268" fmla="*/ 501261 h 4401009"/>
                    <a:gd name="connsiteX1269" fmla="*/ 1171311 w 3830903"/>
                    <a:gd name="connsiteY1269" fmla="*/ 499571 h 4401009"/>
                    <a:gd name="connsiteX1270" fmla="*/ 1181453 w 3830903"/>
                    <a:gd name="connsiteY1270" fmla="*/ 501261 h 4401009"/>
                    <a:gd name="connsiteX1271" fmla="*/ 1198355 w 3830903"/>
                    <a:gd name="connsiteY1271" fmla="*/ 523234 h 4401009"/>
                    <a:gd name="connsiteX1272" fmla="*/ 1201631 w 3830903"/>
                    <a:gd name="connsiteY1272" fmla="*/ 527081 h 4401009"/>
                    <a:gd name="connsiteX1273" fmla="*/ 1201471 w 3830903"/>
                    <a:gd name="connsiteY1273" fmla="*/ 525891 h 4401009"/>
                    <a:gd name="connsiteX1274" fmla="*/ 1205115 w 3830903"/>
                    <a:gd name="connsiteY1274" fmla="*/ 533375 h 4401009"/>
                    <a:gd name="connsiteX1275" fmla="*/ 1220327 w 3830903"/>
                    <a:gd name="connsiteY1275" fmla="*/ 540136 h 4401009"/>
                    <a:gd name="connsiteX1276" fmla="*/ 1225398 w 3830903"/>
                    <a:gd name="connsiteY1276" fmla="*/ 535066 h 4401009"/>
                    <a:gd name="connsiteX1277" fmla="*/ 1223708 w 3830903"/>
                    <a:gd name="connsiteY1277" fmla="*/ 529995 h 4401009"/>
                    <a:gd name="connsiteX1278" fmla="*/ 1220327 w 3830903"/>
                    <a:gd name="connsiteY1278" fmla="*/ 526615 h 4401009"/>
                    <a:gd name="connsiteX1279" fmla="*/ 1215257 w 3830903"/>
                    <a:gd name="connsiteY1279" fmla="*/ 519854 h 4401009"/>
                    <a:gd name="connsiteX1280" fmla="*/ 1208496 w 3830903"/>
                    <a:gd name="connsiteY1280" fmla="*/ 518164 h 4401009"/>
                    <a:gd name="connsiteX1281" fmla="*/ 1198355 w 3830903"/>
                    <a:gd name="connsiteY1281" fmla="*/ 506332 h 4401009"/>
                    <a:gd name="connsiteX1282" fmla="*/ 1188213 w 3830903"/>
                    <a:gd name="connsiteY1282" fmla="*/ 494501 h 4401009"/>
                    <a:gd name="connsiteX1283" fmla="*/ 1179762 w 3830903"/>
                    <a:gd name="connsiteY1283" fmla="*/ 430273 h 4401009"/>
                    <a:gd name="connsiteX1284" fmla="*/ 1178072 w 3830903"/>
                    <a:gd name="connsiteY1284" fmla="*/ 421822 h 4401009"/>
                    <a:gd name="connsiteX1285" fmla="*/ 1176382 w 3830903"/>
                    <a:gd name="connsiteY1285" fmla="*/ 399849 h 4401009"/>
                    <a:gd name="connsiteX1286" fmla="*/ 1161170 w 3830903"/>
                    <a:gd name="connsiteY1286" fmla="*/ 401539 h 4401009"/>
                    <a:gd name="connsiteX1287" fmla="*/ 1154409 w 3830903"/>
                    <a:gd name="connsiteY1287" fmla="*/ 399849 h 4401009"/>
                    <a:gd name="connsiteX1288" fmla="*/ 1147648 w 3830903"/>
                    <a:gd name="connsiteY1288" fmla="*/ 376186 h 4401009"/>
                    <a:gd name="connsiteX1289" fmla="*/ 1139197 w 3830903"/>
                    <a:gd name="connsiteY1289" fmla="*/ 366045 h 4401009"/>
                    <a:gd name="connsiteX1290" fmla="*/ 1135817 w 3830903"/>
                    <a:gd name="connsiteY1290" fmla="*/ 360975 h 4401009"/>
                    <a:gd name="connsiteX1291" fmla="*/ 1123986 w 3830903"/>
                    <a:gd name="connsiteY1291" fmla="*/ 354214 h 4401009"/>
                    <a:gd name="connsiteX1292" fmla="*/ 1115535 w 3830903"/>
                    <a:gd name="connsiteY1292" fmla="*/ 339002 h 4401009"/>
                    <a:gd name="connsiteX1293" fmla="*/ 1103703 w 3830903"/>
                    <a:gd name="connsiteY1293" fmla="*/ 332241 h 4401009"/>
                    <a:gd name="connsiteX1294" fmla="*/ 1080040 w 3830903"/>
                    <a:gd name="connsiteY1294" fmla="*/ 330551 h 4401009"/>
                    <a:gd name="connsiteX1295" fmla="*/ 1074970 w 3830903"/>
                    <a:gd name="connsiteY1295" fmla="*/ 327171 h 4401009"/>
                    <a:gd name="connsiteX1296" fmla="*/ 1066519 w 3830903"/>
                    <a:gd name="connsiteY1296" fmla="*/ 311959 h 4401009"/>
                    <a:gd name="connsiteX1297" fmla="*/ 1061448 w 3830903"/>
                    <a:gd name="connsiteY1297" fmla="*/ 281535 h 4401009"/>
                    <a:gd name="connsiteX1298" fmla="*/ 1058068 w 3830903"/>
                    <a:gd name="connsiteY1298" fmla="*/ 257872 h 4401009"/>
                    <a:gd name="connsiteX1299" fmla="*/ 1054687 w 3830903"/>
                    <a:gd name="connsiteY1299" fmla="*/ 246041 h 4401009"/>
                    <a:gd name="connsiteX1300" fmla="*/ 1044546 w 3830903"/>
                    <a:gd name="connsiteY1300" fmla="*/ 237590 h 4401009"/>
                    <a:gd name="connsiteX1301" fmla="*/ 1039475 w 3830903"/>
                    <a:gd name="connsiteY1301" fmla="*/ 234209 h 4401009"/>
                    <a:gd name="connsiteX1302" fmla="*/ 1037785 w 3830903"/>
                    <a:gd name="connsiteY1302" fmla="*/ 229139 h 4401009"/>
                    <a:gd name="connsiteX1303" fmla="*/ 1031024 w 3830903"/>
                    <a:gd name="connsiteY1303" fmla="*/ 217307 h 4401009"/>
                    <a:gd name="connsiteX1304" fmla="*/ 1024264 w 3830903"/>
                    <a:gd name="connsiteY1304" fmla="*/ 205476 h 4401009"/>
                    <a:gd name="connsiteX1305" fmla="*/ 1017503 w 3830903"/>
                    <a:gd name="connsiteY1305" fmla="*/ 197025 h 4401009"/>
                    <a:gd name="connsiteX1306" fmla="*/ 1015813 w 3830903"/>
                    <a:gd name="connsiteY1306" fmla="*/ 191954 h 4401009"/>
                    <a:gd name="connsiteX1307" fmla="*/ 1012432 w 3830903"/>
                    <a:gd name="connsiteY1307" fmla="*/ 186884 h 4401009"/>
                    <a:gd name="connsiteX1308" fmla="*/ 1000601 w 3830903"/>
                    <a:gd name="connsiteY1308" fmla="*/ 176742 h 4401009"/>
                    <a:gd name="connsiteX1309" fmla="*/ 992150 w 3830903"/>
                    <a:gd name="connsiteY1309" fmla="*/ 168291 h 4401009"/>
                    <a:gd name="connsiteX1310" fmla="*/ 980318 w 3830903"/>
                    <a:gd name="connsiteY1310" fmla="*/ 146319 h 4401009"/>
                    <a:gd name="connsiteX1311" fmla="*/ 971867 w 3830903"/>
                    <a:gd name="connsiteY1311" fmla="*/ 142938 h 4401009"/>
                    <a:gd name="connsiteX1312" fmla="*/ 966797 w 3830903"/>
                    <a:gd name="connsiteY1312" fmla="*/ 141248 h 4401009"/>
                    <a:gd name="connsiteX1313" fmla="*/ 954965 w 3830903"/>
                    <a:gd name="connsiteY1313" fmla="*/ 131107 h 4401009"/>
                    <a:gd name="connsiteX1314" fmla="*/ 946514 w 3830903"/>
                    <a:gd name="connsiteY1314" fmla="*/ 124346 h 4401009"/>
                    <a:gd name="connsiteX1315" fmla="*/ 932993 w 3830903"/>
                    <a:gd name="connsiteY1315" fmla="*/ 119276 h 4401009"/>
                    <a:gd name="connsiteX1316" fmla="*/ 927922 w 3830903"/>
                    <a:gd name="connsiteY1316" fmla="*/ 114205 h 4401009"/>
                    <a:gd name="connsiteX1317" fmla="*/ 909330 w 3830903"/>
                    <a:gd name="connsiteY1317" fmla="*/ 109134 h 4401009"/>
                    <a:gd name="connsiteX1318" fmla="*/ 907640 w 3830903"/>
                    <a:gd name="connsiteY1318" fmla="*/ 102374 h 4401009"/>
                    <a:gd name="connsiteX1319" fmla="*/ 943134 w 3830903"/>
                    <a:gd name="connsiteY1319" fmla="*/ 104064 h 4401009"/>
                    <a:gd name="connsiteX1320" fmla="*/ 963416 w 3830903"/>
                    <a:gd name="connsiteY1320" fmla="*/ 105754 h 4401009"/>
                    <a:gd name="connsiteX1321" fmla="*/ 970177 w 3830903"/>
                    <a:gd name="connsiteY1321" fmla="*/ 98993 h 4401009"/>
                    <a:gd name="connsiteX1322" fmla="*/ 978628 w 3830903"/>
                    <a:gd name="connsiteY1322" fmla="*/ 92232 h 4401009"/>
                    <a:gd name="connsiteX1323" fmla="*/ 987079 w 3830903"/>
                    <a:gd name="connsiteY1323" fmla="*/ 90542 h 4401009"/>
                    <a:gd name="connsiteX1324" fmla="*/ 1003981 w 3830903"/>
                    <a:gd name="connsiteY1324" fmla="*/ 83781 h 4401009"/>
                    <a:gd name="connsiteX1325" fmla="*/ 1010742 w 3830903"/>
                    <a:gd name="connsiteY1325" fmla="*/ 80401 h 4401009"/>
                    <a:gd name="connsiteX1326" fmla="*/ 1019193 w 3830903"/>
                    <a:gd name="connsiteY1326" fmla="*/ 75330 h 4401009"/>
                    <a:gd name="connsiteX1327" fmla="*/ 1037785 w 3830903"/>
                    <a:gd name="connsiteY1327" fmla="*/ 61809 h 4401009"/>
                    <a:gd name="connsiteX1328" fmla="*/ 1059758 w 3830903"/>
                    <a:gd name="connsiteY1328" fmla="*/ 63499 h 4401009"/>
                    <a:gd name="connsiteX1329" fmla="*/ 1073280 w 3830903"/>
                    <a:gd name="connsiteY1329" fmla="*/ 65189 h 4401009"/>
                    <a:gd name="connsiteX1330" fmla="*/ 1088491 w 3830903"/>
                    <a:gd name="connsiteY1330" fmla="*/ 71950 h 4401009"/>
                    <a:gd name="connsiteX1331" fmla="*/ 1090182 w 3830903"/>
                    <a:gd name="connsiteY1331" fmla="*/ 77020 h 4401009"/>
                    <a:gd name="connsiteX1332" fmla="*/ 1096942 w 3830903"/>
                    <a:gd name="connsiteY1332" fmla="*/ 85471 h 4401009"/>
                    <a:gd name="connsiteX1333" fmla="*/ 1102013 w 3830903"/>
                    <a:gd name="connsiteY1333" fmla="*/ 90542 h 4401009"/>
                    <a:gd name="connsiteX1334" fmla="*/ 1134127 w 3830903"/>
                    <a:gd name="connsiteY1334" fmla="*/ 93922 h 4401009"/>
                    <a:gd name="connsiteX1335" fmla="*/ 1147648 w 3830903"/>
                    <a:gd name="connsiteY1335" fmla="*/ 95613 h 4401009"/>
                    <a:gd name="connsiteX1336" fmla="*/ 1149339 w 3830903"/>
                    <a:gd name="connsiteY1336" fmla="*/ 100683 h 4401009"/>
                    <a:gd name="connsiteX1337" fmla="*/ 1156099 w 3830903"/>
                    <a:gd name="connsiteY1337" fmla="*/ 114205 h 4401009"/>
                    <a:gd name="connsiteX1338" fmla="*/ 1161170 w 3830903"/>
                    <a:gd name="connsiteY1338" fmla="*/ 120966 h 4401009"/>
                    <a:gd name="connsiteX1339" fmla="*/ 1167931 w 3830903"/>
                    <a:gd name="connsiteY1339" fmla="*/ 126036 h 4401009"/>
                    <a:gd name="connsiteX1340" fmla="*/ 1171311 w 3830903"/>
                    <a:gd name="connsiteY1340" fmla="*/ 129417 h 4401009"/>
                    <a:gd name="connsiteX1341" fmla="*/ 1183143 w 3830903"/>
                    <a:gd name="connsiteY1341" fmla="*/ 132797 h 4401009"/>
                    <a:gd name="connsiteX1342" fmla="*/ 1189904 w 3830903"/>
                    <a:gd name="connsiteY1342" fmla="*/ 136178 h 4401009"/>
                    <a:gd name="connsiteX1343" fmla="*/ 1191594 w 3830903"/>
                    <a:gd name="connsiteY1343" fmla="*/ 141248 h 4401009"/>
                    <a:gd name="connsiteX1344" fmla="*/ 1174692 w 3830903"/>
                    <a:gd name="connsiteY1344" fmla="*/ 153080 h 4401009"/>
                    <a:gd name="connsiteX1345" fmla="*/ 1161170 w 3830903"/>
                    <a:gd name="connsiteY1345" fmla="*/ 161531 h 4401009"/>
                    <a:gd name="connsiteX1346" fmla="*/ 1149339 w 3830903"/>
                    <a:gd name="connsiteY1346" fmla="*/ 166601 h 4401009"/>
                    <a:gd name="connsiteX1347" fmla="*/ 1144268 w 3830903"/>
                    <a:gd name="connsiteY1347" fmla="*/ 168291 h 4401009"/>
                    <a:gd name="connsiteX1348" fmla="*/ 1140888 w 3830903"/>
                    <a:gd name="connsiteY1348" fmla="*/ 173362 h 4401009"/>
                    <a:gd name="connsiteX1349" fmla="*/ 1127366 w 3830903"/>
                    <a:gd name="connsiteY1349" fmla="*/ 181813 h 4401009"/>
                    <a:gd name="connsiteX1350" fmla="*/ 1118915 w 3830903"/>
                    <a:gd name="connsiteY1350" fmla="*/ 190264 h 4401009"/>
                    <a:gd name="connsiteX1351" fmla="*/ 1117225 w 3830903"/>
                    <a:gd name="connsiteY1351" fmla="*/ 213927 h 4401009"/>
                    <a:gd name="connsiteX1352" fmla="*/ 1122295 w 3830903"/>
                    <a:gd name="connsiteY1352" fmla="*/ 218998 h 4401009"/>
                    <a:gd name="connsiteX1353" fmla="*/ 1125676 w 3830903"/>
                    <a:gd name="connsiteY1353" fmla="*/ 225758 h 4401009"/>
                    <a:gd name="connsiteX1354" fmla="*/ 1132437 w 3830903"/>
                    <a:gd name="connsiteY1354" fmla="*/ 229139 h 4401009"/>
                    <a:gd name="connsiteX1355" fmla="*/ 1125676 w 3830903"/>
                    <a:gd name="connsiteY1355" fmla="*/ 230829 h 4401009"/>
                    <a:gd name="connsiteX1356" fmla="*/ 1125676 w 3830903"/>
                    <a:gd name="connsiteY1356" fmla="*/ 262943 h 4401009"/>
                    <a:gd name="connsiteX1357" fmla="*/ 1130746 w 3830903"/>
                    <a:gd name="connsiteY1357" fmla="*/ 264633 h 4401009"/>
                    <a:gd name="connsiteX1358" fmla="*/ 1144268 w 3830903"/>
                    <a:gd name="connsiteY1358" fmla="*/ 268013 h 4401009"/>
                    <a:gd name="connsiteX1359" fmla="*/ 1179762 w 3830903"/>
                    <a:gd name="connsiteY1359" fmla="*/ 271394 h 4401009"/>
                    <a:gd name="connsiteX1360" fmla="*/ 1188213 w 3830903"/>
                    <a:gd name="connsiteY1360" fmla="*/ 274774 h 4401009"/>
                    <a:gd name="connsiteX1361" fmla="*/ 1191594 w 3830903"/>
                    <a:gd name="connsiteY1361" fmla="*/ 281535 h 4401009"/>
                    <a:gd name="connsiteX1362" fmla="*/ 1206806 w 3830903"/>
                    <a:gd name="connsiteY1362" fmla="*/ 296747 h 4401009"/>
                    <a:gd name="connsiteX1363" fmla="*/ 1211876 w 3830903"/>
                    <a:gd name="connsiteY1363" fmla="*/ 305198 h 4401009"/>
                    <a:gd name="connsiteX1364" fmla="*/ 1220327 w 3830903"/>
                    <a:gd name="connsiteY1364" fmla="*/ 315339 h 4401009"/>
                    <a:gd name="connsiteX1365" fmla="*/ 1225398 w 3830903"/>
                    <a:gd name="connsiteY1365" fmla="*/ 318720 h 4401009"/>
                    <a:gd name="connsiteX1366" fmla="*/ 1243990 w 3830903"/>
                    <a:gd name="connsiteY1366" fmla="*/ 322100 h 4401009"/>
                    <a:gd name="connsiteX1367" fmla="*/ 1250751 w 3830903"/>
                    <a:gd name="connsiteY1367" fmla="*/ 320410 h 4401009"/>
                    <a:gd name="connsiteX1368" fmla="*/ 1257512 w 3830903"/>
                    <a:gd name="connsiteY1368" fmla="*/ 310269 h 4401009"/>
                    <a:gd name="connsiteX1369" fmla="*/ 1260892 w 3830903"/>
                    <a:gd name="connsiteY1369" fmla="*/ 305198 h 4401009"/>
                    <a:gd name="connsiteX1370" fmla="*/ 1265963 w 3830903"/>
                    <a:gd name="connsiteY1370" fmla="*/ 306888 h 4401009"/>
                    <a:gd name="connsiteX1371" fmla="*/ 1269343 w 3830903"/>
                    <a:gd name="connsiteY1371" fmla="*/ 320410 h 4401009"/>
                    <a:gd name="connsiteX1372" fmla="*/ 1274414 w 3830903"/>
                    <a:gd name="connsiteY1372" fmla="*/ 323790 h 4401009"/>
                    <a:gd name="connsiteX1373" fmla="*/ 1276104 w 3830903"/>
                    <a:gd name="connsiteY1373" fmla="*/ 311959 h 4401009"/>
                    <a:gd name="connsiteX1374" fmla="*/ 1271033 w 3830903"/>
                    <a:gd name="connsiteY1374" fmla="*/ 301817 h 4401009"/>
                    <a:gd name="connsiteX1375" fmla="*/ 1272723 w 3830903"/>
                    <a:gd name="connsiteY1375" fmla="*/ 296747 h 4401009"/>
                    <a:gd name="connsiteX1376" fmla="*/ 1279484 w 3830903"/>
                    <a:gd name="connsiteY1376" fmla="*/ 293366 h 4401009"/>
                    <a:gd name="connsiteX1377" fmla="*/ 1289626 w 3830903"/>
                    <a:gd name="connsiteY1377" fmla="*/ 288296 h 4401009"/>
                    <a:gd name="connsiteX1378" fmla="*/ 1291316 w 3830903"/>
                    <a:gd name="connsiteY1378" fmla="*/ 283225 h 4401009"/>
                    <a:gd name="connsiteX1379" fmla="*/ 1294696 w 3830903"/>
                    <a:gd name="connsiteY1379" fmla="*/ 276464 h 4401009"/>
                    <a:gd name="connsiteX1380" fmla="*/ 1303147 w 3830903"/>
                    <a:gd name="connsiteY1380" fmla="*/ 266323 h 4401009"/>
                    <a:gd name="connsiteX1381" fmla="*/ 1308218 w 3830903"/>
                    <a:gd name="connsiteY1381" fmla="*/ 262943 h 4401009"/>
                    <a:gd name="connsiteX1382" fmla="*/ 1311598 w 3830903"/>
                    <a:gd name="connsiteY1382" fmla="*/ 252802 h 4401009"/>
                    <a:gd name="connsiteX1383" fmla="*/ 1318359 w 3830903"/>
                    <a:gd name="connsiteY1383" fmla="*/ 247731 h 4401009"/>
                    <a:gd name="connsiteX1384" fmla="*/ 1326810 w 3830903"/>
                    <a:gd name="connsiteY1384" fmla="*/ 239280 h 4401009"/>
                    <a:gd name="connsiteX1385" fmla="*/ 1330190 w 3830903"/>
                    <a:gd name="connsiteY1385" fmla="*/ 222378 h 4401009"/>
                    <a:gd name="connsiteX1386" fmla="*/ 1328500 w 3830903"/>
                    <a:gd name="connsiteY1386" fmla="*/ 217307 h 4401009"/>
                    <a:gd name="connsiteX1387" fmla="*/ 1323430 w 3830903"/>
                    <a:gd name="connsiteY1387" fmla="*/ 215617 h 4401009"/>
                    <a:gd name="connsiteX1388" fmla="*/ 1318359 w 3830903"/>
                    <a:gd name="connsiteY1388" fmla="*/ 210547 h 4401009"/>
                    <a:gd name="connsiteX1389" fmla="*/ 1313288 w 3830903"/>
                    <a:gd name="connsiteY1389" fmla="*/ 197025 h 4401009"/>
                    <a:gd name="connsiteX1390" fmla="*/ 1304837 w 3830903"/>
                    <a:gd name="connsiteY1390" fmla="*/ 188574 h 4401009"/>
                    <a:gd name="connsiteX1391" fmla="*/ 1303147 w 3830903"/>
                    <a:gd name="connsiteY1391" fmla="*/ 180123 h 4401009"/>
                    <a:gd name="connsiteX1392" fmla="*/ 1298077 w 3830903"/>
                    <a:gd name="connsiteY1392" fmla="*/ 171672 h 4401009"/>
                    <a:gd name="connsiteX1393" fmla="*/ 1296386 w 3830903"/>
                    <a:gd name="connsiteY1393" fmla="*/ 164911 h 4401009"/>
                    <a:gd name="connsiteX1394" fmla="*/ 1293006 w 3830903"/>
                    <a:gd name="connsiteY1394" fmla="*/ 153080 h 4401009"/>
                    <a:gd name="connsiteX1395" fmla="*/ 1289626 w 3830903"/>
                    <a:gd name="connsiteY1395" fmla="*/ 148009 h 4401009"/>
                    <a:gd name="connsiteX1396" fmla="*/ 1284555 w 3830903"/>
                    <a:gd name="connsiteY1396" fmla="*/ 146319 h 4401009"/>
                    <a:gd name="connsiteX1397" fmla="*/ 1277794 w 3830903"/>
                    <a:gd name="connsiteY1397" fmla="*/ 129417 h 4401009"/>
                    <a:gd name="connsiteX1398" fmla="*/ 1281175 w 3830903"/>
                    <a:gd name="connsiteY1398" fmla="*/ 124346 h 4401009"/>
                    <a:gd name="connsiteX1399" fmla="*/ 1293006 w 3830903"/>
                    <a:gd name="connsiteY1399" fmla="*/ 114205 h 4401009"/>
                    <a:gd name="connsiteX1400" fmla="*/ 1296386 w 3830903"/>
                    <a:gd name="connsiteY1400" fmla="*/ 98993 h 4401009"/>
                    <a:gd name="connsiteX1401" fmla="*/ 1303147 w 3830903"/>
                    <a:gd name="connsiteY1401" fmla="*/ 97303 h 4401009"/>
                    <a:gd name="connsiteX1402" fmla="*/ 1306528 w 3830903"/>
                    <a:gd name="connsiteY1402" fmla="*/ 93922 h 4401009"/>
                    <a:gd name="connsiteX1403" fmla="*/ 1313288 w 3830903"/>
                    <a:gd name="connsiteY1403" fmla="*/ 90542 h 4401009"/>
                    <a:gd name="connsiteX1404" fmla="*/ 1338641 w 3830903"/>
                    <a:gd name="connsiteY1404" fmla="*/ 88852 h 4401009"/>
                    <a:gd name="connsiteX1405" fmla="*/ 1345402 w 3830903"/>
                    <a:gd name="connsiteY1405" fmla="*/ 87162 h 4401009"/>
                    <a:gd name="connsiteX1406" fmla="*/ 1340332 w 3830903"/>
                    <a:gd name="connsiteY1406" fmla="*/ 83781 h 4401009"/>
                    <a:gd name="connsiteX1407" fmla="*/ 1325120 w 3830903"/>
                    <a:gd name="connsiteY1407" fmla="*/ 80401 h 4401009"/>
                    <a:gd name="connsiteX1408" fmla="*/ 1318359 w 3830903"/>
                    <a:gd name="connsiteY1408" fmla="*/ 71950 h 4401009"/>
                    <a:gd name="connsiteX1409" fmla="*/ 1309908 w 3830903"/>
                    <a:gd name="connsiteY1409" fmla="*/ 65189 h 4401009"/>
                    <a:gd name="connsiteX1410" fmla="*/ 1303147 w 3830903"/>
                    <a:gd name="connsiteY1410" fmla="*/ 60118 h 4401009"/>
                    <a:gd name="connsiteX1411" fmla="*/ 1296386 w 3830903"/>
                    <a:gd name="connsiteY1411" fmla="*/ 58428 h 4401009"/>
                    <a:gd name="connsiteX1412" fmla="*/ 1287935 w 3830903"/>
                    <a:gd name="connsiteY1412" fmla="*/ 53358 h 4401009"/>
                    <a:gd name="connsiteX1413" fmla="*/ 1320049 w 3830903"/>
                    <a:gd name="connsiteY1413" fmla="*/ 51667 h 4401009"/>
                    <a:gd name="connsiteX1414" fmla="*/ 1325120 w 3830903"/>
                    <a:gd name="connsiteY1414" fmla="*/ 49977 h 4401009"/>
                    <a:gd name="connsiteX1415" fmla="*/ 1326810 w 3830903"/>
                    <a:gd name="connsiteY1415" fmla="*/ 41526 h 4401009"/>
                    <a:gd name="connsiteX1416" fmla="*/ 1330190 w 3830903"/>
                    <a:gd name="connsiteY1416" fmla="*/ 34765 h 4401009"/>
                    <a:gd name="connsiteX1417" fmla="*/ 1331881 w 3830903"/>
                    <a:gd name="connsiteY1417" fmla="*/ 28005 h 4401009"/>
                    <a:gd name="connsiteX1418" fmla="*/ 1336951 w 3830903"/>
                    <a:gd name="connsiteY1418" fmla="*/ 26314 h 4401009"/>
                    <a:gd name="connsiteX1419" fmla="*/ 1345402 w 3830903"/>
                    <a:gd name="connsiteY1419" fmla="*/ 19554 h 4401009"/>
                    <a:gd name="connsiteX1420" fmla="*/ 1358924 w 3830903"/>
                    <a:gd name="connsiteY1420" fmla="*/ 31385 h 4401009"/>
                    <a:gd name="connsiteX1421" fmla="*/ 1409367 w 3830903"/>
                    <a:gd name="connsiteY1421" fmla="*/ 12469 h 4401009"/>
                    <a:gd name="connsiteX0" fmla="*/ 3303979 w 3830903"/>
                    <a:gd name="connsiteY0" fmla="*/ 4248325 h 4401009"/>
                    <a:gd name="connsiteX1" fmla="*/ 3303762 w 3830903"/>
                    <a:gd name="connsiteY1" fmla="*/ 4248470 h 4401009"/>
                    <a:gd name="connsiteX2" fmla="*/ 3301903 w 3830903"/>
                    <a:gd name="connsiteY2" fmla="*/ 4248833 h 4401009"/>
                    <a:gd name="connsiteX3" fmla="*/ 3303979 w 3830903"/>
                    <a:gd name="connsiteY3" fmla="*/ 4248325 h 4401009"/>
                    <a:gd name="connsiteX4" fmla="*/ 2098712 w 3830903"/>
                    <a:gd name="connsiteY4" fmla="*/ 4203075 h 4401009"/>
                    <a:gd name="connsiteX5" fmla="*/ 2099886 w 3830903"/>
                    <a:gd name="connsiteY5" fmla="*/ 4204836 h 4401009"/>
                    <a:gd name="connsiteX6" fmla="*/ 2090349 w 3830903"/>
                    <a:gd name="connsiteY6" fmla="*/ 4208650 h 4401009"/>
                    <a:gd name="connsiteX7" fmla="*/ 2098712 w 3830903"/>
                    <a:gd name="connsiteY7" fmla="*/ 4203075 h 4401009"/>
                    <a:gd name="connsiteX8" fmla="*/ 3395042 w 3830903"/>
                    <a:gd name="connsiteY8" fmla="*/ 3469882 h 4401009"/>
                    <a:gd name="connsiteX9" fmla="*/ 3408981 w 3830903"/>
                    <a:gd name="connsiteY9" fmla="*/ 3492184 h 4401009"/>
                    <a:gd name="connsiteX10" fmla="*/ 3403405 w 3830903"/>
                    <a:gd name="connsiteY10" fmla="*/ 3478245 h 4401009"/>
                    <a:gd name="connsiteX11" fmla="*/ 3395042 w 3830903"/>
                    <a:gd name="connsiteY11" fmla="*/ 3475458 h 4401009"/>
                    <a:gd name="connsiteX12" fmla="*/ 3389581 w 3830903"/>
                    <a:gd name="connsiteY12" fmla="*/ 3471787 h 4401009"/>
                    <a:gd name="connsiteX13" fmla="*/ 3395042 w 3830903"/>
                    <a:gd name="connsiteY13" fmla="*/ 3469882 h 4401009"/>
                    <a:gd name="connsiteX14" fmla="*/ 3133016 w 3830903"/>
                    <a:gd name="connsiteY14" fmla="*/ 2427197 h 4401009"/>
                    <a:gd name="connsiteX15" fmla="*/ 3135776 w 3830903"/>
                    <a:gd name="connsiteY15" fmla="*/ 2427243 h 4401009"/>
                    <a:gd name="connsiteX16" fmla="*/ 3105110 w 3830903"/>
                    <a:gd name="connsiteY16" fmla="*/ 2430031 h 4401009"/>
                    <a:gd name="connsiteX17" fmla="*/ 3132988 w 3830903"/>
                    <a:gd name="connsiteY17" fmla="*/ 2427243 h 4401009"/>
                    <a:gd name="connsiteX18" fmla="*/ 3133016 w 3830903"/>
                    <a:gd name="connsiteY18" fmla="*/ 2427197 h 4401009"/>
                    <a:gd name="connsiteX19" fmla="*/ 1201429 w 3830903"/>
                    <a:gd name="connsiteY19" fmla="*/ 525806 h 4401009"/>
                    <a:gd name="connsiteX20" fmla="*/ 1201462 w 3830903"/>
                    <a:gd name="connsiteY20" fmla="*/ 525823 h 4401009"/>
                    <a:gd name="connsiteX21" fmla="*/ 1201471 w 3830903"/>
                    <a:gd name="connsiteY21" fmla="*/ 525891 h 4401009"/>
                    <a:gd name="connsiteX22" fmla="*/ 1201429 w 3830903"/>
                    <a:gd name="connsiteY22" fmla="*/ 525806 h 4401009"/>
                    <a:gd name="connsiteX23" fmla="*/ 305657 w 3830903"/>
                    <a:gd name="connsiteY23" fmla="*/ 262606 h 4401009"/>
                    <a:gd name="connsiteX24" fmla="*/ 304837 w 3830903"/>
                    <a:gd name="connsiteY24" fmla="*/ 266706 h 4401009"/>
                    <a:gd name="connsiteX25" fmla="*/ 303871 w 3830903"/>
                    <a:gd name="connsiteY25" fmla="*/ 268080 h 4401009"/>
                    <a:gd name="connsiteX26" fmla="*/ 303240 w 3830903"/>
                    <a:gd name="connsiteY26" fmla="*/ 265282 h 4401009"/>
                    <a:gd name="connsiteX27" fmla="*/ 305657 w 3830903"/>
                    <a:gd name="connsiteY27" fmla="*/ 262606 h 4401009"/>
                    <a:gd name="connsiteX28" fmla="*/ 1409367 w 3830903"/>
                    <a:gd name="connsiteY28" fmla="*/ 0 h 4401009"/>
                    <a:gd name="connsiteX29" fmla="*/ 3830903 w 3830903"/>
                    <a:gd name="connsiteY29" fmla="*/ 0 h 4401009"/>
                    <a:gd name="connsiteX30" fmla="*/ 3830903 w 3830903"/>
                    <a:gd name="connsiteY30" fmla="*/ 1239845 h 4401009"/>
                    <a:gd name="connsiteX31" fmla="*/ 3829690 w 3830903"/>
                    <a:gd name="connsiteY31" fmla="*/ 1239845 h 4401009"/>
                    <a:gd name="connsiteX32" fmla="*/ 3830902 w 3830903"/>
                    <a:gd name="connsiteY32" fmla="*/ 1327925 h 4401009"/>
                    <a:gd name="connsiteX33" fmla="*/ 3793540 w 3830903"/>
                    <a:gd name="connsiteY33" fmla="*/ 1327925 h 4401009"/>
                    <a:gd name="connsiteX34" fmla="*/ 3790911 w 3830903"/>
                    <a:gd name="connsiteY34" fmla="*/ 1339999 h 4401009"/>
                    <a:gd name="connsiteX35" fmla="*/ 3763033 w 3830903"/>
                    <a:gd name="connsiteY35" fmla="*/ 1345575 h 4401009"/>
                    <a:gd name="connsiteX36" fmla="*/ 3760245 w 3830903"/>
                    <a:gd name="connsiteY36" fmla="*/ 1362302 h 4401009"/>
                    <a:gd name="connsiteX37" fmla="*/ 3754670 w 3830903"/>
                    <a:gd name="connsiteY37" fmla="*/ 1373453 h 4401009"/>
                    <a:gd name="connsiteX38" fmla="*/ 3751882 w 3830903"/>
                    <a:gd name="connsiteY38" fmla="*/ 1384604 h 4401009"/>
                    <a:gd name="connsiteX39" fmla="*/ 3737943 w 3830903"/>
                    <a:gd name="connsiteY39" fmla="*/ 1390180 h 4401009"/>
                    <a:gd name="connsiteX40" fmla="*/ 3729579 w 3830903"/>
                    <a:gd name="connsiteY40" fmla="*/ 1392967 h 4401009"/>
                    <a:gd name="connsiteX41" fmla="*/ 3715640 w 3830903"/>
                    <a:gd name="connsiteY41" fmla="*/ 1401331 h 4401009"/>
                    <a:gd name="connsiteX42" fmla="*/ 3701701 w 3830903"/>
                    <a:gd name="connsiteY42" fmla="*/ 1404119 h 4401009"/>
                    <a:gd name="connsiteX43" fmla="*/ 3684974 w 3830903"/>
                    <a:gd name="connsiteY43" fmla="*/ 1423633 h 4401009"/>
                    <a:gd name="connsiteX44" fmla="*/ 3693338 w 3830903"/>
                    <a:gd name="connsiteY44" fmla="*/ 1440360 h 4401009"/>
                    <a:gd name="connsiteX45" fmla="*/ 3704489 w 3830903"/>
                    <a:gd name="connsiteY45" fmla="*/ 1445936 h 4401009"/>
                    <a:gd name="connsiteX46" fmla="*/ 3718428 w 3830903"/>
                    <a:gd name="connsiteY46" fmla="*/ 1451511 h 4401009"/>
                    <a:gd name="connsiteX47" fmla="*/ 3726792 w 3830903"/>
                    <a:gd name="connsiteY47" fmla="*/ 1459875 h 4401009"/>
                    <a:gd name="connsiteX48" fmla="*/ 3728484 w 3830903"/>
                    <a:gd name="connsiteY48" fmla="*/ 1475108 h 4401009"/>
                    <a:gd name="connsiteX49" fmla="*/ 3715640 w 3830903"/>
                    <a:gd name="connsiteY49" fmla="*/ 1479389 h 4401009"/>
                    <a:gd name="connsiteX50" fmla="*/ 3721216 w 3830903"/>
                    <a:gd name="connsiteY50" fmla="*/ 1487753 h 4401009"/>
                    <a:gd name="connsiteX51" fmla="*/ 3729579 w 3830903"/>
                    <a:gd name="connsiteY51" fmla="*/ 1484965 h 4401009"/>
                    <a:gd name="connsiteX52" fmla="*/ 3728484 w 3830903"/>
                    <a:gd name="connsiteY52" fmla="*/ 1475108 h 4401009"/>
                    <a:gd name="connsiteX53" fmla="*/ 3732367 w 3830903"/>
                    <a:gd name="connsiteY53" fmla="*/ 1473814 h 4401009"/>
                    <a:gd name="connsiteX54" fmla="*/ 3749094 w 3830903"/>
                    <a:gd name="connsiteY54" fmla="*/ 1471026 h 4401009"/>
                    <a:gd name="connsiteX55" fmla="*/ 3785335 w 3830903"/>
                    <a:gd name="connsiteY55" fmla="*/ 1451511 h 4401009"/>
                    <a:gd name="connsiteX56" fmla="*/ 3788123 w 3830903"/>
                    <a:gd name="connsiteY56" fmla="*/ 1468238 h 4401009"/>
                    <a:gd name="connsiteX57" fmla="*/ 3785335 w 3830903"/>
                    <a:gd name="connsiteY57" fmla="*/ 1482177 h 4401009"/>
                    <a:gd name="connsiteX58" fmla="*/ 3782548 w 3830903"/>
                    <a:gd name="connsiteY58" fmla="*/ 1490541 h 4401009"/>
                    <a:gd name="connsiteX59" fmla="*/ 3768609 w 3830903"/>
                    <a:gd name="connsiteY59" fmla="*/ 1512843 h 4401009"/>
                    <a:gd name="connsiteX60" fmla="*/ 3802062 w 3830903"/>
                    <a:gd name="connsiteY60" fmla="*/ 1518419 h 4401009"/>
                    <a:gd name="connsiteX61" fmla="*/ 3802223 w 3830903"/>
                    <a:gd name="connsiteY61" fmla="*/ 1518941 h 4401009"/>
                    <a:gd name="connsiteX62" fmla="*/ 3830902 w 3830903"/>
                    <a:gd name="connsiteY62" fmla="*/ 1518941 h 4401009"/>
                    <a:gd name="connsiteX63" fmla="*/ 3830902 w 3830903"/>
                    <a:gd name="connsiteY63" fmla="*/ 2055091 h 4401009"/>
                    <a:gd name="connsiteX64" fmla="*/ 3792991 w 3830903"/>
                    <a:gd name="connsiteY64" fmla="*/ 2055091 h 4401009"/>
                    <a:gd name="connsiteX65" fmla="*/ 3788122 w 3830903"/>
                    <a:gd name="connsiteY65" fmla="*/ 2064828 h 4401009"/>
                    <a:gd name="connsiteX66" fmla="*/ 3765820 w 3830903"/>
                    <a:gd name="connsiteY66" fmla="*/ 2087131 h 4401009"/>
                    <a:gd name="connsiteX67" fmla="*/ 3768608 w 3830903"/>
                    <a:gd name="connsiteY67" fmla="*/ 2109433 h 4401009"/>
                    <a:gd name="connsiteX68" fmla="*/ 3760244 w 3830903"/>
                    <a:gd name="connsiteY68" fmla="*/ 2128948 h 4401009"/>
                    <a:gd name="connsiteX69" fmla="*/ 3757456 w 3830903"/>
                    <a:gd name="connsiteY69" fmla="*/ 2137311 h 4401009"/>
                    <a:gd name="connsiteX70" fmla="*/ 3746305 w 3830903"/>
                    <a:gd name="connsiteY70" fmla="*/ 2131736 h 4401009"/>
                    <a:gd name="connsiteX71" fmla="*/ 3721215 w 3830903"/>
                    <a:gd name="connsiteY71" fmla="*/ 2128948 h 4401009"/>
                    <a:gd name="connsiteX72" fmla="*/ 3701700 w 3830903"/>
                    <a:gd name="connsiteY72" fmla="*/ 2131736 h 4401009"/>
                    <a:gd name="connsiteX73" fmla="*/ 3679398 w 3830903"/>
                    <a:gd name="connsiteY73" fmla="*/ 2134524 h 4401009"/>
                    <a:gd name="connsiteX74" fmla="*/ 3676610 w 3830903"/>
                    <a:gd name="connsiteY74" fmla="*/ 2151250 h 4401009"/>
                    <a:gd name="connsiteX75" fmla="*/ 3671034 w 3830903"/>
                    <a:gd name="connsiteY75" fmla="*/ 2162402 h 4401009"/>
                    <a:gd name="connsiteX76" fmla="*/ 3657095 w 3830903"/>
                    <a:gd name="connsiteY76" fmla="*/ 2167977 h 4401009"/>
                    <a:gd name="connsiteX77" fmla="*/ 3659883 w 3830903"/>
                    <a:gd name="connsiteY77" fmla="*/ 2184704 h 4401009"/>
                    <a:gd name="connsiteX78" fmla="*/ 3654308 w 3830903"/>
                    <a:gd name="connsiteY78" fmla="*/ 2198643 h 4401009"/>
                    <a:gd name="connsiteX79" fmla="*/ 3645944 w 3830903"/>
                    <a:gd name="connsiteY79" fmla="*/ 2201431 h 4401009"/>
                    <a:gd name="connsiteX80" fmla="*/ 3640369 w 3830903"/>
                    <a:gd name="connsiteY80" fmla="*/ 2209794 h 4401009"/>
                    <a:gd name="connsiteX81" fmla="*/ 3643156 w 3830903"/>
                    <a:gd name="connsiteY81" fmla="*/ 2218158 h 4401009"/>
                    <a:gd name="connsiteX82" fmla="*/ 3648732 w 3830903"/>
                    <a:gd name="connsiteY82" fmla="*/ 2226521 h 4401009"/>
                    <a:gd name="connsiteX83" fmla="*/ 3645944 w 3830903"/>
                    <a:gd name="connsiteY83" fmla="*/ 2273914 h 4401009"/>
                    <a:gd name="connsiteX84" fmla="*/ 3643156 w 3830903"/>
                    <a:gd name="connsiteY84" fmla="*/ 2290641 h 4401009"/>
                    <a:gd name="connsiteX85" fmla="*/ 3609703 w 3830903"/>
                    <a:gd name="connsiteY85" fmla="*/ 2307367 h 4401009"/>
                    <a:gd name="connsiteX86" fmla="*/ 3595764 w 3830903"/>
                    <a:gd name="connsiteY86" fmla="*/ 2304580 h 4401009"/>
                    <a:gd name="connsiteX87" fmla="*/ 3517705 w 3830903"/>
                    <a:gd name="connsiteY87" fmla="*/ 2299004 h 4401009"/>
                    <a:gd name="connsiteX88" fmla="*/ 3506554 w 3830903"/>
                    <a:gd name="connsiteY88" fmla="*/ 2304580 h 4401009"/>
                    <a:gd name="connsiteX89" fmla="*/ 3514917 w 3830903"/>
                    <a:gd name="connsiteY89" fmla="*/ 2324094 h 4401009"/>
                    <a:gd name="connsiteX90" fmla="*/ 3534432 w 3830903"/>
                    <a:gd name="connsiteY90" fmla="*/ 2340821 h 4401009"/>
                    <a:gd name="connsiteX91" fmla="*/ 3545583 w 3830903"/>
                    <a:gd name="connsiteY91" fmla="*/ 2349184 h 4401009"/>
                    <a:gd name="connsiteX92" fmla="*/ 3542795 w 3830903"/>
                    <a:gd name="connsiteY92" fmla="*/ 2377063 h 4401009"/>
                    <a:gd name="connsiteX93" fmla="*/ 3523281 w 3830903"/>
                    <a:gd name="connsiteY93" fmla="*/ 2379850 h 4401009"/>
                    <a:gd name="connsiteX94" fmla="*/ 3514917 w 3830903"/>
                    <a:gd name="connsiteY94" fmla="*/ 2374275 h 4401009"/>
                    <a:gd name="connsiteX95" fmla="*/ 3506554 w 3830903"/>
                    <a:gd name="connsiteY95" fmla="*/ 2335245 h 4401009"/>
                    <a:gd name="connsiteX96" fmla="*/ 3503766 w 3830903"/>
                    <a:gd name="connsiteY96" fmla="*/ 2326882 h 4401009"/>
                    <a:gd name="connsiteX97" fmla="*/ 3500978 w 3830903"/>
                    <a:gd name="connsiteY97" fmla="*/ 2335245 h 4401009"/>
                    <a:gd name="connsiteX98" fmla="*/ 3475888 w 3830903"/>
                    <a:gd name="connsiteY98" fmla="*/ 2340821 h 4401009"/>
                    <a:gd name="connsiteX99" fmla="*/ 3459161 w 3830903"/>
                    <a:gd name="connsiteY99" fmla="*/ 2335245 h 4401009"/>
                    <a:gd name="connsiteX100" fmla="*/ 3439647 w 3830903"/>
                    <a:gd name="connsiteY100" fmla="*/ 2324094 h 4401009"/>
                    <a:gd name="connsiteX101" fmla="*/ 3411769 w 3830903"/>
                    <a:gd name="connsiteY101" fmla="*/ 2318519 h 4401009"/>
                    <a:gd name="connsiteX102" fmla="*/ 3392254 w 3830903"/>
                    <a:gd name="connsiteY102" fmla="*/ 2335245 h 4401009"/>
                    <a:gd name="connsiteX103" fmla="*/ 3383891 w 3830903"/>
                    <a:gd name="connsiteY103" fmla="*/ 2329670 h 4401009"/>
                    <a:gd name="connsiteX104" fmla="*/ 3372739 w 3830903"/>
                    <a:gd name="connsiteY104" fmla="*/ 2310155 h 4401009"/>
                    <a:gd name="connsiteX105" fmla="*/ 3347649 w 3830903"/>
                    <a:gd name="connsiteY105" fmla="*/ 2307367 h 4401009"/>
                    <a:gd name="connsiteX106" fmla="*/ 3316983 w 3830903"/>
                    <a:gd name="connsiteY106" fmla="*/ 2324094 h 4401009"/>
                    <a:gd name="connsiteX107" fmla="*/ 3311408 w 3830903"/>
                    <a:gd name="connsiteY107" fmla="*/ 2332458 h 4401009"/>
                    <a:gd name="connsiteX108" fmla="*/ 3303044 w 3830903"/>
                    <a:gd name="connsiteY108" fmla="*/ 2338033 h 4401009"/>
                    <a:gd name="connsiteX109" fmla="*/ 3294681 w 3830903"/>
                    <a:gd name="connsiteY109" fmla="*/ 2346397 h 4401009"/>
                    <a:gd name="connsiteX110" fmla="*/ 3277954 w 3830903"/>
                    <a:gd name="connsiteY110" fmla="*/ 2354760 h 4401009"/>
                    <a:gd name="connsiteX111" fmla="*/ 3266803 w 3830903"/>
                    <a:gd name="connsiteY111" fmla="*/ 2363124 h 4401009"/>
                    <a:gd name="connsiteX112" fmla="*/ 3244500 w 3830903"/>
                    <a:gd name="connsiteY112" fmla="*/ 2335245 h 4401009"/>
                    <a:gd name="connsiteX113" fmla="*/ 3243412 w 3830903"/>
                    <a:gd name="connsiteY113" fmla="*/ 2334429 h 4401009"/>
                    <a:gd name="connsiteX114" fmla="*/ 3244431 w 3830903"/>
                    <a:gd name="connsiteY114" fmla="*/ 2334497 h 4401009"/>
                    <a:gd name="connsiteX115" fmla="*/ 3252864 w 3830903"/>
                    <a:gd name="connsiteY115" fmla="*/ 2340821 h 4401009"/>
                    <a:gd name="connsiteX116" fmla="*/ 3275166 w 3830903"/>
                    <a:gd name="connsiteY116" fmla="*/ 2346397 h 4401009"/>
                    <a:gd name="connsiteX117" fmla="*/ 3255651 w 3830903"/>
                    <a:gd name="connsiteY117" fmla="*/ 2335245 h 4401009"/>
                    <a:gd name="connsiteX118" fmla="*/ 3244431 w 3830903"/>
                    <a:gd name="connsiteY118" fmla="*/ 2334497 h 4401009"/>
                    <a:gd name="connsiteX119" fmla="*/ 3241712 w 3830903"/>
                    <a:gd name="connsiteY119" fmla="*/ 2332458 h 4401009"/>
                    <a:gd name="connsiteX120" fmla="*/ 3233349 w 3830903"/>
                    <a:gd name="connsiteY120" fmla="*/ 2326882 h 4401009"/>
                    <a:gd name="connsiteX121" fmla="*/ 3243412 w 3830903"/>
                    <a:gd name="connsiteY121" fmla="*/ 2334429 h 4401009"/>
                    <a:gd name="connsiteX122" fmla="*/ 3213834 w 3830903"/>
                    <a:gd name="connsiteY122" fmla="*/ 2332458 h 4401009"/>
                    <a:gd name="connsiteX123" fmla="*/ 3197108 w 3830903"/>
                    <a:gd name="connsiteY123" fmla="*/ 2363124 h 4401009"/>
                    <a:gd name="connsiteX124" fmla="*/ 3180381 w 3830903"/>
                    <a:gd name="connsiteY124" fmla="*/ 2374275 h 4401009"/>
                    <a:gd name="connsiteX125" fmla="*/ 3174805 w 3830903"/>
                    <a:gd name="connsiteY125" fmla="*/ 2385426 h 4401009"/>
                    <a:gd name="connsiteX126" fmla="*/ 3183169 w 3830903"/>
                    <a:gd name="connsiteY126" fmla="*/ 2388214 h 4401009"/>
                    <a:gd name="connsiteX127" fmla="*/ 3191532 w 3830903"/>
                    <a:gd name="connsiteY127" fmla="*/ 2393789 h 4401009"/>
                    <a:gd name="connsiteX128" fmla="*/ 3185956 w 3830903"/>
                    <a:gd name="connsiteY128" fmla="*/ 2416092 h 4401009"/>
                    <a:gd name="connsiteX129" fmla="*/ 3169230 w 3830903"/>
                    <a:gd name="connsiteY129" fmla="*/ 2427243 h 4401009"/>
                    <a:gd name="connsiteX130" fmla="*/ 3149715 w 3830903"/>
                    <a:gd name="connsiteY130" fmla="*/ 2418880 h 4401009"/>
                    <a:gd name="connsiteX131" fmla="*/ 3141351 w 3830903"/>
                    <a:gd name="connsiteY131" fmla="*/ 2413304 h 4401009"/>
                    <a:gd name="connsiteX132" fmla="*/ 3133016 w 3830903"/>
                    <a:gd name="connsiteY132" fmla="*/ 2427197 h 4401009"/>
                    <a:gd name="connsiteX133" fmla="*/ 3110925 w 3830903"/>
                    <a:gd name="connsiteY133" fmla="*/ 2426829 h 4401009"/>
                    <a:gd name="connsiteX134" fmla="*/ 3074444 w 3830903"/>
                    <a:gd name="connsiteY134" fmla="*/ 2488575 h 4401009"/>
                    <a:gd name="connsiteX135" fmla="*/ 3080020 w 3830903"/>
                    <a:gd name="connsiteY135" fmla="*/ 2505302 h 4401009"/>
                    <a:gd name="connsiteX136" fmla="*/ 3071656 w 3830903"/>
                    <a:gd name="connsiteY136" fmla="*/ 2530392 h 4401009"/>
                    <a:gd name="connsiteX137" fmla="*/ 3057717 w 3830903"/>
                    <a:gd name="connsiteY137" fmla="*/ 2533180 h 4401009"/>
                    <a:gd name="connsiteX138" fmla="*/ 3049354 w 3830903"/>
                    <a:gd name="connsiteY138" fmla="*/ 2552694 h 4401009"/>
                    <a:gd name="connsiteX139" fmla="*/ 3046566 w 3830903"/>
                    <a:gd name="connsiteY139" fmla="*/ 2616814 h 4401009"/>
                    <a:gd name="connsiteX140" fmla="*/ 3032627 w 3830903"/>
                    <a:gd name="connsiteY140" fmla="*/ 2619602 h 4401009"/>
                    <a:gd name="connsiteX141" fmla="*/ 3018688 w 3830903"/>
                    <a:gd name="connsiteY141" fmla="*/ 2630753 h 4401009"/>
                    <a:gd name="connsiteX142" fmla="*/ 3024264 w 3830903"/>
                    <a:gd name="connsiteY142" fmla="*/ 2653055 h 4401009"/>
                    <a:gd name="connsiteX143" fmla="*/ 3035415 w 3830903"/>
                    <a:gd name="connsiteY143" fmla="*/ 2666994 h 4401009"/>
                    <a:gd name="connsiteX144" fmla="*/ 3024264 w 3830903"/>
                    <a:gd name="connsiteY144" fmla="*/ 2669782 h 4401009"/>
                    <a:gd name="connsiteX145" fmla="*/ 3021476 w 3830903"/>
                    <a:gd name="connsiteY145" fmla="*/ 2697660 h 4401009"/>
                    <a:gd name="connsiteX146" fmla="*/ 3018688 w 3830903"/>
                    <a:gd name="connsiteY146" fmla="*/ 2708811 h 4401009"/>
                    <a:gd name="connsiteX147" fmla="*/ 3001961 w 3830903"/>
                    <a:gd name="connsiteY147" fmla="*/ 2714387 h 4401009"/>
                    <a:gd name="connsiteX148" fmla="*/ 2999173 w 3830903"/>
                    <a:gd name="connsiteY148" fmla="*/ 2742265 h 4401009"/>
                    <a:gd name="connsiteX149" fmla="*/ 3004749 w 3830903"/>
                    <a:gd name="connsiteY149" fmla="*/ 2750628 h 4401009"/>
                    <a:gd name="connsiteX150" fmla="*/ 3013112 w 3830903"/>
                    <a:gd name="connsiteY150" fmla="*/ 2761780 h 4401009"/>
                    <a:gd name="connsiteX151" fmla="*/ 3018688 w 3830903"/>
                    <a:gd name="connsiteY151" fmla="*/ 2772931 h 4401009"/>
                    <a:gd name="connsiteX152" fmla="*/ 3038203 w 3830903"/>
                    <a:gd name="connsiteY152" fmla="*/ 2789658 h 4401009"/>
                    <a:gd name="connsiteX153" fmla="*/ 3046566 w 3830903"/>
                    <a:gd name="connsiteY153" fmla="*/ 2798021 h 4401009"/>
                    <a:gd name="connsiteX154" fmla="*/ 3063293 w 3830903"/>
                    <a:gd name="connsiteY154" fmla="*/ 2814748 h 4401009"/>
                    <a:gd name="connsiteX155" fmla="*/ 3060505 w 3830903"/>
                    <a:gd name="connsiteY155" fmla="*/ 2831475 h 4401009"/>
                    <a:gd name="connsiteX156" fmla="*/ 3057717 w 3830903"/>
                    <a:gd name="connsiteY156" fmla="*/ 2850989 h 4401009"/>
                    <a:gd name="connsiteX157" fmla="*/ 3054930 w 3830903"/>
                    <a:gd name="connsiteY157" fmla="*/ 2862141 h 4401009"/>
                    <a:gd name="connsiteX158" fmla="*/ 3040991 w 3830903"/>
                    <a:gd name="connsiteY158" fmla="*/ 2867716 h 4401009"/>
                    <a:gd name="connsiteX159" fmla="*/ 3013112 w 3830903"/>
                    <a:gd name="connsiteY159" fmla="*/ 2853777 h 4401009"/>
                    <a:gd name="connsiteX160" fmla="*/ 2974083 w 3830903"/>
                    <a:gd name="connsiteY160" fmla="*/ 2842626 h 4401009"/>
                    <a:gd name="connsiteX161" fmla="*/ 2943417 w 3830903"/>
                    <a:gd name="connsiteY161" fmla="*/ 2839838 h 4401009"/>
                    <a:gd name="connsiteX162" fmla="*/ 2923903 w 3830903"/>
                    <a:gd name="connsiteY162" fmla="*/ 2834263 h 4401009"/>
                    <a:gd name="connsiteX163" fmla="*/ 2901600 w 3830903"/>
                    <a:gd name="connsiteY163" fmla="*/ 2828687 h 4401009"/>
                    <a:gd name="connsiteX164" fmla="*/ 2893237 w 3830903"/>
                    <a:gd name="connsiteY164" fmla="*/ 2859353 h 4401009"/>
                    <a:gd name="connsiteX165" fmla="*/ 2896025 w 3830903"/>
                    <a:gd name="connsiteY165" fmla="*/ 2870504 h 4401009"/>
                    <a:gd name="connsiteX166" fmla="*/ 2898812 w 3830903"/>
                    <a:gd name="connsiteY166" fmla="*/ 2931836 h 4401009"/>
                    <a:gd name="connsiteX167" fmla="*/ 2896025 w 3830903"/>
                    <a:gd name="connsiteY167" fmla="*/ 2951350 h 4401009"/>
                    <a:gd name="connsiteX168" fmla="*/ 2901600 w 3830903"/>
                    <a:gd name="connsiteY168" fmla="*/ 2998744 h 4401009"/>
                    <a:gd name="connsiteX169" fmla="*/ 2904388 w 3830903"/>
                    <a:gd name="connsiteY169" fmla="*/ 3037772 h 4401009"/>
                    <a:gd name="connsiteX170" fmla="*/ 2912751 w 3830903"/>
                    <a:gd name="connsiteY170" fmla="*/ 3040560 h 4401009"/>
                    <a:gd name="connsiteX171" fmla="*/ 2946205 w 3830903"/>
                    <a:gd name="connsiteY171" fmla="*/ 3048924 h 4401009"/>
                    <a:gd name="connsiteX172" fmla="*/ 2962932 w 3830903"/>
                    <a:gd name="connsiteY172" fmla="*/ 3071226 h 4401009"/>
                    <a:gd name="connsiteX173" fmla="*/ 2954569 w 3830903"/>
                    <a:gd name="connsiteY173" fmla="*/ 3135345 h 4401009"/>
                    <a:gd name="connsiteX174" fmla="*/ 2960144 w 3830903"/>
                    <a:gd name="connsiteY174" fmla="*/ 3216192 h 4401009"/>
                    <a:gd name="connsiteX175" fmla="*/ 2971295 w 3830903"/>
                    <a:gd name="connsiteY175" fmla="*/ 3213404 h 4401009"/>
                    <a:gd name="connsiteX176" fmla="*/ 2979659 w 3830903"/>
                    <a:gd name="connsiteY176" fmla="*/ 3210616 h 4401009"/>
                    <a:gd name="connsiteX177" fmla="*/ 2993598 w 3830903"/>
                    <a:gd name="connsiteY177" fmla="*/ 3207828 h 4401009"/>
                    <a:gd name="connsiteX178" fmla="*/ 3004749 w 3830903"/>
                    <a:gd name="connsiteY178" fmla="*/ 3205041 h 4401009"/>
                    <a:gd name="connsiteX179" fmla="*/ 3029839 w 3830903"/>
                    <a:gd name="connsiteY179" fmla="*/ 3202253 h 4401009"/>
                    <a:gd name="connsiteX180" fmla="*/ 3049354 w 3830903"/>
                    <a:gd name="connsiteY180" fmla="*/ 3230131 h 4401009"/>
                    <a:gd name="connsiteX181" fmla="*/ 3052142 w 3830903"/>
                    <a:gd name="connsiteY181" fmla="*/ 3238494 h 4401009"/>
                    <a:gd name="connsiteX182" fmla="*/ 3057717 w 3830903"/>
                    <a:gd name="connsiteY182" fmla="*/ 3255221 h 4401009"/>
                    <a:gd name="connsiteX183" fmla="*/ 3077232 w 3830903"/>
                    <a:gd name="connsiteY183" fmla="*/ 3274736 h 4401009"/>
                    <a:gd name="connsiteX184" fmla="*/ 3077922 w 3830903"/>
                    <a:gd name="connsiteY184" fmla="*/ 3275698 h 4401009"/>
                    <a:gd name="connsiteX185" fmla="*/ 3066081 w 3830903"/>
                    <a:gd name="connsiteY185" fmla="*/ 3283099 h 4401009"/>
                    <a:gd name="connsiteX186" fmla="*/ 3052142 w 3830903"/>
                    <a:gd name="connsiteY186" fmla="*/ 3288675 h 4401009"/>
                    <a:gd name="connsiteX187" fmla="*/ 3066081 w 3830903"/>
                    <a:gd name="connsiteY187" fmla="*/ 3291463 h 4401009"/>
                    <a:gd name="connsiteX188" fmla="*/ 3082808 w 3830903"/>
                    <a:gd name="connsiteY188" fmla="*/ 3288675 h 4401009"/>
                    <a:gd name="connsiteX189" fmla="*/ 3082187 w 3830903"/>
                    <a:gd name="connsiteY189" fmla="*/ 3281645 h 4401009"/>
                    <a:gd name="connsiteX190" fmla="*/ 3077922 w 3830903"/>
                    <a:gd name="connsiteY190" fmla="*/ 3275698 h 4401009"/>
                    <a:gd name="connsiteX191" fmla="*/ 3110686 w 3830903"/>
                    <a:gd name="connsiteY191" fmla="*/ 3255221 h 4401009"/>
                    <a:gd name="connsiteX192" fmla="*/ 3124625 w 3830903"/>
                    <a:gd name="connsiteY192" fmla="*/ 3252433 h 4401009"/>
                    <a:gd name="connsiteX193" fmla="*/ 3135776 w 3830903"/>
                    <a:gd name="connsiteY193" fmla="*/ 3246858 h 4401009"/>
                    <a:gd name="connsiteX194" fmla="*/ 3155291 w 3830903"/>
                    <a:gd name="connsiteY194" fmla="*/ 3241282 h 4401009"/>
                    <a:gd name="connsiteX195" fmla="*/ 3172017 w 3830903"/>
                    <a:gd name="connsiteY195" fmla="*/ 3238494 h 4401009"/>
                    <a:gd name="connsiteX196" fmla="*/ 3177593 w 3830903"/>
                    <a:gd name="connsiteY196" fmla="*/ 3227343 h 4401009"/>
                    <a:gd name="connsiteX197" fmla="*/ 3205471 w 3830903"/>
                    <a:gd name="connsiteY197" fmla="*/ 3232919 h 4401009"/>
                    <a:gd name="connsiteX198" fmla="*/ 3211047 w 3830903"/>
                    <a:gd name="connsiteY198" fmla="*/ 3241282 h 4401009"/>
                    <a:gd name="connsiteX199" fmla="*/ 3258439 w 3830903"/>
                    <a:gd name="connsiteY199" fmla="*/ 3246858 h 4401009"/>
                    <a:gd name="connsiteX200" fmla="*/ 3266803 w 3830903"/>
                    <a:gd name="connsiteY200" fmla="*/ 3252433 h 4401009"/>
                    <a:gd name="connsiteX201" fmla="*/ 3277954 w 3830903"/>
                    <a:gd name="connsiteY201" fmla="*/ 3258009 h 4401009"/>
                    <a:gd name="connsiteX202" fmla="*/ 3286317 w 3830903"/>
                    <a:gd name="connsiteY202" fmla="*/ 3260797 h 4401009"/>
                    <a:gd name="connsiteX203" fmla="*/ 3289105 w 3830903"/>
                    <a:gd name="connsiteY203" fmla="*/ 3274736 h 4401009"/>
                    <a:gd name="connsiteX204" fmla="*/ 3297469 w 3830903"/>
                    <a:gd name="connsiteY204" fmla="*/ 3294250 h 4401009"/>
                    <a:gd name="connsiteX205" fmla="*/ 3319771 w 3830903"/>
                    <a:gd name="connsiteY205" fmla="*/ 3302614 h 4401009"/>
                    <a:gd name="connsiteX206" fmla="*/ 3330922 w 3830903"/>
                    <a:gd name="connsiteY206" fmla="*/ 3305402 h 4401009"/>
                    <a:gd name="connsiteX207" fmla="*/ 3339286 w 3830903"/>
                    <a:gd name="connsiteY207" fmla="*/ 3310977 h 4401009"/>
                    <a:gd name="connsiteX208" fmla="*/ 3350437 w 3830903"/>
                    <a:gd name="connsiteY208" fmla="*/ 3316553 h 4401009"/>
                    <a:gd name="connsiteX209" fmla="*/ 3364376 w 3830903"/>
                    <a:gd name="connsiteY209" fmla="*/ 3341643 h 4401009"/>
                    <a:gd name="connsiteX210" fmla="*/ 3356012 w 3830903"/>
                    <a:gd name="connsiteY210" fmla="*/ 3350006 h 4401009"/>
                    <a:gd name="connsiteX211" fmla="*/ 3344861 w 3830903"/>
                    <a:gd name="connsiteY211" fmla="*/ 3352794 h 4401009"/>
                    <a:gd name="connsiteX212" fmla="*/ 3336498 w 3830903"/>
                    <a:gd name="connsiteY212" fmla="*/ 3355582 h 4401009"/>
                    <a:gd name="connsiteX213" fmla="*/ 3336498 w 3830903"/>
                    <a:gd name="connsiteY213" fmla="*/ 3386248 h 4401009"/>
                    <a:gd name="connsiteX214" fmla="*/ 3375527 w 3830903"/>
                    <a:gd name="connsiteY214" fmla="*/ 3391824 h 4401009"/>
                    <a:gd name="connsiteX215" fmla="*/ 3397830 w 3830903"/>
                    <a:gd name="connsiteY215" fmla="*/ 3383460 h 4401009"/>
                    <a:gd name="connsiteX216" fmla="*/ 3428495 w 3830903"/>
                    <a:gd name="connsiteY216" fmla="*/ 3380672 h 4401009"/>
                    <a:gd name="connsiteX217" fmla="*/ 3417344 w 3830903"/>
                    <a:gd name="connsiteY217" fmla="*/ 3408550 h 4401009"/>
                    <a:gd name="connsiteX218" fmla="*/ 3414556 w 3830903"/>
                    <a:gd name="connsiteY218" fmla="*/ 3447580 h 4401009"/>
                    <a:gd name="connsiteX219" fmla="*/ 3389466 w 3830903"/>
                    <a:gd name="connsiteY219" fmla="*/ 3455943 h 4401009"/>
                    <a:gd name="connsiteX220" fmla="*/ 3378315 w 3830903"/>
                    <a:gd name="connsiteY220" fmla="*/ 3461519 h 4401009"/>
                    <a:gd name="connsiteX221" fmla="*/ 3385697 w 3830903"/>
                    <a:gd name="connsiteY221" fmla="*/ 3469176 h 4401009"/>
                    <a:gd name="connsiteX222" fmla="*/ 3389581 w 3830903"/>
                    <a:gd name="connsiteY222" fmla="*/ 3471787 h 4401009"/>
                    <a:gd name="connsiteX223" fmla="*/ 3385390 w 3830903"/>
                    <a:gd name="connsiteY223" fmla="*/ 3473250 h 4401009"/>
                    <a:gd name="connsiteX224" fmla="*/ 3383891 w 3830903"/>
                    <a:gd name="connsiteY224" fmla="*/ 3508911 h 4401009"/>
                    <a:gd name="connsiteX225" fmla="*/ 3381103 w 3830903"/>
                    <a:gd name="connsiteY225" fmla="*/ 3525638 h 4401009"/>
                    <a:gd name="connsiteX226" fmla="*/ 3367164 w 3830903"/>
                    <a:gd name="connsiteY226" fmla="*/ 3547941 h 4401009"/>
                    <a:gd name="connsiteX227" fmla="*/ 3356012 w 3830903"/>
                    <a:gd name="connsiteY227" fmla="*/ 3559092 h 4401009"/>
                    <a:gd name="connsiteX228" fmla="*/ 3342073 w 3830903"/>
                    <a:gd name="connsiteY228" fmla="*/ 3570243 h 4401009"/>
                    <a:gd name="connsiteX229" fmla="*/ 3322559 w 3830903"/>
                    <a:gd name="connsiteY229" fmla="*/ 3586970 h 4401009"/>
                    <a:gd name="connsiteX230" fmla="*/ 3289105 w 3830903"/>
                    <a:gd name="connsiteY230" fmla="*/ 3598121 h 4401009"/>
                    <a:gd name="connsiteX231" fmla="*/ 3314195 w 3830903"/>
                    <a:gd name="connsiteY231" fmla="*/ 3609272 h 4401009"/>
                    <a:gd name="connsiteX232" fmla="*/ 3319771 w 3830903"/>
                    <a:gd name="connsiteY232" fmla="*/ 3625999 h 4401009"/>
                    <a:gd name="connsiteX233" fmla="*/ 3316983 w 3830903"/>
                    <a:gd name="connsiteY233" fmla="*/ 3651089 h 4401009"/>
                    <a:gd name="connsiteX234" fmla="*/ 3311408 w 3830903"/>
                    <a:gd name="connsiteY234" fmla="*/ 3715209 h 4401009"/>
                    <a:gd name="connsiteX235" fmla="*/ 3314195 w 3830903"/>
                    <a:gd name="connsiteY235" fmla="*/ 3723572 h 4401009"/>
                    <a:gd name="connsiteX236" fmla="*/ 3319771 w 3830903"/>
                    <a:gd name="connsiteY236" fmla="*/ 3757026 h 4401009"/>
                    <a:gd name="connsiteX237" fmla="*/ 3311408 w 3830903"/>
                    <a:gd name="connsiteY237" fmla="*/ 3798843 h 4401009"/>
                    <a:gd name="connsiteX238" fmla="*/ 3314195 w 3830903"/>
                    <a:gd name="connsiteY238" fmla="*/ 3812782 h 4401009"/>
                    <a:gd name="connsiteX239" fmla="*/ 3364376 w 3830903"/>
                    <a:gd name="connsiteY239" fmla="*/ 3832297 h 4401009"/>
                    <a:gd name="connsiteX240" fmla="*/ 3378315 w 3830903"/>
                    <a:gd name="connsiteY240" fmla="*/ 3843448 h 4401009"/>
                    <a:gd name="connsiteX241" fmla="*/ 3422920 w 3830903"/>
                    <a:gd name="connsiteY241" fmla="*/ 3871326 h 4401009"/>
                    <a:gd name="connsiteX242" fmla="*/ 3442434 w 3830903"/>
                    <a:gd name="connsiteY242" fmla="*/ 3879689 h 4401009"/>
                    <a:gd name="connsiteX243" fmla="*/ 3448010 w 3830903"/>
                    <a:gd name="connsiteY243" fmla="*/ 3888053 h 4401009"/>
                    <a:gd name="connsiteX244" fmla="*/ 3464737 w 3830903"/>
                    <a:gd name="connsiteY244" fmla="*/ 3893628 h 4401009"/>
                    <a:gd name="connsiteX245" fmla="*/ 3467525 w 3830903"/>
                    <a:gd name="connsiteY245" fmla="*/ 3904780 h 4401009"/>
                    <a:gd name="connsiteX246" fmla="*/ 3475888 w 3830903"/>
                    <a:gd name="connsiteY246" fmla="*/ 3943809 h 4401009"/>
                    <a:gd name="connsiteX247" fmla="*/ 3509342 w 3830903"/>
                    <a:gd name="connsiteY247" fmla="*/ 3968899 h 4401009"/>
                    <a:gd name="connsiteX248" fmla="*/ 3517705 w 3830903"/>
                    <a:gd name="connsiteY248" fmla="*/ 4021867 h 4401009"/>
                    <a:gd name="connsiteX249" fmla="*/ 3520493 w 3830903"/>
                    <a:gd name="connsiteY249" fmla="*/ 4030231 h 4401009"/>
                    <a:gd name="connsiteX250" fmla="*/ 3531644 w 3830903"/>
                    <a:gd name="connsiteY250" fmla="*/ 4035806 h 4401009"/>
                    <a:gd name="connsiteX251" fmla="*/ 3559522 w 3830903"/>
                    <a:gd name="connsiteY251" fmla="*/ 4044170 h 4401009"/>
                    <a:gd name="connsiteX252" fmla="*/ 3567886 w 3830903"/>
                    <a:gd name="connsiteY252" fmla="*/ 4063684 h 4401009"/>
                    <a:gd name="connsiteX253" fmla="*/ 3576249 w 3830903"/>
                    <a:gd name="connsiteY253" fmla="*/ 4072048 h 4401009"/>
                    <a:gd name="connsiteX254" fmla="*/ 3584612 w 3830903"/>
                    <a:gd name="connsiteY254" fmla="*/ 4074836 h 4401009"/>
                    <a:gd name="connsiteX255" fmla="*/ 3629217 w 3830903"/>
                    <a:gd name="connsiteY255" fmla="*/ 4097138 h 4401009"/>
                    <a:gd name="connsiteX256" fmla="*/ 3651520 w 3830903"/>
                    <a:gd name="connsiteY256" fmla="*/ 4105502 h 4401009"/>
                    <a:gd name="connsiteX257" fmla="*/ 3662671 w 3830903"/>
                    <a:gd name="connsiteY257" fmla="*/ 4108289 h 4401009"/>
                    <a:gd name="connsiteX258" fmla="*/ 3679398 w 3830903"/>
                    <a:gd name="connsiteY258" fmla="*/ 4127804 h 4401009"/>
                    <a:gd name="connsiteX259" fmla="*/ 3693337 w 3830903"/>
                    <a:gd name="connsiteY259" fmla="*/ 4133380 h 4401009"/>
                    <a:gd name="connsiteX260" fmla="*/ 3704488 w 3830903"/>
                    <a:gd name="connsiteY260" fmla="*/ 4138955 h 4401009"/>
                    <a:gd name="connsiteX261" fmla="*/ 3743517 w 3830903"/>
                    <a:gd name="connsiteY261" fmla="*/ 4141743 h 4401009"/>
                    <a:gd name="connsiteX262" fmla="*/ 3735154 w 3830903"/>
                    <a:gd name="connsiteY262" fmla="*/ 4161258 h 4401009"/>
                    <a:gd name="connsiteX263" fmla="*/ 3732366 w 3830903"/>
                    <a:gd name="connsiteY263" fmla="*/ 4175197 h 4401009"/>
                    <a:gd name="connsiteX264" fmla="*/ 3732366 w 3830903"/>
                    <a:gd name="connsiteY264" fmla="*/ 4217014 h 4401009"/>
                    <a:gd name="connsiteX265" fmla="*/ 3724003 w 3830903"/>
                    <a:gd name="connsiteY265" fmla="*/ 4222589 h 4401009"/>
                    <a:gd name="connsiteX266" fmla="*/ 3721215 w 3830903"/>
                    <a:gd name="connsiteY266" fmla="*/ 4230953 h 4401009"/>
                    <a:gd name="connsiteX267" fmla="*/ 3710064 w 3830903"/>
                    <a:gd name="connsiteY267" fmla="*/ 4275558 h 4401009"/>
                    <a:gd name="connsiteX268" fmla="*/ 3710064 w 3830903"/>
                    <a:gd name="connsiteY268" fmla="*/ 4297860 h 4401009"/>
                    <a:gd name="connsiteX269" fmla="*/ 3696125 w 3830903"/>
                    <a:gd name="connsiteY269" fmla="*/ 4303436 h 4401009"/>
                    <a:gd name="connsiteX270" fmla="*/ 3679398 w 3830903"/>
                    <a:gd name="connsiteY270" fmla="*/ 4306224 h 4401009"/>
                    <a:gd name="connsiteX271" fmla="*/ 3676610 w 3830903"/>
                    <a:gd name="connsiteY271" fmla="*/ 4317375 h 4401009"/>
                    <a:gd name="connsiteX272" fmla="*/ 3651520 w 3830903"/>
                    <a:gd name="connsiteY272" fmla="*/ 4320163 h 4401009"/>
                    <a:gd name="connsiteX273" fmla="*/ 3598551 w 3830903"/>
                    <a:gd name="connsiteY273" fmla="*/ 4297860 h 4401009"/>
                    <a:gd name="connsiteX274" fmla="*/ 3590188 w 3830903"/>
                    <a:gd name="connsiteY274" fmla="*/ 4289497 h 4401009"/>
                    <a:gd name="connsiteX275" fmla="*/ 3545583 w 3830903"/>
                    <a:gd name="connsiteY275" fmla="*/ 4281133 h 4401009"/>
                    <a:gd name="connsiteX276" fmla="*/ 3537220 w 3830903"/>
                    <a:gd name="connsiteY276" fmla="*/ 4275558 h 4401009"/>
                    <a:gd name="connsiteX277" fmla="*/ 3528856 w 3830903"/>
                    <a:gd name="connsiteY277" fmla="*/ 4267194 h 4401009"/>
                    <a:gd name="connsiteX278" fmla="*/ 3520493 w 3830903"/>
                    <a:gd name="connsiteY278" fmla="*/ 4269982 h 4401009"/>
                    <a:gd name="connsiteX279" fmla="*/ 3498191 w 3830903"/>
                    <a:gd name="connsiteY279" fmla="*/ 4275558 h 4401009"/>
                    <a:gd name="connsiteX280" fmla="*/ 3484251 w 3830903"/>
                    <a:gd name="connsiteY280" fmla="*/ 4269982 h 4401009"/>
                    <a:gd name="connsiteX281" fmla="*/ 3467525 w 3830903"/>
                    <a:gd name="connsiteY281" fmla="*/ 4272770 h 4401009"/>
                    <a:gd name="connsiteX282" fmla="*/ 3448010 w 3830903"/>
                    <a:gd name="connsiteY282" fmla="*/ 4278345 h 4401009"/>
                    <a:gd name="connsiteX283" fmla="*/ 3439647 w 3830903"/>
                    <a:gd name="connsiteY283" fmla="*/ 4281133 h 4401009"/>
                    <a:gd name="connsiteX284" fmla="*/ 3381103 w 3830903"/>
                    <a:gd name="connsiteY284" fmla="*/ 4286709 h 4401009"/>
                    <a:gd name="connsiteX285" fmla="*/ 3372739 w 3830903"/>
                    <a:gd name="connsiteY285" fmla="*/ 4283921 h 4401009"/>
                    <a:gd name="connsiteX286" fmla="*/ 3369951 w 3830903"/>
                    <a:gd name="connsiteY286" fmla="*/ 4272770 h 4401009"/>
                    <a:gd name="connsiteX287" fmla="*/ 3361588 w 3830903"/>
                    <a:gd name="connsiteY287" fmla="*/ 4253255 h 4401009"/>
                    <a:gd name="connsiteX288" fmla="*/ 3358800 w 3830903"/>
                    <a:gd name="connsiteY288" fmla="*/ 4244892 h 4401009"/>
                    <a:gd name="connsiteX289" fmla="*/ 3347649 w 3830903"/>
                    <a:gd name="connsiteY289" fmla="*/ 4228165 h 4401009"/>
                    <a:gd name="connsiteX290" fmla="*/ 3333710 w 3830903"/>
                    <a:gd name="connsiteY290" fmla="*/ 4225377 h 4401009"/>
                    <a:gd name="connsiteX291" fmla="*/ 3319771 w 3830903"/>
                    <a:gd name="connsiteY291" fmla="*/ 4244892 h 4401009"/>
                    <a:gd name="connsiteX292" fmla="*/ 3307290 w 3830903"/>
                    <a:gd name="connsiteY292" fmla="*/ 4247515 h 4401009"/>
                    <a:gd name="connsiteX293" fmla="*/ 3303979 w 3830903"/>
                    <a:gd name="connsiteY293" fmla="*/ 4248325 h 4401009"/>
                    <a:gd name="connsiteX294" fmla="*/ 3308049 w 3830903"/>
                    <a:gd name="connsiteY294" fmla="*/ 4245620 h 4401009"/>
                    <a:gd name="connsiteX295" fmla="*/ 3244500 w 3830903"/>
                    <a:gd name="connsiteY295" fmla="*/ 4239316 h 4401009"/>
                    <a:gd name="connsiteX296" fmla="*/ 3236137 w 3830903"/>
                    <a:gd name="connsiteY296" fmla="*/ 4247680 h 4401009"/>
                    <a:gd name="connsiteX297" fmla="*/ 3233349 w 3830903"/>
                    <a:gd name="connsiteY297" fmla="*/ 4256043 h 4401009"/>
                    <a:gd name="connsiteX298" fmla="*/ 3227773 w 3830903"/>
                    <a:gd name="connsiteY298" fmla="*/ 4247680 h 4401009"/>
                    <a:gd name="connsiteX299" fmla="*/ 3219410 w 3830903"/>
                    <a:gd name="connsiteY299" fmla="*/ 4244892 h 4401009"/>
                    <a:gd name="connsiteX300" fmla="*/ 3199895 w 3830903"/>
                    <a:gd name="connsiteY300" fmla="*/ 4242104 h 4401009"/>
                    <a:gd name="connsiteX301" fmla="*/ 3197108 w 3830903"/>
                    <a:gd name="connsiteY301" fmla="*/ 4253255 h 4401009"/>
                    <a:gd name="connsiteX302" fmla="*/ 3188744 w 3830903"/>
                    <a:gd name="connsiteY302" fmla="*/ 4264406 h 4401009"/>
                    <a:gd name="connsiteX303" fmla="*/ 3180381 w 3830903"/>
                    <a:gd name="connsiteY303" fmla="*/ 4267194 h 4401009"/>
                    <a:gd name="connsiteX304" fmla="*/ 3163654 w 3830903"/>
                    <a:gd name="connsiteY304" fmla="*/ 4283921 h 4401009"/>
                    <a:gd name="connsiteX305" fmla="*/ 3160866 w 3830903"/>
                    <a:gd name="connsiteY305" fmla="*/ 4297860 h 4401009"/>
                    <a:gd name="connsiteX306" fmla="*/ 3158078 w 3830903"/>
                    <a:gd name="connsiteY306" fmla="*/ 4309011 h 4401009"/>
                    <a:gd name="connsiteX307" fmla="*/ 3135776 w 3830903"/>
                    <a:gd name="connsiteY307" fmla="*/ 4311799 h 4401009"/>
                    <a:gd name="connsiteX308" fmla="*/ 3127412 w 3830903"/>
                    <a:gd name="connsiteY308" fmla="*/ 4314587 h 4401009"/>
                    <a:gd name="connsiteX309" fmla="*/ 3121837 w 3830903"/>
                    <a:gd name="connsiteY309" fmla="*/ 4322950 h 4401009"/>
                    <a:gd name="connsiteX310" fmla="*/ 3110686 w 3830903"/>
                    <a:gd name="connsiteY310" fmla="*/ 4317375 h 4401009"/>
                    <a:gd name="connsiteX311" fmla="*/ 3107898 w 3830903"/>
                    <a:gd name="connsiteY311" fmla="*/ 4295072 h 4401009"/>
                    <a:gd name="connsiteX312" fmla="*/ 3060505 w 3830903"/>
                    <a:gd name="connsiteY312" fmla="*/ 4286709 h 4401009"/>
                    <a:gd name="connsiteX313" fmla="*/ 3054930 w 3830903"/>
                    <a:gd name="connsiteY313" fmla="*/ 4295072 h 4401009"/>
                    <a:gd name="connsiteX314" fmla="*/ 3004749 w 3830903"/>
                    <a:gd name="connsiteY314" fmla="*/ 4297860 h 4401009"/>
                    <a:gd name="connsiteX315" fmla="*/ 2988022 w 3830903"/>
                    <a:gd name="connsiteY315" fmla="*/ 4289497 h 4401009"/>
                    <a:gd name="connsiteX316" fmla="*/ 2962932 w 3830903"/>
                    <a:gd name="connsiteY316" fmla="*/ 4275558 h 4401009"/>
                    <a:gd name="connsiteX317" fmla="*/ 2960144 w 3830903"/>
                    <a:gd name="connsiteY317" fmla="*/ 4283921 h 4401009"/>
                    <a:gd name="connsiteX318" fmla="*/ 2951781 w 3830903"/>
                    <a:gd name="connsiteY318" fmla="*/ 4289497 h 4401009"/>
                    <a:gd name="connsiteX319" fmla="*/ 2946205 w 3830903"/>
                    <a:gd name="connsiteY319" fmla="*/ 4297860 h 4401009"/>
                    <a:gd name="connsiteX320" fmla="*/ 2929478 w 3830903"/>
                    <a:gd name="connsiteY320" fmla="*/ 4300648 h 4401009"/>
                    <a:gd name="connsiteX321" fmla="*/ 2912751 w 3830903"/>
                    <a:gd name="connsiteY321" fmla="*/ 4292284 h 4401009"/>
                    <a:gd name="connsiteX322" fmla="*/ 2904388 w 3830903"/>
                    <a:gd name="connsiteY322" fmla="*/ 4297860 h 4401009"/>
                    <a:gd name="connsiteX323" fmla="*/ 2896025 w 3830903"/>
                    <a:gd name="connsiteY323" fmla="*/ 4300648 h 4401009"/>
                    <a:gd name="connsiteX324" fmla="*/ 2884873 w 3830903"/>
                    <a:gd name="connsiteY324" fmla="*/ 4311799 h 4401009"/>
                    <a:gd name="connsiteX325" fmla="*/ 2862571 w 3830903"/>
                    <a:gd name="connsiteY325" fmla="*/ 4317375 h 4401009"/>
                    <a:gd name="connsiteX326" fmla="*/ 2854208 w 3830903"/>
                    <a:gd name="connsiteY326" fmla="*/ 4339677 h 4401009"/>
                    <a:gd name="connsiteX327" fmla="*/ 2762210 w 3830903"/>
                    <a:gd name="connsiteY327" fmla="*/ 4348041 h 4401009"/>
                    <a:gd name="connsiteX328" fmla="*/ 2751059 w 3830903"/>
                    <a:gd name="connsiteY328" fmla="*/ 4350828 h 4401009"/>
                    <a:gd name="connsiteX329" fmla="*/ 2734332 w 3830903"/>
                    <a:gd name="connsiteY329" fmla="*/ 4353616 h 4401009"/>
                    <a:gd name="connsiteX330" fmla="*/ 2703666 w 3830903"/>
                    <a:gd name="connsiteY330" fmla="*/ 4348041 h 4401009"/>
                    <a:gd name="connsiteX331" fmla="*/ 2684151 w 3830903"/>
                    <a:gd name="connsiteY331" fmla="*/ 4342465 h 4401009"/>
                    <a:gd name="connsiteX332" fmla="*/ 2673000 w 3830903"/>
                    <a:gd name="connsiteY332" fmla="*/ 4345253 h 4401009"/>
                    <a:gd name="connsiteX333" fmla="*/ 2667425 w 3830903"/>
                    <a:gd name="connsiteY333" fmla="*/ 4356404 h 4401009"/>
                    <a:gd name="connsiteX334" fmla="*/ 2636759 w 3830903"/>
                    <a:gd name="connsiteY334" fmla="*/ 4359192 h 4401009"/>
                    <a:gd name="connsiteX335" fmla="*/ 2628395 w 3830903"/>
                    <a:gd name="connsiteY335" fmla="*/ 4361980 h 4401009"/>
                    <a:gd name="connsiteX336" fmla="*/ 2622820 w 3830903"/>
                    <a:gd name="connsiteY336" fmla="*/ 4370343 h 4401009"/>
                    <a:gd name="connsiteX337" fmla="*/ 2620032 w 3830903"/>
                    <a:gd name="connsiteY337" fmla="*/ 4387070 h 4401009"/>
                    <a:gd name="connsiteX338" fmla="*/ 2622820 w 3830903"/>
                    <a:gd name="connsiteY338" fmla="*/ 4401009 h 4401009"/>
                    <a:gd name="connsiteX339" fmla="*/ 2564276 w 3830903"/>
                    <a:gd name="connsiteY339" fmla="*/ 4384282 h 4401009"/>
                    <a:gd name="connsiteX340" fmla="*/ 2550337 w 3830903"/>
                    <a:gd name="connsiteY340" fmla="*/ 4375919 h 4401009"/>
                    <a:gd name="connsiteX341" fmla="*/ 2541973 w 3830903"/>
                    <a:gd name="connsiteY341" fmla="*/ 4373131 h 4401009"/>
                    <a:gd name="connsiteX342" fmla="*/ 2522459 w 3830903"/>
                    <a:gd name="connsiteY342" fmla="*/ 4364767 h 4401009"/>
                    <a:gd name="connsiteX343" fmla="*/ 2491793 w 3830903"/>
                    <a:gd name="connsiteY343" fmla="*/ 4361980 h 4401009"/>
                    <a:gd name="connsiteX344" fmla="*/ 2455551 w 3830903"/>
                    <a:gd name="connsiteY344" fmla="*/ 4348041 h 4401009"/>
                    <a:gd name="connsiteX345" fmla="*/ 2441612 w 3830903"/>
                    <a:gd name="connsiteY345" fmla="*/ 4342465 h 4401009"/>
                    <a:gd name="connsiteX346" fmla="*/ 2424886 w 3830903"/>
                    <a:gd name="connsiteY346" fmla="*/ 4322950 h 4401009"/>
                    <a:gd name="connsiteX347" fmla="*/ 2313373 w 3830903"/>
                    <a:gd name="connsiteY347" fmla="*/ 4309011 h 4401009"/>
                    <a:gd name="connsiteX348" fmla="*/ 2307798 w 3830903"/>
                    <a:gd name="connsiteY348" fmla="*/ 4300648 h 4401009"/>
                    <a:gd name="connsiteX349" fmla="*/ 2282708 w 3830903"/>
                    <a:gd name="connsiteY349" fmla="*/ 4289497 h 4401009"/>
                    <a:gd name="connsiteX350" fmla="*/ 2265981 w 3830903"/>
                    <a:gd name="connsiteY350" fmla="*/ 4300648 h 4401009"/>
                    <a:gd name="connsiteX351" fmla="*/ 2257617 w 3830903"/>
                    <a:gd name="connsiteY351" fmla="*/ 4317375 h 4401009"/>
                    <a:gd name="connsiteX352" fmla="*/ 2235315 w 3830903"/>
                    <a:gd name="connsiteY352" fmla="*/ 4320163 h 4401009"/>
                    <a:gd name="connsiteX353" fmla="*/ 2207437 w 3830903"/>
                    <a:gd name="connsiteY353" fmla="*/ 4309011 h 4401009"/>
                    <a:gd name="connsiteX354" fmla="*/ 2201861 w 3830903"/>
                    <a:gd name="connsiteY354" fmla="*/ 4297860 h 4401009"/>
                    <a:gd name="connsiteX355" fmla="*/ 2187922 w 3830903"/>
                    <a:gd name="connsiteY355" fmla="*/ 4281133 h 4401009"/>
                    <a:gd name="connsiteX356" fmla="*/ 2179559 w 3830903"/>
                    <a:gd name="connsiteY356" fmla="*/ 4275558 h 4401009"/>
                    <a:gd name="connsiteX357" fmla="*/ 2132166 w 3830903"/>
                    <a:gd name="connsiteY357" fmla="*/ 4275558 h 4401009"/>
                    <a:gd name="connsiteX358" fmla="*/ 2112651 w 3830903"/>
                    <a:gd name="connsiteY358" fmla="*/ 4267194 h 4401009"/>
                    <a:gd name="connsiteX359" fmla="*/ 2109864 w 3830903"/>
                    <a:gd name="connsiteY359" fmla="*/ 4253255 h 4401009"/>
                    <a:gd name="connsiteX360" fmla="*/ 2115439 w 3830903"/>
                    <a:gd name="connsiteY360" fmla="*/ 4244892 h 4401009"/>
                    <a:gd name="connsiteX361" fmla="*/ 2123803 w 3830903"/>
                    <a:gd name="connsiteY361" fmla="*/ 4239316 h 4401009"/>
                    <a:gd name="connsiteX362" fmla="*/ 2132166 w 3830903"/>
                    <a:gd name="connsiteY362" fmla="*/ 4230953 h 4401009"/>
                    <a:gd name="connsiteX363" fmla="*/ 2143317 w 3830903"/>
                    <a:gd name="connsiteY363" fmla="*/ 4225377 h 4401009"/>
                    <a:gd name="connsiteX364" fmla="*/ 2137742 w 3830903"/>
                    <a:gd name="connsiteY364" fmla="*/ 4217014 h 4401009"/>
                    <a:gd name="connsiteX365" fmla="*/ 2112651 w 3830903"/>
                    <a:gd name="connsiteY365" fmla="*/ 4214226 h 4401009"/>
                    <a:gd name="connsiteX366" fmla="*/ 2104288 w 3830903"/>
                    <a:gd name="connsiteY366" fmla="*/ 4211438 h 4401009"/>
                    <a:gd name="connsiteX367" fmla="*/ 2099886 w 3830903"/>
                    <a:gd name="connsiteY367" fmla="*/ 4204836 h 4401009"/>
                    <a:gd name="connsiteX368" fmla="*/ 2104288 w 3830903"/>
                    <a:gd name="connsiteY368" fmla="*/ 4203075 h 4401009"/>
                    <a:gd name="connsiteX369" fmla="*/ 2112651 w 3830903"/>
                    <a:gd name="connsiteY369" fmla="*/ 4200287 h 4401009"/>
                    <a:gd name="connsiteX370" fmla="*/ 2123803 w 3830903"/>
                    <a:gd name="connsiteY370" fmla="*/ 4197499 h 4401009"/>
                    <a:gd name="connsiteX371" fmla="*/ 2134954 w 3830903"/>
                    <a:gd name="connsiteY371" fmla="*/ 4205863 h 4401009"/>
                    <a:gd name="connsiteX372" fmla="*/ 2151681 w 3830903"/>
                    <a:gd name="connsiteY372" fmla="*/ 4208650 h 4401009"/>
                    <a:gd name="connsiteX373" fmla="*/ 2160044 w 3830903"/>
                    <a:gd name="connsiteY373" fmla="*/ 4214226 h 4401009"/>
                    <a:gd name="connsiteX374" fmla="*/ 2168408 w 3830903"/>
                    <a:gd name="connsiteY374" fmla="*/ 4208650 h 4401009"/>
                    <a:gd name="connsiteX375" fmla="*/ 2190710 w 3830903"/>
                    <a:gd name="connsiteY375" fmla="*/ 4205863 h 4401009"/>
                    <a:gd name="connsiteX376" fmla="*/ 2201861 w 3830903"/>
                    <a:gd name="connsiteY376" fmla="*/ 4203075 h 4401009"/>
                    <a:gd name="connsiteX377" fmla="*/ 2204649 w 3830903"/>
                    <a:gd name="connsiteY377" fmla="*/ 4194711 h 4401009"/>
                    <a:gd name="connsiteX378" fmla="*/ 2229739 w 3830903"/>
                    <a:gd name="connsiteY378" fmla="*/ 4191924 h 4401009"/>
                    <a:gd name="connsiteX379" fmla="*/ 2215800 w 3830903"/>
                    <a:gd name="connsiteY379" fmla="*/ 4175197 h 4401009"/>
                    <a:gd name="connsiteX380" fmla="*/ 2213012 w 3830903"/>
                    <a:gd name="connsiteY380" fmla="*/ 4164045 h 4401009"/>
                    <a:gd name="connsiteX381" fmla="*/ 2204649 w 3830903"/>
                    <a:gd name="connsiteY381" fmla="*/ 4119441 h 4401009"/>
                    <a:gd name="connsiteX382" fmla="*/ 2213012 w 3830903"/>
                    <a:gd name="connsiteY382" fmla="*/ 4077624 h 4401009"/>
                    <a:gd name="connsiteX383" fmla="*/ 2215800 w 3830903"/>
                    <a:gd name="connsiteY383" fmla="*/ 4060897 h 4401009"/>
                    <a:gd name="connsiteX384" fmla="*/ 2215800 w 3830903"/>
                    <a:gd name="connsiteY384" fmla="*/ 4049745 h 4401009"/>
                    <a:gd name="connsiteX385" fmla="*/ 2218588 w 3830903"/>
                    <a:gd name="connsiteY385" fmla="*/ 4038594 h 4401009"/>
                    <a:gd name="connsiteX386" fmla="*/ 2235315 w 3830903"/>
                    <a:gd name="connsiteY386" fmla="*/ 4021867 h 4401009"/>
                    <a:gd name="connsiteX387" fmla="*/ 2243678 w 3830903"/>
                    <a:gd name="connsiteY387" fmla="*/ 4024655 h 4401009"/>
                    <a:gd name="connsiteX388" fmla="*/ 2257617 w 3830903"/>
                    <a:gd name="connsiteY388" fmla="*/ 4027443 h 4401009"/>
                    <a:gd name="connsiteX389" fmla="*/ 2271556 w 3830903"/>
                    <a:gd name="connsiteY389" fmla="*/ 4024655 h 4401009"/>
                    <a:gd name="connsiteX390" fmla="*/ 2268769 w 3830903"/>
                    <a:gd name="connsiteY390" fmla="*/ 4016292 h 4401009"/>
                    <a:gd name="connsiteX391" fmla="*/ 2257617 w 3830903"/>
                    <a:gd name="connsiteY391" fmla="*/ 4013504 h 4401009"/>
                    <a:gd name="connsiteX392" fmla="*/ 2229739 w 3830903"/>
                    <a:gd name="connsiteY392" fmla="*/ 4010716 h 4401009"/>
                    <a:gd name="connsiteX393" fmla="*/ 2221376 w 3830903"/>
                    <a:gd name="connsiteY393" fmla="*/ 4007928 h 4401009"/>
                    <a:gd name="connsiteX394" fmla="*/ 2218588 w 3830903"/>
                    <a:gd name="connsiteY394" fmla="*/ 3999565 h 4401009"/>
                    <a:gd name="connsiteX395" fmla="*/ 2185134 w 3830903"/>
                    <a:gd name="connsiteY395" fmla="*/ 3996777 h 4401009"/>
                    <a:gd name="connsiteX396" fmla="*/ 2171195 w 3830903"/>
                    <a:gd name="connsiteY396" fmla="*/ 3993989 h 4401009"/>
                    <a:gd name="connsiteX397" fmla="*/ 2162832 w 3830903"/>
                    <a:gd name="connsiteY397" fmla="*/ 3982838 h 4401009"/>
                    <a:gd name="connsiteX398" fmla="*/ 2151681 w 3830903"/>
                    <a:gd name="connsiteY398" fmla="*/ 3968899 h 4401009"/>
                    <a:gd name="connsiteX399" fmla="*/ 2143317 w 3830903"/>
                    <a:gd name="connsiteY399" fmla="*/ 3960536 h 4401009"/>
                    <a:gd name="connsiteX400" fmla="*/ 2165620 w 3830903"/>
                    <a:gd name="connsiteY400" fmla="*/ 3952172 h 4401009"/>
                    <a:gd name="connsiteX401" fmla="*/ 2176771 w 3830903"/>
                    <a:gd name="connsiteY401" fmla="*/ 3946597 h 4401009"/>
                    <a:gd name="connsiteX402" fmla="*/ 2182347 w 3830903"/>
                    <a:gd name="connsiteY402" fmla="*/ 3935445 h 4401009"/>
                    <a:gd name="connsiteX403" fmla="*/ 2201861 w 3830903"/>
                    <a:gd name="connsiteY403" fmla="*/ 3929870 h 4401009"/>
                    <a:gd name="connsiteX404" fmla="*/ 2210225 w 3830903"/>
                    <a:gd name="connsiteY404" fmla="*/ 3924294 h 4401009"/>
                    <a:gd name="connsiteX405" fmla="*/ 2232527 w 3830903"/>
                    <a:gd name="connsiteY405" fmla="*/ 3915931 h 4401009"/>
                    <a:gd name="connsiteX406" fmla="*/ 2218588 w 3830903"/>
                    <a:gd name="connsiteY406" fmla="*/ 3913143 h 4401009"/>
                    <a:gd name="connsiteX407" fmla="*/ 2221376 w 3830903"/>
                    <a:gd name="connsiteY407" fmla="*/ 3890841 h 4401009"/>
                    <a:gd name="connsiteX408" fmla="*/ 2243678 w 3830903"/>
                    <a:gd name="connsiteY408" fmla="*/ 3876902 h 4401009"/>
                    <a:gd name="connsiteX409" fmla="*/ 2252042 w 3830903"/>
                    <a:gd name="connsiteY409" fmla="*/ 3854599 h 4401009"/>
                    <a:gd name="connsiteX410" fmla="*/ 2263193 w 3830903"/>
                    <a:gd name="connsiteY410" fmla="*/ 3837872 h 4401009"/>
                    <a:gd name="connsiteX411" fmla="*/ 2285495 w 3830903"/>
                    <a:gd name="connsiteY411" fmla="*/ 3835084 h 4401009"/>
                    <a:gd name="connsiteX412" fmla="*/ 2285495 w 3830903"/>
                    <a:gd name="connsiteY412" fmla="*/ 3818358 h 4401009"/>
                    <a:gd name="connsiteX413" fmla="*/ 2282708 w 3830903"/>
                    <a:gd name="connsiteY413" fmla="*/ 3807206 h 4401009"/>
                    <a:gd name="connsiteX414" fmla="*/ 2271556 w 3830903"/>
                    <a:gd name="connsiteY414" fmla="*/ 3790480 h 4401009"/>
                    <a:gd name="connsiteX415" fmla="*/ 2263193 w 3830903"/>
                    <a:gd name="connsiteY415" fmla="*/ 3787692 h 4401009"/>
                    <a:gd name="connsiteX416" fmla="*/ 2243678 w 3830903"/>
                    <a:gd name="connsiteY416" fmla="*/ 3801631 h 4401009"/>
                    <a:gd name="connsiteX417" fmla="*/ 2240891 w 3830903"/>
                    <a:gd name="connsiteY417" fmla="*/ 3812782 h 4401009"/>
                    <a:gd name="connsiteX418" fmla="*/ 2218588 w 3830903"/>
                    <a:gd name="connsiteY418" fmla="*/ 3835084 h 4401009"/>
                    <a:gd name="connsiteX419" fmla="*/ 2213012 w 3830903"/>
                    <a:gd name="connsiteY419" fmla="*/ 3823933 h 4401009"/>
                    <a:gd name="connsiteX420" fmla="*/ 2207437 w 3830903"/>
                    <a:gd name="connsiteY420" fmla="*/ 3809994 h 4401009"/>
                    <a:gd name="connsiteX421" fmla="*/ 2201861 w 3830903"/>
                    <a:gd name="connsiteY421" fmla="*/ 3829509 h 4401009"/>
                    <a:gd name="connsiteX422" fmla="*/ 2199073 w 3830903"/>
                    <a:gd name="connsiteY422" fmla="*/ 3837872 h 4401009"/>
                    <a:gd name="connsiteX423" fmla="*/ 2193498 w 3830903"/>
                    <a:gd name="connsiteY423" fmla="*/ 3846236 h 4401009"/>
                    <a:gd name="connsiteX424" fmla="*/ 2173983 w 3830903"/>
                    <a:gd name="connsiteY424" fmla="*/ 3854599 h 4401009"/>
                    <a:gd name="connsiteX425" fmla="*/ 2171195 w 3830903"/>
                    <a:gd name="connsiteY425" fmla="*/ 3835084 h 4401009"/>
                    <a:gd name="connsiteX426" fmla="*/ 2160044 w 3830903"/>
                    <a:gd name="connsiteY426" fmla="*/ 3804419 h 4401009"/>
                    <a:gd name="connsiteX427" fmla="*/ 2148893 w 3830903"/>
                    <a:gd name="connsiteY427" fmla="*/ 3784904 h 4401009"/>
                    <a:gd name="connsiteX428" fmla="*/ 2160044 w 3830903"/>
                    <a:gd name="connsiteY428" fmla="*/ 3762602 h 4401009"/>
                    <a:gd name="connsiteX429" fmla="*/ 2190710 w 3830903"/>
                    <a:gd name="connsiteY429" fmla="*/ 3740299 h 4401009"/>
                    <a:gd name="connsiteX430" fmla="*/ 2193498 w 3830903"/>
                    <a:gd name="connsiteY430" fmla="*/ 3715209 h 4401009"/>
                    <a:gd name="connsiteX431" fmla="*/ 2196286 w 3830903"/>
                    <a:gd name="connsiteY431" fmla="*/ 3704058 h 4401009"/>
                    <a:gd name="connsiteX432" fmla="*/ 2232527 w 3830903"/>
                    <a:gd name="connsiteY432" fmla="*/ 3701270 h 4401009"/>
                    <a:gd name="connsiteX433" fmla="*/ 2246466 w 3830903"/>
                    <a:gd name="connsiteY433" fmla="*/ 3692906 h 4401009"/>
                    <a:gd name="connsiteX434" fmla="*/ 2265981 w 3830903"/>
                    <a:gd name="connsiteY434" fmla="*/ 3678967 h 4401009"/>
                    <a:gd name="connsiteX435" fmla="*/ 2282708 w 3830903"/>
                    <a:gd name="connsiteY435" fmla="*/ 3676180 h 4401009"/>
                    <a:gd name="connsiteX436" fmla="*/ 2291071 w 3830903"/>
                    <a:gd name="connsiteY436" fmla="*/ 3673392 h 4401009"/>
                    <a:gd name="connsiteX437" fmla="*/ 2293859 w 3830903"/>
                    <a:gd name="connsiteY437" fmla="*/ 3651089 h 4401009"/>
                    <a:gd name="connsiteX438" fmla="*/ 2291071 w 3830903"/>
                    <a:gd name="connsiteY438" fmla="*/ 3642726 h 4401009"/>
                    <a:gd name="connsiteX439" fmla="*/ 2285495 w 3830903"/>
                    <a:gd name="connsiteY439" fmla="*/ 3631575 h 4401009"/>
                    <a:gd name="connsiteX440" fmla="*/ 2282708 w 3830903"/>
                    <a:gd name="connsiteY440" fmla="*/ 3575819 h 4401009"/>
                    <a:gd name="connsiteX441" fmla="*/ 2274344 w 3830903"/>
                    <a:gd name="connsiteY441" fmla="*/ 3567455 h 4401009"/>
                    <a:gd name="connsiteX442" fmla="*/ 2268769 w 3830903"/>
                    <a:gd name="connsiteY442" fmla="*/ 3559092 h 4401009"/>
                    <a:gd name="connsiteX443" fmla="*/ 2252042 w 3830903"/>
                    <a:gd name="connsiteY443" fmla="*/ 3550728 h 4401009"/>
                    <a:gd name="connsiteX444" fmla="*/ 2246466 w 3830903"/>
                    <a:gd name="connsiteY444" fmla="*/ 3536789 h 4401009"/>
                    <a:gd name="connsiteX445" fmla="*/ 2229739 w 3830903"/>
                    <a:gd name="connsiteY445" fmla="*/ 3522850 h 4401009"/>
                    <a:gd name="connsiteX446" fmla="*/ 2238103 w 3830903"/>
                    <a:gd name="connsiteY446" fmla="*/ 3506124 h 4401009"/>
                    <a:gd name="connsiteX447" fmla="*/ 2249254 w 3830903"/>
                    <a:gd name="connsiteY447" fmla="*/ 3489397 h 4401009"/>
                    <a:gd name="connsiteX448" fmla="*/ 2246466 w 3830903"/>
                    <a:gd name="connsiteY448" fmla="*/ 3481033 h 4401009"/>
                    <a:gd name="connsiteX449" fmla="*/ 2218588 w 3830903"/>
                    <a:gd name="connsiteY449" fmla="*/ 3478245 h 4401009"/>
                    <a:gd name="connsiteX450" fmla="*/ 2210225 w 3830903"/>
                    <a:gd name="connsiteY450" fmla="*/ 3475458 h 4401009"/>
                    <a:gd name="connsiteX451" fmla="*/ 2207437 w 3830903"/>
                    <a:gd name="connsiteY451" fmla="*/ 3467094 h 4401009"/>
                    <a:gd name="connsiteX452" fmla="*/ 2210225 w 3830903"/>
                    <a:gd name="connsiteY452" fmla="*/ 3455943 h 4401009"/>
                    <a:gd name="connsiteX453" fmla="*/ 2224164 w 3830903"/>
                    <a:gd name="connsiteY453" fmla="*/ 3453155 h 4401009"/>
                    <a:gd name="connsiteX454" fmla="*/ 2226951 w 3830903"/>
                    <a:gd name="connsiteY454" fmla="*/ 3428065 h 4401009"/>
                    <a:gd name="connsiteX455" fmla="*/ 2252042 w 3830903"/>
                    <a:gd name="connsiteY455" fmla="*/ 3408550 h 4401009"/>
                    <a:gd name="connsiteX456" fmla="*/ 2243678 w 3830903"/>
                    <a:gd name="connsiteY456" fmla="*/ 3400187 h 4401009"/>
                    <a:gd name="connsiteX457" fmla="*/ 2232527 w 3830903"/>
                    <a:gd name="connsiteY457" fmla="*/ 3397399 h 4401009"/>
                    <a:gd name="connsiteX458" fmla="*/ 2226951 w 3830903"/>
                    <a:gd name="connsiteY458" fmla="*/ 3383460 h 4401009"/>
                    <a:gd name="connsiteX459" fmla="*/ 2224164 w 3830903"/>
                    <a:gd name="connsiteY459" fmla="*/ 3375097 h 4401009"/>
                    <a:gd name="connsiteX460" fmla="*/ 2216413 w 3830903"/>
                    <a:gd name="connsiteY460" fmla="*/ 3372718 h 4401009"/>
                    <a:gd name="connsiteX461" fmla="*/ 2213299 w 3830903"/>
                    <a:gd name="connsiteY461" fmla="*/ 3372512 h 4401009"/>
                    <a:gd name="connsiteX462" fmla="*/ 2213336 w 3830903"/>
                    <a:gd name="connsiteY462" fmla="*/ 3372183 h 4401009"/>
                    <a:gd name="connsiteX463" fmla="*/ 2210241 w 3830903"/>
                    <a:gd name="connsiteY463" fmla="*/ 3372228 h 4401009"/>
                    <a:gd name="connsiteX464" fmla="*/ 2210225 w 3830903"/>
                    <a:gd name="connsiteY464" fmla="*/ 3372309 h 4401009"/>
                    <a:gd name="connsiteX465" fmla="*/ 2213299 w 3830903"/>
                    <a:gd name="connsiteY465" fmla="*/ 3372512 h 4401009"/>
                    <a:gd name="connsiteX466" fmla="*/ 2213012 w 3830903"/>
                    <a:gd name="connsiteY466" fmla="*/ 3375097 h 4401009"/>
                    <a:gd name="connsiteX467" fmla="*/ 2201861 w 3830903"/>
                    <a:gd name="connsiteY467" fmla="*/ 3377884 h 4401009"/>
                    <a:gd name="connsiteX468" fmla="*/ 2188235 w 3830903"/>
                    <a:gd name="connsiteY468" fmla="*/ 3373439 h 4401009"/>
                    <a:gd name="connsiteX469" fmla="*/ 2180379 w 3830903"/>
                    <a:gd name="connsiteY469" fmla="*/ 3369743 h 4401009"/>
                    <a:gd name="connsiteX470" fmla="*/ 2188814 w 3830903"/>
                    <a:gd name="connsiteY470" fmla="*/ 3369537 h 4401009"/>
                    <a:gd name="connsiteX471" fmla="*/ 2191799 w 3830903"/>
                    <a:gd name="connsiteY471" fmla="*/ 3367999 h 4401009"/>
                    <a:gd name="connsiteX472" fmla="*/ 2187923 w 3830903"/>
                    <a:gd name="connsiteY472" fmla="*/ 3366733 h 4401009"/>
                    <a:gd name="connsiteX473" fmla="*/ 2176772 w 3830903"/>
                    <a:gd name="connsiteY473" fmla="*/ 3363945 h 4401009"/>
                    <a:gd name="connsiteX474" fmla="*/ 2172335 w 3830903"/>
                    <a:gd name="connsiteY474" fmla="*/ 3363436 h 4401009"/>
                    <a:gd name="connsiteX475" fmla="*/ 2173983 w 3830903"/>
                    <a:gd name="connsiteY475" fmla="*/ 3366733 h 4401009"/>
                    <a:gd name="connsiteX476" fmla="*/ 2180379 w 3830903"/>
                    <a:gd name="connsiteY476" fmla="*/ 3369743 h 4401009"/>
                    <a:gd name="connsiteX477" fmla="*/ 2119515 w 3830903"/>
                    <a:gd name="connsiteY477" fmla="*/ 3371227 h 4401009"/>
                    <a:gd name="connsiteX478" fmla="*/ 2099233 w 3830903"/>
                    <a:gd name="connsiteY478" fmla="*/ 3377988 h 4401009"/>
                    <a:gd name="connsiteX479" fmla="*/ 2084021 w 3830903"/>
                    <a:gd name="connsiteY479" fmla="*/ 3383058 h 4401009"/>
                    <a:gd name="connsiteX480" fmla="*/ 2075570 w 3830903"/>
                    <a:gd name="connsiteY480" fmla="*/ 3374607 h 4401009"/>
                    <a:gd name="connsiteX481" fmla="*/ 2019793 w 3830903"/>
                    <a:gd name="connsiteY481" fmla="*/ 3374607 h 4401009"/>
                    <a:gd name="connsiteX482" fmla="*/ 2014723 w 3830903"/>
                    <a:gd name="connsiteY482" fmla="*/ 3376297 h 4401009"/>
                    <a:gd name="connsiteX483" fmla="*/ 2007962 w 3830903"/>
                    <a:gd name="connsiteY483" fmla="*/ 3374607 h 4401009"/>
                    <a:gd name="connsiteX484" fmla="*/ 2002891 w 3830903"/>
                    <a:gd name="connsiteY484" fmla="*/ 3372917 h 4401009"/>
                    <a:gd name="connsiteX485" fmla="*/ 1989370 w 3830903"/>
                    <a:gd name="connsiteY485" fmla="*/ 3371227 h 4401009"/>
                    <a:gd name="connsiteX486" fmla="*/ 1982609 w 3830903"/>
                    <a:gd name="connsiteY486" fmla="*/ 3374607 h 4401009"/>
                    <a:gd name="connsiteX487" fmla="*/ 1970777 w 3830903"/>
                    <a:gd name="connsiteY487" fmla="*/ 3381368 h 4401009"/>
                    <a:gd name="connsiteX488" fmla="*/ 1964017 w 3830903"/>
                    <a:gd name="connsiteY488" fmla="*/ 3383058 h 4401009"/>
                    <a:gd name="connsiteX489" fmla="*/ 1957256 w 3830903"/>
                    <a:gd name="connsiteY489" fmla="*/ 3394890 h 4401009"/>
                    <a:gd name="connsiteX490" fmla="*/ 1931903 w 3830903"/>
                    <a:gd name="connsiteY490" fmla="*/ 3391509 h 4401009"/>
                    <a:gd name="connsiteX491" fmla="*/ 1928522 w 3830903"/>
                    <a:gd name="connsiteY491" fmla="*/ 3386439 h 4401009"/>
                    <a:gd name="connsiteX492" fmla="*/ 1925142 w 3830903"/>
                    <a:gd name="connsiteY492" fmla="*/ 3383058 h 4401009"/>
                    <a:gd name="connsiteX493" fmla="*/ 1916691 w 3830903"/>
                    <a:gd name="connsiteY493" fmla="*/ 3374607 h 4401009"/>
                    <a:gd name="connsiteX494" fmla="*/ 1911620 w 3830903"/>
                    <a:gd name="connsiteY494" fmla="*/ 3366156 h 4401009"/>
                    <a:gd name="connsiteX495" fmla="*/ 1898099 w 3830903"/>
                    <a:gd name="connsiteY495" fmla="*/ 3356015 h 4401009"/>
                    <a:gd name="connsiteX496" fmla="*/ 1894718 w 3830903"/>
                    <a:gd name="connsiteY496" fmla="*/ 3352634 h 4401009"/>
                    <a:gd name="connsiteX497" fmla="*/ 1877816 w 3830903"/>
                    <a:gd name="connsiteY497" fmla="*/ 3342493 h 4401009"/>
                    <a:gd name="connsiteX498" fmla="*/ 1867675 w 3830903"/>
                    <a:gd name="connsiteY498" fmla="*/ 3340803 h 4401009"/>
                    <a:gd name="connsiteX499" fmla="*/ 1857534 w 3830903"/>
                    <a:gd name="connsiteY499" fmla="*/ 3350944 h 4401009"/>
                    <a:gd name="connsiteX500" fmla="*/ 1842322 w 3830903"/>
                    <a:gd name="connsiteY500" fmla="*/ 3362776 h 4401009"/>
                    <a:gd name="connsiteX501" fmla="*/ 1825420 w 3830903"/>
                    <a:gd name="connsiteY501" fmla="*/ 3372917 h 4401009"/>
                    <a:gd name="connsiteX502" fmla="*/ 1818659 w 3830903"/>
                    <a:gd name="connsiteY502" fmla="*/ 3377988 h 4401009"/>
                    <a:gd name="connsiteX503" fmla="*/ 1806828 w 3830903"/>
                    <a:gd name="connsiteY503" fmla="*/ 3384748 h 4401009"/>
                    <a:gd name="connsiteX504" fmla="*/ 1801757 w 3830903"/>
                    <a:gd name="connsiteY504" fmla="*/ 3389819 h 4401009"/>
                    <a:gd name="connsiteX505" fmla="*/ 1800067 w 3830903"/>
                    <a:gd name="connsiteY505" fmla="*/ 3399960 h 4401009"/>
                    <a:gd name="connsiteX506" fmla="*/ 1794996 w 3830903"/>
                    <a:gd name="connsiteY506" fmla="*/ 3405031 h 4401009"/>
                    <a:gd name="connsiteX507" fmla="*/ 1793306 w 3830903"/>
                    <a:gd name="connsiteY507" fmla="*/ 3410101 h 4401009"/>
                    <a:gd name="connsiteX508" fmla="*/ 1789926 w 3830903"/>
                    <a:gd name="connsiteY508" fmla="*/ 3415172 h 4401009"/>
                    <a:gd name="connsiteX509" fmla="*/ 1778094 w 3830903"/>
                    <a:gd name="connsiteY509" fmla="*/ 3408411 h 4401009"/>
                    <a:gd name="connsiteX510" fmla="*/ 1764573 w 3830903"/>
                    <a:gd name="connsiteY510" fmla="*/ 3403341 h 4401009"/>
                    <a:gd name="connsiteX511" fmla="*/ 1742600 w 3830903"/>
                    <a:gd name="connsiteY511" fmla="*/ 3401650 h 4401009"/>
                    <a:gd name="connsiteX512" fmla="*/ 1737529 w 3830903"/>
                    <a:gd name="connsiteY512" fmla="*/ 3398270 h 4401009"/>
                    <a:gd name="connsiteX513" fmla="*/ 1724008 w 3830903"/>
                    <a:gd name="connsiteY513" fmla="*/ 3394890 h 4401009"/>
                    <a:gd name="connsiteX514" fmla="*/ 1710486 w 3830903"/>
                    <a:gd name="connsiteY514" fmla="*/ 3401650 h 4401009"/>
                    <a:gd name="connsiteX515" fmla="*/ 1705416 w 3830903"/>
                    <a:gd name="connsiteY515" fmla="*/ 3403341 h 4401009"/>
                    <a:gd name="connsiteX516" fmla="*/ 1696965 w 3830903"/>
                    <a:gd name="connsiteY516" fmla="*/ 3410101 h 4401009"/>
                    <a:gd name="connsiteX517" fmla="*/ 1680062 w 3830903"/>
                    <a:gd name="connsiteY517" fmla="*/ 3413482 h 4401009"/>
                    <a:gd name="connsiteX518" fmla="*/ 1653019 w 3830903"/>
                    <a:gd name="connsiteY518" fmla="*/ 3405031 h 4401009"/>
                    <a:gd name="connsiteX519" fmla="*/ 1649639 w 3830903"/>
                    <a:gd name="connsiteY519" fmla="*/ 3396580 h 4401009"/>
                    <a:gd name="connsiteX520" fmla="*/ 1642878 w 3830903"/>
                    <a:gd name="connsiteY520" fmla="*/ 3386439 h 4401009"/>
                    <a:gd name="connsiteX521" fmla="*/ 1646258 w 3830903"/>
                    <a:gd name="connsiteY521" fmla="*/ 3383058 h 4401009"/>
                    <a:gd name="connsiteX522" fmla="*/ 1636117 w 3830903"/>
                    <a:gd name="connsiteY522" fmla="*/ 3369537 h 4401009"/>
                    <a:gd name="connsiteX523" fmla="*/ 1627666 w 3830903"/>
                    <a:gd name="connsiteY523" fmla="*/ 3357705 h 4401009"/>
                    <a:gd name="connsiteX524" fmla="*/ 1617525 w 3830903"/>
                    <a:gd name="connsiteY524" fmla="*/ 3349254 h 4401009"/>
                    <a:gd name="connsiteX525" fmla="*/ 1605694 w 3830903"/>
                    <a:gd name="connsiteY525" fmla="*/ 3337423 h 4401009"/>
                    <a:gd name="connsiteX526" fmla="*/ 1600623 w 3830903"/>
                    <a:gd name="connsiteY526" fmla="*/ 3328972 h 4401009"/>
                    <a:gd name="connsiteX527" fmla="*/ 1593862 w 3830903"/>
                    <a:gd name="connsiteY527" fmla="*/ 3317140 h 4401009"/>
                    <a:gd name="connsiteX528" fmla="*/ 1575270 w 3830903"/>
                    <a:gd name="connsiteY528" fmla="*/ 3296858 h 4401009"/>
                    <a:gd name="connsiteX529" fmla="*/ 1548227 w 3830903"/>
                    <a:gd name="connsiteY529" fmla="*/ 3310379 h 4401009"/>
                    <a:gd name="connsiteX530" fmla="*/ 1546536 w 3830903"/>
                    <a:gd name="connsiteY530" fmla="*/ 3315450 h 4401009"/>
                    <a:gd name="connsiteX531" fmla="*/ 1536395 w 3830903"/>
                    <a:gd name="connsiteY531" fmla="*/ 3317140 h 4401009"/>
                    <a:gd name="connsiteX532" fmla="*/ 1514423 w 3830903"/>
                    <a:gd name="connsiteY532" fmla="*/ 3318830 h 4401009"/>
                    <a:gd name="connsiteX533" fmla="*/ 1497521 w 3830903"/>
                    <a:gd name="connsiteY533" fmla="*/ 3322211 h 4401009"/>
                    <a:gd name="connsiteX534" fmla="*/ 1485689 w 3830903"/>
                    <a:gd name="connsiteY534" fmla="*/ 3288407 h 4401009"/>
                    <a:gd name="connsiteX535" fmla="*/ 1470477 w 3830903"/>
                    <a:gd name="connsiteY535" fmla="*/ 3283336 h 4401009"/>
                    <a:gd name="connsiteX536" fmla="*/ 1450195 w 3830903"/>
                    <a:gd name="connsiteY536" fmla="*/ 3279956 h 4401009"/>
                    <a:gd name="connsiteX537" fmla="*/ 1446814 w 3830903"/>
                    <a:gd name="connsiteY537" fmla="*/ 3266434 h 4401009"/>
                    <a:gd name="connsiteX538" fmla="*/ 1441744 w 3830903"/>
                    <a:gd name="connsiteY538" fmla="*/ 3259673 h 4401009"/>
                    <a:gd name="connsiteX539" fmla="*/ 1446814 w 3830903"/>
                    <a:gd name="connsiteY539" fmla="*/ 3254603 h 4401009"/>
                    <a:gd name="connsiteX540" fmla="*/ 1453575 w 3830903"/>
                    <a:gd name="connsiteY540" fmla="*/ 3252913 h 4401009"/>
                    <a:gd name="connsiteX541" fmla="*/ 1465407 w 3830903"/>
                    <a:gd name="connsiteY541" fmla="*/ 3239391 h 4401009"/>
                    <a:gd name="connsiteX542" fmla="*/ 1468787 w 3830903"/>
                    <a:gd name="connsiteY542" fmla="*/ 3230940 h 4401009"/>
                    <a:gd name="connsiteX543" fmla="*/ 1470477 w 3830903"/>
                    <a:gd name="connsiteY543" fmla="*/ 3225869 h 4401009"/>
                    <a:gd name="connsiteX544" fmla="*/ 1467097 w 3830903"/>
                    <a:gd name="connsiteY544" fmla="*/ 3220799 h 4401009"/>
                    <a:gd name="connsiteX545" fmla="*/ 1450195 w 3830903"/>
                    <a:gd name="connsiteY545" fmla="*/ 3214038 h 4401009"/>
                    <a:gd name="connsiteX546" fmla="*/ 1445124 w 3830903"/>
                    <a:gd name="connsiteY546" fmla="*/ 3212348 h 4401009"/>
                    <a:gd name="connsiteX547" fmla="*/ 1441744 w 3830903"/>
                    <a:gd name="connsiteY547" fmla="*/ 3208967 h 4401009"/>
                    <a:gd name="connsiteX548" fmla="*/ 1434983 w 3830903"/>
                    <a:gd name="connsiteY548" fmla="*/ 3203897 h 4401009"/>
                    <a:gd name="connsiteX549" fmla="*/ 1429912 w 3830903"/>
                    <a:gd name="connsiteY549" fmla="*/ 3193755 h 4401009"/>
                    <a:gd name="connsiteX550" fmla="*/ 1419771 w 3830903"/>
                    <a:gd name="connsiteY550" fmla="*/ 3192065 h 4401009"/>
                    <a:gd name="connsiteX551" fmla="*/ 1407940 w 3830903"/>
                    <a:gd name="connsiteY551" fmla="*/ 3178544 h 4401009"/>
                    <a:gd name="connsiteX552" fmla="*/ 1396108 w 3830903"/>
                    <a:gd name="connsiteY552" fmla="*/ 3173473 h 4401009"/>
                    <a:gd name="connsiteX553" fmla="*/ 1392728 w 3830903"/>
                    <a:gd name="connsiteY553" fmla="*/ 3166712 h 4401009"/>
                    <a:gd name="connsiteX554" fmla="*/ 1377516 w 3830903"/>
                    <a:gd name="connsiteY554" fmla="*/ 3153191 h 4401009"/>
                    <a:gd name="connsiteX555" fmla="*/ 1362304 w 3830903"/>
                    <a:gd name="connsiteY555" fmla="*/ 3146430 h 4401009"/>
                    <a:gd name="connsiteX556" fmla="*/ 1357234 w 3830903"/>
                    <a:gd name="connsiteY556" fmla="*/ 3149810 h 4401009"/>
                    <a:gd name="connsiteX557" fmla="*/ 1342022 w 3830903"/>
                    <a:gd name="connsiteY557" fmla="*/ 3153191 h 4401009"/>
                    <a:gd name="connsiteX558" fmla="*/ 1316669 w 3830903"/>
                    <a:gd name="connsiteY558" fmla="*/ 3149810 h 4401009"/>
                    <a:gd name="connsiteX559" fmla="*/ 1309908 w 3830903"/>
                    <a:gd name="connsiteY559" fmla="*/ 3158261 h 4401009"/>
                    <a:gd name="connsiteX560" fmla="*/ 1308218 w 3830903"/>
                    <a:gd name="connsiteY560" fmla="*/ 3192065 h 4401009"/>
                    <a:gd name="connsiteX561" fmla="*/ 1286245 w 3830903"/>
                    <a:gd name="connsiteY561" fmla="*/ 3200516 h 4401009"/>
                    <a:gd name="connsiteX562" fmla="*/ 1279484 w 3830903"/>
                    <a:gd name="connsiteY562" fmla="*/ 3198826 h 4401009"/>
                    <a:gd name="connsiteX563" fmla="*/ 1223708 w 3830903"/>
                    <a:gd name="connsiteY563" fmla="*/ 3230940 h 4401009"/>
                    <a:gd name="connsiteX564" fmla="*/ 1216947 w 3830903"/>
                    <a:gd name="connsiteY564" fmla="*/ 3241081 h 4401009"/>
                    <a:gd name="connsiteX565" fmla="*/ 1194974 w 3830903"/>
                    <a:gd name="connsiteY565" fmla="*/ 3251222 h 4401009"/>
                    <a:gd name="connsiteX566" fmla="*/ 1184833 w 3830903"/>
                    <a:gd name="connsiteY566" fmla="*/ 3261364 h 4401009"/>
                    <a:gd name="connsiteX567" fmla="*/ 1173001 w 3830903"/>
                    <a:gd name="connsiteY567" fmla="*/ 3266434 h 4401009"/>
                    <a:gd name="connsiteX568" fmla="*/ 1159480 w 3830903"/>
                    <a:gd name="connsiteY568" fmla="*/ 3268124 h 4401009"/>
                    <a:gd name="connsiteX569" fmla="*/ 1157790 w 3830903"/>
                    <a:gd name="connsiteY569" fmla="*/ 3256293 h 4401009"/>
                    <a:gd name="connsiteX570" fmla="*/ 1156099 w 3830903"/>
                    <a:gd name="connsiteY570" fmla="*/ 3247842 h 4401009"/>
                    <a:gd name="connsiteX571" fmla="*/ 1151029 w 3830903"/>
                    <a:gd name="connsiteY571" fmla="*/ 3244461 h 4401009"/>
                    <a:gd name="connsiteX572" fmla="*/ 1142578 w 3830903"/>
                    <a:gd name="connsiteY572" fmla="*/ 3232630 h 4401009"/>
                    <a:gd name="connsiteX573" fmla="*/ 1132437 w 3830903"/>
                    <a:gd name="connsiteY573" fmla="*/ 3217418 h 4401009"/>
                    <a:gd name="connsiteX574" fmla="*/ 1127366 w 3830903"/>
                    <a:gd name="connsiteY574" fmla="*/ 3212348 h 4401009"/>
                    <a:gd name="connsiteX575" fmla="*/ 1120605 w 3830903"/>
                    <a:gd name="connsiteY575" fmla="*/ 3200516 h 4401009"/>
                    <a:gd name="connsiteX576" fmla="*/ 1118915 w 3830903"/>
                    <a:gd name="connsiteY576" fmla="*/ 3190375 h 4401009"/>
                    <a:gd name="connsiteX577" fmla="*/ 1115535 w 3830903"/>
                    <a:gd name="connsiteY577" fmla="*/ 3183614 h 4401009"/>
                    <a:gd name="connsiteX578" fmla="*/ 1122295 w 3830903"/>
                    <a:gd name="connsiteY578" fmla="*/ 3148120 h 4401009"/>
                    <a:gd name="connsiteX579" fmla="*/ 1115535 w 3830903"/>
                    <a:gd name="connsiteY579" fmla="*/ 3136288 h 4401009"/>
                    <a:gd name="connsiteX580" fmla="*/ 1108774 w 3830903"/>
                    <a:gd name="connsiteY580" fmla="*/ 3132908 h 4401009"/>
                    <a:gd name="connsiteX581" fmla="*/ 1095252 w 3830903"/>
                    <a:gd name="connsiteY581" fmla="*/ 3129528 h 4401009"/>
                    <a:gd name="connsiteX582" fmla="*/ 1083421 w 3830903"/>
                    <a:gd name="connsiteY582" fmla="*/ 3126147 h 4401009"/>
                    <a:gd name="connsiteX583" fmla="*/ 1076660 w 3830903"/>
                    <a:gd name="connsiteY583" fmla="*/ 3122767 h 4401009"/>
                    <a:gd name="connsiteX584" fmla="*/ 1076660 w 3830903"/>
                    <a:gd name="connsiteY584" fmla="*/ 3090653 h 4401009"/>
                    <a:gd name="connsiteX585" fmla="*/ 1081731 w 3830903"/>
                    <a:gd name="connsiteY585" fmla="*/ 3087273 h 4401009"/>
                    <a:gd name="connsiteX586" fmla="*/ 1095252 w 3830903"/>
                    <a:gd name="connsiteY586" fmla="*/ 3070371 h 4401009"/>
                    <a:gd name="connsiteX587" fmla="*/ 1117225 w 3830903"/>
                    <a:gd name="connsiteY587" fmla="*/ 3065300 h 4401009"/>
                    <a:gd name="connsiteX588" fmla="*/ 1129056 w 3830903"/>
                    <a:gd name="connsiteY588" fmla="*/ 3061920 h 4401009"/>
                    <a:gd name="connsiteX589" fmla="*/ 1139197 w 3830903"/>
                    <a:gd name="connsiteY589" fmla="*/ 3063610 h 4401009"/>
                    <a:gd name="connsiteX590" fmla="*/ 1156099 w 3830903"/>
                    <a:gd name="connsiteY590" fmla="*/ 3066990 h 4401009"/>
                    <a:gd name="connsiteX591" fmla="*/ 1161170 w 3830903"/>
                    <a:gd name="connsiteY591" fmla="*/ 3061920 h 4401009"/>
                    <a:gd name="connsiteX592" fmla="*/ 1167931 w 3830903"/>
                    <a:gd name="connsiteY592" fmla="*/ 3053469 h 4401009"/>
                    <a:gd name="connsiteX593" fmla="*/ 1173001 w 3830903"/>
                    <a:gd name="connsiteY593" fmla="*/ 3050088 h 4401009"/>
                    <a:gd name="connsiteX594" fmla="*/ 1178072 w 3830903"/>
                    <a:gd name="connsiteY594" fmla="*/ 3036566 h 4401009"/>
                    <a:gd name="connsiteX595" fmla="*/ 1186523 w 3830903"/>
                    <a:gd name="connsiteY595" fmla="*/ 2990931 h 4401009"/>
                    <a:gd name="connsiteX596" fmla="*/ 1167931 w 3830903"/>
                    <a:gd name="connsiteY596" fmla="*/ 2989241 h 4401009"/>
                    <a:gd name="connsiteX597" fmla="*/ 1164550 w 3830903"/>
                    <a:gd name="connsiteY597" fmla="*/ 2977409 h 4401009"/>
                    <a:gd name="connsiteX598" fmla="*/ 1157790 w 3830903"/>
                    <a:gd name="connsiteY598" fmla="*/ 2965578 h 4401009"/>
                    <a:gd name="connsiteX599" fmla="*/ 1147648 w 3830903"/>
                    <a:gd name="connsiteY599" fmla="*/ 2958817 h 4401009"/>
                    <a:gd name="connsiteX600" fmla="*/ 1139197 w 3830903"/>
                    <a:gd name="connsiteY600" fmla="*/ 2955437 h 4401009"/>
                    <a:gd name="connsiteX601" fmla="*/ 1108774 w 3830903"/>
                    <a:gd name="connsiteY601" fmla="*/ 2953747 h 4401009"/>
                    <a:gd name="connsiteX602" fmla="*/ 1100323 w 3830903"/>
                    <a:gd name="connsiteY602" fmla="*/ 2955437 h 4401009"/>
                    <a:gd name="connsiteX603" fmla="*/ 1090182 w 3830903"/>
                    <a:gd name="connsiteY603" fmla="*/ 2965578 h 4401009"/>
                    <a:gd name="connsiteX604" fmla="*/ 1083421 w 3830903"/>
                    <a:gd name="connsiteY604" fmla="*/ 2967268 h 4401009"/>
                    <a:gd name="connsiteX605" fmla="*/ 1085111 w 3830903"/>
                    <a:gd name="connsiteY605" fmla="*/ 2953747 h 4401009"/>
                    <a:gd name="connsiteX606" fmla="*/ 1081731 w 3830903"/>
                    <a:gd name="connsiteY606" fmla="*/ 2946986 h 4401009"/>
                    <a:gd name="connsiteX607" fmla="*/ 1080040 w 3830903"/>
                    <a:gd name="connsiteY607" fmla="*/ 2935154 h 4401009"/>
                    <a:gd name="connsiteX608" fmla="*/ 1063138 w 3830903"/>
                    <a:gd name="connsiteY608" fmla="*/ 2921633 h 4401009"/>
                    <a:gd name="connsiteX609" fmla="*/ 1058068 w 3830903"/>
                    <a:gd name="connsiteY609" fmla="*/ 2916562 h 4401009"/>
                    <a:gd name="connsiteX610" fmla="*/ 1031024 w 3830903"/>
                    <a:gd name="connsiteY610" fmla="*/ 2914872 h 4401009"/>
                    <a:gd name="connsiteX611" fmla="*/ 1025954 w 3830903"/>
                    <a:gd name="connsiteY611" fmla="*/ 2913182 h 4401009"/>
                    <a:gd name="connsiteX612" fmla="*/ 1015813 w 3830903"/>
                    <a:gd name="connsiteY612" fmla="*/ 2906421 h 4401009"/>
                    <a:gd name="connsiteX613" fmla="*/ 1002291 w 3830903"/>
                    <a:gd name="connsiteY613" fmla="*/ 2904731 h 4401009"/>
                    <a:gd name="connsiteX614" fmla="*/ 992150 w 3830903"/>
                    <a:gd name="connsiteY614" fmla="*/ 2896280 h 4401009"/>
                    <a:gd name="connsiteX615" fmla="*/ 988769 w 3830903"/>
                    <a:gd name="connsiteY615" fmla="*/ 2889519 h 4401009"/>
                    <a:gd name="connsiteX616" fmla="*/ 978628 w 3830903"/>
                    <a:gd name="connsiteY616" fmla="*/ 2875997 h 4401009"/>
                    <a:gd name="connsiteX617" fmla="*/ 966797 w 3830903"/>
                    <a:gd name="connsiteY617" fmla="*/ 2854025 h 4401009"/>
                    <a:gd name="connsiteX618" fmla="*/ 954965 w 3830903"/>
                    <a:gd name="connsiteY618" fmla="*/ 2832052 h 4401009"/>
                    <a:gd name="connsiteX619" fmla="*/ 946514 w 3830903"/>
                    <a:gd name="connsiteY619" fmla="*/ 2823601 h 4401009"/>
                    <a:gd name="connsiteX620" fmla="*/ 938063 w 3830903"/>
                    <a:gd name="connsiteY620" fmla="*/ 2821911 h 4401009"/>
                    <a:gd name="connsiteX621" fmla="*/ 932993 w 3830903"/>
                    <a:gd name="connsiteY621" fmla="*/ 2823601 h 4401009"/>
                    <a:gd name="connsiteX622" fmla="*/ 919471 w 3830903"/>
                    <a:gd name="connsiteY622" fmla="*/ 2825291 h 4401009"/>
                    <a:gd name="connsiteX623" fmla="*/ 916091 w 3830903"/>
                    <a:gd name="connsiteY623" fmla="*/ 2791487 h 4401009"/>
                    <a:gd name="connsiteX624" fmla="*/ 921161 w 3830903"/>
                    <a:gd name="connsiteY624" fmla="*/ 2788107 h 4401009"/>
                    <a:gd name="connsiteX625" fmla="*/ 926232 w 3830903"/>
                    <a:gd name="connsiteY625" fmla="*/ 2776275 h 4401009"/>
                    <a:gd name="connsiteX626" fmla="*/ 931302 w 3830903"/>
                    <a:gd name="connsiteY626" fmla="*/ 2771205 h 4401009"/>
                    <a:gd name="connsiteX627" fmla="*/ 917781 w 3830903"/>
                    <a:gd name="connsiteY627" fmla="*/ 2742471 h 4401009"/>
                    <a:gd name="connsiteX628" fmla="*/ 911020 w 3830903"/>
                    <a:gd name="connsiteY628" fmla="*/ 2739091 h 4401009"/>
                    <a:gd name="connsiteX629" fmla="*/ 907640 w 3830903"/>
                    <a:gd name="connsiteY629" fmla="*/ 2735710 h 4401009"/>
                    <a:gd name="connsiteX630" fmla="*/ 907640 w 3830903"/>
                    <a:gd name="connsiteY630" fmla="*/ 2713738 h 4401009"/>
                    <a:gd name="connsiteX631" fmla="*/ 902569 w 3830903"/>
                    <a:gd name="connsiteY631" fmla="*/ 2703596 h 4401009"/>
                    <a:gd name="connsiteX632" fmla="*/ 899189 w 3830903"/>
                    <a:gd name="connsiteY632" fmla="*/ 2696836 h 4401009"/>
                    <a:gd name="connsiteX633" fmla="*/ 895808 w 3830903"/>
                    <a:gd name="connsiteY633" fmla="*/ 2691765 h 4401009"/>
                    <a:gd name="connsiteX634" fmla="*/ 889047 w 3830903"/>
                    <a:gd name="connsiteY634" fmla="*/ 2678243 h 4401009"/>
                    <a:gd name="connsiteX635" fmla="*/ 883977 w 3830903"/>
                    <a:gd name="connsiteY635" fmla="*/ 2674863 h 4401009"/>
                    <a:gd name="connsiteX636" fmla="*/ 878906 w 3830903"/>
                    <a:gd name="connsiteY636" fmla="*/ 2678243 h 4401009"/>
                    <a:gd name="connsiteX637" fmla="*/ 868765 w 3830903"/>
                    <a:gd name="connsiteY637" fmla="*/ 2679934 h 4401009"/>
                    <a:gd name="connsiteX638" fmla="*/ 860314 w 3830903"/>
                    <a:gd name="connsiteY638" fmla="*/ 2668102 h 4401009"/>
                    <a:gd name="connsiteX639" fmla="*/ 821439 w 3830903"/>
                    <a:gd name="connsiteY639" fmla="*/ 2654581 h 4401009"/>
                    <a:gd name="connsiteX640" fmla="*/ 806227 w 3830903"/>
                    <a:gd name="connsiteY640" fmla="*/ 2656271 h 4401009"/>
                    <a:gd name="connsiteX641" fmla="*/ 796086 w 3830903"/>
                    <a:gd name="connsiteY641" fmla="*/ 2657961 h 4401009"/>
                    <a:gd name="connsiteX642" fmla="*/ 787635 w 3830903"/>
                    <a:gd name="connsiteY642" fmla="*/ 2668102 h 4401009"/>
                    <a:gd name="connsiteX643" fmla="*/ 785945 w 3830903"/>
                    <a:gd name="connsiteY643" fmla="*/ 2676553 h 4401009"/>
                    <a:gd name="connsiteX644" fmla="*/ 784255 w 3830903"/>
                    <a:gd name="connsiteY644" fmla="*/ 2681624 h 4401009"/>
                    <a:gd name="connsiteX645" fmla="*/ 777494 w 3830903"/>
                    <a:gd name="connsiteY645" fmla="*/ 2690075 h 4401009"/>
                    <a:gd name="connsiteX646" fmla="*/ 774114 w 3830903"/>
                    <a:gd name="connsiteY646" fmla="*/ 2695145 h 4401009"/>
                    <a:gd name="connsiteX647" fmla="*/ 770733 w 3830903"/>
                    <a:gd name="connsiteY647" fmla="*/ 2698526 h 4401009"/>
                    <a:gd name="connsiteX648" fmla="*/ 752141 w 3830903"/>
                    <a:gd name="connsiteY648" fmla="*/ 2701906 h 4401009"/>
                    <a:gd name="connsiteX649" fmla="*/ 745380 w 3830903"/>
                    <a:gd name="connsiteY649" fmla="*/ 2695145 h 4401009"/>
                    <a:gd name="connsiteX650" fmla="*/ 743690 w 3830903"/>
                    <a:gd name="connsiteY650" fmla="*/ 2671483 h 4401009"/>
                    <a:gd name="connsiteX651" fmla="*/ 730168 w 3830903"/>
                    <a:gd name="connsiteY651" fmla="*/ 2664722 h 4401009"/>
                    <a:gd name="connsiteX652" fmla="*/ 728478 w 3830903"/>
                    <a:gd name="connsiteY652" fmla="*/ 2669792 h 4401009"/>
                    <a:gd name="connsiteX653" fmla="*/ 721717 w 3830903"/>
                    <a:gd name="connsiteY653" fmla="*/ 2673173 h 4401009"/>
                    <a:gd name="connsiteX654" fmla="*/ 725098 w 3830903"/>
                    <a:gd name="connsiteY654" fmla="*/ 2668102 h 4401009"/>
                    <a:gd name="connsiteX655" fmla="*/ 718337 w 3830903"/>
                    <a:gd name="connsiteY655" fmla="*/ 2661341 h 4401009"/>
                    <a:gd name="connsiteX656" fmla="*/ 703125 w 3830903"/>
                    <a:gd name="connsiteY656" fmla="*/ 2659651 h 4401009"/>
                    <a:gd name="connsiteX657" fmla="*/ 699745 w 3830903"/>
                    <a:gd name="connsiteY657" fmla="*/ 2663032 h 4401009"/>
                    <a:gd name="connsiteX658" fmla="*/ 694674 w 3830903"/>
                    <a:gd name="connsiteY658" fmla="*/ 2666412 h 4401009"/>
                    <a:gd name="connsiteX659" fmla="*/ 674392 w 3830903"/>
                    <a:gd name="connsiteY659" fmla="*/ 2657961 h 4401009"/>
                    <a:gd name="connsiteX660" fmla="*/ 669321 w 3830903"/>
                    <a:gd name="connsiteY660" fmla="*/ 2669792 h 4401009"/>
                    <a:gd name="connsiteX661" fmla="*/ 667631 w 3830903"/>
                    <a:gd name="connsiteY661" fmla="*/ 2674863 h 4401009"/>
                    <a:gd name="connsiteX662" fmla="*/ 662560 w 3830903"/>
                    <a:gd name="connsiteY662" fmla="*/ 2671483 h 4401009"/>
                    <a:gd name="connsiteX663" fmla="*/ 655799 w 3830903"/>
                    <a:gd name="connsiteY663" fmla="*/ 2664722 h 4401009"/>
                    <a:gd name="connsiteX664" fmla="*/ 642278 w 3830903"/>
                    <a:gd name="connsiteY664" fmla="*/ 2661341 h 4401009"/>
                    <a:gd name="connsiteX665" fmla="*/ 635517 w 3830903"/>
                    <a:gd name="connsiteY665" fmla="*/ 2663032 h 4401009"/>
                    <a:gd name="connsiteX666" fmla="*/ 633827 w 3830903"/>
                    <a:gd name="connsiteY666" fmla="*/ 2668102 h 4401009"/>
                    <a:gd name="connsiteX667" fmla="*/ 628756 w 3830903"/>
                    <a:gd name="connsiteY667" fmla="*/ 2674863 h 4401009"/>
                    <a:gd name="connsiteX668" fmla="*/ 623685 w 3830903"/>
                    <a:gd name="connsiteY668" fmla="*/ 2673173 h 4401009"/>
                    <a:gd name="connsiteX669" fmla="*/ 616925 w 3830903"/>
                    <a:gd name="connsiteY669" fmla="*/ 2659651 h 4401009"/>
                    <a:gd name="connsiteX670" fmla="*/ 610164 w 3830903"/>
                    <a:gd name="connsiteY670" fmla="*/ 2642749 h 4401009"/>
                    <a:gd name="connsiteX671" fmla="*/ 601713 w 3830903"/>
                    <a:gd name="connsiteY671" fmla="*/ 2632608 h 4401009"/>
                    <a:gd name="connsiteX672" fmla="*/ 596642 w 3830903"/>
                    <a:gd name="connsiteY672" fmla="*/ 2629227 h 4401009"/>
                    <a:gd name="connsiteX673" fmla="*/ 591572 w 3830903"/>
                    <a:gd name="connsiteY673" fmla="*/ 2622467 h 4401009"/>
                    <a:gd name="connsiteX674" fmla="*/ 586501 w 3830903"/>
                    <a:gd name="connsiteY674" fmla="*/ 2617396 h 4401009"/>
                    <a:gd name="connsiteX675" fmla="*/ 581430 w 3830903"/>
                    <a:gd name="connsiteY675" fmla="*/ 2598804 h 4401009"/>
                    <a:gd name="connsiteX676" fmla="*/ 583121 w 3830903"/>
                    <a:gd name="connsiteY676" fmla="*/ 2583592 h 4401009"/>
                    <a:gd name="connsiteX677" fmla="*/ 562838 w 3830903"/>
                    <a:gd name="connsiteY677" fmla="*/ 2581902 h 4401009"/>
                    <a:gd name="connsiteX678" fmla="*/ 557767 w 3830903"/>
                    <a:gd name="connsiteY678" fmla="*/ 2580212 h 4401009"/>
                    <a:gd name="connsiteX679" fmla="*/ 552697 w 3830903"/>
                    <a:gd name="connsiteY679" fmla="*/ 2553168 h 4401009"/>
                    <a:gd name="connsiteX680" fmla="*/ 544246 w 3830903"/>
                    <a:gd name="connsiteY680" fmla="*/ 2546408 h 4401009"/>
                    <a:gd name="connsiteX681" fmla="*/ 537485 w 3830903"/>
                    <a:gd name="connsiteY681" fmla="*/ 2544717 h 4401009"/>
                    <a:gd name="connsiteX682" fmla="*/ 535795 w 3830903"/>
                    <a:gd name="connsiteY682" fmla="*/ 2537956 h 4401009"/>
                    <a:gd name="connsiteX683" fmla="*/ 534105 w 3830903"/>
                    <a:gd name="connsiteY683" fmla="*/ 2532886 h 4401009"/>
                    <a:gd name="connsiteX684" fmla="*/ 529034 w 3830903"/>
                    <a:gd name="connsiteY684" fmla="*/ 2527815 h 4401009"/>
                    <a:gd name="connsiteX685" fmla="*/ 523963 w 3830903"/>
                    <a:gd name="connsiteY685" fmla="*/ 2475419 h 4401009"/>
                    <a:gd name="connsiteX686" fmla="*/ 513822 w 3830903"/>
                    <a:gd name="connsiteY686" fmla="*/ 2468658 h 4401009"/>
                    <a:gd name="connsiteX687" fmla="*/ 505371 w 3830903"/>
                    <a:gd name="connsiteY687" fmla="*/ 2463588 h 4401009"/>
                    <a:gd name="connsiteX688" fmla="*/ 495230 w 3830903"/>
                    <a:gd name="connsiteY688" fmla="*/ 2456827 h 4401009"/>
                    <a:gd name="connsiteX689" fmla="*/ 493540 w 3830903"/>
                    <a:gd name="connsiteY689" fmla="*/ 2451756 h 4401009"/>
                    <a:gd name="connsiteX690" fmla="*/ 490159 w 3830903"/>
                    <a:gd name="connsiteY690" fmla="*/ 2446686 h 4401009"/>
                    <a:gd name="connsiteX691" fmla="*/ 478328 w 3830903"/>
                    <a:gd name="connsiteY691" fmla="*/ 2444995 h 4401009"/>
                    <a:gd name="connsiteX692" fmla="*/ 474948 w 3830903"/>
                    <a:gd name="connsiteY692" fmla="*/ 2439925 h 4401009"/>
                    <a:gd name="connsiteX693" fmla="*/ 466497 w 3830903"/>
                    <a:gd name="connsiteY693" fmla="*/ 2417952 h 4401009"/>
                    <a:gd name="connsiteX694" fmla="*/ 469877 w 3830903"/>
                    <a:gd name="connsiteY694" fmla="*/ 2407811 h 4401009"/>
                    <a:gd name="connsiteX695" fmla="*/ 473257 w 3830903"/>
                    <a:gd name="connsiteY695" fmla="*/ 2389219 h 4401009"/>
                    <a:gd name="connsiteX696" fmla="*/ 478328 w 3830903"/>
                    <a:gd name="connsiteY696" fmla="*/ 2384148 h 4401009"/>
                    <a:gd name="connsiteX697" fmla="*/ 485089 w 3830903"/>
                    <a:gd name="connsiteY697" fmla="*/ 2380768 h 4401009"/>
                    <a:gd name="connsiteX698" fmla="*/ 495230 w 3830903"/>
                    <a:gd name="connsiteY698" fmla="*/ 2377387 h 4401009"/>
                    <a:gd name="connsiteX699" fmla="*/ 493540 w 3830903"/>
                    <a:gd name="connsiteY699" fmla="*/ 2370626 h 4401009"/>
                    <a:gd name="connsiteX700" fmla="*/ 490159 w 3830903"/>
                    <a:gd name="connsiteY700" fmla="*/ 2367246 h 4401009"/>
                    <a:gd name="connsiteX701" fmla="*/ 481708 w 3830903"/>
                    <a:gd name="connsiteY701" fmla="*/ 2362175 h 4401009"/>
                    <a:gd name="connsiteX702" fmla="*/ 478328 w 3830903"/>
                    <a:gd name="connsiteY702" fmla="*/ 2355415 h 4401009"/>
                    <a:gd name="connsiteX703" fmla="*/ 473257 w 3830903"/>
                    <a:gd name="connsiteY703" fmla="*/ 2350344 h 4401009"/>
                    <a:gd name="connsiteX704" fmla="*/ 468187 w 3830903"/>
                    <a:gd name="connsiteY704" fmla="*/ 2341893 h 4401009"/>
                    <a:gd name="connsiteX705" fmla="*/ 461426 w 3830903"/>
                    <a:gd name="connsiteY705" fmla="*/ 2333442 h 4401009"/>
                    <a:gd name="connsiteX706" fmla="*/ 458045 w 3830903"/>
                    <a:gd name="connsiteY706" fmla="*/ 2328371 h 4401009"/>
                    <a:gd name="connsiteX707" fmla="*/ 451285 w 3830903"/>
                    <a:gd name="connsiteY707" fmla="*/ 2324991 h 4401009"/>
                    <a:gd name="connsiteX708" fmla="*/ 446214 w 3830903"/>
                    <a:gd name="connsiteY708" fmla="*/ 2321610 h 4401009"/>
                    <a:gd name="connsiteX709" fmla="*/ 441143 w 3830903"/>
                    <a:gd name="connsiteY709" fmla="*/ 2319920 h 4401009"/>
                    <a:gd name="connsiteX710" fmla="*/ 439453 w 3830903"/>
                    <a:gd name="connsiteY710" fmla="*/ 2287806 h 4401009"/>
                    <a:gd name="connsiteX711" fmla="*/ 436073 w 3830903"/>
                    <a:gd name="connsiteY711" fmla="*/ 2270904 h 4401009"/>
                    <a:gd name="connsiteX712" fmla="*/ 432692 w 3830903"/>
                    <a:gd name="connsiteY712" fmla="*/ 2265834 h 4401009"/>
                    <a:gd name="connsiteX713" fmla="*/ 429312 w 3830903"/>
                    <a:gd name="connsiteY713" fmla="*/ 2245551 h 4401009"/>
                    <a:gd name="connsiteX714" fmla="*/ 427622 w 3830903"/>
                    <a:gd name="connsiteY714" fmla="*/ 2238791 h 4401009"/>
                    <a:gd name="connsiteX715" fmla="*/ 419171 w 3830903"/>
                    <a:gd name="connsiteY715" fmla="*/ 2237100 h 4401009"/>
                    <a:gd name="connsiteX716" fmla="*/ 415790 w 3830903"/>
                    <a:gd name="connsiteY716" fmla="*/ 2232030 h 4401009"/>
                    <a:gd name="connsiteX717" fmla="*/ 414100 w 3830903"/>
                    <a:gd name="connsiteY717" fmla="*/ 2196535 h 4401009"/>
                    <a:gd name="connsiteX718" fmla="*/ 420861 w 3830903"/>
                    <a:gd name="connsiteY718" fmla="*/ 2189775 h 4401009"/>
                    <a:gd name="connsiteX719" fmla="*/ 427622 w 3830903"/>
                    <a:gd name="connsiteY719" fmla="*/ 2179633 h 4401009"/>
                    <a:gd name="connsiteX720" fmla="*/ 441143 w 3830903"/>
                    <a:gd name="connsiteY720" fmla="*/ 2169492 h 4401009"/>
                    <a:gd name="connsiteX721" fmla="*/ 444524 w 3830903"/>
                    <a:gd name="connsiteY721" fmla="*/ 2154280 h 4401009"/>
                    <a:gd name="connsiteX722" fmla="*/ 441143 w 3830903"/>
                    <a:gd name="connsiteY722" fmla="*/ 2137378 h 4401009"/>
                    <a:gd name="connsiteX723" fmla="*/ 442834 w 3830903"/>
                    <a:gd name="connsiteY723" fmla="*/ 2125547 h 4401009"/>
                    <a:gd name="connsiteX724" fmla="*/ 446214 w 3830903"/>
                    <a:gd name="connsiteY724" fmla="*/ 2120476 h 4401009"/>
                    <a:gd name="connsiteX725" fmla="*/ 447904 w 3830903"/>
                    <a:gd name="connsiteY725" fmla="*/ 2115406 h 4401009"/>
                    <a:gd name="connsiteX726" fmla="*/ 456355 w 3830903"/>
                    <a:gd name="connsiteY726" fmla="*/ 2110335 h 4401009"/>
                    <a:gd name="connsiteX727" fmla="*/ 465341 w 3830903"/>
                    <a:gd name="connsiteY727" fmla="*/ 2099673 h 4401009"/>
                    <a:gd name="connsiteX728" fmla="*/ 456355 w 3830903"/>
                    <a:gd name="connsiteY728" fmla="*/ 2086672 h 4401009"/>
                    <a:gd name="connsiteX729" fmla="*/ 451285 w 3830903"/>
                    <a:gd name="connsiteY729" fmla="*/ 2083292 h 4401009"/>
                    <a:gd name="connsiteX730" fmla="*/ 439453 w 3830903"/>
                    <a:gd name="connsiteY730" fmla="*/ 2079911 h 4401009"/>
                    <a:gd name="connsiteX731" fmla="*/ 434383 w 3830903"/>
                    <a:gd name="connsiteY731" fmla="*/ 2078221 h 4401009"/>
                    <a:gd name="connsiteX732" fmla="*/ 429312 w 3830903"/>
                    <a:gd name="connsiteY732" fmla="*/ 2066390 h 4401009"/>
                    <a:gd name="connsiteX733" fmla="*/ 431002 w 3830903"/>
                    <a:gd name="connsiteY733" fmla="*/ 2046107 h 4401009"/>
                    <a:gd name="connsiteX734" fmla="*/ 429312 w 3830903"/>
                    <a:gd name="connsiteY734" fmla="*/ 2034276 h 4401009"/>
                    <a:gd name="connsiteX735" fmla="*/ 425932 w 3830903"/>
                    <a:gd name="connsiteY735" fmla="*/ 2027515 h 4401009"/>
                    <a:gd name="connsiteX736" fmla="*/ 424241 w 3830903"/>
                    <a:gd name="connsiteY736" fmla="*/ 2022444 h 4401009"/>
                    <a:gd name="connsiteX737" fmla="*/ 441143 w 3830903"/>
                    <a:gd name="connsiteY737" fmla="*/ 2020754 h 4401009"/>
                    <a:gd name="connsiteX738" fmla="*/ 444524 w 3830903"/>
                    <a:gd name="connsiteY738" fmla="*/ 2024135 h 4401009"/>
                    <a:gd name="connsiteX739" fmla="*/ 464806 w 3830903"/>
                    <a:gd name="connsiteY739" fmla="*/ 2025825 h 4401009"/>
                    <a:gd name="connsiteX740" fmla="*/ 466497 w 3830903"/>
                    <a:gd name="connsiteY740" fmla="*/ 2017374 h 4401009"/>
                    <a:gd name="connsiteX741" fmla="*/ 459736 w 3830903"/>
                    <a:gd name="connsiteY741" fmla="*/ 2013993 h 4401009"/>
                    <a:gd name="connsiteX742" fmla="*/ 456355 w 3830903"/>
                    <a:gd name="connsiteY742" fmla="*/ 2007233 h 4401009"/>
                    <a:gd name="connsiteX743" fmla="*/ 464806 w 3830903"/>
                    <a:gd name="connsiteY743" fmla="*/ 2005542 h 4401009"/>
                    <a:gd name="connsiteX744" fmla="*/ 500301 w 3830903"/>
                    <a:gd name="connsiteY744" fmla="*/ 2002162 h 4401009"/>
                    <a:gd name="connsiteX745" fmla="*/ 501991 w 3830903"/>
                    <a:gd name="connsiteY745" fmla="*/ 1992021 h 4401009"/>
                    <a:gd name="connsiteX746" fmla="*/ 512132 w 3830903"/>
                    <a:gd name="connsiteY746" fmla="*/ 1978499 h 4401009"/>
                    <a:gd name="connsiteX747" fmla="*/ 510442 w 3830903"/>
                    <a:gd name="connsiteY747" fmla="*/ 1968358 h 4401009"/>
                    <a:gd name="connsiteX748" fmla="*/ 523963 w 3830903"/>
                    <a:gd name="connsiteY748" fmla="*/ 1968358 h 4401009"/>
                    <a:gd name="connsiteX749" fmla="*/ 567909 w 3830903"/>
                    <a:gd name="connsiteY749" fmla="*/ 1970048 h 4401009"/>
                    <a:gd name="connsiteX750" fmla="*/ 593262 w 3830903"/>
                    <a:gd name="connsiteY750" fmla="*/ 1966668 h 4401009"/>
                    <a:gd name="connsiteX751" fmla="*/ 601713 w 3830903"/>
                    <a:gd name="connsiteY751" fmla="*/ 1963287 h 4401009"/>
                    <a:gd name="connsiteX752" fmla="*/ 600023 w 3830903"/>
                    <a:gd name="connsiteY752" fmla="*/ 1958217 h 4401009"/>
                    <a:gd name="connsiteX753" fmla="*/ 571289 w 3830903"/>
                    <a:gd name="connsiteY753" fmla="*/ 1956527 h 4401009"/>
                    <a:gd name="connsiteX754" fmla="*/ 571289 w 3830903"/>
                    <a:gd name="connsiteY754" fmla="*/ 1946385 h 4401009"/>
                    <a:gd name="connsiteX755" fmla="*/ 586501 w 3830903"/>
                    <a:gd name="connsiteY755" fmla="*/ 1944695 h 4401009"/>
                    <a:gd name="connsiteX756" fmla="*/ 581430 w 3830903"/>
                    <a:gd name="connsiteY756" fmla="*/ 1941315 h 4401009"/>
                    <a:gd name="connsiteX757" fmla="*/ 574670 w 3830903"/>
                    <a:gd name="connsiteY757" fmla="*/ 1924413 h 4401009"/>
                    <a:gd name="connsiteX758" fmla="*/ 532414 w 3830903"/>
                    <a:gd name="connsiteY758" fmla="*/ 1922722 h 4401009"/>
                    <a:gd name="connsiteX759" fmla="*/ 518893 w 3830903"/>
                    <a:gd name="connsiteY759" fmla="*/ 1926103 h 4401009"/>
                    <a:gd name="connsiteX760" fmla="*/ 508752 w 3830903"/>
                    <a:gd name="connsiteY760" fmla="*/ 1939625 h 4401009"/>
                    <a:gd name="connsiteX761" fmla="*/ 505371 w 3830903"/>
                    <a:gd name="connsiteY761" fmla="*/ 1943005 h 4401009"/>
                    <a:gd name="connsiteX762" fmla="*/ 496920 w 3830903"/>
                    <a:gd name="connsiteY762" fmla="*/ 1944695 h 4401009"/>
                    <a:gd name="connsiteX763" fmla="*/ 491850 w 3830903"/>
                    <a:gd name="connsiteY763" fmla="*/ 1943005 h 4401009"/>
                    <a:gd name="connsiteX764" fmla="*/ 481708 w 3830903"/>
                    <a:gd name="connsiteY764" fmla="*/ 1939625 h 4401009"/>
                    <a:gd name="connsiteX765" fmla="*/ 476638 w 3830903"/>
                    <a:gd name="connsiteY765" fmla="*/ 1934554 h 4401009"/>
                    <a:gd name="connsiteX766" fmla="*/ 468187 w 3830903"/>
                    <a:gd name="connsiteY766" fmla="*/ 1926103 h 4401009"/>
                    <a:gd name="connsiteX767" fmla="*/ 456355 w 3830903"/>
                    <a:gd name="connsiteY767" fmla="*/ 1909201 h 4401009"/>
                    <a:gd name="connsiteX768" fmla="*/ 444524 w 3830903"/>
                    <a:gd name="connsiteY768" fmla="*/ 1900750 h 4401009"/>
                    <a:gd name="connsiteX769" fmla="*/ 441143 w 3830903"/>
                    <a:gd name="connsiteY769" fmla="*/ 1861875 h 4401009"/>
                    <a:gd name="connsiteX770" fmla="*/ 439453 w 3830903"/>
                    <a:gd name="connsiteY770" fmla="*/ 1855114 h 4401009"/>
                    <a:gd name="connsiteX771" fmla="*/ 432692 w 3830903"/>
                    <a:gd name="connsiteY771" fmla="*/ 1853424 h 4401009"/>
                    <a:gd name="connsiteX772" fmla="*/ 427622 w 3830903"/>
                    <a:gd name="connsiteY772" fmla="*/ 1856805 h 4401009"/>
                    <a:gd name="connsiteX773" fmla="*/ 415790 w 3830903"/>
                    <a:gd name="connsiteY773" fmla="*/ 1870326 h 4401009"/>
                    <a:gd name="connsiteX774" fmla="*/ 407339 w 3830903"/>
                    <a:gd name="connsiteY774" fmla="*/ 1883848 h 4401009"/>
                    <a:gd name="connsiteX775" fmla="*/ 398888 w 3830903"/>
                    <a:gd name="connsiteY775" fmla="*/ 1888918 h 4401009"/>
                    <a:gd name="connsiteX776" fmla="*/ 390437 w 3830903"/>
                    <a:gd name="connsiteY776" fmla="*/ 1895679 h 4401009"/>
                    <a:gd name="connsiteX777" fmla="*/ 387057 w 3830903"/>
                    <a:gd name="connsiteY777" fmla="*/ 1900750 h 4401009"/>
                    <a:gd name="connsiteX778" fmla="*/ 378606 w 3830903"/>
                    <a:gd name="connsiteY778" fmla="*/ 1902440 h 4401009"/>
                    <a:gd name="connsiteX779" fmla="*/ 368465 w 3830903"/>
                    <a:gd name="connsiteY779" fmla="*/ 1905820 h 4401009"/>
                    <a:gd name="connsiteX780" fmla="*/ 358323 w 3830903"/>
                    <a:gd name="connsiteY780" fmla="*/ 1904130 h 4401009"/>
                    <a:gd name="connsiteX781" fmla="*/ 361704 w 3830903"/>
                    <a:gd name="connsiteY781" fmla="*/ 1895679 h 4401009"/>
                    <a:gd name="connsiteX782" fmla="*/ 380296 w 3830903"/>
                    <a:gd name="connsiteY782" fmla="*/ 1873707 h 4401009"/>
                    <a:gd name="connsiteX783" fmla="*/ 387057 w 3830903"/>
                    <a:gd name="connsiteY783" fmla="*/ 1861875 h 4401009"/>
                    <a:gd name="connsiteX784" fmla="*/ 388747 w 3830903"/>
                    <a:gd name="connsiteY784" fmla="*/ 1856805 h 4401009"/>
                    <a:gd name="connsiteX785" fmla="*/ 393818 w 3830903"/>
                    <a:gd name="connsiteY785" fmla="*/ 1841593 h 4401009"/>
                    <a:gd name="connsiteX786" fmla="*/ 397198 w 3830903"/>
                    <a:gd name="connsiteY786" fmla="*/ 1836522 h 4401009"/>
                    <a:gd name="connsiteX787" fmla="*/ 400579 w 3830903"/>
                    <a:gd name="connsiteY787" fmla="*/ 1817930 h 4401009"/>
                    <a:gd name="connsiteX788" fmla="*/ 407339 w 3830903"/>
                    <a:gd name="connsiteY788" fmla="*/ 1807789 h 4401009"/>
                    <a:gd name="connsiteX789" fmla="*/ 414100 w 3830903"/>
                    <a:gd name="connsiteY789" fmla="*/ 1792577 h 4401009"/>
                    <a:gd name="connsiteX790" fmla="*/ 429312 w 3830903"/>
                    <a:gd name="connsiteY790" fmla="*/ 1773985 h 4401009"/>
                    <a:gd name="connsiteX791" fmla="*/ 459736 w 3830903"/>
                    <a:gd name="connsiteY791" fmla="*/ 1687784 h 4401009"/>
                    <a:gd name="connsiteX792" fmla="*/ 476638 w 3830903"/>
                    <a:gd name="connsiteY792" fmla="*/ 1645529 h 4401009"/>
                    <a:gd name="connsiteX793" fmla="*/ 485089 w 3830903"/>
                    <a:gd name="connsiteY793" fmla="*/ 1625247 h 4401009"/>
                    <a:gd name="connsiteX794" fmla="*/ 488469 w 3830903"/>
                    <a:gd name="connsiteY794" fmla="*/ 1611725 h 4401009"/>
                    <a:gd name="connsiteX795" fmla="*/ 493540 w 3830903"/>
                    <a:gd name="connsiteY795" fmla="*/ 1606654 h 4401009"/>
                    <a:gd name="connsiteX796" fmla="*/ 539175 w 3830903"/>
                    <a:gd name="connsiteY796" fmla="*/ 1498481 h 4401009"/>
                    <a:gd name="connsiteX797" fmla="*/ 545936 w 3830903"/>
                    <a:gd name="connsiteY797" fmla="*/ 1457916 h 4401009"/>
                    <a:gd name="connsiteX798" fmla="*/ 534105 w 3830903"/>
                    <a:gd name="connsiteY798" fmla="*/ 1424113 h 4401009"/>
                    <a:gd name="connsiteX799" fmla="*/ 520583 w 3830903"/>
                    <a:gd name="connsiteY799" fmla="*/ 1408901 h 4401009"/>
                    <a:gd name="connsiteX800" fmla="*/ 501991 w 3830903"/>
                    <a:gd name="connsiteY800" fmla="*/ 1402140 h 4401009"/>
                    <a:gd name="connsiteX801" fmla="*/ 495230 w 3830903"/>
                    <a:gd name="connsiteY801" fmla="*/ 1400450 h 4401009"/>
                    <a:gd name="connsiteX802" fmla="*/ 478328 w 3830903"/>
                    <a:gd name="connsiteY802" fmla="*/ 1393689 h 4401009"/>
                    <a:gd name="connsiteX803" fmla="*/ 464806 w 3830903"/>
                    <a:gd name="connsiteY803" fmla="*/ 1378477 h 4401009"/>
                    <a:gd name="connsiteX804" fmla="*/ 476638 w 3830903"/>
                    <a:gd name="connsiteY804" fmla="*/ 1351434 h 4401009"/>
                    <a:gd name="connsiteX805" fmla="*/ 458045 w 3830903"/>
                    <a:gd name="connsiteY805" fmla="*/ 1349744 h 4401009"/>
                    <a:gd name="connsiteX806" fmla="*/ 452975 w 3830903"/>
                    <a:gd name="connsiteY806" fmla="*/ 1348053 h 4401009"/>
                    <a:gd name="connsiteX807" fmla="*/ 444524 w 3830903"/>
                    <a:gd name="connsiteY807" fmla="*/ 1346363 h 4401009"/>
                    <a:gd name="connsiteX808" fmla="*/ 434383 w 3830903"/>
                    <a:gd name="connsiteY808" fmla="*/ 1336222 h 4401009"/>
                    <a:gd name="connsiteX809" fmla="*/ 422551 w 3830903"/>
                    <a:gd name="connsiteY809" fmla="*/ 1334532 h 4401009"/>
                    <a:gd name="connsiteX810" fmla="*/ 417481 w 3830903"/>
                    <a:gd name="connsiteY810" fmla="*/ 1332842 h 4401009"/>
                    <a:gd name="connsiteX811" fmla="*/ 415790 w 3830903"/>
                    <a:gd name="connsiteY811" fmla="*/ 1326081 h 4401009"/>
                    <a:gd name="connsiteX812" fmla="*/ 410720 w 3830903"/>
                    <a:gd name="connsiteY812" fmla="*/ 1321010 h 4401009"/>
                    <a:gd name="connsiteX813" fmla="*/ 400579 w 3830903"/>
                    <a:gd name="connsiteY813" fmla="*/ 1314249 h 4401009"/>
                    <a:gd name="connsiteX814" fmla="*/ 395508 w 3830903"/>
                    <a:gd name="connsiteY814" fmla="*/ 1312559 h 4401009"/>
                    <a:gd name="connsiteX815" fmla="*/ 390437 w 3830903"/>
                    <a:gd name="connsiteY815" fmla="*/ 1295657 h 4401009"/>
                    <a:gd name="connsiteX816" fmla="*/ 392128 w 3830903"/>
                    <a:gd name="connsiteY816" fmla="*/ 1288896 h 4401009"/>
                    <a:gd name="connsiteX817" fmla="*/ 397198 w 3830903"/>
                    <a:gd name="connsiteY817" fmla="*/ 1280445 h 4401009"/>
                    <a:gd name="connsiteX818" fmla="*/ 405649 w 3830903"/>
                    <a:gd name="connsiteY818" fmla="*/ 1224669 h 4401009"/>
                    <a:gd name="connsiteX819" fmla="*/ 402269 w 3830903"/>
                    <a:gd name="connsiteY819" fmla="*/ 1217908 h 4401009"/>
                    <a:gd name="connsiteX820" fmla="*/ 397198 w 3830903"/>
                    <a:gd name="connsiteY820" fmla="*/ 1216217 h 4401009"/>
                    <a:gd name="connsiteX821" fmla="*/ 395508 w 3830903"/>
                    <a:gd name="connsiteY821" fmla="*/ 1211147 h 4401009"/>
                    <a:gd name="connsiteX822" fmla="*/ 392128 w 3830903"/>
                    <a:gd name="connsiteY822" fmla="*/ 1206076 h 4401009"/>
                    <a:gd name="connsiteX823" fmla="*/ 387057 w 3830903"/>
                    <a:gd name="connsiteY823" fmla="*/ 1202696 h 4401009"/>
                    <a:gd name="connsiteX824" fmla="*/ 380296 w 3830903"/>
                    <a:gd name="connsiteY824" fmla="*/ 1195935 h 4401009"/>
                    <a:gd name="connsiteX825" fmla="*/ 375226 w 3830903"/>
                    <a:gd name="connsiteY825" fmla="*/ 1192555 h 4401009"/>
                    <a:gd name="connsiteX826" fmla="*/ 353253 w 3830903"/>
                    <a:gd name="connsiteY826" fmla="*/ 1185794 h 4401009"/>
                    <a:gd name="connsiteX827" fmla="*/ 348182 w 3830903"/>
                    <a:gd name="connsiteY827" fmla="*/ 1173962 h 4401009"/>
                    <a:gd name="connsiteX828" fmla="*/ 344802 w 3830903"/>
                    <a:gd name="connsiteY828" fmla="*/ 1168892 h 4401009"/>
                    <a:gd name="connsiteX829" fmla="*/ 339731 w 3830903"/>
                    <a:gd name="connsiteY829" fmla="*/ 1153680 h 4401009"/>
                    <a:gd name="connsiteX830" fmla="*/ 336351 w 3830903"/>
                    <a:gd name="connsiteY830" fmla="*/ 1123256 h 4401009"/>
                    <a:gd name="connsiteX831" fmla="*/ 297476 w 3830903"/>
                    <a:gd name="connsiteY831" fmla="*/ 1121566 h 4401009"/>
                    <a:gd name="connsiteX832" fmla="*/ 287335 w 3830903"/>
                    <a:gd name="connsiteY832" fmla="*/ 1113115 h 4401009"/>
                    <a:gd name="connsiteX833" fmla="*/ 285645 w 3830903"/>
                    <a:gd name="connsiteY833" fmla="*/ 1092833 h 4401009"/>
                    <a:gd name="connsiteX834" fmla="*/ 287335 w 3830903"/>
                    <a:gd name="connsiteY834" fmla="*/ 1082691 h 4401009"/>
                    <a:gd name="connsiteX835" fmla="*/ 299166 w 3830903"/>
                    <a:gd name="connsiteY835" fmla="*/ 1057338 h 4401009"/>
                    <a:gd name="connsiteX836" fmla="*/ 287335 w 3830903"/>
                    <a:gd name="connsiteY836" fmla="*/ 1052268 h 4401009"/>
                    <a:gd name="connsiteX837" fmla="*/ 270433 w 3830903"/>
                    <a:gd name="connsiteY837" fmla="*/ 1047197 h 4401009"/>
                    <a:gd name="connsiteX838" fmla="*/ 272123 w 3830903"/>
                    <a:gd name="connsiteY838" fmla="*/ 1013393 h 4401009"/>
                    <a:gd name="connsiteX839" fmla="*/ 273813 w 3830903"/>
                    <a:gd name="connsiteY839" fmla="*/ 991420 h 4401009"/>
                    <a:gd name="connsiteX840" fmla="*/ 272123 w 3830903"/>
                    <a:gd name="connsiteY840" fmla="*/ 974518 h 4401009"/>
                    <a:gd name="connsiteX841" fmla="*/ 270433 w 3830903"/>
                    <a:gd name="connsiteY841" fmla="*/ 967758 h 4401009"/>
                    <a:gd name="connsiteX842" fmla="*/ 273813 w 3830903"/>
                    <a:gd name="connsiteY842" fmla="*/ 955926 h 4401009"/>
                    <a:gd name="connsiteX843" fmla="*/ 279877 w 3830903"/>
                    <a:gd name="connsiteY843" fmla="*/ 969184 h 4401009"/>
                    <a:gd name="connsiteX844" fmla="*/ 282592 w 3830903"/>
                    <a:gd name="connsiteY844" fmla="*/ 974081 h 4401009"/>
                    <a:gd name="connsiteX845" fmla="*/ 282264 w 3830903"/>
                    <a:gd name="connsiteY845" fmla="*/ 974518 h 4401009"/>
                    <a:gd name="connsiteX846" fmla="*/ 283747 w 3830903"/>
                    <a:gd name="connsiteY846" fmla="*/ 976166 h 4401009"/>
                    <a:gd name="connsiteX847" fmla="*/ 285645 w 3830903"/>
                    <a:gd name="connsiteY847" fmla="*/ 979589 h 4401009"/>
                    <a:gd name="connsiteX848" fmla="*/ 286268 w 3830903"/>
                    <a:gd name="connsiteY848" fmla="*/ 978966 h 4401009"/>
                    <a:gd name="connsiteX849" fmla="*/ 283747 w 3830903"/>
                    <a:gd name="connsiteY849" fmla="*/ 976166 h 4401009"/>
                    <a:gd name="connsiteX850" fmla="*/ 282592 w 3830903"/>
                    <a:gd name="connsiteY850" fmla="*/ 974081 h 4401009"/>
                    <a:gd name="connsiteX851" fmla="*/ 287335 w 3830903"/>
                    <a:gd name="connsiteY851" fmla="*/ 967758 h 4401009"/>
                    <a:gd name="connsiteX852" fmla="*/ 294096 w 3830903"/>
                    <a:gd name="connsiteY852" fmla="*/ 960997 h 4401009"/>
                    <a:gd name="connsiteX853" fmla="*/ 292406 w 3830903"/>
                    <a:gd name="connsiteY853" fmla="*/ 955926 h 4401009"/>
                    <a:gd name="connsiteX854" fmla="*/ 280574 w 3830903"/>
                    <a:gd name="connsiteY854" fmla="*/ 945785 h 4401009"/>
                    <a:gd name="connsiteX855" fmla="*/ 275504 w 3830903"/>
                    <a:gd name="connsiteY855" fmla="*/ 939024 h 4401009"/>
                    <a:gd name="connsiteX856" fmla="*/ 272123 w 3830903"/>
                    <a:gd name="connsiteY856" fmla="*/ 935644 h 4401009"/>
                    <a:gd name="connsiteX857" fmla="*/ 267053 w 3830903"/>
                    <a:gd name="connsiteY857" fmla="*/ 928883 h 4401009"/>
                    <a:gd name="connsiteX858" fmla="*/ 255221 w 3830903"/>
                    <a:gd name="connsiteY858" fmla="*/ 913671 h 4401009"/>
                    <a:gd name="connsiteX859" fmla="*/ 251841 w 3830903"/>
                    <a:gd name="connsiteY859" fmla="*/ 908600 h 4401009"/>
                    <a:gd name="connsiteX860" fmla="*/ 241699 w 3830903"/>
                    <a:gd name="connsiteY860" fmla="*/ 900149 h 4401009"/>
                    <a:gd name="connsiteX861" fmla="*/ 238319 w 3830903"/>
                    <a:gd name="connsiteY861" fmla="*/ 895079 h 4401009"/>
                    <a:gd name="connsiteX862" fmla="*/ 231558 w 3830903"/>
                    <a:gd name="connsiteY862" fmla="*/ 888318 h 4401009"/>
                    <a:gd name="connsiteX863" fmla="*/ 226488 w 3830903"/>
                    <a:gd name="connsiteY863" fmla="*/ 884938 h 4401009"/>
                    <a:gd name="connsiteX864" fmla="*/ 211276 w 3830903"/>
                    <a:gd name="connsiteY864" fmla="*/ 868036 h 4401009"/>
                    <a:gd name="connsiteX865" fmla="*/ 209586 w 3830903"/>
                    <a:gd name="connsiteY865" fmla="*/ 857894 h 4401009"/>
                    <a:gd name="connsiteX866" fmla="*/ 206205 w 3830903"/>
                    <a:gd name="connsiteY866" fmla="*/ 854514 h 4401009"/>
                    <a:gd name="connsiteX867" fmla="*/ 197754 w 3830903"/>
                    <a:gd name="connsiteY867" fmla="*/ 846063 h 4401009"/>
                    <a:gd name="connsiteX868" fmla="*/ 194374 w 3830903"/>
                    <a:gd name="connsiteY868" fmla="*/ 840992 h 4401009"/>
                    <a:gd name="connsiteX869" fmla="*/ 184233 w 3830903"/>
                    <a:gd name="connsiteY869" fmla="*/ 825781 h 4401009"/>
                    <a:gd name="connsiteX870" fmla="*/ 180852 w 3830903"/>
                    <a:gd name="connsiteY870" fmla="*/ 817330 h 4401009"/>
                    <a:gd name="connsiteX871" fmla="*/ 175782 w 3830903"/>
                    <a:gd name="connsiteY871" fmla="*/ 812259 h 4401009"/>
                    <a:gd name="connsiteX872" fmla="*/ 170711 w 3830903"/>
                    <a:gd name="connsiteY872" fmla="*/ 810569 h 4401009"/>
                    <a:gd name="connsiteX873" fmla="*/ 152119 w 3830903"/>
                    <a:gd name="connsiteY873" fmla="*/ 795357 h 4401009"/>
                    <a:gd name="connsiteX874" fmla="*/ 150428 w 3830903"/>
                    <a:gd name="connsiteY874" fmla="*/ 758172 h 4401009"/>
                    <a:gd name="connsiteX875" fmla="*/ 153809 w 3830903"/>
                    <a:gd name="connsiteY875" fmla="*/ 742961 h 4401009"/>
                    <a:gd name="connsiteX876" fmla="*/ 157189 w 3830903"/>
                    <a:gd name="connsiteY876" fmla="*/ 736200 h 4401009"/>
                    <a:gd name="connsiteX877" fmla="*/ 158880 w 3830903"/>
                    <a:gd name="connsiteY877" fmla="*/ 704086 h 4401009"/>
                    <a:gd name="connsiteX878" fmla="*/ 160570 w 3830903"/>
                    <a:gd name="connsiteY878" fmla="*/ 688874 h 4401009"/>
                    <a:gd name="connsiteX879" fmla="*/ 165640 w 3830903"/>
                    <a:gd name="connsiteY879" fmla="*/ 668592 h 4401009"/>
                    <a:gd name="connsiteX880" fmla="*/ 167331 w 3830903"/>
                    <a:gd name="connsiteY880" fmla="*/ 663521 h 4401009"/>
                    <a:gd name="connsiteX881" fmla="*/ 170711 w 3830903"/>
                    <a:gd name="connsiteY881" fmla="*/ 658450 h 4401009"/>
                    <a:gd name="connsiteX882" fmla="*/ 172401 w 3830903"/>
                    <a:gd name="connsiteY882" fmla="*/ 639858 h 4401009"/>
                    <a:gd name="connsiteX883" fmla="*/ 167331 w 3830903"/>
                    <a:gd name="connsiteY883" fmla="*/ 636478 h 4401009"/>
                    <a:gd name="connsiteX884" fmla="*/ 160570 w 3830903"/>
                    <a:gd name="connsiteY884" fmla="*/ 629717 h 4401009"/>
                    <a:gd name="connsiteX885" fmla="*/ 150428 w 3830903"/>
                    <a:gd name="connsiteY885" fmla="*/ 619576 h 4401009"/>
                    <a:gd name="connsiteX886" fmla="*/ 143668 w 3830903"/>
                    <a:gd name="connsiteY886" fmla="*/ 606054 h 4401009"/>
                    <a:gd name="connsiteX887" fmla="*/ 136907 w 3830903"/>
                    <a:gd name="connsiteY887" fmla="*/ 602674 h 4401009"/>
                    <a:gd name="connsiteX888" fmla="*/ 133526 w 3830903"/>
                    <a:gd name="connsiteY888" fmla="*/ 597603 h 4401009"/>
                    <a:gd name="connsiteX889" fmla="*/ 108173 w 3830903"/>
                    <a:gd name="connsiteY889" fmla="*/ 575630 h 4401009"/>
                    <a:gd name="connsiteX890" fmla="*/ 103103 w 3830903"/>
                    <a:gd name="connsiteY890" fmla="*/ 570560 h 4401009"/>
                    <a:gd name="connsiteX891" fmla="*/ 96342 w 3830903"/>
                    <a:gd name="connsiteY891" fmla="*/ 568870 h 4401009"/>
                    <a:gd name="connsiteX892" fmla="*/ 57467 w 3830903"/>
                    <a:gd name="connsiteY892" fmla="*/ 565489 h 4401009"/>
                    <a:gd name="connsiteX893" fmla="*/ 50706 w 3830903"/>
                    <a:gd name="connsiteY893" fmla="*/ 563799 h 4401009"/>
                    <a:gd name="connsiteX894" fmla="*/ 49016 w 3830903"/>
                    <a:gd name="connsiteY894" fmla="*/ 557038 h 4401009"/>
                    <a:gd name="connsiteX895" fmla="*/ 42255 w 3830903"/>
                    <a:gd name="connsiteY895" fmla="*/ 545207 h 4401009"/>
                    <a:gd name="connsiteX896" fmla="*/ 35495 w 3830903"/>
                    <a:gd name="connsiteY896" fmla="*/ 541826 h 4401009"/>
                    <a:gd name="connsiteX897" fmla="*/ 28734 w 3830903"/>
                    <a:gd name="connsiteY897" fmla="*/ 536756 h 4401009"/>
                    <a:gd name="connsiteX898" fmla="*/ 25353 w 3830903"/>
                    <a:gd name="connsiteY898" fmla="*/ 531685 h 4401009"/>
                    <a:gd name="connsiteX899" fmla="*/ 21973 w 3830903"/>
                    <a:gd name="connsiteY899" fmla="*/ 479289 h 4401009"/>
                    <a:gd name="connsiteX900" fmla="*/ 30424 w 3830903"/>
                    <a:gd name="connsiteY900" fmla="*/ 462387 h 4401009"/>
                    <a:gd name="connsiteX901" fmla="*/ 33804 w 3830903"/>
                    <a:gd name="connsiteY901" fmla="*/ 459006 h 4401009"/>
                    <a:gd name="connsiteX902" fmla="*/ 18593 w 3830903"/>
                    <a:gd name="connsiteY902" fmla="*/ 450555 h 4401009"/>
                    <a:gd name="connsiteX903" fmla="*/ 11832 w 3830903"/>
                    <a:gd name="connsiteY903" fmla="*/ 443795 h 4401009"/>
                    <a:gd name="connsiteX904" fmla="*/ 12395 w 3830903"/>
                    <a:gd name="connsiteY904" fmla="*/ 443232 h 4401009"/>
                    <a:gd name="connsiteX905" fmla="*/ 13522 w 3830903"/>
                    <a:gd name="connsiteY905" fmla="*/ 443795 h 4401009"/>
                    <a:gd name="connsiteX906" fmla="*/ 15212 w 3830903"/>
                    <a:gd name="connsiteY906" fmla="*/ 440414 h 4401009"/>
                    <a:gd name="connsiteX907" fmla="*/ 12395 w 3830903"/>
                    <a:gd name="connsiteY907" fmla="*/ 443232 h 4401009"/>
                    <a:gd name="connsiteX908" fmla="*/ 3381 w 3830903"/>
                    <a:gd name="connsiteY908" fmla="*/ 438724 h 4401009"/>
                    <a:gd name="connsiteX909" fmla="*/ 0 w 3830903"/>
                    <a:gd name="connsiteY909" fmla="*/ 433653 h 4401009"/>
                    <a:gd name="connsiteX910" fmla="*/ 6761 w 3830903"/>
                    <a:gd name="connsiteY910" fmla="*/ 428583 h 4401009"/>
                    <a:gd name="connsiteX911" fmla="*/ 10142 w 3830903"/>
                    <a:gd name="connsiteY911" fmla="*/ 425202 h 4401009"/>
                    <a:gd name="connsiteX912" fmla="*/ 21973 w 3830903"/>
                    <a:gd name="connsiteY912" fmla="*/ 416751 h 4401009"/>
                    <a:gd name="connsiteX913" fmla="*/ 32114 w 3830903"/>
                    <a:gd name="connsiteY913" fmla="*/ 406610 h 4401009"/>
                    <a:gd name="connsiteX914" fmla="*/ 38875 w 3830903"/>
                    <a:gd name="connsiteY914" fmla="*/ 396469 h 4401009"/>
                    <a:gd name="connsiteX915" fmla="*/ 42255 w 3830903"/>
                    <a:gd name="connsiteY915" fmla="*/ 367735 h 4401009"/>
                    <a:gd name="connsiteX916" fmla="*/ 37185 w 3830903"/>
                    <a:gd name="connsiteY916" fmla="*/ 362665 h 4401009"/>
                    <a:gd name="connsiteX917" fmla="*/ 33804 w 3830903"/>
                    <a:gd name="connsiteY917" fmla="*/ 352524 h 4401009"/>
                    <a:gd name="connsiteX918" fmla="*/ 54087 w 3830903"/>
                    <a:gd name="connsiteY918" fmla="*/ 344073 h 4401009"/>
                    <a:gd name="connsiteX919" fmla="*/ 60848 w 3830903"/>
                    <a:gd name="connsiteY919" fmla="*/ 333931 h 4401009"/>
                    <a:gd name="connsiteX920" fmla="*/ 64228 w 3830903"/>
                    <a:gd name="connsiteY920" fmla="*/ 327171 h 4401009"/>
                    <a:gd name="connsiteX921" fmla="*/ 69299 w 3830903"/>
                    <a:gd name="connsiteY921" fmla="*/ 322100 h 4401009"/>
                    <a:gd name="connsiteX922" fmla="*/ 70989 w 3830903"/>
                    <a:gd name="connsiteY922" fmla="*/ 317029 h 4401009"/>
                    <a:gd name="connsiteX923" fmla="*/ 77750 w 3830903"/>
                    <a:gd name="connsiteY923" fmla="*/ 303508 h 4401009"/>
                    <a:gd name="connsiteX924" fmla="*/ 113244 w 3830903"/>
                    <a:gd name="connsiteY924" fmla="*/ 295057 h 4401009"/>
                    <a:gd name="connsiteX925" fmla="*/ 118315 w 3830903"/>
                    <a:gd name="connsiteY925" fmla="*/ 284915 h 4401009"/>
                    <a:gd name="connsiteX926" fmla="*/ 113244 w 3830903"/>
                    <a:gd name="connsiteY926" fmla="*/ 247731 h 4401009"/>
                    <a:gd name="connsiteX927" fmla="*/ 125075 w 3830903"/>
                    <a:gd name="connsiteY927" fmla="*/ 244351 h 4401009"/>
                    <a:gd name="connsiteX928" fmla="*/ 128456 w 3830903"/>
                    <a:gd name="connsiteY928" fmla="*/ 247731 h 4401009"/>
                    <a:gd name="connsiteX929" fmla="*/ 143668 w 3830903"/>
                    <a:gd name="connsiteY929" fmla="*/ 254492 h 4401009"/>
                    <a:gd name="connsiteX930" fmla="*/ 148738 w 3830903"/>
                    <a:gd name="connsiteY930" fmla="*/ 244351 h 4401009"/>
                    <a:gd name="connsiteX931" fmla="*/ 152119 w 3830903"/>
                    <a:gd name="connsiteY931" fmla="*/ 229139 h 4401009"/>
                    <a:gd name="connsiteX932" fmla="*/ 157189 w 3830903"/>
                    <a:gd name="connsiteY932" fmla="*/ 222378 h 4401009"/>
                    <a:gd name="connsiteX933" fmla="*/ 152119 w 3830903"/>
                    <a:gd name="connsiteY933" fmla="*/ 207166 h 4401009"/>
                    <a:gd name="connsiteX934" fmla="*/ 174091 w 3830903"/>
                    <a:gd name="connsiteY934" fmla="*/ 207166 h 4401009"/>
                    <a:gd name="connsiteX935" fmla="*/ 223107 w 3830903"/>
                    <a:gd name="connsiteY935" fmla="*/ 208856 h 4401009"/>
                    <a:gd name="connsiteX936" fmla="*/ 236629 w 3830903"/>
                    <a:gd name="connsiteY936" fmla="*/ 229139 h 4401009"/>
                    <a:gd name="connsiteX937" fmla="*/ 233248 w 3830903"/>
                    <a:gd name="connsiteY937" fmla="*/ 235900 h 4401009"/>
                    <a:gd name="connsiteX938" fmla="*/ 221417 w 3830903"/>
                    <a:gd name="connsiteY938" fmla="*/ 242660 h 4401009"/>
                    <a:gd name="connsiteX939" fmla="*/ 187613 w 3830903"/>
                    <a:gd name="connsiteY939" fmla="*/ 244351 h 4401009"/>
                    <a:gd name="connsiteX940" fmla="*/ 184233 w 3830903"/>
                    <a:gd name="connsiteY940" fmla="*/ 240970 h 4401009"/>
                    <a:gd name="connsiteX941" fmla="*/ 172401 w 3830903"/>
                    <a:gd name="connsiteY941" fmla="*/ 235900 h 4401009"/>
                    <a:gd name="connsiteX942" fmla="*/ 170711 w 3830903"/>
                    <a:gd name="connsiteY942" fmla="*/ 242660 h 4401009"/>
                    <a:gd name="connsiteX943" fmla="*/ 174091 w 3830903"/>
                    <a:gd name="connsiteY943" fmla="*/ 251111 h 4401009"/>
                    <a:gd name="connsiteX944" fmla="*/ 177472 w 3830903"/>
                    <a:gd name="connsiteY944" fmla="*/ 254492 h 4401009"/>
                    <a:gd name="connsiteX945" fmla="*/ 196064 w 3830903"/>
                    <a:gd name="connsiteY945" fmla="*/ 259562 h 4401009"/>
                    <a:gd name="connsiteX946" fmla="*/ 199444 w 3830903"/>
                    <a:gd name="connsiteY946" fmla="*/ 283225 h 4401009"/>
                    <a:gd name="connsiteX947" fmla="*/ 204515 w 3830903"/>
                    <a:gd name="connsiteY947" fmla="*/ 279845 h 4401009"/>
                    <a:gd name="connsiteX948" fmla="*/ 209586 w 3830903"/>
                    <a:gd name="connsiteY948" fmla="*/ 269704 h 4401009"/>
                    <a:gd name="connsiteX949" fmla="*/ 214656 w 3830903"/>
                    <a:gd name="connsiteY949" fmla="*/ 259562 h 4401009"/>
                    <a:gd name="connsiteX950" fmla="*/ 219727 w 3830903"/>
                    <a:gd name="connsiteY950" fmla="*/ 256182 h 4401009"/>
                    <a:gd name="connsiteX951" fmla="*/ 228178 w 3830903"/>
                    <a:gd name="connsiteY951" fmla="*/ 254492 h 4401009"/>
                    <a:gd name="connsiteX952" fmla="*/ 231558 w 3830903"/>
                    <a:gd name="connsiteY952" fmla="*/ 284915 h 4401009"/>
                    <a:gd name="connsiteX953" fmla="*/ 234939 w 3830903"/>
                    <a:gd name="connsiteY953" fmla="*/ 291676 h 4401009"/>
                    <a:gd name="connsiteX954" fmla="*/ 238319 w 3830903"/>
                    <a:gd name="connsiteY954" fmla="*/ 269704 h 4401009"/>
                    <a:gd name="connsiteX955" fmla="*/ 243390 w 3830903"/>
                    <a:gd name="connsiteY955" fmla="*/ 262943 h 4401009"/>
                    <a:gd name="connsiteX956" fmla="*/ 253531 w 3830903"/>
                    <a:gd name="connsiteY956" fmla="*/ 261253 h 4401009"/>
                    <a:gd name="connsiteX957" fmla="*/ 265362 w 3830903"/>
                    <a:gd name="connsiteY957" fmla="*/ 256182 h 4401009"/>
                    <a:gd name="connsiteX958" fmla="*/ 273813 w 3830903"/>
                    <a:gd name="connsiteY958" fmla="*/ 266323 h 4401009"/>
                    <a:gd name="connsiteX959" fmla="*/ 282264 w 3830903"/>
                    <a:gd name="connsiteY959" fmla="*/ 271394 h 4401009"/>
                    <a:gd name="connsiteX960" fmla="*/ 283955 w 3830903"/>
                    <a:gd name="connsiteY960" fmla="*/ 278155 h 4401009"/>
                    <a:gd name="connsiteX961" fmla="*/ 287335 w 3830903"/>
                    <a:gd name="connsiteY961" fmla="*/ 296747 h 4401009"/>
                    <a:gd name="connsiteX962" fmla="*/ 278884 w 3830903"/>
                    <a:gd name="connsiteY962" fmla="*/ 315339 h 4401009"/>
                    <a:gd name="connsiteX963" fmla="*/ 275504 w 3830903"/>
                    <a:gd name="connsiteY963" fmla="*/ 318720 h 4401009"/>
                    <a:gd name="connsiteX964" fmla="*/ 270433 w 3830903"/>
                    <a:gd name="connsiteY964" fmla="*/ 328861 h 4401009"/>
                    <a:gd name="connsiteX965" fmla="*/ 278884 w 3830903"/>
                    <a:gd name="connsiteY965" fmla="*/ 327171 h 4401009"/>
                    <a:gd name="connsiteX966" fmla="*/ 283955 w 3830903"/>
                    <a:gd name="connsiteY966" fmla="*/ 320410 h 4401009"/>
                    <a:gd name="connsiteX967" fmla="*/ 299166 w 3830903"/>
                    <a:gd name="connsiteY967" fmla="*/ 274774 h 4401009"/>
                    <a:gd name="connsiteX968" fmla="*/ 303871 w 3830903"/>
                    <a:gd name="connsiteY968" fmla="*/ 268080 h 4401009"/>
                    <a:gd name="connsiteX969" fmla="*/ 304237 w 3830903"/>
                    <a:gd name="connsiteY969" fmla="*/ 269705 h 4401009"/>
                    <a:gd name="connsiteX970" fmla="*/ 304837 w 3830903"/>
                    <a:gd name="connsiteY970" fmla="*/ 266706 h 4401009"/>
                    <a:gd name="connsiteX971" fmla="*/ 306626 w 3830903"/>
                    <a:gd name="connsiteY971" fmla="*/ 264161 h 4401009"/>
                    <a:gd name="connsiteX972" fmla="*/ 306011 w 3830903"/>
                    <a:gd name="connsiteY972" fmla="*/ 262215 h 4401009"/>
                    <a:gd name="connsiteX973" fmla="*/ 305657 w 3830903"/>
                    <a:gd name="connsiteY973" fmla="*/ 262606 h 4401009"/>
                    <a:gd name="connsiteX974" fmla="*/ 310998 w 3830903"/>
                    <a:gd name="connsiteY974" fmla="*/ 235900 h 4401009"/>
                    <a:gd name="connsiteX975" fmla="*/ 383677 w 3830903"/>
                    <a:gd name="connsiteY975" fmla="*/ 251111 h 4401009"/>
                    <a:gd name="connsiteX976" fmla="*/ 390437 w 3830903"/>
                    <a:gd name="connsiteY976" fmla="*/ 249421 h 4401009"/>
                    <a:gd name="connsiteX977" fmla="*/ 395508 w 3830903"/>
                    <a:gd name="connsiteY977" fmla="*/ 247731 h 4401009"/>
                    <a:gd name="connsiteX978" fmla="*/ 417481 w 3830903"/>
                    <a:gd name="connsiteY978" fmla="*/ 244351 h 4401009"/>
                    <a:gd name="connsiteX979" fmla="*/ 431002 w 3830903"/>
                    <a:gd name="connsiteY979" fmla="*/ 246041 h 4401009"/>
                    <a:gd name="connsiteX980" fmla="*/ 451285 w 3830903"/>
                    <a:gd name="connsiteY980" fmla="*/ 247731 h 4401009"/>
                    <a:gd name="connsiteX981" fmla="*/ 463116 w 3830903"/>
                    <a:gd name="connsiteY981" fmla="*/ 251111 h 4401009"/>
                    <a:gd name="connsiteX982" fmla="*/ 474948 w 3830903"/>
                    <a:gd name="connsiteY982" fmla="*/ 252802 h 4401009"/>
                    <a:gd name="connsiteX983" fmla="*/ 503681 w 3830903"/>
                    <a:gd name="connsiteY983" fmla="*/ 256182 h 4401009"/>
                    <a:gd name="connsiteX984" fmla="*/ 522273 w 3830903"/>
                    <a:gd name="connsiteY984" fmla="*/ 259562 h 4401009"/>
                    <a:gd name="connsiteX985" fmla="*/ 562838 w 3830903"/>
                    <a:gd name="connsiteY985" fmla="*/ 271394 h 4401009"/>
                    <a:gd name="connsiteX986" fmla="*/ 574670 w 3830903"/>
                    <a:gd name="connsiteY986" fmla="*/ 276464 h 4401009"/>
                    <a:gd name="connsiteX987" fmla="*/ 581430 w 3830903"/>
                    <a:gd name="connsiteY987" fmla="*/ 278155 h 4401009"/>
                    <a:gd name="connsiteX988" fmla="*/ 588191 w 3830903"/>
                    <a:gd name="connsiteY988" fmla="*/ 283225 h 4401009"/>
                    <a:gd name="connsiteX989" fmla="*/ 594952 w 3830903"/>
                    <a:gd name="connsiteY989" fmla="*/ 286606 h 4401009"/>
                    <a:gd name="connsiteX990" fmla="*/ 618615 w 3830903"/>
                    <a:gd name="connsiteY990" fmla="*/ 293366 h 4401009"/>
                    <a:gd name="connsiteX991" fmla="*/ 640587 w 3830903"/>
                    <a:gd name="connsiteY991" fmla="*/ 306888 h 4401009"/>
                    <a:gd name="connsiteX992" fmla="*/ 655799 w 3830903"/>
                    <a:gd name="connsiteY992" fmla="*/ 311959 h 4401009"/>
                    <a:gd name="connsiteX993" fmla="*/ 662560 w 3830903"/>
                    <a:gd name="connsiteY993" fmla="*/ 306888 h 4401009"/>
                    <a:gd name="connsiteX994" fmla="*/ 667631 w 3830903"/>
                    <a:gd name="connsiteY994" fmla="*/ 305198 h 4401009"/>
                    <a:gd name="connsiteX995" fmla="*/ 699745 w 3830903"/>
                    <a:gd name="connsiteY995" fmla="*/ 301817 h 4401009"/>
                    <a:gd name="connsiteX996" fmla="*/ 708196 w 3830903"/>
                    <a:gd name="connsiteY996" fmla="*/ 306888 h 4401009"/>
                    <a:gd name="connsiteX997" fmla="*/ 714956 w 3830903"/>
                    <a:gd name="connsiteY997" fmla="*/ 310269 h 4401009"/>
                    <a:gd name="connsiteX998" fmla="*/ 738619 w 3830903"/>
                    <a:gd name="connsiteY998" fmla="*/ 320410 h 4401009"/>
                    <a:gd name="connsiteX999" fmla="*/ 743690 w 3830903"/>
                    <a:gd name="connsiteY999" fmla="*/ 318720 h 4401009"/>
                    <a:gd name="connsiteX1000" fmla="*/ 758902 w 3830903"/>
                    <a:gd name="connsiteY1000" fmla="*/ 320410 h 4401009"/>
                    <a:gd name="connsiteX1001" fmla="*/ 784255 w 3830903"/>
                    <a:gd name="connsiteY1001" fmla="*/ 327171 h 4401009"/>
                    <a:gd name="connsiteX1002" fmla="*/ 802847 w 3830903"/>
                    <a:gd name="connsiteY1002" fmla="*/ 332241 h 4401009"/>
                    <a:gd name="connsiteX1003" fmla="*/ 812988 w 3830903"/>
                    <a:gd name="connsiteY1003" fmla="*/ 335622 h 4401009"/>
                    <a:gd name="connsiteX1004" fmla="*/ 819749 w 3830903"/>
                    <a:gd name="connsiteY1004" fmla="*/ 342382 h 4401009"/>
                    <a:gd name="connsiteX1005" fmla="*/ 824820 w 3830903"/>
                    <a:gd name="connsiteY1005" fmla="*/ 345763 h 4401009"/>
                    <a:gd name="connsiteX1006" fmla="*/ 851863 w 3830903"/>
                    <a:gd name="connsiteY1006" fmla="*/ 349143 h 4401009"/>
                    <a:gd name="connsiteX1007" fmla="*/ 860314 w 3830903"/>
                    <a:gd name="connsiteY1007" fmla="*/ 354214 h 4401009"/>
                    <a:gd name="connsiteX1008" fmla="*/ 862004 w 3830903"/>
                    <a:gd name="connsiteY1008" fmla="*/ 367735 h 4401009"/>
                    <a:gd name="connsiteX1009" fmla="*/ 865384 w 3830903"/>
                    <a:gd name="connsiteY1009" fmla="*/ 379567 h 4401009"/>
                    <a:gd name="connsiteX1010" fmla="*/ 870455 w 3830903"/>
                    <a:gd name="connsiteY1010" fmla="*/ 382947 h 4401009"/>
                    <a:gd name="connsiteX1011" fmla="*/ 875526 w 3830903"/>
                    <a:gd name="connsiteY1011" fmla="*/ 388018 h 4401009"/>
                    <a:gd name="connsiteX1012" fmla="*/ 890738 w 3830903"/>
                    <a:gd name="connsiteY1012" fmla="*/ 394779 h 4401009"/>
                    <a:gd name="connsiteX1013" fmla="*/ 895808 w 3830903"/>
                    <a:gd name="connsiteY1013" fmla="*/ 399849 h 4401009"/>
                    <a:gd name="connsiteX1014" fmla="*/ 905949 w 3830903"/>
                    <a:gd name="connsiteY1014" fmla="*/ 408300 h 4401009"/>
                    <a:gd name="connsiteX1015" fmla="*/ 912710 w 3830903"/>
                    <a:gd name="connsiteY1015" fmla="*/ 409991 h 4401009"/>
                    <a:gd name="connsiteX1016" fmla="*/ 919471 w 3830903"/>
                    <a:gd name="connsiteY1016" fmla="*/ 415061 h 4401009"/>
                    <a:gd name="connsiteX1017" fmla="*/ 934683 w 3830903"/>
                    <a:gd name="connsiteY1017" fmla="*/ 428583 h 4401009"/>
                    <a:gd name="connsiteX1018" fmla="*/ 936373 w 3830903"/>
                    <a:gd name="connsiteY1018" fmla="*/ 435344 h 4401009"/>
                    <a:gd name="connsiteX1019" fmla="*/ 939753 w 3830903"/>
                    <a:gd name="connsiteY1019" fmla="*/ 443795 h 4401009"/>
                    <a:gd name="connsiteX1020" fmla="*/ 943134 w 3830903"/>
                    <a:gd name="connsiteY1020" fmla="*/ 453936 h 4401009"/>
                    <a:gd name="connsiteX1021" fmla="*/ 953275 w 3830903"/>
                    <a:gd name="connsiteY1021" fmla="*/ 472528 h 4401009"/>
                    <a:gd name="connsiteX1022" fmla="*/ 956655 w 3830903"/>
                    <a:gd name="connsiteY1022" fmla="*/ 477599 h 4401009"/>
                    <a:gd name="connsiteX1023" fmla="*/ 953275 w 3830903"/>
                    <a:gd name="connsiteY1023" fmla="*/ 489430 h 4401009"/>
                    <a:gd name="connsiteX1024" fmla="*/ 944824 w 3830903"/>
                    <a:gd name="connsiteY1024" fmla="*/ 504642 h 4401009"/>
                    <a:gd name="connsiteX1025" fmla="*/ 941444 w 3830903"/>
                    <a:gd name="connsiteY1025" fmla="*/ 543517 h 4401009"/>
                    <a:gd name="connsiteX1026" fmla="*/ 938063 w 3830903"/>
                    <a:gd name="connsiteY1026" fmla="*/ 548587 h 4401009"/>
                    <a:gd name="connsiteX1027" fmla="*/ 934683 w 3830903"/>
                    <a:gd name="connsiteY1027" fmla="*/ 565489 h 4401009"/>
                    <a:gd name="connsiteX1028" fmla="*/ 929612 w 3830903"/>
                    <a:gd name="connsiteY1028" fmla="*/ 584081 h 4401009"/>
                    <a:gd name="connsiteX1029" fmla="*/ 921161 w 3830903"/>
                    <a:gd name="connsiteY1029" fmla="*/ 599293 h 4401009"/>
                    <a:gd name="connsiteX1030" fmla="*/ 916091 w 3830903"/>
                    <a:gd name="connsiteY1030" fmla="*/ 606054 h 4401009"/>
                    <a:gd name="connsiteX1031" fmla="*/ 905949 w 3830903"/>
                    <a:gd name="connsiteY1031" fmla="*/ 622956 h 4401009"/>
                    <a:gd name="connsiteX1032" fmla="*/ 890738 w 3830903"/>
                    <a:gd name="connsiteY1032" fmla="*/ 638168 h 4401009"/>
                    <a:gd name="connsiteX1033" fmla="*/ 883977 w 3830903"/>
                    <a:gd name="connsiteY1033" fmla="*/ 641548 h 4401009"/>
                    <a:gd name="connsiteX1034" fmla="*/ 878906 w 3830903"/>
                    <a:gd name="connsiteY1034" fmla="*/ 648309 h 4401009"/>
                    <a:gd name="connsiteX1035" fmla="*/ 872145 w 3830903"/>
                    <a:gd name="connsiteY1035" fmla="*/ 653380 h 4401009"/>
                    <a:gd name="connsiteX1036" fmla="*/ 867075 w 3830903"/>
                    <a:gd name="connsiteY1036" fmla="*/ 658450 h 4401009"/>
                    <a:gd name="connsiteX1037" fmla="*/ 856933 w 3830903"/>
                    <a:gd name="connsiteY1037" fmla="*/ 663521 h 4401009"/>
                    <a:gd name="connsiteX1038" fmla="*/ 838341 w 3830903"/>
                    <a:gd name="connsiteY1038" fmla="*/ 677043 h 4401009"/>
                    <a:gd name="connsiteX1039" fmla="*/ 824820 w 3830903"/>
                    <a:gd name="connsiteY1039" fmla="*/ 680423 h 4401009"/>
                    <a:gd name="connsiteX1040" fmla="*/ 804537 w 3830903"/>
                    <a:gd name="connsiteY1040" fmla="*/ 685494 h 4401009"/>
                    <a:gd name="connsiteX1041" fmla="*/ 736929 w 3830903"/>
                    <a:gd name="connsiteY1041" fmla="*/ 677043 h 4401009"/>
                    <a:gd name="connsiteX1042" fmla="*/ 731858 w 3830903"/>
                    <a:gd name="connsiteY1042" fmla="*/ 683803 h 4401009"/>
                    <a:gd name="connsiteX1043" fmla="*/ 708196 w 3830903"/>
                    <a:gd name="connsiteY1043" fmla="*/ 697325 h 4401009"/>
                    <a:gd name="connsiteX1044" fmla="*/ 689603 w 3830903"/>
                    <a:gd name="connsiteY1044" fmla="*/ 707466 h 4401009"/>
                    <a:gd name="connsiteX1045" fmla="*/ 676082 w 3830903"/>
                    <a:gd name="connsiteY1045" fmla="*/ 717608 h 4401009"/>
                    <a:gd name="connsiteX1046" fmla="*/ 654109 w 3830903"/>
                    <a:gd name="connsiteY1046" fmla="*/ 719298 h 4401009"/>
                    <a:gd name="connsiteX1047" fmla="*/ 627066 w 3830903"/>
                    <a:gd name="connsiteY1047" fmla="*/ 724368 h 4401009"/>
                    <a:gd name="connsiteX1048" fmla="*/ 620305 w 3830903"/>
                    <a:gd name="connsiteY1048" fmla="*/ 720988 h 4401009"/>
                    <a:gd name="connsiteX1049" fmla="*/ 598332 w 3830903"/>
                    <a:gd name="connsiteY1049" fmla="*/ 717608 h 4401009"/>
                    <a:gd name="connsiteX1050" fmla="*/ 583121 w 3830903"/>
                    <a:gd name="connsiteY1050" fmla="*/ 712537 h 4401009"/>
                    <a:gd name="connsiteX1051" fmla="*/ 564528 w 3830903"/>
                    <a:gd name="connsiteY1051" fmla="*/ 697325 h 4401009"/>
                    <a:gd name="connsiteX1052" fmla="*/ 552697 w 3830903"/>
                    <a:gd name="connsiteY1052" fmla="*/ 700705 h 4401009"/>
                    <a:gd name="connsiteX1053" fmla="*/ 545936 w 3830903"/>
                    <a:gd name="connsiteY1053" fmla="*/ 709156 h 4401009"/>
                    <a:gd name="connsiteX1054" fmla="*/ 540865 w 3830903"/>
                    <a:gd name="connsiteY1054" fmla="*/ 710847 h 4401009"/>
                    <a:gd name="connsiteX1055" fmla="*/ 535795 w 3830903"/>
                    <a:gd name="connsiteY1055" fmla="*/ 724368 h 4401009"/>
                    <a:gd name="connsiteX1056" fmla="*/ 523963 w 3830903"/>
                    <a:gd name="connsiteY1056" fmla="*/ 727749 h 4401009"/>
                    <a:gd name="connsiteX1057" fmla="*/ 508752 w 3830903"/>
                    <a:gd name="connsiteY1057" fmla="*/ 715917 h 4401009"/>
                    <a:gd name="connsiteX1058" fmla="*/ 505371 w 3830903"/>
                    <a:gd name="connsiteY1058" fmla="*/ 709156 h 4401009"/>
                    <a:gd name="connsiteX1059" fmla="*/ 503681 w 3830903"/>
                    <a:gd name="connsiteY1059" fmla="*/ 714227 h 4401009"/>
                    <a:gd name="connsiteX1060" fmla="*/ 498610 w 3830903"/>
                    <a:gd name="connsiteY1060" fmla="*/ 715917 h 4401009"/>
                    <a:gd name="connsiteX1061" fmla="*/ 486779 w 3830903"/>
                    <a:gd name="connsiteY1061" fmla="*/ 709156 h 4401009"/>
                    <a:gd name="connsiteX1062" fmla="*/ 481708 w 3830903"/>
                    <a:gd name="connsiteY1062" fmla="*/ 707466 h 4401009"/>
                    <a:gd name="connsiteX1063" fmla="*/ 478328 w 3830903"/>
                    <a:gd name="connsiteY1063" fmla="*/ 702396 h 4401009"/>
                    <a:gd name="connsiteX1064" fmla="*/ 473257 w 3830903"/>
                    <a:gd name="connsiteY1064" fmla="*/ 695635 h 4401009"/>
                    <a:gd name="connsiteX1065" fmla="*/ 461426 w 3830903"/>
                    <a:gd name="connsiteY1065" fmla="*/ 688874 h 4401009"/>
                    <a:gd name="connsiteX1066" fmla="*/ 452975 w 3830903"/>
                    <a:gd name="connsiteY1066" fmla="*/ 697325 h 4401009"/>
                    <a:gd name="connsiteX1067" fmla="*/ 451285 w 3830903"/>
                    <a:gd name="connsiteY1067" fmla="*/ 705776 h 4401009"/>
                    <a:gd name="connsiteX1068" fmla="*/ 441143 w 3830903"/>
                    <a:gd name="connsiteY1068" fmla="*/ 717608 h 4401009"/>
                    <a:gd name="connsiteX1069" fmla="*/ 436073 w 3830903"/>
                    <a:gd name="connsiteY1069" fmla="*/ 710847 h 4401009"/>
                    <a:gd name="connsiteX1070" fmla="*/ 432692 w 3830903"/>
                    <a:gd name="connsiteY1070" fmla="*/ 707466 h 4401009"/>
                    <a:gd name="connsiteX1071" fmla="*/ 427622 w 3830903"/>
                    <a:gd name="connsiteY1071" fmla="*/ 705776 h 4401009"/>
                    <a:gd name="connsiteX1072" fmla="*/ 417481 w 3830903"/>
                    <a:gd name="connsiteY1072" fmla="*/ 693945 h 4401009"/>
                    <a:gd name="connsiteX1073" fmla="*/ 402269 w 3830903"/>
                    <a:gd name="connsiteY1073" fmla="*/ 685494 h 4401009"/>
                    <a:gd name="connsiteX1074" fmla="*/ 387057 w 3830903"/>
                    <a:gd name="connsiteY1074" fmla="*/ 670282 h 4401009"/>
                    <a:gd name="connsiteX1075" fmla="*/ 339731 w 3830903"/>
                    <a:gd name="connsiteY1075" fmla="*/ 665211 h 4401009"/>
                    <a:gd name="connsiteX1076" fmla="*/ 321139 w 3830903"/>
                    <a:gd name="connsiteY1076" fmla="*/ 671972 h 4401009"/>
                    <a:gd name="connsiteX1077" fmla="*/ 327900 w 3830903"/>
                    <a:gd name="connsiteY1077" fmla="*/ 675352 h 4401009"/>
                    <a:gd name="connsiteX1078" fmla="*/ 343112 w 3830903"/>
                    <a:gd name="connsiteY1078" fmla="*/ 677043 h 4401009"/>
                    <a:gd name="connsiteX1079" fmla="*/ 361704 w 3830903"/>
                    <a:gd name="connsiteY1079" fmla="*/ 687184 h 4401009"/>
                    <a:gd name="connsiteX1080" fmla="*/ 370155 w 3830903"/>
                    <a:gd name="connsiteY1080" fmla="*/ 688874 h 4401009"/>
                    <a:gd name="connsiteX1081" fmla="*/ 371845 w 3830903"/>
                    <a:gd name="connsiteY1081" fmla="*/ 695635 h 4401009"/>
                    <a:gd name="connsiteX1082" fmla="*/ 375226 w 3830903"/>
                    <a:gd name="connsiteY1082" fmla="*/ 707466 h 4401009"/>
                    <a:gd name="connsiteX1083" fmla="*/ 387057 w 3830903"/>
                    <a:gd name="connsiteY1083" fmla="*/ 714227 h 4401009"/>
                    <a:gd name="connsiteX1084" fmla="*/ 390437 w 3830903"/>
                    <a:gd name="connsiteY1084" fmla="*/ 720988 h 4401009"/>
                    <a:gd name="connsiteX1085" fmla="*/ 414100 w 3830903"/>
                    <a:gd name="connsiteY1085" fmla="*/ 726059 h 4401009"/>
                    <a:gd name="connsiteX1086" fmla="*/ 417481 w 3830903"/>
                    <a:gd name="connsiteY1086" fmla="*/ 731129 h 4401009"/>
                    <a:gd name="connsiteX1087" fmla="*/ 422551 w 3830903"/>
                    <a:gd name="connsiteY1087" fmla="*/ 736200 h 4401009"/>
                    <a:gd name="connsiteX1088" fmla="*/ 424241 w 3830903"/>
                    <a:gd name="connsiteY1088" fmla="*/ 741270 h 4401009"/>
                    <a:gd name="connsiteX1089" fmla="*/ 425932 w 3830903"/>
                    <a:gd name="connsiteY1089" fmla="*/ 753102 h 4401009"/>
                    <a:gd name="connsiteX1090" fmla="*/ 485089 w 3830903"/>
                    <a:gd name="connsiteY1090" fmla="*/ 764933 h 4401009"/>
                    <a:gd name="connsiteX1091" fmla="*/ 476638 w 3830903"/>
                    <a:gd name="connsiteY1091" fmla="*/ 770004 h 4401009"/>
                    <a:gd name="connsiteX1092" fmla="*/ 469877 w 3830903"/>
                    <a:gd name="connsiteY1092" fmla="*/ 773384 h 4401009"/>
                    <a:gd name="connsiteX1093" fmla="*/ 478328 w 3830903"/>
                    <a:gd name="connsiteY1093" fmla="*/ 775074 h 4401009"/>
                    <a:gd name="connsiteX1094" fmla="*/ 491850 w 3830903"/>
                    <a:gd name="connsiteY1094" fmla="*/ 773384 h 4401009"/>
                    <a:gd name="connsiteX1095" fmla="*/ 508752 w 3830903"/>
                    <a:gd name="connsiteY1095" fmla="*/ 770004 h 4401009"/>
                    <a:gd name="connsiteX1096" fmla="*/ 515512 w 3830903"/>
                    <a:gd name="connsiteY1096" fmla="*/ 771694 h 4401009"/>
                    <a:gd name="connsiteX1097" fmla="*/ 551007 w 3830903"/>
                    <a:gd name="connsiteY1097" fmla="*/ 775074 h 4401009"/>
                    <a:gd name="connsiteX1098" fmla="*/ 564528 w 3830903"/>
                    <a:gd name="connsiteY1098" fmla="*/ 785216 h 4401009"/>
                    <a:gd name="connsiteX1099" fmla="*/ 571289 w 3830903"/>
                    <a:gd name="connsiteY1099" fmla="*/ 793667 h 4401009"/>
                    <a:gd name="connsiteX1100" fmla="*/ 574670 w 3830903"/>
                    <a:gd name="connsiteY1100" fmla="*/ 803808 h 4401009"/>
                    <a:gd name="connsiteX1101" fmla="*/ 584811 w 3830903"/>
                    <a:gd name="connsiteY1101" fmla="*/ 805498 h 4401009"/>
                    <a:gd name="connsiteX1102" fmla="*/ 591572 w 3830903"/>
                    <a:gd name="connsiteY1102" fmla="*/ 807188 h 4401009"/>
                    <a:gd name="connsiteX1103" fmla="*/ 596642 w 3830903"/>
                    <a:gd name="connsiteY1103" fmla="*/ 812259 h 4401009"/>
                    <a:gd name="connsiteX1104" fmla="*/ 605093 w 3830903"/>
                    <a:gd name="connsiteY1104" fmla="*/ 820710 h 4401009"/>
                    <a:gd name="connsiteX1105" fmla="*/ 610164 w 3830903"/>
                    <a:gd name="connsiteY1105" fmla="*/ 822400 h 4401009"/>
                    <a:gd name="connsiteX1106" fmla="*/ 610164 w 3830903"/>
                    <a:gd name="connsiteY1106" fmla="*/ 839302 h 4401009"/>
                    <a:gd name="connsiteX1107" fmla="*/ 603737 w 3830903"/>
                    <a:gd name="connsiteY1107" fmla="*/ 835446 h 4401009"/>
                    <a:gd name="connsiteX1108" fmla="*/ 603091 w 3830903"/>
                    <a:gd name="connsiteY1108" fmla="*/ 834987 h 4401009"/>
                    <a:gd name="connsiteX1109" fmla="*/ 601713 w 3830903"/>
                    <a:gd name="connsiteY1109" fmla="*/ 834232 h 4401009"/>
                    <a:gd name="connsiteX1110" fmla="*/ 603737 w 3830903"/>
                    <a:gd name="connsiteY1110" fmla="*/ 835446 h 4401009"/>
                    <a:gd name="connsiteX1111" fmla="*/ 606783 w 3830903"/>
                    <a:gd name="connsiteY1111" fmla="*/ 837612 h 4401009"/>
                    <a:gd name="connsiteX1112" fmla="*/ 608474 w 3830903"/>
                    <a:gd name="connsiteY1112" fmla="*/ 842683 h 4401009"/>
                    <a:gd name="connsiteX1113" fmla="*/ 615234 w 3830903"/>
                    <a:gd name="connsiteY1113" fmla="*/ 854514 h 4401009"/>
                    <a:gd name="connsiteX1114" fmla="*/ 616925 w 3830903"/>
                    <a:gd name="connsiteY1114" fmla="*/ 861275 h 4401009"/>
                    <a:gd name="connsiteX1115" fmla="*/ 618615 w 3830903"/>
                    <a:gd name="connsiteY1115" fmla="*/ 866345 h 4401009"/>
                    <a:gd name="connsiteX1116" fmla="*/ 623685 w 3830903"/>
                    <a:gd name="connsiteY1116" fmla="*/ 873106 h 4401009"/>
                    <a:gd name="connsiteX1117" fmla="*/ 620305 w 3830903"/>
                    <a:gd name="connsiteY1117" fmla="*/ 890008 h 4401009"/>
                    <a:gd name="connsiteX1118" fmla="*/ 615234 w 3830903"/>
                    <a:gd name="connsiteY1118" fmla="*/ 891698 h 4401009"/>
                    <a:gd name="connsiteX1119" fmla="*/ 598332 w 3830903"/>
                    <a:gd name="connsiteY1119" fmla="*/ 911981 h 4401009"/>
                    <a:gd name="connsiteX1120" fmla="*/ 596642 w 3830903"/>
                    <a:gd name="connsiteY1120" fmla="*/ 922122 h 4401009"/>
                    <a:gd name="connsiteX1121" fmla="*/ 633827 w 3830903"/>
                    <a:gd name="connsiteY1121" fmla="*/ 930573 h 4401009"/>
                    <a:gd name="connsiteX1122" fmla="*/ 638897 w 3830903"/>
                    <a:gd name="connsiteY1122" fmla="*/ 940714 h 4401009"/>
                    <a:gd name="connsiteX1123" fmla="*/ 647348 w 3830903"/>
                    <a:gd name="connsiteY1123" fmla="*/ 950856 h 4401009"/>
                    <a:gd name="connsiteX1124" fmla="*/ 650729 w 3830903"/>
                    <a:gd name="connsiteY1124" fmla="*/ 954236 h 4401009"/>
                    <a:gd name="connsiteX1125" fmla="*/ 654109 w 3830903"/>
                    <a:gd name="connsiteY1125" fmla="*/ 960997 h 4401009"/>
                    <a:gd name="connsiteX1126" fmla="*/ 660870 w 3830903"/>
                    <a:gd name="connsiteY1126" fmla="*/ 967758 h 4401009"/>
                    <a:gd name="connsiteX1127" fmla="*/ 665941 w 3830903"/>
                    <a:gd name="connsiteY1127" fmla="*/ 971138 h 4401009"/>
                    <a:gd name="connsiteX1128" fmla="*/ 671011 w 3830903"/>
                    <a:gd name="connsiteY1128" fmla="*/ 977899 h 4401009"/>
                    <a:gd name="connsiteX1129" fmla="*/ 687913 w 3830903"/>
                    <a:gd name="connsiteY1129" fmla="*/ 994801 h 4401009"/>
                    <a:gd name="connsiteX1130" fmla="*/ 692984 w 3830903"/>
                    <a:gd name="connsiteY1130" fmla="*/ 1001562 h 4401009"/>
                    <a:gd name="connsiteX1131" fmla="*/ 694674 w 3830903"/>
                    <a:gd name="connsiteY1131" fmla="*/ 1030295 h 4401009"/>
                    <a:gd name="connsiteX1132" fmla="*/ 713266 w 3830903"/>
                    <a:gd name="connsiteY1132" fmla="*/ 1038746 h 4401009"/>
                    <a:gd name="connsiteX1133" fmla="*/ 720027 w 3830903"/>
                    <a:gd name="connsiteY1133" fmla="*/ 1042127 h 4401009"/>
                    <a:gd name="connsiteX1134" fmla="*/ 723407 w 3830903"/>
                    <a:gd name="connsiteY1134" fmla="*/ 1048887 h 4401009"/>
                    <a:gd name="connsiteX1135" fmla="*/ 726788 w 3830903"/>
                    <a:gd name="connsiteY1135" fmla="*/ 1052268 h 4401009"/>
                    <a:gd name="connsiteX1136" fmla="*/ 748760 w 3830903"/>
                    <a:gd name="connsiteY1136" fmla="*/ 1055648 h 4401009"/>
                    <a:gd name="connsiteX1137" fmla="*/ 755521 w 3830903"/>
                    <a:gd name="connsiteY1137" fmla="*/ 1045507 h 4401009"/>
                    <a:gd name="connsiteX1138" fmla="*/ 757211 w 3830903"/>
                    <a:gd name="connsiteY1138" fmla="*/ 1040436 h 4401009"/>
                    <a:gd name="connsiteX1139" fmla="*/ 772423 w 3830903"/>
                    <a:gd name="connsiteY1139" fmla="*/ 1038746 h 4401009"/>
                    <a:gd name="connsiteX1140" fmla="*/ 777494 w 3830903"/>
                    <a:gd name="connsiteY1140" fmla="*/ 1040436 h 4401009"/>
                    <a:gd name="connsiteX1141" fmla="*/ 780874 w 3830903"/>
                    <a:gd name="connsiteY1141" fmla="*/ 1043817 h 4401009"/>
                    <a:gd name="connsiteX1142" fmla="*/ 796086 w 3830903"/>
                    <a:gd name="connsiteY1142" fmla="*/ 1055648 h 4401009"/>
                    <a:gd name="connsiteX1143" fmla="*/ 809608 w 3830903"/>
                    <a:gd name="connsiteY1143" fmla="*/ 1053958 h 4401009"/>
                    <a:gd name="connsiteX1144" fmla="*/ 814678 w 3830903"/>
                    <a:gd name="connsiteY1144" fmla="*/ 1055648 h 4401009"/>
                    <a:gd name="connsiteX1145" fmla="*/ 826510 w 3830903"/>
                    <a:gd name="connsiteY1145" fmla="*/ 1059029 h 4401009"/>
                    <a:gd name="connsiteX1146" fmla="*/ 831580 w 3830903"/>
                    <a:gd name="connsiteY1146" fmla="*/ 1064099 h 4401009"/>
                    <a:gd name="connsiteX1147" fmla="*/ 833271 w 3830903"/>
                    <a:gd name="connsiteY1147" fmla="*/ 1075931 h 4401009"/>
                    <a:gd name="connsiteX1148" fmla="*/ 877216 w 3830903"/>
                    <a:gd name="connsiteY1148" fmla="*/ 1077621 h 4401009"/>
                    <a:gd name="connsiteX1149" fmla="*/ 885667 w 3830903"/>
                    <a:gd name="connsiteY1149" fmla="*/ 1081001 h 4401009"/>
                    <a:gd name="connsiteX1150" fmla="*/ 905949 w 3830903"/>
                    <a:gd name="connsiteY1150" fmla="*/ 1082691 h 4401009"/>
                    <a:gd name="connsiteX1151" fmla="*/ 934683 w 3830903"/>
                    <a:gd name="connsiteY1151" fmla="*/ 1081001 h 4401009"/>
                    <a:gd name="connsiteX1152" fmla="*/ 936373 w 3830903"/>
                    <a:gd name="connsiteY1152" fmla="*/ 1072550 h 4401009"/>
                    <a:gd name="connsiteX1153" fmla="*/ 944824 w 3830903"/>
                    <a:gd name="connsiteY1153" fmla="*/ 1060719 h 4401009"/>
                    <a:gd name="connsiteX1154" fmla="*/ 946514 w 3830903"/>
                    <a:gd name="connsiteY1154" fmla="*/ 1053958 h 4401009"/>
                    <a:gd name="connsiteX1155" fmla="*/ 949895 w 3830903"/>
                    <a:gd name="connsiteY1155" fmla="*/ 1048887 h 4401009"/>
                    <a:gd name="connsiteX1156" fmla="*/ 960036 w 3830903"/>
                    <a:gd name="connsiteY1156" fmla="*/ 1035366 h 4401009"/>
                    <a:gd name="connsiteX1157" fmla="*/ 954965 w 3830903"/>
                    <a:gd name="connsiteY1157" fmla="*/ 1028605 h 4401009"/>
                    <a:gd name="connsiteX1158" fmla="*/ 953275 w 3830903"/>
                    <a:gd name="connsiteY1158" fmla="*/ 1023534 h 4401009"/>
                    <a:gd name="connsiteX1159" fmla="*/ 949895 w 3830903"/>
                    <a:gd name="connsiteY1159" fmla="*/ 1018464 h 4401009"/>
                    <a:gd name="connsiteX1160" fmla="*/ 941444 w 3830903"/>
                    <a:gd name="connsiteY1160" fmla="*/ 1011703 h 4401009"/>
                    <a:gd name="connsiteX1161" fmla="*/ 936373 w 3830903"/>
                    <a:gd name="connsiteY1161" fmla="*/ 1010013 h 4401009"/>
                    <a:gd name="connsiteX1162" fmla="*/ 919471 w 3830903"/>
                    <a:gd name="connsiteY1162" fmla="*/ 996491 h 4401009"/>
                    <a:gd name="connsiteX1163" fmla="*/ 916091 w 3830903"/>
                    <a:gd name="connsiteY1163" fmla="*/ 991420 h 4401009"/>
                    <a:gd name="connsiteX1164" fmla="*/ 905949 w 3830903"/>
                    <a:gd name="connsiteY1164" fmla="*/ 988040 h 4401009"/>
                    <a:gd name="connsiteX1165" fmla="*/ 894118 w 3830903"/>
                    <a:gd name="connsiteY1165" fmla="*/ 996491 h 4401009"/>
                    <a:gd name="connsiteX1166" fmla="*/ 878906 w 3830903"/>
                    <a:gd name="connsiteY1166" fmla="*/ 1003252 h 4401009"/>
                    <a:gd name="connsiteX1167" fmla="*/ 872145 w 3830903"/>
                    <a:gd name="connsiteY1167" fmla="*/ 996491 h 4401009"/>
                    <a:gd name="connsiteX1168" fmla="*/ 867075 w 3830903"/>
                    <a:gd name="connsiteY1168" fmla="*/ 994801 h 4401009"/>
                    <a:gd name="connsiteX1169" fmla="*/ 862004 w 3830903"/>
                    <a:gd name="connsiteY1169" fmla="*/ 991420 h 4401009"/>
                    <a:gd name="connsiteX1170" fmla="*/ 851863 w 3830903"/>
                    <a:gd name="connsiteY1170" fmla="*/ 988040 h 4401009"/>
                    <a:gd name="connsiteX1171" fmla="*/ 848482 w 3830903"/>
                    <a:gd name="connsiteY1171" fmla="*/ 984660 h 4401009"/>
                    <a:gd name="connsiteX1172" fmla="*/ 838341 w 3830903"/>
                    <a:gd name="connsiteY1172" fmla="*/ 981279 h 4401009"/>
                    <a:gd name="connsiteX1173" fmla="*/ 833271 w 3830903"/>
                    <a:gd name="connsiteY1173" fmla="*/ 974518 h 4401009"/>
                    <a:gd name="connsiteX1174" fmla="*/ 821439 w 3830903"/>
                    <a:gd name="connsiteY1174" fmla="*/ 966067 h 4401009"/>
                    <a:gd name="connsiteX1175" fmla="*/ 812988 w 3830903"/>
                    <a:gd name="connsiteY1175" fmla="*/ 957616 h 4401009"/>
                    <a:gd name="connsiteX1176" fmla="*/ 792706 w 3830903"/>
                    <a:gd name="connsiteY1176" fmla="*/ 950856 h 4401009"/>
                    <a:gd name="connsiteX1177" fmla="*/ 789325 w 3830903"/>
                    <a:gd name="connsiteY1177" fmla="*/ 947475 h 4401009"/>
                    <a:gd name="connsiteX1178" fmla="*/ 777494 w 3830903"/>
                    <a:gd name="connsiteY1178" fmla="*/ 933954 h 4401009"/>
                    <a:gd name="connsiteX1179" fmla="*/ 782565 w 3830903"/>
                    <a:gd name="connsiteY1179" fmla="*/ 930573 h 4401009"/>
                    <a:gd name="connsiteX1180" fmla="*/ 796086 w 3830903"/>
                    <a:gd name="connsiteY1180" fmla="*/ 927193 h 4401009"/>
                    <a:gd name="connsiteX1181" fmla="*/ 797776 w 3830903"/>
                    <a:gd name="connsiteY1181" fmla="*/ 906910 h 4401009"/>
                    <a:gd name="connsiteX1182" fmla="*/ 799467 w 3830903"/>
                    <a:gd name="connsiteY1182" fmla="*/ 901840 h 4401009"/>
                    <a:gd name="connsiteX1183" fmla="*/ 804537 w 3830903"/>
                    <a:gd name="connsiteY1183" fmla="*/ 888318 h 4401009"/>
                    <a:gd name="connsiteX1184" fmla="*/ 802847 w 3830903"/>
                    <a:gd name="connsiteY1184" fmla="*/ 879867 h 4401009"/>
                    <a:gd name="connsiteX1185" fmla="*/ 804537 w 3830903"/>
                    <a:gd name="connsiteY1185" fmla="*/ 874796 h 4401009"/>
                    <a:gd name="connsiteX1186" fmla="*/ 806227 w 3830903"/>
                    <a:gd name="connsiteY1186" fmla="*/ 868036 h 4401009"/>
                    <a:gd name="connsiteX1187" fmla="*/ 828200 w 3830903"/>
                    <a:gd name="connsiteY1187" fmla="*/ 869726 h 4401009"/>
                    <a:gd name="connsiteX1188" fmla="*/ 851863 w 3830903"/>
                    <a:gd name="connsiteY1188" fmla="*/ 866345 h 4401009"/>
                    <a:gd name="connsiteX1189" fmla="*/ 865384 w 3830903"/>
                    <a:gd name="connsiteY1189" fmla="*/ 876487 h 4401009"/>
                    <a:gd name="connsiteX1190" fmla="*/ 877216 w 3830903"/>
                    <a:gd name="connsiteY1190" fmla="*/ 881557 h 4401009"/>
                    <a:gd name="connsiteX1191" fmla="*/ 894118 w 3830903"/>
                    <a:gd name="connsiteY1191" fmla="*/ 884938 h 4401009"/>
                    <a:gd name="connsiteX1192" fmla="*/ 922851 w 3830903"/>
                    <a:gd name="connsiteY1192" fmla="*/ 891698 h 4401009"/>
                    <a:gd name="connsiteX1193" fmla="*/ 914400 w 3830903"/>
                    <a:gd name="connsiteY1193" fmla="*/ 900149 h 4401009"/>
                    <a:gd name="connsiteX1194" fmla="*/ 905949 w 3830903"/>
                    <a:gd name="connsiteY1194" fmla="*/ 913671 h 4401009"/>
                    <a:gd name="connsiteX1195" fmla="*/ 907640 w 3830903"/>
                    <a:gd name="connsiteY1195" fmla="*/ 922122 h 4401009"/>
                    <a:gd name="connsiteX1196" fmla="*/ 911020 w 3830903"/>
                    <a:gd name="connsiteY1196" fmla="*/ 925503 h 4401009"/>
                    <a:gd name="connsiteX1197" fmla="*/ 914400 w 3830903"/>
                    <a:gd name="connsiteY1197" fmla="*/ 915361 h 4401009"/>
                    <a:gd name="connsiteX1198" fmla="*/ 921161 w 3830903"/>
                    <a:gd name="connsiteY1198" fmla="*/ 905220 h 4401009"/>
                    <a:gd name="connsiteX1199" fmla="*/ 927922 w 3830903"/>
                    <a:gd name="connsiteY1199" fmla="*/ 901840 h 4401009"/>
                    <a:gd name="connsiteX1200" fmla="*/ 931302 w 3830903"/>
                    <a:gd name="connsiteY1200" fmla="*/ 890008 h 4401009"/>
                    <a:gd name="connsiteX1201" fmla="*/ 970177 w 3830903"/>
                    <a:gd name="connsiteY1201" fmla="*/ 888318 h 4401009"/>
                    <a:gd name="connsiteX1202" fmla="*/ 978628 w 3830903"/>
                    <a:gd name="connsiteY1202" fmla="*/ 890008 h 4401009"/>
                    <a:gd name="connsiteX1203" fmla="*/ 1007362 w 3830903"/>
                    <a:gd name="connsiteY1203" fmla="*/ 896769 h 4401009"/>
                    <a:gd name="connsiteX1204" fmla="*/ 1024264 w 3830903"/>
                    <a:gd name="connsiteY1204" fmla="*/ 891698 h 4401009"/>
                    <a:gd name="connsiteX1205" fmla="*/ 1037785 w 3830903"/>
                    <a:gd name="connsiteY1205" fmla="*/ 886628 h 4401009"/>
                    <a:gd name="connsiteX1206" fmla="*/ 1041166 w 3830903"/>
                    <a:gd name="connsiteY1206" fmla="*/ 881557 h 4401009"/>
                    <a:gd name="connsiteX1207" fmla="*/ 1046236 w 3830903"/>
                    <a:gd name="connsiteY1207" fmla="*/ 874796 h 4401009"/>
                    <a:gd name="connsiteX1208" fmla="*/ 1052997 w 3830903"/>
                    <a:gd name="connsiteY1208" fmla="*/ 861275 h 4401009"/>
                    <a:gd name="connsiteX1209" fmla="*/ 1061448 w 3830903"/>
                    <a:gd name="connsiteY1209" fmla="*/ 862965 h 4401009"/>
                    <a:gd name="connsiteX1210" fmla="*/ 1063138 w 3830903"/>
                    <a:gd name="connsiteY1210" fmla="*/ 874796 h 4401009"/>
                    <a:gd name="connsiteX1211" fmla="*/ 1064828 w 3830903"/>
                    <a:gd name="connsiteY1211" fmla="*/ 879867 h 4401009"/>
                    <a:gd name="connsiteX1212" fmla="*/ 1076660 w 3830903"/>
                    <a:gd name="connsiteY1212" fmla="*/ 883247 h 4401009"/>
                    <a:gd name="connsiteX1213" fmla="*/ 1102013 w 3830903"/>
                    <a:gd name="connsiteY1213" fmla="*/ 871416 h 4401009"/>
                    <a:gd name="connsiteX1214" fmla="*/ 1096942 w 3830903"/>
                    <a:gd name="connsiteY1214" fmla="*/ 868036 h 4401009"/>
                    <a:gd name="connsiteX1215" fmla="*/ 1083421 w 3830903"/>
                    <a:gd name="connsiteY1215" fmla="*/ 862965 h 4401009"/>
                    <a:gd name="connsiteX1216" fmla="*/ 1080040 w 3830903"/>
                    <a:gd name="connsiteY1216" fmla="*/ 859585 h 4401009"/>
                    <a:gd name="connsiteX1217" fmla="*/ 1078350 w 3830903"/>
                    <a:gd name="connsiteY1217" fmla="*/ 852824 h 4401009"/>
                    <a:gd name="connsiteX1218" fmla="*/ 1071589 w 3830903"/>
                    <a:gd name="connsiteY1218" fmla="*/ 842683 h 4401009"/>
                    <a:gd name="connsiteX1219" fmla="*/ 1069899 w 3830903"/>
                    <a:gd name="connsiteY1219" fmla="*/ 837612 h 4401009"/>
                    <a:gd name="connsiteX1220" fmla="*/ 1059758 w 3830903"/>
                    <a:gd name="connsiteY1220" fmla="*/ 834232 h 4401009"/>
                    <a:gd name="connsiteX1221" fmla="*/ 1058068 w 3830903"/>
                    <a:gd name="connsiteY1221" fmla="*/ 829161 h 4401009"/>
                    <a:gd name="connsiteX1222" fmla="*/ 1054687 w 3830903"/>
                    <a:gd name="connsiteY1222" fmla="*/ 822400 h 4401009"/>
                    <a:gd name="connsiteX1223" fmla="*/ 1052997 w 3830903"/>
                    <a:gd name="connsiteY1223" fmla="*/ 817330 h 4401009"/>
                    <a:gd name="connsiteX1224" fmla="*/ 1049617 w 3830903"/>
                    <a:gd name="connsiteY1224" fmla="*/ 810569 h 4401009"/>
                    <a:gd name="connsiteX1225" fmla="*/ 1046236 w 3830903"/>
                    <a:gd name="connsiteY1225" fmla="*/ 807188 h 4401009"/>
                    <a:gd name="connsiteX1226" fmla="*/ 1041166 w 3830903"/>
                    <a:gd name="connsiteY1226" fmla="*/ 800427 h 4401009"/>
                    <a:gd name="connsiteX1227" fmla="*/ 1027644 w 3830903"/>
                    <a:gd name="connsiteY1227" fmla="*/ 797047 h 4401009"/>
                    <a:gd name="connsiteX1228" fmla="*/ 1020883 w 3830903"/>
                    <a:gd name="connsiteY1228" fmla="*/ 791976 h 4401009"/>
                    <a:gd name="connsiteX1229" fmla="*/ 997220 w 3830903"/>
                    <a:gd name="connsiteY1229" fmla="*/ 785216 h 4401009"/>
                    <a:gd name="connsiteX1230" fmla="*/ 992150 w 3830903"/>
                    <a:gd name="connsiteY1230" fmla="*/ 783525 h 4401009"/>
                    <a:gd name="connsiteX1231" fmla="*/ 988769 w 3830903"/>
                    <a:gd name="connsiteY1231" fmla="*/ 775074 h 4401009"/>
                    <a:gd name="connsiteX1232" fmla="*/ 980318 w 3830903"/>
                    <a:gd name="connsiteY1232" fmla="*/ 761553 h 4401009"/>
                    <a:gd name="connsiteX1233" fmla="*/ 965106 w 3830903"/>
                    <a:gd name="connsiteY1233" fmla="*/ 753102 h 4401009"/>
                    <a:gd name="connsiteX1234" fmla="*/ 956655 w 3830903"/>
                    <a:gd name="connsiteY1234" fmla="*/ 746341 h 4401009"/>
                    <a:gd name="connsiteX1235" fmla="*/ 956655 w 3830903"/>
                    <a:gd name="connsiteY1235" fmla="*/ 705776 h 4401009"/>
                    <a:gd name="connsiteX1236" fmla="*/ 960036 w 3830903"/>
                    <a:gd name="connsiteY1236" fmla="*/ 699015 h 4401009"/>
                    <a:gd name="connsiteX1237" fmla="*/ 970177 w 3830903"/>
                    <a:gd name="connsiteY1237" fmla="*/ 690564 h 4401009"/>
                    <a:gd name="connsiteX1238" fmla="*/ 978628 w 3830903"/>
                    <a:gd name="connsiteY1238" fmla="*/ 682113 h 4401009"/>
                    <a:gd name="connsiteX1239" fmla="*/ 982009 w 3830903"/>
                    <a:gd name="connsiteY1239" fmla="*/ 660141 h 4401009"/>
                    <a:gd name="connsiteX1240" fmla="*/ 987079 w 3830903"/>
                    <a:gd name="connsiteY1240" fmla="*/ 644929 h 4401009"/>
                    <a:gd name="connsiteX1241" fmla="*/ 990460 w 3830903"/>
                    <a:gd name="connsiteY1241" fmla="*/ 633097 h 4401009"/>
                    <a:gd name="connsiteX1242" fmla="*/ 995530 w 3830903"/>
                    <a:gd name="connsiteY1242" fmla="*/ 624646 h 4401009"/>
                    <a:gd name="connsiteX1243" fmla="*/ 1007362 w 3830903"/>
                    <a:gd name="connsiteY1243" fmla="*/ 616195 h 4401009"/>
                    <a:gd name="connsiteX1244" fmla="*/ 1010742 w 3830903"/>
                    <a:gd name="connsiteY1244" fmla="*/ 606054 h 4401009"/>
                    <a:gd name="connsiteX1245" fmla="*/ 1017503 w 3830903"/>
                    <a:gd name="connsiteY1245" fmla="*/ 580701 h 4401009"/>
                    <a:gd name="connsiteX1246" fmla="*/ 1024264 w 3830903"/>
                    <a:gd name="connsiteY1246" fmla="*/ 577321 h 4401009"/>
                    <a:gd name="connsiteX1247" fmla="*/ 1029334 w 3830903"/>
                    <a:gd name="connsiteY1247" fmla="*/ 575630 h 4401009"/>
                    <a:gd name="connsiteX1248" fmla="*/ 1031024 w 3830903"/>
                    <a:gd name="connsiteY1248" fmla="*/ 570560 h 4401009"/>
                    <a:gd name="connsiteX1249" fmla="*/ 1032715 w 3830903"/>
                    <a:gd name="connsiteY1249" fmla="*/ 558728 h 4401009"/>
                    <a:gd name="connsiteX1250" fmla="*/ 1034405 w 3830903"/>
                    <a:gd name="connsiteY1250" fmla="*/ 545207 h 4401009"/>
                    <a:gd name="connsiteX1251" fmla="*/ 1036095 w 3830903"/>
                    <a:gd name="connsiteY1251" fmla="*/ 536756 h 4401009"/>
                    <a:gd name="connsiteX1252" fmla="*/ 1039475 w 3830903"/>
                    <a:gd name="connsiteY1252" fmla="*/ 516473 h 4401009"/>
                    <a:gd name="connsiteX1253" fmla="*/ 1037785 w 3830903"/>
                    <a:gd name="connsiteY1253" fmla="*/ 509713 h 4401009"/>
                    <a:gd name="connsiteX1254" fmla="*/ 1036095 w 3830903"/>
                    <a:gd name="connsiteY1254" fmla="*/ 504642 h 4401009"/>
                    <a:gd name="connsiteX1255" fmla="*/ 1034405 w 3830903"/>
                    <a:gd name="connsiteY1255" fmla="*/ 492810 h 4401009"/>
                    <a:gd name="connsiteX1256" fmla="*/ 1056377 w 3830903"/>
                    <a:gd name="connsiteY1256" fmla="*/ 491120 h 4401009"/>
                    <a:gd name="connsiteX1257" fmla="*/ 1066519 w 3830903"/>
                    <a:gd name="connsiteY1257" fmla="*/ 492810 h 4401009"/>
                    <a:gd name="connsiteX1258" fmla="*/ 1088491 w 3830903"/>
                    <a:gd name="connsiteY1258" fmla="*/ 494501 h 4401009"/>
                    <a:gd name="connsiteX1259" fmla="*/ 1091872 w 3830903"/>
                    <a:gd name="connsiteY1259" fmla="*/ 486050 h 4401009"/>
                    <a:gd name="connsiteX1260" fmla="*/ 1123986 w 3830903"/>
                    <a:gd name="connsiteY1260" fmla="*/ 477599 h 4401009"/>
                    <a:gd name="connsiteX1261" fmla="*/ 1135817 w 3830903"/>
                    <a:gd name="connsiteY1261" fmla="*/ 480979 h 4401009"/>
                    <a:gd name="connsiteX1262" fmla="*/ 1149339 w 3830903"/>
                    <a:gd name="connsiteY1262" fmla="*/ 487740 h 4401009"/>
                    <a:gd name="connsiteX1263" fmla="*/ 1151029 w 3830903"/>
                    <a:gd name="connsiteY1263" fmla="*/ 501261 h 4401009"/>
                    <a:gd name="connsiteX1264" fmla="*/ 1147648 w 3830903"/>
                    <a:gd name="connsiteY1264" fmla="*/ 513093 h 4401009"/>
                    <a:gd name="connsiteX1265" fmla="*/ 1144268 w 3830903"/>
                    <a:gd name="connsiteY1265" fmla="*/ 521544 h 4401009"/>
                    <a:gd name="connsiteX1266" fmla="*/ 1142578 w 3830903"/>
                    <a:gd name="connsiteY1266" fmla="*/ 531685 h 4401009"/>
                    <a:gd name="connsiteX1267" fmla="*/ 1162860 w 3830903"/>
                    <a:gd name="connsiteY1267" fmla="*/ 528305 h 4401009"/>
                    <a:gd name="connsiteX1268" fmla="*/ 1149339 w 3830903"/>
                    <a:gd name="connsiteY1268" fmla="*/ 519854 h 4401009"/>
                    <a:gd name="connsiteX1269" fmla="*/ 1152719 w 3830903"/>
                    <a:gd name="connsiteY1269" fmla="*/ 513093 h 4401009"/>
                    <a:gd name="connsiteX1270" fmla="*/ 1164550 w 3830903"/>
                    <a:gd name="connsiteY1270" fmla="*/ 501261 h 4401009"/>
                    <a:gd name="connsiteX1271" fmla="*/ 1171311 w 3830903"/>
                    <a:gd name="connsiteY1271" fmla="*/ 499571 h 4401009"/>
                    <a:gd name="connsiteX1272" fmla="*/ 1181453 w 3830903"/>
                    <a:gd name="connsiteY1272" fmla="*/ 501261 h 4401009"/>
                    <a:gd name="connsiteX1273" fmla="*/ 1198355 w 3830903"/>
                    <a:gd name="connsiteY1273" fmla="*/ 523234 h 4401009"/>
                    <a:gd name="connsiteX1274" fmla="*/ 1201631 w 3830903"/>
                    <a:gd name="connsiteY1274" fmla="*/ 527081 h 4401009"/>
                    <a:gd name="connsiteX1275" fmla="*/ 1201471 w 3830903"/>
                    <a:gd name="connsiteY1275" fmla="*/ 525891 h 4401009"/>
                    <a:gd name="connsiteX1276" fmla="*/ 1205115 w 3830903"/>
                    <a:gd name="connsiteY1276" fmla="*/ 533375 h 4401009"/>
                    <a:gd name="connsiteX1277" fmla="*/ 1220327 w 3830903"/>
                    <a:gd name="connsiteY1277" fmla="*/ 540136 h 4401009"/>
                    <a:gd name="connsiteX1278" fmla="*/ 1225398 w 3830903"/>
                    <a:gd name="connsiteY1278" fmla="*/ 535066 h 4401009"/>
                    <a:gd name="connsiteX1279" fmla="*/ 1223708 w 3830903"/>
                    <a:gd name="connsiteY1279" fmla="*/ 529995 h 4401009"/>
                    <a:gd name="connsiteX1280" fmla="*/ 1220327 w 3830903"/>
                    <a:gd name="connsiteY1280" fmla="*/ 526615 h 4401009"/>
                    <a:gd name="connsiteX1281" fmla="*/ 1215257 w 3830903"/>
                    <a:gd name="connsiteY1281" fmla="*/ 519854 h 4401009"/>
                    <a:gd name="connsiteX1282" fmla="*/ 1208496 w 3830903"/>
                    <a:gd name="connsiteY1282" fmla="*/ 518164 h 4401009"/>
                    <a:gd name="connsiteX1283" fmla="*/ 1198355 w 3830903"/>
                    <a:gd name="connsiteY1283" fmla="*/ 506332 h 4401009"/>
                    <a:gd name="connsiteX1284" fmla="*/ 1188213 w 3830903"/>
                    <a:gd name="connsiteY1284" fmla="*/ 494501 h 4401009"/>
                    <a:gd name="connsiteX1285" fmla="*/ 1179762 w 3830903"/>
                    <a:gd name="connsiteY1285" fmla="*/ 430273 h 4401009"/>
                    <a:gd name="connsiteX1286" fmla="*/ 1178072 w 3830903"/>
                    <a:gd name="connsiteY1286" fmla="*/ 421822 h 4401009"/>
                    <a:gd name="connsiteX1287" fmla="*/ 1176382 w 3830903"/>
                    <a:gd name="connsiteY1287" fmla="*/ 399849 h 4401009"/>
                    <a:gd name="connsiteX1288" fmla="*/ 1161170 w 3830903"/>
                    <a:gd name="connsiteY1288" fmla="*/ 401539 h 4401009"/>
                    <a:gd name="connsiteX1289" fmla="*/ 1154409 w 3830903"/>
                    <a:gd name="connsiteY1289" fmla="*/ 399849 h 4401009"/>
                    <a:gd name="connsiteX1290" fmla="*/ 1147648 w 3830903"/>
                    <a:gd name="connsiteY1290" fmla="*/ 376186 h 4401009"/>
                    <a:gd name="connsiteX1291" fmla="*/ 1139197 w 3830903"/>
                    <a:gd name="connsiteY1291" fmla="*/ 366045 h 4401009"/>
                    <a:gd name="connsiteX1292" fmla="*/ 1135817 w 3830903"/>
                    <a:gd name="connsiteY1292" fmla="*/ 360975 h 4401009"/>
                    <a:gd name="connsiteX1293" fmla="*/ 1123986 w 3830903"/>
                    <a:gd name="connsiteY1293" fmla="*/ 354214 h 4401009"/>
                    <a:gd name="connsiteX1294" fmla="*/ 1115535 w 3830903"/>
                    <a:gd name="connsiteY1294" fmla="*/ 339002 h 4401009"/>
                    <a:gd name="connsiteX1295" fmla="*/ 1103703 w 3830903"/>
                    <a:gd name="connsiteY1295" fmla="*/ 332241 h 4401009"/>
                    <a:gd name="connsiteX1296" fmla="*/ 1080040 w 3830903"/>
                    <a:gd name="connsiteY1296" fmla="*/ 330551 h 4401009"/>
                    <a:gd name="connsiteX1297" fmla="*/ 1074970 w 3830903"/>
                    <a:gd name="connsiteY1297" fmla="*/ 327171 h 4401009"/>
                    <a:gd name="connsiteX1298" fmla="*/ 1066519 w 3830903"/>
                    <a:gd name="connsiteY1298" fmla="*/ 311959 h 4401009"/>
                    <a:gd name="connsiteX1299" fmla="*/ 1061448 w 3830903"/>
                    <a:gd name="connsiteY1299" fmla="*/ 281535 h 4401009"/>
                    <a:gd name="connsiteX1300" fmla="*/ 1058068 w 3830903"/>
                    <a:gd name="connsiteY1300" fmla="*/ 257872 h 4401009"/>
                    <a:gd name="connsiteX1301" fmla="*/ 1054687 w 3830903"/>
                    <a:gd name="connsiteY1301" fmla="*/ 246041 h 4401009"/>
                    <a:gd name="connsiteX1302" fmla="*/ 1044546 w 3830903"/>
                    <a:gd name="connsiteY1302" fmla="*/ 237590 h 4401009"/>
                    <a:gd name="connsiteX1303" fmla="*/ 1039475 w 3830903"/>
                    <a:gd name="connsiteY1303" fmla="*/ 234209 h 4401009"/>
                    <a:gd name="connsiteX1304" fmla="*/ 1037785 w 3830903"/>
                    <a:gd name="connsiteY1304" fmla="*/ 229139 h 4401009"/>
                    <a:gd name="connsiteX1305" fmla="*/ 1031024 w 3830903"/>
                    <a:gd name="connsiteY1305" fmla="*/ 217307 h 4401009"/>
                    <a:gd name="connsiteX1306" fmla="*/ 1024264 w 3830903"/>
                    <a:gd name="connsiteY1306" fmla="*/ 205476 h 4401009"/>
                    <a:gd name="connsiteX1307" fmla="*/ 1017503 w 3830903"/>
                    <a:gd name="connsiteY1307" fmla="*/ 197025 h 4401009"/>
                    <a:gd name="connsiteX1308" fmla="*/ 1015813 w 3830903"/>
                    <a:gd name="connsiteY1308" fmla="*/ 191954 h 4401009"/>
                    <a:gd name="connsiteX1309" fmla="*/ 1012432 w 3830903"/>
                    <a:gd name="connsiteY1309" fmla="*/ 186884 h 4401009"/>
                    <a:gd name="connsiteX1310" fmla="*/ 1000601 w 3830903"/>
                    <a:gd name="connsiteY1310" fmla="*/ 176742 h 4401009"/>
                    <a:gd name="connsiteX1311" fmla="*/ 992150 w 3830903"/>
                    <a:gd name="connsiteY1311" fmla="*/ 168291 h 4401009"/>
                    <a:gd name="connsiteX1312" fmla="*/ 980318 w 3830903"/>
                    <a:gd name="connsiteY1312" fmla="*/ 146319 h 4401009"/>
                    <a:gd name="connsiteX1313" fmla="*/ 971867 w 3830903"/>
                    <a:gd name="connsiteY1313" fmla="*/ 142938 h 4401009"/>
                    <a:gd name="connsiteX1314" fmla="*/ 966797 w 3830903"/>
                    <a:gd name="connsiteY1314" fmla="*/ 141248 h 4401009"/>
                    <a:gd name="connsiteX1315" fmla="*/ 954965 w 3830903"/>
                    <a:gd name="connsiteY1315" fmla="*/ 131107 h 4401009"/>
                    <a:gd name="connsiteX1316" fmla="*/ 946514 w 3830903"/>
                    <a:gd name="connsiteY1316" fmla="*/ 124346 h 4401009"/>
                    <a:gd name="connsiteX1317" fmla="*/ 932993 w 3830903"/>
                    <a:gd name="connsiteY1317" fmla="*/ 119276 h 4401009"/>
                    <a:gd name="connsiteX1318" fmla="*/ 927922 w 3830903"/>
                    <a:gd name="connsiteY1318" fmla="*/ 114205 h 4401009"/>
                    <a:gd name="connsiteX1319" fmla="*/ 909330 w 3830903"/>
                    <a:gd name="connsiteY1319" fmla="*/ 109134 h 4401009"/>
                    <a:gd name="connsiteX1320" fmla="*/ 907640 w 3830903"/>
                    <a:gd name="connsiteY1320" fmla="*/ 102374 h 4401009"/>
                    <a:gd name="connsiteX1321" fmla="*/ 943134 w 3830903"/>
                    <a:gd name="connsiteY1321" fmla="*/ 104064 h 4401009"/>
                    <a:gd name="connsiteX1322" fmla="*/ 963416 w 3830903"/>
                    <a:gd name="connsiteY1322" fmla="*/ 105754 h 4401009"/>
                    <a:gd name="connsiteX1323" fmla="*/ 970177 w 3830903"/>
                    <a:gd name="connsiteY1323" fmla="*/ 98993 h 4401009"/>
                    <a:gd name="connsiteX1324" fmla="*/ 978628 w 3830903"/>
                    <a:gd name="connsiteY1324" fmla="*/ 92232 h 4401009"/>
                    <a:gd name="connsiteX1325" fmla="*/ 987079 w 3830903"/>
                    <a:gd name="connsiteY1325" fmla="*/ 90542 h 4401009"/>
                    <a:gd name="connsiteX1326" fmla="*/ 1003981 w 3830903"/>
                    <a:gd name="connsiteY1326" fmla="*/ 83781 h 4401009"/>
                    <a:gd name="connsiteX1327" fmla="*/ 1010742 w 3830903"/>
                    <a:gd name="connsiteY1327" fmla="*/ 80401 h 4401009"/>
                    <a:gd name="connsiteX1328" fmla="*/ 1019193 w 3830903"/>
                    <a:gd name="connsiteY1328" fmla="*/ 75330 h 4401009"/>
                    <a:gd name="connsiteX1329" fmla="*/ 1037785 w 3830903"/>
                    <a:gd name="connsiteY1329" fmla="*/ 61809 h 4401009"/>
                    <a:gd name="connsiteX1330" fmla="*/ 1059758 w 3830903"/>
                    <a:gd name="connsiteY1330" fmla="*/ 63499 h 4401009"/>
                    <a:gd name="connsiteX1331" fmla="*/ 1073280 w 3830903"/>
                    <a:gd name="connsiteY1331" fmla="*/ 65189 h 4401009"/>
                    <a:gd name="connsiteX1332" fmla="*/ 1088491 w 3830903"/>
                    <a:gd name="connsiteY1332" fmla="*/ 71950 h 4401009"/>
                    <a:gd name="connsiteX1333" fmla="*/ 1090182 w 3830903"/>
                    <a:gd name="connsiteY1333" fmla="*/ 77020 h 4401009"/>
                    <a:gd name="connsiteX1334" fmla="*/ 1096942 w 3830903"/>
                    <a:gd name="connsiteY1334" fmla="*/ 85471 h 4401009"/>
                    <a:gd name="connsiteX1335" fmla="*/ 1102013 w 3830903"/>
                    <a:gd name="connsiteY1335" fmla="*/ 90542 h 4401009"/>
                    <a:gd name="connsiteX1336" fmla="*/ 1134127 w 3830903"/>
                    <a:gd name="connsiteY1336" fmla="*/ 93922 h 4401009"/>
                    <a:gd name="connsiteX1337" fmla="*/ 1147648 w 3830903"/>
                    <a:gd name="connsiteY1337" fmla="*/ 95613 h 4401009"/>
                    <a:gd name="connsiteX1338" fmla="*/ 1149339 w 3830903"/>
                    <a:gd name="connsiteY1338" fmla="*/ 100683 h 4401009"/>
                    <a:gd name="connsiteX1339" fmla="*/ 1156099 w 3830903"/>
                    <a:gd name="connsiteY1339" fmla="*/ 114205 h 4401009"/>
                    <a:gd name="connsiteX1340" fmla="*/ 1161170 w 3830903"/>
                    <a:gd name="connsiteY1340" fmla="*/ 120966 h 4401009"/>
                    <a:gd name="connsiteX1341" fmla="*/ 1167931 w 3830903"/>
                    <a:gd name="connsiteY1341" fmla="*/ 126036 h 4401009"/>
                    <a:gd name="connsiteX1342" fmla="*/ 1171311 w 3830903"/>
                    <a:gd name="connsiteY1342" fmla="*/ 129417 h 4401009"/>
                    <a:gd name="connsiteX1343" fmla="*/ 1183143 w 3830903"/>
                    <a:gd name="connsiteY1343" fmla="*/ 132797 h 4401009"/>
                    <a:gd name="connsiteX1344" fmla="*/ 1189904 w 3830903"/>
                    <a:gd name="connsiteY1344" fmla="*/ 136178 h 4401009"/>
                    <a:gd name="connsiteX1345" fmla="*/ 1191594 w 3830903"/>
                    <a:gd name="connsiteY1345" fmla="*/ 141248 h 4401009"/>
                    <a:gd name="connsiteX1346" fmla="*/ 1174692 w 3830903"/>
                    <a:gd name="connsiteY1346" fmla="*/ 153080 h 4401009"/>
                    <a:gd name="connsiteX1347" fmla="*/ 1161170 w 3830903"/>
                    <a:gd name="connsiteY1347" fmla="*/ 161531 h 4401009"/>
                    <a:gd name="connsiteX1348" fmla="*/ 1149339 w 3830903"/>
                    <a:gd name="connsiteY1348" fmla="*/ 166601 h 4401009"/>
                    <a:gd name="connsiteX1349" fmla="*/ 1144268 w 3830903"/>
                    <a:gd name="connsiteY1349" fmla="*/ 168291 h 4401009"/>
                    <a:gd name="connsiteX1350" fmla="*/ 1140888 w 3830903"/>
                    <a:gd name="connsiteY1350" fmla="*/ 173362 h 4401009"/>
                    <a:gd name="connsiteX1351" fmla="*/ 1127366 w 3830903"/>
                    <a:gd name="connsiteY1351" fmla="*/ 181813 h 4401009"/>
                    <a:gd name="connsiteX1352" fmla="*/ 1118915 w 3830903"/>
                    <a:gd name="connsiteY1352" fmla="*/ 190264 h 4401009"/>
                    <a:gd name="connsiteX1353" fmla="*/ 1117225 w 3830903"/>
                    <a:gd name="connsiteY1353" fmla="*/ 213927 h 4401009"/>
                    <a:gd name="connsiteX1354" fmla="*/ 1122295 w 3830903"/>
                    <a:gd name="connsiteY1354" fmla="*/ 218998 h 4401009"/>
                    <a:gd name="connsiteX1355" fmla="*/ 1125676 w 3830903"/>
                    <a:gd name="connsiteY1355" fmla="*/ 225758 h 4401009"/>
                    <a:gd name="connsiteX1356" fmla="*/ 1132437 w 3830903"/>
                    <a:gd name="connsiteY1356" fmla="*/ 229139 h 4401009"/>
                    <a:gd name="connsiteX1357" fmla="*/ 1125676 w 3830903"/>
                    <a:gd name="connsiteY1357" fmla="*/ 230829 h 4401009"/>
                    <a:gd name="connsiteX1358" fmla="*/ 1125676 w 3830903"/>
                    <a:gd name="connsiteY1358" fmla="*/ 262943 h 4401009"/>
                    <a:gd name="connsiteX1359" fmla="*/ 1130746 w 3830903"/>
                    <a:gd name="connsiteY1359" fmla="*/ 264633 h 4401009"/>
                    <a:gd name="connsiteX1360" fmla="*/ 1144268 w 3830903"/>
                    <a:gd name="connsiteY1360" fmla="*/ 268013 h 4401009"/>
                    <a:gd name="connsiteX1361" fmla="*/ 1179762 w 3830903"/>
                    <a:gd name="connsiteY1361" fmla="*/ 271394 h 4401009"/>
                    <a:gd name="connsiteX1362" fmla="*/ 1188213 w 3830903"/>
                    <a:gd name="connsiteY1362" fmla="*/ 274774 h 4401009"/>
                    <a:gd name="connsiteX1363" fmla="*/ 1191594 w 3830903"/>
                    <a:gd name="connsiteY1363" fmla="*/ 281535 h 4401009"/>
                    <a:gd name="connsiteX1364" fmla="*/ 1206806 w 3830903"/>
                    <a:gd name="connsiteY1364" fmla="*/ 296747 h 4401009"/>
                    <a:gd name="connsiteX1365" fmla="*/ 1211876 w 3830903"/>
                    <a:gd name="connsiteY1365" fmla="*/ 305198 h 4401009"/>
                    <a:gd name="connsiteX1366" fmla="*/ 1220327 w 3830903"/>
                    <a:gd name="connsiteY1366" fmla="*/ 315339 h 4401009"/>
                    <a:gd name="connsiteX1367" fmla="*/ 1225398 w 3830903"/>
                    <a:gd name="connsiteY1367" fmla="*/ 318720 h 4401009"/>
                    <a:gd name="connsiteX1368" fmla="*/ 1243990 w 3830903"/>
                    <a:gd name="connsiteY1368" fmla="*/ 322100 h 4401009"/>
                    <a:gd name="connsiteX1369" fmla="*/ 1250751 w 3830903"/>
                    <a:gd name="connsiteY1369" fmla="*/ 320410 h 4401009"/>
                    <a:gd name="connsiteX1370" fmla="*/ 1257512 w 3830903"/>
                    <a:gd name="connsiteY1370" fmla="*/ 310269 h 4401009"/>
                    <a:gd name="connsiteX1371" fmla="*/ 1260892 w 3830903"/>
                    <a:gd name="connsiteY1371" fmla="*/ 305198 h 4401009"/>
                    <a:gd name="connsiteX1372" fmla="*/ 1265963 w 3830903"/>
                    <a:gd name="connsiteY1372" fmla="*/ 306888 h 4401009"/>
                    <a:gd name="connsiteX1373" fmla="*/ 1269343 w 3830903"/>
                    <a:gd name="connsiteY1373" fmla="*/ 320410 h 4401009"/>
                    <a:gd name="connsiteX1374" fmla="*/ 1274414 w 3830903"/>
                    <a:gd name="connsiteY1374" fmla="*/ 323790 h 4401009"/>
                    <a:gd name="connsiteX1375" fmla="*/ 1276104 w 3830903"/>
                    <a:gd name="connsiteY1375" fmla="*/ 311959 h 4401009"/>
                    <a:gd name="connsiteX1376" fmla="*/ 1271033 w 3830903"/>
                    <a:gd name="connsiteY1376" fmla="*/ 301817 h 4401009"/>
                    <a:gd name="connsiteX1377" fmla="*/ 1272723 w 3830903"/>
                    <a:gd name="connsiteY1377" fmla="*/ 296747 h 4401009"/>
                    <a:gd name="connsiteX1378" fmla="*/ 1279484 w 3830903"/>
                    <a:gd name="connsiteY1378" fmla="*/ 293366 h 4401009"/>
                    <a:gd name="connsiteX1379" fmla="*/ 1289626 w 3830903"/>
                    <a:gd name="connsiteY1379" fmla="*/ 288296 h 4401009"/>
                    <a:gd name="connsiteX1380" fmla="*/ 1291316 w 3830903"/>
                    <a:gd name="connsiteY1380" fmla="*/ 283225 h 4401009"/>
                    <a:gd name="connsiteX1381" fmla="*/ 1294696 w 3830903"/>
                    <a:gd name="connsiteY1381" fmla="*/ 276464 h 4401009"/>
                    <a:gd name="connsiteX1382" fmla="*/ 1303147 w 3830903"/>
                    <a:gd name="connsiteY1382" fmla="*/ 266323 h 4401009"/>
                    <a:gd name="connsiteX1383" fmla="*/ 1308218 w 3830903"/>
                    <a:gd name="connsiteY1383" fmla="*/ 262943 h 4401009"/>
                    <a:gd name="connsiteX1384" fmla="*/ 1311598 w 3830903"/>
                    <a:gd name="connsiteY1384" fmla="*/ 252802 h 4401009"/>
                    <a:gd name="connsiteX1385" fmla="*/ 1318359 w 3830903"/>
                    <a:gd name="connsiteY1385" fmla="*/ 247731 h 4401009"/>
                    <a:gd name="connsiteX1386" fmla="*/ 1326810 w 3830903"/>
                    <a:gd name="connsiteY1386" fmla="*/ 239280 h 4401009"/>
                    <a:gd name="connsiteX1387" fmla="*/ 1330190 w 3830903"/>
                    <a:gd name="connsiteY1387" fmla="*/ 222378 h 4401009"/>
                    <a:gd name="connsiteX1388" fmla="*/ 1328500 w 3830903"/>
                    <a:gd name="connsiteY1388" fmla="*/ 217307 h 4401009"/>
                    <a:gd name="connsiteX1389" fmla="*/ 1323430 w 3830903"/>
                    <a:gd name="connsiteY1389" fmla="*/ 215617 h 4401009"/>
                    <a:gd name="connsiteX1390" fmla="*/ 1318359 w 3830903"/>
                    <a:gd name="connsiteY1390" fmla="*/ 210547 h 4401009"/>
                    <a:gd name="connsiteX1391" fmla="*/ 1313288 w 3830903"/>
                    <a:gd name="connsiteY1391" fmla="*/ 197025 h 4401009"/>
                    <a:gd name="connsiteX1392" fmla="*/ 1304837 w 3830903"/>
                    <a:gd name="connsiteY1392" fmla="*/ 188574 h 4401009"/>
                    <a:gd name="connsiteX1393" fmla="*/ 1303147 w 3830903"/>
                    <a:gd name="connsiteY1393" fmla="*/ 180123 h 4401009"/>
                    <a:gd name="connsiteX1394" fmla="*/ 1298077 w 3830903"/>
                    <a:gd name="connsiteY1394" fmla="*/ 171672 h 4401009"/>
                    <a:gd name="connsiteX1395" fmla="*/ 1296386 w 3830903"/>
                    <a:gd name="connsiteY1395" fmla="*/ 164911 h 4401009"/>
                    <a:gd name="connsiteX1396" fmla="*/ 1293006 w 3830903"/>
                    <a:gd name="connsiteY1396" fmla="*/ 153080 h 4401009"/>
                    <a:gd name="connsiteX1397" fmla="*/ 1289626 w 3830903"/>
                    <a:gd name="connsiteY1397" fmla="*/ 148009 h 4401009"/>
                    <a:gd name="connsiteX1398" fmla="*/ 1284555 w 3830903"/>
                    <a:gd name="connsiteY1398" fmla="*/ 146319 h 4401009"/>
                    <a:gd name="connsiteX1399" fmla="*/ 1277794 w 3830903"/>
                    <a:gd name="connsiteY1399" fmla="*/ 129417 h 4401009"/>
                    <a:gd name="connsiteX1400" fmla="*/ 1281175 w 3830903"/>
                    <a:gd name="connsiteY1400" fmla="*/ 124346 h 4401009"/>
                    <a:gd name="connsiteX1401" fmla="*/ 1293006 w 3830903"/>
                    <a:gd name="connsiteY1401" fmla="*/ 114205 h 4401009"/>
                    <a:gd name="connsiteX1402" fmla="*/ 1296386 w 3830903"/>
                    <a:gd name="connsiteY1402" fmla="*/ 98993 h 4401009"/>
                    <a:gd name="connsiteX1403" fmla="*/ 1303147 w 3830903"/>
                    <a:gd name="connsiteY1403" fmla="*/ 97303 h 4401009"/>
                    <a:gd name="connsiteX1404" fmla="*/ 1306528 w 3830903"/>
                    <a:gd name="connsiteY1404" fmla="*/ 93922 h 4401009"/>
                    <a:gd name="connsiteX1405" fmla="*/ 1313288 w 3830903"/>
                    <a:gd name="connsiteY1405" fmla="*/ 90542 h 4401009"/>
                    <a:gd name="connsiteX1406" fmla="*/ 1338641 w 3830903"/>
                    <a:gd name="connsiteY1406" fmla="*/ 88852 h 4401009"/>
                    <a:gd name="connsiteX1407" fmla="*/ 1345402 w 3830903"/>
                    <a:gd name="connsiteY1407" fmla="*/ 87162 h 4401009"/>
                    <a:gd name="connsiteX1408" fmla="*/ 1340332 w 3830903"/>
                    <a:gd name="connsiteY1408" fmla="*/ 83781 h 4401009"/>
                    <a:gd name="connsiteX1409" fmla="*/ 1325120 w 3830903"/>
                    <a:gd name="connsiteY1409" fmla="*/ 80401 h 4401009"/>
                    <a:gd name="connsiteX1410" fmla="*/ 1318359 w 3830903"/>
                    <a:gd name="connsiteY1410" fmla="*/ 71950 h 4401009"/>
                    <a:gd name="connsiteX1411" fmla="*/ 1309908 w 3830903"/>
                    <a:gd name="connsiteY1411" fmla="*/ 65189 h 4401009"/>
                    <a:gd name="connsiteX1412" fmla="*/ 1303147 w 3830903"/>
                    <a:gd name="connsiteY1412" fmla="*/ 60118 h 4401009"/>
                    <a:gd name="connsiteX1413" fmla="*/ 1296386 w 3830903"/>
                    <a:gd name="connsiteY1413" fmla="*/ 58428 h 4401009"/>
                    <a:gd name="connsiteX1414" fmla="*/ 1287935 w 3830903"/>
                    <a:gd name="connsiteY1414" fmla="*/ 53358 h 4401009"/>
                    <a:gd name="connsiteX1415" fmla="*/ 1320049 w 3830903"/>
                    <a:gd name="connsiteY1415" fmla="*/ 51667 h 4401009"/>
                    <a:gd name="connsiteX1416" fmla="*/ 1325120 w 3830903"/>
                    <a:gd name="connsiteY1416" fmla="*/ 49977 h 4401009"/>
                    <a:gd name="connsiteX1417" fmla="*/ 1326810 w 3830903"/>
                    <a:gd name="connsiteY1417" fmla="*/ 41526 h 4401009"/>
                    <a:gd name="connsiteX1418" fmla="*/ 1330190 w 3830903"/>
                    <a:gd name="connsiteY1418" fmla="*/ 34765 h 4401009"/>
                    <a:gd name="connsiteX1419" fmla="*/ 1331881 w 3830903"/>
                    <a:gd name="connsiteY1419" fmla="*/ 28005 h 4401009"/>
                    <a:gd name="connsiteX1420" fmla="*/ 1336951 w 3830903"/>
                    <a:gd name="connsiteY1420" fmla="*/ 26314 h 4401009"/>
                    <a:gd name="connsiteX1421" fmla="*/ 1345402 w 3830903"/>
                    <a:gd name="connsiteY1421" fmla="*/ 19554 h 4401009"/>
                    <a:gd name="connsiteX1422" fmla="*/ 1358924 w 3830903"/>
                    <a:gd name="connsiteY1422" fmla="*/ 31385 h 4401009"/>
                    <a:gd name="connsiteX1423" fmla="*/ 1409367 w 3830903"/>
                    <a:gd name="connsiteY1423" fmla="*/ 12469 h 4401009"/>
                    <a:gd name="connsiteX1424" fmla="*/ 1409367 w 3830903"/>
                    <a:gd name="connsiteY1424" fmla="*/ 0 h 4401009"/>
                    <a:gd name="connsiteX0" fmla="*/ 3303979 w 3830903"/>
                    <a:gd name="connsiteY0" fmla="*/ 4248325 h 4401009"/>
                    <a:gd name="connsiteX1" fmla="*/ 3303762 w 3830903"/>
                    <a:gd name="connsiteY1" fmla="*/ 4248470 h 4401009"/>
                    <a:gd name="connsiteX2" fmla="*/ 3301903 w 3830903"/>
                    <a:gd name="connsiteY2" fmla="*/ 4248833 h 4401009"/>
                    <a:gd name="connsiteX3" fmla="*/ 3303979 w 3830903"/>
                    <a:gd name="connsiteY3" fmla="*/ 4248325 h 4401009"/>
                    <a:gd name="connsiteX4" fmla="*/ 2098712 w 3830903"/>
                    <a:gd name="connsiteY4" fmla="*/ 4203075 h 4401009"/>
                    <a:gd name="connsiteX5" fmla="*/ 2099886 w 3830903"/>
                    <a:gd name="connsiteY5" fmla="*/ 4204836 h 4401009"/>
                    <a:gd name="connsiteX6" fmla="*/ 2090349 w 3830903"/>
                    <a:gd name="connsiteY6" fmla="*/ 4208650 h 4401009"/>
                    <a:gd name="connsiteX7" fmla="*/ 2098712 w 3830903"/>
                    <a:gd name="connsiteY7" fmla="*/ 4203075 h 4401009"/>
                    <a:gd name="connsiteX8" fmla="*/ 3395042 w 3830903"/>
                    <a:gd name="connsiteY8" fmla="*/ 3469882 h 4401009"/>
                    <a:gd name="connsiteX9" fmla="*/ 3408981 w 3830903"/>
                    <a:gd name="connsiteY9" fmla="*/ 3492184 h 4401009"/>
                    <a:gd name="connsiteX10" fmla="*/ 3403405 w 3830903"/>
                    <a:gd name="connsiteY10" fmla="*/ 3478245 h 4401009"/>
                    <a:gd name="connsiteX11" fmla="*/ 3395042 w 3830903"/>
                    <a:gd name="connsiteY11" fmla="*/ 3475458 h 4401009"/>
                    <a:gd name="connsiteX12" fmla="*/ 3389581 w 3830903"/>
                    <a:gd name="connsiteY12" fmla="*/ 3471787 h 4401009"/>
                    <a:gd name="connsiteX13" fmla="*/ 3395042 w 3830903"/>
                    <a:gd name="connsiteY13" fmla="*/ 3469882 h 4401009"/>
                    <a:gd name="connsiteX14" fmla="*/ 3133016 w 3830903"/>
                    <a:gd name="connsiteY14" fmla="*/ 2427197 h 4401009"/>
                    <a:gd name="connsiteX15" fmla="*/ 3135776 w 3830903"/>
                    <a:gd name="connsiteY15" fmla="*/ 2427243 h 4401009"/>
                    <a:gd name="connsiteX16" fmla="*/ 3105110 w 3830903"/>
                    <a:gd name="connsiteY16" fmla="*/ 2430031 h 4401009"/>
                    <a:gd name="connsiteX17" fmla="*/ 3132988 w 3830903"/>
                    <a:gd name="connsiteY17" fmla="*/ 2427243 h 4401009"/>
                    <a:gd name="connsiteX18" fmla="*/ 3133016 w 3830903"/>
                    <a:gd name="connsiteY18" fmla="*/ 2427197 h 4401009"/>
                    <a:gd name="connsiteX19" fmla="*/ 1201429 w 3830903"/>
                    <a:gd name="connsiteY19" fmla="*/ 525806 h 4401009"/>
                    <a:gd name="connsiteX20" fmla="*/ 1201462 w 3830903"/>
                    <a:gd name="connsiteY20" fmla="*/ 525823 h 4401009"/>
                    <a:gd name="connsiteX21" fmla="*/ 1201471 w 3830903"/>
                    <a:gd name="connsiteY21" fmla="*/ 525891 h 4401009"/>
                    <a:gd name="connsiteX22" fmla="*/ 1201429 w 3830903"/>
                    <a:gd name="connsiteY22" fmla="*/ 525806 h 4401009"/>
                    <a:gd name="connsiteX23" fmla="*/ 305657 w 3830903"/>
                    <a:gd name="connsiteY23" fmla="*/ 262606 h 4401009"/>
                    <a:gd name="connsiteX24" fmla="*/ 304837 w 3830903"/>
                    <a:gd name="connsiteY24" fmla="*/ 266706 h 4401009"/>
                    <a:gd name="connsiteX25" fmla="*/ 303871 w 3830903"/>
                    <a:gd name="connsiteY25" fmla="*/ 268080 h 4401009"/>
                    <a:gd name="connsiteX26" fmla="*/ 303240 w 3830903"/>
                    <a:gd name="connsiteY26" fmla="*/ 265282 h 4401009"/>
                    <a:gd name="connsiteX27" fmla="*/ 305657 w 3830903"/>
                    <a:gd name="connsiteY27" fmla="*/ 262606 h 4401009"/>
                    <a:gd name="connsiteX28" fmla="*/ 1409367 w 3830903"/>
                    <a:gd name="connsiteY28" fmla="*/ 0 h 4401009"/>
                    <a:gd name="connsiteX29" fmla="*/ 3830903 w 3830903"/>
                    <a:gd name="connsiteY29" fmla="*/ 0 h 4401009"/>
                    <a:gd name="connsiteX30" fmla="*/ 3830903 w 3830903"/>
                    <a:gd name="connsiteY30" fmla="*/ 1239845 h 4401009"/>
                    <a:gd name="connsiteX31" fmla="*/ 3829690 w 3830903"/>
                    <a:gd name="connsiteY31" fmla="*/ 1239845 h 4401009"/>
                    <a:gd name="connsiteX32" fmla="*/ 3830902 w 3830903"/>
                    <a:gd name="connsiteY32" fmla="*/ 1327925 h 4401009"/>
                    <a:gd name="connsiteX33" fmla="*/ 3793540 w 3830903"/>
                    <a:gd name="connsiteY33" fmla="*/ 1327925 h 4401009"/>
                    <a:gd name="connsiteX34" fmla="*/ 3790911 w 3830903"/>
                    <a:gd name="connsiteY34" fmla="*/ 1339999 h 4401009"/>
                    <a:gd name="connsiteX35" fmla="*/ 3763033 w 3830903"/>
                    <a:gd name="connsiteY35" fmla="*/ 1345575 h 4401009"/>
                    <a:gd name="connsiteX36" fmla="*/ 3760245 w 3830903"/>
                    <a:gd name="connsiteY36" fmla="*/ 1362302 h 4401009"/>
                    <a:gd name="connsiteX37" fmla="*/ 3754670 w 3830903"/>
                    <a:gd name="connsiteY37" fmla="*/ 1373453 h 4401009"/>
                    <a:gd name="connsiteX38" fmla="*/ 3751882 w 3830903"/>
                    <a:gd name="connsiteY38" fmla="*/ 1384604 h 4401009"/>
                    <a:gd name="connsiteX39" fmla="*/ 3737943 w 3830903"/>
                    <a:gd name="connsiteY39" fmla="*/ 1390180 h 4401009"/>
                    <a:gd name="connsiteX40" fmla="*/ 3729579 w 3830903"/>
                    <a:gd name="connsiteY40" fmla="*/ 1392967 h 4401009"/>
                    <a:gd name="connsiteX41" fmla="*/ 3715640 w 3830903"/>
                    <a:gd name="connsiteY41" fmla="*/ 1401331 h 4401009"/>
                    <a:gd name="connsiteX42" fmla="*/ 3701701 w 3830903"/>
                    <a:gd name="connsiteY42" fmla="*/ 1404119 h 4401009"/>
                    <a:gd name="connsiteX43" fmla="*/ 3684974 w 3830903"/>
                    <a:gd name="connsiteY43" fmla="*/ 1423633 h 4401009"/>
                    <a:gd name="connsiteX44" fmla="*/ 3693338 w 3830903"/>
                    <a:gd name="connsiteY44" fmla="*/ 1440360 h 4401009"/>
                    <a:gd name="connsiteX45" fmla="*/ 3704489 w 3830903"/>
                    <a:gd name="connsiteY45" fmla="*/ 1445936 h 4401009"/>
                    <a:gd name="connsiteX46" fmla="*/ 3718428 w 3830903"/>
                    <a:gd name="connsiteY46" fmla="*/ 1451511 h 4401009"/>
                    <a:gd name="connsiteX47" fmla="*/ 3726792 w 3830903"/>
                    <a:gd name="connsiteY47" fmla="*/ 1459875 h 4401009"/>
                    <a:gd name="connsiteX48" fmla="*/ 3728484 w 3830903"/>
                    <a:gd name="connsiteY48" fmla="*/ 1475108 h 4401009"/>
                    <a:gd name="connsiteX49" fmla="*/ 3715640 w 3830903"/>
                    <a:gd name="connsiteY49" fmla="*/ 1479389 h 4401009"/>
                    <a:gd name="connsiteX50" fmla="*/ 3721216 w 3830903"/>
                    <a:gd name="connsiteY50" fmla="*/ 1487753 h 4401009"/>
                    <a:gd name="connsiteX51" fmla="*/ 3729579 w 3830903"/>
                    <a:gd name="connsiteY51" fmla="*/ 1484965 h 4401009"/>
                    <a:gd name="connsiteX52" fmla="*/ 3728484 w 3830903"/>
                    <a:gd name="connsiteY52" fmla="*/ 1475108 h 4401009"/>
                    <a:gd name="connsiteX53" fmla="*/ 3732367 w 3830903"/>
                    <a:gd name="connsiteY53" fmla="*/ 1473814 h 4401009"/>
                    <a:gd name="connsiteX54" fmla="*/ 3749094 w 3830903"/>
                    <a:gd name="connsiteY54" fmla="*/ 1471026 h 4401009"/>
                    <a:gd name="connsiteX55" fmla="*/ 3785335 w 3830903"/>
                    <a:gd name="connsiteY55" fmla="*/ 1451511 h 4401009"/>
                    <a:gd name="connsiteX56" fmla="*/ 3788123 w 3830903"/>
                    <a:gd name="connsiteY56" fmla="*/ 1468238 h 4401009"/>
                    <a:gd name="connsiteX57" fmla="*/ 3785335 w 3830903"/>
                    <a:gd name="connsiteY57" fmla="*/ 1482177 h 4401009"/>
                    <a:gd name="connsiteX58" fmla="*/ 3782548 w 3830903"/>
                    <a:gd name="connsiteY58" fmla="*/ 1490541 h 4401009"/>
                    <a:gd name="connsiteX59" fmla="*/ 3768609 w 3830903"/>
                    <a:gd name="connsiteY59" fmla="*/ 1512843 h 4401009"/>
                    <a:gd name="connsiteX60" fmla="*/ 3802062 w 3830903"/>
                    <a:gd name="connsiteY60" fmla="*/ 1518419 h 4401009"/>
                    <a:gd name="connsiteX61" fmla="*/ 3802223 w 3830903"/>
                    <a:gd name="connsiteY61" fmla="*/ 1518941 h 4401009"/>
                    <a:gd name="connsiteX62" fmla="*/ 3830902 w 3830903"/>
                    <a:gd name="connsiteY62" fmla="*/ 1518941 h 4401009"/>
                    <a:gd name="connsiteX63" fmla="*/ 3830902 w 3830903"/>
                    <a:gd name="connsiteY63" fmla="*/ 2055091 h 4401009"/>
                    <a:gd name="connsiteX64" fmla="*/ 3792991 w 3830903"/>
                    <a:gd name="connsiteY64" fmla="*/ 2055091 h 4401009"/>
                    <a:gd name="connsiteX65" fmla="*/ 3788122 w 3830903"/>
                    <a:gd name="connsiteY65" fmla="*/ 2064828 h 4401009"/>
                    <a:gd name="connsiteX66" fmla="*/ 3765820 w 3830903"/>
                    <a:gd name="connsiteY66" fmla="*/ 2087131 h 4401009"/>
                    <a:gd name="connsiteX67" fmla="*/ 3768608 w 3830903"/>
                    <a:gd name="connsiteY67" fmla="*/ 2109433 h 4401009"/>
                    <a:gd name="connsiteX68" fmla="*/ 3760244 w 3830903"/>
                    <a:gd name="connsiteY68" fmla="*/ 2128948 h 4401009"/>
                    <a:gd name="connsiteX69" fmla="*/ 3757456 w 3830903"/>
                    <a:gd name="connsiteY69" fmla="*/ 2137311 h 4401009"/>
                    <a:gd name="connsiteX70" fmla="*/ 3746305 w 3830903"/>
                    <a:gd name="connsiteY70" fmla="*/ 2131736 h 4401009"/>
                    <a:gd name="connsiteX71" fmla="*/ 3721215 w 3830903"/>
                    <a:gd name="connsiteY71" fmla="*/ 2128948 h 4401009"/>
                    <a:gd name="connsiteX72" fmla="*/ 3701700 w 3830903"/>
                    <a:gd name="connsiteY72" fmla="*/ 2131736 h 4401009"/>
                    <a:gd name="connsiteX73" fmla="*/ 3679398 w 3830903"/>
                    <a:gd name="connsiteY73" fmla="*/ 2134524 h 4401009"/>
                    <a:gd name="connsiteX74" fmla="*/ 3676610 w 3830903"/>
                    <a:gd name="connsiteY74" fmla="*/ 2151250 h 4401009"/>
                    <a:gd name="connsiteX75" fmla="*/ 3671034 w 3830903"/>
                    <a:gd name="connsiteY75" fmla="*/ 2162402 h 4401009"/>
                    <a:gd name="connsiteX76" fmla="*/ 3657095 w 3830903"/>
                    <a:gd name="connsiteY76" fmla="*/ 2167977 h 4401009"/>
                    <a:gd name="connsiteX77" fmla="*/ 3659883 w 3830903"/>
                    <a:gd name="connsiteY77" fmla="*/ 2184704 h 4401009"/>
                    <a:gd name="connsiteX78" fmla="*/ 3654308 w 3830903"/>
                    <a:gd name="connsiteY78" fmla="*/ 2198643 h 4401009"/>
                    <a:gd name="connsiteX79" fmla="*/ 3645944 w 3830903"/>
                    <a:gd name="connsiteY79" fmla="*/ 2201431 h 4401009"/>
                    <a:gd name="connsiteX80" fmla="*/ 3640369 w 3830903"/>
                    <a:gd name="connsiteY80" fmla="*/ 2209794 h 4401009"/>
                    <a:gd name="connsiteX81" fmla="*/ 3643156 w 3830903"/>
                    <a:gd name="connsiteY81" fmla="*/ 2218158 h 4401009"/>
                    <a:gd name="connsiteX82" fmla="*/ 3648732 w 3830903"/>
                    <a:gd name="connsiteY82" fmla="*/ 2226521 h 4401009"/>
                    <a:gd name="connsiteX83" fmla="*/ 3645944 w 3830903"/>
                    <a:gd name="connsiteY83" fmla="*/ 2273914 h 4401009"/>
                    <a:gd name="connsiteX84" fmla="*/ 3643156 w 3830903"/>
                    <a:gd name="connsiteY84" fmla="*/ 2290641 h 4401009"/>
                    <a:gd name="connsiteX85" fmla="*/ 3609703 w 3830903"/>
                    <a:gd name="connsiteY85" fmla="*/ 2307367 h 4401009"/>
                    <a:gd name="connsiteX86" fmla="*/ 3595764 w 3830903"/>
                    <a:gd name="connsiteY86" fmla="*/ 2304580 h 4401009"/>
                    <a:gd name="connsiteX87" fmla="*/ 3517705 w 3830903"/>
                    <a:gd name="connsiteY87" fmla="*/ 2299004 h 4401009"/>
                    <a:gd name="connsiteX88" fmla="*/ 3506554 w 3830903"/>
                    <a:gd name="connsiteY88" fmla="*/ 2304580 h 4401009"/>
                    <a:gd name="connsiteX89" fmla="*/ 3514917 w 3830903"/>
                    <a:gd name="connsiteY89" fmla="*/ 2324094 h 4401009"/>
                    <a:gd name="connsiteX90" fmla="*/ 3534432 w 3830903"/>
                    <a:gd name="connsiteY90" fmla="*/ 2340821 h 4401009"/>
                    <a:gd name="connsiteX91" fmla="*/ 3545583 w 3830903"/>
                    <a:gd name="connsiteY91" fmla="*/ 2349184 h 4401009"/>
                    <a:gd name="connsiteX92" fmla="*/ 3542795 w 3830903"/>
                    <a:gd name="connsiteY92" fmla="*/ 2377063 h 4401009"/>
                    <a:gd name="connsiteX93" fmla="*/ 3523281 w 3830903"/>
                    <a:gd name="connsiteY93" fmla="*/ 2379850 h 4401009"/>
                    <a:gd name="connsiteX94" fmla="*/ 3514917 w 3830903"/>
                    <a:gd name="connsiteY94" fmla="*/ 2374275 h 4401009"/>
                    <a:gd name="connsiteX95" fmla="*/ 3506554 w 3830903"/>
                    <a:gd name="connsiteY95" fmla="*/ 2335245 h 4401009"/>
                    <a:gd name="connsiteX96" fmla="*/ 3503766 w 3830903"/>
                    <a:gd name="connsiteY96" fmla="*/ 2326882 h 4401009"/>
                    <a:gd name="connsiteX97" fmla="*/ 3500978 w 3830903"/>
                    <a:gd name="connsiteY97" fmla="*/ 2335245 h 4401009"/>
                    <a:gd name="connsiteX98" fmla="*/ 3475888 w 3830903"/>
                    <a:gd name="connsiteY98" fmla="*/ 2340821 h 4401009"/>
                    <a:gd name="connsiteX99" fmla="*/ 3459161 w 3830903"/>
                    <a:gd name="connsiteY99" fmla="*/ 2335245 h 4401009"/>
                    <a:gd name="connsiteX100" fmla="*/ 3439647 w 3830903"/>
                    <a:gd name="connsiteY100" fmla="*/ 2324094 h 4401009"/>
                    <a:gd name="connsiteX101" fmla="*/ 3411769 w 3830903"/>
                    <a:gd name="connsiteY101" fmla="*/ 2318519 h 4401009"/>
                    <a:gd name="connsiteX102" fmla="*/ 3392254 w 3830903"/>
                    <a:gd name="connsiteY102" fmla="*/ 2335245 h 4401009"/>
                    <a:gd name="connsiteX103" fmla="*/ 3383891 w 3830903"/>
                    <a:gd name="connsiteY103" fmla="*/ 2329670 h 4401009"/>
                    <a:gd name="connsiteX104" fmla="*/ 3372739 w 3830903"/>
                    <a:gd name="connsiteY104" fmla="*/ 2310155 h 4401009"/>
                    <a:gd name="connsiteX105" fmla="*/ 3347649 w 3830903"/>
                    <a:gd name="connsiteY105" fmla="*/ 2307367 h 4401009"/>
                    <a:gd name="connsiteX106" fmla="*/ 3316983 w 3830903"/>
                    <a:gd name="connsiteY106" fmla="*/ 2324094 h 4401009"/>
                    <a:gd name="connsiteX107" fmla="*/ 3311408 w 3830903"/>
                    <a:gd name="connsiteY107" fmla="*/ 2332458 h 4401009"/>
                    <a:gd name="connsiteX108" fmla="*/ 3303044 w 3830903"/>
                    <a:gd name="connsiteY108" fmla="*/ 2338033 h 4401009"/>
                    <a:gd name="connsiteX109" fmla="*/ 3294681 w 3830903"/>
                    <a:gd name="connsiteY109" fmla="*/ 2346397 h 4401009"/>
                    <a:gd name="connsiteX110" fmla="*/ 3277954 w 3830903"/>
                    <a:gd name="connsiteY110" fmla="*/ 2354760 h 4401009"/>
                    <a:gd name="connsiteX111" fmla="*/ 3266803 w 3830903"/>
                    <a:gd name="connsiteY111" fmla="*/ 2363124 h 4401009"/>
                    <a:gd name="connsiteX112" fmla="*/ 3244500 w 3830903"/>
                    <a:gd name="connsiteY112" fmla="*/ 2335245 h 4401009"/>
                    <a:gd name="connsiteX113" fmla="*/ 3243412 w 3830903"/>
                    <a:gd name="connsiteY113" fmla="*/ 2334429 h 4401009"/>
                    <a:gd name="connsiteX114" fmla="*/ 3244431 w 3830903"/>
                    <a:gd name="connsiteY114" fmla="*/ 2334497 h 4401009"/>
                    <a:gd name="connsiteX115" fmla="*/ 3252864 w 3830903"/>
                    <a:gd name="connsiteY115" fmla="*/ 2340821 h 4401009"/>
                    <a:gd name="connsiteX116" fmla="*/ 3275166 w 3830903"/>
                    <a:gd name="connsiteY116" fmla="*/ 2346397 h 4401009"/>
                    <a:gd name="connsiteX117" fmla="*/ 3255651 w 3830903"/>
                    <a:gd name="connsiteY117" fmla="*/ 2335245 h 4401009"/>
                    <a:gd name="connsiteX118" fmla="*/ 3244431 w 3830903"/>
                    <a:gd name="connsiteY118" fmla="*/ 2334497 h 4401009"/>
                    <a:gd name="connsiteX119" fmla="*/ 3241712 w 3830903"/>
                    <a:gd name="connsiteY119" fmla="*/ 2332458 h 4401009"/>
                    <a:gd name="connsiteX120" fmla="*/ 3233349 w 3830903"/>
                    <a:gd name="connsiteY120" fmla="*/ 2326882 h 4401009"/>
                    <a:gd name="connsiteX121" fmla="*/ 3243412 w 3830903"/>
                    <a:gd name="connsiteY121" fmla="*/ 2334429 h 4401009"/>
                    <a:gd name="connsiteX122" fmla="*/ 3213834 w 3830903"/>
                    <a:gd name="connsiteY122" fmla="*/ 2332458 h 4401009"/>
                    <a:gd name="connsiteX123" fmla="*/ 3197108 w 3830903"/>
                    <a:gd name="connsiteY123" fmla="*/ 2363124 h 4401009"/>
                    <a:gd name="connsiteX124" fmla="*/ 3180381 w 3830903"/>
                    <a:gd name="connsiteY124" fmla="*/ 2374275 h 4401009"/>
                    <a:gd name="connsiteX125" fmla="*/ 3174805 w 3830903"/>
                    <a:gd name="connsiteY125" fmla="*/ 2385426 h 4401009"/>
                    <a:gd name="connsiteX126" fmla="*/ 3183169 w 3830903"/>
                    <a:gd name="connsiteY126" fmla="*/ 2388214 h 4401009"/>
                    <a:gd name="connsiteX127" fmla="*/ 3191532 w 3830903"/>
                    <a:gd name="connsiteY127" fmla="*/ 2393789 h 4401009"/>
                    <a:gd name="connsiteX128" fmla="*/ 3185956 w 3830903"/>
                    <a:gd name="connsiteY128" fmla="*/ 2416092 h 4401009"/>
                    <a:gd name="connsiteX129" fmla="*/ 3169230 w 3830903"/>
                    <a:gd name="connsiteY129" fmla="*/ 2427243 h 4401009"/>
                    <a:gd name="connsiteX130" fmla="*/ 3149715 w 3830903"/>
                    <a:gd name="connsiteY130" fmla="*/ 2418880 h 4401009"/>
                    <a:gd name="connsiteX131" fmla="*/ 3141351 w 3830903"/>
                    <a:gd name="connsiteY131" fmla="*/ 2413304 h 4401009"/>
                    <a:gd name="connsiteX132" fmla="*/ 3133016 w 3830903"/>
                    <a:gd name="connsiteY132" fmla="*/ 2427197 h 4401009"/>
                    <a:gd name="connsiteX133" fmla="*/ 3110925 w 3830903"/>
                    <a:gd name="connsiteY133" fmla="*/ 2426829 h 4401009"/>
                    <a:gd name="connsiteX134" fmla="*/ 3074444 w 3830903"/>
                    <a:gd name="connsiteY134" fmla="*/ 2488575 h 4401009"/>
                    <a:gd name="connsiteX135" fmla="*/ 3080020 w 3830903"/>
                    <a:gd name="connsiteY135" fmla="*/ 2505302 h 4401009"/>
                    <a:gd name="connsiteX136" fmla="*/ 3071656 w 3830903"/>
                    <a:gd name="connsiteY136" fmla="*/ 2530392 h 4401009"/>
                    <a:gd name="connsiteX137" fmla="*/ 3057717 w 3830903"/>
                    <a:gd name="connsiteY137" fmla="*/ 2533180 h 4401009"/>
                    <a:gd name="connsiteX138" fmla="*/ 3049354 w 3830903"/>
                    <a:gd name="connsiteY138" fmla="*/ 2552694 h 4401009"/>
                    <a:gd name="connsiteX139" fmla="*/ 3046566 w 3830903"/>
                    <a:gd name="connsiteY139" fmla="*/ 2616814 h 4401009"/>
                    <a:gd name="connsiteX140" fmla="*/ 3032627 w 3830903"/>
                    <a:gd name="connsiteY140" fmla="*/ 2619602 h 4401009"/>
                    <a:gd name="connsiteX141" fmla="*/ 3018688 w 3830903"/>
                    <a:gd name="connsiteY141" fmla="*/ 2630753 h 4401009"/>
                    <a:gd name="connsiteX142" fmla="*/ 3024264 w 3830903"/>
                    <a:gd name="connsiteY142" fmla="*/ 2653055 h 4401009"/>
                    <a:gd name="connsiteX143" fmla="*/ 3035415 w 3830903"/>
                    <a:gd name="connsiteY143" fmla="*/ 2666994 h 4401009"/>
                    <a:gd name="connsiteX144" fmla="*/ 3024264 w 3830903"/>
                    <a:gd name="connsiteY144" fmla="*/ 2669782 h 4401009"/>
                    <a:gd name="connsiteX145" fmla="*/ 3021476 w 3830903"/>
                    <a:gd name="connsiteY145" fmla="*/ 2697660 h 4401009"/>
                    <a:gd name="connsiteX146" fmla="*/ 3018688 w 3830903"/>
                    <a:gd name="connsiteY146" fmla="*/ 2708811 h 4401009"/>
                    <a:gd name="connsiteX147" fmla="*/ 3001961 w 3830903"/>
                    <a:gd name="connsiteY147" fmla="*/ 2714387 h 4401009"/>
                    <a:gd name="connsiteX148" fmla="*/ 2999173 w 3830903"/>
                    <a:gd name="connsiteY148" fmla="*/ 2742265 h 4401009"/>
                    <a:gd name="connsiteX149" fmla="*/ 3004749 w 3830903"/>
                    <a:gd name="connsiteY149" fmla="*/ 2750628 h 4401009"/>
                    <a:gd name="connsiteX150" fmla="*/ 3013112 w 3830903"/>
                    <a:gd name="connsiteY150" fmla="*/ 2761780 h 4401009"/>
                    <a:gd name="connsiteX151" fmla="*/ 3018688 w 3830903"/>
                    <a:gd name="connsiteY151" fmla="*/ 2772931 h 4401009"/>
                    <a:gd name="connsiteX152" fmla="*/ 3038203 w 3830903"/>
                    <a:gd name="connsiteY152" fmla="*/ 2789658 h 4401009"/>
                    <a:gd name="connsiteX153" fmla="*/ 3046566 w 3830903"/>
                    <a:gd name="connsiteY153" fmla="*/ 2798021 h 4401009"/>
                    <a:gd name="connsiteX154" fmla="*/ 3063293 w 3830903"/>
                    <a:gd name="connsiteY154" fmla="*/ 2814748 h 4401009"/>
                    <a:gd name="connsiteX155" fmla="*/ 3060505 w 3830903"/>
                    <a:gd name="connsiteY155" fmla="*/ 2831475 h 4401009"/>
                    <a:gd name="connsiteX156" fmla="*/ 3057717 w 3830903"/>
                    <a:gd name="connsiteY156" fmla="*/ 2850989 h 4401009"/>
                    <a:gd name="connsiteX157" fmla="*/ 3054930 w 3830903"/>
                    <a:gd name="connsiteY157" fmla="*/ 2862141 h 4401009"/>
                    <a:gd name="connsiteX158" fmla="*/ 3040991 w 3830903"/>
                    <a:gd name="connsiteY158" fmla="*/ 2867716 h 4401009"/>
                    <a:gd name="connsiteX159" fmla="*/ 3013112 w 3830903"/>
                    <a:gd name="connsiteY159" fmla="*/ 2853777 h 4401009"/>
                    <a:gd name="connsiteX160" fmla="*/ 2974083 w 3830903"/>
                    <a:gd name="connsiteY160" fmla="*/ 2842626 h 4401009"/>
                    <a:gd name="connsiteX161" fmla="*/ 2943417 w 3830903"/>
                    <a:gd name="connsiteY161" fmla="*/ 2839838 h 4401009"/>
                    <a:gd name="connsiteX162" fmla="*/ 2923903 w 3830903"/>
                    <a:gd name="connsiteY162" fmla="*/ 2834263 h 4401009"/>
                    <a:gd name="connsiteX163" fmla="*/ 2901600 w 3830903"/>
                    <a:gd name="connsiteY163" fmla="*/ 2828687 h 4401009"/>
                    <a:gd name="connsiteX164" fmla="*/ 2893237 w 3830903"/>
                    <a:gd name="connsiteY164" fmla="*/ 2859353 h 4401009"/>
                    <a:gd name="connsiteX165" fmla="*/ 2896025 w 3830903"/>
                    <a:gd name="connsiteY165" fmla="*/ 2870504 h 4401009"/>
                    <a:gd name="connsiteX166" fmla="*/ 2898812 w 3830903"/>
                    <a:gd name="connsiteY166" fmla="*/ 2931836 h 4401009"/>
                    <a:gd name="connsiteX167" fmla="*/ 2896025 w 3830903"/>
                    <a:gd name="connsiteY167" fmla="*/ 2951350 h 4401009"/>
                    <a:gd name="connsiteX168" fmla="*/ 2901600 w 3830903"/>
                    <a:gd name="connsiteY168" fmla="*/ 2998744 h 4401009"/>
                    <a:gd name="connsiteX169" fmla="*/ 2904388 w 3830903"/>
                    <a:gd name="connsiteY169" fmla="*/ 3037772 h 4401009"/>
                    <a:gd name="connsiteX170" fmla="*/ 2912751 w 3830903"/>
                    <a:gd name="connsiteY170" fmla="*/ 3040560 h 4401009"/>
                    <a:gd name="connsiteX171" fmla="*/ 2946205 w 3830903"/>
                    <a:gd name="connsiteY171" fmla="*/ 3048924 h 4401009"/>
                    <a:gd name="connsiteX172" fmla="*/ 2962932 w 3830903"/>
                    <a:gd name="connsiteY172" fmla="*/ 3071226 h 4401009"/>
                    <a:gd name="connsiteX173" fmla="*/ 2954569 w 3830903"/>
                    <a:gd name="connsiteY173" fmla="*/ 3135345 h 4401009"/>
                    <a:gd name="connsiteX174" fmla="*/ 2960144 w 3830903"/>
                    <a:gd name="connsiteY174" fmla="*/ 3216192 h 4401009"/>
                    <a:gd name="connsiteX175" fmla="*/ 2971295 w 3830903"/>
                    <a:gd name="connsiteY175" fmla="*/ 3213404 h 4401009"/>
                    <a:gd name="connsiteX176" fmla="*/ 2979659 w 3830903"/>
                    <a:gd name="connsiteY176" fmla="*/ 3210616 h 4401009"/>
                    <a:gd name="connsiteX177" fmla="*/ 2993598 w 3830903"/>
                    <a:gd name="connsiteY177" fmla="*/ 3207828 h 4401009"/>
                    <a:gd name="connsiteX178" fmla="*/ 3004749 w 3830903"/>
                    <a:gd name="connsiteY178" fmla="*/ 3205041 h 4401009"/>
                    <a:gd name="connsiteX179" fmla="*/ 3029839 w 3830903"/>
                    <a:gd name="connsiteY179" fmla="*/ 3202253 h 4401009"/>
                    <a:gd name="connsiteX180" fmla="*/ 3049354 w 3830903"/>
                    <a:gd name="connsiteY180" fmla="*/ 3230131 h 4401009"/>
                    <a:gd name="connsiteX181" fmla="*/ 3052142 w 3830903"/>
                    <a:gd name="connsiteY181" fmla="*/ 3238494 h 4401009"/>
                    <a:gd name="connsiteX182" fmla="*/ 3057717 w 3830903"/>
                    <a:gd name="connsiteY182" fmla="*/ 3255221 h 4401009"/>
                    <a:gd name="connsiteX183" fmla="*/ 3077232 w 3830903"/>
                    <a:gd name="connsiteY183" fmla="*/ 3274736 h 4401009"/>
                    <a:gd name="connsiteX184" fmla="*/ 3077922 w 3830903"/>
                    <a:gd name="connsiteY184" fmla="*/ 3275698 h 4401009"/>
                    <a:gd name="connsiteX185" fmla="*/ 3066081 w 3830903"/>
                    <a:gd name="connsiteY185" fmla="*/ 3283099 h 4401009"/>
                    <a:gd name="connsiteX186" fmla="*/ 3052142 w 3830903"/>
                    <a:gd name="connsiteY186" fmla="*/ 3288675 h 4401009"/>
                    <a:gd name="connsiteX187" fmla="*/ 3066081 w 3830903"/>
                    <a:gd name="connsiteY187" fmla="*/ 3291463 h 4401009"/>
                    <a:gd name="connsiteX188" fmla="*/ 3082808 w 3830903"/>
                    <a:gd name="connsiteY188" fmla="*/ 3288675 h 4401009"/>
                    <a:gd name="connsiteX189" fmla="*/ 3082187 w 3830903"/>
                    <a:gd name="connsiteY189" fmla="*/ 3281645 h 4401009"/>
                    <a:gd name="connsiteX190" fmla="*/ 3077922 w 3830903"/>
                    <a:gd name="connsiteY190" fmla="*/ 3275698 h 4401009"/>
                    <a:gd name="connsiteX191" fmla="*/ 3110686 w 3830903"/>
                    <a:gd name="connsiteY191" fmla="*/ 3255221 h 4401009"/>
                    <a:gd name="connsiteX192" fmla="*/ 3124625 w 3830903"/>
                    <a:gd name="connsiteY192" fmla="*/ 3252433 h 4401009"/>
                    <a:gd name="connsiteX193" fmla="*/ 3135776 w 3830903"/>
                    <a:gd name="connsiteY193" fmla="*/ 3246858 h 4401009"/>
                    <a:gd name="connsiteX194" fmla="*/ 3155291 w 3830903"/>
                    <a:gd name="connsiteY194" fmla="*/ 3241282 h 4401009"/>
                    <a:gd name="connsiteX195" fmla="*/ 3172017 w 3830903"/>
                    <a:gd name="connsiteY195" fmla="*/ 3238494 h 4401009"/>
                    <a:gd name="connsiteX196" fmla="*/ 3177593 w 3830903"/>
                    <a:gd name="connsiteY196" fmla="*/ 3227343 h 4401009"/>
                    <a:gd name="connsiteX197" fmla="*/ 3205471 w 3830903"/>
                    <a:gd name="connsiteY197" fmla="*/ 3232919 h 4401009"/>
                    <a:gd name="connsiteX198" fmla="*/ 3211047 w 3830903"/>
                    <a:gd name="connsiteY198" fmla="*/ 3241282 h 4401009"/>
                    <a:gd name="connsiteX199" fmla="*/ 3258439 w 3830903"/>
                    <a:gd name="connsiteY199" fmla="*/ 3246858 h 4401009"/>
                    <a:gd name="connsiteX200" fmla="*/ 3266803 w 3830903"/>
                    <a:gd name="connsiteY200" fmla="*/ 3252433 h 4401009"/>
                    <a:gd name="connsiteX201" fmla="*/ 3277954 w 3830903"/>
                    <a:gd name="connsiteY201" fmla="*/ 3258009 h 4401009"/>
                    <a:gd name="connsiteX202" fmla="*/ 3286317 w 3830903"/>
                    <a:gd name="connsiteY202" fmla="*/ 3260797 h 4401009"/>
                    <a:gd name="connsiteX203" fmla="*/ 3289105 w 3830903"/>
                    <a:gd name="connsiteY203" fmla="*/ 3274736 h 4401009"/>
                    <a:gd name="connsiteX204" fmla="*/ 3297469 w 3830903"/>
                    <a:gd name="connsiteY204" fmla="*/ 3294250 h 4401009"/>
                    <a:gd name="connsiteX205" fmla="*/ 3319771 w 3830903"/>
                    <a:gd name="connsiteY205" fmla="*/ 3302614 h 4401009"/>
                    <a:gd name="connsiteX206" fmla="*/ 3330922 w 3830903"/>
                    <a:gd name="connsiteY206" fmla="*/ 3305402 h 4401009"/>
                    <a:gd name="connsiteX207" fmla="*/ 3339286 w 3830903"/>
                    <a:gd name="connsiteY207" fmla="*/ 3310977 h 4401009"/>
                    <a:gd name="connsiteX208" fmla="*/ 3350437 w 3830903"/>
                    <a:gd name="connsiteY208" fmla="*/ 3316553 h 4401009"/>
                    <a:gd name="connsiteX209" fmla="*/ 3364376 w 3830903"/>
                    <a:gd name="connsiteY209" fmla="*/ 3341643 h 4401009"/>
                    <a:gd name="connsiteX210" fmla="*/ 3356012 w 3830903"/>
                    <a:gd name="connsiteY210" fmla="*/ 3350006 h 4401009"/>
                    <a:gd name="connsiteX211" fmla="*/ 3344861 w 3830903"/>
                    <a:gd name="connsiteY211" fmla="*/ 3352794 h 4401009"/>
                    <a:gd name="connsiteX212" fmla="*/ 3336498 w 3830903"/>
                    <a:gd name="connsiteY212" fmla="*/ 3355582 h 4401009"/>
                    <a:gd name="connsiteX213" fmla="*/ 3336498 w 3830903"/>
                    <a:gd name="connsiteY213" fmla="*/ 3386248 h 4401009"/>
                    <a:gd name="connsiteX214" fmla="*/ 3375527 w 3830903"/>
                    <a:gd name="connsiteY214" fmla="*/ 3391824 h 4401009"/>
                    <a:gd name="connsiteX215" fmla="*/ 3397830 w 3830903"/>
                    <a:gd name="connsiteY215" fmla="*/ 3383460 h 4401009"/>
                    <a:gd name="connsiteX216" fmla="*/ 3428495 w 3830903"/>
                    <a:gd name="connsiteY216" fmla="*/ 3380672 h 4401009"/>
                    <a:gd name="connsiteX217" fmla="*/ 3417344 w 3830903"/>
                    <a:gd name="connsiteY217" fmla="*/ 3408550 h 4401009"/>
                    <a:gd name="connsiteX218" fmla="*/ 3414556 w 3830903"/>
                    <a:gd name="connsiteY218" fmla="*/ 3447580 h 4401009"/>
                    <a:gd name="connsiteX219" fmla="*/ 3389466 w 3830903"/>
                    <a:gd name="connsiteY219" fmla="*/ 3455943 h 4401009"/>
                    <a:gd name="connsiteX220" fmla="*/ 3378315 w 3830903"/>
                    <a:gd name="connsiteY220" fmla="*/ 3461519 h 4401009"/>
                    <a:gd name="connsiteX221" fmla="*/ 3385697 w 3830903"/>
                    <a:gd name="connsiteY221" fmla="*/ 3469176 h 4401009"/>
                    <a:gd name="connsiteX222" fmla="*/ 3389581 w 3830903"/>
                    <a:gd name="connsiteY222" fmla="*/ 3471787 h 4401009"/>
                    <a:gd name="connsiteX223" fmla="*/ 3385390 w 3830903"/>
                    <a:gd name="connsiteY223" fmla="*/ 3473250 h 4401009"/>
                    <a:gd name="connsiteX224" fmla="*/ 3383891 w 3830903"/>
                    <a:gd name="connsiteY224" fmla="*/ 3508911 h 4401009"/>
                    <a:gd name="connsiteX225" fmla="*/ 3381103 w 3830903"/>
                    <a:gd name="connsiteY225" fmla="*/ 3525638 h 4401009"/>
                    <a:gd name="connsiteX226" fmla="*/ 3367164 w 3830903"/>
                    <a:gd name="connsiteY226" fmla="*/ 3547941 h 4401009"/>
                    <a:gd name="connsiteX227" fmla="*/ 3356012 w 3830903"/>
                    <a:gd name="connsiteY227" fmla="*/ 3559092 h 4401009"/>
                    <a:gd name="connsiteX228" fmla="*/ 3342073 w 3830903"/>
                    <a:gd name="connsiteY228" fmla="*/ 3570243 h 4401009"/>
                    <a:gd name="connsiteX229" fmla="*/ 3322559 w 3830903"/>
                    <a:gd name="connsiteY229" fmla="*/ 3586970 h 4401009"/>
                    <a:gd name="connsiteX230" fmla="*/ 3289105 w 3830903"/>
                    <a:gd name="connsiteY230" fmla="*/ 3598121 h 4401009"/>
                    <a:gd name="connsiteX231" fmla="*/ 3314195 w 3830903"/>
                    <a:gd name="connsiteY231" fmla="*/ 3609272 h 4401009"/>
                    <a:gd name="connsiteX232" fmla="*/ 3319771 w 3830903"/>
                    <a:gd name="connsiteY232" fmla="*/ 3625999 h 4401009"/>
                    <a:gd name="connsiteX233" fmla="*/ 3316983 w 3830903"/>
                    <a:gd name="connsiteY233" fmla="*/ 3651089 h 4401009"/>
                    <a:gd name="connsiteX234" fmla="*/ 3311408 w 3830903"/>
                    <a:gd name="connsiteY234" fmla="*/ 3715209 h 4401009"/>
                    <a:gd name="connsiteX235" fmla="*/ 3314195 w 3830903"/>
                    <a:gd name="connsiteY235" fmla="*/ 3723572 h 4401009"/>
                    <a:gd name="connsiteX236" fmla="*/ 3319771 w 3830903"/>
                    <a:gd name="connsiteY236" fmla="*/ 3757026 h 4401009"/>
                    <a:gd name="connsiteX237" fmla="*/ 3311408 w 3830903"/>
                    <a:gd name="connsiteY237" fmla="*/ 3798843 h 4401009"/>
                    <a:gd name="connsiteX238" fmla="*/ 3314195 w 3830903"/>
                    <a:gd name="connsiteY238" fmla="*/ 3812782 h 4401009"/>
                    <a:gd name="connsiteX239" fmla="*/ 3364376 w 3830903"/>
                    <a:gd name="connsiteY239" fmla="*/ 3832297 h 4401009"/>
                    <a:gd name="connsiteX240" fmla="*/ 3378315 w 3830903"/>
                    <a:gd name="connsiteY240" fmla="*/ 3843448 h 4401009"/>
                    <a:gd name="connsiteX241" fmla="*/ 3422920 w 3830903"/>
                    <a:gd name="connsiteY241" fmla="*/ 3871326 h 4401009"/>
                    <a:gd name="connsiteX242" fmla="*/ 3442434 w 3830903"/>
                    <a:gd name="connsiteY242" fmla="*/ 3879689 h 4401009"/>
                    <a:gd name="connsiteX243" fmla="*/ 3448010 w 3830903"/>
                    <a:gd name="connsiteY243" fmla="*/ 3888053 h 4401009"/>
                    <a:gd name="connsiteX244" fmla="*/ 3464737 w 3830903"/>
                    <a:gd name="connsiteY244" fmla="*/ 3893628 h 4401009"/>
                    <a:gd name="connsiteX245" fmla="*/ 3467525 w 3830903"/>
                    <a:gd name="connsiteY245" fmla="*/ 3904780 h 4401009"/>
                    <a:gd name="connsiteX246" fmla="*/ 3475888 w 3830903"/>
                    <a:gd name="connsiteY246" fmla="*/ 3943809 h 4401009"/>
                    <a:gd name="connsiteX247" fmla="*/ 3509342 w 3830903"/>
                    <a:gd name="connsiteY247" fmla="*/ 3968899 h 4401009"/>
                    <a:gd name="connsiteX248" fmla="*/ 3517705 w 3830903"/>
                    <a:gd name="connsiteY248" fmla="*/ 4021867 h 4401009"/>
                    <a:gd name="connsiteX249" fmla="*/ 3520493 w 3830903"/>
                    <a:gd name="connsiteY249" fmla="*/ 4030231 h 4401009"/>
                    <a:gd name="connsiteX250" fmla="*/ 3531644 w 3830903"/>
                    <a:gd name="connsiteY250" fmla="*/ 4035806 h 4401009"/>
                    <a:gd name="connsiteX251" fmla="*/ 3559522 w 3830903"/>
                    <a:gd name="connsiteY251" fmla="*/ 4044170 h 4401009"/>
                    <a:gd name="connsiteX252" fmla="*/ 3567886 w 3830903"/>
                    <a:gd name="connsiteY252" fmla="*/ 4063684 h 4401009"/>
                    <a:gd name="connsiteX253" fmla="*/ 3576249 w 3830903"/>
                    <a:gd name="connsiteY253" fmla="*/ 4072048 h 4401009"/>
                    <a:gd name="connsiteX254" fmla="*/ 3584612 w 3830903"/>
                    <a:gd name="connsiteY254" fmla="*/ 4074836 h 4401009"/>
                    <a:gd name="connsiteX255" fmla="*/ 3629217 w 3830903"/>
                    <a:gd name="connsiteY255" fmla="*/ 4097138 h 4401009"/>
                    <a:gd name="connsiteX256" fmla="*/ 3651520 w 3830903"/>
                    <a:gd name="connsiteY256" fmla="*/ 4105502 h 4401009"/>
                    <a:gd name="connsiteX257" fmla="*/ 3662671 w 3830903"/>
                    <a:gd name="connsiteY257" fmla="*/ 4108289 h 4401009"/>
                    <a:gd name="connsiteX258" fmla="*/ 3679398 w 3830903"/>
                    <a:gd name="connsiteY258" fmla="*/ 4127804 h 4401009"/>
                    <a:gd name="connsiteX259" fmla="*/ 3693337 w 3830903"/>
                    <a:gd name="connsiteY259" fmla="*/ 4133380 h 4401009"/>
                    <a:gd name="connsiteX260" fmla="*/ 3704488 w 3830903"/>
                    <a:gd name="connsiteY260" fmla="*/ 4138955 h 4401009"/>
                    <a:gd name="connsiteX261" fmla="*/ 3743517 w 3830903"/>
                    <a:gd name="connsiteY261" fmla="*/ 4141743 h 4401009"/>
                    <a:gd name="connsiteX262" fmla="*/ 3735154 w 3830903"/>
                    <a:gd name="connsiteY262" fmla="*/ 4161258 h 4401009"/>
                    <a:gd name="connsiteX263" fmla="*/ 3732366 w 3830903"/>
                    <a:gd name="connsiteY263" fmla="*/ 4175197 h 4401009"/>
                    <a:gd name="connsiteX264" fmla="*/ 3732366 w 3830903"/>
                    <a:gd name="connsiteY264" fmla="*/ 4217014 h 4401009"/>
                    <a:gd name="connsiteX265" fmla="*/ 3724003 w 3830903"/>
                    <a:gd name="connsiteY265" fmla="*/ 4222589 h 4401009"/>
                    <a:gd name="connsiteX266" fmla="*/ 3721215 w 3830903"/>
                    <a:gd name="connsiteY266" fmla="*/ 4230953 h 4401009"/>
                    <a:gd name="connsiteX267" fmla="*/ 3710064 w 3830903"/>
                    <a:gd name="connsiteY267" fmla="*/ 4275558 h 4401009"/>
                    <a:gd name="connsiteX268" fmla="*/ 3710064 w 3830903"/>
                    <a:gd name="connsiteY268" fmla="*/ 4297860 h 4401009"/>
                    <a:gd name="connsiteX269" fmla="*/ 3696125 w 3830903"/>
                    <a:gd name="connsiteY269" fmla="*/ 4303436 h 4401009"/>
                    <a:gd name="connsiteX270" fmla="*/ 3679398 w 3830903"/>
                    <a:gd name="connsiteY270" fmla="*/ 4306224 h 4401009"/>
                    <a:gd name="connsiteX271" fmla="*/ 3676610 w 3830903"/>
                    <a:gd name="connsiteY271" fmla="*/ 4317375 h 4401009"/>
                    <a:gd name="connsiteX272" fmla="*/ 3651520 w 3830903"/>
                    <a:gd name="connsiteY272" fmla="*/ 4320163 h 4401009"/>
                    <a:gd name="connsiteX273" fmla="*/ 3598551 w 3830903"/>
                    <a:gd name="connsiteY273" fmla="*/ 4297860 h 4401009"/>
                    <a:gd name="connsiteX274" fmla="*/ 3590188 w 3830903"/>
                    <a:gd name="connsiteY274" fmla="*/ 4289497 h 4401009"/>
                    <a:gd name="connsiteX275" fmla="*/ 3545583 w 3830903"/>
                    <a:gd name="connsiteY275" fmla="*/ 4281133 h 4401009"/>
                    <a:gd name="connsiteX276" fmla="*/ 3537220 w 3830903"/>
                    <a:gd name="connsiteY276" fmla="*/ 4275558 h 4401009"/>
                    <a:gd name="connsiteX277" fmla="*/ 3528856 w 3830903"/>
                    <a:gd name="connsiteY277" fmla="*/ 4267194 h 4401009"/>
                    <a:gd name="connsiteX278" fmla="*/ 3520493 w 3830903"/>
                    <a:gd name="connsiteY278" fmla="*/ 4269982 h 4401009"/>
                    <a:gd name="connsiteX279" fmla="*/ 3498191 w 3830903"/>
                    <a:gd name="connsiteY279" fmla="*/ 4275558 h 4401009"/>
                    <a:gd name="connsiteX280" fmla="*/ 3484251 w 3830903"/>
                    <a:gd name="connsiteY280" fmla="*/ 4269982 h 4401009"/>
                    <a:gd name="connsiteX281" fmla="*/ 3467525 w 3830903"/>
                    <a:gd name="connsiteY281" fmla="*/ 4272770 h 4401009"/>
                    <a:gd name="connsiteX282" fmla="*/ 3448010 w 3830903"/>
                    <a:gd name="connsiteY282" fmla="*/ 4278345 h 4401009"/>
                    <a:gd name="connsiteX283" fmla="*/ 3439647 w 3830903"/>
                    <a:gd name="connsiteY283" fmla="*/ 4281133 h 4401009"/>
                    <a:gd name="connsiteX284" fmla="*/ 3381103 w 3830903"/>
                    <a:gd name="connsiteY284" fmla="*/ 4286709 h 4401009"/>
                    <a:gd name="connsiteX285" fmla="*/ 3372739 w 3830903"/>
                    <a:gd name="connsiteY285" fmla="*/ 4283921 h 4401009"/>
                    <a:gd name="connsiteX286" fmla="*/ 3369951 w 3830903"/>
                    <a:gd name="connsiteY286" fmla="*/ 4272770 h 4401009"/>
                    <a:gd name="connsiteX287" fmla="*/ 3361588 w 3830903"/>
                    <a:gd name="connsiteY287" fmla="*/ 4253255 h 4401009"/>
                    <a:gd name="connsiteX288" fmla="*/ 3358800 w 3830903"/>
                    <a:gd name="connsiteY288" fmla="*/ 4244892 h 4401009"/>
                    <a:gd name="connsiteX289" fmla="*/ 3347649 w 3830903"/>
                    <a:gd name="connsiteY289" fmla="*/ 4228165 h 4401009"/>
                    <a:gd name="connsiteX290" fmla="*/ 3333710 w 3830903"/>
                    <a:gd name="connsiteY290" fmla="*/ 4225377 h 4401009"/>
                    <a:gd name="connsiteX291" fmla="*/ 3319771 w 3830903"/>
                    <a:gd name="connsiteY291" fmla="*/ 4244892 h 4401009"/>
                    <a:gd name="connsiteX292" fmla="*/ 3307290 w 3830903"/>
                    <a:gd name="connsiteY292" fmla="*/ 4247515 h 4401009"/>
                    <a:gd name="connsiteX293" fmla="*/ 3303979 w 3830903"/>
                    <a:gd name="connsiteY293" fmla="*/ 4248325 h 4401009"/>
                    <a:gd name="connsiteX294" fmla="*/ 3244500 w 3830903"/>
                    <a:gd name="connsiteY294" fmla="*/ 4239316 h 4401009"/>
                    <a:gd name="connsiteX295" fmla="*/ 3236137 w 3830903"/>
                    <a:gd name="connsiteY295" fmla="*/ 4247680 h 4401009"/>
                    <a:gd name="connsiteX296" fmla="*/ 3233349 w 3830903"/>
                    <a:gd name="connsiteY296" fmla="*/ 4256043 h 4401009"/>
                    <a:gd name="connsiteX297" fmla="*/ 3227773 w 3830903"/>
                    <a:gd name="connsiteY297" fmla="*/ 4247680 h 4401009"/>
                    <a:gd name="connsiteX298" fmla="*/ 3219410 w 3830903"/>
                    <a:gd name="connsiteY298" fmla="*/ 4244892 h 4401009"/>
                    <a:gd name="connsiteX299" fmla="*/ 3199895 w 3830903"/>
                    <a:gd name="connsiteY299" fmla="*/ 4242104 h 4401009"/>
                    <a:gd name="connsiteX300" fmla="*/ 3197108 w 3830903"/>
                    <a:gd name="connsiteY300" fmla="*/ 4253255 h 4401009"/>
                    <a:gd name="connsiteX301" fmla="*/ 3188744 w 3830903"/>
                    <a:gd name="connsiteY301" fmla="*/ 4264406 h 4401009"/>
                    <a:gd name="connsiteX302" fmla="*/ 3180381 w 3830903"/>
                    <a:gd name="connsiteY302" fmla="*/ 4267194 h 4401009"/>
                    <a:gd name="connsiteX303" fmla="*/ 3163654 w 3830903"/>
                    <a:gd name="connsiteY303" fmla="*/ 4283921 h 4401009"/>
                    <a:gd name="connsiteX304" fmla="*/ 3160866 w 3830903"/>
                    <a:gd name="connsiteY304" fmla="*/ 4297860 h 4401009"/>
                    <a:gd name="connsiteX305" fmla="*/ 3158078 w 3830903"/>
                    <a:gd name="connsiteY305" fmla="*/ 4309011 h 4401009"/>
                    <a:gd name="connsiteX306" fmla="*/ 3135776 w 3830903"/>
                    <a:gd name="connsiteY306" fmla="*/ 4311799 h 4401009"/>
                    <a:gd name="connsiteX307" fmla="*/ 3127412 w 3830903"/>
                    <a:gd name="connsiteY307" fmla="*/ 4314587 h 4401009"/>
                    <a:gd name="connsiteX308" fmla="*/ 3121837 w 3830903"/>
                    <a:gd name="connsiteY308" fmla="*/ 4322950 h 4401009"/>
                    <a:gd name="connsiteX309" fmla="*/ 3110686 w 3830903"/>
                    <a:gd name="connsiteY309" fmla="*/ 4317375 h 4401009"/>
                    <a:gd name="connsiteX310" fmla="*/ 3107898 w 3830903"/>
                    <a:gd name="connsiteY310" fmla="*/ 4295072 h 4401009"/>
                    <a:gd name="connsiteX311" fmla="*/ 3060505 w 3830903"/>
                    <a:gd name="connsiteY311" fmla="*/ 4286709 h 4401009"/>
                    <a:gd name="connsiteX312" fmla="*/ 3054930 w 3830903"/>
                    <a:gd name="connsiteY312" fmla="*/ 4295072 h 4401009"/>
                    <a:gd name="connsiteX313" fmla="*/ 3004749 w 3830903"/>
                    <a:gd name="connsiteY313" fmla="*/ 4297860 h 4401009"/>
                    <a:gd name="connsiteX314" fmla="*/ 2988022 w 3830903"/>
                    <a:gd name="connsiteY314" fmla="*/ 4289497 h 4401009"/>
                    <a:gd name="connsiteX315" fmla="*/ 2962932 w 3830903"/>
                    <a:gd name="connsiteY315" fmla="*/ 4275558 h 4401009"/>
                    <a:gd name="connsiteX316" fmla="*/ 2960144 w 3830903"/>
                    <a:gd name="connsiteY316" fmla="*/ 4283921 h 4401009"/>
                    <a:gd name="connsiteX317" fmla="*/ 2951781 w 3830903"/>
                    <a:gd name="connsiteY317" fmla="*/ 4289497 h 4401009"/>
                    <a:gd name="connsiteX318" fmla="*/ 2946205 w 3830903"/>
                    <a:gd name="connsiteY318" fmla="*/ 4297860 h 4401009"/>
                    <a:gd name="connsiteX319" fmla="*/ 2929478 w 3830903"/>
                    <a:gd name="connsiteY319" fmla="*/ 4300648 h 4401009"/>
                    <a:gd name="connsiteX320" fmla="*/ 2912751 w 3830903"/>
                    <a:gd name="connsiteY320" fmla="*/ 4292284 h 4401009"/>
                    <a:gd name="connsiteX321" fmla="*/ 2904388 w 3830903"/>
                    <a:gd name="connsiteY321" fmla="*/ 4297860 h 4401009"/>
                    <a:gd name="connsiteX322" fmla="*/ 2896025 w 3830903"/>
                    <a:gd name="connsiteY322" fmla="*/ 4300648 h 4401009"/>
                    <a:gd name="connsiteX323" fmla="*/ 2884873 w 3830903"/>
                    <a:gd name="connsiteY323" fmla="*/ 4311799 h 4401009"/>
                    <a:gd name="connsiteX324" fmla="*/ 2862571 w 3830903"/>
                    <a:gd name="connsiteY324" fmla="*/ 4317375 h 4401009"/>
                    <a:gd name="connsiteX325" fmla="*/ 2854208 w 3830903"/>
                    <a:gd name="connsiteY325" fmla="*/ 4339677 h 4401009"/>
                    <a:gd name="connsiteX326" fmla="*/ 2762210 w 3830903"/>
                    <a:gd name="connsiteY326" fmla="*/ 4348041 h 4401009"/>
                    <a:gd name="connsiteX327" fmla="*/ 2751059 w 3830903"/>
                    <a:gd name="connsiteY327" fmla="*/ 4350828 h 4401009"/>
                    <a:gd name="connsiteX328" fmla="*/ 2734332 w 3830903"/>
                    <a:gd name="connsiteY328" fmla="*/ 4353616 h 4401009"/>
                    <a:gd name="connsiteX329" fmla="*/ 2703666 w 3830903"/>
                    <a:gd name="connsiteY329" fmla="*/ 4348041 h 4401009"/>
                    <a:gd name="connsiteX330" fmla="*/ 2684151 w 3830903"/>
                    <a:gd name="connsiteY330" fmla="*/ 4342465 h 4401009"/>
                    <a:gd name="connsiteX331" fmla="*/ 2673000 w 3830903"/>
                    <a:gd name="connsiteY331" fmla="*/ 4345253 h 4401009"/>
                    <a:gd name="connsiteX332" fmla="*/ 2667425 w 3830903"/>
                    <a:gd name="connsiteY332" fmla="*/ 4356404 h 4401009"/>
                    <a:gd name="connsiteX333" fmla="*/ 2636759 w 3830903"/>
                    <a:gd name="connsiteY333" fmla="*/ 4359192 h 4401009"/>
                    <a:gd name="connsiteX334" fmla="*/ 2628395 w 3830903"/>
                    <a:gd name="connsiteY334" fmla="*/ 4361980 h 4401009"/>
                    <a:gd name="connsiteX335" fmla="*/ 2622820 w 3830903"/>
                    <a:gd name="connsiteY335" fmla="*/ 4370343 h 4401009"/>
                    <a:gd name="connsiteX336" fmla="*/ 2620032 w 3830903"/>
                    <a:gd name="connsiteY336" fmla="*/ 4387070 h 4401009"/>
                    <a:gd name="connsiteX337" fmla="*/ 2622820 w 3830903"/>
                    <a:gd name="connsiteY337" fmla="*/ 4401009 h 4401009"/>
                    <a:gd name="connsiteX338" fmla="*/ 2564276 w 3830903"/>
                    <a:gd name="connsiteY338" fmla="*/ 4384282 h 4401009"/>
                    <a:gd name="connsiteX339" fmla="*/ 2550337 w 3830903"/>
                    <a:gd name="connsiteY339" fmla="*/ 4375919 h 4401009"/>
                    <a:gd name="connsiteX340" fmla="*/ 2541973 w 3830903"/>
                    <a:gd name="connsiteY340" fmla="*/ 4373131 h 4401009"/>
                    <a:gd name="connsiteX341" fmla="*/ 2522459 w 3830903"/>
                    <a:gd name="connsiteY341" fmla="*/ 4364767 h 4401009"/>
                    <a:gd name="connsiteX342" fmla="*/ 2491793 w 3830903"/>
                    <a:gd name="connsiteY342" fmla="*/ 4361980 h 4401009"/>
                    <a:gd name="connsiteX343" fmla="*/ 2455551 w 3830903"/>
                    <a:gd name="connsiteY343" fmla="*/ 4348041 h 4401009"/>
                    <a:gd name="connsiteX344" fmla="*/ 2441612 w 3830903"/>
                    <a:gd name="connsiteY344" fmla="*/ 4342465 h 4401009"/>
                    <a:gd name="connsiteX345" fmla="*/ 2424886 w 3830903"/>
                    <a:gd name="connsiteY345" fmla="*/ 4322950 h 4401009"/>
                    <a:gd name="connsiteX346" fmla="*/ 2313373 w 3830903"/>
                    <a:gd name="connsiteY346" fmla="*/ 4309011 h 4401009"/>
                    <a:gd name="connsiteX347" fmla="*/ 2307798 w 3830903"/>
                    <a:gd name="connsiteY347" fmla="*/ 4300648 h 4401009"/>
                    <a:gd name="connsiteX348" fmla="*/ 2282708 w 3830903"/>
                    <a:gd name="connsiteY348" fmla="*/ 4289497 h 4401009"/>
                    <a:gd name="connsiteX349" fmla="*/ 2265981 w 3830903"/>
                    <a:gd name="connsiteY349" fmla="*/ 4300648 h 4401009"/>
                    <a:gd name="connsiteX350" fmla="*/ 2257617 w 3830903"/>
                    <a:gd name="connsiteY350" fmla="*/ 4317375 h 4401009"/>
                    <a:gd name="connsiteX351" fmla="*/ 2235315 w 3830903"/>
                    <a:gd name="connsiteY351" fmla="*/ 4320163 h 4401009"/>
                    <a:gd name="connsiteX352" fmla="*/ 2207437 w 3830903"/>
                    <a:gd name="connsiteY352" fmla="*/ 4309011 h 4401009"/>
                    <a:gd name="connsiteX353" fmla="*/ 2201861 w 3830903"/>
                    <a:gd name="connsiteY353" fmla="*/ 4297860 h 4401009"/>
                    <a:gd name="connsiteX354" fmla="*/ 2187922 w 3830903"/>
                    <a:gd name="connsiteY354" fmla="*/ 4281133 h 4401009"/>
                    <a:gd name="connsiteX355" fmla="*/ 2179559 w 3830903"/>
                    <a:gd name="connsiteY355" fmla="*/ 4275558 h 4401009"/>
                    <a:gd name="connsiteX356" fmla="*/ 2132166 w 3830903"/>
                    <a:gd name="connsiteY356" fmla="*/ 4275558 h 4401009"/>
                    <a:gd name="connsiteX357" fmla="*/ 2112651 w 3830903"/>
                    <a:gd name="connsiteY357" fmla="*/ 4267194 h 4401009"/>
                    <a:gd name="connsiteX358" fmla="*/ 2109864 w 3830903"/>
                    <a:gd name="connsiteY358" fmla="*/ 4253255 h 4401009"/>
                    <a:gd name="connsiteX359" fmla="*/ 2115439 w 3830903"/>
                    <a:gd name="connsiteY359" fmla="*/ 4244892 h 4401009"/>
                    <a:gd name="connsiteX360" fmla="*/ 2123803 w 3830903"/>
                    <a:gd name="connsiteY360" fmla="*/ 4239316 h 4401009"/>
                    <a:gd name="connsiteX361" fmla="*/ 2132166 w 3830903"/>
                    <a:gd name="connsiteY361" fmla="*/ 4230953 h 4401009"/>
                    <a:gd name="connsiteX362" fmla="*/ 2143317 w 3830903"/>
                    <a:gd name="connsiteY362" fmla="*/ 4225377 h 4401009"/>
                    <a:gd name="connsiteX363" fmla="*/ 2137742 w 3830903"/>
                    <a:gd name="connsiteY363" fmla="*/ 4217014 h 4401009"/>
                    <a:gd name="connsiteX364" fmla="*/ 2112651 w 3830903"/>
                    <a:gd name="connsiteY364" fmla="*/ 4214226 h 4401009"/>
                    <a:gd name="connsiteX365" fmla="*/ 2104288 w 3830903"/>
                    <a:gd name="connsiteY365" fmla="*/ 4211438 h 4401009"/>
                    <a:gd name="connsiteX366" fmla="*/ 2099886 w 3830903"/>
                    <a:gd name="connsiteY366" fmla="*/ 4204836 h 4401009"/>
                    <a:gd name="connsiteX367" fmla="*/ 2104288 w 3830903"/>
                    <a:gd name="connsiteY367" fmla="*/ 4203075 h 4401009"/>
                    <a:gd name="connsiteX368" fmla="*/ 2112651 w 3830903"/>
                    <a:gd name="connsiteY368" fmla="*/ 4200287 h 4401009"/>
                    <a:gd name="connsiteX369" fmla="*/ 2123803 w 3830903"/>
                    <a:gd name="connsiteY369" fmla="*/ 4197499 h 4401009"/>
                    <a:gd name="connsiteX370" fmla="*/ 2134954 w 3830903"/>
                    <a:gd name="connsiteY370" fmla="*/ 4205863 h 4401009"/>
                    <a:gd name="connsiteX371" fmla="*/ 2151681 w 3830903"/>
                    <a:gd name="connsiteY371" fmla="*/ 4208650 h 4401009"/>
                    <a:gd name="connsiteX372" fmla="*/ 2160044 w 3830903"/>
                    <a:gd name="connsiteY372" fmla="*/ 4214226 h 4401009"/>
                    <a:gd name="connsiteX373" fmla="*/ 2168408 w 3830903"/>
                    <a:gd name="connsiteY373" fmla="*/ 4208650 h 4401009"/>
                    <a:gd name="connsiteX374" fmla="*/ 2190710 w 3830903"/>
                    <a:gd name="connsiteY374" fmla="*/ 4205863 h 4401009"/>
                    <a:gd name="connsiteX375" fmla="*/ 2201861 w 3830903"/>
                    <a:gd name="connsiteY375" fmla="*/ 4203075 h 4401009"/>
                    <a:gd name="connsiteX376" fmla="*/ 2204649 w 3830903"/>
                    <a:gd name="connsiteY376" fmla="*/ 4194711 h 4401009"/>
                    <a:gd name="connsiteX377" fmla="*/ 2229739 w 3830903"/>
                    <a:gd name="connsiteY377" fmla="*/ 4191924 h 4401009"/>
                    <a:gd name="connsiteX378" fmla="*/ 2215800 w 3830903"/>
                    <a:gd name="connsiteY378" fmla="*/ 4175197 h 4401009"/>
                    <a:gd name="connsiteX379" fmla="*/ 2213012 w 3830903"/>
                    <a:gd name="connsiteY379" fmla="*/ 4164045 h 4401009"/>
                    <a:gd name="connsiteX380" fmla="*/ 2204649 w 3830903"/>
                    <a:gd name="connsiteY380" fmla="*/ 4119441 h 4401009"/>
                    <a:gd name="connsiteX381" fmla="*/ 2213012 w 3830903"/>
                    <a:gd name="connsiteY381" fmla="*/ 4077624 h 4401009"/>
                    <a:gd name="connsiteX382" fmla="*/ 2215800 w 3830903"/>
                    <a:gd name="connsiteY382" fmla="*/ 4060897 h 4401009"/>
                    <a:gd name="connsiteX383" fmla="*/ 2215800 w 3830903"/>
                    <a:gd name="connsiteY383" fmla="*/ 4049745 h 4401009"/>
                    <a:gd name="connsiteX384" fmla="*/ 2218588 w 3830903"/>
                    <a:gd name="connsiteY384" fmla="*/ 4038594 h 4401009"/>
                    <a:gd name="connsiteX385" fmla="*/ 2235315 w 3830903"/>
                    <a:gd name="connsiteY385" fmla="*/ 4021867 h 4401009"/>
                    <a:gd name="connsiteX386" fmla="*/ 2243678 w 3830903"/>
                    <a:gd name="connsiteY386" fmla="*/ 4024655 h 4401009"/>
                    <a:gd name="connsiteX387" fmla="*/ 2257617 w 3830903"/>
                    <a:gd name="connsiteY387" fmla="*/ 4027443 h 4401009"/>
                    <a:gd name="connsiteX388" fmla="*/ 2271556 w 3830903"/>
                    <a:gd name="connsiteY388" fmla="*/ 4024655 h 4401009"/>
                    <a:gd name="connsiteX389" fmla="*/ 2268769 w 3830903"/>
                    <a:gd name="connsiteY389" fmla="*/ 4016292 h 4401009"/>
                    <a:gd name="connsiteX390" fmla="*/ 2257617 w 3830903"/>
                    <a:gd name="connsiteY390" fmla="*/ 4013504 h 4401009"/>
                    <a:gd name="connsiteX391" fmla="*/ 2229739 w 3830903"/>
                    <a:gd name="connsiteY391" fmla="*/ 4010716 h 4401009"/>
                    <a:gd name="connsiteX392" fmla="*/ 2221376 w 3830903"/>
                    <a:gd name="connsiteY392" fmla="*/ 4007928 h 4401009"/>
                    <a:gd name="connsiteX393" fmla="*/ 2218588 w 3830903"/>
                    <a:gd name="connsiteY393" fmla="*/ 3999565 h 4401009"/>
                    <a:gd name="connsiteX394" fmla="*/ 2185134 w 3830903"/>
                    <a:gd name="connsiteY394" fmla="*/ 3996777 h 4401009"/>
                    <a:gd name="connsiteX395" fmla="*/ 2171195 w 3830903"/>
                    <a:gd name="connsiteY395" fmla="*/ 3993989 h 4401009"/>
                    <a:gd name="connsiteX396" fmla="*/ 2162832 w 3830903"/>
                    <a:gd name="connsiteY396" fmla="*/ 3982838 h 4401009"/>
                    <a:gd name="connsiteX397" fmla="*/ 2151681 w 3830903"/>
                    <a:gd name="connsiteY397" fmla="*/ 3968899 h 4401009"/>
                    <a:gd name="connsiteX398" fmla="*/ 2143317 w 3830903"/>
                    <a:gd name="connsiteY398" fmla="*/ 3960536 h 4401009"/>
                    <a:gd name="connsiteX399" fmla="*/ 2165620 w 3830903"/>
                    <a:gd name="connsiteY399" fmla="*/ 3952172 h 4401009"/>
                    <a:gd name="connsiteX400" fmla="*/ 2176771 w 3830903"/>
                    <a:gd name="connsiteY400" fmla="*/ 3946597 h 4401009"/>
                    <a:gd name="connsiteX401" fmla="*/ 2182347 w 3830903"/>
                    <a:gd name="connsiteY401" fmla="*/ 3935445 h 4401009"/>
                    <a:gd name="connsiteX402" fmla="*/ 2201861 w 3830903"/>
                    <a:gd name="connsiteY402" fmla="*/ 3929870 h 4401009"/>
                    <a:gd name="connsiteX403" fmla="*/ 2210225 w 3830903"/>
                    <a:gd name="connsiteY403" fmla="*/ 3924294 h 4401009"/>
                    <a:gd name="connsiteX404" fmla="*/ 2232527 w 3830903"/>
                    <a:gd name="connsiteY404" fmla="*/ 3915931 h 4401009"/>
                    <a:gd name="connsiteX405" fmla="*/ 2218588 w 3830903"/>
                    <a:gd name="connsiteY405" fmla="*/ 3913143 h 4401009"/>
                    <a:gd name="connsiteX406" fmla="*/ 2221376 w 3830903"/>
                    <a:gd name="connsiteY406" fmla="*/ 3890841 h 4401009"/>
                    <a:gd name="connsiteX407" fmla="*/ 2243678 w 3830903"/>
                    <a:gd name="connsiteY407" fmla="*/ 3876902 h 4401009"/>
                    <a:gd name="connsiteX408" fmla="*/ 2252042 w 3830903"/>
                    <a:gd name="connsiteY408" fmla="*/ 3854599 h 4401009"/>
                    <a:gd name="connsiteX409" fmla="*/ 2263193 w 3830903"/>
                    <a:gd name="connsiteY409" fmla="*/ 3837872 h 4401009"/>
                    <a:gd name="connsiteX410" fmla="*/ 2285495 w 3830903"/>
                    <a:gd name="connsiteY410" fmla="*/ 3835084 h 4401009"/>
                    <a:gd name="connsiteX411" fmla="*/ 2285495 w 3830903"/>
                    <a:gd name="connsiteY411" fmla="*/ 3818358 h 4401009"/>
                    <a:gd name="connsiteX412" fmla="*/ 2282708 w 3830903"/>
                    <a:gd name="connsiteY412" fmla="*/ 3807206 h 4401009"/>
                    <a:gd name="connsiteX413" fmla="*/ 2271556 w 3830903"/>
                    <a:gd name="connsiteY413" fmla="*/ 3790480 h 4401009"/>
                    <a:gd name="connsiteX414" fmla="*/ 2263193 w 3830903"/>
                    <a:gd name="connsiteY414" fmla="*/ 3787692 h 4401009"/>
                    <a:gd name="connsiteX415" fmla="*/ 2243678 w 3830903"/>
                    <a:gd name="connsiteY415" fmla="*/ 3801631 h 4401009"/>
                    <a:gd name="connsiteX416" fmla="*/ 2240891 w 3830903"/>
                    <a:gd name="connsiteY416" fmla="*/ 3812782 h 4401009"/>
                    <a:gd name="connsiteX417" fmla="*/ 2218588 w 3830903"/>
                    <a:gd name="connsiteY417" fmla="*/ 3835084 h 4401009"/>
                    <a:gd name="connsiteX418" fmla="*/ 2213012 w 3830903"/>
                    <a:gd name="connsiteY418" fmla="*/ 3823933 h 4401009"/>
                    <a:gd name="connsiteX419" fmla="*/ 2207437 w 3830903"/>
                    <a:gd name="connsiteY419" fmla="*/ 3809994 h 4401009"/>
                    <a:gd name="connsiteX420" fmla="*/ 2201861 w 3830903"/>
                    <a:gd name="connsiteY420" fmla="*/ 3829509 h 4401009"/>
                    <a:gd name="connsiteX421" fmla="*/ 2199073 w 3830903"/>
                    <a:gd name="connsiteY421" fmla="*/ 3837872 h 4401009"/>
                    <a:gd name="connsiteX422" fmla="*/ 2193498 w 3830903"/>
                    <a:gd name="connsiteY422" fmla="*/ 3846236 h 4401009"/>
                    <a:gd name="connsiteX423" fmla="*/ 2173983 w 3830903"/>
                    <a:gd name="connsiteY423" fmla="*/ 3854599 h 4401009"/>
                    <a:gd name="connsiteX424" fmla="*/ 2171195 w 3830903"/>
                    <a:gd name="connsiteY424" fmla="*/ 3835084 h 4401009"/>
                    <a:gd name="connsiteX425" fmla="*/ 2160044 w 3830903"/>
                    <a:gd name="connsiteY425" fmla="*/ 3804419 h 4401009"/>
                    <a:gd name="connsiteX426" fmla="*/ 2148893 w 3830903"/>
                    <a:gd name="connsiteY426" fmla="*/ 3784904 h 4401009"/>
                    <a:gd name="connsiteX427" fmla="*/ 2160044 w 3830903"/>
                    <a:gd name="connsiteY427" fmla="*/ 3762602 h 4401009"/>
                    <a:gd name="connsiteX428" fmla="*/ 2190710 w 3830903"/>
                    <a:gd name="connsiteY428" fmla="*/ 3740299 h 4401009"/>
                    <a:gd name="connsiteX429" fmla="*/ 2193498 w 3830903"/>
                    <a:gd name="connsiteY429" fmla="*/ 3715209 h 4401009"/>
                    <a:gd name="connsiteX430" fmla="*/ 2196286 w 3830903"/>
                    <a:gd name="connsiteY430" fmla="*/ 3704058 h 4401009"/>
                    <a:gd name="connsiteX431" fmla="*/ 2232527 w 3830903"/>
                    <a:gd name="connsiteY431" fmla="*/ 3701270 h 4401009"/>
                    <a:gd name="connsiteX432" fmla="*/ 2246466 w 3830903"/>
                    <a:gd name="connsiteY432" fmla="*/ 3692906 h 4401009"/>
                    <a:gd name="connsiteX433" fmla="*/ 2265981 w 3830903"/>
                    <a:gd name="connsiteY433" fmla="*/ 3678967 h 4401009"/>
                    <a:gd name="connsiteX434" fmla="*/ 2282708 w 3830903"/>
                    <a:gd name="connsiteY434" fmla="*/ 3676180 h 4401009"/>
                    <a:gd name="connsiteX435" fmla="*/ 2291071 w 3830903"/>
                    <a:gd name="connsiteY435" fmla="*/ 3673392 h 4401009"/>
                    <a:gd name="connsiteX436" fmla="*/ 2293859 w 3830903"/>
                    <a:gd name="connsiteY436" fmla="*/ 3651089 h 4401009"/>
                    <a:gd name="connsiteX437" fmla="*/ 2291071 w 3830903"/>
                    <a:gd name="connsiteY437" fmla="*/ 3642726 h 4401009"/>
                    <a:gd name="connsiteX438" fmla="*/ 2285495 w 3830903"/>
                    <a:gd name="connsiteY438" fmla="*/ 3631575 h 4401009"/>
                    <a:gd name="connsiteX439" fmla="*/ 2282708 w 3830903"/>
                    <a:gd name="connsiteY439" fmla="*/ 3575819 h 4401009"/>
                    <a:gd name="connsiteX440" fmla="*/ 2274344 w 3830903"/>
                    <a:gd name="connsiteY440" fmla="*/ 3567455 h 4401009"/>
                    <a:gd name="connsiteX441" fmla="*/ 2268769 w 3830903"/>
                    <a:gd name="connsiteY441" fmla="*/ 3559092 h 4401009"/>
                    <a:gd name="connsiteX442" fmla="*/ 2252042 w 3830903"/>
                    <a:gd name="connsiteY442" fmla="*/ 3550728 h 4401009"/>
                    <a:gd name="connsiteX443" fmla="*/ 2246466 w 3830903"/>
                    <a:gd name="connsiteY443" fmla="*/ 3536789 h 4401009"/>
                    <a:gd name="connsiteX444" fmla="*/ 2229739 w 3830903"/>
                    <a:gd name="connsiteY444" fmla="*/ 3522850 h 4401009"/>
                    <a:gd name="connsiteX445" fmla="*/ 2238103 w 3830903"/>
                    <a:gd name="connsiteY445" fmla="*/ 3506124 h 4401009"/>
                    <a:gd name="connsiteX446" fmla="*/ 2249254 w 3830903"/>
                    <a:gd name="connsiteY446" fmla="*/ 3489397 h 4401009"/>
                    <a:gd name="connsiteX447" fmla="*/ 2246466 w 3830903"/>
                    <a:gd name="connsiteY447" fmla="*/ 3481033 h 4401009"/>
                    <a:gd name="connsiteX448" fmla="*/ 2218588 w 3830903"/>
                    <a:gd name="connsiteY448" fmla="*/ 3478245 h 4401009"/>
                    <a:gd name="connsiteX449" fmla="*/ 2210225 w 3830903"/>
                    <a:gd name="connsiteY449" fmla="*/ 3475458 h 4401009"/>
                    <a:gd name="connsiteX450" fmla="*/ 2207437 w 3830903"/>
                    <a:gd name="connsiteY450" fmla="*/ 3467094 h 4401009"/>
                    <a:gd name="connsiteX451" fmla="*/ 2210225 w 3830903"/>
                    <a:gd name="connsiteY451" fmla="*/ 3455943 h 4401009"/>
                    <a:gd name="connsiteX452" fmla="*/ 2224164 w 3830903"/>
                    <a:gd name="connsiteY452" fmla="*/ 3453155 h 4401009"/>
                    <a:gd name="connsiteX453" fmla="*/ 2226951 w 3830903"/>
                    <a:gd name="connsiteY453" fmla="*/ 3428065 h 4401009"/>
                    <a:gd name="connsiteX454" fmla="*/ 2252042 w 3830903"/>
                    <a:gd name="connsiteY454" fmla="*/ 3408550 h 4401009"/>
                    <a:gd name="connsiteX455" fmla="*/ 2243678 w 3830903"/>
                    <a:gd name="connsiteY455" fmla="*/ 3400187 h 4401009"/>
                    <a:gd name="connsiteX456" fmla="*/ 2232527 w 3830903"/>
                    <a:gd name="connsiteY456" fmla="*/ 3397399 h 4401009"/>
                    <a:gd name="connsiteX457" fmla="*/ 2226951 w 3830903"/>
                    <a:gd name="connsiteY457" fmla="*/ 3383460 h 4401009"/>
                    <a:gd name="connsiteX458" fmla="*/ 2224164 w 3830903"/>
                    <a:gd name="connsiteY458" fmla="*/ 3375097 h 4401009"/>
                    <a:gd name="connsiteX459" fmla="*/ 2216413 w 3830903"/>
                    <a:gd name="connsiteY459" fmla="*/ 3372718 h 4401009"/>
                    <a:gd name="connsiteX460" fmla="*/ 2213299 w 3830903"/>
                    <a:gd name="connsiteY460" fmla="*/ 3372512 h 4401009"/>
                    <a:gd name="connsiteX461" fmla="*/ 2213336 w 3830903"/>
                    <a:gd name="connsiteY461" fmla="*/ 3372183 h 4401009"/>
                    <a:gd name="connsiteX462" fmla="*/ 2210241 w 3830903"/>
                    <a:gd name="connsiteY462" fmla="*/ 3372228 h 4401009"/>
                    <a:gd name="connsiteX463" fmla="*/ 2210225 w 3830903"/>
                    <a:gd name="connsiteY463" fmla="*/ 3372309 h 4401009"/>
                    <a:gd name="connsiteX464" fmla="*/ 2213299 w 3830903"/>
                    <a:gd name="connsiteY464" fmla="*/ 3372512 h 4401009"/>
                    <a:gd name="connsiteX465" fmla="*/ 2213012 w 3830903"/>
                    <a:gd name="connsiteY465" fmla="*/ 3375097 h 4401009"/>
                    <a:gd name="connsiteX466" fmla="*/ 2201861 w 3830903"/>
                    <a:gd name="connsiteY466" fmla="*/ 3377884 h 4401009"/>
                    <a:gd name="connsiteX467" fmla="*/ 2188235 w 3830903"/>
                    <a:gd name="connsiteY467" fmla="*/ 3373439 h 4401009"/>
                    <a:gd name="connsiteX468" fmla="*/ 2180379 w 3830903"/>
                    <a:gd name="connsiteY468" fmla="*/ 3369743 h 4401009"/>
                    <a:gd name="connsiteX469" fmla="*/ 2188814 w 3830903"/>
                    <a:gd name="connsiteY469" fmla="*/ 3369537 h 4401009"/>
                    <a:gd name="connsiteX470" fmla="*/ 2191799 w 3830903"/>
                    <a:gd name="connsiteY470" fmla="*/ 3367999 h 4401009"/>
                    <a:gd name="connsiteX471" fmla="*/ 2187923 w 3830903"/>
                    <a:gd name="connsiteY471" fmla="*/ 3366733 h 4401009"/>
                    <a:gd name="connsiteX472" fmla="*/ 2176772 w 3830903"/>
                    <a:gd name="connsiteY472" fmla="*/ 3363945 h 4401009"/>
                    <a:gd name="connsiteX473" fmla="*/ 2172335 w 3830903"/>
                    <a:gd name="connsiteY473" fmla="*/ 3363436 h 4401009"/>
                    <a:gd name="connsiteX474" fmla="*/ 2173983 w 3830903"/>
                    <a:gd name="connsiteY474" fmla="*/ 3366733 h 4401009"/>
                    <a:gd name="connsiteX475" fmla="*/ 2180379 w 3830903"/>
                    <a:gd name="connsiteY475" fmla="*/ 3369743 h 4401009"/>
                    <a:gd name="connsiteX476" fmla="*/ 2119515 w 3830903"/>
                    <a:gd name="connsiteY476" fmla="*/ 3371227 h 4401009"/>
                    <a:gd name="connsiteX477" fmla="*/ 2099233 w 3830903"/>
                    <a:gd name="connsiteY477" fmla="*/ 3377988 h 4401009"/>
                    <a:gd name="connsiteX478" fmla="*/ 2084021 w 3830903"/>
                    <a:gd name="connsiteY478" fmla="*/ 3383058 h 4401009"/>
                    <a:gd name="connsiteX479" fmla="*/ 2075570 w 3830903"/>
                    <a:gd name="connsiteY479" fmla="*/ 3374607 h 4401009"/>
                    <a:gd name="connsiteX480" fmla="*/ 2019793 w 3830903"/>
                    <a:gd name="connsiteY480" fmla="*/ 3374607 h 4401009"/>
                    <a:gd name="connsiteX481" fmla="*/ 2014723 w 3830903"/>
                    <a:gd name="connsiteY481" fmla="*/ 3376297 h 4401009"/>
                    <a:gd name="connsiteX482" fmla="*/ 2007962 w 3830903"/>
                    <a:gd name="connsiteY482" fmla="*/ 3374607 h 4401009"/>
                    <a:gd name="connsiteX483" fmla="*/ 2002891 w 3830903"/>
                    <a:gd name="connsiteY483" fmla="*/ 3372917 h 4401009"/>
                    <a:gd name="connsiteX484" fmla="*/ 1989370 w 3830903"/>
                    <a:gd name="connsiteY484" fmla="*/ 3371227 h 4401009"/>
                    <a:gd name="connsiteX485" fmla="*/ 1982609 w 3830903"/>
                    <a:gd name="connsiteY485" fmla="*/ 3374607 h 4401009"/>
                    <a:gd name="connsiteX486" fmla="*/ 1970777 w 3830903"/>
                    <a:gd name="connsiteY486" fmla="*/ 3381368 h 4401009"/>
                    <a:gd name="connsiteX487" fmla="*/ 1964017 w 3830903"/>
                    <a:gd name="connsiteY487" fmla="*/ 3383058 h 4401009"/>
                    <a:gd name="connsiteX488" fmla="*/ 1957256 w 3830903"/>
                    <a:gd name="connsiteY488" fmla="*/ 3394890 h 4401009"/>
                    <a:gd name="connsiteX489" fmla="*/ 1931903 w 3830903"/>
                    <a:gd name="connsiteY489" fmla="*/ 3391509 h 4401009"/>
                    <a:gd name="connsiteX490" fmla="*/ 1928522 w 3830903"/>
                    <a:gd name="connsiteY490" fmla="*/ 3386439 h 4401009"/>
                    <a:gd name="connsiteX491" fmla="*/ 1925142 w 3830903"/>
                    <a:gd name="connsiteY491" fmla="*/ 3383058 h 4401009"/>
                    <a:gd name="connsiteX492" fmla="*/ 1916691 w 3830903"/>
                    <a:gd name="connsiteY492" fmla="*/ 3374607 h 4401009"/>
                    <a:gd name="connsiteX493" fmla="*/ 1911620 w 3830903"/>
                    <a:gd name="connsiteY493" fmla="*/ 3366156 h 4401009"/>
                    <a:gd name="connsiteX494" fmla="*/ 1898099 w 3830903"/>
                    <a:gd name="connsiteY494" fmla="*/ 3356015 h 4401009"/>
                    <a:gd name="connsiteX495" fmla="*/ 1894718 w 3830903"/>
                    <a:gd name="connsiteY495" fmla="*/ 3352634 h 4401009"/>
                    <a:gd name="connsiteX496" fmla="*/ 1877816 w 3830903"/>
                    <a:gd name="connsiteY496" fmla="*/ 3342493 h 4401009"/>
                    <a:gd name="connsiteX497" fmla="*/ 1867675 w 3830903"/>
                    <a:gd name="connsiteY497" fmla="*/ 3340803 h 4401009"/>
                    <a:gd name="connsiteX498" fmla="*/ 1857534 w 3830903"/>
                    <a:gd name="connsiteY498" fmla="*/ 3350944 h 4401009"/>
                    <a:gd name="connsiteX499" fmla="*/ 1842322 w 3830903"/>
                    <a:gd name="connsiteY499" fmla="*/ 3362776 h 4401009"/>
                    <a:gd name="connsiteX500" fmla="*/ 1825420 w 3830903"/>
                    <a:gd name="connsiteY500" fmla="*/ 3372917 h 4401009"/>
                    <a:gd name="connsiteX501" fmla="*/ 1818659 w 3830903"/>
                    <a:gd name="connsiteY501" fmla="*/ 3377988 h 4401009"/>
                    <a:gd name="connsiteX502" fmla="*/ 1806828 w 3830903"/>
                    <a:gd name="connsiteY502" fmla="*/ 3384748 h 4401009"/>
                    <a:gd name="connsiteX503" fmla="*/ 1801757 w 3830903"/>
                    <a:gd name="connsiteY503" fmla="*/ 3389819 h 4401009"/>
                    <a:gd name="connsiteX504" fmla="*/ 1800067 w 3830903"/>
                    <a:gd name="connsiteY504" fmla="*/ 3399960 h 4401009"/>
                    <a:gd name="connsiteX505" fmla="*/ 1794996 w 3830903"/>
                    <a:gd name="connsiteY505" fmla="*/ 3405031 h 4401009"/>
                    <a:gd name="connsiteX506" fmla="*/ 1793306 w 3830903"/>
                    <a:gd name="connsiteY506" fmla="*/ 3410101 h 4401009"/>
                    <a:gd name="connsiteX507" fmla="*/ 1789926 w 3830903"/>
                    <a:gd name="connsiteY507" fmla="*/ 3415172 h 4401009"/>
                    <a:gd name="connsiteX508" fmla="*/ 1778094 w 3830903"/>
                    <a:gd name="connsiteY508" fmla="*/ 3408411 h 4401009"/>
                    <a:gd name="connsiteX509" fmla="*/ 1764573 w 3830903"/>
                    <a:gd name="connsiteY509" fmla="*/ 3403341 h 4401009"/>
                    <a:gd name="connsiteX510" fmla="*/ 1742600 w 3830903"/>
                    <a:gd name="connsiteY510" fmla="*/ 3401650 h 4401009"/>
                    <a:gd name="connsiteX511" fmla="*/ 1737529 w 3830903"/>
                    <a:gd name="connsiteY511" fmla="*/ 3398270 h 4401009"/>
                    <a:gd name="connsiteX512" fmla="*/ 1724008 w 3830903"/>
                    <a:gd name="connsiteY512" fmla="*/ 3394890 h 4401009"/>
                    <a:gd name="connsiteX513" fmla="*/ 1710486 w 3830903"/>
                    <a:gd name="connsiteY513" fmla="*/ 3401650 h 4401009"/>
                    <a:gd name="connsiteX514" fmla="*/ 1705416 w 3830903"/>
                    <a:gd name="connsiteY514" fmla="*/ 3403341 h 4401009"/>
                    <a:gd name="connsiteX515" fmla="*/ 1696965 w 3830903"/>
                    <a:gd name="connsiteY515" fmla="*/ 3410101 h 4401009"/>
                    <a:gd name="connsiteX516" fmla="*/ 1680062 w 3830903"/>
                    <a:gd name="connsiteY516" fmla="*/ 3413482 h 4401009"/>
                    <a:gd name="connsiteX517" fmla="*/ 1653019 w 3830903"/>
                    <a:gd name="connsiteY517" fmla="*/ 3405031 h 4401009"/>
                    <a:gd name="connsiteX518" fmla="*/ 1649639 w 3830903"/>
                    <a:gd name="connsiteY518" fmla="*/ 3396580 h 4401009"/>
                    <a:gd name="connsiteX519" fmla="*/ 1642878 w 3830903"/>
                    <a:gd name="connsiteY519" fmla="*/ 3386439 h 4401009"/>
                    <a:gd name="connsiteX520" fmla="*/ 1646258 w 3830903"/>
                    <a:gd name="connsiteY520" fmla="*/ 3383058 h 4401009"/>
                    <a:gd name="connsiteX521" fmla="*/ 1636117 w 3830903"/>
                    <a:gd name="connsiteY521" fmla="*/ 3369537 h 4401009"/>
                    <a:gd name="connsiteX522" fmla="*/ 1627666 w 3830903"/>
                    <a:gd name="connsiteY522" fmla="*/ 3357705 h 4401009"/>
                    <a:gd name="connsiteX523" fmla="*/ 1617525 w 3830903"/>
                    <a:gd name="connsiteY523" fmla="*/ 3349254 h 4401009"/>
                    <a:gd name="connsiteX524" fmla="*/ 1605694 w 3830903"/>
                    <a:gd name="connsiteY524" fmla="*/ 3337423 h 4401009"/>
                    <a:gd name="connsiteX525" fmla="*/ 1600623 w 3830903"/>
                    <a:gd name="connsiteY525" fmla="*/ 3328972 h 4401009"/>
                    <a:gd name="connsiteX526" fmla="*/ 1593862 w 3830903"/>
                    <a:gd name="connsiteY526" fmla="*/ 3317140 h 4401009"/>
                    <a:gd name="connsiteX527" fmla="*/ 1575270 w 3830903"/>
                    <a:gd name="connsiteY527" fmla="*/ 3296858 h 4401009"/>
                    <a:gd name="connsiteX528" fmla="*/ 1548227 w 3830903"/>
                    <a:gd name="connsiteY528" fmla="*/ 3310379 h 4401009"/>
                    <a:gd name="connsiteX529" fmla="*/ 1546536 w 3830903"/>
                    <a:gd name="connsiteY529" fmla="*/ 3315450 h 4401009"/>
                    <a:gd name="connsiteX530" fmla="*/ 1536395 w 3830903"/>
                    <a:gd name="connsiteY530" fmla="*/ 3317140 h 4401009"/>
                    <a:gd name="connsiteX531" fmla="*/ 1514423 w 3830903"/>
                    <a:gd name="connsiteY531" fmla="*/ 3318830 h 4401009"/>
                    <a:gd name="connsiteX532" fmla="*/ 1497521 w 3830903"/>
                    <a:gd name="connsiteY532" fmla="*/ 3322211 h 4401009"/>
                    <a:gd name="connsiteX533" fmla="*/ 1485689 w 3830903"/>
                    <a:gd name="connsiteY533" fmla="*/ 3288407 h 4401009"/>
                    <a:gd name="connsiteX534" fmla="*/ 1470477 w 3830903"/>
                    <a:gd name="connsiteY534" fmla="*/ 3283336 h 4401009"/>
                    <a:gd name="connsiteX535" fmla="*/ 1450195 w 3830903"/>
                    <a:gd name="connsiteY535" fmla="*/ 3279956 h 4401009"/>
                    <a:gd name="connsiteX536" fmla="*/ 1446814 w 3830903"/>
                    <a:gd name="connsiteY536" fmla="*/ 3266434 h 4401009"/>
                    <a:gd name="connsiteX537" fmla="*/ 1441744 w 3830903"/>
                    <a:gd name="connsiteY537" fmla="*/ 3259673 h 4401009"/>
                    <a:gd name="connsiteX538" fmla="*/ 1446814 w 3830903"/>
                    <a:gd name="connsiteY538" fmla="*/ 3254603 h 4401009"/>
                    <a:gd name="connsiteX539" fmla="*/ 1453575 w 3830903"/>
                    <a:gd name="connsiteY539" fmla="*/ 3252913 h 4401009"/>
                    <a:gd name="connsiteX540" fmla="*/ 1465407 w 3830903"/>
                    <a:gd name="connsiteY540" fmla="*/ 3239391 h 4401009"/>
                    <a:gd name="connsiteX541" fmla="*/ 1468787 w 3830903"/>
                    <a:gd name="connsiteY541" fmla="*/ 3230940 h 4401009"/>
                    <a:gd name="connsiteX542" fmla="*/ 1470477 w 3830903"/>
                    <a:gd name="connsiteY542" fmla="*/ 3225869 h 4401009"/>
                    <a:gd name="connsiteX543" fmla="*/ 1467097 w 3830903"/>
                    <a:gd name="connsiteY543" fmla="*/ 3220799 h 4401009"/>
                    <a:gd name="connsiteX544" fmla="*/ 1450195 w 3830903"/>
                    <a:gd name="connsiteY544" fmla="*/ 3214038 h 4401009"/>
                    <a:gd name="connsiteX545" fmla="*/ 1445124 w 3830903"/>
                    <a:gd name="connsiteY545" fmla="*/ 3212348 h 4401009"/>
                    <a:gd name="connsiteX546" fmla="*/ 1441744 w 3830903"/>
                    <a:gd name="connsiteY546" fmla="*/ 3208967 h 4401009"/>
                    <a:gd name="connsiteX547" fmla="*/ 1434983 w 3830903"/>
                    <a:gd name="connsiteY547" fmla="*/ 3203897 h 4401009"/>
                    <a:gd name="connsiteX548" fmla="*/ 1429912 w 3830903"/>
                    <a:gd name="connsiteY548" fmla="*/ 3193755 h 4401009"/>
                    <a:gd name="connsiteX549" fmla="*/ 1419771 w 3830903"/>
                    <a:gd name="connsiteY549" fmla="*/ 3192065 h 4401009"/>
                    <a:gd name="connsiteX550" fmla="*/ 1407940 w 3830903"/>
                    <a:gd name="connsiteY550" fmla="*/ 3178544 h 4401009"/>
                    <a:gd name="connsiteX551" fmla="*/ 1396108 w 3830903"/>
                    <a:gd name="connsiteY551" fmla="*/ 3173473 h 4401009"/>
                    <a:gd name="connsiteX552" fmla="*/ 1392728 w 3830903"/>
                    <a:gd name="connsiteY552" fmla="*/ 3166712 h 4401009"/>
                    <a:gd name="connsiteX553" fmla="*/ 1377516 w 3830903"/>
                    <a:gd name="connsiteY553" fmla="*/ 3153191 h 4401009"/>
                    <a:gd name="connsiteX554" fmla="*/ 1362304 w 3830903"/>
                    <a:gd name="connsiteY554" fmla="*/ 3146430 h 4401009"/>
                    <a:gd name="connsiteX555" fmla="*/ 1357234 w 3830903"/>
                    <a:gd name="connsiteY555" fmla="*/ 3149810 h 4401009"/>
                    <a:gd name="connsiteX556" fmla="*/ 1342022 w 3830903"/>
                    <a:gd name="connsiteY556" fmla="*/ 3153191 h 4401009"/>
                    <a:gd name="connsiteX557" fmla="*/ 1316669 w 3830903"/>
                    <a:gd name="connsiteY557" fmla="*/ 3149810 h 4401009"/>
                    <a:gd name="connsiteX558" fmla="*/ 1309908 w 3830903"/>
                    <a:gd name="connsiteY558" fmla="*/ 3158261 h 4401009"/>
                    <a:gd name="connsiteX559" fmla="*/ 1308218 w 3830903"/>
                    <a:gd name="connsiteY559" fmla="*/ 3192065 h 4401009"/>
                    <a:gd name="connsiteX560" fmla="*/ 1286245 w 3830903"/>
                    <a:gd name="connsiteY560" fmla="*/ 3200516 h 4401009"/>
                    <a:gd name="connsiteX561" fmla="*/ 1279484 w 3830903"/>
                    <a:gd name="connsiteY561" fmla="*/ 3198826 h 4401009"/>
                    <a:gd name="connsiteX562" fmla="*/ 1223708 w 3830903"/>
                    <a:gd name="connsiteY562" fmla="*/ 3230940 h 4401009"/>
                    <a:gd name="connsiteX563" fmla="*/ 1216947 w 3830903"/>
                    <a:gd name="connsiteY563" fmla="*/ 3241081 h 4401009"/>
                    <a:gd name="connsiteX564" fmla="*/ 1194974 w 3830903"/>
                    <a:gd name="connsiteY564" fmla="*/ 3251222 h 4401009"/>
                    <a:gd name="connsiteX565" fmla="*/ 1184833 w 3830903"/>
                    <a:gd name="connsiteY565" fmla="*/ 3261364 h 4401009"/>
                    <a:gd name="connsiteX566" fmla="*/ 1173001 w 3830903"/>
                    <a:gd name="connsiteY566" fmla="*/ 3266434 h 4401009"/>
                    <a:gd name="connsiteX567" fmla="*/ 1159480 w 3830903"/>
                    <a:gd name="connsiteY567" fmla="*/ 3268124 h 4401009"/>
                    <a:gd name="connsiteX568" fmla="*/ 1157790 w 3830903"/>
                    <a:gd name="connsiteY568" fmla="*/ 3256293 h 4401009"/>
                    <a:gd name="connsiteX569" fmla="*/ 1156099 w 3830903"/>
                    <a:gd name="connsiteY569" fmla="*/ 3247842 h 4401009"/>
                    <a:gd name="connsiteX570" fmla="*/ 1151029 w 3830903"/>
                    <a:gd name="connsiteY570" fmla="*/ 3244461 h 4401009"/>
                    <a:gd name="connsiteX571" fmla="*/ 1142578 w 3830903"/>
                    <a:gd name="connsiteY571" fmla="*/ 3232630 h 4401009"/>
                    <a:gd name="connsiteX572" fmla="*/ 1132437 w 3830903"/>
                    <a:gd name="connsiteY572" fmla="*/ 3217418 h 4401009"/>
                    <a:gd name="connsiteX573" fmla="*/ 1127366 w 3830903"/>
                    <a:gd name="connsiteY573" fmla="*/ 3212348 h 4401009"/>
                    <a:gd name="connsiteX574" fmla="*/ 1120605 w 3830903"/>
                    <a:gd name="connsiteY574" fmla="*/ 3200516 h 4401009"/>
                    <a:gd name="connsiteX575" fmla="*/ 1118915 w 3830903"/>
                    <a:gd name="connsiteY575" fmla="*/ 3190375 h 4401009"/>
                    <a:gd name="connsiteX576" fmla="*/ 1115535 w 3830903"/>
                    <a:gd name="connsiteY576" fmla="*/ 3183614 h 4401009"/>
                    <a:gd name="connsiteX577" fmla="*/ 1122295 w 3830903"/>
                    <a:gd name="connsiteY577" fmla="*/ 3148120 h 4401009"/>
                    <a:gd name="connsiteX578" fmla="*/ 1115535 w 3830903"/>
                    <a:gd name="connsiteY578" fmla="*/ 3136288 h 4401009"/>
                    <a:gd name="connsiteX579" fmla="*/ 1108774 w 3830903"/>
                    <a:gd name="connsiteY579" fmla="*/ 3132908 h 4401009"/>
                    <a:gd name="connsiteX580" fmla="*/ 1095252 w 3830903"/>
                    <a:gd name="connsiteY580" fmla="*/ 3129528 h 4401009"/>
                    <a:gd name="connsiteX581" fmla="*/ 1083421 w 3830903"/>
                    <a:gd name="connsiteY581" fmla="*/ 3126147 h 4401009"/>
                    <a:gd name="connsiteX582" fmla="*/ 1076660 w 3830903"/>
                    <a:gd name="connsiteY582" fmla="*/ 3122767 h 4401009"/>
                    <a:gd name="connsiteX583" fmla="*/ 1076660 w 3830903"/>
                    <a:gd name="connsiteY583" fmla="*/ 3090653 h 4401009"/>
                    <a:gd name="connsiteX584" fmla="*/ 1081731 w 3830903"/>
                    <a:gd name="connsiteY584" fmla="*/ 3087273 h 4401009"/>
                    <a:gd name="connsiteX585" fmla="*/ 1095252 w 3830903"/>
                    <a:gd name="connsiteY585" fmla="*/ 3070371 h 4401009"/>
                    <a:gd name="connsiteX586" fmla="*/ 1117225 w 3830903"/>
                    <a:gd name="connsiteY586" fmla="*/ 3065300 h 4401009"/>
                    <a:gd name="connsiteX587" fmla="*/ 1129056 w 3830903"/>
                    <a:gd name="connsiteY587" fmla="*/ 3061920 h 4401009"/>
                    <a:gd name="connsiteX588" fmla="*/ 1139197 w 3830903"/>
                    <a:gd name="connsiteY588" fmla="*/ 3063610 h 4401009"/>
                    <a:gd name="connsiteX589" fmla="*/ 1156099 w 3830903"/>
                    <a:gd name="connsiteY589" fmla="*/ 3066990 h 4401009"/>
                    <a:gd name="connsiteX590" fmla="*/ 1161170 w 3830903"/>
                    <a:gd name="connsiteY590" fmla="*/ 3061920 h 4401009"/>
                    <a:gd name="connsiteX591" fmla="*/ 1167931 w 3830903"/>
                    <a:gd name="connsiteY591" fmla="*/ 3053469 h 4401009"/>
                    <a:gd name="connsiteX592" fmla="*/ 1173001 w 3830903"/>
                    <a:gd name="connsiteY592" fmla="*/ 3050088 h 4401009"/>
                    <a:gd name="connsiteX593" fmla="*/ 1178072 w 3830903"/>
                    <a:gd name="connsiteY593" fmla="*/ 3036566 h 4401009"/>
                    <a:gd name="connsiteX594" fmla="*/ 1186523 w 3830903"/>
                    <a:gd name="connsiteY594" fmla="*/ 2990931 h 4401009"/>
                    <a:gd name="connsiteX595" fmla="*/ 1167931 w 3830903"/>
                    <a:gd name="connsiteY595" fmla="*/ 2989241 h 4401009"/>
                    <a:gd name="connsiteX596" fmla="*/ 1164550 w 3830903"/>
                    <a:gd name="connsiteY596" fmla="*/ 2977409 h 4401009"/>
                    <a:gd name="connsiteX597" fmla="*/ 1157790 w 3830903"/>
                    <a:gd name="connsiteY597" fmla="*/ 2965578 h 4401009"/>
                    <a:gd name="connsiteX598" fmla="*/ 1147648 w 3830903"/>
                    <a:gd name="connsiteY598" fmla="*/ 2958817 h 4401009"/>
                    <a:gd name="connsiteX599" fmla="*/ 1139197 w 3830903"/>
                    <a:gd name="connsiteY599" fmla="*/ 2955437 h 4401009"/>
                    <a:gd name="connsiteX600" fmla="*/ 1108774 w 3830903"/>
                    <a:gd name="connsiteY600" fmla="*/ 2953747 h 4401009"/>
                    <a:gd name="connsiteX601" fmla="*/ 1100323 w 3830903"/>
                    <a:gd name="connsiteY601" fmla="*/ 2955437 h 4401009"/>
                    <a:gd name="connsiteX602" fmla="*/ 1090182 w 3830903"/>
                    <a:gd name="connsiteY602" fmla="*/ 2965578 h 4401009"/>
                    <a:gd name="connsiteX603" fmla="*/ 1083421 w 3830903"/>
                    <a:gd name="connsiteY603" fmla="*/ 2967268 h 4401009"/>
                    <a:gd name="connsiteX604" fmla="*/ 1085111 w 3830903"/>
                    <a:gd name="connsiteY604" fmla="*/ 2953747 h 4401009"/>
                    <a:gd name="connsiteX605" fmla="*/ 1081731 w 3830903"/>
                    <a:gd name="connsiteY605" fmla="*/ 2946986 h 4401009"/>
                    <a:gd name="connsiteX606" fmla="*/ 1080040 w 3830903"/>
                    <a:gd name="connsiteY606" fmla="*/ 2935154 h 4401009"/>
                    <a:gd name="connsiteX607" fmla="*/ 1063138 w 3830903"/>
                    <a:gd name="connsiteY607" fmla="*/ 2921633 h 4401009"/>
                    <a:gd name="connsiteX608" fmla="*/ 1058068 w 3830903"/>
                    <a:gd name="connsiteY608" fmla="*/ 2916562 h 4401009"/>
                    <a:gd name="connsiteX609" fmla="*/ 1031024 w 3830903"/>
                    <a:gd name="connsiteY609" fmla="*/ 2914872 h 4401009"/>
                    <a:gd name="connsiteX610" fmla="*/ 1025954 w 3830903"/>
                    <a:gd name="connsiteY610" fmla="*/ 2913182 h 4401009"/>
                    <a:gd name="connsiteX611" fmla="*/ 1015813 w 3830903"/>
                    <a:gd name="connsiteY611" fmla="*/ 2906421 h 4401009"/>
                    <a:gd name="connsiteX612" fmla="*/ 1002291 w 3830903"/>
                    <a:gd name="connsiteY612" fmla="*/ 2904731 h 4401009"/>
                    <a:gd name="connsiteX613" fmla="*/ 992150 w 3830903"/>
                    <a:gd name="connsiteY613" fmla="*/ 2896280 h 4401009"/>
                    <a:gd name="connsiteX614" fmla="*/ 988769 w 3830903"/>
                    <a:gd name="connsiteY614" fmla="*/ 2889519 h 4401009"/>
                    <a:gd name="connsiteX615" fmla="*/ 978628 w 3830903"/>
                    <a:gd name="connsiteY615" fmla="*/ 2875997 h 4401009"/>
                    <a:gd name="connsiteX616" fmla="*/ 966797 w 3830903"/>
                    <a:gd name="connsiteY616" fmla="*/ 2854025 h 4401009"/>
                    <a:gd name="connsiteX617" fmla="*/ 954965 w 3830903"/>
                    <a:gd name="connsiteY617" fmla="*/ 2832052 h 4401009"/>
                    <a:gd name="connsiteX618" fmla="*/ 946514 w 3830903"/>
                    <a:gd name="connsiteY618" fmla="*/ 2823601 h 4401009"/>
                    <a:gd name="connsiteX619" fmla="*/ 938063 w 3830903"/>
                    <a:gd name="connsiteY619" fmla="*/ 2821911 h 4401009"/>
                    <a:gd name="connsiteX620" fmla="*/ 932993 w 3830903"/>
                    <a:gd name="connsiteY620" fmla="*/ 2823601 h 4401009"/>
                    <a:gd name="connsiteX621" fmla="*/ 919471 w 3830903"/>
                    <a:gd name="connsiteY621" fmla="*/ 2825291 h 4401009"/>
                    <a:gd name="connsiteX622" fmla="*/ 916091 w 3830903"/>
                    <a:gd name="connsiteY622" fmla="*/ 2791487 h 4401009"/>
                    <a:gd name="connsiteX623" fmla="*/ 921161 w 3830903"/>
                    <a:gd name="connsiteY623" fmla="*/ 2788107 h 4401009"/>
                    <a:gd name="connsiteX624" fmla="*/ 926232 w 3830903"/>
                    <a:gd name="connsiteY624" fmla="*/ 2776275 h 4401009"/>
                    <a:gd name="connsiteX625" fmla="*/ 931302 w 3830903"/>
                    <a:gd name="connsiteY625" fmla="*/ 2771205 h 4401009"/>
                    <a:gd name="connsiteX626" fmla="*/ 917781 w 3830903"/>
                    <a:gd name="connsiteY626" fmla="*/ 2742471 h 4401009"/>
                    <a:gd name="connsiteX627" fmla="*/ 911020 w 3830903"/>
                    <a:gd name="connsiteY627" fmla="*/ 2739091 h 4401009"/>
                    <a:gd name="connsiteX628" fmla="*/ 907640 w 3830903"/>
                    <a:gd name="connsiteY628" fmla="*/ 2735710 h 4401009"/>
                    <a:gd name="connsiteX629" fmla="*/ 907640 w 3830903"/>
                    <a:gd name="connsiteY629" fmla="*/ 2713738 h 4401009"/>
                    <a:gd name="connsiteX630" fmla="*/ 902569 w 3830903"/>
                    <a:gd name="connsiteY630" fmla="*/ 2703596 h 4401009"/>
                    <a:gd name="connsiteX631" fmla="*/ 899189 w 3830903"/>
                    <a:gd name="connsiteY631" fmla="*/ 2696836 h 4401009"/>
                    <a:gd name="connsiteX632" fmla="*/ 895808 w 3830903"/>
                    <a:gd name="connsiteY632" fmla="*/ 2691765 h 4401009"/>
                    <a:gd name="connsiteX633" fmla="*/ 889047 w 3830903"/>
                    <a:gd name="connsiteY633" fmla="*/ 2678243 h 4401009"/>
                    <a:gd name="connsiteX634" fmla="*/ 883977 w 3830903"/>
                    <a:gd name="connsiteY634" fmla="*/ 2674863 h 4401009"/>
                    <a:gd name="connsiteX635" fmla="*/ 878906 w 3830903"/>
                    <a:gd name="connsiteY635" fmla="*/ 2678243 h 4401009"/>
                    <a:gd name="connsiteX636" fmla="*/ 868765 w 3830903"/>
                    <a:gd name="connsiteY636" fmla="*/ 2679934 h 4401009"/>
                    <a:gd name="connsiteX637" fmla="*/ 860314 w 3830903"/>
                    <a:gd name="connsiteY637" fmla="*/ 2668102 h 4401009"/>
                    <a:gd name="connsiteX638" fmla="*/ 821439 w 3830903"/>
                    <a:gd name="connsiteY638" fmla="*/ 2654581 h 4401009"/>
                    <a:gd name="connsiteX639" fmla="*/ 806227 w 3830903"/>
                    <a:gd name="connsiteY639" fmla="*/ 2656271 h 4401009"/>
                    <a:gd name="connsiteX640" fmla="*/ 796086 w 3830903"/>
                    <a:gd name="connsiteY640" fmla="*/ 2657961 h 4401009"/>
                    <a:gd name="connsiteX641" fmla="*/ 787635 w 3830903"/>
                    <a:gd name="connsiteY641" fmla="*/ 2668102 h 4401009"/>
                    <a:gd name="connsiteX642" fmla="*/ 785945 w 3830903"/>
                    <a:gd name="connsiteY642" fmla="*/ 2676553 h 4401009"/>
                    <a:gd name="connsiteX643" fmla="*/ 784255 w 3830903"/>
                    <a:gd name="connsiteY643" fmla="*/ 2681624 h 4401009"/>
                    <a:gd name="connsiteX644" fmla="*/ 777494 w 3830903"/>
                    <a:gd name="connsiteY644" fmla="*/ 2690075 h 4401009"/>
                    <a:gd name="connsiteX645" fmla="*/ 774114 w 3830903"/>
                    <a:gd name="connsiteY645" fmla="*/ 2695145 h 4401009"/>
                    <a:gd name="connsiteX646" fmla="*/ 770733 w 3830903"/>
                    <a:gd name="connsiteY646" fmla="*/ 2698526 h 4401009"/>
                    <a:gd name="connsiteX647" fmla="*/ 752141 w 3830903"/>
                    <a:gd name="connsiteY647" fmla="*/ 2701906 h 4401009"/>
                    <a:gd name="connsiteX648" fmla="*/ 745380 w 3830903"/>
                    <a:gd name="connsiteY648" fmla="*/ 2695145 h 4401009"/>
                    <a:gd name="connsiteX649" fmla="*/ 743690 w 3830903"/>
                    <a:gd name="connsiteY649" fmla="*/ 2671483 h 4401009"/>
                    <a:gd name="connsiteX650" fmla="*/ 730168 w 3830903"/>
                    <a:gd name="connsiteY650" fmla="*/ 2664722 h 4401009"/>
                    <a:gd name="connsiteX651" fmla="*/ 728478 w 3830903"/>
                    <a:gd name="connsiteY651" fmla="*/ 2669792 h 4401009"/>
                    <a:gd name="connsiteX652" fmla="*/ 721717 w 3830903"/>
                    <a:gd name="connsiteY652" fmla="*/ 2673173 h 4401009"/>
                    <a:gd name="connsiteX653" fmla="*/ 725098 w 3830903"/>
                    <a:gd name="connsiteY653" fmla="*/ 2668102 h 4401009"/>
                    <a:gd name="connsiteX654" fmla="*/ 718337 w 3830903"/>
                    <a:gd name="connsiteY654" fmla="*/ 2661341 h 4401009"/>
                    <a:gd name="connsiteX655" fmla="*/ 703125 w 3830903"/>
                    <a:gd name="connsiteY655" fmla="*/ 2659651 h 4401009"/>
                    <a:gd name="connsiteX656" fmla="*/ 699745 w 3830903"/>
                    <a:gd name="connsiteY656" fmla="*/ 2663032 h 4401009"/>
                    <a:gd name="connsiteX657" fmla="*/ 694674 w 3830903"/>
                    <a:gd name="connsiteY657" fmla="*/ 2666412 h 4401009"/>
                    <a:gd name="connsiteX658" fmla="*/ 674392 w 3830903"/>
                    <a:gd name="connsiteY658" fmla="*/ 2657961 h 4401009"/>
                    <a:gd name="connsiteX659" fmla="*/ 669321 w 3830903"/>
                    <a:gd name="connsiteY659" fmla="*/ 2669792 h 4401009"/>
                    <a:gd name="connsiteX660" fmla="*/ 667631 w 3830903"/>
                    <a:gd name="connsiteY660" fmla="*/ 2674863 h 4401009"/>
                    <a:gd name="connsiteX661" fmla="*/ 662560 w 3830903"/>
                    <a:gd name="connsiteY661" fmla="*/ 2671483 h 4401009"/>
                    <a:gd name="connsiteX662" fmla="*/ 655799 w 3830903"/>
                    <a:gd name="connsiteY662" fmla="*/ 2664722 h 4401009"/>
                    <a:gd name="connsiteX663" fmla="*/ 642278 w 3830903"/>
                    <a:gd name="connsiteY663" fmla="*/ 2661341 h 4401009"/>
                    <a:gd name="connsiteX664" fmla="*/ 635517 w 3830903"/>
                    <a:gd name="connsiteY664" fmla="*/ 2663032 h 4401009"/>
                    <a:gd name="connsiteX665" fmla="*/ 633827 w 3830903"/>
                    <a:gd name="connsiteY665" fmla="*/ 2668102 h 4401009"/>
                    <a:gd name="connsiteX666" fmla="*/ 628756 w 3830903"/>
                    <a:gd name="connsiteY666" fmla="*/ 2674863 h 4401009"/>
                    <a:gd name="connsiteX667" fmla="*/ 623685 w 3830903"/>
                    <a:gd name="connsiteY667" fmla="*/ 2673173 h 4401009"/>
                    <a:gd name="connsiteX668" fmla="*/ 616925 w 3830903"/>
                    <a:gd name="connsiteY668" fmla="*/ 2659651 h 4401009"/>
                    <a:gd name="connsiteX669" fmla="*/ 610164 w 3830903"/>
                    <a:gd name="connsiteY669" fmla="*/ 2642749 h 4401009"/>
                    <a:gd name="connsiteX670" fmla="*/ 601713 w 3830903"/>
                    <a:gd name="connsiteY670" fmla="*/ 2632608 h 4401009"/>
                    <a:gd name="connsiteX671" fmla="*/ 596642 w 3830903"/>
                    <a:gd name="connsiteY671" fmla="*/ 2629227 h 4401009"/>
                    <a:gd name="connsiteX672" fmla="*/ 591572 w 3830903"/>
                    <a:gd name="connsiteY672" fmla="*/ 2622467 h 4401009"/>
                    <a:gd name="connsiteX673" fmla="*/ 586501 w 3830903"/>
                    <a:gd name="connsiteY673" fmla="*/ 2617396 h 4401009"/>
                    <a:gd name="connsiteX674" fmla="*/ 581430 w 3830903"/>
                    <a:gd name="connsiteY674" fmla="*/ 2598804 h 4401009"/>
                    <a:gd name="connsiteX675" fmla="*/ 583121 w 3830903"/>
                    <a:gd name="connsiteY675" fmla="*/ 2583592 h 4401009"/>
                    <a:gd name="connsiteX676" fmla="*/ 562838 w 3830903"/>
                    <a:gd name="connsiteY676" fmla="*/ 2581902 h 4401009"/>
                    <a:gd name="connsiteX677" fmla="*/ 557767 w 3830903"/>
                    <a:gd name="connsiteY677" fmla="*/ 2580212 h 4401009"/>
                    <a:gd name="connsiteX678" fmla="*/ 552697 w 3830903"/>
                    <a:gd name="connsiteY678" fmla="*/ 2553168 h 4401009"/>
                    <a:gd name="connsiteX679" fmla="*/ 544246 w 3830903"/>
                    <a:gd name="connsiteY679" fmla="*/ 2546408 h 4401009"/>
                    <a:gd name="connsiteX680" fmla="*/ 537485 w 3830903"/>
                    <a:gd name="connsiteY680" fmla="*/ 2544717 h 4401009"/>
                    <a:gd name="connsiteX681" fmla="*/ 535795 w 3830903"/>
                    <a:gd name="connsiteY681" fmla="*/ 2537956 h 4401009"/>
                    <a:gd name="connsiteX682" fmla="*/ 534105 w 3830903"/>
                    <a:gd name="connsiteY682" fmla="*/ 2532886 h 4401009"/>
                    <a:gd name="connsiteX683" fmla="*/ 529034 w 3830903"/>
                    <a:gd name="connsiteY683" fmla="*/ 2527815 h 4401009"/>
                    <a:gd name="connsiteX684" fmla="*/ 523963 w 3830903"/>
                    <a:gd name="connsiteY684" fmla="*/ 2475419 h 4401009"/>
                    <a:gd name="connsiteX685" fmla="*/ 513822 w 3830903"/>
                    <a:gd name="connsiteY685" fmla="*/ 2468658 h 4401009"/>
                    <a:gd name="connsiteX686" fmla="*/ 505371 w 3830903"/>
                    <a:gd name="connsiteY686" fmla="*/ 2463588 h 4401009"/>
                    <a:gd name="connsiteX687" fmla="*/ 495230 w 3830903"/>
                    <a:gd name="connsiteY687" fmla="*/ 2456827 h 4401009"/>
                    <a:gd name="connsiteX688" fmla="*/ 493540 w 3830903"/>
                    <a:gd name="connsiteY688" fmla="*/ 2451756 h 4401009"/>
                    <a:gd name="connsiteX689" fmla="*/ 490159 w 3830903"/>
                    <a:gd name="connsiteY689" fmla="*/ 2446686 h 4401009"/>
                    <a:gd name="connsiteX690" fmla="*/ 478328 w 3830903"/>
                    <a:gd name="connsiteY690" fmla="*/ 2444995 h 4401009"/>
                    <a:gd name="connsiteX691" fmla="*/ 474948 w 3830903"/>
                    <a:gd name="connsiteY691" fmla="*/ 2439925 h 4401009"/>
                    <a:gd name="connsiteX692" fmla="*/ 466497 w 3830903"/>
                    <a:gd name="connsiteY692" fmla="*/ 2417952 h 4401009"/>
                    <a:gd name="connsiteX693" fmla="*/ 469877 w 3830903"/>
                    <a:gd name="connsiteY693" fmla="*/ 2407811 h 4401009"/>
                    <a:gd name="connsiteX694" fmla="*/ 473257 w 3830903"/>
                    <a:gd name="connsiteY694" fmla="*/ 2389219 h 4401009"/>
                    <a:gd name="connsiteX695" fmla="*/ 478328 w 3830903"/>
                    <a:gd name="connsiteY695" fmla="*/ 2384148 h 4401009"/>
                    <a:gd name="connsiteX696" fmla="*/ 485089 w 3830903"/>
                    <a:gd name="connsiteY696" fmla="*/ 2380768 h 4401009"/>
                    <a:gd name="connsiteX697" fmla="*/ 495230 w 3830903"/>
                    <a:gd name="connsiteY697" fmla="*/ 2377387 h 4401009"/>
                    <a:gd name="connsiteX698" fmla="*/ 493540 w 3830903"/>
                    <a:gd name="connsiteY698" fmla="*/ 2370626 h 4401009"/>
                    <a:gd name="connsiteX699" fmla="*/ 490159 w 3830903"/>
                    <a:gd name="connsiteY699" fmla="*/ 2367246 h 4401009"/>
                    <a:gd name="connsiteX700" fmla="*/ 481708 w 3830903"/>
                    <a:gd name="connsiteY700" fmla="*/ 2362175 h 4401009"/>
                    <a:gd name="connsiteX701" fmla="*/ 478328 w 3830903"/>
                    <a:gd name="connsiteY701" fmla="*/ 2355415 h 4401009"/>
                    <a:gd name="connsiteX702" fmla="*/ 473257 w 3830903"/>
                    <a:gd name="connsiteY702" fmla="*/ 2350344 h 4401009"/>
                    <a:gd name="connsiteX703" fmla="*/ 468187 w 3830903"/>
                    <a:gd name="connsiteY703" fmla="*/ 2341893 h 4401009"/>
                    <a:gd name="connsiteX704" fmla="*/ 461426 w 3830903"/>
                    <a:gd name="connsiteY704" fmla="*/ 2333442 h 4401009"/>
                    <a:gd name="connsiteX705" fmla="*/ 458045 w 3830903"/>
                    <a:gd name="connsiteY705" fmla="*/ 2328371 h 4401009"/>
                    <a:gd name="connsiteX706" fmla="*/ 451285 w 3830903"/>
                    <a:gd name="connsiteY706" fmla="*/ 2324991 h 4401009"/>
                    <a:gd name="connsiteX707" fmla="*/ 446214 w 3830903"/>
                    <a:gd name="connsiteY707" fmla="*/ 2321610 h 4401009"/>
                    <a:gd name="connsiteX708" fmla="*/ 441143 w 3830903"/>
                    <a:gd name="connsiteY708" fmla="*/ 2319920 h 4401009"/>
                    <a:gd name="connsiteX709" fmla="*/ 439453 w 3830903"/>
                    <a:gd name="connsiteY709" fmla="*/ 2287806 h 4401009"/>
                    <a:gd name="connsiteX710" fmla="*/ 436073 w 3830903"/>
                    <a:gd name="connsiteY710" fmla="*/ 2270904 h 4401009"/>
                    <a:gd name="connsiteX711" fmla="*/ 432692 w 3830903"/>
                    <a:gd name="connsiteY711" fmla="*/ 2265834 h 4401009"/>
                    <a:gd name="connsiteX712" fmla="*/ 429312 w 3830903"/>
                    <a:gd name="connsiteY712" fmla="*/ 2245551 h 4401009"/>
                    <a:gd name="connsiteX713" fmla="*/ 427622 w 3830903"/>
                    <a:gd name="connsiteY713" fmla="*/ 2238791 h 4401009"/>
                    <a:gd name="connsiteX714" fmla="*/ 419171 w 3830903"/>
                    <a:gd name="connsiteY714" fmla="*/ 2237100 h 4401009"/>
                    <a:gd name="connsiteX715" fmla="*/ 415790 w 3830903"/>
                    <a:gd name="connsiteY715" fmla="*/ 2232030 h 4401009"/>
                    <a:gd name="connsiteX716" fmla="*/ 414100 w 3830903"/>
                    <a:gd name="connsiteY716" fmla="*/ 2196535 h 4401009"/>
                    <a:gd name="connsiteX717" fmla="*/ 420861 w 3830903"/>
                    <a:gd name="connsiteY717" fmla="*/ 2189775 h 4401009"/>
                    <a:gd name="connsiteX718" fmla="*/ 427622 w 3830903"/>
                    <a:gd name="connsiteY718" fmla="*/ 2179633 h 4401009"/>
                    <a:gd name="connsiteX719" fmla="*/ 441143 w 3830903"/>
                    <a:gd name="connsiteY719" fmla="*/ 2169492 h 4401009"/>
                    <a:gd name="connsiteX720" fmla="*/ 444524 w 3830903"/>
                    <a:gd name="connsiteY720" fmla="*/ 2154280 h 4401009"/>
                    <a:gd name="connsiteX721" fmla="*/ 441143 w 3830903"/>
                    <a:gd name="connsiteY721" fmla="*/ 2137378 h 4401009"/>
                    <a:gd name="connsiteX722" fmla="*/ 442834 w 3830903"/>
                    <a:gd name="connsiteY722" fmla="*/ 2125547 h 4401009"/>
                    <a:gd name="connsiteX723" fmla="*/ 446214 w 3830903"/>
                    <a:gd name="connsiteY723" fmla="*/ 2120476 h 4401009"/>
                    <a:gd name="connsiteX724" fmla="*/ 447904 w 3830903"/>
                    <a:gd name="connsiteY724" fmla="*/ 2115406 h 4401009"/>
                    <a:gd name="connsiteX725" fmla="*/ 456355 w 3830903"/>
                    <a:gd name="connsiteY725" fmla="*/ 2110335 h 4401009"/>
                    <a:gd name="connsiteX726" fmla="*/ 465341 w 3830903"/>
                    <a:gd name="connsiteY726" fmla="*/ 2099673 h 4401009"/>
                    <a:gd name="connsiteX727" fmla="*/ 456355 w 3830903"/>
                    <a:gd name="connsiteY727" fmla="*/ 2086672 h 4401009"/>
                    <a:gd name="connsiteX728" fmla="*/ 451285 w 3830903"/>
                    <a:gd name="connsiteY728" fmla="*/ 2083292 h 4401009"/>
                    <a:gd name="connsiteX729" fmla="*/ 439453 w 3830903"/>
                    <a:gd name="connsiteY729" fmla="*/ 2079911 h 4401009"/>
                    <a:gd name="connsiteX730" fmla="*/ 434383 w 3830903"/>
                    <a:gd name="connsiteY730" fmla="*/ 2078221 h 4401009"/>
                    <a:gd name="connsiteX731" fmla="*/ 429312 w 3830903"/>
                    <a:gd name="connsiteY731" fmla="*/ 2066390 h 4401009"/>
                    <a:gd name="connsiteX732" fmla="*/ 431002 w 3830903"/>
                    <a:gd name="connsiteY732" fmla="*/ 2046107 h 4401009"/>
                    <a:gd name="connsiteX733" fmla="*/ 429312 w 3830903"/>
                    <a:gd name="connsiteY733" fmla="*/ 2034276 h 4401009"/>
                    <a:gd name="connsiteX734" fmla="*/ 425932 w 3830903"/>
                    <a:gd name="connsiteY734" fmla="*/ 2027515 h 4401009"/>
                    <a:gd name="connsiteX735" fmla="*/ 424241 w 3830903"/>
                    <a:gd name="connsiteY735" fmla="*/ 2022444 h 4401009"/>
                    <a:gd name="connsiteX736" fmla="*/ 441143 w 3830903"/>
                    <a:gd name="connsiteY736" fmla="*/ 2020754 h 4401009"/>
                    <a:gd name="connsiteX737" fmla="*/ 444524 w 3830903"/>
                    <a:gd name="connsiteY737" fmla="*/ 2024135 h 4401009"/>
                    <a:gd name="connsiteX738" fmla="*/ 464806 w 3830903"/>
                    <a:gd name="connsiteY738" fmla="*/ 2025825 h 4401009"/>
                    <a:gd name="connsiteX739" fmla="*/ 466497 w 3830903"/>
                    <a:gd name="connsiteY739" fmla="*/ 2017374 h 4401009"/>
                    <a:gd name="connsiteX740" fmla="*/ 459736 w 3830903"/>
                    <a:gd name="connsiteY740" fmla="*/ 2013993 h 4401009"/>
                    <a:gd name="connsiteX741" fmla="*/ 456355 w 3830903"/>
                    <a:gd name="connsiteY741" fmla="*/ 2007233 h 4401009"/>
                    <a:gd name="connsiteX742" fmla="*/ 464806 w 3830903"/>
                    <a:gd name="connsiteY742" fmla="*/ 2005542 h 4401009"/>
                    <a:gd name="connsiteX743" fmla="*/ 500301 w 3830903"/>
                    <a:gd name="connsiteY743" fmla="*/ 2002162 h 4401009"/>
                    <a:gd name="connsiteX744" fmla="*/ 501991 w 3830903"/>
                    <a:gd name="connsiteY744" fmla="*/ 1992021 h 4401009"/>
                    <a:gd name="connsiteX745" fmla="*/ 512132 w 3830903"/>
                    <a:gd name="connsiteY745" fmla="*/ 1978499 h 4401009"/>
                    <a:gd name="connsiteX746" fmla="*/ 510442 w 3830903"/>
                    <a:gd name="connsiteY746" fmla="*/ 1968358 h 4401009"/>
                    <a:gd name="connsiteX747" fmla="*/ 523963 w 3830903"/>
                    <a:gd name="connsiteY747" fmla="*/ 1968358 h 4401009"/>
                    <a:gd name="connsiteX748" fmla="*/ 567909 w 3830903"/>
                    <a:gd name="connsiteY748" fmla="*/ 1970048 h 4401009"/>
                    <a:gd name="connsiteX749" fmla="*/ 593262 w 3830903"/>
                    <a:gd name="connsiteY749" fmla="*/ 1966668 h 4401009"/>
                    <a:gd name="connsiteX750" fmla="*/ 601713 w 3830903"/>
                    <a:gd name="connsiteY750" fmla="*/ 1963287 h 4401009"/>
                    <a:gd name="connsiteX751" fmla="*/ 600023 w 3830903"/>
                    <a:gd name="connsiteY751" fmla="*/ 1958217 h 4401009"/>
                    <a:gd name="connsiteX752" fmla="*/ 571289 w 3830903"/>
                    <a:gd name="connsiteY752" fmla="*/ 1956527 h 4401009"/>
                    <a:gd name="connsiteX753" fmla="*/ 571289 w 3830903"/>
                    <a:gd name="connsiteY753" fmla="*/ 1946385 h 4401009"/>
                    <a:gd name="connsiteX754" fmla="*/ 586501 w 3830903"/>
                    <a:gd name="connsiteY754" fmla="*/ 1944695 h 4401009"/>
                    <a:gd name="connsiteX755" fmla="*/ 581430 w 3830903"/>
                    <a:gd name="connsiteY755" fmla="*/ 1941315 h 4401009"/>
                    <a:gd name="connsiteX756" fmla="*/ 574670 w 3830903"/>
                    <a:gd name="connsiteY756" fmla="*/ 1924413 h 4401009"/>
                    <a:gd name="connsiteX757" fmla="*/ 532414 w 3830903"/>
                    <a:gd name="connsiteY757" fmla="*/ 1922722 h 4401009"/>
                    <a:gd name="connsiteX758" fmla="*/ 518893 w 3830903"/>
                    <a:gd name="connsiteY758" fmla="*/ 1926103 h 4401009"/>
                    <a:gd name="connsiteX759" fmla="*/ 508752 w 3830903"/>
                    <a:gd name="connsiteY759" fmla="*/ 1939625 h 4401009"/>
                    <a:gd name="connsiteX760" fmla="*/ 505371 w 3830903"/>
                    <a:gd name="connsiteY760" fmla="*/ 1943005 h 4401009"/>
                    <a:gd name="connsiteX761" fmla="*/ 496920 w 3830903"/>
                    <a:gd name="connsiteY761" fmla="*/ 1944695 h 4401009"/>
                    <a:gd name="connsiteX762" fmla="*/ 491850 w 3830903"/>
                    <a:gd name="connsiteY762" fmla="*/ 1943005 h 4401009"/>
                    <a:gd name="connsiteX763" fmla="*/ 481708 w 3830903"/>
                    <a:gd name="connsiteY763" fmla="*/ 1939625 h 4401009"/>
                    <a:gd name="connsiteX764" fmla="*/ 476638 w 3830903"/>
                    <a:gd name="connsiteY764" fmla="*/ 1934554 h 4401009"/>
                    <a:gd name="connsiteX765" fmla="*/ 468187 w 3830903"/>
                    <a:gd name="connsiteY765" fmla="*/ 1926103 h 4401009"/>
                    <a:gd name="connsiteX766" fmla="*/ 456355 w 3830903"/>
                    <a:gd name="connsiteY766" fmla="*/ 1909201 h 4401009"/>
                    <a:gd name="connsiteX767" fmla="*/ 444524 w 3830903"/>
                    <a:gd name="connsiteY767" fmla="*/ 1900750 h 4401009"/>
                    <a:gd name="connsiteX768" fmla="*/ 441143 w 3830903"/>
                    <a:gd name="connsiteY768" fmla="*/ 1861875 h 4401009"/>
                    <a:gd name="connsiteX769" fmla="*/ 439453 w 3830903"/>
                    <a:gd name="connsiteY769" fmla="*/ 1855114 h 4401009"/>
                    <a:gd name="connsiteX770" fmla="*/ 432692 w 3830903"/>
                    <a:gd name="connsiteY770" fmla="*/ 1853424 h 4401009"/>
                    <a:gd name="connsiteX771" fmla="*/ 427622 w 3830903"/>
                    <a:gd name="connsiteY771" fmla="*/ 1856805 h 4401009"/>
                    <a:gd name="connsiteX772" fmla="*/ 415790 w 3830903"/>
                    <a:gd name="connsiteY772" fmla="*/ 1870326 h 4401009"/>
                    <a:gd name="connsiteX773" fmla="*/ 407339 w 3830903"/>
                    <a:gd name="connsiteY773" fmla="*/ 1883848 h 4401009"/>
                    <a:gd name="connsiteX774" fmla="*/ 398888 w 3830903"/>
                    <a:gd name="connsiteY774" fmla="*/ 1888918 h 4401009"/>
                    <a:gd name="connsiteX775" fmla="*/ 390437 w 3830903"/>
                    <a:gd name="connsiteY775" fmla="*/ 1895679 h 4401009"/>
                    <a:gd name="connsiteX776" fmla="*/ 387057 w 3830903"/>
                    <a:gd name="connsiteY776" fmla="*/ 1900750 h 4401009"/>
                    <a:gd name="connsiteX777" fmla="*/ 378606 w 3830903"/>
                    <a:gd name="connsiteY777" fmla="*/ 1902440 h 4401009"/>
                    <a:gd name="connsiteX778" fmla="*/ 368465 w 3830903"/>
                    <a:gd name="connsiteY778" fmla="*/ 1905820 h 4401009"/>
                    <a:gd name="connsiteX779" fmla="*/ 358323 w 3830903"/>
                    <a:gd name="connsiteY779" fmla="*/ 1904130 h 4401009"/>
                    <a:gd name="connsiteX780" fmla="*/ 361704 w 3830903"/>
                    <a:gd name="connsiteY780" fmla="*/ 1895679 h 4401009"/>
                    <a:gd name="connsiteX781" fmla="*/ 380296 w 3830903"/>
                    <a:gd name="connsiteY781" fmla="*/ 1873707 h 4401009"/>
                    <a:gd name="connsiteX782" fmla="*/ 387057 w 3830903"/>
                    <a:gd name="connsiteY782" fmla="*/ 1861875 h 4401009"/>
                    <a:gd name="connsiteX783" fmla="*/ 388747 w 3830903"/>
                    <a:gd name="connsiteY783" fmla="*/ 1856805 h 4401009"/>
                    <a:gd name="connsiteX784" fmla="*/ 393818 w 3830903"/>
                    <a:gd name="connsiteY784" fmla="*/ 1841593 h 4401009"/>
                    <a:gd name="connsiteX785" fmla="*/ 397198 w 3830903"/>
                    <a:gd name="connsiteY785" fmla="*/ 1836522 h 4401009"/>
                    <a:gd name="connsiteX786" fmla="*/ 400579 w 3830903"/>
                    <a:gd name="connsiteY786" fmla="*/ 1817930 h 4401009"/>
                    <a:gd name="connsiteX787" fmla="*/ 407339 w 3830903"/>
                    <a:gd name="connsiteY787" fmla="*/ 1807789 h 4401009"/>
                    <a:gd name="connsiteX788" fmla="*/ 414100 w 3830903"/>
                    <a:gd name="connsiteY788" fmla="*/ 1792577 h 4401009"/>
                    <a:gd name="connsiteX789" fmla="*/ 429312 w 3830903"/>
                    <a:gd name="connsiteY789" fmla="*/ 1773985 h 4401009"/>
                    <a:gd name="connsiteX790" fmla="*/ 459736 w 3830903"/>
                    <a:gd name="connsiteY790" fmla="*/ 1687784 h 4401009"/>
                    <a:gd name="connsiteX791" fmla="*/ 476638 w 3830903"/>
                    <a:gd name="connsiteY791" fmla="*/ 1645529 h 4401009"/>
                    <a:gd name="connsiteX792" fmla="*/ 485089 w 3830903"/>
                    <a:gd name="connsiteY792" fmla="*/ 1625247 h 4401009"/>
                    <a:gd name="connsiteX793" fmla="*/ 488469 w 3830903"/>
                    <a:gd name="connsiteY793" fmla="*/ 1611725 h 4401009"/>
                    <a:gd name="connsiteX794" fmla="*/ 493540 w 3830903"/>
                    <a:gd name="connsiteY794" fmla="*/ 1606654 h 4401009"/>
                    <a:gd name="connsiteX795" fmla="*/ 539175 w 3830903"/>
                    <a:gd name="connsiteY795" fmla="*/ 1498481 h 4401009"/>
                    <a:gd name="connsiteX796" fmla="*/ 545936 w 3830903"/>
                    <a:gd name="connsiteY796" fmla="*/ 1457916 h 4401009"/>
                    <a:gd name="connsiteX797" fmla="*/ 534105 w 3830903"/>
                    <a:gd name="connsiteY797" fmla="*/ 1424113 h 4401009"/>
                    <a:gd name="connsiteX798" fmla="*/ 520583 w 3830903"/>
                    <a:gd name="connsiteY798" fmla="*/ 1408901 h 4401009"/>
                    <a:gd name="connsiteX799" fmla="*/ 501991 w 3830903"/>
                    <a:gd name="connsiteY799" fmla="*/ 1402140 h 4401009"/>
                    <a:gd name="connsiteX800" fmla="*/ 495230 w 3830903"/>
                    <a:gd name="connsiteY800" fmla="*/ 1400450 h 4401009"/>
                    <a:gd name="connsiteX801" fmla="*/ 478328 w 3830903"/>
                    <a:gd name="connsiteY801" fmla="*/ 1393689 h 4401009"/>
                    <a:gd name="connsiteX802" fmla="*/ 464806 w 3830903"/>
                    <a:gd name="connsiteY802" fmla="*/ 1378477 h 4401009"/>
                    <a:gd name="connsiteX803" fmla="*/ 476638 w 3830903"/>
                    <a:gd name="connsiteY803" fmla="*/ 1351434 h 4401009"/>
                    <a:gd name="connsiteX804" fmla="*/ 458045 w 3830903"/>
                    <a:gd name="connsiteY804" fmla="*/ 1349744 h 4401009"/>
                    <a:gd name="connsiteX805" fmla="*/ 452975 w 3830903"/>
                    <a:gd name="connsiteY805" fmla="*/ 1348053 h 4401009"/>
                    <a:gd name="connsiteX806" fmla="*/ 444524 w 3830903"/>
                    <a:gd name="connsiteY806" fmla="*/ 1346363 h 4401009"/>
                    <a:gd name="connsiteX807" fmla="*/ 434383 w 3830903"/>
                    <a:gd name="connsiteY807" fmla="*/ 1336222 h 4401009"/>
                    <a:gd name="connsiteX808" fmla="*/ 422551 w 3830903"/>
                    <a:gd name="connsiteY808" fmla="*/ 1334532 h 4401009"/>
                    <a:gd name="connsiteX809" fmla="*/ 417481 w 3830903"/>
                    <a:gd name="connsiteY809" fmla="*/ 1332842 h 4401009"/>
                    <a:gd name="connsiteX810" fmla="*/ 415790 w 3830903"/>
                    <a:gd name="connsiteY810" fmla="*/ 1326081 h 4401009"/>
                    <a:gd name="connsiteX811" fmla="*/ 410720 w 3830903"/>
                    <a:gd name="connsiteY811" fmla="*/ 1321010 h 4401009"/>
                    <a:gd name="connsiteX812" fmla="*/ 400579 w 3830903"/>
                    <a:gd name="connsiteY812" fmla="*/ 1314249 h 4401009"/>
                    <a:gd name="connsiteX813" fmla="*/ 395508 w 3830903"/>
                    <a:gd name="connsiteY813" fmla="*/ 1312559 h 4401009"/>
                    <a:gd name="connsiteX814" fmla="*/ 390437 w 3830903"/>
                    <a:gd name="connsiteY814" fmla="*/ 1295657 h 4401009"/>
                    <a:gd name="connsiteX815" fmla="*/ 392128 w 3830903"/>
                    <a:gd name="connsiteY815" fmla="*/ 1288896 h 4401009"/>
                    <a:gd name="connsiteX816" fmla="*/ 397198 w 3830903"/>
                    <a:gd name="connsiteY816" fmla="*/ 1280445 h 4401009"/>
                    <a:gd name="connsiteX817" fmla="*/ 405649 w 3830903"/>
                    <a:gd name="connsiteY817" fmla="*/ 1224669 h 4401009"/>
                    <a:gd name="connsiteX818" fmla="*/ 402269 w 3830903"/>
                    <a:gd name="connsiteY818" fmla="*/ 1217908 h 4401009"/>
                    <a:gd name="connsiteX819" fmla="*/ 397198 w 3830903"/>
                    <a:gd name="connsiteY819" fmla="*/ 1216217 h 4401009"/>
                    <a:gd name="connsiteX820" fmla="*/ 395508 w 3830903"/>
                    <a:gd name="connsiteY820" fmla="*/ 1211147 h 4401009"/>
                    <a:gd name="connsiteX821" fmla="*/ 392128 w 3830903"/>
                    <a:gd name="connsiteY821" fmla="*/ 1206076 h 4401009"/>
                    <a:gd name="connsiteX822" fmla="*/ 387057 w 3830903"/>
                    <a:gd name="connsiteY822" fmla="*/ 1202696 h 4401009"/>
                    <a:gd name="connsiteX823" fmla="*/ 380296 w 3830903"/>
                    <a:gd name="connsiteY823" fmla="*/ 1195935 h 4401009"/>
                    <a:gd name="connsiteX824" fmla="*/ 375226 w 3830903"/>
                    <a:gd name="connsiteY824" fmla="*/ 1192555 h 4401009"/>
                    <a:gd name="connsiteX825" fmla="*/ 353253 w 3830903"/>
                    <a:gd name="connsiteY825" fmla="*/ 1185794 h 4401009"/>
                    <a:gd name="connsiteX826" fmla="*/ 348182 w 3830903"/>
                    <a:gd name="connsiteY826" fmla="*/ 1173962 h 4401009"/>
                    <a:gd name="connsiteX827" fmla="*/ 344802 w 3830903"/>
                    <a:gd name="connsiteY827" fmla="*/ 1168892 h 4401009"/>
                    <a:gd name="connsiteX828" fmla="*/ 339731 w 3830903"/>
                    <a:gd name="connsiteY828" fmla="*/ 1153680 h 4401009"/>
                    <a:gd name="connsiteX829" fmla="*/ 336351 w 3830903"/>
                    <a:gd name="connsiteY829" fmla="*/ 1123256 h 4401009"/>
                    <a:gd name="connsiteX830" fmla="*/ 297476 w 3830903"/>
                    <a:gd name="connsiteY830" fmla="*/ 1121566 h 4401009"/>
                    <a:gd name="connsiteX831" fmla="*/ 287335 w 3830903"/>
                    <a:gd name="connsiteY831" fmla="*/ 1113115 h 4401009"/>
                    <a:gd name="connsiteX832" fmla="*/ 285645 w 3830903"/>
                    <a:gd name="connsiteY832" fmla="*/ 1092833 h 4401009"/>
                    <a:gd name="connsiteX833" fmla="*/ 287335 w 3830903"/>
                    <a:gd name="connsiteY833" fmla="*/ 1082691 h 4401009"/>
                    <a:gd name="connsiteX834" fmla="*/ 299166 w 3830903"/>
                    <a:gd name="connsiteY834" fmla="*/ 1057338 h 4401009"/>
                    <a:gd name="connsiteX835" fmla="*/ 287335 w 3830903"/>
                    <a:gd name="connsiteY835" fmla="*/ 1052268 h 4401009"/>
                    <a:gd name="connsiteX836" fmla="*/ 270433 w 3830903"/>
                    <a:gd name="connsiteY836" fmla="*/ 1047197 h 4401009"/>
                    <a:gd name="connsiteX837" fmla="*/ 272123 w 3830903"/>
                    <a:gd name="connsiteY837" fmla="*/ 1013393 h 4401009"/>
                    <a:gd name="connsiteX838" fmla="*/ 273813 w 3830903"/>
                    <a:gd name="connsiteY838" fmla="*/ 991420 h 4401009"/>
                    <a:gd name="connsiteX839" fmla="*/ 272123 w 3830903"/>
                    <a:gd name="connsiteY839" fmla="*/ 974518 h 4401009"/>
                    <a:gd name="connsiteX840" fmla="*/ 270433 w 3830903"/>
                    <a:gd name="connsiteY840" fmla="*/ 967758 h 4401009"/>
                    <a:gd name="connsiteX841" fmla="*/ 273813 w 3830903"/>
                    <a:gd name="connsiteY841" fmla="*/ 955926 h 4401009"/>
                    <a:gd name="connsiteX842" fmla="*/ 279877 w 3830903"/>
                    <a:gd name="connsiteY842" fmla="*/ 969184 h 4401009"/>
                    <a:gd name="connsiteX843" fmla="*/ 282592 w 3830903"/>
                    <a:gd name="connsiteY843" fmla="*/ 974081 h 4401009"/>
                    <a:gd name="connsiteX844" fmla="*/ 282264 w 3830903"/>
                    <a:gd name="connsiteY844" fmla="*/ 974518 h 4401009"/>
                    <a:gd name="connsiteX845" fmla="*/ 283747 w 3830903"/>
                    <a:gd name="connsiteY845" fmla="*/ 976166 h 4401009"/>
                    <a:gd name="connsiteX846" fmla="*/ 285645 w 3830903"/>
                    <a:gd name="connsiteY846" fmla="*/ 979589 h 4401009"/>
                    <a:gd name="connsiteX847" fmla="*/ 286268 w 3830903"/>
                    <a:gd name="connsiteY847" fmla="*/ 978966 h 4401009"/>
                    <a:gd name="connsiteX848" fmla="*/ 283747 w 3830903"/>
                    <a:gd name="connsiteY848" fmla="*/ 976166 h 4401009"/>
                    <a:gd name="connsiteX849" fmla="*/ 282592 w 3830903"/>
                    <a:gd name="connsiteY849" fmla="*/ 974081 h 4401009"/>
                    <a:gd name="connsiteX850" fmla="*/ 287335 w 3830903"/>
                    <a:gd name="connsiteY850" fmla="*/ 967758 h 4401009"/>
                    <a:gd name="connsiteX851" fmla="*/ 294096 w 3830903"/>
                    <a:gd name="connsiteY851" fmla="*/ 960997 h 4401009"/>
                    <a:gd name="connsiteX852" fmla="*/ 292406 w 3830903"/>
                    <a:gd name="connsiteY852" fmla="*/ 955926 h 4401009"/>
                    <a:gd name="connsiteX853" fmla="*/ 280574 w 3830903"/>
                    <a:gd name="connsiteY853" fmla="*/ 945785 h 4401009"/>
                    <a:gd name="connsiteX854" fmla="*/ 275504 w 3830903"/>
                    <a:gd name="connsiteY854" fmla="*/ 939024 h 4401009"/>
                    <a:gd name="connsiteX855" fmla="*/ 272123 w 3830903"/>
                    <a:gd name="connsiteY855" fmla="*/ 935644 h 4401009"/>
                    <a:gd name="connsiteX856" fmla="*/ 267053 w 3830903"/>
                    <a:gd name="connsiteY856" fmla="*/ 928883 h 4401009"/>
                    <a:gd name="connsiteX857" fmla="*/ 255221 w 3830903"/>
                    <a:gd name="connsiteY857" fmla="*/ 913671 h 4401009"/>
                    <a:gd name="connsiteX858" fmla="*/ 251841 w 3830903"/>
                    <a:gd name="connsiteY858" fmla="*/ 908600 h 4401009"/>
                    <a:gd name="connsiteX859" fmla="*/ 241699 w 3830903"/>
                    <a:gd name="connsiteY859" fmla="*/ 900149 h 4401009"/>
                    <a:gd name="connsiteX860" fmla="*/ 238319 w 3830903"/>
                    <a:gd name="connsiteY860" fmla="*/ 895079 h 4401009"/>
                    <a:gd name="connsiteX861" fmla="*/ 231558 w 3830903"/>
                    <a:gd name="connsiteY861" fmla="*/ 888318 h 4401009"/>
                    <a:gd name="connsiteX862" fmla="*/ 226488 w 3830903"/>
                    <a:gd name="connsiteY862" fmla="*/ 884938 h 4401009"/>
                    <a:gd name="connsiteX863" fmla="*/ 211276 w 3830903"/>
                    <a:gd name="connsiteY863" fmla="*/ 868036 h 4401009"/>
                    <a:gd name="connsiteX864" fmla="*/ 209586 w 3830903"/>
                    <a:gd name="connsiteY864" fmla="*/ 857894 h 4401009"/>
                    <a:gd name="connsiteX865" fmla="*/ 206205 w 3830903"/>
                    <a:gd name="connsiteY865" fmla="*/ 854514 h 4401009"/>
                    <a:gd name="connsiteX866" fmla="*/ 197754 w 3830903"/>
                    <a:gd name="connsiteY866" fmla="*/ 846063 h 4401009"/>
                    <a:gd name="connsiteX867" fmla="*/ 194374 w 3830903"/>
                    <a:gd name="connsiteY867" fmla="*/ 840992 h 4401009"/>
                    <a:gd name="connsiteX868" fmla="*/ 184233 w 3830903"/>
                    <a:gd name="connsiteY868" fmla="*/ 825781 h 4401009"/>
                    <a:gd name="connsiteX869" fmla="*/ 180852 w 3830903"/>
                    <a:gd name="connsiteY869" fmla="*/ 817330 h 4401009"/>
                    <a:gd name="connsiteX870" fmla="*/ 175782 w 3830903"/>
                    <a:gd name="connsiteY870" fmla="*/ 812259 h 4401009"/>
                    <a:gd name="connsiteX871" fmla="*/ 170711 w 3830903"/>
                    <a:gd name="connsiteY871" fmla="*/ 810569 h 4401009"/>
                    <a:gd name="connsiteX872" fmla="*/ 152119 w 3830903"/>
                    <a:gd name="connsiteY872" fmla="*/ 795357 h 4401009"/>
                    <a:gd name="connsiteX873" fmla="*/ 150428 w 3830903"/>
                    <a:gd name="connsiteY873" fmla="*/ 758172 h 4401009"/>
                    <a:gd name="connsiteX874" fmla="*/ 153809 w 3830903"/>
                    <a:gd name="connsiteY874" fmla="*/ 742961 h 4401009"/>
                    <a:gd name="connsiteX875" fmla="*/ 157189 w 3830903"/>
                    <a:gd name="connsiteY875" fmla="*/ 736200 h 4401009"/>
                    <a:gd name="connsiteX876" fmla="*/ 158880 w 3830903"/>
                    <a:gd name="connsiteY876" fmla="*/ 704086 h 4401009"/>
                    <a:gd name="connsiteX877" fmla="*/ 160570 w 3830903"/>
                    <a:gd name="connsiteY877" fmla="*/ 688874 h 4401009"/>
                    <a:gd name="connsiteX878" fmla="*/ 165640 w 3830903"/>
                    <a:gd name="connsiteY878" fmla="*/ 668592 h 4401009"/>
                    <a:gd name="connsiteX879" fmla="*/ 167331 w 3830903"/>
                    <a:gd name="connsiteY879" fmla="*/ 663521 h 4401009"/>
                    <a:gd name="connsiteX880" fmla="*/ 170711 w 3830903"/>
                    <a:gd name="connsiteY880" fmla="*/ 658450 h 4401009"/>
                    <a:gd name="connsiteX881" fmla="*/ 172401 w 3830903"/>
                    <a:gd name="connsiteY881" fmla="*/ 639858 h 4401009"/>
                    <a:gd name="connsiteX882" fmla="*/ 167331 w 3830903"/>
                    <a:gd name="connsiteY882" fmla="*/ 636478 h 4401009"/>
                    <a:gd name="connsiteX883" fmla="*/ 160570 w 3830903"/>
                    <a:gd name="connsiteY883" fmla="*/ 629717 h 4401009"/>
                    <a:gd name="connsiteX884" fmla="*/ 150428 w 3830903"/>
                    <a:gd name="connsiteY884" fmla="*/ 619576 h 4401009"/>
                    <a:gd name="connsiteX885" fmla="*/ 143668 w 3830903"/>
                    <a:gd name="connsiteY885" fmla="*/ 606054 h 4401009"/>
                    <a:gd name="connsiteX886" fmla="*/ 136907 w 3830903"/>
                    <a:gd name="connsiteY886" fmla="*/ 602674 h 4401009"/>
                    <a:gd name="connsiteX887" fmla="*/ 133526 w 3830903"/>
                    <a:gd name="connsiteY887" fmla="*/ 597603 h 4401009"/>
                    <a:gd name="connsiteX888" fmla="*/ 108173 w 3830903"/>
                    <a:gd name="connsiteY888" fmla="*/ 575630 h 4401009"/>
                    <a:gd name="connsiteX889" fmla="*/ 103103 w 3830903"/>
                    <a:gd name="connsiteY889" fmla="*/ 570560 h 4401009"/>
                    <a:gd name="connsiteX890" fmla="*/ 96342 w 3830903"/>
                    <a:gd name="connsiteY890" fmla="*/ 568870 h 4401009"/>
                    <a:gd name="connsiteX891" fmla="*/ 57467 w 3830903"/>
                    <a:gd name="connsiteY891" fmla="*/ 565489 h 4401009"/>
                    <a:gd name="connsiteX892" fmla="*/ 50706 w 3830903"/>
                    <a:gd name="connsiteY892" fmla="*/ 563799 h 4401009"/>
                    <a:gd name="connsiteX893" fmla="*/ 49016 w 3830903"/>
                    <a:gd name="connsiteY893" fmla="*/ 557038 h 4401009"/>
                    <a:gd name="connsiteX894" fmla="*/ 42255 w 3830903"/>
                    <a:gd name="connsiteY894" fmla="*/ 545207 h 4401009"/>
                    <a:gd name="connsiteX895" fmla="*/ 35495 w 3830903"/>
                    <a:gd name="connsiteY895" fmla="*/ 541826 h 4401009"/>
                    <a:gd name="connsiteX896" fmla="*/ 28734 w 3830903"/>
                    <a:gd name="connsiteY896" fmla="*/ 536756 h 4401009"/>
                    <a:gd name="connsiteX897" fmla="*/ 25353 w 3830903"/>
                    <a:gd name="connsiteY897" fmla="*/ 531685 h 4401009"/>
                    <a:gd name="connsiteX898" fmla="*/ 21973 w 3830903"/>
                    <a:gd name="connsiteY898" fmla="*/ 479289 h 4401009"/>
                    <a:gd name="connsiteX899" fmla="*/ 30424 w 3830903"/>
                    <a:gd name="connsiteY899" fmla="*/ 462387 h 4401009"/>
                    <a:gd name="connsiteX900" fmla="*/ 33804 w 3830903"/>
                    <a:gd name="connsiteY900" fmla="*/ 459006 h 4401009"/>
                    <a:gd name="connsiteX901" fmla="*/ 18593 w 3830903"/>
                    <a:gd name="connsiteY901" fmla="*/ 450555 h 4401009"/>
                    <a:gd name="connsiteX902" fmla="*/ 11832 w 3830903"/>
                    <a:gd name="connsiteY902" fmla="*/ 443795 h 4401009"/>
                    <a:gd name="connsiteX903" fmla="*/ 12395 w 3830903"/>
                    <a:gd name="connsiteY903" fmla="*/ 443232 h 4401009"/>
                    <a:gd name="connsiteX904" fmla="*/ 13522 w 3830903"/>
                    <a:gd name="connsiteY904" fmla="*/ 443795 h 4401009"/>
                    <a:gd name="connsiteX905" fmla="*/ 15212 w 3830903"/>
                    <a:gd name="connsiteY905" fmla="*/ 440414 h 4401009"/>
                    <a:gd name="connsiteX906" fmla="*/ 12395 w 3830903"/>
                    <a:gd name="connsiteY906" fmla="*/ 443232 h 4401009"/>
                    <a:gd name="connsiteX907" fmla="*/ 3381 w 3830903"/>
                    <a:gd name="connsiteY907" fmla="*/ 438724 h 4401009"/>
                    <a:gd name="connsiteX908" fmla="*/ 0 w 3830903"/>
                    <a:gd name="connsiteY908" fmla="*/ 433653 h 4401009"/>
                    <a:gd name="connsiteX909" fmla="*/ 6761 w 3830903"/>
                    <a:gd name="connsiteY909" fmla="*/ 428583 h 4401009"/>
                    <a:gd name="connsiteX910" fmla="*/ 10142 w 3830903"/>
                    <a:gd name="connsiteY910" fmla="*/ 425202 h 4401009"/>
                    <a:gd name="connsiteX911" fmla="*/ 21973 w 3830903"/>
                    <a:gd name="connsiteY911" fmla="*/ 416751 h 4401009"/>
                    <a:gd name="connsiteX912" fmla="*/ 32114 w 3830903"/>
                    <a:gd name="connsiteY912" fmla="*/ 406610 h 4401009"/>
                    <a:gd name="connsiteX913" fmla="*/ 38875 w 3830903"/>
                    <a:gd name="connsiteY913" fmla="*/ 396469 h 4401009"/>
                    <a:gd name="connsiteX914" fmla="*/ 42255 w 3830903"/>
                    <a:gd name="connsiteY914" fmla="*/ 367735 h 4401009"/>
                    <a:gd name="connsiteX915" fmla="*/ 37185 w 3830903"/>
                    <a:gd name="connsiteY915" fmla="*/ 362665 h 4401009"/>
                    <a:gd name="connsiteX916" fmla="*/ 33804 w 3830903"/>
                    <a:gd name="connsiteY916" fmla="*/ 352524 h 4401009"/>
                    <a:gd name="connsiteX917" fmla="*/ 54087 w 3830903"/>
                    <a:gd name="connsiteY917" fmla="*/ 344073 h 4401009"/>
                    <a:gd name="connsiteX918" fmla="*/ 60848 w 3830903"/>
                    <a:gd name="connsiteY918" fmla="*/ 333931 h 4401009"/>
                    <a:gd name="connsiteX919" fmla="*/ 64228 w 3830903"/>
                    <a:gd name="connsiteY919" fmla="*/ 327171 h 4401009"/>
                    <a:gd name="connsiteX920" fmla="*/ 69299 w 3830903"/>
                    <a:gd name="connsiteY920" fmla="*/ 322100 h 4401009"/>
                    <a:gd name="connsiteX921" fmla="*/ 70989 w 3830903"/>
                    <a:gd name="connsiteY921" fmla="*/ 317029 h 4401009"/>
                    <a:gd name="connsiteX922" fmla="*/ 77750 w 3830903"/>
                    <a:gd name="connsiteY922" fmla="*/ 303508 h 4401009"/>
                    <a:gd name="connsiteX923" fmla="*/ 113244 w 3830903"/>
                    <a:gd name="connsiteY923" fmla="*/ 295057 h 4401009"/>
                    <a:gd name="connsiteX924" fmla="*/ 118315 w 3830903"/>
                    <a:gd name="connsiteY924" fmla="*/ 284915 h 4401009"/>
                    <a:gd name="connsiteX925" fmla="*/ 113244 w 3830903"/>
                    <a:gd name="connsiteY925" fmla="*/ 247731 h 4401009"/>
                    <a:gd name="connsiteX926" fmla="*/ 125075 w 3830903"/>
                    <a:gd name="connsiteY926" fmla="*/ 244351 h 4401009"/>
                    <a:gd name="connsiteX927" fmla="*/ 128456 w 3830903"/>
                    <a:gd name="connsiteY927" fmla="*/ 247731 h 4401009"/>
                    <a:gd name="connsiteX928" fmla="*/ 143668 w 3830903"/>
                    <a:gd name="connsiteY928" fmla="*/ 254492 h 4401009"/>
                    <a:gd name="connsiteX929" fmla="*/ 148738 w 3830903"/>
                    <a:gd name="connsiteY929" fmla="*/ 244351 h 4401009"/>
                    <a:gd name="connsiteX930" fmla="*/ 152119 w 3830903"/>
                    <a:gd name="connsiteY930" fmla="*/ 229139 h 4401009"/>
                    <a:gd name="connsiteX931" fmla="*/ 157189 w 3830903"/>
                    <a:gd name="connsiteY931" fmla="*/ 222378 h 4401009"/>
                    <a:gd name="connsiteX932" fmla="*/ 152119 w 3830903"/>
                    <a:gd name="connsiteY932" fmla="*/ 207166 h 4401009"/>
                    <a:gd name="connsiteX933" fmla="*/ 174091 w 3830903"/>
                    <a:gd name="connsiteY933" fmla="*/ 207166 h 4401009"/>
                    <a:gd name="connsiteX934" fmla="*/ 223107 w 3830903"/>
                    <a:gd name="connsiteY934" fmla="*/ 208856 h 4401009"/>
                    <a:gd name="connsiteX935" fmla="*/ 236629 w 3830903"/>
                    <a:gd name="connsiteY935" fmla="*/ 229139 h 4401009"/>
                    <a:gd name="connsiteX936" fmla="*/ 233248 w 3830903"/>
                    <a:gd name="connsiteY936" fmla="*/ 235900 h 4401009"/>
                    <a:gd name="connsiteX937" fmla="*/ 221417 w 3830903"/>
                    <a:gd name="connsiteY937" fmla="*/ 242660 h 4401009"/>
                    <a:gd name="connsiteX938" fmla="*/ 187613 w 3830903"/>
                    <a:gd name="connsiteY938" fmla="*/ 244351 h 4401009"/>
                    <a:gd name="connsiteX939" fmla="*/ 184233 w 3830903"/>
                    <a:gd name="connsiteY939" fmla="*/ 240970 h 4401009"/>
                    <a:gd name="connsiteX940" fmla="*/ 172401 w 3830903"/>
                    <a:gd name="connsiteY940" fmla="*/ 235900 h 4401009"/>
                    <a:gd name="connsiteX941" fmla="*/ 170711 w 3830903"/>
                    <a:gd name="connsiteY941" fmla="*/ 242660 h 4401009"/>
                    <a:gd name="connsiteX942" fmla="*/ 174091 w 3830903"/>
                    <a:gd name="connsiteY942" fmla="*/ 251111 h 4401009"/>
                    <a:gd name="connsiteX943" fmla="*/ 177472 w 3830903"/>
                    <a:gd name="connsiteY943" fmla="*/ 254492 h 4401009"/>
                    <a:gd name="connsiteX944" fmla="*/ 196064 w 3830903"/>
                    <a:gd name="connsiteY944" fmla="*/ 259562 h 4401009"/>
                    <a:gd name="connsiteX945" fmla="*/ 199444 w 3830903"/>
                    <a:gd name="connsiteY945" fmla="*/ 283225 h 4401009"/>
                    <a:gd name="connsiteX946" fmla="*/ 204515 w 3830903"/>
                    <a:gd name="connsiteY946" fmla="*/ 279845 h 4401009"/>
                    <a:gd name="connsiteX947" fmla="*/ 209586 w 3830903"/>
                    <a:gd name="connsiteY947" fmla="*/ 269704 h 4401009"/>
                    <a:gd name="connsiteX948" fmla="*/ 214656 w 3830903"/>
                    <a:gd name="connsiteY948" fmla="*/ 259562 h 4401009"/>
                    <a:gd name="connsiteX949" fmla="*/ 219727 w 3830903"/>
                    <a:gd name="connsiteY949" fmla="*/ 256182 h 4401009"/>
                    <a:gd name="connsiteX950" fmla="*/ 228178 w 3830903"/>
                    <a:gd name="connsiteY950" fmla="*/ 254492 h 4401009"/>
                    <a:gd name="connsiteX951" fmla="*/ 231558 w 3830903"/>
                    <a:gd name="connsiteY951" fmla="*/ 284915 h 4401009"/>
                    <a:gd name="connsiteX952" fmla="*/ 234939 w 3830903"/>
                    <a:gd name="connsiteY952" fmla="*/ 291676 h 4401009"/>
                    <a:gd name="connsiteX953" fmla="*/ 238319 w 3830903"/>
                    <a:gd name="connsiteY953" fmla="*/ 269704 h 4401009"/>
                    <a:gd name="connsiteX954" fmla="*/ 243390 w 3830903"/>
                    <a:gd name="connsiteY954" fmla="*/ 262943 h 4401009"/>
                    <a:gd name="connsiteX955" fmla="*/ 253531 w 3830903"/>
                    <a:gd name="connsiteY955" fmla="*/ 261253 h 4401009"/>
                    <a:gd name="connsiteX956" fmla="*/ 265362 w 3830903"/>
                    <a:gd name="connsiteY956" fmla="*/ 256182 h 4401009"/>
                    <a:gd name="connsiteX957" fmla="*/ 273813 w 3830903"/>
                    <a:gd name="connsiteY957" fmla="*/ 266323 h 4401009"/>
                    <a:gd name="connsiteX958" fmla="*/ 282264 w 3830903"/>
                    <a:gd name="connsiteY958" fmla="*/ 271394 h 4401009"/>
                    <a:gd name="connsiteX959" fmla="*/ 283955 w 3830903"/>
                    <a:gd name="connsiteY959" fmla="*/ 278155 h 4401009"/>
                    <a:gd name="connsiteX960" fmla="*/ 287335 w 3830903"/>
                    <a:gd name="connsiteY960" fmla="*/ 296747 h 4401009"/>
                    <a:gd name="connsiteX961" fmla="*/ 278884 w 3830903"/>
                    <a:gd name="connsiteY961" fmla="*/ 315339 h 4401009"/>
                    <a:gd name="connsiteX962" fmla="*/ 275504 w 3830903"/>
                    <a:gd name="connsiteY962" fmla="*/ 318720 h 4401009"/>
                    <a:gd name="connsiteX963" fmla="*/ 270433 w 3830903"/>
                    <a:gd name="connsiteY963" fmla="*/ 328861 h 4401009"/>
                    <a:gd name="connsiteX964" fmla="*/ 278884 w 3830903"/>
                    <a:gd name="connsiteY964" fmla="*/ 327171 h 4401009"/>
                    <a:gd name="connsiteX965" fmla="*/ 283955 w 3830903"/>
                    <a:gd name="connsiteY965" fmla="*/ 320410 h 4401009"/>
                    <a:gd name="connsiteX966" fmla="*/ 299166 w 3830903"/>
                    <a:gd name="connsiteY966" fmla="*/ 274774 h 4401009"/>
                    <a:gd name="connsiteX967" fmla="*/ 303871 w 3830903"/>
                    <a:gd name="connsiteY967" fmla="*/ 268080 h 4401009"/>
                    <a:gd name="connsiteX968" fmla="*/ 304237 w 3830903"/>
                    <a:gd name="connsiteY968" fmla="*/ 269705 h 4401009"/>
                    <a:gd name="connsiteX969" fmla="*/ 304837 w 3830903"/>
                    <a:gd name="connsiteY969" fmla="*/ 266706 h 4401009"/>
                    <a:gd name="connsiteX970" fmla="*/ 306626 w 3830903"/>
                    <a:gd name="connsiteY970" fmla="*/ 264161 h 4401009"/>
                    <a:gd name="connsiteX971" fmla="*/ 306011 w 3830903"/>
                    <a:gd name="connsiteY971" fmla="*/ 262215 h 4401009"/>
                    <a:gd name="connsiteX972" fmla="*/ 305657 w 3830903"/>
                    <a:gd name="connsiteY972" fmla="*/ 262606 h 4401009"/>
                    <a:gd name="connsiteX973" fmla="*/ 310998 w 3830903"/>
                    <a:gd name="connsiteY973" fmla="*/ 235900 h 4401009"/>
                    <a:gd name="connsiteX974" fmla="*/ 383677 w 3830903"/>
                    <a:gd name="connsiteY974" fmla="*/ 251111 h 4401009"/>
                    <a:gd name="connsiteX975" fmla="*/ 390437 w 3830903"/>
                    <a:gd name="connsiteY975" fmla="*/ 249421 h 4401009"/>
                    <a:gd name="connsiteX976" fmla="*/ 395508 w 3830903"/>
                    <a:gd name="connsiteY976" fmla="*/ 247731 h 4401009"/>
                    <a:gd name="connsiteX977" fmla="*/ 417481 w 3830903"/>
                    <a:gd name="connsiteY977" fmla="*/ 244351 h 4401009"/>
                    <a:gd name="connsiteX978" fmla="*/ 431002 w 3830903"/>
                    <a:gd name="connsiteY978" fmla="*/ 246041 h 4401009"/>
                    <a:gd name="connsiteX979" fmla="*/ 451285 w 3830903"/>
                    <a:gd name="connsiteY979" fmla="*/ 247731 h 4401009"/>
                    <a:gd name="connsiteX980" fmla="*/ 463116 w 3830903"/>
                    <a:gd name="connsiteY980" fmla="*/ 251111 h 4401009"/>
                    <a:gd name="connsiteX981" fmla="*/ 474948 w 3830903"/>
                    <a:gd name="connsiteY981" fmla="*/ 252802 h 4401009"/>
                    <a:gd name="connsiteX982" fmla="*/ 503681 w 3830903"/>
                    <a:gd name="connsiteY982" fmla="*/ 256182 h 4401009"/>
                    <a:gd name="connsiteX983" fmla="*/ 522273 w 3830903"/>
                    <a:gd name="connsiteY983" fmla="*/ 259562 h 4401009"/>
                    <a:gd name="connsiteX984" fmla="*/ 562838 w 3830903"/>
                    <a:gd name="connsiteY984" fmla="*/ 271394 h 4401009"/>
                    <a:gd name="connsiteX985" fmla="*/ 574670 w 3830903"/>
                    <a:gd name="connsiteY985" fmla="*/ 276464 h 4401009"/>
                    <a:gd name="connsiteX986" fmla="*/ 581430 w 3830903"/>
                    <a:gd name="connsiteY986" fmla="*/ 278155 h 4401009"/>
                    <a:gd name="connsiteX987" fmla="*/ 588191 w 3830903"/>
                    <a:gd name="connsiteY987" fmla="*/ 283225 h 4401009"/>
                    <a:gd name="connsiteX988" fmla="*/ 594952 w 3830903"/>
                    <a:gd name="connsiteY988" fmla="*/ 286606 h 4401009"/>
                    <a:gd name="connsiteX989" fmla="*/ 618615 w 3830903"/>
                    <a:gd name="connsiteY989" fmla="*/ 293366 h 4401009"/>
                    <a:gd name="connsiteX990" fmla="*/ 640587 w 3830903"/>
                    <a:gd name="connsiteY990" fmla="*/ 306888 h 4401009"/>
                    <a:gd name="connsiteX991" fmla="*/ 655799 w 3830903"/>
                    <a:gd name="connsiteY991" fmla="*/ 311959 h 4401009"/>
                    <a:gd name="connsiteX992" fmla="*/ 662560 w 3830903"/>
                    <a:gd name="connsiteY992" fmla="*/ 306888 h 4401009"/>
                    <a:gd name="connsiteX993" fmla="*/ 667631 w 3830903"/>
                    <a:gd name="connsiteY993" fmla="*/ 305198 h 4401009"/>
                    <a:gd name="connsiteX994" fmla="*/ 699745 w 3830903"/>
                    <a:gd name="connsiteY994" fmla="*/ 301817 h 4401009"/>
                    <a:gd name="connsiteX995" fmla="*/ 708196 w 3830903"/>
                    <a:gd name="connsiteY995" fmla="*/ 306888 h 4401009"/>
                    <a:gd name="connsiteX996" fmla="*/ 714956 w 3830903"/>
                    <a:gd name="connsiteY996" fmla="*/ 310269 h 4401009"/>
                    <a:gd name="connsiteX997" fmla="*/ 738619 w 3830903"/>
                    <a:gd name="connsiteY997" fmla="*/ 320410 h 4401009"/>
                    <a:gd name="connsiteX998" fmla="*/ 743690 w 3830903"/>
                    <a:gd name="connsiteY998" fmla="*/ 318720 h 4401009"/>
                    <a:gd name="connsiteX999" fmla="*/ 758902 w 3830903"/>
                    <a:gd name="connsiteY999" fmla="*/ 320410 h 4401009"/>
                    <a:gd name="connsiteX1000" fmla="*/ 784255 w 3830903"/>
                    <a:gd name="connsiteY1000" fmla="*/ 327171 h 4401009"/>
                    <a:gd name="connsiteX1001" fmla="*/ 802847 w 3830903"/>
                    <a:gd name="connsiteY1001" fmla="*/ 332241 h 4401009"/>
                    <a:gd name="connsiteX1002" fmla="*/ 812988 w 3830903"/>
                    <a:gd name="connsiteY1002" fmla="*/ 335622 h 4401009"/>
                    <a:gd name="connsiteX1003" fmla="*/ 819749 w 3830903"/>
                    <a:gd name="connsiteY1003" fmla="*/ 342382 h 4401009"/>
                    <a:gd name="connsiteX1004" fmla="*/ 824820 w 3830903"/>
                    <a:gd name="connsiteY1004" fmla="*/ 345763 h 4401009"/>
                    <a:gd name="connsiteX1005" fmla="*/ 851863 w 3830903"/>
                    <a:gd name="connsiteY1005" fmla="*/ 349143 h 4401009"/>
                    <a:gd name="connsiteX1006" fmla="*/ 860314 w 3830903"/>
                    <a:gd name="connsiteY1006" fmla="*/ 354214 h 4401009"/>
                    <a:gd name="connsiteX1007" fmla="*/ 862004 w 3830903"/>
                    <a:gd name="connsiteY1007" fmla="*/ 367735 h 4401009"/>
                    <a:gd name="connsiteX1008" fmla="*/ 865384 w 3830903"/>
                    <a:gd name="connsiteY1008" fmla="*/ 379567 h 4401009"/>
                    <a:gd name="connsiteX1009" fmla="*/ 870455 w 3830903"/>
                    <a:gd name="connsiteY1009" fmla="*/ 382947 h 4401009"/>
                    <a:gd name="connsiteX1010" fmla="*/ 875526 w 3830903"/>
                    <a:gd name="connsiteY1010" fmla="*/ 388018 h 4401009"/>
                    <a:gd name="connsiteX1011" fmla="*/ 890738 w 3830903"/>
                    <a:gd name="connsiteY1011" fmla="*/ 394779 h 4401009"/>
                    <a:gd name="connsiteX1012" fmla="*/ 895808 w 3830903"/>
                    <a:gd name="connsiteY1012" fmla="*/ 399849 h 4401009"/>
                    <a:gd name="connsiteX1013" fmla="*/ 905949 w 3830903"/>
                    <a:gd name="connsiteY1013" fmla="*/ 408300 h 4401009"/>
                    <a:gd name="connsiteX1014" fmla="*/ 912710 w 3830903"/>
                    <a:gd name="connsiteY1014" fmla="*/ 409991 h 4401009"/>
                    <a:gd name="connsiteX1015" fmla="*/ 919471 w 3830903"/>
                    <a:gd name="connsiteY1015" fmla="*/ 415061 h 4401009"/>
                    <a:gd name="connsiteX1016" fmla="*/ 934683 w 3830903"/>
                    <a:gd name="connsiteY1016" fmla="*/ 428583 h 4401009"/>
                    <a:gd name="connsiteX1017" fmla="*/ 936373 w 3830903"/>
                    <a:gd name="connsiteY1017" fmla="*/ 435344 h 4401009"/>
                    <a:gd name="connsiteX1018" fmla="*/ 939753 w 3830903"/>
                    <a:gd name="connsiteY1018" fmla="*/ 443795 h 4401009"/>
                    <a:gd name="connsiteX1019" fmla="*/ 943134 w 3830903"/>
                    <a:gd name="connsiteY1019" fmla="*/ 453936 h 4401009"/>
                    <a:gd name="connsiteX1020" fmla="*/ 953275 w 3830903"/>
                    <a:gd name="connsiteY1020" fmla="*/ 472528 h 4401009"/>
                    <a:gd name="connsiteX1021" fmla="*/ 956655 w 3830903"/>
                    <a:gd name="connsiteY1021" fmla="*/ 477599 h 4401009"/>
                    <a:gd name="connsiteX1022" fmla="*/ 953275 w 3830903"/>
                    <a:gd name="connsiteY1022" fmla="*/ 489430 h 4401009"/>
                    <a:gd name="connsiteX1023" fmla="*/ 944824 w 3830903"/>
                    <a:gd name="connsiteY1023" fmla="*/ 504642 h 4401009"/>
                    <a:gd name="connsiteX1024" fmla="*/ 941444 w 3830903"/>
                    <a:gd name="connsiteY1024" fmla="*/ 543517 h 4401009"/>
                    <a:gd name="connsiteX1025" fmla="*/ 938063 w 3830903"/>
                    <a:gd name="connsiteY1025" fmla="*/ 548587 h 4401009"/>
                    <a:gd name="connsiteX1026" fmla="*/ 934683 w 3830903"/>
                    <a:gd name="connsiteY1026" fmla="*/ 565489 h 4401009"/>
                    <a:gd name="connsiteX1027" fmla="*/ 929612 w 3830903"/>
                    <a:gd name="connsiteY1027" fmla="*/ 584081 h 4401009"/>
                    <a:gd name="connsiteX1028" fmla="*/ 921161 w 3830903"/>
                    <a:gd name="connsiteY1028" fmla="*/ 599293 h 4401009"/>
                    <a:gd name="connsiteX1029" fmla="*/ 916091 w 3830903"/>
                    <a:gd name="connsiteY1029" fmla="*/ 606054 h 4401009"/>
                    <a:gd name="connsiteX1030" fmla="*/ 905949 w 3830903"/>
                    <a:gd name="connsiteY1030" fmla="*/ 622956 h 4401009"/>
                    <a:gd name="connsiteX1031" fmla="*/ 890738 w 3830903"/>
                    <a:gd name="connsiteY1031" fmla="*/ 638168 h 4401009"/>
                    <a:gd name="connsiteX1032" fmla="*/ 883977 w 3830903"/>
                    <a:gd name="connsiteY1032" fmla="*/ 641548 h 4401009"/>
                    <a:gd name="connsiteX1033" fmla="*/ 878906 w 3830903"/>
                    <a:gd name="connsiteY1033" fmla="*/ 648309 h 4401009"/>
                    <a:gd name="connsiteX1034" fmla="*/ 872145 w 3830903"/>
                    <a:gd name="connsiteY1034" fmla="*/ 653380 h 4401009"/>
                    <a:gd name="connsiteX1035" fmla="*/ 867075 w 3830903"/>
                    <a:gd name="connsiteY1035" fmla="*/ 658450 h 4401009"/>
                    <a:gd name="connsiteX1036" fmla="*/ 856933 w 3830903"/>
                    <a:gd name="connsiteY1036" fmla="*/ 663521 h 4401009"/>
                    <a:gd name="connsiteX1037" fmla="*/ 838341 w 3830903"/>
                    <a:gd name="connsiteY1037" fmla="*/ 677043 h 4401009"/>
                    <a:gd name="connsiteX1038" fmla="*/ 824820 w 3830903"/>
                    <a:gd name="connsiteY1038" fmla="*/ 680423 h 4401009"/>
                    <a:gd name="connsiteX1039" fmla="*/ 804537 w 3830903"/>
                    <a:gd name="connsiteY1039" fmla="*/ 685494 h 4401009"/>
                    <a:gd name="connsiteX1040" fmla="*/ 736929 w 3830903"/>
                    <a:gd name="connsiteY1040" fmla="*/ 677043 h 4401009"/>
                    <a:gd name="connsiteX1041" fmla="*/ 731858 w 3830903"/>
                    <a:gd name="connsiteY1041" fmla="*/ 683803 h 4401009"/>
                    <a:gd name="connsiteX1042" fmla="*/ 708196 w 3830903"/>
                    <a:gd name="connsiteY1042" fmla="*/ 697325 h 4401009"/>
                    <a:gd name="connsiteX1043" fmla="*/ 689603 w 3830903"/>
                    <a:gd name="connsiteY1043" fmla="*/ 707466 h 4401009"/>
                    <a:gd name="connsiteX1044" fmla="*/ 676082 w 3830903"/>
                    <a:gd name="connsiteY1044" fmla="*/ 717608 h 4401009"/>
                    <a:gd name="connsiteX1045" fmla="*/ 654109 w 3830903"/>
                    <a:gd name="connsiteY1045" fmla="*/ 719298 h 4401009"/>
                    <a:gd name="connsiteX1046" fmla="*/ 627066 w 3830903"/>
                    <a:gd name="connsiteY1046" fmla="*/ 724368 h 4401009"/>
                    <a:gd name="connsiteX1047" fmla="*/ 620305 w 3830903"/>
                    <a:gd name="connsiteY1047" fmla="*/ 720988 h 4401009"/>
                    <a:gd name="connsiteX1048" fmla="*/ 598332 w 3830903"/>
                    <a:gd name="connsiteY1048" fmla="*/ 717608 h 4401009"/>
                    <a:gd name="connsiteX1049" fmla="*/ 583121 w 3830903"/>
                    <a:gd name="connsiteY1049" fmla="*/ 712537 h 4401009"/>
                    <a:gd name="connsiteX1050" fmla="*/ 564528 w 3830903"/>
                    <a:gd name="connsiteY1050" fmla="*/ 697325 h 4401009"/>
                    <a:gd name="connsiteX1051" fmla="*/ 552697 w 3830903"/>
                    <a:gd name="connsiteY1051" fmla="*/ 700705 h 4401009"/>
                    <a:gd name="connsiteX1052" fmla="*/ 545936 w 3830903"/>
                    <a:gd name="connsiteY1052" fmla="*/ 709156 h 4401009"/>
                    <a:gd name="connsiteX1053" fmla="*/ 540865 w 3830903"/>
                    <a:gd name="connsiteY1053" fmla="*/ 710847 h 4401009"/>
                    <a:gd name="connsiteX1054" fmla="*/ 535795 w 3830903"/>
                    <a:gd name="connsiteY1054" fmla="*/ 724368 h 4401009"/>
                    <a:gd name="connsiteX1055" fmla="*/ 523963 w 3830903"/>
                    <a:gd name="connsiteY1055" fmla="*/ 727749 h 4401009"/>
                    <a:gd name="connsiteX1056" fmla="*/ 508752 w 3830903"/>
                    <a:gd name="connsiteY1056" fmla="*/ 715917 h 4401009"/>
                    <a:gd name="connsiteX1057" fmla="*/ 505371 w 3830903"/>
                    <a:gd name="connsiteY1057" fmla="*/ 709156 h 4401009"/>
                    <a:gd name="connsiteX1058" fmla="*/ 503681 w 3830903"/>
                    <a:gd name="connsiteY1058" fmla="*/ 714227 h 4401009"/>
                    <a:gd name="connsiteX1059" fmla="*/ 498610 w 3830903"/>
                    <a:gd name="connsiteY1059" fmla="*/ 715917 h 4401009"/>
                    <a:gd name="connsiteX1060" fmla="*/ 486779 w 3830903"/>
                    <a:gd name="connsiteY1060" fmla="*/ 709156 h 4401009"/>
                    <a:gd name="connsiteX1061" fmla="*/ 481708 w 3830903"/>
                    <a:gd name="connsiteY1061" fmla="*/ 707466 h 4401009"/>
                    <a:gd name="connsiteX1062" fmla="*/ 478328 w 3830903"/>
                    <a:gd name="connsiteY1062" fmla="*/ 702396 h 4401009"/>
                    <a:gd name="connsiteX1063" fmla="*/ 473257 w 3830903"/>
                    <a:gd name="connsiteY1063" fmla="*/ 695635 h 4401009"/>
                    <a:gd name="connsiteX1064" fmla="*/ 461426 w 3830903"/>
                    <a:gd name="connsiteY1064" fmla="*/ 688874 h 4401009"/>
                    <a:gd name="connsiteX1065" fmla="*/ 452975 w 3830903"/>
                    <a:gd name="connsiteY1065" fmla="*/ 697325 h 4401009"/>
                    <a:gd name="connsiteX1066" fmla="*/ 451285 w 3830903"/>
                    <a:gd name="connsiteY1066" fmla="*/ 705776 h 4401009"/>
                    <a:gd name="connsiteX1067" fmla="*/ 441143 w 3830903"/>
                    <a:gd name="connsiteY1067" fmla="*/ 717608 h 4401009"/>
                    <a:gd name="connsiteX1068" fmla="*/ 436073 w 3830903"/>
                    <a:gd name="connsiteY1068" fmla="*/ 710847 h 4401009"/>
                    <a:gd name="connsiteX1069" fmla="*/ 432692 w 3830903"/>
                    <a:gd name="connsiteY1069" fmla="*/ 707466 h 4401009"/>
                    <a:gd name="connsiteX1070" fmla="*/ 427622 w 3830903"/>
                    <a:gd name="connsiteY1070" fmla="*/ 705776 h 4401009"/>
                    <a:gd name="connsiteX1071" fmla="*/ 417481 w 3830903"/>
                    <a:gd name="connsiteY1071" fmla="*/ 693945 h 4401009"/>
                    <a:gd name="connsiteX1072" fmla="*/ 402269 w 3830903"/>
                    <a:gd name="connsiteY1072" fmla="*/ 685494 h 4401009"/>
                    <a:gd name="connsiteX1073" fmla="*/ 387057 w 3830903"/>
                    <a:gd name="connsiteY1073" fmla="*/ 670282 h 4401009"/>
                    <a:gd name="connsiteX1074" fmla="*/ 339731 w 3830903"/>
                    <a:gd name="connsiteY1074" fmla="*/ 665211 h 4401009"/>
                    <a:gd name="connsiteX1075" fmla="*/ 321139 w 3830903"/>
                    <a:gd name="connsiteY1075" fmla="*/ 671972 h 4401009"/>
                    <a:gd name="connsiteX1076" fmla="*/ 327900 w 3830903"/>
                    <a:gd name="connsiteY1076" fmla="*/ 675352 h 4401009"/>
                    <a:gd name="connsiteX1077" fmla="*/ 343112 w 3830903"/>
                    <a:gd name="connsiteY1077" fmla="*/ 677043 h 4401009"/>
                    <a:gd name="connsiteX1078" fmla="*/ 361704 w 3830903"/>
                    <a:gd name="connsiteY1078" fmla="*/ 687184 h 4401009"/>
                    <a:gd name="connsiteX1079" fmla="*/ 370155 w 3830903"/>
                    <a:gd name="connsiteY1079" fmla="*/ 688874 h 4401009"/>
                    <a:gd name="connsiteX1080" fmla="*/ 371845 w 3830903"/>
                    <a:gd name="connsiteY1080" fmla="*/ 695635 h 4401009"/>
                    <a:gd name="connsiteX1081" fmla="*/ 375226 w 3830903"/>
                    <a:gd name="connsiteY1081" fmla="*/ 707466 h 4401009"/>
                    <a:gd name="connsiteX1082" fmla="*/ 387057 w 3830903"/>
                    <a:gd name="connsiteY1082" fmla="*/ 714227 h 4401009"/>
                    <a:gd name="connsiteX1083" fmla="*/ 390437 w 3830903"/>
                    <a:gd name="connsiteY1083" fmla="*/ 720988 h 4401009"/>
                    <a:gd name="connsiteX1084" fmla="*/ 414100 w 3830903"/>
                    <a:gd name="connsiteY1084" fmla="*/ 726059 h 4401009"/>
                    <a:gd name="connsiteX1085" fmla="*/ 417481 w 3830903"/>
                    <a:gd name="connsiteY1085" fmla="*/ 731129 h 4401009"/>
                    <a:gd name="connsiteX1086" fmla="*/ 422551 w 3830903"/>
                    <a:gd name="connsiteY1086" fmla="*/ 736200 h 4401009"/>
                    <a:gd name="connsiteX1087" fmla="*/ 424241 w 3830903"/>
                    <a:gd name="connsiteY1087" fmla="*/ 741270 h 4401009"/>
                    <a:gd name="connsiteX1088" fmla="*/ 425932 w 3830903"/>
                    <a:gd name="connsiteY1088" fmla="*/ 753102 h 4401009"/>
                    <a:gd name="connsiteX1089" fmla="*/ 485089 w 3830903"/>
                    <a:gd name="connsiteY1089" fmla="*/ 764933 h 4401009"/>
                    <a:gd name="connsiteX1090" fmla="*/ 476638 w 3830903"/>
                    <a:gd name="connsiteY1090" fmla="*/ 770004 h 4401009"/>
                    <a:gd name="connsiteX1091" fmla="*/ 469877 w 3830903"/>
                    <a:gd name="connsiteY1091" fmla="*/ 773384 h 4401009"/>
                    <a:gd name="connsiteX1092" fmla="*/ 478328 w 3830903"/>
                    <a:gd name="connsiteY1092" fmla="*/ 775074 h 4401009"/>
                    <a:gd name="connsiteX1093" fmla="*/ 491850 w 3830903"/>
                    <a:gd name="connsiteY1093" fmla="*/ 773384 h 4401009"/>
                    <a:gd name="connsiteX1094" fmla="*/ 508752 w 3830903"/>
                    <a:gd name="connsiteY1094" fmla="*/ 770004 h 4401009"/>
                    <a:gd name="connsiteX1095" fmla="*/ 515512 w 3830903"/>
                    <a:gd name="connsiteY1095" fmla="*/ 771694 h 4401009"/>
                    <a:gd name="connsiteX1096" fmla="*/ 551007 w 3830903"/>
                    <a:gd name="connsiteY1096" fmla="*/ 775074 h 4401009"/>
                    <a:gd name="connsiteX1097" fmla="*/ 564528 w 3830903"/>
                    <a:gd name="connsiteY1097" fmla="*/ 785216 h 4401009"/>
                    <a:gd name="connsiteX1098" fmla="*/ 571289 w 3830903"/>
                    <a:gd name="connsiteY1098" fmla="*/ 793667 h 4401009"/>
                    <a:gd name="connsiteX1099" fmla="*/ 574670 w 3830903"/>
                    <a:gd name="connsiteY1099" fmla="*/ 803808 h 4401009"/>
                    <a:gd name="connsiteX1100" fmla="*/ 584811 w 3830903"/>
                    <a:gd name="connsiteY1100" fmla="*/ 805498 h 4401009"/>
                    <a:gd name="connsiteX1101" fmla="*/ 591572 w 3830903"/>
                    <a:gd name="connsiteY1101" fmla="*/ 807188 h 4401009"/>
                    <a:gd name="connsiteX1102" fmla="*/ 596642 w 3830903"/>
                    <a:gd name="connsiteY1102" fmla="*/ 812259 h 4401009"/>
                    <a:gd name="connsiteX1103" fmla="*/ 605093 w 3830903"/>
                    <a:gd name="connsiteY1103" fmla="*/ 820710 h 4401009"/>
                    <a:gd name="connsiteX1104" fmla="*/ 610164 w 3830903"/>
                    <a:gd name="connsiteY1104" fmla="*/ 822400 h 4401009"/>
                    <a:gd name="connsiteX1105" fmla="*/ 610164 w 3830903"/>
                    <a:gd name="connsiteY1105" fmla="*/ 839302 h 4401009"/>
                    <a:gd name="connsiteX1106" fmla="*/ 603737 w 3830903"/>
                    <a:gd name="connsiteY1106" fmla="*/ 835446 h 4401009"/>
                    <a:gd name="connsiteX1107" fmla="*/ 603091 w 3830903"/>
                    <a:gd name="connsiteY1107" fmla="*/ 834987 h 4401009"/>
                    <a:gd name="connsiteX1108" fmla="*/ 601713 w 3830903"/>
                    <a:gd name="connsiteY1108" fmla="*/ 834232 h 4401009"/>
                    <a:gd name="connsiteX1109" fmla="*/ 603737 w 3830903"/>
                    <a:gd name="connsiteY1109" fmla="*/ 835446 h 4401009"/>
                    <a:gd name="connsiteX1110" fmla="*/ 606783 w 3830903"/>
                    <a:gd name="connsiteY1110" fmla="*/ 837612 h 4401009"/>
                    <a:gd name="connsiteX1111" fmla="*/ 608474 w 3830903"/>
                    <a:gd name="connsiteY1111" fmla="*/ 842683 h 4401009"/>
                    <a:gd name="connsiteX1112" fmla="*/ 615234 w 3830903"/>
                    <a:gd name="connsiteY1112" fmla="*/ 854514 h 4401009"/>
                    <a:gd name="connsiteX1113" fmla="*/ 616925 w 3830903"/>
                    <a:gd name="connsiteY1113" fmla="*/ 861275 h 4401009"/>
                    <a:gd name="connsiteX1114" fmla="*/ 618615 w 3830903"/>
                    <a:gd name="connsiteY1114" fmla="*/ 866345 h 4401009"/>
                    <a:gd name="connsiteX1115" fmla="*/ 623685 w 3830903"/>
                    <a:gd name="connsiteY1115" fmla="*/ 873106 h 4401009"/>
                    <a:gd name="connsiteX1116" fmla="*/ 620305 w 3830903"/>
                    <a:gd name="connsiteY1116" fmla="*/ 890008 h 4401009"/>
                    <a:gd name="connsiteX1117" fmla="*/ 615234 w 3830903"/>
                    <a:gd name="connsiteY1117" fmla="*/ 891698 h 4401009"/>
                    <a:gd name="connsiteX1118" fmla="*/ 598332 w 3830903"/>
                    <a:gd name="connsiteY1118" fmla="*/ 911981 h 4401009"/>
                    <a:gd name="connsiteX1119" fmla="*/ 596642 w 3830903"/>
                    <a:gd name="connsiteY1119" fmla="*/ 922122 h 4401009"/>
                    <a:gd name="connsiteX1120" fmla="*/ 633827 w 3830903"/>
                    <a:gd name="connsiteY1120" fmla="*/ 930573 h 4401009"/>
                    <a:gd name="connsiteX1121" fmla="*/ 638897 w 3830903"/>
                    <a:gd name="connsiteY1121" fmla="*/ 940714 h 4401009"/>
                    <a:gd name="connsiteX1122" fmla="*/ 647348 w 3830903"/>
                    <a:gd name="connsiteY1122" fmla="*/ 950856 h 4401009"/>
                    <a:gd name="connsiteX1123" fmla="*/ 650729 w 3830903"/>
                    <a:gd name="connsiteY1123" fmla="*/ 954236 h 4401009"/>
                    <a:gd name="connsiteX1124" fmla="*/ 654109 w 3830903"/>
                    <a:gd name="connsiteY1124" fmla="*/ 960997 h 4401009"/>
                    <a:gd name="connsiteX1125" fmla="*/ 660870 w 3830903"/>
                    <a:gd name="connsiteY1125" fmla="*/ 967758 h 4401009"/>
                    <a:gd name="connsiteX1126" fmla="*/ 665941 w 3830903"/>
                    <a:gd name="connsiteY1126" fmla="*/ 971138 h 4401009"/>
                    <a:gd name="connsiteX1127" fmla="*/ 671011 w 3830903"/>
                    <a:gd name="connsiteY1127" fmla="*/ 977899 h 4401009"/>
                    <a:gd name="connsiteX1128" fmla="*/ 687913 w 3830903"/>
                    <a:gd name="connsiteY1128" fmla="*/ 994801 h 4401009"/>
                    <a:gd name="connsiteX1129" fmla="*/ 692984 w 3830903"/>
                    <a:gd name="connsiteY1129" fmla="*/ 1001562 h 4401009"/>
                    <a:gd name="connsiteX1130" fmla="*/ 694674 w 3830903"/>
                    <a:gd name="connsiteY1130" fmla="*/ 1030295 h 4401009"/>
                    <a:gd name="connsiteX1131" fmla="*/ 713266 w 3830903"/>
                    <a:gd name="connsiteY1131" fmla="*/ 1038746 h 4401009"/>
                    <a:gd name="connsiteX1132" fmla="*/ 720027 w 3830903"/>
                    <a:gd name="connsiteY1132" fmla="*/ 1042127 h 4401009"/>
                    <a:gd name="connsiteX1133" fmla="*/ 723407 w 3830903"/>
                    <a:gd name="connsiteY1133" fmla="*/ 1048887 h 4401009"/>
                    <a:gd name="connsiteX1134" fmla="*/ 726788 w 3830903"/>
                    <a:gd name="connsiteY1134" fmla="*/ 1052268 h 4401009"/>
                    <a:gd name="connsiteX1135" fmla="*/ 748760 w 3830903"/>
                    <a:gd name="connsiteY1135" fmla="*/ 1055648 h 4401009"/>
                    <a:gd name="connsiteX1136" fmla="*/ 755521 w 3830903"/>
                    <a:gd name="connsiteY1136" fmla="*/ 1045507 h 4401009"/>
                    <a:gd name="connsiteX1137" fmla="*/ 757211 w 3830903"/>
                    <a:gd name="connsiteY1137" fmla="*/ 1040436 h 4401009"/>
                    <a:gd name="connsiteX1138" fmla="*/ 772423 w 3830903"/>
                    <a:gd name="connsiteY1138" fmla="*/ 1038746 h 4401009"/>
                    <a:gd name="connsiteX1139" fmla="*/ 777494 w 3830903"/>
                    <a:gd name="connsiteY1139" fmla="*/ 1040436 h 4401009"/>
                    <a:gd name="connsiteX1140" fmla="*/ 780874 w 3830903"/>
                    <a:gd name="connsiteY1140" fmla="*/ 1043817 h 4401009"/>
                    <a:gd name="connsiteX1141" fmla="*/ 796086 w 3830903"/>
                    <a:gd name="connsiteY1141" fmla="*/ 1055648 h 4401009"/>
                    <a:gd name="connsiteX1142" fmla="*/ 809608 w 3830903"/>
                    <a:gd name="connsiteY1142" fmla="*/ 1053958 h 4401009"/>
                    <a:gd name="connsiteX1143" fmla="*/ 814678 w 3830903"/>
                    <a:gd name="connsiteY1143" fmla="*/ 1055648 h 4401009"/>
                    <a:gd name="connsiteX1144" fmla="*/ 826510 w 3830903"/>
                    <a:gd name="connsiteY1144" fmla="*/ 1059029 h 4401009"/>
                    <a:gd name="connsiteX1145" fmla="*/ 831580 w 3830903"/>
                    <a:gd name="connsiteY1145" fmla="*/ 1064099 h 4401009"/>
                    <a:gd name="connsiteX1146" fmla="*/ 833271 w 3830903"/>
                    <a:gd name="connsiteY1146" fmla="*/ 1075931 h 4401009"/>
                    <a:gd name="connsiteX1147" fmla="*/ 877216 w 3830903"/>
                    <a:gd name="connsiteY1147" fmla="*/ 1077621 h 4401009"/>
                    <a:gd name="connsiteX1148" fmla="*/ 885667 w 3830903"/>
                    <a:gd name="connsiteY1148" fmla="*/ 1081001 h 4401009"/>
                    <a:gd name="connsiteX1149" fmla="*/ 905949 w 3830903"/>
                    <a:gd name="connsiteY1149" fmla="*/ 1082691 h 4401009"/>
                    <a:gd name="connsiteX1150" fmla="*/ 934683 w 3830903"/>
                    <a:gd name="connsiteY1150" fmla="*/ 1081001 h 4401009"/>
                    <a:gd name="connsiteX1151" fmla="*/ 936373 w 3830903"/>
                    <a:gd name="connsiteY1151" fmla="*/ 1072550 h 4401009"/>
                    <a:gd name="connsiteX1152" fmla="*/ 944824 w 3830903"/>
                    <a:gd name="connsiteY1152" fmla="*/ 1060719 h 4401009"/>
                    <a:gd name="connsiteX1153" fmla="*/ 946514 w 3830903"/>
                    <a:gd name="connsiteY1153" fmla="*/ 1053958 h 4401009"/>
                    <a:gd name="connsiteX1154" fmla="*/ 949895 w 3830903"/>
                    <a:gd name="connsiteY1154" fmla="*/ 1048887 h 4401009"/>
                    <a:gd name="connsiteX1155" fmla="*/ 960036 w 3830903"/>
                    <a:gd name="connsiteY1155" fmla="*/ 1035366 h 4401009"/>
                    <a:gd name="connsiteX1156" fmla="*/ 954965 w 3830903"/>
                    <a:gd name="connsiteY1156" fmla="*/ 1028605 h 4401009"/>
                    <a:gd name="connsiteX1157" fmla="*/ 953275 w 3830903"/>
                    <a:gd name="connsiteY1157" fmla="*/ 1023534 h 4401009"/>
                    <a:gd name="connsiteX1158" fmla="*/ 949895 w 3830903"/>
                    <a:gd name="connsiteY1158" fmla="*/ 1018464 h 4401009"/>
                    <a:gd name="connsiteX1159" fmla="*/ 941444 w 3830903"/>
                    <a:gd name="connsiteY1159" fmla="*/ 1011703 h 4401009"/>
                    <a:gd name="connsiteX1160" fmla="*/ 936373 w 3830903"/>
                    <a:gd name="connsiteY1160" fmla="*/ 1010013 h 4401009"/>
                    <a:gd name="connsiteX1161" fmla="*/ 919471 w 3830903"/>
                    <a:gd name="connsiteY1161" fmla="*/ 996491 h 4401009"/>
                    <a:gd name="connsiteX1162" fmla="*/ 916091 w 3830903"/>
                    <a:gd name="connsiteY1162" fmla="*/ 991420 h 4401009"/>
                    <a:gd name="connsiteX1163" fmla="*/ 905949 w 3830903"/>
                    <a:gd name="connsiteY1163" fmla="*/ 988040 h 4401009"/>
                    <a:gd name="connsiteX1164" fmla="*/ 894118 w 3830903"/>
                    <a:gd name="connsiteY1164" fmla="*/ 996491 h 4401009"/>
                    <a:gd name="connsiteX1165" fmla="*/ 878906 w 3830903"/>
                    <a:gd name="connsiteY1165" fmla="*/ 1003252 h 4401009"/>
                    <a:gd name="connsiteX1166" fmla="*/ 872145 w 3830903"/>
                    <a:gd name="connsiteY1166" fmla="*/ 996491 h 4401009"/>
                    <a:gd name="connsiteX1167" fmla="*/ 867075 w 3830903"/>
                    <a:gd name="connsiteY1167" fmla="*/ 994801 h 4401009"/>
                    <a:gd name="connsiteX1168" fmla="*/ 862004 w 3830903"/>
                    <a:gd name="connsiteY1168" fmla="*/ 991420 h 4401009"/>
                    <a:gd name="connsiteX1169" fmla="*/ 851863 w 3830903"/>
                    <a:gd name="connsiteY1169" fmla="*/ 988040 h 4401009"/>
                    <a:gd name="connsiteX1170" fmla="*/ 848482 w 3830903"/>
                    <a:gd name="connsiteY1170" fmla="*/ 984660 h 4401009"/>
                    <a:gd name="connsiteX1171" fmla="*/ 838341 w 3830903"/>
                    <a:gd name="connsiteY1171" fmla="*/ 981279 h 4401009"/>
                    <a:gd name="connsiteX1172" fmla="*/ 833271 w 3830903"/>
                    <a:gd name="connsiteY1172" fmla="*/ 974518 h 4401009"/>
                    <a:gd name="connsiteX1173" fmla="*/ 821439 w 3830903"/>
                    <a:gd name="connsiteY1173" fmla="*/ 966067 h 4401009"/>
                    <a:gd name="connsiteX1174" fmla="*/ 812988 w 3830903"/>
                    <a:gd name="connsiteY1174" fmla="*/ 957616 h 4401009"/>
                    <a:gd name="connsiteX1175" fmla="*/ 792706 w 3830903"/>
                    <a:gd name="connsiteY1175" fmla="*/ 950856 h 4401009"/>
                    <a:gd name="connsiteX1176" fmla="*/ 789325 w 3830903"/>
                    <a:gd name="connsiteY1176" fmla="*/ 947475 h 4401009"/>
                    <a:gd name="connsiteX1177" fmla="*/ 777494 w 3830903"/>
                    <a:gd name="connsiteY1177" fmla="*/ 933954 h 4401009"/>
                    <a:gd name="connsiteX1178" fmla="*/ 782565 w 3830903"/>
                    <a:gd name="connsiteY1178" fmla="*/ 930573 h 4401009"/>
                    <a:gd name="connsiteX1179" fmla="*/ 796086 w 3830903"/>
                    <a:gd name="connsiteY1179" fmla="*/ 927193 h 4401009"/>
                    <a:gd name="connsiteX1180" fmla="*/ 797776 w 3830903"/>
                    <a:gd name="connsiteY1180" fmla="*/ 906910 h 4401009"/>
                    <a:gd name="connsiteX1181" fmla="*/ 799467 w 3830903"/>
                    <a:gd name="connsiteY1181" fmla="*/ 901840 h 4401009"/>
                    <a:gd name="connsiteX1182" fmla="*/ 804537 w 3830903"/>
                    <a:gd name="connsiteY1182" fmla="*/ 888318 h 4401009"/>
                    <a:gd name="connsiteX1183" fmla="*/ 802847 w 3830903"/>
                    <a:gd name="connsiteY1183" fmla="*/ 879867 h 4401009"/>
                    <a:gd name="connsiteX1184" fmla="*/ 804537 w 3830903"/>
                    <a:gd name="connsiteY1184" fmla="*/ 874796 h 4401009"/>
                    <a:gd name="connsiteX1185" fmla="*/ 806227 w 3830903"/>
                    <a:gd name="connsiteY1185" fmla="*/ 868036 h 4401009"/>
                    <a:gd name="connsiteX1186" fmla="*/ 828200 w 3830903"/>
                    <a:gd name="connsiteY1186" fmla="*/ 869726 h 4401009"/>
                    <a:gd name="connsiteX1187" fmla="*/ 851863 w 3830903"/>
                    <a:gd name="connsiteY1187" fmla="*/ 866345 h 4401009"/>
                    <a:gd name="connsiteX1188" fmla="*/ 865384 w 3830903"/>
                    <a:gd name="connsiteY1188" fmla="*/ 876487 h 4401009"/>
                    <a:gd name="connsiteX1189" fmla="*/ 877216 w 3830903"/>
                    <a:gd name="connsiteY1189" fmla="*/ 881557 h 4401009"/>
                    <a:gd name="connsiteX1190" fmla="*/ 894118 w 3830903"/>
                    <a:gd name="connsiteY1190" fmla="*/ 884938 h 4401009"/>
                    <a:gd name="connsiteX1191" fmla="*/ 922851 w 3830903"/>
                    <a:gd name="connsiteY1191" fmla="*/ 891698 h 4401009"/>
                    <a:gd name="connsiteX1192" fmla="*/ 914400 w 3830903"/>
                    <a:gd name="connsiteY1192" fmla="*/ 900149 h 4401009"/>
                    <a:gd name="connsiteX1193" fmla="*/ 905949 w 3830903"/>
                    <a:gd name="connsiteY1193" fmla="*/ 913671 h 4401009"/>
                    <a:gd name="connsiteX1194" fmla="*/ 907640 w 3830903"/>
                    <a:gd name="connsiteY1194" fmla="*/ 922122 h 4401009"/>
                    <a:gd name="connsiteX1195" fmla="*/ 911020 w 3830903"/>
                    <a:gd name="connsiteY1195" fmla="*/ 925503 h 4401009"/>
                    <a:gd name="connsiteX1196" fmla="*/ 914400 w 3830903"/>
                    <a:gd name="connsiteY1196" fmla="*/ 915361 h 4401009"/>
                    <a:gd name="connsiteX1197" fmla="*/ 921161 w 3830903"/>
                    <a:gd name="connsiteY1197" fmla="*/ 905220 h 4401009"/>
                    <a:gd name="connsiteX1198" fmla="*/ 927922 w 3830903"/>
                    <a:gd name="connsiteY1198" fmla="*/ 901840 h 4401009"/>
                    <a:gd name="connsiteX1199" fmla="*/ 931302 w 3830903"/>
                    <a:gd name="connsiteY1199" fmla="*/ 890008 h 4401009"/>
                    <a:gd name="connsiteX1200" fmla="*/ 970177 w 3830903"/>
                    <a:gd name="connsiteY1200" fmla="*/ 888318 h 4401009"/>
                    <a:gd name="connsiteX1201" fmla="*/ 978628 w 3830903"/>
                    <a:gd name="connsiteY1201" fmla="*/ 890008 h 4401009"/>
                    <a:gd name="connsiteX1202" fmla="*/ 1007362 w 3830903"/>
                    <a:gd name="connsiteY1202" fmla="*/ 896769 h 4401009"/>
                    <a:gd name="connsiteX1203" fmla="*/ 1024264 w 3830903"/>
                    <a:gd name="connsiteY1203" fmla="*/ 891698 h 4401009"/>
                    <a:gd name="connsiteX1204" fmla="*/ 1037785 w 3830903"/>
                    <a:gd name="connsiteY1204" fmla="*/ 886628 h 4401009"/>
                    <a:gd name="connsiteX1205" fmla="*/ 1041166 w 3830903"/>
                    <a:gd name="connsiteY1205" fmla="*/ 881557 h 4401009"/>
                    <a:gd name="connsiteX1206" fmla="*/ 1046236 w 3830903"/>
                    <a:gd name="connsiteY1206" fmla="*/ 874796 h 4401009"/>
                    <a:gd name="connsiteX1207" fmla="*/ 1052997 w 3830903"/>
                    <a:gd name="connsiteY1207" fmla="*/ 861275 h 4401009"/>
                    <a:gd name="connsiteX1208" fmla="*/ 1061448 w 3830903"/>
                    <a:gd name="connsiteY1208" fmla="*/ 862965 h 4401009"/>
                    <a:gd name="connsiteX1209" fmla="*/ 1063138 w 3830903"/>
                    <a:gd name="connsiteY1209" fmla="*/ 874796 h 4401009"/>
                    <a:gd name="connsiteX1210" fmla="*/ 1064828 w 3830903"/>
                    <a:gd name="connsiteY1210" fmla="*/ 879867 h 4401009"/>
                    <a:gd name="connsiteX1211" fmla="*/ 1076660 w 3830903"/>
                    <a:gd name="connsiteY1211" fmla="*/ 883247 h 4401009"/>
                    <a:gd name="connsiteX1212" fmla="*/ 1102013 w 3830903"/>
                    <a:gd name="connsiteY1212" fmla="*/ 871416 h 4401009"/>
                    <a:gd name="connsiteX1213" fmla="*/ 1096942 w 3830903"/>
                    <a:gd name="connsiteY1213" fmla="*/ 868036 h 4401009"/>
                    <a:gd name="connsiteX1214" fmla="*/ 1083421 w 3830903"/>
                    <a:gd name="connsiteY1214" fmla="*/ 862965 h 4401009"/>
                    <a:gd name="connsiteX1215" fmla="*/ 1080040 w 3830903"/>
                    <a:gd name="connsiteY1215" fmla="*/ 859585 h 4401009"/>
                    <a:gd name="connsiteX1216" fmla="*/ 1078350 w 3830903"/>
                    <a:gd name="connsiteY1216" fmla="*/ 852824 h 4401009"/>
                    <a:gd name="connsiteX1217" fmla="*/ 1071589 w 3830903"/>
                    <a:gd name="connsiteY1217" fmla="*/ 842683 h 4401009"/>
                    <a:gd name="connsiteX1218" fmla="*/ 1069899 w 3830903"/>
                    <a:gd name="connsiteY1218" fmla="*/ 837612 h 4401009"/>
                    <a:gd name="connsiteX1219" fmla="*/ 1059758 w 3830903"/>
                    <a:gd name="connsiteY1219" fmla="*/ 834232 h 4401009"/>
                    <a:gd name="connsiteX1220" fmla="*/ 1058068 w 3830903"/>
                    <a:gd name="connsiteY1220" fmla="*/ 829161 h 4401009"/>
                    <a:gd name="connsiteX1221" fmla="*/ 1054687 w 3830903"/>
                    <a:gd name="connsiteY1221" fmla="*/ 822400 h 4401009"/>
                    <a:gd name="connsiteX1222" fmla="*/ 1052997 w 3830903"/>
                    <a:gd name="connsiteY1222" fmla="*/ 817330 h 4401009"/>
                    <a:gd name="connsiteX1223" fmla="*/ 1049617 w 3830903"/>
                    <a:gd name="connsiteY1223" fmla="*/ 810569 h 4401009"/>
                    <a:gd name="connsiteX1224" fmla="*/ 1046236 w 3830903"/>
                    <a:gd name="connsiteY1224" fmla="*/ 807188 h 4401009"/>
                    <a:gd name="connsiteX1225" fmla="*/ 1041166 w 3830903"/>
                    <a:gd name="connsiteY1225" fmla="*/ 800427 h 4401009"/>
                    <a:gd name="connsiteX1226" fmla="*/ 1027644 w 3830903"/>
                    <a:gd name="connsiteY1226" fmla="*/ 797047 h 4401009"/>
                    <a:gd name="connsiteX1227" fmla="*/ 1020883 w 3830903"/>
                    <a:gd name="connsiteY1227" fmla="*/ 791976 h 4401009"/>
                    <a:gd name="connsiteX1228" fmla="*/ 997220 w 3830903"/>
                    <a:gd name="connsiteY1228" fmla="*/ 785216 h 4401009"/>
                    <a:gd name="connsiteX1229" fmla="*/ 992150 w 3830903"/>
                    <a:gd name="connsiteY1229" fmla="*/ 783525 h 4401009"/>
                    <a:gd name="connsiteX1230" fmla="*/ 988769 w 3830903"/>
                    <a:gd name="connsiteY1230" fmla="*/ 775074 h 4401009"/>
                    <a:gd name="connsiteX1231" fmla="*/ 980318 w 3830903"/>
                    <a:gd name="connsiteY1231" fmla="*/ 761553 h 4401009"/>
                    <a:gd name="connsiteX1232" fmla="*/ 965106 w 3830903"/>
                    <a:gd name="connsiteY1232" fmla="*/ 753102 h 4401009"/>
                    <a:gd name="connsiteX1233" fmla="*/ 956655 w 3830903"/>
                    <a:gd name="connsiteY1233" fmla="*/ 746341 h 4401009"/>
                    <a:gd name="connsiteX1234" fmla="*/ 956655 w 3830903"/>
                    <a:gd name="connsiteY1234" fmla="*/ 705776 h 4401009"/>
                    <a:gd name="connsiteX1235" fmla="*/ 960036 w 3830903"/>
                    <a:gd name="connsiteY1235" fmla="*/ 699015 h 4401009"/>
                    <a:gd name="connsiteX1236" fmla="*/ 970177 w 3830903"/>
                    <a:gd name="connsiteY1236" fmla="*/ 690564 h 4401009"/>
                    <a:gd name="connsiteX1237" fmla="*/ 978628 w 3830903"/>
                    <a:gd name="connsiteY1237" fmla="*/ 682113 h 4401009"/>
                    <a:gd name="connsiteX1238" fmla="*/ 982009 w 3830903"/>
                    <a:gd name="connsiteY1238" fmla="*/ 660141 h 4401009"/>
                    <a:gd name="connsiteX1239" fmla="*/ 987079 w 3830903"/>
                    <a:gd name="connsiteY1239" fmla="*/ 644929 h 4401009"/>
                    <a:gd name="connsiteX1240" fmla="*/ 990460 w 3830903"/>
                    <a:gd name="connsiteY1240" fmla="*/ 633097 h 4401009"/>
                    <a:gd name="connsiteX1241" fmla="*/ 995530 w 3830903"/>
                    <a:gd name="connsiteY1241" fmla="*/ 624646 h 4401009"/>
                    <a:gd name="connsiteX1242" fmla="*/ 1007362 w 3830903"/>
                    <a:gd name="connsiteY1242" fmla="*/ 616195 h 4401009"/>
                    <a:gd name="connsiteX1243" fmla="*/ 1010742 w 3830903"/>
                    <a:gd name="connsiteY1243" fmla="*/ 606054 h 4401009"/>
                    <a:gd name="connsiteX1244" fmla="*/ 1017503 w 3830903"/>
                    <a:gd name="connsiteY1244" fmla="*/ 580701 h 4401009"/>
                    <a:gd name="connsiteX1245" fmla="*/ 1024264 w 3830903"/>
                    <a:gd name="connsiteY1245" fmla="*/ 577321 h 4401009"/>
                    <a:gd name="connsiteX1246" fmla="*/ 1029334 w 3830903"/>
                    <a:gd name="connsiteY1246" fmla="*/ 575630 h 4401009"/>
                    <a:gd name="connsiteX1247" fmla="*/ 1031024 w 3830903"/>
                    <a:gd name="connsiteY1247" fmla="*/ 570560 h 4401009"/>
                    <a:gd name="connsiteX1248" fmla="*/ 1032715 w 3830903"/>
                    <a:gd name="connsiteY1248" fmla="*/ 558728 h 4401009"/>
                    <a:gd name="connsiteX1249" fmla="*/ 1034405 w 3830903"/>
                    <a:gd name="connsiteY1249" fmla="*/ 545207 h 4401009"/>
                    <a:gd name="connsiteX1250" fmla="*/ 1036095 w 3830903"/>
                    <a:gd name="connsiteY1250" fmla="*/ 536756 h 4401009"/>
                    <a:gd name="connsiteX1251" fmla="*/ 1039475 w 3830903"/>
                    <a:gd name="connsiteY1251" fmla="*/ 516473 h 4401009"/>
                    <a:gd name="connsiteX1252" fmla="*/ 1037785 w 3830903"/>
                    <a:gd name="connsiteY1252" fmla="*/ 509713 h 4401009"/>
                    <a:gd name="connsiteX1253" fmla="*/ 1036095 w 3830903"/>
                    <a:gd name="connsiteY1253" fmla="*/ 504642 h 4401009"/>
                    <a:gd name="connsiteX1254" fmla="*/ 1034405 w 3830903"/>
                    <a:gd name="connsiteY1254" fmla="*/ 492810 h 4401009"/>
                    <a:gd name="connsiteX1255" fmla="*/ 1056377 w 3830903"/>
                    <a:gd name="connsiteY1255" fmla="*/ 491120 h 4401009"/>
                    <a:gd name="connsiteX1256" fmla="*/ 1066519 w 3830903"/>
                    <a:gd name="connsiteY1256" fmla="*/ 492810 h 4401009"/>
                    <a:gd name="connsiteX1257" fmla="*/ 1088491 w 3830903"/>
                    <a:gd name="connsiteY1257" fmla="*/ 494501 h 4401009"/>
                    <a:gd name="connsiteX1258" fmla="*/ 1091872 w 3830903"/>
                    <a:gd name="connsiteY1258" fmla="*/ 486050 h 4401009"/>
                    <a:gd name="connsiteX1259" fmla="*/ 1123986 w 3830903"/>
                    <a:gd name="connsiteY1259" fmla="*/ 477599 h 4401009"/>
                    <a:gd name="connsiteX1260" fmla="*/ 1135817 w 3830903"/>
                    <a:gd name="connsiteY1260" fmla="*/ 480979 h 4401009"/>
                    <a:gd name="connsiteX1261" fmla="*/ 1149339 w 3830903"/>
                    <a:gd name="connsiteY1261" fmla="*/ 487740 h 4401009"/>
                    <a:gd name="connsiteX1262" fmla="*/ 1151029 w 3830903"/>
                    <a:gd name="connsiteY1262" fmla="*/ 501261 h 4401009"/>
                    <a:gd name="connsiteX1263" fmla="*/ 1147648 w 3830903"/>
                    <a:gd name="connsiteY1263" fmla="*/ 513093 h 4401009"/>
                    <a:gd name="connsiteX1264" fmla="*/ 1144268 w 3830903"/>
                    <a:gd name="connsiteY1264" fmla="*/ 521544 h 4401009"/>
                    <a:gd name="connsiteX1265" fmla="*/ 1142578 w 3830903"/>
                    <a:gd name="connsiteY1265" fmla="*/ 531685 h 4401009"/>
                    <a:gd name="connsiteX1266" fmla="*/ 1162860 w 3830903"/>
                    <a:gd name="connsiteY1266" fmla="*/ 528305 h 4401009"/>
                    <a:gd name="connsiteX1267" fmla="*/ 1149339 w 3830903"/>
                    <a:gd name="connsiteY1267" fmla="*/ 519854 h 4401009"/>
                    <a:gd name="connsiteX1268" fmla="*/ 1152719 w 3830903"/>
                    <a:gd name="connsiteY1268" fmla="*/ 513093 h 4401009"/>
                    <a:gd name="connsiteX1269" fmla="*/ 1164550 w 3830903"/>
                    <a:gd name="connsiteY1269" fmla="*/ 501261 h 4401009"/>
                    <a:gd name="connsiteX1270" fmla="*/ 1171311 w 3830903"/>
                    <a:gd name="connsiteY1270" fmla="*/ 499571 h 4401009"/>
                    <a:gd name="connsiteX1271" fmla="*/ 1181453 w 3830903"/>
                    <a:gd name="connsiteY1271" fmla="*/ 501261 h 4401009"/>
                    <a:gd name="connsiteX1272" fmla="*/ 1198355 w 3830903"/>
                    <a:gd name="connsiteY1272" fmla="*/ 523234 h 4401009"/>
                    <a:gd name="connsiteX1273" fmla="*/ 1201631 w 3830903"/>
                    <a:gd name="connsiteY1273" fmla="*/ 527081 h 4401009"/>
                    <a:gd name="connsiteX1274" fmla="*/ 1201471 w 3830903"/>
                    <a:gd name="connsiteY1274" fmla="*/ 525891 h 4401009"/>
                    <a:gd name="connsiteX1275" fmla="*/ 1205115 w 3830903"/>
                    <a:gd name="connsiteY1275" fmla="*/ 533375 h 4401009"/>
                    <a:gd name="connsiteX1276" fmla="*/ 1220327 w 3830903"/>
                    <a:gd name="connsiteY1276" fmla="*/ 540136 h 4401009"/>
                    <a:gd name="connsiteX1277" fmla="*/ 1225398 w 3830903"/>
                    <a:gd name="connsiteY1277" fmla="*/ 535066 h 4401009"/>
                    <a:gd name="connsiteX1278" fmla="*/ 1223708 w 3830903"/>
                    <a:gd name="connsiteY1278" fmla="*/ 529995 h 4401009"/>
                    <a:gd name="connsiteX1279" fmla="*/ 1220327 w 3830903"/>
                    <a:gd name="connsiteY1279" fmla="*/ 526615 h 4401009"/>
                    <a:gd name="connsiteX1280" fmla="*/ 1215257 w 3830903"/>
                    <a:gd name="connsiteY1280" fmla="*/ 519854 h 4401009"/>
                    <a:gd name="connsiteX1281" fmla="*/ 1208496 w 3830903"/>
                    <a:gd name="connsiteY1281" fmla="*/ 518164 h 4401009"/>
                    <a:gd name="connsiteX1282" fmla="*/ 1198355 w 3830903"/>
                    <a:gd name="connsiteY1282" fmla="*/ 506332 h 4401009"/>
                    <a:gd name="connsiteX1283" fmla="*/ 1188213 w 3830903"/>
                    <a:gd name="connsiteY1283" fmla="*/ 494501 h 4401009"/>
                    <a:gd name="connsiteX1284" fmla="*/ 1179762 w 3830903"/>
                    <a:gd name="connsiteY1284" fmla="*/ 430273 h 4401009"/>
                    <a:gd name="connsiteX1285" fmla="*/ 1178072 w 3830903"/>
                    <a:gd name="connsiteY1285" fmla="*/ 421822 h 4401009"/>
                    <a:gd name="connsiteX1286" fmla="*/ 1176382 w 3830903"/>
                    <a:gd name="connsiteY1286" fmla="*/ 399849 h 4401009"/>
                    <a:gd name="connsiteX1287" fmla="*/ 1161170 w 3830903"/>
                    <a:gd name="connsiteY1287" fmla="*/ 401539 h 4401009"/>
                    <a:gd name="connsiteX1288" fmla="*/ 1154409 w 3830903"/>
                    <a:gd name="connsiteY1288" fmla="*/ 399849 h 4401009"/>
                    <a:gd name="connsiteX1289" fmla="*/ 1147648 w 3830903"/>
                    <a:gd name="connsiteY1289" fmla="*/ 376186 h 4401009"/>
                    <a:gd name="connsiteX1290" fmla="*/ 1139197 w 3830903"/>
                    <a:gd name="connsiteY1290" fmla="*/ 366045 h 4401009"/>
                    <a:gd name="connsiteX1291" fmla="*/ 1135817 w 3830903"/>
                    <a:gd name="connsiteY1291" fmla="*/ 360975 h 4401009"/>
                    <a:gd name="connsiteX1292" fmla="*/ 1123986 w 3830903"/>
                    <a:gd name="connsiteY1292" fmla="*/ 354214 h 4401009"/>
                    <a:gd name="connsiteX1293" fmla="*/ 1115535 w 3830903"/>
                    <a:gd name="connsiteY1293" fmla="*/ 339002 h 4401009"/>
                    <a:gd name="connsiteX1294" fmla="*/ 1103703 w 3830903"/>
                    <a:gd name="connsiteY1294" fmla="*/ 332241 h 4401009"/>
                    <a:gd name="connsiteX1295" fmla="*/ 1080040 w 3830903"/>
                    <a:gd name="connsiteY1295" fmla="*/ 330551 h 4401009"/>
                    <a:gd name="connsiteX1296" fmla="*/ 1074970 w 3830903"/>
                    <a:gd name="connsiteY1296" fmla="*/ 327171 h 4401009"/>
                    <a:gd name="connsiteX1297" fmla="*/ 1066519 w 3830903"/>
                    <a:gd name="connsiteY1297" fmla="*/ 311959 h 4401009"/>
                    <a:gd name="connsiteX1298" fmla="*/ 1061448 w 3830903"/>
                    <a:gd name="connsiteY1298" fmla="*/ 281535 h 4401009"/>
                    <a:gd name="connsiteX1299" fmla="*/ 1058068 w 3830903"/>
                    <a:gd name="connsiteY1299" fmla="*/ 257872 h 4401009"/>
                    <a:gd name="connsiteX1300" fmla="*/ 1054687 w 3830903"/>
                    <a:gd name="connsiteY1300" fmla="*/ 246041 h 4401009"/>
                    <a:gd name="connsiteX1301" fmla="*/ 1044546 w 3830903"/>
                    <a:gd name="connsiteY1301" fmla="*/ 237590 h 4401009"/>
                    <a:gd name="connsiteX1302" fmla="*/ 1039475 w 3830903"/>
                    <a:gd name="connsiteY1302" fmla="*/ 234209 h 4401009"/>
                    <a:gd name="connsiteX1303" fmla="*/ 1037785 w 3830903"/>
                    <a:gd name="connsiteY1303" fmla="*/ 229139 h 4401009"/>
                    <a:gd name="connsiteX1304" fmla="*/ 1031024 w 3830903"/>
                    <a:gd name="connsiteY1304" fmla="*/ 217307 h 4401009"/>
                    <a:gd name="connsiteX1305" fmla="*/ 1024264 w 3830903"/>
                    <a:gd name="connsiteY1305" fmla="*/ 205476 h 4401009"/>
                    <a:gd name="connsiteX1306" fmla="*/ 1017503 w 3830903"/>
                    <a:gd name="connsiteY1306" fmla="*/ 197025 h 4401009"/>
                    <a:gd name="connsiteX1307" fmla="*/ 1015813 w 3830903"/>
                    <a:gd name="connsiteY1307" fmla="*/ 191954 h 4401009"/>
                    <a:gd name="connsiteX1308" fmla="*/ 1012432 w 3830903"/>
                    <a:gd name="connsiteY1308" fmla="*/ 186884 h 4401009"/>
                    <a:gd name="connsiteX1309" fmla="*/ 1000601 w 3830903"/>
                    <a:gd name="connsiteY1309" fmla="*/ 176742 h 4401009"/>
                    <a:gd name="connsiteX1310" fmla="*/ 992150 w 3830903"/>
                    <a:gd name="connsiteY1310" fmla="*/ 168291 h 4401009"/>
                    <a:gd name="connsiteX1311" fmla="*/ 980318 w 3830903"/>
                    <a:gd name="connsiteY1311" fmla="*/ 146319 h 4401009"/>
                    <a:gd name="connsiteX1312" fmla="*/ 971867 w 3830903"/>
                    <a:gd name="connsiteY1312" fmla="*/ 142938 h 4401009"/>
                    <a:gd name="connsiteX1313" fmla="*/ 966797 w 3830903"/>
                    <a:gd name="connsiteY1313" fmla="*/ 141248 h 4401009"/>
                    <a:gd name="connsiteX1314" fmla="*/ 954965 w 3830903"/>
                    <a:gd name="connsiteY1314" fmla="*/ 131107 h 4401009"/>
                    <a:gd name="connsiteX1315" fmla="*/ 946514 w 3830903"/>
                    <a:gd name="connsiteY1315" fmla="*/ 124346 h 4401009"/>
                    <a:gd name="connsiteX1316" fmla="*/ 932993 w 3830903"/>
                    <a:gd name="connsiteY1316" fmla="*/ 119276 h 4401009"/>
                    <a:gd name="connsiteX1317" fmla="*/ 927922 w 3830903"/>
                    <a:gd name="connsiteY1317" fmla="*/ 114205 h 4401009"/>
                    <a:gd name="connsiteX1318" fmla="*/ 909330 w 3830903"/>
                    <a:gd name="connsiteY1318" fmla="*/ 109134 h 4401009"/>
                    <a:gd name="connsiteX1319" fmla="*/ 907640 w 3830903"/>
                    <a:gd name="connsiteY1319" fmla="*/ 102374 h 4401009"/>
                    <a:gd name="connsiteX1320" fmla="*/ 943134 w 3830903"/>
                    <a:gd name="connsiteY1320" fmla="*/ 104064 h 4401009"/>
                    <a:gd name="connsiteX1321" fmla="*/ 963416 w 3830903"/>
                    <a:gd name="connsiteY1321" fmla="*/ 105754 h 4401009"/>
                    <a:gd name="connsiteX1322" fmla="*/ 970177 w 3830903"/>
                    <a:gd name="connsiteY1322" fmla="*/ 98993 h 4401009"/>
                    <a:gd name="connsiteX1323" fmla="*/ 978628 w 3830903"/>
                    <a:gd name="connsiteY1323" fmla="*/ 92232 h 4401009"/>
                    <a:gd name="connsiteX1324" fmla="*/ 987079 w 3830903"/>
                    <a:gd name="connsiteY1324" fmla="*/ 90542 h 4401009"/>
                    <a:gd name="connsiteX1325" fmla="*/ 1003981 w 3830903"/>
                    <a:gd name="connsiteY1325" fmla="*/ 83781 h 4401009"/>
                    <a:gd name="connsiteX1326" fmla="*/ 1010742 w 3830903"/>
                    <a:gd name="connsiteY1326" fmla="*/ 80401 h 4401009"/>
                    <a:gd name="connsiteX1327" fmla="*/ 1019193 w 3830903"/>
                    <a:gd name="connsiteY1327" fmla="*/ 75330 h 4401009"/>
                    <a:gd name="connsiteX1328" fmla="*/ 1037785 w 3830903"/>
                    <a:gd name="connsiteY1328" fmla="*/ 61809 h 4401009"/>
                    <a:gd name="connsiteX1329" fmla="*/ 1059758 w 3830903"/>
                    <a:gd name="connsiteY1329" fmla="*/ 63499 h 4401009"/>
                    <a:gd name="connsiteX1330" fmla="*/ 1073280 w 3830903"/>
                    <a:gd name="connsiteY1330" fmla="*/ 65189 h 4401009"/>
                    <a:gd name="connsiteX1331" fmla="*/ 1088491 w 3830903"/>
                    <a:gd name="connsiteY1331" fmla="*/ 71950 h 4401009"/>
                    <a:gd name="connsiteX1332" fmla="*/ 1090182 w 3830903"/>
                    <a:gd name="connsiteY1332" fmla="*/ 77020 h 4401009"/>
                    <a:gd name="connsiteX1333" fmla="*/ 1096942 w 3830903"/>
                    <a:gd name="connsiteY1333" fmla="*/ 85471 h 4401009"/>
                    <a:gd name="connsiteX1334" fmla="*/ 1102013 w 3830903"/>
                    <a:gd name="connsiteY1334" fmla="*/ 90542 h 4401009"/>
                    <a:gd name="connsiteX1335" fmla="*/ 1134127 w 3830903"/>
                    <a:gd name="connsiteY1335" fmla="*/ 93922 h 4401009"/>
                    <a:gd name="connsiteX1336" fmla="*/ 1147648 w 3830903"/>
                    <a:gd name="connsiteY1336" fmla="*/ 95613 h 4401009"/>
                    <a:gd name="connsiteX1337" fmla="*/ 1149339 w 3830903"/>
                    <a:gd name="connsiteY1337" fmla="*/ 100683 h 4401009"/>
                    <a:gd name="connsiteX1338" fmla="*/ 1156099 w 3830903"/>
                    <a:gd name="connsiteY1338" fmla="*/ 114205 h 4401009"/>
                    <a:gd name="connsiteX1339" fmla="*/ 1161170 w 3830903"/>
                    <a:gd name="connsiteY1339" fmla="*/ 120966 h 4401009"/>
                    <a:gd name="connsiteX1340" fmla="*/ 1167931 w 3830903"/>
                    <a:gd name="connsiteY1340" fmla="*/ 126036 h 4401009"/>
                    <a:gd name="connsiteX1341" fmla="*/ 1171311 w 3830903"/>
                    <a:gd name="connsiteY1341" fmla="*/ 129417 h 4401009"/>
                    <a:gd name="connsiteX1342" fmla="*/ 1183143 w 3830903"/>
                    <a:gd name="connsiteY1342" fmla="*/ 132797 h 4401009"/>
                    <a:gd name="connsiteX1343" fmla="*/ 1189904 w 3830903"/>
                    <a:gd name="connsiteY1343" fmla="*/ 136178 h 4401009"/>
                    <a:gd name="connsiteX1344" fmla="*/ 1191594 w 3830903"/>
                    <a:gd name="connsiteY1344" fmla="*/ 141248 h 4401009"/>
                    <a:gd name="connsiteX1345" fmla="*/ 1174692 w 3830903"/>
                    <a:gd name="connsiteY1345" fmla="*/ 153080 h 4401009"/>
                    <a:gd name="connsiteX1346" fmla="*/ 1161170 w 3830903"/>
                    <a:gd name="connsiteY1346" fmla="*/ 161531 h 4401009"/>
                    <a:gd name="connsiteX1347" fmla="*/ 1149339 w 3830903"/>
                    <a:gd name="connsiteY1347" fmla="*/ 166601 h 4401009"/>
                    <a:gd name="connsiteX1348" fmla="*/ 1144268 w 3830903"/>
                    <a:gd name="connsiteY1348" fmla="*/ 168291 h 4401009"/>
                    <a:gd name="connsiteX1349" fmla="*/ 1140888 w 3830903"/>
                    <a:gd name="connsiteY1349" fmla="*/ 173362 h 4401009"/>
                    <a:gd name="connsiteX1350" fmla="*/ 1127366 w 3830903"/>
                    <a:gd name="connsiteY1350" fmla="*/ 181813 h 4401009"/>
                    <a:gd name="connsiteX1351" fmla="*/ 1118915 w 3830903"/>
                    <a:gd name="connsiteY1351" fmla="*/ 190264 h 4401009"/>
                    <a:gd name="connsiteX1352" fmla="*/ 1117225 w 3830903"/>
                    <a:gd name="connsiteY1352" fmla="*/ 213927 h 4401009"/>
                    <a:gd name="connsiteX1353" fmla="*/ 1122295 w 3830903"/>
                    <a:gd name="connsiteY1353" fmla="*/ 218998 h 4401009"/>
                    <a:gd name="connsiteX1354" fmla="*/ 1125676 w 3830903"/>
                    <a:gd name="connsiteY1354" fmla="*/ 225758 h 4401009"/>
                    <a:gd name="connsiteX1355" fmla="*/ 1132437 w 3830903"/>
                    <a:gd name="connsiteY1355" fmla="*/ 229139 h 4401009"/>
                    <a:gd name="connsiteX1356" fmla="*/ 1125676 w 3830903"/>
                    <a:gd name="connsiteY1356" fmla="*/ 230829 h 4401009"/>
                    <a:gd name="connsiteX1357" fmla="*/ 1125676 w 3830903"/>
                    <a:gd name="connsiteY1357" fmla="*/ 262943 h 4401009"/>
                    <a:gd name="connsiteX1358" fmla="*/ 1130746 w 3830903"/>
                    <a:gd name="connsiteY1358" fmla="*/ 264633 h 4401009"/>
                    <a:gd name="connsiteX1359" fmla="*/ 1144268 w 3830903"/>
                    <a:gd name="connsiteY1359" fmla="*/ 268013 h 4401009"/>
                    <a:gd name="connsiteX1360" fmla="*/ 1179762 w 3830903"/>
                    <a:gd name="connsiteY1360" fmla="*/ 271394 h 4401009"/>
                    <a:gd name="connsiteX1361" fmla="*/ 1188213 w 3830903"/>
                    <a:gd name="connsiteY1361" fmla="*/ 274774 h 4401009"/>
                    <a:gd name="connsiteX1362" fmla="*/ 1191594 w 3830903"/>
                    <a:gd name="connsiteY1362" fmla="*/ 281535 h 4401009"/>
                    <a:gd name="connsiteX1363" fmla="*/ 1206806 w 3830903"/>
                    <a:gd name="connsiteY1363" fmla="*/ 296747 h 4401009"/>
                    <a:gd name="connsiteX1364" fmla="*/ 1211876 w 3830903"/>
                    <a:gd name="connsiteY1364" fmla="*/ 305198 h 4401009"/>
                    <a:gd name="connsiteX1365" fmla="*/ 1220327 w 3830903"/>
                    <a:gd name="connsiteY1365" fmla="*/ 315339 h 4401009"/>
                    <a:gd name="connsiteX1366" fmla="*/ 1225398 w 3830903"/>
                    <a:gd name="connsiteY1366" fmla="*/ 318720 h 4401009"/>
                    <a:gd name="connsiteX1367" fmla="*/ 1243990 w 3830903"/>
                    <a:gd name="connsiteY1367" fmla="*/ 322100 h 4401009"/>
                    <a:gd name="connsiteX1368" fmla="*/ 1250751 w 3830903"/>
                    <a:gd name="connsiteY1368" fmla="*/ 320410 h 4401009"/>
                    <a:gd name="connsiteX1369" fmla="*/ 1257512 w 3830903"/>
                    <a:gd name="connsiteY1369" fmla="*/ 310269 h 4401009"/>
                    <a:gd name="connsiteX1370" fmla="*/ 1260892 w 3830903"/>
                    <a:gd name="connsiteY1370" fmla="*/ 305198 h 4401009"/>
                    <a:gd name="connsiteX1371" fmla="*/ 1265963 w 3830903"/>
                    <a:gd name="connsiteY1371" fmla="*/ 306888 h 4401009"/>
                    <a:gd name="connsiteX1372" fmla="*/ 1269343 w 3830903"/>
                    <a:gd name="connsiteY1372" fmla="*/ 320410 h 4401009"/>
                    <a:gd name="connsiteX1373" fmla="*/ 1274414 w 3830903"/>
                    <a:gd name="connsiteY1373" fmla="*/ 323790 h 4401009"/>
                    <a:gd name="connsiteX1374" fmla="*/ 1276104 w 3830903"/>
                    <a:gd name="connsiteY1374" fmla="*/ 311959 h 4401009"/>
                    <a:gd name="connsiteX1375" fmla="*/ 1271033 w 3830903"/>
                    <a:gd name="connsiteY1375" fmla="*/ 301817 h 4401009"/>
                    <a:gd name="connsiteX1376" fmla="*/ 1272723 w 3830903"/>
                    <a:gd name="connsiteY1376" fmla="*/ 296747 h 4401009"/>
                    <a:gd name="connsiteX1377" fmla="*/ 1279484 w 3830903"/>
                    <a:gd name="connsiteY1377" fmla="*/ 293366 h 4401009"/>
                    <a:gd name="connsiteX1378" fmla="*/ 1289626 w 3830903"/>
                    <a:gd name="connsiteY1378" fmla="*/ 288296 h 4401009"/>
                    <a:gd name="connsiteX1379" fmla="*/ 1291316 w 3830903"/>
                    <a:gd name="connsiteY1379" fmla="*/ 283225 h 4401009"/>
                    <a:gd name="connsiteX1380" fmla="*/ 1294696 w 3830903"/>
                    <a:gd name="connsiteY1380" fmla="*/ 276464 h 4401009"/>
                    <a:gd name="connsiteX1381" fmla="*/ 1303147 w 3830903"/>
                    <a:gd name="connsiteY1381" fmla="*/ 266323 h 4401009"/>
                    <a:gd name="connsiteX1382" fmla="*/ 1308218 w 3830903"/>
                    <a:gd name="connsiteY1382" fmla="*/ 262943 h 4401009"/>
                    <a:gd name="connsiteX1383" fmla="*/ 1311598 w 3830903"/>
                    <a:gd name="connsiteY1383" fmla="*/ 252802 h 4401009"/>
                    <a:gd name="connsiteX1384" fmla="*/ 1318359 w 3830903"/>
                    <a:gd name="connsiteY1384" fmla="*/ 247731 h 4401009"/>
                    <a:gd name="connsiteX1385" fmla="*/ 1326810 w 3830903"/>
                    <a:gd name="connsiteY1385" fmla="*/ 239280 h 4401009"/>
                    <a:gd name="connsiteX1386" fmla="*/ 1330190 w 3830903"/>
                    <a:gd name="connsiteY1386" fmla="*/ 222378 h 4401009"/>
                    <a:gd name="connsiteX1387" fmla="*/ 1328500 w 3830903"/>
                    <a:gd name="connsiteY1387" fmla="*/ 217307 h 4401009"/>
                    <a:gd name="connsiteX1388" fmla="*/ 1323430 w 3830903"/>
                    <a:gd name="connsiteY1388" fmla="*/ 215617 h 4401009"/>
                    <a:gd name="connsiteX1389" fmla="*/ 1318359 w 3830903"/>
                    <a:gd name="connsiteY1389" fmla="*/ 210547 h 4401009"/>
                    <a:gd name="connsiteX1390" fmla="*/ 1313288 w 3830903"/>
                    <a:gd name="connsiteY1390" fmla="*/ 197025 h 4401009"/>
                    <a:gd name="connsiteX1391" fmla="*/ 1304837 w 3830903"/>
                    <a:gd name="connsiteY1391" fmla="*/ 188574 h 4401009"/>
                    <a:gd name="connsiteX1392" fmla="*/ 1303147 w 3830903"/>
                    <a:gd name="connsiteY1392" fmla="*/ 180123 h 4401009"/>
                    <a:gd name="connsiteX1393" fmla="*/ 1298077 w 3830903"/>
                    <a:gd name="connsiteY1393" fmla="*/ 171672 h 4401009"/>
                    <a:gd name="connsiteX1394" fmla="*/ 1296386 w 3830903"/>
                    <a:gd name="connsiteY1394" fmla="*/ 164911 h 4401009"/>
                    <a:gd name="connsiteX1395" fmla="*/ 1293006 w 3830903"/>
                    <a:gd name="connsiteY1395" fmla="*/ 153080 h 4401009"/>
                    <a:gd name="connsiteX1396" fmla="*/ 1289626 w 3830903"/>
                    <a:gd name="connsiteY1396" fmla="*/ 148009 h 4401009"/>
                    <a:gd name="connsiteX1397" fmla="*/ 1284555 w 3830903"/>
                    <a:gd name="connsiteY1397" fmla="*/ 146319 h 4401009"/>
                    <a:gd name="connsiteX1398" fmla="*/ 1277794 w 3830903"/>
                    <a:gd name="connsiteY1398" fmla="*/ 129417 h 4401009"/>
                    <a:gd name="connsiteX1399" fmla="*/ 1281175 w 3830903"/>
                    <a:gd name="connsiteY1399" fmla="*/ 124346 h 4401009"/>
                    <a:gd name="connsiteX1400" fmla="*/ 1293006 w 3830903"/>
                    <a:gd name="connsiteY1400" fmla="*/ 114205 h 4401009"/>
                    <a:gd name="connsiteX1401" fmla="*/ 1296386 w 3830903"/>
                    <a:gd name="connsiteY1401" fmla="*/ 98993 h 4401009"/>
                    <a:gd name="connsiteX1402" fmla="*/ 1303147 w 3830903"/>
                    <a:gd name="connsiteY1402" fmla="*/ 97303 h 4401009"/>
                    <a:gd name="connsiteX1403" fmla="*/ 1306528 w 3830903"/>
                    <a:gd name="connsiteY1403" fmla="*/ 93922 h 4401009"/>
                    <a:gd name="connsiteX1404" fmla="*/ 1313288 w 3830903"/>
                    <a:gd name="connsiteY1404" fmla="*/ 90542 h 4401009"/>
                    <a:gd name="connsiteX1405" fmla="*/ 1338641 w 3830903"/>
                    <a:gd name="connsiteY1405" fmla="*/ 88852 h 4401009"/>
                    <a:gd name="connsiteX1406" fmla="*/ 1345402 w 3830903"/>
                    <a:gd name="connsiteY1406" fmla="*/ 87162 h 4401009"/>
                    <a:gd name="connsiteX1407" fmla="*/ 1340332 w 3830903"/>
                    <a:gd name="connsiteY1407" fmla="*/ 83781 h 4401009"/>
                    <a:gd name="connsiteX1408" fmla="*/ 1325120 w 3830903"/>
                    <a:gd name="connsiteY1408" fmla="*/ 80401 h 4401009"/>
                    <a:gd name="connsiteX1409" fmla="*/ 1318359 w 3830903"/>
                    <a:gd name="connsiteY1409" fmla="*/ 71950 h 4401009"/>
                    <a:gd name="connsiteX1410" fmla="*/ 1309908 w 3830903"/>
                    <a:gd name="connsiteY1410" fmla="*/ 65189 h 4401009"/>
                    <a:gd name="connsiteX1411" fmla="*/ 1303147 w 3830903"/>
                    <a:gd name="connsiteY1411" fmla="*/ 60118 h 4401009"/>
                    <a:gd name="connsiteX1412" fmla="*/ 1296386 w 3830903"/>
                    <a:gd name="connsiteY1412" fmla="*/ 58428 h 4401009"/>
                    <a:gd name="connsiteX1413" fmla="*/ 1287935 w 3830903"/>
                    <a:gd name="connsiteY1413" fmla="*/ 53358 h 4401009"/>
                    <a:gd name="connsiteX1414" fmla="*/ 1320049 w 3830903"/>
                    <a:gd name="connsiteY1414" fmla="*/ 51667 h 4401009"/>
                    <a:gd name="connsiteX1415" fmla="*/ 1325120 w 3830903"/>
                    <a:gd name="connsiteY1415" fmla="*/ 49977 h 4401009"/>
                    <a:gd name="connsiteX1416" fmla="*/ 1326810 w 3830903"/>
                    <a:gd name="connsiteY1416" fmla="*/ 41526 h 4401009"/>
                    <a:gd name="connsiteX1417" fmla="*/ 1330190 w 3830903"/>
                    <a:gd name="connsiteY1417" fmla="*/ 34765 h 4401009"/>
                    <a:gd name="connsiteX1418" fmla="*/ 1331881 w 3830903"/>
                    <a:gd name="connsiteY1418" fmla="*/ 28005 h 4401009"/>
                    <a:gd name="connsiteX1419" fmla="*/ 1336951 w 3830903"/>
                    <a:gd name="connsiteY1419" fmla="*/ 26314 h 4401009"/>
                    <a:gd name="connsiteX1420" fmla="*/ 1345402 w 3830903"/>
                    <a:gd name="connsiteY1420" fmla="*/ 19554 h 4401009"/>
                    <a:gd name="connsiteX1421" fmla="*/ 1358924 w 3830903"/>
                    <a:gd name="connsiteY1421" fmla="*/ 31385 h 4401009"/>
                    <a:gd name="connsiteX1422" fmla="*/ 1409367 w 3830903"/>
                    <a:gd name="connsiteY1422" fmla="*/ 12469 h 4401009"/>
                    <a:gd name="connsiteX1423" fmla="*/ 1409367 w 3830903"/>
                    <a:gd name="connsiteY1423" fmla="*/ 0 h 4401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Lst>
                  <a:rect l="l" t="t" r="r" b="b"/>
                  <a:pathLst>
                    <a:path w="3830903" h="4401009">
                      <a:moveTo>
                        <a:pt x="3303979" y="4248325"/>
                      </a:moveTo>
                      <a:lnTo>
                        <a:pt x="3303762" y="4248470"/>
                      </a:lnTo>
                      <a:cubicBezTo>
                        <a:pt x="3301776" y="4249106"/>
                        <a:pt x="3300196" y="4249328"/>
                        <a:pt x="3301903" y="4248833"/>
                      </a:cubicBezTo>
                      <a:lnTo>
                        <a:pt x="3303979" y="4248325"/>
                      </a:lnTo>
                      <a:close/>
                      <a:moveTo>
                        <a:pt x="2098712" y="4203075"/>
                      </a:moveTo>
                      <a:lnTo>
                        <a:pt x="2099886" y="4204836"/>
                      </a:lnTo>
                      <a:lnTo>
                        <a:pt x="2090349" y="4208650"/>
                      </a:lnTo>
                      <a:cubicBezTo>
                        <a:pt x="2086999" y="4208650"/>
                        <a:pt x="2095924" y="4204933"/>
                        <a:pt x="2098712" y="4203075"/>
                      </a:cubicBezTo>
                      <a:close/>
                      <a:moveTo>
                        <a:pt x="3395042" y="3469882"/>
                      </a:moveTo>
                      <a:cubicBezTo>
                        <a:pt x="3399337" y="3472030"/>
                        <a:pt x="3421710" y="3479460"/>
                        <a:pt x="3408981" y="3492184"/>
                      </a:cubicBezTo>
                      <a:cubicBezTo>
                        <a:pt x="3405442" y="3495722"/>
                        <a:pt x="3406609" y="3482089"/>
                        <a:pt x="3403405" y="3478245"/>
                      </a:cubicBezTo>
                      <a:cubicBezTo>
                        <a:pt x="3401524" y="3475988"/>
                        <a:pt x="3397830" y="3476387"/>
                        <a:pt x="3395042" y="3475458"/>
                      </a:cubicBezTo>
                      <a:lnTo>
                        <a:pt x="3389581" y="3471787"/>
                      </a:lnTo>
                      <a:lnTo>
                        <a:pt x="3395042" y="3469882"/>
                      </a:lnTo>
                      <a:close/>
                      <a:moveTo>
                        <a:pt x="3133016" y="2427197"/>
                      </a:moveTo>
                      <a:lnTo>
                        <a:pt x="3135776" y="2427243"/>
                      </a:lnTo>
                      <a:cubicBezTo>
                        <a:pt x="3146040" y="2427243"/>
                        <a:pt x="3115374" y="2430031"/>
                        <a:pt x="3105110" y="2430031"/>
                      </a:cubicBezTo>
                      <a:cubicBezTo>
                        <a:pt x="3095771" y="2430031"/>
                        <a:pt x="3123695" y="2428172"/>
                        <a:pt x="3132988" y="2427243"/>
                      </a:cubicBezTo>
                      <a:cubicBezTo>
                        <a:pt x="3132997" y="2427228"/>
                        <a:pt x="3133007" y="2427212"/>
                        <a:pt x="3133016" y="2427197"/>
                      </a:cubicBezTo>
                      <a:close/>
                      <a:moveTo>
                        <a:pt x="1201429" y="525806"/>
                      </a:moveTo>
                      <a:cubicBezTo>
                        <a:pt x="1201440" y="525812"/>
                        <a:pt x="1201451" y="525817"/>
                        <a:pt x="1201462" y="525823"/>
                      </a:cubicBezTo>
                      <a:cubicBezTo>
                        <a:pt x="1201465" y="525846"/>
                        <a:pt x="1201468" y="525868"/>
                        <a:pt x="1201471" y="525891"/>
                      </a:cubicBezTo>
                      <a:cubicBezTo>
                        <a:pt x="1201457" y="525863"/>
                        <a:pt x="1201443" y="525834"/>
                        <a:pt x="1201429" y="525806"/>
                      </a:cubicBezTo>
                      <a:close/>
                      <a:moveTo>
                        <a:pt x="305657" y="262606"/>
                      </a:moveTo>
                      <a:lnTo>
                        <a:pt x="304837" y="266706"/>
                      </a:lnTo>
                      <a:lnTo>
                        <a:pt x="303871" y="268080"/>
                      </a:lnTo>
                      <a:lnTo>
                        <a:pt x="303240" y="265282"/>
                      </a:lnTo>
                      <a:lnTo>
                        <a:pt x="305657" y="262606"/>
                      </a:lnTo>
                      <a:close/>
                      <a:moveTo>
                        <a:pt x="1409367" y="0"/>
                      </a:moveTo>
                      <a:lnTo>
                        <a:pt x="3830903" y="0"/>
                      </a:lnTo>
                      <a:lnTo>
                        <a:pt x="3830903" y="1239845"/>
                      </a:lnTo>
                      <a:lnTo>
                        <a:pt x="3829690" y="1239845"/>
                      </a:lnTo>
                      <a:lnTo>
                        <a:pt x="3830902" y="1327925"/>
                      </a:lnTo>
                      <a:lnTo>
                        <a:pt x="3793540" y="1327925"/>
                      </a:lnTo>
                      <a:lnTo>
                        <a:pt x="3790911" y="1339999"/>
                      </a:lnTo>
                      <a:cubicBezTo>
                        <a:pt x="3790911" y="1339999"/>
                        <a:pt x="3770697" y="1340001"/>
                        <a:pt x="3763033" y="1345575"/>
                      </a:cubicBezTo>
                      <a:cubicBezTo>
                        <a:pt x="3758462" y="1348900"/>
                        <a:pt x="3761869" y="1356888"/>
                        <a:pt x="3760245" y="1362302"/>
                      </a:cubicBezTo>
                      <a:cubicBezTo>
                        <a:pt x="3759051" y="1366282"/>
                        <a:pt x="3756129" y="1369562"/>
                        <a:pt x="3754670" y="1373453"/>
                      </a:cubicBezTo>
                      <a:cubicBezTo>
                        <a:pt x="3753325" y="1377040"/>
                        <a:pt x="3752811" y="1380887"/>
                        <a:pt x="3751882" y="1384604"/>
                      </a:cubicBezTo>
                      <a:cubicBezTo>
                        <a:pt x="3747236" y="1386463"/>
                        <a:pt x="3742629" y="1388423"/>
                        <a:pt x="3737943" y="1390180"/>
                      </a:cubicBezTo>
                      <a:cubicBezTo>
                        <a:pt x="3735191" y="1391212"/>
                        <a:pt x="3732207" y="1391653"/>
                        <a:pt x="3729579" y="1392967"/>
                      </a:cubicBezTo>
                      <a:cubicBezTo>
                        <a:pt x="3724732" y="1395390"/>
                        <a:pt x="3720286" y="1398543"/>
                        <a:pt x="3715640" y="1401331"/>
                      </a:cubicBezTo>
                      <a:cubicBezTo>
                        <a:pt x="3710994" y="1402260"/>
                        <a:pt x="3706327" y="1403091"/>
                        <a:pt x="3701701" y="1404119"/>
                      </a:cubicBezTo>
                      <a:cubicBezTo>
                        <a:pt x="3690240" y="1406666"/>
                        <a:pt x="3683490" y="1405826"/>
                        <a:pt x="3684974" y="1423633"/>
                      </a:cubicBezTo>
                      <a:cubicBezTo>
                        <a:pt x="3685492" y="1429845"/>
                        <a:pt x="3690550" y="1434784"/>
                        <a:pt x="3693338" y="1440360"/>
                      </a:cubicBezTo>
                      <a:cubicBezTo>
                        <a:pt x="3697055" y="1442219"/>
                        <a:pt x="3700691" y="1444248"/>
                        <a:pt x="3704489" y="1445936"/>
                      </a:cubicBezTo>
                      <a:cubicBezTo>
                        <a:pt x="3709062" y="1447968"/>
                        <a:pt x="3714184" y="1448859"/>
                        <a:pt x="3718428" y="1451511"/>
                      </a:cubicBezTo>
                      <a:cubicBezTo>
                        <a:pt x="3721772" y="1453601"/>
                        <a:pt x="3725545" y="1456134"/>
                        <a:pt x="3726792" y="1459875"/>
                      </a:cubicBezTo>
                      <a:lnTo>
                        <a:pt x="3728484" y="1475108"/>
                      </a:lnTo>
                      <a:lnTo>
                        <a:pt x="3715640" y="1479389"/>
                      </a:lnTo>
                      <a:cubicBezTo>
                        <a:pt x="3717499" y="1482177"/>
                        <a:pt x="3718105" y="1486508"/>
                        <a:pt x="3721216" y="1487753"/>
                      </a:cubicBezTo>
                      <a:cubicBezTo>
                        <a:pt x="3723944" y="1488844"/>
                        <a:pt x="3729003" y="1487846"/>
                        <a:pt x="3729579" y="1484965"/>
                      </a:cubicBezTo>
                      <a:lnTo>
                        <a:pt x="3728484" y="1475108"/>
                      </a:lnTo>
                      <a:lnTo>
                        <a:pt x="3732367" y="1473814"/>
                      </a:lnTo>
                      <a:cubicBezTo>
                        <a:pt x="3737851" y="1472443"/>
                        <a:pt x="3744211" y="1473874"/>
                        <a:pt x="3749094" y="1471026"/>
                      </a:cubicBezTo>
                      <a:cubicBezTo>
                        <a:pt x="3757003" y="1466413"/>
                        <a:pt x="3769235" y="1441448"/>
                        <a:pt x="3785335" y="1451511"/>
                      </a:cubicBezTo>
                      <a:cubicBezTo>
                        <a:pt x="3790128" y="1454507"/>
                        <a:pt x="3787194" y="1462662"/>
                        <a:pt x="3788123" y="1468238"/>
                      </a:cubicBezTo>
                      <a:cubicBezTo>
                        <a:pt x="3787194" y="1472884"/>
                        <a:pt x="3786484" y="1477580"/>
                        <a:pt x="3785335" y="1482177"/>
                      </a:cubicBezTo>
                      <a:cubicBezTo>
                        <a:pt x="3784622" y="1485028"/>
                        <a:pt x="3784843" y="1488705"/>
                        <a:pt x="3782548" y="1490541"/>
                      </a:cubicBezTo>
                      <a:cubicBezTo>
                        <a:pt x="3763467" y="1505806"/>
                        <a:pt x="3774604" y="1470868"/>
                        <a:pt x="3768609" y="1512843"/>
                      </a:cubicBezTo>
                      <a:cubicBezTo>
                        <a:pt x="3779760" y="1514702"/>
                        <a:pt x="3794349" y="1510155"/>
                        <a:pt x="3802062" y="1518419"/>
                      </a:cubicBezTo>
                      <a:cubicBezTo>
                        <a:pt x="3802116" y="1518593"/>
                        <a:pt x="3802169" y="1518767"/>
                        <a:pt x="3802223" y="1518941"/>
                      </a:cubicBezTo>
                      <a:lnTo>
                        <a:pt x="3830902" y="1518941"/>
                      </a:lnTo>
                      <a:lnTo>
                        <a:pt x="3830902" y="2055091"/>
                      </a:lnTo>
                      <a:lnTo>
                        <a:pt x="3792991" y="2055091"/>
                      </a:lnTo>
                      <a:lnTo>
                        <a:pt x="3788122" y="2064828"/>
                      </a:lnTo>
                      <a:cubicBezTo>
                        <a:pt x="3781050" y="2072607"/>
                        <a:pt x="3770034" y="2077499"/>
                        <a:pt x="3765820" y="2087131"/>
                      </a:cubicBezTo>
                      <a:cubicBezTo>
                        <a:pt x="3762817" y="2093995"/>
                        <a:pt x="3767679" y="2101999"/>
                        <a:pt x="3768608" y="2109433"/>
                      </a:cubicBezTo>
                      <a:cubicBezTo>
                        <a:pt x="3762071" y="2129044"/>
                        <a:pt x="3770578" y="2104838"/>
                        <a:pt x="3760244" y="2128948"/>
                      </a:cubicBezTo>
                      <a:cubicBezTo>
                        <a:pt x="3759086" y="2131649"/>
                        <a:pt x="3760337" y="2136735"/>
                        <a:pt x="3757456" y="2137311"/>
                      </a:cubicBezTo>
                      <a:cubicBezTo>
                        <a:pt x="3753381" y="2138126"/>
                        <a:pt x="3750354" y="2132670"/>
                        <a:pt x="3746305" y="2131736"/>
                      </a:cubicBezTo>
                      <a:cubicBezTo>
                        <a:pt x="3738106" y="2129844"/>
                        <a:pt x="3729578" y="2129877"/>
                        <a:pt x="3721215" y="2128948"/>
                      </a:cubicBezTo>
                      <a:lnTo>
                        <a:pt x="3701700" y="2131736"/>
                      </a:lnTo>
                      <a:cubicBezTo>
                        <a:pt x="3694274" y="2132726"/>
                        <a:pt x="3685312" y="2129925"/>
                        <a:pt x="3679398" y="2134524"/>
                      </a:cubicBezTo>
                      <a:cubicBezTo>
                        <a:pt x="3674936" y="2137994"/>
                        <a:pt x="3677539" y="2145675"/>
                        <a:pt x="3676610" y="2151250"/>
                      </a:cubicBezTo>
                      <a:cubicBezTo>
                        <a:pt x="3674751" y="2154967"/>
                        <a:pt x="3674190" y="2159697"/>
                        <a:pt x="3671034" y="2162402"/>
                      </a:cubicBezTo>
                      <a:cubicBezTo>
                        <a:pt x="3667235" y="2165659"/>
                        <a:pt x="3659333" y="2163501"/>
                        <a:pt x="3657095" y="2167977"/>
                      </a:cubicBezTo>
                      <a:cubicBezTo>
                        <a:pt x="3654567" y="2173033"/>
                        <a:pt x="3658954" y="2179128"/>
                        <a:pt x="3659883" y="2184704"/>
                      </a:cubicBezTo>
                      <a:cubicBezTo>
                        <a:pt x="3658025" y="2189350"/>
                        <a:pt x="3657512" y="2194799"/>
                        <a:pt x="3654308" y="2198643"/>
                      </a:cubicBezTo>
                      <a:cubicBezTo>
                        <a:pt x="3652427" y="2200901"/>
                        <a:pt x="3648239" y="2199595"/>
                        <a:pt x="3645944" y="2201431"/>
                      </a:cubicBezTo>
                      <a:cubicBezTo>
                        <a:pt x="3643328" y="2203524"/>
                        <a:pt x="3642227" y="2207006"/>
                        <a:pt x="3640369" y="2209794"/>
                      </a:cubicBezTo>
                      <a:cubicBezTo>
                        <a:pt x="3641298" y="2212582"/>
                        <a:pt x="3641842" y="2215530"/>
                        <a:pt x="3643156" y="2218158"/>
                      </a:cubicBezTo>
                      <a:cubicBezTo>
                        <a:pt x="3644654" y="2221155"/>
                        <a:pt x="3648565" y="2223175"/>
                        <a:pt x="3648732" y="2226521"/>
                      </a:cubicBezTo>
                      <a:cubicBezTo>
                        <a:pt x="3649522" y="2242326"/>
                        <a:pt x="3646873" y="2258116"/>
                        <a:pt x="3645944" y="2273914"/>
                      </a:cubicBezTo>
                      <a:cubicBezTo>
                        <a:pt x="3645015" y="2279490"/>
                        <a:pt x="3643156" y="2284988"/>
                        <a:pt x="3643156" y="2290641"/>
                      </a:cubicBezTo>
                      <a:cubicBezTo>
                        <a:pt x="3643156" y="2312314"/>
                        <a:pt x="3677113" y="2291811"/>
                        <a:pt x="3609703" y="2307367"/>
                      </a:cubicBezTo>
                      <a:cubicBezTo>
                        <a:pt x="3605057" y="2306438"/>
                        <a:pt x="3600470" y="2305134"/>
                        <a:pt x="3595764" y="2304580"/>
                      </a:cubicBezTo>
                      <a:cubicBezTo>
                        <a:pt x="3577511" y="2302433"/>
                        <a:pt x="3533477" y="2299990"/>
                        <a:pt x="3517705" y="2299004"/>
                      </a:cubicBezTo>
                      <a:cubicBezTo>
                        <a:pt x="3513988" y="2300863"/>
                        <a:pt x="3508412" y="2300863"/>
                        <a:pt x="3506554" y="2304580"/>
                      </a:cubicBezTo>
                      <a:cubicBezTo>
                        <a:pt x="3503983" y="2309723"/>
                        <a:pt x="3512614" y="2320639"/>
                        <a:pt x="3514917" y="2324094"/>
                      </a:cubicBezTo>
                      <a:cubicBezTo>
                        <a:pt x="3547534" y="2348556"/>
                        <a:pt x="3507248" y="2317521"/>
                        <a:pt x="3534432" y="2340821"/>
                      </a:cubicBezTo>
                      <a:cubicBezTo>
                        <a:pt x="3537960" y="2343845"/>
                        <a:pt x="3543505" y="2345028"/>
                        <a:pt x="3545583" y="2349184"/>
                      </a:cubicBezTo>
                      <a:cubicBezTo>
                        <a:pt x="3547708" y="2353434"/>
                        <a:pt x="3552596" y="2372707"/>
                        <a:pt x="3542795" y="2377063"/>
                      </a:cubicBezTo>
                      <a:cubicBezTo>
                        <a:pt x="3536791" y="2379732"/>
                        <a:pt x="3529786" y="2378921"/>
                        <a:pt x="3523281" y="2379850"/>
                      </a:cubicBezTo>
                      <a:cubicBezTo>
                        <a:pt x="3520493" y="2377992"/>
                        <a:pt x="3517062" y="2376849"/>
                        <a:pt x="3514917" y="2374275"/>
                      </a:cubicBezTo>
                      <a:cubicBezTo>
                        <a:pt x="3506052" y="2363638"/>
                        <a:pt x="3507763" y="2347330"/>
                        <a:pt x="3506554" y="2335245"/>
                      </a:cubicBezTo>
                      <a:cubicBezTo>
                        <a:pt x="3505625" y="2332457"/>
                        <a:pt x="3506704" y="2326882"/>
                        <a:pt x="3503766" y="2326882"/>
                      </a:cubicBezTo>
                      <a:cubicBezTo>
                        <a:pt x="3500828" y="2326882"/>
                        <a:pt x="3503606" y="2333931"/>
                        <a:pt x="3500978" y="2335245"/>
                      </a:cubicBezTo>
                      <a:cubicBezTo>
                        <a:pt x="3493315" y="2339076"/>
                        <a:pt x="3484251" y="2338962"/>
                        <a:pt x="3475888" y="2340821"/>
                      </a:cubicBezTo>
                      <a:cubicBezTo>
                        <a:pt x="3475888" y="2340821"/>
                        <a:pt x="3464618" y="2337428"/>
                        <a:pt x="3459161" y="2335245"/>
                      </a:cubicBezTo>
                      <a:cubicBezTo>
                        <a:pt x="3450315" y="2331707"/>
                        <a:pt x="3447193" y="2329125"/>
                        <a:pt x="3439647" y="2324094"/>
                      </a:cubicBezTo>
                      <a:cubicBezTo>
                        <a:pt x="3430354" y="2322236"/>
                        <a:pt x="3421246" y="2318519"/>
                        <a:pt x="3411769" y="2318519"/>
                      </a:cubicBezTo>
                      <a:cubicBezTo>
                        <a:pt x="3407521" y="2318519"/>
                        <a:pt x="3392454" y="2335045"/>
                        <a:pt x="3392254" y="2335245"/>
                      </a:cubicBezTo>
                      <a:cubicBezTo>
                        <a:pt x="3389466" y="2333387"/>
                        <a:pt x="3386036" y="2332244"/>
                        <a:pt x="3383891" y="2329670"/>
                      </a:cubicBezTo>
                      <a:cubicBezTo>
                        <a:pt x="3383332" y="2328999"/>
                        <a:pt x="3375367" y="2311111"/>
                        <a:pt x="3372739" y="2310155"/>
                      </a:cubicBezTo>
                      <a:cubicBezTo>
                        <a:pt x="3364831" y="2307279"/>
                        <a:pt x="3356012" y="2308296"/>
                        <a:pt x="3347649" y="2307367"/>
                      </a:cubicBezTo>
                      <a:cubicBezTo>
                        <a:pt x="3334333" y="2312694"/>
                        <a:pt x="3328709" y="2313833"/>
                        <a:pt x="3316983" y="2324094"/>
                      </a:cubicBezTo>
                      <a:cubicBezTo>
                        <a:pt x="3314461" y="2326300"/>
                        <a:pt x="3313266" y="2329670"/>
                        <a:pt x="3311408" y="2332458"/>
                      </a:cubicBezTo>
                      <a:cubicBezTo>
                        <a:pt x="3308620" y="2334316"/>
                        <a:pt x="3305618" y="2335888"/>
                        <a:pt x="3303044" y="2338033"/>
                      </a:cubicBezTo>
                      <a:cubicBezTo>
                        <a:pt x="3300015" y="2340557"/>
                        <a:pt x="3297961" y="2344210"/>
                        <a:pt x="3294681" y="2346397"/>
                      </a:cubicBezTo>
                      <a:cubicBezTo>
                        <a:pt x="3289494" y="2349855"/>
                        <a:pt x="3283299" y="2351553"/>
                        <a:pt x="3277954" y="2354760"/>
                      </a:cubicBezTo>
                      <a:cubicBezTo>
                        <a:pt x="3273970" y="2357151"/>
                        <a:pt x="3270520" y="2360336"/>
                        <a:pt x="3266803" y="2363124"/>
                      </a:cubicBezTo>
                      <a:cubicBezTo>
                        <a:pt x="3260582" y="2354829"/>
                        <a:pt x="3251265" y="2342010"/>
                        <a:pt x="3244500" y="2335245"/>
                      </a:cubicBezTo>
                      <a:lnTo>
                        <a:pt x="3243412" y="2334429"/>
                      </a:lnTo>
                      <a:lnTo>
                        <a:pt x="3244431" y="2334497"/>
                      </a:lnTo>
                      <a:lnTo>
                        <a:pt x="3252864" y="2340821"/>
                      </a:lnTo>
                      <a:cubicBezTo>
                        <a:pt x="3260298" y="2342680"/>
                        <a:pt x="3271740" y="2353251"/>
                        <a:pt x="3275166" y="2346397"/>
                      </a:cubicBezTo>
                      <a:cubicBezTo>
                        <a:pt x="3278516" y="2339695"/>
                        <a:pt x="3262957" y="2336905"/>
                        <a:pt x="3255651" y="2335245"/>
                      </a:cubicBezTo>
                      <a:lnTo>
                        <a:pt x="3244431" y="2334497"/>
                      </a:lnTo>
                      <a:lnTo>
                        <a:pt x="3241712" y="2332458"/>
                      </a:lnTo>
                      <a:cubicBezTo>
                        <a:pt x="3238986" y="2330511"/>
                        <a:pt x="3230979" y="2324513"/>
                        <a:pt x="3233349" y="2326882"/>
                      </a:cubicBezTo>
                      <a:lnTo>
                        <a:pt x="3243412" y="2334429"/>
                      </a:lnTo>
                      <a:lnTo>
                        <a:pt x="3213834" y="2332458"/>
                      </a:lnTo>
                      <a:cubicBezTo>
                        <a:pt x="3198136" y="2342923"/>
                        <a:pt x="3206530" y="2334855"/>
                        <a:pt x="3197108" y="2363124"/>
                      </a:cubicBezTo>
                      <a:cubicBezTo>
                        <a:pt x="3187921" y="2366185"/>
                        <a:pt x="3186908" y="2365137"/>
                        <a:pt x="3180381" y="2374275"/>
                      </a:cubicBezTo>
                      <a:cubicBezTo>
                        <a:pt x="3177966" y="2377657"/>
                        <a:pt x="3173990" y="2381351"/>
                        <a:pt x="3174805" y="2385426"/>
                      </a:cubicBezTo>
                      <a:cubicBezTo>
                        <a:pt x="3175381" y="2388308"/>
                        <a:pt x="3180540" y="2386900"/>
                        <a:pt x="3183169" y="2388214"/>
                      </a:cubicBezTo>
                      <a:cubicBezTo>
                        <a:pt x="3186166" y="2389712"/>
                        <a:pt x="3188744" y="2391931"/>
                        <a:pt x="3191532" y="2393789"/>
                      </a:cubicBezTo>
                      <a:cubicBezTo>
                        <a:pt x="3191532" y="2393789"/>
                        <a:pt x="3188575" y="2408890"/>
                        <a:pt x="3185956" y="2416092"/>
                      </a:cubicBezTo>
                      <a:cubicBezTo>
                        <a:pt x="3182106" y="2426680"/>
                        <a:pt x="3179228" y="2424743"/>
                        <a:pt x="3169230" y="2427243"/>
                      </a:cubicBezTo>
                      <a:cubicBezTo>
                        <a:pt x="3159848" y="2424116"/>
                        <a:pt x="3159359" y="2424391"/>
                        <a:pt x="3149715" y="2418880"/>
                      </a:cubicBezTo>
                      <a:cubicBezTo>
                        <a:pt x="3146806" y="2417218"/>
                        <a:pt x="3144348" y="2411806"/>
                        <a:pt x="3141351" y="2413304"/>
                      </a:cubicBezTo>
                      <a:lnTo>
                        <a:pt x="3133016" y="2427197"/>
                      </a:lnTo>
                      <a:lnTo>
                        <a:pt x="3110925" y="2426829"/>
                      </a:lnTo>
                      <a:cubicBezTo>
                        <a:pt x="3062547" y="2425356"/>
                        <a:pt x="3077542" y="2423527"/>
                        <a:pt x="3074444" y="2488575"/>
                      </a:cubicBezTo>
                      <a:cubicBezTo>
                        <a:pt x="3076303" y="2494151"/>
                        <a:pt x="3079532" y="2499445"/>
                        <a:pt x="3080020" y="2505302"/>
                      </a:cubicBezTo>
                      <a:cubicBezTo>
                        <a:pt x="3081133" y="2518655"/>
                        <a:pt x="3077728" y="2521284"/>
                        <a:pt x="3071656" y="2530392"/>
                      </a:cubicBezTo>
                      <a:cubicBezTo>
                        <a:pt x="3067010" y="2531321"/>
                        <a:pt x="3061831" y="2530829"/>
                        <a:pt x="3057717" y="2533180"/>
                      </a:cubicBezTo>
                      <a:cubicBezTo>
                        <a:pt x="3052884" y="2535942"/>
                        <a:pt x="3049676" y="2548344"/>
                        <a:pt x="3049354" y="2552694"/>
                      </a:cubicBezTo>
                      <a:cubicBezTo>
                        <a:pt x="3047774" y="2574029"/>
                        <a:pt x="3047495" y="2595441"/>
                        <a:pt x="3046566" y="2616814"/>
                      </a:cubicBezTo>
                      <a:cubicBezTo>
                        <a:pt x="3041920" y="2617743"/>
                        <a:pt x="3037253" y="2618574"/>
                        <a:pt x="3032627" y="2619602"/>
                      </a:cubicBezTo>
                      <a:cubicBezTo>
                        <a:pt x="3025095" y="2621276"/>
                        <a:pt x="3017724" y="2620155"/>
                        <a:pt x="3018688" y="2630753"/>
                      </a:cubicBezTo>
                      <a:cubicBezTo>
                        <a:pt x="3019382" y="2638384"/>
                        <a:pt x="3022405" y="2645621"/>
                        <a:pt x="3024264" y="2653055"/>
                      </a:cubicBezTo>
                      <a:cubicBezTo>
                        <a:pt x="3025568" y="2653924"/>
                        <a:pt x="3039903" y="2661010"/>
                        <a:pt x="3035415" y="2666994"/>
                      </a:cubicBezTo>
                      <a:cubicBezTo>
                        <a:pt x="3033116" y="2670059"/>
                        <a:pt x="3025849" y="2666294"/>
                        <a:pt x="3024264" y="2669782"/>
                      </a:cubicBezTo>
                      <a:cubicBezTo>
                        <a:pt x="3020400" y="2678284"/>
                        <a:pt x="3022405" y="2688367"/>
                        <a:pt x="3021476" y="2697660"/>
                      </a:cubicBezTo>
                      <a:cubicBezTo>
                        <a:pt x="3020547" y="2701377"/>
                        <a:pt x="3021597" y="2706318"/>
                        <a:pt x="3018688" y="2708811"/>
                      </a:cubicBezTo>
                      <a:cubicBezTo>
                        <a:pt x="3014226" y="2712636"/>
                        <a:pt x="3004922" y="2709310"/>
                        <a:pt x="3001961" y="2714387"/>
                      </a:cubicBezTo>
                      <a:cubicBezTo>
                        <a:pt x="2997255" y="2722454"/>
                        <a:pt x="3000102" y="2732972"/>
                        <a:pt x="2999173" y="2742265"/>
                      </a:cubicBezTo>
                      <a:cubicBezTo>
                        <a:pt x="3001032" y="2745053"/>
                        <a:pt x="3002802" y="2747902"/>
                        <a:pt x="3004749" y="2750628"/>
                      </a:cubicBezTo>
                      <a:cubicBezTo>
                        <a:pt x="3007450" y="2754409"/>
                        <a:pt x="3010649" y="2757840"/>
                        <a:pt x="3013112" y="2761780"/>
                      </a:cubicBezTo>
                      <a:cubicBezTo>
                        <a:pt x="3015315" y="2765304"/>
                        <a:pt x="3016272" y="2769549"/>
                        <a:pt x="3018688" y="2772931"/>
                      </a:cubicBezTo>
                      <a:cubicBezTo>
                        <a:pt x="3023169" y="2779204"/>
                        <a:pt x="3032346" y="2785265"/>
                        <a:pt x="3038203" y="2789658"/>
                      </a:cubicBezTo>
                      <a:cubicBezTo>
                        <a:pt x="3041357" y="2792023"/>
                        <a:pt x="3043778" y="2795233"/>
                        <a:pt x="3046566" y="2798021"/>
                      </a:cubicBezTo>
                      <a:lnTo>
                        <a:pt x="3063293" y="2814748"/>
                      </a:lnTo>
                      <a:cubicBezTo>
                        <a:pt x="3062364" y="2820324"/>
                        <a:pt x="3061365" y="2825888"/>
                        <a:pt x="3060505" y="2831475"/>
                      </a:cubicBezTo>
                      <a:cubicBezTo>
                        <a:pt x="3059506" y="2837969"/>
                        <a:pt x="3058892" y="2844524"/>
                        <a:pt x="3057717" y="2850989"/>
                      </a:cubicBezTo>
                      <a:cubicBezTo>
                        <a:pt x="3057032" y="2854759"/>
                        <a:pt x="3057639" y="2859432"/>
                        <a:pt x="3054930" y="2862141"/>
                      </a:cubicBezTo>
                      <a:cubicBezTo>
                        <a:pt x="3051392" y="2865680"/>
                        <a:pt x="3045637" y="2865858"/>
                        <a:pt x="3040991" y="2867716"/>
                      </a:cubicBezTo>
                      <a:cubicBezTo>
                        <a:pt x="3023338" y="2863303"/>
                        <a:pt x="3033027" y="2867053"/>
                        <a:pt x="3013112" y="2853777"/>
                      </a:cubicBezTo>
                      <a:cubicBezTo>
                        <a:pt x="3008314" y="2850579"/>
                        <a:pt x="2977054" y="2843369"/>
                        <a:pt x="2974083" y="2842626"/>
                      </a:cubicBezTo>
                      <a:cubicBezTo>
                        <a:pt x="2963861" y="2841697"/>
                        <a:pt x="2953591" y="2841195"/>
                        <a:pt x="2943417" y="2839838"/>
                      </a:cubicBezTo>
                      <a:cubicBezTo>
                        <a:pt x="2934342" y="2838628"/>
                        <a:pt x="2932123" y="2836505"/>
                        <a:pt x="2923903" y="2834263"/>
                      </a:cubicBezTo>
                      <a:cubicBezTo>
                        <a:pt x="2916510" y="2832247"/>
                        <a:pt x="2909034" y="2830546"/>
                        <a:pt x="2901600" y="2828687"/>
                      </a:cubicBezTo>
                      <a:cubicBezTo>
                        <a:pt x="2893302" y="2841135"/>
                        <a:pt x="2893237" y="2838531"/>
                        <a:pt x="2893237" y="2859353"/>
                      </a:cubicBezTo>
                      <a:cubicBezTo>
                        <a:pt x="2893237" y="2863184"/>
                        <a:pt x="2895731" y="2866684"/>
                        <a:pt x="2896025" y="2870504"/>
                      </a:cubicBezTo>
                      <a:cubicBezTo>
                        <a:pt x="2897594" y="2890909"/>
                        <a:pt x="2897883" y="2911392"/>
                        <a:pt x="2898812" y="2931836"/>
                      </a:cubicBezTo>
                      <a:cubicBezTo>
                        <a:pt x="2897883" y="2938341"/>
                        <a:pt x="2895560" y="2940199"/>
                        <a:pt x="2896025" y="2951350"/>
                      </a:cubicBezTo>
                      <a:cubicBezTo>
                        <a:pt x="2896490" y="2962501"/>
                        <a:pt x="2900206" y="2984340"/>
                        <a:pt x="2901600" y="2998744"/>
                      </a:cubicBezTo>
                      <a:cubicBezTo>
                        <a:pt x="2906246" y="3000602"/>
                        <a:pt x="2902529" y="3030803"/>
                        <a:pt x="2904388" y="3037772"/>
                      </a:cubicBezTo>
                      <a:cubicBezTo>
                        <a:pt x="2906247" y="3044741"/>
                        <a:pt x="2905782" y="3038701"/>
                        <a:pt x="2912751" y="3040560"/>
                      </a:cubicBezTo>
                      <a:cubicBezTo>
                        <a:pt x="2919720" y="3042419"/>
                        <a:pt x="2939554" y="3044490"/>
                        <a:pt x="2946205" y="3048924"/>
                      </a:cubicBezTo>
                      <a:cubicBezTo>
                        <a:pt x="2957781" y="3056642"/>
                        <a:pt x="2950226" y="3064873"/>
                        <a:pt x="2962932" y="3071226"/>
                      </a:cubicBezTo>
                      <a:cubicBezTo>
                        <a:pt x="2964790" y="3085629"/>
                        <a:pt x="2955034" y="3111184"/>
                        <a:pt x="2954569" y="3135345"/>
                      </a:cubicBezTo>
                      <a:cubicBezTo>
                        <a:pt x="2954104" y="3159506"/>
                        <a:pt x="2957821" y="3203182"/>
                        <a:pt x="2960144" y="3216192"/>
                      </a:cubicBezTo>
                      <a:cubicBezTo>
                        <a:pt x="2963861" y="3215263"/>
                        <a:pt x="2967611" y="3214457"/>
                        <a:pt x="2971295" y="3213404"/>
                      </a:cubicBezTo>
                      <a:cubicBezTo>
                        <a:pt x="2974121" y="3212597"/>
                        <a:pt x="2976808" y="3211329"/>
                        <a:pt x="2979659" y="3210616"/>
                      </a:cubicBezTo>
                      <a:cubicBezTo>
                        <a:pt x="2984256" y="3209467"/>
                        <a:pt x="2988972" y="3208856"/>
                        <a:pt x="2993598" y="3207828"/>
                      </a:cubicBezTo>
                      <a:cubicBezTo>
                        <a:pt x="2997338" y="3206997"/>
                        <a:pt x="3000962" y="3205624"/>
                        <a:pt x="3004749" y="3205041"/>
                      </a:cubicBezTo>
                      <a:cubicBezTo>
                        <a:pt x="3013066" y="3203762"/>
                        <a:pt x="3021476" y="3203182"/>
                        <a:pt x="3029839" y="3202253"/>
                      </a:cubicBezTo>
                      <a:cubicBezTo>
                        <a:pt x="3040554" y="3223682"/>
                        <a:pt x="3033795" y="3214572"/>
                        <a:pt x="3049354" y="3230131"/>
                      </a:cubicBezTo>
                      <a:cubicBezTo>
                        <a:pt x="3051432" y="3232209"/>
                        <a:pt x="3051213" y="3235706"/>
                        <a:pt x="3052142" y="3238494"/>
                      </a:cubicBezTo>
                      <a:lnTo>
                        <a:pt x="3057717" y="3255221"/>
                      </a:lnTo>
                      <a:cubicBezTo>
                        <a:pt x="3057717" y="3255221"/>
                        <a:pt x="3071712" y="3267376"/>
                        <a:pt x="3077232" y="3274736"/>
                      </a:cubicBezTo>
                      <a:lnTo>
                        <a:pt x="3077922" y="3275698"/>
                      </a:lnTo>
                      <a:lnTo>
                        <a:pt x="3066081" y="3283099"/>
                      </a:lnTo>
                      <a:cubicBezTo>
                        <a:pt x="3061736" y="3285582"/>
                        <a:pt x="3052142" y="3283671"/>
                        <a:pt x="3052142" y="3288675"/>
                      </a:cubicBezTo>
                      <a:cubicBezTo>
                        <a:pt x="3052142" y="3293413"/>
                        <a:pt x="3061435" y="3290534"/>
                        <a:pt x="3066081" y="3291463"/>
                      </a:cubicBezTo>
                      <a:cubicBezTo>
                        <a:pt x="3071657" y="3290534"/>
                        <a:pt x="3079673" y="3293378"/>
                        <a:pt x="3082808" y="3288675"/>
                      </a:cubicBezTo>
                      <a:cubicBezTo>
                        <a:pt x="3084196" y="3286593"/>
                        <a:pt x="3083553" y="3284109"/>
                        <a:pt x="3082187" y="3281645"/>
                      </a:cubicBezTo>
                      <a:lnTo>
                        <a:pt x="3077922" y="3275698"/>
                      </a:lnTo>
                      <a:lnTo>
                        <a:pt x="3110686" y="3255221"/>
                      </a:lnTo>
                      <a:cubicBezTo>
                        <a:pt x="3115332" y="3254292"/>
                        <a:pt x="3120130" y="3253931"/>
                        <a:pt x="3124625" y="3252433"/>
                      </a:cubicBezTo>
                      <a:cubicBezTo>
                        <a:pt x="3128567" y="3251119"/>
                        <a:pt x="3131871" y="3248278"/>
                        <a:pt x="3135776" y="3246858"/>
                      </a:cubicBezTo>
                      <a:cubicBezTo>
                        <a:pt x="3142134" y="3244546"/>
                        <a:pt x="3148699" y="3242803"/>
                        <a:pt x="3155291" y="3241282"/>
                      </a:cubicBezTo>
                      <a:cubicBezTo>
                        <a:pt x="3160798" y="3240011"/>
                        <a:pt x="3167224" y="3241490"/>
                        <a:pt x="3172017" y="3238494"/>
                      </a:cubicBezTo>
                      <a:cubicBezTo>
                        <a:pt x="3175541" y="3236291"/>
                        <a:pt x="3175734" y="3231060"/>
                        <a:pt x="3177593" y="3227343"/>
                      </a:cubicBezTo>
                      <a:cubicBezTo>
                        <a:pt x="3177593" y="3227343"/>
                        <a:pt x="3196723" y="3229274"/>
                        <a:pt x="3205471" y="3232919"/>
                      </a:cubicBezTo>
                      <a:cubicBezTo>
                        <a:pt x="3208564" y="3234208"/>
                        <a:pt x="3209188" y="3238494"/>
                        <a:pt x="3211047" y="3241282"/>
                      </a:cubicBezTo>
                      <a:cubicBezTo>
                        <a:pt x="3226844" y="3243141"/>
                        <a:pt x="3242842" y="3243739"/>
                        <a:pt x="3258439" y="3246858"/>
                      </a:cubicBezTo>
                      <a:cubicBezTo>
                        <a:pt x="3261725" y="3247515"/>
                        <a:pt x="3263894" y="3250771"/>
                        <a:pt x="3266803" y="3252433"/>
                      </a:cubicBezTo>
                      <a:cubicBezTo>
                        <a:pt x="3270411" y="3254495"/>
                        <a:pt x="3274134" y="3256372"/>
                        <a:pt x="3277954" y="3258009"/>
                      </a:cubicBezTo>
                      <a:cubicBezTo>
                        <a:pt x="3280655" y="3259167"/>
                        <a:pt x="3284687" y="3258352"/>
                        <a:pt x="3286317" y="3260797"/>
                      </a:cubicBezTo>
                      <a:cubicBezTo>
                        <a:pt x="3288945" y="3264740"/>
                        <a:pt x="3287606" y="3270241"/>
                        <a:pt x="3289105" y="3274736"/>
                      </a:cubicBezTo>
                      <a:cubicBezTo>
                        <a:pt x="3291343" y="3281450"/>
                        <a:pt x="3294681" y="3287745"/>
                        <a:pt x="3297469" y="3294250"/>
                      </a:cubicBezTo>
                      <a:cubicBezTo>
                        <a:pt x="3304831" y="3297195"/>
                        <a:pt x="3312124" y="3300429"/>
                        <a:pt x="3319771" y="3302614"/>
                      </a:cubicBezTo>
                      <a:cubicBezTo>
                        <a:pt x="3323455" y="3303667"/>
                        <a:pt x="3327400" y="3303893"/>
                        <a:pt x="3330922" y="3305402"/>
                      </a:cubicBezTo>
                      <a:cubicBezTo>
                        <a:pt x="3334002" y="3306722"/>
                        <a:pt x="3336377" y="3309315"/>
                        <a:pt x="3339286" y="3310977"/>
                      </a:cubicBezTo>
                      <a:cubicBezTo>
                        <a:pt x="3342894" y="3313039"/>
                        <a:pt x="3347055" y="3314137"/>
                        <a:pt x="3350437" y="3316553"/>
                      </a:cubicBezTo>
                      <a:cubicBezTo>
                        <a:pt x="3357671" y="3321720"/>
                        <a:pt x="3365432" y="3332136"/>
                        <a:pt x="3364376" y="3341643"/>
                      </a:cubicBezTo>
                      <a:cubicBezTo>
                        <a:pt x="3363941" y="3345561"/>
                        <a:pt x="3358800" y="3347218"/>
                        <a:pt x="3356012" y="3350006"/>
                      </a:cubicBezTo>
                      <a:cubicBezTo>
                        <a:pt x="3352295" y="3350935"/>
                        <a:pt x="3348545" y="3351741"/>
                        <a:pt x="3344861" y="3352794"/>
                      </a:cubicBezTo>
                      <a:cubicBezTo>
                        <a:pt x="3342036" y="3353601"/>
                        <a:pt x="3337691" y="3352897"/>
                        <a:pt x="3336498" y="3355582"/>
                      </a:cubicBezTo>
                      <a:cubicBezTo>
                        <a:pt x="3329893" y="3370443"/>
                        <a:pt x="3332695" y="3374839"/>
                        <a:pt x="3336498" y="3386248"/>
                      </a:cubicBezTo>
                      <a:cubicBezTo>
                        <a:pt x="3342564" y="3387259"/>
                        <a:pt x="3371540" y="3392322"/>
                        <a:pt x="3375527" y="3391824"/>
                      </a:cubicBezTo>
                      <a:cubicBezTo>
                        <a:pt x="3383406" y="3390839"/>
                        <a:pt x="3390060" y="3385096"/>
                        <a:pt x="3397830" y="3383460"/>
                      </a:cubicBezTo>
                      <a:cubicBezTo>
                        <a:pt x="3407874" y="3381345"/>
                        <a:pt x="3418273" y="3381601"/>
                        <a:pt x="3428495" y="3380672"/>
                      </a:cubicBezTo>
                      <a:cubicBezTo>
                        <a:pt x="3431747" y="3384854"/>
                        <a:pt x="3419667" y="3397399"/>
                        <a:pt x="3417344" y="3408550"/>
                      </a:cubicBezTo>
                      <a:cubicBezTo>
                        <a:pt x="3415021" y="3419701"/>
                        <a:pt x="3415485" y="3434570"/>
                        <a:pt x="3414556" y="3447580"/>
                      </a:cubicBezTo>
                      <a:cubicBezTo>
                        <a:pt x="3406193" y="3450368"/>
                        <a:pt x="3397694" y="3452778"/>
                        <a:pt x="3389466" y="3455943"/>
                      </a:cubicBezTo>
                      <a:cubicBezTo>
                        <a:pt x="3385587" y="3457435"/>
                        <a:pt x="3379130" y="3457444"/>
                        <a:pt x="3378315" y="3461519"/>
                      </a:cubicBezTo>
                      <a:cubicBezTo>
                        <a:pt x="3377999" y="3463098"/>
                        <a:pt x="3381685" y="3466251"/>
                        <a:pt x="3385697" y="3469176"/>
                      </a:cubicBezTo>
                      <a:lnTo>
                        <a:pt x="3389581" y="3471787"/>
                      </a:lnTo>
                      <a:lnTo>
                        <a:pt x="3385390" y="3473250"/>
                      </a:lnTo>
                      <a:cubicBezTo>
                        <a:pt x="3380398" y="3475900"/>
                        <a:pt x="3387013" y="3479245"/>
                        <a:pt x="3383891" y="3508911"/>
                      </a:cubicBezTo>
                      <a:cubicBezTo>
                        <a:pt x="3383299" y="3514533"/>
                        <a:pt x="3382032" y="3520062"/>
                        <a:pt x="3381103" y="3525638"/>
                      </a:cubicBezTo>
                      <a:cubicBezTo>
                        <a:pt x="3376457" y="3533072"/>
                        <a:pt x="3372988" y="3541389"/>
                        <a:pt x="3367164" y="3547941"/>
                      </a:cubicBezTo>
                      <a:cubicBezTo>
                        <a:pt x="3351303" y="3565784"/>
                        <a:pt x="3364439" y="3533812"/>
                        <a:pt x="3356012" y="3559092"/>
                      </a:cubicBezTo>
                      <a:cubicBezTo>
                        <a:pt x="3351366" y="3562809"/>
                        <a:pt x="3346520" y="3566290"/>
                        <a:pt x="3342073" y="3570243"/>
                      </a:cubicBezTo>
                      <a:cubicBezTo>
                        <a:pt x="3339728" y="3572327"/>
                        <a:pt x="3328173" y="3585767"/>
                        <a:pt x="3322559" y="3586970"/>
                      </a:cubicBezTo>
                      <a:cubicBezTo>
                        <a:pt x="3287478" y="3594488"/>
                        <a:pt x="3295565" y="3578743"/>
                        <a:pt x="3289105" y="3598121"/>
                      </a:cubicBezTo>
                      <a:cubicBezTo>
                        <a:pt x="3296736" y="3621010"/>
                        <a:pt x="3282672" y="3587205"/>
                        <a:pt x="3314195" y="3609272"/>
                      </a:cubicBezTo>
                      <a:cubicBezTo>
                        <a:pt x="3319010" y="3612642"/>
                        <a:pt x="3317912" y="3620423"/>
                        <a:pt x="3319771" y="3625999"/>
                      </a:cubicBezTo>
                      <a:cubicBezTo>
                        <a:pt x="3318842" y="3634362"/>
                        <a:pt x="3317966" y="3642732"/>
                        <a:pt x="3316983" y="3651089"/>
                      </a:cubicBezTo>
                      <a:cubicBezTo>
                        <a:pt x="3314224" y="3674538"/>
                        <a:pt x="3311408" y="3689626"/>
                        <a:pt x="3311408" y="3715209"/>
                      </a:cubicBezTo>
                      <a:cubicBezTo>
                        <a:pt x="3311408" y="3718147"/>
                        <a:pt x="3313619" y="3720691"/>
                        <a:pt x="3314195" y="3723572"/>
                      </a:cubicBezTo>
                      <a:cubicBezTo>
                        <a:pt x="3316412" y="3734658"/>
                        <a:pt x="3317912" y="3745875"/>
                        <a:pt x="3319771" y="3757026"/>
                      </a:cubicBezTo>
                      <a:cubicBezTo>
                        <a:pt x="3314645" y="3772403"/>
                        <a:pt x="3312707" y="3776767"/>
                        <a:pt x="3311408" y="3798843"/>
                      </a:cubicBezTo>
                      <a:cubicBezTo>
                        <a:pt x="3311130" y="3803573"/>
                        <a:pt x="3313266" y="3808136"/>
                        <a:pt x="3314195" y="3812782"/>
                      </a:cubicBezTo>
                      <a:cubicBezTo>
                        <a:pt x="3314195" y="3812782"/>
                        <a:pt x="3348185" y="3824554"/>
                        <a:pt x="3364376" y="3832297"/>
                      </a:cubicBezTo>
                      <a:cubicBezTo>
                        <a:pt x="3369744" y="3834864"/>
                        <a:pt x="3373310" y="3840230"/>
                        <a:pt x="3378315" y="3843448"/>
                      </a:cubicBezTo>
                      <a:cubicBezTo>
                        <a:pt x="3449604" y="3889276"/>
                        <a:pt x="3362857" y="3828425"/>
                        <a:pt x="3422920" y="3871326"/>
                      </a:cubicBezTo>
                      <a:cubicBezTo>
                        <a:pt x="3431449" y="3873459"/>
                        <a:pt x="3436018" y="3873273"/>
                        <a:pt x="3442434" y="3879689"/>
                      </a:cubicBezTo>
                      <a:cubicBezTo>
                        <a:pt x="3444803" y="3882058"/>
                        <a:pt x="3446151" y="3885265"/>
                        <a:pt x="3448010" y="3888053"/>
                      </a:cubicBezTo>
                      <a:cubicBezTo>
                        <a:pt x="3453586" y="3889911"/>
                        <a:pt x="3460275" y="3889803"/>
                        <a:pt x="3464737" y="3893628"/>
                      </a:cubicBezTo>
                      <a:cubicBezTo>
                        <a:pt x="3467646" y="3896122"/>
                        <a:pt x="3467019" y="3900982"/>
                        <a:pt x="3467525" y="3904780"/>
                      </a:cubicBezTo>
                      <a:cubicBezTo>
                        <a:pt x="3472419" y="3941487"/>
                        <a:pt x="3464030" y="3926022"/>
                        <a:pt x="3475888" y="3943809"/>
                      </a:cubicBezTo>
                      <a:cubicBezTo>
                        <a:pt x="3489249" y="3949153"/>
                        <a:pt x="3503054" y="3952551"/>
                        <a:pt x="3509342" y="3968899"/>
                      </a:cubicBezTo>
                      <a:cubicBezTo>
                        <a:pt x="3515759" y="3985582"/>
                        <a:pt x="3514508" y="4004281"/>
                        <a:pt x="3517705" y="4021867"/>
                      </a:cubicBezTo>
                      <a:cubicBezTo>
                        <a:pt x="3518231" y="4024758"/>
                        <a:pt x="3519564" y="4027443"/>
                        <a:pt x="3520493" y="4030231"/>
                      </a:cubicBezTo>
                      <a:cubicBezTo>
                        <a:pt x="3524210" y="4032089"/>
                        <a:pt x="3527730" y="4034408"/>
                        <a:pt x="3531644" y="4035806"/>
                      </a:cubicBezTo>
                      <a:cubicBezTo>
                        <a:pt x="3540781" y="4039069"/>
                        <a:pt x="3551832" y="4038255"/>
                        <a:pt x="3559522" y="4044170"/>
                      </a:cubicBezTo>
                      <a:cubicBezTo>
                        <a:pt x="3565131" y="4048485"/>
                        <a:pt x="3564245" y="4057616"/>
                        <a:pt x="3567886" y="4063684"/>
                      </a:cubicBezTo>
                      <a:cubicBezTo>
                        <a:pt x="3569914" y="4067065"/>
                        <a:pt x="3573461" y="4069260"/>
                        <a:pt x="3576249" y="4072048"/>
                      </a:cubicBezTo>
                      <a:lnTo>
                        <a:pt x="3584612" y="4074836"/>
                      </a:lnTo>
                      <a:cubicBezTo>
                        <a:pt x="3623053" y="4087650"/>
                        <a:pt x="3609754" y="4077675"/>
                        <a:pt x="3629217" y="4097138"/>
                      </a:cubicBezTo>
                      <a:cubicBezTo>
                        <a:pt x="3636651" y="4099926"/>
                        <a:pt x="3643988" y="4102991"/>
                        <a:pt x="3651520" y="4105502"/>
                      </a:cubicBezTo>
                      <a:cubicBezTo>
                        <a:pt x="3655155" y="4106714"/>
                        <a:pt x="3659344" y="4106388"/>
                        <a:pt x="3662671" y="4108289"/>
                      </a:cubicBezTo>
                      <a:cubicBezTo>
                        <a:pt x="3667764" y="4111200"/>
                        <a:pt x="3676393" y="4123798"/>
                        <a:pt x="3679398" y="4127804"/>
                      </a:cubicBezTo>
                      <a:cubicBezTo>
                        <a:pt x="3684044" y="4129663"/>
                        <a:pt x="3688764" y="4131348"/>
                        <a:pt x="3693337" y="4133380"/>
                      </a:cubicBezTo>
                      <a:cubicBezTo>
                        <a:pt x="3697134" y="4135068"/>
                        <a:pt x="3700389" y="4138272"/>
                        <a:pt x="3704488" y="4138955"/>
                      </a:cubicBezTo>
                      <a:cubicBezTo>
                        <a:pt x="3717353" y="4141099"/>
                        <a:pt x="3730507" y="4140814"/>
                        <a:pt x="3743517" y="4141743"/>
                      </a:cubicBezTo>
                      <a:cubicBezTo>
                        <a:pt x="3739528" y="4149721"/>
                        <a:pt x="3737205" y="4153054"/>
                        <a:pt x="3735154" y="4161258"/>
                      </a:cubicBezTo>
                      <a:cubicBezTo>
                        <a:pt x="3734005" y="4165855"/>
                        <a:pt x="3732366" y="4170459"/>
                        <a:pt x="3732366" y="4175197"/>
                      </a:cubicBezTo>
                      <a:cubicBezTo>
                        <a:pt x="3732366" y="4220675"/>
                        <a:pt x="3739489" y="4195646"/>
                        <a:pt x="3732366" y="4217014"/>
                      </a:cubicBezTo>
                      <a:cubicBezTo>
                        <a:pt x="3729578" y="4218872"/>
                        <a:pt x="3726096" y="4219973"/>
                        <a:pt x="3724003" y="4222589"/>
                      </a:cubicBezTo>
                      <a:cubicBezTo>
                        <a:pt x="3722167" y="4224884"/>
                        <a:pt x="3722409" y="4228267"/>
                        <a:pt x="3721215" y="4230953"/>
                      </a:cubicBezTo>
                      <a:cubicBezTo>
                        <a:pt x="3708270" y="4260078"/>
                        <a:pt x="3714077" y="4235416"/>
                        <a:pt x="3710064" y="4275558"/>
                      </a:cubicBezTo>
                      <a:cubicBezTo>
                        <a:pt x="3710860" y="4279541"/>
                        <a:pt x="3715941" y="4292962"/>
                        <a:pt x="3710064" y="4297860"/>
                      </a:cubicBezTo>
                      <a:cubicBezTo>
                        <a:pt x="3706220" y="4301064"/>
                        <a:pt x="3700771" y="4301577"/>
                        <a:pt x="3696125" y="4303436"/>
                      </a:cubicBezTo>
                      <a:cubicBezTo>
                        <a:pt x="3690549" y="4304365"/>
                        <a:pt x="3683998" y="4302939"/>
                        <a:pt x="3679398" y="4306224"/>
                      </a:cubicBezTo>
                      <a:cubicBezTo>
                        <a:pt x="3676280" y="4308451"/>
                        <a:pt x="3680037" y="4315662"/>
                        <a:pt x="3676610" y="4317375"/>
                      </a:cubicBezTo>
                      <a:cubicBezTo>
                        <a:pt x="3669084" y="4321138"/>
                        <a:pt x="3659883" y="4319234"/>
                        <a:pt x="3651520" y="4320163"/>
                      </a:cubicBezTo>
                      <a:cubicBezTo>
                        <a:pt x="3626838" y="4313111"/>
                        <a:pt x="3625486" y="4314021"/>
                        <a:pt x="3598551" y="4297860"/>
                      </a:cubicBezTo>
                      <a:cubicBezTo>
                        <a:pt x="3595170" y="4295832"/>
                        <a:pt x="3592976" y="4292285"/>
                        <a:pt x="3590188" y="4289497"/>
                      </a:cubicBezTo>
                      <a:cubicBezTo>
                        <a:pt x="3569575" y="4287436"/>
                        <a:pt x="3562917" y="4288837"/>
                        <a:pt x="3545583" y="4281133"/>
                      </a:cubicBezTo>
                      <a:cubicBezTo>
                        <a:pt x="3542521" y="4279772"/>
                        <a:pt x="3539794" y="4277703"/>
                        <a:pt x="3537220" y="4275558"/>
                      </a:cubicBezTo>
                      <a:cubicBezTo>
                        <a:pt x="3534191" y="4273034"/>
                        <a:pt x="3532596" y="4268441"/>
                        <a:pt x="3528856" y="4267194"/>
                      </a:cubicBezTo>
                      <a:cubicBezTo>
                        <a:pt x="3526068" y="4266265"/>
                        <a:pt x="3523328" y="4269209"/>
                        <a:pt x="3520493" y="4269982"/>
                      </a:cubicBezTo>
                      <a:cubicBezTo>
                        <a:pt x="3513100" y="4271998"/>
                        <a:pt x="3505625" y="4273699"/>
                        <a:pt x="3498191" y="4275558"/>
                      </a:cubicBezTo>
                      <a:cubicBezTo>
                        <a:pt x="3493544" y="4273699"/>
                        <a:pt x="3489256" y="4269982"/>
                        <a:pt x="3484251" y="4269982"/>
                      </a:cubicBezTo>
                      <a:cubicBezTo>
                        <a:pt x="3451827" y="4269982"/>
                        <a:pt x="3498024" y="4282938"/>
                        <a:pt x="3467525" y="4272770"/>
                      </a:cubicBezTo>
                      <a:lnTo>
                        <a:pt x="3448010" y="4278345"/>
                      </a:lnTo>
                      <a:cubicBezTo>
                        <a:pt x="3445195" y="4279189"/>
                        <a:pt x="3442563" y="4280768"/>
                        <a:pt x="3439647" y="4281133"/>
                      </a:cubicBezTo>
                      <a:cubicBezTo>
                        <a:pt x="3420195" y="4283565"/>
                        <a:pt x="3400618" y="4284850"/>
                        <a:pt x="3381103" y="4286709"/>
                      </a:cubicBezTo>
                      <a:cubicBezTo>
                        <a:pt x="3378315" y="4285780"/>
                        <a:pt x="3374575" y="4286216"/>
                        <a:pt x="3372739" y="4283921"/>
                      </a:cubicBezTo>
                      <a:cubicBezTo>
                        <a:pt x="3370345" y="4280929"/>
                        <a:pt x="3371003" y="4276454"/>
                        <a:pt x="3369951" y="4272770"/>
                      </a:cubicBezTo>
                      <a:cubicBezTo>
                        <a:pt x="3366213" y="4259687"/>
                        <a:pt x="3367965" y="4268132"/>
                        <a:pt x="3361588" y="4253255"/>
                      </a:cubicBezTo>
                      <a:cubicBezTo>
                        <a:pt x="3360430" y="4250554"/>
                        <a:pt x="3360636" y="4247187"/>
                        <a:pt x="3358800" y="4244892"/>
                      </a:cubicBezTo>
                      <a:cubicBezTo>
                        <a:pt x="3344799" y="4227390"/>
                        <a:pt x="3354052" y="4253773"/>
                        <a:pt x="3347649" y="4228165"/>
                      </a:cubicBezTo>
                      <a:cubicBezTo>
                        <a:pt x="3343003" y="4227236"/>
                        <a:pt x="3338205" y="4223879"/>
                        <a:pt x="3333710" y="4225377"/>
                      </a:cubicBezTo>
                      <a:cubicBezTo>
                        <a:pt x="3323788" y="4228684"/>
                        <a:pt x="3322372" y="4237088"/>
                        <a:pt x="3319771" y="4244892"/>
                      </a:cubicBezTo>
                      <a:cubicBezTo>
                        <a:pt x="3314188" y="4246009"/>
                        <a:pt x="3310148" y="4246870"/>
                        <a:pt x="3307290" y="4247515"/>
                      </a:cubicBezTo>
                      <a:lnTo>
                        <a:pt x="3303979" y="4248325"/>
                      </a:lnTo>
                      <a:lnTo>
                        <a:pt x="3244500" y="4239316"/>
                      </a:lnTo>
                      <a:cubicBezTo>
                        <a:pt x="3241712" y="4242104"/>
                        <a:pt x="3238324" y="4244400"/>
                        <a:pt x="3236137" y="4247680"/>
                      </a:cubicBezTo>
                      <a:cubicBezTo>
                        <a:pt x="3234507" y="4250125"/>
                        <a:pt x="3236287" y="4256043"/>
                        <a:pt x="3233349" y="4256043"/>
                      </a:cubicBezTo>
                      <a:cubicBezTo>
                        <a:pt x="3229999" y="4256043"/>
                        <a:pt x="3230389" y="4249773"/>
                        <a:pt x="3227773" y="4247680"/>
                      </a:cubicBezTo>
                      <a:cubicBezTo>
                        <a:pt x="3225478" y="4245844"/>
                        <a:pt x="3222198" y="4245821"/>
                        <a:pt x="3219410" y="4244892"/>
                      </a:cubicBezTo>
                      <a:cubicBezTo>
                        <a:pt x="3212905" y="4243963"/>
                        <a:pt x="3206048" y="4239797"/>
                        <a:pt x="3199895" y="4242104"/>
                      </a:cubicBezTo>
                      <a:cubicBezTo>
                        <a:pt x="3196308" y="4243449"/>
                        <a:pt x="3198821" y="4249828"/>
                        <a:pt x="3197108" y="4253255"/>
                      </a:cubicBezTo>
                      <a:cubicBezTo>
                        <a:pt x="3195030" y="4257411"/>
                        <a:pt x="3191532" y="4260689"/>
                        <a:pt x="3188744" y="4264406"/>
                      </a:cubicBezTo>
                      <a:cubicBezTo>
                        <a:pt x="3185956" y="4265335"/>
                        <a:pt x="3182932" y="4265736"/>
                        <a:pt x="3180381" y="4267194"/>
                      </a:cubicBezTo>
                      <a:cubicBezTo>
                        <a:pt x="3174025" y="4270826"/>
                        <a:pt x="3166417" y="4276554"/>
                        <a:pt x="3163654" y="4283921"/>
                      </a:cubicBezTo>
                      <a:cubicBezTo>
                        <a:pt x="3161990" y="4288358"/>
                        <a:pt x="3161894" y="4293234"/>
                        <a:pt x="3160866" y="4297860"/>
                      </a:cubicBezTo>
                      <a:cubicBezTo>
                        <a:pt x="3160035" y="4301600"/>
                        <a:pt x="3159007" y="4305294"/>
                        <a:pt x="3158078" y="4309011"/>
                      </a:cubicBezTo>
                      <a:cubicBezTo>
                        <a:pt x="3150644" y="4309940"/>
                        <a:pt x="3143147" y="4310459"/>
                        <a:pt x="3135776" y="4311799"/>
                      </a:cubicBezTo>
                      <a:cubicBezTo>
                        <a:pt x="3132885" y="4312325"/>
                        <a:pt x="3129707" y="4312751"/>
                        <a:pt x="3127412" y="4314587"/>
                      </a:cubicBezTo>
                      <a:cubicBezTo>
                        <a:pt x="3124796" y="4316680"/>
                        <a:pt x="3125142" y="4322399"/>
                        <a:pt x="3121837" y="4322950"/>
                      </a:cubicBezTo>
                      <a:cubicBezTo>
                        <a:pt x="3117738" y="4323633"/>
                        <a:pt x="3112544" y="4321092"/>
                        <a:pt x="3110686" y="4317375"/>
                      </a:cubicBezTo>
                      <a:cubicBezTo>
                        <a:pt x="3107335" y="4310674"/>
                        <a:pt x="3108827" y="4302506"/>
                        <a:pt x="3107898" y="4295072"/>
                      </a:cubicBezTo>
                      <a:cubicBezTo>
                        <a:pt x="3091940" y="4289753"/>
                        <a:pt x="3078676" y="4283914"/>
                        <a:pt x="3060505" y="4286709"/>
                      </a:cubicBezTo>
                      <a:cubicBezTo>
                        <a:pt x="3057194" y="4287218"/>
                        <a:pt x="3056788" y="4292284"/>
                        <a:pt x="3054930" y="4295072"/>
                      </a:cubicBezTo>
                      <a:cubicBezTo>
                        <a:pt x="3038203" y="4296001"/>
                        <a:pt x="3021444" y="4299251"/>
                        <a:pt x="3004749" y="4297860"/>
                      </a:cubicBezTo>
                      <a:cubicBezTo>
                        <a:pt x="2998537" y="4297342"/>
                        <a:pt x="2993522" y="4292430"/>
                        <a:pt x="2988022" y="4289497"/>
                      </a:cubicBezTo>
                      <a:cubicBezTo>
                        <a:pt x="2979580" y="4284995"/>
                        <a:pt x="2971295" y="4280204"/>
                        <a:pt x="2962932" y="4275558"/>
                      </a:cubicBezTo>
                      <a:cubicBezTo>
                        <a:pt x="2962003" y="4278346"/>
                        <a:pt x="2961980" y="4281626"/>
                        <a:pt x="2960144" y="4283921"/>
                      </a:cubicBezTo>
                      <a:cubicBezTo>
                        <a:pt x="2958051" y="4286537"/>
                        <a:pt x="2954150" y="4287128"/>
                        <a:pt x="2951781" y="4289497"/>
                      </a:cubicBezTo>
                      <a:cubicBezTo>
                        <a:pt x="2949412" y="4291866"/>
                        <a:pt x="2948064" y="4295072"/>
                        <a:pt x="2946205" y="4297860"/>
                      </a:cubicBezTo>
                      <a:cubicBezTo>
                        <a:pt x="2940629" y="4298789"/>
                        <a:pt x="2935131" y="4300648"/>
                        <a:pt x="2929478" y="4300648"/>
                      </a:cubicBezTo>
                      <a:cubicBezTo>
                        <a:pt x="2923708" y="4300648"/>
                        <a:pt x="2916979" y="4295102"/>
                        <a:pt x="2912751" y="4292284"/>
                      </a:cubicBezTo>
                      <a:cubicBezTo>
                        <a:pt x="2909963" y="4294143"/>
                        <a:pt x="2907385" y="4296361"/>
                        <a:pt x="2904388" y="4297860"/>
                      </a:cubicBezTo>
                      <a:cubicBezTo>
                        <a:pt x="2901760" y="4299174"/>
                        <a:pt x="2898416" y="4298940"/>
                        <a:pt x="2896025" y="4300648"/>
                      </a:cubicBezTo>
                      <a:cubicBezTo>
                        <a:pt x="2891747" y="4303703"/>
                        <a:pt x="2888590" y="4308082"/>
                        <a:pt x="2884873" y="4311799"/>
                      </a:cubicBezTo>
                      <a:cubicBezTo>
                        <a:pt x="2877439" y="4313658"/>
                        <a:pt x="2869425" y="4313948"/>
                        <a:pt x="2862571" y="4317375"/>
                      </a:cubicBezTo>
                      <a:cubicBezTo>
                        <a:pt x="2856189" y="4320566"/>
                        <a:pt x="2855075" y="4335342"/>
                        <a:pt x="2854208" y="4339677"/>
                      </a:cubicBezTo>
                      <a:cubicBezTo>
                        <a:pt x="2799172" y="4347540"/>
                        <a:pt x="2883771" y="4335885"/>
                        <a:pt x="2762210" y="4348041"/>
                      </a:cubicBezTo>
                      <a:cubicBezTo>
                        <a:pt x="2758398" y="4348422"/>
                        <a:pt x="2754816" y="4350077"/>
                        <a:pt x="2751059" y="4350828"/>
                      </a:cubicBezTo>
                      <a:cubicBezTo>
                        <a:pt x="2745516" y="4351936"/>
                        <a:pt x="2739908" y="4352687"/>
                        <a:pt x="2734332" y="4353616"/>
                      </a:cubicBezTo>
                      <a:cubicBezTo>
                        <a:pt x="2716297" y="4351040"/>
                        <a:pt x="2718117" y="4351982"/>
                        <a:pt x="2703666" y="4348041"/>
                      </a:cubicBezTo>
                      <a:cubicBezTo>
                        <a:pt x="2697139" y="4346261"/>
                        <a:pt x="2690889" y="4343078"/>
                        <a:pt x="2684151" y="4342465"/>
                      </a:cubicBezTo>
                      <a:cubicBezTo>
                        <a:pt x="2680335" y="4342118"/>
                        <a:pt x="2675943" y="4342800"/>
                        <a:pt x="2673000" y="4345253"/>
                      </a:cubicBezTo>
                      <a:cubicBezTo>
                        <a:pt x="2669808" y="4347913"/>
                        <a:pt x="2669283" y="4352687"/>
                        <a:pt x="2667425" y="4356404"/>
                      </a:cubicBezTo>
                      <a:cubicBezTo>
                        <a:pt x="2657203" y="4357333"/>
                        <a:pt x="2646920" y="4357740"/>
                        <a:pt x="2636759" y="4359192"/>
                      </a:cubicBezTo>
                      <a:cubicBezTo>
                        <a:pt x="2633850" y="4359608"/>
                        <a:pt x="2630690" y="4360144"/>
                        <a:pt x="2628395" y="4361980"/>
                      </a:cubicBezTo>
                      <a:cubicBezTo>
                        <a:pt x="2625779" y="4364073"/>
                        <a:pt x="2623879" y="4367165"/>
                        <a:pt x="2622820" y="4370343"/>
                      </a:cubicBezTo>
                      <a:cubicBezTo>
                        <a:pt x="2621033" y="4375706"/>
                        <a:pt x="2620032" y="4381417"/>
                        <a:pt x="2620032" y="4387070"/>
                      </a:cubicBezTo>
                      <a:cubicBezTo>
                        <a:pt x="2620032" y="4391808"/>
                        <a:pt x="2621891" y="4396363"/>
                        <a:pt x="2622820" y="4401009"/>
                      </a:cubicBezTo>
                      <a:cubicBezTo>
                        <a:pt x="2603305" y="4395433"/>
                        <a:pt x="2583455" y="4390921"/>
                        <a:pt x="2564276" y="4384282"/>
                      </a:cubicBezTo>
                      <a:cubicBezTo>
                        <a:pt x="2559156" y="4382510"/>
                        <a:pt x="2555183" y="4378342"/>
                        <a:pt x="2550337" y="4375919"/>
                      </a:cubicBezTo>
                      <a:cubicBezTo>
                        <a:pt x="2547708" y="4374605"/>
                        <a:pt x="2544702" y="4374223"/>
                        <a:pt x="2541973" y="4373131"/>
                      </a:cubicBezTo>
                      <a:cubicBezTo>
                        <a:pt x="2535402" y="4370503"/>
                        <a:pt x="2528964" y="4367555"/>
                        <a:pt x="2522459" y="4364767"/>
                      </a:cubicBezTo>
                      <a:cubicBezTo>
                        <a:pt x="2512237" y="4363838"/>
                        <a:pt x="2501858" y="4363993"/>
                        <a:pt x="2491793" y="4361980"/>
                      </a:cubicBezTo>
                      <a:cubicBezTo>
                        <a:pt x="2469434" y="4357508"/>
                        <a:pt x="2471442" y="4355104"/>
                        <a:pt x="2455551" y="4348041"/>
                      </a:cubicBezTo>
                      <a:cubicBezTo>
                        <a:pt x="2450978" y="4346009"/>
                        <a:pt x="2444907" y="4346231"/>
                        <a:pt x="2441612" y="4342465"/>
                      </a:cubicBezTo>
                      <a:cubicBezTo>
                        <a:pt x="2420708" y="4318573"/>
                        <a:pt x="2450942" y="4329465"/>
                        <a:pt x="2424886" y="4322950"/>
                      </a:cubicBezTo>
                      <a:cubicBezTo>
                        <a:pt x="2381210" y="4321271"/>
                        <a:pt x="2351964" y="4325895"/>
                        <a:pt x="2313373" y="4309011"/>
                      </a:cubicBezTo>
                      <a:cubicBezTo>
                        <a:pt x="2310304" y="4307668"/>
                        <a:pt x="2310478" y="4302658"/>
                        <a:pt x="2307798" y="4300648"/>
                      </a:cubicBezTo>
                      <a:cubicBezTo>
                        <a:pt x="2300053" y="4294839"/>
                        <a:pt x="2291513" y="4292431"/>
                        <a:pt x="2282708" y="4289497"/>
                      </a:cubicBezTo>
                      <a:cubicBezTo>
                        <a:pt x="2270820" y="4292468"/>
                        <a:pt x="2271482" y="4289645"/>
                        <a:pt x="2265981" y="4300648"/>
                      </a:cubicBezTo>
                      <a:cubicBezTo>
                        <a:pt x="2264074" y="4304462"/>
                        <a:pt x="2262610" y="4315378"/>
                        <a:pt x="2257617" y="4317375"/>
                      </a:cubicBezTo>
                      <a:cubicBezTo>
                        <a:pt x="2250661" y="4320158"/>
                        <a:pt x="2242749" y="4319234"/>
                        <a:pt x="2235315" y="4320163"/>
                      </a:cubicBezTo>
                      <a:cubicBezTo>
                        <a:pt x="2229057" y="4318375"/>
                        <a:pt x="2213268" y="4316008"/>
                        <a:pt x="2207437" y="4309011"/>
                      </a:cubicBezTo>
                      <a:cubicBezTo>
                        <a:pt x="2204777" y="4305818"/>
                        <a:pt x="2203923" y="4301468"/>
                        <a:pt x="2201861" y="4297860"/>
                      </a:cubicBezTo>
                      <a:cubicBezTo>
                        <a:pt x="2197873" y="4290882"/>
                        <a:pt x="2194213" y="4286376"/>
                        <a:pt x="2187922" y="4281133"/>
                      </a:cubicBezTo>
                      <a:cubicBezTo>
                        <a:pt x="2185348" y="4278988"/>
                        <a:pt x="2182852" y="4276175"/>
                        <a:pt x="2179559" y="4275558"/>
                      </a:cubicBezTo>
                      <a:cubicBezTo>
                        <a:pt x="2149621" y="4269945"/>
                        <a:pt x="2151870" y="4270632"/>
                        <a:pt x="2132166" y="4275558"/>
                      </a:cubicBezTo>
                      <a:cubicBezTo>
                        <a:pt x="2127304" y="4274343"/>
                        <a:pt x="2115860" y="4272809"/>
                        <a:pt x="2112651" y="4267194"/>
                      </a:cubicBezTo>
                      <a:cubicBezTo>
                        <a:pt x="2110300" y="4263080"/>
                        <a:pt x="2109276" y="4257957"/>
                        <a:pt x="2109864" y="4253255"/>
                      </a:cubicBezTo>
                      <a:cubicBezTo>
                        <a:pt x="2110280" y="4249931"/>
                        <a:pt x="2113581" y="4247680"/>
                        <a:pt x="2115439" y="4244892"/>
                      </a:cubicBezTo>
                      <a:cubicBezTo>
                        <a:pt x="2118227" y="4243033"/>
                        <a:pt x="2121229" y="4241461"/>
                        <a:pt x="2123803" y="4239316"/>
                      </a:cubicBezTo>
                      <a:cubicBezTo>
                        <a:pt x="2126832" y="4236792"/>
                        <a:pt x="2128958" y="4233244"/>
                        <a:pt x="2132166" y="4230953"/>
                      </a:cubicBezTo>
                      <a:cubicBezTo>
                        <a:pt x="2135548" y="4228537"/>
                        <a:pt x="2141773" y="4229236"/>
                        <a:pt x="2143317" y="4225377"/>
                      </a:cubicBezTo>
                      <a:cubicBezTo>
                        <a:pt x="2144561" y="4222266"/>
                        <a:pt x="2139600" y="4219802"/>
                        <a:pt x="2137742" y="4217014"/>
                      </a:cubicBezTo>
                      <a:cubicBezTo>
                        <a:pt x="2129378" y="4216085"/>
                        <a:pt x="2120952" y="4215610"/>
                        <a:pt x="2112651" y="4214226"/>
                      </a:cubicBezTo>
                      <a:cubicBezTo>
                        <a:pt x="2109752" y="4213743"/>
                        <a:pt x="2106583" y="4213274"/>
                        <a:pt x="2104288" y="4211438"/>
                      </a:cubicBezTo>
                      <a:lnTo>
                        <a:pt x="2099886" y="4204836"/>
                      </a:lnTo>
                      <a:lnTo>
                        <a:pt x="2104288" y="4203075"/>
                      </a:lnTo>
                      <a:cubicBezTo>
                        <a:pt x="2107039" y="4202043"/>
                        <a:pt x="2109826" y="4201094"/>
                        <a:pt x="2112651" y="4200287"/>
                      </a:cubicBezTo>
                      <a:cubicBezTo>
                        <a:pt x="2116335" y="4199234"/>
                        <a:pt x="2120086" y="4196570"/>
                        <a:pt x="2123803" y="4197499"/>
                      </a:cubicBezTo>
                      <a:cubicBezTo>
                        <a:pt x="2128311" y="4198626"/>
                        <a:pt x="2131237" y="4203075"/>
                        <a:pt x="2134954" y="4205863"/>
                      </a:cubicBezTo>
                      <a:cubicBezTo>
                        <a:pt x="2140530" y="4206792"/>
                        <a:pt x="2146319" y="4206863"/>
                        <a:pt x="2151681" y="4208650"/>
                      </a:cubicBezTo>
                      <a:cubicBezTo>
                        <a:pt x="2154860" y="4209709"/>
                        <a:pt x="2156694" y="4214226"/>
                        <a:pt x="2160044" y="4214226"/>
                      </a:cubicBezTo>
                      <a:cubicBezTo>
                        <a:pt x="2163395" y="4214226"/>
                        <a:pt x="2165620" y="4210509"/>
                        <a:pt x="2168408" y="4208650"/>
                      </a:cubicBezTo>
                      <a:cubicBezTo>
                        <a:pt x="2175842" y="4207721"/>
                        <a:pt x="2183320" y="4207095"/>
                        <a:pt x="2190710" y="4205863"/>
                      </a:cubicBezTo>
                      <a:cubicBezTo>
                        <a:pt x="2194489" y="4205233"/>
                        <a:pt x="2198869" y="4205469"/>
                        <a:pt x="2201861" y="4203075"/>
                      </a:cubicBezTo>
                      <a:cubicBezTo>
                        <a:pt x="2204156" y="4201239"/>
                        <a:pt x="2201920" y="4195802"/>
                        <a:pt x="2204649" y="4194711"/>
                      </a:cubicBezTo>
                      <a:cubicBezTo>
                        <a:pt x="2212462" y="4191586"/>
                        <a:pt x="2221376" y="4192853"/>
                        <a:pt x="2229739" y="4191924"/>
                      </a:cubicBezTo>
                      <a:cubicBezTo>
                        <a:pt x="2224718" y="4186902"/>
                        <a:pt x="2218710" y="4181987"/>
                        <a:pt x="2215800" y="4175197"/>
                      </a:cubicBezTo>
                      <a:cubicBezTo>
                        <a:pt x="2214291" y="4171675"/>
                        <a:pt x="2214357" y="4167633"/>
                        <a:pt x="2213012" y="4164045"/>
                      </a:cubicBezTo>
                      <a:cubicBezTo>
                        <a:pt x="2204705" y="4141890"/>
                        <a:pt x="2201666" y="4159715"/>
                        <a:pt x="2204649" y="4119441"/>
                      </a:cubicBezTo>
                      <a:cubicBezTo>
                        <a:pt x="2205699" y="4105265"/>
                        <a:pt x="2210352" y="4091588"/>
                        <a:pt x="2213012" y="4077624"/>
                      </a:cubicBezTo>
                      <a:cubicBezTo>
                        <a:pt x="2214070" y="4072071"/>
                        <a:pt x="2214871" y="4066473"/>
                        <a:pt x="2215800" y="4060897"/>
                      </a:cubicBezTo>
                      <a:cubicBezTo>
                        <a:pt x="2241148" y="4041885"/>
                        <a:pt x="2222280" y="4060545"/>
                        <a:pt x="2215800" y="4049745"/>
                      </a:cubicBezTo>
                      <a:cubicBezTo>
                        <a:pt x="2213829" y="4046460"/>
                        <a:pt x="2217659" y="4042311"/>
                        <a:pt x="2218588" y="4038594"/>
                      </a:cubicBezTo>
                      <a:cubicBezTo>
                        <a:pt x="2222927" y="4032086"/>
                        <a:pt x="2226773" y="4024308"/>
                        <a:pt x="2235315" y="4021867"/>
                      </a:cubicBezTo>
                      <a:cubicBezTo>
                        <a:pt x="2238140" y="4021060"/>
                        <a:pt x="2240827" y="4023942"/>
                        <a:pt x="2243678" y="4024655"/>
                      </a:cubicBezTo>
                      <a:cubicBezTo>
                        <a:pt x="2248275" y="4025804"/>
                        <a:pt x="2252971" y="4026514"/>
                        <a:pt x="2257617" y="4027443"/>
                      </a:cubicBezTo>
                      <a:cubicBezTo>
                        <a:pt x="2262263" y="4026514"/>
                        <a:pt x="2268205" y="4028005"/>
                        <a:pt x="2271556" y="4024655"/>
                      </a:cubicBezTo>
                      <a:cubicBezTo>
                        <a:pt x="2273634" y="4022577"/>
                        <a:pt x="2271064" y="4018128"/>
                        <a:pt x="2268769" y="4016292"/>
                      </a:cubicBezTo>
                      <a:cubicBezTo>
                        <a:pt x="2265777" y="4013898"/>
                        <a:pt x="2261334" y="4014433"/>
                        <a:pt x="2257617" y="4013504"/>
                      </a:cubicBezTo>
                      <a:cubicBezTo>
                        <a:pt x="2248324" y="4012575"/>
                        <a:pt x="2238969" y="4012136"/>
                        <a:pt x="2229739" y="4010716"/>
                      </a:cubicBezTo>
                      <a:cubicBezTo>
                        <a:pt x="2226835" y="4010269"/>
                        <a:pt x="2223454" y="4010006"/>
                        <a:pt x="2221376" y="4007928"/>
                      </a:cubicBezTo>
                      <a:cubicBezTo>
                        <a:pt x="2219298" y="4005850"/>
                        <a:pt x="2219517" y="4002353"/>
                        <a:pt x="2218588" y="3999565"/>
                      </a:cubicBezTo>
                      <a:cubicBezTo>
                        <a:pt x="2207437" y="3998636"/>
                        <a:pt x="2196247" y="3998085"/>
                        <a:pt x="2185134" y="3996777"/>
                      </a:cubicBezTo>
                      <a:cubicBezTo>
                        <a:pt x="2180428" y="3996223"/>
                        <a:pt x="2175213" y="3996500"/>
                        <a:pt x="2171195" y="3993989"/>
                      </a:cubicBezTo>
                      <a:cubicBezTo>
                        <a:pt x="2167255" y="3991526"/>
                        <a:pt x="2165620" y="3986555"/>
                        <a:pt x="2162832" y="3982838"/>
                      </a:cubicBezTo>
                      <a:cubicBezTo>
                        <a:pt x="2146570" y="3977417"/>
                        <a:pt x="2160742" y="3984754"/>
                        <a:pt x="2151681" y="3968899"/>
                      </a:cubicBezTo>
                      <a:cubicBezTo>
                        <a:pt x="2149725" y="3965476"/>
                        <a:pt x="2146105" y="3963324"/>
                        <a:pt x="2143317" y="3960536"/>
                      </a:cubicBezTo>
                      <a:cubicBezTo>
                        <a:pt x="2165005" y="3956198"/>
                        <a:pt x="2150157" y="3961008"/>
                        <a:pt x="2165620" y="3952172"/>
                      </a:cubicBezTo>
                      <a:cubicBezTo>
                        <a:pt x="2169228" y="3950110"/>
                        <a:pt x="2173833" y="3949535"/>
                        <a:pt x="2176771" y="3946597"/>
                      </a:cubicBezTo>
                      <a:cubicBezTo>
                        <a:pt x="2179710" y="3943658"/>
                        <a:pt x="2180488" y="3939162"/>
                        <a:pt x="2182347" y="3935445"/>
                      </a:cubicBezTo>
                      <a:cubicBezTo>
                        <a:pt x="2188852" y="3933587"/>
                        <a:pt x="2195580" y="3932382"/>
                        <a:pt x="2201861" y="3929870"/>
                      </a:cubicBezTo>
                      <a:cubicBezTo>
                        <a:pt x="2204972" y="3928626"/>
                        <a:pt x="2207088" y="3925471"/>
                        <a:pt x="2210225" y="3924294"/>
                      </a:cubicBezTo>
                      <a:cubicBezTo>
                        <a:pt x="2237786" y="3913958"/>
                        <a:pt x="2212913" y="3929006"/>
                        <a:pt x="2232527" y="3915931"/>
                      </a:cubicBezTo>
                      <a:cubicBezTo>
                        <a:pt x="2227881" y="3915002"/>
                        <a:pt x="2222228" y="3916176"/>
                        <a:pt x="2218588" y="3913143"/>
                      </a:cubicBezTo>
                      <a:cubicBezTo>
                        <a:pt x="2210550" y="3906444"/>
                        <a:pt x="2218688" y="3896216"/>
                        <a:pt x="2221376" y="3890841"/>
                      </a:cubicBezTo>
                      <a:cubicBezTo>
                        <a:pt x="2230192" y="3887314"/>
                        <a:pt x="2238696" y="3886036"/>
                        <a:pt x="2243678" y="3876902"/>
                      </a:cubicBezTo>
                      <a:cubicBezTo>
                        <a:pt x="2247480" y="3869932"/>
                        <a:pt x="2249254" y="3862033"/>
                        <a:pt x="2252042" y="3854599"/>
                      </a:cubicBezTo>
                      <a:cubicBezTo>
                        <a:pt x="2254395" y="3848325"/>
                        <a:pt x="2259476" y="3843448"/>
                        <a:pt x="2263193" y="3837872"/>
                      </a:cubicBezTo>
                      <a:cubicBezTo>
                        <a:pt x="2270627" y="3836943"/>
                        <a:pt x="2278539" y="3837866"/>
                        <a:pt x="2285495" y="3835084"/>
                      </a:cubicBezTo>
                      <a:cubicBezTo>
                        <a:pt x="2298188" y="3830007"/>
                        <a:pt x="2287671" y="3823435"/>
                        <a:pt x="2285495" y="3818358"/>
                      </a:cubicBezTo>
                      <a:cubicBezTo>
                        <a:pt x="2283986" y="3814836"/>
                        <a:pt x="2283637" y="3810923"/>
                        <a:pt x="2282708" y="3807206"/>
                      </a:cubicBezTo>
                      <a:cubicBezTo>
                        <a:pt x="2282708" y="3807206"/>
                        <a:pt x="2276294" y="3795218"/>
                        <a:pt x="2271556" y="3790480"/>
                      </a:cubicBezTo>
                      <a:cubicBezTo>
                        <a:pt x="2269478" y="3788402"/>
                        <a:pt x="2265981" y="3788621"/>
                        <a:pt x="2263193" y="3787692"/>
                      </a:cubicBezTo>
                      <a:cubicBezTo>
                        <a:pt x="2253347" y="3790975"/>
                        <a:pt x="2250640" y="3790492"/>
                        <a:pt x="2243678" y="3801631"/>
                      </a:cubicBezTo>
                      <a:cubicBezTo>
                        <a:pt x="2241647" y="3804880"/>
                        <a:pt x="2242862" y="3809497"/>
                        <a:pt x="2240891" y="3812782"/>
                      </a:cubicBezTo>
                      <a:cubicBezTo>
                        <a:pt x="2232313" y="3827078"/>
                        <a:pt x="2229525" y="3827793"/>
                        <a:pt x="2218588" y="3835084"/>
                      </a:cubicBezTo>
                      <a:cubicBezTo>
                        <a:pt x="2216729" y="3831367"/>
                        <a:pt x="2213528" y="3828057"/>
                        <a:pt x="2213012" y="3823933"/>
                      </a:cubicBezTo>
                      <a:cubicBezTo>
                        <a:pt x="2211033" y="3808105"/>
                        <a:pt x="2223637" y="3815395"/>
                        <a:pt x="2207437" y="3809994"/>
                      </a:cubicBezTo>
                      <a:cubicBezTo>
                        <a:pt x="2205578" y="3816499"/>
                        <a:pt x="2203805" y="3823029"/>
                        <a:pt x="2201861" y="3829509"/>
                      </a:cubicBezTo>
                      <a:cubicBezTo>
                        <a:pt x="2201017" y="3832324"/>
                        <a:pt x="2200387" y="3835244"/>
                        <a:pt x="2199073" y="3837872"/>
                      </a:cubicBezTo>
                      <a:cubicBezTo>
                        <a:pt x="2197575" y="3840869"/>
                        <a:pt x="2196286" y="3844377"/>
                        <a:pt x="2193498" y="3846236"/>
                      </a:cubicBezTo>
                      <a:cubicBezTo>
                        <a:pt x="2187609" y="3850162"/>
                        <a:pt x="2180313" y="3857764"/>
                        <a:pt x="2173983" y="3854599"/>
                      </a:cubicBezTo>
                      <a:cubicBezTo>
                        <a:pt x="2168106" y="3851660"/>
                        <a:pt x="2172124" y="3841589"/>
                        <a:pt x="2171195" y="3835084"/>
                      </a:cubicBezTo>
                      <a:cubicBezTo>
                        <a:pt x="2161370" y="3820345"/>
                        <a:pt x="2166433" y="3829971"/>
                        <a:pt x="2160044" y="3804419"/>
                      </a:cubicBezTo>
                      <a:cubicBezTo>
                        <a:pt x="2158248" y="3801724"/>
                        <a:pt x="2148422" y="3787731"/>
                        <a:pt x="2148893" y="3784904"/>
                      </a:cubicBezTo>
                      <a:cubicBezTo>
                        <a:pt x="2150259" y="3776706"/>
                        <a:pt x="2156327" y="3770036"/>
                        <a:pt x="2160044" y="3762602"/>
                      </a:cubicBezTo>
                      <a:cubicBezTo>
                        <a:pt x="2174831" y="3758905"/>
                        <a:pt x="2181185" y="3759348"/>
                        <a:pt x="2190710" y="3740299"/>
                      </a:cubicBezTo>
                      <a:cubicBezTo>
                        <a:pt x="2194473" y="3732773"/>
                        <a:pt x="2192218" y="3723526"/>
                        <a:pt x="2193498" y="3715209"/>
                      </a:cubicBezTo>
                      <a:cubicBezTo>
                        <a:pt x="2194081" y="3711422"/>
                        <a:pt x="2195357" y="3707775"/>
                        <a:pt x="2196286" y="3704058"/>
                      </a:cubicBezTo>
                      <a:cubicBezTo>
                        <a:pt x="2208366" y="3703129"/>
                        <a:pt x="2220700" y="3703899"/>
                        <a:pt x="2232527" y="3701270"/>
                      </a:cubicBezTo>
                      <a:cubicBezTo>
                        <a:pt x="2237817" y="3700094"/>
                        <a:pt x="2241619" y="3695329"/>
                        <a:pt x="2246466" y="3692906"/>
                      </a:cubicBezTo>
                      <a:cubicBezTo>
                        <a:pt x="2264269" y="3684005"/>
                        <a:pt x="2244788" y="3700162"/>
                        <a:pt x="2265981" y="3678967"/>
                      </a:cubicBezTo>
                      <a:cubicBezTo>
                        <a:pt x="2271557" y="3678038"/>
                        <a:pt x="2277190" y="3677406"/>
                        <a:pt x="2282708" y="3676180"/>
                      </a:cubicBezTo>
                      <a:cubicBezTo>
                        <a:pt x="2285577" y="3675543"/>
                        <a:pt x="2289878" y="3676077"/>
                        <a:pt x="2291071" y="3673392"/>
                      </a:cubicBezTo>
                      <a:cubicBezTo>
                        <a:pt x="2294114" y="3666545"/>
                        <a:pt x="2292930" y="3658523"/>
                        <a:pt x="2293859" y="3651089"/>
                      </a:cubicBezTo>
                      <a:cubicBezTo>
                        <a:pt x="2292930" y="3648301"/>
                        <a:pt x="2292229" y="3645427"/>
                        <a:pt x="2291071" y="3642726"/>
                      </a:cubicBezTo>
                      <a:cubicBezTo>
                        <a:pt x="2289434" y="3638906"/>
                        <a:pt x="2286010" y="3635699"/>
                        <a:pt x="2285495" y="3631575"/>
                      </a:cubicBezTo>
                      <a:cubicBezTo>
                        <a:pt x="2283187" y="3613110"/>
                        <a:pt x="2285896" y="3594152"/>
                        <a:pt x="2282708" y="3575819"/>
                      </a:cubicBezTo>
                      <a:cubicBezTo>
                        <a:pt x="2282032" y="3571934"/>
                        <a:pt x="2276868" y="3570484"/>
                        <a:pt x="2274344" y="3567455"/>
                      </a:cubicBezTo>
                      <a:cubicBezTo>
                        <a:pt x="2272199" y="3564881"/>
                        <a:pt x="2270627" y="3561880"/>
                        <a:pt x="2268769" y="3559092"/>
                      </a:cubicBezTo>
                      <a:cubicBezTo>
                        <a:pt x="2263743" y="3557417"/>
                        <a:pt x="2255420" y="3555458"/>
                        <a:pt x="2252042" y="3550728"/>
                      </a:cubicBezTo>
                      <a:cubicBezTo>
                        <a:pt x="2249133" y="3546656"/>
                        <a:pt x="2250005" y="3540327"/>
                        <a:pt x="2246466" y="3536789"/>
                      </a:cubicBezTo>
                      <a:cubicBezTo>
                        <a:pt x="2224798" y="3515122"/>
                        <a:pt x="2237046" y="3544771"/>
                        <a:pt x="2229739" y="3522850"/>
                      </a:cubicBezTo>
                      <a:cubicBezTo>
                        <a:pt x="2236945" y="3512042"/>
                        <a:pt x="2234255" y="3517666"/>
                        <a:pt x="2238103" y="3506124"/>
                      </a:cubicBezTo>
                      <a:cubicBezTo>
                        <a:pt x="2240222" y="3499767"/>
                        <a:pt x="2247135" y="3495754"/>
                        <a:pt x="2249254" y="3489397"/>
                      </a:cubicBezTo>
                      <a:lnTo>
                        <a:pt x="2246466" y="3481033"/>
                      </a:lnTo>
                      <a:cubicBezTo>
                        <a:pt x="2237173" y="3480104"/>
                        <a:pt x="2227818" y="3479665"/>
                        <a:pt x="2218588" y="3478245"/>
                      </a:cubicBezTo>
                      <a:cubicBezTo>
                        <a:pt x="2215684" y="3477798"/>
                        <a:pt x="2212303" y="3477536"/>
                        <a:pt x="2210225" y="3475458"/>
                      </a:cubicBezTo>
                      <a:cubicBezTo>
                        <a:pt x="2208147" y="3473380"/>
                        <a:pt x="2208366" y="3469882"/>
                        <a:pt x="2207437" y="3467094"/>
                      </a:cubicBezTo>
                      <a:cubicBezTo>
                        <a:pt x="2208366" y="3463377"/>
                        <a:pt x="2207282" y="3458396"/>
                        <a:pt x="2210225" y="3455943"/>
                      </a:cubicBezTo>
                      <a:cubicBezTo>
                        <a:pt x="2213865" y="3452910"/>
                        <a:pt x="2221726" y="3457218"/>
                        <a:pt x="2224164" y="3453155"/>
                      </a:cubicBezTo>
                      <a:cubicBezTo>
                        <a:pt x="2228493" y="3445939"/>
                        <a:pt x="2226022" y="3436428"/>
                        <a:pt x="2226951" y="3428065"/>
                      </a:cubicBezTo>
                      <a:cubicBezTo>
                        <a:pt x="2237420" y="3425074"/>
                        <a:pt x="2254204" y="3425842"/>
                        <a:pt x="2252042" y="3408550"/>
                      </a:cubicBezTo>
                      <a:cubicBezTo>
                        <a:pt x="2251553" y="3404638"/>
                        <a:pt x="2246466" y="3402975"/>
                        <a:pt x="2243678" y="3400187"/>
                      </a:cubicBezTo>
                      <a:cubicBezTo>
                        <a:pt x="2239961" y="3399258"/>
                        <a:pt x="2235236" y="3400108"/>
                        <a:pt x="2232527" y="3397399"/>
                      </a:cubicBezTo>
                      <a:cubicBezTo>
                        <a:pt x="2228988" y="3393860"/>
                        <a:pt x="2228708" y="3388146"/>
                        <a:pt x="2226951" y="3383460"/>
                      </a:cubicBezTo>
                      <a:cubicBezTo>
                        <a:pt x="2225919" y="3380709"/>
                        <a:pt x="2226609" y="3376727"/>
                        <a:pt x="2224164" y="3375097"/>
                      </a:cubicBezTo>
                      <a:cubicBezTo>
                        <a:pt x="2222193" y="3373783"/>
                        <a:pt x="2219173" y="3373086"/>
                        <a:pt x="2216413" y="3372718"/>
                      </a:cubicBezTo>
                      <a:lnTo>
                        <a:pt x="2213299" y="3372512"/>
                      </a:lnTo>
                      <a:cubicBezTo>
                        <a:pt x="2213311" y="3372402"/>
                        <a:pt x="2213324" y="3372293"/>
                        <a:pt x="2213336" y="3372183"/>
                      </a:cubicBezTo>
                      <a:lnTo>
                        <a:pt x="2210241" y="3372228"/>
                      </a:lnTo>
                      <a:cubicBezTo>
                        <a:pt x="2210236" y="3372255"/>
                        <a:pt x="2210230" y="3372282"/>
                        <a:pt x="2210225" y="3372309"/>
                      </a:cubicBezTo>
                      <a:lnTo>
                        <a:pt x="2213299" y="3372512"/>
                      </a:lnTo>
                      <a:cubicBezTo>
                        <a:pt x="2213203" y="3373374"/>
                        <a:pt x="2213108" y="3374235"/>
                        <a:pt x="2213012" y="3375097"/>
                      </a:cubicBezTo>
                      <a:cubicBezTo>
                        <a:pt x="2212382" y="3378876"/>
                        <a:pt x="2205578" y="3376955"/>
                        <a:pt x="2201861" y="3377884"/>
                      </a:cubicBezTo>
                      <a:cubicBezTo>
                        <a:pt x="2200227" y="3377340"/>
                        <a:pt x="2194283" y="3375578"/>
                        <a:pt x="2188235" y="3373439"/>
                      </a:cubicBezTo>
                      <a:lnTo>
                        <a:pt x="2180379" y="3369743"/>
                      </a:lnTo>
                      <a:lnTo>
                        <a:pt x="2188814" y="3369537"/>
                      </a:lnTo>
                      <a:lnTo>
                        <a:pt x="2191799" y="3367999"/>
                      </a:lnTo>
                      <a:lnTo>
                        <a:pt x="2187923" y="3366733"/>
                      </a:lnTo>
                      <a:cubicBezTo>
                        <a:pt x="2184253" y="3365632"/>
                        <a:pt x="2180489" y="3364874"/>
                        <a:pt x="2176772" y="3363945"/>
                      </a:cubicBezTo>
                      <a:lnTo>
                        <a:pt x="2172335" y="3363436"/>
                      </a:lnTo>
                      <a:lnTo>
                        <a:pt x="2173983" y="3366733"/>
                      </a:lnTo>
                      <a:lnTo>
                        <a:pt x="2180379" y="3369743"/>
                      </a:lnTo>
                      <a:lnTo>
                        <a:pt x="2119515" y="3371227"/>
                      </a:lnTo>
                      <a:cubicBezTo>
                        <a:pt x="2112391" y="3371401"/>
                        <a:pt x="2106070" y="3375977"/>
                        <a:pt x="2099233" y="3377988"/>
                      </a:cubicBezTo>
                      <a:cubicBezTo>
                        <a:pt x="2083315" y="3382670"/>
                        <a:pt x="2097733" y="3376203"/>
                        <a:pt x="2084021" y="3383058"/>
                      </a:cubicBezTo>
                      <a:cubicBezTo>
                        <a:pt x="2080458" y="3384839"/>
                        <a:pt x="2078387" y="3377424"/>
                        <a:pt x="2075570" y="3374607"/>
                      </a:cubicBezTo>
                      <a:cubicBezTo>
                        <a:pt x="2048388" y="3373636"/>
                        <a:pt x="2039534" y="3369672"/>
                        <a:pt x="2019793" y="3374607"/>
                      </a:cubicBezTo>
                      <a:cubicBezTo>
                        <a:pt x="2018065" y="3375039"/>
                        <a:pt x="2016413" y="3375734"/>
                        <a:pt x="2014723" y="3376297"/>
                      </a:cubicBezTo>
                      <a:cubicBezTo>
                        <a:pt x="2012469" y="3375734"/>
                        <a:pt x="2010196" y="3375245"/>
                        <a:pt x="2007962" y="3374607"/>
                      </a:cubicBezTo>
                      <a:cubicBezTo>
                        <a:pt x="2006249" y="3374118"/>
                        <a:pt x="2004644" y="3373236"/>
                        <a:pt x="2002891" y="3372917"/>
                      </a:cubicBezTo>
                      <a:cubicBezTo>
                        <a:pt x="1998422" y="3372105"/>
                        <a:pt x="1993877" y="3371790"/>
                        <a:pt x="1989370" y="3371227"/>
                      </a:cubicBezTo>
                      <a:cubicBezTo>
                        <a:pt x="1987116" y="3372354"/>
                        <a:pt x="1984797" y="3373357"/>
                        <a:pt x="1982609" y="3374607"/>
                      </a:cubicBezTo>
                      <a:cubicBezTo>
                        <a:pt x="1976364" y="3378176"/>
                        <a:pt x="1978212" y="3378580"/>
                        <a:pt x="1970777" y="3381368"/>
                      </a:cubicBezTo>
                      <a:cubicBezTo>
                        <a:pt x="1968602" y="3382183"/>
                        <a:pt x="1966094" y="3382019"/>
                        <a:pt x="1964017" y="3383058"/>
                      </a:cubicBezTo>
                      <a:cubicBezTo>
                        <a:pt x="1959872" y="3385131"/>
                        <a:pt x="1958599" y="3391533"/>
                        <a:pt x="1957256" y="3394890"/>
                      </a:cubicBezTo>
                      <a:cubicBezTo>
                        <a:pt x="1948805" y="3393763"/>
                        <a:pt x="1940082" y="3393915"/>
                        <a:pt x="1931903" y="3391509"/>
                      </a:cubicBezTo>
                      <a:cubicBezTo>
                        <a:pt x="1929954" y="3390936"/>
                        <a:pt x="1929649" y="3388129"/>
                        <a:pt x="1928522" y="3386439"/>
                      </a:cubicBezTo>
                      <a:cubicBezTo>
                        <a:pt x="1927638" y="3385113"/>
                        <a:pt x="1926269" y="3384185"/>
                        <a:pt x="1925142" y="3383058"/>
                      </a:cubicBezTo>
                      <a:cubicBezTo>
                        <a:pt x="1922325" y="3380241"/>
                        <a:pt x="1919180" y="3377718"/>
                        <a:pt x="1916691" y="3374607"/>
                      </a:cubicBezTo>
                      <a:cubicBezTo>
                        <a:pt x="1914639" y="3372042"/>
                        <a:pt x="1913310" y="3368973"/>
                        <a:pt x="1911620" y="3366156"/>
                      </a:cubicBezTo>
                      <a:cubicBezTo>
                        <a:pt x="1905243" y="3361905"/>
                        <a:pt x="1905125" y="3362038"/>
                        <a:pt x="1898099" y="3356015"/>
                      </a:cubicBezTo>
                      <a:cubicBezTo>
                        <a:pt x="1896889" y="3354978"/>
                        <a:pt x="1895993" y="3353590"/>
                        <a:pt x="1894718" y="3352634"/>
                      </a:cubicBezTo>
                      <a:cubicBezTo>
                        <a:pt x="1886563" y="3346518"/>
                        <a:pt x="1885678" y="3346425"/>
                        <a:pt x="1877816" y="3342493"/>
                      </a:cubicBezTo>
                      <a:cubicBezTo>
                        <a:pt x="1874436" y="3341930"/>
                        <a:pt x="1871081" y="3340425"/>
                        <a:pt x="1867675" y="3340803"/>
                      </a:cubicBezTo>
                      <a:cubicBezTo>
                        <a:pt x="1863629" y="3341252"/>
                        <a:pt x="1859151" y="3348788"/>
                        <a:pt x="1857534" y="3350944"/>
                      </a:cubicBezTo>
                      <a:cubicBezTo>
                        <a:pt x="1847210" y="3356107"/>
                        <a:pt x="1852555" y="3352543"/>
                        <a:pt x="1842322" y="3362776"/>
                      </a:cubicBezTo>
                      <a:cubicBezTo>
                        <a:pt x="1835371" y="3369727"/>
                        <a:pt x="1832536" y="3368470"/>
                        <a:pt x="1825420" y="3372917"/>
                      </a:cubicBezTo>
                      <a:cubicBezTo>
                        <a:pt x="1823031" y="3374410"/>
                        <a:pt x="1820913" y="3376298"/>
                        <a:pt x="1818659" y="3377988"/>
                      </a:cubicBezTo>
                      <a:cubicBezTo>
                        <a:pt x="1811976" y="3380216"/>
                        <a:pt x="1813339" y="3379168"/>
                        <a:pt x="1806828" y="3384748"/>
                      </a:cubicBezTo>
                      <a:cubicBezTo>
                        <a:pt x="1805013" y="3386304"/>
                        <a:pt x="1802728" y="3387635"/>
                        <a:pt x="1801757" y="3389819"/>
                      </a:cubicBezTo>
                      <a:cubicBezTo>
                        <a:pt x="1800365" y="3392951"/>
                        <a:pt x="1800630" y="3396580"/>
                        <a:pt x="1800067" y="3399960"/>
                      </a:cubicBezTo>
                      <a:cubicBezTo>
                        <a:pt x="1798377" y="3401650"/>
                        <a:pt x="1796322" y="3403042"/>
                        <a:pt x="1794996" y="3405031"/>
                      </a:cubicBezTo>
                      <a:cubicBezTo>
                        <a:pt x="1794008" y="3406513"/>
                        <a:pt x="1794103" y="3408508"/>
                        <a:pt x="1793306" y="3410101"/>
                      </a:cubicBezTo>
                      <a:cubicBezTo>
                        <a:pt x="1792398" y="3411918"/>
                        <a:pt x="1791053" y="3413482"/>
                        <a:pt x="1789926" y="3415172"/>
                      </a:cubicBezTo>
                      <a:cubicBezTo>
                        <a:pt x="1777652" y="3411082"/>
                        <a:pt x="1793443" y="3416938"/>
                        <a:pt x="1778094" y="3408411"/>
                      </a:cubicBezTo>
                      <a:cubicBezTo>
                        <a:pt x="1775065" y="3406728"/>
                        <a:pt x="1768367" y="3404606"/>
                        <a:pt x="1764573" y="3403341"/>
                      </a:cubicBezTo>
                      <a:cubicBezTo>
                        <a:pt x="1757249" y="3402777"/>
                        <a:pt x="1749820" y="3403004"/>
                        <a:pt x="1742600" y="3401650"/>
                      </a:cubicBezTo>
                      <a:cubicBezTo>
                        <a:pt x="1740603" y="3401276"/>
                        <a:pt x="1739346" y="3399178"/>
                        <a:pt x="1737529" y="3398270"/>
                      </a:cubicBezTo>
                      <a:cubicBezTo>
                        <a:pt x="1734063" y="3396537"/>
                        <a:pt x="1727223" y="3395533"/>
                        <a:pt x="1724008" y="3394890"/>
                      </a:cubicBezTo>
                      <a:cubicBezTo>
                        <a:pt x="1724008" y="3394890"/>
                        <a:pt x="1715074" y="3399565"/>
                        <a:pt x="1710486" y="3401650"/>
                      </a:cubicBezTo>
                      <a:cubicBezTo>
                        <a:pt x="1708864" y="3402387"/>
                        <a:pt x="1706927" y="3402397"/>
                        <a:pt x="1705416" y="3403341"/>
                      </a:cubicBezTo>
                      <a:cubicBezTo>
                        <a:pt x="1702357" y="3405253"/>
                        <a:pt x="1700314" y="3408761"/>
                        <a:pt x="1696965" y="3410101"/>
                      </a:cubicBezTo>
                      <a:cubicBezTo>
                        <a:pt x="1691630" y="3412235"/>
                        <a:pt x="1685696" y="3412355"/>
                        <a:pt x="1680062" y="3413482"/>
                      </a:cubicBezTo>
                      <a:cubicBezTo>
                        <a:pt x="1676173" y="3412371"/>
                        <a:pt x="1655075" y="3406526"/>
                        <a:pt x="1653019" y="3405031"/>
                      </a:cubicBezTo>
                      <a:cubicBezTo>
                        <a:pt x="1650565" y="3403247"/>
                        <a:pt x="1650766" y="3399397"/>
                        <a:pt x="1649639" y="3396580"/>
                      </a:cubicBezTo>
                      <a:cubicBezTo>
                        <a:pt x="1648130" y="3392808"/>
                        <a:pt x="1643863" y="3390380"/>
                        <a:pt x="1642878" y="3386439"/>
                      </a:cubicBezTo>
                      <a:cubicBezTo>
                        <a:pt x="1642491" y="3384893"/>
                        <a:pt x="1645131" y="3384185"/>
                        <a:pt x="1646258" y="3383058"/>
                      </a:cubicBezTo>
                      <a:cubicBezTo>
                        <a:pt x="1642878" y="3378551"/>
                        <a:pt x="1639324" y="3374169"/>
                        <a:pt x="1636117" y="3369537"/>
                      </a:cubicBezTo>
                      <a:cubicBezTo>
                        <a:pt x="1627280" y="3356772"/>
                        <a:pt x="1634800" y="3364839"/>
                        <a:pt x="1627666" y="3357705"/>
                      </a:cubicBezTo>
                      <a:cubicBezTo>
                        <a:pt x="1615316" y="3351531"/>
                        <a:pt x="1625344" y="3357942"/>
                        <a:pt x="1617525" y="3349254"/>
                      </a:cubicBezTo>
                      <a:cubicBezTo>
                        <a:pt x="1613794" y="3345108"/>
                        <a:pt x="1609264" y="3341707"/>
                        <a:pt x="1605694" y="3337423"/>
                      </a:cubicBezTo>
                      <a:cubicBezTo>
                        <a:pt x="1603591" y="3334899"/>
                        <a:pt x="1602364" y="3331758"/>
                        <a:pt x="1600623" y="3328972"/>
                      </a:cubicBezTo>
                      <a:cubicBezTo>
                        <a:pt x="1594653" y="3319420"/>
                        <a:pt x="1599631" y="3328676"/>
                        <a:pt x="1593862" y="3317140"/>
                      </a:cubicBezTo>
                      <a:cubicBezTo>
                        <a:pt x="1588048" y="3305513"/>
                        <a:pt x="1583773" y="3303235"/>
                        <a:pt x="1575270" y="3296858"/>
                      </a:cubicBezTo>
                      <a:cubicBezTo>
                        <a:pt x="1545472" y="3294730"/>
                        <a:pt x="1553949" y="3287493"/>
                        <a:pt x="1548227" y="3310379"/>
                      </a:cubicBezTo>
                      <a:cubicBezTo>
                        <a:pt x="1547795" y="3312108"/>
                        <a:pt x="1547100" y="3313760"/>
                        <a:pt x="1546536" y="3315450"/>
                      </a:cubicBezTo>
                      <a:cubicBezTo>
                        <a:pt x="1543156" y="3316013"/>
                        <a:pt x="1539803" y="3316781"/>
                        <a:pt x="1536395" y="3317140"/>
                      </a:cubicBezTo>
                      <a:cubicBezTo>
                        <a:pt x="1529090" y="3317909"/>
                        <a:pt x="1521707" y="3317880"/>
                        <a:pt x="1514423" y="3318830"/>
                      </a:cubicBezTo>
                      <a:cubicBezTo>
                        <a:pt x="1508726" y="3319573"/>
                        <a:pt x="1503155" y="3321084"/>
                        <a:pt x="1497521" y="3322211"/>
                      </a:cubicBezTo>
                      <a:cubicBezTo>
                        <a:pt x="1476994" y="3311946"/>
                        <a:pt x="1509824" y="3330642"/>
                        <a:pt x="1485689" y="3288407"/>
                      </a:cubicBezTo>
                      <a:cubicBezTo>
                        <a:pt x="1483037" y="3283766"/>
                        <a:pt x="1475548" y="3285026"/>
                        <a:pt x="1470477" y="3283336"/>
                      </a:cubicBezTo>
                      <a:cubicBezTo>
                        <a:pt x="1470477" y="3283336"/>
                        <a:pt x="1455772" y="3283940"/>
                        <a:pt x="1450195" y="3279956"/>
                      </a:cubicBezTo>
                      <a:cubicBezTo>
                        <a:pt x="1446414" y="3277256"/>
                        <a:pt x="1448601" y="3270723"/>
                        <a:pt x="1446814" y="3266434"/>
                      </a:cubicBezTo>
                      <a:cubicBezTo>
                        <a:pt x="1445731" y="3263834"/>
                        <a:pt x="1441744" y="3262490"/>
                        <a:pt x="1441744" y="3259673"/>
                      </a:cubicBezTo>
                      <a:lnTo>
                        <a:pt x="1446814" y="3254603"/>
                      </a:lnTo>
                      <a:cubicBezTo>
                        <a:pt x="1449068" y="3254040"/>
                        <a:pt x="1451642" y="3254202"/>
                        <a:pt x="1453575" y="3252913"/>
                      </a:cubicBezTo>
                      <a:cubicBezTo>
                        <a:pt x="1456874" y="3250713"/>
                        <a:pt x="1463175" y="3243855"/>
                        <a:pt x="1465407" y="3239391"/>
                      </a:cubicBezTo>
                      <a:cubicBezTo>
                        <a:pt x="1466764" y="3236677"/>
                        <a:pt x="1467722" y="3233781"/>
                        <a:pt x="1468787" y="3230940"/>
                      </a:cubicBezTo>
                      <a:cubicBezTo>
                        <a:pt x="1469413" y="3229272"/>
                        <a:pt x="1470770" y="3227626"/>
                        <a:pt x="1470477" y="3225869"/>
                      </a:cubicBezTo>
                      <a:cubicBezTo>
                        <a:pt x="1470143" y="3223866"/>
                        <a:pt x="1468224" y="3222489"/>
                        <a:pt x="1467097" y="3220799"/>
                      </a:cubicBezTo>
                      <a:lnTo>
                        <a:pt x="1450195" y="3214038"/>
                      </a:lnTo>
                      <a:cubicBezTo>
                        <a:pt x="1448532" y="3213398"/>
                        <a:pt x="1446652" y="3213265"/>
                        <a:pt x="1445124" y="3212348"/>
                      </a:cubicBezTo>
                      <a:cubicBezTo>
                        <a:pt x="1443758" y="3211528"/>
                        <a:pt x="1442968" y="3209987"/>
                        <a:pt x="1441744" y="3208967"/>
                      </a:cubicBezTo>
                      <a:cubicBezTo>
                        <a:pt x="1439580" y="3207164"/>
                        <a:pt x="1436975" y="3205889"/>
                        <a:pt x="1434983" y="3203897"/>
                      </a:cubicBezTo>
                      <a:cubicBezTo>
                        <a:pt x="1431708" y="3200622"/>
                        <a:pt x="1431287" y="3197877"/>
                        <a:pt x="1429912" y="3193755"/>
                      </a:cubicBezTo>
                      <a:cubicBezTo>
                        <a:pt x="1426532" y="3193192"/>
                        <a:pt x="1423022" y="3193149"/>
                        <a:pt x="1419771" y="3192065"/>
                      </a:cubicBezTo>
                      <a:cubicBezTo>
                        <a:pt x="1413735" y="3190053"/>
                        <a:pt x="1410998" y="3183131"/>
                        <a:pt x="1407940" y="3178544"/>
                      </a:cubicBezTo>
                      <a:cubicBezTo>
                        <a:pt x="1401682" y="3177292"/>
                        <a:pt x="1399438" y="3178467"/>
                        <a:pt x="1396108" y="3173473"/>
                      </a:cubicBezTo>
                      <a:cubicBezTo>
                        <a:pt x="1394710" y="3171377"/>
                        <a:pt x="1394865" y="3168047"/>
                        <a:pt x="1392728" y="3166712"/>
                      </a:cubicBezTo>
                      <a:cubicBezTo>
                        <a:pt x="1374497" y="3155317"/>
                        <a:pt x="1388767" y="3179439"/>
                        <a:pt x="1377516" y="3153191"/>
                      </a:cubicBezTo>
                      <a:cubicBezTo>
                        <a:pt x="1372541" y="3149459"/>
                        <a:pt x="1369353" y="3145549"/>
                        <a:pt x="1362304" y="3146430"/>
                      </a:cubicBezTo>
                      <a:cubicBezTo>
                        <a:pt x="1360289" y="3146682"/>
                        <a:pt x="1358924" y="3148683"/>
                        <a:pt x="1357234" y="3149810"/>
                      </a:cubicBezTo>
                      <a:cubicBezTo>
                        <a:pt x="1352393" y="3151423"/>
                        <a:pt x="1347224" y="3153439"/>
                        <a:pt x="1342022" y="3153191"/>
                      </a:cubicBezTo>
                      <a:cubicBezTo>
                        <a:pt x="1333506" y="3152786"/>
                        <a:pt x="1325120" y="3150937"/>
                        <a:pt x="1316669" y="3149810"/>
                      </a:cubicBezTo>
                      <a:cubicBezTo>
                        <a:pt x="1314947" y="3151532"/>
                        <a:pt x="1310228" y="3155809"/>
                        <a:pt x="1309908" y="3158261"/>
                      </a:cubicBezTo>
                      <a:cubicBezTo>
                        <a:pt x="1308449" y="3169448"/>
                        <a:pt x="1313730" y="3182221"/>
                        <a:pt x="1308218" y="3192065"/>
                      </a:cubicBezTo>
                      <a:cubicBezTo>
                        <a:pt x="1304384" y="3198912"/>
                        <a:pt x="1293884" y="3198719"/>
                        <a:pt x="1286245" y="3200516"/>
                      </a:cubicBezTo>
                      <a:cubicBezTo>
                        <a:pt x="1283984" y="3201048"/>
                        <a:pt x="1281738" y="3199389"/>
                        <a:pt x="1279484" y="3198826"/>
                      </a:cubicBezTo>
                      <a:cubicBezTo>
                        <a:pt x="1202402" y="3196417"/>
                        <a:pt x="1233629" y="3179350"/>
                        <a:pt x="1223708" y="3230940"/>
                      </a:cubicBezTo>
                      <a:cubicBezTo>
                        <a:pt x="1222941" y="3234930"/>
                        <a:pt x="1219201" y="3237701"/>
                        <a:pt x="1216947" y="3241081"/>
                      </a:cubicBezTo>
                      <a:cubicBezTo>
                        <a:pt x="1204368" y="3248629"/>
                        <a:pt x="1211572" y="3244999"/>
                        <a:pt x="1194974" y="3251222"/>
                      </a:cubicBezTo>
                      <a:cubicBezTo>
                        <a:pt x="1190498" y="3252900"/>
                        <a:pt x="1188566" y="3258377"/>
                        <a:pt x="1184833" y="3261364"/>
                      </a:cubicBezTo>
                      <a:cubicBezTo>
                        <a:pt x="1181850" y="3263751"/>
                        <a:pt x="1176664" y="3265213"/>
                        <a:pt x="1173001" y="3266434"/>
                      </a:cubicBezTo>
                      <a:cubicBezTo>
                        <a:pt x="1168494" y="3266997"/>
                        <a:pt x="1163259" y="3270644"/>
                        <a:pt x="1159480" y="3268124"/>
                      </a:cubicBezTo>
                      <a:cubicBezTo>
                        <a:pt x="1156165" y="3265914"/>
                        <a:pt x="1158445" y="3260222"/>
                        <a:pt x="1157790" y="3256293"/>
                      </a:cubicBezTo>
                      <a:cubicBezTo>
                        <a:pt x="1157318" y="3253459"/>
                        <a:pt x="1156663" y="3250659"/>
                        <a:pt x="1156099" y="3247842"/>
                      </a:cubicBezTo>
                      <a:cubicBezTo>
                        <a:pt x="1154409" y="3246715"/>
                        <a:pt x="1152465" y="3245897"/>
                        <a:pt x="1151029" y="3244461"/>
                      </a:cubicBezTo>
                      <a:cubicBezTo>
                        <a:pt x="1147592" y="3241024"/>
                        <a:pt x="1145463" y="3236477"/>
                        <a:pt x="1142578" y="3232630"/>
                      </a:cubicBezTo>
                      <a:cubicBezTo>
                        <a:pt x="1133200" y="3220126"/>
                        <a:pt x="1138158" y="3228863"/>
                        <a:pt x="1132437" y="3217418"/>
                      </a:cubicBezTo>
                      <a:cubicBezTo>
                        <a:pt x="1130747" y="3215728"/>
                        <a:pt x="1128896" y="3214184"/>
                        <a:pt x="1127366" y="3212348"/>
                      </a:cubicBezTo>
                      <a:cubicBezTo>
                        <a:pt x="1125423" y="3210016"/>
                        <a:pt x="1121379" y="3203095"/>
                        <a:pt x="1120605" y="3200516"/>
                      </a:cubicBezTo>
                      <a:cubicBezTo>
                        <a:pt x="1119620" y="3197234"/>
                        <a:pt x="1119478" y="3193755"/>
                        <a:pt x="1118915" y="3190375"/>
                      </a:cubicBezTo>
                      <a:cubicBezTo>
                        <a:pt x="1117788" y="3188121"/>
                        <a:pt x="1115744" y="3186125"/>
                        <a:pt x="1115535" y="3183614"/>
                      </a:cubicBezTo>
                      <a:cubicBezTo>
                        <a:pt x="1114946" y="3176550"/>
                        <a:pt x="1121518" y="3151489"/>
                        <a:pt x="1122295" y="3148120"/>
                      </a:cubicBezTo>
                      <a:cubicBezTo>
                        <a:pt x="1120577" y="3142966"/>
                        <a:pt x="1120310" y="3140381"/>
                        <a:pt x="1115535" y="3136288"/>
                      </a:cubicBezTo>
                      <a:cubicBezTo>
                        <a:pt x="1113622" y="3134648"/>
                        <a:pt x="1111028" y="3134035"/>
                        <a:pt x="1108774" y="3132908"/>
                      </a:cubicBezTo>
                      <a:cubicBezTo>
                        <a:pt x="1094399" y="3130033"/>
                        <a:pt x="1105639" y="3132644"/>
                        <a:pt x="1095252" y="3129528"/>
                      </a:cubicBezTo>
                      <a:cubicBezTo>
                        <a:pt x="1091323" y="3128349"/>
                        <a:pt x="1087276" y="3127549"/>
                        <a:pt x="1083421" y="3126147"/>
                      </a:cubicBezTo>
                      <a:cubicBezTo>
                        <a:pt x="1081053" y="3125286"/>
                        <a:pt x="1077412" y="3125172"/>
                        <a:pt x="1076660" y="3122767"/>
                      </a:cubicBezTo>
                      <a:cubicBezTo>
                        <a:pt x="1072270" y="3108718"/>
                        <a:pt x="1074326" y="3102325"/>
                        <a:pt x="1076660" y="3090653"/>
                      </a:cubicBezTo>
                      <a:cubicBezTo>
                        <a:pt x="1078350" y="3089526"/>
                        <a:pt x="1080170" y="3088573"/>
                        <a:pt x="1081731" y="3087273"/>
                      </a:cubicBezTo>
                      <a:cubicBezTo>
                        <a:pt x="1087347" y="3082593"/>
                        <a:pt x="1091248" y="3076378"/>
                        <a:pt x="1095252" y="3070371"/>
                      </a:cubicBezTo>
                      <a:lnTo>
                        <a:pt x="1117225" y="3065300"/>
                      </a:lnTo>
                      <a:cubicBezTo>
                        <a:pt x="1121204" y="3064305"/>
                        <a:pt x="1124967" y="3062235"/>
                        <a:pt x="1129056" y="3061920"/>
                      </a:cubicBezTo>
                      <a:cubicBezTo>
                        <a:pt x="1132473" y="3061657"/>
                        <a:pt x="1135829" y="3062979"/>
                        <a:pt x="1139197" y="3063610"/>
                      </a:cubicBezTo>
                      <a:lnTo>
                        <a:pt x="1156099" y="3066990"/>
                      </a:lnTo>
                      <a:cubicBezTo>
                        <a:pt x="1157789" y="3065300"/>
                        <a:pt x="1159596" y="3063719"/>
                        <a:pt x="1161170" y="3061920"/>
                      </a:cubicBezTo>
                      <a:cubicBezTo>
                        <a:pt x="1163546" y="3059205"/>
                        <a:pt x="1165380" y="3056020"/>
                        <a:pt x="1167931" y="3053469"/>
                      </a:cubicBezTo>
                      <a:cubicBezTo>
                        <a:pt x="1169367" y="3052033"/>
                        <a:pt x="1171820" y="3051741"/>
                        <a:pt x="1173001" y="3050088"/>
                      </a:cubicBezTo>
                      <a:cubicBezTo>
                        <a:pt x="1173303" y="3049665"/>
                        <a:pt x="1177619" y="3038830"/>
                        <a:pt x="1178072" y="3036566"/>
                      </a:cubicBezTo>
                      <a:cubicBezTo>
                        <a:pt x="1181106" y="3021396"/>
                        <a:pt x="1183706" y="3006143"/>
                        <a:pt x="1186523" y="2990931"/>
                      </a:cubicBezTo>
                      <a:cubicBezTo>
                        <a:pt x="1180326" y="2990368"/>
                        <a:pt x="1173231" y="2992502"/>
                        <a:pt x="1167931" y="2989241"/>
                      </a:cubicBezTo>
                      <a:cubicBezTo>
                        <a:pt x="1164438" y="2987091"/>
                        <a:pt x="1165729" y="2981338"/>
                        <a:pt x="1164550" y="2977409"/>
                      </a:cubicBezTo>
                      <a:cubicBezTo>
                        <a:pt x="1162399" y="2970240"/>
                        <a:pt x="1163249" y="2972858"/>
                        <a:pt x="1157790" y="2965578"/>
                      </a:cubicBezTo>
                      <a:cubicBezTo>
                        <a:pt x="1157790" y="2965578"/>
                        <a:pt x="1151215" y="2960762"/>
                        <a:pt x="1147648" y="2958817"/>
                      </a:cubicBezTo>
                      <a:cubicBezTo>
                        <a:pt x="1144984" y="2957364"/>
                        <a:pt x="1142205" y="2955829"/>
                        <a:pt x="1139197" y="2955437"/>
                      </a:cubicBezTo>
                      <a:cubicBezTo>
                        <a:pt x="1129126" y="2954123"/>
                        <a:pt x="1118915" y="2954310"/>
                        <a:pt x="1108774" y="2953747"/>
                      </a:cubicBezTo>
                      <a:cubicBezTo>
                        <a:pt x="1105957" y="2954310"/>
                        <a:pt x="1103013" y="2954428"/>
                        <a:pt x="1100323" y="2955437"/>
                      </a:cubicBezTo>
                      <a:cubicBezTo>
                        <a:pt x="1095164" y="2957371"/>
                        <a:pt x="1093343" y="2961363"/>
                        <a:pt x="1090182" y="2965578"/>
                      </a:cubicBezTo>
                      <a:cubicBezTo>
                        <a:pt x="1087928" y="2966141"/>
                        <a:pt x="1084336" y="2969403"/>
                        <a:pt x="1083421" y="2967268"/>
                      </a:cubicBezTo>
                      <a:cubicBezTo>
                        <a:pt x="1081632" y="2963093"/>
                        <a:pt x="1085488" y="2958273"/>
                        <a:pt x="1085111" y="2953747"/>
                      </a:cubicBezTo>
                      <a:cubicBezTo>
                        <a:pt x="1084902" y="2951236"/>
                        <a:pt x="1082394" y="2949417"/>
                        <a:pt x="1081731" y="2946986"/>
                      </a:cubicBezTo>
                      <a:cubicBezTo>
                        <a:pt x="1080683" y="2943142"/>
                        <a:pt x="1080604" y="2939098"/>
                        <a:pt x="1080040" y="2935154"/>
                      </a:cubicBezTo>
                      <a:cubicBezTo>
                        <a:pt x="1080040" y="2935154"/>
                        <a:pt x="1068646" y="2926293"/>
                        <a:pt x="1063138" y="2921633"/>
                      </a:cubicBezTo>
                      <a:cubicBezTo>
                        <a:pt x="1061313" y="2920089"/>
                        <a:pt x="1059758" y="2918252"/>
                        <a:pt x="1058068" y="2916562"/>
                      </a:cubicBezTo>
                      <a:cubicBezTo>
                        <a:pt x="1049053" y="2915999"/>
                        <a:pt x="1040007" y="2915817"/>
                        <a:pt x="1031024" y="2914872"/>
                      </a:cubicBezTo>
                      <a:cubicBezTo>
                        <a:pt x="1029252" y="2914686"/>
                        <a:pt x="1027511" y="2914047"/>
                        <a:pt x="1025954" y="2913182"/>
                      </a:cubicBezTo>
                      <a:cubicBezTo>
                        <a:pt x="1022403" y="2911209"/>
                        <a:pt x="1019193" y="2908675"/>
                        <a:pt x="1015813" y="2906421"/>
                      </a:cubicBezTo>
                      <a:cubicBezTo>
                        <a:pt x="1011306" y="2905858"/>
                        <a:pt x="1006673" y="2905926"/>
                        <a:pt x="1002291" y="2904731"/>
                      </a:cubicBezTo>
                      <a:cubicBezTo>
                        <a:pt x="999661" y="2904014"/>
                        <a:pt x="993445" y="2898093"/>
                        <a:pt x="992150" y="2896280"/>
                      </a:cubicBezTo>
                      <a:cubicBezTo>
                        <a:pt x="990685" y="2894230"/>
                        <a:pt x="990316" y="2891508"/>
                        <a:pt x="988769" y="2889519"/>
                      </a:cubicBezTo>
                      <a:cubicBezTo>
                        <a:pt x="977441" y="2874954"/>
                        <a:pt x="982301" y="2887018"/>
                        <a:pt x="978628" y="2875997"/>
                      </a:cubicBezTo>
                      <a:cubicBezTo>
                        <a:pt x="961068" y="2849658"/>
                        <a:pt x="982359" y="2882927"/>
                        <a:pt x="966797" y="2854025"/>
                      </a:cubicBezTo>
                      <a:cubicBezTo>
                        <a:pt x="950795" y="2824305"/>
                        <a:pt x="968882" y="2864522"/>
                        <a:pt x="954965" y="2832052"/>
                      </a:cubicBezTo>
                      <a:cubicBezTo>
                        <a:pt x="953396" y="2828390"/>
                        <a:pt x="949331" y="2826418"/>
                        <a:pt x="946514" y="2823601"/>
                      </a:cubicBezTo>
                      <a:cubicBezTo>
                        <a:pt x="943697" y="2823038"/>
                        <a:pt x="940936" y="2821911"/>
                        <a:pt x="938063" y="2821911"/>
                      </a:cubicBezTo>
                      <a:cubicBezTo>
                        <a:pt x="936282" y="2821911"/>
                        <a:pt x="934746" y="2823282"/>
                        <a:pt x="932993" y="2823601"/>
                      </a:cubicBezTo>
                      <a:cubicBezTo>
                        <a:pt x="928524" y="2824413"/>
                        <a:pt x="923978" y="2824728"/>
                        <a:pt x="919471" y="2825291"/>
                      </a:cubicBezTo>
                      <a:cubicBezTo>
                        <a:pt x="918344" y="2814023"/>
                        <a:pt x="915577" y="2802800"/>
                        <a:pt x="916091" y="2791487"/>
                      </a:cubicBezTo>
                      <a:cubicBezTo>
                        <a:pt x="916183" y="2789458"/>
                        <a:pt x="920034" y="2789797"/>
                        <a:pt x="921161" y="2788107"/>
                      </a:cubicBezTo>
                      <a:cubicBezTo>
                        <a:pt x="923541" y="2784537"/>
                        <a:pt x="924542" y="2780219"/>
                        <a:pt x="926232" y="2776275"/>
                      </a:cubicBezTo>
                      <a:cubicBezTo>
                        <a:pt x="927922" y="2774585"/>
                        <a:pt x="929913" y="2773150"/>
                        <a:pt x="931302" y="2771205"/>
                      </a:cubicBezTo>
                      <a:cubicBezTo>
                        <a:pt x="940485" y="2758349"/>
                        <a:pt x="930098" y="2758484"/>
                        <a:pt x="917781" y="2742471"/>
                      </a:cubicBezTo>
                      <a:cubicBezTo>
                        <a:pt x="915527" y="2741344"/>
                        <a:pt x="913116" y="2740489"/>
                        <a:pt x="911020" y="2739091"/>
                      </a:cubicBezTo>
                      <a:cubicBezTo>
                        <a:pt x="909694" y="2738207"/>
                        <a:pt x="908460" y="2737076"/>
                        <a:pt x="907640" y="2735710"/>
                      </a:cubicBezTo>
                      <a:cubicBezTo>
                        <a:pt x="903760" y="2729244"/>
                        <a:pt x="907036" y="2719780"/>
                        <a:pt x="907640" y="2713738"/>
                      </a:cubicBezTo>
                      <a:cubicBezTo>
                        <a:pt x="904540" y="2704441"/>
                        <a:pt x="907811" y="2712771"/>
                        <a:pt x="902569" y="2703596"/>
                      </a:cubicBezTo>
                      <a:cubicBezTo>
                        <a:pt x="901319" y="2701409"/>
                        <a:pt x="900439" y="2699023"/>
                        <a:pt x="899189" y="2696836"/>
                      </a:cubicBezTo>
                      <a:cubicBezTo>
                        <a:pt x="898181" y="2695072"/>
                        <a:pt x="896717" y="2693582"/>
                        <a:pt x="895808" y="2691765"/>
                      </a:cubicBezTo>
                      <a:cubicBezTo>
                        <a:pt x="887538" y="2675225"/>
                        <a:pt x="896880" y="2689992"/>
                        <a:pt x="889047" y="2678243"/>
                      </a:cubicBezTo>
                      <a:cubicBezTo>
                        <a:pt x="887357" y="2677116"/>
                        <a:pt x="886008" y="2674863"/>
                        <a:pt x="883977" y="2674863"/>
                      </a:cubicBezTo>
                      <a:cubicBezTo>
                        <a:pt x="881946" y="2674863"/>
                        <a:pt x="880833" y="2677601"/>
                        <a:pt x="878906" y="2678243"/>
                      </a:cubicBezTo>
                      <a:cubicBezTo>
                        <a:pt x="875655" y="2679327"/>
                        <a:pt x="872145" y="2679370"/>
                        <a:pt x="868765" y="2679934"/>
                      </a:cubicBezTo>
                      <a:cubicBezTo>
                        <a:pt x="867718" y="2678190"/>
                        <a:pt x="863667" y="2669890"/>
                        <a:pt x="860314" y="2668102"/>
                      </a:cubicBezTo>
                      <a:cubicBezTo>
                        <a:pt x="838983" y="2656725"/>
                        <a:pt x="842079" y="2658708"/>
                        <a:pt x="821439" y="2654581"/>
                      </a:cubicBezTo>
                      <a:cubicBezTo>
                        <a:pt x="816368" y="2655144"/>
                        <a:pt x="811284" y="2655597"/>
                        <a:pt x="806227" y="2656271"/>
                      </a:cubicBezTo>
                      <a:cubicBezTo>
                        <a:pt x="802830" y="2656724"/>
                        <a:pt x="799218" y="2656569"/>
                        <a:pt x="796086" y="2657961"/>
                      </a:cubicBezTo>
                      <a:cubicBezTo>
                        <a:pt x="794116" y="2658837"/>
                        <a:pt x="788487" y="2665829"/>
                        <a:pt x="787635" y="2668102"/>
                      </a:cubicBezTo>
                      <a:cubicBezTo>
                        <a:pt x="786626" y="2670792"/>
                        <a:pt x="786642" y="2673766"/>
                        <a:pt x="785945" y="2676553"/>
                      </a:cubicBezTo>
                      <a:cubicBezTo>
                        <a:pt x="785513" y="2678282"/>
                        <a:pt x="784818" y="2679934"/>
                        <a:pt x="784255" y="2681624"/>
                      </a:cubicBezTo>
                      <a:cubicBezTo>
                        <a:pt x="782001" y="2684441"/>
                        <a:pt x="779659" y="2687189"/>
                        <a:pt x="777494" y="2690075"/>
                      </a:cubicBezTo>
                      <a:cubicBezTo>
                        <a:pt x="776275" y="2691700"/>
                        <a:pt x="775383" y="2693559"/>
                        <a:pt x="774114" y="2695145"/>
                      </a:cubicBezTo>
                      <a:cubicBezTo>
                        <a:pt x="773118" y="2696390"/>
                        <a:pt x="772256" y="2698057"/>
                        <a:pt x="770733" y="2698526"/>
                      </a:cubicBezTo>
                      <a:cubicBezTo>
                        <a:pt x="764713" y="2700378"/>
                        <a:pt x="758338" y="2700779"/>
                        <a:pt x="752141" y="2701906"/>
                      </a:cubicBezTo>
                      <a:cubicBezTo>
                        <a:pt x="752141" y="2701906"/>
                        <a:pt x="746233" y="2698216"/>
                        <a:pt x="745380" y="2695145"/>
                      </a:cubicBezTo>
                      <a:cubicBezTo>
                        <a:pt x="743264" y="2687526"/>
                        <a:pt x="744253" y="2679370"/>
                        <a:pt x="743690" y="2671483"/>
                      </a:cubicBezTo>
                      <a:cubicBezTo>
                        <a:pt x="740232" y="2666296"/>
                        <a:pt x="739236" y="2662131"/>
                        <a:pt x="730168" y="2664722"/>
                      </a:cubicBezTo>
                      <a:cubicBezTo>
                        <a:pt x="728455" y="2665211"/>
                        <a:pt x="729041" y="2668102"/>
                        <a:pt x="728478" y="2669792"/>
                      </a:cubicBezTo>
                      <a:lnTo>
                        <a:pt x="721717" y="2673173"/>
                      </a:lnTo>
                      <a:cubicBezTo>
                        <a:pt x="719900" y="2672264"/>
                        <a:pt x="723971" y="2669792"/>
                        <a:pt x="725098" y="2668102"/>
                      </a:cubicBezTo>
                      <a:cubicBezTo>
                        <a:pt x="726866" y="2665450"/>
                        <a:pt x="720591" y="2663595"/>
                        <a:pt x="718337" y="2661341"/>
                      </a:cubicBezTo>
                      <a:cubicBezTo>
                        <a:pt x="713266" y="2660778"/>
                        <a:pt x="708206" y="2659189"/>
                        <a:pt x="703125" y="2659651"/>
                      </a:cubicBezTo>
                      <a:cubicBezTo>
                        <a:pt x="701538" y="2659795"/>
                        <a:pt x="700989" y="2662036"/>
                        <a:pt x="699745" y="2663032"/>
                      </a:cubicBezTo>
                      <a:cubicBezTo>
                        <a:pt x="698159" y="2664301"/>
                        <a:pt x="696364" y="2665285"/>
                        <a:pt x="694674" y="2666412"/>
                      </a:cubicBezTo>
                      <a:cubicBezTo>
                        <a:pt x="674227" y="2668457"/>
                        <a:pt x="679562" y="2673474"/>
                        <a:pt x="674392" y="2657961"/>
                      </a:cubicBezTo>
                      <a:cubicBezTo>
                        <a:pt x="667153" y="2650724"/>
                        <a:pt x="671987" y="2653797"/>
                        <a:pt x="669321" y="2669792"/>
                      </a:cubicBezTo>
                      <a:cubicBezTo>
                        <a:pt x="669028" y="2671549"/>
                        <a:pt x="668194" y="2673173"/>
                        <a:pt x="667631" y="2674863"/>
                      </a:cubicBezTo>
                      <a:cubicBezTo>
                        <a:pt x="665941" y="2673736"/>
                        <a:pt x="664102" y="2672805"/>
                        <a:pt x="662560" y="2671483"/>
                      </a:cubicBezTo>
                      <a:cubicBezTo>
                        <a:pt x="660140" y="2669409"/>
                        <a:pt x="658650" y="2666147"/>
                        <a:pt x="655799" y="2664722"/>
                      </a:cubicBezTo>
                      <a:cubicBezTo>
                        <a:pt x="651644" y="2662644"/>
                        <a:pt x="646785" y="2662468"/>
                        <a:pt x="642278" y="2661341"/>
                      </a:cubicBezTo>
                      <a:cubicBezTo>
                        <a:pt x="640024" y="2661905"/>
                        <a:pt x="637331" y="2661581"/>
                        <a:pt x="635517" y="2663032"/>
                      </a:cubicBezTo>
                      <a:cubicBezTo>
                        <a:pt x="634126" y="2664145"/>
                        <a:pt x="634711" y="2666555"/>
                        <a:pt x="633827" y="2668102"/>
                      </a:cubicBezTo>
                      <a:cubicBezTo>
                        <a:pt x="632429" y="2670548"/>
                        <a:pt x="630446" y="2672609"/>
                        <a:pt x="628756" y="2674863"/>
                      </a:cubicBezTo>
                      <a:cubicBezTo>
                        <a:pt x="627066" y="2674300"/>
                        <a:pt x="625213" y="2674090"/>
                        <a:pt x="623685" y="2673173"/>
                      </a:cubicBezTo>
                      <a:cubicBezTo>
                        <a:pt x="618770" y="2670223"/>
                        <a:pt x="618609" y="2664705"/>
                        <a:pt x="616925" y="2659651"/>
                      </a:cubicBezTo>
                      <a:cubicBezTo>
                        <a:pt x="610258" y="2652986"/>
                        <a:pt x="613930" y="2657817"/>
                        <a:pt x="610164" y="2642749"/>
                      </a:cubicBezTo>
                      <a:cubicBezTo>
                        <a:pt x="607347" y="2639369"/>
                        <a:pt x="604824" y="2635719"/>
                        <a:pt x="601713" y="2632608"/>
                      </a:cubicBezTo>
                      <a:cubicBezTo>
                        <a:pt x="600276" y="2631171"/>
                        <a:pt x="598079" y="2630664"/>
                        <a:pt x="596642" y="2629227"/>
                      </a:cubicBezTo>
                      <a:cubicBezTo>
                        <a:pt x="594650" y="2627235"/>
                        <a:pt x="593405" y="2624606"/>
                        <a:pt x="591572" y="2622467"/>
                      </a:cubicBezTo>
                      <a:cubicBezTo>
                        <a:pt x="590016" y="2620652"/>
                        <a:pt x="587443" y="2619593"/>
                        <a:pt x="586501" y="2617396"/>
                      </a:cubicBezTo>
                      <a:cubicBezTo>
                        <a:pt x="583970" y="2611492"/>
                        <a:pt x="582069" y="2605196"/>
                        <a:pt x="581430" y="2598804"/>
                      </a:cubicBezTo>
                      <a:cubicBezTo>
                        <a:pt x="580922" y="2593727"/>
                        <a:pt x="582557" y="2588663"/>
                        <a:pt x="583121" y="2583592"/>
                      </a:cubicBezTo>
                      <a:cubicBezTo>
                        <a:pt x="576360" y="2583029"/>
                        <a:pt x="569563" y="2582799"/>
                        <a:pt x="562838" y="2581902"/>
                      </a:cubicBezTo>
                      <a:cubicBezTo>
                        <a:pt x="561072" y="2581667"/>
                        <a:pt x="559027" y="2581472"/>
                        <a:pt x="557767" y="2580212"/>
                      </a:cubicBezTo>
                      <a:cubicBezTo>
                        <a:pt x="551252" y="2573697"/>
                        <a:pt x="554869" y="2558959"/>
                        <a:pt x="552697" y="2553168"/>
                      </a:cubicBezTo>
                      <a:cubicBezTo>
                        <a:pt x="551430" y="2549790"/>
                        <a:pt x="547063" y="2548661"/>
                        <a:pt x="544246" y="2546408"/>
                      </a:cubicBezTo>
                      <a:cubicBezTo>
                        <a:pt x="541992" y="2545844"/>
                        <a:pt x="539128" y="2546360"/>
                        <a:pt x="537485" y="2544717"/>
                      </a:cubicBezTo>
                      <a:cubicBezTo>
                        <a:pt x="535842" y="2543074"/>
                        <a:pt x="536433" y="2540190"/>
                        <a:pt x="535795" y="2537956"/>
                      </a:cubicBezTo>
                      <a:cubicBezTo>
                        <a:pt x="535306" y="2536243"/>
                        <a:pt x="534668" y="2534576"/>
                        <a:pt x="534105" y="2532886"/>
                      </a:cubicBezTo>
                      <a:cubicBezTo>
                        <a:pt x="532415" y="2531196"/>
                        <a:pt x="529350" y="2530185"/>
                        <a:pt x="529034" y="2527815"/>
                      </a:cubicBezTo>
                      <a:cubicBezTo>
                        <a:pt x="520927" y="2467017"/>
                        <a:pt x="535199" y="2497888"/>
                        <a:pt x="523963" y="2475419"/>
                      </a:cubicBezTo>
                      <a:cubicBezTo>
                        <a:pt x="513794" y="2472029"/>
                        <a:pt x="523952" y="2476255"/>
                        <a:pt x="513822" y="2468658"/>
                      </a:cubicBezTo>
                      <a:cubicBezTo>
                        <a:pt x="511194" y="2466687"/>
                        <a:pt x="508309" y="2465057"/>
                        <a:pt x="505371" y="2463588"/>
                      </a:cubicBezTo>
                      <a:cubicBezTo>
                        <a:pt x="499172" y="2460488"/>
                        <a:pt x="500034" y="2464032"/>
                        <a:pt x="495230" y="2456827"/>
                      </a:cubicBezTo>
                      <a:cubicBezTo>
                        <a:pt x="494242" y="2455345"/>
                        <a:pt x="494337" y="2453350"/>
                        <a:pt x="493540" y="2451756"/>
                      </a:cubicBezTo>
                      <a:cubicBezTo>
                        <a:pt x="492631" y="2449939"/>
                        <a:pt x="491286" y="2448376"/>
                        <a:pt x="490159" y="2446686"/>
                      </a:cubicBezTo>
                      <a:cubicBezTo>
                        <a:pt x="486215" y="2446122"/>
                        <a:pt x="481968" y="2446613"/>
                        <a:pt x="478328" y="2444995"/>
                      </a:cubicBezTo>
                      <a:cubicBezTo>
                        <a:pt x="476472" y="2444170"/>
                        <a:pt x="476129" y="2441578"/>
                        <a:pt x="474948" y="2439925"/>
                      </a:cubicBezTo>
                      <a:cubicBezTo>
                        <a:pt x="466584" y="2428216"/>
                        <a:pt x="470813" y="2437375"/>
                        <a:pt x="466497" y="2417952"/>
                      </a:cubicBezTo>
                      <a:cubicBezTo>
                        <a:pt x="467624" y="2414572"/>
                        <a:pt x="469131" y="2411295"/>
                        <a:pt x="469877" y="2407811"/>
                      </a:cubicBezTo>
                      <a:cubicBezTo>
                        <a:pt x="470024" y="2407126"/>
                        <a:pt x="470822" y="2392871"/>
                        <a:pt x="473257" y="2389219"/>
                      </a:cubicBezTo>
                      <a:cubicBezTo>
                        <a:pt x="474583" y="2387230"/>
                        <a:pt x="476638" y="2385838"/>
                        <a:pt x="478328" y="2384148"/>
                      </a:cubicBezTo>
                      <a:cubicBezTo>
                        <a:pt x="480582" y="2383021"/>
                        <a:pt x="482750" y="2381704"/>
                        <a:pt x="485089" y="2380768"/>
                      </a:cubicBezTo>
                      <a:cubicBezTo>
                        <a:pt x="488397" y="2379445"/>
                        <a:pt x="492949" y="2380124"/>
                        <a:pt x="495230" y="2377387"/>
                      </a:cubicBezTo>
                      <a:cubicBezTo>
                        <a:pt x="496717" y="2375602"/>
                        <a:pt x="494103" y="2372880"/>
                        <a:pt x="493540" y="2370626"/>
                      </a:cubicBezTo>
                      <a:cubicBezTo>
                        <a:pt x="492413" y="2369499"/>
                        <a:pt x="491456" y="2368172"/>
                        <a:pt x="490159" y="2367246"/>
                      </a:cubicBezTo>
                      <a:cubicBezTo>
                        <a:pt x="487486" y="2365337"/>
                        <a:pt x="484031" y="2364498"/>
                        <a:pt x="481708" y="2362175"/>
                      </a:cubicBezTo>
                      <a:cubicBezTo>
                        <a:pt x="479927" y="2360394"/>
                        <a:pt x="479792" y="2357465"/>
                        <a:pt x="478328" y="2355415"/>
                      </a:cubicBezTo>
                      <a:cubicBezTo>
                        <a:pt x="476939" y="2353470"/>
                        <a:pt x="474691" y="2352256"/>
                        <a:pt x="473257" y="2350344"/>
                      </a:cubicBezTo>
                      <a:cubicBezTo>
                        <a:pt x="471286" y="2347716"/>
                        <a:pt x="470071" y="2344584"/>
                        <a:pt x="468187" y="2341893"/>
                      </a:cubicBezTo>
                      <a:cubicBezTo>
                        <a:pt x="466118" y="2338938"/>
                        <a:pt x="463591" y="2336328"/>
                        <a:pt x="461426" y="2333442"/>
                      </a:cubicBezTo>
                      <a:cubicBezTo>
                        <a:pt x="460207" y="2331817"/>
                        <a:pt x="459606" y="2329672"/>
                        <a:pt x="458045" y="2328371"/>
                      </a:cubicBezTo>
                      <a:cubicBezTo>
                        <a:pt x="456110" y="2326758"/>
                        <a:pt x="453472" y="2326241"/>
                        <a:pt x="451285" y="2324991"/>
                      </a:cubicBezTo>
                      <a:cubicBezTo>
                        <a:pt x="449521" y="2323983"/>
                        <a:pt x="447904" y="2322737"/>
                        <a:pt x="446214" y="2321610"/>
                      </a:cubicBezTo>
                      <a:cubicBezTo>
                        <a:pt x="444524" y="2321047"/>
                        <a:pt x="441492" y="2321667"/>
                        <a:pt x="441143" y="2319920"/>
                      </a:cubicBezTo>
                      <a:cubicBezTo>
                        <a:pt x="439041" y="2309409"/>
                        <a:pt x="440016" y="2298511"/>
                        <a:pt x="439453" y="2287806"/>
                      </a:cubicBezTo>
                      <a:cubicBezTo>
                        <a:pt x="439151" y="2282068"/>
                        <a:pt x="437200" y="2276538"/>
                        <a:pt x="436073" y="2270904"/>
                      </a:cubicBezTo>
                      <a:cubicBezTo>
                        <a:pt x="434946" y="2269214"/>
                        <a:pt x="433492" y="2267701"/>
                        <a:pt x="432692" y="2265834"/>
                      </a:cubicBezTo>
                      <a:cubicBezTo>
                        <a:pt x="430618" y="2260995"/>
                        <a:pt x="429887" y="2249003"/>
                        <a:pt x="429312" y="2245551"/>
                      </a:cubicBezTo>
                      <a:cubicBezTo>
                        <a:pt x="428930" y="2243260"/>
                        <a:pt x="428185" y="2241044"/>
                        <a:pt x="427622" y="2238791"/>
                      </a:cubicBezTo>
                      <a:cubicBezTo>
                        <a:pt x="424805" y="2238227"/>
                        <a:pt x="421665" y="2238525"/>
                        <a:pt x="419171" y="2237100"/>
                      </a:cubicBezTo>
                      <a:cubicBezTo>
                        <a:pt x="417407" y="2236092"/>
                        <a:pt x="416170" y="2234025"/>
                        <a:pt x="415790" y="2232030"/>
                      </a:cubicBezTo>
                      <a:cubicBezTo>
                        <a:pt x="410587" y="2204715"/>
                        <a:pt x="409468" y="2210434"/>
                        <a:pt x="414100" y="2196535"/>
                      </a:cubicBezTo>
                      <a:cubicBezTo>
                        <a:pt x="425164" y="2192848"/>
                        <a:pt x="414306" y="2197969"/>
                        <a:pt x="420861" y="2189775"/>
                      </a:cubicBezTo>
                      <a:cubicBezTo>
                        <a:pt x="429350" y="2179164"/>
                        <a:pt x="423741" y="2195158"/>
                        <a:pt x="427622" y="2179633"/>
                      </a:cubicBezTo>
                      <a:cubicBezTo>
                        <a:pt x="430676" y="2177597"/>
                        <a:pt x="440019" y="2171580"/>
                        <a:pt x="441143" y="2169492"/>
                      </a:cubicBezTo>
                      <a:cubicBezTo>
                        <a:pt x="443606" y="2164919"/>
                        <a:pt x="443397" y="2159351"/>
                        <a:pt x="444524" y="2154280"/>
                      </a:cubicBezTo>
                      <a:cubicBezTo>
                        <a:pt x="442443" y="2148037"/>
                        <a:pt x="441143" y="2145144"/>
                        <a:pt x="441143" y="2137378"/>
                      </a:cubicBezTo>
                      <a:cubicBezTo>
                        <a:pt x="441143" y="2133394"/>
                        <a:pt x="442270" y="2129491"/>
                        <a:pt x="442834" y="2125547"/>
                      </a:cubicBezTo>
                      <a:cubicBezTo>
                        <a:pt x="443961" y="2123857"/>
                        <a:pt x="445306" y="2122293"/>
                        <a:pt x="446214" y="2120476"/>
                      </a:cubicBezTo>
                      <a:cubicBezTo>
                        <a:pt x="447011" y="2118883"/>
                        <a:pt x="446644" y="2116666"/>
                        <a:pt x="447904" y="2115406"/>
                      </a:cubicBezTo>
                      <a:cubicBezTo>
                        <a:pt x="450227" y="2113083"/>
                        <a:pt x="451848" y="2114842"/>
                        <a:pt x="456355" y="2110335"/>
                      </a:cubicBezTo>
                      <a:lnTo>
                        <a:pt x="465341" y="2099673"/>
                      </a:lnTo>
                      <a:lnTo>
                        <a:pt x="456355" y="2086672"/>
                      </a:lnTo>
                      <a:cubicBezTo>
                        <a:pt x="455174" y="2085019"/>
                        <a:pt x="452975" y="2084419"/>
                        <a:pt x="451285" y="2083292"/>
                      </a:cubicBezTo>
                      <a:cubicBezTo>
                        <a:pt x="439121" y="2079238"/>
                        <a:pt x="454317" y="2084159"/>
                        <a:pt x="439453" y="2079911"/>
                      </a:cubicBezTo>
                      <a:cubicBezTo>
                        <a:pt x="437740" y="2079422"/>
                        <a:pt x="435774" y="2079334"/>
                        <a:pt x="434383" y="2078221"/>
                      </a:cubicBezTo>
                      <a:cubicBezTo>
                        <a:pt x="431622" y="2076012"/>
                        <a:pt x="429312" y="2069639"/>
                        <a:pt x="429312" y="2066390"/>
                      </a:cubicBezTo>
                      <a:cubicBezTo>
                        <a:pt x="429312" y="2059606"/>
                        <a:pt x="430439" y="2052868"/>
                        <a:pt x="431002" y="2046107"/>
                      </a:cubicBezTo>
                      <a:cubicBezTo>
                        <a:pt x="430439" y="2042163"/>
                        <a:pt x="430360" y="2038119"/>
                        <a:pt x="429312" y="2034276"/>
                      </a:cubicBezTo>
                      <a:cubicBezTo>
                        <a:pt x="428649" y="2031845"/>
                        <a:pt x="426925" y="2029831"/>
                        <a:pt x="425932" y="2027515"/>
                      </a:cubicBezTo>
                      <a:cubicBezTo>
                        <a:pt x="425230" y="2025877"/>
                        <a:pt x="424805" y="2024134"/>
                        <a:pt x="424241" y="2022444"/>
                      </a:cubicBezTo>
                      <a:cubicBezTo>
                        <a:pt x="429875" y="2021881"/>
                        <a:pt x="435500" y="2020284"/>
                        <a:pt x="441143" y="2020754"/>
                      </a:cubicBezTo>
                      <a:cubicBezTo>
                        <a:pt x="442731" y="2020886"/>
                        <a:pt x="442966" y="2023801"/>
                        <a:pt x="444524" y="2024135"/>
                      </a:cubicBezTo>
                      <a:cubicBezTo>
                        <a:pt x="451157" y="2025557"/>
                        <a:pt x="458045" y="2025262"/>
                        <a:pt x="464806" y="2025825"/>
                      </a:cubicBezTo>
                      <a:cubicBezTo>
                        <a:pt x="465370" y="2023008"/>
                        <a:pt x="467629" y="2020015"/>
                        <a:pt x="466497" y="2017374"/>
                      </a:cubicBezTo>
                      <a:cubicBezTo>
                        <a:pt x="465505" y="2015058"/>
                        <a:pt x="461518" y="2015775"/>
                        <a:pt x="459736" y="2013993"/>
                      </a:cubicBezTo>
                      <a:cubicBezTo>
                        <a:pt x="457954" y="2012212"/>
                        <a:pt x="457482" y="2009486"/>
                        <a:pt x="456355" y="2007233"/>
                      </a:cubicBezTo>
                      <a:cubicBezTo>
                        <a:pt x="459172" y="2006669"/>
                        <a:pt x="461952" y="2005871"/>
                        <a:pt x="464806" y="2005542"/>
                      </a:cubicBezTo>
                      <a:cubicBezTo>
                        <a:pt x="476613" y="2004180"/>
                        <a:pt x="489131" y="2006223"/>
                        <a:pt x="500301" y="2002162"/>
                      </a:cubicBezTo>
                      <a:cubicBezTo>
                        <a:pt x="503522" y="2000991"/>
                        <a:pt x="501428" y="1995401"/>
                        <a:pt x="501991" y="1992021"/>
                      </a:cubicBezTo>
                      <a:cubicBezTo>
                        <a:pt x="505744" y="1988267"/>
                        <a:pt x="510858" y="1983593"/>
                        <a:pt x="512132" y="1978499"/>
                      </a:cubicBezTo>
                      <a:cubicBezTo>
                        <a:pt x="512963" y="1975174"/>
                        <a:pt x="511005" y="1971738"/>
                        <a:pt x="510442" y="1968358"/>
                      </a:cubicBezTo>
                      <a:cubicBezTo>
                        <a:pt x="520391" y="1965042"/>
                        <a:pt x="510293" y="1967476"/>
                        <a:pt x="523963" y="1968358"/>
                      </a:cubicBezTo>
                      <a:cubicBezTo>
                        <a:pt x="538592" y="1969302"/>
                        <a:pt x="553260" y="1969485"/>
                        <a:pt x="567909" y="1970048"/>
                      </a:cubicBezTo>
                      <a:cubicBezTo>
                        <a:pt x="576360" y="1968921"/>
                        <a:pt x="584902" y="1968340"/>
                        <a:pt x="593262" y="1966668"/>
                      </a:cubicBezTo>
                      <a:cubicBezTo>
                        <a:pt x="596237" y="1966073"/>
                        <a:pt x="599818" y="1965656"/>
                        <a:pt x="601713" y="1963287"/>
                      </a:cubicBezTo>
                      <a:cubicBezTo>
                        <a:pt x="602826" y="1961896"/>
                        <a:pt x="600586" y="1959907"/>
                        <a:pt x="600023" y="1958217"/>
                      </a:cubicBezTo>
                      <a:cubicBezTo>
                        <a:pt x="590445" y="1957654"/>
                        <a:pt x="580655" y="1958608"/>
                        <a:pt x="571289" y="1956527"/>
                      </a:cubicBezTo>
                      <a:cubicBezTo>
                        <a:pt x="568392" y="1955883"/>
                        <a:pt x="569679" y="1947029"/>
                        <a:pt x="571289" y="1946385"/>
                      </a:cubicBezTo>
                      <a:cubicBezTo>
                        <a:pt x="576026" y="1944490"/>
                        <a:pt x="581430" y="1945258"/>
                        <a:pt x="586501" y="1944695"/>
                      </a:cubicBezTo>
                      <a:cubicBezTo>
                        <a:pt x="584811" y="1943568"/>
                        <a:pt x="582557" y="1943005"/>
                        <a:pt x="581430" y="1941315"/>
                      </a:cubicBezTo>
                      <a:cubicBezTo>
                        <a:pt x="578867" y="1937470"/>
                        <a:pt x="580709" y="1925923"/>
                        <a:pt x="574670" y="1924413"/>
                      </a:cubicBezTo>
                      <a:cubicBezTo>
                        <a:pt x="560994" y="1920994"/>
                        <a:pt x="546499" y="1923286"/>
                        <a:pt x="532414" y="1922722"/>
                      </a:cubicBezTo>
                      <a:cubicBezTo>
                        <a:pt x="530598" y="1923085"/>
                        <a:pt x="521491" y="1924545"/>
                        <a:pt x="518893" y="1926103"/>
                      </a:cubicBezTo>
                      <a:cubicBezTo>
                        <a:pt x="515365" y="1928219"/>
                        <a:pt x="509444" y="1938702"/>
                        <a:pt x="508752" y="1939625"/>
                      </a:cubicBezTo>
                      <a:cubicBezTo>
                        <a:pt x="507796" y="1940900"/>
                        <a:pt x="506836" y="1942377"/>
                        <a:pt x="505371" y="1943005"/>
                      </a:cubicBezTo>
                      <a:cubicBezTo>
                        <a:pt x="502730" y="1944136"/>
                        <a:pt x="499737" y="1944132"/>
                        <a:pt x="496920" y="1944695"/>
                      </a:cubicBezTo>
                      <a:lnTo>
                        <a:pt x="491850" y="1943005"/>
                      </a:lnTo>
                      <a:lnTo>
                        <a:pt x="481708" y="1939625"/>
                      </a:lnTo>
                      <a:cubicBezTo>
                        <a:pt x="479440" y="1938869"/>
                        <a:pt x="478328" y="1936244"/>
                        <a:pt x="476638" y="1934554"/>
                      </a:cubicBezTo>
                      <a:cubicBezTo>
                        <a:pt x="473821" y="1931737"/>
                        <a:pt x="470834" y="1929081"/>
                        <a:pt x="468187" y="1926103"/>
                      </a:cubicBezTo>
                      <a:cubicBezTo>
                        <a:pt x="464849" y="1922348"/>
                        <a:pt x="458663" y="1912663"/>
                        <a:pt x="456355" y="1909201"/>
                      </a:cubicBezTo>
                      <a:cubicBezTo>
                        <a:pt x="453912" y="1907979"/>
                        <a:pt x="445253" y="1904540"/>
                        <a:pt x="444524" y="1900750"/>
                      </a:cubicBezTo>
                      <a:cubicBezTo>
                        <a:pt x="442068" y="1887977"/>
                        <a:pt x="442580" y="1874803"/>
                        <a:pt x="441143" y="1861875"/>
                      </a:cubicBezTo>
                      <a:cubicBezTo>
                        <a:pt x="440886" y="1859566"/>
                        <a:pt x="441096" y="1856757"/>
                        <a:pt x="439453" y="1855114"/>
                      </a:cubicBezTo>
                      <a:cubicBezTo>
                        <a:pt x="437810" y="1853471"/>
                        <a:pt x="434946" y="1853987"/>
                        <a:pt x="432692" y="1853424"/>
                      </a:cubicBezTo>
                      <a:lnTo>
                        <a:pt x="427622" y="1856805"/>
                      </a:lnTo>
                      <a:cubicBezTo>
                        <a:pt x="420738" y="1861396"/>
                        <a:pt x="419850" y="1864642"/>
                        <a:pt x="415790" y="1870326"/>
                      </a:cubicBezTo>
                      <a:cubicBezTo>
                        <a:pt x="408479" y="1880561"/>
                        <a:pt x="412632" y="1873264"/>
                        <a:pt x="407339" y="1883848"/>
                      </a:cubicBezTo>
                      <a:cubicBezTo>
                        <a:pt x="404522" y="1885538"/>
                        <a:pt x="401674" y="1887177"/>
                        <a:pt x="398888" y="1888918"/>
                      </a:cubicBezTo>
                      <a:cubicBezTo>
                        <a:pt x="395379" y="1891111"/>
                        <a:pt x="392989" y="1892489"/>
                        <a:pt x="390437" y="1895679"/>
                      </a:cubicBezTo>
                      <a:cubicBezTo>
                        <a:pt x="389168" y="1897265"/>
                        <a:pt x="388184" y="1899060"/>
                        <a:pt x="387057" y="1900750"/>
                      </a:cubicBezTo>
                      <a:lnTo>
                        <a:pt x="378606" y="1902440"/>
                      </a:lnTo>
                      <a:cubicBezTo>
                        <a:pt x="375112" y="1903139"/>
                        <a:pt x="372016" y="1905524"/>
                        <a:pt x="368465" y="1905820"/>
                      </a:cubicBezTo>
                      <a:cubicBezTo>
                        <a:pt x="365050" y="1906105"/>
                        <a:pt x="360224" y="1906982"/>
                        <a:pt x="358323" y="1904130"/>
                      </a:cubicBezTo>
                      <a:cubicBezTo>
                        <a:pt x="356640" y="1901606"/>
                        <a:pt x="360577" y="1898496"/>
                        <a:pt x="361704" y="1895679"/>
                      </a:cubicBezTo>
                      <a:cubicBezTo>
                        <a:pt x="361704" y="1895679"/>
                        <a:pt x="374246" y="1881153"/>
                        <a:pt x="380296" y="1873707"/>
                      </a:cubicBezTo>
                      <a:cubicBezTo>
                        <a:pt x="382864" y="1870547"/>
                        <a:pt x="385511" y="1865483"/>
                        <a:pt x="387057" y="1861875"/>
                      </a:cubicBezTo>
                      <a:cubicBezTo>
                        <a:pt x="387759" y="1860238"/>
                        <a:pt x="388121" y="1858473"/>
                        <a:pt x="388747" y="1856805"/>
                      </a:cubicBezTo>
                      <a:cubicBezTo>
                        <a:pt x="393521" y="1844075"/>
                        <a:pt x="390986" y="1852922"/>
                        <a:pt x="393818" y="1841593"/>
                      </a:cubicBezTo>
                      <a:cubicBezTo>
                        <a:pt x="394945" y="1839903"/>
                        <a:pt x="396398" y="1838389"/>
                        <a:pt x="397198" y="1836522"/>
                      </a:cubicBezTo>
                      <a:cubicBezTo>
                        <a:pt x="398905" y="1832539"/>
                        <a:pt x="400188" y="1820668"/>
                        <a:pt x="400579" y="1817930"/>
                      </a:cubicBezTo>
                      <a:cubicBezTo>
                        <a:pt x="412381" y="1806126"/>
                        <a:pt x="400815" y="1819206"/>
                        <a:pt x="407339" y="1807789"/>
                      </a:cubicBezTo>
                      <a:cubicBezTo>
                        <a:pt x="415005" y="1794375"/>
                        <a:pt x="410970" y="1808231"/>
                        <a:pt x="414100" y="1792577"/>
                      </a:cubicBezTo>
                      <a:cubicBezTo>
                        <a:pt x="419736" y="1785062"/>
                        <a:pt x="421706" y="1791450"/>
                        <a:pt x="429312" y="1773985"/>
                      </a:cubicBezTo>
                      <a:cubicBezTo>
                        <a:pt x="436918" y="1756520"/>
                        <a:pt x="451848" y="1709193"/>
                        <a:pt x="459736" y="1687784"/>
                      </a:cubicBezTo>
                      <a:cubicBezTo>
                        <a:pt x="467624" y="1666375"/>
                        <a:pt x="472413" y="1655952"/>
                        <a:pt x="476638" y="1645529"/>
                      </a:cubicBezTo>
                      <a:cubicBezTo>
                        <a:pt x="480863" y="1635106"/>
                        <a:pt x="482919" y="1634654"/>
                        <a:pt x="485089" y="1625247"/>
                      </a:cubicBezTo>
                      <a:cubicBezTo>
                        <a:pt x="486134" y="1620720"/>
                        <a:pt x="487342" y="1616232"/>
                        <a:pt x="488469" y="1611725"/>
                      </a:cubicBezTo>
                      <a:cubicBezTo>
                        <a:pt x="490159" y="1610035"/>
                        <a:pt x="485089" y="1625528"/>
                        <a:pt x="493540" y="1606654"/>
                      </a:cubicBezTo>
                      <a:cubicBezTo>
                        <a:pt x="501991" y="1587780"/>
                        <a:pt x="529597" y="1522707"/>
                        <a:pt x="539175" y="1498481"/>
                      </a:cubicBezTo>
                      <a:cubicBezTo>
                        <a:pt x="541429" y="1490875"/>
                        <a:pt x="546781" y="1470310"/>
                        <a:pt x="545936" y="1457916"/>
                      </a:cubicBezTo>
                      <a:cubicBezTo>
                        <a:pt x="545091" y="1445522"/>
                        <a:pt x="538330" y="1432282"/>
                        <a:pt x="534105" y="1424113"/>
                      </a:cubicBezTo>
                      <a:cubicBezTo>
                        <a:pt x="529880" y="1415944"/>
                        <a:pt x="525935" y="1412563"/>
                        <a:pt x="520583" y="1408901"/>
                      </a:cubicBezTo>
                      <a:cubicBezTo>
                        <a:pt x="515231" y="1405239"/>
                        <a:pt x="515594" y="1406674"/>
                        <a:pt x="501991" y="1402140"/>
                      </a:cubicBezTo>
                      <a:cubicBezTo>
                        <a:pt x="499787" y="1401405"/>
                        <a:pt x="497455" y="1401118"/>
                        <a:pt x="495230" y="1400450"/>
                      </a:cubicBezTo>
                      <a:cubicBezTo>
                        <a:pt x="489400" y="1398701"/>
                        <a:pt x="483538" y="1396945"/>
                        <a:pt x="478328" y="1393689"/>
                      </a:cubicBezTo>
                      <a:cubicBezTo>
                        <a:pt x="475048" y="1391639"/>
                        <a:pt x="463422" y="1383090"/>
                        <a:pt x="464806" y="1378477"/>
                      </a:cubicBezTo>
                      <a:cubicBezTo>
                        <a:pt x="474149" y="1347335"/>
                        <a:pt x="491605" y="1361412"/>
                        <a:pt x="476638" y="1351434"/>
                      </a:cubicBezTo>
                      <a:cubicBezTo>
                        <a:pt x="470440" y="1350871"/>
                        <a:pt x="464206" y="1350624"/>
                        <a:pt x="458045" y="1349744"/>
                      </a:cubicBezTo>
                      <a:cubicBezTo>
                        <a:pt x="456281" y="1349492"/>
                        <a:pt x="454703" y="1348485"/>
                        <a:pt x="452975" y="1348053"/>
                      </a:cubicBezTo>
                      <a:cubicBezTo>
                        <a:pt x="450188" y="1347356"/>
                        <a:pt x="447341" y="1346926"/>
                        <a:pt x="444524" y="1346363"/>
                      </a:cubicBezTo>
                      <a:cubicBezTo>
                        <a:pt x="439836" y="1345426"/>
                        <a:pt x="437763" y="1339602"/>
                        <a:pt x="434383" y="1336222"/>
                      </a:cubicBezTo>
                      <a:cubicBezTo>
                        <a:pt x="430439" y="1335659"/>
                        <a:pt x="426458" y="1335313"/>
                        <a:pt x="422551" y="1334532"/>
                      </a:cubicBezTo>
                      <a:cubicBezTo>
                        <a:pt x="420804" y="1334183"/>
                        <a:pt x="418594" y="1334233"/>
                        <a:pt x="417481" y="1332842"/>
                      </a:cubicBezTo>
                      <a:cubicBezTo>
                        <a:pt x="416030" y="1331028"/>
                        <a:pt x="416354" y="1328335"/>
                        <a:pt x="415790" y="1326081"/>
                      </a:cubicBezTo>
                      <a:cubicBezTo>
                        <a:pt x="414100" y="1324391"/>
                        <a:pt x="412665" y="1322399"/>
                        <a:pt x="410720" y="1321010"/>
                      </a:cubicBezTo>
                      <a:cubicBezTo>
                        <a:pt x="396397" y="1310779"/>
                        <a:pt x="409622" y="1323294"/>
                        <a:pt x="400579" y="1314249"/>
                      </a:cubicBezTo>
                      <a:cubicBezTo>
                        <a:pt x="398889" y="1313686"/>
                        <a:pt x="396649" y="1313928"/>
                        <a:pt x="395508" y="1312559"/>
                      </a:cubicBezTo>
                      <a:cubicBezTo>
                        <a:pt x="393476" y="1310120"/>
                        <a:pt x="390437" y="1298864"/>
                        <a:pt x="390437" y="1295657"/>
                      </a:cubicBezTo>
                      <a:cubicBezTo>
                        <a:pt x="390437" y="1293334"/>
                        <a:pt x="391564" y="1291150"/>
                        <a:pt x="392128" y="1288896"/>
                      </a:cubicBezTo>
                      <a:cubicBezTo>
                        <a:pt x="393818" y="1286079"/>
                        <a:pt x="395625" y="1283329"/>
                        <a:pt x="397198" y="1280445"/>
                      </a:cubicBezTo>
                      <a:cubicBezTo>
                        <a:pt x="408184" y="1260303"/>
                        <a:pt x="405649" y="1259375"/>
                        <a:pt x="405649" y="1224669"/>
                      </a:cubicBezTo>
                      <a:cubicBezTo>
                        <a:pt x="405649" y="1222149"/>
                        <a:pt x="403396" y="1220162"/>
                        <a:pt x="402269" y="1217908"/>
                      </a:cubicBezTo>
                      <a:cubicBezTo>
                        <a:pt x="400579" y="1217344"/>
                        <a:pt x="398458" y="1217477"/>
                        <a:pt x="397198" y="1216217"/>
                      </a:cubicBezTo>
                      <a:cubicBezTo>
                        <a:pt x="395938" y="1214957"/>
                        <a:pt x="396305" y="1212740"/>
                        <a:pt x="395508" y="1211147"/>
                      </a:cubicBezTo>
                      <a:cubicBezTo>
                        <a:pt x="394600" y="1209330"/>
                        <a:pt x="393255" y="1207766"/>
                        <a:pt x="392128" y="1206076"/>
                      </a:cubicBezTo>
                      <a:lnTo>
                        <a:pt x="387057" y="1202696"/>
                      </a:lnTo>
                      <a:cubicBezTo>
                        <a:pt x="384405" y="1200928"/>
                        <a:pt x="382716" y="1198009"/>
                        <a:pt x="380296" y="1195935"/>
                      </a:cubicBezTo>
                      <a:cubicBezTo>
                        <a:pt x="378754" y="1194613"/>
                        <a:pt x="376916" y="1193682"/>
                        <a:pt x="375226" y="1192555"/>
                      </a:cubicBezTo>
                      <a:cubicBezTo>
                        <a:pt x="373858" y="1192164"/>
                        <a:pt x="355220" y="1187023"/>
                        <a:pt x="353253" y="1185794"/>
                      </a:cubicBezTo>
                      <a:cubicBezTo>
                        <a:pt x="349794" y="1183632"/>
                        <a:pt x="348981" y="1177158"/>
                        <a:pt x="348182" y="1173962"/>
                      </a:cubicBezTo>
                      <a:cubicBezTo>
                        <a:pt x="347055" y="1172272"/>
                        <a:pt x="345710" y="1170709"/>
                        <a:pt x="344802" y="1168892"/>
                      </a:cubicBezTo>
                      <a:cubicBezTo>
                        <a:pt x="343124" y="1165536"/>
                        <a:pt x="340192" y="1157832"/>
                        <a:pt x="339731" y="1153680"/>
                      </a:cubicBezTo>
                      <a:cubicBezTo>
                        <a:pt x="336020" y="1120277"/>
                        <a:pt x="340504" y="1139869"/>
                        <a:pt x="336351" y="1123256"/>
                      </a:cubicBezTo>
                      <a:cubicBezTo>
                        <a:pt x="323393" y="1122693"/>
                        <a:pt x="310361" y="1123053"/>
                        <a:pt x="297476" y="1121566"/>
                      </a:cubicBezTo>
                      <a:cubicBezTo>
                        <a:pt x="295671" y="1121358"/>
                        <a:pt x="287659" y="1114329"/>
                        <a:pt x="287335" y="1113115"/>
                      </a:cubicBezTo>
                      <a:cubicBezTo>
                        <a:pt x="285587" y="1106560"/>
                        <a:pt x="286208" y="1099594"/>
                        <a:pt x="285645" y="1092833"/>
                      </a:cubicBezTo>
                      <a:cubicBezTo>
                        <a:pt x="286208" y="1089452"/>
                        <a:pt x="286592" y="1086037"/>
                        <a:pt x="287335" y="1082691"/>
                      </a:cubicBezTo>
                      <a:cubicBezTo>
                        <a:pt x="288967" y="1075348"/>
                        <a:pt x="298619" y="1058433"/>
                        <a:pt x="299166" y="1057338"/>
                      </a:cubicBezTo>
                      <a:cubicBezTo>
                        <a:pt x="282855" y="1051901"/>
                        <a:pt x="308208" y="1060617"/>
                        <a:pt x="287335" y="1052268"/>
                      </a:cubicBezTo>
                      <a:cubicBezTo>
                        <a:pt x="280471" y="1049522"/>
                        <a:pt x="277078" y="1048858"/>
                        <a:pt x="270433" y="1047197"/>
                      </a:cubicBezTo>
                      <a:cubicBezTo>
                        <a:pt x="270996" y="1035929"/>
                        <a:pt x="272123" y="1024675"/>
                        <a:pt x="272123" y="1013393"/>
                      </a:cubicBezTo>
                      <a:cubicBezTo>
                        <a:pt x="272123" y="991694"/>
                        <a:pt x="267366" y="1007539"/>
                        <a:pt x="273813" y="991420"/>
                      </a:cubicBezTo>
                      <a:cubicBezTo>
                        <a:pt x="273250" y="985786"/>
                        <a:pt x="272924" y="980123"/>
                        <a:pt x="272123" y="974518"/>
                      </a:cubicBezTo>
                      <a:cubicBezTo>
                        <a:pt x="271795" y="972219"/>
                        <a:pt x="270223" y="970071"/>
                        <a:pt x="270433" y="967758"/>
                      </a:cubicBezTo>
                      <a:cubicBezTo>
                        <a:pt x="270804" y="963673"/>
                        <a:pt x="271278" y="953954"/>
                        <a:pt x="273813" y="955926"/>
                      </a:cubicBezTo>
                      <a:cubicBezTo>
                        <a:pt x="275080" y="956912"/>
                        <a:pt x="277504" y="963286"/>
                        <a:pt x="279877" y="969184"/>
                      </a:cubicBezTo>
                      <a:lnTo>
                        <a:pt x="282592" y="974081"/>
                      </a:lnTo>
                      <a:lnTo>
                        <a:pt x="282264" y="974518"/>
                      </a:lnTo>
                      <a:lnTo>
                        <a:pt x="283747" y="976166"/>
                      </a:lnTo>
                      <a:lnTo>
                        <a:pt x="285645" y="979589"/>
                      </a:lnTo>
                      <a:lnTo>
                        <a:pt x="286268" y="978966"/>
                      </a:lnTo>
                      <a:lnTo>
                        <a:pt x="283747" y="976166"/>
                      </a:lnTo>
                      <a:lnTo>
                        <a:pt x="282592" y="974081"/>
                      </a:lnTo>
                      <a:lnTo>
                        <a:pt x="287335" y="967758"/>
                      </a:lnTo>
                      <a:cubicBezTo>
                        <a:pt x="289248" y="965208"/>
                        <a:pt x="292840" y="963926"/>
                        <a:pt x="294096" y="960997"/>
                      </a:cubicBezTo>
                      <a:cubicBezTo>
                        <a:pt x="294798" y="959359"/>
                        <a:pt x="292969" y="957616"/>
                        <a:pt x="292406" y="955926"/>
                      </a:cubicBezTo>
                      <a:cubicBezTo>
                        <a:pt x="286251" y="951823"/>
                        <a:pt x="286312" y="952343"/>
                        <a:pt x="280574" y="945785"/>
                      </a:cubicBezTo>
                      <a:cubicBezTo>
                        <a:pt x="278719" y="943665"/>
                        <a:pt x="277307" y="941188"/>
                        <a:pt x="275504" y="939024"/>
                      </a:cubicBezTo>
                      <a:cubicBezTo>
                        <a:pt x="274484" y="937800"/>
                        <a:pt x="273250" y="936771"/>
                        <a:pt x="272123" y="935644"/>
                      </a:cubicBezTo>
                      <a:cubicBezTo>
                        <a:pt x="270131" y="933652"/>
                        <a:pt x="268770" y="931116"/>
                        <a:pt x="267053" y="928883"/>
                      </a:cubicBezTo>
                      <a:cubicBezTo>
                        <a:pt x="263136" y="923791"/>
                        <a:pt x="259075" y="918810"/>
                        <a:pt x="255221" y="913671"/>
                      </a:cubicBezTo>
                      <a:cubicBezTo>
                        <a:pt x="254002" y="912046"/>
                        <a:pt x="253110" y="910186"/>
                        <a:pt x="251841" y="908600"/>
                      </a:cubicBezTo>
                      <a:cubicBezTo>
                        <a:pt x="247302" y="902926"/>
                        <a:pt x="248261" y="906711"/>
                        <a:pt x="241699" y="900149"/>
                      </a:cubicBezTo>
                      <a:cubicBezTo>
                        <a:pt x="240263" y="898713"/>
                        <a:pt x="239641" y="896621"/>
                        <a:pt x="238319" y="895079"/>
                      </a:cubicBezTo>
                      <a:cubicBezTo>
                        <a:pt x="236245" y="892659"/>
                        <a:pt x="233978" y="890392"/>
                        <a:pt x="231558" y="888318"/>
                      </a:cubicBezTo>
                      <a:cubicBezTo>
                        <a:pt x="230016" y="886996"/>
                        <a:pt x="228113" y="886157"/>
                        <a:pt x="226488" y="884938"/>
                      </a:cubicBezTo>
                      <a:cubicBezTo>
                        <a:pt x="219461" y="879668"/>
                        <a:pt x="214862" y="876641"/>
                        <a:pt x="211276" y="868036"/>
                      </a:cubicBezTo>
                      <a:cubicBezTo>
                        <a:pt x="209958" y="864872"/>
                        <a:pt x="210149" y="861275"/>
                        <a:pt x="209586" y="857894"/>
                      </a:cubicBezTo>
                      <a:lnTo>
                        <a:pt x="206205" y="854514"/>
                      </a:lnTo>
                      <a:lnTo>
                        <a:pt x="197754" y="846063"/>
                      </a:lnTo>
                      <a:cubicBezTo>
                        <a:pt x="196318" y="844627"/>
                        <a:pt x="195501" y="842682"/>
                        <a:pt x="194374" y="840992"/>
                      </a:cubicBezTo>
                      <a:cubicBezTo>
                        <a:pt x="190994" y="835922"/>
                        <a:pt x="187257" y="831072"/>
                        <a:pt x="184233" y="825781"/>
                      </a:cubicBezTo>
                      <a:cubicBezTo>
                        <a:pt x="182728" y="823147"/>
                        <a:pt x="182460" y="819903"/>
                        <a:pt x="180852" y="817330"/>
                      </a:cubicBezTo>
                      <a:cubicBezTo>
                        <a:pt x="179585" y="815303"/>
                        <a:pt x="177472" y="813949"/>
                        <a:pt x="175782" y="812259"/>
                      </a:cubicBezTo>
                      <a:cubicBezTo>
                        <a:pt x="174092" y="811696"/>
                        <a:pt x="172269" y="811434"/>
                        <a:pt x="170711" y="810569"/>
                      </a:cubicBezTo>
                      <a:cubicBezTo>
                        <a:pt x="167881" y="808997"/>
                        <a:pt x="153023" y="799426"/>
                        <a:pt x="152119" y="795357"/>
                      </a:cubicBezTo>
                      <a:cubicBezTo>
                        <a:pt x="149427" y="783245"/>
                        <a:pt x="150992" y="770567"/>
                        <a:pt x="150428" y="758172"/>
                      </a:cubicBezTo>
                      <a:cubicBezTo>
                        <a:pt x="151441" y="752095"/>
                        <a:pt x="151540" y="748256"/>
                        <a:pt x="153809" y="742961"/>
                      </a:cubicBezTo>
                      <a:cubicBezTo>
                        <a:pt x="154801" y="740645"/>
                        <a:pt x="156863" y="738698"/>
                        <a:pt x="157189" y="736200"/>
                      </a:cubicBezTo>
                      <a:cubicBezTo>
                        <a:pt x="158576" y="725571"/>
                        <a:pt x="158116" y="714778"/>
                        <a:pt x="158880" y="704086"/>
                      </a:cubicBezTo>
                      <a:cubicBezTo>
                        <a:pt x="159244" y="698997"/>
                        <a:pt x="160007" y="693945"/>
                        <a:pt x="160570" y="688874"/>
                      </a:cubicBezTo>
                      <a:cubicBezTo>
                        <a:pt x="164550" y="676932"/>
                        <a:pt x="159986" y="691207"/>
                        <a:pt x="165640" y="668592"/>
                      </a:cubicBezTo>
                      <a:cubicBezTo>
                        <a:pt x="166072" y="666863"/>
                        <a:pt x="166534" y="665115"/>
                        <a:pt x="167331" y="663521"/>
                      </a:cubicBezTo>
                      <a:cubicBezTo>
                        <a:pt x="168239" y="661704"/>
                        <a:pt x="170285" y="660436"/>
                        <a:pt x="170711" y="658450"/>
                      </a:cubicBezTo>
                      <a:cubicBezTo>
                        <a:pt x="172015" y="652365"/>
                        <a:pt x="171838" y="646055"/>
                        <a:pt x="172401" y="639858"/>
                      </a:cubicBezTo>
                      <a:lnTo>
                        <a:pt x="167331" y="636478"/>
                      </a:lnTo>
                      <a:cubicBezTo>
                        <a:pt x="164679" y="634710"/>
                        <a:pt x="162824" y="631971"/>
                        <a:pt x="160570" y="629717"/>
                      </a:cubicBezTo>
                      <a:lnTo>
                        <a:pt x="150428" y="619576"/>
                      </a:lnTo>
                      <a:cubicBezTo>
                        <a:pt x="146865" y="616013"/>
                        <a:pt x="145921" y="610561"/>
                        <a:pt x="143668" y="606054"/>
                      </a:cubicBezTo>
                      <a:cubicBezTo>
                        <a:pt x="141414" y="604927"/>
                        <a:pt x="138843" y="604287"/>
                        <a:pt x="136907" y="602674"/>
                      </a:cubicBezTo>
                      <a:cubicBezTo>
                        <a:pt x="135346" y="601373"/>
                        <a:pt x="138315" y="602110"/>
                        <a:pt x="133526" y="597603"/>
                      </a:cubicBezTo>
                      <a:cubicBezTo>
                        <a:pt x="128737" y="593096"/>
                        <a:pt x="113244" y="580137"/>
                        <a:pt x="108173" y="575630"/>
                      </a:cubicBezTo>
                      <a:cubicBezTo>
                        <a:pt x="103103" y="571123"/>
                        <a:pt x="105178" y="571746"/>
                        <a:pt x="103103" y="570560"/>
                      </a:cubicBezTo>
                      <a:cubicBezTo>
                        <a:pt x="101086" y="569408"/>
                        <a:pt x="98596" y="569433"/>
                        <a:pt x="96342" y="568870"/>
                      </a:cubicBezTo>
                      <a:cubicBezTo>
                        <a:pt x="83384" y="567743"/>
                        <a:pt x="70395" y="566926"/>
                        <a:pt x="57467" y="565489"/>
                      </a:cubicBezTo>
                      <a:cubicBezTo>
                        <a:pt x="55158" y="565232"/>
                        <a:pt x="52349" y="565442"/>
                        <a:pt x="50706" y="563799"/>
                      </a:cubicBezTo>
                      <a:cubicBezTo>
                        <a:pt x="49063" y="562156"/>
                        <a:pt x="50168" y="559055"/>
                        <a:pt x="49016" y="557038"/>
                      </a:cubicBezTo>
                      <a:cubicBezTo>
                        <a:pt x="40063" y="541370"/>
                        <a:pt x="46703" y="562991"/>
                        <a:pt x="42255" y="545207"/>
                      </a:cubicBezTo>
                      <a:cubicBezTo>
                        <a:pt x="40002" y="544080"/>
                        <a:pt x="37631" y="543161"/>
                        <a:pt x="35495" y="541826"/>
                      </a:cubicBezTo>
                      <a:cubicBezTo>
                        <a:pt x="33106" y="540333"/>
                        <a:pt x="30726" y="538748"/>
                        <a:pt x="28734" y="536756"/>
                      </a:cubicBezTo>
                      <a:cubicBezTo>
                        <a:pt x="27297" y="535320"/>
                        <a:pt x="25590" y="533703"/>
                        <a:pt x="25353" y="531685"/>
                      </a:cubicBezTo>
                      <a:cubicBezTo>
                        <a:pt x="23308" y="514303"/>
                        <a:pt x="23100" y="496754"/>
                        <a:pt x="21973" y="479289"/>
                      </a:cubicBezTo>
                      <a:cubicBezTo>
                        <a:pt x="21973" y="479289"/>
                        <a:pt x="27250" y="467828"/>
                        <a:pt x="30424" y="462387"/>
                      </a:cubicBezTo>
                      <a:cubicBezTo>
                        <a:pt x="31227" y="461010"/>
                        <a:pt x="32677" y="460133"/>
                        <a:pt x="33804" y="459006"/>
                      </a:cubicBezTo>
                      <a:cubicBezTo>
                        <a:pt x="27197" y="454601"/>
                        <a:pt x="27559" y="454540"/>
                        <a:pt x="18593" y="450555"/>
                      </a:cubicBezTo>
                      <a:cubicBezTo>
                        <a:pt x="15282" y="449083"/>
                        <a:pt x="10636" y="449774"/>
                        <a:pt x="11832" y="443795"/>
                      </a:cubicBezTo>
                      <a:lnTo>
                        <a:pt x="12395" y="443232"/>
                      </a:lnTo>
                      <a:lnTo>
                        <a:pt x="13522" y="443795"/>
                      </a:lnTo>
                      <a:lnTo>
                        <a:pt x="15212" y="440414"/>
                      </a:lnTo>
                      <a:lnTo>
                        <a:pt x="12395" y="443232"/>
                      </a:lnTo>
                      <a:lnTo>
                        <a:pt x="3381" y="438724"/>
                      </a:lnTo>
                      <a:cubicBezTo>
                        <a:pt x="1944" y="437287"/>
                        <a:pt x="1127" y="435343"/>
                        <a:pt x="0" y="433653"/>
                      </a:cubicBezTo>
                      <a:cubicBezTo>
                        <a:pt x="2254" y="431963"/>
                        <a:pt x="4597" y="430386"/>
                        <a:pt x="6761" y="428583"/>
                      </a:cubicBezTo>
                      <a:cubicBezTo>
                        <a:pt x="7985" y="427563"/>
                        <a:pt x="8897" y="426198"/>
                        <a:pt x="10142" y="425202"/>
                      </a:cubicBezTo>
                      <a:cubicBezTo>
                        <a:pt x="18375" y="418615"/>
                        <a:pt x="12451" y="425321"/>
                        <a:pt x="21973" y="416751"/>
                      </a:cubicBezTo>
                      <a:cubicBezTo>
                        <a:pt x="25526" y="413553"/>
                        <a:pt x="28734" y="409990"/>
                        <a:pt x="32114" y="406610"/>
                      </a:cubicBezTo>
                      <a:cubicBezTo>
                        <a:pt x="34987" y="403737"/>
                        <a:pt x="37850" y="400400"/>
                        <a:pt x="38875" y="396469"/>
                      </a:cubicBezTo>
                      <a:cubicBezTo>
                        <a:pt x="41309" y="387137"/>
                        <a:pt x="42737" y="377367"/>
                        <a:pt x="42255" y="367735"/>
                      </a:cubicBezTo>
                      <a:cubicBezTo>
                        <a:pt x="42136" y="365348"/>
                        <a:pt x="38346" y="364754"/>
                        <a:pt x="37185" y="362665"/>
                      </a:cubicBezTo>
                      <a:cubicBezTo>
                        <a:pt x="35454" y="359550"/>
                        <a:pt x="34931" y="355904"/>
                        <a:pt x="33804" y="352524"/>
                      </a:cubicBezTo>
                      <a:cubicBezTo>
                        <a:pt x="44139" y="349078"/>
                        <a:pt x="37247" y="351557"/>
                        <a:pt x="54087" y="344073"/>
                      </a:cubicBezTo>
                      <a:cubicBezTo>
                        <a:pt x="57800" y="342423"/>
                        <a:pt x="58758" y="337415"/>
                        <a:pt x="60848" y="333931"/>
                      </a:cubicBezTo>
                      <a:cubicBezTo>
                        <a:pt x="62144" y="331771"/>
                        <a:pt x="62764" y="329221"/>
                        <a:pt x="64228" y="327171"/>
                      </a:cubicBezTo>
                      <a:cubicBezTo>
                        <a:pt x="65617" y="325226"/>
                        <a:pt x="67973" y="324089"/>
                        <a:pt x="69299" y="322100"/>
                      </a:cubicBezTo>
                      <a:cubicBezTo>
                        <a:pt x="70287" y="320617"/>
                        <a:pt x="70105" y="318576"/>
                        <a:pt x="70989" y="317029"/>
                      </a:cubicBezTo>
                      <a:cubicBezTo>
                        <a:pt x="78651" y="303621"/>
                        <a:pt x="74390" y="316952"/>
                        <a:pt x="77750" y="303508"/>
                      </a:cubicBezTo>
                      <a:cubicBezTo>
                        <a:pt x="102652" y="302124"/>
                        <a:pt x="104390" y="309813"/>
                        <a:pt x="113244" y="295057"/>
                      </a:cubicBezTo>
                      <a:cubicBezTo>
                        <a:pt x="115189" y="291816"/>
                        <a:pt x="116625" y="288296"/>
                        <a:pt x="118315" y="284915"/>
                      </a:cubicBezTo>
                      <a:cubicBezTo>
                        <a:pt x="115494" y="273636"/>
                        <a:pt x="110969" y="256831"/>
                        <a:pt x="113244" y="247731"/>
                      </a:cubicBezTo>
                      <a:cubicBezTo>
                        <a:pt x="114239" y="243752"/>
                        <a:pt x="121131" y="245478"/>
                        <a:pt x="125075" y="244351"/>
                      </a:cubicBezTo>
                      <a:cubicBezTo>
                        <a:pt x="126202" y="245478"/>
                        <a:pt x="127212" y="246736"/>
                        <a:pt x="128456" y="247731"/>
                      </a:cubicBezTo>
                      <a:cubicBezTo>
                        <a:pt x="134196" y="252323"/>
                        <a:pt x="135625" y="251811"/>
                        <a:pt x="143668" y="254492"/>
                      </a:cubicBezTo>
                      <a:cubicBezTo>
                        <a:pt x="146706" y="249934"/>
                        <a:pt x="147572" y="249598"/>
                        <a:pt x="148738" y="244351"/>
                      </a:cubicBezTo>
                      <a:cubicBezTo>
                        <a:pt x="149379" y="241464"/>
                        <a:pt x="150041" y="232775"/>
                        <a:pt x="152119" y="229139"/>
                      </a:cubicBezTo>
                      <a:cubicBezTo>
                        <a:pt x="153517" y="226693"/>
                        <a:pt x="155499" y="224632"/>
                        <a:pt x="157189" y="222378"/>
                      </a:cubicBezTo>
                      <a:cubicBezTo>
                        <a:pt x="157189" y="222378"/>
                        <a:pt x="149249" y="211675"/>
                        <a:pt x="152119" y="207166"/>
                      </a:cubicBezTo>
                      <a:cubicBezTo>
                        <a:pt x="159435" y="195670"/>
                        <a:pt x="168333" y="203327"/>
                        <a:pt x="174091" y="207166"/>
                      </a:cubicBezTo>
                      <a:cubicBezTo>
                        <a:pt x="190430" y="207729"/>
                        <a:pt x="206923" y="206544"/>
                        <a:pt x="223107" y="208856"/>
                      </a:cubicBezTo>
                      <a:cubicBezTo>
                        <a:pt x="233296" y="210312"/>
                        <a:pt x="236629" y="220690"/>
                        <a:pt x="236629" y="229139"/>
                      </a:cubicBezTo>
                      <a:cubicBezTo>
                        <a:pt x="236629" y="231659"/>
                        <a:pt x="235131" y="234226"/>
                        <a:pt x="233248" y="235900"/>
                      </a:cubicBezTo>
                      <a:cubicBezTo>
                        <a:pt x="229853" y="238917"/>
                        <a:pt x="225361" y="240407"/>
                        <a:pt x="221417" y="242660"/>
                      </a:cubicBezTo>
                      <a:cubicBezTo>
                        <a:pt x="203479" y="246248"/>
                        <a:pt x="200408" y="251663"/>
                        <a:pt x="187613" y="244351"/>
                      </a:cubicBezTo>
                      <a:cubicBezTo>
                        <a:pt x="186229" y="243560"/>
                        <a:pt x="185360" y="242097"/>
                        <a:pt x="184233" y="240970"/>
                      </a:cubicBezTo>
                      <a:cubicBezTo>
                        <a:pt x="180289" y="239280"/>
                        <a:pt x="176659" y="235368"/>
                        <a:pt x="172401" y="235900"/>
                      </a:cubicBezTo>
                      <a:cubicBezTo>
                        <a:pt x="170096" y="236188"/>
                        <a:pt x="170455" y="240352"/>
                        <a:pt x="170711" y="242660"/>
                      </a:cubicBezTo>
                      <a:cubicBezTo>
                        <a:pt x="171046" y="245675"/>
                        <a:pt x="172964" y="248294"/>
                        <a:pt x="174091" y="251111"/>
                      </a:cubicBezTo>
                      <a:cubicBezTo>
                        <a:pt x="175218" y="252238"/>
                        <a:pt x="175984" y="253920"/>
                        <a:pt x="177472" y="254492"/>
                      </a:cubicBezTo>
                      <a:cubicBezTo>
                        <a:pt x="183467" y="256798"/>
                        <a:pt x="192162" y="254459"/>
                        <a:pt x="196064" y="259562"/>
                      </a:cubicBezTo>
                      <a:cubicBezTo>
                        <a:pt x="200904" y="265891"/>
                        <a:pt x="198317" y="275337"/>
                        <a:pt x="199444" y="283225"/>
                      </a:cubicBezTo>
                      <a:cubicBezTo>
                        <a:pt x="201134" y="282098"/>
                        <a:pt x="203079" y="281281"/>
                        <a:pt x="204515" y="279845"/>
                      </a:cubicBezTo>
                      <a:cubicBezTo>
                        <a:pt x="208728" y="275632"/>
                        <a:pt x="207388" y="274648"/>
                        <a:pt x="209586" y="269704"/>
                      </a:cubicBezTo>
                      <a:cubicBezTo>
                        <a:pt x="211121" y="266250"/>
                        <a:pt x="212388" y="262586"/>
                        <a:pt x="214656" y="259562"/>
                      </a:cubicBezTo>
                      <a:cubicBezTo>
                        <a:pt x="215875" y="257937"/>
                        <a:pt x="218037" y="257309"/>
                        <a:pt x="219727" y="256182"/>
                      </a:cubicBezTo>
                      <a:cubicBezTo>
                        <a:pt x="222544" y="255619"/>
                        <a:pt x="227084" y="251836"/>
                        <a:pt x="228178" y="254492"/>
                      </a:cubicBezTo>
                      <a:cubicBezTo>
                        <a:pt x="232063" y="263927"/>
                        <a:pt x="229733" y="274876"/>
                        <a:pt x="231558" y="284915"/>
                      </a:cubicBezTo>
                      <a:cubicBezTo>
                        <a:pt x="232009" y="287394"/>
                        <a:pt x="233812" y="289422"/>
                        <a:pt x="234939" y="291676"/>
                      </a:cubicBezTo>
                      <a:cubicBezTo>
                        <a:pt x="235034" y="290919"/>
                        <a:pt x="236973" y="272733"/>
                        <a:pt x="238319" y="269704"/>
                      </a:cubicBezTo>
                      <a:cubicBezTo>
                        <a:pt x="239463" y="267130"/>
                        <a:pt x="241700" y="265197"/>
                        <a:pt x="243390" y="262943"/>
                      </a:cubicBezTo>
                      <a:cubicBezTo>
                        <a:pt x="246770" y="262380"/>
                        <a:pt x="250256" y="262261"/>
                        <a:pt x="253531" y="261253"/>
                      </a:cubicBezTo>
                      <a:cubicBezTo>
                        <a:pt x="257632" y="259991"/>
                        <a:pt x="261071" y="256182"/>
                        <a:pt x="265362" y="256182"/>
                      </a:cubicBezTo>
                      <a:cubicBezTo>
                        <a:pt x="267531" y="256182"/>
                        <a:pt x="272793" y="264793"/>
                        <a:pt x="273813" y="266323"/>
                      </a:cubicBezTo>
                      <a:cubicBezTo>
                        <a:pt x="276630" y="268013"/>
                        <a:pt x="280126" y="268900"/>
                        <a:pt x="282264" y="271394"/>
                      </a:cubicBezTo>
                      <a:cubicBezTo>
                        <a:pt x="283776" y="273158"/>
                        <a:pt x="283499" y="275877"/>
                        <a:pt x="283955" y="278155"/>
                      </a:cubicBezTo>
                      <a:cubicBezTo>
                        <a:pt x="285190" y="284332"/>
                        <a:pt x="286208" y="290550"/>
                        <a:pt x="287335" y="296747"/>
                      </a:cubicBezTo>
                      <a:cubicBezTo>
                        <a:pt x="284163" y="306263"/>
                        <a:pt x="284639" y="307282"/>
                        <a:pt x="278884" y="315339"/>
                      </a:cubicBezTo>
                      <a:cubicBezTo>
                        <a:pt x="277958" y="316636"/>
                        <a:pt x="276500" y="317476"/>
                        <a:pt x="275504" y="318720"/>
                      </a:cubicBezTo>
                      <a:cubicBezTo>
                        <a:pt x="271757" y="323403"/>
                        <a:pt x="272219" y="323503"/>
                        <a:pt x="270433" y="328861"/>
                      </a:cubicBezTo>
                      <a:cubicBezTo>
                        <a:pt x="273250" y="328298"/>
                        <a:pt x="276448" y="328694"/>
                        <a:pt x="278884" y="327171"/>
                      </a:cubicBezTo>
                      <a:cubicBezTo>
                        <a:pt x="281273" y="325678"/>
                        <a:pt x="282083" y="322516"/>
                        <a:pt x="283955" y="320410"/>
                      </a:cubicBezTo>
                      <a:cubicBezTo>
                        <a:pt x="301810" y="300323"/>
                        <a:pt x="290126" y="324503"/>
                        <a:pt x="299166" y="274774"/>
                      </a:cubicBezTo>
                      <a:lnTo>
                        <a:pt x="303871" y="268080"/>
                      </a:lnTo>
                      <a:lnTo>
                        <a:pt x="304237" y="269705"/>
                      </a:lnTo>
                      <a:lnTo>
                        <a:pt x="304837" y="266706"/>
                      </a:lnTo>
                      <a:lnTo>
                        <a:pt x="306626" y="264161"/>
                      </a:lnTo>
                      <a:cubicBezTo>
                        <a:pt x="307438" y="262271"/>
                        <a:pt x="306904" y="261825"/>
                        <a:pt x="306011" y="262215"/>
                      </a:cubicBezTo>
                      <a:lnTo>
                        <a:pt x="305657" y="262606"/>
                      </a:lnTo>
                      <a:lnTo>
                        <a:pt x="310998" y="235900"/>
                      </a:lnTo>
                      <a:cubicBezTo>
                        <a:pt x="326773" y="230266"/>
                        <a:pt x="367902" y="256745"/>
                        <a:pt x="383677" y="251111"/>
                      </a:cubicBezTo>
                      <a:cubicBezTo>
                        <a:pt x="385904" y="250453"/>
                        <a:pt x="388204" y="250059"/>
                        <a:pt x="390437" y="249421"/>
                      </a:cubicBezTo>
                      <a:cubicBezTo>
                        <a:pt x="392150" y="248932"/>
                        <a:pt x="393757" y="248059"/>
                        <a:pt x="395508" y="247731"/>
                      </a:cubicBezTo>
                      <a:cubicBezTo>
                        <a:pt x="402792" y="246366"/>
                        <a:pt x="410157" y="245478"/>
                        <a:pt x="417481" y="244351"/>
                      </a:cubicBezTo>
                      <a:cubicBezTo>
                        <a:pt x="421988" y="244914"/>
                        <a:pt x="426482" y="245589"/>
                        <a:pt x="431002" y="246041"/>
                      </a:cubicBezTo>
                      <a:cubicBezTo>
                        <a:pt x="437753" y="246716"/>
                        <a:pt x="444584" y="246673"/>
                        <a:pt x="451285" y="247731"/>
                      </a:cubicBezTo>
                      <a:cubicBezTo>
                        <a:pt x="455336" y="248371"/>
                        <a:pt x="459106" y="250252"/>
                        <a:pt x="463116" y="251111"/>
                      </a:cubicBezTo>
                      <a:cubicBezTo>
                        <a:pt x="467012" y="251946"/>
                        <a:pt x="470999" y="252275"/>
                        <a:pt x="474948" y="252802"/>
                      </a:cubicBezTo>
                      <a:cubicBezTo>
                        <a:pt x="486547" y="254349"/>
                        <a:pt x="491800" y="254862"/>
                        <a:pt x="503681" y="256182"/>
                      </a:cubicBezTo>
                      <a:cubicBezTo>
                        <a:pt x="509941" y="256878"/>
                        <a:pt x="516096" y="258327"/>
                        <a:pt x="522273" y="259562"/>
                      </a:cubicBezTo>
                      <a:cubicBezTo>
                        <a:pt x="558023" y="266712"/>
                        <a:pt x="533818" y="261030"/>
                        <a:pt x="562838" y="271394"/>
                      </a:cubicBezTo>
                      <a:cubicBezTo>
                        <a:pt x="574595" y="275593"/>
                        <a:pt x="565021" y="270033"/>
                        <a:pt x="574670" y="276464"/>
                      </a:cubicBezTo>
                      <a:cubicBezTo>
                        <a:pt x="576923" y="277028"/>
                        <a:pt x="579352" y="277116"/>
                        <a:pt x="581430" y="278155"/>
                      </a:cubicBezTo>
                      <a:cubicBezTo>
                        <a:pt x="583950" y="279415"/>
                        <a:pt x="585802" y="281732"/>
                        <a:pt x="588191" y="283225"/>
                      </a:cubicBezTo>
                      <a:cubicBezTo>
                        <a:pt x="590328" y="284560"/>
                        <a:pt x="592698" y="285479"/>
                        <a:pt x="594952" y="286606"/>
                      </a:cubicBezTo>
                      <a:cubicBezTo>
                        <a:pt x="608644" y="289344"/>
                        <a:pt x="600678" y="287388"/>
                        <a:pt x="618615" y="293366"/>
                      </a:cubicBezTo>
                      <a:cubicBezTo>
                        <a:pt x="626774" y="296085"/>
                        <a:pt x="632895" y="303042"/>
                        <a:pt x="640587" y="306888"/>
                      </a:cubicBezTo>
                      <a:cubicBezTo>
                        <a:pt x="645368" y="309278"/>
                        <a:pt x="650728" y="310269"/>
                        <a:pt x="655799" y="311959"/>
                      </a:cubicBezTo>
                      <a:cubicBezTo>
                        <a:pt x="658053" y="310269"/>
                        <a:pt x="660114" y="308286"/>
                        <a:pt x="662560" y="306888"/>
                      </a:cubicBezTo>
                      <a:cubicBezTo>
                        <a:pt x="664107" y="306004"/>
                        <a:pt x="665866" y="305439"/>
                        <a:pt x="667631" y="305198"/>
                      </a:cubicBezTo>
                      <a:cubicBezTo>
                        <a:pt x="678296" y="303744"/>
                        <a:pt x="689040" y="302944"/>
                        <a:pt x="699745" y="301817"/>
                      </a:cubicBezTo>
                      <a:cubicBezTo>
                        <a:pt x="702562" y="303507"/>
                        <a:pt x="705324" y="305292"/>
                        <a:pt x="708196" y="306888"/>
                      </a:cubicBezTo>
                      <a:cubicBezTo>
                        <a:pt x="710398" y="308112"/>
                        <a:pt x="712830" y="308916"/>
                        <a:pt x="714956" y="310269"/>
                      </a:cubicBezTo>
                      <a:cubicBezTo>
                        <a:pt x="727332" y="318145"/>
                        <a:pt x="724207" y="320410"/>
                        <a:pt x="738619" y="320410"/>
                      </a:cubicBezTo>
                      <a:cubicBezTo>
                        <a:pt x="740401" y="320410"/>
                        <a:pt x="742000" y="319283"/>
                        <a:pt x="743690" y="318720"/>
                      </a:cubicBezTo>
                      <a:cubicBezTo>
                        <a:pt x="748761" y="319283"/>
                        <a:pt x="753890" y="319455"/>
                        <a:pt x="758902" y="320410"/>
                      </a:cubicBezTo>
                      <a:cubicBezTo>
                        <a:pt x="790058" y="326344"/>
                        <a:pt x="770235" y="323165"/>
                        <a:pt x="784255" y="327171"/>
                      </a:cubicBezTo>
                      <a:cubicBezTo>
                        <a:pt x="790431" y="328936"/>
                        <a:pt x="796684" y="330428"/>
                        <a:pt x="802847" y="332241"/>
                      </a:cubicBezTo>
                      <a:cubicBezTo>
                        <a:pt x="806265" y="333246"/>
                        <a:pt x="809933" y="333789"/>
                        <a:pt x="812988" y="335622"/>
                      </a:cubicBezTo>
                      <a:cubicBezTo>
                        <a:pt x="815721" y="337262"/>
                        <a:pt x="817329" y="340308"/>
                        <a:pt x="819749" y="342382"/>
                      </a:cubicBezTo>
                      <a:cubicBezTo>
                        <a:pt x="821292" y="343704"/>
                        <a:pt x="823130" y="344636"/>
                        <a:pt x="824820" y="345763"/>
                      </a:cubicBezTo>
                      <a:cubicBezTo>
                        <a:pt x="833321" y="346613"/>
                        <a:pt x="843286" y="347237"/>
                        <a:pt x="851863" y="349143"/>
                      </a:cubicBezTo>
                      <a:cubicBezTo>
                        <a:pt x="854320" y="349689"/>
                        <a:pt x="859364" y="351048"/>
                        <a:pt x="860314" y="354214"/>
                      </a:cubicBezTo>
                      <a:cubicBezTo>
                        <a:pt x="861619" y="358564"/>
                        <a:pt x="861441" y="363228"/>
                        <a:pt x="862004" y="367735"/>
                      </a:cubicBezTo>
                      <a:cubicBezTo>
                        <a:pt x="863131" y="371679"/>
                        <a:pt x="863392" y="375981"/>
                        <a:pt x="865384" y="379567"/>
                      </a:cubicBezTo>
                      <a:cubicBezTo>
                        <a:pt x="866371" y="381343"/>
                        <a:pt x="868894" y="381647"/>
                        <a:pt x="870455" y="382947"/>
                      </a:cubicBezTo>
                      <a:cubicBezTo>
                        <a:pt x="872291" y="384477"/>
                        <a:pt x="873836" y="386328"/>
                        <a:pt x="875526" y="388018"/>
                      </a:cubicBezTo>
                      <a:cubicBezTo>
                        <a:pt x="883260" y="389951"/>
                        <a:pt x="883427" y="389296"/>
                        <a:pt x="890738" y="394779"/>
                      </a:cubicBezTo>
                      <a:cubicBezTo>
                        <a:pt x="892650" y="396213"/>
                        <a:pt x="893972" y="398319"/>
                        <a:pt x="895808" y="399849"/>
                      </a:cubicBezTo>
                      <a:cubicBezTo>
                        <a:pt x="909926" y="411614"/>
                        <a:pt x="891139" y="393490"/>
                        <a:pt x="905949" y="408300"/>
                      </a:cubicBezTo>
                      <a:cubicBezTo>
                        <a:pt x="908203" y="408864"/>
                        <a:pt x="910632" y="408952"/>
                        <a:pt x="912710" y="409991"/>
                      </a:cubicBezTo>
                      <a:cubicBezTo>
                        <a:pt x="915230" y="411251"/>
                        <a:pt x="917179" y="413424"/>
                        <a:pt x="919471" y="415061"/>
                      </a:cubicBezTo>
                      <a:cubicBezTo>
                        <a:pt x="925006" y="419014"/>
                        <a:pt x="931828" y="421921"/>
                        <a:pt x="934683" y="428583"/>
                      </a:cubicBezTo>
                      <a:cubicBezTo>
                        <a:pt x="935598" y="430718"/>
                        <a:pt x="935638" y="433140"/>
                        <a:pt x="936373" y="435344"/>
                      </a:cubicBezTo>
                      <a:cubicBezTo>
                        <a:pt x="937332" y="438222"/>
                        <a:pt x="938716" y="440944"/>
                        <a:pt x="939753" y="443795"/>
                      </a:cubicBezTo>
                      <a:cubicBezTo>
                        <a:pt x="940971" y="447144"/>
                        <a:pt x="941855" y="450610"/>
                        <a:pt x="943134" y="453936"/>
                      </a:cubicBezTo>
                      <a:cubicBezTo>
                        <a:pt x="948590" y="468121"/>
                        <a:pt x="946105" y="462489"/>
                        <a:pt x="953275" y="472528"/>
                      </a:cubicBezTo>
                      <a:cubicBezTo>
                        <a:pt x="954456" y="474181"/>
                        <a:pt x="956655" y="475568"/>
                        <a:pt x="956655" y="477599"/>
                      </a:cubicBezTo>
                      <a:cubicBezTo>
                        <a:pt x="956655" y="481700"/>
                        <a:pt x="954402" y="485486"/>
                        <a:pt x="953275" y="489430"/>
                      </a:cubicBezTo>
                      <a:cubicBezTo>
                        <a:pt x="951290" y="492407"/>
                        <a:pt x="945270" y="499509"/>
                        <a:pt x="944824" y="504642"/>
                      </a:cubicBezTo>
                      <a:cubicBezTo>
                        <a:pt x="941266" y="545563"/>
                        <a:pt x="946982" y="526900"/>
                        <a:pt x="941444" y="543517"/>
                      </a:cubicBezTo>
                      <a:cubicBezTo>
                        <a:pt x="940317" y="545207"/>
                        <a:pt x="938863" y="546720"/>
                        <a:pt x="938063" y="548587"/>
                      </a:cubicBezTo>
                      <a:cubicBezTo>
                        <a:pt x="936236" y="552849"/>
                        <a:pt x="935731" y="561648"/>
                        <a:pt x="934683" y="565489"/>
                      </a:cubicBezTo>
                      <a:cubicBezTo>
                        <a:pt x="927703" y="591081"/>
                        <a:pt x="934428" y="555181"/>
                        <a:pt x="929612" y="584081"/>
                      </a:cubicBezTo>
                      <a:cubicBezTo>
                        <a:pt x="926388" y="590529"/>
                        <a:pt x="925409" y="592920"/>
                        <a:pt x="921161" y="599293"/>
                      </a:cubicBezTo>
                      <a:cubicBezTo>
                        <a:pt x="919598" y="601637"/>
                        <a:pt x="917781" y="603800"/>
                        <a:pt x="916091" y="606054"/>
                      </a:cubicBezTo>
                      <a:cubicBezTo>
                        <a:pt x="912149" y="611311"/>
                        <a:pt x="909330" y="617322"/>
                        <a:pt x="905949" y="622956"/>
                      </a:cubicBezTo>
                      <a:cubicBezTo>
                        <a:pt x="902259" y="629105"/>
                        <a:pt x="895808" y="633097"/>
                        <a:pt x="890738" y="638168"/>
                      </a:cubicBezTo>
                      <a:cubicBezTo>
                        <a:pt x="888484" y="639295"/>
                        <a:pt x="885890" y="639908"/>
                        <a:pt x="883977" y="641548"/>
                      </a:cubicBezTo>
                      <a:cubicBezTo>
                        <a:pt x="881838" y="643381"/>
                        <a:pt x="880898" y="646317"/>
                        <a:pt x="878906" y="648309"/>
                      </a:cubicBezTo>
                      <a:cubicBezTo>
                        <a:pt x="876914" y="650301"/>
                        <a:pt x="874284" y="651547"/>
                        <a:pt x="872145" y="653380"/>
                      </a:cubicBezTo>
                      <a:cubicBezTo>
                        <a:pt x="870330" y="654935"/>
                        <a:pt x="869064" y="657124"/>
                        <a:pt x="867075" y="658450"/>
                      </a:cubicBezTo>
                      <a:cubicBezTo>
                        <a:pt x="863930" y="660547"/>
                        <a:pt x="860041" y="661370"/>
                        <a:pt x="856933" y="663521"/>
                      </a:cubicBezTo>
                      <a:cubicBezTo>
                        <a:pt x="831402" y="681196"/>
                        <a:pt x="855465" y="668480"/>
                        <a:pt x="838341" y="677043"/>
                      </a:cubicBezTo>
                      <a:lnTo>
                        <a:pt x="824820" y="680423"/>
                      </a:lnTo>
                      <a:lnTo>
                        <a:pt x="804537" y="685494"/>
                      </a:lnTo>
                      <a:cubicBezTo>
                        <a:pt x="751799" y="689550"/>
                        <a:pt x="773733" y="695444"/>
                        <a:pt x="736929" y="677043"/>
                      </a:cubicBezTo>
                      <a:cubicBezTo>
                        <a:pt x="735239" y="679296"/>
                        <a:pt x="733963" y="681932"/>
                        <a:pt x="731858" y="683803"/>
                      </a:cubicBezTo>
                      <a:cubicBezTo>
                        <a:pt x="725714" y="689264"/>
                        <a:pt x="715193" y="693826"/>
                        <a:pt x="708196" y="697325"/>
                      </a:cubicBezTo>
                      <a:cubicBezTo>
                        <a:pt x="693809" y="700202"/>
                        <a:pt x="704435" y="696680"/>
                        <a:pt x="689603" y="707466"/>
                      </a:cubicBezTo>
                      <a:cubicBezTo>
                        <a:pt x="674208" y="718662"/>
                        <a:pt x="687036" y="706652"/>
                        <a:pt x="676082" y="717608"/>
                      </a:cubicBezTo>
                      <a:cubicBezTo>
                        <a:pt x="668758" y="718171"/>
                        <a:pt x="661388" y="718306"/>
                        <a:pt x="654109" y="719298"/>
                      </a:cubicBezTo>
                      <a:cubicBezTo>
                        <a:pt x="650556" y="719782"/>
                        <a:pt x="632115" y="724827"/>
                        <a:pt x="627066" y="724368"/>
                      </a:cubicBezTo>
                      <a:cubicBezTo>
                        <a:pt x="624557" y="724140"/>
                        <a:pt x="622559" y="722115"/>
                        <a:pt x="620305" y="720988"/>
                      </a:cubicBezTo>
                      <a:cubicBezTo>
                        <a:pt x="605081" y="718813"/>
                        <a:pt x="612404" y="719953"/>
                        <a:pt x="598332" y="717608"/>
                      </a:cubicBezTo>
                      <a:cubicBezTo>
                        <a:pt x="593060" y="716730"/>
                        <a:pt x="588191" y="714227"/>
                        <a:pt x="583121" y="712537"/>
                      </a:cubicBezTo>
                      <a:cubicBezTo>
                        <a:pt x="577636" y="710709"/>
                        <a:pt x="569727" y="702522"/>
                        <a:pt x="564528" y="697325"/>
                      </a:cubicBezTo>
                      <a:cubicBezTo>
                        <a:pt x="560584" y="698452"/>
                        <a:pt x="556445" y="699039"/>
                        <a:pt x="552697" y="700705"/>
                      </a:cubicBezTo>
                      <a:cubicBezTo>
                        <a:pt x="550415" y="701719"/>
                        <a:pt x="546969" y="707606"/>
                        <a:pt x="545936" y="709156"/>
                      </a:cubicBezTo>
                      <a:cubicBezTo>
                        <a:pt x="544246" y="709720"/>
                        <a:pt x="541978" y="709456"/>
                        <a:pt x="540865" y="710847"/>
                      </a:cubicBezTo>
                      <a:cubicBezTo>
                        <a:pt x="537029" y="715643"/>
                        <a:pt x="541879" y="720312"/>
                        <a:pt x="535795" y="724368"/>
                      </a:cubicBezTo>
                      <a:cubicBezTo>
                        <a:pt x="532382" y="726643"/>
                        <a:pt x="527907" y="726622"/>
                        <a:pt x="523963" y="727749"/>
                      </a:cubicBezTo>
                      <a:cubicBezTo>
                        <a:pt x="515516" y="724933"/>
                        <a:pt x="517044" y="726283"/>
                        <a:pt x="508752" y="715917"/>
                      </a:cubicBezTo>
                      <a:cubicBezTo>
                        <a:pt x="507178" y="713949"/>
                        <a:pt x="507761" y="709953"/>
                        <a:pt x="505371" y="709156"/>
                      </a:cubicBezTo>
                      <a:cubicBezTo>
                        <a:pt x="503681" y="708593"/>
                        <a:pt x="504244" y="712537"/>
                        <a:pt x="503681" y="714227"/>
                      </a:cubicBezTo>
                      <a:cubicBezTo>
                        <a:pt x="501991" y="714790"/>
                        <a:pt x="500378" y="716138"/>
                        <a:pt x="498610" y="715917"/>
                      </a:cubicBezTo>
                      <a:cubicBezTo>
                        <a:pt x="491799" y="715066"/>
                        <a:pt x="490665" y="713044"/>
                        <a:pt x="486779" y="709156"/>
                      </a:cubicBezTo>
                      <a:cubicBezTo>
                        <a:pt x="485089" y="708593"/>
                        <a:pt x="483099" y="708579"/>
                        <a:pt x="481708" y="707466"/>
                      </a:cubicBezTo>
                      <a:cubicBezTo>
                        <a:pt x="480122" y="706197"/>
                        <a:pt x="479509" y="704049"/>
                        <a:pt x="478328" y="702396"/>
                      </a:cubicBezTo>
                      <a:cubicBezTo>
                        <a:pt x="476691" y="700104"/>
                        <a:pt x="475249" y="697627"/>
                        <a:pt x="473257" y="695635"/>
                      </a:cubicBezTo>
                      <a:cubicBezTo>
                        <a:pt x="468140" y="690517"/>
                        <a:pt x="467229" y="690808"/>
                        <a:pt x="461426" y="688874"/>
                      </a:cubicBezTo>
                      <a:cubicBezTo>
                        <a:pt x="461426" y="688874"/>
                        <a:pt x="455025" y="693909"/>
                        <a:pt x="452975" y="697325"/>
                      </a:cubicBezTo>
                      <a:cubicBezTo>
                        <a:pt x="451497" y="699788"/>
                        <a:pt x="451848" y="702959"/>
                        <a:pt x="451285" y="705776"/>
                      </a:cubicBezTo>
                      <a:cubicBezTo>
                        <a:pt x="449620" y="708273"/>
                        <a:pt x="443875" y="717608"/>
                        <a:pt x="441143" y="717608"/>
                      </a:cubicBezTo>
                      <a:cubicBezTo>
                        <a:pt x="438326" y="717608"/>
                        <a:pt x="437876" y="713011"/>
                        <a:pt x="436073" y="710847"/>
                      </a:cubicBezTo>
                      <a:cubicBezTo>
                        <a:pt x="435053" y="709623"/>
                        <a:pt x="433819" y="708593"/>
                        <a:pt x="432692" y="707466"/>
                      </a:cubicBezTo>
                      <a:cubicBezTo>
                        <a:pt x="431002" y="706903"/>
                        <a:pt x="429104" y="706764"/>
                        <a:pt x="427622" y="705776"/>
                      </a:cubicBezTo>
                      <a:cubicBezTo>
                        <a:pt x="424090" y="703422"/>
                        <a:pt x="419825" y="697070"/>
                        <a:pt x="417481" y="693945"/>
                      </a:cubicBezTo>
                      <a:cubicBezTo>
                        <a:pt x="408984" y="691820"/>
                        <a:pt x="409796" y="693020"/>
                        <a:pt x="402269" y="685494"/>
                      </a:cubicBezTo>
                      <a:cubicBezTo>
                        <a:pt x="396017" y="679243"/>
                        <a:pt x="400404" y="673714"/>
                        <a:pt x="387057" y="670282"/>
                      </a:cubicBezTo>
                      <a:cubicBezTo>
                        <a:pt x="371691" y="666331"/>
                        <a:pt x="355506" y="666901"/>
                        <a:pt x="339731" y="665211"/>
                      </a:cubicBezTo>
                      <a:cubicBezTo>
                        <a:pt x="339178" y="665290"/>
                        <a:pt x="321139" y="665932"/>
                        <a:pt x="321139" y="671972"/>
                      </a:cubicBezTo>
                      <a:cubicBezTo>
                        <a:pt x="321139" y="674492"/>
                        <a:pt x="325646" y="674225"/>
                        <a:pt x="327900" y="675352"/>
                      </a:cubicBezTo>
                      <a:cubicBezTo>
                        <a:pt x="332971" y="675916"/>
                        <a:pt x="338182" y="675728"/>
                        <a:pt x="343112" y="677043"/>
                      </a:cubicBezTo>
                      <a:cubicBezTo>
                        <a:pt x="347039" y="678090"/>
                        <a:pt x="357968" y="684942"/>
                        <a:pt x="361704" y="687184"/>
                      </a:cubicBezTo>
                      <a:cubicBezTo>
                        <a:pt x="364521" y="687747"/>
                        <a:pt x="367948" y="687035"/>
                        <a:pt x="370155" y="688874"/>
                      </a:cubicBezTo>
                      <a:cubicBezTo>
                        <a:pt x="371940" y="690361"/>
                        <a:pt x="371207" y="693401"/>
                        <a:pt x="371845" y="695635"/>
                      </a:cubicBezTo>
                      <a:cubicBezTo>
                        <a:pt x="376706" y="712649"/>
                        <a:pt x="369926" y="686275"/>
                        <a:pt x="375226" y="707466"/>
                      </a:cubicBezTo>
                      <a:cubicBezTo>
                        <a:pt x="385032" y="722177"/>
                        <a:pt x="369780" y="701886"/>
                        <a:pt x="387057" y="714227"/>
                      </a:cubicBezTo>
                      <a:cubicBezTo>
                        <a:pt x="389107" y="715692"/>
                        <a:pt x="389310" y="718734"/>
                        <a:pt x="390437" y="720988"/>
                      </a:cubicBezTo>
                      <a:cubicBezTo>
                        <a:pt x="396385" y="721838"/>
                        <a:pt x="408676" y="723046"/>
                        <a:pt x="414100" y="726059"/>
                      </a:cubicBezTo>
                      <a:cubicBezTo>
                        <a:pt x="415876" y="727045"/>
                        <a:pt x="416181" y="729569"/>
                        <a:pt x="417481" y="731129"/>
                      </a:cubicBezTo>
                      <a:cubicBezTo>
                        <a:pt x="419011" y="732965"/>
                        <a:pt x="421225" y="734211"/>
                        <a:pt x="422551" y="736200"/>
                      </a:cubicBezTo>
                      <a:cubicBezTo>
                        <a:pt x="423539" y="737682"/>
                        <a:pt x="423892" y="739523"/>
                        <a:pt x="424241" y="741270"/>
                      </a:cubicBezTo>
                      <a:cubicBezTo>
                        <a:pt x="425022" y="745177"/>
                        <a:pt x="422060" y="752163"/>
                        <a:pt x="425932" y="753102"/>
                      </a:cubicBezTo>
                      <a:cubicBezTo>
                        <a:pt x="490749" y="768816"/>
                        <a:pt x="470494" y="735745"/>
                        <a:pt x="485089" y="764933"/>
                      </a:cubicBezTo>
                      <a:cubicBezTo>
                        <a:pt x="482272" y="766623"/>
                        <a:pt x="479510" y="768409"/>
                        <a:pt x="476638" y="770004"/>
                      </a:cubicBezTo>
                      <a:cubicBezTo>
                        <a:pt x="474435" y="771228"/>
                        <a:pt x="469080" y="770994"/>
                        <a:pt x="469877" y="773384"/>
                      </a:cubicBezTo>
                      <a:cubicBezTo>
                        <a:pt x="470785" y="776109"/>
                        <a:pt x="475511" y="774511"/>
                        <a:pt x="478328" y="775074"/>
                      </a:cubicBezTo>
                      <a:lnTo>
                        <a:pt x="491850" y="773384"/>
                      </a:lnTo>
                      <a:cubicBezTo>
                        <a:pt x="497551" y="772671"/>
                        <a:pt x="503021" y="770413"/>
                        <a:pt x="508752" y="770004"/>
                      </a:cubicBezTo>
                      <a:cubicBezTo>
                        <a:pt x="511069" y="769839"/>
                        <a:pt x="513259" y="771131"/>
                        <a:pt x="515512" y="771694"/>
                      </a:cubicBezTo>
                      <a:lnTo>
                        <a:pt x="551007" y="775074"/>
                      </a:lnTo>
                      <a:cubicBezTo>
                        <a:pt x="556616" y="775608"/>
                        <a:pt x="560129" y="781696"/>
                        <a:pt x="564528" y="785216"/>
                      </a:cubicBezTo>
                      <a:cubicBezTo>
                        <a:pt x="566953" y="787156"/>
                        <a:pt x="570075" y="790937"/>
                        <a:pt x="571289" y="793667"/>
                      </a:cubicBezTo>
                      <a:cubicBezTo>
                        <a:pt x="572736" y="796923"/>
                        <a:pt x="573543" y="800428"/>
                        <a:pt x="574670" y="803808"/>
                      </a:cubicBezTo>
                      <a:cubicBezTo>
                        <a:pt x="578050" y="804371"/>
                        <a:pt x="581451" y="804826"/>
                        <a:pt x="584811" y="805498"/>
                      </a:cubicBezTo>
                      <a:cubicBezTo>
                        <a:pt x="587089" y="805954"/>
                        <a:pt x="589318" y="806625"/>
                        <a:pt x="591572" y="807188"/>
                      </a:cubicBezTo>
                      <a:cubicBezTo>
                        <a:pt x="593891" y="807768"/>
                        <a:pt x="594952" y="810569"/>
                        <a:pt x="596642" y="812259"/>
                      </a:cubicBezTo>
                      <a:lnTo>
                        <a:pt x="605093" y="820710"/>
                      </a:lnTo>
                      <a:cubicBezTo>
                        <a:pt x="606783" y="821273"/>
                        <a:pt x="609128" y="820950"/>
                        <a:pt x="610164" y="822400"/>
                      </a:cubicBezTo>
                      <a:cubicBezTo>
                        <a:pt x="616306" y="830999"/>
                        <a:pt x="613747" y="832134"/>
                        <a:pt x="610164" y="839302"/>
                      </a:cubicBezTo>
                      <a:lnTo>
                        <a:pt x="603737" y="835446"/>
                      </a:lnTo>
                      <a:lnTo>
                        <a:pt x="603091" y="834987"/>
                      </a:lnTo>
                      <a:cubicBezTo>
                        <a:pt x="601755" y="834226"/>
                        <a:pt x="600805" y="833778"/>
                        <a:pt x="601713" y="834232"/>
                      </a:cubicBezTo>
                      <a:lnTo>
                        <a:pt x="603737" y="835446"/>
                      </a:lnTo>
                      <a:lnTo>
                        <a:pt x="606783" y="837612"/>
                      </a:lnTo>
                      <a:cubicBezTo>
                        <a:pt x="607896" y="839003"/>
                        <a:pt x="607677" y="841089"/>
                        <a:pt x="608474" y="842683"/>
                      </a:cubicBezTo>
                      <a:cubicBezTo>
                        <a:pt x="610505" y="846746"/>
                        <a:pt x="613354" y="850379"/>
                        <a:pt x="615234" y="854514"/>
                      </a:cubicBezTo>
                      <a:cubicBezTo>
                        <a:pt x="616195" y="856629"/>
                        <a:pt x="616287" y="859041"/>
                        <a:pt x="616925" y="861275"/>
                      </a:cubicBezTo>
                      <a:cubicBezTo>
                        <a:pt x="617414" y="862988"/>
                        <a:pt x="618052" y="864655"/>
                        <a:pt x="618615" y="866345"/>
                      </a:cubicBezTo>
                      <a:cubicBezTo>
                        <a:pt x="620305" y="868599"/>
                        <a:pt x="623133" y="870344"/>
                        <a:pt x="623685" y="873106"/>
                      </a:cubicBezTo>
                      <a:cubicBezTo>
                        <a:pt x="624145" y="875408"/>
                        <a:pt x="621110" y="886789"/>
                        <a:pt x="620305" y="890008"/>
                      </a:cubicBezTo>
                      <a:cubicBezTo>
                        <a:pt x="618615" y="890571"/>
                        <a:pt x="616781" y="890814"/>
                        <a:pt x="615234" y="891698"/>
                      </a:cubicBezTo>
                      <a:cubicBezTo>
                        <a:pt x="607135" y="896326"/>
                        <a:pt x="602385" y="903296"/>
                        <a:pt x="598332" y="911981"/>
                      </a:cubicBezTo>
                      <a:cubicBezTo>
                        <a:pt x="596883" y="915086"/>
                        <a:pt x="597205" y="918742"/>
                        <a:pt x="596642" y="922122"/>
                      </a:cubicBezTo>
                      <a:cubicBezTo>
                        <a:pt x="596986" y="922179"/>
                        <a:pt x="625851" y="923926"/>
                        <a:pt x="633827" y="930573"/>
                      </a:cubicBezTo>
                      <a:cubicBezTo>
                        <a:pt x="636850" y="933093"/>
                        <a:pt x="637744" y="937254"/>
                        <a:pt x="638897" y="940714"/>
                      </a:cubicBezTo>
                      <a:cubicBezTo>
                        <a:pt x="650950" y="952767"/>
                        <a:pt x="637929" y="939083"/>
                        <a:pt x="647348" y="950856"/>
                      </a:cubicBezTo>
                      <a:cubicBezTo>
                        <a:pt x="648344" y="952100"/>
                        <a:pt x="649845" y="952910"/>
                        <a:pt x="650729" y="954236"/>
                      </a:cubicBezTo>
                      <a:cubicBezTo>
                        <a:pt x="652127" y="956332"/>
                        <a:pt x="652982" y="958743"/>
                        <a:pt x="654109" y="960997"/>
                      </a:cubicBezTo>
                      <a:cubicBezTo>
                        <a:pt x="656363" y="963251"/>
                        <a:pt x="658450" y="965684"/>
                        <a:pt x="660870" y="967758"/>
                      </a:cubicBezTo>
                      <a:cubicBezTo>
                        <a:pt x="662412" y="969080"/>
                        <a:pt x="664505" y="969702"/>
                        <a:pt x="665941" y="971138"/>
                      </a:cubicBezTo>
                      <a:cubicBezTo>
                        <a:pt x="667933" y="973130"/>
                        <a:pt x="669321" y="975645"/>
                        <a:pt x="671011" y="977899"/>
                      </a:cubicBezTo>
                      <a:cubicBezTo>
                        <a:pt x="675791" y="984273"/>
                        <a:pt x="682491" y="988962"/>
                        <a:pt x="687913" y="994801"/>
                      </a:cubicBezTo>
                      <a:cubicBezTo>
                        <a:pt x="689830" y="996865"/>
                        <a:pt x="692457" y="998795"/>
                        <a:pt x="692984" y="1001562"/>
                      </a:cubicBezTo>
                      <a:cubicBezTo>
                        <a:pt x="694779" y="1010987"/>
                        <a:pt x="694111" y="1020717"/>
                        <a:pt x="694674" y="1030295"/>
                      </a:cubicBezTo>
                      <a:cubicBezTo>
                        <a:pt x="710020" y="1037969"/>
                        <a:pt x="691034" y="1028641"/>
                        <a:pt x="713266" y="1038746"/>
                      </a:cubicBezTo>
                      <a:cubicBezTo>
                        <a:pt x="715560" y="1039789"/>
                        <a:pt x="718245" y="1040345"/>
                        <a:pt x="720027" y="1042127"/>
                      </a:cubicBezTo>
                      <a:cubicBezTo>
                        <a:pt x="721808" y="1043908"/>
                        <a:pt x="722009" y="1046791"/>
                        <a:pt x="723407" y="1048887"/>
                      </a:cubicBezTo>
                      <a:cubicBezTo>
                        <a:pt x="724291" y="1050213"/>
                        <a:pt x="725362" y="1051555"/>
                        <a:pt x="726788" y="1052268"/>
                      </a:cubicBezTo>
                      <a:cubicBezTo>
                        <a:pt x="730969" y="1054359"/>
                        <a:pt x="747775" y="1055539"/>
                        <a:pt x="748760" y="1055648"/>
                      </a:cubicBezTo>
                      <a:cubicBezTo>
                        <a:pt x="753276" y="1051133"/>
                        <a:pt x="752451" y="1052671"/>
                        <a:pt x="755521" y="1045507"/>
                      </a:cubicBezTo>
                      <a:cubicBezTo>
                        <a:pt x="756223" y="1043869"/>
                        <a:pt x="755557" y="1041098"/>
                        <a:pt x="757211" y="1040436"/>
                      </a:cubicBezTo>
                      <a:cubicBezTo>
                        <a:pt x="761948" y="1038541"/>
                        <a:pt x="767352" y="1039309"/>
                        <a:pt x="772423" y="1038746"/>
                      </a:cubicBezTo>
                      <a:cubicBezTo>
                        <a:pt x="774113" y="1039309"/>
                        <a:pt x="775966" y="1039519"/>
                        <a:pt x="777494" y="1040436"/>
                      </a:cubicBezTo>
                      <a:cubicBezTo>
                        <a:pt x="778860" y="1041256"/>
                        <a:pt x="779747" y="1042690"/>
                        <a:pt x="780874" y="1043817"/>
                      </a:cubicBezTo>
                      <a:cubicBezTo>
                        <a:pt x="785416" y="1048360"/>
                        <a:pt x="790028" y="1053510"/>
                        <a:pt x="796086" y="1055648"/>
                      </a:cubicBezTo>
                      <a:cubicBezTo>
                        <a:pt x="800369" y="1057160"/>
                        <a:pt x="805101" y="1054521"/>
                        <a:pt x="809608" y="1053958"/>
                      </a:cubicBezTo>
                      <a:cubicBezTo>
                        <a:pt x="811298" y="1054521"/>
                        <a:pt x="812972" y="1055136"/>
                        <a:pt x="814678" y="1055648"/>
                      </a:cubicBezTo>
                      <a:cubicBezTo>
                        <a:pt x="818607" y="1056827"/>
                        <a:pt x="822841" y="1057195"/>
                        <a:pt x="826510" y="1059029"/>
                      </a:cubicBezTo>
                      <a:cubicBezTo>
                        <a:pt x="828648" y="1060098"/>
                        <a:pt x="830692" y="1061880"/>
                        <a:pt x="831580" y="1064099"/>
                      </a:cubicBezTo>
                      <a:cubicBezTo>
                        <a:pt x="833060" y="1067798"/>
                        <a:pt x="829451" y="1074799"/>
                        <a:pt x="833271" y="1075931"/>
                      </a:cubicBezTo>
                      <a:cubicBezTo>
                        <a:pt x="847326" y="1080096"/>
                        <a:pt x="862625" y="1076209"/>
                        <a:pt x="877216" y="1077621"/>
                      </a:cubicBezTo>
                      <a:cubicBezTo>
                        <a:pt x="880236" y="1077913"/>
                        <a:pt x="882850" y="1079874"/>
                        <a:pt x="885667" y="1081001"/>
                      </a:cubicBezTo>
                      <a:cubicBezTo>
                        <a:pt x="892428" y="1081564"/>
                        <a:pt x="899210" y="1081913"/>
                        <a:pt x="905949" y="1082691"/>
                      </a:cubicBezTo>
                      <a:cubicBezTo>
                        <a:pt x="915449" y="1083787"/>
                        <a:pt x="928937" y="1092493"/>
                        <a:pt x="934683" y="1081001"/>
                      </a:cubicBezTo>
                      <a:cubicBezTo>
                        <a:pt x="935968" y="1078432"/>
                        <a:pt x="935810" y="1075367"/>
                        <a:pt x="936373" y="1072550"/>
                      </a:cubicBezTo>
                      <a:cubicBezTo>
                        <a:pt x="939190" y="1068606"/>
                        <a:pt x="942503" y="1064974"/>
                        <a:pt x="944824" y="1060719"/>
                      </a:cubicBezTo>
                      <a:cubicBezTo>
                        <a:pt x="945936" y="1058680"/>
                        <a:pt x="945599" y="1056093"/>
                        <a:pt x="946514" y="1053958"/>
                      </a:cubicBezTo>
                      <a:cubicBezTo>
                        <a:pt x="947314" y="1052091"/>
                        <a:pt x="948768" y="1050577"/>
                        <a:pt x="949895" y="1048887"/>
                      </a:cubicBezTo>
                      <a:cubicBezTo>
                        <a:pt x="954896" y="1045553"/>
                        <a:pt x="960036" y="1043337"/>
                        <a:pt x="960036" y="1035366"/>
                      </a:cubicBezTo>
                      <a:cubicBezTo>
                        <a:pt x="960036" y="1032549"/>
                        <a:pt x="956363" y="1031051"/>
                        <a:pt x="954965" y="1028605"/>
                      </a:cubicBezTo>
                      <a:cubicBezTo>
                        <a:pt x="954081" y="1027058"/>
                        <a:pt x="953838" y="1025224"/>
                        <a:pt x="953275" y="1023534"/>
                      </a:cubicBezTo>
                      <a:cubicBezTo>
                        <a:pt x="952148" y="1021844"/>
                        <a:pt x="951164" y="1020050"/>
                        <a:pt x="949895" y="1018464"/>
                      </a:cubicBezTo>
                      <a:cubicBezTo>
                        <a:pt x="947142" y="1015023"/>
                        <a:pt x="945209" y="1014213"/>
                        <a:pt x="941444" y="1011703"/>
                      </a:cubicBezTo>
                      <a:cubicBezTo>
                        <a:pt x="939754" y="1011140"/>
                        <a:pt x="938011" y="1010715"/>
                        <a:pt x="936373" y="1010013"/>
                      </a:cubicBezTo>
                      <a:cubicBezTo>
                        <a:pt x="927598" y="1006252"/>
                        <a:pt x="927104" y="1005078"/>
                        <a:pt x="919471" y="996491"/>
                      </a:cubicBezTo>
                      <a:cubicBezTo>
                        <a:pt x="918121" y="994973"/>
                        <a:pt x="917218" y="993110"/>
                        <a:pt x="916091" y="991420"/>
                      </a:cubicBezTo>
                      <a:cubicBezTo>
                        <a:pt x="916091" y="991420"/>
                        <a:pt x="909500" y="988336"/>
                        <a:pt x="905949" y="988040"/>
                      </a:cubicBezTo>
                      <a:cubicBezTo>
                        <a:pt x="894278" y="987068"/>
                        <a:pt x="896123" y="988469"/>
                        <a:pt x="894118" y="996491"/>
                      </a:cubicBezTo>
                      <a:cubicBezTo>
                        <a:pt x="886082" y="1001847"/>
                        <a:pt x="890974" y="999228"/>
                        <a:pt x="878906" y="1003252"/>
                      </a:cubicBezTo>
                      <a:cubicBezTo>
                        <a:pt x="878906" y="1003252"/>
                        <a:pt x="874738" y="998344"/>
                        <a:pt x="872145" y="996491"/>
                      </a:cubicBezTo>
                      <a:cubicBezTo>
                        <a:pt x="870695" y="995456"/>
                        <a:pt x="868668" y="995598"/>
                        <a:pt x="867075" y="994801"/>
                      </a:cubicBezTo>
                      <a:cubicBezTo>
                        <a:pt x="865258" y="993892"/>
                        <a:pt x="863694" y="992547"/>
                        <a:pt x="862004" y="991420"/>
                      </a:cubicBezTo>
                      <a:cubicBezTo>
                        <a:pt x="862004" y="991420"/>
                        <a:pt x="855050" y="989633"/>
                        <a:pt x="851863" y="988040"/>
                      </a:cubicBezTo>
                      <a:cubicBezTo>
                        <a:pt x="850438" y="987327"/>
                        <a:pt x="849609" y="985787"/>
                        <a:pt x="848482" y="984660"/>
                      </a:cubicBezTo>
                      <a:cubicBezTo>
                        <a:pt x="848482" y="984660"/>
                        <a:pt x="841306" y="983256"/>
                        <a:pt x="838341" y="981279"/>
                      </a:cubicBezTo>
                      <a:cubicBezTo>
                        <a:pt x="835997" y="979716"/>
                        <a:pt x="834961" y="976772"/>
                        <a:pt x="833271" y="974518"/>
                      </a:cubicBezTo>
                      <a:cubicBezTo>
                        <a:pt x="823954" y="971413"/>
                        <a:pt x="831647" y="974817"/>
                        <a:pt x="821439" y="966067"/>
                      </a:cubicBezTo>
                      <a:cubicBezTo>
                        <a:pt x="812675" y="958555"/>
                        <a:pt x="819500" y="967383"/>
                        <a:pt x="812988" y="957616"/>
                      </a:cubicBezTo>
                      <a:cubicBezTo>
                        <a:pt x="812988" y="957616"/>
                        <a:pt x="799256" y="953663"/>
                        <a:pt x="792706" y="950856"/>
                      </a:cubicBezTo>
                      <a:cubicBezTo>
                        <a:pt x="791241" y="950228"/>
                        <a:pt x="790452" y="948602"/>
                        <a:pt x="789325" y="947475"/>
                      </a:cubicBezTo>
                      <a:cubicBezTo>
                        <a:pt x="786447" y="944597"/>
                        <a:pt x="774912" y="941699"/>
                        <a:pt x="777494" y="933954"/>
                      </a:cubicBezTo>
                      <a:cubicBezTo>
                        <a:pt x="778137" y="932027"/>
                        <a:pt x="780875" y="931700"/>
                        <a:pt x="782565" y="930573"/>
                      </a:cubicBezTo>
                      <a:cubicBezTo>
                        <a:pt x="787072" y="929446"/>
                        <a:pt x="792102" y="929583"/>
                        <a:pt x="796086" y="927193"/>
                      </a:cubicBezTo>
                      <a:cubicBezTo>
                        <a:pt x="802380" y="923417"/>
                        <a:pt x="798191" y="910228"/>
                        <a:pt x="797776" y="906910"/>
                      </a:cubicBezTo>
                      <a:cubicBezTo>
                        <a:pt x="798340" y="905220"/>
                        <a:pt x="798858" y="903514"/>
                        <a:pt x="799467" y="901840"/>
                      </a:cubicBezTo>
                      <a:cubicBezTo>
                        <a:pt x="801112" y="897316"/>
                        <a:pt x="803805" y="893076"/>
                        <a:pt x="804537" y="888318"/>
                      </a:cubicBezTo>
                      <a:cubicBezTo>
                        <a:pt x="804974" y="885479"/>
                        <a:pt x="803410" y="882684"/>
                        <a:pt x="802847" y="879867"/>
                      </a:cubicBezTo>
                      <a:cubicBezTo>
                        <a:pt x="803410" y="878177"/>
                        <a:pt x="804048" y="876509"/>
                        <a:pt x="804537" y="874796"/>
                      </a:cubicBezTo>
                      <a:cubicBezTo>
                        <a:pt x="805175" y="872563"/>
                        <a:pt x="803956" y="868523"/>
                        <a:pt x="806227" y="868036"/>
                      </a:cubicBezTo>
                      <a:cubicBezTo>
                        <a:pt x="813410" y="866497"/>
                        <a:pt x="820859" y="869998"/>
                        <a:pt x="828200" y="869726"/>
                      </a:cubicBezTo>
                      <a:cubicBezTo>
                        <a:pt x="836162" y="869431"/>
                        <a:pt x="843975" y="867472"/>
                        <a:pt x="851863" y="866345"/>
                      </a:cubicBezTo>
                      <a:cubicBezTo>
                        <a:pt x="857117" y="871600"/>
                        <a:pt x="857823" y="873127"/>
                        <a:pt x="865384" y="876487"/>
                      </a:cubicBezTo>
                      <a:cubicBezTo>
                        <a:pt x="881763" y="883766"/>
                        <a:pt x="863525" y="872432"/>
                        <a:pt x="877216" y="881557"/>
                      </a:cubicBezTo>
                      <a:cubicBezTo>
                        <a:pt x="882850" y="882684"/>
                        <a:pt x="888410" y="884279"/>
                        <a:pt x="894118" y="884938"/>
                      </a:cubicBezTo>
                      <a:cubicBezTo>
                        <a:pt x="923467" y="888325"/>
                        <a:pt x="918201" y="877747"/>
                        <a:pt x="922851" y="891698"/>
                      </a:cubicBezTo>
                      <a:cubicBezTo>
                        <a:pt x="922851" y="891698"/>
                        <a:pt x="917047" y="897171"/>
                        <a:pt x="914400" y="900149"/>
                      </a:cubicBezTo>
                      <a:cubicBezTo>
                        <a:pt x="912605" y="902169"/>
                        <a:pt x="906309" y="910435"/>
                        <a:pt x="905949" y="913671"/>
                      </a:cubicBezTo>
                      <a:cubicBezTo>
                        <a:pt x="905632" y="916526"/>
                        <a:pt x="906508" y="919481"/>
                        <a:pt x="907640" y="922122"/>
                      </a:cubicBezTo>
                      <a:cubicBezTo>
                        <a:pt x="908268" y="923587"/>
                        <a:pt x="909893" y="924376"/>
                        <a:pt x="911020" y="925503"/>
                      </a:cubicBezTo>
                      <a:cubicBezTo>
                        <a:pt x="911020" y="925503"/>
                        <a:pt x="912669" y="918476"/>
                        <a:pt x="914400" y="915361"/>
                      </a:cubicBezTo>
                      <a:cubicBezTo>
                        <a:pt x="924951" y="896369"/>
                        <a:pt x="915570" y="921997"/>
                        <a:pt x="921161" y="905220"/>
                      </a:cubicBezTo>
                      <a:cubicBezTo>
                        <a:pt x="923415" y="904093"/>
                        <a:pt x="926524" y="903936"/>
                        <a:pt x="927922" y="901840"/>
                      </a:cubicBezTo>
                      <a:cubicBezTo>
                        <a:pt x="930197" y="898427"/>
                        <a:pt x="927395" y="891258"/>
                        <a:pt x="931302" y="890008"/>
                      </a:cubicBezTo>
                      <a:cubicBezTo>
                        <a:pt x="943655" y="886055"/>
                        <a:pt x="957219" y="888881"/>
                        <a:pt x="970177" y="888318"/>
                      </a:cubicBezTo>
                      <a:cubicBezTo>
                        <a:pt x="972994" y="888881"/>
                        <a:pt x="975841" y="889311"/>
                        <a:pt x="978628" y="890008"/>
                      </a:cubicBezTo>
                      <a:cubicBezTo>
                        <a:pt x="988080" y="892371"/>
                        <a:pt x="997510" y="896222"/>
                        <a:pt x="1007362" y="896769"/>
                      </a:cubicBezTo>
                      <a:cubicBezTo>
                        <a:pt x="1019881" y="897464"/>
                        <a:pt x="1018578" y="897384"/>
                        <a:pt x="1024264" y="891698"/>
                      </a:cubicBezTo>
                      <a:cubicBezTo>
                        <a:pt x="1028812" y="890561"/>
                        <a:pt x="1033998" y="889784"/>
                        <a:pt x="1037785" y="886628"/>
                      </a:cubicBezTo>
                      <a:cubicBezTo>
                        <a:pt x="1039346" y="885327"/>
                        <a:pt x="1039985" y="883210"/>
                        <a:pt x="1041166" y="881557"/>
                      </a:cubicBezTo>
                      <a:cubicBezTo>
                        <a:pt x="1042803" y="879265"/>
                        <a:pt x="1044868" y="877258"/>
                        <a:pt x="1046236" y="874796"/>
                      </a:cubicBezTo>
                      <a:cubicBezTo>
                        <a:pt x="1060014" y="849996"/>
                        <a:pt x="1041479" y="878552"/>
                        <a:pt x="1052997" y="861275"/>
                      </a:cubicBezTo>
                      <a:cubicBezTo>
                        <a:pt x="1055814" y="861838"/>
                        <a:pt x="1059724" y="860667"/>
                        <a:pt x="1061448" y="862965"/>
                      </a:cubicBezTo>
                      <a:cubicBezTo>
                        <a:pt x="1063838" y="866152"/>
                        <a:pt x="1062357" y="870890"/>
                        <a:pt x="1063138" y="874796"/>
                      </a:cubicBezTo>
                      <a:cubicBezTo>
                        <a:pt x="1063487" y="876543"/>
                        <a:pt x="1063317" y="878923"/>
                        <a:pt x="1064828" y="879867"/>
                      </a:cubicBezTo>
                      <a:cubicBezTo>
                        <a:pt x="1068306" y="882041"/>
                        <a:pt x="1072716" y="882120"/>
                        <a:pt x="1076660" y="883247"/>
                      </a:cubicBezTo>
                      <a:cubicBezTo>
                        <a:pt x="1090960" y="877528"/>
                        <a:pt x="1082397" y="881224"/>
                        <a:pt x="1102013" y="871416"/>
                      </a:cubicBezTo>
                      <a:cubicBezTo>
                        <a:pt x="1100323" y="870289"/>
                        <a:pt x="1098759" y="868945"/>
                        <a:pt x="1096942" y="868036"/>
                      </a:cubicBezTo>
                      <a:cubicBezTo>
                        <a:pt x="1084693" y="861911"/>
                        <a:pt x="1100851" y="872923"/>
                        <a:pt x="1083421" y="862965"/>
                      </a:cubicBezTo>
                      <a:cubicBezTo>
                        <a:pt x="1082037" y="862174"/>
                        <a:pt x="1080753" y="861010"/>
                        <a:pt x="1080040" y="859585"/>
                      </a:cubicBezTo>
                      <a:cubicBezTo>
                        <a:pt x="1079001" y="857507"/>
                        <a:pt x="1078913" y="855078"/>
                        <a:pt x="1078350" y="852824"/>
                      </a:cubicBezTo>
                      <a:cubicBezTo>
                        <a:pt x="1078350" y="852824"/>
                        <a:pt x="1073562" y="846234"/>
                        <a:pt x="1071589" y="842683"/>
                      </a:cubicBezTo>
                      <a:cubicBezTo>
                        <a:pt x="1070724" y="841125"/>
                        <a:pt x="1070462" y="839302"/>
                        <a:pt x="1069899" y="837612"/>
                      </a:cubicBezTo>
                      <a:cubicBezTo>
                        <a:pt x="1066519" y="836485"/>
                        <a:pt x="1062657" y="836303"/>
                        <a:pt x="1059758" y="834232"/>
                      </a:cubicBezTo>
                      <a:cubicBezTo>
                        <a:pt x="1058308" y="833196"/>
                        <a:pt x="1058770" y="830799"/>
                        <a:pt x="1058068" y="829161"/>
                      </a:cubicBezTo>
                      <a:cubicBezTo>
                        <a:pt x="1057075" y="826845"/>
                        <a:pt x="1055680" y="824716"/>
                        <a:pt x="1054687" y="822400"/>
                      </a:cubicBezTo>
                      <a:cubicBezTo>
                        <a:pt x="1053985" y="820763"/>
                        <a:pt x="1053699" y="818967"/>
                        <a:pt x="1052997" y="817330"/>
                      </a:cubicBezTo>
                      <a:cubicBezTo>
                        <a:pt x="1052005" y="815014"/>
                        <a:pt x="1051015" y="812665"/>
                        <a:pt x="1049617" y="810569"/>
                      </a:cubicBezTo>
                      <a:cubicBezTo>
                        <a:pt x="1048733" y="809243"/>
                        <a:pt x="1047256" y="808412"/>
                        <a:pt x="1046236" y="807188"/>
                      </a:cubicBezTo>
                      <a:cubicBezTo>
                        <a:pt x="1044433" y="805024"/>
                        <a:pt x="1042856" y="802681"/>
                        <a:pt x="1041166" y="800427"/>
                      </a:cubicBezTo>
                      <a:cubicBezTo>
                        <a:pt x="1039027" y="799999"/>
                        <a:pt x="1030442" y="798646"/>
                        <a:pt x="1027644" y="797047"/>
                      </a:cubicBezTo>
                      <a:cubicBezTo>
                        <a:pt x="1025198" y="795649"/>
                        <a:pt x="1023137" y="793666"/>
                        <a:pt x="1020883" y="791976"/>
                      </a:cubicBezTo>
                      <a:lnTo>
                        <a:pt x="997220" y="785216"/>
                      </a:lnTo>
                      <a:cubicBezTo>
                        <a:pt x="995511" y="784713"/>
                        <a:pt x="993290" y="784894"/>
                        <a:pt x="992150" y="783525"/>
                      </a:cubicBezTo>
                      <a:cubicBezTo>
                        <a:pt x="990208" y="781194"/>
                        <a:pt x="990025" y="777836"/>
                        <a:pt x="988769" y="775074"/>
                      </a:cubicBezTo>
                      <a:cubicBezTo>
                        <a:pt x="983949" y="764470"/>
                        <a:pt x="985966" y="767199"/>
                        <a:pt x="980318" y="761553"/>
                      </a:cubicBezTo>
                      <a:cubicBezTo>
                        <a:pt x="967020" y="758894"/>
                        <a:pt x="975808" y="762276"/>
                        <a:pt x="965106" y="753102"/>
                      </a:cubicBezTo>
                      <a:cubicBezTo>
                        <a:pt x="964528" y="752606"/>
                        <a:pt x="956909" y="748200"/>
                        <a:pt x="956655" y="746341"/>
                      </a:cubicBezTo>
                      <a:cubicBezTo>
                        <a:pt x="955429" y="737348"/>
                        <a:pt x="952110" y="717896"/>
                        <a:pt x="956655" y="705776"/>
                      </a:cubicBezTo>
                      <a:cubicBezTo>
                        <a:pt x="957540" y="703417"/>
                        <a:pt x="958909" y="701269"/>
                        <a:pt x="960036" y="699015"/>
                      </a:cubicBezTo>
                      <a:cubicBezTo>
                        <a:pt x="967095" y="694309"/>
                        <a:pt x="963670" y="697071"/>
                        <a:pt x="970177" y="690564"/>
                      </a:cubicBezTo>
                      <a:cubicBezTo>
                        <a:pt x="972994" y="687747"/>
                        <a:pt x="977184" y="685826"/>
                        <a:pt x="978628" y="682113"/>
                      </a:cubicBezTo>
                      <a:cubicBezTo>
                        <a:pt x="981314" y="675207"/>
                        <a:pt x="980882" y="667465"/>
                        <a:pt x="982009" y="660141"/>
                      </a:cubicBezTo>
                      <a:cubicBezTo>
                        <a:pt x="982009" y="660141"/>
                        <a:pt x="985507" y="650038"/>
                        <a:pt x="987079" y="644929"/>
                      </a:cubicBezTo>
                      <a:cubicBezTo>
                        <a:pt x="987948" y="642105"/>
                        <a:pt x="988995" y="636026"/>
                        <a:pt x="990460" y="633097"/>
                      </a:cubicBezTo>
                      <a:cubicBezTo>
                        <a:pt x="991929" y="630159"/>
                        <a:pt x="993840" y="627463"/>
                        <a:pt x="995530" y="624646"/>
                      </a:cubicBezTo>
                      <a:cubicBezTo>
                        <a:pt x="999474" y="621829"/>
                        <a:pt x="1004293" y="619946"/>
                        <a:pt x="1007362" y="616195"/>
                      </a:cubicBezTo>
                      <a:cubicBezTo>
                        <a:pt x="1009618" y="613437"/>
                        <a:pt x="1009149" y="609241"/>
                        <a:pt x="1010742" y="606054"/>
                      </a:cubicBezTo>
                      <a:cubicBezTo>
                        <a:pt x="1020199" y="587140"/>
                        <a:pt x="1014117" y="617947"/>
                        <a:pt x="1017503" y="580701"/>
                      </a:cubicBezTo>
                      <a:cubicBezTo>
                        <a:pt x="1019757" y="579574"/>
                        <a:pt x="1021948" y="578314"/>
                        <a:pt x="1024264" y="577321"/>
                      </a:cubicBezTo>
                      <a:cubicBezTo>
                        <a:pt x="1025901" y="576619"/>
                        <a:pt x="1028074" y="576890"/>
                        <a:pt x="1029334" y="575630"/>
                      </a:cubicBezTo>
                      <a:cubicBezTo>
                        <a:pt x="1030594" y="574370"/>
                        <a:pt x="1030675" y="572307"/>
                        <a:pt x="1031024" y="570560"/>
                      </a:cubicBezTo>
                      <a:cubicBezTo>
                        <a:pt x="1031805" y="566653"/>
                        <a:pt x="1032188" y="562677"/>
                        <a:pt x="1032715" y="558728"/>
                      </a:cubicBezTo>
                      <a:cubicBezTo>
                        <a:pt x="1033315" y="554226"/>
                        <a:pt x="1033714" y="549696"/>
                        <a:pt x="1034405" y="545207"/>
                      </a:cubicBezTo>
                      <a:cubicBezTo>
                        <a:pt x="1034842" y="542368"/>
                        <a:pt x="1035596" y="539585"/>
                        <a:pt x="1036095" y="536756"/>
                      </a:cubicBezTo>
                      <a:cubicBezTo>
                        <a:pt x="1037286" y="530006"/>
                        <a:pt x="1038348" y="523234"/>
                        <a:pt x="1039475" y="516473"/>
                      </a:cubicBezTo>
                      <a:cubicBezTo>
                        <a:pt x="1038912" y="514220"/>
                        <a:pt x="1038423" y="511946"/>
                        <a:pt x="1037785" y="509713"/>
                      </a:cubicBezTo>
                      <a:cubicBezTo>
                        <a:pt x="1037296" y="508000"/>
                        <a:pt x="1036444" y="506389"/>
                        <a:pt x="1036095" y="504642"/>
                      </a:cubicBezTo>
                      <a:cubicBezTo>
                        <a:pt x="1035314" y="500735"/>
                        <a:pt x="1034968" y="496754"/>
                        <a:pt x="1034405" y="492810"/>
                      </a:cubicBezTo>
                      <a:cubicBezTo>
                        <a:pt x="1041729" y="492247"/>
                        <a:pt x="1049031" y="491120"/>
                        <a:pt x="1056377" y="491120"/>
                      </a:cubicBezTo>
                      <a:cubicBezTo>
                        <a:pt x="1059804" y="491120"/>
                        <a:pt x="1063111" y="492451"/>
                        <a:pt x="1066519" y="492810"/>
                      </a:cubicBezTo>
                      <a:cubicBezTo>
                        <a:pt x="1073824" y="493579"/>
                        <a:pt x="1081167" y="493937"/>
                        <a:pt x="1088491" y="494501"/>
                      </a:cubicBezTo>
                      <a:cubicBezTo>
                        <a:pt x="1089618" y="491684"/>
                        <a:pt x="1090367" y="488684"/>
                        <a:pt x="1091872" y="486050"/>
                      </a:cubicBezTo>
                      <a:cubicBezTo>
                        <a:pt x="1097242" y="476653"/>
                        <a:pt x="1123507" y="477684"/>
                        <a:pt x="1123986" y="477599"/>
                      </a:cubicBezTo>
                      <a:cubicBezTo>
                        <a:pt x="1126852" y="478316"/>
                        <a:pt x="1132855" y="479633"/>
                        <a:pt x="1135817" y="480979"/>
                      </a:cubicBezTo>
                      <a:cubicBezTo>
                        <a:pt x="1140405" y="483064"/>
                        <a:pt x="1146315" y="483709"/>
                        <a:pt x="1149339" y="487740"/>
                      </a:cubicBezTo>
                      <a:cubicBezTo>
                        <a:pt x="1152064" y="491374"/>
                        <a:pt x="1150466" y="496754"/>
                        <a:pt x="1151029" y="501261"/>
                      </a:cubicBezTo>
                      <a:cubicBezTo>
                        <a:pt x="1149902" y="505205"/>
                        <a:pt x="1148945" y="509202"/>
                        <a:pt x="1147648" y="513093"/>
                      </a:cubicBezTo>
                      <a:cubicBezTo>
                        <a:pt x="1146689" y="515971"/>
                        <a:pt x="1145066" y="518617"/>
                        <a:pt x="1144268" y="521544"/>
                      </a:cubicBezTo>
                      <a:cubicBezTo>
                        <a:pt x="1143366" y="524850"/>
                        <a:pt x="1139873" y="529581"/>
                        <a:pt x="1142578" y="531685"/>
                      </a:cubicBezTo>
                      <a:cubicBezTo>
                        <a:pt x="1155870" y="542023"/>
                        <a:pt x="1158359" y="535056"/>
                        <a:pt x="1162860" y="528305"/>
                      </a:cubicBezTo>
                      <a:cubicBezTo>
                        <a:pt x="1157568" y="527247"/>
                        <a:pt x="1150326" y="527752"/>
                        <a:pt x="1149339" y="519854"/>
                      </a:cubicBezTo>
                      <a:cubicBezTo>
                        <a:pt x="1149027" y="517354"/>
                        <a:pt x="1151592" y="515347"/>
                        <a:pt x="1152719" y="513093"/>
                      </a:cubicBezTo>
                      <a:cubicBezTo>
                        <a:pt x="1152719" y="513093"/>
                        <a:pt x="1160039" y="504542"/>
                        <a:pt x="1164550" y="501261"/>
                      </a:cubicBezTo>
                      <a:cubicBezTo>
                        <a:pt x="1166429" y="499895"/>
                        <a:pt x="1169057" y="500134"/>
                        <a:pt x="1171311" y="499571"/>
                      </a:cubicBezTo>
                      <a:cubicBezTo>
                        <a:pt x="1174692" y="500134"/>
                        <a:pt x="1178388" y="499728"/>
                        <a:pt x="1181453" y="501261"/>
                      </a:cubicBezTo>
                      <a:cubicBezTo>
                        <a:pt x="1187084" y="504076"/>
                        <a:pt x="1196844" y="521157"/>
                        <a:pt x="1198355" y="523234"/>
                      </a:cubicBezTo>
                      <a:cubicBezTo>
                        <a:pt x="1200419" y="526072"/>
                        <a:pt x="1201312" y="527002"/>
                        <a:pt x="1201631" y="527081"/>
                      </a:cubicBezTo>
                      <a:cubicBezTo>
                        <a:pt x="1201578" y="526684"/>
                        <a:pt x="1201524" y="526288"/>
                        <a:pt x="1201471" y="525891"/>
                      </a:cubicBezTo>
                      <a:lnTo>
                        <a:pt x="1205115" y="533375"/>
                      </a:lnTo>
                      <a:cubicBezTo>
                        <a:pt x="1207050" y="534536"/>
                        <a:pt x="1216395" y="541259"/>
                        <a:pt x="1220327" y="540136"/>
                      </a:cubicBezTo>
                      <a:cubicBezTo>
                        <a:pt x="1222625" y="539479"/>
                        <a:pt x="1223708" y="536756"/>
                        <a:pt x="1225398" y="535066"/>
                      </a:cubicBezTo>
                      <a:cubicBezTo>
                        <a:pt x="1224835" y="533376"/>
                        <a:pt x="1224625" y="531523"/>
                        <a:pt x="1223708" y="529995"/>
                      </a:cubicBezTo>
                      <a:cubicBezTo>
                        <a:pt x="1222888" y="528629"/>
                        <a:pt x="1221347" y="527839"/>
                        <a:pt x="1220327" y="526615"/>
                      </a:cubicBezTo>
                      <a:cubicBezTo>
                        <a:pt x="1218524" y="524451"/>
                        <a:pt x="1216947" y="522108"/>
                        <a:pt x="1215257" y="519854"/>
                      </a:cubicBezTo>
                      <a:cubicBezTo>
                        <a:pt x="1213003" y="519291"/>
                        <a:pt x="1210466" y="519395"/>
                        <a:pt x="1208496" y="518164"/>
                      </a:cubicBezTo>
                      <a:cubicBezTo>
                        <a:pt x="1203811" y="515236"/>
                        <a:pt x="1201264" y="510697"/>
                        <a:pt x="1198355" y="506332"/>
                      </a:cubicBezTo>
                      <a:cubicBezTo>
                        <a:pt x="1189370" y="500343"/>
                        <a:pt x="1196239" y="505967"/>
                        <a:pt x="1188213" y="494501"/>
                      </a:cubicBezTo>
                      <a:cubicBezTo>
                        <a:pt x="1169730" y="468096"/>
                        <a:pt x="1182098" y="507335"/>
                        <a:pt x="1179762" y="430273"/>
                      </a:cubicBezTo>
                      <a:cubicBezTo>
                        <a:pt x="1179199" y="427456"/>
                        <a:pt x="1178389" y="424677"/>
                        <a:pt x="1178072" y="421822"/>
                      </a:cubicBezTo>
                      <a:cubicBezTo>
                        <a:pt x="1177261" y="414521"/>
                        <a:pt x="1181085" y="405492"/>
                        <a:pt x="1176382" y="399849"/>
                      </a:cubicBezTo>
                      <a:cubicBezTo>
                        <a:pt x="1173116" y="395930"/>
                        <a:pt x="1166241" y="400976"/>
                        <a:pt x="1161170" y="401539"/>
                      </a:cubicBezTo>
                      <a:cubicBezTo>
                        <a:pt x="1158916" y="400976"/>
                        <a:pt x="1155579" y="401856"/>
                        <a:pt x="1154409" y="399849"/>
                      </a:cubicBezTo>
                      <a:cubicBezTo>
                        <a:pt x="1139789" y="374785"/>
                        <a:pt x="1153890" y="388669"/>
                        <a:pt x="1147648" y="376186"/>
                      </a:cubicBezTo>
                      <a:cubicBezTo>
                        <a:pt x="1144500" y="369891"/>
                        <a:pt x="1143870" y="371653"/>
                        <a:pt x="1139197" y="366045"/>
                      </a:cubicBezTo>
                      <a:cubicBezTo>
                        <a:pt x="1137897" y="364485"/>
                        <a:pt x="1136944" y="362665"/>
                        <a:pt x="1135817" y="360975"/>
                      </a:cubicBezTo>
                      <a:lnTo>
                        <a:pt x="1123986" y="354214"/>
                      </a:lnTo>
                      <a:cubicBezTo>
                        <a:pt x="1113025" y="347950"/>
                        <a:pt x="1119918" y="345577"/>
                        <a:pt x="1115535" y="339002"/>
                      </a:cubicBezTo>
                      <a:cubicBezTo>
                        <a:pt x="1111507" y="332960"/>
                        <a:pt x="1110173" y="333858"/>
                        <a:pt x="1103703" y="332241"/>
                      </a:cubicBezTo>
                      <a:cubicBezTo>
                        <a:pt x="1095815" y="331678"/>
                        <a:pt x="1087827" y="331925"/>
                        <a:pt x="1080040" y="330551"/>
                      </a:cubicBezTo>
                      <a:cubicBezTo>
                        <a:pt x="1078040" y="330198"/>
                        <a:pt x="1076733" y="328179"/>
                        <a:pt x="1074970" y="327171"/>
                      </a:cubicBezTo>
                      <a:cubicBezTo>
                        <a:pt x="1063532" y="320635"/>
                        <a:pt x="1070326" y="328456"/>
                        <a:pt x="1066519" y="311959"/>
                      </a:cubicBezTo>
                      <a:cubicBezTo>
                        <a:pt x="1060032" y="283848"/>
                        <a:pt x="1065263" y="327324"/>
                        <a:pt x="1061448" y="281535"/>
                      </a:cubicBezTo>
                      <a:cubicBezTo>
                        <a:pt x="1056870" y="258643"/>
                        <a:pt x="1063427" y="292701"/>
                        <a:pt x="1058068" y="257872"/>
                      </a:cubicBezTo>
                      <a:cubicBezTo>
                        <a:pt x="1057462" y="253935"/>
                        <a:pt x="1055948" y="249824"/>
                        <a:pt x="1054687" y="246041"/>
                      </a:cubicBezTo>
                      <a:cubicBezTo>
                        <a:pt x="1051307" y="243224"/>
                        <a:pt x="1048019" y="240292"/>
                        <a:pt x="1044546" y="237590"/>
                      </a:cubicBezTo>
                      <a:cubicBezTo>
                        <a:pt x="1042942" y="236343"/>
                        <a:pt x="1040744" y="235795"/>
                        <a:pt x="1039475" y="234209"/>
                      </a:cubicBezTo>
                      <a:cubicBezTo>
                        <a:pt x="1038362" y="232818"/>
                        <a:pt x="1038669" y="230686"/>
                        <a:pt x="1037785" y="229139"/>
                      </a:cubicBezTo>
                      <a:cubicBezTo>
                        <a:pt x="1029598" y="214810"/>
                        <a:pt x="1034902" y="228936"/>
                        <a:pt x="1031024" y="217307"/>
                      </a:cubicBezTo>
                      <a:cubicBezTo>
                        <a:pt x="1020241" y="210118"/>
                        <a:pt x="1031052" y="219052"/>
                        <a:pt x="1024264" y="205476"/>
                      </a:cubicBezTo>
                      <a:cubicBezTo>
                        <a:pt x="1022651" y="202249"/>
                        <a:pt x="1019415" y="200084"/>
                        <a:pt x="1017503" y="197025"/>
                      </a:cubicBezTo>
                      <a:cubicBezTo>
                        <a:pt x="1016559" y="195514"/>
                        <a:pt x="1016376" y="193644"/>
                        <a:pt x="1015813" y="191954"/>
                      </a:cubicBezTo>
                      <a:cubicBezTo>
                        <a:pt x="1014686" y="190264"/>
                        <a:pt x="1014057" y="188103"/>
                        <a:pt x="1012432" y="186884"/>
                      </a:cubicBezTo>
                      <a:cubicBezTo>
                        <a:pt x="999394" y="177106"/>
                        <a:pt x="1004100" y="187242"/>
                        <a:pt x="1000601" y="176742"/>
                      </a:cubicBezTo>
                      <a:cubicBezTo>
                        <a:pt x="1000601" y="176742"/>
                        <a:pt x="994127" y="171750"/>
                        <a:pt x="992150" y="168291"/>
                      </a:cubicBezTo>
                      <a:cubicBezTo>
                        <a:pt x="975940" y="139926"/>
                        <a:pt x="996900" y="162901"/>
                        <a:pt x="980318" y="146319"/>
                      </a:cubicBezTo>
                      <a:cubicBezTo>
                        <a:pt x="977501" y="145192"/>
                        <a:pt x="974708" y="144003"/>
                        <a:pt x="971867" y="142938"/>
                      </a:cubicBezTo>
                      <a:cubicBezTo>
                        <a:pt x="970199" y="142312"/>
                        <a:pt x="968344" y="142132"/>
                        <a:pt x="966797" y="141248"/>
                      </a:cubicBezTo>
                      <a:cubicBezTo>
                        <a:pt x="958739" y="136644"/>
                        <a:pt x="961505" y="136557"/>
                        <a:pt x="954965" y="131107"/>
                      </a:cubicBezTo>
                      <a:cubicBezTo>
                        <a:pt x="942171" y="120446"/>
                        <a:pt x="956351" y="134183"/>
                        <a:pt x="946514" y="124346"/>
                      </a:cubicBezTo>
                      <a:cubicBezTo>
                        <a:pt x="941070" y="122985"/>
                        <a:pt x="937752" y="122675"/>
                        <a:pt x="932993" y="119276"/>
                      </a:cubicBezTo>
                      <a:cubicBezTo>
                        <a:pt x="931048" y="117887"/>
                        <a:pt x="929612" y="115895"/>
                        <a:pt x="927922" y="114205"/>
                      </a:cubicBezTo>
                      <a:cubicBezTo>
                        <a:pt x="924375" y="113762"/>
                        <a:pt x="912817" y="114365"/>
                        <a:pt x="909330" y="109134"/>
                      </a:cubicBezTo>
                      <a:cubicBezTo>
                        <a:pt x="908042" y="107201"/>
                        <a:pt x="908203" y="104627"/>
                        <a:pt x="907640" y="102374"/>
                      </a:cubicBezTo>
                      <a:lnTo>
                        <a:pt x="943134" y="104064"/>
                      </a:lnTo>
                      <a:cubicBezTo>
                        <a:pt x="949906" y="104474"/>
                        <a:pt x="956748" y="107004"/>
                        <a:pt x="963416" y="105754"/>
                      </a:cubicBezTo>
                      <a:cubicBezTo>
                        <a:pt x="966549" y="105167"/>
                        <a:pt x="967795" y="101110"/>
                        <a:pt x="970177" y="98993"/>
                      </a:cubicBezTo>
                      <a:cubicBezTo>
                        <a:pt x="972873" y="96596"/>
                        <a:pt x="975811" y="94486"/>
                        <a:pt x="978628" y="92232"/>
                      </a:cubicBezTo>
                      <a:cubicBezTo>
                        <a:pt x="981445" y="91669"/>
                        <a:pt x="984292" y="91239"/>
                        <a:pt x="987079" y="90542"/>
                      </a:cubicBezTo>
                      <a:cubicBezTo>
                        <a:pt x="991789" y="89365"/>
                        <a:pt x="1001183" y="85053"/>
                        <a:pt x="1003981" y="83781"/>
                      </a:cubicBezTo>
                      <a:cubicBezTo>
                        <a:pt x="1006275" y="82738"/>
                        <a:pt x="1008539" y="81625"/>
                        <a:pt x="1010742" y="80401"/>
                      </a:cubicBezTo>
                      <a:cubicBezTo>
                        <a:pt x="1013614" y="78806"/>
                        <a:pt x="1016870" y="77653"/>
                        <a:pt x="1019193" y="75330"/>
                      </a:cubicBezTo>
                      <a:cubicBezTo>
                        <a:pt x="1034553" y="59970"/>
                        <a:pt x="1015663" y="68129"/>
                        <a:pt x="1037785" y="61809"/>
                      </a:cubicBezTo>
                      <a:lnTo>
                        <a:pt x="1059758" y="63499"/>
                      </a:lnTo>
                      <a:cubicBezTo>
                        <a:pt x="1064280" y="63930"/>
                        <a:pt x="1068826" y="64298"/>
                        <a:pt x="1073280" y="65189"/>
                      </a:cubicBezTo>
                      <a:cubicBezTo>
                        <a:pt x="1078520" y="66237"/>
                        <a:pt x="1085368" y="66745"/>
                        <a:pt x="1088491" y="71950"/>
                      </a:cubicBezTo>
                      <a:cubicBezTo>
                        <a:pt x="1089408" y="73478"/>
                        <a:pt x="1089618" y="75330"/>
                        <a:pt x="1090182" y="77020"/>
                      </a:cubicBezTo>
                      <a:cubicBezTo>
                        <a:pt x="1100025" y="86865"/>
                        <a:pt x="1086271" y="72666"/>
                        <a:pt x="1096942" y="85471"/>
                      </a:cubicBezTo>
                      <a:cubicBezTo>
                        <a:pt x="1098472" y="87307"/>
                        <a:pt x="1100323" y="88852"/>
                        <a:pt x="1102013" y="90542"/>
                      </a:cubicBezTo>
                      <a:lnTo>
                        <a:pt x="1134127" y="93922"/>
                      </a:lnTo>
                      <a:cubicBezTo>
                        <a:pt x="1138641" y="94424"/>
                        <a:pt x="1143497" y="93768"/>
                        <a:pt x="1147648" y="95613"/>
                      </a:cubicBezTo>
                      <a:cubicBezTo>
                        <a:pt x="1149276" y="96337"/>
                        <a:pt x="1148775" y="98993"/>
                        <a:pt x="1149339" y="100683"/>
                      </a:cubicBezTo>
                      <a:cubicBezTo>
                        <a:pt x="1155238" y="106584"/>
                        <a:pt x="1152215" y="102552"/>
                        <a:pt x="1156099" y="114205"/>
                      </a:cubicBezTo>
                      <a:cubicBezTo>
                        <a:pt x="1157789" y="116459"/>
                        <a:pt x="1159178" y="118974"/>
                        <a:pt x="1161170" y="120966"/>
                      </a:cubicBezTo>
                      <a:cubicBezTo>
                        <a:pt x="1163162" y="122958"/>
                        <a:pt x="1165767" y="124233"/>
                        <a:pt x="1167931" y="126036"/>
                      </a:cubicBezTo>
                      <a:cubicBezTo>
                        <a:pt x="1169155" y="127056"/>
                        <a:pt x="1170184" y="128290"/>
                        <a:pt x="1171311" y="129417"/>
                      </a:cubicBezTo>
                      <a:cubicBezTo>
                        <a:pt x="1174739" y="130274"/>
                        <a:pt x="1179750" y="131343"/>
                        <a:pt x="1183143" y="132797"/>
                      </a:cubicBezTo>
                      <a:cubicBezTo>
                        <a:pt x="1185459" y="133790"/>
                        <a:pt x="1188122" y="134396"/>
                        <a:pt x="1189904" y="136178"/>
                      </a:cubicBezTo>
                      <a:cubicBezTo>
                        <a:pt x="1191164" y="137438"/>
                        <a:pt x="1191031" y="139558"/>
                        <a:pt x="1191594" y="141248"/>
                      </a:cubicBezTo>
                      <a:cubicBezTo>
                        <a:pt x="1183894" y="147023"/>
                        <a:pt x="1183844" y="147256"/>
                        <a:pt x="1174692" y="153080"/>
                      </a:cubicBezTo>
                      <a:cubicBezTo>
                        <a:pt x="1152281" y="167341"/>
                        <a:pt x="1176530" y="151290"/>
                        <a:pt x="1161170" y="161531"/>
                      </a:cubicBezTo>
                      <a:cubicBezTo>
                        <a:pt x="1147097" y="165049"/>
                        <a:pt x="1161012" y="160765"/>
                        <a:pt x="1149339" y="166601"/>
                      </a:cubicBezTo>
                      <a:cubicBezTo>
                        <a:pt x="1147745" y="167398"/>
                        <a:pt x="1145659" y="167178"/>
                        <a:pt x="1144268" y="168291"/>
                      </a:cubicBezTo>
                      <a:cubicBezTo>
                        <a:pt x="1142682" y="169560"/>
                        <a:pt x="1142015" y="171672"/>
                        <a:pt x="1140888" y="173362"/>
                      </a:cubicBezTo>
                      <a:cubicBezTo>
                        <a:pt x="1126693" y="179039"/>
                        <a:pt x="1137359" y="173486"/>
                        <a:pt x="1127366" y="181813"/>
                      </a:cubicBezTo>
                      <a:cubicBezTo>
                        <a:pt x="1124256" y="184404"/>
                        <a:pt x="1119770" y="185418"/>
                        <a:pt x="1118915" y="190264"/>
                      </a:cubicBezTo>
                      <a:cubicBezTo>
                        <a:pt x="1117541" y="198051"/>
                        <a:pt x="1117788" y="206039"/>
                        <a:pt x="1117225" y="213927"/>
                      </a:cubicBezTo>
                      <a:cubicBezTo>
                        <a:pt x="1118915" y="215617"/>
                        <a:pt x="1120906" y="217053"/>
                        <a:pt x="1122295" y="218998"/>
                      </a:cubicBezTo>
                      <a:cubicBezTo>
                        <a:pt x="1123759" y="221048"/>
                        <a:pt x="1123894" y="223977"/>
                        <a:pt x="1125676" y="225758"/>
                      </a:cubicBezTo>
                      <a:cubicBezTo>
                        <a:pt x="1127458" y="227540"/>
                        <a:pt x="1130183" y="228012"/>
                        <a:pt x="1132437" y="229139"/>
                      </a:cubicBezTo>
                      <a:cubicBezTo>
                        <a:pt x="1130183" y="229702"/>
                        <a:pt x="1126449" y="228638"/>
                        <a:pt x="1125676" y="230829"/>
                      </a:cubicBezTo>
                      <a:cubicBezTo>
                        <a:pt x="1117712" y="253392"/>
                        <a:pt x="1118224" y="251766"/>
                        <a:pt x="1125676" y="262943"/>
                      </a:cubicBezTo>
                      <a:cubicBezTo>
                        <a:pt x="1127366" y="263506"/>
                        <a:pt x="1129018" y="264201"/>
                        <a:pt x="1130746" y="264633"/>
                      </a:cubicBezTo>
                      <a:lnTo>
                        <a:pt x="1144268" y="268013"/>
                      </a:lnTo>
                      <a:cubicBezTo>
                        <a:pt x="1156099" y="269140"/>
                        <a:pt x="1168015" y="269587"/>
                        <a:pt x="1179762" y="271394"/>
                      </a:cubicBezTo>
                      <a:cubicBezTo>
                        <a:pt x="1182761" y="271855"/>
                        <a:pt x="1185909" y="272800"/>
                        <a:pt x="1188213" y="274774"/>
                      </a:cubicBezTo>
                      <a:cubicBezTo>
                        <a:pt x="1190126" y="276414"/>
                        <a:pt x="1190467" y="279281"/>
                        <a:pt x="1191594" y="281535"/>
                      </a:cubicBezTo>
                      <a:cubicBezTo>
                        <a:pt x="1194801" y="287949"/>
                        <a:pt x="1202139" y="291302"/>
                        <a:pt x="1206806" y="296747"/>
                      </a:cubicBezTo>
                      <a:cubicBezTo>
                        <a:pt x="1208944" y="299241"/>
                        <a:pt x="1210135" y="302412"/>
                        <a:pt x="1211876" y="305198"/>
                      </a:cubicBezTo>
                      <a:cubicBezTo>
                        <a:pt x="1214766" y="309821"/>
                        <a:pt x="1215958" y="311698"/>
                        <a:pt x="1220327" y="315339"/>
                      </a:cubicBezTo>
                      <a:cubicBezTo>
                        <a:pt x="1221888" y="316640"/>
                        <a:pt x="1223445" y="318162"/>
                        <a:pt x="1225398" y="318720"/>
                      </a:cubicBezTo>
                      <a:cubicBezTo>
                        <a:pt x="1231455" y="320450"/>
                        <a:pt x="1237793" y="320973"/>
                        <a:pt x="1243990" y="322100"/>
                      </a:cubicBezTo>
                      <a:cubicBezTo>
                        <a:pt x="1246244" y="321537"/>
                        <a:pt x="1248673" y="321449"/>
                        <a:pt x="1250751" y="320410"/>
                      </a:cubicBezTo>
                      <a:cubicBezTo>
                        <a:pt x="1254363" y="318604"/>
                        <a:pt x="1255867" y="313148"/>
                        <a:pt x="1257512" y="310269"/>
                      </a:cubicBezTo>
                      <a:cubicBezTo>
                        <a:pt x="1258520" y="308505"/>
                        <a:pt x="1259765" y="306888"/>
                        <a:pt x="1260892" y="305198"/>
                      </a:cubicBezTo>
                      <a:cubicBezTo>
                        <a:pt x="1262582" y="305761"/>
                        <a:pt x="1265098" y="305330"/>
                        <a:pt x="1265963" y="306888"/>
                      </a:cubicBezTo>
                      <a:cubicBezTo>
                        <a:pt x="1268219" y="310949"/>
                        <a:pt x="1267265" y="316254"/>
                        <a:pt x="1269343" y="320410"/>
                      </a:cubicBezTo>
                      <a:cubicBezTo>
                        <a:pt x="1270251" y="322227"/>
                        <a:pt x="1273145" y="325376"/>
                        <a:pt x="1274414" y="323790"/>
                      </a:cubicBezTo>
                      <a:cubicBezTo>
                        <a:pt x="1276903" y="320679"/>
                        <a:pt x="1275541" y="315903"/>
                        <a:pt x="1276104" y="311959"/>
                      </a:cubicBezTo>
                      <a:cubicBezTo>
                        <a:pt x="1274394" y="309394"/>
                        <a:pt x="1271033" y="305317"/>
                        <a:pt x="1271033" y="301817"/>
                      </a:cubicBezTo>
                      <a:cubicBezTo>
                        <a:pt x="1271033" y="300036"/>
                        <a:pt x="1272160" y="298437"/>
                        <a:pt x="1272723" y="296747"/>
                      </a:cubicBezTo>
                      <a:cubicBezTo>
                        <a:pt x="1274977" y="295620"/>
                        <a:pt x="1277168" y="294359"/>
                        <a:pt x="1279484" y="293366"/>
                      </a:cubicBezTo>
                      <a:cubicBezTo>
                        <a:pt x="1283211" y="291768"/>
                        <a:pt x="1286802" y="291826"/>
                        <a:pt x="1289626" y="288296"/>
                      </a:cubicBezTo>
                      <a:cubicBezTo>
                        <a:pt x="1290739" y="286905"/>
                        <a:pt x="1290614" y="284863"/>
                        <a:pt x="1291316" y="283225"/>
                      </a:cubicBezTo>
                      <a:cubicBezTo>
                        <a:pt x="1292308" y="280909"/>
                        <a:pt x="1293361" y="278601"/>
                        <a:pt x="1294696" y="276464"/>
                      </a:cubicBezTo>
                      <a:cubicBezTo>
                        <a:pt x="1296335" y="273841"/>
                        <a:pt x="1300258" y="268634"/>
                        <a:pt x="1303147" y="266323"/>
                      </a:cubicBezTo>
                      <a:cubicBezTo>
                        <a:pt x="1304733" y="265054"/>
                        <a:pt x="1307141" y="264666"/>
                        <a:pt x="1308218" y="262943"/>
                      </a:cubicBezTo>
                      <a:cubicBezTo>
                        <a:pt x="1310107" y="259921"/>
                        <a:pt x="1310471" y="256182"/>
                        <a:pt x="1311598" y="252802"/>
                      </a:cubicBezTo>
                      <a:cubicBezTo>
                        <a:pt x="1313852" y="251112"/>
                        <a:pt x="1316067" y="249368"/>
                        <a:pt x="1318359" y="247731"/>
                      </a:cubicBezTo>
                      <a:cubicBezTo>
                        <a:pt x="1322138" y="245032"/>
                        <a:pt x="1325286" y="244234"/>
                        <a:pt x="1326810" y="239280"/>
                      </a:cubicBezTo>
                      <a:cubicBezTo>
                        <a:pt x="1328499" y="233788"/>
                        <a:pt x="1329749" y="228107"/>
                        <a:pt x="1330190" y="222378"/>
                      </a:cubicBezTo>
                      <a:cubicBezTo>
                        <a:pt x="1330327" y="220602"/>
                        <a:pt x="1329063" y="218997"/>
                        <a:pt x="1328500" y="217307"/>
                      </a:cubicBezTo>
                      <a:cubicBezTo>
                        <a:pt x="1326810" y="216744"/>
                        <a:pt x="1324912" y="216605"/>
                        <a:pt x="1323430" y="215617"/>
                      </a:cubicBezTo>
                      <a:cubicBezTo>
                        <a:pt x="1321441" y="214291"/>
                        <a:pt x="1319626" y="212574"/>
                        <a:pt x="1318359" y="210547"/>
                      </a:cubicBezTo>
                      <a:cubicBezTo>
                        <a:pt x="1316921" y="208245"/>
                        <a:pt x="1314411" y="200391"/>
                        <a:pt x="1313288" y="197025"/>
                      </a:cubicBezTo>
                      <a:cubicBezTo>
                        <a:pt x="1313288" y="197025"/>
                        <a:pt x="1306887" y="191990"/>
                        <a:pt x="1304837" y="188574"/>
                      </a:cubicBezTo>
                      <a:cubicBezTo>
                        <a:pt x="1303359" y="186111"/>
                        <a:pt x="1303710" y="182940"/>
                        <a:pt x="1303147" y="180123"/>
                      </a:cubicBezTo>
                      <a:cubicBezTo>
                        <a:pt x="1301457" y="177306"/>
                        <a:pt x="1299411" y="174674"/>
                        <a:pt x="1298077" y="171672"/>
                      </a:cubicBezTo>
                      <a:cubicBezTo>
                        <a:pt x="1297133" y="169549"/>
                        <a:pt x="1296997" y="167152"/>
                        <a:pt x="1296386" y="164911"/>
                      </a:cubicBezTo>
                      <a:cubicBezTo>
                        <a:pt x="1295307" y="160954"/>
                        <a:pt x="1294529" y="156888"/>
                        <a:pt x="1293006" y="153080"/>
                      </a:cubicBezTo>
                      <a:cubicBezTo>
                        <a:pt x="1292252" y="151194"/>
                        <a:pt x="1290753" y="149699"/>
                        <a:pt x="1289626" y="148009"/>
                      </a:cubicBezTo>
                      <a:cubicBezTo>
                        <a:pt x="1287936" y="147446"/>
                        <a:pt x="1286038" y="147307"/>
                        <a:pt x="1284555" y="146319"/>
                      </a:cubicBezTo>
                      <a:cubicBezTo>
                        <a:pt x="1277082" y="141337"/>
                        <a:pt x="1279130" y="138771"/>
                        <a:pt x="1277794" y="129417"/>
                      </a:cubicBezTo>
                      <a:cubicBezTo>
                        <a:pt x="1278921" y="127727"/>
                        <a:pt x="1279738" y="125783"/>
                        <a:pt x="1281175" y="124346"/>
                      </a:cubicBezTo>
                      <a:cubicBezTo>
                        <a:pt x="1284416" y="121105"/>
                        <a:pt x="1290553" y="118498"/>
                        <a:pt x="1293006" y="114205"/>
                      </a:cubicBezTo>
                      <a:cubicBezTo>
                        <a:pt x="1293740" y="112920"/>
                        <a:pt x="1296284" y="99503"/>
                        <a:pt x="1296386" y="98993"/>
                      </a:cubicBezTo>
                      <a:cubicBezTo>
                        <a:pt x="1298640" y="98430"/>
                        <a:pt x="1301069" y="98342"/>
                        <a:pt x="1303147" y="97303"/>
                      </a:cubicBezTo>
                      <a:cubicBezTo>
                        <a:pt x="1304573" y="96590"/>
                        <a:pt x="1305202" y="94806"/>
                        <a:pt x="1306528" y="93922"/>
                      </a:cubicBezTo>
                      <a:cubicBezTo>
                        <a:pt x="1308624" y="92524"/>
                        <a:pt x="1311035" y="91669"/>
                        <a:pt x="1313288" y="90542"/>
                      </a:cubicBezTo>
                      <a:cubicBezTo>
                        <a:pt x="1321739" y="89979"/>
                        <a:pt x="1330218" y="89739"/>
                        <a:pt x="1338641" y="88852"/>
                      </a:cubicBezTo>
                      <a:cubicBezTo>
                        <a:pt x="1340951" y="88609"/>
                        <a:pt x="1344667" y="89366"/>
                        <a:pt x="1345402" y="87162"/>
                      </a:cubicBezTo>
                      <a:cubicBezTo>
                        <a:pt x="1346045" y="85235"/>
                        <a:pt x="1342022" y="84908"/>
                        <a:pt x="1340332" y="83781"/>
                      </a:cubicBezTo>
                      <a:cubicBezTo>
                        <a:pt x="1339444" y="83603"/>
                        <a:pt x="1326711" y="81196"/>
                        <a:pt x="1325120" y="80401"/>
                      </a:cubicBezTo>
                      <a:cubicBezTo>
                        <a:pt x="1322399" y="79041"/>
                        <a:pt x="1319951" y="73941"/>
                        <a:pt x="1318359" y="71950"/>
                      </a:cubicBezTo>
                      <a:cubicBezTo>
                        <a:pt x="1315341" y="68178"/>
                        <a:pt x="1314012" y="68120"/>
                        <a:pt x="1309908" y="65189"/>
                      </a:cubicBezTo>
                      <a:cubicBezTo>
                        <a:pt x="1307616" y="63552"/>
                        <a:pt x="1305667" y="61378"/>
                        <a:pt x="1303147" y="60118"/>
                      </a:cubicBezTo>
                      <a:cubicBezTo>
                        <a:pt x="1301069" y="59079"/>
                        <a:pt x="1298509" y="59371"/>
                        <a:pt x="1296386" y="58428"/>
                      </a:cubicBezTo>
                      <a:cubicBezTo>
                        <a:pt x="1293384" y="57094"/>
                        <a:pt x="1290752" y="55048"/>
                        <a:pt x="1287935" y="53358"/>
                      </a:cubicBezTo>
                      <a:cubicBezTo>
                        <a:pt x="1298640" y="52794"/>
                        <a:pt x="1309374" y="52638"/>
                        <a:pt x="1320049" y="51667"/>
                      </a:cubicBezTo>
                      <a:cubicBezTo>
                        <a:pt x="1321823" y="51506"/>
                        <a:pt x="1324132" y="51459"/>
                        <a:pt x="1325120" y="49977"/>
                      </a:cubicBezTo>
                      <a:cubicBezTo>
                        <a:pt x="1326714" y="47587"/>
                        <a:pt x="1326247" y="44343"/>
                        <a:pt x="1326810" y="41526"/>
                      </a:cubicBezTo>
                      <a:cubicBezTo>
                        <a:pt x="1327937" y="39272"/>
                        <a:pt x="1329305" y="37124"/>
                        <a:pt x="1330190" y="34765"/>
                      </a:cubicBezTo>
                      <a:cubicBezTo>
                        <a:pt x="1331006" y="32590"/>
                        <a:pt x="1330430" y="29819"/>
                        <a:pt x="1331881" y="28005"/>
                      </a:cubicBezTo>
                      <a:cubicBezTo>
                        <a:pt x="1332994" y="26614"/>
                        <a:pt x="1335440" y="27258"/>
                        <a:pt x="1336951" y="26314"/>
                      </a:cubicBezTo>
                      <a:cubicBezTo>
                        <a:pt x="1340010" y="24402"/>
                        <a:pt x="1341740" y="18709"/>
                        <a:pt x="1345402" y="19554"/>
                      </a:cubicBezTo>
                      <a:cubicBezTo>
                        <a:pt x="1349064" y="20399"/>
                        <a:pt x="1352967" y="33186"/>
                        <a:pt x="1358924" y="31385"/>
                      </a:cubicBezTo>
                      <a:lnTo>
                        <a:pt x="1409367" y="12469"/>
                      </a:lnTo>
                      <a:lnTo>
                        <a:pt x="1409367" y="0"/>
                      </a:lnTo>
                      <a:close/>
                    </a:path>
                  </a:pathLst>
                </a:custGeom>
                <a:solidFill>
                  <a:schemeClr val="bg1">
                    <a:lumMod val="85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gl-ES" dirty="0"/>
                </a:p>
              </p:txBody>
            </p:sp>
          </p:grpSp>
        </p:grpSp>
        <p:sp>
          <p:nvSpPr>
            <p:cNvPr id="350" name="Forma libre: forma 367">
              <a:extLst>
                <a:ext uri="{FF2B5EF4-FFF2-40B4-BE49-F238E27FC236}">
                  <a16:creationId xmlns:a16="http://schemas.microsoft.com/office/drawing/2014/main" id="{90BA33F6-0198-4D57-B1FD-264018ACA0C9}"/>
                </a:ext>
              </a:extLst>
            </p:cNvPr>
            <p:cNvSpPr/>
            <p:nvPr/>
          </p:nvSpPr>
          <p:spPr>
            <a:xfrm>
              <a:off x="10817805" y="4378128"/>
              <a:ext cx="957337" cy="397161"/>
            </a:xfrm>
            <a:custGeom>
              <a:avLst/>
              <a:gdLst>
                <a:gd name="connsiteX0" fmla="*/ 14 w 957337"/>
                <a:gd name="connsiteY0" fmla="*/ 166688 h 397161"/>
                <a:gd name="connsiteX1" fmla="*/ 4777 w 957337"/>
                <a:gd name="connsiteY1" fmla="*/ 158750 h 397161"/>
                <a:gd name="connsiteX2" fmla="*/ 7952 w 957337"/>
                <a:gd name="connsiteY2" fmla="*/ 147638 h 397161"/>
                <a:gd name="connsiteX3" fmla="*/ 11127 w 957337"/>
                <a:gd name="connsiteY3" fmla="*/ 142875 h 397161"/>
                <a:gd name="connsiteX4" fmla="*/ 12714 w 957337"/>
                <a:gd name="connsiteY4" fmla="*/ 136525 h 397161"/>
                <a:gd name="connsiteX5" fmla="*/ 33352 w 957337"/>
                <a:gd name="connsiteY5" fmla="*/ 130175 h 397161"/>
                <a:gd name="connsiteX6" fmla="*/ 58752 w 957337"/>
                <a:gd name="connsiteY6" fmla="*/ 127000 h 397161"/>
                <a:gd name="connsiteX7" fmla="*/ 71452 w 957337"/>
                <a:gd name="connsiteY7" fmla="*/ 125413 h 397161"/>
                <a:gd name="connsiteX8" fmla="*/ 76214 w 957337"/>
                <a:gd name="connsiteY8" fmla="*/ 119063 h 397161"/>
                <a:gd name="connsiteX9" fmla="*/ 80977 w 957337"/>
                <a:gd name="connsiteY9" fmla="*/ 115888 h 397161"/>
                <a:gd name="connsiteX10" fmla="*/ 139714 w 957337"/>
                <a:gd name="connsiteY10" fmla="*/ 117475 h 397161"/>
                <a:gd name="connsiteX11" fmla="*/ 144477 w 957337"/>
                <a:gd name="connsiteY11" fmla="*/ 114300 h 397161"/>
                <a:gd name="connsiteX12" fmla="*/ 154002 w 957337"/>
                <a:gd name="connsiteY12" fmla="*/ 104775 h 397161"/>
                <a:gd name="connsiteX13" fmla="*/ 176227 w 957337"/>
                <a:gd name="connsiteY13" fmla="*/ 117475 h 397161"/>
                <a:gd name="connsiteX14" fmla="*/ 230202 w 957337"/>
                <a:gd name="connsiteY14" fmla="*/ 115888 h 397161"/>
                <a:gd name="connsiteX15" fmla="*/ 236552 w 957337"/>
                <a:gd name="connsiteY15" fmla="*/ 111125 h 397161"/>
                <a:gd name="connsiteX16" fmla="*/ 241314 w 957337"/>
                <a:gd name="connsiteY16" fmla="*/ 109538 h 397161"/>
                <a:gd name="connsiteX17" fmla="*/ 246077 w 957337"/>
                <a:gd name="connsiteY17" fmla="*/ 106363 h 397161"/>
                <a:gd name="connsiteX18" fmla="*/ 261952 w 957337"/>
                <a:gd name="connsiteY18" fmla="*/ 104775 h 397161"/>
                <a:gd name="connsiteX19" fmla="*/ 268302 w 957337"/>
                <a:gd name="connsiteY19" fmla="*/ 88900 h 397161"/>
                <a:gd name="connsiteX20" fmla="*/ 282589 w 957337"/>
                <a:gd name="connsiteY20" fmla="*/ 84138 h 397161"/>
                <a:gd name="connsiteX21" fmla="*/ 287352 w 957337"/>
                <a:gd name="connsiteY21" fmla="*/ 82550 h 397161"/>
                <a:gd name="connsiteX22" fmla="*/ 295289 w 957337"/>
                <a:gd name="connsiteY22" fmla="*/ 74613 h 397161"/>
                <a:gd name="connsiteX23" fmla="*/ 300052 w 957337"/>
                <a:gd name="connsiteY23" fmla="*/ 69850 h 397161"/>
                <a:gd name="connsiteX24" fmla="*/ 306402 w 957337"/>
                <a:gd name="connsiteY24" fmla="*/ 68263 h 397161"/>
                <a:gd name="connsiteX25" fmla="*/ 309577 w 957337"/>
                <a:gd name="connsiteY25" fmla="*/ 74613 h 397161"/>
                <a:gd name="connsiteX26" fmla="*/ 319102 w 957337"/>
                <a:gd name="connsiteY26" fmla="*/ 79375 h 397161"/>
                <a:gd name="connsiteX27" fmla="*/ 327039 w 957337"/>
                <a:gd name="connsiteY27" fmla="*/ 77788 h 397161"/>
                <a:gd name="connsiteX28" fmla="*/ 333389 w 957337"/>
                <a:gd name="connsiteY28" fmla="*/ 76200 h 397161"/>
                <a:gd name="connsiteX29" fmla="*/ 334977 w 957337"/>
                <a:gd name="connsiteY29" fmla="*/ 71438 h 397161"/>
                <a:gd name="connsiteX30" fmla="*/ 336564 w 957337"/>
                <a:gd name="connsiteY30" fmla="*/ 63500 h 397161"/>
                <a:gd name="connsiteX31" fmla="*/ 342914 w 957337"/>
                <a:gd name="connsiteY31" fmla="*/ 58738 h 397161"/>
                <a:gd name="connsiteX32" fmla="*/ 354027 w 957337"/>
                <a:gd name="connsiteY32" fmla="*/ 55563 h 397161"/>
                <a:gd name="connsiteX33" fmla="*/ 358789 w 957337"/>
                <a:gd name="connsiteY33" fmla="*/ 50800 h 397161"/>
                <a:gd name="connsiteX34" fmla="*/ 361964 w 957337"/>
                <a:gd name="connsiteY34" fmla="*/ 46038 h 397161"/>
                <a:gd name="connsiteX35" fmla="*/ 374664 w 957337"/>
                <a:gd name="connsiteY35" fmla="*/ 55563 h 397161"/>
                <a:gd name="connsiteX36" fmla="*/ 377839 w 957337"/>
                <a:gd name="connsiteY36" fmla="*/ 60325 h 397161"/>
                <a:gd name="connsiteX37" fmla="*/ 392127 w 957337"/>
                <a:gd name="connsiteY37" fmla="*/ 61913 h 397161"/>
                <a:gd name="connsiteX38" fmla="*/ 403239 w 957337"/>
                <a:gd name="connsiteY38" fmla="*/ 69850 h 397161"/>
                <a:gd name="connsiteX39" fmla="*/ 417527 w 957337"/>
                <a:gd name="connsiteY39" fmla="*/ 77788 h 397161"/>
                <a:gd name="connsiteX40" fmla="*/ 457214 w 957337"/>
                <a:gd name="connsiteY40" fmla="*/ 71438 h 397161"/>
                <a:gd name="connsiteX41" fmla="*/ 460389 w 957337"/>
                <a:gd name="connsiteY41" fmla="*/ 66675 h 397161"/>
                <a:gd name="connsiteX42" fmla="*/ 474677 w 957337"/>
                <a:gd name="connsiteY42" fmla="*/ 71438 h 397161"/>
                <a:gd name="connsiteX43" fmla="*/ 485789 w 957337"/>
                <a:gd name="connsiteY43" fmla="*/ 74613 h 397161"/>
                <a:gd name="connsiteX44" fmla="*/ 498489 w 957337"/>
                <a:gd name="connsiteY44" fmla="*/ 76200 h 397161"/>
                <a:gd name="connsiteX45" fmla="*/ 500077 w 957337"/>
                <a:gd name="connsiteY45" fmla="*/ 82550 h 397161"/>
                <a:gd name="connsiteX46" fmla="*/ 506427 w 957337"/>
                <a:gd name="connsiteY46" fmla="*/ 95250 h 397161"/>
                <a:gd name="connsiteX47" fmla="*/ 511189 w 957337"/>
                <a:gd name="connsiteY47" fmla="*/ 96838 h 397161"/>
                <a:gd name="connsiteX48" fmla="*/ 520714 w 957337"/>
                <a:gd name="connsiteY48" fmla="*/ 93663 h 397161"/>
                <a:gd name="connsiteX49" fmla="*/ 525477 w 957337"/>
                <a:gd name="connsiteY49" fmla="*/ 90488 h 397161"/>
                <a:gd name="connsiteX50" fmla="*/ 531827 w 957337"/>
                <a:gd name="connsiteY50" fmla="*/ 87313 h 397161"/>
                <a:gd name="connsiteX51" fmla="*/ 539764 w 957337"/>
                <a:gd name="connsiteY51" fmla="*/ 84138 h 397161"/>
                <a:gd name="connsiteX52" fmla="*/ 550877 w 957337"/>
                <a:gd name="connsiteY52" fmla="*/ 76200 h 397161"/>
                <a:gd name="connsiteX53" fmla="*/ 560402 w 957337"/>
                <a:gd name="connsiteY53" fmla="*/ 68263 h 397161"/>
                <a:gd name="connsiteX54" fmla="*/ 574689 w 957337"/>
                <a:gd name="connsiteY54" fmla="*/ 44450 h 397161"/>
                <a:gd name="connsiteX55" fmla="*/ 585802 w 957337"/>
                <a:gd name="connsiteY55" fmla="*/ 34925 h 397161"/>
                <a:gd name="connsiteX56" fmla="*/ 590564 w 957337"/>
                <a:gd name="connsiteY56" fmla="*/ 30163 h 397161"/>
                <a:gd name="connsiteX57" fmla="*/ 600089 w 957337"/>
                <a:gd name="connsiteY57" fmla="*/ 26988 h 397161"/>
                <a:gd name="connsiteX58" fmla="*/ 603264 w 957337"/>
                <a:gd name="connsiteY58" fmla="*/ 22225 h 397161"/>
                <a:gd name="connsiteX59" fmla="*/ 615964 w 957337"/>
                <a:gd name="connsiteY59" fmla="*/ 23813 h 397161"/>
                <a:gd name="connsiteX60" fmla="*/ 620727 w 957337"/>
                <a:gd name="connsiteY60" fmla="*/ 28575 h 397161"/>
                <a:gd name="connsiteX61" fmla="*/ 628664 w 957337"/>
                <a:gd name="connsiteY61" fmla="*/ 30163 h 397161"/>
                <a:gd name="connsiteX62" fmla="*/ 630252 w 957337"/>
                <a:gd name="connsiteY62" fmla="*/ 25400 h 397161"/>
                <a:gd name="connsiteX63" fmla="*/ 631839 w 957337"/>
                <a:gd name="connsiteY63" fmla="*/ 15875 h 397161"/>
                <a:gd name="connsiteX64" fmla="*/ 635014 w 957337"/>
                <a:gd name="connsiteY64" fmla="*/ 11113 h 397161"/>
                <a:gd name="connsiteX65" fmla="*/ 646127 w 957337"/>
                <a:gd name="connsiteY65" fmla="*/ 9525 h 397161"/>
                <a:gd name="connsiteX66" fmla="*/ 658827 w 957337"/>
                <a:gd name="connsiteY66" fmla="*/ 6350 h 397161"/>
                <a:gd name="connsiteX67" fmla="*/ 681052 w 957337"/>
                <a:gd name="connsiteY67" fmla="*/ 9525 h 397161"/>
                <a:gd name="connsiteX68" fmla="*/ 685814 w 957337"/>
                <a:gd name="connsiteY68" fmla="*/ 12700 h 397161"/>
                <a:gd name="connsiteX69" fmla="*/ 690577 w 957337"/>
                <a:gd name="connsiteY69" fmla="*/ 14288 h 397161"/>
                <a:gd name="connsiteX70" fmla="*/ 693752 w 957337"/>
                <a:gd name="connsiteY70" fmla="*/ 19050 h 397161"/>
                <a:gd name="connsiteX71" fmla="*/ 709627 w 957337"/>
                <a:gd name="connsiteY71" fmla="*/ 19050 h 397161"/>
                <a:gd name="connsiteX72" fmla="*/ 719152 w 957337"/>
                <a:gd name="connsiteY72" fmla="*/ 11113 h 397161"/>
                <a:gd name="connsiteX73" fmla="*/ 727089 w 957337"/>
                <a:gd name="connsiteY73" fmla="*/ 9525 h 397161"/>
                <a:gd name="connsiteX74" fmla="*/ 735027 w 957337"/>
                <a:gd name="connsiteY74" fmla="*/ 4763 h 397161"/>
                <a:gd name="connsiteX75" fmla="*/ 739789 w 957337"/>
                <a:gd name="connsiteY75" fmla="*/ 3175 h 397161"/>
                <a:gd name="connsiteX76" fmla="*/ 746139 w 957337"/>
                <a:gd name="connsiteY76" fmla="*/ 0 h 397161"/>
                <a:gd name="connsiteX77" fmla="*/ 755664 w 957337"/>
                <a:gd name="connsiteY77" fmla="*/ 4763 h 397161"/>
                <a:gd name="connsiteX78" fmla="*/ 757252 w 957337"/>
                <a:gd name="connsiteY78" fmla="*/ 11113 h 397161"/>
                <a:gd name="connsiteX79" fmla="*/ 758839 w 957337"/>
                <a:gd name="connsiteY79" fmla="*/ 25400 h 397161"/>
                <a:gd name="connsiteX80" fmla="*/ 760427 w 957337"/>
                <a:gd name="connsiteY80" fmla="*/ 30163 h 397161"/>
                <a:gd name="connsiteX81" fmla="*/ 762014 w 957337"/>
                <a:gd name="connsiteY81" fmla="*/ 38100 h 397161"/>
                <a:gd name="connsiteX82" fmla="*/ 769952 w 957337"/>
                <a:gd name="connsiteY82" fmla="*/ 50800 h 397161"/>
                <a:gd name="connsiteX83" fmla="*/ 789002 w 957337"/>
                <a:gd name="connsiteY83" fmla="*/ 52388 h 397161"/>
                <a:gd name="connsiteX84" fmla="*/ 796939 w 957337"/>
                <a:gd name="connsiteY84" fmla="*/ 57150 h 397161"/>
                <a:gd name="connsiteX85" fmla="*/ 801702 w 957337"/>
                <a:gd name="connsiteY85" fmla="*/ 60325 h 397161"/>
                <a:gd name="connsiteX86" fmla="*/ 808052 w 957337"/>
                <a:gd name="connsiteY86" fmla="*/ 61913 h 397161"/>
                <a:gd name="connsiteX87" fmla="*/ 823927 w 957337"/>
                <a:gd name="connsiteY87" fmla="*/ 60325 h 397161"/>
                <a:gd name="connsiteX88" fmla="*/ 833452 w 957337"/>
                <a:gd name="connsiteY88" fmla="*/ 57150 h 397161"/>
                <a:gd name="connsiteX89" fmla="*/ 858852 w 957337"/>
                <a:gd name="connsiteY89" fmla="*/ 58738 h 397161"/>
                <a:gd name="connsiteX90" fmla="*/ 865202 w 957337"/>
                <a:gd name="connsiteY90" fmla="*/ 63500 h 397161"/>
                <a:gd name="connsiteX91" fmla="*/ 874727 w 957337"/>
                <a:gd name="connsiteY91" fmla="*/ 69850 h 397161"/>
                <a:gd name="connsiteX92" fmla="*/ 876314 w 957337"/>
                <a:gd name="connsiteY92" fmla="*/ 76200 h 397161"/>
                <a:gd name="connsiteX93" fmla="*/ 868377 w 957337"/>
                <a:gd name="connsiteY93" fmla="*/ 84138 h 397161"/>
                <a:gd name="connsiteX94" fmla="*/ 863614 w 957337"/>
                <a:gd name="connsiteY94" fmla="*/ 88900 h 397161"/>
                <a:gd name="connsiteX95" fmla="*/ 862027 w 957337"/>
                <a:gd name="connsiteY95" fmla="*/ 93663 h 397161"/>
                <a:gd name="connsiteX96" fmla="*/ 866789 w 957337"/>
                <a:gd name="connsiteY96" fmla="*/ 109538 h 397161"/>
                <a:gd name="connsiteX97" fmla="*/ 874727 w 957337"/>
                <a:gd name="connsiteY97" fmla="*/ 117475 h 397161"/>
                <a:gd name="connsiteX98" fmla="*/ 879489 w 957337"/>
                <a:gd name="connsiteY98" fmla="*/ 120650 h 397161"/>
                <a:gd name="connsiteX99" fmla="*/ 887427 w 957337"/>
                <a:gd name="connsiteY99" fmla="*/ 122238 h 397161"/>
                <a:gd name="connsiteX100" fmla="*/ 904889 w 957337"/>
                <a:gd name="connsiteY100" fmla="*/ 131763 h 397161"/>
                <a:gd name="connsiteX101" fmla="*/ 916002 w 957337"/>
                <a:gd name="connsiteY101" fmla="*/ 134938 h 397161"/>
                <a:gd name="connsiteX102" fmla="*/ 920764 w 957337"/>
                <a:gd name="connsiteY102" fmla="*/ 133350 h 397161"/>
                <a:gd name="connsiteX103" fmla="*/ 922352 w 957337"/>
                <a:gd name="connsiteY103" fmla="*/ 128588 h 397161"/>
                <a:gd name="connsiteX104" fmla="*/ 925527 w 957337"/>
                <a:gd name="connsiteY104" fmla="*/ 117475 h 397161"/>
                <a:gd name="connsiteX105" fmla="*/ 933464 w 957337"/>
                <a:gd name="connsiteY105" fmla="*/ 120650 h 397161"/>
                <a:gd name="connsiteX106" fmla="*/ 952514 w 957337"/>
                <a:gd name="connsiteY106" fmla="*/ 138113 h 397161"/>
                <a:gd name="connsiteX107" fmla="*/ 957277 w 957337"/>
                <a:gd name="connsiteY107" fmla="*/ 142875 h 397161"/>
                <a:gd name="connsiteX108" fmla="*/ 955689 w 957337"/>
                <a:gd name="connsiteY108" fmla="*/ 185738 h 397161"/>
                <a:gd name="connsiteX109" fmla="*/ 947752 w 957337"/>
                <a:gd name="connsiteY109" fmla="*/ 190500 h 397161"/>
                <a:gd name="connsiteX110" fmla="*/ 938227 w 957337"/>
                <a:gd name="connsiteY110" fmla="*/ 182563 h 397161"/>
                <a:gd name="connsiteX111" fmla="*/ 923939 w 957337"/>
                <a:gd name="connsiteY111" fmla="*/ 177800 h 397161"/>
                <a:gd name="connsiteX112" fmla="*/ 912827 w 957337"/>
                <a:gd name="connsiteY112" fmla="*/ 180975 h 397161"/>
                <a:gd name="connsiteX113" fmla="*/ 906477 w 957337"/>
                <a:gd name="connsiteY113" fmla="*/ 185738 h 397161"/>
                <a:gd name="connsiteX114" fmla="*/ 895364 w 957337"/>
                <a:gd name="connsiteY114" fmla="*/ 190500 h 397161"/>
                <a:gd name="connsiteX115" fmla="*/ 889014 w 957337"/>
                <a:gd name="connsiteY115" fmla="*/ 193675 h 397161"/>
                <a:gd name="connsiteX116" fmla="*/ 884252 w 957337"/>
                <a:gd name="connsiteY116" fmla="*/ 196850 h 397161"/>
                <a:gd name="connsiteX117" fmla="*/ 877902 w 957337"/>
                <a:gd name="connsiteY117" fmla="*/ 198438 h 397161"/>
                <a:gd name="connsiteX118" fmla="*/ 849327 w 957337"/>
                <a:gd name="connsiteY118" fmla="*/ 201613 h 397161"/>
                <a:gd name="connsiteX119" fmla="*/ 839802 w 957337"/>
                <a:gd name="connsiteY119" fmla="*/ 200025 h 397161"/>
                <a:gd name="connsiteX120" fmla="*/ 836627 w 957337"/>
                <a:gd name="connsiteY120" fmla="*/ 192088 h 397161"/>
                <a:gd name="connsiteX121" fmla="*/ 831864 w 957337"/>
                <a:gd name="connsiteY121" fmla="*/ 188913 h 397161"/>
                <a:gd name="connsiteX122" fmla="*/ 782652 w 957337"/>
                <a:gd name="connsiteY122" fmla="*/ 190500 h 397161"/>
                <a:gd name="connsiteX123" fmla="*/ 774714 w 957337"/>
                <a:gd name="connsiteY123" fmla="*/ 207963 h 397161"/>
                <a:gd name="connsiteX124" fmla="*/ 771539 w 957337"/>
                <a:gd name="connsiteY124" fmla="*/ 214313 h 397161"/>
                <a:gd name="connsiteX125" fmla="*/ 760427 w 957337"/>
                <a:gd name="connsiteY125" fmla="*/ 223838 h 397161"/>
                <a:gd name="connsiteX126" fmla="*/ 755664 w 957337"/>
                <a:gd name="connsiteY126" fmla="*/ 228600 h 397161"/>
                <a:gd name="connsiteX127" fmla="*/ 752489 w 957337"/>
                <a:gd name="connsiteY127" fmla="*/ 238125 h 397161"/>
                <a:gd name="connsiteX128" fmla="*/ 749314 w 957337"/>
                <a:gd name="connsiteY128" fmla="*/ 244475 h 397161"/>
                <a:gd name="connsiteX129" fmla="*/ 739789 w 957337"/>
                <a:gd name="connsiteY129" fmla="*/ 258763 h 397161"/>
                <a:gd name="connsiteX130" fmla="*/ 725502 w 957337"/>
                <a:gd name="connsiteY130" fmla="*/ 273050 h 397161"/>
                <a:gd name="connsiteX131" fmla="*/ 712802 w 957337"/>
                <a:gd name="connsiteY131" fmla="*/ 284163 h 397161"/>
                <a:gd name="connsiteX132" fmla="*/ 704864 w 957337"/>
                <a:gd name="connsiteY132" fmla="*/ 285750 h 397161"/>
                <a:gd name="connsiteX133" fmla="*/ 695339 w 957337"/>
                <a:gd name="connsiteY133" fmla="*/ 288925 h 397161"/>
                <a:gd name="connsiteX134" fmla="*/ 690577 w 957337"/>
                <a:gd name="connsiteY134" fmla="*/ 290513 h 397161"/>
                <a:gd name="connsiteX135" fmla="*/ 682639 w 957337"/>
                <a:gd name="connsiteY135" fmla="*/ 293688 h 397161"/>
                <a:gd name="connsiteX136" fmla="*/ 677877 w 957337"/>
                <a:gd name="connsiteY136" fmla="*/ 295275 h 397161"/>
                <a:gd name="connsiteX137" fmla="*/ 660414 w 957337"/>
                <a:gd name="connsiteY137" fmla="*/ 304800 h 397161"/>
                <a:gd name="connsiteX138" fmla="*/ 650889 w 957337"/>
                <a:gd name="connsiteY138" fmla="*/ 307975 h 397161"/>
                <a:gd name="connsiteX139" fmla="*/ 636602 w 957337"/>
                <a:gd name="connsiteY139" fmla="*/ 317500 h 397161"/>
                <a:gd name="connsiteX140" fmla="*/ 631839 w 957337"/>
                <a:gd name="connsiteY140" fmla="*/ 320675 h 397161"/>
                <a:gd name="connsiteX141" fmla="*/ 620727 w 957337"/>
                <a:gd name="connsiteY141" fmla="*/ 325438 h 397161"/>
                <a:gd name="connsiteX142" fmla="*/ 606439 w 957337"/>
                <a:gd name="connsiteY142" fmla="*/ 333375 h 397161"/>
                <a:gd name="connsiteX143" fmla="*/ 601677 w 957337"/>
                <a:gd name="connsiteY143" fmla="*/ 336550 h 397161"/>
                <a:gd name="connsiteX144" fmla="*/ 596914 w 957337"/>
                <a:gd name="connsiteY144" fmla="*/ 341313 h 397161"/>
                <a:gd name="connsiteX145" fmla="*/ 585802 w 957337"/>
                <a:gd name="connsiteY145" fmla="*/ 344488 h 397161"/>
                <a:gd name="connsiteX146" fmla="*/ 576277 w 957337"/>
                <a:gd name="connsiteY146" fmla="*/ 347663 h 397161"/>
                <a:gd name="connsiteX147" fmla="*/ 560402 w 957337"/>
                <a:gd name="connsiteY147" fmla="*/ 352425 h 397161"/>
                <a:gd name="connsiteX148" fmla="*/ 531827 w 957337"/>
                <a:gd name="connsiteY148" fmla="*/ 350838 h 397161"/>
                <a:gd name="connsiteX149" fmla="*/ 519127 w 957337"/>
                <a:gd name="connsiteY149" fmla="*/ 341313 h 397161"/>
                <a:gd name="connsiteX150" fmla="*/ 509602 w 957337"/>
                <a:gd name="connsiteY150" fmla="*/ 338138 h 397161"/>
                <a:gd name="connsiteX151" fmla="*/ 485789 w 957337"/>
                <a:gd name="connsiteY151" fmla="*/ 334963 h 397161"/>
                <a:gd name="connsiteX152" fmla="*/ 481027 w 957337"/>
                <a:gd name="connsiteY152" fmla="*/ 331788 h 397161"/>
                <a:gd name="connsiteX153" fmla="*/ 460389 w 957337"/>
                <a:gd name="connsiteY153" fmla="*/ 331788 h 397161"/>
                <a:gd name="connsiteX154" fmla="*/ 454039 w 957337"/>
                <a:gd name="connsiteY154" fmla="*/ 333375 h 397161"/>
                <a:gd name="connsiteX155" fmla="*/ 447689 w 957337"/>
                <a:gd name="connsiteY155" fmla="*/ 350838 h 397161"/>
                <a:gd name="connsiteX156" fmla="*/ 444514 w 957337"/>
                <a:gd name="connsiteY156" fmla="*/ 360363 h 397161"/>
                <a:gd name="connsiteX157" fmla="*/ 427052 w 957337"/>
                <a:gd name="connsiteY157" fmla="*/ 371475 h 397161"/>
                <a:gd name="connsiteX158" fmla="*/ 388952 w 957337"/>
                <a:gd name="connsiteY158" fmla="*/ 373063 h 397161"/>
                <a:gd name="connsiteX159" fmla="*/ 377839 w 957337"/>
                <a:gd name="connsiteY159" fmla="*/ 379413 h 397161"/>
                <a:gd name="connsiteX160" fmla="*/ 365139 w 957337"/>
                <a:gd name="connsiteY160" fmla="*/ 385763 h 397161"/>
                <a:gd name="connsiteX161" fmla="*/ 358789 w 957337"/>
                <a:gd name="connsiteY161" fmla="*/ 388938 h 397161"/>
                <a:gd name="connsiteX162" fmla="*/ 347677 w 957337"/>
                <a:gd name="connsiteY162" fmla="*/ 395288 h 397161"/>
                <a:gd name="connsiteX163" fmla="*/ 342914 w 957337"/>
                <a:gd name="connsiteY163" fmla="*/ 396875 h 397161"/>
                <a:gd name="connsiteX164" fmla="*/ 327039 w 957337"/>
                <a:gd name="connsiteY164" fmla="*/ 395288 h 397161"/>
                <a:gd name="connsiteX165" fmla="*/ 325452 w 957337"/>
                <a:gd name="connsiteY165" fmla="*/ 382588 h 397161"/>
                <a:gd name="connsiteX166" fmla="*/ 323864 w 957337"/>
                <a:gd name="connsiteY166" fmla="*/ 376238 h 397161"/>
                <a:gd name="connsiteX167" fmla="*/ 325452 w 957337"/>
                <a:gd name="connsiteY167" fmla="*/ 363538 h 397161"/>
                <a:gd name="connsiteX168" fmla="*/ 330214 w 957337"/>
                <a:gd name="connsiteY168" fmla="*/ 360363 h 397161"/>
                <a:gd name="connsiteX169" fmla="*/ 333389 w 957337"/>
                <a:gd name="connsiteY169" fmla="*/ 355600 h 397161"/>
                <a:gd name="connsiteX170" fmla="*/ 327039 w 957337"/>
                <a:gd name="connsiteY170" fmla="*/ 344488 h 397161"/>
                <a:gd name="connsiteX171" fmla="*/ 322277 w 957337"/>
                <a:gd name="connsiteY171" fmla="*/ 331788 h 397161"/>
                <a:gd name="connsiteX172" fmla="*/ 315927 w 957337"/>
                <a:gd name="connsiteY172" fmla="*/ 322263 h 397161"/>
                <a:gd name="connsiteX173" fmla="*/ 306402 w 957337"/>
                <a:gd name="connsiteY173" fmla="*/ 312738 h 397161"/>
                <a:gd name="connsiteX174" fmla="*/ 301639 w 957337"/>
                <a:gd name="connsiteY174" fmla="*/ 301625 h 397161"/>
                <a:gd name="connsiteX175" fmla="*/ 295289 w 957337"/>
                <a:gd name="connsiteY175" fmla="*/ 298450 h 397161"/>
                <a:gd name="connsiteX176" fmla="*/ 290527 w 957337"/>
                <a:gd name="connsiteY176" fmla="*/ 292100 h 397161"/>
                <a:gd name="connsiteX177" fmla="*/ 285764 w 957337"/>
                <a:gd name="connsiteY177" fmla="*/ 288925 h 397161"/>
                <a:gd name="connsiteX178" fmla="*/ 282589 w 957337"/>
                <a:gd name="connsiteY178" fmla="*/ 279400 h 397161"/>
                <a:gd name="connsiteX179" fmla="*/ 277827 w 957337"/>
                <a:gd name="connsiteY179" fmla="*/ 274638 h 397161"/>
                <a:gd name="connsiteX180" fmla="*/ 274652 w 957337"/>
                <a:gd name="connsiteY180" fmla="*/ 269875 h 397161"/>
                <a:gd name="connsiteX181" fmla="*/ 273064 w 957337"/>
                <a:gd name="connsiteY181" fmla="*/ 265113 h 397161"/>
                <a:gd name="connsiteX182" fmla="*/ 268302 w 957337"/>
                <a:gd name="connsiteY182" fmla="*/ 258763 h 397161"/>
                <a:gd name="connsiteX183" fmla="*/ 265127 w 957337"/>
                <a:gd name="connsiteY183" fmla="*/ 254000 h 397161"/>
                <a:gd name="connsiteX184" fmla="*/ 258777 w 957337"/>
                <a:gd name="connsiteY184" fmla="*/ 249238 h 397161"/>
                <a:gd name="connsiteX185" fmla="*/ 255602 w 957337"/>
                <a:gd name="connsiteY185" fmla="*/ 244475 h 397161"/>
                <a:gd name="connsiteX186" fmla="*/ 249252 w 957337"/>
                <a:gd name="connsiteY186" fmla="*/ 236538 h 397161"/>
                <a:gd name="connsiteX187" fmla="*/ 246077 w 957337"/>
                <a:gd name="connsiteY187" fmla="*/ 219075 h 397161"/>
                <a:gd name="connsiteX188" fmla="*/ 242902 w 957337"/>
                <a:gd name="connsiteY188" fmla="*/ 214313 h 397161"/>
                <a:gd name="connsiteX189" fmla="*/ 236552 w 957337"/>
                <a:gd name="connsiteY189" fmla="*/ 212725 h 397161"/>
                <a:gd name="connsiteX190" fmla="*/ 200039 w 957337"/>
                <a:gd name="connsiteY190" fmla="*/ 207963 h 397161"/>
                <a:gd name="connsiteX191" fmla="*/ 190514 w 957337"/>
                <a:gd name="connsiteY191" fmla="*/ 211138 h 397161"/>
                <a:gd name="connsiteX192" fmla="*/ 187339 w 957337"/>
                <a:gd name="connsiteY192" fmla="*/ 215900 h 397161"/>
                <a:gd name="connsiteX193" fmla="*/ 179402 w 957337"/>
                <a:gd name="connsiteY193" fmla="*/ 214313 h 397161"/>
                <a:gd name="connsiteX194" fmla="*/ 168289 w 957337"/>
                <a:gd name="connsiteY194" fmla="*/ 204788 h 397161"/>
                <a:gd name="connsiteX195" fmla="*/ 160352 w 957337"/>
                <a:gd name="connsiteY195" fmla="*/ 195263 h 397161"/>
                <a:gd name="connsiteX196" fmla="*/ 150827 w 957337"/>
                <a:gd name="connsiteY196" fmla="*/ 192088 h 397161"/>
                <a:gd name="connsiteX197" fmla="*/ 139714 w 957337"/>
                <a:gd name="connsiteY197" fmla="*/ 188913 h 397161"/>
                <a:gd name="connsiteX198" fmla="*/ 128602 w 957337"/>
                <a:gd name="connsiteY198" fmla="*/ 187325 h 397161"/>
                <a:gd name="connsiteX199" fmla="*/ 122252 w 957337"/>
                <a:gd name="connsiteY199" fmla="*/ 185738 h 397161"/>
                <a:gd name="connsiteX200" fmla="*/ 111139 w 957337"/>
                <a:gd name="connsiteY200" fmla="*/ 184150 h 397161"/>
                <a:gd name="connsiteX201" fmla="*/ 76214 w 957337"/>
                <a:gd name="connsiteY201" fmla="*/ 179388 h 397161"/>
                <a:gd name="connsiteX202" fmla="*/ 61927 w 957337"/>
                <a:gd name="connsiteY202" fmla="*/ 176213 h 397161"/>
                <a:gd name="connsiteX203" fmla="*/ 57164 w 957337"/>
                <a:gd name="connsiteY203" fmla="*/ 174625 h 397161"/>
                <a:gd name="connsiteX204" fmla="*/ 50814 w 957337"/>
                <a:gd name="connsiteY204" fmla="*/ 173038 h 397161"/>
                <a:gd name="connsiteX205" fmla="*/ 41289 w 957337"/>
                <a:gd name="connsiteY205" fmla="*/ 169863 h 397161"/>
                <a:gd name="connsiteX206" fmla="*/ 15889 w 957337"/>
                <a:gd name="connsiteY206" fmla="*/ 166688 h 397161"/>
                <a:gd name="connsiteX207" fmla="*/ 7952 w 957337"/>
                <a:gd name="connsiteY207" fmla="*/ 165100 h 397161"/>
                <a:gd name="connsiteX208" fmla="*/ 3189 w 957337"/>
                <a:gd name="connsiteY208" fmla="*/ 160338 h 397161"/>
                <a:gd name="connsiteX209" fmla="*/ 14 w 957337"/>
                <a:gd name="connsiteY209" fmla="*/ 166688 h 3971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Lst>
              <a:rect l="l" t="t" r="r" b="b"/>
              <a:pathLst>
                <a:path w="957337" h="397161">
                  <a:moveTo>
                    <a:pt x="14" y="166688"/>
                  </a:moveTo>
                  <a:cubicBezTo>
                    <a:pt x="279" y="166423"/>
                    <a:pt x="3397" y="161510"/>
                    <a:pt x="4777" y="158750"/>
                  </a:cubicBezTo>
                  <a:cubicBezTo>
                    <a:pt x="7859" y="152585"/>
                    <a:pt x="4908" y="154741"/>
                    <a:pt x="7952" y="147638"/>
                  </a:cubicBezTo>
                  <a:cubicBezTo>
                    <a:pt x="8704" y="145884"/>
                    <a:pt x="10069" y="144463"/>
                    <a:pt x="11127" y="142875"/>
                  </a:cubicBezTo>
                  <a:cubicBezTo>
                    <a:pt x="11656" y="140758"/>
                    <a:pt x="11504" y="138340"/>
                    <a:pt x="12714" y="136525"/>
                  </a:cubicBezTo>
                  <a:cubicBezTo>
                    <a:pt x="16035" y="131543"/>
                    <a:pt x="32383" y="130369"/>
                    <a:pt x="33352" y="130175"/>
                  </a:cubicBezTo>
                  <a:cubicBezTo>
                    <a:pt x="43565" y="119962"/>
                    <a:pt x="34117" y="127000"/>
                    <a:pt x="58752" y="127000"/>
                  </a:cubicBezTo>
                  <a:cubicBezTo>
                    <a:pt x="63018" y="127000"/>
                    <a:pt x="67219" y="125942"/>
                    <a:pt x="71452" y="125413"/>
                  </a:cubicBezTo>
                  <a:cubicBezTo>
                    <a:pt x="73039" y="123296"/>
                    <a:pt x="74343" y="120934"/>
                    <a:pt x="76214" y="119063"/>
                  </a:cubicBezTo>
                  <a:cubicBezTo>
                    <a:pt x="77563" y="117714"/>
                    <a:pt x="79070" y="115936"/>
                    <a:pt x="80977" y="115888"/>
                  </a:cubicBezTo>
                  <a:lnTo>
                    <a:pt x="139714" y="117475"/>
                  </a:lnTo>
                  <a:cubicBezTo>
                    <a:pt x="141302" y="116417"/>
                    <a:pt x="143051" y="115568"/>
                    <a:pt x="144477" y="114300"/>
                  </a:cubicBezTo>
                  <a:cubicBezTo>
                    <a:pt x="147833" y="111317"/>
                    <a:pt x="154002" y="104775"/>
                    <a:pt x="154002" y="104775"/>
                  </a:cubicBezTo>
                  <a:cubicBezTo>
                    <a:pt x="167760" y="118534"/>
                    <a:pt x="159928" y="115147"/>
                    <a:pt x="176227" y="117475"/>
                  </a:cubicBezTo>
                  <a:cubicBezTo>
                    <a:pt x="194219" y="116946"/>
                    <a:pt x="212301" y="117772"/>
                    <a:pt x="230202" y="115888"/>
                  </a:cubicBezTo>
                  <a:cubicBezTo>
                    <a:pt x="232833" y="115611"/>
                    <a:pt x="234255" y="112438"/>
                    <a:pt x="236552" y="111125"/>
                  </a:cubicBezTo>
                  <a:cubicBezTo>
                    <a:pt x="238005" y="110295"/>
                    <a:pt x="239727" y="110067"/>
                    <a:pt x="241314" y="109538"/>
                  </a:cubicBezTo>
                  <a:cubicBezTo>
                    <a:pt x="242902" y="108480"/>
                    <a:pt x="244218" y="106792"/>
                    <a:pt x="246077" y="106363"/>
                  </a:cubicBezTo>
                  <a:cubicBezTo>
                    <a:pt x="251259" y="105167"/>
                    <a:pt x="257043" y="106821"/>
                    <a:pt x="261952" y="104775"/>
                  </a:cubicBezTo>
                  <a:cubicBezTo>
                    <a:pt x="266609" y="102834"/>
                    <a:pt x="264399" y="90201"/>
                    <a:pt x="268302" y="88900"/>
                  </a:cubicBezTo>
                  <a:lnTo>
                    <a:pt x="282589" y="84138"/>
                  </a:lnTo>
                  <a:lnTo>
                    <a:pt x="287352" y="82550"/>
                  </a:lnTo>
                  <a:cubicBezTo>
                    <a:pt x="293173" y="73819"/>
                    <a:pt x="287352" y="81228"/>
                    <a:pt x="295289" y="74613"/>
                  </a:cubicBezTo>
                  <a:cubicBezTo>
                    <a:pt x="297014" y="73176"/>
                    <a:pt x="298103" y="70964"/>
                    <a:pt x="300052" y="69850"/>
                  </a:cubicBezTo>
                  <a:cubicBezTo>
                    <a:pt x="301946" y="68768"/>
                    <a:pt x="304285" y="68792"/>
                    <a:pt x="306402" y="68263"/>
                  </a:cubicBezTo>
                  <a:cubicBezTo>
                    <a:pt x="307460" y="70380"/>
                    <a:pt x="308062" y="72795"/>
                    <a:pt x="309577" y="74613"/>
                  </a:cubicBezTo>
                  <a:cubicBezTo>
                    <a:pt x="311945" y="77455"/>
                    <a:pt x="315850" y="78292"/>
                    <a:pt x="319102" y="79375"/>
                  </a:cubicBezTo>
                  <a:cubicBezTo>
                    <a:pt x="321748" y="78846"/>
                    <a:pt x="324405" y="78373"/>
                    <a:pt x="327039" y="77788"/>
                  </a:cubicBezTo>
                  <a:cubicBezTo>
                    <a:pt x="329169" y="77315"/>
                    <a:pt x="331685" y="77563"/>
                    <a:pt x="333389" y="76200"/>
                  </a:cubicBezTo>
                  <a:cubicBezTo>
                    <a:pt x="334696" y="75155"/>
                    <a:pt x="334571" y="73061"/>
                    <a:pt x="334977" y="71438"/>
                  </a:cubicBezTo>
                  <a:cubicBezTo>
                    <a:pt x="335631" y="68820"/>
                    <a:pt x="335134" y="65788"/>
                    <a:pt x="336564" y="63500"/>
                  </a:cubicBezTo>
                  <a:cubicBezTo>
                    <a:pt x="337966" y="61256"/>
                    <a:pt x="340617" y="60051"/>
                    <a:pt x="342914" y="58738"/>
                  </a:cubicBezTo>
                  <a:cubicBezTo>
                    <a:pt x="344688" y="57724"/>
                    <a:pt x="352648" y="55908"/>
                    <a:pt x="354027" y="55563"/>
                  </a:cubicBezTo>
                  <a:cubicBezTo>
                    <a:pt x="355614" y="53975"/>
                    <a:pt x="357352" y="52525"/>
                    <a:pt x="358789" y="50800"/>
                  </a:cubicBezTo>
                  <a:cubicBezTo>
                    <a:pt x="360010" y="49334"/>
                    <a:pt x="360137" y="45490"/>
                    <a:pt x="361964" y="46038"/>
                  </a:cubicBezTo>
                  <a:cubicBezTo>
                    <a:pt x="367032" y="47559"/>
                    <a:pt x="370431" y="52388"/>
                    <a:pt x="374664" y="55563"/>
                  </a:cubicBezTo>
                  <a:cubicBezTo>
                    <a:pt x="376190" y="56708"/>
                    <a:pt x="376046" y="59673"/>
                    <a:pt x="377839" y="60325"/>
                  </a:cubicBezTo>
                  <a:cubicBezTo>
                    <a:pt x="382342" y="61963"/>
                    <a:pt x="387364" y="61384"/>
                    <a:pt x="392127" y="61913"/>
                  </a:cubicBezTo>
                  <a:cubicBezTo>
                    <a:pt x="401533" y="65048"/>
                    <a:pt x="392478" y="61241"/>
                    <a:pt x="403239" y="69850"/>
                  </a:cubicBezTo>
                  <a:cubicBezTo>
                    <a:pt x="411037" y="76088"/>
                    <a:pt x="410512" y="75449"/>
                    <a:pt x="417527" y="77788"/>
                  </a:cubicBezTo>
                  <a:cubicBezTo>
                    <a:pt x="479052" y="75224"/>
                    <a:pt x="448745" y="88378"/>
                    <a:pt x="457214" y="71438"/>
                  </a:cubicBezTo>
                  <a:cubicBezTo>
                    <a:pt x="458067" y="69731"/>
                    <a:pt x="459331" y="68263"/>
                    <a:pt x="460389" y="66675"/>
                  </a:cubicBezTo>
                  <a:cubicBezTo>
                    <a:pt x="465152" y="68263"/>
                    <a:pt x="470270" y="69034"/>
                    <a:pt x="474677" y="71438"/>
                  </a:cubicBezTo>
                  <a:cubicBezTo>
                    <a:pt x="485330" y="77249"/>
                    <a:pt x="467522" y="78266"/>
                    <a:pt x="485789" y="74613"/>
                  </a:cubicBezTo>
                  <a:cubicBezTo>
                    <a:pt x="490022" y="75142"/>
                    <a:pt x="494760" y="74128"/>
                    <a:pt x="498489" y="76200"/>
                  </a:cubicBezTo>
                  <a:cubicBezTo>
                    <a:pt x="500396" y="77260"/>
                    <a:pt x="499387" y="80480"/>
                    <a:pt x="500077" y="82550"/>
                  </a:cubicBezTo>
                  <a:cubicBezTo>
                    <a:pt x="500818" y="84774"/>
                    <a:pt x="503775" y="93128"/>
                    <a:pt x="506427" y="95250"/>
                  </a:cubicBezTo>
                  <a:cubicBezTo>
                    <a:pt x="507734" y="96295"/>
                    <a:pt x="509602" y="96309"/>
                    <a:pt x="511189" y="96838"/>
                  </a:cubicBezTo>
                  <a:cubicBezTo>
                    <a:pt x="514364" y="95780"/>
                    <a:pt x="517656" y="95022"/>
                    <a:pt x="520714" y="93663"/>
                  </a:cubicBezTo>
                  <a:cubicBezTo>
                    <a:pt x="522458" y="92888"/>
                    <a:pt x="523820" y="91435"/>
                    <a:pt x="525477" y="90488"/>
                  </a:cubicBezTo>
                  <a:cubicBezTo>
                    <a:pt x="527532" y="89314"/>
                    <a:pt x="529664" y="88274"/>
                    <a:pt x="531827" y="87313"/>
                  </a:cubicBezTo>
                  <a:cubicBezTo>
                    <a:pt x="534431" y="86156"/>
                    <a:pt x="537215" y="85412"/>
                    <a:pt x="539764" y="84138"/>
                  </a:cubicBezTo>
                  <a:cubicBezTo>
                    <a:pt x="542262" y="82889"/>
                    <a:pt x="549194" y="77402"/>
                    <a:pt x="550877" y="76200"/>
                  </a:cubicBezTo>
                  <a:cubicBezTo>
                    <a:pt x="556016" y="72529"/>
                    <a:pt x="556044" y="73492"/>
                    <a:pt x="560402" y="68263"/>
                  </a:cubicBezTo>
                  <a:cubicBezTo>
                    <a:pt x="566420" y="61042"/>
                    <a:pt x="567853" y="51286"/>
                    <a:pt x="574689" y="44450"/>
                  </a:cubicBezTo>
                  <a:cubicBezTo>
                    <a:pt x="593766" y="25373"/>
                    <a:pt x="571296" y="47013"/>
                    <a:pt x="585802" y="34925"/>
                  </a:cubicBezTo>
                  <a:cubicBezTo>
                    <a:pt x="587527" y="33488"/>
                    <a:pt x="588602" y="31253"/>
                    <a:pt x="590564" y="30163"/>
                  </a:cubicBezTo>
                  <a:cubicBezTo>
                    <a:pt x="593490" y="28538"/>
                    <a:pt x="600089" y="26988"/>
                    <a:pt x="600089" y="26988"/>
                  </a:cubicBezTo>
                  <a:cubicBezTo>
                    <a:pt x="601147" y="25400"/>
                    <a:pt x="601774" y="23417"/>
                    <a:pt x="603264" y="22225"/>
                  </a:cubicBezTo>
                  <a:cubicBezTo>
                    <a:pt x="607826" y="18575"/>
                    <a:pt x="611418" y="21995"/>
                    <a:pt x="615964" y="23813"/>
                  </a:cubicBezTo>
                  <a:cubicBezTo>
                    <a:pt x="617552" y="25400"/>
                    <a:pt x="619723" y="26567"/>
                    <a:pt x="620727" y="28575"/>
                  </a:cubicBezTo>
                  <a:cubicBezTo>
                    <a:pt x="625076" y="37273"/>
                    <a:pt x="617993" y="40834"/>
                    <a:pt x="628664" y="30163"/>
                  </a:cubicBezTo>
                  <a:cubicBezTo>
                    <a:pt x="629193" y="28575"/>
                    <a:pt x="629889" y="27034"/>
                    <a:pt x="630252" y="25400"/>
                  </a:cubicBezTo>
                  <a:cubicBezTo>
                    <a:pt x="630950" y="22258"/>
                    <a:pt x="630821" y="18929"/>
                    <a:pt x="631839" y="15875"/>
                  </a:cubicBezTo>
                  <a:cubicBezTo>
                    <a:pt x="632442" y="14065"/>
                    <a:pt x="633271" y="11888"/>
                    <a:pt x="635014" y="11113"/>
                  </a:cubicBezTo>
                  <a:cubicBezTo>
                    <a:pt x="638433" y="9593"/>
                    <a:pt x="642458" y="10259"/>
                    <a:pt x="646127" y="9525"/>
                  </a:cubicBezTo>
                  <a:cubicBezTo>
                    <a:pt x="650406" y="8669"/>
                    <a:pt x="658827" y="6350"/>
                    <a:pt x="658827" y="6350"/>
                  </a:cubicBezTo>
                  <a:cubicBezTo>
                    <a:pt x="666235" y="7408"/>
                    <a:pt x="673767" y="7811"/>
                    <a:pt x="681052" y="9525"/>
                  </a:cubicBezTo>
                  <a:cubicBezTo>
                    <a:pt x="682909" y="9962"/>
                    <a:pt x="684108" y="11847"/>
                    <a:pt x="685814" y="12700"/>
                  </a:cubicBezTo>
                  <a:cubicBezTo>
                    <a:pt x="687311" y="13449"/>
                    <a:pt x="688989" y="13759"/>
                    <a:pt x="690577" y="14288"/>
                  </a:cubicBezTo>
                  <a:cubicBezTo>
                    <a:pt x="691635" y="15875"/>
                    <a:pt x="692165" y="17992"/>
                    <a:pt x="693752" y="19050"/>
                  </a:cubicBezTo>
                  <a:cubicBezTo>
                    <a:pt x="698490" y="22208"/>
                    <a:pt x="704935" y="19832"/>
                    <a:pt x="709627" y="19050"/>
                  </a:cubicBezTo>
                  <a:cubicBezTo>
                    <a:pt x="712099" y="16578"/>
                    <a:pt x="715615" y="12440"/>
                    <a:pt x="719152" y="11113"/>
                  </a:cubicBezTo>
                  <a:cubicBezTo>
                    <a:pt x="721678" y="10166"/>
                    <a:pt x="724443" y="10054"/>
                    <a:pt x="727089" y="9525"/>
                  </a:cubicBezTo>
                  <a:cubicBezTo>
                    <a:pt x="729735" y="7938"/>
                    <a:pt x="732267" y="6143"/>
                    <a:pt x="735027" y="4763"/>
                  </a:cubicBezTo>
                  <a:cubicBezTo>
                    <a:pt x="736524" y="4015"/>
                    <a:pt x="738251" y="3834"/>
                    <a:pt x="739789" y="3175"/>
                  </a:cubicBezTo>
                  <a:cubicBezTo>
                    <a:pt x="741964" y="2243"/>
                    <a:pt x="744022" y="1058"/>
                    <a:pt x="746139" y="0"/>
                  </a:cubicBezTo>
                  <a:cubicBezTo>
                    <a:pt x="749314" y="1588"/>
                    <a:pt x="753154" y="2253"/>
                    <a:pt x="755664" y="4763"/>
                  </a:cubicBezTo>
                  <a:cubicBezTo>
                    <a:pt x="757207" y="6306"/>
                    <a:pt x="756920" y="8957"/>
                    <a:pt x="757252" y="11113"/>
                  </a:cubicBezTo>
                  <a:cubicBezTo>
                    <a:pt x="757981" y="15849"/>
                    <a:pt x="758051" y="20674"/>
                    <a:pt x="758839" y="25400"/>
                  </a:cubicBezTo>
                  <a:cubicBezTo>
                    <a:pt x="759114" y="27051"/>
                    <a:pt x="760021" y="28539"/>
                    <a:pt x="760427" y="30163"/>
                  </a:cubicBezTo>
                  <a:cubicBezTo>
                    <a:pt x="761081" y="32780"/>
                    <a:pt x="761304" y="35497"/>
                    <a:pt x="762014" y="38100"/>
                  </a:cubicBezTo>
                  <a:cubicBezTo>
                    <a:pt x="763284" y="42757"/>
                    <a:pt x="763834" y="49576"/>
                    <a:pt x="769952" y="50800"/>
                  </a:cubicBezTo>
                  <a:cubicBezTo>
                    <a:pt x="776200" y="52050"/>
                    <a:pt x="782652" y="51859"/>
                    <a:pt x="789002" y="52388"/>
                  </a:cubicBezTo>
                  <a:cubicBezTo>
                    <a:pt x="791648" y="53975"/>
                    <a:pt x="794323" y="55515"/>
                    <a:pt x="796939" y="57150"/>
                  </a:cubicBezTo>
                  <a:cubicBezTo>
                    <a:pt x="798557" y="58161"/>
                    <a:pt x="799948" y="59573"/>
                    <a:pt x="801702" y="60325"/>
                  </a:cubicBezTo>
                  <a:cubicBezTo>
                    <a:pt x="803707" y="61185"/>
                    <a:pt x="805935" y="61384"/>
                    <a:pt x="808052" y="61913"/>
                  </a:cubicBezTo>
                  <a:cubicBezTo>
                    <a:pt x="813344" y="61384"/>
                    <a:pt x="818700" y="61305"/>
                    <a:pt x="823927" y="60325"/>
                  </a:cubicBezTo>
                  <a:cubicBezTo>
                    <a:pt x="827216" y="59708"/>
                    <a:pt x="833452" y="57150"/>
                    <a:pt x="833452" y="57150"/>
                  </a:cubicBezTo>
                  <a:cubicBezTo>
                    <a:pt x="841919" y="57679"/>
                    <a:pt x="850534" y="57074"/>
                    <a:pt x="858852" y="58738"/>
                  </a:cubicBezTo>
                  <a:cubicBezTo>
                    <a:pt x="861446" y="59257"/>
                    <a:pt x="863034" y="61983"/>
                    <a:pt x="865202" y="63500"/>
                  </a:cubicBezTo>
                  <a:cubicBezTo>
                    <a:pt x="868328" y="65688"/>
                    <a:pt x="874727" y="69850"/>
                    <a:pt x="874727" y="69850"/>
                  </a:cubicBezTo>
                  <a:cubicBezTo>
                    <a:pt x="875256" y="71967"/>
                    <a:pt x="876314" y="74018"/>
                    <a:pt x="876314" y="76200"/>
                  </a:cubicBezTo>
                  <a:cubicBezTo>
                    <a:pt x="876314" y="82729"/>
                    <a:pt x="872922" y="80892"/>
                    <a:pt x="868377" y="84138"/>
                  </a:cubicBezTo>
                  <a:cubicBezTo>
                    <a:pt x="866550" y="85443"/>
                    <a:pt x="865202" y="87313"/>
                    <a:pt x="863614" y="88900"/>
                  </a:cubicBezTo>
                  <a:cubicBezTo>
                    <a:pt x="863085" y="90488"/>
                    <a:pt x="862027" y="91990"/>
                    <a:pt x="862027" y="93663"/>
                  </a:cubicBezTo>
                  <a:cubicBezTo>
                    <a:pt x="862027" y="98498"/>
                    <a:pt x="863627" y="105473"/>
                    <a:pt x="866789" y="109538"/>
                  </a:cubicBezTo>
                  <a:cubicBezTo>
                    <a:pt x="869086" y="112491"/>
                    <a:pt x="871911" y="115011"/>
                    <a:pt x="874727" y="117475"/>
                  </a:cubicBezTo>
                  <a:cubicBezTo>
                    <a:pt x="876163" y="118731"/>
                    <a:pt x="877703" y="119980"/>
                    <a:pt x="879489" y="120650"/>
                  </a:cubicBezTo>
                  <a:cubicBezTo>
                    <a:pt x="882016" y="121598"/>
                    <a:pt x="884781" y="121709"/>
                    <a:pt x="887427" y="122238"/>
                  </a:cubicBezTo>
                  <a:cubicBezTo>
                    <a:pt x="893223" y="126102"/>
                    <a:pt x="897687" y="129363"/>
                    <a:pt x="904889" y="131763"/>
                  </a:cubicBezTo>
                  <a:cubicBezTo>
                    <a:pt x="911722" y="134040"/>
                    <a:pt x="908029" y="132944"/>
                    <a:pt x="916002" y="134938"/>
                  </a:cubicBezTo>
                  <a:cubicBezTo>
                    <a:pt x="917589" y="134409"/>
                    <a:pt x="919581" y="134533"/>
                    <a:pt x="920764" y="133350"/>
                  </a:cubicBezTo>
                  <a:cubicBezTo>
                    <a:pt x="921947" y="132167"/>
                    <a:pt x="921892" y="130197"/>
                    <a:pt x="922352" y="128588"/>
                  </a:cubicBezTo>
                  <a:cubicBezTo>
                    <a:pt x="926341" y="114626"/>
                    <a:pt x="921717" y="128901"/>
                    <a:pt x="925527" y="117475"/>
                  </a:cubicBezTo>
                  <a:cubicBezTo>
                    <a:pt x="928173" y="118533"/>
                    <a:pt x="930915" y="119376"/>
                    <a:pt x="933464" y="120650"/>
                  </a:cubicBezTo>
                  <a:cubicBezTo>
                    <a:pt x="940378" y="124107"/>
                    <a:pt x="949069" y="134668"/>
                    <a:pt x="952514" y="138113"/>
                  </a:cubicBezTo>
                  <a:lnTo>
                    <a:pt x="957277" y="142875"/>
                  </a:lnTo>
                  <a:cubicBezTo>
                    <a:pt x="956748" y="157163"/>
                    <a:pt x="958493" y="171718"/>
                    <a:pt x="955689" y="185738"/>
                  </a:cubicBezTo>
                  <a:cubicBezTo>
                    <a:pt x="955084" y="188763"/>
                    <a:pt x="950814" y="190117"/>
                    <a:pt x="947752" y="190500"/>
                  </a:cubicBezTo>
                  <a:cubicBezTo>
                    <a:pt x="945695" y="190757"/>
                    <a:pt x="938957" y="183172"/>
                    <a:pt x="938227" y="182563"/>
                  </a:cubicBezTo>
                  <a:cubicBezTo>
                    <a:pt x="932647" y="177913"/>
                    <a:pt x="932207" y="179178"/>
                    <a:pt x="923939" y="177800"/>
                  </a:cubicBezTo>
                  <a:cubicBezTo>
                    <a:pt x="920235" y="178858"/>
                    <a:pt x="916334" y="179381"/>
                    <a:pt x="912827" y="180975"/>
                  </a:cubicBezTo>
                  <a:cubicBezTo>
                    <a:pt x="910418" y="182070"/>
                    <a:pt x="908721" y="184336"/>
                    <a:pt x="906477" y="185738"/>
                  </a:cubicBezTo>
                  <a:cubicBezTo>
                    <a:pt x="898816" y="190526"/>
                    <a:pt x="902241" y="187553"/>
                    <a:pt x="895364" y="190500"/>
                  </a:cubicBezTo>
                  <a:cubicBezTo>
                    <a:pt x="893189" y="191432"/>
                    <a:pt x="891069" y="192501"/>
                    <a:pt x="889014" y="193675"/>
                  </a:cubicBezTo>
                  <a:cubicBezTo>
                    <a:pt x="887358" y="194622"/>
                    <a:pt x="886006" y="196098"/>
                    <a:pt x="884252" y="196850"/>
                  </a:cubicBezTo>
                  <a:cubicBezTo>
                    <a:pt x="882247" y="197710"/>
                    <a:pt x="880049" y="198048"/>
                    <a:pt x="877902" y="198438"/>
                  </a:cubicBezTo>
                  <a:cubicBezTo>
                    <a:pt x="868257" y="200192"/>
                    <a:pt x="859185" y="200716"/>
                    <a:pt x="849327" y="201613"/>
                  </a:cubicBezTo>
                  <a:cubicBezTo>
                    <a:pt x="846152" y="201084"/>
                    <a:pt x="842377" y="201956"/>
                    <a:pt x="839802" y="200025"/>
                  </a:cubicBezTo>
                  <a:cubicBezTo>
                    <a:pt x="837522" y="198315"/>
                    <a:pt x="838283" y="194407"/>
                    <a:pt x="836627" y="192088"/>
                  </a:cubicBezTo>
                  <a:cubicBezTo>
                    <a:pt x="835518" y="190535"/>
                    <a:pt x="833452" y="189971"/>
                    <a:pt x="831864" y="188913"/>
                  </a:cubicBezTo>
                  <a:cubicBezTo>
                    <a:pt x="815460" y="189442"/>
                    <a:pt x="798952" y="188582"/>
                    <a:pt x="782652" y="190500"/>
                  </a:cubicBezTo>
                  <a:cubicBezTo>
                    <a:pt x="776449" y="191230"/>
                    <a:pt x="775236" y="206920"/>
                    <a:pt x="774714" y="207963"/>
                  </a:cubicBezTo>
                  <a:cubicBezTo>
                    <a:pt x="773656" y="210080"/>
                    <a:pt x="772959" y="212420"/>
                    <a:pt x="771539" y="214313"/>
                  </a:cubicBezTo>
                  <a:cubicBezTo>
                    <a:pt x="765182" y="222789"/>
                    <a:pt x="766824" y="218507"/>
                    <a:pt x="760427" y="223838"/>
                  </a:cubicBezTo>
                  <a:cubicBezTo>
                    <a:pt x="758702" y="225275"/>
                    <a:pt x="757252" y="227013"/>
                    <a:pt x="755664" y="228600"/>
                  </a:cubicBezTo>
                  <a:cubicBezTo>
                    <a:pt x="754606" y="231775"/>
                    <a:pt x="753732" y="235018"/>
                    <a:pt x="752489" y="238125"/>
                  </a:cubicBezTo>
                  <a:cubicBezTo>
                    <a:pt x="751610" y="240322"/>
                    <a:pt x="750463" y="242406"/>
                    <a:pt x="749314" y="244475"/>
                  </a:cubicBezTo>
                  <a:cubicBezTo>
                    <a:pt x="746861" y="248891"/>
                    <a:pt x="743256" y="254911"/>
                    <a:pt x="739789" y="258763"/>
                  </a:cubicBezTo>
                  <a:cubicBezTo>
                    <a:pt x="735283" y="263769"/>
                    <a:pt x="730264" y="268288"/>
                    <a:pt x="725502" y="273050"/>
                  </a:cubicBezTo>
                  <a:cubicBezTo>
                    <a:pt x="722724" y="275828"/>
                    <a:pt x="716736" y="282415"/>
                    <a:pt x="712802" y="284163"/>
                  </a:cubicBezTo>
                  <a:cubicBezTo>
                    <a:pt x="710336" y="285259"/>
                    <a:pt x="707467" y="285040"/>
                    <a:pt x="704864" y="285750"/>
                  </a:cubicBezTo>
                  <a:cubicBezTo>
                    <a:pt x="701635" y="286630"/>
                    <a:pt x="698514" y="287867"/>
                    <a:pt x="695339" y="288925"/>
                  </a:cubicBezTo>
                  <a:cubicBezTo>
                    <a:pt x="693752" y="289454"/>
                    <a:pt x="692131" y="289892"/>
                    <a:pt x="690577" y="290513"/>
                  </a:cubicBezTo>
                  <a:cubicBezTo>
                    <a:pt x="687931" y="291571"/>
                    <a:pt x="685307" y="292687"/>
                    <a:pt x="682639" y="293688"/>
                  </a:cubicBezTo>
                  <a:cubicBezTo>
                    <a:pt x="681072" y="294275"/>
                    <a:pt x="679415" y="294616"/>
                    <a:pt x="677877" y="295275"/>
                  </a:cubicBezTo>
                  <a:cubicBezTo>
                    <a:pt x="665403" y="300621"/>
                    <a:pt x="677742" y="296803"/>
                    <a:pt x="660414" y="304800"/>
                  </a:cubicBezTo>
                  <a:cubicBezTo>
                    <a:pt x="657375" y="306202"/>
                    <a:pt x="650889" y="307975"/>
                    <a:pt x="650889" y="307975"/>
                  </a:cubicBezTo>
                  <a:lnTo>
                    <a:pt x="636602" y="317500"/>
                  </a:lnTo>
                  <a:cubicBezTo>
                    <a:pt x="635014" y="318558"/>
                    <a:pt x="633649" y="320071"/>
                    <a:pt x="631839" y="320675"/>
                  </a:cubicBezTo>
                  <a:cubicBezTo>
                    <a:pt x="626914" y="322317"/>
                    <a:pt x="625630" y="322496"/>
                    <a:pt x="620727" y="325438"/>
                  </a:cubicBezTo>
                  <a:cubicBezTo>
                    <a:pt x="607082" y="333625"/>
                    <a:pt x="616019" y="330183"/>
                    <a:pt x="606439" y="333375"/>
                  </a:cubicBezTo>
                  <a:cubicBezTo>
                    <a:pt x="604852" y="334433"/>
                    <a:pt x="603143" y="335329"/>
                    <a:pt x="601677" y="336550"/>
                  </a:cubicBezTo>
                  <a:cubicBezTo>
                    <a:pt x="599952" y="337987"/>
                    <a:pt x="598782" y="340068"/>
                    <a:pt x="596914" y="341313"/>
                  </a:cubicBezTo>
                  <a:cubicBezTo>
                    <a:pt x="595462" y="342281"/>
                    <a:pt x="586760" y="344201"/>
                    <a:pt x="585802" y="344488"/>
                  </a:cubicBezTo>
                  <a:cubicBezTo>
                    <a:pt x="582596" y="345450"/>
                    <a:pt x="579495" y="346744"/>
                    <a:pt x="576277" y="347663"/>
                  </a:cubicBezTo>
                  <a:cubicBezTo>
                    <a:pt x="563555" y="351298"/>
                    <a:pt x="568819" y="349620"/>
                    <a:pt x="560402" y="352425"/>
                  </a:cubicBezTo>
                  <a:cubicBezTo>
                    <a:pt x="550877" y="351896"/>
                    <a:pt x="541226" y="352473"/>
                    <a:pt x="531827" y="350838"/>
                  </a:cubicBezTo>
                  <a:cubicBezTo>
                    <a:pt x="521860" y="349105"/>
                    <a:pt x="526147" y="345213"/>
                    <a:pt x="519127" y="341313"/>
                  </a:cubicBezTo>
                  <a:cubicBezTo>
                    <a:pt x="516201" y="339688"/>
                    <a:pt x="512884" y="338795"/>
                    <a:pt x="509602" y="338138"/>
                  </a:cubicBezTo>
                  <a:cubicBezTo>
                    <a:pt x="496449" y="335507"/>
                    <a:pt x="504349" y="336818"/>
                    <a:pt x="485789" y="334963"/>
                  </a:cubicBezTo>
                  <a:cubicBezTo>
                    <a:pt x="484202" y="333905"/>
                    <a:pt x="482781" y="332540"/>
                    <a:pt x="481027" y="331788"/>
                  </a:cubicBezTo>
                  <a:cubicBezTo>
                    <a:pt x="473667" y="328633"/>
                    <a:pt x="468855" y="330847"/>
                    <a:pt x="460389" y="331788"/>
                  </a:cubicBezTo>
                  <a:cubicBezTo>
                    <a:pt x="458272" y="332317"/>
                    <a:pt x="455854" y="332165"/>
                    <a:pt x="454039" y="333375"/>
                  </a:cubicBezTo>
                  <a:cubicBezTo>
                    <a:pt x="449761" y="336227"/>
                    <a:pt x="448315" y="348960"/>
                    <a:pt x="447689" y="350838"/>
                  </a:cubicBezTo>
                  <a:cubicBezTo>
                    <a:pt x="446631" y="354013"/>
                    <a:pt x="447191" y="358355"/>
                    <a:pt x="444514" y="360363"/>
                  </a:cubicBezTo>
                  <a:cubicBezTo>
                    <a:pt x="442339" y="361994"/>
                    <a:pt x="433083" y="371028"/>
                    <a:pt x="427052" y="371475"/>
                  </a:cubicBezTo>
                  <a:cubicBezTo>
                    <a:pt x="414376" y="372414"/>
                    <a:pt x="401652" y="372534"/>
                    <a:pt x="388952" y="373063"/>
                  </a:cubicBezTo>
                  <a:cubicBezTo>
                    <a:pt x="378438" y="376566"/>
                    <a:pt x="390652" y="371939"/>
                    <a:pt x="377839" y="379413"/>
                  </a:cubicBezTo>
                  <a:cubicBezTo>
                    <a:pt x="373751" y="381798"/>
                    <a:pt x="369372" y="383646"/>
                    <a:pt x="365139" y="385763"/>
                  </a:cubicBezTo>
                  <a:cubicBezTo>
                    <a:pt x="363022" y="386821"/>
                    <a:pt x="360758" y="387625"/>
                    <a:pt x="358789" y="388938"/>
                  </a:cubicBezTo>
                  <a:cubicBezTo>
                    <a:pt x="354007" y="392126"/>
                    <a:pt x="353316" y="392872"/>
                    <a:pt x="347677" y="395288"/>
                  </a:cubicBezTo>
                  <a:cubicBezTo>
                    <a:pt x="346139" y="395947"/>
                    <a:pt x="344502" y="396346"/>
                    <a:pt x="342914" y="396875"/>
                  </a:cubicBezTo>
                  <a:cubicBezTo>
                    <a:pt x="337622" y="396346"/>
                    <a:pt x="331155" y="398656"/>
                    <a:pt x="327039" y="395288"/>
                  </a:cubicBezTo>
                  <a:cubicBezTo>
                    <a:pt x="323737" y="392586"/>
                    <a:pt x="326153" y="386796"/>
                    <a:pt x="325452" y="382588"/>
                  </a:cubicBezTo>
                  <a:cubicBezTo>
                    <a:pt x="325093" y="380436"/>
                    <a:pt x="324393" y="378355"/>
                    <a:pt x="323864" y="376238"/>
                  </a:cubicBezTo>
                  <a:cubicBezTo>
                    <a:pt x="324393" y="372005"/>
                    <a:pt x="323868" y="367499"/>
                    <a:pt x="325452" y="363538"/>
                  </a:cubicBezTo>
                  <a:cubicBezTo>
                    <a:pt x="326161" y="361767"/>
                    <a:pt x="328865" y="361712"/>
                    <a:pt x="330214" y="360363"/>
                  </a:cubicBezTo>
                  <a:cubicBezTo>
                    <a:pt x="331563" y="359014"/>
                    <a:pt x="332331" y="357188"/>
                    <a:pt x="333389" y="355600"/>
                  </a:cubicBezTo>
                  <a:cubicBezTo>
                    <a:pt x="329410" y="335700"/>
                    <a:pt x="335474" y="356297"/>
                    <a:pt x="327039" y="344488"/>
                  </a:cubicBezTo>
                  <a:cubicBezTo>
                    <a:pt x="320966" y="335985"/>
                    <a:pt x="326102" y="338673"/>
                    <a:pt x="322277" y="331788"/>
                  </a:cubicBezTo>
                  <a:cubicBezTo>
                    <a:pt x="320424" y="328452"/>
                    <a:pt x="318370" y="325194"/>
                    <a:pt x="315927" y="322263"/>
                  </a:cubicBezTo>
                  <a:cubicBezTo>
                    <a:pt x="313052" y="318814"/>
                    <a:pt x="306402" y="312738"/>
                    <a:pt x="306402" y="312738"/>
                  </a:cubicBezTo>
                  <a:cubicBezTo>
                    <a:pt x="305407" y="308761"/>
                    <a:pt x="305100" y="304510"/>
                    <a:pt x="301639" y="301625"/>
                  </a:cubicBezTo>
                  <a:cubicBezTo>
                    <a:pt x="299821" y="300110"/>
                    <a:pt x="297406" y="299508"/>
                    <a:pt x="295289" y="298450"/>
                  </a:cubicBezTo>
                  <a:cubicBezTo>
                    <a:pt x="293702" y="296333"/>
                    <a:pt x="292398" y="293971"/>
                    <a:pt x="290527" y="292100"/>
                  </a:cubicBezTo>
                  <a:cubicBezTo>
                    <a:pt x="289178" y="290751"/>
                    <a:pt x="286775" y="290543"/>
                    <a:pt x="285764" y="288925"/>
                  </a:cubicBezTo>
                  <a:cubicBezTo>
                    <a:pt x="283990" y="286087"/>
                    <a:pt x="284214" y="282326"/>
                    <a:pt x="282589" y="279400"/>
                  </a:cubicBezTo>
                  <a:cubicBezTo>
                    <a:pt x="281499" y="277438"/>
                    <a:pt x="279264" y="276363"/>
                    <a:pt x="277827" y="274638"/>
                  </a:cubicBezTo>
                  <a:cubicBezTo>
                    <a:pt x="276606" y="273172"/>
                    <a:pt x="275505" y="271582"/>
                    <a:pt x="274652" y="269875"/>
                  </a:cubicBezTo>
                  <a:cubicBezTo>
                    <a:pt x="273904" y="268378"/>
                    <a:pt x="273894" y="266566"/>
                    <a:pt x="273064" y="265113"/>
                  </a:cubicBezTo>
                  <a:cubicBezTo>
                    <a:pt x="271751" y="262816"/>
                    <a:pt x="269840" y="260916"/>
                    <a:pt x="268302" y="258763"/>
                  </a:cubicBezTo>
                  <a:cubicBezTo>
                    <a:pt x="267193" y="257210"/>
                    <a:pt x="266476" y="255349"/>
                    <a:pt x="265127" y="254000"/>
                  </a:cubicBezTo>
                  <a:cubicBezTo>
                    <a:pt x="263256" y="252129"/>
                    <a:pt x="260894" y="250825"/>
                    <a:pt x="258777" y="249238"/>
                  </a:cubicBezTo>
                  <a:cubicBezTo>
                    <a:pt x="257719" y="247650"/>
                    <a:pt x="256747" y="246001"/>
                    <a:pt x="255602" y="244475"/>
                  </a:cubicBezTo>
                  <a:cubicBezTo>
                    <a:pt x="253569" y="241764"/>
                    <a:pt x="250898" y="239500"/>
                    <a:pt x="249252" y="236538"/>
                  </a:cubicBezTo>
                  <a:cubicBezTo>
                    <a:pt x="247691" y="233728"/>
                    <a:pt x="246370" y="220051"/>
                    <a:pt x="246077" y="219075"/>
                  </a:cubicBezTo>
                  <a:cubicBezTo>
                    <a:pt x="245529" y="217248"/>
                    <a:pt x="244489" y="215371"/>
                    <a:pt x="242902" y="214313"/>
                  </a:cubicBezTo>
                  <a:cubicBezTo>
                    <a:pt x="241087" y="213103"/>
                    <a:pt x="238669" y="213254"/>
                    <a:pt x="236552" y="212725"/>
                  </a:cubicBezTo>
                  <a:cubicBezTo>
                    <a:pt x="222017" y="201098"/>
                    <a:pt x="229598" y="204268"/>
                    <a:pt x="200039" y="207963"/>
                  </a:cubicBezTo>
                  <a:cubicBezTo>
                    <a:pt x="196718" y="208378"/>
                    <a:pt x="190514" y="211138"/>
                    <a:pt x="190514" y="211138"/>
                  </a:cubicBezTo>
                  <a:cubicBezTo>
                    <a:pt x="189456" y="212725"/>
                    <a:pt x="189173" y="215376"/>
                    <a:pt x="187339" y="215900"/>
                  </a:cubicBezTo>
                  <a:cubicBezTo>
                    <a:pt x="184745" y="216641"/>
                    <a:pt x="181867" y="215409"/>
                    <a:pt x="179402" y="214313"/>
                  </a:cubicBezTo>
                  <a:cubicBezTo>
                    <a:pt x="176623" y="213078"/>
                    <a:pt x="170370" y="207284"/>
                    <a:pt x="168289" y="204788"/>
                  </a:cubicBezTo>
                  <a:cubicBezTo>
                    <a:pt x="165392" y="201312"/>
                    <a:pt x="164671" y="197662"/>
                    <a:pt x="160352" y="195263"/>
                  </a:cubicBezTo>
                  <a:cubicBezTo>
                    <a:pt x="157426" y="193638"/>
                    <a:pt x="154002" y="193146"/>
                    <a:pt x="150827" y="192088"/>
                  </a:cubicBezTo>
                  <a:cubicBezTo>
                    <a:pt x="146741" y="190726"/>
                    <a:pt x="144107" y="189712"/>
                    <a:pt x="139714" y="188913"/>
                  </a:cubicBezTo>
                  <a:cubicBezTo>
                    <a:pt x="136033" y="188244"/>
                    <a:pt x="132283" y="187994"/>
                    <a:pt x="128602" y="187325"/>
                  </a:cubicBezTo>
                  <a:cubicBezTo>
                    <a:pt x="126455" y="186935"/>
                    <a:pt x="124399" y="186128"/>
                    <a:pt x="122252" y="185738"/>
                  </a:cubicBezTo>
                  <a:cubicBezTo>
                    <a:pt x="118570" y="185069"/>
                    <a:pt x="114835" y="184734"/>
                    <a:pt x="111139" y="184150"/>
                  </a:cubicBezTo>
                  <a:cubicBezTo>
                    <a:pt x="83171" y="179734"/>
                    <a:pt x="101528" y="181919"/>
                    <a:pt x="76214" y="179388"/>
                  </a:cubicBezTo>
                  <a:cubicBezTo>
                    <a:pt x="71452" y="178330"/>
                    <a:pt x="66660" y="177396"/>
                    <a:pt x="61927" y="176213"/>
                  </a:cubicBezTo>
                  <a:cubicBezTo>
                    <a:pt x="60303" y="175807"/>
                    <a:pt x="58773" y="175085"/>
                    <a:pt x="57164" y="174625"/>
                  </a:cubicBezTo>
                  <a:cubicBezTo>
                    <a:pt x="55066" y="174026"/>
                    <a:pt x="52904" y="173665"/>
                    <a:pt x="50814" y="173038"/>
                  </a:cubicBezTo>
                  <a:cubicBezTo>
                    <a:pt x="47608" y="172076"/>
                    <a:pt x="44615" y="170233"/>
                    <a:pt x="41289" y="169863"/>
                  </a:cubicBezTo>
                  <a:cubicBezTo>
                    <a:pt x="32010" y="168832"/>
                    <a:pt x="24930" y="168195"/>
                    <a:pt x="15889" y="166688"/>
                  </a:cubicBezTo>
                  <a:cubicBezTo>
                    <a:pt x="13228" y="166244"/>
                    <a:pt x="10598" y="165629"/>
                    <a:pt x="7952" y="165100"/>
                  </a:cubicBezTo>
                  <a:cubicBezTo>
                    <a:pt x="6364" y="163513"/>
                    <a:pt x="3189" y="162583"/>
                    <a:pt x="3189" y="160338"/>
                  </a:cubicBezTo>
                  <a:cubicBezTo>
                    <a:pt x="3189" y="153634"/>
                    <a:pt x="-251" y="166953"/>
                    <a:pt x="14" y="166688"/>
                  </a:cubicBezTo>
                  <a:close/>
                </a:path>
              </a:pathLst>
            </a:custGeom>
            <a:solidFill>
              <a:schemeClr val="bg1">
                <a:lumMod val="85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gl-ES"/>
            </a:p>
          </p:txBody>
        </p:sp>
        <p:sp>
          <p:nvSpPr>
            <p:cNvPr id="351" name="Freeform: Shape 350">
              <a:extLst>
                <a:ext uri="{FF2B5EF4-FFF2-40B4-BE49-F238E27FC236}">
                  <a16:creationId xmlns:a16="http://schemas.microsoft.com/office/drawing/2014/main" id="{529F9648-FE66-4263-B90C-66DDC6C2186D}"/>
                </a:ext>
              </a:extLst>
            </p:cNvPr>
            <p:cNvSpPr/>
            <p:nvPr/>
          </p:nvSpPr>
          <p:spPr>
            <a:xfrm>
              <a:off x="11363977" y="4617320"/>
              <a:ext cx="589870" cy="301667"/>
            </a:xfrm>
            <a:custGeom>
              <a:avLst/>
              <a:gdLst>
                <a:gd name="connsiteX0" fmla="*/ 301954 w 589870"/>
                <a:gd name="connsiteY0" fmla="*/ 290582 h 301667"/>
                <a:gd name="connsiteX1" fmla="*/ 315284 w 589870"/>
                <a:gd name="connsiteY1" fmla="*/ 279918 h 301667"/>
                <a:gd name="connsiteX2" fmla="*/ 323281 w 589870"/>
                <a:gd name="connsiteY2" fmla="*/ 274587 h 301667"/>
                <a:gd name="connsiteX3" fmla="*/ 336611 w 589870"/>
                <a:gd name="connsiteY3" fmla="*/ 263923 h 301667"/>
                <a:gd name="connsiteX4" fmla="*/ 344608 w 589870"/>
                <a:gd name="connsiteY4" fmla="*/ 237264 h 301667"/>
                <a:gd name="connsiteX5" fmla="*/ 360604 w 589870"/>
                <a:gd name="connsiteY5" fmla="*/ 245262 h 301667"/>
                <a:gd name="connsiteX6" fmla="*/ 373933 w 589870"/>
                <a:gd name="connsiteY6" fmla="*/ 255925 h 301667"/>
                <a:gd name="connsiteX7" fmla="*/ 381931 w 589870"/>
                <a:gd name="connsiteY7" fmla="*/ 247928 h 301667"/>
                <a:gd name="connsiteX8" fmla="*/ 389929 w 589870"/>
                <a:gd name="connsiteY8" fmla="*/ 250594 h 301667"/>
                <a:gd name="connsiteX9" fmla="*/ 400592 w 589870"/>
                <a:gd name="connsiteY9" fmla="*/ 253260 h 301667"/>
                <a:gd name="connsiteX10" fmla="*/ 408590 w 589870"/>
                <a:gd name="connsiteY10" fmla="*/ 258591 h 301667"/>
                <a:gd name="connsiteX11" fmla="*/ 416587 w 589870"/>
                <a:gd name="connsiteY11" fmla="*/ 261257 h 301667"/>
                <a:gd name="connsiteX12" fmla="*/ 429917 w 589870"/>
                <a:gd name="connsiteY12" fmla="*/ 258591 h 301667"/>
                <a:gd name="connsiteX13" fmla="*/ 443246 w 589870"/>
                <a:gd name="connsiteY13" fmla="*/ 237264 h 301667"/>
                <a:gd name="connsiteX14" fmla="*/ 451244 w 589870"/>
                <a:gd name="connsiteY14" fmla="*/ 234598 h 301667"/>
                <a:gd name="connsiteX15" fmla="*/ 464573 w 589870"/>
                <a:gd name="connsiteY15" fmla="*/ 237264 h 301667"/>
                <a:gd name="connsiteX16" fmla="*/ 472571 w 589870"/>
                <a:gd name="connsiteY16" fmla="*/ 263923 h 301667"/>
                <a:gd name="connsiteX17" fmla="*/ 507228 w 589870"/>
                <a:gd name="connsiteY17" fmla="*/ 263923 h 301667"/>
                <a:gd name="connsiteX18" fmla="*/ 517891 w 589870"/>
                <a:gd name="connsiteY18" fmla="*/ 279918 h 301667"/>
                <a:gd name="connsiteX19" fmla="*/ 536552 w 589870"/>
                <a:gd name="connsiteY19" fmla="*/ 290582 h 301667"/>
                <a:gd name="connsiteX20" fmla="*/ 541884 w 589870"/>
                <a:gd name="connsiteY20" fmla="*/ 298580 h 301667"/>
                <a:gd name="connsiteX21" fmla="*/ 555214 w 589870"/>
                <a:gd name="connsiteY21" fmla="*/ 293248 h 301667"/>
                <a:gd name="connsiteX22" fmla="*/ 557880 w 589870"/>
                <a:gd name="connsiteY22" fmla="*/ 285250 h 301667"/>
                <a:gd name="connsiteX23" fmla="*/ 565877 w 589870"/>
                <a:gd name="connsiteY23" fmla="*/ 282584 h 301667"/>
                <a:gd name="connsiteX24" fmla="*/ 589870 w 589870"/>
                <a:gd name="connsiteY24" fmla="*/ 269255 h 301667"/>
                <a:gd name="connsiteX25" fmla="*/ 576541 w 589870"/>
                <a:gd name="connsiteY25" fmla="*/ 239930 h 301667"/>
                <a:gd name="connsiteX26" fmla="*/ 571209 w 589870"/>
                <a:gd name="connsiteY26" fmla="*/ 231932 h 301667"/>
                <a:gd name="connsiteX27" fmla="*/ 565877 w 589870"/>
                <a:gd name="connsiteY27" fmla="*/ 223935 h 301667"/>
                <a:gd name="connsiteX28" fmla="*/ 557880 w 589870"/>
                <a:gd name="connsiteY28" fmla="*/ 207939 h 301667"/>
                <a:gd name="connsiteX29" fmla="*/ 547216 w 589870"/>
                <a:gd name="connsiteY29" fmla="*/ 205274 h 301667"/>
                <a:gd name="connsiteX30" fmla="*/ 539218 w 589870"/>
                <a:gd name="connsiteY30" fmla="*/ 199942 h 301667"/>
                <a:gd name="connsiteX31" fmla="*/ 533887 w 589870"/>
                <a:gd name="connsiteY31" fmla="*/ 178615 h 301667"/>
                <a:gd name="connsiteX32" fmla="*/ 493898 w 589870"/>
                <a:gd name="connsiteY32" fmla="*/ 183946 h 301667"/>
                <a:gd name="connsiteX33" fmla="*/ 453910 w 589870"/>
                <a:gd name="connsiteY33" fmla="*/ 181281 h 301667"/>
                <a:gd name="connsiteX34" fmla="*/ 445912 w 589870"/>
                <a:gd name="connsiteY34" fmla="*/ 175949 h 301667"/>
                <a:gd name="connsiteX35" fmla="*/ 419253 w 589870"/>
                <a:gd name="connsiteY35" fmla="*/ 167951 h 301667"/>
                <a:gd name="connsiteX36" fmla="*/ 411256 w 589870"/>
                <a:gd name="connsiteY36" fmla="*/ 165285 h 301667"/>
                <a:gd name="connsiteX37" fmla="*/ 397926 w 589870"/>
                <a:gd name="connsiteY37" fmla="*/ 149290 h 301667"/>
                <a:gd name="connsiteX38" fmla="*/ 405924 w 589870"/>
                <a:gd name="connsiteY38" fmla="*/ 143958 h 301667"/>
                <a:gd name="connsiteX39" fmla="*/ 419253 w 589870"/>
                <a:gd name="connsiteY39" fmla="*/ 127963 h 301667"/>
                <a:gd name="connsiteX40" fmla="*/ 416587 w 589870"/>
                <a:gd name="connsiteY40" fmla="*/ 117299 h 301667"/>
                <a:gd name="connsiteX41" fmla="*/ 408590 w 589870"/>
                <a:gd name="connsiteY41" fmla="*/ 111967 h 301667"/>
                <a:gd name="connsiteX42" fmla="*/ 379265 w 589870"/>
                <a:gd name="connsiteY42" fmla="*/ 103970 h 301667"/>
                <a:gd name="connsiteX43" fmla="*/ 371267 w 589870"/>
                <a:gd name="connsiteY43" fmla="*/ 98638 h 301667"/>
                <a:gd name="connsiteX44" fmla="*/ 355272 w 589870"/>
                <a:gd name="connsiteY44" fmla="*/ 93306 h 301667"/>
                <a:gd name="connsiteX45" fmla="*/ 347274 w 589870"/>
                <a:gd name="connsiteY45" fmla="*/ 90640 h 301667"/>
                <a:gd name="connsiteX46" fmla="*/ 328613 w 589870"/>
                <a:gd name="connsiteY46" fmla="*/ 79977 h 301667"/>
                <a:gd name="connsiteX47" fmla="*/ 320615 w 589870"/>
                <a:gd name="connsiteY47" fmla="*/ 77311 h 301667"/>
                <a:gd name="connsiteX48" fmla="*/ 312618 w 589870"/>
                <a:gd name="connsiteY48" fmla="*/ 69313 h 301667"/>
                <a:gd name="connsiteX49" fmla="*/ 307286 w 589870"/>
                <a:gd name="connsiteY49" fmla="*/ 53318 h 301667"/>
                <a:gd name="connsiteX50" fmla="*/ 315284 w 589870"/>
                <a:gd name="connsiteY50" fmla="*/ 50652 h 301667"/>
                <a:gd name="connsiteX51" fmla="*/ 301954 w 589870"/>
                <a:gd name="connsiteY51" fmla="*/ 31991 h 301667"/>
                <a:gd name="connsiteX52" fmla="*/ 280627 w 589870"/>
                <a:gd name="connsiteY52" fmla="*/ 23993 h 301667"/>
                <a:gd name="connsiteX53" fmla="*/ 261966 w 589870"/>
                <a:gd name="connsiteY53" fmla="*/ 18661 h 301667"/>
                <a:gd name="connsiteX54" fmla="*/ 245971 w 589870"/>
                <a:gd name="connsiteY54" fmla="*/ 23993 h 301667"/>
                <a:gd name="connsiteX55" fmla="*/ 237973 w 589870"/>
                <a:gd name="connsiteY55" fmla="*/ 15995 h 301667"/>
                <a:gd name="connsiteX56" fmla="*/ 229975 w 589870"/>
                <a:gd name="connsiteY56" fmla="*/ 13330 h 301667"/>
                <a:gd name="connsiteX57" fmla="*/ 227309 w 589870"/>
                <a:gd name="connsiteY57" fmla="*/ 5332 h 301667"/>
                <a:gd name="connsiteX58" fmla="*/ 219312 w 589870"/>
                <a:gd name="connsiteY58" fmla="*/ 0 h 301667"/>
                <a:gd name="connsiteX59" fmla="*/ 203316 w 589870"/>
                <a:gd name="connsiteY59" fmla="*/ 7998 h 301667"/>
                <a:gd name="connsiteX60" fmla="*/ 197985 w 589870"/>
                <a:gd name="connsiteY60" fmla="*/ 15995 h 301667"/>
                <a:gd name="connsiteX61" fmla="*/ 195319 w 589870"/>
                <a:gd name="connsiteY61" fmla="*/ 26659 h 301667"/>
                <a:gd name="connsiteX62" fmla="*/ 163328 w 589870"/>
                <a:gd name="connsiteY62" fmla="*/ 42654 h 301667"/>
                <a:gd name="connsiteX63" fmla="*/ 155330 w 589870"/>
                <a:gd name="connsiteY63" fmla="*/ 45320 h 301667"/>
                <a:gd name="connsiteX64" fmla="*/ 147333 w 589870"/>
                <a:gd name="connsiteY64" fmla="*/ 47986 h 301667"/>
                <a:gd name="connsiteX65" fmla="*/ 128671 w 589870"/>
                <a:gd name="connsiteY65" fmla="*/ 55984 h 301667"/>
                <a:gd name="connsiteX66" fmla="*/ 104678 w 589870"/>
                <a:gd name="connsiteY66" fmla="*/ 69313 h 301667"/>
                <a:gd name="connsiteX67" fmla="*/ 88683 w 589870"/>
                <a:gd name="connsiteY67" fmla="*/ 79977 h 301667"/>
                <a:gd name="connsiteX68" fmla="*/ 70022 w 589870"/>
                <a:gd name="connsiteY68" fmla="*/ 87974 h 301667"/>
                <a:gd name="connsiteX69" fmla="*/ 62024 w 589870"/>
                <a:gd name="connsiteY69" fmla="*/ 93306 h 301667"/>
                <a:gd name="connsiteX70" fmla="*/ 43363 w 589870"/>
                <a:gd name="connsiteY70" fmla="*/ 98638 h 301667"/>
                <a:gd name="connsiteX71" fmla="*/ 19370 w 589870"/>
                <a:gd name="connsiteY71" fmla="*/ 111967 h 301667"/>
                <a:gd name="connsiteX72" fmla="*/ 11372 w 589870"/>
                <a:gd name="connsiteY72" fmla="*/ 106636 h 301667"/>
                <a:gd name="connsiteX73" fmla="*/ 709 w 589870"/>
                <a:gd name="connsiteY73" fmla="*/ 109302 h 301667"/>
                <a:gd name="connsiteX74" fmla="*/ 11372 w 589870"/>
                <a:gd name="connsiteY74" fmla="*/ 130629 h 301667"/>
                <a:gd name="connsiteX75" fmla="*/ 30033 w 589870"/>
                <a:gd name="connsiteY75" fmla="*/ 133295 h 301667"/>
                <a:gd name="connsiteX76" fmla="*/ 38031 w 589870"/>
                <a:gd name="connsiteY76" fmla="*/ 138626 h 301667"/>
                <a:gd name="connsiteX77" fmla="*/ 67356 w 589870"/>
                <a:gd name="connsiteY77" fmla="*/ 146624 h 301667"/>
                <a:gd name="connsiteX78" fmla="*/ 83351 w 589870"/>
                <a:gd name="connsiteY78" fmla="*/ 151956 h 301667"/>
                <a:gd name="connsiteX79" fmla="*/ 102013 w 589870"/>
                <a:gd name="connsiteY79" fmla="*/ 157288 h 301667"/>
                <a:gd name="connsiteX80" fmla="*/ 107344 w 589870"/>
                <a:gd name="connsiteY80" fmla="*/ 165285 h 301667"/>
                <a:gd name="connsiteX81" fmla="*/ 110010 w 589870"/>
                <a:gd name="connsiteY81" fmla="*/ 183946 h 301667"/>
                <a:gd name="connsiteX82" fmla="*/ 118008 w 589870"/>
                <a:gd name="connsiteY82" fmla="*/ 189278 h 301667"/>
                <a:gd name="connsiteX83" fmla="*/ 115342 w 589870"/>
                <a:gd name="connsiteY83" fmla="*/ 218603 h 301667"/>
                <a:gd name="connsiteX84" fmla="*/ 96681 w 589870"/>
                <a:gd name="connsiteY84" fmla="*/ 221269 h 301667"/>
                <a:gd name="connsiteX85" fmla="*/ 99347 w 589870"/>
                <a:gd name="connsiteY85" fmla="*/ 234598 h 301667"/>
                <a:gd name="connsiteX86" fmla="*/ 112676 w 589870"/>
                <a:gd name="connsiteY86" fmla="*/ 237264 h 301667"/>
                <a:gd name="connsiteX87" fmla="*/ 120674 w 589870"/>
                <a:gd name="connsiteY87" fmla="*/ 247928 h 301667"/>
                <a:gd name="connsiteX88" fmla="*/ 126006 w 589870"/>
                <a:gd name="connsiteY88" fmla="*/ 255925 h 301667"/>
                <a:gd name="connsiteX89" fmla="*/ 128671 w 589870"/>
                <a:gd name="connsiteY89" fmla="*/ 274587 h 301667"/>
                <a:gd name="connsiteX90" fmla="*/ 184655 w 589870"/>
                <a:gd name="connsiteY90" fmla="*/ 266589 h 301667"/>
                <a:gd name="connsiteX91" fmla="*/ 189987 w 589870"/>
                <a:gd name="connsiteY91" fmla="*/ 258591 h 301667"/>
                <a:gd name="connsiteX92" fmla="*/ 208648 w 589870"/>
                <a:gd name="connsiteY92" fmla="*/ 250594 h 301667"/>
                <a:gd name="connsiteX93" fmla="*/ 216646 w 589870"/>
                <a:gd name="connsiteY93" fmla="*/ 245262 h 301667"/>
                <a:gd name="connsiteX94" fmla="*/ 243305 w 589870"/>
                <a:gd name="connsiteY94" fmla="*/ 258591 h 301667"/>
                <a:gd name="connsiteX95" fmla="*/ 261966 w 589870"/>
                <a:gd name="connsiteY95" fmla="*/ 266589 h 301667"/>
                <a:gd name="connsiteX96" fmla="*/ 301954 w 589870"/>
                <a:gd name="connsiteY96" fmla="*/ 290582 h 3016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589870" h="301667">
                  <a:moveTo>
                    <a:pt x="301954" y="290582"/>
                  </a:moveTo>
                  <a:cubicBezTo>
                    <a:pt x="310840" y="292803"/>
                    <a:pt x="310732" y="283332"/>
                    <a:pt x="315284" y="279918"/>
                  </a:cubicBezTo>
                  <a:cubicBezTo>
                    <a:pt x="317847" y="277996"/>
                    <a:pt x="321016" y="276852"/>
                    <a:pt x="323281" y="274587"/>
                  </a:cubicBezTo>
                  <a:cubicBezTo>
                    <a:pt x="335340" y="262528"/>
                    <a:pt x="321041" y="269113"/>
                    <a:pt x="336611" y="263923"/>
                  </a:cubicBezTo>
                  <a:cubicBezTo>
                    <a:pt x="337197" y="260405"/>
                    <a:pt x="338869" y="240707"/>
                    <a:pt x="344608" y="237264"/>
                  </a:cubicBezTo>
                  <a:cubicBezTo>
                    <a:pt x="347513" y="235521"/>
                    <a:pt x="359541" y="244553"/>
                    <a:pt x="360604" y="245262"/>
                  </a:cubicBezTo>
                  <a:cubicBezTo>
                    <a:pt x="362918" y="248734"/>
                    <a:pt x="366909" y="258266"/>
                    <a:pt x="373933" y="255925"/>
                  </a:cubicBezTo>
                  <a:cubicBezTo>
                    <a:pt x="377510" y="254733"/>
                    <a:pt x="379265" y="250594"/>
                    <a:pt x="381931" y="247928"/>
                  </a:cubicBezTo>
                  <a:cubicBezTo>
                    <a:pt x="384597" y="248817"/>
                    <a:pt x="387227" y="249822"/>
                    <a:pt x="389929" y="250594"/>
                  </a:cubicBezTo>
                  <a:cubicBezTo>
                    <a:pt x="393452" y="251601"/>
                    <a:pt x="397224" y="251817"/>
                    <a:pt x="400592" y="253260"/>
                  </a:cubicBezTo>
                  <a:cubicBezTo>
                    <a:pt x="403537" y="254522"/>
                    <a:pt x="405724" y="257158"/>
                    <a:pt x="408590" y="258591"/>
                  </a:cubicBezTo>
                  <a:cubicBezTo>
                    <a:pt x="411103" y="259848"/>
                    <a:pt x="413921" y="260368"/>
                    <a:pt x="416587" y="261257"/>
                  </a:cubicBezTo>
                  <a:cubicBezTo>
                    <a:pt x="421030" y="260368"/>
                    <a:pt x="426713" y="261795"/>
                    <a:pt x="429917" y="258591"/>
                  </a:cubicBezTo>
                  <a:cubicBezTo>
                    <a:pt x="454232" y="234277"/>
                    <a:pt x="420329" y="248723"/>
                    <a:pt x="443246" y="237264"/>
                  </a:cubicBezTo>
                  <a:cubicBezTo>
                    <a:pt x="445759" y="236007"/>
                    <a:pt x="448578" y="235487"/>
                    <a:pt x="451244" y="234598"/>
                  </a:cubicBezTo>
                  <a:cubicBezTo>
                    <a:pt x="455687" y="235487"/>
                    <a:pt x="460639" y="235016"/>
                    <a:pt x="464573" y="237264"/>
                  </a:cubicBezTo>
                  <a:cubicBezTo>
                    <a:pt x="472117" y="241575"/>
                    <a:pt x="471950" y="259573"/>
                    <a:pt x="472571" y="263923"/>
                  </a:cubicBezTo>
                  <a:cubicBezTo>
                    <a:pt x="483370" y="261763"/>
                    <a:pt x="496514" y="257673"/>
                    <a:pt x="507228" y="263923"/>
                  </a:cubicBezTo>
                  <a:cubicBezTo>
                    <a:pt x="512763" y="267152"/>
                    <a:pt x="512160" y="277052"/>
                    <a:pt x="517891" y="279918"/>
                  </a:cubicBezTo>
                  <a:cubicBezTo>
                    <a:pt x="531421" y="286683"/>
                    <a:pt x="525248" y="283045"/>
                    <a:pt x="536552" y="290582"/>
                  </a:cubicBezTo>
                  <a:cubicBezTo>
                    <a:pt x="538329" y="293248"/>
                    <a:pt x="539382" y="296578"/>
                    <a:pt x="541884" y="298580"/>
                  </a:cubicBezTo>
                  <a:cubicBezTo>
                    <a:pt x="550003" y="305075"/>
                    <a:pt x="551651" y="300374"/>
                    <a:pt x="555214" y="293248"/>
                  </a:cubicBezTo>
                  <a:cubicBezTo>
                    <a:pt x="556471" y="290734"/>
                    <a:pt x="555893" y="287237"/>
                    <a:pt x="557880" y="285250"/>
                  </a:cubicBezTo>
                  <a:cubicBezTo>
                    <a:pt x="559867" y="283263"/>
                    <a:pt x="563421" y="283949"/>
                    <a:pt x="565877" y="282584"/>
                  </a:cubicBezTo>
                  <a:cubicBezTo>
                    <a:pt x="593377" y="267307"/>
                    <a:pt x="571775" y="275288"/>
                    <a:pt x="589870" y="269255"/>
                  </a:cubicBezTo>
                  <a:cubicBezTo>
                    <a:pt x="585947" y="249642"/>
                    <a:pt x="589717" y="259695"/>
                    <a:pt x="576541" y="239930"/>
                  </a:cubicBezTo>
                  <a:lnTo>
                    <a:pt x="571209" y="231932"/>
                  </a:lnTo>
                  <a:lnTo>
                    <a:pt x="565877" y="223935"/>
                  </a:lnTo>
                  <a:cubicBezTo>
                    <a:pt x="564357" y="219374"/>
                    <a:pt x="562308" y="210891"/>
                    <a:pt x="557880" y="207939"/>
                  </a:cubicBezTo>
                  <a:cubicBezTo>
                    <a:pt x="554831" y="205907"/>
                    <a:pt x="550771" y="206162"/>
                    <a:pt x="547216" y="205274"/>
                  </a:cubicBezTo>
                  <a:cubicBezTo>
                    <a:pt x="544550" y="203497"/>
                    <a:pt x="541220" y="202444"/>
                    <a:pt x="539218" y="199942"/>
                  </a:cubicBezTo>
                  <a:cubicBezTo>
                    <a:pt x="537031" y="197209"/>
                    <a:pt x="534020" y="179281"/>
                    <a:pt x="533887" y="178615"/>
                  </a:cubicBezTo>
                  <a:cubicBezTo>
                    <a:pt x="529279" y="179273"/>
                    <a:pt x="497351" y="183946"/>
                    <a:pt x="493898" y="183946"/>
                  </a:cubicBezTo>
                  <a:cubicBezTo>
                    <a:pt x="480539" y="183946"/>
                    <a:pt x="467239" y="182169"/>
                    <a:pt x="453910" y="181281"/>
                  </a:cubicBezTo>
                  <a:cubicBezTo>
                    <a:pt x="451244" y="179504"/>
                    <a:pt x="448840" y="177250"/>
                    <a:pt x="445912" y="175949"/>
                  </a:cubicBezTo>
                  <a:cubicBezTo>
                    <a:pt x="434506" y="170879"/>
                    <a:pt x="430111" y="171054"/>
                    <a:pt x="419253" y="167951"/>
                  </a:cubicBezTo>
                  <a:cubicBezTo>
                    <a:pt x="416551" y="167179"/>
                    <a:pt x="413922" y="166174"/>
                    <a:pt x="411256" y="165285"/>
                  </a:cubicBezTo>
                  <a:cubicBezTo>
                    <a:pt x="410455" y="164484"/>
                    <a:pt x="397307" y="152384"/>
                    <a:pt x="397926" y="149290"/>
                  </a:cubicBezTo>
                  <a:cubicBezTo>
                    <a:pt x="398554" y="146148"/>
                    <a:pt x="403463" y="146009"/>
                    <a:pt x="405924" y="143958"/>
                  </a:cubicBezTo>
                  <a:cubicBezTo>
                    <a:pt x="413622" y="137543"/>
                    <a:pt x="414011" y="135827"/>
                    <a:pt x="419253" y="127963"/>
                  </a:cubicBezTo>
                  <a:cubicBezTo>
                    <a:pt x="418364" y="124408"/>
                    <a:pt x="418619" y="120348"/>
                    <a:pt x="416587" y="117299"/>
                  </a:cubicBezTo>
                  <a:cubicBezTo>
                    <a:pt x="414810" y="114633"/>
                    <a:pt x="411456" y="113400"/>
                    <a:pt x="408590" y="111967"/>
                  </a:cubicBezTo>
                  <a:cubicBezTo>
                    <a:pt x="399388" y="107366"/>
                    <a:pt x="388467" y="108571"/>
                    <a:pt x="379265" y="103970"/>
                  </a:cubicBezTo>
                  <a:cubicBezTo>
                    <a:pt x="376399" y="102537"/>
                    <a:pt x="374195" y="99939"/>
                    <a:pt x="371267" y="98638"/>
                  </a:cubicBezTo>
                  <a:cubicBezTo>
                    <a:pt x="366131" y="96355"/>
                    <a:pt x="360604" y="95083"/>
                    <a:pt x="355272" y="93306"/>
                  </a:cubicBezTo>
                  <a:cubicBezTo>
                    <a:pt x="352606" y="92417"/>
                    <a:pt x="349612" y="92199"/>
                    <a:pt x="347274" y="90640"/>
                  </a:cubicBezTo>
                  <a:cubicBezTo>
                    <a:pt x="339243" y="85286"/>
                    <a:pt x="338083" y="84036"/>
                    <a:pt x="328613" y="79977"/>
                  </a:cubicBezTo>
                  <a:cubicBezTo>
                    <a:pt x="326030" y="78870"/>
                    <a:pt x="323281" y="78200"/>
                    <a:pt x="320615" y="77311"/>
                  </a:cubicBezTo>
                  <a:cubicBezTo>
                    <a:pt x="317949" y="74645"/>
                    <a:pt x="314449" y="72609"/>
                    <a:pt x="312618" y="69313"/>
                  </a:cubicBezTo>
                  <a:cubicBezTo>
                    <a:pt x="309889" y="64400"/>
                    <a:pt x="307286" y="53318"/>
                    <a:pt x="307286" y="53318"/>
                  </a:cubicBezTo>
                  <a:cubicBezTo>
                    <a:pt x="309952" y="52429"/>
                    <a:pt x="313297" y="52639"/>
                    <a:pt x="315284" y="50652"/>
                  </a:cubicBezTo>
                  <a:cubicBezTo>
                    <a:pt x="325608" y="40328"/>
                    <a:pt x="307448" y="35653"/>
                    <a:pt x="301954" y="31991"/>
                  </a:cubicBezTo>
                  <a:cubicBezTo>
                    <a:pt x="290184" y="24145"/>
                    <a:pt x="297102" y="27288"/>
                    <a:pt x="280627" y="23993"/>
                  </a:cubicBezTo>
                  <a:cubicBezTo>
                    <a:pt x="270605" y="13971"/>
                    <a:pt x="275736" y="14530"/>
                    <a:pt x="261966" y="18661"/>
                  </a:cubicBezTo>
                  <a:cubicBezTo>
                    <a:pt x="256583" y="20276"/>
                    <a:pt x="245971" y="23993"/>
                    <a:pt x="245971" y="23993"/>
                  </a:cubicBezTo>
                  <a:cubicBezTo>
                    <a:pt x="243305" y="21327"/>
                    <a:pt x="241110" y="18086"/>
                    <a:pt x="237973" y="15995"/>
                  </a:cubicBezTo>
                  <a:cubicBezTo>
                    <a:pt x="235635" y="14436"/>
                    <a:pt x="231962" y="15317"/>
                    <a:pt x="229975" y="13330"/>
                  </a:cubicBezTo>
                  <a:cubicBezTo>
                    <a:pt x="227988" y="11343"/>
                    <a:pt x="229064" y="7526"/>
                    <a:pt x="227309" y="5332"/>
                  </a:cubicBezTo>
                  <a:cubicBezTo>
                    <a:pt x="225308" y="2830"/>
                    <a:pt x="221978" y="1777"/>
                    <a:pt x="219312" y="0"/>
                  </a:cubicBezTo>
                  <a:cubicBezTo>
                    <a:pt x="212807" y="2168"/>
                    <a:pt x="208484" y="2830"/>
                    <a:pt x="203316" y="7998"/>
                  </a:cubicBezTo>
                  <a:cubicBezTo>
                    <a:pt x="201051" y="10263"/>
                    <a:pt x="199762" y="13329"/>
                    <a:pt x="197985" y="15995"/>
                  </a:cubicBezTo>
                  <a:cubicBezTo>
                    <a:pt x="197096" y="19550"/>
                    <a:pt x="197732" y="23902"/>
                    <a:pt x="195319" y="26659"/>
                  </a:cubicBezTo>
                  <a:cubicBezTo>
                    <a:pt x="186806" y="36388"/>
                    <a:pt x="174739" y="38851"/>
                    <a:pt x="163328" y="42654"/>
                  </a:cubicBezTo>
                  <a:lnTo>
                    <a:pt x="155330" y="45320"/>
                  </a:lnTo>
                  <a:cubicBezTo>
                    <a:pt x="152664" y="46209"/>
                    <a:pt x="149671" y="46427"/>
                    <a:pt x="147333" y="47986"/>
                  </a:cubicBezTo>
                  <a:cubicBezTo>
                    <a:pt x="136286" y="55350"/>
                    <a:pt x="142443" y="52541"/>
                    <a:pt x="128671" y="55984"/>
                  </a:cubicBezTo>
                  <a:cubicBezTo>
                    <a:pt x="110338" y="68206"/>
                    <a:pt x="118755" y="64621"/>
                    <a:pt x="104678" y="69313"/>
                  </a:cubicBezTo>
                  <a:cubicBezTo>
                    <a:pt x="99346" y="72868"/>
                    <a:pt x="94762" y="77951"/>
                    <a:pt x="88683" y="79977"/>
                  </a:cubicBezTo>
                  <a:cubicBezTo>
                    <a:pt x="79712" y="82967"/>
                    <a:pt x="79244" y="82705"/>
                    <a:pt x="70022" y="87974"/>
                  </a:cubicBezTo>
                  <a:cubicBezTo>
                    <a:pt x="67240" y="89564"/>
                    <a:pt x="64969" y="92044"/>
                    <a:pt x="62024" y="93306"/>
                  </a:cubicBezTo>
                  <a:cubicBezTo>
                    <a:pt x="55986" y="95894"/>
                    <a:pt x="49198" y="95396"/>
                    <a:pt x="43363" y="98638"/>
                  </a:cubicBezTo>
                  <a:cubicBezTo>
                    <a:pt x="15868" y="113914"/>
                    <a:pt x="37465" y="105938"/>
                    <a:pt x="19370" y="111967"/>
                  </a:cubicBezTo>
                  <a:cubicBezTo>
                    <a:pt x="16704" y="110190"/>
                    <a:pt x="14544" y="107089"/>
                    <a:pt x="11372" y="106636"/>
                  </a:cubicBezTo>
                  <a:cubicBezTo>
                    <a:pt x="7745" y="106118"/>
                    <a:pt x="2347" y="106025"/>
                    <a:pt x="709" y="109302"/>
                  </a:cubicBezTo>
                  <a:cubicBezTo>
                    <a:pt x="-2451" y="115623"/>
                    <a:pt x="5634" y="128334"/>
                    <a:pt x="11372" y="130629"/>
                  </a:cubicBezTo>
                  <a:cubicBezTo>
                    <a:pt x="17206" y="132963"/>
                    <a:pt x="23813" y="132406"/>
                    <a:pt x="30033" y="133295"/>
                  </a:cubicBezTo>
                  <a:cubicBezTo>
                    <a:pt x="32699" y="135072"/>
                    <a:pt x="35103" y="137325"/>
                    <a:pt x="38031" y="138626"/>
                  </a:cubicBezTo>
                  <a:cubicBezTo>
                    <a:pt x="55096" y="146210"/>
                    <a:pt x="51118" y="142195"/>
                    <a:pt x="67356" y="146624"/>
                  </a:cubicBezTo>
                  <a:cubicBezTo>
                    <a:pt x="72778" y="148103"/>
                    <a:pt x="77899" y="150593"/>
                    <a:pt x="83351" y="151956"/>
                  </a:cubicBezTo>
                  <a:cubicBezTo>
                    <a:pt x="96741" y="155304"/>
                    <a:pt x="90539" y="153463"/>
                    <a:pt x="102013" y="157288"/>
                  </a:cubicBezTo>
                  <a:cubicBezTo>
                    <a:pt x="103790" y="159954"/>
                    <a:pt x="106423" y="162216"/>
                    <a:pt x="107344" y="165285"/>
                  </a:cubicBezTo>
                  <a:cubicBezTo>
                    <a:pt x="109149" y="171304"/>
                    <a:pt x="107458" y="178204"/>
                    <a:pt x="110010" y="183946"/>
                  </a:cubicBezTo>
                  <a:cubicBezTo>
                    <a:pt x="111311" y="186874"/>
                    <a:pt x="115342" y="187501"/>
                    <a:pt x="118008" y="189278"/>
                  </a:cubicBezTo>
                  <a:cubicBezTo>
                    <a:pt x="117119" y="199053"/>
                    <a:pt x="120786" y="210436"/>
                    <a:pt x="115342" y="218603"/>
                  </a:cubicBezTo>
                  <a:cubicBezTo>
                    <a:pt x="111857" y="223831"/>
                    <a:pt x="101124" y="216826"/>
                    <a:pt x="96681" y="221269"/>
                  </a:cubicBezTo>
                  <a:cubicBezTo>
                    <a:pt x="93477" y="224473"/>
                    <a:pt x="96143" y="231394"/>
                    <a:pt x="99347" y="234598"/>
                  </a:cubicBezTo>
                  <a:cubicBezTo>
                    <a:pt x="102551" y="237802"/>
                    <a:pt x="108233" y="236375"/>
                    <a:pt x="112676" y="237264"/>
                  </a:cubicBezTo>
                  <a:cubicBezTo>
                    <a:pt x="107684" y="252239"/>
                    <a:pt x="108805" y="240016"/>
                    <a:pt x="120674" y="247928"/>
                  </a:cubicBezTo>
                  <a:cubicBezTo>
                    <a:pt x="123340" y="249705"/>
                    <a:pt x="124229" y="253259"/>
                    <a:pt x="126006" y="255925"/>
                  </a:cubicBezTo>
                  <a:cubicBezTo>
                    <a:pt x="126894" y="262146"/>
                    <a:pt x="122679" y="272695"/>
                    <a:pt x="128671" y="274587"/>
                  </a:cubicBezTo>
                  <a:cubicBezTo>
                    <a:pt x="160509" y="284642"/>
                    <a:pt x="167197" y="278228"/>
                    <a:pt x="184655" y="266589"/>
                  </a:cubicBezTo>
                  <a:cubicBezTo>
                    <a:pt x="186432" y="263923"/>
                    <a:pt x="187721" y="260857"/>
                    <a:pt x="189987" y="258591"/>
                  </a:cubicBezTo>
                  <a:cubicBezTo>
                    <a:pt x="196123" y="252456"/>
                    <a:pt x="200492" y="252633"/>
                    <a:pt x="208648" y="250594"/>
                  </a:cubicBezTo>
                  <a:cubicBezTo>
                    <a:pt x="211314" y="248817"/>
                    <a:pt x="213474" y="245715"/>
                    <a:pt x="216646" y="245262"/>
                  </a:cubicBezTo>
                  <a:cubicBezTo>
                    <a:pt x="225333" y="244021"/>
                    <a:pt x="238590" y="255448"/>
                    <a:pt x="243305" y="258591"/>
                  </a:cubicBezTo>
                  <a:cubicBezTo>
                    <a:pt x="254353" y="265956"/>
                    <a:pt x="248191" y="263145"/>
                    <a:pt x="261966" y="266589"/>
                  </a:cubicBezTo>
                  <a:cubicBezTo>
                    <a:pt x="279614" y="278355"/>
                    <a:pt x="293068" y="288361"/>
                    <a:pt x="301954" y="290582"/>
                  </a:cubicBezTo>
                  <a:close/>
                </a:path>
              </a:pathLst>
            </a:custGeom>
            <a:solidFill>
              <a:schemeClr val="bg1">
                <a:lumMod val="85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grpSp>
          <p:nvGrpSpPr>
            <p:cNvPr id="352" name="Group 351">
              <a:extLst>
                <a:ext uri="{FF2B5EF4-FFF2-40B4-BE49-F238E27FC236}">
                  <a16:creationId xmlns:a16="http://schemas.microsoft.com/office/drawing/2014/main" id="{E042403B-B579-4ADD-BEF7-CB691ABC32DB}"/>
                </a:ext>
              </a:extLst>
            </p:cNvPr>
            <p:cNvGrpSpPr/>
            <p:nvPr/>
          </p:nvGrpSpPr>
          <p:grpSpPr>
            <a:xfrm>
              <a:off x="11575291" y="4294820"/>
              <a:ext cx="467812" cy="634409"/>
              <a:chOff x="11575291" y="4294820"/>
              <a:chExt cx="467812" cy="634409"/>
            </a:xfrm>
            <a:solidFill>
              <a:schemeClr val="bg2">
                <a:lumMod val="90000"/>
              </a:schemeClr>
            </a:solidFill>
          </p:grpSpPr>
          <p:sp>
            <p:nvSpPr>
              <p:cNvPr id="356" name="Freeform: Shape 355">
                <a:extLst>
                  <a:ext uri="{FF2B5EF4-FFF2-40B4-BE49-F238E27FC236}">
                    <a16:creationId xmlns:a16="http://schemas.microsoft.com/office/drawing/2014/main" id="{78A692B0-A3BE-40DC-86B1-8F110841F129}"/>
                  </a:ext>
                </a:extLst>
              </p:cNvPr>
              <p:cNvSpPr/>
              <p:nvPr/>
            </p:nvSpPr>
            <p:spPr>
              <a:xfrm>
                <a:off x="11575291" y="4294820"/>
                <a:ext cx="467812" cy="586485"/>
              </a:xfrm>
              <a:custGeom>
                <a:avLst/>
                <a:gdLst>
                  <a:gd name="connsiteX0" fmla="*/ 381222 w 467812"/>
                  <a:gd name="connsiteY0" fmla="*/ 2593 h 586485"/>
                  <a:gd name="connsiteX1" fmla="*/ 415879 w 467812"/>
                  <a:gd name="connsiteY1" fmla="*/ 7925 h 586485"/>
                  <a:gd name="connsiteX2" fmla="*/ 423876 w 467812"/>
                  <a:gd name="connsiteY2" fmla="*/ 10591 h 586485"/>
                  <a:gd name="connsiteX3" fmla="*/ 439872 w 467812"/>
                  <a:gd name="connsiteY3" fmla="*/ 18589 h 586485"/>
                  <a:gd name="connsiteX4" fmla="*/ 450535 w 467812"/>
                  <a:gd name="connsiteY4" fmla="*/ 26586 h 586485"/>
                  <a:gd name="connsiteX5" fmla="*/ 461199 w 467812"/>
                  <a:gd name="connsiteY5" fmla="*/ 29252 h 586485"/>
                  <a:gd name="connsiteX6" fmla="*/ 467812 w 467812"/>
                  <a:gd name="connsiteY6" fmla="*/ 33661 h 586485"/>
                  <a:gd name="connsiteX7" fmla="*/ 467812 w 467812"/>
                  <a:gd name="connsiteY7" fmla="*/ 383633 h 586485"/>
                  <a:gd name="connsiteX8" fmla="*/ 466531 w 467812"/>
                  <a:gd name="connsiteY8" fmla="*/ 383816 h 586485"/>
                  <a:gd name="connsiteX9" fmla="*/ 458533 w 467812"/>
                  <a:gd name="connsiteY9" fmla="*/ 386481 h 586485"/>
                  <a:gd name="connsiteX10" fmla="*/ 455867 w 467812"/>
                  <a:gd name="connsiteY10" fmla="*/ 399811 h 586485"/>
                  <a:gd name="connsiteX11" fmla="*/ 453201 w 467812"/>
                  <a:gd name="connsiteY11" fmla="*/ 410474 h 586485"/>
                  <a:gd name="connsiteX12" fmla="*/ 447869 w 467812"/>
                  <a:gd name="connsiteY12" fmla="*/ 426470 h 586485"/>
                  <a:gd name="connsiteX13" fmla="*/ 434540 w 467812"/>
                  <a:gd name="connsiteY13" fmla="*/ 450463 h 586485"/>
                  <a:gd name="connsiteX14" fmla="*/ 431874 w 467812"/>
                  <a:gd name="connsiteY14" fmla="*/ 453129 h 586485"/>
                  <a:gd name="connsiteX15" fmla="*/ 434540 w 467812"/>
                  <a:gd name="connsiteY15" fmla="*/ 461126 h 586485"/>
                  <a:gd name="connsiteX16" fmla="*/ 421210 w 467812"/>
                  <a:gd name="connsiteY16" fmla="*/ 485119 h 586485"/>
                  <a:gd name="connsiteX17" fmla="*/ 426542 w 467812"/>
                  <a:gd name="connsiteY17" fmla="*/ 493117 h 586485"/>
                  <a:gd name="connsiteX18" fmla="*/ 415879 w 467812"/>
                  <a:gd name="connsiteY18" fmla="*/ 509112 h 586485"/>
                  <a:gd name="connsiteX19" fmla="*/ 413213 w 467812"/>
                  <a:gd name="connsiteY19" fmla="*/ 519776 h 586485"/>
                  <a:gd name="connsiteX20" fmla="*/ 405215 w 467812"/>
                  <a:gd name="connsiteY20" fmla="*/ 525108 h 586485"/>
                  <a:gd name="connsiteX21" fmla="*/ 397217 w 467812"/>
                  <a:gd name="connsiteY21" fmla="*/ 533105 h 586485"/>
                  <a:gd name="connsiteX22" fmla="*/ 394552 w 467812"/>
                  <a:gd name="connsiteY22" fmla="*/ 543769 h 586485"/>
                  <a:gd name="connsiteX23" fmla="*/ 391886 w 467812"/>
                  <a:gd name="connsiteY23" fmla="*/ 551767 h 586485"/>
                  <a:gd name="connsiteX24" fmla="*/ 397217 w 467812"/>
                  <a:gd name="connsiteY24" fmla="*/ 570428 h 586485"/>
                  <a:gd name="connsiteX25" fmla="*/ 386554 w 467812"/>
                  <a:gd name="connsiteY25" fmla="*/ 586423 h 586485"/>
                  <a:gd name="connsiteX26" fmla="*/ 378556 w 467812"/>
                  <a:gd name="connsiteY26" fmla="*/ 583757 h 586485"/>
                  <a:gd name="connsiteX27" fmla="*/ 370559 w 467812"/>
                  <a:gd name="connsiteY27" fmla="*/ 575760 h 586485"/>
                  <a:gd name="connsiteX28" fmla="*/ 365227 w 467812"/>
                  <a:gd name="connsiteY28" fmla="*/ 559764 h 586485"/>
                  <a:gd name="connsiteX29" fmla="*/ 357229 w 467812"/>
                  <a:gd name="connsiteY29" fmla="*/ 551767 h 586485"/>
                  <a:gd name="connsiteX30" fmla="*/ 335902 w 467812"/>
                  <a:gd name="connsiteY30" fmla="*/ 527774 h 586485"/>
                  <a:gd name="connsiteX31" fmla="*/ 327904 w 467812"/>
                  <a:gd name="connsiteY31" fmla="*/ 522442 h 586485"/>
                  <a:gd name="connsiteX32" fmla="*/ 325238 w 467812"/>
                  <a:gd name="connsiteY32" fmla="*/ 493117 h 586485"/>
                  <a:gd name="connsiteX33" fmla="*/ 301245 w 467812"/>
                  <a:gd name="connsiteY33" fmla="*/ 495783 h 586485"/>
                  <a:gd name="connsiteX34" fmla="*/ 285250 w 467812"/>
                  <a:gd name="connsiteY34" fmla="*/ 501115 h 586485"/>
                  <a:gd name="connsiteX35" fmla="*/ 269255 w 467812"/>
                  <a:gd name="connsiteY35" fmla="*/ 498449 h 586485"/>
                  <a:gd name="connsiteX36" fmla="*/ 253259 w 467812"/>
                  <a:gd name="connsiteY36" fmla="*/ 493117 h 586485"/>
                  <a:gd name="connsiteX37" fmla="*/ 245262 w 467812"/>
                  <a:gd name="connsiteY37" fmla="*/ 490451 h 586485"/>
                  <a:gd name="connsiteX38" fmla="*/ 223935 w 467812"/>
                  <a:gd name="connsiteY38" fmla="*/ 487785 h 586485"/>
                  <a:gd name="connsiteX39" fmla="*/ 215937 w 467812"/>
                  <a:gd name="connsiteY39" fmla="*/ 485119 h 586485"/>
                  <a:gd name="connsiteX40" fmla="*/ 207939 w 467812"/>
                  <a:gd name="connsiteY40" fmla="*/ 479788 h 586485"/>
                  <a:gd name="connsiteX41" fmla="*/ 186612 w 467812"/>
                  <a:gd name="connsiteY41" fmla="*/ 477122 h 586485"/>
                  <a:gd name="connsiteX42" fmla="*/ 194610 w 467812"/>
                  <a:gd name="connsiteY42" fmla="*/ 469124 h 586485"/>
                  <a:gd name="connsiteX43" fmla="*/ 210605 w 467812"/>
                  <a:gd name="connsiteY43" fmla="*/ 455795 h 586485"/>
                  <a:gd name="connsiteX44" fmla="*/ 205273 w 467812"/>
                  <a:gd name="connsiteY44" fmla="*/ 437133 h 586485"/>
                  <a:gd name="connsiteX45" fmla="*/ 197276 w 467812"/>
                  <a:gd name="connsiteY45" fmla="*/ 431802 h 586485"/>
                  <a:gd name="connsiteX46" fmla="*/ 194610 w 467812"/>
                  <a:gd name="connsiteY46" fmla="*/ 423804 h 586485"/>
                  <a:gd name="connsiteX47" fmla="*/ 146624 w 467812"/>
                  <a:gd name="connsiteY47" fmla="*/ 415806 h 586485"/>
                  <a:gd name="connsiteX48" fmla="*/ 130629 w 467812"/>
                  <a:gd name="connsiteY48" fmla="*/ 407809 h 586485"/>
                  <a:gd name="connsiteX49" fmla="*/ 114633 w 467812"/>
                  <a:gd name="connsiteY49" fmla="*/ 399811 h 586485"/>
                  <a:gd name="connsiteX50" fmla="*/ 109301 w 467812"/>
                  <a:gd name="connsiteY50" fmla="*/ 391813 h 586485"/>
                  <a:gd name="connsiteX51" fmla="*/ 103970 w 467812"/>
                  <a:gd name="connsiteY51" fmla="*/ 373152 h 586485"/>
                  <a:gd name="connsiteX52" fmla="*/ 111967 w 467812"/>
                  <a:gd name="connsiteY52" fmla="*/ 370486 h 586485"/>
                  <a:gd name="connsiteX53" fmla="*/ 109301 w 467812"/>
                  <a:gd name="connsiteY53" fmla="*/ 359823 h 586485"/>
                  <a:gd name="connsiteX54" fmla="*/ 101304 w 467812"/>
                  <a:gd name="connsiteY54" fmla="*/ 351825 h 586485"/>
                  <a:gd name="connsiteX55" fmla="*/ 93306 w 467812"/>
                  <a:gd name="connsiteY55" fmla="*/ 346493 h 586485"/>
                  <a:gd name="connsiteX56" fmla="*/ 66647 w 467812"/>
                  <a:gd name="connsiteY56" fmla="*/ 338495 h 586485"/>
                  <a:gd name="connsiteX57" fmla="*/ 58650 w 467812"/>
                  <a:gd name="connsiteY57" fmla="*/ 335830 h 586485"/>
                  <a:gd name="connsiteX58" fmla="*/ 47986 w 467812"/>
                  <a:gd name="connsiteY58" fmla="*/ 338495 h 586485"/>
                  <a:gd name="connsiteX59" fmla="*/ 39988 w 467812"/>
                  <a:gd name="connsiteY59" fmla="*/ 343827 h 586485"/>
                  <a:gd name="connsiteX60" fmla="*/ 31991 w 467812"/>
                  <a:gd name="connsiteY60" fmla="*/ 346493 h 586485"/>
                  <a:gd name="connsiteX61" fmla="*/ 39988 w 467812"/>
                  <a:gd name="connsiteY61" fmla="*/ 338495 h 586485"/>
                  <a:gd name="connsiteX62" fmla="*/ 31991 w 467812"/>
                  <a:gd name="connsiteY62" fmla="*/ 333164 h 586485"/>
                  <a:gd name="connsiteX63" fmla="*/ 10664 w 467812"/>
                  <a:gd name="connsiteY63" fmla="*/ 335830 h 586485"/>
                  <a:gd name="connsiteX64" fmla="*/ 13329 w 467812"/>
                  <a:gd name="connsiteY64" fmla="*/ 327832 h 586485"/>
                  <a:gd name="connsiteX65" fmla="*/ 0 w 467812"/>
                  <a:gd name="connsiteY65" fmla="*/ 314502 h 586485"/>
                  <a:gd name="connsiteX66" fmla="*/ 10664 w 467812"/>
                  <a:gd name="connsiteY66" fmla="*/ 301173 h 586485"/>
                  <a:gd name="connsiteX67" fmla="*/ 18661 w 467812"/>
                  <a:gd name="connsiteY67" fmla="*/ 285178 h 586485"/>
                  <a:gd name="connsiteX68" fmla="*/ 26659 w 467812"/>
                  <a:gd name="connsiteY68" fmla="*/ 282512 h 586485"/>
                  <a:gd name="connsiteX69" fmla="*/ 50652 w 467812"/>
                  <a:gd name="connsiteY69" fmla="*/ 274514 h 586485"/>
                  <a:gd name="connsiteX70" fmla="*/ 74645 w 467812"/>
                  <a:gd name="connsiteY70" fmla="*/ 277180 h 586485"/>
                  <a:gd name="connsiteX71" fmla="*/ 82643 w 467812"/>
                  <a:gd name="connsiteY71" fmla="*/ 282512 h 586485"/>
                  <a:gd name="connsiteX72" fmla="*/ 125297 w 467812"/>
                  <a:gd name="connsiteY72" fmla="*/ 279846 h 586485"/>
                  <a:gd name="connsiteX73" fmla="*/ 143958 w 467812"/>
                  <a:gd name="connsiteY73" fmla="*/ 274514 h 586485"/>
                  <a:gd name="connsiteX74" fmla="*/ 159953 w 467812"/>
                  <a:gd name="connsiteY74" fmla="*/ 271848 h 586485"/>
                  <a:gd name="connsiteX75" fmla="*/ 167951 w 467812"/>
                  <a:gd name="connsiteY75" fmla="*/ 266516 h 586485"/>
                  <a:gd name="connsiteX76" fmla="*/ 186612 w 467812"/>
                  <a:gd name="connsiteY76" fmla="*/ 274514 h 586485"/>
                  <a:gd name="connsiteX77" fmla="*/ 194610 w 467812"/>
                  <a:gd name="connsiteY77" fmla="*/ 277180 h 586485"/>
                  <a:gd name="connsiteX78" fmla="*/ 197276 w 467812"/>
                  <a:gd name="connsiteY78" fmla="*/ 258519 h 586485"/>
                  <a:gd name="connsiteX79" fmla="*/ 199942 w 467812"/>
                  <a:gd name="connsiteY79" fmla="*/ 250521 h 586485"/>
                  <a:gd name="connsiteX80" fmla="*/ 197276 w 467812"/>
                  <a:gd name="connsiteY80" fmla="*/ 229194 h 586485"/>
                  <a:gd name="connsiteX81" fmla="*/ 194610 w 467812"/>
                  <a:gd name="connsiteY81" fmla="*/ 221196 h 586485"/>
                  <a:gd name="connsiteX82" fmla="*/ 186612 w 467812"/>
                  <a:gd name="connsiteY82" fmla="*/ 215865 h 586485"/>
                  <a:gd name="connsiteX83" fmla="*/ 178615 w 467812"/>
                  <a:gd name="connsiteY83" fmla="*/ 207867 h 586485"/>
                  <a:gd name="connsiteX84" fmla="*/ 165285 w 467812"/>
                  <a:gd name="connsiteY84" fmla="*/ 210533 h 586485"/>
                  <a:gd name="connsiteX85" fmla="*/ 157287 w 467812"/>
                  <a:gd name="connsiteY85" fmla="*/ 215865 h 586485"/>
                  <a:gd name="connsiteX86" fmla="*/ 141292 w 467812"/>
                  <a:gd name="connsiteY86" fmla="*/ 205201 h 586485"/>
                  <a:gd name="connsiteX87" fmla="*/ 117299 w 467812"/>
                  <a:gd name="connsiteY87" fmla="*/ 199869 h 586485"/>
                  <a:gd name="connsiteX88" fmla="*/ 106636 w 467812"/>
                  <a:gd name="connsiteY88" fmla="*/ 181208 h 586485"/>
                  <a:gd name="connsiteX89" fmla="*/ 111967 w 467812"/>
                  <a:gd name="connsiteY89" fmla="*/ 165213 h 586485"/>
                  <a:gd name="connsiteX90" fmla="*/ 114633 w 467812"/>
                  <a:gd name="connsiteY90" fmla="*/ 157215 h 586485"/>
                  <a:gd name="connsiteX91" fmla="*/ 117299 w 467812"/>
                  <a:gd name="connsiteY91" fmla="*/ 146551 h 586485"/>
                  <a:gd name="connsiteX92" fmla="*/ 125297 w 467812"/>
                  <a:gd name="connsiteY92" fmla="*/ 141220 h 586485"/>
                  <a:gd name="connsiteX93" fmla="*/ 135960 w 467812"/>
                  <a:gd name="connsiteY93" fmla="*/ 143886 h 586485"/>
                  <a:gd name="connsiteX94" fmla="*/ 143958 w 467812"/>
                  <a:gd name="connsiteY94" fmla="*/ 146551 h 586485"/>
                  <a:gd name="connsiteX95" fmla="*/ 151956 w 467812"/>
                  <a:gd name="connsiteY95" fmla="*/ 138554 h 586485"/>
                  <a:gd name="connsiteX96" fmla="*/ 159953 w 467812"/>
                  <a:gd name="connsiteY96" fmla="*/ 133222 h 586485"/>
                  <a:gd name="connsiteX97" fmla="*/ 167951 w 467812"/>
                  <a:gd name="connsiteY97" fmla="*/ 138554 h 586485"/>
                  <a:gd name="connsiteX98" fmla="*/ 175949 w 467812"/>
                  <a:gd name="connsiteY98" fmla="*/ 146551 h 586485"/>
                  <a:gd name="connsiteX99" fmla="*/ 205273 w 467812"/>
                  <a:gd name="connsiteY99" fmla="*/ 149217 h 586485"/>
                  <a:gd name="connsiteX100" fmla="*/ 221269 w 467812"/>
                  <a:gd name="connsiteY100" fmla="*/ 157215 h 586485"/>
                  <a:gd name="connsiteX101" fmla="*/ 237264 w 467812"/>
                  <a:gd name="connsiteY101" fmla="*/ 170544 h 586485"/>
                  <a:gd name="connsiteX102" fmla="*/ 277252 w 467812"/>
                  <a:gd name="connsiteY102" fmla="*/ 175876 h 586485"/>
                  <a:gd name="connsiteX103" fmla="*/ 311909 w 467812"/>
                  <a:gd name="connsiteY103" fmla="*/ 173210 h 586485"/>
                  <a:gd name="connsiteX104" fmla="*/ 319907 w 467812"/>
                  <a:gd name="connsiteY104" fmla="*/ 167879 h 586485"/>
                  <a:gd name="connsiteX105" fmla="*/ 330570 w 467812"/>
                  <a:gd name="connsiteY105" fmla="*/ 165213 h 586485"/>
                  <a:gd name="connsiteX106" fmla="*/ 333236 w 467812"/>
                  <a:gd name="connsiteY106" fmla="*/ 157215 h 586485"/>
                  <a:gd name="connsiteX107" fmla="*/ 335902 w 467812"/>
                  <a:gd name="connsiteY107" fmla="*/ 146551 h 586485"/>
                  <a:gd name="connsiteX108" fmla="*/ 341234 w 467812"/>
                  <a:gd name="connsiteY108" fmla="*/ 138554 h 586485"/>
                  <a:gd name="connsiteX109" fmla="*/ 338568 w 467812"/>
                  <a:gd name="connsiteY109" fmla="*/ 130556 h 586485"/>
                  <a:gd name="connsiteX110" fmla="*/ 341234 w 467812"/>
                  <a:gd name="connsiteY110" fmla="*/ 111895 h 586485"/>
                  <a:gd name="connsiteX111" fmla="*/ 351897 w 467812"/>
                  <a:gd name="connsiteY111" fmla="*/ 87902 h 586485"/>
                  <a:gd name="connsiteX112" fmla="*/ 359895 w 467812"/>
                  <a:gd name="connsiteY112" fmla="*/ 82570 h 586485"/>
                  <a:gd name="connsiteX113" fmla="*/ 365227 w 467812"/>
                  <a:gd name="connsiteY113" fmla="*/ 74572 h 586485"/>
                  <a:gd name="connsiteX114" fmla="*/ 367893 w 467812"/>
                  <a:gd name="connsiteY114" fmla="*/ 55911 h 586485"/>
                  <a:gd name="connsiteX115" fmla="*/ 370559 w 467812"/>
                  <a:gd name="connsiteY115" fmla="*/ 47914 h 586485"/>
                  <a:gd name="connsiteX116" fmla="*/ 381222 w 467812"/>
                  <a:gd name="connsiteY116" fmla="*/ 2593 h 5864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467812" h="586485">
                    <a:moveTo>
                      <a:pt x="381222" y="2593"/>
                    </a:moveTo>
                    <a:cubicBezTo>
                      <a:pt x="388775" y="-4072"/>
                      <a:pt x="401188" y="3727"/>
                      <a:pt x="415879" y="7925"/>
                    </a:cubicBezTo>
                    <a:cubicBezTo>
                      <a:pt x="418581" y="8697"/>
                      <a:pt x="421363" y="9334"/>
                      <a:pt x="423876" y="10591"/>
                    </a:cubicBezTo>
                    <a:cubicBezTo>
                      <a:pt x="444545" y="20926"/>
                      <a:pt x="419772" y="11889"/>
                      <a:pt x="439872" y="18589"/>
                    </a:cubicBezTo>
                    <a:cubicBezTo>
                      <a:pt x="443426" y="21255"/>
                      <a:pt x="446561" y="24599"/>
                      <a:pt x="450535" y="26586"/>
                    </a:cubicBezTo>
                    <a:cubicBezTo>
                      <a:pt x="453812" y="28225"/>
                      <a:pt x="457831" y="27809"/>
                      <a:pt x="461199" y="29252"/>
                    </a:cubicBezTo>
                    <a:lnTo>
                      <a:pt x="467812" y="33661"/>
                    </a:lnTo>
                    <a:lnTo>
                      <a:pt x="467812" y="383633"/>
                    </a:lnTo>
                    <a:lnTo>
                      <a:pt x="466531" y="383816"/>
                    </a:lnTo>
                    <a:cubicBezTo>
                      <a:pt x="463775" y="384367"/>
                      <a:pt x="460092" y="384143"/>
                      <a:pt x="458533" y="386481"/>
                    </a:cubicBezTo>
                    <a:cubicBezTo>
                      <a:pt x="456019" y="390251"/>
                      <a:pt x="456850" y="395388"/>
                      <a:pt x="455867" y="399811"/>
                    </a:cubicBezTo>
                    <a:cubicBezTo>
                      <a:pt x="455072" y="403387"/>
                      <a:pt x="454254" y="406965"/>
                      <a:pt x="453201" y="410474"/>
                    </a:cubicBezTo>
                    <a:cubicBezTo>
                      <a:pt x="451586" y="415857"/>
                      <a:pt x="450987" y="421793"/>
                      <a:pt x="447869" y="426470"/>
                    </a:cubicBezTo>
                    <a:cubicBezTo>
                      <a:pt x="435647" y="444803"/>
                      <a:pt x="439232" y="436386"/>
                      <a:pt x="434540" y="450463"/>
                    </a:cubicBezTo>
                    <a:cubicBezTo>
                      <a:pt x="406826" y="444920"/>
                      <a:pt x="426355" y="447610"/>
                      <a:pt x="431874" y="453129"/>
                    </a:cubicBezTo>
                    <a:cubicBezTo>
                      <a:pt x="433861" y="455116"/>
                      <a:pt x="433651" y="458460"/>
                      <a:pt x="434540" y="461126"/>
                    </a:cubicBezTo>
                    <a:cubicBezTo>
                      <a:pt x="428016" y="480699"/>
                      <a:pt x="433182" y="473148"/>
                      <a:pt x="421210" y="485119"/>
                    </a:cubicBezTo>
                    <a:cubicBezTo>
                      <a:pt x="422987" y="487785"/>
                      <a:pt x="426015" y="489956"/>
                      <a:pt x="426542" y="493117"/>
                    </a:cubicBezTo>
                    <a:cubicBezTo>
                      <a:pt x="427644" y="499731"/>
                      <a:pt x="419209" y="505782"/>
                      <a:pt x="415879" y="509112"/>
                    </a:cubicBezTo>
                    <a:cubicBezTo>
                      <a:pt x="414990" y="512667"/>
                      <a:pt x="415245" y="516727"/>
                      <a:pt x="413213" y="519776"/>
                    </a:cubicBezTo>
                    <a:cubicBezTo>
                      <a:pt x="411436" y="522442"/>
                      <a:pt x="407677" y="523057"/>
                      <a:pt x="405215" y="525108"/>
                    </a:cubicBezTo>
                    <a:cubicBezTo>
                      <a:pt x="402319" y="527521"/>
                      <a:pt x="399883" y="530439"/>
                      <a:pt x="397217" y="533105"/>
                    </a:cubicBezTo>
                    <a:cubicBezTo>
                      <a:pt x="396329" y="536660"/>
                      <a:pt x="395558" y="540246"/>
                      <a:pt x="394552" y="543769"/>
                    </a:cubicBezTo>
                    <a:cubicBezTo>
                      <a:pt x="393780" y="546471"/>
                      <a:pt x="391886" y="548957"/>
                      <a:pt x="391886" y="551767"/>
                    </a:cubicBezTo>
                    <a:cubicBezTo>
                      <a:pt x="391886" y="555110"/>
                      <a:pt x="395961" y="566660"/>
                      <a:pt x="397217" y="570428"/>
                    </a:cubicBezTo>
                    <a:cubicBezTo>
                      <a:pt x="395422" y="577610"/>
                      <a:pt x="396160" y="584822"/>
                      <a:pt x="386554" y="586423"/>
                    </a:cubicBezTo>
                    <a:cubicBezTo>
                      <a:pt x="383782" y="586885"/>
                      <a:pt x="381222" y="584646"/>
                      <a:pt x="378556" y="583757"/>
                    </a:cubicBezTo>
                    <a:cubicBezTo>
                      <a:pt x="375890" y="581091"/>
                      <a:pt x="372390" y="579055"/>
                      <a:pt x="370559" y="575760"/>
                    </a:cubicBezTo>
                    <a:cubicBezTo>
                      <a:pt x="367830" y="570847"/>
                      <a:pt x="369201" y="563738"/>
                      <a:pt x="365227" y="559764"/>
                    </a:cubicBezTo>
                    <a:lnTo>
                      <a:pt x="357229" y="551767"/>
                    </a:lnTo>
                    <a:cubicBezTo>
                      <a:pt x="349517" y="532487"/>
                      <a:pt x="355879" y="541092"/>
                      <a:pt x="335902" y="527774"/>
                    </a:cubicBezTo>
                    <a:lnTo>
                      <a:pt x="327904" y="522442"/>
                    </a:lnTo>
                    <a:cubicBezTo>
                      <a:pt x="327015" y="512667"/>
                      <a:pt x="332178" y="500057"/>
                      <a:pt x="325238" y="493117"/>
                    </a:cubicBezTo>
                    <a:cubicBezTo>
                      <a:pt x="319548" y="487427"/>
                      <a:pt x="309136" y="494205"/>
                      <a:pt x="301245" y="495783"/>
                    </a:cubicBezTo>
                    <a:cubicBezTo>
                      <a:pt x="295734" y="496885"/>
                      <a:pt x="285250" y="501115"/>
                      <a:pt x="285250" y="501115"/>
                    </a:cubicBezTo>
                    <a:cubicBezTo>
                      <a:pt x="279918" y="500226"/>
                      <a:pt x="274499" y="499760"/>
                      <a:pt x="269255" y="498449"/>
                    </a:cubicBezTo>
                    <a:cubicBezTo>
                      <a:pt x="263802" y="497086"/>
                      <a:pt x="258591" y="494894"/>
                      <a:pt x="253259" y="493117"/>
                    </a:cubicBezTo>
                    <a:cubicBezTo>
                      <a:pt x="250593" y="492228"/>
                      <a:pt x="248050" y="490800"/>
                      <a:pt x="245262" y="490451"/>
                    </a:cubicBezTo>
                    <a:lnTo>
                      <a:pt x="223935" y="487785"/>
                    </a:lnTo>
                    <a:cubicBezTo>
                      <a:pt x="221269" y="486896"/>
                      <a:pt x="218451" y="486376"/>
                      <a:pt x="215937" y="485119"/>
                    </a:cubicBezTo>
                    <a:cubicBezTo>
                      <a:pt x="213071" y="483686"/>
                      <a:pt x="211030" y="480631"/>
                      <a:pt x="207939" y="479788"/>
                    </a:cubicBezTo>
                    <a:cubicBezTo>
                      <a:pt x="201027" y="477903"/>
                      <a:pt x="193721" y="478011"/>
                      <a:pt x="186612" y="477122"/>
                    </a:cubicBezTo>
                    <a:cubicBezTo>
                      <a:pt x="189278" y="474456"/>
                      <a:pt x="191714" y="471538"/>
                      <a:pt x="194610" y="469124"/>
                    </a:cubicBezTo>
                    <a:cubicBezTo>
                      <a:pt x="216879" y="450566"/>
                      <a:pt x="187242" y="479158"/>
                      <a:pt x="210605" y="455795"/>
                    </a:cubicBezTo>
                    <a:cubicBezTo>
                      <a:pt x="210431" y="455098"/>
                      <a:pt x="206664" y="438872"/>
                      <a:pt x="205273" y="437133"/>
                    </a:cubicBezTo>
                    <a:cubicBezTo>
                      <a:pt x="203272" y="434631"/>
                      <a:pt x="199942" y="433579"/>
                      <a:pt x="197276" y="431802"/>
                    </a:cubicBezTo>
                    <a:cubicBezTo>
                      <a:pt x="196387" y="429136"/>
                      <a:pt x="197168" y="424967"/>
                      <a:pt x="194610" y="423804"/>
                    </a:cubicBezTo>
                    <a:cubicBezTo>
                      <a:pt x="186944" y="420319"/>
                      <a:pt x="156374" y="417025"/>
                      <a:pt x="146624" y="415806"/>
                    </a:cubicBezTo>
                    <a:cubicBezTo>
                      <a:pt x="126520" y="409105"/>
                      <a:pt x="151301" y="418144"/>
                      <a:pt x="130629" y="407809"/>
                    </a:cubicBezTo>
                    <a:cubicBezTo>
                      <a:pt x="108558" y="396774"/>
                      <a:pt x="137549" y="415089"/>
                      <a:pt x="114633" y="399811"/>
                    </a:cubicBezTo>
                    <a:cubicBezTo>
                      <a:pt x="112856" y="397145"/>
                      <a:pt x="111567" y="394079"/>
                      <a:pt x="109301" y="391813"/>
                    </a:cubicBezTo>
                    <a:cubicBezTo>
                      <a:pt x="102364" y="384875"/>
                      <a:pt x="93846" y="388339"/>
                      <a:pt x="103970" y="373152"/>
                    </a:cubicBezTo>
                    <a:cubicBezTo>
                      <a:pt x="105529" y="370814"/>
                      <a:pt x="109301" y="371375"/>
                      <a:pt x="111967" y="370486"/>
                    </a:cubicBezTo>
                    <a:cubicBezTo>
                      <a:pt x="111078" y="366932"/>
                      <a:pt x="111119" y="363004"/>
                      <a:pt x="109301" y="359823"/>
                    </a:cubicBezTo>
                    <a:cubicBezTo>
                      <a:pt x="107431" y="356550"/>
                      <a:pt x="104200" y="354239"/>
                      <a:pt x="101304" y="351825"/>
                    </a:cubicBezTo>
                    <a:cubicBezTo>
                      <a:pt x="98843" y="349774"/>
                      <a:pt x="96234" y="347794"/>
                      <a:pt x="93306" y="346493"/>
                    </a:cubicBezTo>
                    <a:cubicBezTo>
                      <a:pt x="81906" y="341426"/>
                      <a:pt x="77502" y="341596"/>
                      <a:pt x="66647" y="338495"/>
                    </a:cubicBezTo>
                    <a:cubicBezTo>
                      <a:pt x="63945" y="337723"/>
                      <a:pt x="61316" y="336718"/>
                      <a:pt x="58650" y="335830"/>
                    </a:cubicBezTo>
                    <a:cubicBezTo>
                      <a:pt x="55095" y="336718"/>
                      <a:pt x="51354" y="337052"/>
                      <a:pt x="47986" y="338495"/>
                    </a:cubicBezTo>
                    <a:cubicBezTo>
                      <a:pt x="45041" y="339757"/>
                      <a:pt x="42854" y="342394"/>
                      <a:pt x="39988" y="343827"/>
                    </a:cubicBezTo>
                    <a:cubicBezTo>
                      <a:pt x="37475" y="345084"/>
                      <a:pt x="34657" y="345604"/>
                      <a:pt x="31991" y="346493"/>
                    </a:cubicBezTo>
                    <a:cubicBezTo>
                      <a:pt x="34657" y="343827"/>
                      <a:pt x="39988" y="342265"/>
                      <a:pt x="39988" y="338495"/>
                    </a:cubicBezTo>
                    <a:cubicBezTo>
                      <a:pt x="39988" y="335291"/>
                      <a:pt x="35182" y="333454"/>
                      <a:pt x="31991" y="333164"/>
                    </a:cubicBezTo>
                    <a:cubicBezTo>
                      <a:pt x="24856" y="332516"/>
                      <a:pt x="17773" y="334941"/>
                      <a:pt x="10664" y="335830"/>
                    </a:cubicBezTo>
                    <a:cubicBezTo>
                      <a:pt x="11552" y="333164"/>
                      <a:pt x="13791" y="330604"/>
                      <a:pt x="13329" y="327832"/>
                    </a:cubicBezTo>
                    <a:cubicBezTo>
                      <a:pt x="12218" y="321166"/>
                      <a:pt x="4666" y="317613"/>
                      <a:pt x="0" y="314502"/>
                    </a:cubicBezTo>
                    <a:cubicBezTo>
                      <a:pt x="6702" y="294398"/>
                      <a:pt x="-3119" y="318403"/>
                      <a:pt x="10664" y="301173"/>
                    </a:cubicBezTo>
                    <a:cubicBezTo>
                      <a:pt x="19250" y="290439"/>
                      <a:pt x="6174" y="295167"/>
                      <a:pt x="18661" y="285178"/>
                    </a:cubicBezTo>
                    <a:cubicBezTo>
                      <a:pt x="20855" y="283423"/>
                      <a:pt x="24145" y="283769"/>
                      <a:pt x="26659" y="282512"/>
                    </a:cubicBezTo>
                    <a:cubicBezTo>
                      <a:pt x="45402" y="273140"/>
                      <a:pt x="20957" y="279464"/>
                      <a:pt x="50652" y="274514"/>
                    </a:cubicBezTo>
                    <a:cubicBezTo>
                      <a:pt x="58650" y="275403"/>
                      <a:pt x="66838" y="275228"/>
                      <a:pt x="74645" y="277180"/>
                    </a:cubicBezTo>
                    <a:cubicBezTo>
                      <a:pt x="77753" y="277957"/>
                      <a:pt x="79443" y="282344"/>
                      <a:pt x="82643" y="282512"/>
                    </a:cubicBezTo>
                    <a:lnTo>
                      <a:pt x="125297" y="279846"/>
                    </a:lnTo>
                    <a:cubicBezTo>
                      <a:pt x="132921" y="277304"/>
                      <a:pt x="135587" y="276188"/>
                      <a:pt x="143958" y="274514"/>
                    </a:cubicBezTo>
                    <a:cubicBezTo>
                      <a:pt x="149258" y="273454"/>
                      <a:pt x="154621" y="272737"/>
                      <a:pt x="159953" y="271848"/>
                    </a:cubicBezTo>
                    <a:cubicBezTo>
                      <a:pt x="162619" y="270071"/>
                      <a:pt x="164779" y="266969"/>
                      <a:pt x="167951" y="266516"/>
                    </a:cubicBezTo>
                    <a:cubicBezTo>
                      <a:pt x="176583" y="265283"/>
                      <a:pt x="180061" y="271238"/>
                      <a:pt x="186612" y="274514"/>
                    </a:cubicBezTo>
                    <a:cubicBezTo>
                      <a:pt x="189125" y="275771"/>
                      <a:pt x="191944" y="276291"/>
                      <a:pt x="194610" y="277180"/>
                    </a:cubicBezTo>
                    <a:cubicBezTo>
                      <a:pt x="195499" y="270960"/>
                      <a:pt x="196044" y="264680"/>
                      <a:pt x="197276" y="258519"/>
                    </a:cubicBezTo>
                    <a:cubicBezTo>
                      <a:pt x="197827" y="255763"/>
                      <a:pt x="199942" y="253331"/>
                      <a:pt x="199942" y="250521"/>
                    </a:cubicBezTo>
                    <a:cubicBezTo>
                      <a:pt x="199942" y="243357"/>
                      <a:pt x="198558" y="236243"/>
                      <a:pt x="197276" y="229194"/>
                    </a:cubicBezTo>
                    <a:cubicBezTo>
                      <a:pt x="196773" y="226429"/>
                      <a:pt x="196366" y="223390"/>
                      <a:pt x="194610" y="221196"/>
                    </a:cubicBezTo>
                    <a:cubicBezTo>
                      <a:pt x="192608" y="218694"/>
                      <a:pt x="189073" y="217916"/>
                      <a:pt x="186612" y="215865"/>
                    </a:cubicBezTo>
                    <a:cubicBezTo>
                      <a:pt x="183716" y="213451"/>
                      <a:pt x="181281" y="210533"/>
                      <a:pt x="178615" y="207867"/>
                    </a:cubicBezTo>
                    <a:cubicBezTo>
                      <a:pt x="174172" y="208756"/>
                      <a:pt x="169528" y="208942"/>
                      <a:pt x="165285" y="210533"/>
                    </a:cubicBezTo>
                    <a:cubicBezTo>
                      <a:pt x="162285" y="211658"/>
                      <a:pt x="160415" y="216560"/>
                      <a:pt x="157287" y="215865"/>
                    </a:cubicBezTo>
                    <a:cubicBezTo>
                      <a:pt x="151032" y="214475"/>
                      <a:pt x="147613" y="206255"/>
                      <a:pt x="141292" y="205201"/>
                    </a:cubicBezTo>
                    <a:cubicBezTo>
                      <a:pt x="122525" y="202073"/>
                      <a:pt x="130425" y="204244"/>
                      <a:pt x="117299" y="199869"/>
                    </a:cubicBezTo>
                    <a:cubicBezTo>
                      <a:pt x="115088" y="196921"/>
                      <a:pt x="105979" y="187120"/>
                      <a:pt x="106636" y="181208"/>
                    </a:cubicBezTo>
                    <a:cubicBezTo>
                      <a:pt x="107257" y="175622"/>
                      <a:pt x="110190" y="170545"/>
                      <a:pt x="111967" y="165213"/>
                    </a:cubicBezTo>
                    <a:cubicBezTo>
                      <a:pt x="112856" y="162547"/>
                      <a:pt x="113951" y="159941"/>
                      <a:pt x="114633" y="157215"/>
                    </a:cubicBezTo>
                    <a:cubicBezTo>
                      <a:pt x="115522" y="153660"/>
                      <a:pt x="115266" y="149600"/>
                      <a:pt x="117299" y="146551"/>
                    </a:cubicBezTo>
                    <a:cubicBezTo>
                      <a:pt x="119076" y="143885"/>
                      <a:pt x="122631" y="142997"/>
                      <a:pt x="125297" y="141220"/>
                    </a:cubicBezTo>
                    <a:cubicBezTo>
                      <a:pt x="128851" y="142109"/>
                      <a:pt x="132437" y="142880"/>
                      <a:pt x="135960" y="143886"/>
                    </a:cubicBezTo>
                    <a:cubicBezTo>
                      <a:pt x="138662" y="144658"/>
                      <a:pt x="141292" y="147440"/>
                      <a:pt x="143958" y="146551"/>
                    </a:cubicBezTo>
                    <a:cubicBezTo>
                      <a:pt x="147535" y="145359"/>
                      <a:pt x="149060" y="140968"/>
                      <a:pt x="151956" y="138554"/>
                    </a:cubicBezTo>
                    <a:cubicBezTo>
                      <a:pt x="154417" y="136503"/>
                      <a:pt x="157287" y="134999"/>
                      <a:pt x="159953" y="133222"/>
                    </a:cubicBezTo>
                    <a:cubicBezTo>
                      <a:pt x="162619" y="134999"/>
                      <a:pt x="165489" y="136503"/>
                      <a:pt x="167951" y="138554"/>
                    </a:cubicBezTo>
                    <a:cubicBezTo>
                      <a:pt x="170847" y="140967"/>
                      <a:pt x="172324" y="145515"/>
                      <a:pt x="175949" y="146551"/>
                    </a:cubicBezTo>
                    <a:cubicBezTo>
                      <a:pt x="185386" y="149247"/>
                      <a:pt x="195498" y="148328"/>
                      <a:pt x="205273" y="149217"/>
                    </a:cubicBezTo>
                    <a:cubicBezTo>
                      <a:pt x="213288" y="151889"/>
                      <a:pt x="214379" y="151473"/>
                      <a:pt x="221269" y="157215"/>
                    </a:cubicBezTo>
                    <a:cubicBezTo>
                      <a:pt x="230117" y="164588"/>
                      <a:pt x="227331" y="165578"/>
                      <a:pt x="237264" y="170544"/>
                    </a:cubicBezTo>
                    <a:cubicBezTo>
                      <a:pt x="248155" y="175989"/>
                      <a:pt x="270098" y="175280"/>
                      <a:pt x="277252" y="175876"/>
                    </a:cubicBezTo>
                    <a:cubicBezTo>
                      <a:pt x="288804" y="174987"/>
                      <a:pt x="300521" y="175345"/>
                      <a:pt x="311909" y="173210"/>
                    </a:cubicBezTo>
                    <a:cubicBezTo>
                      <a:pt x="315058" y="172620"/>
                      <a:pt x="316962" y="169141"/>
                      <a:pt x="319907" y="167879"/>
                    </a:cubicBezTo>
                    <a:cubicBezTo>
                      <a:pt x="323275" y="166436"/>
                      <a:pt x="327016" y="166102"/>
                      <a:pt x="330570" y="165213"/>
                    </a:cubicBezTo>
                    <a:cubicBezTo>
                      <a:pt x="331459" y="162547"/>
                      <a:pt x="332464" y="159917"/>
                      <a:pt x="333236" y="157215"/>
                    </a:cubicBezTo>
                    <a:cubicBezTo>
                      <a:pt x="334243" y="153692"/>
                      <a:pt x="334459" y="149919"/>
                      <a:pt x="335902" y="146551"/>
                    </a:cubicBezTo>
                    <a:cubicBezTo>
                      <a:pt x="337164" y="143606"/>
                      <a:pt x="339457" y="141220"/>
                      <a:pt x="341234" y="138554"/>
                    </a:cubicBezTo>
                    <a:cubicBezTo>
                      <a:pt x="340345" y="135888"/>
                      <a:pt x="338568" y="133366"/>
                      <a:pt x="338568" y="130556"/>
                    </a:cubicBezTo>
                    <a:cubicBezTo>
                      <a:pt x="338568" y="124273"/>
                      <a:pt x="339821" y="118018"/>
                      <a:pt x="341234" y="111895"/>
                    </a:cubicBezTo>
                    <a:cubicBezTo>
                      <a:pt x="342817" y="105036"/>
                      <a:pt x="346164" y="93636"/>
                      <a:pt x="351897" y="87902"/>
                    </a:cubicBezTo>
                    <a:cubicBezTo>
                      <a:pt x="354163" y="85636"/>
                      <a:pt x="357229" y="84347"/>
                      <a:pt x="359895" y="82570"/>
                    </a:cubicBezTo>
                    <a:cubicBezTo>
                      <a:pt x="361672" y="79904"/>
                      <a:pt x="364306" y="77641"/>
                      <a:pt x="365227" y="74572"/>
                    </a:cubicBezTo>
                    <a:cubicBezTo>
                      <a:pt x="367033" y="68554"/>
                      <a:pt x="366661" y="62072"/>
                      <a:pt x="367893" y="55911"/>
                    </a:cubicBezTo>
                    <a:cubicBezTo>
                      <a:pt x="368444" y="53156"/>
                      <a:pt x="369670" y="50580"/>
                      <a:pt x="370559" y="47914"/>
                    </a:cubicBezTo>
                    <a:cubicBezTo>
                      <a:pt x="367599" y="21271"/>
                      <a:pt x="373669" y="9258"/>
                      <a:pt x="381222" y="2593"/>
                    </a:cubicBezTo>
                    <a:close/>
                  </a:path>
                </a:pathLst>
              </a:custGeom>
              <a:solidFill>
                <a:schemeClr val="bg1">
                  <a:lumMod val="85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57" name="Freeform: Shape 356">
                <a:extLst>
                  <a:ext uri="{FF2B5EF4-FFF2-40B4-BE49-F238E27FC236}">
                    <a16:creationId xmlns:a16="http://schemas.microsoft.com/office/drawing/2014/main" id="{38D3B637-120F-46D6-BFD7-EB993EC5290F}"/>
                  </a:ext>
                </a:extLst>
              </p:cNvPr>
              <p:cNvSpPr/>
              <p:nvPr/>
            </p:nvSpPr>
            <p:spPr>
              <a:xfrm>
                <a:off x="11692487" y="4856931"/>
                <a:ext cx="211275" cy="72298"/>
              </a:xfrm>
              <a:custGeom>
                <a:avLst/>
                <a:gdLst>
                  <a:gd name="connsiteX0" fmla="*/ 2769 w 211275"/>
                  <a:gd name="connsiteY0" fmla="*/ 42973 h 72298"/>
                  <a:gd name="connsiteX1" fmla="*/ 32094 w 211275"/>
                  <a:gd name="connsiteY1" fmla="*/ 45639 h 72298"/>
                  <a:gd name="connsiteX2" fmla="*/ 40091 w 211275"/>
                  <a:gd name="connsiteY2" fmla="*/ 50971 h 72298"/>
                  <a:gd name="connsiteX3" fmla="*/ 50755 w 211275"/>
                  <a:gd name="connsiteY3" fmla="*/ 53637 h 72298"/>
                  <a:gd name="connsiteX4" fmla="*/ 58753 w 211275"/>
                  <a:gd name="connsiteY4" fmla="*/ 56303 h 72298"/>
                  <a:gd name="connsiteX5" fmla="*/ 85412 w 211275"/>
                  <a:gd name="connsiteY5" fmla="*/ 72298 h 72298"/>
                  <a:gd name="connsiteX6" fmla="*/ 160056 w 211275"/>
                  <a:gd name="connsiteY6" fmla="*/ 72298 h 72298"/>
                  <a:gd name="connsiteX7" fmla="*/ 200045 w 211275"/>
                  <a:gd name="connsiteY7" fmla="*/ 66966 h 72298"/>
                  <a:gd name="connsiteX8" fmla="*/ 210708 w 211275"/>
                  <a:gd name="connsiteY8" fmla="*/ 53637 h 72298"/>
                  <a:gd name="connsiteX9" fmla="*/ 202711 w 211275"/>
                  <a:gd name="connsiteY9" fmla="*/ 50971 h 72298"/>
                  <a:gd name="connsiteX10" fmla="*/ 178718 w 211275"/>
                  <a:gd name="connsiteY10" fmla="*/ 32310 h 72298"/>
                  <a:gd name="connsiteX11" fmla="*/ 154725 w 211275"/>
                  <a:gd name="connsiteY11" fmla="*/ 21646 h 72298"/>
                  <a:gd name="connsiteX12" fmla="*/ 136063 w 211275"/>
                  <a:gd name="connsiteY12" fmla="*/ 18980 h 72298"/>
                  <a:gd name="connsiteX13" fmla="*/ 128066 w 211275"/>
                  <a:gd name="connsiteY13" fmla="*/ 319 h 72298"/>
                  <a:gd name="connsiteX14" fmla="*/ 112070 w 211275"/>
                  <a:gd name="connsiteY14" fmla="*/ 2985 h 72298"/>
                  <a:gd name="connsiteX15" fmla="*/ 104073 w 211275"/>
                  <a:gd name="connsiteY15" fmla="*/ 8317 h 72298"/>
                  <a:gd name="connsiteX16" fmla="*/ 101407 w 211275"/>
                  <a:gd name="connsiteY16" fmla="*/ 16314 h 72298"/>
                  <a:gd name="connsiteX17" fmla="*/ 80080 w 211275"/>
                  <a:gd name="connsiteY17" fmla="*/ 21646 h 72298"/>
                  <a:gd name="connsiteX18" fmla="*/ 61419 w 211275"/>
                  <a:gd name="connsiteY18" fmla="*/ 16314 h 72298"/>
                  <a:gd name="connsiteX19" fmla="*/ 32094 w 211275"/>
                  <a:gd name="connsiteY19" fmla="*/ 13649 h 72298"/>
                  <a:gd name="connsiteX20" fmla="*/ 5435 w 211275"/>
                  <a:gd name="connsiteY20" fmla="*/ 8317 h 72298"/>
                  <a:gd name="connsiteX21" fmla="*/ 2769 w 211275"/>
                  <a:gd name="connsiteY21" fmla="*/ 26978 h 72298"/>
                  <a:gd name="connsiteX22" fmla="*/ 2769 w 211275"/>
                  <a:gd name="connsiteY22" fmla="*/ 42973 h 72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11275" h="72298">
                    <a:moveTo>
                      <a:pt x="2769" y="42973"/>
                    </a:moveTo>
                    <a:cubicBezTo>
                      <a:pt x="7657" y="46083"/>
                      <a:pt x="22497" y="43582"/>
                      <a:pt x="32094" y="45639"/>
                    </a:cubicBezTo>
                    <a:cubicBezTo>
                      <a:pt x="35227" y="46310"/>
                      <a:pt x="37146" y="49709"/>
                      <a:pt x="40091" y="50971"/>
                    </a:cubicBezTo>
                    <a:cubicBezTo>
                      <a:pt x="43459" y="52414"/>
                      <a:pt x="47232" y="52630"/>
                      <a:pt x="50755" y="53637"/>
                    </a:cubicBezTo>
                    <a:cubicBezTo>
                      <a:pt x="53457" y="54409"/>
                      <a:pt x="56087" y="55414"/>
                      <a:pt x="58753" y="56303"/>
                    </a:cubicBezTo>
                    <a:cubicBezTo>
                      <a:pt x="78055" y="69170"/>
                      <a:pt x="69017" y="64100"/>
                      <a:pt x="85412" y="72298"/>
                    </a:cubicBezTo>
                    <a:cubicBezTo>
                      <a:pt x="139440" y="66295"/>
                      <a:pt x="73570" y="72298"/>
                      <a:pt x="160056" y="72298"/>
                    </a:cubicBezTo>
                    <a:cubicBezTo>
                      <a:pt x="169844" y="72298"/>
                      <a:pt x="189263" y="68763"/>
                      <a:pt x="200045" y="66966"/>
                    </a:cubicBezTo>
                    <a:cubicBezTo>
                      <a:pt x="202517" y="65318"/>
                      <a:pt x="213927" y="60076"/>
                      <a:pt x="210708" y="53637"/>
                    </a:cubicBezTo>
                    <a:cubicBezTo>
                      <a:pt x="209452" y="51124"/>
                      <a:pt x="205377" y="51860"/>
                      <a:pt x="202711" y="50971"/>
                    </a:cubicBezTo>
                    <a:cubicBezTo>
                      <a:pt x="190182" y="38442"/>
                      <a:pt x="197851" y="45065"/>
                      <a:pt x="178718" y="32310"/>
                    </a:cubicBezTo>
                    <a:cubicBezTo>
                      <a:pt x="169990" y="26492"/>
                      <a:pt x="166838" y="23376"/>
                      <a:pt x="154725" y="21646"/>
                    </a:cubicBezTo>
                    <a:lnTo>
                      <a:pt x="136063" y="18980"/>
                    </a:lnTo>
                    <a:cubicBezTo>
                      <a:pt x="135427" y="16435"/>
                      <a:pt x="132976" y="1547"/>
                      <a:pt x="128066" y="319"/>
                    </a:cubicBezTo>
                    <a:cubicBezTo>
                      <a:pt x="122822" y="-992"/>
                      <a:pt x="117402" y="2096"/>
                      <a:pt x="112070" y="2985"/>
                    </a:cubicBezTo>
                    <a:cubicBezTo>
                      <a:pt x="109404" y="4762"/>
                      <a:pt x="106074" y="5815"/>
                      <a:pt x="104073" y="8317"/>
                    </a:cubicBezTo>
                    <a:cubicBezTo>
                      <a:pt x="102318" y="10511"/>
                      <a:pt x="103863" y="14949"/>
                      <a:pt x="101407" y="16314"/>
                    </a:cubicBezTo>
                    <a:cubicBezTo>
                      <a:pt x="95001" y="19873"/>
                      <a:pt x="80080" y="21646"/>
                      <a:pt x="80080" y="21646"/>
                    </a:cubicBezTo>
                    <a:cubicBezTo>
                      <a:pt x="74599" y="19819"/>
                      <a:pt x="66996" y="17057"/>
                      <a:pt x="61419" y="16314"/>
                    </a:cubicBezTo>
                    <a:cubicBezTo>
                      <a:pt x="51690" y="15017"/>
                      <a:pt x="41869" y="14537"/>
                      <a:pt x="32094" y="13649"/>
                    </a:cubicBezTo>
                    <a:cubicBezTo>
                      <a:pt x="26293" y="4947"/>
                      <a:pt x="22105" y="-6501"/>
                      <a:pt x="5435" y="8317"/>
                    </a:cubicBezTo>
                    <a:cubicBezTo>
                      <a:pt x="739" y="12492"/>
                      <a:pt x="4575" y="20960"/>
                      <a:pt x="2769" y="26978"/>
                    </a:cubicBezTo>
                    <a:cubicBezTo>
                      <a:pt x="498" y="34548"/>
                      <a:pt x="-2119" y="39863"/>
                      <a:pt x="2769" y="42973"/>
                    </a:cubicBezTo>
                    <a:close/>
                  </a:path>
                </a:pathLst>
              </a:custGeom>
              <a:grp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353" name="Group 352">
              <a:extLst>
                <a:ext uri="{FF2B5EF4-FFF2-40B4-BE49-F238E27FC236}">
                  <a16:creationId xmlns:a16="http://schemas.microsoft.com/office/drawing/2014/main" id="{1169113B-1752-4B11-AFAD-2E7419A00AF3}"/>
                </a:ext>
              </a:extLst>
            </p:cNvPr>
            <p:cNvGrpSpPr/>
            <p:nvPr/>
          </p:nvGrpSpPr>
          <p:grpSpPr>
            <a:xfrm>
              <a:off x="11099308" y="1478793"/>
              <a:ext cx="937666" cy="2326292"/>
              <a:chOff x="11099308" y="1478793"/>
              <a:chExt cx="937666" cy="2326292"/>
            </a:xfrm>
          </p:grpSpPr>
          <p:sp>
            <p:nvSpPr>
              <p:cNvPr id="354" name="Freeform: Shape 353">
                <a:extLst>
                  <a:ext uri="{FF2B5EF4-FFF2-40B4-BE49-F238E27FC236}">
                    <a16:creationId xmlns:a16="http://schemas.microsoft.com/office/drawing/2014/main" id="{50DCFA45-828F-48BA-8BCC-56D647CE84FC}"/>
                  </a:ext>
                </a:extLst>
              </p:cNvPr>
              <p:cNvSpPr/>
              <p:nvPr/>
            </p:nvSpPr>
            <p:spPr>
              <a:xfrm>
                <a:off x="11099308" y="2209782"/>
                <a:ext cx="937666" cy="1595303"/>
              </a:xfrm>
              <a:custGeom>
                <a:avLst/>
                <a:gdLst>
                  <a:gd name="connsiteX0" fmla="*/ 903421 w 937666"/>
                  <a:gd name="connsiteY0" fmla="*/ 1511729 h 1595303"/>
                  <a:gd name="connsiteX1" fmla="*/ 910795 w 937666"/>
                  <a:gd name="connsiteY1" fmla="*/ 1514187 h 1595303"/>
                  <a:gd name="connsiteX2" fmla="*/ 935376 w 937666"/>
                  <a:gd name="connsiteY2" fmla="*/ 1516645 h 1595303"/>
                  <a:gd name="connsiteX3" fmla="*/ 937666 w 937666"/>
                  <a:gd name="connsiteY3" fmla="*/ 1513210 h 1595303"/>
                  <a:gd name="connsiteX4" fmla="*/ 937666 w 937666"/>
                  <a:gd name="connsiteY4" fmla="*/ 1586998 h 1595303"/>
                  <a:gd name="connsiteX5" fmla="*/ 935376 w 937666"/>
                  <a:gd name="connsiteY5" fmla="*/ 1585471 h 1595303"/>
                  <a:gd name="connsiteX6" fmla="*/ 928002 w 937666"/>
                  <a:gd name="connsiteY6" fmla="*/ 1583013 h 1595303"/>
                  <a:gd name="connsiteX7" fmla="*/ 920627 w 937666"/>
                  <a:gd name="connsiteY7" fmla="*/ 1585471 h 1595303"/>
                  <a:gd name="connsiteX8" fmla="*/ 888673 w 937666"/>
                  <a:gd name="connsiteY8" fmla="*/ 1592845 h 1595303"/>
                  <a:gd name="connsiteX9" fmla="*/ 849344 w 937666"/>
                  <a:gd name="connsiteY9" fmla="*/ 1595303 h 1595303"/>
                  <a:gd name="connsiteX10" fmla="*/ 841969 w 937666"/>
                  <a:gd name="connsiteY10" fmla="*/ 1592845 h 1595303"/>
                  <a:gd name="connsiteX11" fmla="*/ 839511 w 937666"/>
                  <a:gd name="connsiteY11" fmla="*/ 1583013 h 1595303"/>
                  <a:gd name="connsiteX12" fmla="*/ 827221 w 937666"/>
                  <a:gd name="connsiteY12" fmla="*/ 1560890 h 1595303"/>
                  <a:gd name="connsiteX13" fmla="*/ 824763 w 937666"/>
                  <a:gd name="connsiteY13" fmla="*/ 1546142 h 1595303"/>
                  <a:gd name="connsiteX14" fmla="*/ 837053 w 937666"/>
                  <a:gd name="connsiteY14" fmla="*/ 1543684 h 1595303"/>
                  <a:gd name="connsiteX15" fmla="*/ 841969 w 937666"/>
                  <a:gd name="connsiteY15" fmla="*/ 1538767 h 1595303"/>
                  <a:gd name="connsiteX16" fmla="*/ 856718 w 937666"/>
                  <a:gd name="connsiteY16" fmla="*/ 1526477 h 1595303"/>
                  <a:gd name="connsiteX17" fmla="*/ 871466 w 937666"/>
                  <a:gd name="connsiteY17" fmla="*/ 1514187 h 1595303"/>
                  <a:gd name="connsiteX18" fmla="*/ 903421 w 937666"/>
                  <a:gd name="connsiteY18" fmla="*/ 1511729 h 1595303"/>
                  <a:gd name="connsiteX19" fmla="*/ 937666 w 937666"/>
                  <a:gd name="connsiteY19" fmla="*/ 1307002 h 1595303"/>
                  <a:gd name="connsiteX20" fmla="*/ 937666 w 937666"/>
                  <a:gd name="connsiteY20" fmla="*/ 1472358 h 1595303"/>
                  <a:gd name="connsiteX21" fmla="*/ 918169 w 937666"/>
                  <a:gd name="connsiteY21" fmla="*/ 1467484 h 1595303"/>
                  <a:gd name="connsiteX22" fmla="*/ 910795 w 937666"/>
                  <a:gd name="connsiteY22" fmla="*/ 1462567 h 1595303"/>
                  <a:gd name="connsiteX23" fmla="*/ 896047 w 937666"/>
                  <a:gd name="connsiteY23" fmla="*/ 1457651 h 1595303"/>
                  <a:gd name="connsiteX24" fmla="*/ 873924 w 937666"/>
                  <a:gd name="connsiteY24" fmla="*/ 1445361 h 1595303"/>
                  <a:gd name="connsiteX25" fmla="*/ 886215 w 937666"/>
                  <a:gd name="connsiteY25" fmla="*/ 1433071 h 1595303"/>
                  <a:gd name="connsiteX26" fmla="*/ 896047 w 937666"/>
                  <a:gd name="connsiteY26" fmla="*/ 1428154 h 1595303"/>
                  <a:gd name="connsiteX27" fmla="*/ 903421 w 937666"/>
                  <a:gd name="connsiteY27" fmla="*/ 1423238 h 1595303"/>
                  <a:gd name="connsiteX28" fmla="*/ 898505 w 937666"/>
                  <a:gd name="connsiteY28" fmla="*/ 1408490 h 1595303"/>
                  <a:gd name="connsiteX29" fmla="*/ 891131 w 937666"/>
                  <a:gd name="connsiteY29" fmla="*/ 1406032 h 1595303"/>
                  <a:gd name="connsiteX30" fmla="*/ 888673 w 937666"/>
                  <a:gd name="connsiteY30" fmla="*/ 1386367 h 1595303"/>
                  <a:gd name="connsiteX31" fmla="*/ 891131 w 937666"/>
                  <a:gd name="connsiteY31" fmla="*/ 1369161 h 1595303"/>
                  <a:gd name="connsiteX32" fmla="*/ 886215 w 937666"/>
                  <a:gd name="connsiteY32" fmla="*/ 1361787 h 1595303"/>
                  <a:gd name="connsiteX33" fmla="*/ 883757 w 937666"/>
                  <a:gd name="connsiteY33" fmla="*/ 1354413 h 1595303"/>
                  <a:gd name="connsiteX34" fmla="*/ 905879 w 937666"/>
                  <a:gd name="connsiteY34" fmla="*/ 1342122 h 1595303"/>
                  <a:gd name="connsiteX35" fmla="*/ 908337 w 937666"/>
                  <a:gd name="connsiteY35" fmla="*/ 1332290 h 1595303"/>
                  <a:gd name="connsiteX36" fmla="*/ 915711 w 937666"/>
                  <a:gd name="connsiteY36" fmla="*/ 1315084 h 1595303"/>
                  <a:gd name="connsiteX37" fmla="*/ 923086 w 937666"/>
                  <a:gd name="connsiteY37" fmla="*/ 1312625 h 1595303"/>
                  <a:gd name="connsiteX38" fmla="*/ 932918 w 937666"/>
                  <a:gd name="connsiteY38" fmla="*/ 1310167 h 1595303"/>
                  <a:gd name="connsiteX39" fmla="*/ 184685 w 937666"/>
                  <a:gd name="connsiteY39" fmla="*/ 1220990 h 1595303"/>
                  <a:gd name="connsiteX40" fmla="*/ 188950 w 937666"/>
                  <a:gd name="connsiteY40" fmla="*/ 1226937 h 1595303"/>
                  <a:gd name="connsiteX41" fmla="*/ 189571 w 937666"/>
                  <a:gd name="connsiteY41" fmla="*/ 1233967 h 1595303"/>
                  <a:gd name="connsiteX42" fmla="*/ 172844 w 937666"/>
                  <a:gd name="connsiteY42" fmla="*/ 1236755 h 1595303"/>
                  <a:gd name="connsiteX43" fmla="*/ 158905 w 937666"/>
                  <a:gd name="connsiteY43" fmla="*/ 1233967 h 1595303"/>
                  <a:gd name="connsiteX44" fmla="*/ 172844 w 937666"/>
                  <a:gd name="connsiteY44" fmla="*/ 1228391 h 1595303"/>
                  <a:gd name="connsiteX45" fmla="*/ 351194 w 937666"/>
                  <a:gd name="connsiteY45" fmla="*/ 279789 h 1595303"/>
                  <a:gd name="connsiteX46" fmla="*/ 362414 w 937666"/>
                  <a:gd name="connsiteY46" fmla="*/ 280537 h 1595303"/>
                  <a:gd name="connsiteX47" fmla="*/ 381929 w 937666"/>
                  <a:gd name="connsiteY47" fmla="*/ 291689 h 1595303"/>
                  <a:gd name="connsiteX48" fmla="*/ 359627 w 937666"/>
                  <a:gd name="connsiteY48" fmla="*/ 286113 h 1595303"/>
                  <a:gd name="connsiteX49" fmla="*/ 340112 w 937666"/>
                  <a:gd name="connsiteY49" fmla="*/ 272174 h 1595303"/>
                  <a:gd name="connsiteX50" fmla="*/ 348475 w 937666"/>
                  <a:gd name="connsiteY50" fmla="*/ 277750 h 1595303"/>
                  <a:gd name="connsiteX51" fmla="*/ 351194 w 937666"/>
                  <a:gd name="connsiteY51" fmla="*/ 279789 h 1595303"/>
                  <a:gd name="connsiteX52" fmla="*/ 350175 w 937666"/>
                  <a:gd name="connsiteY52" fmla="*/ 279721 h 1595303"/>
                  <a:gd name="connsiteX53" fmla="*/ 937665 w 937666"/>
                  <a:gd name="connsiteY53" fmla="*/ 0 h 1595303"/>
                  <a:gd name="connsiteX54" fmla="*/ 937666 w 937666"/>
                  <a:gd name="connsiteY54" fmla="*/ 0 h 1595303"/>
                  <a:gd name="connsiteX55" fmla="*/ 937666 w 937666"/>
                  <a:gd name="connsiteY55" fmla="*/ 1022406 h 1595303"/>
                  <a:gd name="connsiteX56" fmla="*/ 932918 w 937666"/>
                  <a:gd name="connsiteY56" fmla="*/ 1017658 h 1595303"/>
                  <a:gd name="connsiteX57" fmla="*/ 920627 w 937666"/>
                  <a:gd name="connsiteY57" fmla="*/ 1005367 h 1595303"/>
                  <a:gd name="connsiteX58" fmla="*/ 900963 w 937666"/>
                  <a:gd name="connsiteY58" fmla="*/ 1002909 h 1595303"/>
                  <a:gd name="connsiteX59" fmla="*/ 883757 w 937666"/>
                  <a:gd name="connsiteY59" fmla="*/ 1007825 h 1595303"/>
                  <a:gd name="connsiteX60" fmla="*/ 866550 w 937666"/>
                  <a:gd name="connsiteY60" fmla="*/ 1015200 h 1595303"/>
                  <a:gd name="connsiteX61" fmla="*/ 861634 w 937666"/>
                  <a:gd name="connsiteY61" fmla="*/ 1022574 h 1595303"/>
                  <a:gd name="connsiteX62" fmla="*/ 846886 w 937666"/>
                  <a:gd name="connsiteY62" fmla="*/ 1029948 h 1595303"/>
                  <a:gd name="connsiteX63" fmla="*/ 841969 w 937666"/>
                  <a:gd name="connsiteY63" fmla="*/ 1034864 h 1595303"/>
                  <a:gd name="connsiteX64" fmla="*/ 839511 w 937666"/>
                  <a:gd name="connsiteY64" fmla="*/ 1054529 h 1595303"/>
                  <a:gd name="connsiteX65" fmla="*/ 832137 w 937666"/>
                  <a:gd name="connsiteY65" fmla="*/ 1059445 h 1595303"/>
                  <a:gd name="connsiteX66" fmla="*/ 829679 w 937666"/>
                  <a:gd name="connsiteY66" fmla="*/ 1066819 h 1595303"/>
                  <a:gd name="connsiteX67" fmla="*/ 807557 w 937666"/>
                  <a:gd name="connsiteY67" fmla="*/ 1066819 h 1595303"/>
                  <a:gd name="connsiteX68" fmla="*/ 800182 w 937666"/>
                  <a:gd name="connsiteY68" fmla="*/ 1069277 h 1595303"/>
                  <a:gd name="connsiteX69" fmla="*/ 792808 w 937666"/>
                  <a:gd name="connsiteY69" fmla="*/ 1074193 h 1595303"/>
                  <a:gd name="connsiteX70" fmla="*/ 765769 w 937666"/>
                  <a:gd name="connsiteY70" fmla="*/ 1079109 h 1595303"/>
                  <a:gd name="connsiteX71" fmla="*/ 751021 w 937666"/>
                  <a:gd name="connsiteY71" fmla="*/ 1069277 h 1595303"/>
                  <a:gd name="connsiteX72" fmla="*/ 743647 w 937666"/>
                  <a:gd name="connsiteY72" fmla="*/ 1074193 h 1595303"/>
                  <a:gd name="connsiteX73" fmla="*/ 723982 w 937666"/>
                  <a:gd name="connsiteY73" fmla="*/ 1076651 h 1595303"/>
                  <a:gd name="connsiteX74" fmla="*/ 701860 w 937666"/>
                  <a:gd name="connsiteY74" fmla="*/ 1081567 h 1595303"/>
                  <a:gd name="connsiteX75" fmla="*/ 694486 w 937666"/>
                  <a:gd name="connsiteY75" fmla="*/ 1086484 h 1595303"/>
                  <a:gd name="connsiteX76" fmla="*/ 689569 w 937666"/>
                  <a:gd name="connsiteY76" fmla="*/ 1091400 h 1595303"/>
                  <a:gd name="connsiteX77" fmla="*/ 672363 w 937666"/>
                  <a:gd name="connsiteY77" fmla="*/ 1093858 h 1595303"/>
                  <a:gd name="connsiteX78" fmla="*/ 669905 w 937666"/>
                  <a:gd name="connsiteY78" fmla="*/ 1125813 h 1595303"/>
                  <a:gd name="connsiteX79" fmla="*/ 664989 w 937666"/>
                  <a:gd name="connsiteY79" fmla="*/ 1140561 h 1595303"/>
                  <a:gd name="connsiteX80" fmla="*/ 660073 w 937666"/>
                  <a:gd name="connsiteY80" fmla="*/ 1147935 h 1595303"/>
                  <a:gd name="connsiteX81" fmla="*/ 657615 w 937666"/>
                  <a:gd name="connsiteY81" fmla="*/ 1155309 h 1595303"/>
                  <a:gd name="connsiteX82" fmla="*/ 637950 w 937666"/>
                  <a:gd name="connsiteY82" fmla="*/ 1160225 h 1595303"/>
                  <a:gd name="connsiteX83" fmla="*/ 630576 w 937666"/>
                  <a:gd name="connsiteY83" fmla="*/ 1177432 h 1595303"/>
                  <a:gd name="connsiteX84" fmla="*/ 625660 w 937666"/>
                  <a:gd name="connsiteY84" fmla="*/ 1211845 h 1595303"/>
                  <a:gd name="connsiteX85" fmla="*/ 620744 w 937666"/>
                  <a:gd name="connsiteY85" fmla="*/ 1219219 h 1595303"/>
                  <a:gd name="connsiteX86" fmla="*/ 615827 w 937666"/>
                  <a:gd name="connsiteY86" fmla="*/ 1224135 h 1595303"/>
                  <a:gd name="connsiteX87" fmla="*/ 613369 w 937666"/>
                  <a:gd name="connsiteY87" fmla="*/ 1231509 h 1595303"/>
                  <a:gd name="connsiteX88" fmla="*/ 605995 w 937666"/>
                  <a:gd name="connsiteY88" fmla="*/ 1236425 h 1595303"/>
                  <a:gd name="connsiteX89" fmla="*/ 598621 w 937666"/>
                  <a:gd name="connsiteY89" fmla="*/ 1251174 h 1595303"/>
                  <a:gd name="connsiteX90" fmla="*/ 593705 w 937666"/>
                  <a:gd name="connsiteY90" fmla="*/ 1258548 h 1595303"/>
                  <a:gd name="connsiteX91" fmla="*/ 588789 w 937666"/>
                  <a:gd name="connsiteY91" fmla="*/ 1273296 h 1595303"/>
                  <a:gd name="connsiteX92" fmla="*/ 583873 w 937666"/>
                  <a:gd name="connsiteY92" fmla="*/ 1278213 h 1595303"/>
                  <a:gd name="connsiteX93" fmla="*/ 532253 w 937666"/>
                  <a:gd name="connsiteY93" fmla="*/ 1280671 h 1595303"/>
                  <a:gd name="connsiteX94" fmla="*/ 537169 w 937666"/>
                  <a:gd name="connsiteY94" fmla="*/ 1288045 h 1595303"/>
                  <a:gd name="connsiteX95" fmla="*/ 537169 w 937666"/>
                  <a:gd name="connsiteY95" fmla="*/ 1307709 h 1595303"/>
                  <a:gd name="connsiteX96" fmla="*/ 534711 w 937666"/>
                  <a:gd name="connsiteY96" fmla="*/ 1329832 h 1595303"/>
                  <a:gd name="connsiteX97" fmla="*/ 533676 w 937666"/>
                  <a:gd name="connsiteY97" fmla="*/ 1331105 h 1595303"/>
                  <a:gd name="connsiteX98" fmla="*/ 535258 w 937666"/>
                  <a:gd name="connsiteY98" fmla="*/ 1325964 h 1595303"/>
                  <a:gd name="connsiteX99" fmla="*/ 504593 w 937666"/>
                  <a:gd name="connsiteY99" fmla="*/ 1328752 h 1595303"/>
                  <a:gd name="connsiteX100" fmla="*/ 482290 w 937666"/>
                  <a:gd name="connsiteY100" fmla="*/ 1337116 h 1595303"/>
                  <a:gd name="connsiteX101" fmla="*/ 443261 w 937666"/>
                  <a:gd name="connsiteY101" fmla="*/ 1331540 h 1595303"/>
                  <a:gd name="connsiteX102" fmla="*/ 443261 w 937666"/>
                  <a:gd name="connsiteY102" fmla="*/ 1300874 h 1595303"/>
                  <a:gd name="connsiteX103" fmla="*/ 451624 w 937666"/>
                  <a:gd name="connsiteY103" fmla="*/ 1298086 h 1595303"/>
                  <a:gd name="connsiteX104" fmla="*/ 462775 w 937666"/>
                  <a:gd name="connsiteY104" fmla="*/ 1295298 h 1595303"/>
                  <a:gd name="connsiteX105" fmla="*/ 471139 w 937666"/>
                  <a:gd name="connsiteY105" fmla="*/ 1286935 h 1595303"/>
                  <a:gd name="connsiteX106" fmla="*/ 457200 w 937666"/>
                  <a:gd name="connsiteY106" fmla="*/ 1261845 h 1595303"/>
                  <a:gd name="connsiteX107" fmla="*/ 446049 w 937666"/>
                  <a:gd name="connsiteY107" fmla="*/ 1256269 h 1595303"/>
                  <a:gd name="connsiteX108" fmla="*/ 437685 w 937666"/>
                  <a:gd name="connsiteY108" fmla="*/ 1250694 h 1595303"/>
                  <a:gd name="connsiteX109" fmla="*/ 426534 w 937666"/>
                  <a:gd name="connsiteY109" fmla="*/ 1247906 h 1595303"/>
                  <a:gd name="connsiteX110" fmla="*/ 404232 w 937666"/>
                  <a:gd name="connsiteY110" fmla="*/ 1239542 h 1595303"/>
                  <a:gd name="connsiteX111" fmla="*/ 395868 w 937666"/>
                  <a:gd name="connsiteY111" fmla="*/ 1220028 h 1595303"/>
                  <a:gd name="connsiteX112" fmla="*/ 393080 w 937666"/>
                  <a:gd name="connsiteY112" fmla="*/ 1206089 h 1595303"/>
                  <a:gd name="connsiteX113" fmla="*/ 384717 w 937666"/>
                  <a:gd name="connsiteY113" fmla="*/ 1203301 h 1595303"/>
                  <a:gd name="connsiteX114" fmla="*/ 373566 w 937666"/>
                  <a:gd name="connsiteY114" fmla="*/ 1197725 h 1595303"/>
                  <a:gd name="connsiteX115" fmla="*/ 365202 w 937666"/>
                  <a:gd name="connsiteY115" fmla="*/ 1192150 h 1595303"/>
                  <a:gd name="connsiteX116" fmla="*/ 317810 w 937666"/>
                  <a:gd name="connsiteY116" fmla="*/ 1186574 h 1595303"/>
                  <a:gd name="connsiteX117" fmla="*/ 312234 w 937666"/>
                  <a:gd name="connsiteY117" fmla="*/ 1178211 h 1595303"/>
                  <a:gd name="connsiteX118" fmla="*/ 284356 w 937666"/>
                  <a:gd name="connsiteY118" fmla="*/ 1172635 h 1595303"/>
                  <a:gd name="connsiteX119" fmla="*/ 278780 w 937666"/>
                  <a:gd name="connsiteY119" fmla="*/ 1183786 h 1595303"/>
                  <a:gd name="connsiteX120" fmla="*/ 262054 w 937666"/>
                  <a:gd name="connsiteY120" fmla="*/ 1186574 h 1595303"/>
                  <a:gd name="connsiteX121" fmla="*/ 242539 w 937666"/>
                  <a:gd name="connsiteY121" fmla="*/ 1192150 h 1595303"/>
                  <a:gd name="connsiteX122" fmla="*/ 231388 w 937666"/>
                  <a:gd name="connsiteY122" fmla="*/ 1197725 h 1595303"/>
                  <a:gd name="connsiteX123" fmla="*/ 217449 w 937666"/>
                  <a:gd name="connsiteY123" fmla="*/ 1200513 h 1595303"/>
                  <a:gd name="connsiteX124" fmla="*/ 184685 w 937666"/>
                  <a:gd name="connsiteY124" fmla="*/ 1220990 h 1595303"/>
                  <a:gd name="connsiteX125" fmla="*/ 183995 w 937666"/>
                  <a:gd name="connsiteY125" fmla="*/ 1220028 h 1595303"/>
                  <a:gd name="connsiteX126" fmla="*/ 164480 w 937666"/>
                  <a:gd name="connsiteY126" fmla="*/ 1200513 h 1595303"/>
                  <a:gd name="connsiteX127" fmla="*/ 158905 w 937666"/>
                  <a:gd name="connsiteY127" fmla="*/ 1183786 h 1595303"/>
                  <a:gd name="connsiteX128" fmla="*/ 156117 w 937666"/>
                  <a:gd name="connsiteY128" fmla="*/ 1175423 h 1595303"/>
                  <a:gd name="connsiteX129" fmla="*/ 136602 w 937666"/>
                  <a:gd name="connsiteY129" fmla="*/ 1147545 h 1595303"/>
                  <a:gd name="connsiteX130" fmla="*/ 111512 w 937666"/>
                  <a:gd name="connsiteY130" fmla="*/ 1150333 h 1595303"/>
                  <a:gd name="connsiteX131" fmla="*/ 100361 w 937666"/>
                  <a:gd name="connsiteY131" fmla="*/ 1153120 h 1595303"/>
                  <a:gd name="connsiteX132" fmla="*/ 86422 w 937666"/>
                  <a:gd name="connsiteY132" fmla="*/ 1155908 h 1595303"/>
                  <a:gd name="connsiteX133" fmla="*/ 78058 w 937666"/>
                  <a:gd name="connsiteY133" fmla="*/ 1158696 h 1595303"/>
                  <a:gd name="connsiteX134" fmla="*/ 66907 w 937666"/>
                  <a:gd name="connsiteY134" fmla="*/ 1161484 h 1595303"/>
                  <a:gd name="connsiteX135" fmla="*/ 61332 w 937666"/>
                  <a:gd name="connsiteY135" fmla="*/ 1080637 h 1595303"/>
                  <a:gd name="connsiteX136" fmla="*/ 69695 w 937666"/>
                  <a:gd name="connsiteY136" fmla="*/ 1016518 h 1595303"/>
                  <a:gd name="connsiteX137" fmla="*/ 52968 w 937666"/>
                  <a:gd name="connsiteY137" fmla="*/ 994216 h 1595303"/>
                  <a:gd name="connsiteX138" fmla="*/ 19514 w 937666"/>
                  <a:gd name="connsiteY138" fmla="*/ 985852 h 1595303"/>
                  <a:gd name="connsiteX139" fmla="*/ 11151 w 937666"/>
                  <a:gd name="connsiteY139" fmla="*/ 983064 h 1595303"/>
                  <a:gd name="connsiteX140" fmla="*/ 8363 w 937666"/>
                  <a:gd name="connsiteY140" fmla="*/ 944036 h 1595303"/>
                  <a:gd name="connsiteX141" fmla="*/ 2788 w 937666"/>
                  <a:gd name="connsiteY141" fmla="*/ 896642 h 1595303"/>
                  <a:gd name="connsiteX142" fmla="*/ 5575 w 937666"/>
                  <a:gd name="connsiteY142" fmla="*/ 877128 h 1595303"/>
                  <a:gd name="connsiteX143" fmla="*/ 2788 w 937666"/>
                  <a:gd name="connsiteY143" fmla="*/ 815796 h 1595303"/>
                  <a:gd name="connsiteX144" fmla="*/ 0 w 937666"/>
                  <a:gd name="connsiteY144" fmla="*/ 804645 h 1595303"/>
                  <a:gd name="connsiteX145" fmla="*/ 8363 w 937666"/>
                  <a:gd name="connsiteY145" fmla="*/ 773979 h 1595303"/>
                  <a:gd name="connsiteX146" fmla="*/ 30666 w 937666"/>
                  <a:gd name="connsiteY146" fmla="*/ 779555 h 1595303"/>
                  <a:gd name="connsiteX147" fmla="*/ 50180 w 937666"/>
                  <a:gd name="connsiteY147" fmla="*/ 785130 h 1595303"/>
                  <a:gd name="connsiteX148" fmla="*/ 80846 w 937666"/>
                  <a:gd name="connsiteY148" fmla="*/ 787918 h 1595303"/>
                  <a:gd name="connsiteX149" fmla="*/ 119875 w 937666"/>
                  <a:gd name="connsiteY149" fmla="*/ 799069 h 1595303"/>
                  <a:gd name="connsiteX150" fmla="*/ 147754 w 937666"/>
                  <a:gd name="connsiteY150" fmla="*/ 813008 h 1595303"/>
                  <a:gd name="connsiteX151" fmla="*/ 161693 w 937666"/>
                  <a:gd name="connsiteY151" fmla="*/ 807433 h 1595303"/>
                  <a:gd name="connsiteX152" fmla="*/ 164480 w 937666"/>
                  <a:gd name="connsiteY152" fmla="*/ 796281 h 1595303"/>
                  <a:gd name="connsiteX153" fmla="*/ 167268 w 937666"/>
                  <a:gd name="connsiteY153" fmla="*/ 776767 h 1595303"/>
                  <a:gd name="connsiteX154" fmla="*/ 170056 w 937666"/>
                  <a:gd name="connsiteY154" fmla="*/ 760040 h 1595303"/>
                  <a:gd name="connsiteX155" fmla="*/ 153329 w 937666"/>
                  <a:gd name="connsiteY155" fmla="*/ 743313 h 1595303"/>
                  <a:gd name="connsiteX156" fmla="*/ 144966 w 937666"/>
                  <a:gd name="connsiteY156" fmla="*/ 734950 h 1595303"/>
                  <a:gd name="connsiteX157" fmla="*/ 125451 w 937666"/>
                  <a:gd name="connsiteY157" fmla="*/ 718223 h 1595303"/>
                  <a:gd name="connsiteX158" fmla="*/ 119875 w 937666"/>
                  <a:gd name="connsiteY158" fmla="*/ 707072 h 1595303"/>
                  <a:gd name="connsiteX159" fmla="*/ 111512 w 937666"/>
                  <a:gd name="connsiteY159" fmla="*/ 695920 h 1595303"/>
                  <a:gd name="connsiteX160" fmla="*/ 105936 w 937666"/>
                  <a:gd name="connsiteY160" fmla="*/ 687557 h 1595303"/>
                  <a:gd name="connsiteX161" fmla="*/ 108724 w 937666"/>
                  <a:gd name="connsiteY161" fmla="*/ 659679 h 1595303"/>
                  <a:gd name="connsiteX162" fmla="*/ 125451 w 937666"/>
                  <a:gd name="connsiteY162" fmla="*/ 654103 h 1595303"/>
                  <a:gd name="connsiteX163" fmla="*/ 128239 w 937666"/>
                  <a:gd name="connsiteY163" fmla="*/ 642952 h 1595303"/>
                  <a:gd name="connsiteX164" fmla="*/ 131027 w 937666"/>
                  <a:gd name="connsiteY164" fmla="*/ 615074 h 1595303"/>
                  <a:gd name="connsiteX165" fmla="*/ 142178 w 937666"/>
                  <a:gd name="connsiteY165" fmla="*/ 612286 h 1595303"/>
                  <a:gd name="connsiteX166" fmla="*/ 131027 w 937666"/>
                  <a:gd name="connsiteY166" fmla="*/ 598347 h 1595303"/>
                  <a:gd name="connsiteX167" fmla="*/ 125451 w 937666"/>
                  <a:gd name="connsiteY167" fmla="*/ 576045 h 1595303"/>
                  <a:gd name="connsiteX168" fmla="*/ 139390 w 937666"/>
                  <a:gd name="connsiteY168" fmla="*/ 564894 h 1595303"/>
                  <a:gd name="connsiteX169" fmla="*/ 153329 w 937666"/>
                  <a:gd name="connsiteY169" fmla="*/ 562106 h 1595303"/>
                  <a:gd name="connsiteX170" fmla="*/ 156117 w 937666"/>
                  <a:gd name="connsiteY170" fmla="*/ 497986 h 1595303"/>
                  <a:gd name="connsiteX171" fmla="*/ 164480 w 937666"/>
                  <a:gd name="connsiteY171" fmla="*/ 478472 h 1595303"/>
                  <a:gd name="connsiteX172" fmla="*/ 178419 w 937666"/>
                  <a:gd name="connsiteY172" fmla="*/ 475684 h 1595303"/>
                  <a:gd name="connsiteX173" fmla="*/ 186783 w 937666"/>
                  <a:gd name="connsiteY173" fmla="*/ 450594 h 1595303"/>
                  <a:gd name="connsiteX174" fmla="*/ 181207 w 937666"/>
                  <a:gd name="connsiteY174" fmla="*/ 433867 h 1595303"/>
                  <a:gd name="connsiteX175" fmla="*/ 217688 w 937666"/>
                  <a:gd name="connsiteY175" fmla="*/ 372121 h 1595303"/>
                  <a:gd name="connsiteX176" fmla="*/ 239779 w 937666"/>
                  <a:gd name="connsiteY176" fmla="*/ 372489 h 1595303"/>
                  <a:gd name="connsiteX177" fmla="*/ 239751 w 937666"/>
                  <a:gd name="connsiteY177" fmla="*/ 372535 h 1595303"/>
                  <a:gd name="connsiteX178" fmla="*/ 211873 w 937666"/>
                  <a:gd name="connsiteY178" fmla="*/ 375323 h 1595303"/>
                  <a:gd name="connsiteX179" fmla="*/ 242539 w 937666"/>
                  <a:gd name="connsiteY179" fmla="*/ 372535 h 1595303"/>
                  <a:gd name="connsiteX180" fmla="*/ 239779 w 937666"/>
                  <a:gd name="connsiteY180" fmla="*/ 372489 h 1595303"/>
                  <a:gd name="connsiteX181" fmla="*/ 248114 w 937666"/>
                  <a:gd name="connsiteY181" fmla="*/ 358596 h 1595303"/>
                  <a:gd name="connsiteX182" fmla="*/ 256478 w 937666"/>
                  <a:gd name="connsiteY182" fmla="*/ 364172 h 1595303"/>
                  <a:gd name="connsiteX183" fmla="*/ 275993 w 937666"/>
                  <a:gd name="connsiteY183" fmla="*/ 372535 h 1595303"/>
                  <a:gd name="connsiteX184" fmla="*/ 292719 w 937666"/>
                  <a:gd name="connsiteY184" fmla="*/ 361384 h 1595303"/>
                  <a:gd name="connsiteX185" fmla="*/ 298295 w 937666"/>
                  <a:gd name="connsiteY185" fmla="*/ 339081 h 1595303"/>
                  <a:gd name="connsiteX186" fmla="*/ 289932 w 937666"/>
                  <a:gd name="connsiteY186" fmla="*/ 333506 h 1595303"/>
                  <a:gd name="connsiteX187" fmla="*/ 281568 w 937666"/>
                  <a:gd name="connsiteY187" fmla="*/ 330718 h 1595303"/>
                  <a:gd name="connsiteX188" fmla="*/ 287144 w 937666"/>
                  <a:gd name="connsiteY188" fmla="*/ 319567 h 1595303"/>
                  <a:gd name="connsiteX189" fmla="*/ 303871 w 937666"/>
                  <a:gd name="connsiteY189" fmla="*/ 308416 h 1595303"/>
                  <a:gd name="connsiteX190" fmla="*/ 320597 w 937666"/>
                  <a:gd name="connsiteY190" fmla="*/ 277750 h 1595303"/>
                  <a:gd name="connsiteX191" fmla="*/ 350175 w 937666"/>
                  <a:gd name="connsiteY191" fmla="*/ 279721 h 1595303"/>
                  <a:gd name="connsiteX192" fmla="*/ 351263 w 937666"/>
                  <a:gd name="connsiteY192" fmla="*/ 280537 h 1595303"/>
                  <a:gd name="connsiteX193" fmla="*/ 373566 w 937666"/>
                  <a:gd name="connsiteY193" fmla="*/ 308416 h 1595303"/>
                  <a:gd name="connsiteX194" fmla="*/ 384717 w 937666"/>
                  <a:gd name="connsiteY194" fmla="*/ 300052 h 1595303"/>
                  <a:gd name="connsiteX195" fmla="*/ 401444 w 937666"/>
                  <a:gd name="connsiteY195" fmla="*/ 291689 h 1595303"/>
                  <a:gd name="connsiteX196" fmla="*/ 409807 w 937666"/>
                  <a:gd name="connsiteY196" fmla="*/ 283325 h 1595303"/>
                  <a:gd name="connsiteX197" fmla="*/ 418171 w 937666"/>
                  <a:gd name="connsiteY197" fmla="*/ 277750 h 1595303"/>
                  <a:gd name="connsiteX198" fmla="*/ 423746 w 937666"/>
                  <a:gd name="connsiteY198" fmla="*/ 269386 h 1595303"/>
                  <a:gd name="connsiteX199" fmla="*/ 454412 w 937666"/>
                  <a:gd name="connsiteY199" fmla="*/ 252659 h 1595303"/>
                  <a:gd name="connsiteX200" fmla="*/ 479502 w 937666"/>
                  <a:gd name="connsiteY200" fmla="*/ 255447 h 1595303"/>
                  <a:gd name="connsiteX201" fmla="*/ 490654 w 937666"/>
                  <a:gd name="connsiteY201" fmla="*/ 274962 h 1595303"/>
                  <a:gd name="connsiteX202" fmla="*/ 499017 w 937666"/>
                  <a:gd name="connsiteY202" fmla="*/ 280537 h 1595303"/>
                  <a:gd name="connsiteX203" fmla="*/ 518532 w 937666"/>
                  <a:gd name="connsiteY203" fmla="*/ 263811 h 1595303"/>
                  <a:gd name="connsiteX204" fmla="*/ 546410 w 937666"/>
                  <a:gd name="connsiteY204" fmla="*/ 269386 h 1595303"/>
                  <a:gd name="connsiteX205" fmla="*/ 565924 w 937666"/>
                  <a:gd name="connsiteY205" fmla="*/ 280537 h 1595303"/>
                  <a:gd name="connsiteX206" fmla="*/ 582651 w 937666"/>
                  <a:gd name="connsiteY206" fmla="*/ 286113 h 1595303"/>
                  <a:gd name="connsiteX207" fmla="*/ 607741 w 937666"/>
                  <a:gd name="connsiteY207" fmla="*/ 280537 h 1595303"/>
                  <a:gd name="connsiteX208" fmla="*/ 610529 w 937666"/>
                  <a:gd name="connsiteY208" fmla="*/ 272174 h 1595303"/>
                  <a:gd name="connsiteX209" fmla="*/ 613317 w 937666"/>
                  <a:gd name="connsiteY209" fmla="*/ 280537 h 1595303"/>
                  <a:gd name="connsiteX210" fmla="*/ 621680 w 937666"/>
                  <a:gd name="connsiteY210" fmla="*/ 319567 h 1595303"/>
                  <a:gd name="connsiteX211" fmla="*/ 630044 w 937666"/>
                  <a:gd name="connsiteY211" fmla="*/ 325142 h 1595303"/>
                  <a:gd name="connsiteX212" fmla="*/ 649558 w 937666"/>
                  <a:gd name="connsiteY212" fmla="*/ 322355 h 1595303"/>
                  <a:gd name="connsiteX213" fmla="*/ 652346 w 937666"/>
                  <a:gd name="connsiteY213" fmla="*/ 294476 h 1595303"/>
                  <a:gd name="connsiteX214" fmla="*/ 641195 w 937666"/>
                  <a:gd name="connsiteY214" fmla="*/ 286113 h 1595303"/>
                  <a:gd name="connsiteX215" fmla="*/ 621680 w 937666"/>
                  <a:gd name="connsiteY215" fmla="*/ 269386 h 1595303"/>
                  <a:gd name="connsiteX216" fmla="*/ 613317 w 937666"/>
                  <a:gd name="connsiteY216" fmla="*/ 249872 h 1595303"/>
                  <a:gd name="connsiteX217" fmla="*/ 624468 w 937666"/>
                  <a:gd name="connsiteY217" fmla="*/ 244296 h 1595303"/>
                  <a:gd name="connsiteX218" fmla="*/ 702527 w 937666"/>
                  <a:gd name="connsiteY218" fmla="*/ 249872 h 1595303"/>
                  <a:gd name="connsiteX219" fmla="*/ 716466 w 937666"/>
                  <a:gd name="connsiteY219" fmla="*/ 252659 h 1595303"/>
                  <a:gd name="connsiteX220" fmla="*/ 749919 w 937666"/>
                  <a:gd name="connsiteY220" fmla="*/ 235933 h 1595303"/>
                  <a:gd name="connsiteX221" fmla="*/ 752707 w 937666"/>
                  <a:gd name="connsiteY221" fmla="*/ 219206 h 1595303"/>
                  <a:gd name="connsiteX222" fmla="*/ 755495 w 937666"/>
                  <a:gd name="connsiteY222" fmla="*/ 171813 h 1595303"/>
                  <a:gd name="connsiteX223" fmla="*/ 749919 w 937666"/>
                  <a:gd name="connsiteY223" fmla="*/ 163450 h 1595303"/>
                  <a:gd name="connsiteX224" fmla="*/ 747132 w 937666"/>
                  <a:gd name="connsiteY224" fmla="*/ 155086 h 1595303"/>
                  <a:gd name="connsiteX225" fmla="*/ 752707 w 937666"/>
                  <a:gd name="connsiteY225" fmla="*/ 146723 h 1595303"/>
                  <a:gd name="connsiteX226" fmla="*/ 761071 w 937666"/>
                  <a:gd name="connsiteY226" fmla="*/ 143935 h 1595303"/>
                  <a:gd name="connsiteX227" fmla="*/ 766646 w 937666"/>
                  <a:gd name="connsiteY227" fmla="*/ 129996 h 1595303"/>
                  <a:gd name="connsiteX228" fmla="*/ 763858 w 937666"/>
                  <a:gd name="connsiteY228" fmla="*/ 113269 h 1595303"/>
                  <a:gd name="connsiteX229" fmla="*/ 777797 w 937666"/>
                  <a:gd name="connsiteY229" fmla="*/ 107694 h 1595303"/>
                  <a:gd name="connsiteX230" fmla="*/ 783373 w 937666"/>
                  <a:gd name="connsiteY230" fmla="*/ 96542 h 1595303"/>
                  <a:gd name="connsiteX231" fmla="*/ 786161 w 937666"/>
                  <a:gd name="connsiteY231" fmla="*/ 79816 h 1595303"/>
                  <a:gd name="connsiteX232" fmla="*/ 808463 w 937666"/>
                  <a:gd name="connsiteY232" fmla="*/ 77028 h 1595303"/>
                  <a:gd name="connsiteX233" fmla="*/ 827978 w 937666"/>
                  <a:gd name="connsiteY233" fmla="*/ 74240 h 1595303"/>
                  <a:gd name="connsiteX234" fmla="*/ 853068 w 937666"/>
                  <a:gd name="connsiteY234" fmla="*/ 77028 h 1595303"/>
                  <a:gd name="connsiteX235" fmla="*/ 864219 w 937666"/>
                  <a:gd name="connsiteY235" fmla="*/ 82603 h 1595303"/>
                  <a:gd name="connsiteX236" fmla="*/ 867007 w 937666"/>
                  <a:gd name="connsiteY236" fmla="*/ 74240 h 1595303"/>
                  <a:gd name="connsiteX237" fmla="*/ 875371 w 937666"/>
                  <a:gd name="connsiteY237" fmla="*/ 54725 h 1595303"/>
                  <a:gd name="connsiteX238" fmla="*/ 872583 w 937666"/>
                  <a:gd name="connsiteY238" fmla="*/ 32423 h 1595303"/>
                  <a:gd name="connsiteX239" fmla="*/ 894885 w 937666"/>
                  <a:gd name="connsiteY239" fmla="*/ 10120 h 1595303"/>
                  <a:gd name="connsiteX240" fmla="*/ 899754 w 937666"/>
                  <a:gd name="connsiteY240" fmla="*/ 383 h 1595303"/>
                  <a:gd name="connsiteX241" fmla="*/ 937665 w 937666"/>
                  <a:gd name="connsiteY241" fmla="*/ 383 h 15953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Lst>
                <a:rect l="l" t="t" r="r" b="b"/>
                <a:pathLst>
                  <a:path w="937666" h="1595303">
                    <a:moveTo>
                      <a:pt x="903421" y="1511729"/>
                    </a:moveTo>
                    <a:cubicBezTo>
                      <a:pt x="906012" y="1511729"/>
                      <a:pt x="908234" y="1513793"/>
                      <a:pt x="910795" y="1514187"/>
                    </a:cubicBezTo>
                    <a:cubicBezTo>
                      <a:pt x="918934" y="1515439"/>
                      <a:pt x="927182" y="1515826"/>
                      <a:pt x="935376" y="1516645"/>
                    </a:cubicBezTo>
                    <a:lnTo>
                      <a:pt x="937666" y="1513210"/>
                    </a:lnTo>
                    <a:lnTo>
                      <a:pt x="937666" y="1586998"/>
                    </a:lnTo>
                    <a:lnTo>
                      <a:pt x="935376" y="1585471"/>
                    </a:lnTo>
                    <a:cubicBezTo>
                      <a:pt x="933059" y="1584312"/>
                      <a:pt x="930460" y="1583832"/>
                      <a:pt x="928002" y="1583013"/>
                    </a:cubicBezTo>
                    <a:lnTo>
                      <a:pt x="920627" y="1585471"/>
                    </a:lnTo>
                    <a:cubicBezTo>
                      <a:pt x="900381" y="1592219"/>
                      <a:pt x="911011" y="1589654"/>
                      <a:pt x="888673" y="1592845"/>
                    </a:cubicBezTo>
                    <a:cubicBezTo>
                      <a:pt x="875563" y="1593664"/>
                      <a:pt x="862479" y="1595303"/>
                      <a:pt x="849344" y="1595303"/>
                    </a:cubicBezTo>
                    <a:cubicBezTo>
                      <a:pt x="846753" y="1595303"/>
                      <a:pt x="843588" y="1594868"/>
                      <a:pt x="841969" y="1592845"/>
                    </a:cubicBezTo>
                    <a:cubicBezTo>
                      <a:pt x="839859" y="1590207"/>
                      <a:pt x="840330" y="1586290"/>
                      <a:pt x="839511" y="1583013"/>
                    </a:cubicBezTo>
                    <a:cubicBezTo>
                      <a:pt x="829818" y="1573319"/>
                      <a:pt x="831231" y="1576931"/>
                      <a:pt x="827221" y="1560890"/>
                    </a:cubicBezTo>
                    <a:cubicBezTo>
                      <a:pt x="826012" y="1556055"/>
                      <a:pt x="822290" y="1550469"/>
                      <a:pt x="824763" y="1546142"/>
                    </a:cubicBezTo>
                    <a:cubicBezTo>
                      <a:pt x="826836" y="1542515"/>
                      <a:pt x="833213" y="1545330"/>
                      <a:pt x="837053" y="1543684"/>
                    </a:cubicBezTo>
                    <a:cubicBezTo>
                      <a:pt x="839183" y="1542771"/>
                      <a:pt x="840330" y="1540406"/>
                      <a:pt x="841969" y="1538767"/>
                    </a:cubicBezTo>
                    <a:cubicBezTo>
                      <a:pt x="854360" y="1534637"/>
                      <a:pt x="846004" y="1538977"/>
                      <a:pt x="856718" y="1526477"/>
                    </a:cubicBezTo>
                    <a:cubicBezTo>
                      <a:pt x="863027" y="1519117"/>
                      <a:pt x="863880" y="1519244"/>
                      <a:pt x="871466" y="1514187"/>
                    </a:cubicBezTo>
                    <a:cubicBezTo>
                      <a:pt x="882118" y="1513368"/>
                      <a:pt x="892738" y="1511729"/>
                      <a:pt x="903421" y="1511729"/>
                    </a:cubicBezTo>
                    <a:close/>
                    <a:moveTo>
                      <a:pt x="937666" y="1307002"/>
                    </a:moveTo>
                    <a:lnTo>
                      <a:pt x="937666" y="1472358"/>
                    </a:lnTo>
                    <a:lnTo>
                      <a:pt x="918169" y="1467484"/>
                    </a:lnTo>
                    <a:cubicBezTo>
                      <a:pt x="915527" y="1466163"/>
                      <a:pt x="913253" y="1464206"/>
                      <a:pt x="910795" y="1462567"/>
                    </a:cubicBezTo>
                    <a:cubicBezTo>
                      <a:pt x="910795" y="1462567"/>
                      <a:pt x="901096" y="1458816"/>
                      <a:pt x="896047" y="1457651"/>
                    </a:cubicBezTo>
                    <a:cubicBezTo>
                      <a:pt x="874177" y="1452604"/>
                      <a:pt x="882086" y="1461685"/>
                      <a:pt x="873924" y="1445361"/>
                    </a:cubicBezTo>
                    <a:cubicBezTo>
                      <a:pt x="873924" y="1445361"/>
                      <a:pt x="881642" y="1436628"/>
                      <a:pt x="886215" y="1433071"/>
                    </a:cubicBezTo>
                    <a:cubicBezTo>
                      <a:pt x="889107" y="1430821"/>
                      <a:pt x="892866" y="1429972"/>
                      <a:pt x="896047" y="1428154"/>
                    </a:cubicBezTo>
                    <a:cubicBezTo>
                      <a:pt x="898612" y="1426688"/>
                      <a:pt x="900963" y="1424877"/>
                      <a:pt x="903421" y="1423238"/>
                    </a:cubicBezTo>
                    <a:cubicBezTo>
                      <a:pt x="903421" y="1423238"/>
                      <a:pt x="901517" y="1412707"/>
                      <a:pt x="898505" y="1408490"/>
                    </a:cubicBezTo>
                    <a:cubicBezTo>
                      <a:pt x="896999" y="1406382"/>
                      <a:pt x="892183" y="1408400"/>
                      <a:pt x="891131" y="1406032"/>
                    </a:cubicBezTo>
                    <a:cubicBezTo>
                      <a:pt x="888448" y="1399995"/>
                      <a:pt x="889492" y="1392922"/>
                      <a:pt x="888673" y="1386367"/>
                    </a:cubicBezTo>
                    <a:cubicBezTo>
                      <a:pt x="889492" y="1380632"/>
                      <a:pt x="891707" y="1374926"/>
                      <a:pt x="891131" y="1369161"/>
                    </a:cubicBezTo>
                    <a:cubicBezTo>
                      <a:pt x="890837" y="1366222"/>
                      <a:pt x="887536" y="1364429"/>
                      <a:pt x="886215" y="1361787"/>
                    </a:cubicBezTo>
                    <a:cubicBezTo>
                      <a:pt x="885056" y="1359470"/>
                      <a:pt x="884576" y="1356871"/>
                      <a:pt x="883757" y="1354413"/>
                    </a:cubicBezTo>
                    <a:cubicBezTo>
                      <a:pt x="892374" y="1351539"/>
                      <a:pt x="898920" y="1350075"/>
                      <a:pt x="905879" y="1342122"/>
                    </a:cubicBezTo>
                    <a:cubicBezTo>
                      <a:pt x="908104" y="1339580"/>
                      <a:pt x="907006" y="1335395"/>
                      <a:pt x="908337" y="1332290"/>
                    </a:cubicBezTo>
                    <a:cubicBezTo>
                      <a:pt x="918522" y="1308525"/>
                      <a:pt x="908654" y="1343311"/>
                      <a:pt x="915711" y="1315084"/>
                    </a:cubicBezTo>
                    <a:cubicBezTo>
                      <a:pt x="918169" y="1314264"/>
                      <a:pt x="920594" y="1313337"/>
                      <a:pt x="923086" y="1312625"/>
                    </a:cubicBezTo>
                    <a:cubicBezTo>
                      <a:pt x="926334" y="1311697"/>
                      <a:pt x="929813" y="1311498"/>
                      <a:pt x="932918" y="1310167"/>
                    </a:cubicBezTo>
                    <a:close/>
                    <a:moveTo>
                      <a:pt x="184685" y="1220990"/>
                    </a:moveTo>
                    <a:lnTo>
                      <a:pt x="188950" y="1226937"/>
                    </a:lnTo>
                    <a:cubicBezTo>
                      <a:pt x="190316" y="1229401"/>
                      <a:pt x="190959" y="1231885"/>
                      <a:pt x="189571" y="1233967"/>
                    </a:cubicBezTo>
                    <a:cubicBezTo>
                      <a:pt x="186436" y="1238670"/>
                      <a:pt x="178420" y="1235826"/>
                      <a:pt x="172844" y="1236755"/>
                    </a:cubicBezTo>
                    <a:cubicBezTo>
                      <a:pt x="168198" y="1235826"/>
                      <a:pt x="158905" y="1238705"/>
                      <a:pt x="158905" y="1233967"/>
                    </a:cubicBezTo>
                    <a:cubicBezTo>
                      <a:pt x="158905" y="1228963"/>
                      <a:pt x="168499" y="1230874"/>
                      <a:pt x="172844" y="1228391"/>
                    </a:cubicBezTo>
                    <a:close/>
                    <a:moveTo>
                      <a:pt x="351194" y="279789"/>
                    </a:moveTo>
                    <a:lnTo>
                      <a:pt x="362414" y="280537"/>
                    </a:lnTo>
                    <a:cubicBezTo>
                      <a:pt x="369720" y="282197"/>
                      <a:pt x="385279" y="284987"/>
                      <a:pt x="381929" y="291689"/>
                    </a:cubicBezTo>
                    <a:cubicBezTo>
                      <a:pt x="378503" y="298543"/>
                      <a:pt x="367061" y="287972"/>
                      <a:pt x="359627" y="286113"/>
                    </a:cubicBezTo>
                    <a:close/>
                    <a:moveTo>
                      <a:pt x="340112" y="272174"/>
                    </a:moveTo>
                    <a:cubicBezTo>
                      <a:pt x="337742" y="269805"/>
                      <a:pt x="345749" y="275803"/>
                      <a:pt x="348475" y="277750"/>
                    </a:cubicBezTo>
                    <a:lnTo>
                      <a:pt x="351194" y="279789"/>
                    </a:lnTo>
                    <a:lnTo>
                      <a:pt x="350175" y="279721"/>
                    </a:lnTo>
                    <a:close/>
                    <a:moveTo>
                      <a:pt x="937665" y="0"/>
                    </a:moveTo>
                    <a:lnTo>
                      <a:pt x="937666" y="0"/>
                    </a:lnTo>
                    <a:lnTo>
                      <a:pt x="937666" y="1022406"/>
                    </a:lnTo>
                    <a:lnTo>
                      <a:pt x="932918" y="1017658"/>
                    </a:lnTo>
                    <a:cubicBezTo>
                      <a:pt x="928821" y="1013561"/>
                      <a:pt x="925888" y="1007795"/>
                      <a:pt x="920627" y="1005367"/>
                    </a:cubicBezTo>
                    <a:cubicBezTo>
                      <a:pt x="914629" y="1002599"/>
                      <a:pt x="907518" y="1003728"/>
                      <a:pt x="900963" y="1002909"/>
                    </a:cubicBezTo>
                    <a:cubicBezTo>
                      <a:pt x="870264" y="1010584"/>
                      <a:pt x="908412" y="1000780"/>
                      <a:pt x="883757" y="1007825"/>
                    </a:cubicBezTo>
                    <a:cubicBezTo>
                      <a:pt x="875860" y="1010082"/>
                      <a:pt x="872536" y="1009214"/>
                      <a:pt x="866550" y="1015200"/>
                    </a:cubicBezTo>
                    <a:cubicBezTo>
                      <a:pt x="864461" y="1017289"/>
                      <a:pt x="863273" y="1020116"/>
                      <a:pt x="861634" y="1022574"/>
                    </a:cubicBezTo>
                    <a:cubicBezTo>
                      <a:pt x="853845" y="1025170"/>
                      <a:pt x="853694" y="1024502"/>
                      <a:pt x="846886" y="1029948"/>
                    </a:cubicBezTo>
                    <a:cubicBezTo>
                      <a:pt x="845076" y="1031396"/>
                      <a:pt x="842635" y="1032644"/>
                      <a:pt x="841969" y="1034864"/>
                    </a:cubicBezTo>
                    <a:cubicBezTo>
                      <a:pt x="840071" y="1041191"/>
                      <a:pt x="841964" y="1048395"/>
                      <a:pt x="839511" y="1054529"/>
                    </a:cubicBezTo>
                    <a:cubicBezTo>
                      <a:pt x="838414" y="1057272"/>
                      <a:pt x="833982" y="1057138"/>
                      <a:pt x="832137" y="1059445"/>
                    </a:cubicBezTo>
                    <a:cubicBezTo>
                      <a:pt x="830518" y="1061468"/>
                      <a:pt x="830498" y="1064361"/>
                      <a:pt x="829679" y="1066819"/>
                    </a:cubicBezTo>
                    <a:cubicBezTo>
                      <a:pt x="817993" y="1074609"/>
                      <a:pt x="825108" y="1072669"/>
                      <a:pt x="807557" y="1066819"/>
                    </a:cubicBezTo>
                    <a:cubicBezTo>
                      <a:pt x="805099" y="1067638"/>
                      <a:pt x="802500" y="1068118"/>
                      <a:pt x="800182" y="1069277"/>
                    </a:cubicBezTo>
                    <a:cubicBezTo>
                      <a:pt x="797540" y="1070598"/>
                      <a:pt x="795574" y="1073156"/>
                      <a:pt x="792808" y="1074193"/>
                    </a:cubicBezTo>
                    <a:cubicBezTo>
                      <a:pt x="790059" y="1075224"/>
                      <a:pt x="767426" y="1078833"/>
                      <a:pt x="765769" y="1079109"/>
                    </a:cubicBezTo>
                    <a:cubicBezTo>
                      <a:pt x="765769" y="1079109"/>
                      <a:pt x="756789" y="1070559"/>
                      <a:pt x="751021" y="1069277"/>
                    </a:cubicBezTo>
                    <a:cubicBezTo>
                      <a:pt x="748137" y="1068636"/>
                      <a:pt x="746105" y="1072554"/>
                      <a:pt x="743647" y="1074193"/>
                    </a:cubicBezTo>
                    <a:cubicBezTo>
                      <a:pt x="737092" y="1075012"/>
                      <a:pt x="730522" y="1075717"/>
                      <a:pt x="723982" y="1076651"/>
                    </a:cubicBezTo>
                    <a:cubicBezTo>
                      <a:pt x="718697" y="1077406"/>
                      <a:pt x="707714" y="1078640"/>
                      <a:pt x="701860" y="1081567"/>
                    </a:cubicBezTo>
                    <a:cubicBezTo>
                      <a:pt x="699218" y="1082888"/>
                      <a:pt x="696793" y="1084638"/>
                      <a:pt x="694486" y="1086484"/>
                    </a:cubicBezTo>
                    <a:cubicBezTo>
                      <a:pt x="692676" y="1087932"/>
                      <a:pt x="691768" y="1090667"/>
                      <a:pt x="689569" y="1091400"/>
                    </a:cubicBezTo>
                    <a:cubicBezTo>
                      <a:pt x="684073" y="1093232"/>
                      <a:pt x="675237" y="1088828"/>
                      <a:pt x="672363" y="1093858"/>
                    </a:cubicBezTo>
                    <a:cubicBezTo>
                      <a:pt x="667063" y="1103134"/>
                      <a:pt x="670724" y="1115161"/>
                      <a:pt x="669905" y="1125813"/>
                    </a:cubicBezTo>
                    <a:cubicBezTo>
                      <a:pt x="669905" y="1125813"/>
                      <a:pt x="667094" y="1135826"/>
                      <a:pt x="664989" y="1140561"/>
                    </a:cubicBezTo>
                    <a:cubicBezTo>
                      <a:pt x="663789" y="1143261"/>
                      <a:pt x="661394" y="1145293"/>
                      <a:pt x="660073" y="1147935"/>
                    </a:cubicBezTo>
                    <a:cubicBezTo>
                      <a:pt x="658914" y="1150252"/>
                      <a:pt x="658434" y="1152851"/>
                      <a:pt x="657615" y="1155309"/>
                    </a:cubicBezTo>
                    <a:cubicBezTo>
                      <a:pt x="657004" y="1155431"/>
                      <a:pt x="640469" y="1158209"/>
                      <a:pt x="637950" y="1160225"/>
                    </a:cubicBezTo>
                    <a:cubicBezTo>
                      <a:pt x="633270" y="1163969"/>
                      <a:pt x="631338" y="1172100"/>
                      <a:pt x="630576" y="1177432"/>
                    </a:cubicBezTo>
                    <a:cubicBezTo>
                      <a:pt x="624988" y="1216551"/>
                      <a:pt x="631261" y="1189439"/>
                      <a:pt x="625660" y="1211845"/>
                    </a:cubicBezTo>
                    <a:cubicBezTo>
                      <a:pt x="624021" y="1214303"/>
                      <a:pt x="622590" y="1216912"/>
                      <a:pt x="620744" y="1219219"/>
                    </a:cubicBezTo>
                    <a:cubicBezTo>
                      <a:pt x="619296" y="1221029"/>
                      <a:pt x="617020" y="1222148"/>
                      <a:pt x="615827" y="1224135"/>
                    </a:cubicBezTo>
                    <a:cubicBezTo>
                      <a:pt x="614494" y="1226357"/>
                      <a:pt x="614188" y="1229051"/>
                      <a:pt x="613369" y="1231509"/>
                    </a:cubicBezTo>
                    <a:cubicBezTo>
                      <a:pt x="610911" y="1233148"/>
                      <a:pt x="608084" y="1234336"/>
                      <a:pt x="605995" y="1236425"/>
                    </a:cubicBezTo>
                    <a:cubicBezTo>
                      <a:pt x="598951" y="1243470"/>
                      <a:pt x="602619" y="1243178"/>
                      <a:pt x="598621" y="1251174"/>
                    </a:cubicBezTo>
                    <a:cubicBezTo>
                      <a:pt x="597300" y="1253816"/>
                      <a:pt x="595344" y="1256090"/>
                      <a:pt x="593705" y="1258548"/>
                    </a:cubicBezTo>
                    <a:cubicBezTo>
                      <a:pt x="590831" y="1262860"/>
                      <a:pt x="591106" y="1268661"/>
                      <a:pt x="588789" y="1273296"/>
                    </a:cubicBezTo>
                    <a:cubicBezTo>
                      <a:pt x="587753" y="1275369"/>
                      <a:pt x="586171" y="1277913"/>
                      <a:pt x="583873" y="1278213"/>
                    </a:cubicBezTo>
                    <a:cubicBezTo>
                      <a:pt x="566792" y="1280441"/>
                      <a:pt x="549460" y="1279852"/>
                      <a:pt x="532253" y="1280671"/>
                    </a:cubicBezTo>
                    <a:cubicBezTo>
                      <a:pt x="533892" y="1283129"/>
                      <a:pt x="536132" y="1285279"/>
                      <a:pt x="537169" y="1288045"/>
                    </a:cubicBezTo>
                    <a:cubicBezTo>
                      <a:pt x="543043" y="1303709"/>
                      <a:pt x="539145" y="1295855"/>
                      <a:pt x="537169" y="1307709"/>
                    </a:cubicBezTo>
                    <a:cubicBezTo>
                      <a:pt x="535949" y="1315028"/>
                      <a:pt x="538808" y="1321638"/>
                      <a:pt x="534711" y="1329832"/>
                    </a:cubicBezTo>
                    <a:lnTo>
                      <a:pt x="533676" y="1331105"/>
                    </a:lnTo>
                    <a:lnTo>
                      <a:pt x="535258" y="1325964"/>
                    </a:lnTo>
                    <a:cubicBezTo>
                      <a:pt x="525036" y="1326893"/>
                      <a:pt x="514637" y="1326637"/>
                      <a:pt x="504593" y="1328752"/>
                    </a:cubicBezTo>
                    <a:cubicBezTo>
                      <a:pt x="496823" y="1330388"/>
                      <a:pt x="490169" y="1336131"/>
                      <a:pt x="482290" y="1337116"/>
                    </a:cubicBezTo>
                    <a:cubicBezTo>
                      <a:pt x="478303" y="1337614"/>
                      <a:pt x="449327" y="1332551"/>
                      <a:pt x="443261" y="1331540"/>
                    </a:cubicBezTo>
                    <a:cubicBezTo>
                      <a:pt x="439458" y="1320131"/>
                      <a:pt x="436656" y="1315735"/>
                      <a:pt x="443261" y="1300874"/>
                    </a:cubicBezTo>
                    <a:cubicBezTo>
                      <a:pt x="444454" y="1298189"/>
                      <a:pt x="448799" y="1298893"/>
                      <a:pt x="451624" y="1298086"/>
                    </a:cubicBezTo>
                    <a:cubicBezTo>
                      <a:pt x="455308" y="1297033"/>
                      <a:pt x="459058" y="1296227"/>
                      <a:pt x="462775" y="1295298"/>
                    </a:cubicBezTo>
                    <a:cubicBezTo>
                      <a:pt x="465563" y="1292510"/>
                      <a:pt x="470704" y="1290853"/>
                      <a:pt x="471139" y="1286935"/>
                    </a:cubicBezTo>
                    <a:cubicBezTo>
                      <a:pt x="472195" y="1277428"/>
                      <a:pt x="464434" y="1267012"/>
                      <a:pt x="457200" y="1261845"/>
                    </a:cubicBezTo>
                    <a:cubicBezTo>
                      <a:pt x="453818" y="1259429"/>
                      <a:pt x="449657" y="1258331"/>
                      <a:pt x="446049" y="1256269"/>
                    </a:cubicBezTo>
                    <a:cubicBezTo>
                      <a:pt x="443140" y="1254607"/>
                      <a:pt x="440765" y="1252014"/>
                      <a:pt x="437685" y="1250694"/>
                    </a:cubicBezTo>
                    <a:cubicBezTo>
                      <a:pt x="434163" y="1249185"/>
                      <a:pt x="430218" y="1248959"/>
                      <a:pt x="426534" y="1247906"/>
                    </a:cubicBezTo>
                    <a:cubicBezTo>
                      <a:pt x="418887" y="1245721"/>
                      <a:pt x="411594" y="1242487"/>
                      <a:pt x="404232" y="1239542"/>
                    </a:cubicBezTo>
                    <a:cubicBezTo>
                      <a:pt x="401444" y="1233037"/>
                      <a:pt x="398106" y="1226742"/>
                      <a:pt x="395868" y="1220028"/>
                    </a:cubicBezTo>
                    <a:cubicBezTo>
                      <a:pt x="394369" y="1215533"/>
                      <a:pt x="395708" y="1210032"/>
                      <a:pt x="393080" y="1206089"/>
                    </a:cubicBezTo>
                    <a:cubicBezTo>
                      <a:pt x="391450" y="1203644"/>
                      <a:pt x="387418" y="1204459"/>
                      <a:pt x="384717" y="1203301"/>
                    </a:cubicBezTo>
                    <a:cubicBezTo>
                      <a:pt x="380897" y="1201664"/>
                      <a:pt x="377174" y="1199787"/>
                      <a:pt x="373566" y="1197725"/>
                    </a:cubicBezTo>
                    <a:cubicBezTo>
                      <a:pt x="370657" y="1196063"/>
                      <a:pt x="368488" y="1192807"/>
                      <a:pt x="365202" y="1192150"/>
                    </a:cubicBezTo>
                    <a:cubicBezTo>
                      <a:pt x="349605" y="1189031"/>
                      <a:pt x="333607" y="1188433"/>
                      <a:pt x="317810" y="1186574"/>
                    </a:cubicBezTo>
                    <a:cubicBezTo>
                      <a:pt x="315951" y="1183786"/>
                      <a:pt x="315327" y="1179500"/>
                      <a:pt x="312234" y="1178211"/>
                    </a:cubicBezTo>
                    <a:cubicBezTo>
                      <a:pt x="303486" y="1174566"/>
                      <a:pt x="284356" y="1172635"/>
                      <a:pt x="284356" y="1172635"/>
                    </a:cubicBezTo>
                    <a:cubicBezTo>
                      <a:pt x="282497" y="1176352"/>
                      <a:pt x="282304" y="1181583"/>
                      <a:pt x="278780" y="1183786"/>
                    </a:cubicBezTo>
                    <a:cubicBezTo>
                      <a:pt x="273987" y="1186782"/>
                      <a:pt x="267561" y="1185303"/>
                      <a:pt x="262054" y="1186574"/>
                    </a:cubicBezTo>
                    <a:cubicBezTo>
                      <a:pt x="255462" y="1188095"/>
                      <a:pt x="248897" y="1189838"/>
                      <a:pt x="242539" y="1192150"/>
                    </a:cubicBezTo>
                    <a:cubicBezTo>
                      <a:pt x="238634" y="1193570"/>
                      <a:pt x="235330" y="1196411"/>
                      <a:pt x="231388" y="1197725"/>
                    </a:cubicBezTo>
                    <a:cubicBezTo>
                      <a:pt x="226893" y="1199223"/>
                      <a:pt x="222095" y="1199584"/>
                      <a:pt x="217449" y="1200513"/>
                    </a:cubicBezTo>
                    <a:lnTo>
                      <a:pt x="184685" y="1220990"/>
                    </a:lnTo>
                    <a:lnTo>
                      <a:pt x="183995" y="1220028"/>
                    </a:lnTo>
                    <a:cubicBezTo>
                      <a:pt x="178475" y="1212668"/>
                      <a:pt x="164480" y="1200513"/>
                      <a:pt x="164480" y="1200513"/>
                    </a:cubicBezTo>
                    <a:lnTo>
                      <a:pt x="158905" y="1183786"/>
                    </a:lnTo>
                    <a:cubicBezTo>
                      <a:pt x="157976" y="1180998"/>
                      <a:pt x="158195" y="1177501"/>
                      <a:pt x="156117" y="1175423"/>
                    </a:cubicBezTo>
                    <a:cubicBezTo>
                      <a:pt x="140558" y="1159864"/>
                      <a:pt x="147317" y="1168974"/>
                      <a:pt x="136602" y="1147545"/>
                    </a:cubicBezTo>
                    <a:cubicBezTo>
                      <a:pt x="128239" y="1148474"/>
                      <a:pt x="119829" y="1149054"/>
                      <a:pt x="111512" y="1150333"/>
                    </a:cubicBezTo>
                    <a:cubicBezTo>
                      <a:pt x="107725" y="1150916"/>
                      <a:pt x="104101" y="1152289"/>
                      <a:pt x="100361" y="1153120"/>
                    </a:cubicBezTo>
                    <a:cubicBezTo>
                      <a:pt x="95735" y="1154148"/>
                      <a:pt x="91019" y="1154759"/>
                      <a:pt x="86422" y="1155908"/>
                    </a:cubicBezTo>
                    <a:cubicBezTo>
                      <a:pt x="83571" y="1156621"/>
                      <a:pt x="80884" y="1157889"/>
                      <a:pt x="78058" y="1158696"/>
                    </a:cubicBezTo>
                    <a:cubicBezTo>
                      <a:pt x="74374" y="1159749"/>
                      <a:pt x="70624" y="1160555"/>
                      <a:pt x="66907" y="1161484"/>
                    </a:cubicBezTo>
                    <a:cubicBezTo>
                      <a:pt x="64584" y="1148474"/>
                      <a:pt x="60867" y="1104798"/>
                      <a:pt x="61332" y="1080637"/>
                    </a:cubicBezTo>
                    <a:cubicBezTo>
                      <a:pt x="61797" y="1056476"/>
                      <a:pt x="71553" y="1030921"/>
                      <a:pt x="69695" y="1016518"/>
                    </a:cubicBezTo>
                    <a:cubicBezTo>
                      <a:pt x="56989" y="1010165"/>
                      <a:pt x="64544" y="1001934"/>
                      <a:pt x="52968" y="994216"/>
                    </a:cubicBezTo>
                    <a:cubicBezTo>
                      <a:pt x="46317" y="989782"/>
                      <a:pt x="26483" y="987711"/>
                      <a:pt x="19514" y="985852"/>
                    </a:cubicBezTo>
                    <a:cubicBezTo>
                      <a:pt x="12545" y="983993"/>
                      <a:pt x="13010" y="990033"/>
                      <a:pt x="11151" y="983064"/>
                    </a:cubicBezTo>
                    <a:cubicBezTo>
                      <a:pt x="9292" y="976095"/>
                      <a:pt x="13009" y="945894"/>
                      <a:pt x="8363" y="944036"/>
                    </a:cubicBezTo>
                    <a:cubicBezTo>
                      <a:pt x="6969" y="929632"/>
                      <a:pt x="3253" y="907793"/>
                      <a:pt x="2788" y="896642"/>
                    </a:cubicBezTo>
                    <a:cubicBezTo>
                      <a:pt x="2323" y="885491"/>
                      <a:pt x="4646" y="883633"/>
                      <a:pt x="5575" y="877128"/>
                    </a:cubicBezTo>
                    <a:cubicBezTo>
                      <a:pt x="4646" y="856684"/>
                      <a:pt x="4357" y="836201"/>
                      <a:pt x="2788" y="815796"/>
                    </a:cubicBezTo>
                    <a:cubicBezTo>
                      <a:pt x="2494" y="811976"/>
                      <a:pt x="0" y="808476"/>
                      <a:pt x="0" y="804645"/>
                    </a:cubicBezTo>
                    <a:cubicBezTo>
                      <a:pt x="0" y="783823"/>
                      <a:pt x="65" y="786427"/>
                      <a:pt x="8363" y="773979"/>
                    </a:cubicBezTo>
                    <a:cubicBezTo>
                      <a:pt x="15797" y="775838"/>
                      <a:pt x="23273" y="777539"/>
                      <a:pt x="30666" y="779555"/>
                    </a:cubicBezTo>
                    <a:cubicBezTo>
                      <a:pt x="38886" y="781797"/>
                      <a:pt x="41105" y="783920"/>
                      <a:pt x="50180" y="785130"/>
                    </a:cubicBezTo>
                    <a:cubicBezTo>
                      <a:pt x="60354" y="786487"/>
                      <a:pt x="70624" y="786989"/>
                      <a:pt x="80846" y="787918"/>
                    </a:cubicBezTo>
                    <a:cubicBezTo>
                      <a:pt x="83817" y="788661"/>
                      <a:pt x="115077" y="795871"/>
                      <a:pt x="119875" y="799069"/>
                    </a:cubicBezTo>
                    <a:cubicBezTo>
                      <a:pt x="139790" y="812345"/>
                      <a:pt x="130101" y="808595"/>
                      <a:pt x="147754" y="813008"/>
                    </a:cubicBezTo>
                    <a:cubicBezTo>
                      <a:pt x="152400" y="811150"/>
                      <a:pt x="158155" y="810972"/>
                      <a:pt x="161693" y="807433"/>
                    </a:cubicBezTo>
                    <a:cubicBezTo>
                      <a:pt x="164402" y="804724"/>
                      <a:pt x="163795" y="800051"/>
                      <a:pt x="164480" y="796281"/>
                    </a:cubicBezTo>
                    <a:cubicBezTo>
                      <a:pt x="165655" y="789816"/>
                      <a:pt x="166269" y="783261"/>
                      <a:pt x="167268" y="776767"/>
                    </a:cubicBezTo>
                    <a:cubicBezTo>
                      <a:pt x="168128" y="771180"/>
                      <a:pt x="169127" y="765616"/>
                      <a:pt x="170056" y="760040"/>
                    </a:cubicBezTo>
                    <a:lnTo>
                      <a:pt x="153329" y="743313"/>
                    </a:lnTo>
                    <a:cubicBezTo>
                      <a:pt x="150541" y="740525"/>
                      <a:pt x="148120" y="737315"/>
                      <a:pt x="144966" y="734950"/>
                    </a:cubicBezTo>
                    <a:cubicBezTo>
                      <a:pt x="139109" y="730557"/>
                      <a:pt x="129932" y="724496"/>
                      <a:pt x="125451" y="718223"/>
                    </a:cubicBezTo>
                    <a:cubicBezTo>
                      <a:pt x="123035" y="714841"/>
                      <a:pt x="122078" y="710596"/>
                      <a:pt x="119875" y="707072"/>
                    </a:cubicBezTo>
                    <a:cubicBezTo>
                      <a:pt x="117412" y="703132"/>
                      <a:pt x="114213" y="699701"/>
                      <a:pt x="111512" y="695920"/>
                    </a:cubicBezTo>
                    <a:cubicBezTo>
                      <a:pt x="109565" y="693194"/>
                      <a:pt x="107795" y="690345"/>
                      <a:pt x="105936" y="687557"/>
                    </a:cubicBezTo>
                    <a:cubicBezTo>
                      <a:pt x="106865" y="678264"/>
                      <a:pt x="104018" y="667746"/>
                      <a:pt x="108724" y="659679"/>
                    </a:cubicBezTo>
                    <a:cubicBezTo>
                      <a:pt x="111685" y="654602"/>
                      <a:pt x="120989" y="657928"/>
                      <a:pt x="125451" y="654103"/>
                    </a:cubicBezTo>
                    <a:cubicBezTo>
                      <a:pt x="128360" y="651610"/>
                      <a:pt x="127310" y="646669"/>
                      <a:pt x="128239" y="642952"/>
                    </a:cubicBezTo>
                    <a:cubicBezTo>
                      <a:pt x="129168" y="633659"/>
                      <a:pt x="127163" y="623576"/>
                      <a:pt x="131027" y="615074"/>
                    </a:cubicBezTo>
                    <a:cubicBezTo>
                      <a:pt x="132612" y="611586"/>
                      <a:pt x="139879" y="615351"/>
                      <a:pt x="142178" y="612286"/>
                    </a:cubicBezTo>
                    <a:cubicBezTo>
                      <a:pt x="146666" y="606302"/>
                      <a:pt x="132331" y="599216"/>
                      <a:pt x="131027" y="598347"/>
                    </a:cubicBezTo>
                    <a:cubicBezTo>
                      <a:pt x="129168" y="590913"/>
                      <a:pt x="126145" y="583676"/>
                      <a:pt x="125451" y="576045"/>
                    </a:cubicBezTo>
                    <a:cubicBezTo>
                      <a:pt x="124487" y="565447"/>
                      <a:pt x="131858" y="566568"/>
                      <a:pt x="139390" y="564894"/>
                    </a:cubicBezTo>
                    <a:cubicBezTo>
                      <a:pt x="144016" y="563866"/>
                      <a:pt x="148683" y="563035"/>
                      <a:pt x="153329" y="562106"/>
                    </a:cubicBezTo>
                    <a:cubicBezTo>
                      <a:pt x="154258" y="540733"/>
                      <a:pt x="154537" y="519321"/>
                      <a:pt x="156117" y="497986"/>
                    </a:cubicBezTo>
                    <a:cubicBezTo>
                      <a:pt x="156439" y="493636"/>
                      <a:pt x="159647" y="481234"/>
                      <a:pt x="164480" y="478472"/>
                    </a:cubicBezTo>
                    <a:cubicBezTo>
                      <a:pt x="168594" y="476121"/>
                      <a:pt x="173773" y="476613"/>
                      <a:pt x="178419" y="475684"/>
                    </a:cubicBezTo>
                    <a:cubicBezTo>
                      <a:pt x="184491" y="466576"/>
                      <a:pt x="187896" y="463947"/>
                      <a:pt x="186783" y="450594"/>
                    </a:cubicBezTo>
                    <a:cubicBezTo>
                      <a:pt x="186295" y="444737"/>
                      <a:pt x="183066" y="439443"/>
                      <a:pt x="181207" y="433867"/>
                    </a:cubicBezTo>
                    <a:cubicBezTo>
                      <a:pt x="184305" y="368819"/>
                      <a:pt x="169310" y="370648"/>
                      <a:pt x="217688" y="372121"/>
                    </a:cubicBezTo>
                    <a:lnTo>
                      <a:pt x="239779" y="372489"/>
                    </a:lnTo>
                    <a:cubicBezTo>
                      <a:pt x="239770" y="372504"/>
                      <a:pt x="239760" y="372520"/>
                      <a:pt x="239751" y="372535"/>
                    </a:cubicBezTo>
                    <a:cubicBezTo>
                      <a:pt x="230458" y="373464"/>
                      <a:pt x="202534" y="375323"/>
                      <a:pt x="211873" y="375323"/>
                    </a:cubicBezTo>
                    <a:cubicBezTo>
                      <a:pt x="222137" y="375323"/>
                      <a:pt x="252803" y="372535"/>
                      <a:pt x="242539" y="372535"/>
                    </a:cubicBezTo>
                    <a:lnTo>
                      <a:pt x="239779" y="372489"/>
                    </a:lnTo>
                    <a:lnTo>
                      <a:pt x="248114" y="358596"/>
                    </a:lnTo>
                    <a:cubicBezTo>
                      <a:pt x="251111" y="357098"/>
                      <a:pt x="253569" y="362510"/>
                      <a:pt x="256478" y="364172"/>
                    </a:cubicBezTo>
                    <a:cubicBezTo>
                      <a:pt x="266122" y="369683"/>
                      <a:pt x="266611" y="369408"/>
                      <a:pt x="275993" y="372535"/>
                    </a:cubicBezTo>
                    <a:cubicBezTo>
                      <a:pt x="285991" y="370035"/>
                      <a:pt x="288869" y="371972"/>
                      <a:pt x="292719" y="361384"/>
                    </a:cubicBezTo>
                    <a:cubicBezTo>
                      <a:pt x="295338" y="354182"/>
                      <a:pt x="298295" y="339081"/>
                      <a:pt x="298295" y="339081"/>
                    </a:cubicBezTo>
                    <a:cubicBezTo>
                      <a:pt x="295507" y="337223"/>
                      <a:pt x="292929" y="335004"/>
                      <a:pt x="289932" y="333506"/>
                    </a:cubicBezTo>
                    <a:cubicBezTo>
                      <a:pt x="287303" y="332192"/>
                      <a:pt x="282144" y="333600"/>
                      <a:pt x="281568" y="330718"/>
                    </a:cubicBezTo>
                    <a:cubicBezTo>
                      <a:pt x="280753" y="326643"/>
                      <a:pt x="284729" y="322949"/>
                      <a:pt x="287144" y="319567"/>
                    </a:cubicBezTo>
                    <a:cubicBezTo>
                      <a:pt x="293671" y="310429"/>
                      <a:pt x="294684" y="311477"/>
                      <a:pt x="303871" y="308416"/>
                    </a:cubicBezTo>
                    <a:cubicBezTo>
                      <a:pt x="313293" y="280147"/>
                      <a:pt x="304899" y="288215"/>
                      <a:pt x="320597" y="277750"/>
                    </a:cubicBezTo>
                    <a:lnTo>
                      <a:pt x="350175" y="279721"/>
                    </a:lnTo>
                    <a:lnTo>
                      <a:pt x="351263" y="280537"/>
                    </a:lnTo>
                    <a:cubicBezTo>
                      <a:pt x="358028" y="287302"/>
                      <a:pt x="367345" y="300121"/>
                      <a:pt x="373566" y="308416"/>
                    </a:cubicBezTo>
                    <a:cubicBezTo>
                      <a:pt x="377283" y="305628"/>
                      <a:pt x="380733" y="302443"/>
                      <a:pt x="384717" y="300052"/>
                    </a:cubicBezTo>
                    <a:cubicBezTo>
                      <a:pt x="390062" y="296845"/>
                      <a:pt x="396257" y="295147"/>
                      <a:pt x="401444" y="291689"/>
                    </a:cubicBezTo>
                    <a:cubicBezTo>
                      <a:pt x="404724" y="289502"/>
                      <a:pt x="406778" y="285849"/>
                      <a:pt x="409807" y="283325"/>
                    </a:cubicBezTo>
                    <a:cubicBezTo>
                      <a:pt x="412381" y="281180"/>
                      <a:pt x="415383" y="279608"/>
                      <a:pt x="418171" y="277750"/>
                    </a:cubicBezTo>
                    <a:cubicBezTo>
                      <a:pt x="420029" y="274962"/>
                      <a:pt x="421224" y="271592"/>
                      <a:pt x="423746" y="269386"/>
                    </a:cubicBezTo>
                    <a:cubicBezTo>
                      <a:pt x="435472" y="259125"/>
                      <a:pt x="441096" y="257986"/>
                      <a:pt x="454412" y="252659"/>
                    </a:cubicBezTo>
                    <a:cubicBezTo>
                      <a:pt x="462775" y="253588"/>
                      <a:pt x="471594" y="252571"/>
                      <a:pt x="479502" y="255447"/>
                    </a:cubicBezTo>
                    <a:cubicBezTo>
                      <a:pt x="482130" y="256403"/>
                      <a:pt x="490095" y="274291"/>
                      <a:pt x="490654" y="274962"/>
                    </a:cubicBezTo>
                    <a:cubicBezTo>
                      <a:pt x="492799" y="277536"/>
                      <a:pt x="496229" y="278679"/>
                      <a:pt x="499017" y="280537"/>
                    </a:cubicBezTo>
                    <a:cubicBezTo>
                      <a:pt x="499217" y="280337"/>
                      <a:pt x="514284" y="263811"/>
                      <a:pt x="518532" y="263811"/>
                    </a:cubicBezTo>
                    <a:cubicBezTo>
                      <a:pt x="528009" y="263811"/>
                      <a:pt x="537117" y="267528"/>
                      <a:pt x="546410" y="269386"/>
                    </a:cubicBezTo>
                    <a:cubicBezTo>
                      <a:pt x="553956" y="274417"/>
                      <a:pt x="557078" y="276999"/>
                      <a:pt x="565924" y="280537"/>
                    </a:cubicBezTo>
                    <a:cubicBezTo>
                      <a:pt x="571381" y="282720"/>
                      <a:pt x="582651" y="286113"/>
                      <a:pt x="582651" y="286113"/>
                    </a:cubicBezTo>
                    <a:cubicBezTo>
                      <a:pt x="591014" y="284254"/>
                      <a:pt x="600078" y="284368"/>
                      <a:pt x="607741" y="280537"/>
                    </a:cubicBezTo>
                    <a:cubicBezTo>
                      <a:pt x="610369" y="279223"/>
                      <a:pt x="607591" y="272174"/>
                      <a:pt x="610529" y="272174"/>
                    </a:cubicBezTo>
                    <a:cubicBezTo>
                      <a:pt x="613467" y="272174"/>
                      <a:pt x="612388" y="277749"/>
                      <a:pt x="613317" y="280537"/>
                    </a:cubicBezTo>
                    <a:cubicBezTo>
                      <a:pt x="614526" y="292622"/>
                      <a:pt x="612815" y="308930"/>
                      <a:pt x="621680" y="319567"/>
                    </a:cubicBezTo>
                    <a:cubicBezTo>
                      <a:pt x="623825" y="322141"/>
                      <a:pt x="627256" y="323284"/>
                      <a:pt x="630044" y="325142"/>
                    </a:cubicBezTo>
                    <a:cubicBezTo>
                      <a:pt x="636549" y="324213"/>
                      <a:pt x="643554" y="325024"/>
                      <a:pt x="649558" y="322355"/>
                    </a:cubicBezTo>
                    <a:cubicBezTo>
                      <a:pt x="659359" y="317999"/>
                      <a:pt x="654471" y="298726"/>
                      <a:pt x="652346" y="294476"/>
                    </a:cubicBezTo>
                    <a:cubicBezTo>
                      <a:pt x="650268" y="290320"/>
                      <a:pt x="644723" y="289137"/>
                      <a:pt x="641195" y="286113"/>
                    </a:cubicBezTo>
                    <a:cubicBezTo>
                      <a:pt x="614011" y="262813"/>
                      <a:pt x="654297" y="293848"/>
                      <a:pt x="621680" y="269386"/>
                    </a:cubicBezTo>
                    <a:cubicBezTo>
                      <a:pt x="619377" y="265931"/>
                      <a:pt x="610746" y="255015"/>
                      <a:pt x="613317" y="249872"/>
                    </a:cubicBezTo>
                    <a:cubicBezTo>
                      <a:pt x="615175" y="246155"/>
                      <a:pt x="620751" y="246155"/>
                      <a:pt x="624468" y="244296"/>
                    </a:cubicBezTo>
                    <a:cubicBezTo>
                      <a:pt x="640240" y="245282"/>
                      <a:pt x="684274" y="247725"/>
                      <a:pt x="702527" y="249872"/>
                    </a:cubicBezTo>
                    <a:cubicBezTo>
                      <a:pt x="707233" y="250426"/>
                      <a:pt x="711820" y="251730"/>
                      <a:pt x="716466" y="252659"/>
                    </a:cubicBezTo>
                    <a:cubicBezTo>
                      <a:pt x="783876" y="237103"/>
                      <a:pt x="749919" y="257606"/>
                      <a:pt x="749919" y="235933"/>
                    </a:cubicBezTo>
                    <a:cubicBezTo>
                      <a:pt x="749919" y="230280"/>
                      <a:pt x="751778" y="224782"/>
                      <a:pt x="752707" y="219206"/>
                    </a:cubicBezTo>
                    <a:cubicBezTo>
                      <a:pt x="753636" y="203408"/>
                      <a:pt x="756285" y="187618"/>
                      <a:pt x="755495" y="171813"/>
                    </a:cubicBezTo>
                    <a:cubicBezTo>
                      <a:pt x="755328" y="168467"/>
                      <a:pt x="751417" y="166447"/>
                      <a:pt x="749919" y="163450"/>
                    </a:cubicBezTo>
                    <a:cubicBezTo>
                      <a:pt x="748605" y="160822"/>
                      <a:pt x="748061" y="157874"/>
                      <a:pt x="747132" y="155086"/>
                    </a:cubicBezTo>
                    <a:cubicBezTo>
                      <a:pt x="748990" y="152298"/>
                      <a:pt x="750091" y="148816"/>
                      <a:pt x="752707" y="146723"/>
                    </a:cubicBezTo>
                    <a:cubicBezTo>
                      <a:pt x="755002" y="144887"/>
                      <a:pt x="759190" y="146193"/>
                      <a:pt x="761071" y="143935"/>
                    </a:cubicBezTo>
                    <a:cubicBezTo>
                      <a:pt x="764275" y="140091"/>
                      <a:pt x="764788" y="134642"/>
                      <a:pt x="766646" y="129996"/>
                    </a:cubicBezTo>
                    <a:cubicBezTo>
                      <a:pt x="765717" y="124420"/>
                      <a:pt x="761330" y="118325"/>
                      <a:pt x="763858" y="113269"/>
                    </a:cubicBezTo>
                    <a:cubicBezTo>
                      <a:pt x="766096" y="108793"/>
                      <a:pt x="773998" y="110951"/>
                      <a:pt x="777797" y="107694"/>
                    </a:cubicBezTo>
                    <a:cubicBezTo>
                      <a:pt x="780953" y="104989"/>
                      <a:pt x="781514" y="100259"/>
                      <a:pt x="783373" y="96542"/>
                    </a:cubicBezTo>
                    <a:cubicBezTo>
                      <a:pt x="784302" y="90967"/>
                      <a:pt x="781699" y="83286"/>
                      <a:pt x="786161" y="79816"/>
                    </a:cubicBezTo>
                    <a:cubicBezTo>
                      <a:pt x="792075" y="75217"/>
                      <a:pt x="801037" y="78018"/>
                      <a:pt x="808463" y="77028"/>
                    </a:cubicBezTo>
                    <a:lnTo>
                      <a:pt x="827978" y="74240"/>
                    </a:lnTo>
                    <a:cubicBezTo>
                      <a:pt x="836341" y="75169"/>
                      <a:pt x="844869" y="75136"/>
                      <a:pt x="853068" y="77028"/>
                    </a:cubicBezTo>
                    <a:cubicBezTo>
                      <a:pt x="857117" y="77962"/>
                      <a:pt x="860144" y="83418"/>
                      <a:pt x="864219" y="82603"/>
                    </a:cubicBezTo>
                    <a:cubicBezTo>
                      <a:pt x="867100" y="82027"/>
                      <a:pt x="865849" y="76941"/>
                      <a:pt x="867007" y="74240"/>
                    </a:cubicBezTo>
                    <a:cubicBezTo>
                      <a:pt x="877341" y="50130"/>
                      <a:pt x="868834" y="74336"/>
                      <a:pt x="875371" y="54725"/>
                    </a:cubicBezTo>
                    <a:cubicBezTo>
                      <a:pt x="874442" y="47291"/>
                      <a:pt x="869580" y="39287"/>
                      <a:pt x="872583" y="32423"/>
                    </a:cubicBezTo>
                    <a:cubicBezTo>
                      <a:pt x="876797" y="22791"/>
                      <a:pt x="887813" y="17899"/>
                      <a:pt x="894885" y="10120"/>
                    </a:cubicBezTo>
                    <a:lnTo>
                      <a:pt x="899754" y="383"/>
                    </a:lnTo>
                    <a:lnTo>
                      <a:pt x="937665" y="383"/>
                    </a:lnTo>
                    <a:close/>
                  </a:path>
                </a:pathLst>
              </a:custGeom>
              <a:solidFill>
                <a:schemeClr val="bg1">
                  <a:lumMod val="85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55" name="Freeform: Shape 354">
                <a:extLst>
                  <a:ext uri="{FF2B5EF4-FFF2-40B4-BE49-F238E27FC236}">
                    <a16:creationId xmlns:a16="http://schemas.microsoft.com/office/drawing/2014/main" id="{04AAC55A-E8CB-407F-9788-FF352971CE9F}"/>
                  </a:ext>
                </a:extLst>
              </p:cNvPr>
              <p:cNvSpPr/>
              <p:nvPr/>
            </p:nvSpPr>
            <p:spPr>
              <a:xfrm>
                <a:off x="11890159" y="1478793"/>
                <a:ext cx="146732" cy="198946"/>
              </a:xfrm>
              <a:custGeom>
                <a:avLst/>
                <a:gdLst>
                  <a:gd name="connsiteX0" fmla="*/ 130582 w 146732"/>
                  <a:gd name="connsiteY0" fmla="*/ 0 h 198946"/>
                  <a:gd name="connsiteX1" fmla="*/ 146732 w 146732"/>
                  <a:gd name="connsiteY1" fmla="*/ 9010 h 198946"/>
                  <a:gd name="connsiteX2" fmla="*/ 146732 w 146732"/>
                  <a:gd name="connsiteY2" fmla="*/ 80395 h 198946"/>
                  <a:gd name="connsiteX3" fmla="*/ 145002 w 146732"/>
                  <a:gd name="connsiteY3" fmla="*/ 107351 h 198946"/>
                  <a:gd name="connsiteX4" fmla="*/ 146732 w 146732"/>
                  <a:gd name="connsiteY4" fmla="*/ 126382 h 198946"/>
                  <a:gd name="connsiteX5" fmla="*/ 146732 w 146732"/>
                  <a:gd name="connsiteY5" fmla="*/ 198946 h 198946"/>
                  <a:gd name="connsiteX6" fmla="*/ 132424 w 146732"/>
                  <a:gd name="connsiteY6" fmla="*/ 197306 h 198946"/>
                  <a:gd name="connsiteX7" fmla="*/ 115410 w 146732"/>
                  <a:gd name="connsiteY7" fmla="*/ 193168 h 198946"/>
                  <a:gd name="connsiteX8" fmla="*/ 106532 w 146732"/>
                  <a:gd name="connsiteY8" fmla="*/ 187250 h 198946"/>
                  <a:gd name="connsiteX9" fmla="*/ 82858 w 146732"/>
                  <a:gd name="connsiteY9" fmla="*/ 181331 h 198946"/>
                  <a:gd name="connsiteX10" fmla="*/ 85818 w 146732"/>
                  <a:gd name="connsiteY10" fmla="*/ 166535 h 198946"/>
                  <a:gd name="connsiteX11" fmla="*/ 103573 w 146732"/>
                  <a:gd name="connsiteY11" fmla="*/ 160617 h 198946"/>
                  <a:gd name="connsiteX12" fmla="*/ 97655 w 146732"/>
                  <a:gd name="connsiteY12" fmla="*/ 139902 h 198946"/>
                  <a:gd name="connsiteX13" fmla="*/ 94695 w 146732"/>
                  <a:gd name="connsiteY13" fmla="*/ 131024 h 198946"/>
                  <a:gd name="connsiteX14" fmla="*/ 79899 w 146732"/>
                  <a:gd name="connsiteY14" fmla="*/ 139902 h 198946"/>
                  <a:gd name="connsiteX15" fmla="*/ 62144 w 146732"/>
                  <a:gd name="connsiteY15" fmla="*/ 151739 h 198946"/>
                  <a:gd name="connsiteX16" fmla="*/ 50307 w 146732"/>
                  <a:gd name="connsiteY16" fmla="*/ 163576 h 198946"/>
                  <a:gd name="connsiteX17" fmla="*/ 35511 w 146732"/>
                  <a:gd name="connsiteY17" fmla="*/ 160617 h 198946"/>
                  <a:gd name="connsiteX18" fmla="*/ 44389 w 146732"/>
                  <a:gd name="connsiteY18" fmla="*/ 154698 h 198946"/>
                  <a:gd name="connsiteX19" fmla="*/ 29592 w 146732"/>
                  <a:gd name="connsiteY19" fmla="*/ 128065 h 198946"/>
                  <a:gd name="connsiteX20" fmla="*/ 20715 w 146732"/>
                  <a:gd name="connsiteY20" fmla="*/ 122147 h 198946"/>
                  <a:gd name="connsiteX21" fmla="*/ 8878 w 146732"/>
                  <a:gd name="connsiteY21" fmla="*/ 107351 h 198946"/>
                  <a:gd name="connsiteX22" fmla="*/ 5919 w 146732"/>
                  <a:gd name="connsiteY22" fmla="*/ 98473 h 198946"/>
                  <a:gd name="connsiteX23" fmla="*/ 0 w 146732"/>
                  <a:gd name="connsiteY23" fmla="*/ 92555 h 198946"/>
                  <a:gd name="connsiteX24" fmla="*/ 14796 w 146732"/>
                  <a:gd name="connsiteY24" fmla="*/ 83677 h 198946"/>
                  <a:gd name="connsiteX25" fmla="*/ 35511 w 146732"/>
                  <a:gd name="connsiteY25" fmla="*/ 77758 h 198946"/>
                  <a:gd name="connsiteX26" fmla="*/ 53266 w 146732"/>
                  <a:gd name="connsiteY26" fmla="*/ 65922 h 198946"/>
                  <a:gd name="connsiteX27" fmla="*/ 59185 w 146732"/>
                  <a:gd name="connsiteY27" fmla="*/ 60003 h 198946"/>
                  <a:gd name="connsiteX28" fmla="*/ 68062 w 146732"/>
                  <a:gd name="connsiteY28" fmla="*/ 57044 h 198946"/>
                  <a:gd name="connsiteX29" fmla="*/ 79899 w 146732"/>
                  <a:gd name="connsiteY29" fmla="*/ 33370 h 198946"/>
                  <a:gd name="connsiteX30" fmla="*/ 82858 w 146732"/>
                  <a:gd name="connsiteY30" fmla="*/ 21533 h 198946"/>
                  <a:gd name="connsiteX31" fmla="*/ 91736 w 146732"/>
                  <a:gd name="connsiteY31" fmla="*/ 18574 h 198946"/>
                  <a:gd name="connsiteX32" fmla="*/ 106532 w 146732"/>
                  <a:gd name="connsiteY32" fmla="*/ 15615 h 198946"/>
                  <a:gd name="connsiteX33" fmla="*/ 112451 w 146732"/>
                  <a:gd name="connsiteY33" fmla="*/ 6737 h 198946"/>
                  <a:gd name="connsiteX34" fmla="*/ 130582 w 146732"/>
                  <a:gd name="connsiteY34" fmla="*/ 0 h 198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46732" h="198946">
                    <a:moveTo>
                      <a:pt x="130582" y="0"/>
                    </a:moveTo>
                    <a:lnTo>
                      <a:pt x="146732" y="9010"/>
                    </a:lnTo>
                    <a:lnTo>
                      <a:pt x="146732" y="80395"/>
                    </a:lnTo>
                    <a:lnTo>
                      <a:pt x="145002" y="107351"/>
                    </a:lnTo>
                    <a:lnTo>
                      <a:pt x="146732" y="126382"/>
                    </a:lnTo>
                    <a:lnTo>
                      <a:pt x="146732" y="198946"/>
                    </a:lnTo>
                    <a:lnTo>
                      <a:pt x="132424" y="197306"/>
                    </a:lnTo>
                    <a:cubicBezTo>
                      <a:pt x="125857" y="195888"/>
                      <a:pt x="119044" y="194077"/>
                      <a:pt x="115410" y="193168"/>
                    </a:cubicBezTo>
                    <a:cubicBezTo>
                      <a:pt x="112451" y="191195"/>
                      <a:pt x="109713" y="188841"/>
                      <a:pt x="106532" y="187250"/>
                    </a:cubicBezTo>
                    <a:cubicBezTo>
                      <a:pt x="100461" y="184214"/>
                      <a:pt x="88494" y="182458"/>
                      <a:pt x="82858" y="181331"/>
                    </a:cubicBezTo>
                    <a:cubicBezTo>
                      <a:pt x="80314" y="173699"/>
                      <a:pt x="76533" y="171178"/>
                      <a:pt x="85818" y="166535"/>
                    </a:cubicBezTo>
                    <a:cubicBezTo>
                      <a:pt x="91398" y="163745"/>
                      <a:pt x="103573" y="160617"/>
                      <a:pt x="103573" y="160617"/>
                    </a:cubicBezTo>
                    <a:cubicBezTo>
                      <a:pt x="96472" y="139310"/>
                      <a:pt x="105095" y="165939"/>
                      <a:pt x="97655" y="139902"/>
                    </a:cubicBezTo>
                    <a:cubicBezTo>
                      <a:pt x="96798" y="136903"/>
                      <a:pt x="95682" y="133983"/>
                      <a:pt x="94695" y="131024"/>
                    </a:cubicBezTo>
                    <a:cubicBezTo>
                      <a:pt x="77723" y="136683"/>
                      <a:pt x="92897" y="130154"/>
                      <a:pt x="79899" y="139902"/>
                    </a:cubicBezTo>
                    <a:cubicBezTo>
                      <a:pt x="74209" y="144170"/>
                      <a:pt x="67174" y="146709"/>
                      <a:pt x="62144" y="151739"/>
                    </a:cubicBezTo>
                    <a:lnTo>
                      <a:pt x="50307" y="163576"/>
                    </a:lnTo>
                    <a:cubicBezTo>
                      <a:pt x="45375" y="162590"/>
                      <a:pt x="38301" y="164802"/>
                      <a:pt x="35511" y="160617"/>
                    </a:cubicBezTo>
                    <a:cubicBezTo>
                      <a:pt x="33538" y="157658"/>
                      <a:pt x="44035" y="158237"/>
                      <a:pt x="44389" y="154698"/>
                    </a:cubicBezTo>
                    <a:cubicBezTo>
                      <a:pt x="46757" y="131012"/>
                      <a:pt x="42719" y="132440"/>
                      <a:pt x="29592" y="128065"/>
                    </a:cubicBezTo>
                    <a:cubicBezTo>
                      <a:pt x="26633" y="126092"/>
                      <a:pt x="23492" y="124369"/>
                      <a:pt x="20715" y="122147"/>
                    </a:cubicBezTo>
                    <a:cubicBezTo>
                      <a:pt x="14691" y="117328"/>
                      <a:pt x="13273" y="113943"/>
                      <a:pt x="8878" y="107351"/>
                    </a:cubicBezTo>
                    <a:cubicBezTo>
                      <a:pt x="7892" y="104392"/>
                      <a:pt x="7524" y="101148"/>
                      <a:pt x="5919" y="98473"/>
                    </a:cubicBezTo>
                    <a:cubicBezTo>
                      <a:pt x="4484" y="96081"/>
                      <a:pt x="0" y="95345"/>
                      <a:pt x="0" y="92555"/>
                    </a:cubicBezTo>
                    <a:cubicBezTo>
                      <a:pt x="0" y="87243"/>
                      <a:pt x="12354" y="84375"/>
                      <a:pt x="14796" y="83677"/>
                    </a:cubicBezTo>
                    <a:cubicBezTo>
                      <a:pt x="17957" y="82774"/>
                      <a:pt x="31750" y="79847"/>
                      <a:pt x="35511" y="77758"/>
                    </a:cubicBezTo>
                    <a:cubicBezTo>
                      <a:pt x="41729" y="74304"/>
                      <a:pt x="48236" y="70952"/>
                      <a:pt x="53266" y="65922"/>
                    </a:cubicBezTo>
                    <a:cubicBezTo>
                      <a:pt x="55239" y="63949"/>
                      <a:pt x="56792" y="61439"/>
                      <a:pt x="59185" y="60003"/>
                    </a:cubicBezTo>
                    <a:cubicBezTo>
                      <a:pt x="61860" y="58398"/>
                      <a:pt x="65103" y="58030"/>
                      <a:pt x="68062" y="57044"/>
                    </a:cubicBezTo>
                    <a:cubicBezTo>
                      <a:pt x="77378" y="47728"/>
                      <a:pt x="75366" y="51505"/>
                      <a:pt x="79899" y="33370"/>
                    </a:cubicBezTo>
                    <a:cubicBezTo>
                      <a:pt x="80885" y="29424"/>
                      <a:pt x="80317" y="24709"/>
                      <a:pt x="82858" y="21533"/>
                    </a:cubicBezTo>
                    <a:cubicBezTo>
                      <a:pt x="84807" y="19097"/>
                      <a:pt x="88710" y="19330"/>
                      <a:pt x="91736" y="18574"/>
                    </a:cubicBezTo>
                    <a:cubicBezTo>
                      <a:pt x="96616" y="17354"/>
                      <a:pt x="101600" y="16601"/>
                      <a:pt x="106532" y="15615"/>
                    </a:cubicBezTo>
                    <a:cubicBezTo>
                      <a:pt x="108505" y="12656"/>
                      <a:pt x="109674" y="8959"/>
                      <a:pt x="112451" y="6737"/>
                    </a:cubicBezTo>
                    <a:cubicBezTo>
                      <a:pt x="115665" y="4166"/>
                      <a:pt x="123186" y="713"/>
                      <a:pt x="130582" y="0"/>
                    </a:cubicBezTo>
                    <a:close/>
                  </a:path>
                </a:pathLst>
              </a:custGeom>
              <a:solidFill>
                <a:schemeClr val="bg2">
                  <a:lumMod val="90000"/>
                </a:schemeClr>
              </a:solidFill>
              <a:ln w="9525">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grpSp>
      <p:sp>
        <p:nvSpPr>
          <p:cNvPr id="876" name="object 41">
            <a:extLst>
              <a:ext uri="{FF2B5EF4-FFF2-40B4-BE49-F238E27FC236}">
                <a16:creationId xmlns:a16="http://schemas.microsoft.com/office/drawing/2014/main" id="{30DCBB7E-61C8-4C5F-9B06-05CB1F1E0DC5}"/>
              </a:ext>
            </a:extLst>
          </p:cNvPr>
          <p:cNvSpPr>
            <a:spLocks/>
          </p:cNvSpPr>
          <p:nvPr/>
        </p:nvSpPr>
        <p:spPr>
          <a:xfrm>
            <a:off x="4951965" y="4443750"/>
            <a:ext cx="249265" cy="144312"/>
          </a:xfrm>
          <a:prstGeom prst="rect">
            <a:avLst/>
          </a:prstGeom>
          <a:blipFill>
            <a:blip r:embed="rId4" cstate="print"/>
            <a:srcRect/>
            <a:stretch>
              <a:fillRect/>
            </a:stretch>
          </a:blipFill>
          <a:ln w="3175">
            <a:solidFill>
              <a:sysClr val="windowText" lastClr="000000"/>
            </a:solidFill>
          </a:ln>
        </p:spPr>
        <p:txBody>
          <a:bodyPr wrap="square" lIns="26985" tIns="0" rIns="0" bIns="0" rtlCol="0"/>
          <a:lstStyle/>
          <a:p>
            <a:pPr defTabSz="685429">
              <a:defRPr/>
            </a:pPr>
            <a:endParaRPr sz="450" kern="0">
              <a:solidFill>
                <a:prstClr val="black"/>
              </a:solidFill>
              <a:latin typeface="Verdana"/>
            </a:endParaRPr>
          </a:p>
        </p:txBody>
      </p:sp>
      <p:pic>
        <p:nvPicPr>
          <p:cNvPr id="877" name="Picture 876">
            <a:extLst>
              <a:ext uri="{FF2B5EF4-FFF2-40B4-BE49-F238E27FC236}">
                <a16:creationId xmlns:a16="http://schemas.microsoft.com/office/drawing/2014/main" id="{D58AD0D5-099E-471D-9C3B-CF234A73A625}"/>
              </a:ext>
            </a:extLst>
          </p:cNvPr>
          <p:cNvPicPr>
            <a:picLocks noChangeAspect="1"/>
          </p:cNvPicPr>
          <p:nvPr/>
        </p:nvPicPr>
        <p:blipFill>
          <a:blip r:embed="rId5"/>
          <a:stretch>
            <a:fillRect/>
          </a:stretch>
        </p:blipFill>
        <p:spPr>
          <a:xfrm>
            <a:off x="5191065" y="4634261"/>
            <a:ext cx="234991" cy="173912"/>
          </a:xfrm>
          <a:prstGeom prst="rect">
            <a:avLst/>
          </a:prstGeom>
        </p:spPr>
      </p:pic>
      <p:sp>
        <p:nvSpPr>
          <p:cNvPr id="880" name="object 112">
            <a:extLst>
              <a:ext uri="{FF2B5EF4-FFF2-40B4-BE49-F238E27FC236}">
                <a16:creationId xmlns:a16="http://schemas.microsoft.com/office/drawing/2014/main" id="{5296731D-58C7-4270-8B7C-A02DB7150922}"/>
              </a:ext>
            </a:extLst>
          </p:cNvPr>
          <p:cNvSpPr>
            <a:spLocks/>
          </p:cNvSpPr>
          <p:nvPr/>
        </p:nvSpPr>
        <p:spPr>
          <a:xfrm>
            <a:off x="6252697" y="2089388"/>
            <a:ext cx="243962" cy="157170"/>
          </a:xfrm>
          <a:prstGeom prst="rect">
            <a:avLst/>
          </a:prstGeom>
          <a:blipFill>
            <a:blip r:embed="rId6" cstate="print"/>
            <a:srcRect/>
            <a:stretch>
              <a:fillRect/>
            </a:stretch>
          </a:blipFill>
          <a:ln w="3175">
            <a:solidFill>
              <a:sysClr val="windowText" lastClr="000000"/>
            </a:solidFill>
          </a:ln>
        </p:spPr>
        <p:txBody>
          <a:bodyPr wrap="square" lIns="26985" tIns="0" rIns="0" bIns="0" rtlCol="0"/>
          <a:lstStyle/>
          <a:p>
            <a:pPr defTabSz="685429">
              <a:defRPr/>
            </a:pPr>
            <a:endParaRPr sz="450" kern="0">
              <a:solidFill>
                <a:prstClr val="black"/>
              </a:solidFill>
              <a:latin typeface="Verdana"/>
            </a:endParaRPr>
          </a:p>
        </p:txBody>
      </p:sp>
      <p:sp>
        <p:nvSpPr>
          <p:cNvPr id="881" name="object 45">
            <a:extLst>
              <a:ext uri="{FF2B5EF4-FFF2-40B4-BE49-F238E27FC236}">
                <a16:creationId xmlns:a16="http://schemas.microsoft.com/office/drawing/2014/main" id="{00D90E37-0F99-48A6-966E-1F0C50F50BB6}"/>
              </a:ext>
            </a:extLst>
          </p:cNvPr>
          <p:cNvSpPr>
            <a:spLocks/>
          </p:cNvSpPr>
          <p:nvPr/>
        </p:nvSpPr>
        <p:spPr>
          <a:xfrm>
            <a:off x="6690453" y="2091412"/>
            <a:ext cx="233519" cy="153122"/>
          </a:xfrm>
          <a:prstGeom prst="rect">
            <a:avLst/>
          </a:prstGeom>
          <a:blipFill>
            <a:blip r:embed="rId7" cstate="print"/>
            <a:srcRect/>
            <a:stretch>
              <a:fillRect/>
            </a:stretch>
          </a:blipFill>
          <a:ln w="3175">
            <a:solidFill>
              <a:sysClr val="windowText" lastClr="000000"/>
            </a:solidFill>
          </a:ln>
        </p:spPr>
        <p:txBody>
          <a:bodyPr wrap="square" lIns="26985" tIns="0" rIns="0" bIns="0" rtlCol="0"/>
          <a:lstStyle/>
          <a:p>
            <a:pPr defTabSz="685429">
              <a:defRPr/>
            </a:pPr>
            <a:endParaRPr sz="450" kern="0">
              <a:solidFill>
                <a:prstClr val="black"/>
              </a:solidFill>
              <a:latin typeface="Verdana"/>
            </a:endParaRPr>
          </a:p>
        </p:txBody>
      </p:sp>
      <p:pic>
        <p:nvPicPr>
          <p:cNvPr id="882" name="Picture 4">
            <a:extLst>
              <a:ext uri="{FF2B5EF4-FFF2-40B4-BE49-F238E27FC236}">
                <a16:creationId xmlns:a16="http://schemas.microsoft.com/office/drawing/2014/main" id="{056FAB3F-9726-4921-96A1-F48A3CF970E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785687" y="2479088"/>
            <a:ext cx="247773" cy="150819"/>
          </a:xfrm>
          <a:prstGeom prst="rect">
            <a:avLst/>
          </a:prstGeom>
          <a:noFill/>
          <a:extLst>
            <a:ext uri="{909E8E84-426E-40DD-AFC4-6F175D3DCCD1}">
              <a14:hiddenFill xmlns:a14="http://schemas.microsoft.com/office/drawing/2010/main">
                <a:solidFill>
                  <a:srgbClr val="FFFFFF"/>
                </a:solidFill>
              </a14:hiddenFill>
            </a:ext>
          </a:extLst>
        </p:spPr>
      </p:pic>
      <p:sp>
        <p:nvSpPr>
          <p:cNvPr id="883" name="object 100">
            <a:extLst>
              <a:ext uri="{FF2B5EF4-FFF2-40B4-BE49-F238E27FC236}">
                <a16:creationId xmlns:a16="http://schemas.microsoft.com/office/drawing/2014/main" id="{12840F4C-5A30-4D21-8875-4021A337F524}"/>
              </a:ext>
            </a:extLst>
          </p:cNvPr>
          <p:cNvSpPr>
            <a:spLocks/>
          </p:cNvSpPr>
          <p:nvPr/>
        </p:nvSpPr>
        <p:spPr>
          <a:xfrm>
            <a:off x="6496659" y="3254016"/>
            <a:ext cx="249362" cy="140415"/>
          </a:xfrm>
          <a:prstGeom prst="rect">
            <a:avLst/>
          </a:prstGeom>
          <a:blipFill>
            <a:blip r:embed="rId9" cstate="print"/>
            <a:srcRect/>
            <a:stretch>
              <a:fillRect/>
            </a:stretch>
          </a:blipFill>
          <a:ln w="3175">
            <a:solidFill>
              <a:sysClr val="windowText" lastClr="000000"/>
            </a:solidFill>
          </a:ln>
        </p:spPr>
        <p:txBody>
          <a:bodyPr wrap="square" lIns="26985" tIns="0" rIns="0" bIns="0" rtlCol="0"/>
          <a:lstStyle/>
          <a:p>
            <a:pPr defTabSz="685429">
              <a:defRPr/>
            </a:pPr>
            <a:endParaRPr sz="450" kern="0">
              <a:solidFill>
                <a:prstClr val="black"/>
              </a:solidFill>
              <a:latin typeface="Verdana"/>
            </a:endParaRPr>
          </a:p>
        </p:txBody>
      </p:sp>
      <p:sp>
        <p:nvSpPr>
          <p:cNvPr id="4" name="Rectangle 16">
            <a:extLst>
              <a:ext uri="{FF2B5EF4-FFF2-40B4-BE49-F238E27FC236}">
                <a16:creationId xmlns:a16="http://schemas.microsoft.com/office/drawing/2014/main" id="{B9B82C9D-FF23-2E78-0AAE-9A2F6015DE31}"/>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5" name="object 46">
            <a:extLst>
              <a:ext uri="{FF2B5EF4-FFF2-40B4-BE49-F238E27FC236}">
                <a16:creationId xmlns:a16="http://schemas.microsoft.com/office/drawing/2014/main" id="{CF1E0E5A-E759-CF73-3BD4-691A06FB42AE}"/>
              </a:ext>
            </a:extLst>
          </p:cNvPr>
          <p:cNvSpPr>
            <a:spLocks/>
          </p:cNvSpPr>
          <p:nvPr/>
        </p:nvSpPr>
        <p:spPr>
          <a:xfrm>
            <a:off x="5465618" y="3802735"/>
            <a:ext cx="242555" cy="187374"/>
          </a:xfrm>
          <a:prstGeom prst="rect">
            <a:avLst/>
          </a:prstGeom>
          <a:blipFill>
            <a:blip r:embed="rId10" cstate="print"/>
            <a:srcRect/>
            <a:stretch>
              <a:fillRect/>
            </a:stretch>
          </a:blipFill>
          <a:ln w="3175">
            <a:solidFill>
              <a:sysClr val="windowText" lastClr="000000"/>
            </a:solidFill>
          </a:ln>
        </p:spPr>
        <p:txBody>
          <a:bodyPr wrap="square" lIns="35980" tIns="0" rIns="0" bIns="0" rtlCol="0"/>
          <a:lstStyle/>
          <a:p>
            <a:pPr defTabSz="913905">
              <a:defRPr/>
            </a:pPr>
            <a:endParaRPr sz="600" kern="0" spc="-70">
              <a:solidFill>
                <a:prstClr val="black"/>
              </a:solidFill>
              <a:latin typeface="Verdana"/>
            </a:endParaRPr>
          </a:p>
        </p:txBody>
      </p:sp>
      <p:pic>
        <p:nvPicPr>
          <p:cNvPr id="10" name="Picture 2">
            <a:extLst>
              <a:ext uri="{FF2B5EF4-FFF2-40B4-BE49-F238E27FC236}">
                <a16:creationId xmlns:a16="http://schemas.microsoft.com/office/drawing/2014/main" id="{BC406EC8-1231-9C9C-FDE5-94A786374B9D}"/>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147118" y="4344206"/>
            <a:ext cx="210872" cy="138994"/>
          </a:xfrm>
          <a:prstGeom prst="rect">
            <a:avLst/>
          </a:prstGeom>
          <a:noFill/>
          <a:ln w="9525">
            <a:solidFill>
              <a:schemeClr val="tx1"/>
            </a:solidFill>
            <a:miter lim="800000"/>
            <a:headEnd/>
            <a:tailEnd/>
          </a:ln>
          <a:extLst>
            <a:ext uri="{909E8E84-426E-40DD-AFC4-6F175D3DCCD1}">
              <a14:hiddenFill xmlns:a14="http://schemas.microsoft.com/office/drawing/2010/main">
                <a:solidFill>
                  <a:schemeClr val="accent1"/>
                </a:solidFill>
              </a14:hiddenFill>
            </a:ext>
          </a:extLst>
        </p:spPr>
      </p:pic>
      <p:pic>
        <p:nvPicPr>
          <p:cNvPr id="11" name="Picture 10">
            <a:extLst>
              <a:ext uri="{FF2B5EF4-FFF2-40B4-BE49-F238E27FC236}">
                <a16:creationId xmlns:a16="http://schemas.microsoft.com/office/drawing/2014/main" id="{01794BEB-E956-4E41-0EBE-F4B2DF1ECD1C}"/>
              </a:ext>
            </a:extLst>
          </p:cNvPr>
          <p:cNvPicPr preferRelativeResize="0"/>
          <p:nvPr/>
        </p:nvPicPr>
        <p:blipFill>
          <a:blip r:embed="rId12">
            <a:extLst>
              <a:ext uri="{28A0092B-C50C-407E-A947-70E740481C1C}">
                <a14:useLocalDpi xmlns:a14="http://schemas.microsoft.com/office/drawing/2010/main" val="0"/>
              </a:ext>
            </a:extLst>
          </a:blip>
          <a:srcRect/>
          <a:stretch>
            <a:fillRect/>
          </a:stretch>
        </p:blipFill>
        <p:spPr bwMode="auto">
          <a:xfrm>
            <a:off x="7067365" y="4119791"/>
            <a:ext cx="210872" cy="140662"/>
          </a:xfrm>
          <a:prstGeom prst="rect">
            <a:avLst/>
          </a:prstGeom>
          <a:noFill/>
          <a:ln>
            <a:solidFill>
              <a:schemeClr val="tx1">
                <a:lumMod val="75000"/>
                <a:lumOff val="25000"/>
              </a:schemeClr>
            </a:solidFill>
          </a:ln>
        </p:spPr>
      </p:pic>
      <p:pic>
        <p:nvPicPr>
          <p:cNvPr id="12" name="Picture 11">
            <a:extLst>
              <a:ext uri="{FF2B5EF4-FFF2-40B4-BE49-F238E27FC236}">
                <a16:creationId xmlns:a16="http://schemas.microsoft.com/office/drawing/2014/main" id="{6B7B35C2-FAAC-D60C-2156-184BDAF84916}"/>
              </a:ext>
            </a:extLst>
          </p:cNvPr>
          <p:cNvPicPr/>
          <p:nvPr/>
        </p:nvPicPr>
        <p:blipFill>
          <a:blip r:embed="rId13">
            <a:extLst>
              <a:ext uri="{28A0092B-C50C-407E-A947-70E740481C1C}">
                <a14:useLocalDpi xmlns:a14="http://schemas.microsoft.com/office/drawing/2010/main" val="0"/>
              </a:ext>
            </a:extLst>
          </a:blip>
          <a:srcRect/>
          <a:stretch>
            <a:fillRect/>
          </a:stretch>
        </p:blipFill>
        <p:spPr bwMode="auto">
          <a:xfrm>
            <a:off x="6932386" y="3802905"/>
            <a:ext cx="237505" cy="147630"/>
          </a:xfrm>
          <a:prstGeom prst="rect">
            <a:avLst/>
          </a:prstGeom>
          <a:noFill/>
          <a:ln>
            <a:noFill/>
          </a:ln>
        </p:spPr>
      </p:pic>
      <p:sp>
        <p:nvSpPr>
          <p:cNvPr id="13" name="object 75">
            <a:extLst>
              <a:ext uri="{FF2B5EF4-FFF2-40B4-BE49-F238E27FC236}">
                <a16:creationId xmlns:a16="http://schemas.microsoft.com/office/drawing/2014/main" id="{44BF3DD4-42C7-B1A1-771A-C981CBC66E76}"/>
              </a:ext>
            </a:extLst>
          </p:cNvPr>
          <p:cNvSpPr>
            <a:spLocks/>
          </p:cNvSpPr>
          <p:nvPr/>
        </p:nvSpPr>
        <p:spPr>
          <a:xfrm>
            <a:off x="6754091" y="2712728"/>
            <a:ext cx="239899" cy="165553"/>
          </a:xfrm>
          <a:prstGeom prst="rect">
            <a:avLst/>
          </a:prstGeom>
          <a:blipFill>
            <a:blip r:embed="rId14" cstate="print"/>
            <a:srcRect/>
            <a:stretch>
              <a:fillRect/>
            </a:stretch>
          </a:blipFill>
          <a:ln w="3175">
            <a:solidFill>
              <a:sysClr val="windowText" lastClr="000000"/>
            </a:solidFill>
          </a:ln>
        </p:spPr>
        <p:txBody>
          <a:bodyPr wrap="square" lIns="35980" tIns="0" rIns="0" bIns="0" rtlCol="0"/>
          <a:lstStyle/>
          <a:p>
            <a:pPr defTabSz="913905">
              <a:defRPr/>
            </a:pPr>
            <a:endParaRPr sz="600" kern="0" spc="-70">
              <a:solidFill>
                <a:prstClr val="black"/>
              </a:solidFill>
              <a:latin typeface="Verdana"/>
            </a:endParaRPr>
          </a:p>
        </p:txBody>
      </p:sp>
    </p:spTree>
    <p:extLst>
      <p:ext uri="{BB962C8B-B14F-4D97-AF65-F5344CB8AC3E}">
        <p14:creationId xmlns:p14="http://schemas.microsoft.com/office/powerpoint/2010/main" val="12168340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399" name="Rectangle 8">
            <a:extLst>
              <a:ext uri="{FF2B5EF4-FFF2-40B4-BE49-F238E27FC236}">
                <a16:creationId xmlns:a16="http://schemas.microsoft.com/office/drawing/2014/main" id="{BC015AA9-D044-43BA-9044-6AD9531C0D05}"/>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IE" sz="1400" b="1" dirty="0">
                <a:solidFill>
                  <a:schemeClr val="bg1"/>
                </a:solidFill>
                <a:latin typeface="Arial"/>
                <a:cs typeface="Arial"/>
              </a:rPr>
              <a:t>CP</a:t>
            </a:r>
            <a:r>
              <a:rPr lang="en-IE" sz="1400" b="1" dirty="0">
                <a:solidFill>
                  <a:schemeClr val="bg1"/>
                </a:solidFill>
                <a:latin typeface="Arial" panose="020B0604020202020204" pitchFamily="34" charset="0"/>
                <a:cs typeface="Arial" panose="020B0604020202020204" pitchFamily="34" charset="0"/>
              </a:rPr>
              <a:t>14 </a:t>
            </a:r>
            <a:r>
              <a:rPr lang="en-IE" sz="1400" b="1" dirty="0">
                <a:solidFill>
                  <a:schemeClr val="bg1"/>
                </a:solidFill>
                <a:latin typeface="Arial"/>
                <a:cs typeface="Arial"/>
              </a:rPr>
              <a:t>Common Practice </a:t>
            </a:r>
            <a:endParaRPr lang="en-IE" sz="1500" b="1" spc="-71" dirty="0">
              <a:solidFill>
                <a:srgbClr val="FFFCF6"/>
              </a:solidFill>
              <a:latin typeface="Arial"/>
              <a:ea typeface="Open Sans" panose="020B0606030504020204" pitchFamily="34" charset="0"/>
              <a:cs typeface="Arial"/>
            </a:endParaRPr>
          </a:p>
        </p:txBody>
      </p:sp>
      <p:sp>
        <p:nvSpPr>
          <p:cNvPr id="400" name="Rectangle 399">
            <a:extLst>
              <a:ext uri="{FF2B5EF4-FFF2-40B4-BE49-F238E27FC236}">
                <a16:creationId xmlns:a16="http://schemas.microsoft.com/office/drawing/2014/main" id="{5CB3DBD3-2389-4D5D-90A6-6FF746F3C9D6}"/>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Basis</a:t>
            </a:r>
          </a:p>
        </p:txBody>
      </p:sp>
      <p:pic>
        <p:nvPicPr>
          <p:cNvPr id="401" name="Picture 400">
            <a:extLst>
              <a:ext uri="{FF2B5EF4-FFF2-40B4-BE49-F238E27FC236}">
                <a16:creationId xmlns:a16="http://schemas.microsoft.com/office/drawing/2014/main" id="{26BB0739-A542-4B62-913C-13ECE977B200}"/>
              </a:ext>
            </a:extLst>
          </p:cNvPr>
          <p:cNvPicPr>
            <a:picLocks noChangeAspect="1"/>
          </p:cNvPicPr>
          <p:nvPr/>
        </p:nvPicPr>
        <p:blipFill>
          <a:blip r:embed="rId4"/>
          <a:stretch>
            <a:fillRect/>
          </a:stretch>
        </p:blipFill>
        <p:spPr>
          <a:xfrm>
            <a:off x="2906173" y="1841865"/>
            <a:ext cx="3502247" cy="2819481"/>
          </a:xfrm>
          <a:prstGeom prst="rect">
            <a:avLst/>
          </a:prstGeom>
        </p:spPr>
      </p:pic>
      <p:sp>
        <p:nvSpPr>
          <p:cNvPr id="402" name="Rectangle 401">
            <a:extLst>
              <a:ext uri="{FF2B5EF4-FFF2-40B4-BE49-F238E27FC236}">
                <a16:creationId xmlns:a16="http://schemas.microsoft.com/office/drawing/2014/main" id="{63CB5EA0-AD9A-4ACA-B534-C15AEBE85790}"/>
              </a:ext>
            </a:extLst>
          </p:cNvPr>
          <p:cNvSpPr/>
          <p:nvPr/>
        </p:nvSpPr>
        <p:spPr>
          <a:xfrm>
            <a:off x="4001775" y="2971696"/>
            <a:ext cx="1226820" cy="584775"/>
          </a:xfrm>
          <a:prstGeom prst="rect">
            <a:avLst/>
          </a:prstGeom>
        </p:spPr>
        <p:txBody>
          <a:bodyPr wrap="square">
            <a:spAutoFit/>
          </a:bodyPr>
          <a:lstStyle/>
          <a:p>
            <a:pPr algn="ctr">
              <a:defRPr sz="3000">
                <a:solidFill>
                  <a:srgbClr val="FFFFFF"/>
                </a:solidFill>
              </a:defRPr>
            </a:pPr>
            <a:r>
              <a:rPr lang="en-US" sz="1600" b="1" dirty="0">
                <a:solidFill>
                  <a:schemeClr val="bg1"/>
                </a:solidFill>
                <a:latin typeface="Arial" panose="020B0604020202020204" pitchFamily="34" charset="0"/>
                <a:cs typeface="Arial" panose="020B0604020202020204" pitchFamily="34" charset="0"/>
              </a:rPr>
              <a:t>Common</a:t>
            </a:r>
          </a:p>
          <a:p>
            <a:pPr algn="ctr">
              <a:defRPr sz="3000">
                <a:solidFill>
                  <a:srgbClr val="FFFFFF"/>
                </a:solidFill>
              </a:defRPr>
            </a:pPr>
            <a:r>
              <a:rPr lang="en-US" sz="1600" b="1" dirty="0">
                <a:solidFill>
                  <a:schemeClr val="bg1"/>
                </a:solidFill>
                <a:latin typeface="Arial" panose="020B0604020202020204" pitchFamily="34" charset="0"/>
                <a:cs typeface="Arial" panose="020B0604020202020204" pitchFamily="34" charset="0"/>
              </a:rPr>
              <a:t>P</a:t>
            </a:r>
            <a:r>
              <a:rPr lang="en-US" sz="1600" b="1">
                <a:solidFill>
                  <a:schemeClr val="bg1"/>
                </a:solidFill>
                <a:latin typeface="Arial" panose="020B0604020202020204" pitchFamily="34" charset="0"/>
                <a:cs typeface="Arial" panose="020B0604020202020204" pitchFamily="34" charset="0"/>
              </a:rPr>
              <a:t>ractice</a:t>
            </a:r>
            <a:endParaRPr lang="en-US" sz="1600" b="1" dirty="0">
              <a:solidFill>
                <a:schemeClr val="bg1"/>
              </a:solidFill>
              <a:latin typeface="Arial" panose="020B0604020202020204" pitchFamily="34" charset="0"/>
              <a:cs typeface="Arial" panose="020B0604020202020204" pitchFamily="34" charset="0"/>
            </a:endParaRPr>
          </a:p>
        </p:txBody>
      </p:sp>
      <p:pic>
        <p:nvPicPr>
          <p:cNvPr id="405" name="Graphic 404" descr="Customer review outline">
            <a:extLst>
              <a:ext uri="{FF2B5EF4-FFF2-40B4-BE49-F238E27FC236}">
                <a16:creationId xmlns:a16="http://schemas.microsoft.com/office/drawing/2014/main" id="{E21056FE-E717-432F-BBE6-8137F9B25C0F}"/>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102172" y="3251605"/>
            <a:ext cx="518174" cy="518174"/>
          </a:xfrm>
          <a:prstGeom prst="rect">
            <a:avLst/>
          </a:prstGeom>
        </p:spPr>
      </p:pic>
      <p:pic>
        <p:nvPicPr>
          <p:cNvPr id="406" name="Graphic 405" descr="Checklist outline">
            <a:extLst>
              <a:ext uri="{FF2B5EF4-FFF2-40B4-BE49-F238E27FC236}">
                <a16:creationId xmlns:a16="http://schemas.microsoft.com/office/drawing/2014/main" id="{A41593CC-F1C8-4BA4-8EBE-2A7B2D5A989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599945" y="1994864"/>
            <a:ext cx="560844" cy="560844"/>
          </a:xfrm>
          <a:prstGeom prst="rect">
            <a:avLst/>
          </a:prstGeom>
        </p:spPr>
      </p:pic>
      <p:pic>
        <p:nvPicPr>
          <p:cNvPr id="407" name="Graphic 406" descr="Handshake outline">
            <a:extLst>
              <a:ext uri="{FF2B5EF4-FFF2-40B4-BE49-F238E27FC236}">
                <a16:creationId xmlns:a16="http://schemas.microsoft.com/office/drawing/2014/main" id="{19850144-6CD2-418B-A412-F60A43D28DB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953678" y="4400434"/>
            <a:ext cx="599436" cy="599436"/>
          </a:xfrm>
          <a:prstGeom prst="rect">
            <a:avLst/>
          </a:prstGeom>
        </p:spPr>
      </p:pic>
      <p:sp>
        <p:nvSpPr>
          <p:cNvPr id="408" name="TextBox 407">
            <a:extLst>
              <a:ext uri="{FF2B5EF4-FFF2-40B4-BE49-F238E27FC236}">
                <a16:creationId xmlns:a16="http://schemas.microsoft.com/office/drawing/2014/main" id="{99FB07F6-2B47-4D0C-9AF6-A52BF77FA909}"/>
              </a:ext>
            </a:extLst>
          </p:cNvPr>
          <p:cNvSpPr txBox="1"/>
          <p:nvPr/>
        </p:nvSpPr>
        <p:spPr>
          <a:xfrm>
            <a:off x="6130595" y="4136796"/>
            <a:ext cx="1279304" cy="338554"/>
          </a:xfrm>
          <a:prstGeom prst="rect">
            <a:avLst/>
          </a:prstGeom>
          <a:noFill/>
        </p:spPr>
        <p:txBody>
          <a:bodyPr wrap="square" lIns="0" rIns="0" rtlCol="0" anchor="b">
            <a:spAutoFit/>
          </a:bodyPr>
          <a:lstStyle/>
          <a:p>
            <a:r>
              <a:rPr lang="en-US" sz="1600" b="1" dirty="0">
                <a:solidFill>
                  <a:schemeClr val="tx1">
                    <a:lumMod val="65000"/>
                    <a:lumOff val="35000"/>
                  </a:schemeClr>
                </a:solidFill>
                <a:latin typeface="Arial" panose="020B0604020202020204" pitchFamily="34" charset="0"/>
                <a:cs typeface="Arial" panose="020B0604020202020204" pitchFamily="34" charset="0"/>
              </a:rPr>
              <a:t>EU case-law</a:t>
            </a:r>
          </a:p>
        </p:txBody>
      </p:sp>
      <p:sp>
        <p:nvSpPr>
          <p:cNvPr id="409" name="TextBox 408">
            <a:extLst>
              <a:ext uri="{FF2B5EF4-FFF2-40B4-BE49-F238E27FC236}">
                <a16:creationId xmlns:a16="http://schemas.microsoft.com/office/drawing/2014/main" id="{23505CEA-658E-46B1-934E-A57B3AD710D5}"/>
              </a:ext>
            </a:extLst>
          </p:cNvPr>
          <p:cNvSpPr txBox="1"/>
          <p:nvPr/>
        </p:nvSpPr>
        <p:spPr>
          <a:xfrm>
            <a:off x="5887035" y="1702476"/>
            <a:ext cx="1522864" cy="830997"/>
          </a:xfrm>
          <a:prstGeom prst="rect">
            <a:avLst/>
          </a:prstGeom>
          <a:noFill/>
        </p:spPr>
        <p:txBody>
          <a:bodyPr wrap="square" lIns="0" rIns="0" rtlCol="0" anchor="b">
            <a:spAutoFit/>
          </a:bodyPr>
          <a:lstStyle/>
          <a:p>
            <a:pPr algn="ctr"/>
            <a:r>
              <a:rPr lang="en-US" sz="1600" b="1" dirty="0">
                <a:solidFill>
                  <a:schemeClr val="tx1">
                    <a:lumMod val="65000"/>
                    <a:lumOff val="35000"/>
                  </a:schemeClr>
                </a:solidFill>
                <a:latin typeface="Arial" panose="020B0604020202020204" pitchFamily="34" charset="0"/>
                <a:cs typeface="Arial" panose="020B0604020202020204" pitchFamily="34" charset="0"/>
              </a:rPr>
              <a:t>Agreements among the WG members</a:t>
            </a:r>
          </a:p>
        </p:txBody>
      </p:sp>
      <p:sp>
        <p:nvSpPr>
          <p:cNvPr id="410" name="TextBox 409">
            <a:extLst>
              <a:ext uri="{FF2B5EF4-FFF2-40B4-BE49-F238E27FC236}">
                <a16:creationId xmlns:a16="http://schemas.microsoft.com/office/drawing/2014/main" id="{C837DBDD-3922-4B40-8082-B43D063272BF}"/>
              </a:ext>
            </a:extLst>
          </p:cNvPr>
          <p:cNvSpPr txBox="1"/>
          <p:nvPr/>
        </p:nvSpPr>
        <p:spPr>
          <a:xfrm>
            <a:off x="1097937" y="2985591"/>
            <a:ext cx="1724013" cy="584775"/>
          </a:xfrm>
          <a:prstGeom prst="rect">
            <a:avLst/>
          </a:prstGeom>
          <a:noFill/>
        </p:spPr>
        <p:txBody>
          <a:bodyPr wrap="square" lIns="0" rIns="0" rtlCol="0" anchor="b">
            <a:spAutoFit/>
          </a:bodyPr>
          <a:lstStyle/>
          <a:p>
            <a:r>
              <a:rPr lang="en-US" sz="1600" b="1" dirty="0">
                <a:solidFill>
                  <a:schemeClr val="tx1">
                    <a:lumMod val="65000"/>
                    <a:lumOff val="35000"/>
                  </a:schemeClr>
                </a:solidFill>
                <a:latin typeface="Arial" panose="020B0604020202020204" pitchFamily="34" charset="0"/>
                <a:cs typeface="Arial" panose="020B0604020202020204" pitchFamily="34" charset="0"/>
              </a:rPr>
              <a:t>Feedback from MS IPOs and UAs</a:t>
            </a:r>
          </a:p>
        </p:txBody>
      </p:sp>
      <p:pic>
        <p:nvPicPr>
          <p:cNvPr id="411" name="Picture 410">
            <a:extLst>
              <a:ext uri="{FF2B5EF4-FFF2-40B4-BE49-F238E27FC236}">
                <a16:creationId xmlns:a16="http://schemas.microsoft.com/office/drawing/2014/main" id="{AA061BB1-D902-4781-8A4A-4D86D1FA359C}"/>
              </a:ext>
            </a:extLst>
          </p:cNvPr>
          <p:cNvPicPr>
            <a:picLocks noChangeAspect="1"/>
          </p:cNvPicPr>
          <p:nvPr/>
        </p:nvPicPr>
        <p:blipFill>
          <a:blip r:embed="rId11">
            <a:extLst>
              <a:ext uri="{BEBA8EAE-BF5A-486C-A8C5-ECC9F3942E4B}">
                <a14:imgProps xmlns:a14="http://schemas.microsoft.com/office/drawing/2010/main">
                  <a14:imgLayer r:embed="rId12">
                    <a14:imgEffect>
                      <a14:artisticPhotocopy trans="0" detail="10"/>
                    </a14:imgEffect>
                  </a14:imgLayer>
                </a14:imgProps>
              </a:ext>
            </a:extLst>
          </a:blip>
          <a:stretch>
            <a:fillRect/>
          </a:stretch>
        </p:blipFill>
        <p:spPr>
          <a:xfrm>
            <a:off x="5389425" y="3618622"/>
            <a:ext cx="518174" cy="518174"/>
          </a:xfrm>
          <a:prstGeom prst="rect">
            <a:avLst/>
          </a:prstGeom>
        </p:spPr>
      </p:pic>
      <p:sp>
        <p:nvSpPr>
          <p:cNvPr id="4" name="Rectangle 16">
            <a:extLst>
              <a:ext uri="{FF2B5EF4-FFF2-40B4-BE49-F238E27FC236}">
                <a16:creationId xmlns:a16="http://schemas.microsoft.com/office/drawing/2014/main" id="{3A3A78A7-6282-6699-CE2D-FA954E18C2B9}"/>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Tree>
    <p:extLst>
      <p:ext uri="{BB962C8B-B14F-4D97-AF65-F5344CB8AC3E}">
        <p14:creationId xmlns:p14="http://schemas.microsoft.com/office/powerpoint/2010/main" val="6564345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CA6477DE-D530-41A8-B2FE-4BFCD46E74DA}"/>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IE" sz="1400" b="1" dirty="0">
                <a:solidFill>
                  <a:schemeClr val="bg1"/>
                </a:solidFill>
                <a:latin typeface="Arial"/>
                <a:cs typeface="Arial"/>
              </a:rPr>
              <a:t>CP14</a:t>
            </a:r>
            <a:r>
              <a:rPr lang="en-IE" sz="1400" b="1" dirty="0">
                <a:solidFill>
                  <a:schemeClr val="bg1"/>
                </a:solidFill>
                <a:latin typeface="Arial" panose="020B0604020202020204" pitchFamily="34" charset="0"/>
                <a:cs typeface="Arial" panose="020B0604020202020204" pitchFamily="34" charset="0"/>
              </a:rPr>
              <a:t> </a:t>
            </a:r>
            <a:r>
              <a:rPr lang="en-IE" sz="1400" b="1" dirty="0">
                <a:solidFill>
                  <a:schemeClr val="bg1"/>
                </a:solidFill>
                <a:latin typeface="Arial"/>
                <a:cs typeface="Arial"/>
              </a:rPr>
              <a:t>Common Practice </a:t>
            </a:r>
            <a:endParaRPr lang="en-IE" sz="1500" b="1" spc="-71" dirty="0">
              <a:solidFill>
                <a:srgbClr val="FFFCF6"/>
              </a:solidFill>
              <a:latin typeface="Arial"/>
              <a:ea typeface="Open Sans" panose="020B0606030504020204" pitchFamily="34" charset="0"/>
              <a:cs typeface="Arial"/>
            </a:endParaRPr>
          </a:p>
        </p:txBody>
      </p:sp>
      <p:sp>
        <p:nvSpPr>
          <p:cNvPr id="7" name="Rectangle 6">
            <a:extLst>
              <a:ext uri="{FF2B5EF4-FFF2-40B4-BE49-F238E27FC236}">
                <a16:creationId xmlns:a16="http://schemas.microsoft.com/office/drawing/2014/main" id="{2B2348DD-98EC-42CC-870B-97CA56CE4C67}"/>
              </a:ext>
            </a:extLst>
          </p:cNvPr>
          <p:cNvSpPr>
            <a:spLocks/>
          </p:cNvSpPr>
          <p:nvPr/>
        </p:nvSpPr>
        <p:spPr bwMode="auto">
          <a:xfrm>
            <a:off x="652210" y="1039637"/>
            <a:ext cx="8103428" cy="293586"/>
          </a:xfrm>
          <a:prstGeom prst="rect">
            <a:avLst/>
          </a:prstGeom>
          <a:noFill/>
          <a:ln w="28575">
            <a:solidFill>
              <a:srgbClr val="4BACC6"/>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Objective</a:t>
            </a:r>
          </a:p>
        </p:txBody>
      </p:sp>
      <p:sp>
        <p:nvSpPr>
          <p:cNvPr id="12" name="TextBox 11">
            <a:extLst>
              <a:ext uri="{FF2B5EF4-FFF2-40B4-BE49-F238E27FC236}">
                <a16:creationId xmlns:a16="http://schemas.microsoft.com/office/drawing/2014/main" id="{A522C5A7-B5D2-4AAF-A104-96ED1EB53EBC}"/>
              </a:ext>
            </a:extLst>
          </p:cNvPr>
          <p:cNvSpPr txBox="1"/>
          <p:nvPr/>
        </p:nvSpPr>
        <p:spPr>
          <a:xfrm>
            <a:off x="896695" y="1928383"/>
            <a:ext cx="7614458" cy="923330"/>
          </a:xfrm>
          <a:prstGeom prst="rect">
            <a:avLst/>
          </a:prstGeom>
          <a:noFill/>
        </p:spPr>
        <p:txBody>
          <a:bodyPr wrap="square">
            <a:spAutoFit/>
          </a:bodyPr>
          <a:lstStyle/>
          <a:p>
            <a:pPr algn="just"/>
            <a:r>
              <a:rPr lang="en-US" sz="1800" spc="-71" dirty="0">
                <a:solidFill>
                  <a:srgbClr val="14438E"/>
                </a:solidFill>
                <a:latin typeface="Arial"/>
                <a:ea typeface="Open Sans" panose="020B0606030504020204" pitchFamily="34" charset="0"/>
                <a:cs typeface="Arial"/>
              </a:rPr>
              <a:t>The CP14 Common Practice aims to provide </a:t>
            </a:r>
            <a:r>
              <a:rPr lang="en-US" sz="1800" b="1" spc="-71" dirty="0">
                <a:solidFill>
                  <a:srgbClr val="14438E"/>
                </a:solidFill>
                <a:latin typeface="Arial"/>
                <a:ea typeface="Open Sans" panose="020B0606030504020204" pitchFamily="34" charset="0"/>
                <a:cs typeface="Arial"/>
              </a:rPr>
              <a:t>guidance</a:t>
            </a:r>
            <a:r>
              <a:rPr lang="en-US" sz="1800" spc="-71" dirty="0">
                <a:solidFill>
                  <a:srgbClr val="14438E"/>
                </a:solidFill>
                <a:latin typeface="Arial"/>
                <a:ea typeface="Open Sans" panose="020B0606030504020204" pitchFamily="34" charset="0"/>
                <a:cs typeface="Arial"/>
              </a:rPr>
              <a:t> in order to ensure that different MS IPOs assess signs under </a:t>
            </a:r>
            <a:r>
              <a:rPr lang="en-IE" sz="1800" spc="-71" dirty="0">
                <a:solidFill>
                  <a:srgbClr val="14438E"/>
                </a:solidFill>
                <a:latin typeface="Arial"/>
                <a:ea typeface="Open Sans" panose="020B0606030504020204" pitchFamily="34" charset="0"/>
                <a:cs typeface="Arial"/>
              </a:rPr>
              <a:t>Article 4(1)(f) TMD in a similar and predictable way</a:t>
            </a:r>
            <a:r>
              <a:rPr lang="en-US" sz="1800" spc="-71" dirty="0">
                <a:solidFill>
                  <a:srgbClr val="14438E"/>
                </a:solidFill>
                <a:latin typeface="Arial"/>
                <a:ea typeface="Open Sans" panose="020B0606030504020204" pitchFamily="34" charset="0"/>
                <a:cs typeface="Arial"/>
              </a:rPr>
              <a:t>.</a:t>
            </a:r>
          </a:p>
        </p:txBody>
      </p:sp>
      <p:sp>
        <p:nvSpPr>
          <p:cNvPr id="4" name="Rectangle 16">
            <a:extLst>
              <a:ext uri="{FF2B5EF4-FFF2-40B4-BE49-F238E27FC236}">
                <a16:creationId xmlns:a16="http://schemas.microsoft.com/office/drawing/2014/main" id="{BB33CE63-24C0-1707-6874-63581046558D}"/>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Tree>
    <p:extLst>
      <p:ext uri="{BB962C8B-B14F-4D97-AF65-F5344CB8AC3E}">
        <p14:creationId xmlns:p14="http://schemas.microsoft.com/office/powerpoint/2010/main" val="8751203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19" name="Rectangle 8">
            <a:extLst>
              <a:ext uri="{FF2B5EF4-FFF2-40B4-BE49-F238E27FC236}">
                <a16:creationId xmlns:a16="http://schemas.microsoft.com/office/drawing/2014/main" id="{A0FDE705-6639-4B91-B5EE-7357A13B4577}"/>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IE" sz="1400" b="1" dirty="0">
                <a:solidFill>
                  <a:schemeClr val="bg1"/>
                </a:solidFill>
                <a:latin typeface="Arial"/>
                <a:cs typeface="Arial"/>
              </a:rPr>
              <a:t>CP</a:t>
            </a:r>
            <a:r>
              <a:rPr lang="en-IE" sz="1400" b="1" dirty="0">
                <a:solidFill>
                  <a:schemeClr val="bg1"/>
                </a:solidFill>
                <a:latin typeface="Arial" panose="020B0604020202020204" pitchFamily="34" charset="0"/>
                <a:cs typeface="Arial" panose="020B0604020202020204" pitchFamily="34" charset="0"/>
              </a:rPr>
              <a:t>14 </a:t>
            </a:r>
            <a:r>
              <a:rPr lang="en-IE" sz="1400" b="1" dirty="0">
                <a:solidFill>
                  <a:schemeClr val="bg1"/>
                </a:solidFill>
                <a:latin typeface="Arial"/>
                <a:cs typeface="Arial"/>
              </a:rPr>
              <a:t>Common Practice </a:t>
            </a:r>
            <a:endParaRPr lang="en-IE" sz="1500" b="1" spc="-71" dirty="0">
              <a:solidFill>
                <a:srgbClr val="FFFCF6"/>
              </a:solidFill>
              <a:latin typeface="Arial"/>
              <a:ea typeface="Open Sans" panose="020B0606030504020204" pitchFamily="34" charset="0"/>
              <a:cs typeface="Arial"/>
            </a:endParaRPr>
          </a:p>
        </p:txBody>
      </p:sp>
      <p:sp>
        <p:nvSpPr>
          <p:cNvPr id="20" name="Rectangle 19">
            <a:extLst>
              <a:ext uri="{FF2B5EF4-FFF2-40B4-BE49-F238E27FC236}">
                <a16:creationId xmlns:a16="http://schemas.microsoft.com/office/drawing/2014/main" id="{0BE20199-82F3-4B3B-A883-4125B49A6550}"/>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In scope</a:t>
            </a:r>
            <a:endParaRPr lang="en-US" sz="1500" b="1" spc="-71" dirty="0">
              <a:solidFill>
                <a:schemeClr val="accent5"/>
              </a:solidFill>
              <a:latin typeface="Arial"/>
              <a:ea typeface="Open Sans" panose="020B0606030504020204" pitchFamily="34" charset="0"/>
              <a:cs typeface="Arial"/>
            </a:endParaRPr>
          </a:p>
        </p:txBody>
      </p:sp>
      <p:sp>
        <p:nvSpPr>
          <p:cNvPr id="10" name="TextBox 9">
            <a:extLst>
              <a:ext uri="{FF2B5EF4-FFF2-40B4-BE49-F238E27FC236}">
                <a16:creationId xmlns:a16="http://schemas.microsoft.com/office/drawing/2014/main" id="{A77BC99F-D789-4C3C-892A-D354B1F04CAE}"/>
              </a:ext>
            </a:extLst>
          </p:cNvPr>
          <p:cNvSpPr txBox="1"/>
          <p:nvPr/>
        </p:nvSpPr>
        <p:spPr>
          <a:xfrm>
            <a:off x="578445" y="1936136"/>
            <a:ext cx="8177193" cy="1569660"/>
          </a:xfrm>
          <a:prstGeom prst="rect">
            <a:avLst/>
          </a:prstGeom>
          <a:noFill/>
        </p:spPr>
        <p:txBody>
          <a:bodyPr wrap="square">
            <a:spAutoFit/>
          </a:bodyPr>
          <a:lstStyle/>
          <a:p>
            <a:pPr marL="285750" lvl="0" indent="-285750" algn="just">
              <a:buClr>
                <a:srgbClr val="4BACC6"/>
              </a:buClr>
              <a:buFont typeface="Wingdings" panose="05000000000000000000" pitchFamily="2" charset="2"/>
              <a:buChar char="Ø"/>
            </a:pPr>
            <a:r>
              <a:rPr lang="en-US" sz="1600" spc="-71" dirty="0">
                <a:solidFill>
                  <a:srgbClr val="14438E"/>
                </a:solidFill>
                <a:latin typeface="Arial"/>
                <a:ea typeface="Open Sans" panose="020B0606030504020204" pitchFamily="34" charset="0"/>
                <a:cs typeface="Arial"/>
              </a:rPr>
              <a:t>A </a:t>
            </a:r>
            <a:r>
              <a:rPr lang="en-US" sz="1600" b="1" spc="-71" dirty="0">
                <a:solidFill>
                  <a:srgbClr val="14438E"/>
                </a:solidFill>
                <a:latin typeface="Arial"/>
                <a:ea typeface="Open Sans" panose="020B0606030504020204" pitchFamily="34" charset="0"/>
                <a:cs typeface="Arial"/>
              </a:rPr>
              <a:t>common understanding </a:t>
            </a:r>
            <a:r>
              <a:rPr lang="en-US" sz="1600" spc="-71" dirty="0">
                <a:solidFill>
                  <a:srgbClr val="14438E"/>
                </a:solidFill>
                <a:latin typeface="Arial"/>
                <a:ea typeface="Open Sans" panose="020B0606030504020204" pitchFamily="34" charset="0"/>
                <a:cs typeface="Arial"/>
              </a:rPr>
              <a:t>of the concepts of </a:t>
            </a:r>
            <a:r>
              <a:rPr lang="en-US" sz="1600" b="1" spc="-71" dirty="0">
                <a:solidFill>
                  <a:srgbClr val="14438E"/>
                </a:solidFill>
                <a:latin typeface="Arial"/>
                <a:ea typeface="Open Sans" panose="020B0606030504020204" pitchFamily="34" charset="0"/>
                <a:cs typeface="Arial"/>
              </a:rPr>
              <a:t>public policy and accepted principles of morality </a:t>
            </a:r>
            <a:r>
              <a:rPr lang="en-US" sz="1600" spc="-71" dirty="0">
                <a:solidFill>
                  <a:srgbClr val="14438E"/>
                </a:solidFill>
                <a:latin typeface="Arial"/>
                <a:ea typeface="Open Sans" panose="020B0606030504020204" pitchFamily="34" charset="0"/>
                <a:cs typeface="Arial"/>
              </a:rPr>
              <a:t>and other related concepts</a:t>
            </a:r>
          </a:p>
          <a:p>
            <a:pPr lvl="0" algn="just">
              <a:buClr>
                <a:srgbClr val="4BACC6"/>
              </a:buClr>
            </a:pPr>
            <a:endParaRPr lang="en-US" sz="1600" spc="-71" dirty="0">
              <a:solidFill>
                <a:srgbClr val="14438E"/>
              </a:solidFill>
              <a:latin typeface="Arial"/>
              <a:ea typeface="Open Sans" panose="020B0606030504020204" pitchFamily="34" charset="0"/>
              <a:cs typeface="Arial"/>
            </a:endParaRPr>
          </a:p>
          <a:p>
            <a:pPr marL="285750" indent="-285750" algn="just">
              <a:buClr>
                <a:srgbClr val="4BACC6"/>
              </a:buClr>
              <a:buFont typeface="Wingdings" panose="05000000000000000000" pitchFamily="2" charset="2"/>
              <a:buChar char="Ø"/>
            </a:pPr>
            <a:r>
              <a:rPr lang="en-US" sz="1600" b="1" spc="-71" dirty="0">
                <a:solidFill>
                  <a:srgbClr val="14438E"/>
                </a:solidFill>
                <a:latin typeface="Arial"/>
                <a:ea typeface="Open Sans" panose="020B0606030504020204" pitchFamily="34" charset="0"/>
                <a:cs typeface="Arial"/>
              </a:rPr>
              <a:t>Common criteria </a:t>
            </a:r>
            <a:r>
              <a:rPr lang="en-US" sz="1600" spc="-71" dirty="0">
                <a:solidFill>
                  <a:srgbClr val="14438E"/>
                </a:solidFill>
                <a:latin typeface="Arial"/>
                <a:ea typeface="Open Sans" panose="020B0606030504020204" pitchFamily="34" charset="0"/>
                <a:cs typeface="Arial"/>
              </a:rPr>
              <a:t>for assessing Article 4(1)(f) TMD</a:t>
            </a:r>
          </a:p>
          <a:p>
            <a:pPr marL="285750" indent="-285750" algn="just">
              <a:buClr>
                <a:srgbClr val="4BACC6"/>
              </a:buClr>
              <a:buFont typeface="Wingdings" panose="05000000000000000000" pitchFamily="2" charset="2"/>
              <a:buChar char="Ø"/>
            </a:pPr>
            <a:endParaRPr lang="en-US" sz="1600" b="1" spc="-71" dirty="0">
              <a:solidFill>
                <a:srgbClr val="14438E"/>
              </a:solidFill>
              <a:latin typeface="Arial"/>
              <a:ea typeface="Open Sans" panose="020B0606030504020204" pitchFamily="34" charset="0"/>
              <a:cs typeface="Arial"/>
            </a:endParaRPr>
          </a:p>
          <a:p>
            <a:pPr marL="285750" indent="-285750" algn="just">
              <a:buClr>
                <a:srgbClr val="4BACC6"/>
              </a:buClr>
              <a:buFont typeface="Wingdings" panose="05000000000000000000" pitchFamily="2" charset="2"/>
              <a:buChar char="Ø"/>
            </a:pPr>
            <a:r>
              <a:rPr lang="en-US" sz="1600" b="1" spc="-71" dirty="0">
                <a:solidFill>
                  <a:srgbClr val="14438E"/>
                </a:solidFill>
                <a:latin typeface="Arial"/>
                <a:ea typeface="Open Sans" panose="020B0606030504020204" pitchFamily="34" charset="0"/>
                <a:cs typeface="Arial"/>
              </a:rPr>
              <a:t>I</a:t>
            </a:r>
            <a:r>
              <a:rPr lang="en-GB" sz="1600" b="1" spc="-71" dirty="0">
                <a:solidFill>
                  <a:srgbClr val="14438E"/>
                </a:solidFill>
                <a:latin typeface="Arial" panose="020B0604020202020204" pitchFamily="34" charset="0"/>
                <a:ea typeface="Open Sans" panose="020B0606030504020204" pitchFamily="34" charset="0"/>
                <a:cs typeface="Arial" panose="020B0604020202020204" pitchFamily="34" charset="0"/>
              </a:rPr>
              <a:t>ll</a:t>
            </a:r>
            <a:r>
              <a:rPr lang="en-GB" sz="1600" b="1"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ustrative examples </a:t>
            </a:r>
            <a:r>
              <a:rPr lang="en-GB" sz="16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of the criteria </a:t>
            </a:r>
            <a:r>
              <a:rPr lang="en-US" sz="16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and the groups of signs </a:t>
            </a:r>
            <a:r>
              <a:rPr lang="en-GB" sz="16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identified</a:t>
            </a:r>
            <a:endParaRPr lang="es-ES" sz="1600" dirty="0">
              <a:solidFill>
                <a:srgbClr val="14438E"/>
              </a:solidFill>
            </a:endParaRPr>
          </a:p>
        </p:txBody>
      </p:sp>
      <p:sp>
        <p:nvSpPr>
          <p:cNvPr id="4" name="Rectangle 16">
            <a:extLst>
              <a:ext uri="{FF2B5EF4-FFF2-40B4-BE49-F238E27FC236}">
                <a16:creationId xmlns:a16="http://schemas.microsoft.com/office/drawing/2014/main" id="{21D48C4B-41F4-DE83-8200-F3F46DCE9EE8}"/>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Tree>
    <p:extLst>
      <p:ext uri="{BB962C8B-B14F-4D97-AF65-F5344CB8AC3E}">
        <p14:creationId xmlns:p14="http://schemas.microsoft.com/office/powerpoint/2010/main" val="27958793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19" name="Rectangle 8">
            <a:extLst>
              <a:ext uri="{FF2B5EF4-FFF2-40B4-BE49-F238E27FC236}">
                <a16:creationId xmlns:a16="http://schemas.microsoft.com/office/drawing/2014/main" id="{A0FDE705-6639-4B91-B5EE-7357A13B4577}"/>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IE" sz="1400" b="1" dirty="0">
                <a:solidFill>
                  <a:schemeClr val="bg1"/>
                </a:solidFill>
                <a:latin typeface="Arial"/>
                <a:cs typeface="Arial"/>
              </a:rPr>
              <a:t>CP</a:t>
            </a:r>
            <a:r>
              <a:rPr lang="en-IE" sz="1400" b="1" dirty="0">
                <a:solidFill>
                  <a:schemeClr val="bg1"/>
                </a:solidFill>
                <a:latin typeface="Arial" panose="020B0604020202020204" pitchFamily="34" charset="0"/>
                <a:cs typeface="Arial" panose="020B0604020202020204" pitchFamily="34" charset="0"/>
              </a:rPr>
              <a:t>14 </a:t>
            </a:r>
            <a:r>
              <a:rPr lang="en-IE" sz="1400" b="1" dirty="0">
                <a:solidFill>
                  <a:schemeClr val="bg1"/>
                </a:solidFill>
                <a:latin typeface="Arial"/>
                <a:cs typeface="Arial"/>
              </a:rPr>
              <a:t>Common Practice </a:t>
            </a:r>
            <a:endParaRPr lang="en-IE" sz="1500" b="1" spc="-71" dirty="0">
              <a:solidFill>
                <a:srgbClr val="FFFCF6"/>
              </a:solidFill>
              <a:latin typeface="Arial"/>
              <a:ea typeface="Open Sans" panose="020B0606030504020204" pitchFamily="34" charset="0"/>
              <a:cs typeface="Arial"/>
            </a:endParaRPr>
          </a:p>
        </p:txBody>
      </p:sp>
      <p:sp>
        <p:nvSpPr>
          <p:cNvPr id="20" name="Rectangle 19">
            <a:extLst>
              <a:ext uri="{FF2B5EF4-FFF2-40B4-BE49-F238E27FC236}">
                <a16:creationId xmlns:a16="http://schemas.microsoft.com/office/drawing/2014/main" id="{0BE20199-82F3-4B3B-A883-4125B49A6550}"/>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Out of scope</a:t>
            </a:r>
            <a:endParaRPr lang="en-US" sz="1500" b="1" spc="-71" dirty="0">
              <a:solidFill>
                <a:schemeClr val="accent5"/>
              </a:solidFill>
              <a:latin typeface="Arial"/>
              <a:ea typeface="Open Sans" panose="020B0606030504020204" pitchFamily="34" charset="0"/>
              <a:cs typeface="Arial"/>
            </a:endParaRPr>
          </a:p>
        </p:txBody>
      </p:sp>
      <p:sp>
        <p:nvSpPr>
          <p:cNvPr id="10" name="TextBox 9">
            <a:extLst>
              <a:ext uri="{FF2B5EF4-FFF2-40B4-BE49-F238E27FC236}">
                <a16:creationId xmlns:a16="http://schemas.microsoft.com/office/drawing/2014/main" id="{A77BC99F-D789-4C3C-892A-D354B1F04CAE}"/>
              </a:ext>
            </a:extLst>
          </p:cNvPr>
          <p:cNvSpPr txBox="1"/>
          <p:nvPr/>
        </p:nvSpPr>
        <p:spPr>
          <a:xfrm>
            <a:off x="578445" y="1489924"/>
            <a:ext cx="8177193" cy="3512052"/>
          </a:xfrm>
          <a:prstGeom prst="rect">
            <a:avLst/>
          </a:prstGeom>
          <a:noFill/>
        </p:spPr>
        <p:txBody>
          <a:bodyPr wrap="square">
            <a:spAutoFit/>
          </a:bodyPr>
          <a:lstStyle/>
          <a:p>
            <a:pPr marL="285750" lvl="0" indent="-285750" algn="just">
              <a:lnSpc>
                <a:spcPct val="150000"/>
              </a:lnSpc>
              <a:buClr>
                <a:srgbClr val="4BACC6"/>
              </a:buClr>
              <a:buFont typeface="Wingdings" panose="05000000000000000000" pitchFamily="2" charset="2"/>
              <a:buChar char="Ø"/>
            </a:pPr>
            <a:r>
              <a:rPr lang="en-US" sz="1500" dirty="0">
                <a:solidFill>
                  <a:srgbClr val="14438E"/>
                </a:solidFill>
                <a:latin typeface="Arial" panose="020B0604020202020204" pitchFamily="34" charset="0"/>
                <a:cs typeface="Arial" panose="020B0604020202020204" pitchFamily="34" charset="0"/>
              </a:rPr>
              <a:t>What is seen or should be seen as lawful in each EU Member State</a:t>
            </a:r>
          </a:p>
          <a:p>
            <a:pPr marL="285750" indent="-285750" algn="just">
              <a:lnSpc>
                <a:spcPct val="150000"/>
              </a:lnSpc>
              <a:buClr>
                <a:srgbClr val="4BACC6"/>
              </a:buClr>
              <a:buFont typeface="Wingdings" panose="05000000000000000000" pitchFamily="2" charset="2"/>
              <a:buChar char="Ø"/>
            </a:pPr>
            <a:r>
              <a:rPr lang="en-US" sz="1500" dirty="0">
                <a:solidFill>
                  <a:srgbClr val="14438E"/>
                </a:solidFill>
                <a:latin typeface="Arial" panose="020B0604020202020204" pitchFamily="34" charset="0"/>
                <a:cs typeface="Arial" panose="020B0604020202020204" pitchFamily="34" charset="0"/>
              </a:rPr>
              <a:t>Assessment of other IPRs and their impact on the registrability of a trade mark under Article 4(1)(f) TMD</a:t>
            </a:r>
          </a:p>
          <a:p>
            <a:pPr marL="285750" indent="-285750" algn="just">
              <a:lnSpc>
                <a:spcPct val="150000"/>
              </a:lnSpc>
              <a:buClr>
                <a:srgbClr val="4BACC6"/>
              </a:buClr>
              <a:buFont typeface="Wingdings" panose="05000000000000000000" pitchFamily="2" charset="2"/>
              <a:buChar char="Ø"/>
            </a:pPr>
            <a:r>
              <a:rPr lang="en-US" sz="1500" dirty="0">
                <a:solidFill>
                  <a:srgbClr val="14438E"/>
                </a:solidFill>
                <a:latin typeface="Arial" panose="020B0604020202020204" pitchFamily="34" charset="0"/>
                <a:cs typeface="Arial" panose="020B0604020202020204" pitchFamily="34" charset="0"/>
              </a:rPr>
              <a:t>How the assessment of freedom of expression in relation to Article 4(1)(f) TMD should be performed</a:t>
            </a:r>
          </a:p>
          <a:p>
            <a:pPr marL="285750" indent="-285750" algn="just">
              <a:lnSpc>
                <a:spcPct val="150000"/>
              </a:lnSpc>
              <a:buClr>
                <a:srgbClr val="4BACC6"/>
              </a:buClr>
              <a:buFont typeface="Wingdings" panose="05000000000000000000" pitchFamily="2" charset="2"/>
              <a:buChar char="Ø"/>
            </a:pPr>
            <a:r>
              <a:rPr lang="en-US" sz="1500" dirty="0">
                <a:solidFill>
                  <a:srgbClr val="14438E"/>
                </a:solidFill>
                <a:latin typeface="Arial" panose="020B0604020202020204" pitchFamily="34" charset="0"/>
                <a:cs typeface="Arial" panose="020B0604020202020204" pitchFamily="34" charset="0"/>
              </a:rPr>
              <a:t>Procedural aspects pertaining to each MS IPO (e.g. ex officio examination and cancellation proceedings)</a:t>
            </a:r>
          </a:p>
          <a:p>
            <a:pPr marL="285750" indent="-285750" algn="just">
              <a:lnSpc>
                <a:spcPct val="150000"/>
              </a:lnSpc>
              <a:buClr>
                <a:srgbClr val="4BACC6"/>
              </a:buClr>
              <a:buFont typeface="Wingdings" panose="05000000000000000000" pitchFamily="2" charset="2"/>
              <a:buChar char="Ø"/>
            </a:pPr>
            <a:r>
              <a:rPr lang="en-US" sz="1500" dirty="0">
                <a:solidFill>
                  <a:srgbClr val="14438E"/>
                </a:solidFill>
                <a:latin typeface="Arial" panose="020B0604020202020204" pitchFamily="34" charset="0"/>
                <a:cs typeface="Arial" panose="020B0604020202020204" pitchFamily="34" charset="0"/>
              </a:rPr>
              <a:t>Description of legal constraints preventing implementation by a particular MS IPO</a:t>
            </a:r>
            <a:endParaRPr lang="es-ES" sz="1500" dirty="0">
              <a:solidFill>
                <a:srgbClr val="14438E"/>
              </a:solidFill>
              <a:latin typeface="Arial" panose="020B0604020202020204" pitchFamily="34" charset="0"/>
              <a:cs typeface="Arial" panose="020B0604020202020204" pitchFamily="34" charset="0"/>
            </a:endParaRPr>
          </a:p>
          <a:p>
            <a:pPr marL="285750" indent="-285750" algn="just">
              <a:lnSpc>
                <a:spcPct val="150000"/>
              </a:lnSpc>
              <a:buClr>
                <a:srgbClr val="4BACC6"/>
              </a:buClr>
              <a:buFont typeface="Wingdings" panose="05000000000000000000" pitchFamily="2" charset="2"/>
              <a:buChar char="Ø"/>
            </a:pPr>
            <a:r>
              <a:rPr lang="en-US" sz="1500" dirty="0">
                <a:solidFill>
                  <a:srgbClr val="14438E"/>
                </a:solidFill>
                <a:latin typeface="Arial" panose="020B0604020202020204" pitchFamily="34" charset="0"/>
                <a:cs typeface="Arial" panose="020B0604020202020204" pitchFamily="34" charset="0"/>
              </a:rPr>
              <a:t>Language-related issues on the examples in the Common Practice </a:t>
            </a:r>
          </a:p>
          <a:p>
            <a:pPr marL="285750" indent="-285750" algn="just">
              <a:lnSpc>
                <a:spcPct val="150000"/>
              </a:lnSpc>
              <a:buClr>
                <a:srgbClr val="4BACC6"/>
              </a:buClr>
              <a:buFont typeface="Wingdings" panose="05000000000000000000" pitchFamily="2" charset="2"/>
              <a:buChar char="Ø"/>
            </a:pPr>
            <a:r>
              <a:rPr lang="en-US" sz="1500" dirty="0">
                <a:solidFill>
                  <a:srgbClr val="14438E"/>
                </a:solidFill>
                <a:latin typeface="Arial" panose="020B0604020202020204" pitchFamily="34" charset="0"/>
                <a:cs typeface="Arial" panose="020B0604020202020204" pitchFamily="34" charset="0"/>
              </a:rPr>
              <a:t>Cultural heritage in the context of Article 4(1)(f) TMD</a:t>
            </a:r>
            <a:endParaRPr lang="es-ES" sz="1500" dirty="0">
              <a:solidFill>
                <a:srgbClr val="14438E"/>
              </a:solidFill>
              <a:latin typeface="Arial" panose="020B0604020202020204" pitchFamily="34" charset="0"/>
              <a:cs typeface="Arial" panose="020B0604020202020204" pitchFamily="34" charset="0"/>
            </a:endParaRPr>
          </a:p>
        </p:txBody>
      </p:sp>
      <p:sp>
        <p:nvSpPr>
          <p:cNvPr id="4" name="Rectangle 16">
            <a:extLst>
              <a:ext uri="{FF2B5EF4-FFF2-40B4-BE49-F238E27FC236}">
                <a16:creationId xmlns:a16="http://schemas.microsoft.com/office/drawing/2014/main" id="{21D48C4B-41F4-DE83-8200-F3F46DCE9EE8}"/>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Tree>
    <p:extLst>
      <p:ext uri="{BB962C8B-B14F-4D97-AF65-F5344CB8AC3E}">
        <p14:creationId xmlns:p14="http://schemas.microsoft.com/office/powerpoint/2010/main" val="32812192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0FD38515-05DA-49C8-BB69-72D74A73B955}"/>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IE" sz="1400" b="1" dirty="0">
                <a:solidFill>
                  <a:schemeClr val="bg1"/>
                </a:solidFill>
                <a:latin typeface="Arial"/>
                <a:cs typeface="Arial"/>
              </a:rPr>
              <a:t>CP14</a:t>
            </a:r>
            <a:r>
              <a:rPr lang="en-IE" sz="1400" b="1" dirty="0">
                <a:solidFill>
                  <a:schemeClr val="bg1"/>
                </a:solidFill>
                <a:latin typeface="Arial" panose="020B0604020202020204" pitchFamily="34" charset="0"/>
                <a:cs typeface="Arial" panose="020B0604020202020204" pitchFamily="34" charset="0"/>
              </a:rPr>
              <a:t> </a:t>
            </a:r>
            <a:r>
              <a:rPr lang="en-IE" sz="1400" b="1" dirty="0">
                <a:solidFill>
                  <a:schemeClr val="bg1"/>
                </a:solidFill>
                <a:latin typeface="Arial"/>
                <a:cs typeface="Arial"/>
              </a:rPr>
              <a:t>Common Communication </a:t>
            </a:r>
            <a:endParaRPr lang="en-IE" sz="1500" b="1" spc="-71" dirty="0">
              <a:solidFill>
                <a:srgbClr val="FFFCF6"/>
              </a:solidFill>
              <a:latin typeface="Arial"/>
              <a:ea typeface="Open Sans" panose="020B0606030504020204" pitchFamily="34" charset="0"/>
              <a:cs typeface="Arial"/>
            </a:endParaRPr>
          </a:p>
        </p:txBody>
      </p:sp>
      <p:sp>
        <p:nvSpPr>
          <p:cNvPr id="7" name="Rectangle 6">
            <a:extLst>
              <a:ext uri="{FF2B5EF4-FFF2-40B4-BE49-F238E27FC236}">
                <a16:creationId xmlns:a16="http://schemas.microsoft.com/office/drawing/2014/main" id="{ADA2EC86-85F1-4FC0-822D-7599BC1AC9BB}"/>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Implementing the Common Practice: Common Communication</a:t>
            </a:r>
          </a:p>
        </p:txBody>
      </p:sp>
      <p:grpSp>
        <p:nvGrpSpPr>
          <p:cNvPr id="12" name="Group 11">
            <a:extLst>
              <a:ext uri="{FF2B5EF4-FFF2-40B4-BE49-F238E27FC236}">
                <a16:creationId xmlns:a16="http://schemas.microsoft.com/office/drawing/2014/main" id="{BDFC98EC-6B2C-49ED-B141-D406D20EFBA0}"/>
              </a:ext>
            </a:extLst>
          </p:cNvPr>
          <p:cNvGrpSpPr/>
          <p:nvPr/>
        </p:nvGrpSpPr>
        <p:grpSpPr>
          <a:xfrm>
            <a:off x="3727912" y="1448461"/>
            <a:ext cx="4508124" cy="2770258"/>
            <a:chOff x="3983665" y="1264522"/>
            <a:chExt cx="4508124" cy="3043400"/>
          </a:xfrm>
        </p:grpSpPr>
        <p:cxnSp>
          <p:nvCxnSpPr>
            <p:cNvPr id="13" name="Straight Connector 12">
              <a:extLst>
                <a:ext uri="{FF2B5EF4-FFF2-40B4-BE49-F238E27FC236}">
                  <a16:creationId xmlns:a16="http://schemas.microsoft.com/office/drawing/2014/main" id="{3CB27533-0154-4963-9A29-6C26989C215B}"/>
                </a:ext>
              </a:extLst>
            </p:cNvPr>
            <p:cNvCxnSpPr>
              <a:cxnSpLocks/>
            </p:cNvCxnSpPr>
            <p:nvPr/>
          </p:nvCxnSpPr>
          <p:spPr>
            <a:xfrm>
              <a:off x="4123468" y="1604123"/>
              <a:ext cx="0" cy="2326102"/>
            </a:xfrm>
            <a:prstGeom prst="line">
              <a:avLst/>
            </a:prstGeom>
            <a:ln w="12700">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CC355B4B-112D-4775-93BE-F24A5EEBA274}"/>
                </a:ext>
              </a:extLst>
            </p:cNvPr>
            <p:cNvGrpSpPr/>
            <p:nvPr/>
          </p:nvGrpSpPr>
          <p:grpSpPr>
            <a:xfrm>
              <a:off x="3983665" y="1291319"/>
              <a:ext cx="312804" cy="312804"/>
              <a:chOff x="5108410" y="1700592"/>
              <a:chExt cx="416560" cy="416560"/>
            </a:xfrm>
          </p:grpSpPr>
          <p:sp>
            <p:nvSpPr>
              <p:cNvPr id="24" name="Oval 23">
                <a:extLst>
                  <a:ext uri="{FF2B5EF4-FFF2-40B4-BE49-F238E27FC236}">
                    <a16:creationId xmlns:a16="http://schemas.microsoft.com/office/drawing/2014/main" id="{53FBF561-B100-4D5E-ABA7-A7336F9275CA}"/>
                  </a:ext>
                </a:extLst>
              </p:cNvPr>
              <p:cNvSpPr/>
              <p:nvPr/>
            </p:nvSpPr>
            <p:spPr>
              <a:xfrm>
                <a:off x="5108410" y="1700592"/>
                <a:ext cx="416560" cy="416560"/>
              </a:xfrm>
              <a:prstGeom prst="ellipse">
                <a:avLst/>
              </a:prstGeom>
              <a:solidFill>
                <a:schemeClr val="accent5"/>
              </a:solidFill>
              <a:ln>
                <a:noFill/>
              </a:ln>
              <a:effectLst>
                <a:outerShdw blurRad="762000" dist="254000" dir="5400000" algn="ct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Shape 3612">
                <a:extLst>
                  <a:ext uri="{FF2B5EF4-FFF2-40B4-BE49-F238E27FC236}">
                    <a16:creationId xmlns:a16="http://schemas.microsoft.com/office/drawing/2014/main" id="{1AD6110D-D11F-4CEC-ADC4-3095B30EEF19}"/>
                  </a:ext>
                </a:extLst>
              </p:cNvPr>
              <p:cNvSpPr/>
              <p:nvPr/>
            </p:nvSpPr>
            <p:spPr>
              <a:xfrm>
                <a:off x="5213922" y="1846848"/>
                <a:ext cx="203466" cy="138726"/>
              </a:xfrm>
              <a:custGeom>
                <a:avLst/>
                <a:gdLst/>
                <a:ahLst/>
                <a:cxnLst>
                  <a:cxn ang="0">
                    <a:pos x="wd2" y="hd2"/>
                  </a:cxn>
                  <a:cxn ang="5400000">
                    <a:pos x="wd2" y="hd2"/>
                  </a:cxn>
                  <a:cxn ang="10800000">
                    <a:pos x="wd2" y="hd2"/>
                  </a:cxn>
                  <a:cxn ang="16200000">
                    <a:pos x="wd2" y="hd2"/>
                  </a:cxn>
                </a:cxnLst>
                <a:rect l="0" t="0" r="r" b="b"/>
                <a:pathLst>
                  <a:path w="21600" h="21600" extrusionOk="0">
                    <a:moveTo>
                      <a:pt x="21600" y="720"/>
                    </a:moveTo>
                    <a:cubicBezTo>
                      <a:pt x="21600" y="323"/>
                      <a:pt x="21380" y="0"/>
                      <a:pt x="21109" y="0"/>
                    </a:cubicBezTo>
                    <a:cubicBezTo>
                      <a:pt x="20969" y="0"/>
                      <a:pt x="20845" y="88"/>
                      <a:pt x="20755"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solidFill>
                <a:srgbClr val="FFFFFF"/>
              </a:solidFill>
              <a:ln w="12700">
                <a:miter lim="400000"/>
              </a:ln>
            </p:spPr>
            <p:txBody>
              <a:bodyPr lIns="38100" tIns="38100" rIns="38100" bIns="38100" anchor="ctr"/>
              <a:lstStyle/>
              <a:p>
                <a:endParaRPr>
                  <a:solidFill>
                    <a:prstClr val="black"/>
                  </a:solidFill>
                </a:endParaRPr>
              </a:p>
            </p:txBody>
          </p:sp>
        </p:grpSp>
        <p:grpSp>
          <p:nvGrpSpPr>
            <p:cNvPr id="15" name="Group 14">
              <a:extLst>
                <a:ext uri="{FF2B5EF4-FFF2-40B4-BE49-F238E27FC236}">
                  <a16:creationId xmlns:a16="http://schemas.microsoft.com/office/drawing/2014/main" id="{ECEAD4F5-A1CF-48B9-9133-0A95375DC0CC}"/>
                </a:ext>
              </a:extLst>
            </p:cNvPr>
            <p:cNvGrpSpPr/>
            <p:nvPr/>
          </p:nvGrpSpPr>
          <p:grpSpPr>
            <a:xfrm>
              <a:off x="3983665" y="2441157"/>
              <a:ext cx="312804" cy="312804"/>
              <a:chOff x="5108410" y="1700592"/>
              <a:chExt cx="416560" cy="416560"/>
            </a:xfrm>
          </p:grpSpPr>
          <p:sp>
            <p:nvSpPr>
              <p:cNvPr id="22" name="Oval 21">
                <a:extLst>
                  <a:ext uri="{FF2B5EF4-FFF2-40B4-BE49-F238E27FC236}">
                    <a16:creationId xmlns:a16="http://schemas.microsoft.com/office/drawing/2014/main" id="{934A0CCB-15A2-41E8-9D02-3BB7CE9119EA}"/>
                  </a:ext>
                </a:extLst>
              </p:cNvPr>
              <p:cNvSpPr/>
              <p:nvPr/>
            </p:nvSpPr>
            <p:spPr>
              <a:xfrm>
                <a:off x="5108410" y="1700592"/>
                <a:ext cx="416560" cy="416560"/>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Shape 3612">
                <a:extLst>
                  <a:ext uri="{FF2B5EF4-FFF2-40B4-BE49-F238E27FC236}">
                    <a16:creationId xmlns:a16="http://schemas.microsoft.com/office/drawing/2014/main" id="{CBB42A58-B22A-459A-BA86-6806E92E41B2}"/>
                  </a:ext>
                </a:extLst>
              </p:cNvPr>
              <p:cNvSpPr/>
              <p:nvPr/>
            </p:nvSpPr>
            <p:spPr>
              <a:xfrm>
                <a:off x="5213922" y="1846848"/>
                <a:ext cx="203466" cy="138726"/>
              </a:xfrm>
              <a:custGeom>
                <a:avLst/>
                <a:gdLst/>
                <a:ahLst/>
                <a:cxnLst>
                  <a:cxn ang="0">
                    <a:pos x="wd2" y="hd2"/>
                  </a:cxn>
                  <a:cxn ang="5400000">
                    <a:pos x="wd2" y="hd2"/>
                  </a:cxn>
                  <a:cxn ang="10800000">
                    <a:pos x="wd2" y="hd2"/>
                  </a:cxn>
                  <a:cxn ang="16200000">
                    <a:pos x="wd2" y="hd2"/>
                  </a:cxn>
                </a:cxnLst>
                <a:rect l="0" t="0" r="r" b="b"/>
                <a:pathLst>
                  <a:path w="21600" h="21600" extrusionOk="0">
                    <a:moveTo>
                      <a:pt x="21600" y="720"/>
                    </a:moveTo>
                    <a:cubicBezTo>
                      <a:pt x="21600" y="323"/>
                      <a:pt x="21380" y="0"/>
                      <a:pt x="21109" y="0"/>
                    </a:cubicBezTo>
                    <a:cubicBezTo>
                      <a:pt x="20969" y="0"/>
                      <a:pt x="20845" y="88"/>
                      <a:pt x="20755"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solidFill>
                <a:srgbClr val="FFFFFF"/>
              </a:solidFill>
              <a:ln w="12700">
                <a:miter lim="400000"/>
              </a:ln>
            </p:spPr>
            <p:txBody>
              <a:bodyPr lIns="38100" tIns="38100" rIns="38100" bIns="38100" anchor="ctr"/>
              <a:lstStyle/>
              <a:p>
                <a:endParaRPr>
                  <a:solidFill>
                    <a:prstClr val="black"/>
                  </a:solidFill>
                </a:endParaRPr>
              </a:p>
            </p:txBody>
          </p:sp>
        </p:grpSp>
        <p:grpSp>
          <p:nvGrpSpPr>
            <p:cNvPr id="16" name="Group 15">
              <a:extLst>
                <a:ext uri="{FF2B5EF4-FFF2-40B4-BE49-F238E27FC236}">
                  <a16:creationId xmlns:a16="http://schemas.microsoft.com/office/drawing/2014/main" id="{70B2006C-6E92-43D7-8996-510988BB1F57}"/>
                </a:ext>
              </a:extLst>
            </p:cNvPr>
            <p:cNvGrpSpPr/>
            <p:nvPr/>
          </p:nvGrpSpPr>
          <p:grpSpPr>
            <a:xfrm>
              <a:off x="3983665" y="3773823"/>
              <a:ext cx="312804" cy="312804"/>
              <a:chOff x="5108410" y="1700592"/>
              <a:chExt cx="416560" cy="416560"/>
            </a:xfrm>
          </p:grpSpPr>
          <p:sp>
            <p:nvSpPr>
              <p:cNvPr id="20" name="Oval 19">
                <a:extLst>
                  <a:ext uri="{FF2B5EF4-FFF2-40B4-BE49-F238E27FC236}">
                    <a16:creationId xmlns:a16="http://schemas.microsoft.com/office/drawing/2014/main" id="{8ABEDF30-5318-4F6A-A155-EC0DFDDF74D8}"/>
                  </a:ext>
                </a:extLst>
              </p:cNvPr>
              <p:cNvSpPr/>
              <p:nvPr/>
            </p:nvSpPr>
            <p:spPr>
              <a:xfrm>
                <a:off x="5108410" y="1700592"/>
                <a:ext cx="416560" cy="41656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Shape 3612">
                <a:extLst>
                  <a:ext uri="{FF2B5EF4-FFF2-40B4-BE49-F238E27FC236}">
                    <a16:creationId xmlns:a16="http://schemas.microsoft.com/office/drawing/2014/main" id="{669A19B9-2ACD-4579-BA66-6B28329D7C5C}"/>
                  </a:ext>
                </a:extLst>
              </p:cNvPr>
              <p:cNvSpPr/>
              <p:nvPr/>
            </p:nvSpPr>
            <p:spPr>
              <a:xfrm>
                <a:off x="5213922" y="1846848"/>
                <a:ext cx="203466" cy="138726"/>
              </a:xfrm>
              <a:custGeom>
                <a:avLst/>
                <a:gdLst/>
                <a:ahLst/>
                <a:cxnLst>
                  <a:cxn ang="0">
                    <a:pos x="wd2" y="hd2"/>
                  </a:cxn>
                  <a:cxn ang="5400000">
                    <a:pos x="wd2" y="hd2"/>
                  </a:cxn>
                  <a:cxn ang="10800000">
                    <a:pos x="wd2" y="hd2"/>
                  </a:cxn>
                  <a:cxn ang="16200000">
                    <a:pos x="wd2" y="hd2"/>
                  </a:cxn>
                </a:cxnLst>
                <a:rect l="0" t="0" r="r" b="b"/>
                <a:pathLst>
                  <a:path w="21600" h="21600" extrusionOk="0">
                    <a:moveTo>
                      <a:pt x="21600" y="720"/>
                    </a:moveTo>
                    <a:cubicBezTo>
                      <a:pt x="21600" y="323"/>
                      <a:pt x="21380" y="0"/>
                      <a:pt x="21109" y="0"/>
                    </a:cubicBezTo>
                    <a:cubicBezTo>
                      <a:pt x="20969" y="0"/>
                      <a:pt x="20845" y="88"/>
                      <a:pt x="20755" y="226"/>
                    </a:cubicBezTo>
                    <a:lnTo>
                      <a:pt x="20754" y="223"/>
                    </a:lnTo>
                    <a:lnTo>
                      <a:pt x="7848" y="19853"/>
                    </a:lnTo>
                    <a:lnTo>
                      <a:pt x="838" y="9571"/>
                    </a:lnTo>
                    <a:cubicBezTo>
                      <a:pt x="749" y="9441"/>
                      <a:pt x="626" y="9360"/>
                      <a:pt x="491" y="9360"/>
                    </a:cubicBezTo>
                    <a:cubicBezTo>
                      <a:pt x="220" y="9360"/>
                      <a:pt x="0" y="9683"/>
                      <a:pt x="0" y="10080"/>
                    </a:cubicBezTo>
                    <a:cubicBezTo>
                      <a:pt x="0" y="10279"/>
                      <a:pt x="55" y="10459"/>
                      <a:pt x="144" y="10589"/>
                    </a:cubicBezTo>
                    <a:lnTo>
                      <a:pt x="7507" y="21390"/>
                    </a:lnTo>
                    <a:cubicBezTo>
                      <a:pt x="7596" y="21520"/>
                      <a:pt x="7719" y="21600"/>
                      <a:pt x="7855" y="21600"/>
                    </a:cubicBezTo>
                    <a:cubicBezTo>
                      <a:pt x="7995" y="21600"/>
                      <a:pt x="8119" y="21513"/>
                      <a:pt x="8208" y="21376"/>
                    </a:cubicBezTo>
                    <a:lnTo>
                      <a:pt x="8210" y="21377"/>
                    </a:lnTo>
                    <a:lnTo>
                      <a:pt x="21465" y="1217"/>
                    </a:lnTo>
                    <a:lnTo>
                      <a:pt x="21462" y="1215"/>
                    </a:lnTo>
                    <a:cubicBezTo>
                      <a:pt x="21547" y="1087"/>
                      <a:pt x="21600" y="913"/>
                      <a:pt x="21600" y="720"/>
                    </a:cubicBezTo>
                  </a:path>
                </a:pathLst>
              </a:custGeom>
              <a:solidFill>
                <a:srgbClr val="FFFFFF"/>
              </a:solidFill>
              <a:ln w="12700">
                <a:miter lim="400000"/>
              </a:ln>
            </p:spPr>
            <p:txBody>
              <a:bodyPr lIns="38100" tIns="38100" rIns="38100" bIns="38100" anchor="ctr"/>
              <a:lstStyle/>
              <a:p>
                <a:endParaRPr>
                  <a:solidFill>
                    <a:prstClr val="black"/>
                  </a:solidFill>
                </a:endParaRPr>
              </a:p>
            </p:txBody>
          </p:sp>
        </p:grpSp>
        <p:sp>
          <p:nvSpPr>
            <p:cNvPr id="17" name="TextBox 16">
              <a:extLst>
                <a:ext uri="{FF2B5EF4-FFF2-40B4-BE49-F238E27FC236}">
                  <a16:creationId xmlns:a16="http://schemas.microsoft.com/office/drawing/2014/main" id="{74B38E56-1C1F-4986-BE31-B5F635073A91}"/>
                </a:ext>
              </a:extLst>
            </p:cNvPr>
            <p:cNvSpPr txBox="1"/>
            <p:nvPr/>
          </p:nvSpPr>
          <p:spPr>
            <a:xfrm>
              <a:off x="4508394" y="1264522"/>
              <a:ext cx="3602668" cy="648068"/>
            </a:xfrm>
            <a:prstGeom prst="rect">
              <a:avLst/>
            </a:prstGeom>
            <a:noFill/>
          </p:spPr>
          <p:txBody>
            <a:bodyPr wrap="square" lIns="0" rIns="0" rtlCol="0">
              <a:spAutoFit/>
            </a:bodyPr>
            <a:lstStyle/>
            <a:p>
              <a:pPr>
                <a:spcBef>
                  <a:spcPts val="1000"/>
                </a:spcBef>
              </a:pPr>
              <a:r>
                <a:rPr lang="en-US" sz="1400" b="1" dirty="0">
                  <a:solidFill>
                    <a:srgbClr val="002060"/>
                  </a:solidFill>
                  <a:latin typeface="Arial" panose="020B0604020202020204" pitchFamily="34" charset="0"/>
                  <a:cs typeface="Arial" panose="020B0604020202020204" pitchFamily="34" charset="0"/>
                </a:rPr>
                <a:t>Access the CP</a:t>
              </a:r>
              <a:endParaRPr lang="en-US" sz="1400" b="1" dirty="0">
                <a:solidFill>
                  <a:srgbClr val="002060"/>
                </a:solidFill>
                <a:latin typeface="Arial" panose="020B0604020202020204" pitchFamily="34" charset="0"/>
                <a:ea typeface="Open Sans ExtraBold" charset="0"/>
                <a:cs typeface="Arial" panose="020B0604020202020204" pitchFamily="34" charset="0"/>
              </a:endParaRPr>
            </a:p>
            <a:p>
              <a:pPr>
                <a:spcBef>
                  <a:spcPts val="1000"/>
                </a:spcBef>
              </a:pPr>
              <a:r>
                <a:rPr lang="en-US" sz="1000" dirty="0">
                  <a:solidFill>
                    <a:schemeClr val="tx1">
                      <a:lumMod val="85000"/>
                      <a:lumOff val="15000"/>
                    </a:schemeClr>
                  </a:solidFill>
                  <a:latin typeface="Arial" panose="020B0604020202020204" pitchFamily="34" charset="0"/>
                  <a:ea typeface="Open Sans" charset="0"/>
                  <a:cs typeface="Arial" panose="020B0604020202020204" pitchFamily="34" charset="0"/>
                  <a:hlinkClick r:id="rId4"/>
                </a:rPr>
                <a:t>Link to CP14 on EUIPN</a:t>
              </a:r>
              <a:endParaRPr lang="en-US" sz="1000" dirty="0">
                <a:solidFill>
                  <a:schemeClr val="tx1">
                    <a:lumMod val="85000"/>
                    <a:lumOff val="15000"/>
                  </a:schemeClr>
                </a:solidFill>
                <a:latin typeface="Arial" panose="020B0604020202020204" pitchFamily="34" charset="0"/>
                <a:ea typeface="Open Sans" charset="0"/>
                <a:cs typeface="Arial" panose="020B0604020202020204" pitchFamily="34" charset="0"/>
              </a:endParaRPr>
            </a:p>
          </p:txBody>
        </p:sp>
        <p:sp>
          <p:nvSpPr>
            <p:cNvPr id="18" name="TextBox 17">
              <a:extLst>
                <a:ext uri="{FF2B5EF4-FFF2-40B4-BE49-F238E27FC236}">
                  <a16:creationId xmlns:a16="http://schemas.microsoft.com/office/drawing/2014/main" id="{8E0AE566-3BB7-47C0-A2F9-2CF2F3DDAD7F}"/>
                </a:ext>
              </a:extLst>
            </p:cNvPr>
            <p:cNvSpPr txBox="1"/>
            <p:nvPr/>
          </p:nvSpPr>
          <p:spPr>
            <a:xfrm>
              <a:off x="4508392" y="2424767"/>
              <a:ext cx="3983397" cy="307777"/>
            </a:xfrm>
            <a:prstGeom prst="rect">
              <a:avLst/>
            </a:prstGeom>
            <a:noFill/>
          </p:spPr>
          <p:txBody>
            <a:bodyPr wrap="square" lIns="0" rIns="0" rtlCol="0">
              <a:spAutoFit/>
            </a:bodyPr>
            <a:lstStyle/>
            <a:p>
              <a:pPr>
                <a:spcBef>
                  <a:spcPts val="1000"/>
                </a:spcBef>
              </a:pPr>
              <a:r>
                <a:rPr lang="en-US" sz="1400" b="1" dirty="0">
                  <a:solidFill>
                    <a:srgbClr val="002060"/>
                  </a:solidFill>
                  <a:latin typeface="Arial" panose="020B0604020202020204" pitchFamily="34" charset="0"/>
                  <a:cs typeface="Arial" panose="020B0604020202020204" pitchFamily="34" charset="0"/>
                </a:rPr>
                <a:t>Publication date</a:t>
              </a:r>
            </a:p>
          </p:txBody>
        </p:sp>
        <p:sp>
          <p:nvSpPr>
            <p:cNvPr id="19" name="TextBox 18">
              <a:extLst>
                <a:ext uri="{FF2B5EF4-FFF2-40B4-BE49-F238E27FC236}">
                  <a16:creationId xmlns:a16="http://schemas.microsoft.com/office/drawing/2014/main" id="{CCA4C569-C587-4E41-9647-F04E166BE06E}"/>
                </a:ext>
              </a:extLst>
            </p:cNvPr>
            <p:cNvSpPr txBox="1"/>
            <p:nvPr/>
          </p:nvSpPr>
          <p:spPr>
            <a:xfrm>
              <a:off x="4508394" y="3733114"/>
              <a:ext cx="3983394" cy="574808"/>
            </a:xfrm>
            <a:prstGeom prst="rect">
              <a:avLst/>
            </a:prstGeom>
            <a:noFill/>
          </p:spPr>
          <p:txBody>
            <a:bodyPr wrap="square" lIns="0" rIns="0" rtlCol="0">
              <a:spAutoFit/>
            </a:bodyPr>
            <a:lstStyle/>
            <a:p>
              <a:pPr>
                <a:spcBef>
                  <a:spcPts val="1000"/>
                </a:spcBef>
              </a:pPr>
              <a:r>
                <a:rPr lang="en-US" sz="1400" b="1" dirty="0">
                  <a:solidFill>
                    <a:srgbClr val="002060"/>
                  </a:solidFill>
                  <a:latin typeface="Arial" panose="020B0604020202020204" pitchFamily="34" charset="0"/>
                  <a:cs typeface="Arial" panose="020B0604020202020204" pitchFamily="34" charset="0"/>
                </a:rPr>
                <a:t>Implementation date (max. 3 months after publication)</a:t>
              </a:r>
              <a:endParaRPr lang="en-US" sz="1400" b="1" dirty="0">
                <a:solidFill>
                  <a:srgbClr val="002060"/>
                </a:solidFill>
                <a:latin typeface="Arial" panose="020B0604020202020204" pitchFamily="34" charset="0"/>
                <a:ea typeface="Open Sans ExtraBold" charset="0"/>
                <a:cs typeface="Arial" panose="020B0604020202020204" pitchFamily="34" charset="0"/>
              </a:endParaRPr>
            </a:p>
          </p:txBody>
        </p:sp>
      </p:grpSp>
      <p:grpSp>
        <p:nvGrpSpPr>
          <p:cNvPr id="26" name="Google Shape;1320;p52">
            <a:extLst>
              <a:ext uri="{FF2B5EF4-FFF2-40B4-BE49-F238E27FC236}">
                <a16:creationId xmlns:a16="http://schemas.microsoft.com/office/drawing/2014/main" id="{4DE69489-BD25-4B66-B22A-0A3226B756D1}"/>
              </a:ext>
            </a:extLst>
          </p:cNvPr>
          <p:cNvGrpSpPr/>
          <p:nvPr/>
        </p:nvGrpSpPr>
        <p:grpSpPr>
          <a:xfrm>
            <a:off x="4252641" y="2953751"/>
            <a:ext cx="373185" cy="302466"/>
            <a:chOff x="5220616" y="2791061"/>
            <a:chExt cx="373185" cy="302466"/>
          </a:xfrm>
          <a:solidFill>
            <a:srgbClr val="174489"/>
          </a:solidFill>
        </p:grpSpPr>
        <p:sp>
          <p:nvSpPr>
            <p:cNvPr id="27" name="Google Shape;1321;p52">
              <a:extLst>
                <a:ext uri="{FF2B5EF4-FFF2-40B4-BE49-F238E27FC236}">
                  <a16:creationId xmlns:a16="http://schemas.microsoft.com/office/drawing/2014/main" id="{67219D87-F80C-40D4-9CA8-7AB3CD8B5EA2}"/>
                </a:ext>
              </a:extLst>
            </p:cNvPr>
            <p:cNvSpPr/>
            <p:nvPr/>
          </p:nvSpPr>
          <p:spPr>
            <a:xfrm>
              <a:off x="5220616" y="2791061"/>
              <a:ext cx="373185" cy="302466"/>
            </a:xfrm>
            <a:custGeom>
              <a:avLst/>
              <a:gdLst/>
              <a:ahLst/>
              <a:cxnLst/>
              <a:rect l="l" t="t" r="r" b="b"/>
              <a:pathLst>
                <a:path w="11752" h="9525" extrusionOk="0">
                  <a:moveTo>
                    <a:pt x="1834" y="345"/>
                  </a:moveTo>
                  <a:cubicBezTo>
                    <a:pt x="1834" y="345"/>
                    <a:pt x="1846" y="345"/>
                    <a:pt x="1846" y="357"/>
                  </a:cubicBezTo>
                  <a:lnTo>
                    <a:pt x="1846" y="1083"/>
                  </a:lnTo>
                  <a:cubicBezTo>
                    <a:pt x="1846" y="1083"/>
                    <a:pt x="1846" y="1107"/>
                    <a:pt x="1834" y="1107"/>
                  </a:cubicBezTo>
                  <a:lnTo>
                    <a:pt x="1465" y="1107"/>
                  </a:lnTo>
                  <a:cubicBezTo>
                    <a:pt x="1465" y="1107"/>
                    <a:pt x="1453" y="1107"/>
                    <a:pt x="1453" y="1083"/>
                  </a:cubicBezTo>
                  <a:lnTo>
                    <a:pt x="1453" y="357"/>
                  </a:lnTo>
                  <a:lnTo>
                    <a:pt x="1465" y="357"/>
                  </a:lnTo>
                  <a:cubicBezTo>
                    <a:pt x="1465" y="351"/>
                    <a:pt x="1468" y="348"/>
                    <a:pt x="1469" y="348"/>
                  </a:cubicBezTo>
                  <a:lnTo>
                    <a:pt x="1469" y="348"/>
                  </a:lnTo>
                  <a:cubicBezTo>
                    <a:pt x="1471" y="348"/>
                    <a:pt x="1471" y="351"/>
                    <a:pt x="1465" y="357"/>
                  </a:cubicBezTo>
                  <a:lnTo>
                    <a:pt x="1834" y="345"/>
                  </a:lnTo>
                  <a:close/>
                  <a:moveTo>
                    <a:pt x="10276" y="345"/>
                  </a:moveTo>
                  <a:cubicBezTo>
                    <a:pt x="10276" y="345"/>
                    <a:pt x="10288" y="345"/>
                    <a:pt x="10288" y="357"/>
                  </a:cubicBezTo>
                  <a:lnTo>
                    <a:pt x="10288" y="1083"/>
                  </a:lnTo>
                  <a:cubicBezTo>
                    <a:pt x="10288" y="1083"/>
                    <a:pt x="10288" y="1107"/>
                    <a:pt x="10276" y="1107"/>
                  </a:cubicBezTo>
                  <a:lnTo>
                    <a:pt x="9907" y="1107"/>
                  </a:lnTo>
                  <a:cubicBezTo>
                    <a:pt x="9907" y="1107"/>
                    <a:pt x="9895" y="1107"/>
                    <a:pt x="9895" y="1083"/>
                  </a:cubicBezTo>
                  <a:lnTo>
                    <a:pt x="9895" y="357"/>
                  </a:lnTo>
                  <a:lnTo>
                    <a:pt x="9907" y="357"/>
                  </a:lnTo>
                  <a:cubicBezTo>
                    <a:pt x="9907" y="351"/>
                    <a:pt x="9910" y="348"/>
                    <a:pt x="9911" y="348"/>
                  </a:cubicBezTo>
                  <a:lnTo>
                    <a:pt x="9911" y="348"/>
                  </a:lnTo>
                  <a:cubicBezTo>
                    <a:pt x="9912" y="348"/>
                    <a:pt x="9912" y="351"/>
                    <a:pt x="9907" y="357"/>
                  </a:cubicBezTo>
                  <a:lnTo>
                    <a:pt x="10276" y="345"/>
                  </a:lnTo>
                  <a:close/>
                  <a:moveTo>
                    <a:pt x="11038" y="1107"/>
                  </a:moveTo>
                  <a:cubicBezTo>
                    <a:pt x="11240" y="1107"/>
                    <a:pt x="11407" y="1262"/>
                    <a:pt x="11407" y="1476"/>
                  </a:cubicBezTo>
                  <a:lnTo>
                    <a:pt x="11407" y="8811"/>
                  </a:lnTo>
                  <a:cubicBezTo>
                    <a:pt x="11407" y="9001"/>
                    <a:pt x="11228" y="9180"/>
                    <a:pt x="11026" y="9180"/>
                  </a:cubicBezTo>
                  <a:lnTo>
                    <a:pt x="751" y="9180"/>
                  </a:lnTo>
                  <a:cubicBezTo>
                    <a:pt x="536" y="9180"/>
                    <a:pt x="382" y="9025"/>
                    <a:pt x="382" y="8811"/>
                  </a:cubicBezTo>
                  <a:lnTo>
                    <a:pt x="382" y="1476"/>
                  </a:lnTo>
                  <a:cubicBezTo>
                    <a:pt x="382" y="1262"/>
                    <a:pt x="536" y="1107"/>
                    <a:pt x="751" y="1107"/>
                  </a:cubicBezTo>
                  <a:lnTo>
                    <a:pt x="1120" y="1107"/>
                  </a:lnTo>
                  <a:lnTo>
                    <a:pt x="1120" y="1119"/>
                  </a:lnTo>
                  <a:cubicBezTo>
                    <a:pt x="1120" y="1310"/>
                    <a:pt x="1286" y="1476"/>
                    <a:pt x="1477" y="1476"/>
                  </a:cubicBezTo>
                  <a:lnTo>
                    <a:pt x="1858" y="1476"/>
                  </a:lnTo>
                  <a:cubicBezTo>
                    <a:pt x="2048" y="1476"/>
                    <a:pt x="2215" y="1310"/>
                    <a:pt x="2215" y="1119"/>
                  </a:cubicBezTo>
                  <a:lnTo>
                    <a:pt x="2215" y="1107"/>
                  </a:lnTo>
                  <a:lnTo>
                    <a:pt x="9573" y="1107"/>
                  </a:lnTo>
                  <a:lnTo>
                    <a:pt x="9573" y="1119"/>
                  </a:lnTo>
                  <a:cubicBezTo>
                    <a:pt x="9573" y="1310"/>
                    <a:pt x="9740" y="1476"/>
                    <a:pt x="9930" y="1476"/>
                  </a:cubicBezTo>
                  <a:lnTo>
                    <a:pt x="10311" y="1476"/>
                  </a:lnTo>
                  <a:cubicBezTo>
                    <a:pt x="10502" y="1476"/>
                    <a:pt x="10669" y="1310"/>
                    <a:pt x="10669" y="1119"/>
                  </a:cubicBezTo>
                  <a:lnTo>
                    <a:pt x="10669" y="1107"/>
                  </a:lnTo>
                  <a:close/>
                  <a:moveTo>
                    <a:pt x="1465" y="0"/>
                  </a:moveTo>
                  <a:cubicBezTo>
                    <a:pt x="1275" y="0"/>
                    <a:pt x="1108" y="167"/>
                    <a:pt x="1108" y="357"/>
                  </a:cubicBezTo>
                  <a:lnTo>
                    <a:pt x="1108" y="726"/>
                  </a:lnTo>
                  <a:lnTo>
                    <a:pt x="739" y="726"/>
                  </a:lnTo>
                  <a:cubicBezTo>
                    <a:pt x="334" y="726"/>
                    <a:pt x="1" y="1060"/>
                    <a:pt x="1" y="1464"/>
                  </a:cubicBezTo>
                  <a:lnTo>
                    <a:pt x="1" y="8799"/>
                  </a:lnTo>
                  <a:cubicBezTo>
                    <a:pt x="1" y="9204"/>
                    <a:pt x="334" y="9525"/>
                    <a:pt x="739" y="9525"/>
                  </a:cubicBezTo>
                  <a:lnTo>
                    <a:pt x="11014" y="9525"/>
                  </a:lnTo>
                  <a:cubicBezTo>
                    <a:pt x="11419" y="9525"/>
                    <a:pt x="11752" y="9204"/>
                    <a:pt x="11752" y="8799"/>
                  </a:cubicBezTo>
                  <a:lnTo>
                    <a:pt x="11752" y="1464"/>
                  </a:lnTo>
                  <a:cubicBezTo>
                    <a:pt x="11752" y="1060"/>
                    <a:pt x="11419" y="726"/>
                    <a:pt x="11026" y="726"/>
                  </a:cubicBezTo>
                  <a:lnTo>
                    <a:pt x="10645" y="726"/>
                  </a:lnTo>
                  <a:lnTo>
                    <a:pt x="10645" y="357"/>
                  </a:lnTo>
                  <a:cubicBezTo>
                    <a:pt x="10645" y="167"/>
                    <a:pt x="10490" y="0"/>
                    <a:pt x="10288" y="0"/>
                  </a:cubicBezTo>
                  <a:lnTo>
                    <a:pt x="9918" y="0"/>
                  </a:lnTo>
                  <a:cubicBezTo>
                    <a:pt x="9728" y="0"/>
                    <a:pt x="9561" y="167"/>
                    <a:pt x="9561" y="357"/>
                  </a:cubicBezTo>
                  <a:lnTo>
                    <a:pt x="9561" y="726"/>
                  </a:lnTo>
                  <a:lnTo>
                    <a:pt x="2191" y="726"/>
                  </a:lnTo>
                  <a:lnTo>
                    <a:pt x="2191" y="357"/>
                  </a:lnTo>
                  <a:cubicBezTo>
                    <a:pt x="2191" y="167"/>
                    <a:pt x="2025" y="0"/>
                    <a:pt x="1834" y="0"/>
                  </a:cubicBezTo>
                  <a:close/>
                </a:path>
              </a:pathLst>
            </a:custGeom>
            <a:grpFill/>
            <a:ln>
              <a:noFill/>
            </a:ln>
          </p:spPr>
          <p:txBody>
            <a:bodyPr spcFirstLastPara="1" wrap="square" lIns="91425" tIns="91425" rIns="91425" bIns="91425" anchor="ctr" anchorCtr="0">
              <a:noAutofit/>
            </a:bodyPr>
            <a:lstStyle/>
            <a:p>
              <a:endParaRPr/>
            </a:p>
          </p:txBody>
        </p:sp>
        <p:sp>
          <p:nvSpPr>
            <p:cNvPr id="28" name="Google Shape;1322;p52">
              <a:extLst>
                <a:ext uri="{FF2B5EF4-FFF2-40B4-BE49-F238E27FC236}">
                  <a16:creationId xmlns:a16="http://schemas.microsoft.com/office/drawing/2014/main" id="{FACD6C82-77F8-4DD2-843D-9863FC8063D7}"/>
                </a:ext>
              </a:extLst>
            </p:cNvPr>
            <p:cNvSpPr/>
            <p:nvPr/>
          </p:nvSpPr>
          <p:spPr>
            <a:xfrm>
              <a:off x="5244432" y="2849268"/>
              <a:ext cx="326314" cy="11368"/>
            </a:xfrm>
            <a:custGeom>
              <a:avLst/>
              <a:gdLst/>
              <a:ahLst/>
              <a:cxnLst/>
              <a:rect l="l" t="t" r="r" b="b"/>
              <a:pathLst>
                <a:path w="10276" h="358" extrusionOk="0">
                  <a:moveTo>
                    <a:pt x="179" y="1"/>
                  </a:moveTo>
                  <a:cubicBezTo>
                    <a:pt x="96" y="1"/>
                    <a:pt x="1" y="72"/>
                    <a:pt x="1" y="179"/>
                  </a:cubicBezTo>
                  <a:cubicBezTo>
                    <a:pt x="1" y="274"/>
                    <a:pt x="72" y="358"/>
                    <a:pt x="179" y="358"/>
                  </a:cubicBezTo>
                  <a:lnTo>
                    <a:pt x="10097" y="358"/>
                  </a:lnTo>
                  <a:cubicBezTo>
                    <a:pt x="10180" y="358"/>
                    <a:pt x="10276" y="274"/>
                    <a:pt x="10276" y="179"/>
                  </a:cubicBezTo>
                  <a:cubicBezTo>
                    <a:pt x="10276" y="72"/>
                    <a:pt x="10180" y="1"/>
                    <a:pt x="10097" y="1"/>
                  </a:cubicBezTo>
                  <a:close/>
                </a:path>
              </a:pathLst>
            </a:custGeom>
            <a:grpFill/>
            <a:ln>
              <a:noFill/>
            </a:ln>
          </p:spPr>
          <p:txBody>
            <a:bodyPr spcFirstLastPara="1" wrap="square" lIns="91425" tIns="91425" rIns="91425" bIns="91425" anchor="ctr" anchorCtr="0">
              <a:noAutofit/>
            </a:bodyPr>
            <a:lstStyle/>
            <a:p>
              <a:endParaRPr/>
            </a:p>
          </p:txBody>
        </p:sp>
        <p:sp>
          <p:nvSpPr>
            <p:cNvPr id="29" name="Google Shape;1323;p52">
              <a:extLst>
                <a:ext uri="{FF2B5EF4-FFF2-40B4-BE49-F238E27FC236}">
                  <a16:creationId xmlns:a16="http://schemas.microsoft.com/office/drawing/2014/main" id="{307EE055-DF1A-4F35-B7BC-139AB73C6E92}"/>
                </a:ext>
              </a:extLst>
            </p:cNvPr>
            <p:cNvSpPr/>
            <p:nvPr/>
          </p:nvSpPr>
          <p:spPr>
            <a:xfrm>
              <a:off x="5261834" y="2896139"/>
              <a:ext cx="46521" cy="11400"/>
            </a:xfrm>
            <a:custGeom>
              <a:avLst/>
              <a:gdLst/>
              <a:ahLst/>
              <a:cxnLst/>
              <a:rect l="l" t="t" r="r" b="b"/>
              <a:pathLst>
                <a:path w="1465" h="359" extrusionOk="0">
                  <a:moveTo>
                    <a:pt x="179" y="1"/>
                  </a:moveTo>
                  <a:cubicBezTo>
                    <a:pt x="96" y="1"/>
                    <a:pt x="0" y="72"/>
                    <a:pt x="0" y="180"/>
                  </a:cubicBezTo>
                  <a:cubicBezTo>
                    <a:pt x="0" y="275"/>
                    <a:pt x="72" y="358"/>
                    <a:pt x="179" y="358"/>
                  </a:cubicBezTo>
                  <a:lnTo>
                    <a:pt x="1286" y="358"/>
                  </a:lnTo>
                  <a:cubicBezTo>
                    <a:pt x="1370" y="358"/>
                    <a:pt x="1465" y="275"/>
                    <a:pt x="1465" y="180"/>
                  </a:cubicBezTo>
                  <a:cubicBezTo>
                    <a:pt x="1465" y="72"/>
                    <a:pt x="1370" y="1"/>
                    <a:pt x="1286" y="1"/>
                  </a:cubicBezTo>
                  <a:close/>
                </a:path>
              </a:pathLst>
            </a:custGeom>
            <a:grpFill/>
            <a:ln>
              <a:noFill/>
            </a:ln>
          </p:spPr>
          <p:txBody>
            <a:bodyPr spcFirstLastPara="1" wrap="square" lIns="91425" tIns="91425" rIns="91425" bIns="91425" anchor="ctr" anchorCtr="0">
              <a:noAutofit/>
            </a:bodyPr>
            <a:lstStyle/>
            <a:p>
              <a:endParaRPr/>
            </a:p>
          </p:txBody>
        </p:sp>
        <p:sp>
          <p:nvSpPr>
            <p:cNvPr id="30" name="Google Shape;1324;p52">
              <a:extLst>
                <a:ext uri="{FF2B5EF4-FFF2-40B4-BE49-F238E27FC236}">
                  <a16:creationId xmlns:a16="http://schemas.microsoft.com/office/drawing/2014/main" id="{8FB4415E-5999-4D11-A2ED-1E08C3ED7079}"/>
                </a:ext>
              </a:extLst>
            </p:cNvPr>
            <p:cNvSpPr/>
            <p:nvPr/>
          </p:nvSpPr>
          <p:spPr>
            <a:xfrm>
              <a:off x="5343507" y="2896139"/>
              <a:ext cx="46521" cy="11400"/>
            </a:xfrm>
            <a:custGeom>
              <a:avLst/>
              <a:gdLst/>
              <a:ahLst/>
              <a:cxnLst/>
              <a:rect l="l" t="t" r="r" b="b"/>
              <a:pathLst>
                <a:path w="1465" h="359" extrusionOk="0">
                  <a:moveTo>
                    <a:pt x="179" y="1"/>
                  </a:moveTo>
                  <a:cubicBezTo>
                    <a:pt x="95" y="1"/>
                    <a:pt x="0" y="72"/>
                    <a:pt x="0" y="180"/>
                  </a:cubicBezTo>
                  <a:cubicBezTo>
                    <a:pt x="0" y="275"/>
                    <a:pt x="83" y="358"/>
                    <a:pt x="179" y="358"/>
                  </a:cubicBezTo>
                  <a:lnTo>
                    <a:pt x="1286" y="358"/>
                  </a:lnTo>
                  <a:cubicBezTo>
                    <a:pt x="1369" y="358"/>
                    <a:pt x="1465" y="275"/>
                    <a:pt x="1465" y="180"/>
                  </a:cubicBezTo>
                  <a:cubicBezTo>
                    <a:pt x="1465" y="72"/>
                    <a:pt x="1381" y="1"/>
                    <a:pt x="1286" y="1"/>
                  </a:cubicBezTo>
                  <a:close/>
                </a:path>
              </a:pathLst>
            </a:custGeom>
            <a:grpFill/>
            <a:ln>
              <a:noFill/>
            </a:ln>
          </p:spPr>
          <p:txBody>
            <a:bodyPr spcFirstLastPara="1" wrap="square" lIns="91425" tIns="91425" rIns="91425" bIns="91425" anchor="ctr" anchorCtr="0">
              <a:noAutofit/>
            </a:bodyPr>
            <a:lstStyle/>
            <a:p>
              <a:endParaRPr/>
            </a:p>
          </p:txBody>
        </p:sp>
        <p:sp>
          <p:nvSpPr>
            <p:cNvPr id="31" name="Google Shape;1325;p52">
              <a:extLst>
                <a:ext uri="{FF2B5EF4-FFF2-40B4-BE49-F238E27FC236}">
                  <a16:creationId xmlns:a16="http://schemas.microsoft.com/office/drawing/2014/main" id="{FF6D1F8A-C7FF-459B-AE99-6586EABBE16C}"/>
                </a:ext>
              </a:extLst>
            </p:cNvPr>
            <p:cNvSpPr/>
            <p:nvPr/>
          </p:nvSpPr>
          <p:spPr>
            <a:xfrm>
              <a:off x="5506823" y="2896139"/>
              <a:ext cx="46172" cy="11400"/>
            </a:xfrm>
            <a:custGeom>
              <a:avLst/>
              <a:gdLst/>
              <a:ahLst/>
              <a:cxnLst/>
              <a:rect l="l" t="t" r="r" b="b"/>
              <a:pathLst>
                <a:path w="1454" h="359" extrusionOk="0">
                  <a:moveTo>
                    <a:pt x="179" y="1"/>
                  </a:moveTo>
                  <a:cubicBezTo>
                    <a:pt x="84" y="1"/>
                    <a:pt x="1" y="72"/>
                    <a:pt x="1" y="180"/>
                  </a:cubicBezTo>
                  <a:cubicBezTo>
                    <a:pt x="1" y="275"/>
                    <a:pt x="72" y="358"/>
                    <a:pt x="179" y="358"/>
                  </a:cubicBezTo>
                  <a:lnTo>
                    <a:pt x="1275" y="358"/>
                  </a:lnTo>
                  <a:cubicBezTo>
                    <a:pt x="1370" y="358"/>
                    <a:pt x="1453" y="275"/>
                    <a:pt x="1453" y="180"/>
                  </a:cubicBezTo>
                  <a:cubicBezTo>
                    <a:pt x="1453" y="72"/>
                    <a:pt x="1370" y="1"/>
                    <a:pt x="1275" y="1"/>
                  </a:cubicBezTo>
                  <a:close/>
                </a:path>
              </a:pathLst>
            </a:custGeom>
            <a:grpFill/>
            <a:ln>
              <a:noFill/>
            </a:ln>
          </p:spPr>
          <p:txBody>
            <a:bodyPr spcFirstLastPara="1" wrap="square" lIns="91425" tIns="91425" rIns="91425" bIns="91425" anchor="ctr" anchorCtr="0">
              <a:noAutofit/>
            </a:bodyPr>
            <a:lstStyle/>
            <a:p>
              <a:endParaRPr/>
            </a:p>
          </p:txBody>
        </p:sp>
        <p:sp>
          <p:nvSpPr>
            <p:cNvPr id="32" name="Google Shape;1326;p52">
              <a:extLst>
                <a:ext uri="{FF2B5EF4-FFF2-40B4-BE49-F238E27FC236}">
                  <a16:creationId xmlns:a16="http://schemas.microsoft.com/office/drawing/2014/main" id="{BBD71BFF-D3BC-45E5-A0FB-D2567696A638}"/>
                </a:ext>
              </a:extLst>
            </p:cNvPr>
            <p:cNvSpPr/>
            <p:nvPr/>
          </p:nvSpPr>
          <p:spPr>
            <a:xfrm>
              <a:off x="5261834" y="2942660"/>
              <a:ext cx="46521" cy="11368"/>
            </a:xfrm>
            <a:custGeom>
              <a:avLst/>
              <a:gdLst/>
              <a:ahLst/>
              <a:cxnLst/>
              <a:rect l="l" t="t" r="r" b="b"/>
              <a:pathLst>
                <a:path w="1465" h="358" extrusionOk="0">
                  <a:moveTo>
                    <a:pt x="179" y="0"/>
                  </a:moveTo>
                  <a:cubicBezTo>
                    <a:pt x="96" y="0"/>
                    <a:pt x="0" y="84"/>
                    <a:pt x="0" y="179"/>
                  </a:cubicBezTo>
                  <a:cubicBezTo>
                    <a:pt x="0" y="286"/>
                    <a:pt x="72" y="358"/>
                    <a:pt x="179" y="358"/>
                  </a:cubicBezTo>
                  <a:lnTo>
                    <a:pt x="1286" y="358"/>
                  </a:lnTo>
                  <a:cubicBezTo>
                    <a:pt x="1370" y="358"/>
                    <a:pt x="1465" y="286"/>
                    <a:pt x="1465" y="179"/>
                  </a:cubicBezTo>
                  <a:cubicBezTo>
                    <a:pt x="1465" y="84"/>
                    <a:pt x="1370" y="0"/>
                    <a:pt x="1286" y="0"/>
                  </a:cubicBezTo>
                  <a:close/>
                </a:path>
              </a:pathLst>
            </a:custGeom>
            <a:grpFill/>
            <a:ln>
              <a:noFill/>
            </a:ln>
          </p:spPr>
          <p:txBody>
            <a:bodyPr spcFirstLastPara="1" wrap="square" lIns="91425" tIns="91425" rIns="91425" bIns="91425" anchor="ctr" anchorCtr="0">
              <a:noAutofit/>
            </a:bodyPr>
            <a:lstStyle/>
            <a:p>
              <a:endParaRPr/>
            </a:p>
          </p:txBody>
        </p:sp>
        <p:sp>
          <p:nvSpPr>
            <p:cNvPr id="33" name="Google Shape;1327;p52">
              <a:extLst>
                <a:ext uri="{FF2B5EF4-FFF2-40B4-BE49-F238E27FC236}">
                  <a16:creationId xmlns:a16="http://schemas.microsoft.com/office/drawing/2014/main" id="{505BC58F-7B93-4F40-ABB5-8AB2735FF7E5}"/>
                </a:ext>
              </a:extLst>
            </p:cNvPr>
            <p:cNvSpPr/>
            <p:nvPr/>
          </p:nvSpPr>
          <p:spPr>
            <a:xfrm>
              <a:off x="5424768" y="2942660"/>
              <a:ext cx="46553" cy="11368"/>
            </a:xfrm>
            <a:custGeom>
              <a:avLst/>
              <a:gdLst/>
              <a:ahLst/>
              <a:cxnLst/>
              <a:rect l="l" t="t" r="r" b="b"/>
              <a:pathLst>
                <a:path w="1466" h="358" extrusionOk="0">
                  <a:moveTo>
                    <a:pt x="180" y="0"/>
                  </a:moveTo>
                  <a:cubicBezTo>
                    <a:pt x="96" y="0"/>
                    <a:pt x="1" y="84"/>
                    <a:pt x="1" y="179"/>
                  </a:cubicBezTo>
                  <a:cubicBezTo>
                    <a:pt x="1" y="286"/>
                    <a:pt x="84" y="358"/>
                    <a:pt x="180" y="358"/>
                  </a:cubicBezTo>
                  <a:lnTo>
                    <a:pt x="1287" y="358"/>
                  </a:lnTo>
                  <a:cubicBezTo>
                    <a:pt x="1370" y="358"/>
                    <a:pt x="1465" y="286"/>
                    <a:pt x="1465" y="179"/>
                  </a:cubicBezTo>
                  <a:cubicBezTo>
                    <a:pt x="1465" y="84"/>
                    <a:pt x="1394" y="0"/>
                    <a:pt x="1287" y="0"/>
                  </a:cubicBezTo>
                  <a:close/>
                </a:path>
              </a:pathLst>
            </a:custGeom>
            <a:grpFill/>
            <a:ln>
              <a:noFill/>
            </a:ln>
          </p:spPr>
          <p:txBody>
            <a:bodyPr spcFirstLastPara="1" wrap="square" lIns="91425" tIns="91425" rIns="91425" bIns="91425" anchor="ctr" anchorCtr="0">
              <a:noAutofit/>
            </a:bodyPr>
            <a:lstStyle/>
            <a:p>
              <a:endParaRPr/>
            </a:p>
          </p:txBody>
        </p:sp>
        <p:sp>
          <p:nvSpPr>
            <p:cNvPr id="34" name="Google Shape;1328;p52">
              <a:extLst>
                <a:ext uri="{FF2B5EF4-FFF2-40B4-BE49-F238E27FC236}">
                  <a16:creationId xmlns:a16="http://schemas.microsoft.com/office/drawing/2014/main" id="{D9D13DB2-2046-49D3-BA34-4C2E8CA06DD9}"/>
                </a:ext>
              </a:extLst>
            </p:cNvPr>
            <p:cNvSpPr/>
            <p:nvPr/>
          </p:nvSpPr>
          <p:spPr>
            <a:xfrm>
              <a:off x="5261834" y="2989149"/>
              <a:ext cx="46521" cy="11400"/>
            </a:xfrm>
            <a:custGeom>
              <a:avLst/>
              <a:gdLst/>
              <a:ahLst/>
              <a:cxnLst/>
              <a:rect l="l" t="t" r="r" b="b"/>
              <a:pathLst>
                <a:path w="1465" h="359" extrusionOk="0">
                  <a:moveTo>
                    <a:pt x="179" y="1"/>
                  </a:moveTo>
                  <a:cubicBezTo>
                    <a:pt x="96" y="1"/>
                    <a:pt x="0" y="72"/>
                    <a:pt x="0" y="179"/>
                  </a:cubicBezTo>
                  <a:cubicBezTo>
                    <a:pt x="0" y="287"/>
                    <a:pt x="72" y="358"/>
                    <a:pt x="179" y="358"/>
                  </a:cubicBezTo>
                  <a:lnTo>
                    <a:pt x="1286" y="358"/>
                  </a:lnTo>
                  <a:cubicBezTo>
                    <a:pt x="1370" y="358"/>
                    <a:pt x="1465" y="287"/>
                    <a:pt x="1465" y="179"/>
                  </a:cubicBezTo>
                  <a:cubicBezTo>
                    <a:pt x="1465" y="72"/>
                    <a:pt x="1370" y="1"/>
                    <a:pt x="1286" y="1"/>
                  </a:cubicBezTo>
                  <a:close/>
                </a:path>
              </a:pathLst>
            </a:custGeom>
            <a:grpFill/>
            <a:ln>
              <a:noFill/>
            </a:ln>
          </p:spPr>
          <p:txBody>
            <a:bodyPr spcFirstLastPara="1" wrap="square" lIns="91425" tIns="91425" rIns="91425" bIns="91425" anchor="ctr" anchorCtr="0">
              <a:noAutofit/>
            </a:bodyPr>
            <a:lstStyle/>
            <a:p>
              <a:endParaRPr/>
            </a:p>
          </p:txBody>
        </p:sp>
        <p:sp>
          <p:nvSpPr>
            <p:cNvPr id="35" name="Google Shape;1329;p52">
              <a:extLst>
                <a:ext uri="{FF2B5EF4-FFF2-40B4-BE49-F238E27FC236}">
                  <a16:creationId xmlns:a16="http://schemas.microsoft.com/office/drawing/2014/main" id="{A8260D4A-37A5-425E-A67A-A1B5E07EF47B}"/>
                </a:ext>
              </a:extLst>
            </p:cNvPr>
            <p:cNvSpPr/>
            <p:nvPr/>
          </p:nvSpPr>
          <p:spPr>
            <a:xfrm>
              <a:off x="5343507" y="2989149"/>
              <a:ext cx="46521" cy="11400"/>
            </a:xfrm>
            <a:custGeom>
              <a:avLst/>
              <a:gdLst/>
              <a:ahLst/>
              <a:cxnLst/>
              <a:rect l="l" t="t" r="r" b="b"/>
              <a:pathLst>
                <a:path w="1465" h="359" extrusionOk="0">
                  <a:moveTo>
                    <a:pt x="179" y="1"/>
                  </a:moveTo>
                  <a:cubicBezTo>
                    <a:pt x="95" y="1"/>
                    <a:pt x="0" y="72"/>
                    <a:pt x="0" y="179"/>
                  </a:cubicBezTo>
                  <a:cubicBezTo>
                    <a:pt x="0" y="287"/>
                    <a:pt x="83" y="358"/>
                    <a:pt x="179" y="358"/>
                  </a:cubicBezTo>
                  <a:lnTo>
                    <a:pt x="1286" y="358"/>
                  </a:lnTo>
                  <a:cubicBezTo>
                    <a:pt x="1369" y="358"/>
                    <a:pt x="1465" y="287"/>
                    <a:pt x="1465" y="179"/>
                  </a:cubicBezTo>
                  <a:cubicBezTo>
                    <a:pt x="1465" y="72"/>
                    <a:pt x="1381" y="1"/>
                    <a:pt x="1286" y="1"/>
                  </a:cubicBezTo>
                  <a:close/>
                </a:path>
              </a:pathLst>
            </a:custGeom>
            <a:grpFill/>
            <a:ln>
              <a:noFill/>
            </a:ln>
          </p:spPr>
          <p:txBody>
            <a:bodyPr spcFirstLastPara="1" wrap="square" lIns="91425" tIns="91425" rIns="91425" bIns="91425" anchor="ctr" anchorCtr="0">
              <a:noAutofit/>
            </a:bodyPr>
            <a:lstStyle/>
            <a:p>
              <a:endParaRPr/>
            </a:p>
          </p:txBody>
        </p:sp>
        <p:sp>
          <p:nvSpPr>
            <p:cNvPr id="36" name="Google Shape;1330;p52">
              <a:extLst>
                <a:ext uri="{FF2B5EF4-FFF2-40B4-BE49-F238E27FC236}">
                  <a16:creationId xmlns:a16="http://schemas.microsoft.com/office/drawing/2014/main" id="{EBD7B765-D6C1-457C-8234-C7131A910323}"/>
                </a:ext>
              </a:extLst>
            </p:cNvPr>
            <p:cNvSpPr/>
            <p:nvPr/>
          </p:nvSpPr>
          <p:spPr>
            <a:xfrm>
              <a:off x="5506823" y="2989149"/>
              <a:ext cx="46172" cy="11400"/>
            </a:xfrm>
            <a:custGeom>
              <a:avLst/>
              <a:gdLst/>
              <a:ahLst/>
              <a:cxnLst/>
              <a:rect l="l" t="t" r="r" b="b"/>
              <a:pathLst>
                <a:path w="1454" h="359" extrusionOk="0">
                  <a:moveTo>
                    <a:pt x="179" y="1"/>
                  </a:moveTo>
                  <a:cubicBezTo>
                    <a:pt x="84" y="1"/>
                    <a:pt x="1" y="72"/>
                    <a:pt x="1" y="179"/>
                  </a:cubicBezTo>
                  <a:cubicBezTo>
                    <a:pt x="1" y="287"/>
                    <a:pt x="72" y="358"/>
                    <a:pt x="179" y="358"/>
                  </a:cubicBezTo>
                  <a:lnTo>
                    <a:pt x="1275" y="358"/>
                  </a:lnTo>
                  <a:cubicBezTo>
                    <a:pt x="1370" y="358"/>
                    <a:pt x="1453" y="287"/>
                    <a:pt x="1453" y="179"/>
                  </a:cubicBezTo>
                  <a:cubicBezTo>
                    <a:pt x="1453" y="72"/>
                    <a:pt x="1370" y="1"/>
                    <a:pt x="1275" y="1"/>
                  </a:cubicBezTo>
                  <a:close/>
                </a:path>
              </a:pathLst>
            </a:custGeom>
            <a:grpFill/>
            <a:ln>
              <a:noFill/>
            </a:ln>
          </p:spPr>
          <p:txBody>
            <a:bodyPr spcFirstLastPara="1" wrap="square" lIns="91425" tIns="91425" rIns="91425" bIns="91425" anchor="ctr" anchorCtr="0">
              <a:noAutofit/>
            </a:bodyPr>
            <a:lstStyle/>
            <a:p>
              <a:endParaRPr/>
            </a:p>
          </p:txBody>
        </p:sp>
        <p:sp>
          <p:nvSpPr>
            <p:cNvPr id="37" name="Google Shape;1331;p52">
              <a:extLst>
                <a:ext uri="{FF2B5EF4-FFF2-40B4-BE49-F238E27FC236}">
                  <a16:creationId xmlns:a16="http://schemas.microsoft.com/office/drawing/2014/main" id="{7615699C-9109-45B2-9EAA-B277ED3E770F}"/>
                </a:ext>
              </a:extLst>
            </p:cNvPr>
            <p:cNvSpPr/>
            <p:nvPr/>
          </p:nvSpPr>
          <p:spPr>
            <a:xfrm>
              <a:off x="5343507" y="3036051"/>
              <a:ext cx="46521" cy="10987"/>
            </a:xfrm>
            <a:custGeom>
              <a:avLst/>
              <a:gdLst/>
              <a:ahLst/>
              <a:cxnLst/>
              <a:rect l="l" t="t" r="r" b="b"/>
              <a:pathLst>
                <a:path w="1465" h="346" extrusionOk="0">
                  <a:moveTo>
                    <a:pt x="179" y="0"/>
                  </a:moveTo>
                  <a:cubicBezTo>
                    <a:pt x="95" y="0"/>
                    <a:pt x="0" y="72"/>
                    <a:pt x="0" y="179"/>
                  </a:cubicBezTo>
                  <a:cubicBezTo>
                    <a:pt x="0" y="274"/>
                    <a:pt x="83" y="346"/>
                    <a:pt x="179" y="346"/>
                  </a:cubicBezTo>
                  <a:lnTo>
                    <a:pt x="1286" y="346"/>
                  </a:lnTo>
                  <a:cubicBezTo>
                    <a:pt x="1369" y="346"/>
                    <a:pt x="1465" y="274"/>
                    <a:pt x="1465" y="179"/>
                  </a:cubicBezTo>
                  <a:cubicBezTo>
                    <a:pt x="1465" y="72"/>
                    <a:pt x="1381" y="0"/>
                    <a:pt x="1286" y="0"/>
                  </a:cubicBezTo>
                  <a:close/>
                </a:path>
              </a:pathLst>
            </a:custGeom>
            <a:grpFill/>
            <a:ln>
              <a:noFill/>
            </a:ln>
          </p:spPr>
          <p:txBody>
            <a:bodyPr spcFirstLastPara="1" wrap="square" lIns="91425" tIns="91425" rIns="91425" bIns="91425" anchor="ctr" anchorCtr="0">
              <a:noAutofit/>
            </a:bodyPr>
            <a:lstStyle/>
            <a:p>
              <a:endParaRPr/>
            </a:p>
          </p:txBody>
        </p:sp>
        <p:sp>
          <p:nvSpPr>
            <p:cNvPr id="38" name="Google Shape;1332;p52">
              <a:extLst>
                <a:ext uri="{FF2B5EF4-FFF2-40B4-BE49-F238E27FC236}">
                  <a16:creationId xmlns:a16="http://schemas.microsoft.com/office/drawing/2014/main" id="{37689335-EF2E-4FBA-8690-1BBE13DCCECB}"/>
                </a:ext>
              </a:extLst>
            </p:cNvPr>
            <p:cNvSpPr/>
            <p:nvPr/>
          </p:nvSpPr>
          <p:spPr>
            <a:xfrm>
              <a:off x="5424768" y="3036051"/>
              <a:ext cx="46553" cy="10987"/>
            </a:xfrm>
            <a:custGeom>
              <a:avLst/>
              <a:gdLst/>
              <a:ahLst/>
              <a:cxnLst/>
              <a:rect l="l" t="t" r="r" b="b"/>
              <a:pathLst>
                <a:path w="1466" h="346" extrusionOk="0">
                  <a:moveTo>
                    <a:pt x="180" y="0"/>
                  </a:moveTo>
                  <a:cubicBezTo>
                    <a:pt x="96" y="0"/>
                    <a:pt x="1" y="72"/>
                    <a:pt x="1" y="179"/>
                  </a:cubicBezTo>
                  <a:cubicBezTo>
                    <a:pt x="1" y="274"/>
                    <a:pt x="84" y="346"/>
                    <a:pt x="180" y="346"/>
                  </a:cubicBezTo>
                  <a:lnTo>
                    <a:pt x="1287" y="346"/>
                  </a:lnTo>
                  <a:cubicBezTo>
                    <a:pt x="1370" y="346"/>
                    <a:pt x="1465" y="274"/>
                    <a:pt x="1465" y="179"/>
                  </a:cubicBezTo>
                  <a:cubicBezTo>
                    <a:pt x="1465" y="72"/>
                    <a:pt x="1394" y="0"/>
                    <a:pt x="1287" y="0"/>
                  </a:cubicBezTo>
                  <a:close/>
                </a:path>
              </a:pathLst>
            </a:custGeom>
            <a:grpFill/>
            <a:ln>
              <a:noFill/>
            </a:ln>
          </p:spPr>
          <p:txBody>
            <a:bodyPr spcFirstLastPara="1" wrap="square" lIns="91425" tIns="91425" rIns="91425" bIns="91425" anchor="ctr" anchorCtr="0">
              <a:noAutofit/>
            </a:bodyPr>
            <a:lstStyle/>
            <a:p>
              <a:endParaRPr/>
            </a:p>
          </p:txBody>
        </p:sp>
        <p:sp>
          <p:nvSpPr>
            <p:cNvPr id="39" name="Google Shape;1333;p52">
              <a:extLst>
                <a:ext uri="{FF2B5EF4-FFF2-40B4-BE49-F238E27FC236}">
                  <a16:creationId xmlns:a16="http://schemas.microsoft.com/office/drawing/2014/main" id="{C26B6549-E20B-456A-921C-E2567EC5C4F5}"/>
                </a:ext>
              </a:extLst>
            </p:cNvPr>
            <p:cNvSpPr/>
            <p:nvPr/>
          </p:nvSpPr>
          <p:spPr>
            <a:xfrm>
              <a:off x="5506823" y="3036051"/>
              <a:ext cx="46172" cy="10987"/>
            </a:xfrm>
            <a:custGeom>
              <a:avLst/>
              <a:gdLst/>
              <a:ahLst/>
              <a:cxnLst/>
              <a:rect l="l" t="t" r="r" b="b"/>
              <a:pathLst>
                <a:path w="1454" h="346" extrusionOk="0">
                  <a:moveTo>
                    <a:pt x="179" y="0"/>
                  </a:moveTo>
                  <a:cubicBezTo>
                    <a:pt x="84" y="0"/>
                    <a:pt x="1" y="72"/>
                    <a:pt x="1" y="179"/>
                  </a:cubicBezTo>
                  <a:cubicBezTo>
                    <a:pt x="1" y="274"/>
                    <a:pt x="72" y="346"/>
                    <a:pt x="179" y="346"/>
                  </a:cubicBezTo>
                  <a:lnTo>
                    <a:pt x="1275" y="346"/>
                  </a:lnTo>
                  <a:cubicBezTo>
                    <a:pt x="1370" y="346"/>
                    <a:pt x="1453" y="274"/>
                    <a:pt x="1453" y="179"/>
                  </a:cubicBezTo>
                  <a:cubicBezTo>
                    <a:pt x="1453" y="72"/>
                    <a:pt x="1370" y="0"/>
                    <a:pt x="1275" y="0"/>
                  </a:cubicBezTo>
                  <a:close/>
                </a:path>
              </a:pathLst>
            </a:custGeom>
            <a:grpFill/>
            <a:ln>
              <a:noFill/>
            </a:ln>
          </p:spPr>
          <p:txBody>
            <a:bodyPr spcFirstLastPara="1" wrap="square" lIns="91425" tIns="91425" rIns="91425" bIns="91425" anchor="ctr" anchorCtr="0">
              <a:noAutofit/>
            </a:bodyPr>
            <a:lstStyle/>
            <a:p>
              <a:endParaRPr/>
            </a:p>
          </p:txBody>
        </p:sp>
        <p:sp>
          <p:nvSpPr>
            <p:cNvPr id="40" name="Google Shape;1334;p52">
              <a:extLst>
                <a:ext uri="{FF2B5EF4-FFF2-40B4-BE49-F238E27FC236}">
                  <a16:creationId xmlns:a16="http://schemas.microsoft.com/office/drawing/2014/main" id="{81FF82A8-5CDB-4768-9E21-D4BC694148BD}"/>
                </a:ext>
              </a:extLst>
            </p:cNvPr>
            <p:cNvSpPr/>
            <p:nvPr/>
          </p:nvSpPr>
          <p:spPr>
            <a:xfrm>
              <a:off x="5343126" y="2930752"/>
              <a:ext cx="46902" cy="33851"/>
            </a:xfrm>
            <a:custGeom>
              <a:avLst/>
              <a:gdLst/>
              <a:ahLst/>
              <a:cxnLst/>
              <a:rect l="l" t="t" r="r" b="b"/>
              <a:pathLst>
                <a:path w="1477" h="1066" extrusionOk="0">
                  <a:moveTo>
                    <a:pt x="1293" y="0"/>
                  </a:moveTo>
                  <a:cubicBezTo>
                    <a:pt x="1250" y="0"/>
                    <a:pt x="1209" y="18"/>
                    <a:pt x="1179" y="54"/>
                  </a:cubicBezTo>
                  <a:lnTo>
                    <a:pt x="572" y="661"/>
                  </a:lnTo>
                  <a:lnTo>
                    <a:pt x="322" y="411"/>
                  </a:lnTo>
                  <a:cubicBezTo>
                    <a:pt x="280" y="375"/>
                    <a:pt x="235" y="358"/>
                    <a:pt x="194" y="358"/>
                  </a:cubicBezTo>
                  <a:cubicBezTo>
                    <a:pt x="152" y="358"/>
                    <a:pt x="113" y="375"/>
                    <a:pt x="84" y="411"/>
                  </a:cubicBezTo>
                  <a:cubicBezTo>
                    <a:pt x="0" y="483"/>
                    <a:pt x="0" y="590"/>
                    <a:pt x="84" y="649"/>
                  </a:cubicBezTo>
                  <a:lnTo>
                    <a:pt x="453" y="1018"/>
                  </a:lnTo>
                  <a:cubicBezTo>
                    <a:pt x="476" y="1054"/>
                    <a:pt x="524" y="1066"/>
                    <a:pt x="572" y="1066"/>
                  </a:cubicBezTo>
                  <a:cubicBezTo>
                    <a:pt x="619" y="1066"/>
                    <a:pt x="655" y="1054"/>
                    <a:pt x="691" y="1018"/>
                  </a:cubicBezTo>
                  <a:lnTo>
                    <a:pt x="1417" y="292"/>
                  </a:lnTo>
                  <a:cubicBezTo>
                    <a:pt x="1477" y="233"/>
                    <a:pt x="1477" y="125"/>
                    <a:pt x="1417" y="54"/>
                  </a:cubicBezTo>
                  <a:cubicBezTo>
                    <a:pt x="1381" y="18"/>
                    <a:pt x="1337" y="0"/>
                    <a:pt x="1293" y="0"/>
                  </a:cubicBezTo>
                  <a:close/>
                </a:path>
              </a:pathLst>
            </a:custGeom>
            <a:grpFill/>
            <a:ln>
              <a:noFill/>
            </a:ln>
          </p:spPr>
          <p:txBody>
            <a:bodyPr spcFirstLastPara="1" wrap="square" lIns="91425" tIns="91425" rIns="91425" bIns="91425" anchor="ctr" anchorCtr="0">
              <a:noAutofit/>
            </a:bodyPr>
            <a:lstStyle/>
            <a:p>
              <a:endParaRPr/>
            </a:p>
          </p:txBody>
        </p:sp>
        <p:sp>
          <p:nvSpPr>
            <p:cNvPr id="41" name="Google Shape;1335;p52">
              <a:extLst>
                <a:ext uri="{FF2B5EF4-FFF2-40B4-BE49-F238E27FC236}">
                  <a16:creationId xmlns:a16="http://schemas.microsoft.com/office/drawing/2014/main" id="{FACB780A-E5EA-462F-9451-8C6C534FF4A9}"/>
                </a:ext>
              </a:extLst>
            </p:cNvPr>
            <p:cNvSpPr/>
            <p:nvPr/>
          </p:nvSpPr>
          <p:spPr>
            <a:xfrm>
              <a:off x="5506442" y="2930752"/>
              <a:ext cx="47283" cy="33851"/>
            </a:xfrm>
            <a:custGeom>
              <a:avLst/>
              <a:gdLst/>
              <a:ahLst/>
              <a:cxnLst/>
              <a:rect l="l" t="t" r="r" b="b"/>
              <a:pathLst>
                <a:path w="1489" h="1066" extrusionOk="0">
                  <a:moveTo>
                    <a:pt x="1282" y="0"/>
                  </a:moveTo>
                  <a:cubicBezTo>
                    <a:pt x="1239" y="0"/>
                    <a:pt x="1197" y="18"/>
                    <a:pt x="1167" y="54"/>
                  </a:cubicBezTo>
                  <a:lnTo>
                    <a:pt x="560" y="661"/>
                  </a:lnTo>
                  <a:lnTo>
                    <a:pt x="310" y="411"/>
                  </a:lnTo>
                  <a:cubicBezTo>
                    <a:pt x="275" y="375"/>
                    <a:pt x="230" y="358"/>
                    <a:pt x="187" y="358"/>
                  </a:cubicBezTo>
                  <a:cubicBezTo>
                    <a:pt x="144" y="358"/>
                    <a:pt x="102" y="375"/>
                    <a:pt x="72" y="411"/>
                  </a:cubicBezTo>
                  <a:cubicBezTo>
                    <a:pt x="1" y="483"/>
                    <a:pt x="1" y="590"/>
                    <a:pt x="72" y="649"/>
                  </a:cubicBezTo>
                  <a:lnTo>
                    <a:pt x="441" y="1018"/>
                  </a:lnTo>
                  <a:cubicBezTo>
                    <a:pt x="477" y="1054"/>
                    <a:pt x="513" y="1066"/>
                    <a:pt x="560" y="1066"/>
                  </a:cubicBezTo>
                  <a:cubicBezTo>
                    <a:pt x="608" y="1066"/>
                    <a:pt x="656" y="1054"/>
                    <a:pt x="679" y="1018"/>
                  </a:cubicBezTo>
                  <a:lnTo>
                    <a:pt x="1406" y="292"/>
                  </a:lnTo>
                  <a:cubicBezTo>
                    <a:pt x="1489" y="233"/>
                    <a:pt x="1489" y="125"/>
                    <a:pt x="1406" y="54"/>
                  </a:cubicBezTo>
                  <a:cubicBezTo>
                    <a:pt x="1370" y="18"/>
                    <a:pt x="1325" y="0"/>
                    <a:pt x="1282" y="0"/>
                  </a:cubicBezTo>
                  <a:close/>
                </a:path>
              </a:pathLst>
            </a:custGeom>
            <a:grpFill/>
            <a:ln>
              <a:noFill/>
            </a:ln>
          </p:spPr>
          <p:txBody>
            <a:bodyPr spcFirstLastPara="1" wrap="square" lIns="91425" tIns="91425" rIns="91425" bIns="91425" anchor="ctr" anchorCtr="0">
              <a:noAutofit/>
            </a:bodyPr>
            <a:lstStyle/>
            <a:p>
              <a:endParaRPr/>
            </a:p>
          </p:txBody>
        </p:sp>
        <p:sp>
          <p:nvSpPr>
            <p:cNvPr id="42" name="Google Shape;1336;p52">
              <a:extLst>
                <a:ext uri="{FF2B5EF4-FFF2-40B4-BE49-F238E27FC236}">
                  <a16:creationId xmlns:a16="http://schemas.microsoft.com/office/drawing/2014/main" id="{64BF5684-677B-409B-9A53-C7B3BDE4F326}"/>
                </a:ext>
              </a:extLst>
            </p:cNvPr>
            <p:cNvSpPr/>
            <p:nvPr/>
          </p:nvSpPr>
          <p:spPr>
            <a:xfrm>
              <a:off x="5424419" y="2977336"/>
              <a:ext cx="47283" cy="34168"/>
            </a:xfrm>
            <a:custGeom>
              <a:avLst/>
              <a:gdLst/>
              <a:ahLst/>
              <a:cxnLst/>
              <a:rect l="l" t="t" r="r" b="b"/>
              <a:pathLst>
                <a:path w="1489" h="1076" extrusionOk="0">
                  <a:moveTo>
                    <a:pt x="1293" y="1"/>
                  </a:moveTo>
                  <a:cubicBezTo>
                    <a:pt x="1250" y="1"/>
                    <a:pt x="1208" y="22"/>
                    <a:pt x="1179" y="63"/>
                  </a:cubicBezTo>
                  <a:lnTo>
                    <a:pt x="572" y="671"/>
                  </a:lnTo>
                  <a:lnTo>
                    <a:pt x="321" y="421"/>
                  </a:lnTo>
                  <a:cubicBezTo>
                    <a:pt x="280" y="379"/>
                    <a:pt x="235" y="358"/>
                    <a:pt x="193" y="358"/>
                  </a:cubicBezTo>
                  <a:cubicBezTo>
                    <a:pt x="152" y="358"/>
                    <a:pt x="113" y="379"/>
                    <a:pt x="83" y="421"/>
                  </a:cubicBezTo>
                  <a:cubicBezTo>
                    <a:pt x="0" y="492"/>
                    <a:pt x="0" y="599"/>
                    <a:pt x="83" y="659"/>
                  </a:cubicBezTo>
                  <a:lnTo>
                    <a:pt x="452" y="1028"/>
                  </a:lnTo>
                  <a:cubicBezTo>
                    <a:pt x="476" y="1052"/>
                    <a:pt x="524" y="1075"/>
                    <a:pt x="572" y="1075"/>
                  </a:cubicBezTo>
                  <a:cubicBezTo>
                    <a:pt x="619" y="1075"/>
                    <a:pt x="655" y="1052"/>
                    <a:pt x="691" y="1028"/>
                  </a:cubicBezTo>
                  <a:lnTo>
                    <a:pt x="1417" y="301"/>
                  </a:lnTo>
                  <a:cubicBezTo>
                    <a:pt x="1488" y="242"/>
                    <a:pt x="1488" y="123"/>
                    <a:pt x="1417" y="63"/>
                  </a:cubicBezTo>
                  <a:cubicBezTo>
                    <a:pt x="1381" y="22"/>
                    <a:pt x="1336" y="1"/>
                    <a:pt x="1293" y="1"/>
                  </a:cubicBezTo>
                  <a:close/>
                </a:path>
              </a:pathLst>
            </a:custGeom>
            <a:grpFill/>
            <a:ln>
              <a:noFill/>
            </a:ln>
          </p:spPr>
          <p:txBody>
            <a:bodyPr spcFirstLastPara="1" wrap="square" lIns="91425" tIns="91425" rIns="91425" bIns="91425" anchor="ctr" anchorCtr="0">
              <a:noAutofit/>
            </a:bodyPr>
            <a:lstStyle/>
            <a:p>
              <a:endParaRPr/>
            </a:p>
          </p:txBody>
        </p:sp>
        <p:sp>
          <p:nvSpPr>
            <p:cNvPr id="43" name="Google Shape;1337;p52">
              <a:extLst>
                <a:ext uri="{FF2B5EF4-FFF2-40B4-BE49-F238E27FC236}">
                  <a16:creationId xmlns:a16="http://schemas.microsoft.com/office/drawing/2014/main" id="{E8E7D643-121C-412E-92A1-5AA0FB7AD206}"/>
                </a:ext>
              </a:extLst>
            </p:cNvPr>
            <p:cNvSpPr/>
            <p:nvPr/>
          </p:nvSpPr>
          <p:spPr>
            <a:xfrm>
              <a:off x="5261453" y="3024143"/>
              <a:ext cx="47283" cy="33851"/>
            </a:xfrm>
            <a:custGeom>
              <a:avLst/>
              <a:gdLst/>
              <a:ahLst/>
              <a:cxnLst/>
              <a:rect l="l" t="t" r="r" b="b"/>
              <a:pathLst>
                <a:path w="1489" h="1066" extrusionOk="0">
                  <a:moveTo>
                    <a:pt x="1289" y="0"/>
                  </a:moveTo>
                  <a:cubicBezTo>
                    <a:pt x="1248" y="0"/>
                    <a:pt x="1209" y="18"/>
                    <a:pt x="1179" y="54"/>
                  </a:cubicBezTo>
                  <a:lnTo>
                    <a:pt x="572" y="673"/>
                  </a:lnTo>
                  <a:lnTo>
                    <a:pt x="310" y="411"/>
                  </a:lnTo>
                  <a:cubicBezTo>
                    <a:pt x="274" y="375"/>
                    <a:pt x="230" y="357"/>
                    <a:pt x="186" y="357"/>
                  </a:cubicBezTo>
                  <a:cubicBezTo>
                    <a:pt x="143" y="357"/>
                    <a:pt x="102" y="375"/>
                    <a:pt x="72" y="411"/>
                  </a:cubicBezTo>
                  <a:cubicBezTo>
                    <a:pt x="0" y="494"/>
                    <a:pt x="0" y="590"/>
                    <a:pt x="72" y="649"/>
                  </a:cubicBezTo>
                  <a:lnTo>
                    <a:pt x="453" y="1030"/>
                  </a:lnTo>
                  <a:cubicBezTo>
                    <a:pt x="477" y="1054"/>
                    <a:pt x="524" y="1066"/>
                    <a:pt x="572" y="1066"/>
                  </a:cubicBezTo>
                  <a:cubicBezTo>
                    <a:pt x="608" y="1066"/>
                    <a:pt x="655" y="1054"/>
                    <a:pt x="691" y="1030"/>
                  </a:cubicBezTo>
                  <a:lnTo>
                    <a:pt x="1417" y="292"/>
                  </a:lnTo>
                  <a:cubicBezTo>
                    <a:pt x="1489" y="220"/>
                    <a:pt x="1489" y="113"/>
                    <a:pt x="1417" y="54"/>
                  </a:cubicBezTo>
                  <a:cubicBezTo>
                    <a:pt x="1376" y="18"/>
                    <a:pt x="1331" y="0"/>
                    <a:pt x="1289" y="0"/>
                  </a:cubicBezTo>
                  <a:close/>
                </a:path>
              </a:pathLst>
            </a:custGeom>
            <a:grpFill/>
            <a:ln>
              <a:noFill/>
            </a:ln>
          </p:spPr>
          <p:txBody>
            <a:bodyPr spcFirstLastPara="1" wrap="square" lIns="91425" tIns="91425" rIns="91425" bIns="91425" anchor="ctr" anchorCtr="0">
              <a:noAutofit/>
            </a:bodyPr>
            <a:lstStyle/>
            <a:p>
              <a:endParaRPr/>
            </a:p>
          </p:txBody>
        </p:sp>
        <p:sp>
          <p:nvSpPr>
            <p:cNvPr id="44" name="Google Shape;1338;p52">
              <a:extLst>
                <a:ext uri="{FF2B5EF4-FFF2-40B4-BE49-F238E27FC236}">
                  <a16:creationId xmlns:a16="http://schemas.microsoft.com/office/drawing/2014/main" id="{49BC0AA4-AA6A-42AF-A313-C7EBB3B1AE19}"/>
                </a:ext>
              </a:extLst>
            </p:cNvPr>
            <p:cNvSpPr/>
            <p:nvPr/>
          </p:nvSpPr>
          <p:spPr>
            <a:xfrm>
              <a:off x="5424419" y="2884231"/>
              <a:ext cx="47283" cy="33883"/>
            </a:xfrm>
            <a:custGeom>
              <a:avLst/>
              <a:gdLst/>
              <a:ahLst/>
              <a:cxnLst/>
              <a:rect l="l" t="t" r="r" b="b"/>
              <a:pathLst>
                <a:path w="1489" h="1067" extrusionOk="0">
                  <a:moveTo>
                    <a:pt x="1293" y="1"/>
                  </a:moveTo>
                  <a:cubicBezTo>
                    <a:pt x="1250" y="1"/>
                    <a:pt x="1208" y="19"/>
                    <a:pt x="1179" y="54"/>
                  </a:cubicBezTo>
                  <a:lnTo>
                    <a:pt x="572" y="674"/>
                  </a:lnTo>
                  <a:lnTo>
                    <a:pt x="321" y="412"/>
                  </a:lnTo>
                  <a:cubicBezTo>
                    <a:pt x="280" y="376"/>
                    <a:pt x="235" y="358"/>
                    <a:pt x="193" y="358"/>
                  </a:cubicBezTo>
                  <a:cubicBezTo>
                    <a:pt x="152" y="358"/>
                    <a:pt x="113" y="376"/>
                    <a:pt x="83" y="412"/>
                  </a:cubicBezTo>
                  <a:cubicBezTo>
                    <a:pt x="0" y="495"/>
                    <a:pt x="0" y="590"/>
                    <a:pt x="83" y="650"/>
                  </a:cubicBezTo>
                  <a:lnTo>
                    <a:pt x="452" y="1031"/>
                  </a:lnTo>
                  <a:cubicBezTo>
                    <a:pt x="476" y="1055"/>
                    <a:pt x="524" y="1067"/>
                    <a:pt x="572" y="1067"/>
                  </a:cubicBezTo>
                  <a:cubicBezTo>
                    <a:pt x="619" y="1067"/>
                    <a:pt x="655" y="1055"/>
                    <a:pt x="691" y="1031"/>
                  </a:cubicBezTo>
                  <a:lnTo>
                    <a:pt x="1417" y="293"/>
                  </a:lnTo>
                  <a:cubicBezTo>
                    <a:pt x="1488" y="221"/>
                    <a:pt x="1488" y="114"/>
                    <a:pt x="1417" y="54"/>
                  </a:cubicBezTo>
                  <a:cubicBezTo>
                    <a:pt x="1381" y="19"/>
                    <a:pt x="1336" y="1"/>
                    <a:pt x="1293" y="1"/>
                  </a:cubicBezTo>
                  <a:close/>
                </a:path>
              </a:pathLst>
            </a:custGeom>
            <a:grpFill/>
            <a:ln>
              <a:noFill/>
            </a:ln>
          </p:spPr>
          <p:txBody>
            <a:bodyPr spcFirstLastPara="1" wrap="square" lIns="91425" tIns="91425" rIns="91425" bIns="91425" anchor="ctr" anchorCtr="0">
              <a:noAutofit/>
            </a:bodyPr>
            <a:lstStyle/>
            <a:p>
              <a:endParaRPr/>
            </a:p>
          </p:txBody>
        </p:sp>
      </p:grpSp>
      <p:grpSp>
        <p:nvGrpSpPr>
          <p:cNvPr id="45" name="Google Shape;1320;p52">
            <a:extLst>
              <a:ext uri="{FF2B5EF4-FFF2-40B4-BE49-F238E27FC236}">
                <a16:creationId xmlns:a16="http://schemas.microsoft.com/office/drawing/2014/main" id="{51FDF199-9B58-4588-B257-67C280814BC7}"/>
              </a:ext>
            </a:extLst>
          </p:cNvPr>
          <p:cNvGrpSpPr/>
          <p:nvPr/>
        </p:nvGrpSpPr>
        <p:grpSpPr>
          <a:xfrm>
            <a:off x="4276457" y="4317253"/>
            <a:ext cx="373185" cy="302466"/>
            <a:chOff x="5220616" y="2791061"/>
            <a:chExt cx="373185" cy="302466"/>
          </a:xfrm>
          <a:solidFill>
            <a:srgbClr val="174489"/>
          </a:solidFill>
        </p:grpSpPr>
        <p:sp>
          <p:nvSpPr>
            <p:cNvPr id="46" name="Google Shape;1321;p52">
              <a:extLst>
                <a:ext uri="{FF2B5EF4-FFF2-40B4-BE49-F238E27FC236}">
                  <a16:creationId xmlns:a16="http://schemas.microsoft.com/office/drawing/2014/main" id="{95F309C2-F87C-4CCB-B985-8E652567D4AE}"/>
                </a:ext>
              </a:extLst>
            </p:cNvPr>
            <p:cNvSpPr/>
            <p:nvPr/>
          </p:nvSpPr>
          <p:spPr>
            <a:xfrm>
              <a:off x="5220616" y="2791061"/>
              <a:ext cx="373185" cy="302466"/>
            </a:xfrm>
            <a:custGeom>
              <a:avLst/>
              <a:gdLst/>
              <a:ahLst/>
              <a:cxnLst/>
              <a:rect l="l" t="t" r="r" b="b"/>
              <a:pathLst>
                <a:path w="11752" h="9525" extrusionOk="0">
                  <a:moveTo>
                    <a:pt x="1834" y="345"/>
                  </a:moveTo>
                  <a:cubicBezTo>
                    <a:pt x="1834" y="345"/>
                    <a:pt x="1846" y="345"/>
                    <a:pt x="1846" y="357"/>
                  </a:cubicBezTo>
                  <a:lnTo>
                    <a:pt x="1846" y="1083"/>
                  </a:lnTo>
                  <a:cubicBezTo>
                    <a:pt x="1846" y="1083"/>
                    <a:pt x="1846" y="1107"/>
                    <a:pt x="1834" y="1107"/>
                  </a:cubicBezTo>
                  <a:lnTo>
                    <a:pt x="1465" y="1107"/>
                  </a:lnTo>
                  <a:cubicBezTo>
                    <a:pt x="1465" y="1107"/>
                    <a:pt x="1453" y="1107"/>
                    <a:pt x="1453" y="1083"/>
                  </a:cubicBezTo>
                  <a:lnTo>
                    <a:pt x="1453" y="357"/>
                  </a:lnTo>
                  <a:lnTo>
                    <a:pt x="1465" y="357"/>
                  </a:lnTo>
                  <a:cubicBezTo>
                    <a:pt x="1465" y="351"/>
                    <a:pt x="1468" y="348"/>
                    <a:pt x="1469" y="348"/>
                  </a:cubicBezTo>
                  <a:lnTo>
                    <a:pt x="1469" y="348"/>
                  </a:lnTo>
                  <a:cubicBezTo>
                    <a:pt x="1471" y="348"/>
                    <a:pt x="1471" y="351"/>
                    <a:pt x="1465" y="357"/>
                  </a:cubicBezTo>
                  <a:lnTo>
                    <a:pt x="1834" y="345"/>
                  </a:lnTo>
                  <a:close/>
                  <a:moveTo>
                    <a:pt x="10276" y="345"/>
                  </a:moveTo>
                  <a:cubicBezTo>
                    <a:pt x="10276" y="345"/>
                    <a:pt x="10288" y="345"/>
                    <a:pt x="10288" y="357"/>
                  </a:cubicBezTo>
                  <a:lnTo>
                    <a:pt x="10288" y="1083"/>
                  </a:lnTo>
                  <a:cubicBezTo>
                    <a:pt x="10288" y="1083"/>
                    <a:pt x="10288" y="1107"/>
                    <a:pt x="10276" y="1107"/>
                  </a:cubicBezTo>
                  <a:lnTo>
                    <a:pt x="9907" y="1107"/>
                  </a:lnTo>
                  <a:cubicBezTo>
                    <a:pt x="9907" y="1107"/>
                    <a:pt x="9895" y="1107"/>
                    <a:pt x="9895" y="1083"/>
                  </a:cubicBezTo>
                  <a:lnTo>
                    <a:pt x="9895" y="357"/>
                  </a:lnTo>
                  <a:lnTo>
                    <a:pt x="9907" y="357"/>
                  </a:lnTo>
                  <a:cubicBezTo>
                    <a:pt x="9907" y="351"/>
                    <a:pt x="9910" y="348"/>
                    <a:pt x="9911" y="348"/>
                  </a:cubicBezTo>
                  <a:lnTo>
                    <a:pt x="9911" y="348"/>
                  </a:lnTo>
                  <a:cubicBezTo>
                    <a:pt x="9912" y="348"/>
                    <a:pt x="9912" y="351"/>
                    <a:pt x="9907" y="357"/>
                  </a:cubicBezTo>
                  <a:lnTo>
                    <a:pt x="10276" y="345"/>
                  </a:lnTo>
                  <a:close/>
                  <a:moveTo>
                    <a:pt x="11038" y="1107"/>
                  </a:moveTo>
                  <a:cubicBezTo>
                    <a:pt x="11240" y="1107"/>
                    <a:pt x="11407" y="1262"/>
                    <a:pt x="11407" y="1476"/>
                  </a:cubicBezTo>
                  <a:lnTo>
                    <a:pt x="11407" y="8811"/>
                  </a:lnTo>
                  <a:cubicBezTo>
                    <a:pt x="11407" y="9001"/>
                    <a:pt x="11228" y="9180"/>
                    <a:pt x="11026" y="9180"/>
                  </a:cubicBezTo>
                  <a:lnTo>
                    <a:pt x="751" y="9180"/>
                  </a:lnTo>
                  <a:cubicBezTo>
                    <a:pt x="536" y="9180"/>
                    <a:pt x="382" y="9025"/>
                    <a:pt x="382" y="8811"/>
                  </a:cubicBezTo>
                  <a:lnTo>
                    <a:pt x="382" y="1476"/>
                  </a:lnTo>
                  <a:cubicBezTo>
                    <a:pt x="382" y="1262"/>
                    <a:pt x="536" y="1107"/>
                    <a:pt x="751" y="1107"/>
                  </a:cubicBezTo>
                  <a:lnTo>
                    <a:pt x="1120" y="1107"/>
                  </a:lnTo>
                  <a:lnTo>
                    <a:pt x="1120" y="1119"/>
                  </a:lnTo>
                  <a:cubicBezTo>
                    <a:pt x="1120" y="1310"/>
                    <a:pt x="1286" y="1476"/>
                    <a:pt x="1477" y="1476"/>
                  </a:cubicBezTo>
                  <a:lnTo>
                    <a:pt x="1858" y="1476"/>
                  </a:lnTo>
                  <a:cubicBezTo>
                    <a:pt x="2048" y="1476"/>
                    <a:pt x="2215" y="1310"/>
                    <a:pt x="2215" y="1119"/>
                  </a:cubicBezTo>
                  <a:lnTo>
                    <a:pt x="2215" y="1107"/>
                  </a:lnTo>
                  <a:lnTo>
                    <a:pt x="9573" y="1107"/>
                  </a:lnTo>
                  <a:lnTo>
                    <a:pt x="9573" y="1119"/>
                  </a:lnTo>
                  <a:cubicBezTo>
                    <a:pt x="9573" y="1310"/>
                    <a:pt x="9740" y="1476"/>
                    <a:pt x="9930" y="1476"/>
                  </a:cubicBezTo>
                  <a:lnTo>
                    <a:pt x="10311" y="1476"/>
                  </a:lnTo>
                  <a:cubicBezTo>
                    <a:pt x="10502" y="1476"/>
                    <a:pt x="10669" y="1310"/>
                    <a:pt x="10669" y="1119"/>
                  </a:cubicBezTo>
                  <a:lnTo>
                    <a:pt x="10669" y="1107"/>
                  </a:lnTo>
                  <a:close/>
                  <a:moveTo>
                    <a:pt x="1465" y="0"/>
                  </a:moveTo>
                  <a:cubicBezTo>
                    <a:pt x="1275" y="0"/>
                    <a:pt x="1108" y="167"/>
                    <a:pt x="1108" y="357"/>
                  </a:cubicBezTo>
                  <a:lnTo>
                    <a:pt x="1108" y="726"/>
                  </a:lnTo>
                  <a:lnTo>
                    <a:pt x="739" y="726"/>
                  </a:lnTo>
                  <a:cubicBezTo>
                    <a:pt x="334" y="726"/>
                    <a:pt x="1" y="1060"/>
                    <a:pt x="1" y="1464"/>
                  </a:cubicBezTo>
                  <a:lnTo>
                    <a:pt x="1" y="8799"/>
                  </a:lnTo>
                  <a:cubicBezTo>
                    <a:pt x="1" y="9204"/>
                    <a:pt x="334" y="9525"/>
                    <a:pt x="739" y="9525"/>
                  </a:cubicBezTo>
                  <a:lnTo>
                    <a:pt x="11014" y="9525"/>
                  </a:lnTo>
                  <a:cubicBezTo>
                    <a:pt x="11419" y="9525"/>
                    <a:pt x="11752" y="9204"/>
                    <a:pt x="11752" y="8799"/>
                  </a:cubicBezTo>
                  <a:lnTo>
                    <a:pt x="11752" y="1464"/>
                  </a:lnTo>
                  <a:cubicBezTo>
                    <a:pt x="11752" y="1060"/>
                    <a:pt x="11419" y="726"/>
                    <a:pt x="11026" y="726"/>
                  </a:cubicBezTo>
                  <a:lnTo>
                    <a:pt x="10645" y="726"/>
                  </a:lnTo>
                  <a:lnTo>
                    <a:pt x="10645" y="357"/>
                  </a:lnTo>
                  <a:cubicBezTo>
                    <a:pt x="10645" y="167"/>
                    <a:pt x="10490" y="0"/>
                    <a:pt x="10288" y="0"/>
                  </a:cubicBezTo>
                  <a:lnTo>
                    <a:pt x="9918" y="0"/>
                  </a:lnTo>
                  <a:cubicBezTo>
                    <a:pt x="9728" y="0"/>
                    <a:pt x="9561" y="167"/>
                    <a:pt x="9561" y="357"/>
                  </a:cubicBezTo>
                  <a:lnTo>
                    <a:pt x="9561" y="726"/>
                  </a:lnTo>
                  <a:lnTo>
                    <a:pt x="2191" y="726"/>
                  </a:lnTo>
                  <a:lnTo>
                    <a:pt x="2191" y="357"/>
                  </a:lnTo>
                  <a:cubicBezTo>
                    <a:pt x="2191" y="167"/>
                    <a:pt x="2025" y="0"/>
                    <a:pt x="1834" y="0"/>
                  </a:cubicBezTo>
                  <a:close/>
                </a:path>
              </a:pathLst>
            </a:custGeom>
            <a:grpFill/>
            <a:ln>
              <a:noFill/>
            </a:ln>
          </p:spPr>
          <p:txBody>
            <a:bodyPr spcFirstLastPara="1" wrap="square" lIns="91425" tIns="91425" rIns="91425" bIns="91425" anchor="ctr" anchorCtr="0">
              <a:noAutofit/>
            </a:bodyPr>
            <a:lstStyle/>
            <a:p>
              <a:endParaRPr/>
            </a:p>
          </p:txBody>
        </p:sp>
        <p:sp>
          <p:nvSpPr>
            <p:cNvPr id="47" name="Google Shape;1322;p52">
              <a:extLst>
                <a:ext uri="{FF2B5EF4-FFF2-40B4-BE49-F238E27FC236}">
                  <a16:creationId xmlns:a16="http://schemas.microsoft.com/office/drawing/2014/main" id="{A852284C-76D5-4316-AA2F-0D00830ABF17}"/>
                </a:ext>
              </a:extLst>
            </p:cNvPr>
            <p:cNvSpPr/>
            <p:nvPr/>
          </p:nvSpPr>
          <p:spPr>
            <a:xfrm>
              <a:off x="5244432" y="2849268"/>
              <a:ext cx="326314" cy="11368"/>
            </a:xfrm>
            <a:custGeom>
              <a:avLst/>
              <a:gdLst/>
              <a:ahLst/>
              <a:cxnLst/>
              <a:rect l="l" t="t" r="r" b="b"/>
              <a:pathLst>
                <a:path w="10276" h="358" extrusionOk="0">
                  <a:moveTo>
                    <a:pt x="179" y="1"/>
                  </a:moveTo>
                  <a:cubicBezTo>
                    <a:pt x="96" y="1"/>
                    <a:pt x="1" y="72"/>
                    <a:pt x="1" y="179"/>
                  </a:cubicBezTo>
                  <a:cubicBezTo>
                    <a:pt x="1" y="274"/>
                    <a:pt x="72" y="358"/>
                    <a:pt x="179" y="358"/>
                  </a:cubicBezTo>
                  <a:lnTo>
                    <a:pt x="10097" y="358"/>
                  </a:lnTo>
                  <a:cubicBezTo>
                    <a:pt x="10180" y="358"/>
                    <a:pt x="10276" y="274"/>
                    <a:pt x="10276" y="179"/>
                  </a:cubicBezTo>
                  <a:cubicBezTo>
                    <a:pt x="10276" y="72"/>
                    <a:pt x="10180" y="1"/>
                    <a:pt x="10097" y="1"/>
                  </a:cubicBezTo>
                  <a:close/>
                </a:path>
              </a:pathLst>
            </a:custGeom>
            <a:grpFill/>
            <a:ln>
              <a:noFill/>
            </a:ln>
          </p:spPr>
          <p:txBody>
            <a:bodyPr spcFirstLastPara="1" wrap="square" lIns="91425" tIns="91425" rIns="91425" bIns="91425" anchor="ctr" anchorCtr="0">
              <a:noAutofit/>
            </a:bodyPr>
            <a:lstStyle/>
            <a:p>
              <a:endParaRPr/>
            </a:p>
          </p:txBody>
        </p:sp>
        <p:sp>
          <p:nvSpPr>
            <p:cNvPr id="48" name="Google Shape;1323;p52">
              <a:extLst>
                <a:ext uri="{FF2B5EF4-FFF2-40B4-BE49-F238E27FC236}">
                  <a16:creationId xmlns:a16="http://schemas.microsoft.com/office/drawing/2014/main" id="{5AA70FBD-1801-44EF-B1FD-671D546CA272}"/>
                </a:ext>
              </a:extLst>
            </p:cNvPr>
            <p:cNvSpPr/>
            <p:nvPr/>
          </p:nvSpPr>
          <p:spPr>
            <a:xfrm>
              <a:off x="5261834" y="2896139"/>
              <a:ext cx="46521" cy="11400"/>
            </a:xfrm>
            <a:custGeom>
              <a:avLst/>
              <a:gdLst/>
              <a:ahLst/>
              <a:cxnLst/>
              <a:rect l="l" t="t" r="r" b="b"/>
              <a:pathLst>
                <a:path w="1465" h="359" extrusionOk="0">
                  <a:moveTo>
                    <a:pt x="179" y="1"/>
                  </a:moveTo>
                  <a:cubicBezTo>
                    <a:pt x="96" y="1"/>
                    <a:pt x="0" y="72"/>
                    <a:pt x="0" y="180"/>
                  </a:cubicBezTo>
                  <a:cubicBezTo>
                    <a:pt x="0" y="275"/>
                    <a:pt x="72" y="358"/>
                    <a:pt x="179" y="358"/>
                  </a:cubicBezTo>
                  <a:lnTo>
                    <a:pt x="1286" y="358"/>
                  </a:lnTo>
                  <a:cubicBezTo>
                    <a:pt x="1370" y="358"/>
                    <a:pt x="1465" y="275"/>
                    <a:pt x="1465" y="180"/>
                  </a:cubicBezTo>
                  <a:cubicBezTo>
                    <a:pt x="1465" y="72"/>
                    <a:pt x="1370" y="1"/>
                    <a:pt x="1286" y="1"/>
                  </a:cubicBezTo>
                  <a:close/>
                </a:path>
              </a:pathLst>
            </a:custGeom>
            <a:grpFill/>
            <a:ln>
              <a:noFill/>
            </a:ln>
          </p:spPr>
          <p:txBody>
            <a:bodyPr spcFirstLastPara="1" wrap="square" lIns="91425" tIns="91425" rIns="91425" bIns="91425" anchor="ctr" anchorCtr="0">
              <a:noAutofit/>
            </a:bodyPr>
            <a:lstStyle/>
            <a:p>
              <a:endParaRPr/>
            </a:p>
          </p:txBody>
        </p:sp>
        <p:sp>
          <p:nvSpPr>
            <p:cNvPr id="49" name="Google Shape;1324;p52">
              <a:extLst>
                <a:ext uri="{FF2B5EF4-FFF2-40B4-BE49-F238E27FC236}">
                  <a16:creationId xmlns:a16="http://schemas.microsoft.com/office/drawing/2014/main" id="{B5942698-8B39-446B-AD7B-84B5952A2B40}"/>
                </a:ext>
              </a:extLst>
            </p:cNvPr>
            <p:cNvSpPr/>
            <p:nvPr/>
          </p:nvSpPr>
          <p:spPr>
            <a:xfrm>
              <a:off x="5343507" y="2896139"/>
              <a:ext cx="46521" cy="11400"/>
            </a:xfrm>
            <a:custGeom>
              <a:avLst/>
              <a:gdLst/>
              <a:ahLst/>
              <a:cxnLst/>
              <a:rect l="l" t="t" r="r" b="b"/>
              <a:pathLst>
                <a:path w="1465" h="359" extrusionOk="0">
                  <a:moveTo>
                    <a:pt x="179" y="1"/>
                  </a:moveTo>
                  <a:cubicBezTo>
                    <a:pt x="95" y="1"/>
                    <a:pt x="0" y="72"/>
                    <a:pt x="0" y="180"/>
                  </a:cubicBezTo>
                  <a:cubicBezTo>
                    <a:pt x="0" y="275"/>
                    <a:pt x="83" y="358"/>
                    <a:pt x="179" y="358"/>
                  </a:cubicBezTo>
                  <a:lnTo>
                    <a:pt x="1286" y="358"/>
                  </a:lnTo>
                  <a:cubicBezTo>
                    <a:pt x="1369" y="358"/>
                    <a:pt x="1465" y="275"/>
                    <a:pt x="1465" y="180"/>
                  </a:cubicBezTo>
                  <a:cubicBezTo>
                    <a:pt x="1465" y="72"/>
                    <a:pt x="1381" y="1"/>
                    <a:pt x="1286" y="1"/>
                  </a:cubicBezTo>
                  <a:close/>
                </a:path>
              </a:pathLst>
            </a:custGeom>
            <a:grpFill/>
            <a:ln>
              <a:noFill/>
            </a:ln>
          </p:spPr>
          <p:txBody>
            <a:bodyPr spcFirstLastPara="1" wrap="square" lIns="91425" tIns="91425" rIns="91425" bIns="91425" anchor="ctr" anchorCtr="0">
              <a:noAutofit/>
            </a:bodyPr>
            <a:lstStyle/>
            <a:p>
              <a:endParaRPr/>
            </a:p>
          </p:txBody>
        </p:sp>
        <p:sp>
          <p:nvSpPr>
            <p:cNvPr id="50" name="Google Shape;1325;p52">
              <a:extLst>
                <a:ext uri="{FF2B5EF4-FFF2-40B4-BE49-F238E27FC236}">
                  <a16:creationId xmlns:a16="http://schemas.microsoft.com/office/drawing/2014/main" id="{2A8FEB35-A587-4CFF-BCD4-2478BD0B13CC}"/>
                </a:ext>
              </a:extLst>
            </p:cNvPr>
            <p:cNvSpPr/>
            <p:nvPr/>
          </p:nvSpPr>
          <p:spPr>
            <a:xfrm>
              <a:off x="5506823" y="2896139"/>
              <a:ext cx="46172" cy="11400"/>
            </a:xfrm>
            <a:custGeom>
              <a:avLst/>
              <a:gdLst/>
              <a:ahLst/>
              <a:cxnLst/>
              <a:rect l="l" t="t" r="r" b="b"/>
              <a:pathLst>
                <a:path w="1454" h="359" extrusionOk="0">
                  <a:moveTo>
                    <a:pt x="179" y="1"/>
                  </a:moveTo>
                  <a:cubicBezTo>
                    <a:pt x="84" y="1"/>
                    <a:pt x="1" y="72"/>
                    <a:pt x="1" y="180"/>
                  </a:cubicBezTo>
                  <a:cubicBezTo>
                    <a:pt x="1" y="275"/>
                    <a:pt x="72" y="358"/>
                    <a:pt x="179" y="358"/>
                  </a:cubicBezTo>
                  <a:lnTo>
                    <a:pt x="1275" y="358"/>
                  </a:lnTo>
                  <a:cubicBezTo>
                    <a:pt x="1370" y="358"/>
                    <a:pt x="1453" y="275"/>
                    <a:pt x="1453" y="180"/>
                  </a:cubicBezTo>
                  <a:cubicBezTo>
                    <a:pt x="1453" y="72"/>
                    <a:pt x="1370" y="1"/>
                    <a:pt x="1275" y="1"/>
                  </a:cubicBezTo>
                  <a:close/>
                </a:path>
              </a:pathLst>
            </a:custGeom>
            <a:grpFill/>
            <a:ln>
              <a:noFill/>
            </a:ln>
          </p:spPr>
          <p:txBody>
            <a:bodyPr spcFirstLastPara="1" wrap="square" lIns="91425" tIns="91425" rIns="91425" bIns="91425" anchor="ctr" anchorCtr="0">
              <a:noAutofit/>
            </a:bodyPr>
            <a:lstStyle/>
            <a:p>
              <a:endParaRPr/>
            </a:p>
          </p:txBody>
        </p:sp>
        <p:sp>
          <p:nvSpPr>
            <p:cNvPr id="51" name="Google Shape;1326;p52">
              <a:extLst>
                <a:ext uri="{FF2B5EF4-FFF2-40B4-BE49-F238E27FC236}">
                  <a16:creationId xmlns:a16="http://schemas.microsoft.com/office/drawing/2014/main" id="{050FE5C9-E382-4205-A635-BA2E752BCACD}"/>
                </a:ext>
              </a:extLst>
            </p:cNvPr>
            <p:cNvSpPr/>
            <p:nvPr/>
          </p:nvSpPr>
          <p:spPr>
            <a:xfrm>
              <a:off x="5261834" y="2942660"/>
              <a:ext cx="46521" cy="11368"/>
            </a:xfrm>
            <a:custGeom>
              <a:avLst/>
              <a:gdLst/>
              <a:ahLst/>
              <a:cxnLst/>
              <a:rect l="l" t="t" r="r" b="b"/>
              <a:pathLst>
                <a:path w="1465" h="358" extrusionOk="0">
                  <a:moveTo>
                    <a:pt x="179" y="0"/>
                  </a:moveTo>
                  <a:cubicBezTo>
                    <a:pt x="96" y="0"/>
                    <a:pt x="0" y="84"/>
                    <a:pt x="0" y="179"/>
                  </a:cubicBezTo>
                  <a:cubicBezTo>
                    <a:pt x="0" y="286"/>
                    <a:pt x="72" y="358"/>
                    <a:pt x="179" y="358"/>
                  </a:cubicBezTo>
                  <a:lnTo>
                    <a:pt x="1286" y="358"/>
                  </a:lnTo>
                  <a:cubicBezTo>
                    <a:pt x="1370" y="358"/>
                    <a:pt x="1465" y="286"/>
                    <a:pt x="1465" y="179"/>
                  </a:cubicBezTo>
                  <a:cubicBezTo>
                    <a:pt x="1465" y="84"/>
                    <a:pt x="1370" y="0"/>
                    <a:pt x="1286" y="0"/>
                  </a:cubicBezTo>
                  <a:close/>
                </a:path>
              </a:pathLst>
            </a:custGeom>
            <a:grpFill/>
            <a:ln>
              <a:noFill/>
            </a:ln>
          </p:spPr>
          <p:txBody>
            <a:bodyPr spcFirstLastPara="1" wrap="square" lIns="91425" tIns="91425" rIns="91425" bIns="91425" anchor="ctr" anchorCtr="0">
              <a:noAutofit/>
            </a:bodyPr>
            <a:lstStyle/>
            <a:p>
              <a:endParaRPr/>
            </a:p>
          </p:txBody>
        </p:sp>
        <p:sp>
          <p:nvSpPr>
            <p:cNvPr id="52" name="Google Shape;1327;p52">
              <a:extLst>
                <a:ext uri="{FF2B5EF4-FFF2-40B4-BE49-F238E27FC236}">
                  <a16:creationId xmlns:a16="http://schemas.microsoft.com/office/drawing/2014/main" id="{B96775BB-9A92-4107-8EE8-854A371E0460}"/>
                </a:ext>
              </a:extLst>
            </p:cNvPr>
            <p:cNvSpPr/>
            <p:nvPr/>
          </p:nvSpPr>
          <p:spPr>
            <a:xfrm>
              <a:off x="5424768" y="2942660"/>
              <a:ext cx="46553" cy="11368"/>
            </a:xfrm>
            <a:custGeom>
              <a:avLst/>
              <a:gdLst/>
              <a:ahLst/>
              <a:cxnLst/>
              <a:rect l="l" t="t" r="r" b="b"/>
              <a:pathLst>
                <a:path w="1466" h="358" extrusionOk="0">
                  <a:moveTo>
                    <a:pt x="180" y="0"/>
                  </a:moveTo>
                  <a:cubicBezTo>
                    <a:pt x="96" y="0"/>
                    <a:pt x="1" y="84"/>
                    <a:pt x="1" y="179"/>
                  </a:cubicBezTo>
                  <a:cubicBezTo>
                    <a:pt x="1" y="286"/>
                    <a:pt x="84" y="358"/>
                    <a:pt x="180" y="358"/>
                  </a:cubicBezTo>
                  <a:lnTo>
                    <a:pt x="1287" y="358"/>
                  </a:lnTo>
                  <a:cubicBezTo>
                    <a:pt x="1370" y="358"/>
                    <a:pt x="1465" y="286"/>
                    <a:pt x="1465" y="179"/>
                  </a:cubicBezTo>
                  <a:cubicBezTo>
                    <a:pt x="1465" y="84"/>
                    <a:pt x="1394" y="0"/>
                    <a:pt x="1287" y="0"/>
                  </a:cubicBezTo>
                  <a:close/>
                </a:path>
              </a:pathLst>
            </a:custGeom>
            <a:grpFill/>
            <a:ln>
              <a:noFill/>
            </a:ln>
          </p:spPr>
          <p:txBody>
            <a:bodyPr spcFirstLastPara="1" wrap="square" lIns="91425" tIns="91425" rIns="91425" bIns="91425" anchor="ctr" anchorCtr="0">
              <a:noAutofit/>
            </a:bodyPr>
            <a:lstStyle/>
            <a:p>
              <a:endParaRPr/>
            </a:p>
          </p:txBody>
        </p:sp>
        <p:sp>
          <p:nvSpPr>
            <p:cNvPr id="53" name="Google Shape;1328;p52">
              <a:extLst>
                <a:ext uri="{FF2B5EF4-FFF2-40B4-BE49-F238E27FC236}">
                  <a16:creationId xmlns:a16="http://schemas.microsoft.com/office/drawing/2014/main" id="{171ECCFA-84C7-4684-82AA-8068C5889028}"/>
                </a:ext>
              </a:extLst>
            </p:cNvPr>
            <p:cNvSpPr/>
            <p:nvPr/>
          </p:nvSpPr>
          <p:spPr>
            <a:xfrm>
              <a:off x="5261834" y="2989149"/>
              <a:ext cx="46521" cy="11400"/>
            </a:xfrm>
            <a:custGeom>
              <a:avLst/>
              <a:gdLst/>
              <a:ahLst/>
              <a:cxnLst/>
              <a:rect l="l" t="t" r="r" b="b"/>
              <a:pathLst>
                <a:path w="1465" h="359" extrusionOk="0">
                  <a:moveTo>
                    <a:pt x="179" y="1"/>
                  </a:moveTo>
                  <a:cubicBezTo>
                    <a:pt x="96" y="1"/>
                    <a:pt x="0" y="72"/>
                    <a:pt x="0" y="179"/>
                  </a:cubicBezTo>
                  <a:cubicBezTo>
                    <a:pt x="0" y="287"/>
                    <a:pt x="72" y="358"/>
                    <a:pt x="179" y="358"/>
                  </a:cubicBezTo>
                  <a:lnTo>
                    <a:pt x="1286" y="358"/>
                  </a:lnTo>
                  <a:cubicBezTo>
                    <a:pt x="1370" y="358"/>
                    <a:pt x="1465" y="287"/>
                    <a:pt x="1465" y="179"/>
                  </a:cubicBezTo>
                  <a:cubicBezTo>
                    <a:pt x="1465" y="72"/>
                    <a:pt x="1370" y="1"/>
                    <a:pt x="1286" y="1"/>
                  </a:cubicBezTo>
                  <a:close/>
                </a:path>
              </a:pathLst>
            </a:custGeom>
            <a:grpFill/>
            <a:ln>
              <a:noFill/>
            </a:ln>
          </p:spPr>
          <p:txBody>
            <a:bodyPr spcFirstLastPara="1" wrap="square" lIns="91425" tIns="91425" rIns="91425" bIns="91425" anchor="ctr" anchorCtr="0">
              <a:noAutofit/>
            </a:bodyPr>
            <a:lstStyle/>
            <a:p>
              <a:endParaRPr/>
            </a:p>
          </p:txBody>
        </p:sp>
        <p:sp>
          <p:nvSpPr>
            <p:cNvPr id="54" name="Google Shape;1329;p52">
              <a:extLst>
                <a:ext uri="{FF2B5EF4-FFF2-40B4-BE49-F238E27FC236}">
                  <a16:creationId xmlns:a16="http://schemas.microsoft.com/office/drawing/2014/main" id="{C92D7872-7DE6-4717-8B72-4E8B69C1BA08}"/>
                </a:ext>
              </a:extLst>
            </p:cNvPr>
            <p:cNvSpPr/>
            <p:nvPr/>
          </p:nvSpPr>
          <p:spPr>
            <a:xfrm>
              <a:off x="5343507" y="2989149"/>
              <a:ext cx="46521" cy="11400"/>
            </a:xfrm>
            <a:custGeom>
              <a:avLst/>
              <a:gdLst/>
              <a:ahLst/>
              <a:cxnLst/>
              <a:rect l="l" t="t" r="r" b="b"/>
              <a:pathLst>
                <a:path w="1465" h="359" extrusionOk="0">
                  <a:moveTo>
                    <a:pt x="179" y="1"/>
                  </a:moveTo>
                  <a:cubicBezTo>
                    <a:pt x="95" y="1"/>
                    <a:pt x="0" y="72"/>
                    <a:pt x="0" y="179"/>
                  </a:cubicBezTo>
                  <a:cubicBezTo>
                    <a:pt x="0" y="287"/>
                    <a:pt x="83" y="358"/>
                    <a:pt x="179" y="358"/>
                  </a:cubicBezTo>
                  <a:lnTo>
                    <a:pt x="1286" y="358"/>
                  </a:lnTo>
                  <a:cubicBezTo>
                    <a:pt x="1369" y="358"/>
                    <a:pt x="1465" y="287"/>
                    <a:pt x="1465" y="179"/>
                  </a:cubicBezTo>
                  <a:cubicBezTo>
                    <a:pt x="1465" y="72"/>
                    <a:pt x="1381" y="1"/>
                    <a:pt x="1286" y="1"/>
                  </a:cubicBezTo>
                  <a:close/>
                </a:path>
              </a:pathLst>
            </a:custGeom>
            <a:grpFill/>
            <a:ln>
              <a:noFill/>
            </a:ln>
          </p:spPr>
          <p:txBody>
            <a:bodyPr spcFirstLastPara="1" wrap="square" lIns="91425" tIns="91425" rIns="91425" bIns="91425" anchor="ctr" anchorCtr="0">
              <a:noAutofit/>
            </a:bodyPr>
            <a:lstStyle/>
            <a:p>
              <a:endParaRPr/>
            </a:p>
          </p:txBody>
        </p:sp>
        <p:sp>
          <p:nvSpPr>
            <p:cNvPr id="55" name="Google Shape;1330;p52">
              <a:extLst>
                <a:ext uri="{FF2B5EF4-FFF2-40B4-BE49-F238E27FC236}">
                  <a16:creationId xmlns:a16="http://schemas.microsoft.com/office/drawing/2014/main" id="{291CF2CA-72A6-4BC6-83E0-7363B4FC3A13}"/>
                </a:ext>
              </a:extLst>
            </p:cNvPr>
            <p:cNvSpPr/>
            <p:nvPr/>
          </p:nvSpPr>
          <p:spPr>
            <a:xfrm>
              <a:off x="5506823" y="2989149"/>
              <a:ext cx="46172" cy="11400"/>
            </a:xfrm>
            <a:custGeom>
              <a:avLst/>
              <a:gdLst/>
              <a:ahLst/>
              <a:cxnLst/>
              <a:rect l="l" t="t" r="r" b="b"/>
              <a:pathLst>
                <a:path w="1454" h="359" extrusionOk="0">
                  <a:moveTo>
                    <a:pt x="179" y="1"/>
                  </a:moveTo>
                  <a:cubicBezTo>
                    <a:pt x="84" y="1"/>
                    <a:pt x="1" y="72"/>
                    <a:pt x="1" y="179"/>
                  </a:cubicBezTo>
                  <a:cubicBezTo>
                    <a:pt x="1" y="287"/>
                    <a:pt x="72" y="358"/>
                    <a:pt x="179" y="358"/>
                  </a:cubicBezTo>
                  <a:lnTo>
                    <a:pt x="1275" y="358"/>
                  </a:lnTo>
                  <a:cubicBezTo>
                    <a:pt x="1370" y="358"/>
                    <a:pt x="1453" y="287"/>
                    <a:pt x="1453" y="179"/>
                  </a:cubicBezTo>
                  <a:cubicBezTo>
                    <a:pt x="1453" y="72"/>
                    <a:pt x="1370" y="1"/>
                    <a:pt x="1275" y="1"/>
                  </a:cubicBezTo>
                  <a:close/>
                </a:path>
              </a:pathLst>
            </a:custGeom>
            <a:grpFill/>
            <a:ln>
              <a:noFill/>
            </a:ln>
          </p:spPr>
          <p:txBody>
            <a:bodyPr spcFirstLastPara="1" wrap="square" lIns="91425" tIns="91425" rIns="91425" bIns="91425" anchor="ctr" anchorCtr="0">
              <a:noAutofit/>
            </a:bodyPr>
            <a:lstStyle/>
            <a:p>
              <a:endParaRPr/>
            </a:p>
          </p:txBody>
        </p:sp>
        <p:sp>
          <p:nvSpPr>
            <p:cNvPr id="56" name="Google Shape;1331;p52">
              <a:extLst>
                <a:ext uri="{FF2B5EF4-FFF2-40B4-BE49-F238E27FC236}">
                  <a16:creationId xmlns:a16="http://schemas.microsoft.com/office/drawing/2014/main" id="{130DEED4-E2CD-4327-8C30-51C1C07A8502}"/>
                </a:ext>
              </a:extLst>
            </p:cNvPr>
            <p:cNvSpPr/>
            <p:nvPr/>
          </p:nvSpPr>
          <p:spPr>
            <a:xfrm>
              <a:off x="5343507" y="3036051"/>
              <a:ext cx="46521" cy="10987"/>
            </a:xfrm>
            <a:custGeom>
              <a:avLst/>
              <a:gdLst/>
              <a:ahLst/>
              <a:cxnLst/>
              <a:rect l="l" t="t" r="r" b="b"/>
              <a:pathLst>
                <a:path w="1465" h="346" extrusionOk="0">
                  <a:moveTo>
                    <a:pt x="179" y="0"/>
                  </a:moveTo>
                  <a:cubicBezTo>
                    <a:pt x="95" y="0"/>
                    <a:pt x="0" y="72"/>
                    <a:pt x="0" y="179"/>
                  </a:cubicBezTo>
                  <a:cubicBezTo>
                    <a:pt x="0" y="274"/>
                    <a:pt x="83" y="346"/>
                    <a:pt x="179" y="346"/>
                  </a:cubicBezTo>
                  <a:lnTo>
                    <a:pt x="1286" y="346"/>
                  </a:lnTo>
                  <a:cubicBezTo>
                    <a:pt x="1369" y="346"/>
                    <a:pt x="1465" y="274"/>
                    <a:pt x="1465" y="179"/>
                  </a:cubicBezTo>
                  <a:cubicBezTo>
                    <a:pt x="1465" y="72"/>
                    <a:pt x="1381" y="0"/>
                    <a:pt x="1286" y="0"/>
                  </a:cubicBezTo>
                  <a:close/>
                </a:path>
              </a:pathLst>
            </a:custGeom>
            <a:grpFill/>
            <a:ln>
              <a:noFill/>
            </a:ln>
          </p:spPr>
          <p:txBody>
            <a:bodyPr spcFirstLastPara="1" wrap="square" lIns="91425" tIns="91425" rIns="91425" bIns="91425" anchor="ctr" anchorCtr="0">
              <a:noAutofit/>
            </a:bodyPr>
            <a:lstStyle/>
            <a:p>
              <a:endParaRPr/>
            </a:p>
          </p:txBody>
        </p:sp>
        <p:sp>
          <p:nvSpPr>
            <p:cNvPr id="57" name="Google Shape;1332;p52">
              <a:extLst>
                <a:ext uri="{FF2B5EF4-FFF2-40B4-BE49-F238E27FC236}">
                  <a16:creationId xmlns:a16="http://schemas.microsoft.com/office/drawing/2014/main" id="{85942A1B-6456-4C88-A198-DC3ED462A269}"/>
                </a:ext>
              </a:extLst>
            </p:cNvPr>
            <p:cNvSpPr/>
            <p:nvPr/>
          </p:nvSpPr>
          <p:spPr>
            <a:xfrm>
              <a:off x="5424768" y="3036051"/>
              <a:ext cx="46553" cy="10987"/>
            </a:xfrm>
            <a:custGeom>
              <a:avLst/>
              <a:gdLst/>
              <a:ahLst/>
              <a:cxnLst/>
              <a:rect l="l" t="t" r="r" b="b"/>
              <a:pathLst>
                <a:path w="1466" h="346" extrusionOk="0">
                  <a:moveTo>
                    <a:pt x="180" y="0"/>
                  </a:moveTo>
                  <a:cubicBezTo>
                    <a:pt x="96" y="0"/>
                    <a:pt x="1" y="72"/>
                    <a:pt x="1" y="179"/>
                  </a:cubicBezTo>
                  <a:cubicBezTo>
                    <a:pt x="1" y="274"/>
                    <a:pt x="84" y="346"/>
                    <a:pt x="180" y="346"/>
                  </a:cubicBezTo>
                  <a:lnTo>
                    <a:pt x="1287" y="346"/>
                  </a:lnTo>
                  <a:cubicBezTo>
                    <a:pt x="1370" y="346"/>
                    <a:pt x="1465" y="274"/>
                    <a:pt x="1465" y="179"/>
                  </a:cubicBezTo>
                  <a:cubicBezTo>
                    <a:pt x="1465" y="72"/>
                    <a:pt x="1394" y="0"/>
                    <a:pt x="1287" y="0"/>
                  </a:cubicBezTo>
                  <a:close/>
                </a:path>
              </a:pathLst>
            </a:custGeom>
            <a:grpFill/>
            <a:ln>
              <a:noFill/>
            </a:ln>
          </p:spPr>
          <p:txBody>
            <a:bodyPr spcFirstLastPara="1" wrap="square" lIns="91425" tIns="91425" rIns="91425" bIns="91425" anchor="ctr" anchorCtr="0">
              <a:noAutofit/>
            </a:bodyPr>
            <a:lstStyle/>
            <a:p>
              <a:endParaRPr/>
            </a:p>
          </p:txBody>
        </p:sp>
        <p:sp>
          <p:nvSpPr>
            <p:cNvPr id="58" name="Google Shape;1333;p52">
              <a:extLst>
                <a:ext uri="{FF2B5EF4-FFF2-40B4-BE49-F238E27FC236}">
                  <a16:creationId xmlns:a16="http://schemas.microsoft.com/office/drawing/2014/main" id="{2CF84396-11A4-4A66-81FD-5A79A78F1DD8}"/>
                </a:ext>
              </a:extLst>
            </p:cNvPr>
            <p:cNvSpPr/>
            <p:nvPr/>
          </p:nvSpPr>
          <p:spPr>
            <a:xfrm>
              <a:off x="5506823" y="3036051"/>
              <a:ext cx="46172" cy="10987"/>
            </a:xfrm>
            <a:custGeom>
              <a:avLst/>
              <a:gdLst/>
              <a:ahLst/>
              <a:cxnLst/>
              <a:rect l="l" t="t" r="r" b="b"/>
              <a:pathLst>
                <a:path w="1454" h="346" extrusionOk="0">
                  <a:moveTo>
                    <a:pt x="179" y="0"/>
                  </a:moveTo>
                  <a:cubicBezTo>
                    <a:pt x="84" y="0"/>
                    <a:pt x="1" y="72"/>
                    <a:pt x="1" y="179"/>
                  </a:cubicBezTo>
                  <a:cubicBezTo>
                    <a:pt x="1" y="274"/>
                    <a:pt x="72" y="346"/>
                    <a:pt x="179" y="346"/>
                  </a:cubicBezTo>
                  <a:lnTo>
                    <a:pt x="1275" y="346"/>
                  </a:lnTo>
                  <a:cubicBezTo>
                    <a:pt x="1370" y="346"/>
                    <a:pt x="1453" y="274"/>
                    <a:pt x="1453" y="179"/>
                  </a:cubicBezTo>
                  <a:cubicBezTo>
                    <a:pt x="1453" y="72"/>
                    <a:pt x="1370" y="0"/>
                    <a:pt x="1275" y="0"/>
                  </a:cubicBezTo>
                  <a:close/>
                </a:path>
              </a:pathLst>
            </a:custGeom>
            <a:grpFill/>
            <a:ln>
              <a:noFill/>
            </a:ln>
          </p:spPr>
          <p:txBody>
            <a:bodyPr spcFirstLastPara="1" wrap="square" lIns="91425" tIns="91425" rIns="91425" bIns="91425" anchor="ctr" anchorCtr="0">
              <a:noAutofit/>
            </a:bodyPr>
            <a:lstStyle/>
            <a:p>
              <a:endParaRPr/>
            </a:p>
          </p:txBody>
        </p:sp>
        <p:sp>
          <p:nvSpPr>
            <p:cNvPr id="59" name="Google Shape;1334;p52">
              <a:extLst>
                <a:ext uri="{FF2B5EF4-FFF2-40B4-BE49-F238E27FC236}">
                  <a16:creationId xmlns:a16="http://schemas.microsoft.com/office/drawing/2014/main" id="{F91A88AC-5E86-4A9F-92E3-9D092CF81676}"/>
                </a:ext>
              </a:extLst>
            </p:cNvPr>
            <p:cNvSpPr/>
            <p:nvPr/>
          </p:nvSpPr>
          <p:spPr>
            <a:xfrm>
              <a:off x="5343126" y="2930752"/>
              <a:ext cx="46902" cy="33851"/>
            </a:xfrm>
            <a:custGeom>
              <a:avLst/>
              <a:gdLst/>
              <a:ahLst/>
              <a:cxnLst/>
              <a:rect l="l" t="t" r="r" b="b"/>
              <a:pathLst>
                <a:path w="1477" h="1066" extrusionOk="0">
                  <a:moveTo>
                    <a:pt x="1293" y="0"/>
                  </a:moveTo>
                  <a:cubicBezTo>
                    <a:pt x="1250" y="0"/>
                    <a:pt x="1209" y="18"/>
                    <a:pt x="1179" y="54"/>
                  </a:cubicBezTo>
                  <a:lnTo>
                    <a:pt x="572" y="661"/>
                  </a:lnTo>
                  <a:lnTo>
                    <a:pt x="322" y="411"/>
                  </a:lnTo>
                  <a:cubicBezTo>
                    <a:pt x="280" y="375"/>
                    <a:pt x="235" y="358"/>
                    <a:pt x="194" y="358"/>
                  </a:cubicBezTo>
                  <a:cubicBezTo>
                    <a:pt x="152" y="358"/>
                    <a:pt x="113" y="375"/>
                    <a:pt x="84" y="411"/>
                  </a:cubicBezTo>
                  <a:cubicBezTo>
                    <a:pt x="0" y="483"/>
                    <a:pt x="0" y="590"/>
                    <a:pt x="84" y="649"/>
                  </a:cubicBezTo>
                  <a:lnTo>
                    <a:pt x="453" y="1018"/>
                  </a:lnTo>
                  <a:cubicBezTo>
                    <a:pt x="476" y="1054"/>
                    <a:pt x="524" y="1066"/>
                    <a:pt x="572" y="1066"/>
                  </a:cubicBezTo>
                  <a:cubicBezTo>
                    <a:pt x="619" y="1066"/>
                    <a:pt x="655" y="1054"/>
                    <a:pt x="691" y="1018"/>
                  </a:cubicBezTo>
                  <a:lnTo>
                    <a:pt x="1417" y="292"/>
                  </a:lnTo>
                  <a:cubicBezTo>
                    <a:pt x="1477" y="233"/>
                    <a:pt x="1477" y="125"/>
                    <a:pt x="1417" y="54"/>
                  </a:cubicBezTo>
                  <a:cubicBezTo>
                    <a:pt x="1381" y="18"/>
                    <a:pt x="1337" y="0"/>
                    <a:pt x="1293" y="0"/>
                  </a:cubicBezTo>
                  <a:close/>
                </a:path>
              </a:pathLst>
            </a:custGeom>
            <a:grpFill/>
            <a:ln>
              <a:noFill/>
            </a:ln>
          </p:spPr>
          <p:txBody>
            <a:bodyPr spcFirstLastPara="1" wrap="square" lIns="91425" tIns="91425" rIns="91425" bIns="91425" anchor="ctr" anchorCtr="0">
              <a:noAutofit/>
            </a:bodyPr>
            <a:lstStyle/>
            <a:p>
              <a:endParaRPr/>
            </a:p>
          </p:txBody>
        </p:sp>
        <p:sp>
          <p:nvSpPr>
            <p:cNvPr id="60" name="Google Shape;1335;p52">
              <a:extLst>
                <a:ext uri="{FF2B5EF4-FFF2-40B4-BE49-F238E27FC236}">
                  <a16:creationId xmlns:a16="http://schemas.microsoft.com/office/drawing/2014/main" id="{5A63B38D-063D-4403-A5B8-F9F0909B1266}"/>
                </a:ext>
              </a:extLst>
            </p:cNvPr>
            <p:cNvSpPr/>
            <p:nvPr/>
          </p:nvSpPr>
          <p:spPr>
            <a:xfrm>
              <a:off x="5506442" y="2930752"/>
              <a:ext cx="47283" cy="33851"/>
            </a:xfrm>
            <a:custGeom>
              <a:avLst/>
              <a:gdLst/>
              <a:ahLst/>
              <a:cxnLst/>
              <a:rect l="l" t="t" r="r" b="b"/>
              <a:pathLst>
                <a:path w="1489" h="1066" extrusionOk="0">
                  <a:moveTo>
                    <a:pt x="1282" y="0"/>
                  </a:moveTo>
                  <a:cubicBezTo>
                    <a:pt x="1239" y="0"/>
                    <a:pt x="1197" y="18"/>
                    <a:pt x="1167" y="54"/>
                  </a:cubicBezTo>
                  <a:lnTo>
                    <a:pt x="560" y="661"/>
                  </a:lnTo>
                  <a:lnTo>
                    <a:pt x="310" y="411"/>
                  </a:lnTo>
                  <a:cubicBezTo>
                    <a:pt x="275" y="375"/>
                    <a:pt x="230" y="358"/>
                    <a:pt x="187" y="358"/>
                  </a:cubicBezTo>
                  <a:cubicBezTo>
                    <a:pt x="144" y="358"/>
                    <a:pt x="102" y="375"/>
                    <a:pt x="72" y="411"/>
                  </a:cubicBezTo>
                  <a:cubicBezTo>
                    <a:pt x="1" y="483"/>
                    <a:pt x="1" y="590"/>
                    <a:pt x="72" y="649"/>
                  </a:cubicBezTo>
                  <a:lnTo>
                    <a:pt x="441" y="1018"/>
                  </a:lnTo>
                  <a:cubicBezTo>
                    <a:pt x="477" y="1054"/>
                    <a:pt x="513" y="1066"/>
                    <a:pt x="560" y="1066"/>
                  </a:cubicBezTo>
                  <a:cubicBezTo>
                    <a:pt x="608" y="1066"/>
                    <a:pt x="656" y="1054"/>
                    <a:pt x="679" y="1018"/>
                  </a:cubicBezTo>
                  <a:lnTo>
                    <a:pt x="1406" y="292"/>
                  </a:lnTo>
                  <a:cubicBezTo>
                    <a:pt x="1489" y="233"/>
                    <a:pt x="1489" y="125"/>
                    <a:pt x="1406" y="54"/>
                  </a:cubicBezTo>
                  <a:cubicBezTo>
                    <a:pt x="1370" y="18"/>
                    <a:pt x="1325" y="0"/>
                    <a:pt x="1282" y="0"/>
                  </a:cubicBezTo>
                  <a:close/>
                </a:path>
              </a:pathLst>
            </a:custGeom>
            <a:grpFill/>
            <a:ln>
              <a:noFill/>
            </a:ln>
          </p:spPr>
          <p:txBody>
            <a:bodyPr spcFirstLastPara="1" wrap="square" lIns="91425" tIns="91425" rIns="91425" bIns="91425" anchor="ctr" anchorCtr="0">
              <a:noAutofit/>
            </a:bodyPr>
            <a:lstStyle/>
            <a:p>
              <a:endParaRPr/>
            </a:p>
          </p:txBody>
        </p:sp>
        <p:sp>
          <p:nvSpPr>
            <p:cNvPr id="61" name="Google Shape;1336;p52">
              <a:extLst>
                <a:ext uri="{FF2B5EF4-FFF2-40B4-BE49-F238E27FC236}">
                  <a16:creationId xmlns:a16="http://schemas.microsoft.com/office/drawing/2014/main" id="{043CE19F-23B3-4FA4-9FA0-A6D468A5C88F}"/>
                </a:ext>
              </a:extLst>
            </p:cNvPr>
            <p:cNvSpPr/>
            <p:nvPr/>
          </p:nvSpPr>
          <p:spPr>
            <a:xfrm>
              <a:off x="5424419" y="2977336"/>
              <a:ext cx="47283" cy="34168"/>
            </a:xfrm>
            <a:custGeom>
              <a:avLst/>
              <a:gdLst/>
              <a:ahLst/>
              <a:cxnLst/>
              <a:rect l="l" t="t" r="r" b="b"/>
              <a:pathLst>
                <a:path w="1489" h="1076" extrusionOk="0">
                  <a:moveTo>
                    <a:pt x="1293" y="1"/>
                  </a:moveTo>
                  <a:cubicBezTo>
                    <a:pt x="1250" y="1"/>
                    <a:pt x="1208" y="22"/>
                    <a:pt x="1179" y="63"/>
                  </a:cubicBezTo>
                  <a:lnTo>
                    <a:pt x="572" y="671"/>
                  </a:lnTo>
                  <a:lnTo>
                    <a:pt x="321" y="421"/>
                  </a:lnTo>
                  <a:cubicBezTo>
                    <a:pt x="280" y="379"/>
                    <a:pt x="235" y="358"/>
                    <a:pt x="193" y="358"/>
                  </a:cubicBezTo>
                  <a:cubicBezTo>
                    <a:pt x="152" y="358"/>
                    <a:pt x="113" y="379"/>
                    <a:pt x="83" y="421"/>
                  </a:cubicBezTo>
                  <a:cubicBezTo>
                    <a:pt x="0" y="492"/>
                    <a:pt x="0" y="599"/>
                    <a:pt x="83" y="659"/>
                  </a:cubicBezTo>
                  <a:lnTo>
                    <a:pt x="452" y="1028"/>
                  </a:lnTo>
                  <a:cubicBezTo>
                    <a:pt x="476" y="1052"/>
                    <a:pt x="524" y="1075"/>
                    <a:pt x="572" y="1075"/>
                  </a:cubicBezTo>
                  <a:cubicBezTo>
                    <a:pt x="619" y="1075"/>
                    <a:pt x="655" y="1052"/>
                    <a:pt x="691" y="1028"/>
                  </a:cubicBezTo>
                  <a:lnTo>
                    <a:pt x="1417" y="301"/>
                  </a:lnTo>
                  <a:cubicBezTo>
                    <a:pt x="1488" y="242"/>
                    <a:pt x="1488" y="123"/>
                    <a:pt x="1417" y="63"/>
                  </a:cubicBezTo>
                  <a:cubicBezTo>
                    <a:pt x="1381" y="22"/>
                    <a:pt x="1336" y="1"/>
                    <a:pt x="1293" y="1"/>
                  </a:cubicBezTo>
                  <a:close/>
                </a:path>
              </a:pathLst>
            </a:custGeom>
            <a:grpFill/>
            <a:ln>
              <a:noFill/>
            </a:ln>
          </p:spPr>
          <p:txBody>
            <a:bodyPr spcFirstLastPara="1" wrap="square" lIns="91425" tIns="91425" rIns="91425" bIns="91425" anchor="ctr" anchorCtr="0">
              <a:noAutofit/>
            </a:bodyPr>
            <a:lstStyle/>
            <a:p>
              <a:endParaRPr/>
            </a:p>
          </p:txBody>
        </p:sp>
        <p:sp>
          <p:nvSpPr>
            <p:cNvPr id="62" name="Google Shape;1337;p52">
              <a:extLst>
                <a:ext uri="{FF2B5EF4-FFF2-40B4-BE49-F238E27FC236}">
                  <a16:creationId xmlns:a16="http://schemas.microsoft.com/office/drawing/2014/main" id="{2C22C746-D1B4-4738-BB9D-C9B818C308FB}"/>
                </a:ext>
              </a:extLst>
            </p:cNvPr>
            <p:cNvSpPr/>
            <p:nvPr/>
          </p:nvSpPr>
          <p:spPr>
            <a:xfrm>
              <a:off x="5261453" y="3024143"/>
              <a:ext cx="47283" cy="33851"/>
            </a:xfrm>
            <a:custGeom>
              <a:avLst/>
              <a:gdLst/>
              <a:ahLst/>
              <a:cxnLst/>
              <a:rect l="l" t="t" r="r" b="b"/>
              <a:pathLst>
                <a:path w="1489" h="1066" extrusionOk="0">
                  <a:moveTo>
                    <a:pt x="1289" y="0"/>
                  </a:moveTo>
                  <a:cubicBezTo>
                    <a:pt x="1248" y="0"/>
                    <a:pt x="1209" y="18"/>
                    <a:pt x="1179" y="54"/>
                  </a:cubicBezTo>
                  <a:lnTo>
                    <a:pt x="572" y="673"/>
                  </a:lnTo>
                  <a:lnTo>
                    <a:pt x="310" y="411"/>
                  </a:lnTo>
                  <a:cubicBezTo>
                    <a:pt x="274" y="375"/>
                    <a:pt x="230" y="357"/>
                    <a:pt x="186" y="357"/>
                  </a:cubicBezTo>
                  <a:cubicBezTo>
                    <a:pt x="143" y="357"/>
                    <a:pt x="102" y="375"/>
                    <a:pt x="72" y="411"/>
                  </a:cubicBezTo>
                  <a:cubicBezTo>
                    <a:pt x="0" y="494"/>
                    <a:pt x="0" y="590"/>
                    <a:pt x="72" y="649"/>
                  </a:cubicBezTo>
                  <a:lnTo>
                    <a:pt x="453" y="1030"/>
                  </a:lnTo>
                  <a:cubicBezTo>
                    <a:pt x="477" y="1054"/>
                    <a:pt x="524" y="1066"/>
                    <a:pt x="572" y="1066"/>
                  </a:cubicBezTo>
                  <a:cubicBezTo>
                    <a:pt x="608" y="1066"/>
                    <a:pt x="655" y="1054"/>
                    <a:pt x="691" y="1030"/>
                  </a:cubicBezTo>
                  <a:lnTo>
                    <a:pt x="1417" y="292"/>
                  </a:lnTo>
                  <a:cubicBezTo>
                    <a:pt x="1489" y="220"/>
                    <a:pt x="1489" y="113"/>
                    <a:pt x="1417" y="54"/>
                  </a:cubicBezTo>
                  <a:cubicBezTo>
                    <a:pt x="1376" y="18"/>
                    <a:pt x="1331" y="0"/>
                    <a:pt x="1289" y="0"/>
                  </a:cubicBezTo>
                  <a:close/>
                </a:path>
              </a:pathLst>
            </a:custGeom>
            <a:grpFill/>
            <a:ln>
              <a:noFill/>
            </a:ln>
          </p:spPr>
          <p:txBody>
            <a:bodyPr spcFirstLastPara="1" wrap="square" lIns="91425" tIns="91425" rIns="91425" bIns="91425" anchor="ctr" anchorCtr="0">
              <a:noAutofit/>
            </a:bodyPr>
            <a:lstStyle/>
            <a:p>
              <a:endParaRPr/>
            </a:p>
          </p:txBody>
        </p:sp>
        <p:sp>
          <p:nvSpPr>
            <p:cNvPr id="63" name="Google Shape;1338;p52">
              <a:extLst>
                <a:ext uri="{FF2B5EF4-FFF2-40B4-BE49-F238E27FC236}">
                  <a16:creationId xmlns:a16="http://schemas.microsoft.com/office/drawing/2014/main" id="{09556B69-7CA7-4DD8-8413-5BEA458C9581}"/>
                </a:ext>
              </a:extLst>
            </p:cNvPr>
            <p:cNvSpPr/>
            <p:nvPr/>
          </p:nvSpPr>
          <p:spPr>
            <a:xfrm>
              <a:off x="5424419" y="2884231"/>
              <a:ext cx="47283" cy="33883"/>
            </a:xfrm>
            <a:custGeom>
              <a:avLst/>
              <a:gdLst/>
              <a:ahLst/>
              <a:cxnLst/>
              <a:rect l="l" t="t" r="r" b="b"/>
              <a:pathLst>
                <a:path w="1489" h="1067" extrusionOk="0">
                  <a:moveTo>
                    <a:pt x="1293" y="1"/>
                  </a:moveTo>
                  <a:cubicBezTo>
                    <a:pt x="1250" y="1"/>
                    <a:pt x="1208" y="19"/>
                    <a:pt x="1179" y="54"/>
                  </a:cubicBezTo>
                  <a:lnTo>
                    <a:pt x="572" y="674"/>
                  </a:lnTo>
                  <a:lnTo>
                    <a:pt x="321" y="412"/>
                  </a:lnTo>
                  <a:cubicBezTo>
                    <a:pt x="280" y="376"/>
                    <a:pt x="235" y="358"/>
                    <a:pt x="193" y="358"/>
                  </a:cubicBezTo>
                  <a:cubicBezTo>
                    <a:pt x="152" y="358"/>
                    <a:pt x="113" y="376"/>
                    <a:pt x="83" y="412"/>
                  </a:cubicBezTo>
                  <a:cubicBezTo>
                    <a:pt x="0" y="495"/>
                    <a:pt x="0" y="590"/>
                    <a:pt x="83" y="650"/>
                  </a:cubicBezTo>
                  <a:lnTo>
                    <a:pt x="452" y="1031"/>
                  </a:lnTo>
                  <a:cubicBezTo>
                    <a:pt x="476" y="1055"/>
                    <a:pt x="524" y="1067"/>
                    <a:pt x="572" y="1067"/>
                  </a:cubicBezTo>
                  <a:cubicBezTo>
                    <a:pt x="619" y="1067"/>
                    <a:pt x="655" y="1055"/>
                    <a:pt x="691" y="1031"/>
                  </a:cubicBezTo>
                  <a:lnTo>
                    <a:pt x="1417" y="293"/>
                  </a:lnTo>
                  <a:cubicBezTo>
                    <a:pt x="1488" y="221"/>
                    <a:pt x="1488" y="114"/>
                    <a:pt x="1417" y="54"/>
                  </a:cubicBezTo>
                  <a:cubicBezTo>
                    <a:pt x="1381" y="19"/>
                    <a:pt x="1336" y="1"/>
                    <a:pt x="1293" y="1"/>
                  </a:cubicBezTo>
                  <a:close/>
                </a:path>
              </a:pathLst>
            </a:custGeom>
            <a:grpFill/>
            <a:ln>
              <a:noFill/>
            </a:ln>
          </p:spPr>
          <p:txBody>
            <a:bodyPr spcFirstLastPara="1" wrap="square" lIns="91425" tIns="91425" rIns="91425" bIns="91425" anchor="ctr" anchorCtr="0">
              <a:noAutofit/>
            </a:bodyPr>
            <a:lstStyle/>
            <a:p>
              <a:endParaRPr/>
            </a:p>
          </p:txBody>
        </p:sp>
      </p:grpSp>
      <p:sp>
        <p:nvSpPr>
          <p:cNvPr id="64" name="TextBox 63">
            <a:extLst>
              <a:ext uri="{FF2B5EF4-FFF2-40B4-BE49-F238E27FC236}">
                <a16:creationId xmlns:a16="http://schemas.microsoft.com/office/drawing/2014/main" id="{8827C09E-EA4B-4026-B26E-B28E48DDFF84}"/>
              </a:ext>
            </a:extLst>
          </p:cNvPr>
          <p:cNvSpPr txBox="1"/>
          <p:nvPr/>
        </p:nvSpPr>
        <p:spPr>
          <a:xfrm>
            <a:off x="4713889" y="2935718"/>
            <a:ext cx="1962807" cy="246221"/>
          </a:xfrm>
          <a:prstGeom prst="rect">
            <a:avLst/>
          </a:prstGeom>
          <a:noFill/>
        </p:spPr>
        <p:txBody>
          <a:bodyPr wrap="square" rtlCol="0">
            <a:spAutoFit/>
          </a:bodyPr>
          <a:lstStyle/>
          <a:p>
            <a:r>
              <a:rPr lang="es-ES" sz="1000" b="1" u="sng" dirty="0">
                <a:latin typeface="Arial" panose="020B0604020202020204" pitchFamily="34" charset="0"/>
                <a:cs typeface="Arial" panose="020B0604020202020204" pitchFamily="34" charset="0"/>
              </a:rPr>
              <a:t>19/04/2024</a:t>
            </a:r>
          </a:p>
        </p:txBody>
      </p:sp>
      <p:sp>
        <p:nvSpPr>
          <p:cNvPr id="65" name="TextBox 64">
            <a:extLst>
              <a:ext uri="{FF2B5EF4-FFF2-40B4-BE49-F238E27FC236}">
                <a16:creationId xmlns:a16="http://schemas.microsoft.com/office/drawing/2014/main" id="{526060A5-CEFC-4D0D-A721-06A9E800CD20}"/>
              </a:ext>
            </a:extLst>
          </p:cNvPr>
          <p:cNvSpPr txBox="1"/>
          <p:nvPr/>
        </p:nvSpPr>
        <p:spPr>
          <a:xfrm>
            <a:off x="4711611" y="4321195"/>
            <a:ext cx="1962807" cy="246221"/>
          </a:xfrm>
          <a:prstGeom prst="rect">
            <a:avLst/>
          </a:prstGeom>
          <a:noFill/>
        </p:spPr>
        <p:txBody>
          <a:bodyPr wrap="square" rtlCol="0">
            <a:spAutoFit/>
          </a:bodyPr>
          <a:lstStyle/>
          <a:p>
            <a:r>
              <a:rPr lang="es-ES" sz="1000" b="1" u="sng" dirty="0">
                <a:latin typeface="Arial" panose="020B0604020202020204" pitchFamily="34" charset="0"/>
                <a:cs typeface="Arial" panose="020B0604020202020204" pitchFamily="34" charset="0"/>
              </a:rPr>
              <a:t>19/07/2024</a:t>
            </a:r>
          </a:p>
        </p:txBody>
      </p:sp>
      <p:sp>
        <p:nvSpPr>
          <p:cNvPr id="4" name="Rectangle 16">
            <a:extLst>
              <a:ext uri="{FF2B5EF4-FFF2-40B4-BE49-F238E27FC236}">
                <a16:creationId xmlns:a16="http://schemas.microsoft.com/office/drawing/2014/main" id="{801DA4C5-AE34-4241-FAD9-11BEB58C6999}"/>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pic>
        <p:nvPicPr>
          <p:cNvPr id="9" name="Picture 8">
            <a:extLst>
              <a:ext uri="{FF2B5EF4-FFF2-40B4-BE49-F238E27FC236}">
                <a16:creationId xmlns:a16="http://schemas.microsoft.com/office/drawing/2014/main" id="{98A28FA4-2410-2301-280D-9B873F520688}"/>
              </a:ext>
            </a:extLst>
          </p:cNvPr>
          <p:cNvPicPr>
            <a:picLocks noChangeAspect="1"/>
          </p:cNvPicPr>
          <p:nvPr/>
        </p:nvPicPr>
        <p:blipFill>
          <a:blip r:embed="rId5"/>
          <a:stretch>
            <a:fillRect/>
          </a:stretch>
        </p:blipFill>
        <p:spPr>
          <a:xfrm>
            <a:off x="802570" y="1530037"/>
            <a:ext cx="2421501" cy="3303803"/>
          </a:xfrm>
          <a:prstGeom prst="rect">
            <a:avLst/>
          </a:prstGeom>
        </p:spPr>
      </p:pic>
    </p:spTree>
    <p:extLst>
      <p:ext uri="{BB962C8B-B14F-4D97-AF65-F5344CB8AC3E}">
        <p14:creationId xmlns:p14="http://schemas.microsoft.com/office/powerpoint/2010/main" val="23906458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0FD38515-05DA-49C8-BB69-72D74A73B955}"/>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IE" sz="1400" b="1" dirty="0">
                <a:solidFill>
                  <a:schemeClr val="bg1"/>
                </a:solidFill>
                <a:latin typeface="Arial"/>
                <a:cs typeface="Arial"/>
              </a:rPr>
              <a:t>CP14</a:t>
            </a:r>
            <a:r>
              <a:rPr lang="en-IE" sz="1400" b="1" dirty="0">
                <a:solidFill>
                  <a:schemeClr val="bg1"/>
                </a:solidFill>
                <a:latin typeface="Arial" panose="020B0604020202020204" pitchFamily="34" charset="0"/>
                <a:cs typeface="Arial" panose="020B0604020202020204" pitchFamily="34" charset="0"/>
              </a:rPr>
              <a:t> </a:t>
            </a:r>
            <a:r>
              <a:rPr lang="en-IE" sz="1400" b="1" dirty="0">
                <a:solidFill>
                  <a:schemeClr val="bg1"/>
                </a:solidFill>
                <a:latin typeface="Arial"/>
                <a:cs typeface="Arial"/>
              </a:rPr>
              <a:t>Common Communication </a:t>
            </a:r>
            <a:endParaRPr lang="en-IE" sz="1500" b="1" spc="-71" dirty="0">
              <a:solidFill>
                <a:srgbClr val="FFFCF6"/>
              </a:solidFill>
              <a:latin typeface="Arial"/>
              <a:ea typeface="Open Sans" panose="020B0606030504020204" pitchFamily="34" charset="0"/>
              <a:cs typeface="Arial"/>
            </a:endParaRPr>
          </a:p>
        </p:txBody>
      </p:sp>
      <p:sp>
        <p:nvSpPr>
          <p:cNvPr id="7" name="Rectangle 6">
            <a:extLst>
              <a:ext uri="{FF2B5EF4-FFF2-40B4-BE49-F238E27FC236}">
                <a16:creationId xmlns:a16="http://schemas.microsoft.com/office/drawing/2014/main" id="{ADA2EC86-85F1-4FC0-822D-7599BC1AC9BB}"/>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Implementation table</a:t>
            </a:r>
          </a:p>
        </p:txBody>
      </p:sp>
      <p:sp>
        <p:nvSpPr>
          <p:cNvPr id="5" name="TextBox 4">
            <a:extLst>
              <a:ext uri="{FF2B5EF4-FFF2-40B4-BE49-F238E27FC236}">
                <a16:creationId xmlns:a16="http://schemas.microsoft.com/office/drawing/2014/main" id="{C61281E5-F959-422D-A759-88B75572D0C9}"/>
              </a:ext>
            </a:extLst>
          </p:cNvPr>
          <p:cNvSpPr txBox="1"/>
          <p:nvPr/>
        </p:nvSpPr>
        <p:spPr>
          <a:xfrm>
            <a:off x="7453165" y="2327464"/>
            <a:ext cx="1626665" cy="1015663"/>
          </a:xfrm>
          <a:prstGeom prst="rect">
            <a:avLst/>
          </a:prstGeom>
          <a:noFill/>
        </p:spPr>
        <p:txBody>
          <a:bodyPr wrap="square" rtlCol="0">
            <a:spAutoFit/>
          </a:bodyPr>
          <a:lstStyle/>
          <a:p>
            <a:r>
              <a:rPr lang="en-GB" sz="1500" u="sng" dirty="0">
                <a:latin typeface="Arial" panose="020B0604020202020204" pitchFamily="34" charset="0"/>
                <a:cs typeface="Arial" panose="020B0604020202020204" pitchFamily="34" charset="0"/>
                <a:hlinkClick r:id="rId4"/>
              </a:rPr>
              <a:t>Link to access the CP14 implementation table</a:t>
            </a:r>
            <a:endParaRPr lang="en-GB" sz="1500" u="sng" dirty="0">
              <a:latin typeface="Arial" panose="020B0604020202020204" pitchFamily="34" charset="0"/>
              <a:cs typeface="Arial" panose="020B0604020202020204" pitchFamily="34" charset="0"/>
            </a:endParaRPr>
          </a:p>
        </p:txBody>
      </p:sp>
      <p:sp>
        <p:nvSpPr>
          <p:cNvPr id="10" name="Rectangle 16">
            <a:extLst>
              <a:ext uri="{FF2B5EF4-FFF2-40B4-BE49-F238E27FC236}">
                <a16:creationId xmlns:a16="http://schemas.microsoft.com/office/drawing/2014/main" id="{0CA17B61-F1D7-2BA6-8910-3B89A8C7815F}"/>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pic>
        <p:nvPicPr>
          <p:cNvPr id="11" name="Picture 10">
            <a:extLst>
              <a:ext uri="{FF2B5EF4-FFF2-40B4-BE49-F238E27FC236}">
                <a16:creationId xmlns:a16="http://schemas.microsoft.com/office/drawing/2014/main" id="{74840224-04F4-D27E-8919-B94C241A7E92}"/>
              </a:ext>
            </a:extLst>
          </p:cNvPr>
          <p:cNvPicPr>
            <a:picLocks noChangeAspect="1"/>
          </p:cNvPicPr>
          <p:nvPr/>
        </p:nvPicPr>
        <p:blipFill>
          <a:blip r:embed="rId5"/>
          <a:stretch>
            <a:fillRect/>
          </a:stretch>
        </p:blipFill>
        <p:spPr>
          <a:xfrm>
            <a:off x="611577" y="1397254"/>
            <a:ext cx="3371841" cy="3547343"/>
          </a:xfrm>
          <a:prstGeom prst="rect">
            <a:avLst/>
          </a:prstGeom>
        </p:spPr>
      </p:pic>
      <p:pic>
        <p:nvPicPr>
          <p:cNvPr id="13" name="Picture 12">
            <a:extLst>
              <a:ext uri="{FF2B5EF4-FFF2-40B4-BE49-F238E27FC236}">
                <a16:creationId xmlns:a16="http://schemas.microsoft.com/office/drawing/2014/main" id="{428E97F7-849A-5269-B10B-731B4CBED205}"/>
              </a:ext>
            </a:extLst>
          </p:cNvPr>
          <p:cNvPicPr>
            <a:picLocks noChangeAspect="1"/>
          </p:cNvPicPr>
          <p:nvPr/>
        </p:nvPicPr>
        <p:blipFill>
          <a:blip r:embed="rId6"/>
          <a:stretch>
            <a:fillRect/>
          </a:stretch>
        </p:blipFill>
        <p:spPr>
          <a:xfrm>
            <a:off x="4032371" y="1422491"/>
            <a:ext cx="3371841" cy="3522106"/>
          </a:xfrm>
          <a:prstGeom prst="rect">
            <a:avLst/>
          </a:prstGeom>
        </p:spPr>
      </p:pic>
      <p:sp>
        <p:nvSpPr>
          <p:cNvPr id="14" name="Rectangle 13">
            <a:extLst>
              <a:ext uri="{FF2B5EF4-FFF2-40B4-BE49-F238E27FC236}">
                <a16:creationId xmlns:a16="http://schemas.microsoft.com/office/drawing/2014/main" id="{4EE8D5A3-1FD7-ACE6-B220-5EF77F968DBC}"/>
              </a:ext>
            </a:extLst>
          </p:cNvPr>
          <p:cNvSpPr/>
          <p:nvPr/>
        </p:nvSpPr>
        <p:spPr>
          <a:xfrm>
            <a:off x="7579151" y="3685880"/>
            <a:ext cx="311084" cy="320512"/>
          </a:xfrm>
          <a:prstGeom prst="rect">
            <a:avLst/>
          </a:prstGeom>
          <a:solidFill>
            <a:schemeClr val="bg1">
              <a:lumMod val="75000"/>
            </a:schemeClr>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E"/>
          </a:p>
        </p:txBody>
      </p:sp>
      <p:sp>
        <p:nvSpPr>
          <p:cNvPr id="15" name="TextBox 14">
            <a:extLst>
              <a:ext uri="{FF2B5EF4-FFF2-40B4-BE49-F238E27FC236}">
                <a16:creationId xmlns:a16="http://schemas.microsoft.com/office/drawing/2014/main" id="{72BFAD5D-8287-AA88-7C13-06DFCEBCA8F4}"/>
              </a:ext>
            </a:extLst>
          </p:cNvPr>
          <p:cNvSpPr txBox="1"/>
          <p:nvPr/>
        </p:nvSpPr>
        <p:spPr>
          <a:xfrm>
            <a:off x="7890236" y="3638745"/>
            <a:ext cx="1065228" cy="707886"/>
          </a:xfrm>
          <a:prstGeom prst="rect">
            <a:avLst/>
          </a:prstGeom>
          <a:noFill/>
        </p:spPr>
        <p:txBody>
          <a:bodyPr wrap="square" rtlCol="0">
            <a:spAutoFit/>
          </a:bodyPr>
          <a:lstStyle/>
          <a:p>
            <a:r>
              <a:rPr lang="en-IE" sz="1000" dirty="0">
                <a:latin typeface="Arial "/>
              </a:rPr>
              <a:t>Pending information </a:t>
            </a:r>
          </a:p>
          <a:p>
            <a:r>
              <a:rPr lang="en-IE" sz="1000" dirty="0">
                <a:latin typeface="Arial "/>
              </a:rPr>
              <a:t>from this Office to this date.</a:t>
            </a:r>
          </a:p>
        </p:txBody>
      </p:sp>
    </p:spTree>
    <p:extLst>
      <p:ext uri="{BB962C8B-B14F-4D97-AF65-F5344CB8AC3E}">
        <p14:creationId xmlns:p14="http://schemas.microsoft.com/office/powerpoint/2010/main" val="25607742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5">
            <a:extLst>
              <a:ext uri="{FF2B5EF4-FFF2-40B4-BE49-F238E27FC236}">
                <a16:creationId xmlns:a16="http://schemas.microsoft.com/office/drawing/2014/main" id="{815E4286-1509-442D-A0D3-5AFAE47A2DCD}"/>
              </a:ext>
            </a:extLst>
          </p:cNvPr>
          <p:cNvSpPr/>
          <p:nvPr/>
        </p:nvSpPr>
        <p:spPr>
          <a:xfrm>
            <a:off x="1029600" y="1897200"/>
            <a:ext cx="4238661" cy="523220"/>
          </a:xfrm>
          <a:prstGeom prst="rect">
            <a:avLst/>
          </a:prstGeom>
        </p:spPr>
        <p:txBody>
          <a:bodyPr wrap="none">
            <a:spAutoFit/>
          </a:bodyPr>
          <a:lstStyle/>
          <a:p>
            <a:r>
              <a:rPr lang="es-ES_tradnl" sz="2800" b="1" dirty="0">
                <a:solidFill>
                  <a:srgbClr val="BFBFBF"/>
                </a:solidFill>
                <a:latin typeface="Arial" panose="020B0604020202020204" pitchFamily="34" charset="0"/>
                <a:cs typeface="Arial" panose="020B0604020202020204" pitchFamily="34" charset="0"/>
              </a:rPr>
              <a:t>CP14 Common Practice</a:t>
            </a:r>
            <a:endParaRPr lang="es-ES" sz="2800" dirty="0"/>
          </a:p>
        </p:txBody>
      </p:sp>
      <p:sp>
        <p:nvSpPr>
          <p:cNvPr id="7" name="Rectangle 6">
            <a:extLst>
              <a:ext uri="{FF2B5EF4-FFF2-40B4-BE49-F238E27FC236}">
                <a16:creationId xmlns:a16="http://schemas.microsoft.com/office/drawing/2014/main" id="{52696928-367F-4341-A714-A526C668F100}"/>
              </a:ext>
            </a:extLst>
          </p:cNvPr>
          <p:cNvSpPr/>
          <p:nvPr/>
        </p:nvSpPr>
        <p:spPr>
          <a:xfrm>
            <a:off x="3842040" y="2420420"/>
            <a:ext cx="4042957" cy="954107"/>
          </a:xfrm>
          <a:prstGeom prst="rect">
            <a:avLst/>
          </a:prstGeom>
        </p:spPr>
        <p:txBody>
          <a:bodyPr wrap="square">
            <a:spAutoFit/>
          </a:bodyPr>
          <a:lstStyle/>
          <a:p>
            <a:r>
              <a:rPr lang="es-ES_tradnl" sz="2800" b="1" dirty="0">
                <a:solidFill>
                  <a:srgbClr val="0C4CA2"/>
                </a:solidFill>
                <a:latin typeface="Arial" panose="020B0604020202020204" pitchFamily="34" charset="0"/>
                <a:cs typeface="Arial" panose="020B0604020202020204" pitchFamily="34" charset="0"/>
              </a:rPr>
              <a:t>Principles</a:t>
            </a:r>
          </a:p>
          <a:p>
            <a:endParaRPr lang="es-ES" sz="2800" dirty="0">
              <a:solidFill>
                <a:srgbClr val="0C4CA2"/>
              </a:solidFill>
            </a:endParaRPr>
          </a:p>
        </p:txBody>
      </p:sp>
      <p:sp>
        <p:nvSpPr>
          <p:cNvPr id="4" name="Rectangle 16">
            <a:extLst>
              <a:ext uri="{FF2B5EF4-FFF2-40B4-BE49-F238E27FC236}">
                <a16:creationId xmlns:a16="http://schemas.microsoft.com/office/drawing/2014/main" id="{0B1ABA89-18A6-8523-DF77-5F2D52C53E48}"/>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Tree>
    <p:extLst>
      <p:ext uri="{BB962C8B-B14F-4D97-AF65-F5344CB8AC3E}">
        <p14:creationId xmlns:p14="http://schemas.microsoft.com/office/powerpoint/2010/main" val="29030826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General considerations</a:t>
            </a:r>
          </a:p>
        </p:txBody>
      </p:sp>
      <p:sp>
        <p:nvSpPr>
          <p:cNvPr id="5" name="Rectangle 16">
            <a:extLst>
              <a:ext uri="{FF2B5EF4-FFF2-40B4-BE49-F238E27FC236}">
                <a16:creationId xmlns:a16="http://schemas.microsoft.com/office/drawing/2014/main" id="{375CF3B3-21D7-599C-DA77-39EA24EBD644}"/>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grpSp>
        <p:nvGrpSpPr>
          <p:cNvPr id="4" name="Group 3">
            <a:extLst>
              <a:ext uri="{FF2B5EF4-FFF2-40B4-BE49-F238E27FC236}">
                <a16:creationId xmlns:a16="http://schemas.microsoft.com/office/drawing/2014/main" id="{85F35F2B-1CBD-0975-41EF-9CB61E577F00}"/>
              </a:ext>
            </a:extLst>
          </p:cNvPr>
          <p:cNvGrpSpPr/>
          <p:nvPr/>
        </p:nvGrpSpPr>
        <p:grpSpPr>
          <a:xfrm>
            <a:off x="642686" y="1101850"/>
            <a:ext cx="8103428" cy="3598738"/>
            <a:chOff x="552111" y="1366694"/>
            <a:chExt cx="11137027" cy="4870700"/>
          </a:xfrm>
        </p:grpSpPr>
        <p:sp>
          <p:nvSpPr>
            <p:cNvPr id="7" name="Round Same Side Corner Rectangle 7">
              <a:extLst>
                <a:ext uri="{FF2B5EF4-FFF2-40B4-BE49-F238E27FC236}">
                  <a16:creationId xmlns:a16="http://schemas.microsoft.com/office/drawing/2014/main" id="{72BEA517-45D9-5E0A-9C40-DAF0BD4E4E4A}"/>
                </a:ext>
              </a:extLst>
            </p:cNvPr>
            <p:cNvSpPr/>
            <p:nvPr/>
          </p:nvSpPr>
          <p:spPr bwMode="auto">
            <a:xfrm rot="16200000" flipH="1">
              <a:off x="370934" y="1547875"/>
              <a:ext cx="935071" cy="572710"/>
            </a:xfrm>
            <a:prstGeom prst="round2SameRect">
              <a:avLst/>
            </a:prstGeom>
            <a:solidFill>
              <a:srgbClr val="4BACC6"/>
            </a:solidFill>
            <a:ln w="6350" cap="flat" cmpd="sng" algn="ctr">
              <a:noFill/>
              <a:prstDash val="solid"/>
              <a:round/>
              <a:headEnd type="none" w="med" len="med"/>
              <a:tailEnd type="none" w="med" len="med"/>
            </a:ln>
            <a:effectLst/>
          </p:spPr>
          <p:txBody>
            <a:bodyPr vert="vert" wrap="square" lIns="34290" tIns="34290" rIns="34290" bIns="34290" numCol="1" rtlCol="0" anchor="ctr" anchorCtr="1" compatLnSpc="1">
              <a:prstTxWarp prst="textNoShape">
                <a:avLst/>
              </a:prstTxWarp>
            </a:bodyPr>
            <a:lstStyle/>
            <a:p>
              <a:pPr eaLnBrk="0" hangingPunct="0">
                <a:spcBef>
                  <a:spcPts val="150"/>
                </a:spcBef>
                <a:spcAft>
                  <a:spcPts val="150"/>
                </a:spcAft>
              </a:pPr>
              <a:r>
                <a:rPr lang="en-GB" sz="1000" b="1" dirty="0">
                  <a:solidFill>
                    <a:schemeClr val="bg1"/>
                  </a:solidFill>
                  <a:latin typeface="Arial" panose="020B0604020202020204" pitchFamily="34" charset="0"/>
                  <a:cs typeface="Arial" panose="020B0604020202020204" pitchFamily="34" charset="0"/>
                </a:rPr>
                <a:t>1</a:t>
              </a:r>
            </a:p>
          </p:txBody>
        </p:sp>
        <p:sp>
          <p:nvSpPr>
            <p:cNvPr id="9" name="Round Same Side Corner Rectangle 17">
              <a:extLst>
                <a:ext uri="{FF2B5EF4-FFF2-40B4-BE49-F238E27FC236}">
                  <a16:creationId xmlns:a16="http://schemas.microsoft.com/office/drawing/2014/main" id="{00AEC0C7-BD93-B527-587A-96DDF69C61D3}"/>
                </a:ext>
              </a:extLst>
            </p:cNvPr>
            <p:cNvSpPr/>
            <p:nvPr/>
          </p:nvSpPr>
          <p:spPr bwMode="auto">
            <a:xfrm rot="16200000" flipH="1">
              <a:off x="407348" y="2548091"/>
              <a:ext cx="862237" cy="572712"/>
            </a:xfrm>
            <a:prstGeom prst="round2SameRect">
              <a:avLst/>
            </a:prstGeom>
            <a:solidFill>
              <a:schemeClr val="tx2">
                <a:lumMod val="40000"/>
                <a:lumOff val="60000"/>
              </a:schemeClr>
            </a:solidFill>
            <a:ln w="6350" cap="flat" cmpd="sng" algn="ctr">
              <a:noFill/>
              <a:prstDash val="solid"/>
              <a:round/>
              <a:headEnd type="none" w="med" len="med"/>
              <a:tailEnd type="none" w="med" len="med"/>
            </a:ln>
            <a:effectLst/>
          </p:spPr>
          <p:txBody>
            <a:bodyPr vert="vert" wrap="square" lIns="34290" tIns="34290" rIns="34290" bIns="34290" numCol="1" rtlCol="0" anchor="ctr" anchorCtr="1" compatLnSpc="1">
              <a:prstTxWarp prst="textNoShape">
                <a:avLst/>
              </a:prstTxWarp>
            </a:bodyPr>
            <a:lstStyle/>
            <a:p>
              <a:pPr eaLnBrk="0" hangingPunct="0">
                <a:spcBef>
                  <a:spcPts val="150"/>
                </a:spcBef>
                <a:spcAft>
                  <a:spcPts val="150"/>
                </a:spcAft>
              </a:pPr>
              <a:r>
                <a:rPr lang="en-GB" sz="1000" b="1">
                  <a:solidFill>
                    <a:prstClr val="white"/>
                  </a:solidFill>
                  <a:latin typeface="Arial" panose="020B0604020202020204" pitchFamily="34" charset="0"/>
                  <a:cs typeface="Arial" panose="020B0604020202020204" pitchFamily="34" charset="0"/>
                </a:rPr>
                <a:t>2</a:t>
              </a:r>
              <a:endParaRPr lang="en-GB" sz="1000" b="1" dirty="0">
                <a:solidFill>
                  <a:prstClr val="white"/>
                </a:solidFill>
                <a:latin typeface="Arial" panose="020B0604020202020204" pitchFamily="34" charset="0"/>
                <a:cs typeface="Arial" panose="020B0604020202020204" pitchFamily="34" charset="0"/>
              </a:endParaRPr>
            </a:p>
          </p:txBody>
        </p:sp>
        <p:sp>
          <p:nvSpPr>
            <p:cNvPr id="10" name="Round Same Side Corner Rectangle 19">
              <a:extLst>
                <a:ext uri="{FF2B5EF4-FFF2-40B4-BE49-F238E27FC236}">
                  <a16:creationId xmlns:a16="http://schemas.microsoft.com/office/drawing/2014/main" id="{089D70A8-1F84-5109-2E3C-134ACF41D6FB}"/>
                </a:ext>
              </a:extLst>
            </p:cNvPr>
            <p:cNvSpPr/>
            <p:nvPr/>
          </p:nvSpPr>
          <p:spPr bwMode="auto">
            <a:xfrm rot="16200000" flipH="1">
              <a:off x="407346" y="4529311"/>
              <a:ext cx="862242" cy="572712"/>
            </a:xfrm>
            <a:prstGeom prst="round2SameRect">
              <a:avLst/>
            </a:prstGeom>
            <a:solidFill>
              <a:schemeClr val="accent1">
                <a:lumMod val="75000"/>
              </a:schemeClr>
            </a:solidFill>
            <a:ln w="6350" cap="flat" cmpd="sng" algn="ctr">
              <a:noFill/>
              <a:prstDash val="solid"/>
              <a:round/>
              <a:headEnd type="none" w="med" len="med"/>
              <a:tailEnd type="none" w="med" len="med"/>
            </a:ln>
            <a:effectLst/>
          </p:spPr>
          <p:txBody>
            <a:bodyPr vert="vert" wrap="square" lIns="34290" tIns="34290" rIns="34290" bIns="34290" numCol="1" rtlCol="0" anchor="ctr" anchorCtr="1" compatLnSpc="1">
              <a:prstTxWarp prst="textNoShape">
                <a:avLst/>
              </a:prstTxWarp>
            </a:bodyPr>
            <a:lstStyle/>
            <a:p>
              <a:pPr eaLnBrk="0" hangingPunct="0">
                <a:spcBef>
                  <a:spcPts val="150"/>
                </a:spcBef>
                <a:spcAft>
                  <a:spcPts val="150"/>
                </a:spcAft>
              </a:pPr>
              <a:r>
                <a:rPr lang="en-GB" sz="1000" b="1" dirty="0">
                  <a:solidFill>
                    <a:prstClr val="white"/>
                  </a:solidFill>
                  <a:latin typeface="Arial" panose="020B0604020202020204" pitchFamily="34" charset="0"/>
                  <a:cs typeface="Arial" panose="020B0604020202020204" pitchFamily="34" charset="0"/>
                </a:rPr>
                <a:t>4</a:t>
              </a:r>
            </a:p>
          </p:txBody>
        </p:sp>
        <p:sp>
          <p:nvSpPr>
            <p:cNvPr id="11" name="Round Same Side Corner Rectangle 20">
              <a:extLst>
                <a:ext uri="{FF2B5EF4-FFF2-40B4-BE49-F238E27FC236}">
                  <a16:creationId xmlns:a16="http://schemas.microsoft.com/office/drawing/2014/main" id="{4680A616-425C-586B-5933-4E34C3BFC050}"/>
                </a:ext>
              </a:extLst>
            </p:cNvPr>
            <p:cNvSpPr/>
            <p:nvPr/>
          </p:nvSpPr>
          <p:spPr bwMode="auto">
            <a:xfrm rot="16200000" flipH="1">
              <a:off x="407347" y="5519918"/>
              <a:ext cx="862239" cy="572712"/>
            </a:xfrm>
            <a:prstGeom prst="round2SameRect">
              <a:avLst/>
            </a:prstGeom>
            <a:solidFill>
              <a:schemeClr val="accent1">
                <a:lumMod val="50000"/>
              </a:schemeClr>
            </a:solidFill>
            <a:ln w="6350" cap="flat" cmpd="sng" algn="ctr">
              <a:noFill/>
              <a:prstDash val="solid"/>
              <a:round/>
              <a:headEnd type="none" w="med" len="med"/>
              <a:tailEnd type="none" w="med" len="med"/>
            </a:ln>
            <a:effectLst/>
          </p:spPr>
          <p:txBody>
            <a:bodyPr vert="vert" wrap="square" lIns="34290" tIns="34290" rIns="34290" bIns="34290" numCol="1" rtlCol="0" anchor="ctr" anchorCtr="1" compatLnSpc="1">
              <a:prstTxWarp prst="textNoShape">
                <a:avLst/>
              </a:prstTxWarp>
            </a:bodyPr>
            <a:lstStyle/>
            <a:p>
              <a:pPr eaLnBrk="0" hangingPunct="0">
                <a:spcBef>
                  <a:spcPts val="150"/>
                </a:spcBef>
                <a:spcAft>
                  <a:spcPts val="150"/>
                </a:spcAft>
              </a:pPr>
              <a:r>
                <a:rPr lang="en-GB" sz="1000" b="1">
                  <a:solidFill>
                    <a:prstClr val="white"/>
                  </a:solidFill>
                  <a:latin typeface="Arial" panose="020B0604020202020204" pitchFamily="34" charset="0"/>
                  <a:cs typeface="Arial" panose="020B0604020202020204" pitchFamily="34" charset="0"/>
                </a:rPr>
                <a:t>5</a:t>
              </a:r>
              <a:endParaRPr lang="en-GB" sz="1000" b="1" dirty="0">
                <a:solidFill>
                  <a:prstClr val="white"/>
                </a:solidFill>
                <a:latin typeface="Arial" panose="020B0604020202020204" pitchFamily="34" charset="0"/>
                <a:cs typeface="Arial" panose="020B0604020202020204" pitchFamily="34" charset="0"/>
              </a:endParaRPr>
            </a:p>
          </p:txBody>
        </p:sp>
        <p:sp>
          <p:nvSpPr>
            <p:cNvPr id="12" name="Round Same Side Corner Rectangle 18">
              <a:extLst>
                <a:ext uri="{FF2B5EF4-FFF2-40B4-BE49-F238E27FC236}">
                  <a16:creationId xmlns:a16="http://schemas.microsoft.com/office/drawing/2014/main" id="{29E78CB6-833A-74FA-4B1B-16C486441201}"/>
                </a:ext>
              </a:extLst>
            </p:cNvPr>
            <p:cNvSpPr/>
            <p:nvPr/>
          </p:nvSpPr>
          <p:spPr bwMode="auto">
            <a:xfrm rot="16200000" flipH="1">
              <a:off x="407347" y="3538700"/>
              <a:ext cx="862239" cy="572712"/>
            </a:xfrm>
            <a:prstGeom prst="round2SameRect">
              <a:avLst/>
            </a:prstGeom>
            <a:solidFill>
              <a:schemeClr val="accent1"/>
            </a:solidFill>
            <a:ln w="6350" cap="flat" cmpd="sng" algn="ctr">
              <a:noFill/>
              <a:prstDash val="solid"/>
              <a:round/>
              <a:headEnd type="none" w="med" len="med"/>
              <a:tailEnd type="none" w="med" len="med"/>
            </a:ln>
            <a:effectLst/>
          </p:spPr>
          <p:txBody>
            <a:bodyPr vert="vert" wrap="square" lIns="34290" tIns="34290" rIns="34290" bIns="34290" numCol="1" rtlCol="0" anchor="ctr" anchorCtr="1" compatLnSpc="1">
              <a:prstTxWarp prst="textNoShape">
                <a:avLst/>
              </a:prstTxWarp>
            </a:bodyPr>
            <a:lstStyle/>
            <a:p>
              <a:pPr eaLnBrk="0" hangingPunct="0">
                <a:spcBef>
                  <a:spcPts val="150"/>
                </a:spcBef>
                <a:spcAft>
                  <a:spcPts val="150"/>
                </a:spcAft>
              </a:pPr>
              <a:r>
                <a:rPr lang="en-GB" sz="1000" b="1">
                  <a:solidFill>
                    <a:prstClr val="white"/>
                  </a:solidFill>
                  <a:latin typeface="Arial" panose="020B0604020202020204" pitchFamily="34" charset="0"/>
                  <a:cs typeface="Arial" panose="020B0604020202020204" pitchFamily="34" charset="0"/>
                </a:rPr>
                <a:t>3</a:t>
              </a:r>
              <a:endParaRPr lang="en-GB" sz="1000" b="1" dirty="0">
                <a:solidFill>
                  <a:prstClr val="white"/>
                </a:solidFill>
                <a:latin typeface="Arial" panose="020B0604020202020204" pitchFamily="34" charset="0"/>
                <a:cs typeface="Arial" panose="020B0604020202020204" pitchFamily="34" charset="0"/>
              </a:endParaRPr>
            </a:p>
          </p:txBody>
        </p:sp>
        <p:sp>
          <p:nvSpPr>
            <p:cNvPr id="13" name="Rounded Rectangle 6">
              <a:extLst>
                <a:ext uri="{FF2B5EF4-FFF2-40B4-BE49-F238E27FC236}">
                  <a16:creationId xmlns:a16="http://schemas.microsoft.com/office/drawing/2014/main" id="{28DEC69A-A8D0-66C8-15FE-4325E9E60289}"/>
                </a:ext>
              </a:extLst>
            </p:cNvPr>
            <p:cNvSpPr/>
            <p:nvPr/>
          </p:nvSpPr>
          <p:spPr bwMode="auto">
            <a:xfrm>
              <a:off x="1123098" y="1366695"/>
              <a:ext cx="10552967" cy="935071"/>
            </a:xfrm>
            <a:prstGeom prst="rect">
              <a:avLst/>
            </a:prstGeom>
            <a:solidFill>
              <a:schemeClr val="bg1">
                <a:lumMod val="95000"/>
              </a:schemeClr>
            </a:solidFill>
            <a:ln w="6350" cap="flat" cmpd="sng" algn="ctr">
              <a:noFill/>
              <a:prstDash val="sysDash"/>
              <a:round/>
              <a:headEnd type="none" w="med" len="med"/>
              <a:tailEnd type="none" w="med" len="med"/>
            </a:ln>
            <a:effectLst/>
          </p:spPr>
          <p:txBody>
            <a:bodyPr vert="horz" wrap="square" lIns="137160" tIns="34290" rIns="34290" bIns="34290" numCol="1" rtlCol="0" anchor="ctr" anchorCtr="0" compatLnSpc="1">
              <a:prstTxWarp prst="textNoShape">
                <a:avLst/>
              </a:prstTxWarp>
            </a:bodyPr>
            <a:lstStyle/>
            <a:p>
              <a:pPr eaLnBrk="0" hangingPunct="0">
                <a:spcBef>
                  <a:spcPts val="150"/>
                </a:spcBef>
                <a:spcAft>
                  <a:spcPts val="150"/>
                </a:spcAft>
              </a:pPr>
              <a:r>
                <a:rPr lang="en-US" sz="1100" b="1" dirty="0">
                  <a:solidFill>
                    <a:srgbClr val="4BACC6"/>
                  </a:solidFill>
                  <a:latin typeface="Arial" panose="020B0604020202020204" pitchFamily="34" charset="0"/>
                  <a:cs typeface="Arial" panose="020B0604020202020204" pitchFamily="34" charset="0"/>
                </a:rPr>
                <a:t>Case-by-case assessment</a:t>
              </a:r>
              <a:endParaRPr lang="en-GB" sz="1100" b="1" dirty="0">
                <a:solidFill>
                  <a:srgbClr val="4BACC6"/>
                </a:solidFill>
                <a:latin typeface="Arial" panose="020B0604020202020204" pitchFamily="34" charset="0"/>
                <a:cs typeface="Arial" panose="020B0604020202020204" pitchFamily="34" charset="0"/>
              </a:endParaRPr>
            </a:p>
            <a:p>
              <a:pPr marL="127397" indent="-127397" algn="just" fontAlgn="t">
                <a:spcBef>
                  <a:spcPts val="150"/>
                </a:spcBef>
                <a:spcAft>
                  <a:spcPts val="150"/>
                </a:spcAft>
                <a:buClr>
                  <a:schemeClr val="accent1"/>
                </a:buClr>
                <a:buFont typeface="Wingdings" pitchFamily="2" charset="2"/>
                <a:buChar char="§"/>
                <a:defRPr/>
              </a:pPr>
              <a:r>
                <a:rPr lang="en-US" sz="1100" dirty="0">
                  <a:latin typeface="Arial" panose="020B0604020202020204" pitchFamily="34" charset="0"/>
                  <a:cs typeface="Arial" panose="020B0604020202020204" pitchFamily="34" charset="0"/>
                </a:rPr>
                <a:t>All applications should be assessed on a case-by-case basis considering the normal level of sensitivity and tolerance of the relevant public in the jurisdiction concerned as well as all the circumstances specific to the MS(s) and the particular case. </a:t>
              </a:r>
              <a:endParaRPr lang="en-GB" sz="1100" dirty="0">
                <a:latin typeface="+mj-lt"/>
              </a:endParaRPr>
            </a:p>
          </p:txBody>
        </p:sp>
        <p:sp>
          <p:nvSpPr>
            <p:cNvPr id="14" name="Rounded Rectangle 8">
              <a:extLst>
                <a:ext uri="{FF2B5EF4-FFF2-40B4-BE49-F238E27FC236}">
                  <a16:creationId xmlns:a16="http://schemas.microsoft.com/office/drawing/2014/main" id="{04B8800E-C8CF-3B11-A0EF-6C1E28679815}"/>
                </a:ext>
              </a:extLst>
            </p:cNvPr>
            <p:cNvSpPr/>
            <p:nvPr/>
          </p:nvSpPr>
          <p:spPr bwMode="auto">
            <a:xfrm>
              <a:off x="1123098" y="2403327"/>
              <a:ext cx="10552966" cy="862237"/>
            </a:xfrm>
            <a:prstGeom prst="rect">
              <a:avLst/>
            </a:prstGeom>
            <a:solidFill>
              <a:schemeClr val="bg1">
                <a:lumMod val="95000"/>
              </a:schemeClr>
            </a:solidFill>
            <a:ln w="6350" cap="flat" cmpd="sng" algn="ctr">
              <a:noFill/>
              <a:prstDash val="sysDash"/>
              <a:round/>
              <a:headEnd type="none" w="med" len="med"/>
              <a:tailEnd type="none" w="med" len="med"/>
            </a:ln>
            <a:effectLst/>
          </p:spPr>
          <p:txBody>
            <a:bodyPr vert="horz" wrap="square" lIns="137160" tIns="34290" rIns="34290" bIns="34290" numCol="1" rtlCol="0" anchor="ctr" anchorCtr="0" compatLnSpc="1">
              <a:prstTxWarp prst="textNoShape">
                <a:avLst/>
              </a:prstTxWarp>
            </a:bodyPr>
            <a:lstStyle/>
            <a:p>
              <a:pPr eaLnBrk="0" hangingPunct="0">
                <a:spcBef>
                  <a:spcPts val="150"/>
                </a:spcBef>
                <a:spcAft>
                  <a:spcPts val="150"/>
                </a:spcAft>
              </a:pPr>
              <a:r>
                <a:rPr lang="en-US" sz="1100" b="1" dirty="0">
                  <a:solidFill>
                    <a:schemeClr val="tx2">
                      <a:lumMod val="40000"/>
                      <a:lumOff val="60000"/>
                    </a:schemeClr>
                  </a:solidFill>
                  <a:latin typeface="Arial" panose="020B0604020202020204" pitchFamily="34" charset="0"/>
                  <a:cs typeface="Arial" panose="020B0604020202020204" pitchFamily="34" charset="0"/>
                </a:rPr>
                <a:t>Overlap between public policy and accepted principles of morality</a:t>
              </a:r>
              <a:endParaRPr lang="en-GB" sz="1100" b="1" dirty="0">
                <a:solidFill>
                  <a:schemeClr val="tx2">
                    <a:lumMod val="40000"/>
                    <a:lumOff val="60000"/>
                  </a:schemeClr>
                </a:solidFill>
                <a:latin typeface="Arial" panose="020B0604020202020204" pitchFamily="34" charset="0"/>
                <a:cs typeface="Arial" panose="020B0604020202020204" pitchFamily="34" charset="0"/>
              </a:endParaRPr>
            </a:p>
            <a:p>
              <a:pPr marL="127397" indent="-127397" fontAlgn="t">
                <a:spcBef>
                  <a:spcPts val="150"/>
                </a:spcBef>
                <a:spcAft>
                  <a:spcPts val="150"/>
                </a:spcAft>
                <a:buClr>
                  <a:schemeClr val="accent1"/>
                </a:buClr>
                <a:buFont typeface="Wingdings" pitchFamily="2" charset="2"/>
                <a:buChar char="§"/>
                <a:defRPr/>
              </a:pPr>
              <a:r>
                <a:rPr lang="en-US" sz="1100" dirty="0">
                  <a:latin typeface="Arial" panose="020B0604020202020204" pitchFamily="34" charset="0"/>
                  <a:cs typeface="Arial" panose="020B0604020202020204" pitchFamily="34" charset="0"/>
                </a:rPr>
                <a:t>In cases of overlap, the criteria applicable to each concept will apply.</a:t>
              </a:r>
              <a:endParaRPr lang="en-GB" sz="1100" dirty="0">
                <a:latin typeface="+mj-lt"/>
              </a:endParaRPr>
            </a:p>
          </p:txBody>
        </p:sp>
        <p:sp>
          <p:nvSpPr>
            <p:cNvPr id="15" name="Rounded Rectangle 11">
              <a:extLst>
                <a:ext uri="{FF2B5EF4-FFF2-40B4-BE49-F238E27FC236}">
                  <a16:creationId xmlns:a16="http://schemas.microsoft.com/office/drawing/2014/main" id="{FCDC9B3F-5AC2-1278-C728-4510E88713E6}"/>
                </a:ext>
              </a:extLst>
            </p:cNvPr>
            <p:cNvSpPr/>
            <p:nvPr/>
          </p:nvSpPr>
          <p:spPr bwMode="auto">
            <a:xfrm>
              <a:off x="1123098" y="4384543"/>
              <a:ext cx="10552966" cy="862236"/>
            </a:xfrm>
            <a:prstGeom prst="rect">
              <a:avLst/>
            </a:prstGeom>
            <a:solidFill>
              <a:schemeClr val="bg1">
                <a:lumMod val="95000"/>
              </a:schemeClr>
            </a:solidFill>
            <a:ln w="6350" cap="flat" cmpd="sng" algn="ctr">
              <a:noFill/>
              <a:prstDash val="sysDash"/>
              <a:round/>
              <a:headEnd type="none" w="med" len="med"/>
              <a:tailEnd type="none" w="med" len="med"/>
            </a:ln>
            <a:effectLst/>
          </p:spPr>
          <p:txBody>
            <a:bodyPr vert="horz" wrap="square" lIns="137160" tIns="34290" rIns="34290" bIns="34290" numCol="1" rtlCol="0" anchor="ctr" anchorCtr="0" compatLnSpc="1">
              <a:prstTxWarp prst="textNoShape">
                <a:avLst/>
              </a:prstTxWarp>
            </a:bodyPr>
            <a:lstStyle/>
            <a:p>
              <a:pPr eaLnBrk="0" hangingPunct="0">
                <a:spcBef>
                  <a:spcPts val="150"/>
                </a:spcBef>
                <a:spcAft>
                  <a:spcPts val="150"/>
                </a:spcAft>
              </a:pPr>
              <a:r>
                <a:rPr lang="en-GB" sz="1100" b="1">
                  <a:solidFill>
                    <a:schemeClr val="accent1">
                      <a:lumMod val="75000"/>
                    </a:schemeClr>
                  </a:solidFill>
                  <a:latin typeface="Arial" panose="020B0604020202020204" pitchFamily="34" charset="0"/>
                  <a:cs typeface="Arial" panose="020B0604020202020204" pitchFamily="34" charset="0"/>
                </a:rPr>
                <a:t>Subjectivity</a:t>
              </a:r>
            </a:p>
            <a:p>
              <a:pPr marL="127397" indent="-127397" algn="just" fontAlgn="t">
                <a:spcBef>
                  <a:spcPts val="150"/>
                </a:spcBef>
                <a:spcAft>
                  <a:spcPts val="150"/>
                </a:spcAft>
                <a:buClr>
                  <a:schemeClr val="accent1"/>
                </a:buClr>
                <a:buFont typeface="Wingdings" pitchFamily="2" charset="2"/>
                <a:buChar char="§"/>
                <a:defRPr/>
              </a:pPr>
              <a:r>
                <a:rPr lang="en-US" sz="1100">
                  <a:latin typeface="Arial" panose="020B0604020202020204" pitchFamily="34" charset="0"/>
                  <a:cs typeface="Arial" panose="020B0604020202020204" pitchFamily="34" charset="0"/>
                </a:rPr>
                <a:t>Although the assessment of this ground may have a subjective element, examiners should provide an objective statement of reasons to support their decisions. </a:t>
              </a:r>
              <a:endParaRPr lang="en-US" sz="1100" dirty="0">
                <a:latin typeface="Arial" panose="020B0604020202020204" pitchFamily="34" charset="0"/>
                <a:cs typeface="Arial" panose="020B0604020202020204" pitchFamily="34" charset="0"/>
              </a:endParaRPr>
            </a:p>
          </p:txBody>
        </p:sp>
        <p:sp>
          <p:nvSpPr>
            <p:cNvPr id="16" name="Rounded Rectangle 12">
              <a:extLst>
                <a:ext uri="{FF2B5EF4-FFF2-40B4-BE49-F238E27FC236}">
                  <a16:creationId xmlns:a16="http://schemas.microsoft.com/office/drawing/2014/main" id="{93D14941-282C-03D6-DCBE-B1FFBE3BB51F}"/>
                </a:ext>
              </a:extLst>
            </p:cNvPr>
            <p:cNvSpPr/>
            <p:nvPr/>
          </p:nvSpPr>
          <p:spPr bwMode="auto">
            <a:xfrm>
              <a:off x="1136171" y="5323587"/>
              <a:ext cx="10552967" cy="913807"/>
            </a:xfrm>
            <a:prstGeom prst="rect">
              <a:avLst/>
            </a:prstGeom>
            <a:solidFill>
              <a:schemeClr val="bg1">
                <a:lumMod val="95000"/>
              </a:schemeClr>
            </a:solidFill>
            <a:ln w="6350" cap="flat" cmpd="sng" algn="ctr">
              <a:noFill/>
              <a:prstDash val="sysDash"/>
              <a:round/>
              <a:headEnd type="none" w="med" len="med"/>
              <a:tailEnd type="none" w="med" len="med"/>
            </a:ln>
            <a:effectLst/>
          </p:spPr>
          <p:txBody>
            <a:bodyPr vert="horz" wrap="square" lIns="137160" tIns="34290" rIns="34290" bIns="34290" numCol="1" rtlCol="0" anchor="ctr" anchorCtr="0" compatLnSpc="1">
              <a:prstTxWarp prst="textNoShape">
                <a:avLst/>
              </a:prstTxWarp>
            </a:bodyPr>
            <a:lstStyle/>
            <a:p>
              <a:pPr algn="just" eaLnBrk="0" hangingPunct="0">
                <a:spcBef>
                  <a:spcPts val="150"/>
                </a:spcBef>
                <a:spcAft>
                  <a:spcPts val="150"/>
                </a:spcAft>
              </a:pPr>
              <a:r>
                <a:rPr lang="en-GB" sz="1100" b="1" dirty="0">
                  <a:solidFill>
                    <a:schemeClr val="accent1">
                      <a:lumMod val="50000"/>
                    </a:schemeClr>
                  </a:solidFill>
                  <a:latin typeface="Arial" panose="020B0604020202020204" pitchFamily="34" charset="0"/>
                  <a:cs typeface="Arial" panose="020B0604020202020204" pitchFamily="34" charset="0"/>
                </a:rPr>
                <a:t>Examples: </a:t>
              </a:r>
              <a:r>
                <a:rPr lang="en-US" sz="1100" dirty="0">
                  <a:latin typeface="Arial" panose="020B0604020202020204" pitchFamily="34" charset="0"/>
                  <a:cs typeface="Arial" panose="020B0604020202020204" pitchFamily="34" charset="0"/>
                </a:rPr>
                <a:t>Only shown for the purposes of the assessment of Article 4(1)(f) TMD. Being acceptable under this provision does not preclude </a:t>
              </a:r>
              <a:r>
                <a:rPr lang="en-US" sz="1100">
                  <a:latin typeface="Arial" panose="020B0604020202020204" pitchFamily="34" charset="0"/>
                  <a:cs typeface="Arial" panose="020B0604020202020204" pitchFamily="34" charset="0"/>
                </a:rPr>
                <a:t>them from being refused </a:t>
              </a:r>
              <a:r>
                <a:rPr lang="en-US" sz="1100" dirty="0">
                  <a:latin typeface="Arial" panose="020B0604020202020204" pitchFamily="34" charset="0"/>
                  <a:cs typeface="Arial" panose="020B0604020202020204" pitchFamily="34" charset="0"/>
                </a:rPr>
                <a:t>based on other grounds. All examples are in English, and it will be assumed that they will be understood as a native English speaker would understand them</a:t>
              </a:r>
              <a:r>
                <a:rPr lang="en-US" sz="900" dirty="0">
                  <a:latin typeface="+mj-lt"/>
                </a:rPr>
                <a:t>.</a:t>
              </a:r>
            </a:p>
          </p:txBody>
        </p:sp>
        <p:sp>
          <p:nvSpPr>
            <p:cNvPr id="17" name="Rounded Rectangle 10">
              <a:extLst>
                <a:ext uri="{FF2B5EF4-FFF2-40B4-BE49-F238E27FC236}">
                  <a16:creationId xmlns:a16="http://schemas.microsoft.com/office/drawing/2014/main" id="{FD060240-BC37-9EBE-795B-A2971CC9E8C2}"/>
                </a:ext>
              </a:extLst>
            </p:cNvPr>
            <p:cNvSpPr/>
            <p:nvPr/>
          </p:nvSpPr>
          <p:spPr bwMode="auto">
            <a:xfrm>
              <a:off x="1123098" y="3393929"/>
              <a:ext cx="10552967" cy="862242"/>
            </a:xfrm>
            <a:prstGeom prst="rect">
              <a:avLst/>
            </a:prstGeom>
            <a:solidFill>
              <a:schemeClr val="bg1">
                <a:lumMod val="95000"/>
              </a:schemeClr>
            </a:solidFill>
            <a:ln w="6350" cap="flat" cmpd="sng" algn="ctr">
              <a:noFill/>
              <a:prstDash val="sysDash"/>
              <a:round/>
              <a:headEnd type="none" w="med" len="med"/>
              <a:tailEnd type="none" w="med" len="med"/>
            </a:ln>
            <a:effectLst/>
          </p:spPr>
          <p:txBody>
            <a:bodyPr vert="horz" wrap="square" lIns="137160" tIns="34290" rIns="34290" bIns="34290" numCol="1" rtlCol="0" anchor="ctr" anchorCtr="0" compatLnSpc="1">
              <a:prstTxWarp prst="textNoShape">
                <a:avLst/>
              </a:prstTxWarp>
            </a:bodyPr>
            <a:lstStyle/>
            <a:p>
              <a:pPr algn="just" eaLnBrk="0" hangingPunct="0">
                <a:spcBef>
                  <a:spcPts val="150"/>
                </a:spcBef>
                <a:spcAft>
                  <a:spcPts val="150"/>
                </a:spcAft>
              </a:pPr>
              <a:r>
                <a:rPr lang="en-US" sz="1100" b="1" dirty="0">
                  <a:solidFill>
                    <a:schemeClr val="accent1"/>
                  </a:solidFill>
                  <a:latin typeface="Arial" panose="020B0604020202020204" pitchFamily="34" charset="0"/>
                  <a:cs typeface="Arial" panose="020B0604020202020204" pitchFamily="34" charset="0"/>
                </a:rPr>
                <a:t>Freedom of expression</a:t>
              </a:r>
              <a:endParaRPr lang="en-GB" sz="1100" b="1" dirty="0">
                <a:solidFill>
                  <a:schemeClr val="accent1"/>
                </a:solidFill>
                <a:latin typeface="Arial" panose="020B0604020202020204" pitchFamily="34" charset="0"/>
                <a:cs typeface="Arial" panose="020B0604020202020204" pitchFamily="34" charset="0"/>
              </a:endParaRPr>
            </a:p>
            <a:p>
              <a:pPr marL="127397" indent="-127397" algn="just" fontAlgn="t">
                <a:spcBef>
                  <a:spcPts val="150"/>
                </a:spcBef>
                <a:spcAft>
                  <a:spcPts val="150"/>
                </a:spcAft>
                <a:buClr>
                  <a:schemeClr val="accent1"/>
                </a:buClr>
                <a:buFont typeface="Wingdings" pitchFamily="2" charset="2"/>
                <a:buChar char="§"/>
                <a:defRPr/>
              </a:pPr>
              <a:r>
                <a:rPr lang="en-US" sz="1100" dirty="0">
                  <a:latin typeface="Arial" panose="020B0604020202020204" pitchFamily="34" charset="0"/>
                  <a:cs typeface="Arial" panose="020B0604020202020204" pitchFamily="34" charset="0"/>
                </a:rPr>
                <a:t>Freedom of expression must be taken into account. However, this Common Practice does not </a:t>
              </a:r>
              <a:r>
                <a:rPr lang="en-US" sz="1100" dirty="0" err="1">
                  <a:latin typeface="Arial" panose="020B0604020202020204" pitchFamily="34" charset="0"/>
                  <a:cs typeface="Arial" panose="020B0604020202020204" pitchFamily="34" charset="0"/>
                </a:rPr>
                <a:t>analyse</a:t>
              </a:r>
              <a:r>
                <a:rPr lang="en-US" sz="1100" dirty="0">
                  <a:latin typeface="Arial" panose="020B0604020202020204" pitchFamily="34" charset="0"/>
                  <a:cs typeface="Arial" panose="020B0604020202020204" pitchFamily="34" charset="0"/>
                </a:rPr>
                <a:t> how the assessment should be performed. </a:t>
              </a:r>
            </a:p>
          </p:txBody>
        </p:sp>
      </p:grpSp>
    </p:spTree>
    <p:extLst>
      <p:ext uri="{BB962C8B-B14F-4D97-AF65-F5344CB8AC3E}">
        <p14:creationId xmlns:p14="http://schemas.microsoft.com/office/powerpoint/2010/main" val="30638238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1 </a:t>
            </a:r>
            <a:r>
              <a:rPr lang="en-US" sz="1400" b="1" spc="-71">
                <a:solidFill>
                  <a:srgbClr val="F2F2F2"/>
                </a:solidFill>
                <a:latin typeface="Arial"/>
                <a:ea typeface="Open Sans" panose="020B0606030504020204" pitchFamily="34" charset="0"/>
                <a:cs typeface="Arial"/>
              </a:rPr>
              <a:t>Common understandings</a:t>
            </a:r>
            <a:endParaRPr lang="en-US" sz="1400" b="1" spc="-71" dirty="0">
              <a:solidFill>
                <a:srgbClr val="F2F2F2"/>
              </a:solidFill>
              <a:latin typeface="Arial"/>
              <a:ea typeface="Open Sans" panose="020B0606030504020204" pitchFamily="34" charset="0"/>
              <a:cs typeface="Arial"/>
            </a:endParaRPr>
          </a:p>
        </p:txBody>
      </p:sp>
      <p:sp>
        <p:nvSpPr>
          <p:cNvPr id="43" name="Rectangle: Rounded Corners 42">
            <a:extLst>
              <a:ext uri="{FF2B5EF4-FFF2-40B4-BE49-F238E27FC236}">
                <a16:creationId xmlns:a16="http://schemas.microsoft.com/office/drawing/2014/main" id="{E9096B42-662B-40F6-A7D5-CF5E2594DC12}"/>
              </a:ext>
            </a:extLst>
          </p:cNvPr>
          <p:cNvSpPr/>
          <p:nvPr/>
        </p:nvSpPr>
        <p:spPr>
          <a:xfrm>
            <a:off x="532946" y="1561523"/>
            <a:ext cx="1602254" cy="1094364"/>
          </a:xfrm>
          <a:prstGeom prst="roundRect">
            <a:avLst/>
          </a:prstGeom>
          <a:solidFill>
            <a:schemeClr val="bg1"/>
          </a:solidFill>
          <a:ln w="28575">
            <a:solidFill>
              <a:srgbClr val="4BACC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a:solidFill>
                  <a:srgbClr val="183D8C"/>
                </a:solidFill>
                <a:latin typeface="Arial" panose="020B0604020202020204" pitchFamily="34" charset="0"/>
                <a:cs typeface="Arial" panose="020B0604020202020204" pitchFamily="34" charset="0"/>
              </a:rPr>
              <a:t>Public policy</a:t>
            </a:r>
            <a:endParaRPr lang="en-GB" sz="1600" dirty="0">
              <a:solidFill>
                <a:srgbClr val="183D8C"/>
              </a:solidFill>
              <a:latin typeface="Arial" panose="020B0604020202020204" pitchFamily="34" charset="0"/>
              <a:cs typeface="Arial" panose="020B0604020202020204" pitchFamily="34" charset="0"/>
            </a:endParaRPr>
          </a:p>
        </p:txBody>
      </p:sp>
      <p:sp>
        <p:nvSpPr>
          <p:cNvPr id="44" name="Rectangle: Rounded Corners 43">
            <a:extLst>
              <a:ext uri="{FF2B5EF4-FFF2-40B4-BE49-F238E27FC236}">
                <a16:creationId xmlns:a16="http://schemas.microsoft.com/office/drawing/2014/main" id="{09546FF6-AA1F-4FF9-8D51-3318D283F2ED}"/>
              </a:ext>
            </a:extLst>
          </p:cNvPr>
          <p:cNvSpPr/>
          <p:nvPr/>
        </p:nvSpPr>
        <p:spPr>
          <a:xfrm>
            <a:off x="517267" y="3639683"/>
            <a:ext cx="1633612" cy="1094364"/>
          </a:xfrm>
          <a:prstGeom prst="roundRect">
            <a:avLst/>
          </a:prstGeom>
          <a:solidFill>
            <a:schemeClr val="bg1"/>
          </a:solidFill>
          <a:ln w="28575">
            <a:solidFill>
              <a:srgbClr val="4BACC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600" b="1" dirty="0">
                <a:solidFill>
                  <a:srgbClr val="1F497D"/>
                </a:solidFill>
                <a:latin typeface="Arial" panose="020B0604020202020204" pitchFamily="34" charset="0"/>
                <a:cs typeface="Arial" panose="020B0604020202020204" pitchFamily="34" charset="0"/>
              </a:rPr>
              <a:t>Accepted principles of morality</a:t>
            </a:r>
          </a:p>
        </p:txBody>
      </p:sp>
      <p:sp>
        <p:nvSpPr>
          <p:cNvPr id="5" name="TextBox 4">
            <a:extLst>
              <a:ext uri="{FF2B5EF4-FFF2-40B4-BE49-F238E27FC236}">
                <a16:creationId xmlns:a16="http://schemas.microsoft.com/office/drawing/2014/main" id="{13E1792E-31F6-DD32-28EE-F2AF83748CE1}"/>
              </a:ext>
            </a:extLst>
          </p:cNvPr>
          <p:cNvSpPr txBox="1"/>
          <p:nvPr/>
        </p:nvSpPr>
        <p:spPr>
          <a:xfrm>
            <a:off x="2187933" y="3600035"/>
            <a:ext cx="6524023" cy="523220"/>
          </a:xfrm>
          <a:prstGeom prst="rect">
            <a:avLst/>
          </a:prstGeom>
          <a:noFill/>
        </p:spPr>
        <p:txBody>
          <a:bodyPr wrap="square" rtlCol="0">
            <a:spAutoFit/>
          </a:bodyPr>
          <a:lstStyle/>
          <a:p>
            <a:pPr marL="285750" indent="-285750" algn="just">
              <a:buFont typeface="Wingdings" panose="05000000000000000000" pitchFamily="2" charset="2"/>
              <a:buChar char="v"/>
            </a:pPr>
            <a:r>
              <a:rPr lang="en-GB" sz="1400" b="1" dirty="0">
                <a:solidFill>
                  <a:srgbClr val="024DA1"/>
                </a:solidFill>
                <a:latin typeface="Arial" panose="020B0604020202020204" pitchFamily="34" charset="0"/>
                <a:cs typeface="Arial" panose="020B0604020202020204" pitchFamily="34" charset="0"/>
              </a:rPr>
              <a:t>Refer to the fundamental moral values and standards accepted by a society in the EU at a given time.</a:t>
            </a:r>
          </a:p>
        </p:txBody>
      </p:sp>
      <p:sp>
        <p:nvSpPr>
          <p:cNvPr id="7" name="TextBox 6">
            <a:extLst>
              <a:ext uri="{FF2B5EF4-FFF2-40B4-BE49-F238E27FC236}">
                <a16:creationId xmlns:a16="http://schemas.microsoft.com/office/drawing/2014/main" id="{EFE9A3B7-9CCC-EDA8-21FC-46B145156C77}"/>
              </a:ext>
            </a:extLst>
          </p:cNvPr>
          <p:cNvSpPr txBox="1"/>
          <p:nvPr/>
        </p:nvSpPr>
        <p:spPr>
          <a:xfrm>
            <a:off x="2135200" y="1138931"/>
            <a:ext cx="6620438" cy="523220"/>
          </a:xfrm>
          <a:prstGeom prst="rect">
            <a:avLst/>
          </a:prstGeom>
          <a:noFill/>
        </p:spPr>
        <p:txBody>
          <a:bodyPr wrap="square" rtlCol="0">
            <a:spAutoFit/>
          </a:bodyPr>
          <a:lstStyle/>
          <a:p>
            <a:pPr marL="285750" indent="-285750" algn="just">
              <a:buFont typeface="Wingdings" panose="05000000000000000000" pitchFamily="2" charset="2"/>
              <a:buChar char="v"/>
            </a:pPr>
            <a:r>
              <a:rPr lang="en-GB" sz="1400" b="1" dirty="0">
                <a:solidFill>
                  <a:srgbClr val="024DA1"/>
                </a:solidFill>
                <a:latin typeface="Arial" panose="020B0604020202020204" pitchFamily="34" charset="0"/>
                <a:cs typeface="Arial" panose="020B0604020202020204" pitchFamily="34" charset="0"/>
                <a:sym typeface="Wingdings" panose="05000000000000000000" pitchFamily="2" charset="2"/>
              </a:rPr>
              <a:t>A</a:t>
            </a:r>
            <a:r>
              <a:rPr lang="en-GB" sz="1400" b="1" dirty="0">
                <a:solidFill>
                  <a:srgbClr val="024DA1"/>
                </a:solidFill>
                <a:latin typeface="Arial" panose="020B0604020202020204" pitchFamily="34" charset="0"/>
                <a:cs typeface="Arial" panose="020B0604020202020204" pitchFamily="34" charset="0"/>
              </a:rPr>
              <a:t> set of fundamental norms, principles and values of societies in the EU at a given point in time. It includes </a:t>
            </a:r>
            <a:r>
              <a:rPr lang="en-GB" sz="1400" dirty="0">
                <a:solidFill>
                  <a:srgbClr val="024DA1"/>
                </a:solidFill>
                <a:latin typeface="Arial" panose="020B0604020202020204" pitchFamily="34" charset="0"/>
                <a:cs typeface="Arial" panose="020B0604020202020204" pitchFamily="34" charset="0"/>
              </a:rPr>
              <a:t>the </a:t>
            </a:r>
            <a:r>
              <a:rPr lang="en-GB" sz="1400" b="1" dirty="0">
                <a:solidFill>
                  <a:srgbClr val="024DA1"/>
                </a:solidFill>
                <a:latin typeface="Arial" panose="020B0604020202020204" pitchFamily="34" charset="0"/>
                <a:cs typeface="Arial" panose="020B0604020202020204" pitchFamily="34" charset="0"/>
              </a:rPr>
              <a:t>universal values </a:t>
            </a:r>
            <a:r>
              <a:rPr lang="en-GB" sz="1400" dirty="0">
                <a:solidFill>
                  <a:srgbClr val="024DA1"/>
                </a:solidFill>
                <a:latin typeface="Arial" panose="020B0604020202020204" pitchFamily="34" charset="0"/>
                <a:cs typeface="Arial" panose="020B0604020202020204" pitchFamily="34" charset="0"/>
              </a:rPr>
              <a:t>of the EU.</a:t>
            </a:r>
            <a:endParaRPr lang="en-GB" sz="1400" b="1" dirty="0">
              <a:solidFill>
                <a:srgbClr val="024DA1"/>
              </a:solidFill>
              <a:latin typeface="Arial" panose="020B0604020202020204" pitchFamily="34" charset="0"/>
              <a:cs typeface="Arial" panose="020B0604020202020204" pitchFamily="34" charset="0"/>
            </a:endParaRPr>
          </a:p>
        </p:txBody>
      </p:sp>
      <p:sp>
        <p:nvSpPr>
          <p:cNvPr id="10" name="Rectangle: Rounded Corners 9">
            <a:extLst>
              <a:ext uri="{FF2B5EF4-FFF2-40B4-BE49-F238E27FC236}">
                <a16:creationId xmlns:a16="http://schemas.microsoft.com/office/drawing/2014/main" id="{4FD49764-6F43-CFCF-1B91-90AD975A36D0}"/>
              </a:ext>
            </a:extLst>
          </p:cNvPr>
          <p:cNvSpPr/>
          <p:nvPr/>
        </p:nvSpPr>
        <p:spPr>
          <a:xfrm>
            <a:off x="2467301" y="1685678"/>
            <a:ext cx="6129798" cy="1505873"/>
          </a:xfrm>
          <a:prstGeom prst="roundRect">
            <a:avLst/>
          </a:prstGeom>
          <a:solidFill>
            <a:srgbClr val="F2F2F2"/>
          </a:solidFill>
          <a:ln>
            <a:noFill/>
          </a:ln>
          <a:effectLst/>
        </p:spPr>
        <p:style>
          <a:lnRef idx="1">
            <a:schemeClr val="accent1"/>
          </a:lnRef>
          <a:fillRef idx="3">
            <a:schemeClr val="accent1"/>
          </a:fillRef>
          <a:effectRef idx="2">
            <a:schemeClr val="accent1"/>
          </a:effectRef>
          <a:fontRef idx="minor">
            <a:schemeClr val="lt1"/>
          </a:fontRef>
        </p:style>
        <p:txBody>
          <a:bodyPr lIns="288000" rtlCol="0" anchor="ctr"/>
          <a:lstStyle/>
          <a:p>
            <a:pPr marL="285750" indent="-285750" algn="just">
              <a:buFont typeface="Arial" panose="020B0604020202020204" pitchFamily="34" charset="0"/>
              <a:buChar char="•"/>
            </a:pPr>
            <a:r>
              <a:rPr lang="en-GB" sz="1300" dirty="0">
                <a:solidFill>
                  <a:srgbClr val="024DA1"/>
                </a:solidFill>
                <a:latin typeface="Arial" panose="020B0604020202020204" pitchFamily="34" charset="0"/>
                <a:cs typeface="Arial" panose="020B0604020202020204" pitchFamily="34" charset="0"/>
              </a:rPr>
              <a:t>Ascertainable from </a:t>
            </a:r>
            <a:r>
              <a:rPr lang="en-GB" sz="1300" b="1" dirty="0">
                <a:solidFill>
                  <a:srgbClr val="024DA1"/>
                </a:solidFill>
                <a:latin typeface="Arial" panose="020B0604020202020204" pitchFamily="34" charset="0"/>
                <a:cs typeface="Arial" panose="020B0604020202020204" pitchFamily="34" charset="0"/>
              </a:rPr>
              <a:t>reliable</a:t>
            </a:r>
            <a:r>
              <a:rPr lang="en-GB" sz="1300" dirty="0">
                <a:solidFill>
                  <a:srgbClr val="024DA1"/>
                </a:solidFill>
                <a:latin typeface="Arial" panose="020B0604020202020204" pitchFamily="34" charset="0"/>
                <a:cs typeface="Arial" panose="020B0604020202020204" pitchFamily="34" charset="0"/>
              </a:rPr>
              <a:t> and </a:t>
            </a:r>
            <a:r>
              <a:rPr lang="en-GB" sz="1300" b="1" dirty="0">
                <a:solidFill>
                  <a:srgbClr val="024DA1"/>
                </a:solidFill>
                <a:latin typeface="Arial" panose="020B0604020202020204" pitchFamily="34" charset="0"/>
                <a:cs typeface="Arial" panose="020B0604020202020204" pitchFamily="34" charset="0"/>
              </a:rPr>
              <a:t>objective sources</a:t>
            </a:r>
          </a:p>
          <a:p>
            <a:pPr marL="285750" indent="-285750" algn="just">
              <a:buFont typeface="Arial" panose="020B0604020202020204" pitchFamily="34" charset="0"/>
              <a:buChar char="•"/>
            </a:pPr>
            <a:r>
              <a:rPr lang="en-US" sz="1300" dirty="0">
                <a:solidFill>
                  <a:srgbClr val="024DA1"/>
                </a:solidFill>
                <a:latin typeface="Arial" panose="020B0604020202020204" pitchFamily="34" charset="0"/>
                <a:cs typeface="Arial" panose="020B0604020202020204" pitchFamily="34" charset="0"/>
              </a:rPr>
              <a:t>Fundamental norms, principles and values applicable to </a:t>
            </a:r>
            <a:r>
              <a:rPr lang="en-US" sz="1300" b="1" dirty="0">
                <a:solidFill>
                  <a:srgbClr val="024DA1"/>
                </a:solidFill>
                <a:latin typeface="Arial" panose="020B0604020202020204" pitchFamily="34" charset="0"/>
                <a:cs typeface="Arial" panose="020B0604020202020204" pitchFamily="34" charset="0"/>
              </a:rPr>
              <a:t>all MS collectively</a:t>
            </a:r>
            <a:r>
              <a:rPr lang="en-US" sz="1300" dirty="0">
                <a:solidFill>
                  <a:srgbClr val="024DA1"/>
                </a:solidFill>
                <a:latin typeface="Arial" panose="020B0604020202020204" pitchFamily="34" charset="0"/>
                <a:cs typeface="Arial" panose="020B0604020202020204" pitchFamily="34" charset="0"/>
              </a:rPr>
              <a:t> and to </a:t>
            </a:r>
            <a:r>
              <a:rPr lang="en-US" sz="1300" b="1" dirty="0">
                <a:solidFill>
                  <a:srgbClr val="024DA1"/>
                </a:solidFill>
                <a:latin typeface="Arial" panose="020B0604020202020204" pitchFamily="34" charset="0"/>
                <a:cs typeface="Arial" panose="020B0604020202020204" pitchFamily="34" charset="0"/>
              </a:rPr>
              <a:t>each MS at a national level</a:t>
            </a:r>
            <a:r>
              <a:rPr lang="en-US" sz="1300" dirty="0">
                <a:solidFill>
                  <a:srgbClr val="024DA1"/>
                </a:solidFill>
                <a:latin typeface="Arial" panose="020B0604020202020204" pitchFamily="34" charset="0"/>
                <a:cs typeface="Arial" panose="020B0604020202020204" pitchFamily="34" charset="0"/>
              </a:rPr>
              <a:t> </a:t>
            </a:r>
            <a:endParaRPr lang="en-GB" sz="1300" dirty="0">
              <a:solidFill>
                <a:srgbClr val="024DA1"/>
              </a:solidFill>
              <a:latin typeface="Arial" panose="020B0604020202020204" pitchFamily="34" charset="0"/>
              <a:cs typeface="Arial" panose="020B0604020202020204" pitchFamily="34" charset="0"/>
            </a:endParaRPr>
          </a:p>
          <a:p>
            <a:pPr marL="285750" indent="-285750" algn="just">
              <a:buFont typeface="Arial" panose="020B0604020202020204" pitchFamily="34" charset="0"/>
              <a:buChar char="•"/>
            </a:pPr>
            <a:r>
              <a:rPr lang="en-US" sz="1300" dirty="0">
                <a:solidFill>
                  <a:srgbClr val="024DA1"/>
                </a:solidFill>
                <a:latin typeface="Arial" panose="020B0604020202020204" pitchFamily="34" charset="0"/>
                <a:cs typeface="Arial" panose="020B0604020202020204" pitchFamily="34" charset="0"/>
              </a:rPr>
              <a:t>Guidance on the topics of the fundamental norms, principles and values common to all EU MS</a:t>
            </a:r>
          </a:p>
          <a:p>
            <a:pPr marL="285750" indent="-285750" algn="just">
              <a:buFont typeface="Arial" panose="020B0604020202020204" pitchFamily="34" charset="0"/>
              <a:buChar char="•"/>
            </a:pPr>
            <a:r>
              <a:rPr lang="en-US" sz="1300" dirty="0">
                <a:solidFill>
                  <a:srgbClr val="024DA1"/>
                </a:solidFill>
                <a:latin typeface="Arial" panose="020B0604020202020204" pitchFamily="34" charset="0"/>
                <a:cs typeface="Arial" panose="020B0604020202020204" pitchFamily="34" charset="0"/>
              </a:rPr>
              <a:t>May </a:t>
            </a:r>
            <a:r>
              <a:rPr lang="en-US" sz="1300" b="1" dirty="0">
                <a:solidFill>
                  <a:srgbClr val="024DA1"/>
                </a:solidFill>
                <a:latin typeface="Arial" panose="020B0604020202020204" pitchFamily="34" charset="0"/>
                <a:cs typeface="Arial" panose="020B0604020202020204" pitchFamily="34" charset="0"/>
              </a:rPr>
              <a:t>vary from MS to MS </a:t>
            </a:r>
            <a:r>
              <a:rPr lang="en-US" sz="1300" dirty="0">
                <a:solidFill>
                  <a:srgbClr val="024DA1"/>
                </a:solidFill>
                <a:latin typeface="Arial" panose="020B0604020202020204" pitchFamily="34" charset="0"/>
                <a:cs typeface="Arial" panose="020B0604020202020204" pitchFamily="34" charset="0"/>
              </a:rPr>
              <a:t>and </a:t>
            </a:r>
            <a:r>
              <a:rPr lang="en-US" sz="1300" b="1" dirty="0">
                <a:solidFill>
                  <a:srgbClr val="024DA1"/>
                </a:solidFill>
                <a:latin typeface="Arial" panose="020B0604020202020204" pitchFamily="34" charset="0"/>
                <a:cs typeface="Arial" panose="020B0604020202020204" pitchFamily="34" charset="0"/>
              </a:rPr>
              <a:t>evolve over time</a:t>
            </a:r>
            <a:r>
              <a:rPr lang="en-US" sz="1300" dirty="0">
                <a:solidFill>
                  <a:srgbClr val="024DA1"/>
                </a:solidFill>
                <a:latin typeface="Arial" panose="020B0604020202020204" pitchFamily="34" charset="0"/>
                <a:cs typeface="Arial" panose="020B0604020202020204" pitchFamily="34" charset="0"/>
              </a:rPr>
              <a:t>, depending on specific needs of the society in question</a:t>
            </a:r>
          </a:p>
        </p:txBody>
      </p:sp>
      <p:sp>
        <p:nvSpPr>
          <p:cNvPr id="11" name="Rectangle: Rounded Corners 10">
            <a:extLst>
              <a:ext uri="{FF2B5EF4-FFF2-40B4-BE49-F238E27FC236}">
                <a16:creationId xmlns:a16="http://schemas.microsoft.com/office/drawing/2014/main" id="{FE9E1872-5504-D8F8-82A0-173C6FEA23B1}"/>
              </a:ext>
            </a:extLst>
          </p:cNvPr>
          <p:cNvSpPr/>
          <p:nvPr/>
        </p:nvSpPr>
        <p:spPr>
          <a:xfrm>
            <a:off x="2467301" y="4123255"/>
            <a:ext cx="6129797" cy="874472"/>
          </a:xfrm>
          <a:prstGeom prst="roundRect">
            <a:avLst/>
          </a:prstGeom>
          <a:solidFill>
            <a:srgbClr val="F2F2F2"/>
          </a:solidFill>
          <a:ln>
            <a:noFill/>
          </a:ln>
          <a:effectLst/>
        </p:spPr>
        <p:style>
          <a:lnRef idx="1">
            <a:schemeClr val="accent1"/>
          </a:lnRef>
          <a:fillRef idx="3">
            <a:schemeClr val="accent1"/>
          </a:fillRef>
          <a:effectRef idx="2">
            <a:schemeClr val="accent1"/>
          </a:effectRef>
          <a:fontRef idx="minor">
            <a:schemeClr val="lt1"/>
          </a:fontRef>
        </p:style>
        <p:txBody>
          <a:bodyPr lIns="288000" rtlCol="0" anchor="ctr"/>
          <a:lstStyle/>
          <a:p>
            <a:pPr marL="285750" indent="-285750" algn="just">
              <a:buFont typeface="Arial" panose="020B0604020202020204" pitchFamily="34" charset="0"/>
              <a:buChar char="•"/>
            </a:pPr>
            <a:r>
              <a:rPr lang="en-GB" sz="1300" dirty="0">
                <a:solidFill>
                  <a:srgbClr val="024DA1"/>
                </a:solidFill>
                <a:latin typeface="Arial" panose="020B0604020202020204" pitchFamily="34" charset="0"/>
                <a:cs typeface="Arial" panose="020B0604020202020204" pitchFamily="34" charset="0"/>
              </a:rPr>
              <a:t>Influenced by religious, cultural and social values and standards</a:t>
            </a:r>
          </a:p>
          <a:p>
            <a:pPr marL="285750" indent="-285750" algn="just">
              <a:buFont typeface="Arial" panose="020B0604020202020204" pitchFamily="34" charset="0"/>
              <a:buChar char="•"/>
            </a:pPr>
            <a:r>
              <a:rPr lang="en-GB" sz="1300" b="1" dirty="0">
                <a:solidFill>
                  <a:srgbClr val="024DA1"/>
                </a:solidFill>
                <a:latin typeface="Arial" panose="020B0604020202020204" pitchFamily="34" charset="0"/>
                <a:cs typeface="Arial" panose="020B0604020202020204" pitchFamily="34" charset="0"/>
              </a:rPr>
              <a:t>Empirical assessment </a:t>
            </a:r>
            <a:r>
              <a:rPr lang="en-GB" sz="1300" dirty="0">
                <a:solidFill>
                  <a:srgbClr val="024DA1"/>
                </a:solidFill>
                <a:latin typeface="Arial" panose="020B0604020202020204" pitchFamily="34" charset="0"/>
                <a:cs typeface="Arial" panose="020B0604020202020204" pitchFamily="34" charset="0"/>
              </a:rPr>
              <a:t>of what are acceptable norms of conduct by the relevant society at a given point in time</a:t>
            </a:r>
          </a:p>
          <a:p>
            <a:pPr marL="285750" indent="-285750" algn="just">
              <a:buFont typeface="Arial" panose="020B0604020202020204" pitchFamily="34" charset="0"/>
              <a:buChar char="•"/>
            </a:pPr>
            <a:r>
              <a:rPr lang="en-GB" sz="1300" dirty="0">
                <a:solidFill>
                  <a:srgbClr val="024DA1"/>
                </a:solidFill>
                <a:latin typeface="Arial" panose="020B0604020202020204" pitchFamily="34" charset="0"/>
                <a:cs typeface="Arial" panose="020B0604020202020204" pitchFamily="34" charset="0"/>
              </a:rPr>
              <a:t>They </a:t>
            </a:r>
            <a:r>
              <a:rPr lang="en-GB" sz="1300" b="1" dirty="0">
                <a:solidFill>
                  <a:srgbClr val="024DA1"/>
                </a:solidFill>
                <a:latin typeface="Arial" panose="020B0604020202020204" pitchFamily="34" charset="0"/>
                <a:cs typeface="Arial" panose="020B0604020202020204" pitchFamily="34" charset="0"/>
              </a:rPr>
              <a:t>change over time </a:t>
            </a:r>
            <a:r>
              <a:rPr lang="en-GB" sz="1300" dirty="0">
                <a:solidFill>
                  <a:srgbClr val="024DA1"/>
                </a:solidFill>
                <a:latin typeface="Arial" panose="020B0604020202020204" pitchFamily="34" charset="0"/>
                <a:cs typeface="Arial" panose="020B0604020202020204" pitchFamily="34" charset="0"/>
              </a:rPr>
              <a:t>and might </a:t>
            </a:r>
            <a:r>
              <a:rPr lang="en-GB" sz="1300" b="1" dirty="0">
                <a:solidFill>
                  <a:srgbClr val="024DA1"/>
                </a:solidFill>
                <a:latin typeface="Arial" panose="020B0604020202020204" pitchFamily="34" charset="0"/>
                <a:cs typeface="Arial" panose="020B0604020202020204" pitchFamily="34" charset="0"/>
              </a:rPr>
              <a:t>vary from MS to MS</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Tree>
    <p:extLst>
      <p:ext uri="{BB962C8B-B14F-4D97-AF65-F5344CB8AC3E}">
        <p14:creationId xmlns:p14="http://schemas.microsoft.com/office/powerpoint/2010/main" val="32821614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9" name="Rectangle 16">
            <a:extLst>
              <a:ext uri="{FF2B5EF4-FFF2-40B4-BE49-F238E27FC236}">
                <a16:creationId xmlns:a16="http://schemas.microsoft.com/office/drawing/2014/main" id="{A72D7631-5624-4FE2-9B16-5E3DF58A47DE}"/>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7" name="Rectangle 6">
            <a:extLst>
              <a:ext uri="{FF2B5EF4-FFF2-40B4-BE49-F238E27FC236}">
                <a16:creationId xmlns:a16="http://schemas.microsoft.com/office/drawing/2014/main" id="{EA1DDE6B-8ACB-41D4-91CE-06C55F7E34C6}"/>
              </a:ext>
            </a:extLst>
          </p:cNvPr>
          <p:cNvSpPr/>
          <p:nvPr/>
        </p:nvSpPr>
        <p:spPr>
          <a:xfrm>
            <a:off x="1029600" y="1897200"/>
            <a:ext cx="2282997" cy="523220"/>
          </a:xfrm>
          <a:prstGeom prst="rect">
            <a:avLst/>
          </a:prstGeom>
        </p:spPr>
        <p:txBody>
          <a:bodyPr wrap="none">
            <a:spAutoFit/>
          </a:bodyPr>
          <a:lstStyle/>
          <a:p>
            <a:r>
              <a:rPr lang="es-ES_tradnl" sz="2800" b="1" dirty="0" err="1">
                <a:solidFill>
                  <a:schemeClr val="bg1">
                    <a:lumMod val="75000"/>
                  </a:schemeClr>
                </a:solidFill>
                <a:latin typeface="Arial" panose="020B0604020202020204" pitchFamily="34" charset="0"/>
                <a:cs typeface="Arial" panose="020B0604020202020204" pitchFamily="34" charset="0"/>
              </a:rPr>
              <a:t>Backg</a:t>
            </a:r>
            <a:r>
              <a:rPr lang="es-ES_tradnl" sz="2800" b="1" spc="-150" dirty="0" err="1">
                <a:solidFill>
                  <a:schemeClr val="bg1">
                    <a:lumMod val="75000"/>
                  </a:schemeClr>
                </a:solidFill>
                <a:latin typeface="Arial" panose="020B0604020202020204" pitchFamily="34" charset="0"/>
                <a:ea typeface="Open Sans Semibold" panose="020B0706030804020204" pitchFamily="34" charset="0"/>
                <a:cs typeface="Arial" panose="020B0604020202020204" pitchFamily="34" charset="0"/>
              </a:rPr>
              <a:t>ro</a:t>
            </a:r>
            <a:r>
              <a:rPr lang="es-ES_tradnl" sz="2800" b="1" dirty="0" err="1">
                <a:solidFill>
                  <a:schemeClr val="bg1">
                    <a:lumMod val="75000"/>
                  </a:schemeClr>
                </a:solidFill>
                <a:latin typeface="Arial" panose="020B0604020202020204" pitchFamily="34" charset="0"/>
                <a:cs typeface="Arial" panose="020B0604020202020204" pitchFamily="34" charset="0"/>
              </a:rPr>
              <a:t>und</a:t>
            </a:r>
            <a:endParaRPr lang="es-ES" sz="2800" dirty="0">
              <a:solidFill>
                <a:schemeClr val="bg1">
                  <a:lumMod val="75000"/>
                </a:schemeClr>
              </a:solidFill>
            </a:endParaRPr>
          </a:p>
        </p:txBody>
      </p:sp>
      <p:sp>
        <p:nvSpPr>
          <p:cNvPr id="11" name="Rectangle 10">
            <a:extLst>
              <a:ext uri="{FF2B5EF4-FFF2-40B4-BE49-F238E27FC236}">
                <a16:creationId xmlns:a16="http://schemas.microsoft.com/office/drawing/2014/main" id="{2858DAD5-C52F-40C3-90E1-877EEB0E8188}"/>
              </a:ext>
            </a:extLst>
          </p:cNvPr>
          <p:cNvSpPr/>
          <p:nvPr/>
        </p:nvSpPr>
        <p:spPr>
          <a:xfrm>
            <a:off x="2460319" y="2387748"/>
            <a:ext cx="4042957" cy="800219"/>
          </a:xfrm>
          <a:prstGeom prst="rect">
            <a:avLst/>
          </a:prstGeom>
        </p:spPr>
        <p:txBody>
          <a:bodyPr wrap="square">
            <a:spAutoFit/>
          </a:bodyPr>
          <a:lstStyle/>
          <a:p>
            <a:r>
              <a:rPr lang="es-ES_tradnl" sz="2800" b="1" dirty="0" err="1">
                <a:solidFill>
                  <a:schemeClr val="accent1">
                    <a:lumMod val="75000"/>
                  </a:schemeClr>
                </a:solidFill>
                <a:latin typeface="Arial" panose="020B0604020202020204" pitchFamily="34" charset="0"/>
                <a:cs typeface="Arial" panose="020B0604020202020204" pitchFamily="34" charset="0"/>
              </a:rPr>
              <a:t>Convergence</a:t>
            </a:r>
            <a:r>
              <a:rPr lang="es-ES_tradnl" sz="2800" b="1" dirty="0">
                <a:solidFill>
                  <a:schemeClr val="accent1">
                    <a:lumMod val="75000"/>
                  </a:schemeClr>
                </a:solidFill>
                <a:latin typeface="Arial" panose="020B0604020202020204" pitchFamily="34" charset="0"/>
                <a:cs typeface="Arial" panose="020B0604020202020204" pitchFamily="34" charset="0"/>
              </a:rPr>
              <a:t> </a:t>
            </a:r>
            <a:r>
              <a:rPr lang="es-ES_tradnl" sz="2800" b="1" dirty="0" err="1">
                <a:solidFill>
                  <a:schemeClr val="accent1">
                    <a:lumMod val="75000"/>
                  </a:schemeClr>
                </a:solidFill>
                <a:latin typeface="Arial" panose="020B0604020202020204" pitchFamily="34" charset="0"/>
                <a:cs typeface="Arial" panose="020B0604020202020204" pitchFamily="34" charset="0"/>
              </a:rPr>
              <a:t>projects</a:t>
            </a:r>
            <a:r>
              <a:rPr lang="es-ES_tradnl" sz="2800" b="1" dirty="0">
                <a:solidFill>
                  <a:schemeClr val="accent1">
                    <a:lumMod val="75000"/>
                  </a:schemeClr>
                </a:solidFill>
                <a:latin typeface="Arial" panose="020B0604020202020204" pitchFamily="34" charset="0"/>
                <a:cs typeface="Arial" panose="020B0604020202020204" pitchFamily="34" charset="0"/>
              </a:rPr>
              <a:t> </a:t>
            </a:r>
          </a:p>
          <a:p>
            <a:endParaRPr lang="es-ES" dirty="0">
              <a:solidFill>
                <a:srgbClr val="0C4CA2"/>
              </a:solidFill>
            </a:endParaRPr>
          </a:p>
        </p:txBody>
      </p:sp>
    </p:spTree>
    <p:extLst>
      <p:ext uri="{BB962C8B-B14F-4D97-AF65-F5344CB8AC3E}">
        <p14:creationId xmlns:p14="http://schemas.microsoft.com/office/powerpoint/2010/main" val="5216364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1711BC25-BF0A-1814-0E98-AC3F4B3F7B83}"/>
              </a:ext>
            </a:extLst>
          </p:cNvPr>
          <p:cNvSpPr txBox="1"/>
          <p:nvPr/>
        </p:nvSpPr>
        <p:spPr>
          <a:xfrm>
            <a:off x="2624812" y="3464126"/>
            <a:ext cx="5551192" cy="987504"/>
          </a:xfrm>
          <a:prstGeom prst="roundRect">
            <a:avLst/>
          </a:prstGeom>
          <a:solidFill>
            <a:schemeClr val="bg1">
              <a:lumMod val="95000"/>
            </a:schemeClr>
          </a:solidFill>
          <a:ln>
            <a:solidFill>
              <a:schemeClr val="tx1"/>
            </a:solidFill>
            <a:prstDash val="dash"/>
          </a:ln>
        </p:spPr>
        <p:txBody>
          <a:bodyPr wrap="square">
            <a:spAutoFit/>
          </a:bodyPr>
          <a:lstStyle/>
          <a:p>
            <a:pPr marL="171450" lvl="0" indent="-171450" algn="just">
              <a:buFont typeface="Arial" panose="020B0604020202020204" pitchFamily="34" charset="0"/>
              <a:buChar char="•"/>
            </a:pPr>
            <a:r>
              <a:rPr lang="en-GB" sz="1300" b="1" dirty="0">
                <a:solidFill>
                  <a:srgbClr val="024DA1"/>
                </a:solidFill>
                <a:latin typeface="Arial" panose="020B0604020202020204" pitchFamily="34" charset="0"/>
                <a:cs typeface="Arial" panose="020B0604020202020204" pitchFamily="34" charset="0"/>
              </a:rPr>
              <a:t>In principle, if any of the fundamental moral values and standards </a:t>
            </a:r>
            <a:r>
              <a:rPr lang="en-GB" sz="1300" dirty="0">
                <a:solidFill>
                  <a:srgbClr val="024DA1"/>
                </a:solidFill>
                <a:latin typeface="Arial" panose="020B0604020202020204" pitchFamily="34" charset="0"/>
                <a:cs typeface="Arial" panose="020B0604020202020204" pitchFamily="34" charset="0"/>
              </a:rPr>
              <a:t>mentioned in Section 2.1.2 are</a:t>
            </a:r>
            <a:r>
              <a:rPr lang="en-GB" sz="1300" b="1" dirty="0">
                <a:solidFill>
                  <a:srgbClr val="024DA1"/>
                </a:solidFill>
                <a:latin typeface="Arial" panose="020B0604020202020204" pitchFamily="34" charset="0"/>
                <a:cs typeface="Arial" panose="020B0604020202020204" pitchFamily="34" charset="0"/>
              </a:rPr>
              <a:t> perceived to be insulted, disparaged, discriminated, degraded, denigrated, or trivialised in a manner that causes offence. </a:t>
            </a:r>
          </a:p>
        </p:txBody>
      </p:sp>
      <p:sp>
        <p:nvSpPr>
          <p:cNvPr id="18" name="TextBox 17">
            <a:extLst>
              <a:ext uri="{FF2B5EF4-FFF2-40B4-BE49-F238E27FC236}">
                <a16:creationId xmlns:a16="http://schemas.microsoft.com/office/drawing/2014/main" id="{35B0720E-2072-AEE0-F60E-6EAABA56A960}"/>
              </a:ext>
            </a:extLst>
          </p:cNvPr>
          <p:cNvSpPr txBox="1"/>
          <p:nvPr/>
        </p:nvSpPr>
        <p:spPr>
          <a:xfrm>
            <a:off x="2624812" y="1592639"/>
            <a:ext cx="5551192" cy="1651516"/>
          </a:xfrm>
          <a:prstGeom prst="roundRect">
            <a:avLst/>
          </a:prstGeom>
          <a:solidFill>
            <a:schemeClr val="bg1">
              <a:lumMod val="95000"/>
            </a:schemeClr>
          </a:solidFill>
          <a:ln>
            <a:solidFill>
              <a:schemeClr val="tx1"/>
            </a:solidFill>
            <a:prstDash val="dash"/>
          </a:ln>
        </p:spPr>
        <p:txBody>
          <a:bodyPr wrap="square">
            <a:spAutoFit/>
          </a:bodyPr>
          <a:lstStyle/>
          <a:p>
            <a:pPr marL="171450" lvl="0" indent="-171450" algn="just">
              <a:buFont typeface="Arial" panose="020B0604020202020204" pitchFamily="34" charset="0"/>
              <a:buChar char="•"/>
            </a:pPr>
            <a:r>
              <a:rPr lang="en-GB" sz="1300" b="1" dirty="0">
                <a:solidFill>
                  <a:srgbClr val="024DA1"/>
                </a:solidFill>
                <a:latin typeface="Arial" panose="020B0604020202020204" pitchFamily="34" charset="0"/>
                <a:cs typeface="Arial" panose="020B0604020202020204" pitchFamily="34" charset="0"/>
              </a:rPr>
              <a:t>In principle, if a sign contravenes and/or incites, glorifies, trivialises or justifies the violation of a fundamental norm, principle and/or value, ascertained from any of the reliable and objective sources </a:t>
            </a:r>
            <a:r>
              <a:rPr lang="en-GB" sz="1300" b="0" dirty="0">
                <a:solidFill>
                  <a:srgbClr val="024DA1"/>
                </a:solidFill>
                <a:latin typeface="Arial" panose="020B0604020202020204" pitchFamily="34" charset="0"/>
                <a:cs typeface="Arial" panose="020B0604020202020204" pitchFamily="34" charset="0"/>
              </a:rPr>
              <a:t>indicated in Section 2.1.1. </a:t>
            </a:r>
          </a:p>
          <a:p>
            <a:pPr marL="171450" lvl="0" indent="-171450" algn="just">
              <a:buFont typeface="Arial" panose="020B0604020202020204" pitchFamily="34" charset="0"/>
              <a:buChar char="•"/>
            </a:pPr>
            <a:endParaRPr lang="en-GB" sz="1300" b="0" dirty="0">
              <a:solidFill>
                <a:srgbClr val="024DA1"/>
              </a:solidFill>
              <a:latin typeface="Arial" panose="020B0604020202020204" pitchFamily="34" charset="0"/>
              <a:cs typeface="Arial" panose="020B0604020202020204" pitchFamily="34" charset="0"/>
            </a:endParaRPr>
          </a:p>
          <a:p>
            <a:pPr marL="171450" lvl="0" indent="-171450" algn="just">
              <a:buFont typeface="Arial" panose="020B0604020202020204" pitchFamily="34" charset="0"/>
              <a:buChar char="•"/>
            </a:pPr>
            <a:r>
              <a:rPr lang="en-GB" sz="1300" dirty="0">
                <a:solidFill>
                  <a:srgbClr val="024DA1"/>
                </a:solidFill>
                <a:latin typeface="Arial" panose="020B0604020202020204" pitchFamily="34" charset="0"/>
                <a:cs typeface="Arial" panose="020B0604020202020204" pitchFamily="34" charset="0"/>
              </a:rPr>
              <a:t>It must affect an interest that the MS(s) concerned consider(s) to be fundamental in accordance with their own systems of values.</a:t>
            </a:r>
          </a:p>
        </p:txBody>
      </p:sp>
      <p:sp>
        <p:nvSpPr>
          <p:cNvPr id="17" name="Rectangle 16">
            <a:extLst>
              <a:ext uri="{FF2B5EF4-FFF2-40B4-BE49-F238E27FC236}">
                <a16:creationId xmlns:a16="http://schemas.microsoft.com/office/drawing/2014/main" id="{1D274416-4D27-9F21-5504-6767CE859707}"/>
              </a:ext>
            </a:extLst>
          </p:cNvPr>
          <p:cNvSpPr/>
          <p:nvPr/>
        </p:nvSpPr>
        <p:spPr>
          <a:xfrm>
            <a:off x="799047" y="1987904"/>
            <a:ext cx="1925696" cy="797758"/>
          </a:xfrm>
          <a:prstGeom prst="rect">
            <a:avLst/>
          </a:prstGeom>
          <a:solidFill>
            <a:srgbClr val="A5AFCF"/>
          </a:solidFill>
          <a:ln w="28575">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latin typeface="Arial" panose="020B0604020202020204" pitchFamily="34" charset="0"/>
                <a:cs typeface="Arial" panose="020B0604020202020204" pitchFamily="34" charset="0"/>
              </a:rPr>
              <a:t>Contrary to public policy </a:t>
            </a:r>
            <a:endParaRPr lang="en-GB" sz="1400" dirty="0">
              <a:latin typeface="Arial" panose="020B0604020202020204" pitchFamily="34" charset="0"/>
              <a:cs typeface="Arial" panose="020B0604020202020204" pitchFamily="34" charset="0"/>
            </a:endParaRPr>
          </a:p>
        </p:txBody>
      </p:sp>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2 Assessment of signs contrary to public policy and/or to accepted principles of morality</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19" name="Rectangle 18">
            <a:extLst>
              <a:ext uri="{FF2B5EF4-FFF2-40B4-BE49-F238E27FC236}">
                <a16:creationId xmlns:a16="http://schemas.microsoft.com/office/drawing/2014/main" id="{1DC6F1D7-D757-21AF-3744-F0534B74131C}"/>
              </a:ext>
            </a:extLst>
          </p:cNvPr>
          <p:cNvSpPr/>
          <p:nvPr/>
        </p:nvSpPr>
        <p:spPr>
          <a:xfrm>
            <a:off x="799047" y="3570245"/>
            <a:ext cx="1925696" cy="788514"/>
          </a:xfrm>
          <a:prstGeom prst="rect">
            <a:avLst/>
          </a:prstGeom>
          <a:solidFill>
            <a:srgbClr val="A5AFCF"/>
          </a:solidFill>
          <a:ln w="28575">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latin typeface="Arial" panose="020B0604020202020204" pitchFamily="34" charset="0"/>
                <a:cs typeface="Arial" panose="020B0604020202020204" pitchFamily="34" charset="0"/>
              </a:rPr>
              <a:t>Contrary to accepted principles of morality</a:t>
            </a:r>
            <a:endParaRPr lang="en-GB" sz="1400" dirty="0">
              <a:latin typeface="Arial" panose="020B0604020202020204" pitchFamily="34" charset="0"/>
              <a:cs typeface="Arial" panose="020B0604020202020204" pitchFamily="34" charset="0"/>
            </a:endParaRPr>
          </a:p>
        </p:txBody>
      </p:sp>
      <p:sp>
        <p:nvSpPr>
          <p:cNvPr id="4" name="Rectangle 3">
            <a:extLst>
              <a:ext uri="{FF2B5EF4-FFF2-40B4-BE49-F238E27FC236}">
                <a16:creationId xmlns:a16="http://schemas.microsoft.com/office/drawing/2014/main" id="{0FA900E2-98A6-998A-78E2-6BF6F03D6565}"/>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s-ES" sz="1400" b="1" spc="-71" dirty="0">
                <a:solidFill>
                  <a:schemeClr val="accent5"/>
                </a:solidFill>
                <a:latin typeface="Arial"/>
                <a:ea typeface="Open Sans" panose="020B0606030504020204" pitchFamily="34" charset="0"/>
                <a:cs typeface="Arial"/>
              </a:rPr>
              <a:t>2.2.1 P</a:t>
            </a:r>
            <a:r>
              <a:rPr lang="en-US" sz="1400" b="1" spc="-71" dirty="0">
                <a:solidFill>
                  <a:schemeClr val="accent5"/>
                </a:solidFill>
                <a:latin typeface="Arial"/>
                <a:ea typeface="Open Sans" panose="020B0606030504020204" pitchFamily="34" charset="0"/>
                <a:cs typeface="Arial"/>
              </a:rPr>
              <a:t>otential scenarios</a:t>
            </a:r>
          </a:p>
        </p:txBody>
      </p:sp>
    </p:spTree>
    <p:extLst>
      <p:ext uri="{BB962C8B-B14F-4D97-AF65-F5344CB8AC3E}">
        <p14:creationId xmlns:p14="http://schemas.microsoft.com/office/powerpoint/2010/main" val="40071343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2 Assessment of signs contrary to public policy and/or to accepted principles of morality</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4" name="Rectangle 3">
            <a:extLst>
              <a:ext uri="{FF2B5EF4-FFF2-40B4-BE49-F238E27FC236}">
                <a16:creationId xmlns:a16="http://schemas.microsoft.com/office/drawing/2014/main" id="{0FA900E2-98A6-998A-78E2-6BF6F03D6565}"/>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s-ES" sz="1400" b="1" spc="-71" dirty="0">
                <a:solidFill>
                  <a:schemeClr val="accent5"/>
                </a:solidFill>
                <a:latin typeface="Arial"/>
                <a:ea typeface="Open Sans" panose="020B0606030504020204" pitchFamily="34" charset="0"/>
                <a:cs typeface="Arial"/>
              </a:rPr>
              <a:t>2.2.1 P</a:t>
            </a:r>
            <a:r>
              <a:rPr lang="en-US" sz="1400" b="1" spc="-71" dirty="0">
                <a:solidFill>
                  <a:schemeClr val="accent5"/>
                </a:solidFill>
                <a:latin typeface="Arial"/>
                <a:ea typeface="Open Sans" panose="020B0606030504020204" pitchFamily="34" charset="0"/>
                <a:cs typeface="Arial"/>
              </a:rPr>
              <a:t>otential scenarios</a:t>
            </a:r>
          </a:p>
        </p:txBody>
      </p:sp>
      <p:sp>
        <p:nvSpPr>
          <p:cNvPr id="7" name="Rectangle 6">
            <a:extLst>
              <a:ext uri="{FF2B5EF4-FFF2-40B4-BE49-F238E27FC236}">
                <a16:creationId xmlns:a16="http://schemas.microsoft.com/office/drawing/2014/main" id="{0C7513D0-E6FE-829E-5C45-F8DD8A5D29B5}"/>
              </a:ext>
            </a:extLst>
          </p:cNvPr>
          <p:cNvSpPr/>
          <p:nvPr/>
        </p:nvSpPr>
        <p:spPr>
          <a:xfrm>
            <a:off x="797276" y="2041943"/>
            <a:ext cx="7958362" cy="2764589"/>
          </a:xfrm>
          <a:prstGeom prst="rect">
            <a:avLst/>
          </a:prstGeom>
          <a:noFill/>
          <a:ln w="38100">
            <a:solidFill>
              <a:srgbClr val="E6E7E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350">
              <a:latin typeface="+mj-lt"/>
            </a:endParaRPr>
          </a:p>
        </p:txBody>
      </p:sp>
      <p:sp>
        <p:nvSpPr>
          <p:cNvPr id="13" name="Rectangle 12">
            <a:extLst>
              <a:ext uri="{FF2B5EF4-FFF2-40B4-BE49-F238E27FC236}">
                <a16:creationId xmlns:a16="http://schemas.microsoft.com/office/drawing/2014/main" id="{356D43DA-4663-3986-64F7-A18BFBD4B2A6}"/>
              </a:ext>
            </a:extLst>
          </p:cNvPr>
          <p:cNvSpPr/>
          <p:nvPr/>
        </p:nvSpPr>
        <p:spPr>
          <a:xfrm>
            <a:off x="1559717" y="2177737"/>
            <a:ext cx="7156505" cy="1156670"/>
          </a:xfrm>
          <a:prstGeom prst="rect">
            <a:avLst/>
          </a:prstGeom>
          <a:solidFill>
            <a:schemeClr val="bg1">
              <a:lumMod val="95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34541" lvl="1" indent="-134541" algn="just">
              <a:spcBef>
                <a:spcPts val="225"/>
              </a:spcBef>
              <a:buClr>
                <a:srgbClr val="0070AD"/>
              </a:buClr>
              <a:buFont typeface="Wingdings" panose="05000000000000000000" pitchFamily="2" charset="2"/>
              <a:buChar char="§"/>
              <a:tabLst>
                <a:tab pos="135731" algn="l"/>
              </a:tabLst>
              <a:defRPr/>
            </a:pPr>
            <a:r>
              <a:rPr lang="en-GB" sz="1400" spc="-71" dirty="0">
                <a:solidFill>
                  <a:srgbClr val="14438E"/>
                </a:solidFill>
                <a:latin typeface="Arial"/>
                <a:ea typeface="Open Sans" panose="020B0606030504020204" pitchFamily="34" charset="0"/>
                <a:cs typeface="Arial"/>
              </a:rPr>
              <a:t>Bad taste and morality are different concepts</a:t>
            </a:r>
          </a:p>
          <a:p>
            <a:pPr marL="134541" lvl="1" indent="-134541" algn="just">
              <a:spcBef>
                <a:spcPts val="225"/>
              </a:spcBef>
              <a:buClr>
                <a:srgbClr val="0070AD"/>
              </a:buClr>
              <a:buFont typeface="Wingdings" panose="05000000000000000000" pitchFamily="2" charset="2"/>
              <a:buChar char="§"/>
              <a:tabLst>
                <a:tab pos="135731" algn="l"/>
              </a:tabLst>
              <a:defRPr/>
            </a:pPr>
            <a:r>
              <a:rPr lang="sv-SE" sz="1400" spc="-71" dirty="0">
                <a:solidFill>
                  <a:srgbClr val="14438E"/>
                </a:solidFill>
                <a:latin typeface="Arial"/>
                <a:ea typeface="Open Sans" panose="020B0606030504020204" pitchFamily="34" charset="0"/>
                <a:cs typeface="Arial"/>
              </a:rPr>
              <a:t>C-240/18 P, Fack Ju Göhte</a:t>
            </a:r>
            <a:r>
              <a:rPr lang="en-US" sz="1400" spc="-71" dirty="0">
                <a:solidFill>
                  <a:srgbClr val="14438E"/>
                </a:solidFill>
                <a:latin typeface="Arial"/>
                <a:ea typeface="Open Sans" panose="020B0606030504020204" pitchFamily="34" charset="0"/>
                <a:cs typeface="Arial"/>
              </a:rPr>
              <a:t>: In order to come within the scope of Article 4(1)(f) TMD, it is </a:t>
            </a:r>
            <a:r>
              <a:rPr lang="en-US" sz="1400" b="1" u="sng" spc="-71" dirty="0">
                <a:solidFill>
                  <a:srgbClr val="4BACC6"/>
                </a:solidFill>
                <a:latin typeface="Arial"/>
                <a:ea typeface="Open Sans" panose="020B0606030504020204" pitchFamily="34" charset="0"/>
                <a:cs typeface="Arial"/>
              </a:rPr>
              <a:t>not sufficient for the sign concerned to be in bad taste</a:t>
            </a:r>
            <a:r>
              <a:rPr lang="en-US" sz="1400" spc="-71" dirty="0">
                <a:solidFill>
                  <a:srgbClr val="14438E"/>
                </a:solidFill>
                <a:latin typeface="Arial"/>
                <a:ea typeface="Open Sans" panose="020B0606030504020204" pitchFamily="34" charset="0"/>
                <a:cs typeface="Arial"/>
              </a:rPr>
              <a:t>. It must be perceived by the relevant public as being contrary to the fundamental moral values and standards of society as they exist at that time.</a:t>
            </a:r>
          </a:p>
          <a:p>
            <a:pPr marL="134541" lvl="1" indent="-134541">
              <a:spcBef>
                <a:spcPts val="225"/>
              </a:spcBef>
              <a:buClr>
                <a:srgbClr val="0070AD"/>
              </a:buClr>
              <a:buFont typeface="Wingdings" panose="05000000000000000000" pitchFamily="2" charset="2"/>
              <a:buChar char="§"/>
              <a:tabLst>
                <a:tab pos="135731" algn="l"/>
              </a:tabLst>
              <a:defRPr/>
            </a:pPr>
            <a:endParaRPr lang="en-US" sz="1050" dirty="0">
              <a:solidFill>
                <a:prstClr val="black"/>
              </a:solidFill>
              <a:latin typeface="+mj-lt"/>
            </a:endParaRPr>
          </a:p>
        </p:txBody>
      </p:sp>
      <p:sp>
        <p:nvSpPr>
          <p:cNvPr id="17" name="TextBox 16">
            <a:extLst>
              <a:ext uri="{FF2B5EF4-FFF2-40B4-BE49-F238E27FC236}">
                <a16:creationId xmlns:a16="http://schemas.microsoft.com/office/drawing/2014/main" id="{D13F20EA-2E6B-7C0E-411F-480C7A8AAF61}"/>
              </a:ext>
            </a:extLst>
          </p:cNvPr>
          <p:cNvSpPr txBox="1"/>
          <p:nvPr/>
        </p:nvSpPr>
        <p:spPr>
          <a:xfrm>
            <a:off x="2503107" y="3576059"/>
            <a:ext cx="5551192" cy="1055608"/>
          </a:xfrm>
          <a:prstGeom prst="roundRect">
            <a:avLst/>
          </a:prstGeom>
          <a:solidFill>
            <a:schemeClr val="bg1">
              <a:lumMod val="95000"/>
            </a:schemeClr>
          </a:solidFill>
          <a:ln>
            <a:solidFill>
              <a:schemeClr val="tx1"/>
            </a:solidFill>
            <a:prstDash val="dash"/>
          </a:ln>
        </p:spPr>
        <p:txBody>
          <a:bodyPr wrap="square">
            <a:spAutoFit/>
          </a:bodyPr>
          <a:lstStyle/>
          <a:p>
            <a:pPr lvl="0" algn="ctr"/>
            <a:r>
              <a:rPr lang="en-US" sz="1400" dirty="0">
                <a:solidFill>
                  <a:srgbClr val="024DA1"/>
                </a:solidFill>
                <a:latin typeface="Arial" panose="020B0604020202020204" pitchFamily="34" charset="0"/>
                <a:cs typeface="Arial" panose="020B0604020202020204" pitchFamily="34" charset="0"/>
              </a:rPr>
              <a:t>A sign found to be in bad taste is one which is </a:t>
            </a:r>
            <a:r>
              <a:rPr lang="en-US" sz="1400" b="1" dirty="0">
                <a:solidFill>
                  <a:srgbClr val="024DA1"/>
                </a:solidFill>
                <a:latin typeface="Arial" panose="020B0604020202020204" pitchFamily="34" charset="0"/>
                <a:cs typeface="Arial" panose="020B0604020202020204" pitchFamily="34" charset="0"/>
              </a:rPr>
              <a:t>gross, unrefined or indelicate but is not offensive </a:t>
            </a:r>
            <a:r>
              <a:rPr lang="en-US" sz="1400" dirty="0">
                <a:solidFill>
                  <a:srgbClr val="024DA1"/>
                </a:solidFill>
                <a:latin typeface="Arial" panose="020B0604020202020204" pitchFamily="34" charset="0"/>
                <a:cs typeface="Arial" panose="020B0604020202020204" pitchFamily="34" charset="0"/>
              </a:rPr>
              <a:t>to a person of normal sensitivity and tolerance. Such signs will </a:t>
            </a:r>
            <a:r>
              <a:rPr lang="en-US" sz="1400" b="1" dirty="0">
                <a:solidFill>
                  <a:srgbClr val="024DA1"/>
                </a:solidFill>
                <a:latin typeface="Arial" panose="020B0604020202020204" pitchFamily="34" charset="0"/>
                <a:cs typeface="Arial" panose="020B0604020202020204" pitchFamily="34" charset="0"/>
              </a:rPr>
              <a:t>not constitute a breach of accepted principles of morality</a:t>
            </a:r>
            <a:r>
              <a:rPr lang="en-US" sz="1400" dirty="0">
                <a:solidFill>
                  <a:srgbClr val="024DA1"/>
                </a:solidFill>
                <a:latin typeface="Arial" panose="020B0604020202020204" pitchFamily="34" charset="0"/>
                <a:cs typeface="Arial" panose="020B0604020202020204" pitchFamily="34" charset="0"/>
              </a:rPr>
              <a:t>.</a:t>
            </a:r>
          </a:p>
        </p:txBody>
      </p:sp>
      <p:sp>
        <p:nvSpPr>
          <p:cNvPr id="20" name="Rectangle 19">
            <a:extLst>
              <a:ext uri="{FF2B5EF4-FFF2-40B4-BE49-F238E27FC236}">
                <a16:creationId xmlns:a16="http://schemas.microsoft.com/office/drawing/2014/main" id="{A2D3141E-B2FB-DB79-7D96-E3D14309D54C}"/>
              </a:ext>
            </a:extLst>
          </p:cNvPr>
          <p:cNvSpPr/>
          <p:nvPr/>
        </p:nvSpPr>
        <p:spPr>
          <a:xfrm>
            <a:off x="1288629" y="3740872"/>
            <a:ext cx="1321658" cy="725982"/>
          </a:xfrm>
          <a:prstGeom prst="rect">
            <a:avLst/>
          </a:prstGeom>
          <a:solidFill>
            <a:srgbClr val="A5AFCF"/>
          </a:solidFill>
          <a:ln w="28575">
            <a:solidFill>
              <a:schemeClr val="bg1">
                <a:lumMod val="8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400" b="1" dirty="0">
                <a:latin typeface="Arial" panose="020B0604020202020204" pitchFamily="34" charset="0"/>
                <a:cs typeface="Arial" panose="020B0604020202020204" pitchFamily="34" charset="0"/>
              </a:rPr>
              <a:t>Bad taste</a:t>
            </a:r>
            <a:endParaRPr lang="en-GB" sz="1400" dirty="0">
              <a:latin typeface="Arial" panose="020B0604020202020204" pitchFamily="34" charset="0"/>
              <a:cs typeface="Arial" panose="020B0604020202020204" pitchFamily="34" charset="0"/>
            </a:endParaRPr>
          </a:p>
        </p:txBody>
      </p:sp>
      <p:grpSp>
        <p:nvGrpSpPr>
          <p:cNvPr id="5" name="Group 4">
            <a:extLst>
              <a:ext uri="{FF2B5EF4-FFF2-40B4-BE49-F238E27FC236}">
                <a16:creationId xmlns:a16="http://schemas.microsoft.com/office/drawing/2014/main" id="{C948E999-B75C-3F3D-9478-8EBF9A826F57}"/>
              </a:ext>
            </a:extLst>
          </p:cNvPr>
          <p:cNvGrpSpPr/>
          <p:nvPr/>
        </p:nvGrpSpPr>
        <p:grpSpPr>
          <a:xfrm>
            <a:off x="499553" y="1553995"/>
            <a:ext cx="1028609" cy="971867"/>
            <a:chOff x="554734" y="1553995"/>
            <a:chExt cx="1028609" cy="971867"/>
          </a:xfrm>
        </p:grpSpPr>
        <p:sp>
          <p:nvSpPr>
            <p:cNvPr id="9" name="Oval 20">
              <a:extLst>
                <a:ext uri="{FF2B5EF4-FFF2-40B4-BE49-F238E27FC236}">
                  <a16:creationId xmlns:a16="http://schemas.microsoft.com/office/drawing/2014/main" id="{F3DBADA4-A5A8-55C5-5093-E2487ECA3743}"/>
                </a:ext>
              </a:extLst>
            </p:cNvPr>
            <p:cNvSpPr/>
            <p:nvPr/>
          </p:nvSpPr>
          <p:spPr>
            <a:xfrm>
              <a:off x="554734" y="1553995"/>
              <a:ext cx="1028609" cy="971867"/>
            </a:xfrm>
            <a:custGeom>
              <a:avLst/>
              <a:gdLst>
                <a:gd name="connsiteX0" fmla="*/ 0 w 3314251"/>
                <a:gd name="connsiteY0" fmla="*/ 1564410 h 3128820"/>
                <a:gd name="connsiteX1" fmla="*/ 1657126 w 3314251"/>
                <a:gd name="connsiteY1" fmla="*/ 0 h 3128820"/>
                <a:gd name="connsiteX2" fmla="*/ 3314252 w 3314251"/>
                <a:gd name="connsiteY2" fmla="*/ 1564410 h 3128820"/>
                <a:gd name="connsiteX3" fmla="*/ 1657126 w 3314251"/>
                <a:gd name="connsiteY3" fmla="*/ 3128820 h 3128820"/>
                <a:gd name="connsiteX4" fmla="*/ 0 w 3314251"/>
                <a:gd name="connsiteY4" fmla="*/ 1564410 h 3128820"/>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5821 h 3130231"/>
                <a:gd name="connsiteX1" fmla="*/ 1657126 w 3314252"/>
                <a:gd name="connsiteY1" fmla="*/ 1411 h 3130231"/>
                <a:gd name="connsiteX2" fmla="*/ 3314252 w 3314252"/>
                <a:gd name="connsiteY2" fmla="*/ 1565821 h 3130231"/>
                <a:gd name="connsiteX3" fmla="*/ 1657126 w 3314252"/>
                <a:gd name="connsiteY3" fmla="*/ 3130231 h 3130231"/>
                <a:gd name="connsiteX4" fmla="*/ 0 w 3314252"/>
                <a:gd name="connsiteY4" fmla="*/ 1565821 h 3130231"/>
                <a:gd name="connsiteX0" fmla="*/ 0 w 3314252"/>
                <a:gd name="connsiteY0" fmla="*/ 1567937 h 3132347"/>
                <a:gd name="connsiteX1" fmla="*/ 1657126 w 3314252"/>
                <a:gd name="connsiteY1" fmla="*/ 3527 h 3132347"/>
                <a:gd name="connsiteX2" fmla="*/ 3314252 w 3314252"/>
                <a:gd name="connsiteY2" fmla="*/ 1567937 h 3132347"/>
                <a:gd name="connsiteX3" fmla="*/ 1657126 w 3314252"/>
                <a:gd name="connsiteY3" fmla="*/ 3132347 h 3132347"/>
                <a:gd name="connsiteX4" fmla="*/ 0 w 3314252"/>
                <a:gd name="connsiteY4" fmla="*/ 1567937 h 3132347"/>
                <a:gd name="connsiteX0" fmla="*/ 0 w 3314252"/>
                <a:gd name="connsiteY0" fmla="*/ 1564505 h 3128915"/>
                <a:gd name="connsiteX1" fmla="*/ 1657126 w 3314252"/>
                <a:gd name="connsiteY1" fmla="*/ 95 h 3128915"/>
                <a:gd name="connsiteX2" fmla="*/ 3314252 w 3314252"/>
                <a:gd name="connsiteY2" fmla="*/ 1564505 h 3128915"/>
                <a:gd name="connsiteX3" fmla="*/ 1657126 w 3314252"/>
                <a:gd name="connsiteY3" fmla="*/ 3128915 h 3128915"/>
                <a:gd name="connsiteX4" fmla="*/ 0 w 3314252"/>
                <a:gd name="connsiteY4" fmla="*/ 1564505 h 3128915"/>
                <a:gd name="connsiteX0" fmla="*/ 0 w 3314252"/>
                <a:gd name="connsiteY0" fmla="*/ 1565503 h 3129913"/>
                <a:gd name="connsiteX1" fmla="*/ 1657126 w 3314252"/>
                <a:gd name="connsiteY1" fmla="*/ 1093 h 3129913"/>
                <a:gd name="connsiteX2" fmla="*/ 3314252 w 3314252"/>
                <a:gd name="connsiteY2" fmla="*/ 1565503 h 3129913"/>
                <a:gd name="connsiteX3" fmla="*/ 1657126 w 3314252"/>
                <a:gd name="connsiteY3" fmla="*/ 3129913 h 3129913"/>
                <a:gd name="connsiteX4" fmla="*/ 0 w 3314252"/>
                <a:gd name="connsiteY4" fmla="*/ 1565503 h 3129913"/>
                <a:gd name="connsiteX0" fmla="*/ 0 w 3314252"/>
                <a:gd name="connsiteY0" fmla="*/ 1564410 h 3128820"/>
                <a:gd name="connsiteX1" fmla="*/ 1657126 w 3314252"/>
                <a:gd name="connsiteY1" fmla="*/ 0 h 3128820"/>
                <a:gd name="connsiteX2" fmla="*/ 3314252 w 3314252"/>
                <a:gd name="connsiteY2" fmla="*/ 1564410 h 3128820"/>
                <a:gd name="connsiteX3" fmla="*/ 1657126 w 3314252"/>
                <a:gd name="connsiteY3" fmla="*/ 3128820 h 3128820"/>
                <a:gd name="connsiteX4" fmla="*/ 0 w 3314252"/>
                <a:gd name="connsiteY4" fmla="*/ 1564410 h 3128820"/>
                <a:gd name="connsiteX0" fmla="*/ 0 w 3314252"/>
                <a:gd name="connsiteY0" fmla="*/ 1564433 h 3128843"/>
                <a:gd name="connsiteX1" fmla="*/ 1657126 w 3314252"/>
                <a:gd name="connsiteY1" fmla="*/ 23 h 3128843"/>
                <a:gd name="connsiteX2" fmla="*/ 3314252 w 3314252"/>
                <a:gd name="connsiteY2" fmla="*/ 1564433 h 3128843"/>
                <a:gd name="connsiteX3" fmla="*/ 1657126 w 3314252"/>
                <a:gd name="connsiteY3" fmla="*/ 3128843 h 3128843"/>
                <a:gd name="connsiteX4" fmla="*/ 0 w 3314252"/>
                <a:gd name="connsiteY4" fmla="*/ 1564433 h 3128843"/>
                <a:gd name="connsiteX0" fmla="*/ 0 w 3314252"/>
                <a:gd name="connsiteY0" fmla="*/ 1564433 h 3129053"/>
                <a:gd name="connsiteX1" fmla="*/ 1657126 w 3314252"/>
                <a:gd name="connsiteY1" fmla="*/ 23 h 3129053"/>
                <a:gd name="connsiteX2" fmla="*/ 3314252 w 3314252"/>
                <a:gd name="connsiteY2" fmla="*/ 1564433 h 3129053"/>
                <a:gd name="connsiteX3" fmla="*/ 1657126 w 3314252"/>
                <a:gd name="connsiteY3" fmla="*/ 3128843 h 3129053"/>
                <a:gd name="connsiteX4" fmla="*/ 0 w 3314252"/>
                <a:gd name="connsiteY4" fmla="*/ 1564433 h 3129053"/>
                <a:gd name="connsiteX0" fmla="*/ 0 w 3314252"/>
                <a:gd name="connsiteY0" fmla="*/ 1564433 h 3131880"/>
                <a:gd name="connsiteX1" fmla="*/ 1657126 w 3314252"/>
                <a:gd name="connsiteY1" fmla="*/ 23 h 3131880"/>
                <a:gd name="connsiteX2" fmla="*/ 3314252 w 3314252"/>
                <a:gd name="connsiteY2" fmla="*/ 1564433 h 3131880"/>
                <a:gd name="connsiteX3" fmla="*/ 1657126 w 3314252"/>
                <a:gd name="connsiteY3" fmla="*/ 3128843 h 3131880"/>
                <a:gd name="connsiteX4" fmla="*/ 0 w 3314252"/>
                <a:gd name="connsiteY4" fmla="*/ 1564433 h 3131880"/>
                <a:gd name="connsiteX0" fmla="*/ 0 w 3314252"/>
                <a:gd name="connsiteY0" fmla="*/ 1564433 h 3131423"/>
                <a:gd name="connsiteX1" fmla="*/ 1657126 w 3314252"/>
                <a:gd name="connsiteY1" fmla="*/ 23 h 3131423"/>
                <a:gd name="connsiteX2" fmla="*/ 3314252 w 3314252"/>
                <a:gd name="connsiteY2" fmla="*/ 1564433 h 3131423"/>
                <a:gd name="connsiteX3" fmla="*/ 1657126 w 3314252"/>
                <a:gd name="connsiteY3" fmla="*/ 3128843 h 3131423"/>
                <a:gd name="connsiteX4" fmla="*/ 0 w 3314252"/>
                <a:gd name="connsiteY4" fmla="*/ 1564433 h 3131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14252" h="3131423">
                  <a:moveTo>
                    <a:pt x="0" y="1564433"/>
                  </a:moveTo>
                  <a:cubicBezTo>
                    <a:pt x="0" y="700433"/>
                    <a:pt x="775256" y="19074"/>
                    <a:pt x="1657126" y="23"/>
                  </a:cubicBezTo>
                  <a:cubicBezTo>
                    <a:pt x="2639009" y="-4740"/>
                    <a:pt x="3314252" y="700433"/>
                    <a:pt x="3314252" y="1564433"/>
                  </a:cubicBezTo>
                  <a:cubicBezTo>
                    <a:pt x="3314252" y="2428433"/>
                    <a:pt x="2367543" y="3071694"/>
                    <a:pt x="1657126" y="3128843"/>
                  </a:cubicBezTo>
                  <a:cubicBezTo>
                    <a:pt x="665721" y="3181230"/>
                    <a:pt x="0" y="2428433"/>
                    <a:pt x="0" y="1564433"/>
                  </a:cubicBezTo>
                  <a:close/>
                </a:path>
              </a:pathLst>
            </a:custGeom>
            <a:solidFill>
              <a:schemeClr val="bg1"/>
            </a:solidFill>
            <a:ln w="28575">
              <a:solidFill>
                <a:srgbClr val="69AFD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PT" sz="1200" dirty="0">
                <a:solidFill>
                  <a:srgbClr val="69AFD3"/>
                </a:solidFill>
                <a:latin typeface="+mj-lt"/>
              </a:endParaRPr>
            </a:p>
          </p:txBody>
        </p:sp>
        <p:sp>
          <p:nvSpPr>
            <p:cNvPr id="21" name="Freeform 479">
              <a:extLst>
                <a:ext uri="{FF2B5EF4-FFF2-40B4-BE49-F238E27FC236}">
                  <a16:creationId xmlns:a16="http://schemas.microsoft.com/office/drawing/2014/main" id="{8719EA16-4ECF-E348-943B-C97B361FF2FA}"/>
                </a:ext>
              </a:extLst>
            </p:cNvPr>
            <p:cNvSpPr>
              <a:spLocks/>
            </p:cNvSpPr>
            <p:nvPr/>
          </p:nvSpPr>
          <p:spPr bwMode="auto">
            <a:xfrm>
              <a:off x="848716" y="1704059"/>
              <a:ext cx="513359" cy="696245"/>
            </a:xfrm>
            <a:custGeom>
              <a:avLst/>
              <a:gdLst/>
              <a:ahLst/>
              <a:cxnLst>
                <a:cxn ang="0">
                  <a:pos x="37" y="330"/>
                </a:cxn>
                <a:cxn ang="0">
                  <a:pos x="35" y="89"/>
                </a:cxn>
                <a:cxn ang="0">
                  <a:pos x="0" y="89"/>
                </a:cxn>
                <a:cxn ang="0">
                  <a:pos x="44" y="0"/>
                </a:cxn>
                <a:cxn ang="0">
                  <a:pos x="93" y="88"/>
                </a:cxn>
                <a:cxn ang="0">
                  <a:pos x="58" y="88"/>
                </a:cxn>
                <a:cxn ang="0">
                  <a:pos x="59" y="203"/>
                </a:cxn>
                <a:cxn ang="0">
                  <a:pos x="99" y="170"/>
                </a:cxn>
                <a:cxn ang="0">
                  <a:pos x="91" y="159"/>
                </a:cxn>
                <a:cxn ang="0">
                  <a:pos x="145" y="141"/>
                </a:cxn>
                <a:cxn ang="0">
                  <a:pos x="128" y="197"/>
                </a:cxn>
                <a:cxn ang="0">
                  <a:pos x="116" y="186"/>
                </a:cxn>
                <a:cxn ang="0">
                  <a:pos x="61" y="233"/>
                </a:cxn>
                <a:cxn ang="0">
                  <a:pos x="62" y="327"/>
                </a:cxn>
              </a:cxnLst>
              <a:rect l="0" t="0" r="r" b="b"/>
              <a:pathLst>
                <a:path w="145" h="330">
                  <a:moveTo>
                    <a:pt x="37" y="330"/>
                  </a:moveTo>
                  <a:lnTo>
                    <a:pt x="35" y="89"/>
                  </a:lnTo>
                  <a:lnTo>
                    <a:pt x="0" y="89"/>
                  </a:lnTo>
                  <a:lnTo>
                    <a:pt x="44" y="0"/>
                  </a:lnTo>
                  <a:lnTo>
                    <a:pt x="93" y="88"/>
                  </a:lnTo>
                  <a:lnTo>
                    <a:pt x="58" y="88"/>
                  </a:lnTo>
                  <a:lnTo>
                    <a:pt x="59" y="203"/>
                  </a:lnTo>
                  <a:lnTo>
                    <a:pt x="99" y="170"/>
                  </a:lnTo>
                  <a:lnTo>
                    <a:pt x="91" y="159"/>
                  </a:lnTo>
                  <a:lnTo>
                    <a:pt x="145" y="141"/>
                  </a:lnTo>
                  <a:lnTo>
                    <a:pt x="128" y="197"/>
                  </a:lnTo>
                  <a:lnTo>
                    <a:pt x="116" y="186"/>
                  </a:lnTo>
                  <a:lnTo>
                    <a:pt x="61" y="233"/>
                  </a:lnTo>
                  <a:lnTo>
                    <a:pt x="62" y="327"/>
                  </a:lnTo>
                </a:path>
              </a:pathLst>
            </a:custGeom>
            <a:solidFill>
              <a:schemeClr val="tx2"/>
            </a:solidFill>
            <a:ln w="9525" cap="rnd">
              <a:solidFill>
                <a:schemeClr val="tx2"/>
              </a:solidFill>
              <a:prstDash val="solid"/>
              <a:round/>
              <a:headEnd/>
              <a:tailEnd/>
            </a:ln>
          </p:spPr>
          <p:txBody>
            <a:bodyPr vert="horz" wrap="square" lIns="68580" tIns="34290" rIns="68580" bIns="34290" numCol="1" anchor="t" anchorCtr="0" compatLnSpc="1">
              <a:prstTxWarp prst="textNoShape">
                <a:avLst/>
              </a:prstTxWarp>
            </a:bodyPr>
            <a:lstStyle/>
            <a:p>
              <a:endParaRPr lang="en-GB" sz="525" dirty="0">
                <a:latin typeface="+mj-lt"/>
              </a:endParaRPr>
            </a:p>
          </p:txBody>
        </p:sp>
      </p:grpSp>
    </p:spTree>
    <p:extLst>
      <p:ext uri="{BB962C8B-B14F-4D97-AF65-F5344CB8AC3E}">
        <p14:creationId xmlns:p14="http://schemas.microsoft.com/office/powerpoint/2010/main" val="9831879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Oval 13">
            <a:extLst>
              <a:ext uri="{FF2B5EF4-FFF2-40B4-BE49-F238E27FC236}">
                <a16:creationId xmlns:a16="http://schemas.microsoft.com/office/drawing/2014/main" id="{7B3499A6-5B89-FB93-29C6-6B7F2C0EF8BD}"/>
              </a:ext>
            </a:extLst>
          </p:cNvPr>
          <p:cNvSpPr/>
          <p:nvPr/>
        </p:nvSpPr>
        <p:spPr>
          <a:xfrm>
            <a:off x="1086194" y="3051669"/>
            <a:ext cx="577225" cy="627139"/>
          </a:xfrm>
          <a:prstGeom prst="ellipse">
            <a:avLst/>
          </a:prstGeom>
          <a:solidFill>
            <a:schemeClr val="bg1"/>
          </a:solidFill>
          <a:ln w="25400">
            <a:solidFill>
              <a:srgbClr val="4BACC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E" dirty="0"/>
          </a:p>
        </p:txBody>
      </p:sp>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2 Assessment of signs contrary to public policy and/or to accepted principles of morality</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4" name="Rectangle 3">
            <a:extLst>
              <a:ext uri="{FF2B5EF4-FFF2-40B4-BE49-F238E27FC236}">
                <a16:creationId xmlns:a16="http://schemas.microsoft.com/office/drawing/2014/main" id="{0FA900E2-98A6-998A-78E2-6BF6F03D6565}"/>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s-ES" sz="1400" b="1" spc="-71" dirty="0">
                <a:solidFill>
                  <a:schemeClr val="accent5"/>
                </a:solidFill>
                <a:latin typeface="Arial"/>
                <a:ea typeface="Open Sans" panose="020B0606030504020204" pitchFamily="34" charset="0"/>
                <a:cs typeface="Arial"/>
              </a:rPr>
              <a:t>2.2.2 </a:t>
            </a:r>
            <a:r>
              <a:rPr lang="es-ES" sz="1400" b="1" spc="-71" dirty="0" err="1">
                <a:solidFill>
                  <a:schemeClr val="accent5"/>
                </a:solidFill>
                <a:latin typeface="Arial"/>
                <a:ea typeface="Open Sans" panose="020B0606030504020204" pitchFamily="34" charset="0"/>
                <a:cs typeface="Arial"/>
              </a:rPr>
              <a:t>Relevant</a:t>
            </a:r>
            <a:r>
              <a:rPr lang="es-ES" sz="1400" b="1" spc="-71" dirty="0">
                <a:solidFill>
                  <a:schemeClr val="accent5"/>
                </a:solidFill>
                <a:latin typeface="Arial"/>
                <a:ea typeface="Open Sans" panose="020B0606030504020204" pitchFamily="34" charset="0"/>
                <a:cs typeface="Arial"/>
              </a:rPr>
              <a:t> date </a:t>
            </a:r>
            <a:r>
              <a:rPr lang="es-ES" sz="1400" b="1" spc="-71" dirty="0" err="1">
                <a:solidFill>
                  <a:schemeClr val="accent5"/>
                </a:solidFill>
                <a:latin typeface="Arial"/>
                <a:ea typeface="Open Sans" panose="020B0606030504020204" pitchFamily="34" charset="0"/>
                <a:cs typeface="Arial"/>
              </a:rPr>
              <a:t>for</a:t>
            </a:r>
            <a:r>
              <a:rPr lang="es-ES" sz="1400" b="1" spc="-71" dirty="0">
                <a:solidFill>
                  <a:schemeClr val="accent5"/>
                </a:solidFill>
                <a:latin typeface="Arial"/>
                <a:ea typeface="Open Sans" panose="020B0606030504020204" pitchFamily="34" charset="0"/>
                <a:cs typeface="Arial"/>
              </a:rPr>
              <a:t> </a:t>
            </a:r>
            <a:r>
              <a:rPr lang="es-ES" sz="1400" b="1" spc="-71" dirty="0" err="1">
                <a:solidFill>
                  <a:schemeClr val="accent5"/>
                </a:solidFill>
                <a:latin typeface="Arial"/>
                <a:ea typeface="Open Sans" panose="020B0606030504020204" pitchFamily="34" charset="0"/>
                <a:cs typeface="Arial"/>
              </a:rPr>
              <a:t>the</a:t>
            </a:r>
            <a:r>
              <a:rPr lang="es-ES" sz="1400" b="1" spc="-71" dirty="0">
                <a:solidFill>
                  <a:schemeClr val="accent5"/>
                </a:solidFill>
                <a:latin typeface="Arial"/>
                <a:ea typeface="Open Sans" panose="020B0606030504020204" pitchFamily="34" charset="0"/>
                <a:cs typeface="Arial"/>
              </a:rPr>
              <a:t> </a:t>
            </a:r>
            <a:r>
              <a:rPr lang="es-ES" sz="1400" b="1" spc="-71" dirty="0" err="1">
                <a:solidFill>
                  <a:schemeClr val="accent5"/>
                </a:solidFill>
                <a:latin typeface="Arial"/>
                <a:ea typeface="Open Sans" panose="020B0606030504020204" pitchFamily="34" charset="0"/>
                <a:cs typeface="Arial"/>
              </a:rPr>
              <a:t>assessment</a:t>
            </a:r>
            <a:endParaRPr lang="en-US" sz="1400" b="1" spc="-71" dirty="0">
              <a:solidFill>
                <a:schemeClr val="accent5"/>
              </a:solidFill>
              <a:latin typeface="Arial"/>
              <a:ea typeface="Open Sans" panose="020B0606030504020204" pitchFamily="34" charset="0"/>
              <a:cs typeface="Arial"/>
            </a:endParaRPr>
          </a:p>
        </p:txBody>
      </p:sp>
      <p:grpSp>
        <p:nvGrpSpPr>
          <p:cNvPr id="5" name="Group 4">
            <a:extLst>
              <a:ext uri="{FF2B5EF4-FFF2-40B4-BE49-F238E27FC236}">
                <a16:creationId xmlns:a16="http://schemas.microsoft.com/office/drawing/2014/main" id="{9E134C6A-3DD6-5A3D-E080-BD5028EECA0F}"/>
              </a:ext>
            </a:extLst>
          </p:cNvPr>
          <p:cNvGrpSpPr/>
          <p:nvPr/>
        </p:nvGrpSpPr>
        <p:grpSpPr>
          <a:xfrm>
            <a:off x="753810" y="1613167"/>
            <a:ext cx="7877502" cy="735839"/>
            <a:chOff x="4525196" y="1168565"/>
            <a:chExt cx="4454166" cy="774512"/>
          </a:xfrm>
        </p:grpSpPr>
        <p:sp>
          <p:nvSpPr>
            <p:cNvPr id="7" name="Rectangle: Rounded Corners 6">
              <a:extLst>
                <a:ext uri="{FF2B5EF4-FFF2-40B4-BE49-F238E27FC236}">
                  <a16:creationId xmlns:a16="http://schemas.microsoft.com/office/drawing/2014/main" id="{99FDEF84-0FE5-4066-2B47-0675CB69E6BD}"/>
                </a:ext>
              </a:extLst>
            </p:cNvPr>
            <p:cNvSpPr/>
            <p:nvPr/>
          </p:nvSpPr>
          <p:spPr>
            <a:xfrm>
              <a:off x="4525196" y="1216636"/>
              <a:ext cx="4454166" cy="726441"/>
            </a:xfrm>
            <a:prstGeom prst="roundRect">
              <a:avLst>
                <a:gd name="adj" fmla="val 50000"/>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3">
              <a:extLst>
                <a:ext uri="{FF2B5EF4-FFF2-40B4-BE49-F238E27FC236}">
                  <a16:creationId xmlns:a16="http://schemas.microsoft.com/office/drawing/2014/main" id="{122E8653-4A17-C48F-DB1F-371F65F21B78}"/>
                </a:ext>
              </a:extLst>
            </p:cNvPr>
            <p:cNvSpPr>
              <a:spLocks noChangeArrowheads="1"/>
            </p:cNvSpPr>
            <p:nvPr/>
          </p:nvSpPr>
          <p:spPr bwMode="auto">
            <a:xfrm>
              <a:off x="5082026" y="1388210"/>
              <a:ext cx="3830652" cy="3401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indent="312738"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R="0" lvl="0" indent="0" defTabSz="914400" rtl="0" eaLnBrk="1" fontAlgn="base" latinLnBrk="0" hangingPunct="1">
                <a:lnSpc>
                  <a:spcPct val="100000"/>
                </a:lnSpc>
                <a:spcBef>
                  <a:spcPct val="0"/>
                </a:spcBef>
                <a:spcAft>
                  <a:spcPct val="0"/>
                </a:spcAft>
                <a:buClrTx/>
                <a:buSzTx/>
                <a:tabLst/>
              </a:pPr>
              <a:r>
                <a:rPr lang="en-US" altLang="en-US" sz="1500" spc="-70" dirty="0">
                  <a:solidFill>
                    <a:srgbClr val="183D8C"/>
                  </a:solidFill>
                  <a:latin typeface="Arial"/>
                  <a:cs typeface="Arial"/>
                </a:rPr>
                <a:t>The assessment must be based on the </a:t>
              </a:r>
              <a:r>
                <a:rPr lang="en-US" altLang="en-US" sz="1500" b="1" spc="-70" dirty="0">
                  <a:solidFill>
                    <a:srgbClr val="183D8C"/>
                  </a:solidFill>
                  <a:latin typeface="Arial"/>
                  <a:cs typeface="Arial"/>
                </a:rPr>
                <a:t>time of filing of the trade mark application </a:t>
              </a:r>
              <a:endParaRPr lang="en-GB" altLang="en-US" sz="1500" spc="-70" dirty="0">
                <a:solidFill>
                  <a:srgbClr val="183D8C"/>
                </a:solidFill>
                <a:latin typeface="Arial"/>
                <a:cs typeface="Arial"/>
              </a:endParaRPr>
            </a:p>
          </p:txBody>
        </p:sp>
        <p:sp>
          <p:nvSpPr>
            <p:cNvPr id="10" name="Oval 9">
              <a:extLst>
                <a:ext uri="{FF2B5EF4-FFF2-40B4-BE49-F238E27FC236}">
                  <a16:creationId xmlns:a16="http://schemas.microsoft.com/office/drawing/2014/main" id="{518793A1-7DE4-5096-725E-8A1CE3D23704}"/>
                </a:ext>
              </a:extLst>
            </p:cNvPr>
            <p:cNvSpPr/>
            <p:nvPr/>
          </p:nvSpPr>
          <p:spPr>
            <a:xfrm>
              <a:off x="4538496" y="1168565"/>
              <a:ext cx="448348" cy="774512"/>
            </a:xfrm>
            <a:prstGeom prst="ellipse">
              <a:avLst/>
            </a:prstGeom>
            <a:solidFill>
              <a:schemeClr val="bg1"/>
            </a:solidFill>
            <a:ln w="25400">
              <a:solidFill>
                <a:srgbClr val="4BACC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E" dirty="0"/>
            </a:p>
          </p:txBody>
        </p:sp>
      </p:grpSp>
      <p:sp>
        <p:nvSpPr>
          <p:cNvPr id="11" name="TextBox 10">
            <a:extLst>
              <a:ext uri="{FF2B5EF4-FFF2-40B4-BE49-F238E27FC236}">
                <a16:creationId xmlns:a16="http://schemas.microsoft.com/office/drawing/2014/main" id="{ADCAC9D7-D0AC-5ABD-CFA5-811634FF12FE}"/>
              </a:ext>
            </a:extLst>
          </p:cNvPr>
          <p:cNvSpPr txBox="1"/>
          <p:nvPr/>
        </p:nvSpPr>
        <p:spPr>
          <a:xfrm>
            <a:off x="1789737" y="2856034"/>
            <a:ext cx="6229739" cy="1169551"/>
          </a:xfrm>
          <a:prstGeom prst="rect">
            <a:avLst/>
          </a:prstGeom>
          <a:noFill/>
        </p:spPr>
        <p:txBody>
          <a:bodyPr wrap="square">
            <a:spAutoFit/>
          </a:bodyPr>
          <a:lstStyle/>
          <a:p>
            <a:pPr lvl="0" algn="just" defTabSz="533400">
              <a:spcBef>
                <a:spcPct val="0"/>
              </a:spcBef>
              <a:spcAft>
                <a:spcPct val="35000"/>
              </a:spcAft>
            </a:pPr>
            <a:r>
              <a:rPr lang="en-US" sz="1400" dirty="0">
                <a:solidFill>
                  <a:srgbClr val="14438E"/>
                </a:solidFill>
                <a:latin typeface="Arial" panose="020B0604020202020204" pitchFamily="34" charset="0"/>
                <a:cs typeface="Times New Roman" panose="02020603050405020304" pitchFamily="18" charset="0"/>
              </a:rPr>
              <a:t>However, there may be </a:t>
            </a:r>
            <a:r>
              <a:rPr lang="en-US" sz="1400" b="1" dirty="0">
                <a:solidFill>
                  <a:srgbClr val="14438E"/>
                </a:solidFill>
                <a:latin typeface="Arial" panose="020B0604020202020204" pitchFamily="34" charset="0"/>
                <a:cs typeface="Times New Roman" panose="02020603050405020304" pitchFamily="18" charset="0"/>
              </a:rPr>
              <a:t>very special circumstances </a:t>
            </a:r>
            <a:r>
              <a:rPr lang="en-US" sz="1400" dirty="0">
                <a:solidFill>
                  <a:srgbClr val="14438E"/>
                </a:solidFill>
                <a:latin typeface="Arial" panose="020B0604020202020204" pitchFamily="34" charset="0"/>
                <a:cs typeface="Times New Roman" panose="02020603050405020304" pitchFamily="18" charset="0"/>
              </a:rPr>
              <a:t>in which the </a:t>
            </a:r>
            <a:r>
              <a:rPr lang="en-US" sz="1400" b="1" dirty="0">
                <a:solidFill>
                  <a:srgbClr val="14438E"/>
                </a:solidFill>
                <a:latin typeface="Arial" panose="020B0604020202020204" pitchFamily="34" charset="0"/>
                <a:cs typeface="Times New Roman" panose="02020603050405020304" pitchFamily="18" charset="0"/>
              </a:rPr>
              <a:t>public policy in force and/or the fundamental moral values and standards accepted </a:t>
            </a:r>
            <a:r>
              <a:rPr lang="en-US" sz="1400" dirty="0">
                <a:solidFill>
                  <a:srgbClr val="14438E"/>
                </a:solidFill>
                <a:latin typeface="Arial" panose="020B0604020202020204" pitchFamily="34" charset="0"/>
                <a:cs typeface="Times New Roman" panose="02020603050405020304" pitchFamily="18" charset="0"/>
              </a:rPr>
              <a:t>may be </a:t>
            </a:r>
            <a:r>
              <a:rPr lang="en-US" sz="1400" b="1" dirty="0">
                <a:solidFill>
                  <a:schemeClr val="tx2"/>
                </a:solidFill>
                <a:latin typeface="Arial" panose="020B0604020202020204" pitchFamily="34" charset="0"/>
                <a:cs typeface="Times New Roman" panose="02020603050405020304" pitchFamily="18" charset="0"/>
              </a:rPr>
              <a:t>affected</a:t>
            </a:r>
            <a:r>
              <a:rPr lang="en-US" sz="1400" dirty="0">
                <a:solidFill>
                  <a:schemeClr val="tx2"/>
                </a:solidFill>
                <a:latin typeface="Arial" panose="020B0604020202020204" pitchFamily="34" charset="0"/>
                <a:cs typeface="Times New Roman" panose="02020603050405020304" pitchFamily="18" charset="0"/>
              </a:rPr>
              <a:t> </a:t>
            </a:r>
            <a:r>
              <a:rPr lang="en-US" sz="1400" b="1" dirty="0">
                <a:solidFill>
                  <a:schemeClr val="tx2"/>
                </a:solidFill>
                <a:latin typeface="Arial" panose="020B0604020202020204" pitchFamily="34" charset="0"/>
                <a:cs typeface="Times New Roman" panose="02020603050405020304" pitchFamily="18" charset="0"/>
              </a:rPr>
              <a:t>by</a:t>
            </a:r>
            <a:r>
              <a:rPr lang="en-US" sz="1400" dirty="0">
                <a:solidFill>
                  <a:schemeClr val="tx2"/>
                </a:solidFill>
                <a:latin typeface="Arial" panose="020B0604020202020204" pitchFamily="34" charset="0"/>
                <a:cs typeface="Times New Roman" panose="02020603050405020304" pitchFamily="18" charset="0"/>
              </a:rPr>
              <a:t> </a:t>
            </a:r>
            <a:r>
              <a:rPr lang="en-US" sz="1400" b="1" dirty="0">
                <a:solidFill>
                  <a:srgbClr val="14438E"/>
                </a:solidFill>
                <a:latin typeface="Arial" panose="020B0604020202020204" pitchFamily="34" charset="0"/>
                <a:cs typeface="Times New Roman" panose="02020603050405020304" pitchFamily="18" charset="0"/>
              </a:rPr>
              <a:t>an event </a:t>
            </a:r>
            <a:r>
              <a:rPr lang="en-US" sz="1400" dirty="0">
                <a:solidFill>
                  <a:srgbClr val="14438E"/>
                </a:solidFill>
                <a:latin typeface="Arial" panose="020B0604020202020204" pitchFamily="34" charset="0"/>
                <a:cs typeface="Times New Roman" panose="02020603050405020304" pitchFamily="18" charset="0"/>
              </a:rPr>
              <a:t>that is </a:t>
            </a:r>
            <a:r>
              <a:rPr lang="en-US" sz="1400" b="1" dirty="0">
                <a:solidFill>
                  <a:srgbClr val="14438E"/>
                </a:solidFill>
                <a:latin typeface="Arial" panose="020B0604020202020204" pitchFamily="34" charset="0"/>
                <a:cs typeface="Times New Roman" panose="02020603050405020304" pitchFamily="18" charset="0"/>
              </a:rPr>
              <a:t>dated subsequent to the filing</a:t>
            </a:r>
            <a:r>
              <a:rPr lang="en-US" sz="1400" dirty="0">
                <a:solidFill>
                  <a:schemeClr val="tx2"/>
                </a:solidFill>
                <a:latin typeface="Arial" panose="020B0604020202020204" pitchFamily="34" charset="0"/>
                <a:cs typeface="Times New Roman" panose="02020603050405020304" pitchFamily="18" charset="0"/>
              </a:rPr>
              <a:t>, and in these cases, in principle, </a:t>
            </a:r>
            <a:r>
              <a:rPr lang="en-US" sz="1400" b="1" dirty="0">
                <a:solidFill>
                  <a:srgbClr val="14438E"/>
                </a:solidFill>
                <a:latin typeface="Arial" panose="020B0604020202020204" pitchFamily="34" charset="0"/>
                <a:cs typeface="Times New Roman" panose="02020603050405020304" pitchFamily="18" charset="0"/>
              </a:rPr>
              <a:t>those events might also be taken into account</a:t>
            </a:r>
            <a:r>
              <a:rPr lang="en-US" sz="1400" dirty="0">
                <a:solidFill>
                  <a:schemeClr val="tx2"/>
                </a:solidFill>
                <a:latin typeface="Arial" panose="020B0604020202020204" pitchFamily="34" charset="0"/>
                <a:cs typeface="Times New Roman" panose="02020603050405020304" pitchFamily="18" charset="0"/>
              </a:rPr>
              <a:t>.</a:t>
            </a:r>
            <a:endParaRPr lang="en-IE" sz="1400" dirty="0">
              <a:solidFill>
                <a:schemeClr val="tx2"/>
              </a:solidFill>
              <a:latin typeface="Arial" panose="020B0604020202020204" pitchFamily="34" charset="0"/>
              <a:cs typeface="Times New Roman" panose="02020603050405020304" pitchFamily="18" charset="0"/>
              <a:sym typeface="Wingdings" panose="05000000000000000000" pitchFamily="2" charset="2"/>
            </a:endParaRPr>
          </a:p>
        </p:txBody>
      </p:sp>
      <p:pic>
        <p:nvPicPr>
          <p:cNvPr id="13" name="Graphic 12" descr="Warning outline">
            <a:extLst>
              <a:ext uri="{FF2B5EF4-FFF2-40B4-BE49-F238E27FC236}">
                <a16:creationId xmlns:a16="http://schemas.microsoft.com/office/drawing/2014/main" id="{25302429-9C68-A1DB-EF27-37D4CB4176A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41316" y="3108820"/>
            <a:ext cx="455428" cy="455428"/>
          </a:xfrm>
          <a:prstGeom prst="rect">
            <a:avLst/>
          </a:prstGeom>
        </p:spPr>
      </p:pic>
      <p:grpSp>
        <p:nvGrpSpPr>
          <p:cNvPr id="52" name="Groupe 378">
            <a:extLst>
              <a:ext uri="{FF2B5EF4-FFF2-40B4-BE49-F238E27FC236}">
                <a16:creationId xmlns:a16="http://schemas.microsoft.com/office/drawing/2014/main" id="{F0EAA096-481E-056C-AE12-49E06002DADA}"/>
              </a:ext>
            </a:extLst>
          </p:cNvPr>
          <p:cNvGrpSpPr/>
          <p:nvPr/>
        </p:nvGrpSpPr>
        <p:grpSpPr>
          <a:xfrm>
            <a:off x="993727" y="1783264"/>
            <a:ext cx="380952" cy="448661"/>
            <a:chOff x="944563" y="3408363"/>
            <a:chExt cx="274638" cy="358775"/>
          </a:xfrm>
        </p:grpSpPr>
        <p:sp>
          <p:nvSpPr>
            <p:cNvPr id="53" name="Freeform 350">
              <a:extLst>
                <a:ext uri="{FF2B5EF4-FFF2-40B4-BE49-F238E27FC236}">
                  <a16:creationId xmlns:a16="http://schemas.microsoft.com/office/drawing/2014/main" id="{A86837CF-DC1A-D5F1-FF15-A58782AA40B9}"/>
                </a:ext>
              </a:extLst>
            </p:cNvPr>
            <p:cNvSpPr>
              <a:spLocks/>
            </p:cNvSpPr>
            <p:nvPr/>
          </p:nvSpPr>
          <p:spPr bwMode="auto">
            <a:xfrm>
              <a:off x="1031876" y="3408363"/>
              <a:ext cx="74613" cy="50800"/>
            </a:xfrm>
            <a:custGeom>
              <a:avLst/>
              <a:gdLst/>
              <a:ahLst/>
              <a:cxnLst>
                <a:cxn ang="0">
                  <a:pos x="40" y="32"/>
                </a:cxn>
                <a:cxn ang="0">
                  <a:pos x="40" y="22"/>
                </a:cxn>
                <a:cxn ang="0">
                  <a:pos x="47" y="22"/>
                </a:cxn>
                <a:cxn ang="0">
                  <a:pos x="47" y="0"/>
                </a:cxn>
                <a:cxn ang="0">
                  <a:pos x="0" y="0"/>
                </a:cxn>
                <a:cxn ang="0">
                  <a:pos x="0" y="22"/>
                </a:cxn>
                <a:cxn ang="0">
                  <a:pos x="7" y="22"/>
                </a:cxn>
                <a:cxn ang="0">
                  <a:pos x="7" y="32"/>
                </a:cxn>
              </a:cxnLst>
              <a:rect l="0" t="0" r="r" b="b"/>
              <a:pathLst>
                <a:path w="47" h="32">
                  <a:moveTo>
                    <a:pt x="40" y="32"/>
                  </a:moveTo>
                  <a:lnTo>
                    <a:pt x="40" y="22"/>
                  </a:lnTo>
                  <a:lnTo>
                    <a:pt x="47" y="22"/>
                  </a:lnTo>
                  <a:lnTo>
                    <a:pt x="47" y="0"/>
                  </a:lnTo>
                  <a:lnTo>
                    <a:pt x="0" y="0"/>
                  </a:lnTo>
                  <a:lnTo>
                    <a:pt x="0" y="22"/>
                  </a:lnTo>
                  <a:lnTo>
                    <a:pt x="7" y="22"/>
                  </a:lnTo>
                  <a:lnTo>
                    <a:pt x="7" y="32"/>
                  </a:lnTo>
                </a:path>
              </a:pathLst>
            </a:custGeom>
            <a:solidFill>
              <a:srgbClr val="14438E"/>
            </a:solidFill>
            <a:ln w="12700" cap="rnd">
              <a:solidFill>
                <a:srgbClr val="14438E"/>
              </a:solidFill>
              <a:prstDash val="solid"/>
              <a:round/>
              <a:headEnd/>
              <a:tailEnd/>
            </a:ln>
          </p:spPr>
          <p:txBody>
            <a:bodyPr vert="horz" wrap="square" lIns="68580" tIns="34290" rIns="68580" bIns="34290" numCol="1" anchor="t" anchorCtr="0" compatLnSpc="1">
              <a:prstTxWarp prst="textNoShape">
                <a:avLst/>
              </a:prstTxWarp>
            </a:bodyPr>
            <a:lstStyle/>
            <a:p>
              <a:endParaRPr lang="en-GB" sz="525" dirty="0">
                <a:solidFill>
                  <a:srgbClr val="4BACC6"/>
                </a:solidFill>
                <a:latin typeface="+mj-lt"/>
              </a:endParaRPr>
            </a:p>
          </p:txBody>
        </p:sp>
        <p:sp>
          <p:nvSpPr>
            <p:cNvPr id="54" name="Freeform 351">
              <a:extLst>
                <a:ext uri="{FF2B5EF4-FFF2-40B4-BE49-F238E27FC236}">
                  <a16:creationId xmlns:a16="http://schemas.microsoft.com/office/drawing/2014/main" id="{27F0D56E-35A3-66FA-E64F-5847B063254F}"/>
                </a:ext>
              </a:extLst>
            </p:cNvPr>
            <p:cNvSpPr>
              <a:spLocks/>
            </p:cNvSpPr>
            <p:nvPr/>
          </p:nvSpPr>
          <p:spPr bwMode="auto">
            <a:xfrm>
              <a:off x="944563" y="3482975"/>
              <a:ext cx="250825" cy="284163"/>
            </a:xfrm>
            <a:custGeom>
              <a:avLst/>
              <a:gdLst/>
              <a:ahLst/>
              <a:cxnLst>
                <a:cxn ang="0">
                  <a:pos x="16" y="95"/>
                </a:cxn>
                <a:cxn ang="0">
                  <a:pos x="26" y="85"/>
                </a:cxn>
                <a:cxn ang="0">
                  <a:pos x="14" y="56"/>
                </a:cxn>
                <a:cxn ang="0">
                  <a:pos x="26" y="26"/>
                </a:cxn>
                <a:cxn ang="0">
                  <a:pos x="56" y="14"/>
                </a:cxn>
                <a:cxn ang="0">
                  <a:pos x="86" y="26"/>
                </a:cxn>
                <a:cxn ang="0">
                  <a:pos x="98" y="56"/>
                </a:cxn>
                <a:cxn ang="0">
                  <a:pos x="86" y="85"/>
                </a:cxn>
                <a:cxn ang="0">
                  <a:pos x="57" y="97"/>
                </a:cxn>
                <a:cxn ang="0">
                  <a:pos x="57" y="81"/>
                </a:cxn>
                <a:cxn ang="0">
                  <a:pos x="35" y="104"/>
                </a:cxn>
                <a:cxn ang="0">
                  <a:pos x="57" y="126"/>
                </a:cxn>
                <a:cxn ang="0">
                  <a:pos x="57" y="111"/>
                </a:cxn>
                <a:cxn ang="0">
                  <a:pos x="95" y="95"/>
                </a:cxn>
                <a:cxn ang="0">
                  <a:pos x="112" y="56"/>
                </a:cxn>
                <a:cxn ang="0">
                  <a:pos x="95" y="16"/>
                </a:cxn>
                <a:cxn ang="0">
                  <a:pos x="56" y="0"/>
                </a:cxn>
                <a:cxn ang="0">
                  <a:pos x="16" y="16"/>
                </a:cxn>
                <a:cxn ang="0">
                  <a:pos x="0" y="56"/>
                </a:cxn>
                <a:cxn ang="0">
                  <a:pos x="6" y="81"/>
                </a:cxn>
              </a:cxnLst>
              <a:rect l="0" t="0" r="r" b="b"/>
              <a:pathLst>
                <a:path w="112" h="126">
                  <a:moveTo>
                    <a:pt x="16" y="95"/>
                  </a:moveTo>
                  <a:cubicBezTo>
                    <a:pt x="26" y="85"/>
                    <a:pt x="26" y="85"/>
                    <a:pt x="26" y="85"/>
                  </a:cubicBezTo>
                  <a:cubicBezTo>
                    <a:pt x="18" y="77"/>
                    <a:pt x="14" y="67"/>
                    <a:pt x="14" y="56"/>
                  </a:cubicBezTo>
                  <a:cubicBezTo>
                    <a:pt x="14" y="44"/>
                    <a:pt x="18" y="34"/>
                    <a:pt x="26" y="26"/>
                  </a:cubicBezTo>
                  <a:cubicBezTo>
                    <a:pt x="34" y="18"/>
                    <a:pt x="45" y="14"/>
                    <a:pt x="56" y="14"/>
                  </a:cubicBezTo>
                  <a:cubicBezTo>
                    <a:pt x="67" y="14"/>
                    <a:pt x="78" y="18"/>
                    <a:pt x="86" y="26"/>
                  </a:cubicBezTo>
                  <a:cubicBezTo>
                    <a:pt x="93" y="34"/>
                    <a:pt x="98" y="44"/>
                    <a:pt x="98" y="56"/>
                  </a:cubicBezTo>
                  <a:cubicBezTo>
                    <a:pt x="98" y="67"/>
                    <a:pt x="93" y="77"/>
                    <a:pt x="86" y="85"/>
                  </a:cubicBezTo>
                  <a:cubicBezTo>
                    <a:pt x="78" y="93"/>
                    <a:pt x="68" y="97"/>
                    <a:pt x="57" y="97"/>
                  </a:cubicBezTo>
                  <a:cubicBezTo>
                    <a:pt x="57" y="81"/>
                    <a:pt x="57" y="81"/>
                    <a:pt x="57" y="81"/>
                  </a:cubicBezTo>
                  <a:cubicBezTo>
                    <a:pt x="35" y="104"/>
                    <a:pt x="35" y="104"/>
                    <a:pt x="35" y="104"/>
                  </a:cubicBezTo>
                  <a:cubicBezTo>
                    <a:pt x="57" y="126"/>
                    <a:pt x="57" y="126"/>
                    <a:pt x="57" y="126"/>
                  </a:cubicBezTo>
                  <a:cubicBezTo>
                    <a:pt x="57" y="111"/>
                    <a:pt x="57" y="111"/>
                    <a:pt x="57" y="111"/>
                  </a:cubicBezTo>
                  <a:cubicBezTo>
                    <a:pt x="72" y="111"/>
                    <a:pt x="85" y="105"/>
                    <a:pt x="95" y="95"/>
                  </a:cubicBezTo>
                  <a:cubicBezTo>
                    <a:pt x="106" y="85"/>
                    <a:pt x="112" y="70"/>
                    <a:pt x="112" y="56"/>
                  </a:cubicBezTo>
                  <a:cubicBezTo>
                    <a:pt x="112" y="41"/>
                    <a:pt x="106" y="27"/>
                    <a:pt x="95" y="16"/>
                  </a:cubicBezTo>
                  <a:cubicBezTo>
                    <a:pt x="85" y="6"/>
                    <a:pt x="71" y="0"/>
                    <a:pt x="56" y="0"/>
                  </a:cubicBezTo>
                  <a:cubicBezTo>
                    <a:pt x="41" y="0"/>
                    <a:pt x="27" y="6"/>
                    <a:pt x="16" y="16"/>
                  </a:cubicBezTo>
                  <a:cubicBezTo>
                    <a:pt x="6" y="27"/>
                    <a:pt x="0" y="41"/>
                    <a:pt x="0" y="56"/>
                  </a:cubicBezTo>
                  <a:cubicBezTo>
                    <a:pt x="0" y="65"/>
                    <a:pt x="2" y="74"/>
                    <a:pt x="6" y="81"/>
                  </a:cubicBezTo>
                </a:path>
              </a:pathLst>
            </a:custGeom>
            <a:solidFill>
              <a:srgbClr val="14438E"/>
            </a:solidFill>
            <a:ln w="12700" cap="rnd">
              <a:solidFill>
                <a:srgbClr val="14438E"/>
              </a:solidFill>
              <a:prstDash val="solid"/>
              <a:round/>
              <a:headEnd/>
              <a:tailEnd/>
            </a:ln>
          </p:spPr>
          <p:txBody>
            <a:bodyPr vert="horz" wrap="square" lIns="68580" tIns="34290" rIns="68580" bIns="34290" numCol="1" anchor="t" anchorCtr="0" compatLnSpc="1">
              <a:prstTxWarp prst="textNoShape">
                <a:avLst/>
              </a:prstTxWarp>
            </a:bodyPr>
            <a:lstStyle/>
            <a:p>
              <a:endParaRPr lang="en-GB" sz="525" dirty="0">
                <a:solidFill>
                  <a:srgbClr val="4BACC6"/>
                </a:solidFill>
                <a:latin typeface="+mj-lt"/>
              </a:endParaRPr>
            </a:p>
          </p:txBody>
        </p:sp>
        <p:sp>
          <p:nvSpPr>
            <p:cNvPr id="55" name="Freeform 352">
              <a:extLst>
                <a:ext uri="{FF2B5EF4-FFF2-40B4-BE49-F238E27FC236}">
                  <a16:creationId xmlns:a16="http://schemas.microsoft.com/office/drawing/2014/main" id="{898A319D-CFF8-63E2-31FE-7CA63631BFFB}"/>
                </a:ext>
              </a:extLst>
            </p:cNvPr>
            <p:cNvSpPr>
              <a:spLocks/>
            </p:cNvSpPr>
            <p:nvPr/>
          </p:nvSpPr>
          <p:spPr bwMode="auto">
            <a:xfrm>
              <a:off x="1160463" y="3459163"/>
              <a:ext cx="58738" cy="58738"/>
            </a:xfrm>
            <a:custGeom>
              <a:avLst/>
              <a:gdLst/>
              <a:ahLst/>
              <a:cxnLst>
                <a:cxn ang="0">
                  <a:pos x="0" y="15"/>
                </a:cxn>
                <a:cxn ang="0">
                  <a:pos x="15" y="0"/>
                </a:cxn>
                <a:cxn ang="0">
                  <a:pos x="37" y="22"/>
                </a:cxn>
                <a:cxn ang="0">
                  <a:pos x="21" y="37"/>
                </a:cxn>
              </a:cxnLst>
              <a:rect l="0" t="0" r="r" b="b"/>
              <a:pathLst>
                <a:path w="37" h="37">
                  <a:moveTo>
                    <a:pt x="0" y="15"/>
                  </a:moveTo>
                  <a:lnTo>
                    <a:pt x="15" y="0"/>
                  </a:lnTo>
                  <a:lnTo>
                    <a:pt x="37" y="22"/>
                  </a:lnTo>
                  <a:lnTo>
                    <a:pt x="21" y="37"/>
                  </a:lnTo>
                </a:path>
              </a:pathLst>
            </a:custGeom>
            <a:solidFill>
              <a:srgbClr val="14438E"/>
            </a:solidFill>
            <a:ln w="12700" cap="rnd">
              <a:solidFill>
                <a:srgbClr val="14438E"/>
              </a:solidFill>
              <a:prstDash val="solid"/>
              <a:round/>
              <a:headEnd/>
              <a:tailEnd/>
            </a:ln>
          </p:spPr>
          <p:txBody>
            <a:bodyPr vert="horz" wrap="square" lIns="68580" tIns="34290" rIns="68580" bIns="34290" numCol="1" anchor="t" anchorCtr="0" compatLnSpc="1">
              <a:prstTxWarp prst="textNoShape">
                <a:avLst/>
              </a:prstTxWarp>
            </a:bodyPr>
            <a:lstStyle/>
            <a:p>
              <a:endParaRPr lang="en-GB" sz="525" dirty="0">
                <a:solidFill>
                  <a:srgbClr val="4BACC6"/>
                </a:solidFill>
                <a:latin typeface="+mj-lt"/>
              </a:endParaRPr>
            </a:p>
          </p:txBody>
        </p:sp>
        <p:sp>
          <p:nvSpPr>
            <p:cNvPr id="56" name="Line 353">
              <a:extLst>
                <a:ext uri="{FF2B5EF4-FFF2-40B4-BE49-F238E27FC236}">
                  <a16:creationId xmlns:a16="http://schemas.microsoft.com/office/drawing/2014/main" id="{0EE6070A-D69C-838F-54F8-1566C2A28287}"/>
                </a:ext>
              </a:extLst>
            </p:cNvPr>
            <p:cNvSpPr>
              <a:spLocks noChangeShapeType="1"/>
            </p:cNvSpPr>
            <p:nvPr/>
          </p:nvSpPr>
          <p:spPr bwMode="auto">
            <a:xfrm>
              <a:off x="1069976" y="3536950"/>
              <a:ext cx="1588" cy="69850"/>
            </a:xfrm>
            <a:prstGeom prst="line">
              <a:avLst/>
            </a:prstGeom>
            <a:noFill/>
            <a:ln w="12700" cap="rnd">
              <a:solidFill>
                <a:srgbClr val="14438E"/>
              </a:solidFill>
              <a:prstDash val="solid"/>
              <a:round/>
              <a:headEnd/>
              <a:tailEnd/>
            </a:ln>
          </p:spPr>
          <p:txBody>
            <a:bodyPr vert="horz" wrap="square" lIns="68580" tIns="34290" rIns="68580" bIns="34290" numCol="1" anchor="t" anchorCtr="0" compatLnSpc="1">
              <a:prstTxWarp prst="textNoShape">
                <a:avLst/>
              </a:prstTxWarp>
            </a:bodyPr>
            <a:lstStyle/>
            <a:p>
              <a:endParaRPr lang="en-GB" sz="525" dirty="0">
                <a:solidFill>
                  <a:srgbClr val="4BACC6"/>
                </a:solidFill>
                <a:latin typeface="+mj-lt"/>
              </a:endParaRPr>
            </a:p>
          </p:txBody>
        </p:sp>
        <p:sp>
          <p:nvSpPr>
            <p:cNvPr id="57" name="Oval 354">
              <a:extLst>
                <a:ext uri="{FF2B5EF4-FFF2-40B4-BE49-F238E27FC236}">
                  <a16:creationId xmlns:a16="http://schemas.microsoft.com/office/drawing/2014/main" id="{DE7A2A71-EFDB-1F5D-6D7E-A50E848E77A2}"/>
                </a:ext>
              </a:extLst>
            </p:cNvPr>
            <p:cNvSpPr>
              <a:spLocks noChangeArrowheads="1"/>
            </p:cNvSpPr>
            <p:nvPr/>
          </p:nvSpPr>
          <p:spPr bwMode="auto">
            <a:xfrm>
              <a:off x="1058863" y="3592513"/>
              <a:ext cx="25400" cy="26988"/>
            </a:xfrm>
            <a:prstGeom prst="ellipse">
              <a:avLst/>
            </a:prstGeom>
            <a:noFill/>
            <a:ln w="12700" cap="rnd">
              <a:solidFill>
                <a:srgbClr val="14438E"/>
              </a:solidFill>
              <a:prstDash val="solid"/>
              <a:round/>
              <a:headEnd/>
              <a:tailEnd/>
            </a:ln>
          </p:spPr>
          <p:txBody>
            <a:bodyPr vert="horz" wrap="square" lIns="68580" tIns="34290" rIns="68580" bIns="34290" numCol="1" anchor="t" anchorCtr="0" compatLnSpc="1">
              <a:prstTxWarp prst="textNoShape">
                <a:avLst/>
              </a:prstTxWarp>
            </a:bodyPr>
            <a:lstStyle/>
            <a:p>
              <a:endParaRPr lang="en-GB" sz="525" dirty="0">
                <a:solidFill>
                  <a:srgbClr val="4BACC6"/>
                </a:solidFill>
                <a:latin typeface="+mj-lt"/>
              </a:endParaRPr>
            </a:p>
          </p:txBody>
        </p:sp>
      </p:grpSp>
    </p:spTree>
    <p:extLst>
      <p:ext uri="{BB962C8B-B14F-4D97-AF65-F5344CB8AC3E}">
        <p14:creationId xmlns:p14="http://schemas.microsoft.com/office/powerpoint/2010/main" val="27038952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2 Assessment of signs contrary to public policy and/or to accepted principles of morality</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4" name="Rectangle 3">
            <a:extLst>
              <a:ext uri="{FF2B5EF4-FFF2-40B4-BE49-F238E27FC236}">
                <a16:creationId xmlns:a16="http://schemas.microsoft.com/office/drawing/2014/main" id="{0FA900E2-98A6-998A-78E2-6BF6F03D6565}"/>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s-ES" sz="1400" b="1" spc="-71" dirty="0">
                <a:solidFill>
                  <a:schemeClr val="accent5"/>
                </a:solidFill>
                <a:latin typeface="Arial"/>
                <a:ea typeface="Open Sans" panose="020B0606030504020204" pitchFamily="34" charset="0"/>
                <a:cs typeface="Arial"/>
              </a:rPr>
              <a:t>2.2.3 </a:t>
            </a:r>
            <a:r>
              <a:rPr lang="es-ES" sz="1400" b="1" spc="-71" dirty="0" err="1">
                <a:solidFill>
                  <a:schemeClr val="accent5"/>
                </a:solidFill>
                <a:latin typeface="Arial"/>
                <a:ea typeface="Open Sans" panose="020B0606030504020204" pitchFamily="34" charset="0"/>
                <a:cs typeface="Arial"/>
              </a:rPr>
              <a:t>Criteria</a:t>
            </a:r>
            <a:r>
              <a:rPr lang="es-ES" sz="1400" b="1" spc="-71" dirty="0">
                <a:solidFill>
                  <a:schemeClr val="accent5"/>
                </a:solidFill>
                <a:latin typeface="Arial"/>
                <a:ea typeface="Open Sans" panose="020B0606030504020204" pitchFamily="34" charset="0"/>
                <a:cs typeface="Arial"/>
              </a:rPr>
              <a:t> and </a:t>
            </a:r>
            <a:r>
              <a:rPr lang="es-ES" sz="1400" b="1" spc="-71" dirty="0" err="1">
                <a:solidFill>
                  <a:schemeClr val="accent5"/>
                </a:solidFill>
                <a:latin typeface="Arial"/>
                <a:ea typeface="Open Sans" panose="020B0606030504020204" pitchFamily="34" charset="0"/>
                <a:cs typeface="Arial"/>
              </a:rPr>
              <a:t>factors</a:t>
            </a:r>
            <a:endParaRPr lang="en-US" sz="1400" b="1" spc="-71" dirty="0">
              <a:solidFill>
                <a:schemeClr val="accent5"/>
              </a:solidFill>
              <a:latin typeface="Arial"/>
              <a:ea typeface="Open Sans" panose="020B0606030504020204" pitchFamily="34" charset="0"/>
              <a:cs typeface="Arial"/>
            </a:endParaRPr>
          </a:p>
        </p:txBody>
      </p:sp>
      <p:grpSp>
        <p:nvGrpSpPr>
          <p:cNvPr id="5" name="Group 4">
            <a:extLst>
              <a:ext uri="{FF2B5EF4-FFF2-40B4-BE49-F238E27FC236}">
                <a16:creationId xmlns:a16="http://schemas.microsoft.com/office/drawing/2014/main" id="{9E134C6A-3DD6-5A3D-E080-BD5028EECA0F}"/>
              </a:ext>
            </a:extLst>
          </p:cNvPr>
          <p:cNvGrpSpPr/>
          <p:nvPr/>
        </p:nvGrpSpPr>
        <p:grpSpPr>
          <a:xfrm>
            <a:off x="753810" y="1613167"/>
            <a:ext cx="7877502" cy="735839"/>
            <a:chOff x="4525196" y="1168565"/>
            <a:chExt cx="4454166" cy="774512"/>
          </a:xfrm>
        </p:grpSpPr>
        <p:sp>
          <p:nvSpPr>
            <p:cNvPr id="7" name="Rectangle: Rounded Corners 6">
              <a:extLst>
                <a:ext uri="{FF2B5EF4-FFF2-40B4-BE49-F238E27FC236}">
                  <a16:creationId xmlns:a16="http://schemas.microsoft.com/office/drawing/2014/main" id="{99FDEF84-0FE5-4066-2B47-0675CB69E6BD}"/>
                </a:ext>
              </a:extLst>
            </p:cNvPr>
            <p:cNvSpPr/>
            <p:nvPr/>
          </p:nvSpPr>
          <p:spPr>
            <a:xfrm>
              <a:off x="4525196" y="1216636"/>
              <a:ext cx="4454166" cy="726441"/>
            </a:xfrm>
            <a:prstGeom prst="roundRect">
              <a:avLst>
                <a:gd name="adj" fmla="val 50000"/>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
          <p:nvSpPr>
            <p:cNvPr id="9" name="Rectangle 3">
              <a:extLst>
                <a:ext uri="{FF2B5EF4-FFF2-40B4-BE49-F238E27FC236}">
                  <a16:creationId xmlns:a16="http://schemas.microsoft.com/office/drawing/2014/main" id="{122E8653-4A17-C48F-DB1F-371F65F21B78}"/>
                </a:ext>
              </a:extLst>
            </p:cNvPr>
            <p:cNvSpPr>
              <a:spLocks noChangeArrowheads="1"/>
            </p:cNvSpPr>
            <p:nvPr/>
          </p:nvSpPr>
          <p:spPr bwMode="auto">
            <a:xfrm>
              <a:off x="5082027" y="1380111"/>
              <a:ext cx="3150475" cy="3563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indent="312738"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R="0" lvl="0" indent="0" defTabSz="914400" rtl="0" eaLnBrk="1" fontAlgn="base" latinLnBrk="0" hangingPunct="1">
                <a:lnSpc>
                  <a:spcPct val="100000"/>
                </a:lnSpc>
                <a:spcBef>
                  <a:spcPct val="0"/>
                </a:spcBef>
                <a:spcAft>
                  <a:spcPct val="0"/>
                </a:spcAft>
                <a:buClrTx/>
                <a:buSzTx/>
                <a:tabLst/>
              </a:pPr>
              <a:r>
                <a:rPr lang="en-US" altLang="en-US" sz="1600" b="1" spc="-70" dirty="0">
                  <a:solidFill>
                    <a:srgbClr val="183D8C"/>
                  </a:solidFill>
                  <a:latin typeface="Arial"/>
                  <a:cs typeface="Arial"/>
                </a:rPr>
                <a:t>Criteria and factors</a:t>
              </a:r>
              <a:endParaRPr lang="en-GB" altLang="en-US" sz="1600" spc="-70" dirty="0">
                <a:solidFill>
                  <a:srgbClr val="183D8C"/>
                </a:solidFill>
                <a:latin typeface="Arial"/>
                <a:cs typeface="Arial"/>
              </a:endParaRPr>
            </a:p>
          </p:txBody>
        </p:sp>
        <p:sp>
          <p:nvSpPr>
            <p:cNvPr id="10" name="Oval 9">
              <a:extLst>
                <a:ext uri="{FF2B5EF4-FFF2-40B4-BE49-F238E27FC236}">
                  <a16:creationId xmlns:a16="http://schemas.microsoft.com/office/drawing/2014/main" id="{518793A1-7DE4-5096-725E-8A1CE3D23704}"/>
                </a:ext>
              </a:extLst>
            </p:cNvPr>
            <p:cNvSpPr/>
            <p:nvPr/>
          </p:nvSpPr>
          <p:spPr>
            <a:xfrm>
              <a:off x="4538496" y="1168565"/>
              <a:ext cx="448348" cy="774512"/>
            </a:xfrm>
            <a:prstGeom prst="ellipse">
              <a:avLst/>
            </a:prstGeom>
            <a:solidFill>
              <a:schemeClr val="bg1"/>
            </a:solidFill>
            <a:ln w="25400">
              <a:solidFill>
                <a:srgbClr val="4BACC6"/>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E" dirty="0"/>
            </a:p>
          </p:txBody>
        </p:sp>
      </p:grpSp>
      <p:sp>
        <p:nvSpPr>
          <p:cNvPr id="14" name="TextBox 13">
            <a:extLst>
              <a:ext uri="{FF2B5EF4-FFF2-40B4-BE49-F238E27FC236}">
                <a16:creationId xmlns:a16="http://schemas.microsoft.com/office/drawing/2014/main" id="{46A8CAEE-8D01-32D8-4A08-E64CA92BC990}"/>
              </a:ext>
            </a:extLst>
          </p:cNvPr>
          <p:cNvSpPr txBox="1"/>
          <p:nvPr/>
        </p:nvSpPr>
        <p:spPr>
          <a:xfrm>
            <a:off x="1570267" y="2308952"/>
            <a:ext cx="6389367" cy="2540760"/>
          </a:xfrm>
          <a:prstGeom prst="rect">
            <a:avLst/>
          </a:prstGeom>
          <a:noFill/>
        </p:spPr>
        <p:txBody>
          <a:bodyPr wrap="square">
            <a:spAutoFit/>
          </a:bodyPr>
          <a:lstStyle/>
          <a:p>
            <a:pPr marL="285750" indent="-285750" algn="just" defTabSz="533400">
              <a:lnSpc>
                <a:spcPct val="150000"/>
              </a:lnSpc>
              <a:spcBef>
                <a:spcPct val="0"/>
              </a:spcBef>
              <a:spcAft>
                <a:spcPct val="35000"/>
              </a:spcAft>
              <a:buFont typeface="Wingdings" panose="05000000000000000000" pitchFamily="2" charset="2"/>
              <a:buChar char="Ø"/>
            </a:pPr>
            <a:r>
              <a:rPr lang="en-US" sz="1400" dirty="0">
                <a:solidFill>
                  <a:srgbClr val="14438E"/>
                </a:solidFill>
                <a:latin typeface="Arial" panose="020B0604020202020204" pitchFamily="34" charset="0"/>
                <a:cs typeface="Times New Roman" panose="02020603050405020304" pitchFamily="18" charset="0"/>
                <a:sym typeface="Wingdings" panose="05000000000000000000" pitchFamily="2" charset="2"/>
              </a:rPr>
              <a:t>Assessment of the </a:t>
            </a:r>
            <a:r>
              <a:rPr lang="en-US" sz="1400" b="1" dirty="0">
                <a:solidFill>
                  <a:srgbClr val="4BACC6"/>
                </a:solidFill>
                <a:latin typeface="Arial" panose="020B0604020202020204" pitchFamily="34" charset="0"/>
                <a:cs typeface="Times New Roman" panose="02020603050405020304" pitchFamily="18" charset="0"/>
                <a:sym typeface="Wingdings" panose="05000000000000000000" pitchFamily="2" charset="2"/>
              </a:rPr>
              <a:t>sign itself</a:t>
            </a:r>
          </a:p>
          <a:p>
            <a:pPr marL="285750" indent="-285750" algn="just" defTabSz="533400">
              <a:lnSpc>
                <a:spcPct val="150000"/>
              </a:lnSpc>
              <a:spcBef>
                <a:spcPct val="0"/>
              </a:spcBef>
              <a:spcAft>
                <a:spcPct val="35000"/>
              </a:spcAft>
              <a:buFont typeface="Wingdings" panose="05000000000000000000" pitchFamily="2" charset="2"/>
              <a:buChar char="Ø"/>
            </a:pPr>
            <a:r>
              <a:rPr lang="en-US" sz="1400" dirty="0">
                <a:solidFill>
                  <a:srgbClr val="14438E"/>
                </a:solidFill>
                <a:latin typeface="Arial" panose="020B0604020202020204" pitchFamily="34" charset="0"/>
                <a:cs typeface="Times New Roman" panose="02020603050405020304" pitchFamily="18" charset="0"/>
                <a:sym typeface="Wingdings" panose="05000000000000000000" pitchFamily="2" charset="2"/>
              </a:rPr>
              <a:t>Assessment of the relationship between the </a:t>
            </a:r>
            <a:r>
              <a:rPr lang="en-US" sz="1400" b="1" dirty="0">
                <a:solidFill>
                  <a:srgbClr val="4BACC6"/>
                </a:solidFill>
                <a:latin typeface="Arial" panose="020B0604020202020204" pitchFamily="34" charset="0"/>
                <a:cs typeface="Times New Roman" panose="02020603050405020304" pitchFamily="18" charset="0"/>
                <a:sym typeface="Wingdings" panose="05000000000000000000" pitchFamily="2" charset="2"/>
              </a:rPr>
              <a:t>goods and services and the sign / relevant public  </a:t>
            </a:r>
          </a:p>
          <a:p>
            <a:pPr marL="285750" indent="-285750" algn="just" defTabSz="533400">
              <a:lnSpc>
                <a:spcPct val="150000"/>
              </a:lnSpc>
              <a:spcBef>
                <a:spcPct val="0"/>
              </a:spcBef>
              <a:spcAft>
                <a:spcPct val="35000"/>
              </a:spcAft>
              <a:buFont typeface="Wingdings" panose="05000000000000000000" pitchFamily="2" charset="2"/>
              <a:buChar char="Ø"/>
            </a:pPr>
            <a:r>
              <a:rPr lang="en-US" sz="1400" dirty="0">
                <a:solidFill>
                  <a:srgbClr val="14438E"/>
                </a:solidFill>
                <a:latin typeface="Arial" panose="020B0604020202020204" pitchFamily="34" charset="0"/>
                <a:cs typeface="Times New Roman" panose="02020603050405020304" pitchFamily="18" charset="0"/>
                <a:sym typeface="Wingdings" panose="05000000000000000000" pitchFamily="2" charset="2"/>
              </a:rPr>
              <a:t>For </a:t>
            </a:r>
            <a:r>
              <a:rPr lang="en-US" sz="1400" b="1" dirty="0">
                <a:solidFill>
                  <a:srgbClr val="14438E"/>
                </a:solidFill>
                <a:latin typeface="Arial" panose="020B0604020202020204" pitchFamily="34" charset="0"/>
                <a:cs typeface="Times New Roman" panose="02020603050405020304" pitchFamily="18" charset="0"/>
                <a:sym typeface="Wingdings" panose="05000000000000000000" pitchFamily="2" charset="2"/>
              </a:rPr>
              <a:t>public policy</a:t>
            </a:r>
            <a:r>
              <a:rPr lang="en-US" sz="1400" dirty="0">
                <a:solidFill>
                  <a:srgbClr val="14438E"/>
                </a:solidFill>
                <a:latin typeface="Arial" panose="020B0604020202020204" pitchFamily="34" charset="0"/>
                <a:cs typeface="Times New Roman" panose="02020603050405020304" pitchFamily="18" charset="0"/>
                <a:sym typeface="Wingdings" panose="05000000000000000000" pitchFamily="2" charset="2"/>
              </a:rPr>
              <a:t>: Determination of the </a:t>
            </a:r>
            <a:r>
              <a:rPr lang="en-US" sz="1400" b="1" dirty="0">
                <a:solidFill>
                  <a:srgbClr val="4BACC6"/>
                </a:solidFill>
                <a:latin typeface="Arial" panose="020B0604020202020204" pitchFamily="34" charset="0"/>
                <a:cs typeface="Times New Roman" panose="02020603050405020304" pitchFamily="18" charset="0"/>
                <a:sym typeface="Wingdings" panose="05000000000000000000" pitchFamily="2" charset="2"/>
              </a:rPr>
              <a:t>reliable and objective sources </a:t>
            </a:r>
            <a:r>
              <a:rPr lang="en-US" sz="1400" dirty="0">
                <a:solidFill>
                  <a:srgbClr val="14438E"/>
                </a:solidFill>
                <a:latin typeface="Arial" panose="020B0604020202020204" pitchFamily="34" charset="0"/>
                <a:cs typeface="Times New Roman" panose="02020603050405020304" pitchFamily="18" charset="0"/>
                <a:sym typeface="Wingdings" panose="05000000000000000000" pitchFamily="2" charset="2"/>
              </a:rPr>
              <a:t>from which </a:t>
            </a:r>
            <a:r>
              <a:rPr lang="en-US" sz="1400" b="1" dirty="0">
                <a:solidFill>
                  <a:srgbClr val="4BACC6"/>
                </a:solidFill>
                <a:latin typeface="Arial" panose="020B0604020202020204" pitchFamily="34" charset="0"/>
                <a:cs typeface="Times New Roman" panose="02020603050405020304" pitchFamily="18" charset="0"/>
                <a:sym typeface="Wingdings" panose="05000000000000000000" pitchFamily="2" charset="2"/>
              </a:rPr>
              <a:t>public policy </a:t>
            </a:r>
            <a:r>
              <a:rPr lang="en-US" sz="1400" dirty="0">
                <a:solidFill>
                  <a:srgbClr val="14438E"/>
                </a:solidFill>
                <a:latin typeface="Arial" panose="020B0604020202020204" pitchFamily="34" charset="0"/>
                <a:cs typeface="Times New Roman" panose="02020603050405020304" pitchFamily="18" charset="0"/>
                <a:sym typeface="Wingdings" panose="05000000000000000000" pitchFamily="2" charset="2"/>
              </a:rPr>
              <a:t>could be ascertained</a:t>
            </a:r>
          </a:p>
          <a:p>
            <a:pPr marL="285750" indent="-285750" algn="just" defTabSz="533400">
              <a:lnSpc>
                <a:spcPct val="150000"/>
              </a:lnSpc>
              <a:spcBef>
                <a:spcPct val="0"/>
              </a:spcBef>
              <a:spcAft>
                <a:spcPct val="35000"/>
              </a:spcAft>
              <a:buFont typeface="Wingdings" panose="05000000000000000000" pitchFamily="2" charset="2"/>
              <a:buChar char="Ø"/>
            </a:pPr>
            <a:r>
              <a:rPr lang="en-US" sz="1400" dirty="0">
                <a:solidFill>
                  <a:srgbClr val="14438E"/>
                </a:solidFill>
                <a:latin typeface="Arial" panose="020B0604020202020204" pitchFamily="34" charset="0"/>
                <a:cs typeface="Times New Roman" panose="02020603050405020304" pitchFamily="18" charset="0"/>
                <a:sym typeface="Wingdings" panose="05000000000000000000" pitchFamily="2" charset="2"/>
              </a:rPr>
              <a:t>For </a:t>
            </a:r>
            <a:r>
              <a:rPr lang="en-US" sz="1400" b="1" dirty="0">
                <a:solidFill>
                  <a:srgbClr val="14438E"/>
                </a:solidFill>
                <a:latin typeface="Arial" panose="020B0604020202020204" pitchFamily="34" charset="0"/>
                <a:cs typeface="Times New Roman" panose="02020603050405020304" pitchFamily="18" charset="0"/>
                <a:sym typeface="Wingdings" panose="05000000000000000000" pitchFamily="2" charset="2"/>
              </a:rPr>
              <a:t>accepted principles of morality</a:t>
            </a:r>
            <a:r>
              <a:rPr lang="en-US" sz="1400" dirty="0">
                <a:solidFill>
                  <a:srgbClr val="14438E"/>
                </a:solidFill>
                <a:latin typeface="Arial" panose="020B0604020202020204" pitchFamily="34" charset="0"/>
                <a:cs typeface="Times New Roman" panose="02020603050405020304" pitchFamily="18" charset="0"/>
                <a:sym typeface="Wingdings" panose="05000000000000000000" pitchFamily="2" charset="2"/>
              </a:rPr>
              <a:t>: Identification of the applicable </a:t>
            </a:r>
            <a:r>
              <a:rPr lang="en-US" sz="1400" b="1" dirty="0">
                <a:solidFill>
                  <a:srgbClr val="4BACC6"/>
                </a:solidFill>
                <a:latin typeface="Arial" panose="020B0604020202020204" pitchFamily="34" charset="0"/>
                <a:cs typeface="Times New Roman" panose="02020603050405020304" pitchFamily="18" charset="0"/>
                <a:sym typeface="Wingdings" panose="05000000000000000000" pitchFamily="2" charset="2"/>
              </a:rPr>
              <a:t>fundamental moral values and standards</a:t>
            </a:r>
          </a:p>
        </p:txBody>
      </p:sp>
      <p:grpSp>
        <p:nvGrpSpPr>
          <p:cNvPr id="25" name="Group 24">
            <a:extLst>
              <a:ext uri="{FF2B5EF4-FFF2-40B4-BE49-F238E27FC236}">
                <a16:creationId xmlns:a16="http://schemas.microsoft.com/office/drawing/2014/main" id="{F7786EFD-2FC8-08AF-E9BC-E50A43E7B652}"/>
              </a:ext>
            </a:extLst>
          </p:cNvPr>
          <p:cNvGrpSpPr/>
          <p:nvPr/>
        </p:nvGrpSpPr>
        <p:grpSpPr>
          <a:xfrm>
            <a:off x="940482" y="1742314"/>
            <a:ext cx="466633" cy="477543"/>
            <a:chOff x="878841" y="1716431"/>
            <a:chExt cx="551963" cy="552491"/>
          </a:xfrm>
        </p:grpSpPr>
        <p:sp>
          <p:nvSpPr>
            <p:cNvPr id="21" name="Freeform 217">
              <a:extLst>
                <a:ext uri="{FF2B5EF4-FFF2-40B4-BE49-F238E27FC236}">
                  <a16:creationId xmlns:a16="http://schemas.microsoft.com/office/drawing/2014/main" id="{8C07732E-B90E-5084-6220-DE29EAE9B58F}"/>
                </a:ext>
                <a:ext uri="{C183D7F6-B498-43B3-948B-1728B52AA6E4}">
                  <adec:decorative xmlns:adec="http://schemas.microsoft.com/office/drawing/2017/decorative" val="1"/>
                </a:ext>
              </a:extLst>
            </p:cNvPr>
            <p:cNvSpPr>
              <a:spLocks/>
            </p:cNvSpPr>
            <p:nvPr/>
          </p:nvSpPr>
          <p:spPr bwMode="auto">
            <a:xfrm>
              <a:off x="1071976" y="2000328"/>
              <a:ext cx="358828" cy="268594"/>
            </a:xfrm>
            <a:custGeom>
              <a:avLst/>
              <a:gdLst>
                <a:gd name="T0" fmla="*/ 268 w 340"/>
                <a:gd name="T1" fmla="*/ 0 h 255"/>
                <a:gd name="T2" fmla="*/ 273 w 340"/>
                <a:gd name="T3" fmla="*/ 24 h 255"/>
                <a:gd name="T4" fmla="*/ 213 w 340"/>
                <a:gd name="T5" fmla="*/ 84 h 255"/>
                <a:gd name="T6" fmla="*/ 153 w 340"/>
                <a:gd name="T7" fmla="*/ 24 h 255"/>
                <a:gd name="T8" fmla="*/ 158 w 340"/>
                <a:gd name="T9" fmla="*/ 0 h 255"/>
                <a:gd name="T10" fmla="*/ 86 w 340"/>
                <a:gd name="T11" fmla="*/ 0 h 255"/>
                <a:gd name="T12" fmla="*/ 86 w 340"/>
                <a:gd name="T13" fmla="*/ 99 h 255"/>
                <a:gd name="T14" fmla="*/ 48 w 340"/>
                <a:gd name="T15" fmla="*/ 80 h 255"/>
                <a:gd name="T16" fmla="*/ 0 w 340"/>
                <a:gd name="T17" fmla="*/ 127 h 255"/>
                <a:gd name="T18" fmla="*/ 48 w 340"/>
                <a:gd name="T19" fmla="*/ 175 h 255"/>
                <a:gd name="T20" fmla="*/ 86 w 340"/>
                <a:gd name="T21" fmla="*/ 155 h 255"/>
                <a:gd name="T22" fmla="*/ 86 w 340"/>
                <a:gd name="T23" fmla="*/ 255 h 255"/>
                <a:gd name="T24" fmla="*/ 340 w 340"/>
                <a:gd name="T25" fmla="*/ 255 h 255"/>
                <a:gd name="T26" fmla="*/ 340 w 340"/>
                <a:gd name="T27" fmla="*/ 0 h 255"/>
                <a:gd name="T28" fmla="*/ 268 w 340"/>
                <a:gd name="T29"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0" h="255">
                  <a:moveTo>
                    <a:pt x="268" y="0"/>
                  </a:moveTo>
                  <a:cubicBezTo>
                    <a:pt x="271" y="8"/>
                    <a:pt x="273" y="16"/>
                    <a:pt x="273" y="24"/>
                  </a:cubicBezTo>
                  <a:cubicBezTo>
                    <a:pt x="273" y="57"/>
                    <a:pt x="246" y="84"/>
                    <a:pt x="213" y="84"/>
                  </a:cubicBezTo>
                  <a:cubicBezTo>
                    <a:pt x="180" y="84"/>
                    <a:pt x="153" y="57"/>
                    <a:pt x="153" y="24"/>
                  </a:cubicBezTo>
                  <a:cubicBezTo>
                    <a:pt x="153" y="16"/>
                    <a:pt x="155" y="8"/>
                    <a:pt x="158" y="0"/>
                  </a:cubicBezTo>
                  <a:cubicBezTo>
                    <a:pt x="86" y="0"/>
                    <a:pt x="86" y="0"/>
                    <a:pt x="86" y="0"/>
                  </a:cubicBezTo>
                  <a:cubicBezTo>
                    <a:pt x="86" y="99"/>
                    <a:pt x="86" y="99"/>
                    <a:pt x="86" y="99"/>
                  </a:cubicBezTo>
                  <a:cubicBezTo>
                    <a:pt x="77" y="88"/>
                    <a:pt x="64" y="80"/>
                    <a:pt x="48" y="80"/>
                  </a:cubicBezTo>
                  <a:cubicBezTo>
                    <a:pt x="22" y="80"/>
                    <a:pt x="0" y="101"/>
                    <a:pt x="0" y="127"/>
                  </a:cubicBezTo>
                  <a:cubicBezTo>
                    <a:pt x="0" y="154"/>
                    <a:pt x="22" y="175"/>
                    <a:pt x="48" y="175"/>
                  </a:cubicBezTo>
                  <a:cubicBezTo>
                    <a:pt x="64" y="175"/>
                    <a:pt x="77" y="167"/>
                    <a:pt x="86" y="155"/>
                  </a:cubicBezTo>
                  <a:cubicBezTo>
                    <a:pt x="86" y="255"/>
                    <a:pt x="86" y="255"/>
                    <a:pt x="86" y="255"/>
                  </a:cubicBezTo>
                  <a:cubicBezTo>
                    <a:pt x="340" y="255"/>
                    <a:pt x="340" y="255"/>
                    <a:pt x="340" y="255"/>
                  </a:cubicBezTo>
                  <a:cubicBezTo>
                    <a:pt x="340" y="0"/>
                    <a:pt x="340" y="0"/>
                    <a:pt x="340" y="0"/>
                  </a:cubicBezTo>
                  <a:lnTo>
                    <a:pt x="268" y="0"/>
                  </a:lnTo>
                  <a:close/>
                </a:path>
              </a:pathLst>
            </a:custGeom>
            <a:solidFill>
              <a:srgbClr val="4BACC6"/>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Times New Roman"/>
              </a:endParaRPr>
            </a:p>
          </p:txBody>
        </p:sp>
        <p:sp>
          <p:nvSpPr>
            <p:cNvPr id="22" name="Freeform 218">
              <a:extLst>
                <a:ext uri="{FF2B5EF4-FFF2-40B4-BE49-F238E27FC236}">
                  <a16:creationId xmlns:a16="http://schemas.microsoft.com/office/drawing/2014/main" id="{E05D8921-C66F-0C6B-9702-DFE8C721EF75}"/>
                </a:ext>
                <a:ext uri="{C183D7F6-B498-43B3-948B-1728B52AA6E4}">
                  <adec:decorative xmlns:adec="http://schemas.microsoft.com/office/drawing/2017/decorative" val="1"/>
                </a:ext>
              </a:extLst>
            </p:cNvPr>
            <p:cNvSpPr>
              <a:spLocks/>
            </p:cNvSpPr>
            <p:nvPr/>
          </p:nvSpPr>
          <p:spPr bwMode="auto">
            <a:xfrm>
              <a:off x="878841" y="1716431"/>
              <a:ext cx="359884" cy="269121"/>
            </a:xfrm>
            <a:custGeom>
              <a:avLst/>
              <a:gdLst>
                <a:gd name="T0" fmla="*/ 293 w 341"/>
                <a:gd name="T1" fmla="*/ 80 h 255"/>
                <a:gd name="T2" fmla="*/ 254 w 341"/>
                <a:gd name="T3" fmla="*/ 100 h 255"/>
                <a:gd name="T4" fmla="*/ 254 w 341"/>
                <a:gd name="T5" fmla="*/ 0 h 255"/>
                <a:gd name="T6" fmla="*/ 0 w 341"/>
                <a:gd name="T7" fmla="*/ 0 h 255"/>
                <a:gd name="T8" fmla="*/ 0 w 341"/>
                <a:gd name="T9" fmla="*/ 255 h 255"/>
                <a:gd name="T10" fmla="*/ 73 w 341"/>
                <a:gd name="T11" fmla="*/ 255 h 255"/>
                <a:gd name="T12" fmla="*/ 67 w 341"/>
                <a:gd name="T13" fmla="*/ 230 h 255"/>
                <a:gd name="T14" fmla="*/ 127 w 341"/>
                <a:gd name="T15" fmla="*/ 170 h 255"/>
                <a:gd name="T16" fmla="*/ 187 w 341"/>
                <a:gd name="T17" fmla="*/ 230 h 255"/>
                <a:gd name="T18" fmla="*/ 182 w 341"/>
                <a:gd name="T19" fmla="*/ 255 h 255"/>
                <a:gd name="T20" fmla="*/ 254 w 341"/>
                <a:gd name="T21" fmla="*/ 255 h 255"/>
                <a:gd name="T22" fmla="*/ 254 w 341"/>
                <a:gd name="T23" fmla="*/ 155 h 255"/>
                <a:gd name="T24" fmla="*/ 293 w 341"/>
                <a:gd name="T25" fmla="*/ 175 h 255"/>
                <a:gd name="T26" fmla="*/ 341 w 341"/>
                <a:gd name="T27" fmla="*/ 127 h 255"/>
                <a:gd name="T28" fmla="*/ 293 w 341"/>
                <a:gd name="T29" fmla="*/ 8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1" h="255">
                  <a:moveTo>
                    <a:pt x="293" y="80"/>
                  </a:moveTo>
                  <a:cubicBezTo>
                    <a:pt x="277" y="80"/>
                    <a:pt x="263" y="88"/>
                    <a:pt x="254" y="100"/>
                  </a:cubicBezTo>
                  <a:cubicBezTo>
                    <a:pt x="254" y="0"/>
                    <a:pt x="254" y="0"/>
                    <a:pt x="254" y="0"/>
                  </a:cubicBezTo>
                  <a:cubicBezTo>
                    <a:pt x="0" y="0"/>
                    <a:pt x="0" y="0"/>
                    <a:pt x="0" y="0"/>
                  </a:cubicBezTo>
                  <a:cubicBezTo>
                    <a:pt x="0" y="255"/>
                    <a:pt x="0" y="255"/>
                    <a:pt x="0" y="255"/>
                  </a:cubicBezTo>
                  <a:cubicBezTo>
                    <a:pt x="73" y="255"/>
                    <a:pt x="73" y="255"/>
                    <a:pt x="73" y="255"/>
                  </a:cubicBezTo>
                  <a:cubicBezTo>
                    <a:pt x="69" y="247"/>
                    <a:pt x="67" y="239"/>
                    <a:pt x="67" y="230"/>
                  </a:cubicBezTo>
                  <a:cubicBezTo>
                    <a:pt x="67" y="197"/>
                    <a:pt x="94" y="170"/>
                    <a:pt x="127" y="170"/>
                  </a:cubicBezTo>
                  <a:cubicBezTo>
                    <a:pt x="160" y="170"/>
                    <a:pt x="187" y="197"/>
                    <a:pt x="187" y="230"/>
                  </a:cubicBezTo>
                  <a:cubicBezTo>
                    <a:pt x="187" y="239"/>
                    <a:pt x="185" y="247"/>
                    <a:pt x="182" y="255"/>
                  </a:cubicBezTo>
                  <a:cubicBezTo>
                    <a:pt x="254" y="255"/>
                    <a:pt x="254" y="255"/>
                    <a:pt x="254" y="255"/>
                  </a:cubicBezTo>
                  <a:cubicBezTo>
                    <a:pt x="254" y="155"/>
                    <a:pt x="254" y="155"/>
                    <a:pt x="254" y="155"/>
                  </a:cubicBezTo>
                  <a:cubicBezTo>
                    <a:pt x="263" y="167"/>
                    <a:pt x="277" y="175"/>
                    <a:pt x="293" y="175"/>
                  </a:cubicBezTo>
                  <a:cubicBezTo>
                    <a:pt x="319" y="175"/>
                    <a:pt x="341" y="154"/>
                    <a:pt x="341" y="127"/>
                  </a:cubicBezTo>
                  <a:cubicBezTo>
                    <a:pt x="341" y="101"/>
                    <a:pt x="319" y="80"/>
                    <a:pt x="293" y="80"/>
                  </a:cubicBezTo>
                  <a:close/>
                </a:path>
              </a:pathLst>
            </a:custGeom>
            <a:solidFill>
              <a:srgbClr val="024DA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Times New Roman"/>
              </a:endParaRPr>
            </a:p>
          </p:txBody>
        </p:sp>
        <p:sp>
          <p:nvSpPr>
            <p:cNvPr id="23" name="Freeform 219">
              <a:extLst>
                <a:ext uri="{FF2B5EF4-FFF2-40B4-BE49-F238E27FC236}">
                  <a16:creationId xmlns:a16="http://schemas.microsoft.com/office/drawing/2014/main" id="{70D636AD-7EA2-14A8-BB89-764BF3987E14}"/>
                </a:ext>
                <a:ext uri="{C183D7F6-B498-43B3-948B-1728B52AA6E4}">
                  <adec:decorative xmlns:adec="http://schemas.microsoft.com/office/drawing/2017/decorative" val="1"/>
                </a:ext>
              </a:extLst>
            </p:cNvPr>
            <p:cNvSpPr>
              <a:spLocks/>
            </p:cNvSpPr>
            <p:nvPr/>
          </p:nvSpPr>
          <p:spPr bwMode="auto">
            <a:xfrm>
              <a:off x="1162738" y="1716431"/>
              <a:ext cx="268066" cy="359356"/>
            </a:xfrm>
            <a:custGeom>
              <a:avLst/>
              <a:gdLst>
                <a:gd name="T0" fmla="*/ 254 w 254"/>
                <a:gd name="T1" fmla="*/ 0 h 341"/>
                <a:gd name="T2" fmla="*/ 0 w 254"/>
                <a:gd name="T3" fmla="*/ 0 h 341"/>
                <a:gd name="T4" fmla="*/ 0 w 254"/>
                <a:gd name="T5" fmla="*/ 73 h 341"/>
                <a:gd name="T6" fmla="*/ 24 w 254"/>
                <a:gd name="T7" fmla="*/ 68 h 341"/>
                <a:gd name="T8" fmla="*/ 84 w 254"/>
                <a:gd name="T9" fmla="*/ 127 h 341"/>
                <a:gd name="T10" fmla="*/ 24 w 254"/>
                <a:gd name="T11" fmla="*/ 187 h 341"/>
                <a:gd name="T12" fmla="*/ 0 w 254"/>
                <a:gd name="T13" fmla="*/ 182 h 341"/>
                <a:gd name="T14" fmla="*/ 0 w 254"/>
                <a:gd name="T15" fmla="*/ 255 h 341"/>
                <a:gd name="T16" fmla="*/ 100 w 254"/>
                <a:gd name="T17" fmla="*/ 255 h 341"/>
                <a:gd name="T18" fmla="*/ 80 w 254"/>
                <a:gd name="T19" fmla="*/ 293 h 341"/>
                <a:gd name="T20" fmla="*/ 127 w 254"/>
                <a:gd name="T21" fmla="*/ 341 h 341"/>
                <a:gd name="T22" fmla="*/ 175 w 254"/>
                <a:gd name="T23" fmla="*/ 293 h 341"/>
                <a:gd name="T24" fmla="*/ 155 w 254"/>
                <a:gd name="T25" fmla="*/ 255 h 341"/>
                <a:gd name="T26" fmla="*/ 254 w 254"/>
                <a:gd name="T27" fmla="*/ 255 h 341"/>
                <a:gd name="T28" fmla="*/ 254 w 254"/>
                <a:gd name="T29" fmla="*/ 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4" h="341">
                  <a:moveTo>
                    <a:pt x="254" y="0"/>
                  </a:moveTo>
                  <a:cubicBezTo>
                    <a:pt x="0" y="0"/>
                    <a:pt x="0" y="0"/>
                    <a:pt x="0" y="0"/>
                  </a:cubicBezTo>
                  <a:cubicBezTo>
                    <a:pt x="0" y="73"/>
                    <a:pt x="0" y="73"/>
                    <a:pt x="0" y="73"/>
                  </a:cubicBezTo>
                  <a:cubicBezTo>
                    <a:pt x="7" y="69"/>
                    <a:pt x="16" y="68"/>
                    <a:pt x="24" y="68"/>
                  </a:cubicBezTo>
                  <a:cubicBezTo>
                    <a:pt x="57" y="68"/>
                    <a:pt x="84" y="94"/>
                    <a:pt x="84" y="127"/>
                  </a:cubicBezTo>
                  <a:cubicBezTo>
                    <a:pt x="84" y="161"/>
                    <a:pt x="57" y="187"/>
                    <a:pt x="24" y="187"/>
                  </a:cubicBezTo>
                  <a:cubicBezTo>
                    <a:pt x="16" y="187"/>
                    <a:pt x="7" y="186"/>
                    <a:pt x="0" y="182"/>
                  </a:cubicBezTo>
                  <a:cubicBezTo>
                    <a:pt x="0" y="255"/>
                    <a:pt x="0" y="255"/>
                    <a:pt x="0" y="255"/>
                  </a:cubicBezTo>
                  <a:cubicBezTo>
                    <a:pt x="100" y="255"/>
                    <a:pt x="100" y="255"/>
                    <a:pt x="100" y="255"/>
                  </a:cubicBezTo>
                  <a:cubicBezTo>
                    <a:pt x="88" y="263"/>
                    <a:pt x="80" y="277"/>
                    <a:pt x="80" y="293"/>
                  </a:cubicBezTo>
                  <a:cubicBezTo>
                    <a:pt x="80" y="320"/>
                    <a:pt x="101" y="341"/>
                    <a:pt x="127" y="341"/>
                  </a:cubicBezTo>
                  <a:cubicBezTo>
                    <a:pt x="153" y="341"/>
                    <a:pt x="175" y="320"/>
                    <a:pt x="175" y="293"/>
                  </a:cubicBezTo>
                  <a:cubicBezTo>
                    <a:pt x="175" y="277"/>
                    <a:pt x="167" y="263"/>
                    <a:pt x="155" y="255"/>
                  </a:cubicBezTo>
                  <a:cubicBezTo>
                    <a:pt x="254" y="255"/>
                    <a:pt x="254" y="255"/>
                    <a:pt x="254" y="255"/>
                  </a:cubicBezTo>
                  <a:lnTo>
                    <a:pt x="254" y="0"/>
                  </a:lnTo>
                  <a:close/>
                </a:path>
              </a:pathLst>
            </a:custGeom>
            <a:solidFill>
              <a:srgbClr val="629DD1"/>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Times New Roman"/>
              </a:endParaRPr>
            </a:p>
          </p:txBody>
        </p:sp>
        <p:sp>
          <p:nvSpPr>
            <p:cNvPr id="24" name="Freeform 220">
              <a:extLst>
                <a:ext uri="{FF2B5EF4-FFF2-40B4-BE49-F238E27FC236}">
                  <a16:creationId xmlns:a16="http://schemas.microsoft.com/office/drawing/2014/main" id="{9AFFC97A-8C94-7AA3-8C19-72891F59950F}"/>
                </a:ext>
                <a:ext uri="{C183D7F6-B498-43B3-948B-1728B52AA6E4}">
                  <adec:decorative xmlns:adec="http://schemas.microsoft.com/office/drawing/2017/decorative" val="1"/>
                </a:ext>
              </a:extLst>
            </p:cNvPr>
            <p:cNvSpPr>
              <a:spLocks/>
            </p:cNvSpPr>
            <p:nvPr/>
          </p:nvSpPr>
          <p:spPr bwMode="auto">
            <a:xfrm>
              <a:off x="878841" y="1909565"/>
              <a:ext cx="268066" cy="359356"/>
            </a:xfrm>
            <a:custGeom>
              <a:avLst/>
              <a:gdLst>
                <a:gd name="T0" fmla="*/ 231 w 254"/>
                <a:gd name="T1" fmla="*/ 154 h 341"/>
                <a:gd name="T2" fmla="*/ 254 w 254"/>
                <a:gd name="T3" fmla="*/ 158 h 341"/>
                <a:gd name="T4" fmla="*/ 254 w 254"/>
                <a:gd name="T5" fmla="*/ 86 h 341"/>
                <a:gd name="T6" fmla="*/ 154 w 254"/>
                <a:gd name="T7" fmla="*/ 86 h 341"/>
                <a:gd name="T8" fmla="*/ 175 w 254"/>
                <a:gd name="T9" fmla="*/ 47 h 341"/>
                <a:gd name="T10" fmla="*/ 127 w 254"/>
                <a:gd name="T11" fmla="*/ 0 h 341"/>
                <a:gd name="T12" fmla="*/ 80 w 254"/>
                <a:gd name="T13" fmla="*/ 47 h 341"/>
                <a:gd name="T14" fmla="*/ 100 w 254"/>
                <a:gd name="T15" fmla="*/ 86 h 341"/>
                <a:gd name="T16" fmla="*/ 0 w 254"/>
                <a:gd name="T17" fmla="*/ 86 h 341"/>
                <a:gd name="T18" fmla="*/ 0 w 254"/>
                <a:gd name="T19" fmla="*/ 341 h 341"/>
                <a:gd name="T20" fmla="*/ 254 w 254"/>
                <a:gd name="T21" fmla="*/ 341 h 341"/>
                <a:gd name="T22" fmla="*/ 254 w 254"/>
                <a:gd name="T23" fmla="*/ 268 h 341"/>
                <a:gd name="T24" fmla="*/ 231 w 254"/>
                <a:gd name="T25" fmla="*/ 273 h 341"/>
                <a:gd name="T26" fmla="*/ 171 w 254"/>
                <a:gd name="T27" fmla="*/ 213 h 341"/>
                <a:gd name="T28" fmla="*/ 231 w 254"/>
                <a:gd name="T29" fmla="*/ 154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4" h="341">
                  <a:moveTo>
                    <a:pt x="231" y="154"/>
                  </a:moveTo>
                  <a:cubicBezTo>
                    <a:pt x="239" y="154"/>
                    <a:pt x="247" y="155"/>
                    <a:pt x="254" y="158"/>
                  </a:cubicBezTo>
                  <a:cubicBezTo>
                    <a:pt x="254" y="86"/>
                    <a:pt x="254" y="86"/>
                    <a:pt x="254" y="86"/>
                  </a:cubicBezTo>
                  <a:cubicBezTo>
                    <a:pt x="154" y="86"/>
                    <a:pt x="154" y="86"/>
                    <a:pt x="154" y="86"/>
                  </a:cubicBezTo>
                  <a:cubicBezTo>
                    <a:pt x="167" y="78"/>
                    <a:pt x="175" y="63"/>
                    <a:pt x="175" y="47"/>
                  </a:cubicBezTo>
                  <a:cubicBezTo>
                    <a:pt x="175" y="21"/>
                    <a:pt x="153" y="0"/>
                    <a:pt x="127" y="0"/>
                  </a:cubicBezTo>
                  <a:cubicBezTo>
                    <a:pt x="101" y="0"/>
                    <a:pt x="80" y="21"/>
                    <a:pt x="80" y="47"/>
                  </a:cubicBezTo>
                  <a:cubicBezTo>
                    <a:pt x="80" y="63"/>
                    <a:pt x="88" y="78"/>
                    <a:pt x="100" y="86"/>
                  </a:cubicBezTo>
                  <a:cubicBezTo>
                    <a:pt x="0" y="86"/>
                    <a:pt x="0" y="86"/>
                    <a:pt x="0" y="86"/>
                  </a:cubicBezTo>
                  <a:cubicBezTo>
                    <a:pt x="0" y="341"/>
                    <a:pt x="0" y="341"/>
                    <a:pt x="0" y="341"/>
                  </a:cubicBezTo>
                  <a:cubicBezTo>
                    <a:pt x="254" y="341"/>
                    <a:pt x="254" y="341"/>
                    <a:pt x="254" y="341"/>
                  </a:cubicBezTo>
                  <a:cubicBezTo>
                    <a:pt x="254" y="268"/>
                    <a:pt x="254" y="268"/>
                    <a:pt x="254" y="268"/>
                  </a:cubicBezTo>
                  <a:cubicBezTo>
                    <a:pt x="247" y="272"/>
                    <a:pt x="239" y="273"/>
                    <a:pt x="231" y="273"/>
                  </a:cubicBezTo>
                  <a:cubicBezTo>
                    <a:pt x="198" y="273"/>
                    <a:pt x="171" y="246"/>
                    <a:pt x="171" y="213"/>
                  </a:cubicBezTo>
                  <a:cubicBezTo>
                    <a:pt x="171" y="180"/>
                    <a:pt x="198" y="154"/>
                    <a:pt x="231" y="154"/>
                  </a:cubicBezTo>
                  <a:close/>
                </a:path>
              </a:pathLst>
            </a:custGeom>
            <a:solidFill>
              <a:srgbClr val="297FD5"/>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Times New Roman"/>
              </a:endParaRPr>
            </a:p>
          </p:txBody>
        </p:sp>
      </p:grpSp>
    </p:spTree>
    <p:extLst>
      <p:ext uri="{BB962C8B-B14F-4D97-AF65-F5344CB8AC3E}">
        <p14:creationId xmlns:p14="http://schemas.microsoft.com/office/powerpoint/2010/main" val="5816535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2 Assessment of signs contrary to public policy and/or to accepted principles of morality</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4" name="Rectangle: Rounded Corners 3">
            <a:extLst>
              <a:ext uri="{FF2B5EF4-FFF2-40B4-BE49-F238E27FC236}">
                <a16:creationId xmlns:a16="http://schemas.microsoft.com/office/drawing/2014/main" id="{D4DB17A5-6B29-32BC-9FF7-2A1346A986F0}"/>
              </a:ext>
            </a:extLst>
          </p:cNvPr>
          <p:cNvSpPr/>
          <p:nvPr/>
        </p:nvSpPr>
        <p:spPr>
          <a:xfrm>
            <a:off x="688303" y="1469823"/>
            <a:ext cx="7839580" cy="1508130"/>
          </a:xfrm>
          <a:prstGeom prst="roundRect">
            <a:avLst/>
          </a:prstGeom>
          <a:solidFill>
            <a:schemeClr val="bg1"/>
          </a:solidFill>
          <a:ln w="19050">
            <a:solidFill>
              <a:srgbClr val="C3C3C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AE0C5930-7E98-CA8E-D086-D4CD4B05A8B1}"/>
              </a:ext>
            </a:extLst>
          </p:cNvPr>
          <p:cNvSpPr txBox="1"/>
          <p:nvPr/>
        </p:nvSpPr>
        <p:spPr>
          <a:xfrm>
            <a:off x="3097240" y="3743228"/>
            <a:ext cx="4917063" cy="553998"/>
          </a:xfrm>
          <a:prstGeom prst="rect">
            <a:avLst/>
          </a:prstGeom>
          <a:noFill/>
        </p:spPr>
        <p:txBody>
          <a:bodyPr wrap="square">
            <a:spAutoFit/>
          </a:bodyPr>
          <a:lstStyle/>
          <a:p>
            <a:pPr algn="just"/>
            <a:endParaRPr lang="en-GB" sz="1500">
              <a:solidFill>
                <a:srgbClr val="024DA1"/>
              </a:solidFill>
              <a:effectLst/>
              <a:latin typeface="Arial" panose="020B0604020202020204" pitchFamily="34" charset="0"/>
              <a:ea typeface="Times New Roman" panose="02020603050405020304" pitchFamily="18" charset="0"/>
              <a:cs typeface="Times New Roman" panose="02020603050405020304" pitchFamily="18" charset="0"/>
            </a:endParaRPr>
          </a:p>
          <a:p>
            <a:pPr marL="285750" indent="-285750" algn="just">
              <a:buFont typeface="Arial" panose="020B0604020202020204" pitchFamily="34" charset="0"/>
              <a:buChar char="•"/>
            </a:pPr>
            <a:endParaRPr lang="en-GB" sz="1500">
              <a:solidFill>
                <a:srgbClr val="024DA1"/>
              </a:solidFill>
              <a:latin typeface="Arial" panose="020B0604020202020204" pitchFamily="34" charset="0"/>
              <a:ea typeface="Times New Roman" panose="02020603050405020304" pitchFamily="18" charset="0"/>
              <a:cs typeface="Times New Roman" panose="02020603050405020304" pitchFamily="18" charset="0"/>
            </a:endParaRPr>
          </a:p>
        </p:txBody>
      </p:sp>
      <p:pic>
        <p:nvPicPr>
          <p:cNvPr id="13" name="Picture 12">
            <a:extLst>
              <a:ext uri="{FF2B5EF4-FFF2-40B4-BE49-F238E27FC236}">
                <a16:creationId xmlns:a16="http://schemas.microsoft.com/office/drawing/2014/main" id="{C921EB63-9CC0-9F80-84FC-E666F76E4F18}"/>
              </a:ext>
            </a:extLst>
          </p:cNvPr>
          <p:cNvPicPr>
            <a:picLocks noChangeAspect="1"/>
          </p:cNvPicPr>
          <p:nvPr/>
        </p:nvPicPr>
        <p:blipFill>
          <a:blip r:embed="rId4"/>
          <a:stretch>
            <a:fillRect/>
          </a:stretch>
        </p:blipFill>
        <p:spPr>
          <a:xfrm>
            <a:off x="1745015" y="3704844"/>
            <a:ext cx="2127353" cy="553999"/>
          </a:xfrm>
          <a:prstGeom prst="rect">
            <a:avLst/>
          </a:prstGeom>
        </p:spPr>
      </p:pic>
      <p:sp>
        <p:nvSpPr>
          <p:cNvPr id="14" name="Rectangle: Rounded Corners 13">
            <a:extLst>
              <a:ext uri="{FF2B5EF4-FFF2-40B4-BE49-F238E27FC236}">
                <a16:creationId xmlns:a16="http://schemas.microsoft.com/office/drawing/2014/main" id="{29907A9E-EFF5-18E2-E271-EF5ED3F3026A}"/>
              </a:ext>
            </a:extLst>
          </p:cNvPr>
          <p:cNvSpPr/>
          <p:nvPr/>
        </p:nvSpPr>
        <p:spPr>
          <a:xfrm>
            <a:off x="4533279" y="3463703"/>
            <a:ext cx="2703494" cy="340519"/>
          </a:xfrm>
          <a:prstGeom prst="roundRect">
            <a:avLst/>
          </a:prstGeom>
          <a:solidFill>
            <a:schemeClr val="tx2">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wrap="square" rtlCol="0" anchor="t" anchorCtr="1">
            <a:spAutoFit/>
          </a:bodyPr>
          <a:lstStyle/>
          <a:p>
            <a:r>
              <a:rPr lang="en-GB" sz="1400" b="1" i="1">
                <a:solidFill>
                  <a:srgbClr val="024DA1"/>
                </a:solidFill>
                <a:effectLst/>
                <a:latin typeface="Arial" panose="020B0604020202020204" pitchFamily="34" charset="0"/>
                <a:ea typeface="Times New Roman" panose="02020603050405020304" pitchFamily="18" charset="0"/>
                <a:cs typeface="Times New Roman" panose="02020603050405020304" pitchFamily="18" charset="0"/>
              </a:rPr>
              <a:t>C</a:t>
            </a:r>
            <a:r>
              <a:rPr lang="en-US" sz="1400" b="1" i="1" err="1">
                <a:solidFill>
                  <a:srgbClr val="024DA1"/>
                </a:solidFill>
                <a:effectLst/>
                <a:latin typeface="Arial" panose="020B0604020202020204" pitchFamily="34" charset="0"/>
                <a:ea typeface="Times New Roman" panose="02020603050405020304" pitchFamily="18" charset="0"/>
                <a:cs typeface="Times New Roman" panose="02020603050405020304" pitchFamily="18" charset="0"/>
              </a:rPr>
              <a:t>hild’s</a:t>
            </a:r>
            <a:r>
              <a:rPr lang="en-US" sz="1400" b="1" i="1">
                <a:solidFill>
                  <a:srgbClr val="024DA1"/>
                </a:solidFill>
                <a:effectLst/>
                <a:latin typeface="Arial" panose="020B0604020202020204" pitchFamily="34" charset="0"/>
                <a:ea typeface="Times New Roman" panose="02020603050405020304" pitchFamily="18" charset="0"/>
                <a:cs typeface="Times New Roman" panose="02020603050405020304" pitchFamily="18" charset="0"/>
              </a:rPr>
              <a:t> word for ‘cat’ </a:t>
            </a:r>
            <a:endParaRPr lang="en-GB" sz="1400" b="1" i="1">
              <a:solidFill>
                <a:srgbClr val="024DA1"/>
              </a:solidFill>
              <a:effectLst/>
              <a:latin typeface="Arial" panose="020B0604020202020204" pitchFamily="34" charset="0"/>
              <a:ea typeface="Times New Roman" panose="02020603050405020304" pitchFamily="18" charset="0"/>
              <a:cs typeface="Times New Roman" panose="02020603050405020304" pitchFamily="18" charset="0"/>
            </a:endParaRPr>
          </a:p>
        </p:txBody>
      </p:sp>
      <p:sp>
        <p:nvSpPr>
          <p:cNvPr id="15" name="Rectangle: Rounded Corners 14">
            <a:extLst>
              <a:ext uri="{FF2B5EF4-FFF2-40B4-BE49-F238E27FC236}">
                <a16:creationId xmlns:a16="http://schemas.microsoft.com/office/drawing/2014/main" id="{53192EE1-C243-CA9F-BE8C-36F716E8330A}"/>
              </a:ext>
            </a:extLst>
          </p:cNvPr>
          <p:cNvSpPr/>
          <p:nvPr/>
        </p:nvSpPr>
        <p:spPr>
          <a:xfrm>
            <a:off x="4540538" y="3939376"/>
            <a:ext cx="2663768" cy="578882"/>
          </a:xfrm>
          <a:prstGeom prst="roundRect">
            <a:avLst/>
          </a:prstGeom>
          <a:solidFill>
            <a:schemeClr val="tx2">
              <a:lumMod val="20000"/>
              <a:lumOff val="80000"/>
            </a:schemeClr>
          </a:solidFill>
          <a:ln>
            <a:noFill/>
          </a:ln>
        </p:spPr>
        <p:style>
          <a:lnRef idx="1">
            <a:schemeClr val="accent1"/>
          </a:lnRef>
          <a:fillRef idx="2">
            <a:schemeClr val="accent1"/>
          </a:fillRef>
          <a:effectRef idx="1">
            <a:schemeClr val="accent1"/>
          </a:effectRef>
          <a:fontRef idx="minor">
            <a:schemeClr val="dk1"/>
          </a:fontRef>
        </p:style>
        <p:txBody>
          <a:bodyPr wrap="square" rtlCol="0" anchor="t" anchorCtr="1">
            <a:spAutoFit/>
          </a:bodyPr>
          <a:lstStyle/>
          <a:p>
            <a:r>
              <a:rPr lang="en-US" sz="1400" b="1" i="1" dirty="0">
                <a:solidFill>
                  <a:srgbClr val="024DA1"/>
                </a:solidFill>
                <a:latin typeface="Arial" panose="020B0604020202020204" pitchFamily="34" charset="0"/>
                <a:ea typeface="Times New Roman" panose="02020603050405020304" pitchFamily="18" charset="0"/>
                <a:cs typeface="Times New Roman" panose="02020603050405020304" pitchFamily="18" charset="0"/>
              </a:rPr>
              <a:t>Slang word to refer to the female sexual organs</a:t>
            </a:r>
            <a:endParaRPr lang="en-GB" sz="1400" b="1" i="1" dirty="0">
              <a:solidFill>
                <a:srgbClr val="024DA1"/>
              </a:solidFill>
              <a:effectLst/>
              <a:latin typeface="Arial" panose="020B0604020202020204" pitchFamily="34" charset="0"/>
              <a:ea typeface="Times New Roman" panose="02020603050405020304" pitchFamily="18" charset="0"/>
              <a:cs typeface="Times New Roman" panose="02020603050405020304" pitchFamily="18" charset="0"/>
            </a:endParaRPr>
          </a:p>
        </p:txBody>
      </p:sp>
      <p:pic>
        <p:nvPicPr>
          <p:cNvPr id="16" name="Graphic 15" descr="Badge Tick with solid fill">
            <a:extLst>
              <a:ext uri="{FF2B5EF4-FFF2-40B4-BE49-F238E27FC236}">
                <a16:creationId xmlns:a16="http://schemas.microsoft.com/office/drawing/2014/main" id="{05390B2B-3DD9-FA30-7246-7F78D4FF4D9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88425" y="3085987"/>
            <a:ext cx="796016" cy="796016"/>
          </a:xfrm>
          <a:prstGeom prst="rect">
            <a:avLst/>
          </a:prstGeom>
        </p:spPr>
      </p:pic>
      <p:pic>
        <p:nvPicPr>
          <p:cNvPr id="21" name="Graphic 20" descr="Warning with solid fill">
            <a:extLst>
              <a:ext uri="{FF2B5EF4-FFF2-40B4-BE49-F238E27FC236}">
                <a16:creationId xmlns:a16="http://schemas.microsoft.com/office/drawing/2014/main" id="{E9077B19-1BE1-3351-4043-795B4E82B3B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57323" y="3877896"/>
            <a:ext cx="658220" cy="658220"/>
          </a:xfrm>
          <a:prstGeom prst="rect">
            <a:avLst/>
          </a:prstGeom>
        </p:spPr>
      </p:pic>
      <p:sp>
        <p:nvSpPr>
          <p:cNvPr id="22" name="TextBox 21">
            <a:extLst>
              <a:ext uri="{FF2B5EF4-FFF2-40B4-BE49-F238E27FC236}">
                <a16:creationId xmlns:a16="http://schemas.microsoft.com/office/drawing/2014/main" id="{984E52D2-5408-AA6C-A069-974F19633D43}"/>
              </a:ext>
            </a:extLst>
          </p:cNvPr>
          <p:cNvSpPr txBox="1"/>
          <p:nvPr/>
        </p:nvSpPr>
        <p:spPr>
          <a:xfrm>
            <a:off x="652210" y="1542443"/>
            <a:ext cx="8103428" cy="1384995"/>
          </a:xfrm>
          <a:prstGeom prst="rect">
            <a:avLst/>
          </a:prstGeom>
          <a:noFill/>
          <a:effectLst/>
        </p:spPr>
        <p:txBody>
          <a:bodyPr wrap="square">
            <a:spAutoFit/>
          </a:bodyPr>
          <a:lstStyle/>
          <a:p>
            <a:pPr marL="285750" lvl="0" indent="-285750">
              <a:buFont typeface="Courier New" panose="02070309020205020404" pitchFamily="49" charset="0"/>
              <a:buChar char="o"/>
            </a:pPr>
            <a:r>
              <a:rPr lang="es-ES" sz="1400" b="0" dirty="0" err="1">
                <a:solidFill>
                  <a:srgbClr val="024DA1"/>
                </a:solidFill>
                <a:latin typeface="Arial" panose="020B0604020202020204" pitchFamily="34" charset="0"/>
                <a:cs typeface="Arial" panose="020B0604020202020204" pitchFamily="34" charset="0"/>
              </a:rPr>
              <a:t>Assess</a:t>
            </a:r>
            <a:r>
              <a:rPr lang="es-ES" sz="1400" b="0" dirty="0">
                <a:solidFill>
                  <a:srgbClr val="024DA1"/>
                </a:solidFill>
                <a:latin typeface="Arial" panose="020B0604020202020204" pitchFamily="34" charset="0"/>
                <a:cs typeface="Arial" panose="020B0604020202020204" pitchFamily="34" charset="0"/>
              </a:rPr>
              <a:t> </a:t>
            </a:r>
            <a:r>
              <a:rPr lang="es-ES" sz="1400" b="0" dirty="0" err="1">
                <a:solidFill>
                  <a:srgbClr val="024DA1"/>
                </a:solidFill>
                <a:latin typeface="Arial" panose="020B0604020202020204" pitchFamily="34" charset="0"/>
                <a:cs typeface="Arial" panose="020B0604020202020204" pitchFamily="34" charset="0"/>
              </a:rPr>
              <a:t>the</a:t>
            </a:r>
            <a:r>
              <a:rPr lang="es-ES" sz="1400" b="0" dirty="0">
                <a:solidFill>
                  <a:srgbClr val="024DA1"/>
                </a:solidFill>
                <a:latin typeface="Arial" panose="020B0604020202020204" pitchFamily="34" charset="0"/>
                <a:cs typeface="Arial" panose="020B0604020202020204" pitchFamily="34" charset="0"/>
              </a:rPr>
              <a:t> </a:t>
            </a:r>
            <a:r>
              <a:rPr lang="es-ES" sz="1400" b="1" dirty="0">
                <a:solidFill>
                  <a:srgbClr val="024DA1"/>
                </a:solidFill>
                <a:latin typeface="Arial" panose="020B0604020202020204" pitchFamily="34" charset="0"/>
                <a:cs typeface="Arial" panose="020B0604020202020204" pitchFamily="34" charset="0"/>
              </a:rPr>
              <a:t>verbal and/</a:t>
            </a:r>
            <a:r>
              <a:rPr lang="es-ES" sz="1400" b="1" dirty="0" err="1">
                <a:solidFill>
                  <a:srgbClr val="024DA1"/>
                </a:solidFill>
                <a:latin typeface="Arial" panose="020B0604020202020204" pitchFamily="34" charset="0"/>
                <a:cs typeface="Arial" panose="020B0604020202020204" pitchFamily="34" charset="0"/>
              </a:rPr>
              <a:t>or</a:t>
            </a:r>
            <a:r>
              <a:rPr lang="es-ES" sz="1400" b="1" dirty="0">
                <a:solidFill>
                  <a:srgbClr val="024DA1"/>
                </a:solidFill>
                <a:latin typeface="Arial" panose="020B0604020202020204" pitchFamily="34" charset="0"/>
                <a:cs typeface="Arial" panose="020B0604020202020204" pitchFamily="34" charset="0"/>
              </a:rPr>
              <a:t> figurative </a:t>
            </a:r>
            <a:r>
              <a:rPr lang="es-ES" sz="1400" b="1" dirty="0" err="1">
                <a:solidFill>
                  <a:srgbClr val="024DA1"/>
                </a:solidFill>
                <a:latin typeface="Arial" panose="020B0604020202020204" pitchFamily="34" charset="0"/>
                <a:cs typeface="Arial" panose="020B0604020202020204" pitchFamily="34" charset="0"/>
              </a:rPr>
              <a:t>element</a:t>
            </a:r>
            <a:r>
              <a:rPr lang="es-ES" sz="1400" b="1" dirty="0">
                <a:solidFill>
                  <a:srgbClr val="024DA1"/>
                </a:solidFill>
                <a:latin typeface="Arial" panose="020B0604020202020204" pitchFamily="34" charset="0"/>
                <a:cs typeface="Arial" panose="020B0604020202020204" pitchFamily="34" charset="0"/>
              </a:rPr>
              <a:t>(s) </a:t>
            </a:r>
            <a:r>
              <a:rPr lang="es-ES" sz="1400" b="1" err="1">
                <a:solidFill>
                  <a:srgbClr val="024DA1"/>
                </a:solidFill>
                <a:latin typeface="Arial" panose="020B0604020202020204" pitchFamily="34" charset="0"/>
                <a:cs typeface="Arial" panose="020B0604020202020204" pitchFamily="34" charset="0"/>
              </a:rPr>
              <a:t>without</a:t>
            </a:r>
            <a:r>
              <a:rPr lang="es-ES" sz="1400" b="1">
                <a:solidFill>
                  <a:srgbClr val="024DA1"/>
                </a:solidFill>
                <a:latin typeface="Arial" panose="020B0604020202020204" pitchFamily="34" charset="0"/>
                <a:cs typeface="Arial" panose="020B0604020202020204" pitchFamily="34" charset="0"/>
              </a:rPr>
              <a:t> goods and services</a:t>
            </a:r>
            <a:endParaRPr lang="es-ES" sz="1400" b="1" dirty="0">
              <a:solidFill>
                <a:srgbClr val="024DA1"/>
              </a:solidFill>
              <a:latin typeface="Arial" panose="020B0604020202020204" pitchFamily="34" charset="0"/>
              <a:cs typeface="Arial" panose="020B0604020202020204" pitchFamily="34" charset="0"/>
            </a:endParaRPr>
          </a:p>
          <a:p>
            <a:pPr lvl="0"/>
            <a:endParaRPr lang="es-ES" sz="1400" dirty="0">
              <a:solidFill>
                <a:srgbClr val="024DA1"/>
              </a:solidFill>
              <a:latin typeface="Arial" panose="020B0604020202020204" pitchFamily="34" charset="0"/>
              <a:cs typeface="Arial" panose="020B0604020202020204" pitchFamily="34" charset="0"/>
            </a:endParaRPr>
          </a:p>
          <a:p>
            <a:pPr marL="285750" indent="-285750">
              <a:buFont typeface="Courier New" panose="02070309020205020404" pitchFamily="49" charset="0"/>
              <a:buChar char="o"/>
            </a:pPr>
            <a:r>
              <a:rPr lang="en-GB" sz="1400" b="0" noProof="0" dirty="0">
                <a:solidFill>
                  <a:srgbClr val="024DA1"/>
                </a:solidFill>
                <a:latin typeface="Arial" panose="020B0604020202020204" pitchFamily="34" charset="0"/>
                <a:cs typeface="Arial" panose="020B0604020202020204" pitchFamily="34" charset="0"/>
              </a:rPr>
              <a:t>Identify the </a:t>
            </a:r>
            <a:r>
              <a:rPr lang="en-GB" sz="1400" b="1" noProof="0" dirty="0">
                <a:solidFill>
                  <a:srgbClr val="024DA1"/>
                </a:solidFill>
                <a:latin typeface="Arial" panose="020B0604020202020204" pitchFamily="34" charset="0"/>
                <a:cs typeface="Arial" panose="020B0604020202020204" pitchFamily="34" charset="0"/>
              </a:rPr>
              <a:t>possible meanings</a:t>
            </a:r>
          </a:p>
          <a:p>
            <a:endParaRPr lang="en-GB" sz="1400" dirty="0">
              <a:solidFill>
                <a:srgbClr val="024DA1"/>
              </a:solidFill>
              <a:latin typeface="Arial" panose="020B0604020202020204" pitchFamily="34" charset="0"/>
              <a:cs typeface="Arial" panose="020B0604020202020204" pitchFamily="34" charset="0"/>
            </a:endParaRPr>
          </a:p>
          <a:p>
            <a:pPr marL="285750" indent="-285750">
              <a:buFont typeface="Courier New" panose="02070309020205020404" pitchFamily="49" charset="0"/>
              <a:buChar char="o"/>
            </a:pPr>
            <a:r>
              <a:rPr lang="en-GB" sz="1400" b="0" noProof="0" dirty="0">
                <a:solidFill>
                  <a:srgbClr val="024DA1"/>
                </a:solidFill>
                <a:latin typeface="Arial" panose="020B0604020202020204" pitchFamily="34" charset="0"/>
                <a:cs typeface="Arial" panose="020B0604020202020204" pitchFamily="34" charset="0"/>
              </a:rPr>
              <a:t>Analyse whether the possible meanings and nuances </a:t>
            </a:r>
            <a:r>
              <a:rPr lang="en-GB" sz="1400" b="1" noProof="0" dirty="0">
                <a:solidFill>
                  <a:srgbClr val="024DA1"/>
                </a:solidFill>
                <a:latin typeface="Arial" panose="020B0604020202020204" pitchFamily="34" charset="0"/>
                <a:cs typeface="Arial" panose="020B0604020202020204" pitchFamily="34" charset="0"/>
              </a:rPr>
              <a:t>could be contrary to public policy or accepted principles of morality</a:t>
            </a:r>
            <a:endParaRPr lang="en-GB" sz="1400" b="1" noProof="0" dirty="0">
              <a:solidFill>
                <a:srgbClr val="024DA1"/>
              </a:solidFill>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The assessment of the </a:t>
            </a:r>
            <a:r>
              <a:rPr lang="en-US" sz="1400" b="1" spc="-71">
                <a:solidFill>
                  <a:schemeClr val="accent5"/>
                </a:solidFill>
                <a:latin typeface="Arial"/>
                <a:ea typeface="Open Sans" panose="020B0606030504020204" pitchFamily="34" charset="0"/>
                <a:cs typeface="Arial"/>
              </a:rPr>
              <a:t>sign itself</a:t>
            </a:r>
            <a:endParaRPr lang="en-US" sz="1400" b="1" spc="-71" dirty="0">
              <a:solidFill>
                <a:schemeClr val="accent5"/>
              </a:solidFill>
              <a:latin typeface="Arial"/>
              <a:ea typeface="Open Sans" panose="020B0606030504020204" pitchFamily="34" charset="0"/>
              <a:cs typeface="Arial"/>
            </a:endParaRPr>
          </a:p>
        </p:txBody>
      </p:sp>
    </p:spTree>
    <p:extLst>
      <p:ext uri="{BB962C8B-B14F-4D97-AF65-F5344CB8AC3E}">
        <p14:creationId xmlns:p14="http://schemas.microsoft.com/office/powerpoint/2010/main" val="22397642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Table 19">
            <a:extLst>
              <a:ext uri="{FF2B5EF4-FFF2-40B4-BE49-F238E27FC236}">
                <a16:creationId xmlns:a16="http://schemas.microsoft.com/office/drawing/2014/main" id="{F127DCEB-9E11-4A18-026C-D057C48FA5B3}"/>
              </a:ext>
            </a:extLst>
          </p:cNvPr>
          <p:cNvGraphicFramePr>
            <a:graphicFrameLocks noGrp="1"/>
          </p:cNvGraphicFramePr>
          <p:nvPr>
            <p:extLst>
              <p:ext uri="{D42A27DB-BD31-4B8C-83A1-F6EECF244321}">
                <p14:modId xmlns:p14="http://schemas.microsoft.com/office/powerpoint/2010/main" val="1530217789"/>
              </p:ext>
            </p:extLst>
          </p:nvPr>
        </p:nvGraphicFramePr>
        <p:xfrm>
          <a:off x="5033112" y="3326863"/>
          <a:ext cx="3419331" cy="1661700"/>
        </p:xfrm>
        <a:graphic>
          <a:graphicData uri="http://schemas.openxmlformats.org/drawingml/2006/table">
            <a:tbl>
              <a:tblPr firstRow="1" firstCol="1" bandRow="1"/>
              <a:tblGrid>
                <a:gridCol w="3419331">
                  <a:extLst>
                    <a:ext uri="{9D8B030D-6E8A-4147-A177-3AD203B41FA5}">
                      <a16:colId xmlns:a16="http://schemas.microsoft.com/office/drawing/2014/main" val="1113538004"/>
                    </a:ext>
                  </a:extLst>
                </a:gridCol>
              </a:tblGrid>
              <a:tr h="492781">
                <a:tc>
                  <a:txBody>
                    <a:bodyPr/>
                    <a:lstStyle/>
                    <a:p>
                      <a:pPr algn="ctr">
                        <a:lnSpc>
                          <a:spcPts val="1200"/>
                        </a:lnSpc>
                      </a:pPr>
                      <a:r>
                        <a:rPr lang="en-GB" sz="15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Sign</a:t>
                      </a:r>
                      <a:endParaRPr lang="en-GB" sz="1500">
                        <a:effectLst/>
                        <a:latin typeface="Arial" panose="020B0604020202020204" pitchFamily="34" charset="0"/>
                        <a:ea typeface="Times New Roman" panose="02020603050405020304" pitchFamily="18" charset="0"/>
                        <a:cs typeface="Arial" panose="020B0604020202020204" pitchFamily="34" charset="0"/>
                      </a:endParaRP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2CC"/>
                    </a:solidFill>
                  </a:tcPr>
                </a:tc>
                <a:extLst>
                  <a:ext uri="{0D108BD9-81ED-4DB2-BD59-A6C34878D82A}">
                    <a16:rowId xmlns:a16="http://schemas.microsoft.com/office/drawing/2014/main" val="226985470"/>
                  </a:ext>
                </a:extLst>
              </a:tr>
              <a:tr h="1168919">
                <a:tc>
                  <a:txBody>
                    <a:bodyPr/>
                    <a:lstStyle/>
                    <a:p>
                      <a:pPr algn="ctr">
                        <a:lnSpc>
                          <a:spcPts val="1200"/>
                        </a:lnSpc>
                      </a:pPr>
                      <a:endParaRPr lang="en-GB" sz="1400" dirty="0">
                        <a:effectLst/>
                        <a:latin typeface="Arial" panose="020B0604020202020204" pitchFamily="34" charset="0"/>
                        <a:ea typeface="Times New Roman" panose="02020603050405020304" pitchFamily="18" charset="0"/>
                        <a:cs typeface="Arial" panose="020B0604020202020204" pitchFamily="34" charset="0"/>
                      </a:endParaRP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09013598"/>
                  </a:ext>
                </a:extLst>
              </a:tr>
            </a:tbl>
          </a:graphicData>
        </a:graphic>
      </p:graphicFrame>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2 Assessment of signs contrary to public policy and/or to accepted principles of morality</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The assessment of the </a:t>
            </a:r>
            <a:r>
              <a:rPr lang="en-US" sz="1400" b="1" spc="-71">
                <a:solidFill>
                  <a:schemeClr val="accent5"/>
                </a:solidFill>
                <a:latin typeface="Arial"/>
                <a:ea typeface="Open Sans" panose="020B0606030504020204" pitchFamily="34" charset="0"/>
                <a:cs typeface="Arial"/>
              </a:rPr>
              <a:t>sign itself</a:t>
            </a:r>
            <a:endParaRPr lang="en-US" sz="1400" b="1" spc="-71" dirty="0">
              <a:solidFill>
                <a:schemeClr val="accent5"/>
              </a:solidFill>
              <a:latin typeface="Arial"/>
              <a:ea typeface="Open Sans" panose="020B0606030504020204" pitchFamily="34" charset="0"/>
              <a:cs typeface="Arial"/>
            </a:endParaRPr>
          </a:p>
        </p:txBody>
      </p:sp>
      <p:sp>
        <p:nvSpPr>
          <p:cNvPr id="5" name="Rectangle: Rounded Corners 4">
            <a:extLst>
              <a:ext uri="{FF2B5EF4-FFF2-40B4-BE49-F238E27FC236}">
                <a16:creationId xmlns:a16="http://schemas.microsoft.com/office/drawing/2014/main" id="{DFE45819-DE0D-8D75-A9F9-C25B38AB7CEE}"/>
              </a:ext>
            </a:extLst>
          </p:cNvPr>
          <p:cNvSpPr/>
          <p:nvPr/>
        </p:nvSpPr>
        <p:spPr>
          <a:xfrm>
            <a:off x="623492" y="1409127"/>
            <a:ext cx="8103428" cy="460797"/>
          </a:xfrm>
          <a:prstGeom prst="roundRect">
            <a:avLst/>
          </a:prstGeom>
          <a:solidFill>
            <a:srgbClr val="DCE6F2"/>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marR="0" algn="just" rtl="0"/>
            <a:r>
              <a:rPr lang="en-US" sz="1400" dirty="0">
                <a:solidFill>
                  <a:srgbClr val="024DA1"/>
                </a:solidFill>
                <a:latin typeface="Arial" panose="020B0604020202020204" pitchFamily="34" charset="0"/>
                <a:cs typeface="Arial" panose="020B0604020202020204" pitchFamily="34" charset="0"/>
              </a:rPr>
              <a:t>Assessment of additional verbal and/or figurative elements that might influence the meaning of the sign </a:t>
            </a:r>
          </a:p>
        </p:txBody>
      </p:sp>
      <p:sp>
        <p:nvSpPr>
          <p:cNvPr id="7" name="Flowchart: Connector 6">
            <a:extLst>
              <a:ext uri="{FF2B5EF4-FFF2-40B4-BE49-F238E27FC236}">
                <a16:creationId xmlns:a16="http://schemas.microsoft.com/office/drawing/2014/main" id="{6DF28D9B-D778-A16D-DA88-A41E3B310D70}"/>
              </a:ext>
            </a:extLst>
          </p:cNvPr>
          <p:cNvSpPr/>
          <p:nvPr/>
        </p:nvSpPr>
        <p:spPr>
          <a:xfrm>
            <a:off x="754705" y="2214475"/>
            <a:ext cx="90109" cy="97177"/>
          </a:xfrm>
          <a:prstGeom prst="flowChartConnector">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0" name="TextBox 9">
            <a:extLst>
              <a:ext uri="{FF2B5EF4-FFF2-40B4-BE49-F238E27FC236}">
                <a16:creationId xmlns:a16="http://schemas.microsoft.com/office/drawing/2014/main" id="{CD69AA13-B39D-CF01-1B1B-1148E1BB5EE5}"/>
              </a:ext>
            </a:extLst>
          </p:cNvPr>
          <p:cNvSpPr txBox="1"/>
          <p:nvPr/>
        </p:nvSpPr>
        <p:spPr>
          <a:xfrm>
            <a:off x="652208" y="2094184"/>
            <a:ext cx="3789161" cy="954107"/>
          </a:xfrm>
          <a:prstGeom prst="rect">
            <a:avLst/>
          </a:prstGeom>
          <a:noFill/>
        </p:spPr>
        <p:txBody>
          <a:bodyPr wrap="square" lIns="91440" tIns="45720" rIns="91440" bIns="45720" anchor="t">
            <a:spAutoFit/>
          </a:bodyPr>
          <a:lstStyle/>
          <a:p>
            <a:pPr marL="285750" indent="-285750" algn="just">
              <a:buFont typeface="Wingdings" panose="05000000000000000000" pitchFamily="2" charset="2"/>
              <a:buChar char="Ø"/>
            </a:pPr>
            <a:r>
              <a:rPr lang="en-GB" sz="1400" dirty="0">
                <a:solidFill>
                  <a:srgbClr val="024DA1"/>
                </a:solidFill>
                <a:latin typeface="Arial" panose="020B0604020202020204" pitchFamily="34" charset="0"/>
              </a:rPr>
              <a:t>There may be cases in which the additional verbal or figurative elements may </a:t>
            </a:r>
            <a:r>
              <a:rPr lang="en-GB" sz="1400" b="1" dirty="0">
                <a:solidFill>
                  <a:srgbClr val="024DA1"/>
                </a:solidFill>
                <a:latin typeface="Arial" panose="020B0604020202020204" pitchFamily="34" charset="0"/>
              </a:rPr>
              <a:t>eliminate and/or counteract </a:t>
            </a:r>
            <a:r>
              <a:rPr lang="en-GB" sz="1400" dirty="0">
                <a:solidFill>
                  <a:srgbClr val="024DA1"/>
                </a:solidFill>
                <a:latin typeface="Arial" panose="020B0604020202020204" pitchFamily="34" charset="0"/>
              </a:rPr>
              <a:t>the objectionable meaning of </a:t>
            </a:r>
            <a:r>
              <a:rPr lang="en-GB" sz="1400">
                <a:solidFill>
                  <a:srgbClr val="024DA1"/>
                </a:solidFill>
                <a:latin typeface="Arial" panose="020B0604020202020204" pitchFamily="34" charset="0"/>
              </a:rPr>
              <a:t>the sign.</a:t>
            </a:r>
            <a:endParaRPr lang="en-GB" sz="1400" dirty="0">
              <a:solidFill>
                <a:srgbClr val="024DA1"/>
              </a:solidFill>
              <a:latin typeface="Arial" panose="020B0604020202020204" pitchFamily="34" charset="0"/>
            </a:endParaRPr>
          </a:p>
        </p:txBody>
      </p:sp>
      <p:sp>
        <p:nvSpPr>
          <p:cNvPr id="11" name="TextBox 10">
            <a:extLst>
              <a:ext uri="{FF2B5EF4-FFF2-40B4-BE49-F238E27FC236}">
                <a16:creationId xmlns:a16="http://schemas.microsoft.com/office/drawing/2014/main" id="{9D657C81-E88F-3486-6CC5-C86C398EB90F}"/>
              </a:ext>
            </a:extLst>
          </p:cNvPr>
          <p:cNvSpPr txBox="1"/>
          <p:nvPr/>
        </p:nvSpPr>
        <p:spPr>
          <a:xfrm>
            <a:off x="4911192" y="2103925"/>
            <a:ext cx="3722526" cy="738664"/>
          </a:xfrm>
          <a:prstGeom prst="rect">
            <a:avLst/>
          </a:prstGeom>
          <a:noFill/>
        </p:spPr>
        <p:txBody>
          <a:bodyPr wrap="square" rtlCol="0">
            <a:spAutoFit/>
          </a:bodyPr>
          <a:lstStyle/>
          <a:p>
            <a:pPr marL="285750" indent="-285750" algn="just">
              <a:buFont typeface="Wingdings" panose="05000000000000000000" pitchFamily="2" charset="2"/>
              <a:buChar char="Ø"/>
            </a:pPr>
            <a:r>
              <a:rPr lang="en-GB" sz="1400" dirty="0">
                <a:solidFill>
                  <a:srgbClr val="024DA1"/>
                </a:solidFill>
                <a:latin typeface="Arial" panose="020B0604020202020204" pitchFamily="34" charset="0"/>
              </a:rPr>
              <a:t>In other cases, the additional verbal or figurative elements </a:t>
            </a:r>
            <a:r>
              <a:rPr lang="en-GB" sz="1400" b="1" dirty="0">
                <a:solidFill>
                  <a:srgbClr val="024DA1"/>
                </a:solidFill>
                <a:latin typeface="Arial" panose="020B0604020202020204" pitchFamily="34" charset="0"/>
              </a:rPr>
              <a:t>reinforce</a:t>
            </a:r>
            <a:r>
              <a:rPr lang="en-GB" sz="1400" dirty="0">
                <a:solidFill>
                  <a:srgbClr val="024DA1"/>
                </a:solidFill>
                <a:latin typeface="Arial" panose="020B0604020202020204" pitchFamily="34" charset="0"/>
              </a:rPr>
              <a:t> the objectionable meaning of </a:t>
            </a:r>
            <a:r>
              <a:rPr lang="en-GB" sz="1400">
                <a:solidFill>
                  <a:srgbClr val="024DA1"/>
                </a:solidFill>
                <a:latin typeface="Arial" panose="020B0604020202020204" pitchFamily="34" charset="0"/>
              </a:rPr>
              <a:t>the sign.</a:t>
            </a:r>
            <a:endParaRPr lang="en-GB" sz="1400" dirty="0">
              <a:solidFill>
                <a:srgbClr val="024DA1"/>
              </a:solidFill>
              <a:latin typeface="Arial" panose="020B0604020202020204" pitchFamily="34" charset="0"/>
            </a:endParaRPr>
          </a:p>
        </p:txBody>
      </p:sp>
      <p:graphicFrame>
        <p:nvGraphicFramePr>
          <p:cNvPr id="17" name="Table 16">
            <a:extLst>
              <a:ext uri="{FF2B5EF4-FFF2-40B4-BE49-F238E27FC236}">
                <a16:creationId xmlns:a16="http://schemas.microsoft.com/office/drawing/2014/main" id="{E61D143F-9AEF-303F-4597-7E2089C5F318}"/>
              </a:ext>
            </a:extLst>
          </p:cNvPr>
          <p:cNvGraphicFramePr>
            <a:graphicFrameLocks noGrp="1"/>
          </p:cNvGraphicFramePr>
          <p:nvPr>
            <p:extLst>
              <p:ext uri="{D42A27DB-BD31-4B8C-83A1-F6EECF244321}">
                <p14:modId xmlns:p14="http://schemas.microsoft.com/office/powerpoint/2010/main" val="2941661728"/>
              </p:ext>
            </p:extLst>
          </p:nvPr>
        </p:nvGraphicFramePr>
        <p:xfrm>
          <a:off x="915969" y="3326863"/>
          <a:ext cx="3419331" cy="1661700"/>
        </p:xfrm>
        <a:graphic>
          <a:graphicData uri="http://schemas.openxmlformats.org/drawingml/2006/table">
            <a:tbl>
              <a:tblPr firstRow="1" firstCol="1" bandRow="1"/>
              <a:tblGrid>
                <a:gridCol w="3419331">
                  <a:extLst>
                    <a:ext uri="{9D8B030D-6E8A-4147-A177-3AD203B41FA5}">
                      <a16:colId xmlns:a16="http://schemas.microsoft.com/office/drawing/2014/main" val="1113538004"/>
                    </a:ext>
                  </a:extLst>
                </a:gridCol>
              </a:tblGrid>
              <a:tr h="478706">
                <a:tc>
                  <a:txBody>
                    <a:bodyPr/>
                    <a:lstStyle/>
                    <a:p>
                      <a:pPr algn="ctr">
                        <a:lnSpc>
                          <a:spcPts val="1200"/>
                        </a:lnSpc>
                      </a:pPr>
                      <a:r>
                        <a:rPr lang="en-GB" sz="1500" b="1">
                          <a:solidFill>
                            <a:srgbClr val="000000"/>
                          </a:solidFill>
                          <a:effectLst/>
                          <a:latin typeface="Arial" panose="020B0604020202020204" pitchFamily="34" charset="0"/>
                          <a:ea typeface="Times New Roman" panose="02020603050405020304" pitchFamily="18" charset="0"/>
                          <a:cs typeface="Arial" panose="020B0604020202020204" pitchFamily="34" charset="0"/>
                        </a:rPr>
                        <a:t>Sign</a:t>
                      </a:r>
                      <a:endParaRPr lang="en-GB" sz="1500">
                        <a:effectLst/>
                        <a:latin typeface="Arial" panose="020B0604020202020204" pitchFamily="34" charset="0"/>
                        <a:ea typeface="Times New Roman" panose="02020603050405020304" pitchFamily="18" charset="0"/>
                        <a:cs typeface="Arial" panose="020B0604020202020204" pitchFamily="34" charset="0"/>
                      </a:endParaRP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2CC"/>
                    </a:solidFill>
                  </a:tcPr>
                </a:tc>
                <a:extLst>
                  <a:ext uri="{0D108BD9-81ED-4DB2-BD59-A6C34878D82A}">
                    <a16:rowId xmlns:a16="http://schemas.microsoft.com/office/drawing/2014/main" val="226985470"/>
                  </a:ext>
                </a:extLst>
              </a:tr>
              <a:tr h="1182994">
                <a:tc>
                  <a:txBody>
                    <a:bodyPr/>
                    <a:lstStyle/>
                    <a:p>
                      <a:pPr algn="ctr">
                        <a:lnSpc>
                          <a:spcPts val="1200"/>
                        </a:lnSpc>
                      </a:pPr>
                      <a:endParaRPr lang="en-GB" sz="1400" dirty="0">
                        <a:effectLst/>
                        <a:latin typeface="Arial" panose="020B0604020202020204" pitchFamily="34" charset="0"/>
                        <a:ea typeface="Times New Roman" panose="02020603050405020304" pitchFamily="18" charset="0"/>
                        <a:cs typeface="Arial" panose="020B0604020202020204" pitchFamily="34" charset="0"/>
                      </a:endParaRP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09013598"/>
                  </a:ext>
                </a:extLst>
              </a:tr>
            </a:tbl>
          </a:graphicData>
        </a:graphic>
      </p:graphicFrame>
      <p:pic>
        <p:nvPicPr>
          <p:cNvPr id="18" name="Picture 17">
            <a:extLst>
              <a:ext uri="{FF2B5EF4-FFF2-40B4-BE49-F238E27FC236}">
                <a16:creationId xmlns:a16="http://schemas.microsoft.com/office/drawing/2014/main" id="{F1CB64F4-60FD-4118-8CED-31D71B355F3D}"/>
              </a:ext>
            </a:extLst>
          </p:cNvPr>
          <p:cNvPicPr>
            <a:picLocks noChangeAspect="1"/>
          </p:cNvPicPr>
          <p:nvPr/>
        </p:nvPicPr>
        <p:blipFill>
          <a:blip r:embed="rId4"/>
          <a:stretch>
            <a:fillRect/>
          </a:stretch>
        </p:blipFill>
        <p:spPr>
          <a:xfrm>
            <a:off x="1549206" y="3867587"/>
            <a:ext cx="2152855" cy="866921"/>
          </a:xfrm>
          <a:prstGeom prst="rect">
            <a:avLst/>
          </a:prstGeom>
        </p:spPr>
      </p:pic>
      <p:pic>
        <p:nvPicPr>
          <p:cNvPr id="19" name="Picture 18">
            <a:extLst>
              <a:ext uri="{FF2B5EF4-FFF2-40B4-BE49-F238E27FC236}">
                <a16:creationId xmlns:a16="http://schemas.microsoft.com/office/drawing/2014/main" id="{C524B71D-9B58-CB82-D1E4-22F18827D94F}"/>
              </a:ext>
            </a:extLst>
          </p:cNvPr>
          <p:cNvPicPr>
            <a:picLocks noChangeAspect="1"/>
          </p:cNvPicPr>
          <p:nvPr/>
        </p:nvPicPr>
        <p:blipFill>
          <a:blip r:embed="rId5"/>
          <a:stretch>
            <a:fillRect/>
          </a:stretch>
        </p:blipFill>
        <p:spPr>
          <a:xfrm>
            <a:off x="5412222" y="3971938"/>
            <a:ext cx="2720466" cy="691827"/>
          </a:xfrm>
          <a:prstGeom prst="rect">
            <a:avLst/>
          </a:prstGeom>
        </p:spPr>
      </p:pic>
      <p:sp>
        <p:nvSpPr>
          <p:cNvPr id="24" name="Rectangle: Rounded Corners 23">
            <a:extLst>
              <a:ext uri="{FF2B5EF4-FFF2-40B4-BE49-F238E27FC236}">
                <a16:creationId xmlns:a16="http://schemas.microsoft.com/office/drawing/2014/main" id="{E18FEDD2-FF86-C31B-28A5-BC91151C50BD}"/>
              </a:ext>
            </a:extLst>
          </p:cNvPr>
          <p:cNvSpPr/>
          <p:nvPr/>
        </p:nvSpPr>
        <p:spPr>
          <a:xfrm>
            <a:off x="684452" y="1913187"/>
            <a:ext cx="3837029" cy="1070716"/>
          </a:xfrm>
          <a:prstGeom prst="roundRect">
            <a:avLst/>
          </a:prstGeom>
          <a:no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Rectangle: Rounded Corners 24">
            <a:extLst>
              <a:ext uri="{FF2B5EF4-FFF2-40B4-BE49-F238E27FC236}">
                <a16:creationId xmlns:a16="http://schemas.microsoft.com/office/drawing/2014/main" id="{3942B051-BAD5-4789-F7F1-52487AAFC775}"/>
              </a:ext>
            </a:extLst>
          </p:cNvPr>
          <p:cNvSpPr/>
          <p:nvPr/>
        </p:nvSpPr>
        <p:spPr>
          <a:xfrm>
            <a:off x="4889891" y="2027487"/>
            <a:ext cx="3837029" cy="1070716"/>
          </a:xfrm>
          <a:prstGeom prst="roundRect">
            <a:avLst/>
          </a:prstGeom>
          <a:noFill/>
          <a:ln w="12700">
            <a:solidFill>
              <a:srgbClr val="C3C3C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ectangle: Rounded Corners 25">
            <a:extLst>
              <a:ext uri="{FF2B5EF4-FFF2-40B4-BE49-F238E27FC236}">
                <a16:creationId xmlns:a16="http://schemas.microsoft.com/office/drawing/2014/main" id="{023C689F-33BA-3374-8A0E-7A12C6F18628}"/>
              </a:ext>
            </a:extLst>
          </p:cNvPr>
          <p:cNvSpPr/>
          <p:nvPr/>
        </p:nvSpPr>
        <p:spPr>
          <a:xfrm>
            <a:off x="684451" y="2020838"/>
            <a:ext cx="3837029" cy="1070716"/>
          </a:xfrm>
          <a:prstGeom prst="roundRect">
            <a:avLst/>
          </a:prstGeom>
          <a:noFill/>
          <a:ln w="12700">
            <a:solidFill>
              <a:srgbClr val="C5C5C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Graphic 3" descr="Warning with solid fill">
            <a:extLst>
              <a:ext uri="{FF2B5EF4-FFF2-40B4-BE49-F238E27FC236}">
                <a16:creationId xmlns:a16="http://schemas.microsoft.com/office/drawing/2014/main" id="{1D98D651-2C06-9503-A61A-C1C73ECA25A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182688" y="3971938"/>
            <a:ext cx="658220" cy="658220"/>
          </a:xfrm>
          <a:prstGeom prst="rect">
            <a:avLst/>
          </a:prstGeom>
        </p:spPr>
      </p:pic>
    </p:spTree>
    <p:extLst>
      <p:ext uri="{BB962C8B-B14F-4D97-AF65-F5344CB8AC3E}">
        <p14:creationId xmlns:p14="http://schemas.microsoft.com/office/powerpoint/2010/main" val="27840721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2 Assessment of signs contrary to public policy and/or to accepted principles of morality</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The assessment of the </a:t>
            </a:r>
            <a:r>
              <a:rPr lang="en-US" sz="1400" b="1" spc="-71">
                <a:solidFill>
                  <a:schemeClr val="accent5"/>
                </a:solidFill>
                <a:latin typeface="Arial"/>
                <a:ea typeface="Open Sans" panose="020B0606030504020204" pitchFamily="34" charset="0"/>
                <a:cs typeface="Arial"/>
              </a:rPr>
              <a:t>sign itself</a:t>
            </a:r>
            <a:endParaRPr lang="en-US" sz="1400" b="1" spc="-71" dirty="0">
              <a:solidFill>
                <a:schemeClr val="accent5"/>
              </a:solidFill>
              <a:latin typeface="Arial"/>
              <a:ea typeface="Open Sans" panose="020B0606030504020204" pitchFamily="34" charset="0"/>
              <a:cs typeface="Arial"/>
            </a:endParaRPr>
          </a:p>
        </p:txBody>
      </p:sp>
      <p:sp>
        <p:nvSpPr>
          <p:cNvPr id="5" name="Rectangle: Rounded Corners 4">
            <a:extLst>
              <a:ext uri="{FF2B5EF4-FFF2-40B4-BE49-F238E27FC236}">
                <a16:creationId xmlns:a16="http://schemas.microsoft.com/office/drawing/2014/main" id="{DFE45819-DE0D-8D75-A9F9-C25B38AB7CEE}"/>
              </a:ext>
            </a:extLst>
          </p:cNvPr>
          <p:cNvSpPr/>
          <p:nvPr/>
        </p:nvSpPr>
        <p:spPr>
          <a:xfrm>
            <a:off x="623492" y="1409127"/>
            <a:ext cx="8103428" cy="428815"/>
          </a:xfrm>
          <a:prstGeom prst="roundRect">
            <a:avLst/>
          </a:prstGeom>
          <a:solidFill>
            <a:srgbClr val="DCE6F2"/>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marR="0" rtl="0"/>
            <a:r>
              <a:rPr lang="en-US" sz="1400" dirty="0">
                <a:solidFill>
                  <a:srgbClr val="024DA1"/>
                </a:solidFill>
                <a:latin typeface="Arial" panose="020B0604020202020204" pitchFamily="34" charset="0"/>
                <a:cs typeface="Arial" panose="020B0604020202020204" pitchFamily="34" charset="0"/>
              </a:rPr>
              <a:t>Misspelling or unusual variation in syntax</a:t>
            </a:r>
          </a:p>
        </p:txBody>
      </p:sp>
      <p:sp>
        <p:nvSpPr>
          <p:cNvPr id="7" name="Flowchart: Connector 6">
            <a:extLst>
              <a:ext uri="{FF2B5EF4-FFF2-40B4-BE49-F238E27FC236}">
                <a16:creationId xmlns:a16="http://schemas.microsoft.com/office/drawing/2014/main" id="{6DF28D9B-D778-A16D-DA88-A41E3B310D70}"/>
              </a:ext>
            </a:extLst>
          </p:cNvPr>
          <p:cNvSpPr/>
          <p:nvPr/>
        </p:nvSpPr>
        <p:spPr>
          <a:xfrm>
            <a:off x="754705" y="2214475"/>
            <a:ext cx="90109" cy="97177"/>
          </a:xfrm>
          <a:prstGeom prst="flowChartConnector">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1" name="TextBox 10">
            <a:extLst>
              <a:ext uri="{FF2B5EF4-FFF2-40B4-BE49-F238E27FC236}">
                <a16:creationId xmlns:a16="http://schemas.microsoft.com/office/drawing/2014/main" id="{9D657C81-E88F-3486-6CC5-C86C398EB90F}"/>
              </a:ext>
            </a:extLst>
          </p:cNvPr>
          <p:cNvSpPr txBox="1"/>
          <p:nvPr/>
        </p:nvSpPr>
        <p:spPr>
          <a:xfrm>
            <a:off x="652210" y="2032978"/>
            <a:ext cx="7981508" cy="1169551"/>
          </a:xfrm>
          <a:prstGeom prst="rect">
            <a:avLst/>
          </a:prstGeom>
          <a:noFill/>
        </p:spPr>
        <p:txBody>
          <a:bodyPr wrap="square" rtlCol="0">
            <a:spAutoFit/>
          </a:bodyPr>
          <a:lstStyle/>
          <a:p>
            <a:pPr marL="285750" indent="-285750" algn="just">
              <a:buFont typeface="Wingdings" panose="05000000000000000000" pitchFamily="2" charset="2"/>
              <a:buChar char="Ø"/>
            </a:pPr>
            <a:r>
              <a:rPr lang="en-US" sz="1400" dirty="0">
                <a:solidFill>
                  <a:srgbClr val="024DA1"/>
                </a:solidFill>
                <a:latin typeface="Arial" panose="020B0604020202020204" pitchFamily="34" charset="0"/>
              </a:rPr>
              <a:t>Any </a:t>
            </a:r>
            <a:r>
              <a:rPr lang="en-US" sz="1400" b="1" dirty="0">
                <a:solidFill>
                  <a:srgbClr val="024DA1"/>
                </a:solidFill>
                <a:latin typeface="Arial" panose="020B0604020202020204" pitchFamily="34" charset="0"/>
              </a:rPr>
              <a:t>misspelling or unusual variation in syntax </a:t>
            </a:r>
            <a:r>
              <a:rPr lang="en-US" sz="1400" dirty="0">
                <a:solidFill>
                  <a:srgbClr val="024DA1"/>
                </a:solidFill>
                <a:latin typeface="Arial" panose="020B0604020202020204" pitchFamily="34" charset="0"/>
              </a:rPr>
              <a:t>could </a:t>
            </a:r>
            <a:r>
              <a:rPr lang="en-US" sz="1400" b="1" dirty="0">
                <a:solidFill>
                  <a:srgbClr val="024DA1"/>
                </a:solidFill>
                <a:latin typeface="Arial" panose="020B0604020202020204" pitchFamily="34" charset="0"/>
              </a:rPr>
              <a:t>mitigate</a:t>
            </a:r>
            <a:r>
              <a:rPr lang="en-US" sz="1400" dirty="0">
                <a:solidFill>
                  <a:srgbClr val="024DA1"/>
                </a:solidFill>
                <a:latin typeface="Arial" panose="020B0604020202020204" pitchFamily="34" charset="0"/>
              </a:rPr>
              <a:t> any immediate association with the </a:t>
            </a:r>
            <a:r>
              <a:rPr lang="en-US" sz="1400" b="1" dirty="0">
                <a:solidFill>
                  <a:srgbClr val="024DA1"/>
                </a:solidFill>
                <a:latin typeface="Arial" panose="020B0604020202020204" pitchFamily="34" charset="0"/>
              </a:rPr>
              <a:t>negative connotation </a:t>
            </a:r>
            <a:r>
              <a:rPr lang="en-US" sz="1400" dirty="0">
                <a:solidFill>
                  <a:srgbClr val="024DA1"/>
                </a:solidFill>
                <a:latin typeface="Arial" panose="020B0604020202020204" pitchFamily="34" charset="0"/>
              </a:rPr>
              <a:t>of </a:t>
            </a:r>
            <a:r>
              <a:rPr lang="en-US" sz="1400">
                <a:solidFill>
                  <a:srgbClr val="024DA1"/>
                </a:solidFill>
                <a:latin typeface="Arial" panose="020B0604020202020204" pitchFamily="34" charset="0"/>
              </a:rPr>
              <a:t>the sign. </a:t>
            </a:r>
            <a:endParaRPr lang="en-US" sz="1400" dirty="0">
              <a:solidFill>
                <a:srgbClr val="024DA1"/>
              </a:solidFill>
              <a:latin typeface="Arial" panose="020B0604020202020204" pitchFamily="34" charset="0"/>
            </a:endParaRPr>
          </a:p>
          <a:p>
            <a:pPr algn="just"/>
            <a:r>
              <a:rPr lang="en-US" sz="1400" dirty="0">
                <a:solidFill>
                  <a:srgbClr val="024DA1"/>
                </a:solidFill>
                <a:latin typeface="Arial" panose="020B0604020202020204" pitchFamily="34" charset="0"/>
              </a:rPr>
              <a:t> </a:t>
            </a:r>
          </a:p>
          <a:p>
            <a:pPr marL="285750" indent="-285750" algn="just">
              <a:buFont typeface="Wingdings" panose="05000000000000000000" pitchFamily="2" charset="2"/>
              <a:buChar char="Ø"/>
            </a:pPr>
            <a:r>
              <a:rPr lang="en-GB" sz="1400" dirty="0">
                <a:solidFill>
                  <a:srgbClr val="024DA1"/>
                </a:solidFill>
                <a:latin typeface="Arial" panose="020B0604020202020204" pitchFamily="34" charset="0"/>
              </a:rPr>
              <a:t>This would not be </a:t>
            </a:r>
            <a:r>
              <a:rPr lang="en-GB" sz="1400">
                <a:solidFill>
                  <a:srgbClr val="024DA1"/>
                </a:solidFill>
                <a:latin typeface="Arial" panose="020B0604020202020204" pitchFamily="34" charset="0"/>
              </a:rPr>
              <a:t>the case </a:t>
            </a:r>
            <a:r>
              <a:rPr lang="en-GB" sz="1400" dirty="0">
                <a:solidFill>
                  <a:srgbClr val="024DA1"/>
                </a:solidFill>
                <a:latin typeface="Arial" panose="020B0604020202020204" pitchFamily="34" charset="0"/>
              </a:rPr>
              <a:t>when, </a:t>
            </a:r>
            <a:r>
              <a:rPr lang="en-US" sz="1400" dirty="0">
                <a:solidFill>
                  <a:srgbClr val="024DA1"/>
                </a:solidFill>
                <a:latin typeface="Arial" panose="020B0604020202020204" pitchFamily="34" charset="0"/>
              </a:rPr>
              <a:t>as a result of the misspelling or unusual variation, </a:t>
            </a:r>
            <a:r>
              <a:rPr lang="en-US" sz="1400" b="1" dirty="0">
                <a:solidFill>
                  <a:srgbClr val="024DA1"/>
                </a:solidFill>
                <a:latin typeface="Arial" panose="020B0604020202020204" pitchFamily="34" charset="0"/>
              </a:rPr>
              <a:t>the pronunciation of the sign is identical to the objectionable term or expression</a:t>
            </a:r>
            <a:r>
              <a:rPr lang="en-GB" sz="1400" b="1" dirty="0">
                <a:solidFill>
                  <a:srgbClr val="024DA1"/>
                </a:solidFill>
                <a:latin typeface="Arial" panose="020B0604020202020204" pitchFamily="34" charset="0"/>
              </a:rPr>
              <a:t>.</a:t>
            </a:r>
          </a:p>
        </p:txBody>
      </p:sp>
      <p:graphicFrame>
        <p:nvGraphicFramePr>
          <p:cNvPr id="17" name="Table 16">
            <a:extLst>
              <a:ext uri="{FF2B5EF4-FFF2-40B4-BE49-F238E27FC236}">
                <a16:creationId xmlns:a16="http://schemas.microsoft.com/office/drawing/2014/main" id="{E61D143F-9AEF-303F-4597-7E2089C5F318}"/>
              </a:ext>
            </a:extLst>
          </p:cNvPr>
          <p:cNvGraphicFramePr>
            <a:graphicFrameLocks noGrp="1"/>
          </p:cNvGraphicFramePr>
          <p:nvPr>
            <p:extLst>
              <p:ext uri="{D42A27DB-BD31-4B8C-83A1-F6EECF244321}">
                <p14:modId xmlns:p14="http://schemas.microsoft.com/office/powerpoint/2010/main" val="3403624237"/>
              </p:ext>
            </p:extLst>
          </p:nvPr>
        </p:nvGraphicFramePr>
        <p:xfrm>
          <a:off x="915969" y="3384191"/>
          <a:ext cx="3419331" cy="1661700"/>
        </p:xfrm>
        <a:graphic>
          <a:graphicData uri="http://schemas.openxmlformats.org/drawingml/2006/table">
            <a:tbl>
              <a:tblPr firstRow="1" firstCol="1" bandRow="1"/>
              <a:tblGrid>
                <a:gridCol w="3419331">
                  <a:extLst>
                    <a:ext uri="{9D8B030D-6E8A-4147-A177-3AD203B41FA5}">
                      <a16:colId xmlns:a16="http://schemas.microsoft.com/office/drawing/2014/main" val="1113538004"/>
                    </a:ext>
                  </a:extLst>
                </a:gridCol>
              </a:tblGrid>
              <a:tr h="478706">
                <a:tc>
                  <a:txBody>
                    <a:bodyPr/>
                    <a:lstStyle/>
                    <a:p>
                      <a:pPr algn="ctr">
                        <a:lnSpc>
                          <a:spcPts val="1200"/>
                        </a:lnSpc>
                      </a:pPr>
                      <a:r>
                        <a:rPr lang="en-GB" sz="15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Sign</a:t>
                      </a:r>
                      <a:endParaRPr lang="en-GB" sz="1500" dirty="0">
                        <a:effectLst/>
                        <a:latin typeface="Arial" panose="020B0604020202020204" pitchFamily="34" charset="0"/>
                        <a:ea typeface="Times New Roman" panose="02020603050405020304" pitchFamily="18" charset="0"/>
                        <a:cs typeface="Arial" panose="020B0604020202020204" pitchFamily="34" charset="0"/>
                      </a:endParaRP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2CC"/>
                    </a:solidFill>
                  </a:tcPr>
                </a:tc>
                <a:extLst>
                  <a:ext uri="{0D108BD9-81ED-4DB2-BD59-A6C34878D82A}">
                    <a16:rowId xmlns:a16="http://schemas.microsoft.com/office/drawing/2014/main" val="226985470"/>
                  </a:ext>
                </a:extLst>
              </a:tr>
              <a:tr h="1182994">
                <a:tc>
                  <a:txBody>
                    <a:bodyPr/>
                    <a:lstStyle/>
                    <a:p>
                      <a:pPr algn="ctr">
                        <a:lnSpc>
                          <a:spcPts val="1200"/>
                        </a:lnSpc>
                      </a:pPr>
                      <a:r>
                        <a:rPr lang="en-GB" sz="2000" b="1" dirty="0">
                          <a:effectLst/>
                          <a:latin typeface="Aharoni" panose="02010803020104030203" pitchFamily="2" charset="-79"/>
                          <a:ea typeface="Times New Roman" panose="02020603050405020304" pitchFamily="18" charset="0"/>
                          <a:cs typeface="Times New Roman" panose="02020603050405020304" pitchFamily="18" charset="0"/>
                        </a:rPr>
                        <a:t>THERAPIST JOHN</a:t>
                      </a:r>
                      <a:endParaRPr lang="en-US" sz="2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09013598"/>
                  </a:ext>
                </a:extLst>
              </a:tr>
            </a:tbl>
          </a:graphicData>
        </a:graphic>
      </p:graphicFrame>
      <p:sp>
        <p:nvSpPr>
          <p:cNvPr id="24" name="Rectangle: Rounded Corners 23">
            <a:extLst>
              <a:ext uri="{FF2B5EF4-FFF2-40B4-BE49-F238E27FC236}">
                <a16:creationId xmlns:a16="http://schemas.microsoft.com/office/drawing/2014/main" id="{E18FEDD2-FF86-C31B-28A5-BC91151C50BD}"/>
              </a:ext>
            </a:extLst>
          </p:cNvPr>
          <p:cNvSpPr/>
          <p:nvPr/>
        </p:nvSpPr>
        <p:spPr>
          <a:xfrm>
            <a:off x="684452" y="1913187"/>
            <a:ext cx="3837029" cy="1070716"/>
          </a:xfrm>
          <a:prstGeom prst="roundRect">
            <a:avLst/>
          </a:prstGeom>
          <a:no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Rectangle: Rounded Corners 24">
            <a:extLst>
              <a:ext uri="{FF2B5EF4-FFF2-40B4-BE49-F238E27FC236}">
                <a16:creationId xmlns:a16="http://schemas.microsoft.com/office/drawing/2014/main" id="{3942B051-BAD5-4789-F7F1-52487AAFC775}"/>
              </a:ext>
            </a:extLst>
          </p:cNvPr>
          <p:cNvSpPr/>
          <p:nvPr/>
        </p:nvSpPr>
        <p:spPr>
          <a:xfrm>
            <a:off x="652210" y="1988072"/>
            <a:ext cx="8103428" cy="1214457"/>
          </a:xfrm>
          <a:prstGeom prst="roundRect">
            <a:avLst/>
          </a:prstGeom>
          <a:noFill/>
          <a:ln w="12700">
            <a:solidFill>
              <a:srgbClr val="C3C3C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aphicFrame>
        <p:nvGraphicFramePr>
          <p:cNvPr id="9" name="Table 8">
            <a:extLst>
              <a:ext uri="{FF2B5EF4-FFF2-40B4-BE49-F238E27FC236}">
                <a16:creationId xmlns:a16="http://schemas.microsoft.com/office/drawing/2014/main" id="{0AED3614-0E5F-06F2-0657-9ABB62338D6E}"/>
              </a:ext>
            </a:extLst>
          </p:cNvPr>
          <p:cNvGraphicFramePr>
            <a:graphicFrameLocks noGrp="1"/>
          </p:cNvGraphicFramePr>
          <p:nvPr>
            <p:extLst>
              <p:ext uri="{D42A27DB-BD31-4B8C-83A1-F6EECF244321}">
                <p14:modId xmlns:p14="http://schemas.microsoft.com/office/powerpoint/2010/main" val="179356116"/>
              </p:ext>
            </p:extLst>
          </p:nvPr>
        </p:nvGraphicFramePr>
        <p:xfrm>
          <a:off x="5046565" y="3384191"/>
          <a:ext cx="3419331" cy="1661700"/>
        </p:xfrm>
        <a:graphic>
          <a:graphicData uri="http://schemas.openxmlformats.org/drawingml/2006/table">
            <a:tbl>
              <a:tblPr firstRow="1" firstCol="1" bandRow="1"/>
              <a:tblGrid>
                <a:gridCol w="3419331">
                  <a:extLst>
                    <a:ext uri="{9D8B030D-6E8A-4147-A177-3AD203B41FA5}">
                      <a16:colId xmlns:a16="http://schemas.microsoft.com/office/drawing/2014/main" val="1113538004"/>
                    </a:ext>
                  </a:extLst>
                </a:gridCol>
              </a:tblGrid>
              <a:tr h="478706">
                <a:tc>
                  <a:txBody>
                    <a:bodyPr/>
                    <a:lstStyle/>
                    <a:p>
                      <a:pPr algn="ctr">
                        <a:lnSpc>
                          <a:spcPts val="1200"/>
                        </a:lnSpc>
                      </a:pPr>
                      <a:r>
                        <a:rPr lang="en-GB" sz="15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Sign</a:t>
                      </a:r>
                      <a:endParaRPr lang="en-GB" sz="1500" dirty="0">
                        <a:effectLst/>
                        <a:latin typeface="Arial" panose="020B0604020202020204" pitchFamily="34" charset="0"/>
                        <a:ea typeface="Times New Roman" panose="02020603050405020304" pitchFamily="18" charset="0"/>
                        <a:cs typeface="Arial" panose="020B0604020202020204" pitchFamily="34" charset="0"/>
                      </a:endParaRP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2CC"/>
                    </a:solidFill>
                  </a:tcPr>
                </a:tc>
                <a:extLst>
                  <a:ext uri="{0D108BD9-81ED-4DB2-BD59-A6C34878D82A}">
                    <a16:rowId xmlns:a16="http://schemas.microsoft.com/office/drawing/2014/main" val="226985470"/>
                  </a:ext>
                </a:extLst>
              </a:tr>
              <a:tr h="1182994">
                <a:tc>
                  <a:txBody>
                    <a:bodyPr/>
                    <a:lstStyle/>
                    <a:p>
                      <a:pPr algn="ctr">
                        <a:lnSpc>
                          <a:spcPts val="1200"/>
                        </a:lnSpc>
                      </a:pPr>
                      <a:r>
                        <a:rPr lang="en-GB" sz="2000" b="1" dirty="0">
                          <a:effectLst/>
                          <a:latin typeface="Aharoni" panose="02010803020104030203" pitchFamily="2" charset="-79"/>
                          <a:ea typeface="Times New Roman" panose="02020603050405020304" pitchFamily="18" charset="0"/>
                          <a:cs typeface="Times New Roman" panose="02020603050405020304" pitchFamily="18" charset="0"/>
                        </a:rPr>
                        <a:t>THE.RAPIST JOHN</a:t>
                      </a:r>
                      <a:endParaRPr lang="en-US" sz="2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09013598"/>
                  </a:ext>
                </a:extLst>
              </a:tr>
            </a:tbl>
          </a:graphicData>
        </a:graphic>
      </p:graphicFrame>
      <p:pic>
        <p:nvPicPr>
          <p:cNvPr id="4" name="Graphic 3" descr="Warning with solid fill">
            <a:extLst>
              <a:ext uri="{FF2B5EF4-FFF2-40B4-BE49-F238E27FC236}">
                <a16:creationId xmlns:a16="http://schemas.microsoft.com/office/drawing/2014/main" id="{B684FE86-E108-4DF8-E488-5470C194BC9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233196" y="3986538"/>
            <a:ext cx="658220" cy="658220"/>
          </a:xfrm>
          <a:prstGeom prst="rect">
            <a:avLst/>
          </a:prstGeom>
        </p:spPr>
      </p:pic>
    </p:spTree>
    <p:extLst>
      <p:ext uri="{BB962C8B-B14F-4D97-AF65-F5344CB8AC3E}">
        <p14:creationId xmlns:p14="http://schemas.microsoft.com/office/powerpoint/2010/main" val="1879007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2 Assessment of signs contrary to public policy and/or to accepted principles of morality</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The assessment of the </a:t>
            </a:r>
            <a:r>
              <a:rPr lang="en-US" sz="1400" b="1" spc="-71">
                <a:solidFill>
                  <a:schemeClr val="accent5"/>
                </a:solidFill>
                <a:latin typeface="Arial"/>
                <a:ea typeface="Open Sans" panose="020B0606030504020204" pitchFamily="34" charset="0"/>
                <a:cs typeface="Arial"/>
              </a:rPr>
              <a:t>sign itself</a:t>
            </a:r>
            <a:endParaRPr lang="en-US" sz="1400" b="1" spc="-71" dirty="0">
              <a:solidFill>
                <a:schemeClr val="accent5"/>
              </a:solidFill>
              <a:latin typeface="Arial"/>
              <a:ea typeface="Open Sans" panose="020B0606030504020204" pitchFamily="34" charset="0"/>
              <a:cs typeface="Arial"/>
            </a:endParaRPr>
          </a:p>
        </p:txBody>
      </p:sp>
      <p:sp>
        <p:nvSpPr>
          <p:cNvPr id="5" name="Rectangle: Rounded Corners 4">
            <a:extLst>
              <a:ext uri="{FF2B5EF4-FFF2-40B4-BE49-F238E27FC236}">
                <a16:creationId xmlns:a16="http://schemas.microsoft.com/office/drawing/2014/main" id="{DFE45819-DE0D-8D75-A9F9-C25B38AB7CEE}"/>
              </a:ext>
            </a:extLst>
          </p:cNvPr>
          <p:cNvSpPr/>
          <p:nvPr/>
        </p:nvSpPr>
        <p:spPr>
          <a:xfrm>
            <a:off x="623492" y="1409127"/>
            <a:ext cx="8103428" cy="434937"/>
          </a:xfrm>
          <a:prstGeom prst="roundRect">
            <a:avLst/>
          </a:prstGeom>
          <a:solidFill>
            <a:srgbClr val="DCE6F2"/>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marR="0" rtl="0"/>
            <a:r>
              <a:rPr lang="en-US" sz="1400" dirty="0">
                <a:solidFill>
                  <a:srgbClr val="024DA1"/>
                </a:solidFill>
                <a:latin typeface="Arial" panose="020B0604020202020204" pitchFamily="34" charset="0"/>
                <a:cs typeface="Arial" panose="020B0604020202020204" pitchFamily="34" charset="0"/>
              </a:rPr>
              <a:t>Transformation of the meaning of the sign</a:t>
            </a:r>
          </a:p>
        </p:txBody>
      </p:sp>
      <p:sp>
        <p:nvSpPr>
          <p:cNvPr id="7" name="Flowchart: Connector 6">
            <a:extLst>
              <a:ext uri="{FF2B5EF4-FFF2-40B4-BE49-F238E27FC236}">
                <a16:creationId xmlns:a16="http://schemas.microsoft.com/office/drawing/2014/main" id="{6DF28D9B-D778-A16D-DA88-A41E3B310D70}"/>
              </a:ext>
            </a:extLst>
          </p:cNvPr>
          <p:cNvSpPr/>
          <p:nvPr/>
        </p:nvSpPr>
        <p:spPr>
          <a:xfrm>
            <a:off x="754705" y="2214475"/>
            <a:ext cx="90109" cy="97177"/>
          </a:xfrm>
          <a:prstGeom prst="flowChartConnector">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sp>
        <p:nvSpPr>
          <p:cNvPr id="11" name="TextBox 10">
            <a:extLst>
              <a:ext uri="{FF2B5EF4-FFF2-40B4-BE49-F238E27FC236}">
                <a16:creationId xmlns:a16="http://schemas.microsoft.com/office/drawing/2014/main" id="{9D657C81-E88F-3486-6CC5-C86C398EB90F}"/>
              </a:ext>
            </a:extLst>
          </p:cNvPr>
          <p:cNvSpPr txBox="1"/>
          <p:nvPr/>
        </p:nvSpPr>
        <p:spPr>
          <a:xfrm>
            <a:off x="652210" y="2103925"/>
            <a:ext cx="7981508" cy="1284967"/>
          </a:xfrm>
          <a:prstGeom prst="rect">
            <a:avLst/>
          </a:prstGeom>
          <a:noFill/>
        </p:spPr>
        <p:txBody>
          <a:bodyPr wrap="square" rtlCol="0">
            <a:spAutoFit/>
          </a:bodyPr>
          <a:lstStyle/>
          <a:p>
            <a:pPr marL="285750" indent="-285750" algn="just">
              <a:spcAft>
                <a:spcPts val="900"/>
              </a:spcAft>
              <a:buFont typeface="Wingdings" panose="05000000000000000000" pitchFamily="2" charset="2"/>
              <a:buChar char="Ø"/>
            </a:pPr>
            <a:r>
              <a:rPr lang="en-US" sz="1400" dirty="0">
                <a:solidFill>
                  <a:srgbClr val="024DA1"/>
                </a:solidFill>
                <a:latin typeface="Arial" panose="020B0604020202020204" pitchFamily="34" charset="0"/>
              </a:rPr>
              <a:t>Assess whether the </a:t>
            </a:r>
            <a:r>
              <a:rPr lang="en-US" sz="1400" b="1" dirty="0">
                <a:solidFill>
                  <a:srgbClr val="024DA1"/>
                </a:solidFill>
                <a:latin typeface="Arial" panose="020B0604020202020204" pitchFamily="34" charset="0"/>
              </a:rPr>
              <a:t>verbal and/or figurative elements </a:t>
            </a:r>
            <a:r>
              <a:rPr lang="en-US" sz="1400" dirty="0">
                <a:solidFill>
                  <a:srgbClr val="024DA1"/>
                </a:solidFill>
                <a:latin typeface="Arial" panose="020B0604020202020204" pitchFamily="34" charset="0"/>
              </a:rPr>
              <a:t>contained in the sign </a:t>
            </a:r>
            <a:r>
              <a:rPr lang="en-US" sz="1400" b="1" dirty="0">
                <a:solidFill>
                  <a:srgbClr val="024DA1"/>
                </a:solidFill>
                <a:latin typeface="Arial" panose="020B0604020202020204" pitchFamily="34" charset="0"/>
              </a:rPr>
              <a:t>and/or the message conveyed</a:t>
            </a:r>
            <a:r>
              <a:rPr lang="en-US" sz="1400" dirty="0">
                <a:solidFill>
                  <a:srgbClr val="024DA1"/>
                </a:solidFill>
                <a:latin typeface="Arial" panose="020B0604020202020204" pitchFamily="34" charset="0"/>
              </a:rPr>
              <a:t> by it </a:t>
            </a:r>
            <a:r>
              <a:rPr lang="en-US" sz="1400" b="1" dirty="0">
                <a:solidFill>
                  <a:srgbClr val="024DA1"/>
                </a:solidFill>
                <a:latin typeface="Arial" panose="020B0604020202020204" pitchFamily="34" charset="0"/>
              </a:rPr>
              <a:t>have been transformed</a:t>
            </a:r>
            <a:r>
              <a:rPr lang="en-US" sz="1400" dirty="0">
                <a:solidFill>
                  <a:srgbClr val="024DA1"/>
                </a:solidFill>
                <a:latin typeface="Arial" panose="020B0604020202020204" pitchFamily="34" charset="0"/>
              </a:rPr>
              <a:t> to the point that they would </a:t>
            </a:r>
            <a:r>
              <a:rPr lang="en-US" sz="1400" b="1" dirty="0">
                <a:solidFill>
                  <a:srgbClr val="024DA1"/>
                </a:solidFill>
                <a:latin typeface="Arial" panose="020B0604020202020204" pitchFamily="34" charset="0"/>
              </a:rPr>
              <a:t>no longer </a:t>
            </a:r>
            <a:r>
              <a:rPr lang="en-US" sz="1400" dirty="0">
                <a:solidFill>
                  <a:srgbClr val="024DA1"/>
                </a:solidFill>
                <a:latin typeface="Arial" panose="020B0604020202020204" pitchFamily="34" charset="0"/>
              </a:rPr>
              <a:t>be</a:t>
            </a:r>
            <a:r>
              <a:rPr lang="en-US" sz="1400" b="1" dirty="0">
                <a:solidFill>
                  <a:srgbClr val="024DA1"/>
                </a:solidFill>
                <a:latin typeface="Arial" panose="020B0604020202020204" pitchFamily="34" charset="0"/>
              </a:rPr>
              <a:t> contrary to </a:t>
            </a:r>
            <a:r>
              <a:rPr lang="en-US" sz="1400" b="1" dirty="0">
                <a:solidFill>
                  <a:srgbClr val="4BACC6"/>
                </a:solidFill>
                <a:latin typeface="Arial" panose="020B0604020202020204" pitchFamily="34" charset="0"/>
              </a:rPr>
              <a:t>public policy </a:t>
            </a:r>
            <a:r>
              <a:rPr lang="en-US" sz="1400" dirty="0">
                <a:solidFill>
                  <a:srgbClr val="024DA1"/>
                </a:solidFill>
                <a:latin typeface="Arial" panose="020B0604020202020204" pitchFamily="34" charset="0"/>
              </a:rPr>
              <a:t>or, with regard to </a:t>
            </a:r>
            <a:r>
              <a:rPr lang="en-US" sz="1400" b="1" dirty="0">
                <a:solidFill>
                  <a:srgbClr val="4BACC6"/>
                </a:solidFill>
                <a:latin typeface="Arial" panose="020B0604020202020204" pitchFamily="34" charset="0"/>
              </a:rPr>
              <a:t>accepted principles of morality</a:t>
            </a:r>
            <a:r>
              <a:rPr lang="en-US" sz="1400" dirty="0">
                <a:solidFill>
                  <a:srgbClr val="024DA1"/>
                </a:solidFill>
                <a:latin typeface="Arial" panose="020B0604020202020204" pitchFamily="34" charset="0"/>
              </a:rPr>
              <a:t>, have </a:t>
            </a:r>
            <a:r>
              <a:rPr lang="en-US" sz="1400" b="1" dirty="0">
                <a:solidFill>
                  <a:srgbClr val="024DA1"/>
                </a:solidFill>
                <a:latin typeface="Arial" panose="020B0604020202020204" pitchFamily="34" charset="0"/>
              </a:rPr>
              <a:t>lost their offensive meaning over time</a:t>
            </a:r>
            <a:r>
              <a:rPr lang="en-US" sz="1400" dirty="0">
                <a:solidFill>
                  <a:srgbClr val="024DA1"/>
                </a:solidFill>
                <a:latin typeface="Arial" panose="020B0604020202020204" pitchFamily="34" charset="0"/>
              </a:rPr>
              <a:t>. </a:t>
            </a:r>
          </a:p>
          <a:p>
            <a:pPr lvl="2" algn="just">
              <a:spcAft>
                <a:spcPts val="900"/>
              </a:spcAft>
            </a:pPr>
            <a:r>
              <a:rPr lang="en-US" sz="1400" dirty="0">
                <a:solidFill>
                  <a:srgbClr val="024DA1"/>
                </a:solidFill>
                <a:latin typeface="Arial" panose="020B0604020202020204" pitchFamily="34" charset="0"/>
              </a:rPr>
              <a:t>Determined with </a:t>
            </a:r>
            <a:r>
              <a:rPr lang="en-US" sz="1400" b="1" u="sng" dirty="0">
                <a:solidFill>
                  <a:srgbClr val="024DA1"/>
                </a:solidFill>
                <a:latin typeface="Arial" panose="020B0604020202020204" pitchFamily="34" charset="0"/>
              </a:rPr>
              <a:t>reference to the time of filing of the trade mark application</a:t>
            </a:r>
            <a:r>
              <a:rPr lang="en-US" sz="1400" dirty="0">
                <a:solidFill>
                  <a:srgbClr val="024DA1"/>
                </a:solidFill>
                <a:latin typeface="Arial" panose="020B0604020202020204" pitchFamily="34" charset="0"/>
              </a:rPr>
              <a:t>.</a:t>
            </a:r>
            <a:r>
              <a:rPr lang="en-GB" sz="1400" dirty="0">
                <a:solidFill>
                  <a:srgbClr val="024DA1"/>
                </a:solidFill>
                <a:latin typeface="Arial" panose="020B0604020202020204" pitchFamily="34" charset="0"/>
              </a:rPr>
              <a:t> </a:t>
            </a:r>
            <a:endParaRPr lang="en-US" sz="1400" dirty="0">
              <a:solidFill>
                <a:srgbClr val="024DA1"/>
              </a:solidFill>
              <a:latin typeface="Arial" panose="020B0604020202020204" pitchFamily="34" charset="0"/>
            </a:endParaRPr>
          </a:p>
        </p:txBody>
      </p:sp>
      <p:sp>
        <p:nvSpPr>
          <p:cNvPr id="24" name="Rectangle: Rounded Corners 23">
            <a:extLst>
              <a:ext uri="{FF2B5EF4-FFF2-40B4-BE49-F238E27FC236}">
                <a16:creationId xmlns:a16="http://schemas.microsoft.com/office/drawing/2014/main" id="{E18FEDD2-FF86-C31B-28A5-BC91151C50BD}"/>
              </a:ext>
            </a:extLst>
          </p:cNvPr>
          <p:cNvSpPr/>
          <p:nvPr/>
        </p:nvSpPr>
        <p:spPr>
          <a:xfrm>
            <a:off x="684452" y="1913187"/>
            <a:ext cx="3837029" cy="1070716"/>
          </a:xfrm>
          <a:prstGeom prst="roundRect">
            <a:avLst/>
          </a:prstGeom>
          <a:noFill/>
          <a:ln w="12700">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Rectangle: Rounded Corners 24">
            <a:extLst>
              <a:ext uri="{FF2B5EF4-FFF2-40B4-BE49-F238E27FC236}">
                <a16:creationId xmlns:a16="http://schemas.microsoft.com/office/drawing/2014/main" id="{3942B051-BAD5-4789-F7F1-52487AAFC775}"/>
              </a:ext>
            </a:extLst>
          </p:cNvPr>
          <p:cNvSpPr/>
          <p:nvPr/>
        </p:nvSpPr>
        <p:spPr>
          <a:xfrm>
            <a:off x="652210" y="2027487"/>
            <a:ext cx="8103428" cy="1460475"/>
          </a:xfrm>
          <a:prstGeom prst="roundRect">
            <a:avLst/>
          </a:prstGeom>
          <a:noFill/>
          <a:ln w="12700">
            <a:solidFill>
              <a:srgbClr val="C3C3C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13" name="Groupe 378">
            <a:extLst>
              <a:ext uri="{FF2B5EF4-FFF2-40B4-BE49-F238E27FC236}">
                <a16:creationId xmlns:a16="http://schemas.microsoft.com/office/drawing/2014/main" id="{8E3A08EC-5413-F98B-7660-12CCC342B479}"/>
              </a:ext>
            </a:extLst>
          </p:cNvPr>
          <p:cNvGrpSpPr/>
          <p:nvPr/>
        </p:nvGrpSpPr>
        <p:grpSpPr>
          <a:xfrm>
            <a:off x="1359643" y="3108022"/>
            <a:ext cx="224608" cy="264035"/>
            <a:chOff x="944563" y="3408363"/>
            <a:chExt cx="274638" cy="358775"/>
          </a:xfrm>
        </p:grpSpPr>
        <p:sp>
          <p:nvSpPr>
            <p:cNvPr id="14" name="Freeform 350">
              <a:extLst>
                <a:ext uri="{FF2B5EF4-FFF2-40B4-BE49-F238E27FC236}">
                  <a16:creationId xmlns:a16="http://schemas.microsoft.com/office/drawing/2014/main" id="{D64F9AD0-DE34-FC91-CFA1-E58E085752B9}"/>
                </a:ext>
              </a:extLst>
            </p:cNvPr>
            <p:cNvSpPr>
              <a:spLocks/>
            </p:cNvSpPr>
            <p:nvPr/>
          </p:nvSpPr>
          <p:spPr bwMode="auto">
            <a:xfrm>
              <a:off x="1031876" y="3408363"/>
              <a:ext cx="74613" cy="50800"/>
            </a:xfrm>
            <a:custGeom>
              <a:avLst/>
              <a:gdLst/>
              <a:ahLst/>
              <a:cxnLst>
                <a:cxn ang="0">
                  <a:pos x="40" y="32"/>
                </a:cxn>
                <a:cxn ang="0">
                  <a:pos x="40" y="22"/>
                </a:cxn>
                <a:cxn ang="0">
                  <a:pos x="47" y="22"/>
                </a:cxn>
                <a:cxn ang="0">
                  <a:pos x="47" y="0"/>
                </a:cxn>
                <a:cxn ang="0">
                  <a:pos x="0" y="0"/>
                </a:cxn>
                <a:cxn ang="0">
                  <a:pos x="0" y="22"/>
                </a:cxn>
                <a:cxn ang="0">
                  <a:pos x="7" y="22"/>
                </a:cxn>
                <a:cxn ang="0">
                  <a:pos x="7" y="32"/>
                </a:cxn>
              </a:cxnLst>
              <a:rect l="0" t="0" r="r" b="b"/>
              <a:pathLst>
                <a:path w="47" h="32">
                  <a:moveTo>
                    <a:pt x="40" y="32"/>
                  </a:moveTo>
                  <a:lnTo>
                    <a:pt x="40" y="22"/>
                  </a:lnTo>
                  <a:lnTo>
                    <a:pt x="47" y="22"/>
                  </a:lnTo>
                  <a:lnTo>
                    <a:pt x="47" y="0"/>
                  </a:lnTo>
                  <a:lnTo>
                    <a:pt x="0" y="0"/>
                  </a:lnTo>
                  <a:lnTo>
                    <a:pt x="0" y="22"/>
                  </a:lnTo>
                  <a:lnTo>
                    <a:pt x="7" y="22"/>
                  </a:lnTo>
                  <a:lnTo>
                    <a:pt x="7" y="32"/>
                  </a:lnTo>
                </a:path>
              </a:pathLst>
            </a:custGeom>
            <a:solidFill>
              <a:srgbClr val="14438E"/>
            </a:solidFill>
            <a:ln w="12700" cap="rnd">
              <a:solidFill>
                <a:srgbClr val="14438E"/>
              </a:solidFill>
              <a:prstDash val="solid"/>
              <a:round/>
              <a:headEnd/>
              <a:tailEnd/>
            </a:ln>
          </p:spPr>
          <p:txBody>
            <a:bodyPr vert="horz" wrap="square" lIns="68580" tIns="34290" rIns="68580" bIns="34290" numCol="1" anchor="t" anchorCtr="0" compatLnSpc="1">
              <a:prstTxWarp prst="textNoShape">
                <a:avLst/>
              </a:prstTxWarp>
            </a:bodyPr>
            <a:lstStyle/>
            <a:p>
              <a:endParaRPr lang="en-GB" sz="525" dirty="0">
                <a:solidFill>
                  <a:srgbClr val="4BACC6"/>
                </a:solidFill>
                <a:latin typeface="+mj-lt"/>
              </a:endParaRPr>
            </a:p>
          </p:txBody>
        </p:sp>
        <p:sp>
          <p:nvSpPr>
            <p:cNvPr id="15" name="Freeform 351">
              <a:extLst>
                <a:ext uri="{FF2B5EF4-FFF2-40B4-BE49-F238E27FC236}">
                  <a16:creationId xmlns:a16="http://schemas.microsoft.com/office/drawing/2014/main" id="{05051EB4-DF9E-4A81-AA85-B3E2DF66AE56}"/>
                </a:ext>
              </a:extLst>
            </p:cNvPr>
            <p:cNvSpPr>
              <a:spLocks/>
            </p:cNvSpPr>
            <p:nvPr/>
          </p:nvSpPr>
          <p:spPr bwMode="auto">
            <a:xfrm>
              <a:off x="944563" y="3482975"/>
              <a:ext cx="250825" cy="284163"/>
            </a:xfrm>
            <a:custGeom>
              <a:avLst/>
              <a:gdLst/>
              <a:ahLst/>
              <a:cxnLst>
                <a:cxn ang="0">
                  <a:pos x="16" y="95"/>
                </a:cxn>
                <a:cxn ang="0">
                  <a:pos x="26" y="85"/>
                </a:cxn>
                <a:cxn ang="0">
                  <a:pos x="14" y="56"/>
                </a:cxn>
                <a:cxn ang="0">
                  <a:pos x="26" y="26"/>
                </a:cxn>
                <a:cxn ang="0">
                  <a:pos x="56" y="14"/>
                </a:cxn>
                <a:cxn ang="0">
                  <a:pos x="86" y="26"/>
                </a:cxn>
                <a:cxn ang="0">
                  <a:pos x="98" y="56"/>
                </a:cxn>
                <a:cxn ang="0">
                  <a:pos x="86" y="85"/>
                </a:cxn>
                <a:cxn ang="0">
                  <a:pos x="57" y="97"/>
                </a:cxn>
                <a:cxn ang="0">
                  <a:pos x="57" y="81"/>
                </a:cxn>
                <a:cxn ang="0">
                  <a:pos x="35" y="104"/>
                </a:cxn>
                <a:cxn ang="0">
                  <a:pos x="57" y="126"/>
                </a:cxn>
                <a:cxn ang="0">
                  <a:pos x="57" y="111"/>
                </a:cxn>
                <a:cxn ang="0">
                  <a:pos x="95" y="95"/>
                </a:cxn>
                <a:cxn ang="0">
                  <a:pos x="112" y="56"/>
                </a:cxn>
                <a:cxn ang="0">
                  <a:pos x="95" y="16"/>
                </a:cxn>
                <a:cxn ang="0">
                  <a:pos x="56" y="0"/>
                </a:cxn>
                <a:cxn ang="0">
                  <a:pos x="16" y="16"/>
                </a:cxn>
                <a:cxn ang="0">
                  <a:pos x="0" y="56"/>
                </a:cxn>
                <a:cxn ang="0">
                  <a:pos x="6" y="81"/>
                </a:cxn>
              </a:cxnLst>
              <a:rect l="0" t="0" r="r" b="b"/>
              <a:pathLst>
                <a:path w="112" h="126">
                  <a:moveTo>
                    <a:pt x="16" y="95"/>
                  </a:moveTo>
                  <a:cubicBezTo>
                    <a:pt x="26" y="85"/>
                    <a:pt x="26" y="85"/>
                    <a:pt x="26" y="85"/>
                  </a:cubicBezTo>
                  <a:cubicBezTo>
                    <a:pt x="18" y="77"/>
                    <a:pt x="14" y="67"/>
                    <a:pt x="14" y="56"/>
                  </a:cubicBezTo>
                  <a:cubicBezTo>
                    <a:pt x="14" y="44"/>
                    <a:pt x="18" y="34"/>
                    <a:pt x="26" y="26"/>
                  </a:cubicBezTo>
                  <a:cubicBezTo>
                    <a:pt x="34" y="18"/>
                    <a:pt x="45" y="14"/>
                    <a:pt x="56" y="14"/>
                  </a:cubicBezTo>
                  <a:cubicBezTo>
                    <a:pt x="67" y="14"/>
                    <a:pt x="78" y="18"/>
                    <a:pt x="86" y="26"/>
                  </a:cubicBezTo>
                  <a:cubicBezTo>
                    <a:pt x="93" y="34"/>
                    <a:pt x="98" y="44"/>
                    <a:pt x="98" y="56"/>
                  </a:cubicBezTo>
                  <a:cubicBezTo>
                    <a:pt x="98" y="67"/>
                    <a:pt x="93" y="77"/>
                    <a:pt x="86" y="85"/>
                  </a:cubicBezTo>
                  <a:cubicBezTo>
                    <a:pt x="78" y="93"/>
                    <a:pt x="68" y="97"/>
                    <a:pt x="57" y="97"/>
                  </a:cubicBezTo>
                  <a:cubicBezTo>
                    <a:pt x="57" y="81"/>
                    <a:pt x="57" y="81"/>
                    <a:pt x="57" y="81"/>
                  </a:cubicBezTo>
                  <a:cubicBezTo>
                    <a:pt x="35" y="104"/>
                    <a:pt x="35" y="104"/>
                    <a:pt x="35" y="104"/>
                  </a:cubicBezTo>
                  <a:cubicBezTo>
                    <a:pt x="57" y="126"/>
                    <a:pt x="57" y="126"/>
                    <a:pt x="57" y="126"/>
                  </a:cubicBezTo>
                  <a:cubicBezTo>
                    <a:pt x="57" y="111"/>
                    <a:pt x="57" y="111"/>
                    <a:pt x="57" y="111"/>
                  </a:cubicBezTo>
                  <a:cubicBezTo>
                    <a:pt x="72" y="111"/>
                    <a:pt x="85" y="105"/>
                    <a:pt x="95" y="95"/>
                  </a:cubicBezTo>
                  <a:cubicBezTo>
                    <a:pt x="106" y="85"/>
                    <a:pt x="112" y="70"/>
                    <a:pt x="112" y="56"/>
                  </a:cubicBezTo>
                  <a:cubicBezTo>
                    <a:pt x="112" y="41"/>
                    <a:pt x="106" y="27"/>
                    <a:pt x="95" y="16"/>
                  </a:cubicBezTo>
                  <a:cubicBezTo>
                    <a:pt x="85" y="6"/>
                    <a:pt x="71" y="0"/>
                    <a:pt x="56" y="0"/>
                  </a:cubicBezTo>
                  <a:cubicBezTo>
                    <a:pt x="41" y="0"/>
                    <a:pt x="27" y="6"/>
                    <a:pt x="16" y="16"/>
                  </a:cubicBezTo>
                  <a:cubicBezTo>
                    <a:pt x="6" y="27"/>
                    <a:pt x="0" y="41"/>
                    <a:pt x="0" y="56"/>
                  </a:cubicBezTo>
                  <a:cubicBezTo>
                    <a:pt x="0" y="65"/>
                    <a:pt x="2" y="74"/>
                    <a:pt x="6" y="81"/>
                  </a:cubicBezTo>
                </a:path>
              </a:pathLst>
            </a:custGeom>
            <a:solidFill>
              <a:srgbClr val="14438E"/>
            </a:solidFill>
            <a:ln w="12700" cap="rnd">
              <a:solidFill>
                <a:srgbClr val="14438E"/>
              </a:solidFill>
              <a:prstDash val="solid"/>
              <a:round/>
              <a:headEnd/>
              <a:tailEnd/>
            </a:ln>
          </p:spPr>
          <p:txBody>
            <a:bodyPr vert="horz" wrap="square" lIns="68580" tIns="34290" rIns="68580" bIns="34290" numCol="1" anchor="t" anchorCtr="0" compatLnSpc="1">
              <a:prstTxWarp prst="textNoShape">
                <a:avLst/>
              </a:prstTxWarp>
            </a:bodyPr>
            <a:lstStyle/>
            <a:p>
              <a:endParaRPr lang="en-GB" sz="525" dirty="0">
                <a:solidFill>
                  <a:srgbClr val="4BACC6"/>
                </a:solidFill>
                <a:latin typeface="+mj-lt"/>
              </a:endParaRPr>
            </a:p>
          </p:txBody>
        </p:sp>
        <p:sp>
          <p:nvSpPr>
            <p:cNvPr id="16" name="Freeform 352">
              <a:extLst>
                <a:ext uri="{FF2B5EF4-FFF2-40B4-BE49-F238E27FC236}">
                  <a16:creationId xmlns:a16="http://schemas.microsoft.com/office/drawing/2014/main" id="{9072FB7F-06D8-686E-0945-61074C6162BA}"/>
                </a:ext>
              </a:extLst>
            </p:cNvPr>
            <p:cNvSpPr>
              <a:spLocks/>
            </p:cNvSpPr>
            <p:nvPr/>
          </p:nvSpPr>
          <p:spPr bwMode="auto">
            <a:xfrm>
              <a:off x="1160463" y="3459163"/>
              <a:ext cx="58738" cy="58738"/>
            </a:xfrm>
            <a:custGeom>
              <a:avLst/>
              <a:gdLst/>
              <a:ahLst/>
              <a:cxnLst>
                <a:cxn ang="0">
                  <a:pos x="0" y="15"/>
                </a:cxn>
                <a:cxn ang="0">
                  <a:pos x="15" y="0"/>
                </a:cxn>
                <a:cxn ang="0">
                  <a:pos x="37" y="22"/>
                </a:cxn>
                <a:cxn ang="0">
                  <a:pos x="21" y="37"/>
                </a:cxn>
              </a:cxnLst>
              <a:rect l="0" t="0" r="r" b="b"/>
              <a:pathLst>
                <a:path w="37" h="37">
                  <a:moveTo>
                    <a:pt x="0" y="15"/>
                  </a:moveTo>
                  <a:lnTo>
                    <a:pt x="15" y="0"/>
                  </a:lnTo>
                  <a:lnTo>
                    <a:pt x="37" y="22"/>
                  </a:lnTo>
                  <a:lnTo>
                    <a:pt x="21" y="37"/>
                  </a:lnTo>
                </a:path>
              </a:pathLst>
            </a:custGeom>
            <a:solidFill>
              <a:srgbClr val="14438E"/>
            </a:solidFill>
            <a:ln w="12700" cap="rnd">
              <a:solidFill>
                <a:srgbClr val="14438E"/>
              </a:solidFill>
              <a:prstDash val="solid"/>
              <a:round/>
              <a:headEnd/>
              <a:tailEnd/>
            </a:ln>
          </p:spPr>
          <p:txBody>
            <a:bodyPr vert="horz" wrap="square" lIns="68580" tIns="34290" rIns="68580" bIns="34290" numCol="1" anchor="t" anchorCtr="0" compatLnSpc="1">
              <a:prstTxWarp prst="textNoShape">
                <a:avLst/>
              </a:prstTxWarp>
            </a:bodyPr>
            <a:lstStyle/>
            <a:p>
              <a:endParaRPr lang="en-GB" sz="525" dirty="0">
                <a:solidFill>
                  <a:srgbClr val="4BACC6"/>
                </a:solidFill>
                <a:latin typeface="+mj-lt"/>
              </a:endParaRPr>
            </a:p>
          </p:txBody>
        </p:sp>
        <p:sp>
          <p:nvSpPr>
            <p:cNvPr id="21" name="Line 353">
              <a:extLst>
                <a:ext uri="{FF2B5EF4-FFF2-40B4-BE49-F238E27FC236}">
                  <a16:creationId xmlns:a16="http://schemas.microsoft.com/office/drawing/2014/main" id="{2F1ACDAC-D8A5-DECF-3ADA-4ECC654DB2F4}"/>
                </a:ext>
              </a:extLst>
            </p:cNvPr>
            <p:cNvSpPr>
              <a:spLocks noChangeShapeType="1"/>
            </p:cNvSpPr>
            <p:nvPr/>
          </p:nvSpPr>
          <p:spPr bwMode="auto">
            <a:xfrm>
              <a:off x="1069976" y="3536950"/>
              <a:ext cx="1588" cy="69850"/>
            </a:xfrm>
            <a:prstGeom prst="line">
              <a:avLst/>
            </a:prstGeom>
            <a:noFill/>
            <a:ln w="12700" cap="rnd">
              <a:solidFill>
                <a:srgbClr val="14438E"/>
              </a:solidFill>
              <a:prstDash val="solid"/>
              <a:round/>
              <a:headEnd/>
              <a:tailEnd/>
            </a:ln>
          </p:spPr>
          <p:txBody>
            <a:bodyPr vert="horz" wrap="square" lIns="68580" tIns="34290" rIns="68580" bIns="34290" numCol="1" anchor="t" anchorCtr="0" compatLnSpc="1">
              <a:prstTxWarp prst="textNoShape">
                <a:avLst/>
              </a:prstTxWarp>
            </a:bodyPr>
            <a:lstStyle/>
            <a:p>
              <a:endParaRPr lang="en-GB" sz="525" dirty="0">
                <a:solidFill>
                  <a:srgbClr val="4BACC6"/>
                </a:solidFill>
                <a:latin typeface="+mj-lt"/>
              </a:endParaRPr>
            </a:p>
          </p:txBody>
        </p:sp>
        <p:sp>
          <p:nvSpPr>
            <p:cNvPr id="22" name="Oval 354">
              <a:extLst>
                <a:ext uri="{FF2B5EF4-FFF2-40B4-BE49-F238E27FC236}">
                  <a16:creationId xmlns:a16="http://schemas.microsoft.com/office/drawing/2014/main" id="{6E1E5E4D-F32C-42EE-0315-86532FDFDA2F}"/>
                </a:ext>
              </a:extLst>
            </p:cNvPr>
            <p:cNvSpPr>
              <a:spLocks noChangeArrowheads="1"/>
            </p:cNvSpPr>
            <p:nvPr/>
          </p:nvSpPr>
          <p:spPr bwMode="auto">
            <a:xfrm>
              <a:off x="1058863" y="3592513"/>
              <a:ext cx="25400" cy="26988"/>
            </a:xfrm>
            <a:prstGeom prst="ellipse">
              <a:avLst/>
            </a:prstGeom>
            <a:noFill/>
            <a:ln w="12700" cap="rnd">
              <a:solidFill>
                <a:srgbClr val="14438E"/>
              </a:solidFill>
              <a:prstDash val="solid"/>
              <a:round/>
              <a:headEnd/>
              <a:tailEnd/>
            </a:ln>
          </p:spPr>
          <p:txBody>
            <a:bodyPr vert="horz" wrap="square" lIns="68580" tIns="34290" rIns="68580" bIns="34290" numCol="1" anchor="t" anchorCtr="0" compatLnSpc="1">
              <a:prstTxWarp prst="textNoShape">
                <a:avLst/>
              </a:prstTxWarp>
            </a:bodyPr>
            <a:lstStyle/>
            <a:p>
              <a:endParaRPr lang="en-GB" sz="525" dirty="0">
                <a:solidFill>
                  <a:srgbClr val="4BACC6"/>
                </a:solidFill>
                <a:latin typeface="+mj-lt"/>
              </a:endParaRPr>
            </a:p>
          </p:txBody>
        </p:sp>
      </p:grpSp>
      <p:pic>
        <p:nvPicPr>
          <p:cNvPr id="27" name="Picture 26">
            <a:extLst>
              <a:ext uri="{FF2B5EF4-FFF2-40B4-BE49-F238E27FC236}">
                <a16:creationId xmlns:a16="http://schemas.microsoft.com/office/drawing/2014/main" id="{8FB618BC-1D3D-85DA-A19C-EFF34CEFADD1}"/>
              </a:ext>
            </a:extLst>
          </p:cNvPr>
          <p:cNvPicPr>
            <a:picLocks noChangeAspect="1"/>
          </p:cNvPicPr>
          <p:nvPr/>
        </p:nvPicPr>
        <p:blipFill>
          <a:blip r:embed="rId4"/>
          <a:stretch>
            <a:fillRect/>
          </a:stretch>
        </p:blipFill>
        <p:spPr>
          <a:xfrm>
            <a:off x="3775928" y="3678167"/>
            <a:ext cx="1652590" cy="1194169"/>
          </a:xfrm>
          <a:prstGeom prst="rect">
            <a:avLst/>
          </a:prstGeom>
          <a:ln w="28575">
            <a:solidFill>
              <a:srgbClr val="00B050"/>
            </a:solidFill>
          </a:ln>
        </p:spPr>
      </p:pic>
    </p:spTree>
    <p:extLst>
      <p:ext uri="{BB962C8B-B14F-4D97-AF65-F5344CB8AC3E}">
        <p14:creationId xmlns:p14="http://schemas.microsoft.com/office/powerpoint/2010/main" val="27394528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F235DC0-2233-78FE-8E07-C7E3D6112BB5}"/>
              </a:ext>
            </a:extLst>
          </p:cNvPr>
          <p:cNvSpPr txBox="1"/>
          <p:nvPr/>
        </p:nvSpPr>
        <p:spPr>
          <a:xfrm>
            <a:off x="6391731" y="3010402"/>
            <a:ext cx="1805309" cy="897683"/>
          </a:xfrm>
          <a:prstGeom prst="roundRect">
            <a:avLst/>
          </a:prstGeom>
          <a:solidFill>
            <a:schemeClr val="bg1">
              <a:lumMod val="95000"/>
            </a:schemeClr>
          </a:solidFill>
          <a:ln>
            <a:solidFill>
              <a:schemeClr val="tx1"/>
            </a:solidFill>
            <a:prstDash val="dash"/>
          </a:ln>
        </p:spPr>
        <p:txBody>
          <a:bodyPr wrap="square" lIns="72000" tIns="36000" rIns="72000" bIns="36000" anchor="ctr" anchorCtr="0">
            <a:spAutoFit/>
          </a:bodyPr>
          <a:lstStyle/>
          <a:p>
            <a:pPr lvl="0" algn="ctr"/>
            <a:r>
              <a:rPr lang="en-US" sz="1200" dirty="0">
                <a:solidFill>
                  <a:srgbClr val="024DA1"/>
                </a:solidFill>
                <a:latin typeface="Arial" panose="020B0604020202020204" pitchFamily="34" charset="0"/>
                <a:cs typeface="Arial" panose="020B0604020202020204" pitchFamily="34" charset="0"/>
              </a:rPr>
              <a:t>Reasonable person with average sensitivity and tolerance thresholds</a:t>
            </a:r>
          </a:p>
        </p:txBody>
      </p:sp>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2 Assessment of signs contrary to public policy and/or to accepted principles of morality</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Assessment of the relationship between the goods and services and the sign/relevant public</a:t>
            </a:r>
          </a:p>
        </p:txBody>
      </p:sp>
      <p:graphicFrame>
        <p:nvGraphicFramePr>
          <p:cNvPr id="5" name="Diagram 4">
            <a:extLst>
              <a:ext uri="{FF2B5EF4-FFF2-40B4-BE49-F238E27FC236}">
                <a16:creationId xmlns:a16="http://schemas.microsoft.com/office/drawing/2014/main" id="{8251BAB0-3C8A-13AE-7C33-03157F80E71C}"/>
              </a:ext>
            </a:extLst>
          </p:cNvPr>
          <p:cNvGraphicFramePr/>
          <p:nvPr>
            <p:extLst>
              <p:ext uri="{D42A27DB-BD31-4B8C-83A1-F6EECF244321}">
                <p14:modId xmlns:p14="http://schemas.microsoft.com/office/powerpoint/2010/main" val="2558558769"/>
              </p:ext>
            </p:extLst>
          </p:nvPr>
        </p:nvGraphicFramePr>
        <p:xfrm>
          <a:off x="2150089" y="1558149"/>
          <a:ext cx="4384142" cy="344670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24" name="Graphic 23" descr="Warning with solid fill">
            <a:extLst>
              <a:ext uri="{FF2B5EF4-FFF2-40B4-BE49-F238E27FC236}">
                <a16:creationId xmlns:a16="http://schemas.microsoft.com/office/drawing/2014/main" id="{86680229-005E-45F3-9F24-B6ADDF14B29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676186" y="3549851"/>
            <a:ext cx="520854" cy="520854"/>
          </a:xfrm>
          <a:prstGeom prst="rect">
            <a:avLst/>
          </a:prstGeom>
        </p:spPr>
      </p:pic>
    </p:spTree>
    <p:extLst>
      <p:ext uri="{BB962C8B-B14F-4D97-AF65-F5344CB8AC3E}">
        <p14:creationId xmlns:p14="http://schemas.microsoft.com/office/powerpoint/2010/main" val="10478206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2 Assessment of signs contrary to public policy and/or to accepted principles of morality</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Assessment of the relationship between the goods and services and the sign/relevant public</a:t>
            </a:r>
          </a:p>
        </p:txBody>
      </p:sp>
      <p:sp>
        <p:nvSpPr>
          <p:cNvPr id="5" name="Rectangle: Rounded Corners 4">
            <a:extLst>
              <a:ext uri="{FF2B5EF4-FFF2-40B4-BE49-F238E27FC236}">
                <a16:creationId xmlns:a16="http://schemas.microsoft.com/office/drawing/2014/main" id="{F7E7155E-2350-DA71-C93B-7FF3C9A0BFD2}"/>
              </a:ext>
            </a:extLst>
          </p:cNvPr>
          <p:cNvSpPr/>
          <p:nvPr/>
        </p:nvSpPr>
        <p:spPr>
          <a:xfrm>
            <a:off x="3125521" y="2479615"/>
            <a:ext cx="5517555" cy="1218678"/>
          </a:xfrm>
          <a:prstGeom prst="roundRect">
            <a:avLst/>
          </a:prstGeom>
          <a:solidFill>
            <a:srgbClr val="DCE6F2"/>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marR="0" rtl="0"/>
            <a:endParaRPr lang="en-US" sz="1400" dirty="0">
              <a:solidFill>
                <a:srgbClr val="024DA1"/>
              </a:solidFill>
              <a:latin typeface="Arial" panose="020B0604020202020204" pitchFamily="34" charset="0"/>
              <a:cs typeface="Arial" panose="020B0604020202020204" pitchFamily="34" charset="0"/>
            </a:endParaRPr>
          </a:p>
        </p:txBody>
      </p:sp>
      <p:sp>
        <p:nvSpPr>
          <p:cNvPr id="7" name="Flowchart: Connector 6">
            <a:extLst>
              <a:ext uri="{FF2B5EF4-FFF2-40B4-BE49-F238E27FC236}">
                <a16:creationId xmlns:a16="http://schemas.microsoft.com/office/drawing/2014/main" id="{7A779215-8659-2D1B-D3CF-5153D189073A}"/>
              </a:ext>
            </a:extLst>
          </p:cNvPr>
          <p:cNvSpPr/>
          <p:nvPr/>
        </p:nvSpPr>
        <p:spPr>
          <a:xfrm>
            <a:off x="754705" y="1954828"/>
            <a:ext cx="90109" cy="97177"/>
          </a:xfrm>
          <a:prstGeom prst="flowChartConnector">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pic>
        <p:nvPicPr>
          <p:cNvPr id="9" name="Picture 6">
            <a:extLst>
              <a:ext uri="{FF2B5EF4-FFF2-40B4-BE49-F238E27FC236}">
                <a16:creationId xmlns:a16="http://schemas.microsoft.com/office/drawing/2014/main" id="{645B6B84-BD62-F25F-406B-B35D1D406AB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76413" y="2292213"/>
            <a:ext cx="1395535" cy="1608647"/>
          </a:xfrm>
          <a:prstGeom prst="rect">
            <a:avLst/>
          </a:prstGeom>
          <a:solidFill>
            <a:schemeClr val="accent2"/>
          </a:solidFill>
        </p:spPr>
      </p:pic>
      <p:sp>
        <p:nvSpPr>
          <p:cNvPr id="10" name="TextBox 9">
            <a:extLst>
              <a:ext uri="{FF2B5EF4-FFF2-40B4-BE49-F238E27FC236}">
                <a16:creationId xmlns:a16="http://schemas.microsoft.com/office/drawing/2014/main" id="{E9722B16-1D80-2FAE-15EF-292BB992CD62}"/>
              </a:ext>
            </a:extLst>
          </p:cNvPr>
          <p:cNvSpPr txBox="1"/>
          <p:nvPr/>
        </p:nvSpPr>
        <p:spPr>
          <a:xfrm>
            <a:off x="903561" y="4090008"/>
            <a:ext cx="1941238" cy="523220"/>
          </a:xfrm>
          <a:prstGeom prst="rect">
            <a:avLst/>
          </a:prstGeom>
          <a:noFill/>
        </p:spPr>
        <p:txBody>
          <a:bodyPr wrap="square">
            <a:spAutoFit/>
          </a:bodyPr>
          <a:lstStyle/>
          <a:p>
            <a:pPr algn="ctr" rtl="0" fontAlgn="base"/>
            <a:r>
              <a:rPr lang="en-GB" sz="1400" b="0" i="0" u="none" strike="noStrike">
                <a:solidFill>
                  <a:srgbClr val="024DA1"/>
                </a:solidFill>
                <a:effectLst/>
                <a:latin typeface="Arial" panose="020B0604020202020204" pitchFamily="34" charset="0"/>
              </a:rPr>
              <a:t>Class 45: </a:t>
            </a:r>
            <a:r>
              <a:rPr lang="en-GB" sz="1400" b="0" i="0">
                <a:solidFill>
                  <a:srgbClr val="024DA1"/>
                </a:solidFill>
                <a:effectLst/>
                <a:latin typeface="Arial" panose="020B0604020202020204" pitchFamily="34" charset="0"/>
              </a:rPr>
              <a:t>​</a:t>
            </a:r>
            <a:endParaRPr lang="en-GB" sz="1400" b="0" i="0">
              <a:solidFill>
                <a:srgbClr val="024DA1"/>
              </a:solidFill>
              <a:effectLst/>
              <a:latin typeface="Segoe UI" panose="020B0502040204020203" pitchFamily="34" charset="0"/>
            </a:endParaRPr>
          </a:p>
          <a:p>
            <a:pPr algn="ctr" rtl="0" fontAlgn="base"/>
            <a:r>
              <a:rPr lang="en-GB" sz="1400" b="0" i="0" u="none" strike="noStrike">
                <a:solidFill>
                  <a:srgbClr val="024DA1"/>
                </a:solidFill>
                <a:effectLst/>
                <a:latin typeface="Arial" panose="020B0604020202020204" pitchFamily="34" charset="0"/>
              </a:rPr>
              <a:t>Security services</a:t>
            </a:r>
            <a:endParaRPr lang="en-GB" sz="1400" b="0" i="0">
              <a:solidFill>
                <a:srgbClr val="024DA1"/>
              </a:solidFill>
              <a:effectLst/>
              <a:latin typeface="Segoe UI" panose="020B0502040204020203" pitchFamily="34" charset="0"/>
            </a:endParaRPr>
          </a:p>
        </p:txBody>
      </p:sp>
      <p:sp>
        <p:nvSpPr>
          <p:cNvPr id="11" name="TextBox 10">
            <a:extLst>
              <a:ext uri="{FF2B5EF4-FFF2-40B4-BE49-F238E27FC236}">
                <a16:creationId xmlns:a16="http://schemas.microsoft.com/office/drawing/2014/main" id="{47DE1B1C-69B7-EC00-AAAA-140953195901}"/>
              </a:ext>
            </a:extLst>
          </p:cNvPr>
          <p:cNvSpPr txBox="1"/>
          <p:nvPr/>
        </p:nvSpPr>
        <p:spPr>
          <a:xfrm>
            <a:off x="3125521" y="2619482"/>
            <a:ext cx="5156886" cy="954107"/>
          </a:xfrm>
          <a:prstGeom prst="rect">
            <a:avLst/>
          </a:prstGeom>
          <a:noFill/>
        </p:spPr>
        <p:txBody>
          <a:bodyPr wrap="square" rtlCol="0">
            <a:spAutoFit/>
          </a:bodyPr>
          <a:lstStyle/>
          <a:p>
            <a:pPr marL="285750" indent="-285750" algn="just">
              <a:buFont typeface="Wingdings" panose="05000000000000000000" pitchFamily="2" charset="2"/>
              <a:buChar char="Ø"/>
            </a:pPr>
            <a:r>
              <a:rPr lang="en-GB" sz="1400" b="0" i="0" u="none" strike="noStrike" dirty="0">
                <a:solidFill>
                  <a:srgbClr val="024DA1"/>
                </a:solidFill>
                <a:effectLst/>
                <a:latin typeface="Arial" panose="020B0604020202020204" pitchFamily="34" charset="0"/>
              </a:rPr>
              <a:t>There may be cases in which the </a:t>
            </a:r>
            <a:r>
              <a:rPr lang="en-GB" sz="1400" b="1" i="0" u="none" strike="noStrike" dirty="0">
                <a:solidFill>
                  <a:srgbClr val="024DA1"/>
                </a:solidFill>
                <a:effectLst/>
                <a:latin typeface="Arial" panose="020B0604020202020204" pitchFamily="34" charset="0"/>
              </a:rPr>
              <a:t>meaning of the sign and/or the message conveyed by it is so strong </a:t>
            </a:r>
            <a:r>
              <a:rPr lang="en-GB" sz="1400" b="0" i="0" u="none" strike="noStrike" dirty="0">
                <a:solidFill>
                  <a:srgbClr val="024DA1"/>
                </a:solidFill>
                <a:effectLst/>
                <a:latin typeface="Arial" panose="020B0604020202020204" pitchFamily="34" charset="0"/>
              </a:rPr>
              <a:t>that it would be rejected </a:t>
            </a:r>
            <a:r>
              <a:rPr lang="en-GB" sz="1400" b="1" i="0" u="none" strike="noStrike" dirty="0">
                <a:solidFill>
                  <a:srgbClr val="024DA1"/>
                </a:solidFill>
                <a:effectLst/>
                <a:latin typeface="Arial" panose="020B0604020202020204" pitchFamily="34" charset="0"/>
              </a:rPr>
              <a:t>irrespective of the goods and/or services</a:t>
            </a:r>
            <a:r>
              <a:rPr lang="en-GB" sz="1400" b="0" i="0" u="none" strike="noStrike" dirty="0">
                <a:solidFill>
                  <a:srgbClr val="024DA1"/>
                </a:solidFill>
                <a:effectLst/>
                <a:latin typeface="Arial" panose="020B0604020202020204" pitchFamily="34" charset="0"/>
              </a:rPr>
              <a:t> applied for.</a:t>
            </a:r>
            <a:endParaRPr lang="en-GB" sz="1400" dirty="0">
              <a:solidFill>
                <a:srgbClr val="024DA1"/>
              </a:solidFill>
            </a:endParaRPr>
          </a:p>
        </p:txBody>
      </p:sp>
      <p:sp>
        <p:nvSpPr>
          <p:cNvPr id="4" name="Rectangle: Rounded Corners 3">
            <a:extLst>
              <a:ext uri="{FF2B5EF4-FFF2-40B4-BE49-F238E27FC236}">
                <a16:creationId xmlns:a16="http://schemas.microsoft.com/office/drawing/2014/main" id="{C5339693-266E-58D4-0489-76F8447AA01D}"/>
              </a:ext>
            </a:extLst>
          </p:cNvPr>
          <p:cNvSpPr/>
          <p:nvPr/>
        </p:nvSpPr>
        <p:spPr>
          <a:xfrm>
            <a:off x="623492" y="1409127"/>
            <a:ext cx="8103428" cy="434937"/>
          </a:xfrm>
          <a:prstGeom prst="roundRect">
            <a:avLst/>
          </a:prstGeom>
          <a:solidFill>
            <a:srgbClr val="DCE6F2"/>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marR="0" rtl="0"/>
            <a:r>
              <a:rPr lang="en-US" sz="1400" dirty="0">
                <a:solidFill>
                  <a:srgbClr val="024DA1"/>
                </a:solidFill>
                <a:latin typeface="Arial" panose="020B0604020202020204" pitchFamily="34" charset="0"/>
                <a:cs typeface="Arial" panose="020B0604020202020204" pitchFamily="34" charset="0"/>
              </a:rPr>
              <a:t>Impact of the goods and/or services on the perception of the sign</a:t>
            </a:r>
          </a:p>
        </p:txBody>
      </p:sp>
    </p:spTree>
    <p:extLst>
      <p:ext uri="{BB962C8B-B14F-4D97-AF65-F5344CB8AC3E}">
        <p14:creationId xmlns:p14="http://schemas.microsoft.com/office/powerpoint/2010/main" val="84839474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7"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9" name="Rectangle 16">
            <a:extLst>
              <a:ext uri="{FF2B5EF4-FFF2-40B4-BE49-F238E27FC236}">
                <a16:creationId xmlns:a16="http://schemas.microsoft.com/office/drawing/2014/main" id="{A72D7631-5624-4FE2-9B16-5E3DF58A47DE}"/>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6" name="Rectangle 8">
            <a:extLst>
              <a:ext uri="{FF2B5EF4-FFF2-40B4-BE49-F238E27FC236}">
                <a16:creationId xmlns:a16="http://schemas.microsoft.com/office/drawing/2014/main" id="{3ADD2324-815F-4C81-9FFC-E7A16B7E2609}"/>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IE" sz="1400" b="1" dirty="0">
                <a:solidFill>
                  <a:schemeClr val="bg1"/>
                </a:solidFill>
                <a:latin typeface="Arial"/>
                <a:cs typeface="Arial"/>
              </a:rPr>
              <a:t>Background - </a:t>
            </a:r>
            <a:r>
              <a:rPr lang="en-IE" sz="1400" b="1" spc="-71" dirty="0">
                <a:solidFill>
                  <a:srgbClr val="FFFCF6"/>
                </a:solidFill>
                <a:latin typeface="Arial"/>
                <a:ea typeface="Open Sans" panose="020B0606030504020204" pitchFamily="34" charset="0"/>
                <a:cs typeface="Arial"/>
              </a:rPr>
              <a:t>Convergence Projects</a:t>
            </a:r>
          </a:p>
        </p:txBody>
      </p:sp>
      <p:sp>
        <p:nvSpPr>
          <p:cNvPr id="7" name="Rectangle 6">
            <a:extLst>
              <a:ext uri="{FF2B5EF4-FFF2-40B4-BE49-F238E27FC236}">
                <a16:creationId xmlns:a16="http://schemas.microsoft.com/office/drawing/2014/main" id="{CF0E2C47-968E-4FA6-8D41-A8A670257556}"/>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Vision</a:t>
            </a:r>
          </a:p>
        </p:txBody>
      </p:sp>
      <p:pic>
        <p:nvPicPr>
          <p:cNvPr id="10" name="Picture 9">
            <a:extLst>
              <a:ext uri="{FF2B5EF4-FFF2-40B4-BE49-F238E27FC236}">
                <a16:creationId xmlns:a16="http://schemas.microsoft.com/office/drawing/2014/main" id="{AC398A38-D8C4-4463-BEDB-8174D0C16286}"/>
              </a:ext>
            </a:extLst>
          </p:cNvPr>
          <p:cNvPicPr>
            <a:picLocks noChangeAspect="1"/>
          </p:cNvPicPr>
          <p:nvPr>
            <p:custDataLst>
              <p:tags r:id="rId1"/>
            </p:custDataLst>
          </p:nvPr>
        </p:nvPicPr>
        <p:blipFill rotWithShape="1">
          <a:blip r:embed="rId8" cstate="print">
            <a:extLst>
              <a:ext uri="{28A0092B-C50C-407E-A947-70E740481C1C}">
                <a14:useLocalDpi xmlns:a14="http://schemas.microsoft.com/office/drawing/2010/main" val="0"/>
              </a:ext>
            </a:extLst>
          </a:blip>
          <a:srcRect/>
          <a:stretch/>
        </p:blipFill>
        <p:spPr>
          <a:xfrm>
            <a:off x="3469303" y="1723916"/>
            <a:ext cx="1803182" cy="1803182"/>
          </a:xfrm>
          <a:prstGeom prst="rect">
            <a:avLst/>
          </a:prstGeom>
        </p:spPr>
      </p:pic>
      <p:pic>
        <p:nvPicPr>
          <p:cNvPr id="11" name="Picture 10">
            <a:extLst>
              <a:ext uri="{FF2B5EF4-FFF2-40B4-BE49-F238E27FC236}">
                <a16:creationId xmlns:a16="http://schemas.microsoft.com/office/drawing/2014/main" id="{62366755-BA68-4732-9F96-B87290E8B114}"/>
              </a:ext>
            </a:extLst>
          </p:cNvPr>
          <p:cNvPicPr>
            <a:picLocks noChangeAspect="1"/>
          </p:cNvPicPr>
          <p:nvPr>
            <p:custDataLst>
              <p:tags r:id="rId2"/>
            </p:custDataLst>
          </p:nvPr>
        </p:nvPicPr>
        <p:blipFill rotWithShape="1">
          <a:blip r:embed="rId9" cstate="print">
            <a:extLst>
              <a:ext uri="{28A0092B-C50C-407E-A947-70E740481C1C}">
                <a14:useLocalDpi xmlns:a14="http://schemas.microsoft.com/office/drawing/2010/main" val="0"/>
              </a:ext>
            </a:extLst>
          </a:blip>
          <a:srcRect/>
          <a:stretch/>
        </p:blipFill>
        <p:spPr>
          <a:xfrm>
            <a:off x="4608402" y="1723916"/>
            <a:ext cx="1678739" cy="1649079"/>
          </a:xfrm>
          <a:prstGeom prst="rect">
            <a:avLst/>
          </a:prstGeom>
        </p:spPr>
      </p:pic>
      <p:pic>
        <p:nvPicPr>
          <p:cNvPr id="12" name="Picture 3">
            <a:extLst>
              <a:ext uri="{FF2B5EF4-FFF2-40B4-BE49-F238E27FC236}">
                <a16:creationId xmlns:a16="http://schemas.microsoft.com/office/drawing/2014/main" id="{C55FC233-6C0E-4FD4-A7E1-D1EDF3661520}"/>
              </a:ext>
            </a:extLst>
          </p:cNvPr>
          <p:cNvPicPr>
            <a:picLocks noChangeAspect="1"/>
          </p:cNvPicPr>
          <p:nvPr>
            <p:custDataLst>
              <p:tags r:id="rId3"/>
            </p:custDataLst>
          </p:nvPr>
        </p:nvPicPr>
        <p:blipFill>
          <a:blip r:embed="rId10" cstate="print">
            <a:extLst>
              <a:ext uri="{28A0092B-C50C-407E-A947-70E740481C1C}">
                <a14:useLocalDpi xmlns:a14="http://schemas.microsoft.com/office/drawing/2010/main" val="0"/>
              </a:ext>
            </a:extLst>
          </a:blip>
          <a:srcRect/>
          <a:stretch>
            <a:fillRect/>
          </a:stretch>
        </p:blipFill>
        <p:spPr>
          <a:xfrm>
            <a:off x="3912315" y="2745069"/>
            <a:ext cx="1583218" cy="1519879"/>
          </a:xfrm>
          <a:prstGeom prst="rect">
            <a:avLst/>
          </a:prstGeom>
        </p:spPr>
      </p:pic>
      <p:pic>
        <p:nvPicPr>
          <p:cNvPr id="13" name="Picture 5">
            <a:extLst>
              <a:ext uri="{FF2B5EF4-FFF2-40B4-BE49-F238E27FC236}">
                <a16:creationId xmlns:a16="http://schemas.microsoft.com/office/drawing/2014/main" id="{6C5A7B7F-7ACB-4BCD-A071-438D4AEAD96C}"/>
              </a:ext>
            </a:extLst>
          </p:cNvPr>
          <p:cNvPicPr>
            <a:picLocks noChangeAspect="1"/>
          </p:cNvPicPr>
          <p:nvPr>
            <p:custDataLst>
              <p:tags r:id="rId4"/>
            </p:custDataLst>
          </p:nvPr>
        </p:nvPicPr>
        <p:blipFill rotWithShape="1">
          <a:blip r:embed="rId11" cstate="print">
            <a:extLst>
              <a:ext uri="{28A0092B-C50C-407E-A947-70E740481C1C}">
                <a14:useLocalDpi xmlns:a14="http://schemas.microsoft.com/office/drawing/2010/main" val="0"/>
              </a:ext>
            </a:extLst>
          </a:blip>
          <a:srcRect t="2126" b="2126"/>
          <a:stretch/>
        </p:blipFill>
        <p:spPr>
          <a:xfrm>
            <a:off x="4719603" y="2775795"/>
            <a:ext cx="1761809" cy="1686907"/>
          </a:xfrm>
          <a:prstGeom prst="rect">
            <a:avLst/>
          </a:prstGeom>
        </p:spPr>
      </p:pic>
      <p:sp>
        <p:nvSpPr>
          <p:cNvPr id="14" name="Content Placeholder 2">
            <a:extLst>
              <a:ext uri="{FF2B5EF4-FFF2-40B4-BE49-F238E27FC236}">
                <a16:creationId xmlns:a16="http://schemas.microsoft.com/office/drawing/2014/main" id="{7B27BA6B-504B-4381-86B6-1C847FAFE500}"/>
              </a:ext>
            </a:extLst>
          </p:cNvPr>
          <p:cNvSpPr txBox="1">
            <a:spLocks/>
          </p:cNvSpPr>
          <p:nvPr/>
        </p:nvSpPr>
        <p:spPr>
          <a:xfrm>
            <a:off x="925809" y="1477662"/>
            <a:ext cx="7617328" cy="3423852"/>
          </a:xfrm>
          <a:prstGeom prst="rect">
            <a:avLst/>
          </a:prstGeom>
        </p:spPr>
        <p:txBody>
          <a:bodyPr vert="horz" lIns="91440" tIns="45720" rIns="91440" bIns="45720" rtlCol="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GB" sz="1600" dirty="0">
                <a:solidFill>
                  <a:schemeClr val="tx2"/>
                </a:solidFill>
                <a:latin typeface="Arial" panose="020B0604020202020204" pitchFamily="34" charset="0"/>
                <a:cs typeface="Arial" panose="020B0604020202020204" pitchFamily="34" charset="0"/>
              </a:rPr>
              <a:t>“</a:t>
            </a:r>
            <a:r>
              <a:rPr lang="en-GB" sz="1600" dirty="0">
                <a:solidFill>
                  <a:schemeClr val="accent1">
                    <a:lumMod val="75000"/>
                  </a:schemeClr>
                </a:solidFill>
                <a:latin typeface="Arial" panose="020B0604020202020204" pitchFamily="34" charset="0"/>
                <a:cs typeface="Arial" panose="020B0604020202020204" pitchFamily="34" charset="0"/>
              </a:rPr>
              <a:t>To establish and communicate </a:t>
            </a:r>
            <a:r>
              <a:rPr lang="en-GB" sz="2000" b="1" dirty="0">
                <a:solidFill>
                  <a:schemeClr val="accent1">
                    <a:lumMod val="75000"/>
                  </a:schemeClr>
                </a:solidFill>
                <a:latin typeface="Arial" panose="020B0604020202020204" pitchFamily="34" charset="0"/>
                <a:cs typeface="Arial" panose="020B0604020202020204" pitchFamily="34" charset="0"/>
              </a:rPr>
              <a:t>clarity</a:t>
            </a:r>
            <a:r>
              <a:rPr lang="en-GB" sz="1600" dirty="0">
                <a:solidFill>
                  <a:schemeClr val="accent1">
                    <a:lumMod val="75000"/>
                  </a:schemeClr>
                </a:solidFill>
                <a:latin typeface="Arial" panose="020B0604020202020204" pitchFamily="34" charset="0"/>
                <a:cs typeface="Arial" panose="020B0604020202020204" pitchFamily="34" charset="0"/>
              </a:rPr>
              <a:t>, </a:t>
            </a:r>
            <a:r>
              <a:rPr lang="en-GB" sz="2000" b="1" dirty="0">
                <a:solidFill>
                  <a:schemeClr val="accent1">
                    <a:lumMod val="75000"/>
                  </a:schemeClr>
                </a:solidFill>
                <a:latin typeface="Arial" panose="020B0604020202020204" pitchFamily="34" charset="0"/>
                <a:cs typeface="Arial" panose="020B0604020202020204" pitchFamily="34" charset="0"/>
              </a:rPr>
              <a:t>legal certainty</a:t>
            </a:r>
            <a:r>
              <a:rPr lang="en-GB" sz="1600" dirty="0">
                <a:solidFill>
                  <a:schemeClr val="accent1">
                    <a:lumMod val="75000"/>
                  </a:schemeClr>
                </a:solidFill>
                <a:latin typeface="Arial" panose="020B0604020202020204" pitchFamily="34" charset="0"/>
                <a:cs typeface="Arial" panose="020B0604020202020204" pitchFamily="34" charset="0"/>
              </a:rPr>
              <a:t>, </a:t>
            </a:r>
          </a:p>
          <a:p>
            <a:pPr marL="0" indent="0">
              <a:buFont typeface="Arial"/>
              <a:buNone/>
            </a:pPr>
            <a:endParaRPr lang="en-GB" sz="1600" dirty="0">
              <a:solidFill>
                <a:schemeClr val="accent1">
                  <a:lumMod val="75000"/>
                </a:schemeClr>
              </a:solidFill>
              <a:latin typeface="Arial" panose="020B0604020202020204" pitchFamily="34" charset="0"/>
              <a:cs typeface="Arial" panose="020B0604020202020204" pitchFamily="34" charset="0"/>
            </a:endParaRPr>
          </a:p>
          <a:p>
            <a:pPr marL="0" indent="0">
              <a:buFont typeface="Arial"/>
              <a:buNone/>
            </a:pPr>
            <a:endParaRPr lang="en-GB" sz="2000" b="1" dirty="0">
              <a:latin typeface="Arial" panose="020B0604020202020204" pitchFamily="34" charset="0"/>
              <a:cs typeface="Arial" panose="020B0604020202020204" pitchFamily="34" charset="0"/>
            </a:endParaRPr>
          </a:p>
          <a:p>
            <a:pPr marL="0" indent="0">
              <a:buFont typeface="Arial"/>
              <a:buNone/>
            </a:pPr>
            <a:r>
              <a:rPr lang="en-GB" sz="2000" b="1" dirty="0">
                <a:latin typeface="Arial" panose="020B0604020202020204" pitchFamily="34" charset="0"/>
                <a:cs typeface="Arial" panose="020B0604020202020204" pitchFamily="34" charset="0"/>
              </a:rPr>
              <a:t>	</a:t>
            </a:r>
          </a:p>
          <a:p>
            <a:pPr marL="0" indent="0">
              <a:buFont typeface="Arial"/>
              <a:buNone/>
            </a:pPr>
            <a:endParaRPr lang="en-GB" sz="2000" b="1" dirty="0">
              <a:latin typeface="Arial" panose="020B0604020202020204" pitchFamily="34" charset="0"/>
              <a:cs typeface="Arial" panose="020B0604020202020204" pitchFamily="34" charset="0"/>
            </a:endParaRPr>
          </a:p>
          <a:p>
            <a:pPr marL="0" indent="0" algn="r">
              <a:buFont typeface="Arial"/>
              <a:buNone/>
            </a:pPr>
            <a:endParaRPr lang="en-GB" sz="2000" b="1" dirty="0">
              <a:latin typeface="Arial" panose="020B0604020202020204" pitchFamily="34" charset="0"/>
              <a:cs typeface="Arial" panose="020B0604020202020204" pitchFamily="34" charset="0"/>
            </a:endParaRPr>
          </a:p>
          <a:p>
            <a:pPr marL="0" indent="0" algn="r">
              <a:buFont typeface="Arial"/>
              <a:buNone/>
            </a:pPr>
            <a:endParaRPr lang="en-GB" sz="2000" b="1" dirty="0">
              <a:latin typeface="Arial" panose="020B0604020202020204" pitchFamily="34" charset="0"/>
              <a:cs typeface="Arial" panose="020B0604020202020204" pitchFamily="34" charset="0"/>
            </a:endParaRPr>
          </a:p>
          <a:p>
            <a:pPr marL="0" indent="0" algn="r">
              <a:buFont typeface="Arial"/>
              <a:buNone/>
            </a:pPr>
            <a:r>
              <a:rPr lang="en-GB" sz="2000" b="1" dirty="0">
                <a:latin typeface="Arial" panose="020B0604020202020204" pitchFamily="34" charset="0"/>
                <a:cs typeface="Arial" panose="020B0604020202020204" pitchFamily="34" charset="0"/>
              </a:rPr>
              <a:t>				</a:t>
            </a:r>
          </a:p>
          <a:p>
            <a:pPr marL="0" indent="0" algn="r">
              <a:buFont typeface="Arial"/>
              <a:buNone/>
            </a:pPr>
            <a:r>
              <a:rPr lang="en-GB" sz="2000" b="1" dirty="0">
                <a:solidFill>
                  <a:schemeClr val="accent1">
                    <a:lumMod val="75000"/>
                  </a:schemeClr>
                </a:solidFill>
                <a:latin typeface="Arial" panose="020B0604020202020204" pitchFamily="34" charset="0"/>
                <a:cs typeface="Arial" panose="020B0604020202020204" pitchFamily="34" charset="0"/>
              </a:rPr>
              <a:t>quality</a:t>
            </a:r>
            <a:r>
              <a:rPr lang="en-GB" sz="1600" dirty="0">
                <a:solidFill>
                  <a:schemeClr val="accent1">
                    <a:lumMod val="75000"/>
                  </a:schemeClr>
                </a:solidFill>
                <a:latin typeface="Arial" panose="020B0604020202020204" pitchFamily="34" charset="0"/>
                <a:cs typeface="Arial" panose="020B0604020202020204" pitchFamily="34" charset="0"/>
              </a:rPr>
              <a:t> and </a:t>
            </a:r>
            <a:r>
              <a:rPr lang="en-GB" sz="2000" b="1" dirty="0">
                <a:solidFill>
                  <a:schemeClr val="accent1">
                    <a:lumMod val="75000"/>
                  </a:schemeClr>
                </a:solidFill>
                <a:latin typeface="Arial" panose="020B0604020202020204" pitchFamily="34" charset="0"/>
                <a:cs typeface="Arial" panose="020B0604020202020204" pitchFamily="34" charset="0"/>
              </a:rPr>
              <a:t>usability</a:t>
            </a:r>
            <a:r>
              <a:rPr lang="en-GB" sz="1600" dirty="0">
                <a:solidFill>
                  <a:schemeClr val="accent1">
                    <a:lumMod val="75000"/>
                  </a:schemeClr>
                </a:solidFill>
                <a:latin typeface="Arial" panose="020B0604020202020204" pitchFamily="34" charset="0"/>
                <a:cs typeface="Arial" panose="020B0604020202020204" pitchFamily="34" charset="0"/>
              </a:rPr>
              <a:t> for </a:t>
            </a:r>
            <a:r>
              <a:rPr lang="en-GB" sz="1600" b="1" dirty="0">
                <a:solidFill>
                  <a:schemeClr val="accent1">
                    <a:lumMod val="75000"/>
                  </a:schemeClr>
                </a:solidFill>
                <a:latin typeface="Arial" panose="020B0604020202020204" pitchFamily="34" charset="0"/>
                <a:cs typeface="Arial" panose="020B0604020202020204" pitchFamily="34" charset="0"/>
              </a:rPr>
              <a:t>both applicant and office</a:t>
            </a:r>
            <a:r>
              <a:rPr lang="en-GB" sz="1600" dirty="0">
                <a:solidFill>
                  <a:schemeClr val="accent1">
                    <a:lumMod val="75000"/>
                  </a:schemeClr>
                </a:solidFill>
                <a:latin typeface="Arial" panose="020B0604020202020204" pitchFamily="34" charset="0"/>
                <a:cs typeface="Arial" panose="020B0604020202020204" pitchFamily="34" charset="0"/>
              </a:rPr>
              <a:t>.” </a:t>
            </a:r>
            <a:endParaRPr lang="es-ES" sz="1600" dirty="0">
              <a:solidFill>
                <a:schemeClr val="accent1">
                  <a:lumMod val="7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782661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2 Assessment of signs contrary to public policy and/or to accepted principles of morality</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graphicFrame>
        <p:nvGraphicFramePr>
          <p:cNvPr id="18" name="Table 17">
            <a:extLst>
              <a:ext uri="{FF2B5EF4-FFF2-40B4-BE49-F238E27FC236}">
                <a16:creationId xmlns:a16="http://schemas.microsoft.com/office/drawing/2014/main" id="{FCBAC152-B1E6-CBE3-EF5B-82E52BE832F6}"/>
              </a:ext>
            </a:extLst>
          </p:cNvPr>
          <p:cNvGraphicFramePr>
            <a:graphicFrameLocks noGrp="1"/>
          </p:cNvGraphicFramePr>
          <p:nvPr>
            <p:extLst>
              <p:ext uri="{D42A27DB-BD31-4B8C-83A1-F6EECF244321}">
                <p14:modId xmlns:p14="http://schemas.microsoft.com/office/powerpoint/2010/main" val="1987852497"/>
              </p:ext>
            </p:extLst>
          </p:nvPr>
        </p:nvGraphicFramePr>
        <p:xfrm>
          <a:off x="734971" y="3428108"/>
          <a:ext cx="3837029" cy="1561021"/>
        </p:xfrm>
        <a:graphic>
          <a:graphicData uri="http://schemas.openxmlformats.org/drawingml/2006/table">
            <a:tbl>
              <a:tblPr firstRow="1" firstCol="1" bandRow="1"/>
              <a:tblGrid>
                <a:gridCol w="1911526">
                  <a:extLst>
                    <a:ext uri="{9D8B030D-6E8A-4147-A177-3AD203B41FA5}">
                      <a16:colId xmlns:a16="http://schemas.microsoft.com/office/drawing/2014/main" val="1990132950"/>
                    </a:ext>
                  </a:extLst>
                </a:gridCol>
                <a:gridCol w="1925503">
                  <a:extLst>
                    <a:ext uri="{9D8B030D-6E8A-4147-A177-3AD203B41FA5}">
                      <a16:colId xmlns:a16="http://schemas.microsoft.com/office/drawing/2014/main" val="1427788133"/>
                    </a:ext>
                  </a:extLst>
                </a:gridCol>
              </a:tblGrid>
              <a:tr h="328246">
                <a:tc>
                  <a:txBody>
                    <a:bodyPr/>
                    <a:lstStyle/>
                    <a:p>
                      <a:pPr marL="0" algn="ctr" defTabSz="457200" rtl="0" eaLnBrk="1" latinLnBrk="0" hangingPunct="1">
                        <a:lnSpc>
                          <a:spcPts val="1200"/>
                        </a:lnSpc>
                      </a:pPr>
                      <a:r>
                        <a:rPr lang="en-GB" sz="1200" b="1"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ign</a:t>
                      </a: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2CC"/>
                    </a:solidFill>
                  </a:tcPr>
                </a:tc>
                <a:tc>
                  <a:txBody>
                    <a:bodyPr/>
                    <a:lstStyle/>
                    <a:p>
                      <a:pPr marL="0" algn="ctr" defTabSz="457200" rtl="0" eaLnBrk="1" latinLnBrk="0" hangingPunct="1">
                        <a:lnSpc>
                          <a:spcPts val="1200"/>
                        </a:lnSpc>
                      </a:pPr>
                      <a:r>
                        <a:rPr lang="en-GB" sz="1200" b="1" kern="120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Goods and services</a:t>
                      </a: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2CC"/>
                    </a:solidFill>
                  </a:tcPr>
                </a:tc>
                <a:extLst>
                  <a:ext uri="{0D108BD9-81ED-4DB2-BD59-A6C34878D82A}">
                    <a16:rowId xmlns:a16="http://schemas.microsoft.com/office/drawing/2014/main" val="1250429576"/>
                  </a:ext>
                </a:extLst>
              </a:tr>
              <a:tr h="1232775">
                <a:tc>
                  <a:txBody>
                    <a:bodyPr/>
                    <a:lstStyle/>
                    <a:p>
                      <a:pPr algn="ctr">
                        <a:lnSpc>
                          <a:spcPct val="100000"/>
                        </a:lnSpc>
                      </a:pPr>
                      <a:r>
                        <a:rPr lang="en-GB" sz="2400" dirty="0">
                          <a:effectLst/>
                          <a:latin typeface="Berlin Sans FB Demi" panose="020E0802020502020306" pitchFamily="34" charset="0"/>
                          <a:ea typeface="Times New Roman" panose="02020603050405020304" pitchFamily="18" charset="0"/>
                          <a:cs typeface="Arial" panose="020B0604020202020204" pitchFamily="34" charset="0"/>
                        </a:rPr>
                        <a:t>KILL THEM </a:t>
                      </a:r>
                    </a:p>
                    <a:p>
                      <a:pPr algn="ctr">
                        <a:lnSpc>
                          <a:spcPct val="100000"/>
                        </a:lnSpc>
                      </a:pPr>
                      <a:r>
                        <a:rPr lang="en-GB" sz="2400" dirty="0">
                          <a:effectLst/>
                          <a:latin typeface="Berlin Sans FB Demi" panose="020E0802020502020306" pitchFamily="34" charset="0"/>
                          <a:ea typeface="Times New Roman" panose="02020603050405020304" pitchFamily="18" charset="0"/>
                          <a:cs typeface="Arial" panose="020B0604020202020204" pitchFamily="34" charset="0"/>
                        </a:rPr>
                        <a:t>ALL </a:t>
                      </a: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a:lnSpc>
                          <a:spcPts val="1200"/>
                        </a:lnSpc>
                      </a:pPr>
                      <a:r>
                        <a:rPr lang="en-GB" sz="1200" dirty="0">
                          <a:effectLst/>
                          <a:latin typeface="Arial" panose="020B0604020202020204" pitchFamily="34" charset="0"/>
                          <a:ea typeface="Times New Roman" panose="02020603050405020304" pitchFamily="18" charset="0"/>
                          <a:cs typeface="Arial" panose="020B0604020202020204" pitchFamily="34" charset="0"/>
                        </a:rPr>
                        <a:t>Class 41: </a:t>
                      </a:r>
                      <a:r>
                        <a:rPr lang="en-IE" sz="1200" dirty="0">
                          <a:effectLst/>
                          <a:latin typeface="Arial" panose="020B0604020202020204" pitchFamily="34" charset="0"/>
                          <a:ea typeface="Times New Roman" panose="02020603050405020304" pitchFamily="18" charset="0"/>
                          <a:cs typeface="Arial" panose="020B0604020202020204" pitchFamily="34" charset="0"/>
                        </a:rPr>
                        <a:t>Children’s entertainment services </a:t>
                      </a:r>
                      <a:endParaRPr lang="en-GB" sz="1200" dirty="0">
                        <a:effectLst/>
                        <a:latin typeface="Arial" panose="020B0604020202020204" pitchFamily="34" charset="0"/>
                        <a:ea typeface="Times New Roman" panose="02020603050405020304" pitchFamily="18" charset="0"/>
                        <a:cs typeface="Arial" panose="020B0604020202020204" pitchFamily="34" charset="0"/>
                      </a:endParaRP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487510"/>
                  </a:ext>
                </a:extLst>
              </a:tr>
            </a:tbl>
          </a:graphicData>
        </a:graphic>
      </p:graphicFrame>
      <p:graphicFrame>
        <p:nvGraphicFramePr>
          <p:cNvPr id="19" name="Table 18">
            <a:extLst>
              <a:ext uri="{FF2B5EF4-FFF2-40B4-BE49-F238E27FC236}">
                <a16:creationId xmlns:a16="http://schemas.microsoft.com/office/drawing/2014/main" id="{67C92FD0-15E9-49B3-129A-03ED43D8B3A0}"/>
              </a:ext>
            </a:extLst>
          </p:cNvPr>
          <p:cNvGraphicFramePr>
            <a:graphicFrameLocks noGrp="1"/>
          </p:cNvGraphicFramePr>
          <p:nvPr>
            <p:extLst>
              <p:ext uri="{D42A27DB-BD31-4B8C-83A1-F6EECF244321}">
                <p14:modId xmlns:p14="http://schemas.microsoft.com/office/powerpoint/2010/main" val="3929918060"/>
              </p:ext>
            </p:extLst>
          </p:nvPr>
        </p:nvGraphicFramePr>
        <p:xfrm>
          <a:off x="4831042" y="3428108"/>
          <a:ext cx="3924595" cy="1563077"/>
        </p:xfrm>
        <a:graphic>
          <a:graphicData uri="http://schemas.openxmlformats.org/drawingml/2006/table">
            <a:tbl>
              <a:tblPr firstRow="1" firstCol="1" bandRow="1"/>
              <a:tblGrid>
                <a:gridCol w="1843773">
                  <a:extLst>
                    <a:ext uri="{9D8B030D-6E8A-4147-A177-3AD203B41FA5}">
                      <a16:colId xmlns:a16="http://schemas.microsoft.com/office/drawing/2014/main" val="1752814018"/>
                    </a:ext>
                  </a:extLst>
                </a:gridCol>
                <a:gridCol w="2080822">
                  <a:extLst>
                    <a:ext uri="{9D8B030D-6E8A-4147-A177-3AD203B41FA5}">
                      <a16:colId xmlns:a16="http://schemas.microsoft.com/office/drawing/2014/main" val="1759485150"/>
                    </a:ext>
                  </a:extLst>
                </a:gridCol>
              </a:tblGrid>
              <a:tr h="329805">
                <a:tc>
                  <a:txBody>
                    <a:bodyPr/>
                    <a:lstStyle/>
                    <a:p>
                      <a:pPr algn="ctr">
                        <a:lnSpc>
                          <a:spcPts val="1200"/>
                        </a:lnSpc>
                      </a:pPr>
                      <a:r>
                        <a:rPr lang="en-GB" sz="12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ign</a:t>
                      </a:r>
                      <a:endParaRPr lang="en-GB" sz="1200">
                        <a:effectLst/>
                        <a:latin typeface="Arial" panose="020B0604020202020204" pitchFamily="34" charset="0"/>
                        <a:ea typeface="Times New Roman" panose="02020603050405020304" pitchFamily="18" charset="0"/>
                        <a:cs typeface="Times New Roman" panose="02020603050405020304" pitchFamily="18" charset="0"/>
                      </a:endParaRP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2CC"/>
                    </a:solidFill>
                  </a:tcPr>
                </a:tc>
                <a:tc>
                  <a:txBody>
                    <a:bodyPr/>
                    <a:lstStyle/>
                    <a:p>
                      <a:pPr algn="ctr">
                        <a:lnSpc>
                          <a:spcPts val="1200"/>
                        </a:lnSpc>
                      </a:pPr>
                      <a:r>
                        <a:rPr lang="en-GB" sz="1200" b="1">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Goods and services</a:t>
                      </a:r>
                      <a:endParaRPr lang="en-GB" sz="1200">
                        <a:effectLst/>
                        <a:latin typeface="Arial" panose="020B0604020202020204" pitchFamily="34" charset="0"/>
                        <a:ea typeface="Times New Roman" panose="02020603050405020304" pitchFamily="18" charset="0"/>
                        <a:cs typeface="Times New Roman" panose="02020603050405020304" pitchFamily="18" charset="0"/>
                      </a:endParaRP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F2CC"/>
                    </a:solidFill>
                  </a:tcPr>
                </a:tc>
                <a:extLst>
                  <a:ext uri="{0D108BD9-81ED-4DB2-BD59-A6C34878D82A}">
                    <a16:rowId xmlns:a16="http://schemas.microsoft.com/office/drawing/2014/main" val="3832144152"/>
                  </a:ext>
                </a:extLst>
              </a:tr>
              <a:tr h="1233272">
                <a:tc>
                  <a:txBody>
                    <a:bodyPr/>
                    <a:lstStyle/>
                    <a:p>
                      <a:pPr algn="ctr">
                        <a:lnSpc>
                          <a:spcPct val="100000"/>
                        </a:lnSpc>
                      </a:pPr>
                      <a:r>
                        <a:rPr lang="en-GB" sz="2400" dirty="0">
                          <a:effectLst/>
                          <a:latin typeface="Berlin Sans FB Demi" panose="020E0802020502020306" pitchFamily="34" charset="0"/>
                          <a:ea typeface="Times New Roman" panose="02020603050405020304" pitchFamily="18" charset="0"/>
                          <a:cs typeface="Arial" panose="020B0604020202020204" pitchFamily="34" charset="0"/>
                        </a:rPr>
                        <a:t>KILL THEM </a:t>
                      </a:r>
                    </a:p>
                    <a:p>
                      <a:pPr algn="ctr">
                        <a:lnSpc>
                          <a:spcPct val="100000"/>
                        </a:lnSpc>
                      </a:pPr>
                      <a:r>
                        <a:rPr lang="en-GB" sz="2400" dirty="0">
                          <a:effectLst/>
                          <a:latin typeface="Berlin Sans FB Demi" panose="020E0802020502020306" pitchFamily="34" charset="0"/>
                          <a:ea typeface="Times New Roman" panose="02020603050405020304" pitchFamily="18" charset="0"/>
                          <a:cs typeface="Arial" panose="020B0604020202020204" pitchFamily="34" charset="0"/>
                        </a:rPr>
                        <a:t>ALL</a:t>
                      </a: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a:lnSpc>
                          <a:spcPts val="1200"/>
                        </a:lnSpc>
                      </a:pPr>
                      <a:r>
                        <a:rPr lang="en-GB" sz="1200" dirty="0">
                          <a:effectLst/>
                          <a:latin typeface="Arial" panose="020B0604020202020204" pitchFamily="34" charset="0"/>
                          <a:ea typeface="Times New Roman" panose="02020603050405020304" pitchFamily="18" charset="0"/>
                          <a:cs typeface="Times New Roman" panose="02020603050405020304" pitchFamily="18" charset="0"/>
                        </a:rPr>
                        <a:t>Class 5: Insecticide</a:t>
                      </a: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68430799"/>
                  </a:ext>
                </a:extLst>
              </a:tr>
            </a:tbl>
          </a:graphicData>
        </a:graphic>
      </p:graphicFrame>
      <p:sp>
        <p:nvSpPr>
          <p:cNvPr id="20" name="TextBox 19">
            <a:extLst>
              <a:ext uri="{FF2B5EF4-FFF2-40B4-BE49-F238E27FC236}">
                <a16:creationId xmlns:a16="http://schemas.microsoft.com/office/drawing/2014/main" id="{9D6088A2-D7A7-179B-DCDE-F0FF7B8006BD}"/>
              </a:ext>
            </a:extLst>
          </p:cNvPr>
          <p:cNvSpPr txBox="1"/>
          <p:nvPr/>
        </p:nvSpPr>
        <p:spPr>
          <a:xfrm>
            <a:off x="652210" y="2058056"/>
            <a:ext cx="3789161" cy="954107"/>
          </a:xfrm>
          <a:prstGeom prst="rect">
            <a:avLst/>
          </a:prstGeom>
          <a:noFill/>
        </p:spPr>
        <p:txBody>
          <a:bodyPr wrap="square" lIns="91440" tIns="45720" rIns="91440" bIns="45720" anchor="t">
            <a:spAutoFit/>
          </a:bodyPr>
          <a:lstStyle/>
          <a:p>
            <a:pPr marL="285750" indent="-285750" algn="just">
              <a:buFont typeface="Wingdings" panose="05000000000000000000" pitchFamily="2" charset="2"/>
              <a:buChar char="Ø"/>
            </a:pPr>
            <a:r>
              <a:rPr lang="en-US" sz="1400" spc="-71" dirty="0">
                <a:solidFill>
                  <a:srgbClr val="024DA1"/>
                </a:solidFill>
                <a:latin typeface="Arial"/>
                <a:ea typeface="Open Sans"/>
                <a:cs typeface="Arial"/>
              </a:rPr>
              <a:t>The </a:t>
            </a:r>
            <a:r>
              <a:rPr lang="en-US" sz="1400" b="1" spc="-71" dirty="0">
                <a:solidFill>
                  <a:srgbClr val="024DA1"/>
                </a:solidFill>
                <a:latin typeface="Arial"/>
                <a:ea typeface="Open Sans"/>
                <a:cs typeface="Arial"/>
              </a:rPr>
              <a:t>goods and services and the context in which they will be offered can accentuate </a:t>
            </a:r>
            <a:r>
              <a:rPr lang="en-US" sz="1400" spc="-71" dirty="0">
                <a:solidFill>
                  <a:srgbClr val="024DA1"/>
                </a:solidFill>
                <a:latin typeface="Arial"/>
                <a:ea typeface="Open Sans"/>
                <a:cs typeface="Arial"/>
              </a:rPr>
              <a:t>the objectionability of the sign in terms of public policy and/</a:t>
            </a:r>
            <a:r>
              <a:rPr lang="en-US" sz="1400" spc="-71">
                <a:solidFill>
                  <a:srgbClr val="024DA1"/>
                </a:solidFill>
                <a:latin typeface="Arial"/>
                <a:ea typeface="Open Sans"/>
                <a:cs typeface="Arial"/>
              </a:rPr>
              <a:t>or accepted </a:t>
            </a:r>
            <a:r>
              <a:rPr lang="en-US" sz="1400" spc="-71" dirty="0">
                <a:solidFill>
                  <a:srgbClr val="024DA1"/>
                </a:solidFill>
                <a:latin typeface="Arial"/>
                <a:ea typeface="Open Sans"/>
                <a:cs typeface="Arial"/>
              </a:rPr>
              <a:t>principles of morality</a:t>
            </a:r>
            <a:endParaRPr lang="en-GB" sz="1400" spc="-71" dirty="0">
              <a:solidFill>
                <a:srgbClr val="024DA1"/>
              </a:solidFill>
              <a:latin typeface="Arial"/>
              <a:ea typeface="Open Sans"/>
              <a:cs typeface="Arial"/>
            </a:endParaRPr>
          </a:p>
        </p:txBody>
      </p:sp>
      <p:sp>
        <p:nvSpPr>
          <p:cNvPr id="21" name="TextBox 20">
            <a:extLst>
              <a:ext uri="{FF2B5EF4-FFF2-40B4-BE49-F238E27FC236}">
                <a16:creationId xmlns:a16="http://schemas.microsoft.com/office/drawing/2014/main" id="{6D122AF2-45B7-702C-7A14-0481FC2E9C45}"/>
              </a:ext>
            </a:extLst>
          </p:cNvPr>
          <p:cNvSpPr txBox="1"/>
          <p:nvPr/>
        </p:nvSpPr>
        <p:spPr>
          <a:xfrm>
            <a:off x="4831043" y="2055621"/>
            <a:ext cx="3789161" cy="954107"/>
          </a:xfrm>
          <a:prstGeom prst="rect">
            <a:avLst/>
          </a:prstGeom>
          <a:noFill/>
        </p:spPr>
        <p:txBody>
          <a:bodyPr wrap="square" lIns="91440" tIns="45720" rIns="91440" bIns="45720" anchor="t">
            <a:spAutoFit/>
          </a:bodyPr>
          <a:lstStyle/>
          <a:p>
            <a:pPr marL="285750" indent="-285750" algn="just">
              <a:buFont typeface="Wingdings" panose="05000000000000000000" pitchFamily="2" charset="2"/>
              <a:buChar char="Ø"/>
            </a:pPr>
            <a:r>
              <a:rPr lang="en-US" sz="1400" spc="-71" dirty="0">
                <a:solidFill>
                  <a:srgbClr val="024DA1"/>
                </a:solidFill>
                <a:latin typeface="Arial"/>
                <a:ea typeface="Open Sans"/>
                <a:cs typeface="Arial"/>
              </a:rPr>
              <a:t>In other cases, the </a:t>
            </a:r>
            <a:r>
              <a:rPr lang="en-US" sz="1400" b="1" spc="-71" dirty="0">
                <a:solidFill>
                  <a:srgbClr val="024DA1"/>
                </a:solidFill>
                <a:latin typeface="Arial"/>
                <a:ea typeface="Open Sans"/>
                <a:cs typeface="Arial"/>
              </a:rPr>
              <a:t>goods and services and the context may eliminate or counteract </a:t>
            </a:r>
            <a:r>
              <a:rPr lang="en-US" sz="1400" spc="-71" dirty="0">
                <a:solidFill>
                  <a:srgbClr val="024DA1"/>
                </a:solidFill>
                <a:latin typeface="Arial"/>
                <a:ea typeface="Open Sans"/>
                <a:cs typeface="Arial"/>
              </a:rPr>
              <a:t>the objectionability of the sign in terms </a:t>
            </a:r>
            <a:r>
              <a:rPr lang="en-US" sz="1400" spc="-71">
                <a:solidFill>
                  <a:srgbClr val="024DA1"/>
                </a:solidFill>
                <a:latin typeface="Arial"/>
                <a:ea typeface="Open Sans"/>
                <a:cs typeface="Arial"/>
              </a:rPr>
              <a:t>of policy </a:t>
            </a:r>
            <a:r>
              <a:rPr lang="en-US" sz="1400" spc="-71" dirty="0">
                <a:solidFill>
                  <a:srgbClr val="024DA1"/>
                </a:solidFill>
                <a:latin typeface="Arial"/>
                <a:ea typeface="Open Sans"/>
                <a:cs typeface="Arial"/>
              </a:rPr>
              <a:t>and/</a:t>
            </a:r>
            <a:r>
              <a:rPr lang="en-US" sz="1400" spc="-71">
                <a:solidFill>
                  <a:srgbClr val="024DA1"/>
                </a:solidFill>
                <a:latin typeface="Arial"/>
                <a:ea typeface="Open Sans"/>
                <a:cs typeface="Arial"/>
              </a:rPr>
              <a:t>or  </a:t>
            </a:r>
            <a:r>
              <a:rPr lang="en-US" sz="1400" spc="-71" dirty="0">
                <a:solidFill>
                  <a:srgbClr val="024DA1"/>
                </a:solidFill>
                <a:latin typeface="Arial"/>
                <a:ea typeface="Open Sans"/>
                <a:cs typeface="Arial"/>
              </a:rPr>
              <a:t>accepted principles of morality</a:t>
            </a:r>
          </a:p>
        </p:txBody>
      </p:sp>
      <p:sp>
        <p:nvSpPr>
          <p:cNvPr id="22" name="Rectangle: Rounded Corners 21">
            <a:extLst>
              <a:ext uri="{FF2B5EF4-FFF2-40B4-BE49-F238E27FC236}">
                <a16:creationId xmlns:a16="http://schemas.microsoft.com/office/drawing/2014/main" id="{60E7B6A3-149E-6AA9-9E6A-944207202753}"/>
              </a:ext>
            </a:extLst>
          </p:cNvPr>
          <p:cNvSpPr/>
          <p:nvPr/>
        </p:nvSpPr>
        <p:spPr>
          <a:xfrm>
            <a:off x="652210" y="2027989"/>
            <a:ext cx="3837029" cy="1070716"/>
          </a:xfrm>
          <a:prstGeom prst="roundRect">
            <a:avLst/>
          </a:prstGeom>
          <a:noFill/>
          <a:ln w="12700">
            <a:solidFill>
              <a:srgbClr val="C3C3C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Rectangle: Rounded Corners 23">
            <a:extLst>
              <a:ext uri="{FF2B5EF4-FFF2-40B4-BE49-F238E27FC236}">
                <a16:creationId xmlns:a16="http://schemas.microsoft.com/office/drawing/2014/main" id="{1924882D-AA61-FC19-C471-417641D32173}"/>
              </a:ext>
            </a:extLst>
          </p:cNvPr>
          <p:cNvSpPr/>
          <p:nvPr/>
        </p:nvSpPr>
        <p:spPr>
          <a:xfrm>
            <a:off x="4831043" y="2027989"/>
            <a:ext cx="3924594" cy="1070716"/>
          </a:xfrm>
          <a:prstGeom prst="roundRect">
            <a:avLst/>
          </a:prstGeom>
          <a:noFill/>
          <a:ln w="12700">
            <a:solidFill>
              <a:srgbClr val="C3C3C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D8A660F8-C770-7299-1BC2-37CAB466C904}"/>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Assessment of the relationship between the goods and services and the sign/relevant public</a:t>
            </a:r>
          </a:p>
        </p:txBody>
      </p:sp>
      <p:pic>
        <p:nvPicPr>
          <p:cNvPr id="5" name="Graphic 4" descr="Warning with solid fill">
            <a:extLst>
              <a:ext uri="{FF2B5EF4-FFF2-40B4-BE49-F238E27FC236}">
                <a16:creationId xmlns:a16="http://schemas.microsoft.com/office/drawing/2014/main" id="{EC7DFCB0-6472-B849-7172-440C9EBF89AD}"/>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28930" y="4018539"/>
            <a:ext cx="658220" cy="658220"/>
          </a:xfrm>
          <a:prstGeom prst="rect">
            <a:avLst/>
          </a:prstGeom>
        </p:spPr>
      </p:pic>
      <p:sp>
        <p:nvSpPr>
          <p:cNvPr id="7" name="Rectangle: Rounded Corners 6">
            <a:extLst>
              <a:ext uri="{FF2B5EF4-FFF2-40B4-BE49-F238E27FC236}">
                <a16:creationId xmlns:a16="http://schemas.microsoft.com/office/drawing/2014/main" id="{9765696C-8C25-39DF-7EE0-BDF315663032}"/>
              </a:ext>
            </a:extLst>
          </p:cNvPr>
          <p:cNvSpPr/>
          <p:nvPr/>
        </p:nvSpPr>
        <p:spPr>
          <a:xfrm>
            <a:off x="623492" y="1409127"/>
            <a:ext cx="8103428" cy="434937"/>
          </a:xfrm>
          <a:prstGeom prst="roundRect">
            <a:avLst/>
          </a:prstGeom>
          <a:solidFill>
            <a:srgbClr val="DCE6F2"/>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marR="0" rtl="0"/>
            <a:r>
              <a:rPr lang="en-US" sz="1400" dirty="0">
                <a:solidFill>
                  <a:srgbClr val="024DA1"/>
                </a:solidFill>
                <a:latin typeface="Arial" panose="020B0604020202020204" pitchFamily="34" charset="0"/>
                <a:cs typeface="Arial" panose="020B0604020202020204" pitchFamily="34" charset="0"/>
              </a:rPr>
              <a:t>Impact of the goods and/or services on the perception of the sign</a:t>
            </a:r>
          </a:p>
        </p:txBody>
      </p:sp>
    </p:spTree>
    <p:extLst>
      <p:ext uri="{BB962C8B-B14F-4D97-AF65-F5344CB8AC3E}">
        <p14:creationId xmlns:p14="http://schemas.microsoft.com/office/powerpoint/2010/main" val="26205105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9"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2 Assessment of signs contrary to public policy and/or to accepted principles of morality</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grpSp>
        <p:nvGrpSpPr>
          <p:cNvPr id="4" name="Group 3">
            <a:extLst>
              <a:ext uri="{FF2B5EF4-FFF2-40B4-BE49-F238E27FC236}">
                <a16:creationId xmlns:a16="http://schemas.microsoft.com/office/drawing/2014/main" id="{5E00FAEF-5473-3589-B74B-869013C073CE}"/>
              </a:ext>
            </a:extLst>
          </p:cNvPr>
          <p:cNvGrpSpPr/>
          <p:nvPr/>
        </p:nvGrpSpPr>
        <p:grpSpPr>
          <a:xfrm>
            <a:off x="905516" y="1646532"/>
            <a:ext cx="7592283" cy="2989823"/>
            <a:chOff x="901628" y="1505145"/>
            <a:chExt cx="7592283" cy="3165585"/>
          </a:xfrm>
        </p:grpSpPr>
        <p:cxnSp>
          <p:nvCxnSpPr>
            <p:cNvPr id="5" name="Straight Connector 4">
              <a:extLst>
                <a:ext uri="{FF2B5EF4-FFF2-40B4-BE49-F238E27FC236}">
                  <a16:creationId xmlns:a16="http://schemas.microsoft.com/office/drawing/2014/main" id="{EEE0C2FD-8D78-8C71-F164-4246468C771E}"/>
                </a:ext>
              </a:extLst>
            </p:cNvPr>
            <p:cNvCxnSpPr>
              <a:cxnSpLocks/>
              <a:stCxn id="25" idx="0"/>
            </p:cNvCxnSpPr>
            <p:nvPr/>
          </p:nvCxnSpPr>
          <p:spPr>
            <a:xfrm flipV="1">
              <a:off x="4633674" y="2115325"/>
              <a:ext cx="0" cy="297679"/>
            </a:xfrm>
            <a:prstGeom prst="line">
              <a:avLst/>
            </a:prstGeom>
            <a:ln w="19050" cmpd="sng">
              <a:solidFill>
                <a:srgbClr val="C3C3C3"/>
              </a:solidFill>
              <a:prstDash val="solid"/>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395F5489-5CD8-2865-0EF5-6D323BC449C3}"/>
                </a:ext>
              </a:extLst>
            </p:cNvPr>
            <p:cNvCxnSpPr>
              <a:cxnSpLocks/>
              <a:stCxn id="25" idx="3"/>
            </p:cNvCxnSpPr>
            <p:nvPr/>
          </p:nvCxnSpPr>
          <p:spPr>
            <a:xfrm>
              <a:off x="5436846" y="3371715"/>
              <a:ext cx="1450723" cy="544758"/>
            </a:xfrm>
            <a:prstGeom prst="line">
              <a:avLst/>
            </a:prstGeom>
            <a:ln w="19050" cmpd="sng">
              <a:solidFill>
                <a:srgbClr val="C3C3C3"/>
              </a:solidFill>
              <a:prstDash val="solid"/>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48AE359-BA4A-7BD4-F780-B087B202FD7C}"/>
                </a:ext>
              </a:extLst>
            </p:cNvPr>
            <p:cNvCxnSpPr>
              <a:cxnSpLocks/>
              <a:stCxn id="25" idx="2"/>
              <a:endCxn id="17" idx="3"/>
            </p:cNvCxnSpPr>
            <p:nvPr/>
          </p:nvCxnSpPr>
          <p:spPr>
            <a:xfrm flipV="1">
              <a:off x="5769531" y="2882310"/>
              <a:ext cx="244900" cy="92294"/>
            </a:xfrm>
            <a:prstGeom prst="line">
              <a:avLst/>
            </a:prstGeom>
            <a:ln w="19050" cmpd="sng">
              <a:solidFill>
                <a:srgbClr val="C3C3C3"/>
              </a:solidFill>
              <a:prstDash val="solid"/>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5D83754-5588-5C71-0699-052F7ADF50AC}"/>
                </a:ext>
              </a:extLst>
            </p:cNvPr>
            <p:cNvCxnSpPr>
              <a:cxnSpLocks/>
              <a:stCxn id="25" idx="5"/>
            </p:cNvCxnSpPr>
            <p:nvPr/>
          </p:nvCxnSpPr>
          <p:spPr>
            <a:xfrm flipH="1">
              <a:off x="3148028" y="3371715"/>
              <a:ext cx="682474" cy="485253"/>
            </a:xfrm>
            <a:prstGeom prst="line">
              <a:avLst/>
            </a:prstGeom>
            <a:ln w="19050" cmpd="sng">
              <a:solidFill>
                <a:srgbClr val="C3C3C3"/>
              </a:solidFill>
              <a:prstDash val="soli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8661212-59CE-CFDC-5291-D5EB0F81CB3A}"/>
                </a:ext>
              </a:extLst>
            </p:cNvPr>
            <p:cNvCxnSpPr>
              <a:cxnSpLocks/>
              <a:stCxn id="25" idx="6"/>
            </p:cNvCxnSpPr>
            <p:nvPr/>
          </p:nvCxnSpPr>
          <p:spPr>
            <a:xfrm flipH="1" flipV="1">
              <a:off x="2855659" y="2843400"/>
              <a:ext cx="642158" cy="131204"/>
            </a:xfrm>
            <a:prstGeom prst="line">
              <a:avLst/>
            </a:prstGeom>
            <a:ln w="19050" cmpd="sng">
              <a:solidFill>
                <a:srgbClr val="C3C3C3"/>
              </a:solidFill>
              <a:prstDash val="solid"/>
            </a:ln>
          </p:spPr>
          <p:style>
            <a:lnRef idx="1">
              <a:schemeClr val="accent1"/>
            </a:lnRef>
            <a:fillRef idx="0">
              <a:schemeClr val="accent1"/>
            </a:fillRef>
            <a:effectRef idx="0">
              <a:schemeClr val="accent1"/>
            </a:effectRef>
            <a:fontRef idx="minor">
              <a:schemeClr val="tx1"/>
            </a:fontRef>
          </p:style>
        </p:cxnSp>
        <p:sp>
          <p:nvSpPr>
            <p:cNvPr id="13" name="Rectangle: Rounded Corners 12">
              <a:extLst>
                <a:ext uri="{FF2B5EF4-FFF2-40B4-BE49-F238E27FC236}">
                  <a16:creationId xmlns:a16="http://schemas.microsoft.com/office/drawing/2014/main" id="{D87C2851-87BA-A03D-E1EF-BFA1CEE115C7}"/>
                </a:ext>
              </a:extLst>
            </p:cNvPr>
            <p:cNvSpPr>
              <a:spLocks noChangeArrowheads="1"/>
            </p:cNvSpPr>
            <p:nvPr>
              <p:custDataLst>
                <p:tags r:id="rId1"/>
              </p:custDataLst>
            </p:nvPr>
          </p:nvSpPr>
          <p:spPr bwMode="auto">
            <a:xfrm flipH="1">
              <a:off x="3749657" y="1505145"/>
              <a:ext cx="1750084" cy="646601"/>
            </a:xfrm>
            <a:prstGeom prst="roundRect">
              <a:avLst/>
            </a:prstGeom>
            <a:solidFill>
              <a:schemeClr val="accent1">
                <a:lumMod val="60000"/>
                <a:lumOff val="40000"/>
              </a:schemeClr>
            </a:solidFill>
            <a:ln w="6350" cap="flat" cmpd="sng" algn="ctr">
              <a:noFill/>
              <a:prstDash val="solid"/>
              <a:round/>
              <a:headEnd type="none" w="med" len="med"/>
              <a:tailEnd type="none" w="med" len="med"/>
            </a:ln>
            <a:effectLst/>
          </p:spPr>
          <p:txBody>
            <a:bodyPr wrap="none" lIns="34290" rIns="3429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r>
                <a:rPr lang="en-GB" noProof="1">
                  <a:solidFill>
                    <a:schemeClr val="bg1"/>
                  </a:solidFill>
                  <a:latin typeface="Arial" panose="020B0604020202020204" pitchFamily="34" charset="0"/>
                  <a:cs typeface="Arial" panose="020B0604020202020204" pitchFamily="34" charset="0"/>
                </a:rPr>
                <a:t>Social context </a:t>
              </a:r>
            </a:p>
          </p:txBody>
        </p:sp>
        <p:sp>
          <p:nvSpPr>
            <p:cNvPr id="14" name="Rectangle: Rounded Corners 13">
              <a:extLst>
                <a:ext uri="{FF2B5EF4-FFF2-40B4-BE49-F238E27FC236}">
                  <a16:creationId xmlns:a16="http://schemas.microsoft.com/office/drawing/2014/main" id="{566AA94F-192E-212B-312D-4201779EF3D9}"/>
                </a:ext>
              </a:extLst>
            </p:cNvPr>
            <p:cNvSpPr>
              <a:spLocks noChangeArrowheads="1"/>
            </p:cNvSpPr>
            <p:nvPr>
              <p:custDataLst>
                <p:tags r:id="rId2"/>
              </p:custDataLst>
            </p:nvPr>
          </p:nvSpPr>
          <p:spPr bwMode="auto">
            <a:xfrm flipH="1">
              <a:off x="5696328" y="3869062"/>
              <a:ext cx="2368061" cy="777516"/>
            </a:xfrm>
            <a:prstGeom prst="roundRect">
              <a:avLst/>
            </a:prstGeom>
            <a:solidFill>
              <a:schemeClr val="accent1">
                <a:lumMod val="60000"/>
                <a:lumOff val="40000"/>
              </a:schemeClr>
            </a:solidFill>
            <a:ln w="38100" cap="flat" cmpd="sng" algn="ctr">
              <a:noFill/>
              <a:prstDash val="solid"/>
              <a:round/>
              <a:headEnd type="none" w="med" len="med"/>
              <a:tailEnd type="none" w="med" len="med"/>
            </a:ln>
            <a:effectLst/>
          </p:spPr>
          <p:txBody>
            <a:bodyPr wrap="square" lIns="34290" rIns="3429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endParaRPr lang="es-ES" b="1" noProof="1">
                <a:solidFill>
                  <a:schemeClr val="bg1"/>
                </a:solidFill>
                <a:latin typeface="Arial" panose="020B0604020202020204" pitchFamily="34" charset="0"/>
                <a:cs typeface="Arial" panose="020B0604020202020204" pitchFamily="34" charset="0"/>
              </a:endParaRPr>
            </a:p>
            <a:p>
              <a:pPr algn="ctr"/>
              <a:r>
                <a:rPr lang="en-GB" noProof="1">
                  <a:solidFill>
                    <a:schemeClr val="bg1"/>
                  </a:solidFill>
                  <a:latin typeface="Arial" panose="020B0604020202020204" pitchFamily="34" charset="0"/>
                  <a:cs typeface="Arial" panose="020B0604020202020204" pitchFamily="34" charset="0"/>
                </a:rPr>
                <a:t>Observations from third countries or other MS – for public policy</a:t>
              </a:r>
            </a:p>
            <a:p>
              <a:pPr algn="ctr"/>
              <a:endParaRPr lang="en-GB" altLang="de-DE" dirty="0">
                <a:solidFill>
                  <a:schemeClr val="bg1"/>
                </a:solidFill>
                <a:latin typeface="Arial" panose="020B0604020202020204" pitchFamily="34" charset="0"/>
                <a:cs typeface="Arial" panose="020B0604020202020204" pitchFamily="34" charset="0"/>
              </a:endParaRPr>
            </a:p>
          </p:txBody>
        </p:sp>
        <p:sp>
          <p:nvSpPr>
            <p:cNvPr id="15" name="Rectangle: Rounded Corners 14">
              <a:extLst>
                <a:ext uri="{FF2B5EF4-FFF2-40B4-BE49-F238E27FC236}">
                  <a16:creationId xmlns:a16="http://schemas.microsoft.com/office/drawing/2014/main" id="{3B2E1A2E-8240-9509-74C5-36EA0D9D6CB7}"/>
                </a:ext>
              </a:extLst>
            </p:cNvPr>
            <p:cNvSpPr>
              <a:spLocks noChangeArrowheads="1"/>
            </p:cNvSpPr>
            <p:nvPr>
              <p:custDataLst>
                <p:tags r:id="rId3"/>
              </p:custDataLst>
            </p:nvPr>
          </p:nvSpPr>
          <p:spPr bwMode="auto">
            <a:xfrm flipH="1">
              <a:off x="1876014" y="3868971"/>
              <a:ext cx="2536996" cy="801759"/>
            </a:xfrm>
            <a:prstGeom prst="roundRect">
              <a:avLst/>
            </a:prstGeom>
            <a:solidFill>
              <a:schemeClr val="accent1">
                <a:lumMod val="60000"/>
                <a:lumOff val="40000"/>
              </a:schemeClr>
            </a:solidFill>
            <a:ln w="38100" cap="flat" cmpd="sng" algn="ctr">
              <a:noFill/>
              <a:prstDash val="solid"/>
              <a:round/>
              <a:headEnd type="none" w="med" len="med"/>
              <a:tailEnd type="none" w="med" len="med"/>
            </a:ln>
            <a:effectLst/>
          </p:spPr>
          <p:txBody>
            <a:bodyPr wrap="square" lIns="34290" rIns="3429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r>
                <a:rPr lang="en-GB" altLang="de-DE" dirty="0">
                  <a:solidFill>
                    <a:schemeClr val="bg1"/>
                  </a:solidFill>
                  <a:latin typeface="Arial" panose="020B0604020202020204" pitchFamily="34" charset="0"/>
                  <a:cs typeface="Arial" panose="020B0604020202020204" pitchFamily="34" charset="0"/>
                </a:rPr>
                <a:t>Legislation and administrative practices –  for accepted principles of morality</a:t>
              </a:r>
            </a:p>
          </p:txBody>
        </p:sp>
        <p:sp>
          <p:nvSpPr>
            <p:cNvPr id="16" name="Rectangle: Rounded Corners 15">
              <a:extLst>
                <a:ext uri="{FF2B5EF4-FFF2-40B4-BE49-F238E27FC236}">
                  <a16:creationId xmlns:a16="http://schemas.microsoft.com/office/drawing/2014/main" id="{821C52B6-5860-362C-E8C5-BDA8A16B313D}"/>
                </a:ext>
              </a:extLst>
            </p:cNvPr>
            <p:cNvSpPr>
              <a:spLocks noChangeArrowheads="1"/>
            </p:cNvSpPr>
            <p:nvPr>
              <p:custDataLst>
                <p:tags r:id="rId4"/>
              </p:custDataLst>
            </p:nvPr>
          </p:nvSpPr>
          <p:spPr bwMode="auto">
            <a:xfrm flipH="1">
              <a:off x="901628" y="2413004"/>
              <a:ext cx="1954030" cy="816380"/>
            </a:xfrm>
            <a:prstGeom prst="roundRect">
              <a:avLst/>
            </a:prstGeom>
            <a:solidFill>
              <a:schemeClr val="accent1">
                <a:lumMod val="60000"/>
                <a:lumOff val="40000"/>
              </a:schemeClr>
            </a:solidFill>
            <a:ln w="6350" cap="flat" cmpd="sng" algn="ctr">
              <a:noFill/>
              <a:prstDash val="solid"/>
              <a:round/>
              <a:headEnd type="none" w="med" len="med"/>
              <a:tailEnd type="none" w="med" len="med"/>
            </a:ln>
            <a:effectLst/>
          </p:spPr>
          <p:txBody>
            <a:bodyPr wrap="square" lIns="34290" rIns="3429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r>
                <a:rPr lang="en-GB" noProof="1">
                  <a:solidFill>
                    <a:schemeClr val="bg1"/>
                  </a:solidFill>
                  <a:latin typeface="Arial" panose="020B0604020202020204" pitchFamily="34" charset="0"/>
                  <a:cs typeface="Arial" panose="020B0604020202020204" pitchFamily="34" charset="0"/>
                </a:rPr>
                <a:t>Widespread public opinion</a:t>
              </a:r>
            </a:p>
          </p:txBody>
        </p:sp>
        <p:sp>
          <p:nvSpPr>
            <p:cNvPr id="17" name="Rectangle: Rounded Corners 16">
              <a:extLst>
                <a:ext uri="{FF2B5EF4-FFF2-40B4-BE49-F238E27FC236}">
                  <a16:creationId xmlns:a16="http://schemas.microsoft.com/office/drawing/2014/main" id="{7FD8DD4C-FB2F-6267-7702-9B24CDD6E674}"/>
                </a:ext>
              </a:extLst>
            </p:cNvPr>
            <p:cNvSpPr>
              <a:spLocks noChangeArrowheads="1"/>
            </p:cNvSpPr>
            <p:nvPr>
              <p:custDataLst>
                <p:tags r:id="rId5"/>
              </p:custDataLst>
            </p:nvPr>
          </p:nvSpPr>
          <p:spPr bwMode="auto">
            <a:xfrm flipH="1">
              <a:off x="6014431" y="2320710"/>
              <a:ext cx="2479480" cy="1123200"/>
            </a:xfrm>
            <a:prstGeom prst="roundRect">
              <a:avLst/>
            </a:prstGeom>
            <a:solidFill>
              <a:schemeClr val="accent1">
                <a:lumMod val="60000"/>
                <a:lumOff val="40000"/>
              </a:schemeClr>
            </a:solidFill>
            <a:ln w="6350" cap="flat" cmpd="sng" algn="ctr">
              <a:noFill/>
              <a:prstDash val="solid"/>
              <a:round/>
              <a:headEnd type="none" w="med" len="med"/>
              <a:tailEnd type="none" w="med" len="med"/>
            </a:ln>
            <a:effectLst/>
          </p:spPr>
          <p:txBody>
            <a:bodyPr wrap="square" lIns="34290" rIns="3429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buClr>
                  <a:srgbClr val="969696"/>
                </a:buClr>
              </a:pPr>
              <a:r>
                <a:rPr lang="en-GB" noProof="1">
                  <a:solidFill>
                    <a:schemeClr val="bg1"/>
                  </a:solidFill>
                  <a:latin typeface="Arial" panose="020B0604020202020204" pitchFamily="34" charset="0"/>
                  <a:cs typeface="Arial" panose="020B0604020202020204" pitchFamily="34" charset="0"/>
                </a:rPr>
                <a:t>The way the relevant public has reacted in the past to that sign or similar signs</a:t>
              </a:r>
            </a:p>
          </p:txBody>
        </p:sp>
        <p:sp>
          <p:nvSpPr>
            <p:cNvPr id="25" name="Oval 27">
              <a:extLst>
                <a:ext uri="{FF2B5EF4-FFF2-40B4-BE49-F238E27FC236}">
                  <a16:creationId xmlns:a16="http://schemas.microsoft.com/office/drawing/2014/main" id="{BDEDF20C-BB63-CFE1-7484-B0B35A1860F2}"/>
                </a:ext>
              </a:extLst>
            </p:cNvPr>
            <p:cNvSpPr>
              <a:spLocks noChangeArrowheads="1"/>
            </p:cNvSpPr>
            <p:nvPr>
              <p:custDataLst>
                <p:tags r:id="rId6"/>
              </p:custDataLst>
            </p:nvPr>
          </p:nvSpPr>
          <p:spPr bwMode="auto">
            <a:xfrm flipH="1">
              <a:off x="3497817" y="2413004"/>
              <a:ext cx="2271714" cy="1123200"/>
            </a:xfrm>
            <a:prstGeom prst="ellipse">
              <a:avLst/>
            </a:prstGeom>
            <a:solidFill>
              <a:schemeClr val="tx2">
                <a:lumMod val="60000"/>
                <a:lumOff val="40000"/>
              </a:schemeClr>
            </a:solidFill>
            <a:ln w="28575" cmpd="sng">
              <a:solidFill>
                <a:srgbClr val="C3C3C3"/>
              </a:solidFill>
              <a:prstDash val="solid"/>
              <a:round/>
              <a:headEnd/>
              <a:tailEnd/>
            </a:ln>
            <a:effectLst/>
          </p:spPr>
          <p:txBody>
            <a:bodyPr wrap="square" lIns="34290" rIns="34290" anchor="ctr" anchorCtr="1"/>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lgn="ctr"/>
              <a:r>
                <a:rPr lang="en-GB" altLang="de-DE" sz="1200" b="1" dirty="0">
                  <a:solidFill>
                    <a:schemeClr val="bg1"/>
                  </a:solidFill>
                  <a:latin typeface="Arial" panose="020B0604020202020204" pitchFamily="34" charset="0"/>
                  <a:cs typeface="Arial" panose="020B0604020202020204" pitchFamily="34" charset="0"/>
                </a:rPr>
                <a:t>Particular context</a:t>
              </a:r>
            </a:p>
            <a:p>
              <a:pPr algn="ctr"/>
              <a:r>
                <a:rPr lang="en-GB" altLang="de-DE" sz="1200" b="1" dirty="0">
                  <a:solidFill>
                    <a:schemeClr val="bg1"/>
                  </a:solidFill>
                  <a:latin typeface="Arial" panose="020B0604020202020204" pitchFamily="34" charset="0"/>
                  <a:cs typeface="Arial" panose="020B0604020202020204" pitchFamily="34" charset="0"/>
                </a:rPr>
                <a:t> and circumstances</a:t>
              </a:r>
            </a:p>
            <a:p>
              <a:pPr algn="ctr"/>
              <a:r>
                <a:rPr lang="en-GB" altLang="de-DE" sz="1200" b="1" dirty="0">
                  <a:solidFill>
                    <a:schemeClr val="bg1"/>
                  </a:solidFill>
                  <a:latin typeface="Arial" panose="020B0604020202020204" pitchFamily="34" charset="0"/>
                  <a:cs typeface="Arial" panose="020B0604020202020204" pitchFamily="34" charset="0"/>
                </a:rPr>
                <a:t>that may influence the perception of the sign</a:t>
              </a:r>
            </a:p>
          </p:txBody>
        </p:sp>
      </p:grpSp>
      <p:sp>
        <p:nvSpPr>
          <p:cNvPr id="18" name="Rectangle 17">
            <a:extLst>
              <a:ext uri="{FF2B5EF4-FFF2-40B4-BE49-F238E27FC236}">
                <a16:creationId xmlns:a16="http://schemas.microsoft.com/office/drawing/2014/main" id="{02B7C6DF-8A4C-8A7E-E089-8F6444CC721A}"/>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Assessment of the relationship between the goods and services and the sign/relevant public</a:t>
            </a:r>
          </a:p>
        </p:txBody>
      </p:sp>
    </p:spTree>
    <p:extLst>
      <p:ext uri="{BB962C8B-B14F-4D97-AF65-F5344CB8AC3E}">
        <p14:creationId xmlns:p14="http://schemas.microsoft.com/office/powerpoint/2010/main" val="17227725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Rounded Corners 5">
            <a:extLst>
              <a:ext uri="{FF2B5EF4-FFF2-40B4-BE49-F238E27FC236}">
                <a16:creationId xmlns:a16="http://schemas.microsoft.com/office/drawing/2014/main" id="{399BADB0-A177-DF0B-0DCF-B83110619D27}"/>
              </a:ext>
            </a:extLst>
          </p:cNvPr>
          <p:cNvSpPr/>
          <p:nvPr/>
        </p:nvSpPr>
        <p:spPr>
          <a:xfrm>
            <a:off x="4923606" y="2587600"/>
            <a:ext cx="3512566" cy="2166732"/>
          </a:xfrm>
          <a:prstGeom prst="roundRect">
            <a:avLst/>
          </a:prstGeom>
          <a:solidFill>
            <a:schemeClr val="bg1">
              <a:lumMod val="95000"/>
            </a:schemeClr>
          </a:solidFill>
          <a:ln>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spcBef>
                <a:spcPts val="600"/>
              </a:spcBef>
              <a:spcAft>
                <a:spcPts val="600"/>
              </a:spcAft>
              <a:buFont typeface="Arial" panose="020B0604020202020204" pitchFamily="34" charset="0"/>
              <a:buChar char="•"/>
            </a:pPr>
            <a:endParaRPr lang="es-ES" sz="1200" b="0" dirty="0">
              <a:solidFill>
                <a:srgbClr val="14438E"/>
              </a:solidFill>
              <a:latin typeface="Arial" panose="020B0604020202020204" pitchFamily="34" charset="0"/>
              <a:cs typeface="Arial" panose="020B0604020202020204" pitchFamily="34" charset="0"/>
            </a:endParaRPr>
          </a:p>
        </p:txBody>
      </p:sp>
      <p:sp>
        <p:nvSpPr>
          <p:cNvPr id="16" name="Rectangle: Rounded Corners 5">
            <a:extLst>
              <a:ext uri="{FF2B5EF4-FFF2-40B4-BE49-F238E27FC236}">
                <a16:creationId xmlns:a16="http://schemas.microsoft.com/office/drawing/2014/main" id="{228F01FC-22D1-3B5E-2CDC-815727256D5E}"/>
              </a:ext>
            </a:extLst>
          </p:cNvPr>
          <p:cNvSpPr/>
          <p:nvPr/>
        </p:nvSpPr>
        <p:spPr>
          <a:xfrm>
            <a:off x="932220" y="2587600"/>
            <a:ext cx="3512566" cy="2159328"/>
          </a:xfrm>
          <a:prstGeom prst="roundRect">
            <a:avLst/>
          </a:prstGeom>
          <a:solidFill>
            <a:schemeClr val="bg1">
              <a:lumMod val="95000"/>
            </a:schemeClr>
          </a:solidFill>
          <a:ln>
            <a:solidFill>
              <a:srgbClr val="1443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just">
              <a:spcBef>
                <a:spcPts val="600"/>
              </a:spcBef>
              <a:spcAft>
                <a:spcPts val="600"/>
              </a:spcAft>
              <a:buFont typeface="Arial" panose="020B0604020202020204" pitchFamily="34" charset="0"/>
              <a:buChar char="•"/>
            </a:pPr>
            <a:r>
              <a:rPr lang="es-ES" sz="1200" b="0" dirty="0">
                <a:solidFill>
                  <a:srgbClr val="14438E"/>
                </a:solidFill>
                <a:latin typeface="Arial" panose="020B0604020202020204" pitchFamily="34" charset="0"/>
                <a:cs typeface="Arial" panose="020B0604020202020204" pitchFamily="34" charset="0"/>
              </a:rPr>
              <a:t>General principles of </a:t>
            </a:r>
            <a:r>
              <a:rPr lang="es-ES" sz="1200" b="0" dirty="0" err="1">
                <a:solidFill>
                  <a:srgbClr val="14438E"/>
                </a:solidFill>
                <a:latin typeface="Arial" panose="020B0604020202020204" pitchFamily="34" charset="0"/>
                <a:cs typeface="Arial" panose="020B0604020202020204" pitchFamily="34" charset="0"/>
              </a:rPr>
              <a:t>law</a:t>
            </a:r>
            <a:endParaRPr lang="es-ES" sz="1200" b="0" dirty="0">
              <a:solidFill>
                <a:srgbClr val="14438E"/>
              </a:solidFill>
              <a:latin typeface="Arial" panose="020B0604020202020204" pitchFamily="34" charset="0"/>
              <a:cs typeface="Arial" panose="020B0604020202020204" pitchFamily="34" charset="0"/>
            </a:endParaRPr>
          </a:p>
          <a:p>
            <a:pPr marL="171450" indent="-171450" algn="just">
              <a:spcBef>
                <a:spcPts val="600"/>
              </a:spcBef>
              <a:spcAft>
                <a:spcPts val="600"/>
              </a:spcAft>
              <a:buFont typeface="Arial" panose="020B0604020202020204" pitchFamily="34" charset="0"/>
              <a:buChar char="•"/>
            </a:pPr>
            <a:r>
              <a:rPr lang="es-ES" sz="1200" b="0" dirty="0" err="1">
                <a:solidFill>
                  <a:srgbClr val="14438E"/>
                </a:solidFill>
                <a:latin typeface="Arial" panose="020B0604020202020204" pitchFamily="34" charset="0"/>
                <a:cs typeface="Arial" panose="020B0604020202020204" pitchFamily="34" charset="0"/>
              </a:rPr>
              <a:t>Internal</a:t>
            </a:r>
            <a:r>
              <a:rPr lang="es-ES" sz="1200" b="0" dirty="0">
                <a:solidFill>
                  <a:srgbClr val="14438E"/>
                </a:solidFill>
                <a:latin typeface="Arial" panose="020B0604020202020204" pitchFamily="34" charset="0"/>
                <a:cs typeface="Arial" panose="020B0604020202020204" pitchFamily="34" charset="0"/>
              </a:rPr>
              <a:t> </a:t>
            </a:r>
            <a:r>
              <a:rPr lang="es-ES" sz="1200" b="0" dirty="0" err="1">
                <a:solidFill>
                  <a:srgbClr val="14438E"/>
                </a:solidFill>
                <a:latin typeface="Arial" panose="020B0604020202020204" pitchFamily="34" charset="0"/>
                <a:cs typeface="Arial" panose="020B0604020202020204" pitchFamily="34" charset="0"/>
              </a:rPr>
              <a:t>treaties</a:t>
            </a:r>
            <a:r>
              <a:rPr lang="es-ES" sz="1200" b="0" dirty="0">
                <a:solidFill>
                  <a:srgbClr val="14438E"/>
                </a:solidFill>
                <a:latin typeface="Arial" panose="020B0604020202020204" pitchFamily="34" charset="0"/>
                <a:cs typeface="Arial" panose="020B0604020202020204" pitchFamily="34" charset="0"/>
              </a:rPr>
              <a:t> and </a:t>
            </a:r>
            <a:r>
              <a:rPr lang="es-ES" sz="1200" b="0" dirty="0" err="1">
                <a:solidFill>
                  <a:srgbClr val="14438E"/>
                </a:solidFill>
                <a:latin typeface="Arial" panose="020B0604020202020204" pitchFamily="34" charset="0"/>
                <a:cs typeface="Arial" panose="020B0604020202020204" pitchFamily="34" charset="0"/>
              </a:rPr>
              <a:t>conventions</a:t>
            </a:r>
            <a:endParaRPr lang="es-ES" sz="1200" b="0" dirty="0">
              <a:solidFill>
                <a:srgbClr val="14438E"/>
              </a:solidFill>
              <a:latin typeface="Arial" panose="020B0604020202020204" pitchFamily="34" charset="0"/>
              <a:cs typeface="Arial" panose="020B0604020202020204" pitchFamily="34" charset="0"/>
            </a:endParaRPr>
          </a:p>
          <a:p>
            <a:pPr marL="171450" indent="-171450" algn="just">
              <a:spcBef>
                <a:spcPts val="600"/>
              </a:spcBef>
              <a:spcAft>
                <a:spcPts val="600"/>
              </a:spcAft>
              <a:buFont typeface="Arial" panose="020B0604020202020204" pitchFamily="34" charset="0"/>
              <a:buChar char="•"/>
            </a:pPr>
            <a:r>
              <a:rPr lang="es-ES" sz="1200" b="0" dirty="0">
                <a:solidFill>
                  <a:srgbClr val="14438E"/>
                </a:solidFill>
                <a:latin typeface="Arial" panose="020B0604020202020204" pitchFamily="34" charset="0"/>
                <a:cs typeface="Arial" panose="020B0604020202020204" pitchFamily="34" charset="0"/>
              </a:rPr>
              <a:t>EU </a:t>
            </a:r>
            <a:r>
              <a:rPr lang="es-ES" sz="1200" b="0" dirty="0" err="1">
                <a:solidFill>
                  <a:srgbClr val="14438E"/>
                </a:solidFill>
                <a:latin typeface="Arial" panose="020B0604020202020204" pitchFamily="34" charset="0"/>
                <a:cs typeface="Arial" panose="020B0604020202020204" pitchFamily="34" charset="0"/>
              </a:rPr>
              <a:t>treaties</a:t>
            </a:r>
            <a:endParaRPr lang="es-ES" sz="1200" b="0" dirty="0">
              <a:solidFill>
                <a:srgbClr val="14438E"/>
              </a:solidFill>
              <a:latin typeface="Arial" panose="020B0604020202020204" pitchFamily="34" charset="0"/>
              <a:cs typeface="Arial" panose="020B0604020202020204" pitchFamily="34" charset="0"/>
            </a:endParaRPr>
          </a:p>
          <a:p>
            <a:pPr marL="171450" indent="-171450" algn="just">
              <a:spcBef>
                <a:spcPts val="600"/>
              </a:spcBef>
              <a:spcAft>
                <a:spcPts val="600"/>
              </a:spcAft>
              <a:buFont typeface="Arial" panose="020B0604020202020204" pitchFamily="34" charset="0"/>
              <a:buChar char="•"/>
            </a:pPr>
            <a:r>
              <a:rPr lang="es-ES" sz="1200" b="0" dirty="0">
                <a:solidFill>
                  <a:srgbClr val="14438E"/>
                </a:solidFill>
                <a:latin typeface="Arial" panose="020B0604020202020204" pitchFamily="34" charset="0"/>
                <a:cs typeface="Arial" panose="020B0604020202020204" pitchFamily="34" charset="0"/>
              </a:rPr>
              <a:t>EU </a:t>
            </a:r>
            <a:r>
              <a:rPr lang="es-ES" sz="1200" b="0" dirty="0" err="1">
                <a:solidFill>
                  <a:srgbClr val="14438E"/>
                </a:solidFill>
                <a:latin typeface="Arial" panose="020B0604020202020204" pitchFamily="34" charset="0"/>
                <a:cs typeface="Arial" panose="020B0604020202020204" pitchFamily="34" charset="0"/>
              </a:rPr>
              <a:t>legislation</a:t>
            </a:r>
            <a:endParaRPr lang="es-ES" sz="1200" b="0" dirty="0">
              <a:solidFill>
                <a:srgbClr val="14438E"/>
              </a:solidFill>
              <a:latin typeface="Arial" panose="020B0604020202020204" pitchFamily="34" charset="0"/>
              <a:cs typeface="Arial" panose="020B0604020202020204" pitchFamily="34" charset="0"/>
            </a:endParaRPr>
          </a:p>
          <a:p>
            <a:pPr marL="171450" indent="-171450" algn="just">
              <a:spcBef>
                <a:spcPts val="600"/>
              </a:spcBef>
              <a:spcAft>
                <a:spcPts val="600"/>
              </a:spcAft>
              <a:buFont typeface="Arial" panose="020B0604020202020204" pitchFamily="34" charset="0"/>
              <a:buChar char="•"/>
            </a:pPr>
            <a:r>
              <a:rPr lang="es-ES" sz="1200" b="0" dirty="0">
                <a:solidFill>
                  <a:srgbClr val="14438E"/>
                </a:solidFill>
                <a:latin typeface="Arial" panose="020B0604020202020204" pitchFamily="34" charset="0"/>
                <a:cs typeface="Arial" panose="020B0604020202020204" pitchFamily="34" charset="0"/>
              </a:rPr>
              <a:t>EU case-</a:t>
            </a:r>
            <a:r>
              <a:rPr lang="es-ES" sz="1200" b="0" dirty="0" err="1">
                <a:solidFill>
                  <a:srgbClr val="14438E"/>
                </a:solidFill>
                <a:latin typeface="Arial" panose="020B0604020202020204" pitchFamily="34" charset="0"/>
                <a:cs typeface="Arial" panose="020B0604020202020204" pitchFamily="34" charset="0"/>
              </a:rPr>
              <a:t>law</a:t>
            </a:r>
            <a:endParaRPr lang="es-ES" sz="1200" b="0" dirty="0">
              <a:solidFill>
                <a:srgbClr val="14438E"/>
              </a:solidFill>
              <a:latin typeface="Arial" panose="020B0604020202020204" pitchFamily="34" charset="0"/>
              <a:cs typeface="Arial" panose="020B0604020202020204" pitchFamily="34" charset="0"/>
            </a:endParaRPr>
          </a:p>
          <a:p>
            <a:pPr marL="171450" indent="-171450" algn="just">
              <a:spcBef>
                <a:spcPts val="600"/>
              </a:spcBef>
              <a:spcAft>
                <a:spcPts val="600"/>
              </a:spcAft>
              <a:buFont typeface="Arial" panose="020B0604020202020204" pitchFamily="34" charset="0"/>
              <a:buChar char="•"/>
            </a:pPr>
            <a:r>
              <a:rPr lang="es-ES" sz="1200" b="0" dirty="0" err="1">
                <a:solidFill>
                  <a:srgbClr val="14438E"/>
                </a:solidFill>
                <a:latin typeface="Arial" panose="020B0604020202020204" pitchFamily="34" charset="0"/>
                <a:cs typeface="Arial" panose="020B0604020202020204" pitchFamily="34" charset="0"/>
              </a:rPr>
              <a:t>Applicable</a:t>
            </a:r>
            <a:r>
              <a:rPr lang="es-ES" sz="1200" b="0" dirty="0">
                <a:solidFill>
                  <a:srgbClr val="14438E"/>
                </a:solidFill>
                <a:latin typeface="Arial" panose="020B0604020202020204" pitchFamily="34" charset="0"/>
                <a:cs typeface="Arial" panose="020B0604020202020204" pitchFamily="34" charset="0"/>
              </a:rPr>
              <a:t> MS </a:t>
            </a:r>
            <a:r>
              <a:rPr lang="es-ES" sz="1200" b="0" dirty="0" err="1">
                <a:solidFill>
                  <a:srgbClr val="14438E"/>
                </a:solidFill>
                <a:latin typeface="Arial" panose="020B0604020202020204" pitchFamily="34" charset="0"/>
                <a:cs typeface="Arial" panose="020B0604020202020204" pitchFamily="34" charset="0"/>
              </a:rPr>
              <a:t>legislation</a:t>
            </a:r>
            <a:r>
              <a:rPr lang="es-ES" sz="1200" b="0" dirty="0">
                <a:solidFill>
                  <a:srgbClr val="14438E"/>
                </a:solidFill>
                <a:latin typeface="Arial" panose="020B0604020202020204" pitchFamily="34" charset="0"/>
                <a:cs typeface="Arial" panose="020B0604020202020204" pitchFamily="34" charset="0"/>
              </a:rPr>
              <a:t> and MS case-</a:t>
            </a:r>
            <a:r>
              <a:rPr lang="es-ES" sz="1200" b="0" dirty="0" err="1">
                <a:solidFill>
                  <a:srgbClr val="14438E"/>
                </a:solidFill>
                <a:latin typeface="Arial" panose="020B0604020202020204" pitchFamily="34" charset="0"/>
                <a:cs typeface="Arial" panose="020B0604020202020204" pitchFamily="34" charset="0"/>
              </a:rPr>
              <a:t>law</a:t>
            </a:r>
            <a:endParaRPr lang="es-ES" sz="1200" b="0" dirty="0">
              <a:solidFill>
                <a:srgbClr val="14438E"/>
              </a:solidFill>
              <a:latin typeface="Arial" panose="020B0604020202020204" pitchFamily="34" charset="0"/>
              <a:cs typeface="Arial" panose="020B0604020202020204" pitchFamily="34" charset="0"/>
            </a:endParaRPr>
          </a:p>
        </p:txBody>
      </p:sp>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2 Assessment of signs contrary to public policy and/or to accepted principles of morality</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67" name="Rectangle 66">
            <a:extLst>
              <a:ext uri="{FF2B5EF4-FFF2-40B4-BE49-F238E27FC236}">
                <a16:creationId xmlns:a16="http://schemas.microsoft.com/office/drawing/2014/main" id="{F01BA6BB-78A8-AA0D-787A-29EA9C4C545B}"/>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r>
              <a:rPr lang="en-GB" sz="1400" b="1" spc="-71" dirty="0">
                <a:solidFill>
                  <a:schemeClr val="accent5"/>
                </a:solidFill>
                <a:latin typeface="Arial"/>
                <a:ea typeface="Open Sans" panose="020B0606030504020204" pitchFamily="34" charset="0"/>
                <a:cs typeface="Arial"/>
              </a:rPr>
              <a:t> Determination</a:t>
            </a:r>
            <a:r>
              <a:rPr lang="en-GB" sz="1400" dirty="0">
                <a:solidFill>
                  <a:schemeClr val="tx2"/>
                </a:solidFill>
                <a:latin typeface="Arial" panose="020B0604020202020204" pitchFamily="34" charset="0"/>
                <a:cs typeface="Arial" panose="020B0604020202020204" pitchFamily="34" charset="0"/>
              </a:rPr>
              <a:t> </a:t>
            </a:r>
            <a:r>
              <a:rPr lang="en-GB" sz="1400" b="1" spc="-71" dirty="0">
                <a:solidFill>
                  <a:schemeClr val="accent5"/>
                </a:solidFill>
                <a:latin typeface="Arial"/>
                <a:ea typeface="Open Sans" panose="020B0606030504020204" pitchFamily="34" charset="0"/>
                <a:cs typeface="Arial"/>
              </a:rPr>
              <a:t>of the reliable and objective sources from which public policy can be ascertained</a:t>
            </a:r>
            <a:endParaRPr lang="en-GB" sz="1400" b="1" spc="-71" dirty="0">
              <a:solidFill>
                <a:schemeClr val="accent5"/>
              </a:solidFill>
              <a:latin typeface="Arial"/>
              <a:ea typeface="Open Sans" panose="020B0606030504020204" pitchFamily="34" charset="0"/>
              <a:cs typeface="Arial"/>
              <a:sym typeface="Wingdings" panose="05000000000000000000" pitchFamily="2" charset="2"/>
            </a:endParaRPr>
          </a:p>
        </p:txBody>
      </p:sp>
      <p:sp>
        <p:nvSpPr>
          <p:cNvPr id="7" name="Text Placeholder 5">
            <a:extLst>
              <a:ext uri="{FF2B5EF4-FFF2-40B4-BE49-F238E27FC236}">
                <a16:creationId xmlns:a16="http://schemas.microsoft.com/office/drawing/2014/main" id="{E56A3096-CB83-BB3E-1931-D7C8186F4D27}"/>
              </a:ext>
            </a:extLst>
          </p:cNvPr>
          <p:cNvSpPr txBox="1">
            <a:spLocks/>
          </p:cNvSpPr>
          <p:nvPr/>
        </p:nvSpPr>
        <p:spPr>
          <a:xfrm>
            <a:off x="1138952" y="2050537"/>
            <a:ext cx="3122096" cy="378042"/>
          </a:xfrm>
          <a:prstGeom prst="rect">
            <a:avLst/>
          </a:prstGeom>
        </p:spPr>
        <p:txBody>
          <a:bodyPr vert="horz"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ts val="0"/>
              </a:spcBef>
            </a:pPr>
            <a:r>
              <a:rPr lang="en-US" sz="1400" b="1" dirty="0">
                <a:solidFill>
                  <a:schemeClr val="accent1"/>
                </a:solidFill>
                <a:latin typeface="Arial" panose="020B0604020202020204" pitchFamily="34" charset="0"/>
                <a:cs typeface="Arial" panose="020B0604020202020204" pitchFamily="34" charset="0"/>
              </a:rPr>
              <a:t>Non-exhaustive list of </a:t>
            </a:r>
            <a:r>
              <a:rPr lang="en-US" sz="1400" b="1">
                <a:solidFill>
                  <a:schemeClr val="accent1"/>
                </a:solidFill>
                <a:latin typeface="Arial" panose="020B0604020202020204" pitchFamily="34" charset="0"/>
                <a:cs typeface="Arial" panose="020B0604020202020204" pitchFamily="34" charset="0"/>
              </a:rPr>
              <a:t>sources that</a:t>
            </a:r>
            <a:endParaRPr lang="en-US" sz="1400" b="1" dirty="0">
              <a:solidFill>
                <a:schemeClr val="accent1"/>
              </a:solidFill>
              <a:latin typeface="Arial" panose="020B0604020202020204" pitchFamily="34" charset="0"/>
              <a:cs typeface="Arial" panose="020B0604020202020204" pitchFamily="34" charset="0"/>
            </a:endParaRPr>
          </a:p>
          <a:p>
            <a:pPr algn="ctr">
              <a:spcBef>
                <a:spcPts val="0"/>
              </a:spcBef>
            </a:pPr>
            <a:r>
              <a:rPr lang="en-US" sz="1600" b="1" u="sng" dirty="0">
                <a:solidFill>
                  <a:schemeClr val="tx2"/>
                </a:solidFill>
                <a:latin typeface="Arial" panose="020B0604020202020204" pitchFamily="34" charset="0"/>
                <a:cs typeface="Arial" panose="020B0604020202020204" pitchFamily="34" charset="0"/>
              </a:rPr>
              <a:t>m</a:t>
            </a:r>
            <a:r>
              <a:rPr lang="en-US" sz="1600" b="1" u="sng" dirty="0">
                <a:solidFill>
                  <a:srgbClr val="14438E"/>
                </a:solidFill>
                <a:latin typeface="Arial" panose="020B0604020202020204" pitchFamily="34" charset="0"/>
                <a:cs typeface="Arial" panose="020B0604020202020204" pitchFamily="34" charset="0"/>
              </a:rPr>
              <a:t>ust</a:t>
            </a:r>
            <a:r>
              <a:rPr lang="en-US" sz="1600" b="1" dirty="0">
                <a:solidFill>
                  <a:schemeClr val="accent1"/>
                </a:solidFill>
                <a:latin typeface="Arial" panose="020B0604020202020204" pitchFamily="34" charset="0"/>
                <a:cs typeface="Arial" panose="020B0604020202020204" pitchFamily="34" charset="0"/>
              </a:rPr>
              <a:t> </a:t>
            </a:r>
            <a:r>
              <a:rPr lang="en-US" sz="1400" b="1" dirty="0">
                <a:solidFill>
                  <a:schemeClr val="accent1"/>
                </a:solidFill>
                <a:latin typeface="Arial" panose="020B0604020202020204" pitchFamily="34" charset="0"/>
                <a:cs typeface="Arial" panose="020B0604020202020204" pitchFamily="34" charset="0"/>
              </a:rPr>
              <a:t>be considered</a:t>
            </a:r>
            <a:endParaRPr lang="en-GB" sz="1400" b="1" dirty="0">
              <a:solidFill>
                <a:schemeClr val="accent1"/>
              </a:solidFill>
              <a:latin typeface="Arial" panose="020B0604020202020204" pitchFamily="34" charset="0"/>
              <a:cs typeface="Arial" panose="020B0604020202020204" pitchFamily="34" charset="0"/>
            </a:endParaRPr>
          </a:p>
        </p:txBody>
      </p:sp>
      <p:cxnSp>
        <p:nvCxnSpPr>
          <p:cNvPr id="9" name="Straight Connector 8">
            <a:extLst>
              <a:ext uri="{FF2B5EF4-FFF2-40B4-BE49-F238E27FC236}">
                <a16:creationId xmlns:a16="http://schemas.microsoft.com/office/drawing/2014/main" id="{763533CB-6FC6-0F87-452F-A67A2B6CBCB8}"/>
              </a:ext>
            </a:extLst>
          </p:cNvPr>
          <p:cNvCxnSpPr>
            <a:cxnSpLocks/>
          </p:cNvCxnSpPr>
          <p:nvPr/>
        </p:nvCxnSpPr>
        <p:spPr>
          <a:xfrm>
            <a:off x="1080000" y="4860000"/>
            <a:ext cx="3240000" cy="0"/>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11" name="Text Placeholder 5">
            <a:extLst>
              <a:ext uri="{FF2B5EF4-FFF2-40B4-BE49-F238E27FC236}">
                <a16:creationId xmlns:a16="http://schemas.microsoft.com/office/drawing/2014/main" id="{948BB042-72A4-4420-6682-FC0619F56D88}"/>
              </a:ext>
            </a:extLst>
          </p:cNvPr>
          <p:cNvSpPr txBox="1">
            <a:spLocks/>
          </p:cNvSpPr>
          <p:nvPr/>
        </p:nvSpPr>
        <p:spPr>
          <a:xfrm>
            <a:off x="4916028" y="2074569"/>
            <a:ext cx="3352800" cy="270000"/>
          </a:xfrm>
          <a:prstGeom prst="rect">
            <a:avLst/>
          </a:prstGeom>
        </p:spPr>
        <p:txBody>
          <a:bodyPr vert="horz" lIns="0" tIns="0" rIns="0" bIns="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2000" kern="1200">
                <a:solidFill>
                  <a:schemeClr val="tx1"/>
                </a:solidFill>
                <a:latin typeface="+mj-lt"/>
                <a:ea typeface="+mn-ea"/>
                <a:cs typeface="+mn-cs"/>
              </a:defRPr>
            </a:lvl1pPr>
            <a:lvl2pPr marL="266700" indent="-177800" algn="l" defTabSz="914400" rtl="0" eaLnBrk="1" latinLnBrk="0" hangingPunct="1">
              <a:lnSpc>
                <a:spcPct val="90000"/>
              </a:lnSpc>
              <a:spcBef>
                <a:spcPts val="500"/>
              </a:spcBef>
              <a:buClr>
                <a:schemeClr val="accent1"/>
              </a:buClr>
              <a:buFont typeface="Wingdings" panose="05000000000000000000" pitchFamily="2" charset="2"/>
              <a:buChar char="§"/>
              <a:defRPr sz="1800" kern="1200">
                <a:solidFill>
                  <a:schemeClr val="tx1"/>
                </a:solidFill>
                <a:latin typeface="+mj-lt"/>
                <a:ea typeface="+mn-ea"/>
                <a:cs typeface="+mn-cs"/>
              </a:defRPr>
            </a:lvl2pPr>
            <a:lvl3pPr marL="444500" indent="-177800" algn="l" defTabSz="914400" rtl="0" eaLnBrk="1" latinLnBrk="0" hangingPunct="1">
              <a:lnSpc>
                <a:spcPct val="90000"/>
              </a:lnSpc>
              <a:spcBef>
                <a:spcPts val="500"/>
              </a:spcBef>
              <a:buClr>
                <a:schemeClr val="accent2"/>
              </a:buClr>
              <a:buFont typeface="Arial" panose="020B0604020202020204" pitchFamily="34" charset="0"/>
              <a:buChar char="•"/>
              <a:defRPr sz="1600" kern="1200">
                <a:solidFill>
                  <a:schemeClr val="tx1"/>
                </a:solidFill>
                <a:latin typeface="+mj-lt"/>
                <a:ea typeface="+mn-ea"/>
                <a:cs typeface="+mn-cs"/>
              </a:defRPr>
            </a:lvl3pPr>
            <a:lvl4pPr marL="622300" indent="-177800" algn="l" defTabSz="914400" rtl="0" eaLnBrk="1" latinLnBrk="0" hangingPunct="1">
              <a:lnSpc>
                <a:spcPct val="90000"/>
              </a:lnSpc>
              <a:spcBef>
                <a:spcPts val="500"/>
              </a:spcBef>
              <a:buClr>
                <a:schemeClr val="accent3"/>
              </a:buClr>
              <a:buFont typeface="Verdana" panose="020B0604030504040204" pitchFamily="34" charset="0"/>
              <a:buChar char="‒"/>
              <a:defRPr sz="1400" kern="1200">
                <a:solidFill>
                  <a:schemeClr val="tx1"/>
                </a:solidFill>
                <a:latin typeface="+mj-lt"/>
                <a:ea typeface="+mn-ea"/>
                <a:cs typeface="+mn-cs"/>
              </a:defRPr>
            </a:lvl4pPr>
            <a:lvl5pPr marL="812800" indent="-190500" algn="l" defTabSz="914400" rtl="0" eaLnBrk="1" latinLnBrk="0" hangingPunct="1">
              <a:lnSpc>
                <a:spcPct val="90000"/>
              </a:lnSpc>
              <a:spcBef>
                <a:spcPts val="500"/>
              </a:spcBef>
              <a:buClr>
                <a:schemeClr val="accent5"/>
              </a:buClr>
              <a:buFont typeface="Arial" panose="020B0604020202020204" pitchFamily="34" charset="0"/>
              <a:buChar char="•"/>
              <a:defRPr sz="1400" kern="1200">
                <a:solidFill>
                  <a:schemeClr val="tx1"/>
                </a:solidFill>
                <a:latin typeface="+mj-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spcBef>
                <a:spcPts val="0"/>
              </a:spcBef>
            </a:pPr>
            <a:r>
              <a:rPr lang="en-US" sz="1400" b="1" dirty="0">
                <a:solidFill>
                  <a:srgbClr val="4BACC6"/>
                </a:solidFill>
                <a:latin typeface="Arial" panose="020B0604020202020204" pitchFamily="34" charset="0"/>
                <a:cs typeface="Arial" panose="020B0604020202020204" pitchFamily="34" charset="0"/>
              </a:rPr>
              <a:t>Non-exhaustive list </a:t>
            </a:r>
            <a:r>
              <a:rPr lang="en-US" sz="1400" b="1">
                <a:solidFill>
                  <a:srgbClr val="4BACC6"/>
                </a:solidFill>
                <a:latin typeface="Arial" panose="020B0604020202020204" pitchFamily="34" charset="0"/>
                <a:cs typeface="Arial" panose="020B0604020202020204" pitchFamily="34" charset="0"/>
              </a:rPr>
              <a:t>of sources that</a:t>
            </a:r>
            <a:endParaRPr lang="en-US" sz="1400" b="1" dirty="0">
              <a:solidFill>
                <a:srgbClr val="4BACC6"/>
              </a:solidFill>
              <a:latin typeface="Arial" panose="020B0604020202020204" pitchFamily="34" charset="0"/>
              <a:cs typeface="Arial" panose="020B0604020202020204" pitchFamily="34" charset="0"/>
            </a:endParaRPr>
          </a:p>
          <a:p>
            <a:pPr algn="ctr">
              <a:spcBef>
                <a:spcPts val="0"/>
              </a:spcBef>
            </a:pPr>
            <a:r>
              <a:rPr lang="en-US" sz="1400" b="1" dirty="0">
                <a:solidFill>
                  <a:srgbClr val="4BACC6"/>
                </a:solidFill>
                <a:latin typeface="Arial" panose="020B0604020202020204" pitchFamily="34" charset="0"/>
                <a:cs typeface="Arial" panose="020B0604020202020204" pitchFamily="34" charset="0"/>
              </a:rPr>
              <a:t>  </a:t>
            </a:r>
            <a:r>
              <a:rPr lang="en-US" sz="1600" b="1" u="sng" dirty="0">
                <a:solidFill>
                  <a:srgbClr val="14438E"/>
                </a:solidFill>
                <a:latin typeface="Arial" panose="020B0604020202020204" pitchFamily="34" charset="0"/>
                <a:cs typeface="Arial" panose="020B0604020202020204" pitchFamily="34" charset="0"/>
              </a:rPr>
              <a:t>may, if appropriate</a:t>
            </a:r>
            <a:r>
              <a:rPr lang="en-US" sz="1600" b="1" dirty="0">
                <a:solidFill>
                  <a:srgbClr val="4BACC6"/>
                </a:solidFill>
                <a:latin typeface="Arial" panose="020B0604020202020204" pitchFamily="34" charset="0"/>
                <a:cs typeface="Arial" panose="020B0604020202020204" pitchFamily="34" charset="0"/>
              </a:rPr>
              <a:t>, </a:t>
            </a:r>
            <a:r>
              <a:rPr lang="en-US" sz="1400" b="1" dirty="0">
                <a:solidFill>
                  <a:srgbClr val="4BACC6"/>
                </a:solidFill>
                <a:latin typeface="Arial" panose="020B0604020202020204" pitchFamily="34" charset="0"/>
                <a:cs typeface="Arial" panose="020B0604020202020204" pitchFamily="34" charset="0"/>
              </a:rPr>
              <a:t>be considered</a:t>
            </a:r>
            <a:endParaRPr lang="en-GB" sz="1400" b="1" dirty="0">
              <a:solidFill>
                <a:srgbClr val="4BACC6"/>
              </a:solidFill>
              <a:latin typeface="Arial" panose="020B0604020202020204" pitchFamily="34" charset="0"/>
              <a:cs typeface="Arial" panose="020B0604020202020204" pitchFamily="34" charset="0"/>
            </a:endParaRPr>
          </a:p>
        </p:txBody>
      </p:sp>
      <p:cxnSp>
        <p:nvCxnSpPr>
          <p:cNvPr id="13" name="Straight Connector 12">
            <a:extLst>
              <a:ext uri="{FF2B5EF4-FFF2-40B4-BE49-F238E27FC236}">
                <a16:creationId xmlns:a16="http://schemas.microsoft.com/office/drawing/2014/main" id="{E853BA04-CFD6-C5D6-C4C4-B2A604198249}"/>
              </a:ext>
            </a:extLst>
          </p:cNvPr>
          <p:cNvCxnSpPr>
            <a:cxnSpLocks/>
          </p:cNvCxnSpPr>
          <p:nvPr/>
        </p:nvCxnSpPr>
        <p:spPr>
          <a:xfrm>
            <a:off x="5040000" y="4860000"/>
            <a:ext cx="3333750" cy="0"/>
          </a:xfrm>
          <a:prstGeom prst="line">
            <a:avLst/>
          </a:prstGeom>
          <a:ln w="76200">
            <a:solidFill>
              <a:srgbClr val="4BACC6"/>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65C37A4-2B89-13B5-CEB8-77761A69468C}"/>
              </a:ext>
            </a:extLst>
          </p:cNvPr>
          <p:cNvCxnSpPr/>
          <p:nvPr/>
        </p:nvCxnSpPr>
        <p:spPr>
          <a:xfrm>
            <a:off x="1080000" y="2520000"/>
            <a:ext cx="324000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6E5CE62-A194-3E06-5F44-84D9BA9C3132}"/>
              </a:ext>
            </a:extLst>
          </p:cNvPr>
          <p:cNvCxnSpPr>
            <a:cxnSpLocks/>
          </p:cNvCxnSpPr>
          <p:nvPr/>
        </p:nvCxnSpPr>
        <p:spPr>
          <a:xfrm>
            <a:off x="5040000" y="2520000"/>
            <a:ext cx="3240000" cy="0"/>
          </a:xfrm>
          <a:prstGeom prst="line">
            <a:avLst/>
          </a:prstGeom>
          <a:ln>
            <a:solidFill>
              <a:srgbClr val="4BACC6"/>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6D7242C3-7503-2A22-D06B-93F503A170C8}"/>
              </a:ext>
            </a:extLst>
          </p:cNvPr>
          <p:cNvSpPr txBox="1"/>
          <p:nvPr/>
        </p:nvSpPr>
        <p:spPr>
          <a:xfrm>
            <a:off x="5000625" y="2759609"/>
            <a:ext cx="3121207" cy="1723549"/>
          </a:xfrm>
          <a:prstGeom prst="rect">
            <a:avLst/>
          </a:prstGeom>
          <a:noFill/>
        </p:spPr>
        <p:txBody>
          <a:bodyPr wrap="square">
            <a:spAutoFit/>
          </a:bodyPr>
          <a:lstStyle/>
          <a:p>
            <a:pPr marL="171450" lvl="1" indent="-171450" algn="just">
              <a:spcBef>
                <a:spcPts val="600"/>
              </a:spcBef>
              <a:spcAft>
                <a:spcPts val="600"/>
              </a:spcAft>
              <a:buFont typeface="Arial" panose="020B0604020202020204" pitchFamily="34" charset="0"/>
              <a:buChar char="•"/>
            </a:pPr>
            <a:r>
              <a:rPr lang="en-US" sz="1200" dirty="0">
                <a:solidFill>
                  <a:srgbClr val="14438E"/>
                </a:solidFill>
                <a:latin typeface="Arial" panose="020B0604020202020204" pitchFamily="34" charset="0"/>
                <a:cs typeface="Arial" panose="020B0604020202020204" pitchFamily="34" charset="0"/>
              </a:rPr>
              <a:t>Governmental and administrative guidelines or codes of conduct (e.g. social distancing in relation to COVID-19).</a:t>
            </a:r>
          </a:p>
          <a:p>
            <a:pPr marL="171450" lvl="1" indent="-171450" algn="just">
              <a:spcBef>
                <a:spcPts val="600"/>
              </a:spcBef>
              <a:spcAft>
                <a:spcPts val="600"/>
              </a:spcAft>
              <a:buFont typeface="Arial" panose="020B0604020202020204" pitchFamily="34" charset="0"/>
              <a:buChar char="•"/>
            </a:pPr>
            <a:r>
              <a:rPr lang="en-US" sz="1200" dirty="0">
                <a:solidFill>
                  <a:srgbClr val="14438E"/>
                </a:solidFill>
                <a:latin typeface="Arial" panose="020B0604020202020204" pitchFamily="34" charset="0"/>
                <a:cs typeface="Arial" panose="020B0604020202020204" pitchFamily="34" charset="0"/>
              </a:rPr>
              <a:t>Public safety and health matters not articulated in legislation (e.g. governmental and science-based professional recommendations).</a:t>
            </a:r>
          </a:p>
        </p:txBody>
      </p:sp>
      <p:sp>
        <p:nvSpPr>
          <p:cNvPr id="22" name="Rectangle: Rounded Corners 21">
            <a:extLst>
              <a:ext uri="{FF2B5EF4-FFF2-40B4-BE49-F238E27FC236}">
                <a16:creationId xmlns:a16="http://schemas.microsoft.com/office/drawing/2014/main" id="{66BF3F8A-DB45-44A1-A8F2-DC0F4B223AC2}"/>
              </a:ext>
            </a:extLst>
          </p:cNvPr>
          <p:cNvSpPr/>
          <p:nvPr/>
        </p:nvSpPr>
        <p:spPr>
          <a:xfrm>
            <a:off x="623492" y="1409127"/>
            <a:ext cx="8103428" cy="434937"/>
          </a:xfrm>
          <a:prstGeom prst="roundRect">
            <a:avLst/>
          </a:prstGeom>
          <a:solidFill>
            <a:srgbClr val="DCE6F2"/>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marR="0" rtl="0"/>
            <a:r>
              <a:rPr lang="en-IE" b="1" dirty="0">
                <a:solidFill>
                  <a:srgbClr val="024DA1"/>
                </a:solidFill>
                <a:latin typeface="Arial" panose="020B0604020202020204" pitchFamily="34" charset="0"/>
                <a:cs typeface="Arial" panose="020B0604020202020204" pitchFamily="34" charset="0"/>
              </a:rPr>
              <a:t>Public policy: Reliable and objective sources</a:t>
            </a:r>
            <a:endParaRPr lang="en-US" b="1" dirty="0">
              <a:solidFill>
                <a:srgbClr val="024DA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7034398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Rounded Corners 6">
            <a:extLst>
              <a:ext uri="{FF2B5EF4-FFF2-40B4-BE49-F238E27FC236}">
                <a16:creationId xmlns:a16="http://schemas.microsoft.com/office/drawing/2014/main" id="{6F19DA5C-E908-3A3E-65B8-42F5BD6D6EE6}"/>
              </a:ext>
            </a:extLst>
          </p:cNvPr>
          <p:cNvSpPr/>
          <p:nvPr/>
        </p:nvSpPr>
        <p:spPr>
          <a:xfrm>
            <a:off x="623492" y="1409127"/>
            <a:ext cx="8103428" cy="434937"/>
          </a:xfrm>
          <a:prstGeom prst="roundRect">
            <a:avLst/>
          </a:prstGeom>
          <a:solidFill>
            <a:srgbClr val="DCE6F2"/>
          </a:solidFill>
          <a:ln w="9525">
            <a:noFill/>
          </a:ln>
        </p:spPr>
        <p:style>
          <a:lnRef idx="2">
            <a:schemeClr val="accent1"/>
          </a:lnRef>
          <a:fillRef idx="1">
            <a:schemeClr val="lt1"/>
          </a:fillRef>
          <a:effectRef idx="0">
            <a:schemeClr val="accent1"/>
          </a:effectRef>
          <a:fontRef idx="minor">
            <a:schemeClr val="dk1"/>
          </a:fontRef>
        </p:style>
        <p:txBody>
          <a:bodyPr rtlCol="0" anchor="ctr"/>
          <a:lstStyle/>
          <a:p>
            <a:pPr marR="0" rtl="0"/>
            <a:endParaRPr lang="en-US" sz="1400" dirty="0">
              <a:solidFill>
                <a:srgbClr val="024DA1"/>
              </a:solidFill>
              <a:latin typeface="Arial" panose="020B0604020202020204" pitchFamily="34" charset="0"/>
              <a:cs typeface="Arial" panose="020B0604020202020204" pitchFamily="34" charset="0"/>
            </a:endParaRPr>
          </a:p>
        </p:txBody>
      </p:sp>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2 Assessment of signs contrary to public policy and/or to accepted principles of morality</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grpSp>
        <p:nvGrpSpPr>
          <p:cNvPr id="15" name="Group 14">
            <a:extLst>
              <a:ext uri="{FF2B5EF4-FFF2-40B4-BE49-F238E27FC236}">
                <a16:creationId xmlns:a16="http://schemas.microsoft.com/office/drawing/2014/main" id="{898D1860-5643-9139-511A-3D852BAE1801}"/>
              </a:ext>
            </a:extLst>
          </p:cNvPr>
          <p:cNvGrpSpPr/>
          <p:nvPr/>
        </p:nvGrpSpPr>
        <p:grpSpPr>
          <a:xfrm>
            <a:off x="1669846" y="2045459"/>
            <a:ext cx="6105706" cy="2856206"/>
            <a:chOff x="4887093" y="1372126"/>
            <a:chExt cx="3933555" cy="2026995"/>
          </a:xfrm>
        </p:grpSpPr>
        <p:grpSp>
          <p:nvGrpSpPr>
            <p:cNvPr id="16" name="Group 15">
              <a:extLst>
                <a:ext uri="{FF2B5EF4-FFF2-40B4-BE49-F238E27FC236}">
                  <a16:creationId xmlns:a16="http://schemas.microsoft.com/office/drawing/2014/main" id="{C647B0C8-553F-7717-46C3-57FB7755D840}"/>
                </a:ext>
              </a:extLst>
            </p:cNvPr>
            <p:cNvGrpSpPr/>
            <p:nvPr/>
          </p:nvGrpSpPr>
          <p:grpSpPr>
            <a:xfrm>
              <a:off x="4887093" y="1372126"/>
              <a:ext cx="2924888" cy="428807"/>
              <a:chOff x="315613" y="1277322"/>
              <a:chExt cx="9251131" cy="756686"/>
            </a:xfrm>
          </p:grpSpPr>
          <p:sp>
            <p:nvSpPr>
              <p:cNvPr id="77" name="Rectangle: Rounded Corners 5">
                <a:extLst>
                  <a:ext uri="{FF2B5EF4-FFF2-40B4-BE49-F238E27FC236}">
                    <a16:creationId xmlns:a16="http://schemas.microsoft.com/office/drawing/2014/main" id="{0ECD3715-164A-6890-C3C6-023FA92804C3}"/>
                  </a:ext>
                </a:extLst>
              </p:cNvPr>
              <p:cNvSpPr/>
              <p:nvPr/>
            </p:nvSpPr>
            <p:spPr>
              <a:xfrm>
                <a:off x="315613" y="1277322"/>
                <a:ext cx="9251131" cy="756686"/>
              </a:xfrm>
              <a:prstGeom prst="roundRect">
                <a:avLst>
                  <a:gd name="adj" fmla="val 50000"/>
                </a:avLst>
              </a:prstGeom>
              <a:solidFill>
                <a:schemeClr val="bg1">
                  <a:lumMod val="95000"/>
                </a:schemeClr>
              </a:solidFill>
              <a:ln>
                <a:solidFill>
                  <a:srgbClr val="1443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800" dirty="0">
                  <a:latin typeface="Arial" panose="020B0604020202020204" pitchFamily="34" charset="0"/>
                  <a:cs typeface="Arial" panose="020B0604020202020204" pitchFamily="34" charset="0"/>
                </a:endParaRPr>
              </a:p>
            </p:txBody>
          </p:sp>
          <p:sp>
            <p:nvSpPr>
              <p:cNvPr id="78" name="TextBox 77">
                <a:extLst>
                  <a:ext uri="{FF2B5EF4-FFF2-40B4-BE49-F238E27FC236}">
                    <a16:creationId xmlns:a16="http://schemas.microsoft.com/office/drawing/2014/main" id="{8B17493D-D3D8-C9E3-5CCD-259D60C9FE80}"/>
                  </a:ext>
                </a:extLst>
              </p:cNvPr>
              <p:cNvSpPr txBox="1"/>
              <p:nvPr/>
            </p:nvSpPr>
            <p:spPr>
              <a:xfrm>
                <a:off x="836251" y="1366930"/>
                <a:ext cx="7872835" cy="553369"/>
              </a:xfrm>
              <a:prstGeom prst="rect">
                <a:avLst/>
              </a:prstGeom>
              <a:noFill/>
            </p:spPr>
            <p:txBody>
              <a:bodyPr wrap="square" lIns="0" tIns="0" rIns="0" bIns="0" rtlCol="0" anchor="ctr" anchorCtr="0">
                <a:noAutofit/>
              </a:bodyPr>
              <a:lstStyle/>
              <a:p>
                <a:pPr lvl="0" algn="ctr"/>
                <a:r>
                  <a:rPr lang="en-GB" sz="1400" b="0" kern="1200" dirty="0">
                    <a:solidFill>
                      <a:schemeClr val="tx2"/>
                    </a:solidFill>
                    <a:latin typeface="Arial "/>
                    <a:ea typeface="+mn-ea"/>
                    <a:cs typeface="+mn-cs"/>
                  </a:rPr>
                  <a:t>Identification based on verifiable information </a:t>
                </a:r>
              </a:p>
              <a:p>
                <a:pPr lvl="0" algn="ctr"/>
                <a:r>
                  <a:rPr lang="en-GB" sz="1400" b="0" kern="1200" dirty="0">
                    <a:solidFill>
                      <a:schemeClr val="tx2"/>
                    </a:solidFill>
                    <a:latin typeface="Arial "/>
                    <a:ea typeface="+mn-ea"/>
                    <a:cs typeface="+mn-cs"/>
                  </a:rPr>
                  <a:t> rather than theory or pure logic</a:t>
                </a:r>
              </a:p>
            </p:txBody>
          </p:sp>
        </p:grpSp>
        <p:grpSp>
          <p:nvGrpSpPr>
            <p:cNvPr id="17" name="Graphic 19">
              <a:extLst>
                <a:ext uri="{FF2B5EF4-FFF2-40B4-BE49-F238E27FC236}">
                  <a16:creationId xmlns:a16="http://schemas.microsoft.com/office/drawing/2014/main" id="{E058FAC6-1A53-4966-30C6-689EACD8141C}"/>
                </a:ext>
              </a:extLst>
            </p:cNvPr>
            <p:cNvGrpSpPr/>
            <p:nvPr/>
          </p:nvGrpSpPr>
          <p:grpSpPr>
            <a:xfrm>
              <a:off x="7907653" y="1467156"/>
              <a:ext cx="912995" cy="1825989"/>
              <a:chOff x="3526364" y="859367"/>
              <a:chExt cx="2569635" cy="5139268"/>
            </a:xfrm>
          </p:grpSpPr>
          <p:sp>
            <p:nvSpPr>
              <p:cNvPr id="73" name="Freeform: Shape 73">
                <a:extLst>
                  <a:ext uri="{FF2B5EF4-FFF2-40B4-BE49-F238E27FC236}">
                    <a16:creationId xmlns:a16="http://schemas.microsoft.com/office/drawing/2014/main" id="{99DFA79D-4CDB-CFCE-BE60-ADDDFBB4E867}"/>
                  </a:ext>
                </a:extLst>
              </p:cNvPr>
              <p:cNvSpPr/>
              <p:nvPr/>
            </p:nvSpPr>
            <p:spPr>
              <a:xfrm>
                <a:off x="4278992" y="4791751"/>
                <a:ext cx="1817007" cy="1206884"/>
              </a:xfrm>
              <a:custGeom>
                <a:avLst/>
                <a:gdLst>
                  <a:gd name="connsiteX0" fmla="*/ 1816795 w 1817007"/>
                  <a:gd name="connsiteY0" fmla="*/ 1206808 h 1206884"/>
                  <a:gd name="connsiteX1" fmla="*/ -213 w 1817007"/>
                  <a:gd name="connsiteY1" fmla="*/ 454181 h 1206884"/>
                  <a:gd name="connsiteX2" fmla="*/ 454044 w 1817007"/>
                  <a:gd name="connsiteY2" fmla="*/ -76 h 1206884"/>
                  <a:gd name="connsiteX3" fmla="*/ 1816795 w 1817007"/>
                  <a:gd name="connsiteY3" fmla="*/ 564395 h 1206884"/>
                </a:gdLst>
                <a:ahLst/>
                <a:cxnLst>
                  <a:cxn ang="0">
                    <a:pos x="connsiteX0" y="connsiteY0"/>
                  </a:cxn>
                  <a:cxn ang="0">
                    <a:pos x="connsiteX1" y="connsiteY1"/>
                  </a:cxn>
                  <a:cxn ang="0">
                    <a:pos x="connsiteX2" y="connsiteY2"/>
                  </a:cxn>
                  <a:cxn ang="0">
                    <a:pos x="connsiteX3" y="connsiteY3"/>
                  </a:cxn>
                </a:cxnLst>
                <a:rect l="l" t="t" r="r" b="b"/>
                <a:pathLst>
                  <a:path w="1817007" h="1206884">
                    <a:moveTo>
                      <a:pt x="1816795" y="1206808"/>
                    </a:moveTo>
                    <a:cubicBezTo>
                      <a:pt x="1135291" y="1206808"/>
                      <a:pt x="481685" y="936079"/>
                      <a:pt x="-213" y="454181"/>
                    </a:cubicBezTo>
                    <a:lnTo>
                      <a:pt x="454044" y="-76"/>
                    </a:lnTo>
                    <a:cubicBezTo>
                      <a:pt x="815470" y="361350"/>
                      <a:pt x="1305665" y="564395"/>
                      <a:pt x="1816795" y="564395"/>
                    </a:cubicBezTo>
                    <a:close/>
                  </a:path>
                </a:pathLst>
              </a:custGeom>
              <a:solidFill>
                <a:srgbClr val="002060"/>
              </a:solidFill>
              <a:ln w="19050" cap="flat">
                <a:noFill/>
                <a:prstDash val="solid"/>
                <a:round/>
              </a:ln>
            </p:spPr>
            <p:txBody>
              <a:bodyPr rtlCol="0" anchor="ctr"/>
              <a:lstStyle/>
              <a:p>
                <a:endParaRPr lang="en-ID" sz="800" dirty="0">
                  <a:latin typeface="Arial" panose="020B0604020202020204" pitchFamily="34" charset="0"/>
                  <a:cs typeface="Arial" panose="020B0604020202020204" pitchFamily="34" charset="0"/>
                </a:endParaRPr>
              </a:p>
            </p:txBody>
          </p:sp>
          <p:sp>
            <p:nvSpPr>
              <p:cNvPr id="74" name="Freeform: Shape 74">
                <a:extLst>
                  <a:ext uri="{FF2B5EF4-FFF2-40B4-BE49-F238E27FC236}">
                    <a16:creationId xmlns:a16="http://schemas.microsoft.com/office/drawing/2014/main" id="{82D02209-FEA3-2741-6F98-4D62070167C9}"/>
                  </a:ext>
                </a:extLst>
              </p:cNvPr>
              <p:cNvSpPr/>
              <p:nvPr/>
            </p:nvSpPr>
            <p:spPr>
              <a:xfrm>
                <a:off x="3526364" y="3429000"/>
                <a:ext cx="1206884" cy="1816998"/>
              </a:xfrm>
              <a:custGeom>
                <a:avLst/>
                <a:gdLst>
                  <a:gd name="connsiteX0" fmla="*/ 752415 w 1206884"/>
                  <a:gd name="connsiteY0" fmla="*/ 1816922 h 1816998"/>
                  <a:gd name="connsiteX1" fmla="*/ -213 w 1206884"/>
                  <a:gd name="connsiteY1" fmla="*/ -76 h 1816998"/>
                  <a:gd name="connsiteX2" fmla="*/ 642201 w 1206884"/>
                  <a:gd name="connsiteY2" fmla="*/ -76 h 1816998"/>
                  <a:gd name="connsiteX3" fmla="*/ 1206671 w 1206884"/>
                  <a:gd name="connsiteY3" fmla="*/ 1362675 h 1816998"/>
                </a:gdLst>
                <a:ahLst/>
                <a:cxnLst>
                  <a:cxn ang="0">
                    <a:pos x="connsiteX0" y="connsiteY0"/>
                  </a:cxn>
                  <a:cxn ang="0">
                    <a:pos x="connsiteX1" y="connsiteY1"/>
                  </a:cxn>
                  <a:cxn ang="0">
                    <a:pos x="connsiteX2" y="connsiteY2"/>
                  </a:cxn>
                  <a:cxn ang="0">
                    <a:pos x="connsiteX3" y="connsiteY3"/>
                  </a:cxn>
                </a:cxnLst>
                <a:rect l="l" t="t" r="r" b="b"/>
                <a:pathLst>
                  <a:path w="1206884" h="1816998">
                    <a:moveTo>
                      <a:pt x="752415" y="1816922"/>
                    </a:moveTo>
                    <a:cubicBezTo>
                      <a:pt x="270516" y="1335024"/>
                      <a:pt x="-213" y="681428"/>
                      <a:pt x="-213" y="-76"/>
                    </a:cubicBezTo>
                    <a:lnTo>
                      <a:pt x="642201" y="-76"/>
                    </a:lnTo>
                    <a:cubicBezTo>
                      <a:pt x="642201" y="511054"/>
                      <a:pt x="845245" y="1001249"/>
                      <a:pt x="1206671" y="1362675"/>
                    </a:cubicBezTo>
                    <a:close/>
                  </a:path>
                </a:pathLst>
              </a:custGeom>
              <a:solidFill>
                <a:srgbClr val="124BA4"/>
              </a:solidFill>
              <a:ln w="19050" cap="flat">
                <a:noFill/>
                <a:prstDash val="solid"/>
                <a:round/>
              </a:ln>
            </p:spPr>
            <p:txBody>
              <a:bodyPr rtlCol="0" anchor="ctr"/>
              <a:lstStyle/>
              <a:p>
                <a:endParaRPr lang="en-ID" sz="800">
                  <a:latin typeface="Arial" panose="020B0604020202020204" pitchFamily="34" charset="0"/>
                  <a:cs typeface="Arial" panose="020B0604020202020204" pitchFamily="34" charset="0"/>
                </a:endParaRPr>
              </a:p>
            </p:txBody>
          </p:sp>
          <p:sp>
            <p:nvSpPr>
              <p:cNvPr id="75" name="Freeform: Shape 75">
                <a:extLst>
                  <a:ext uri="{FF2B5EF4-FFF2-40B4-BE49-F238E27FC236}">
                    <a16:creationId xmlns:a16="http://schemas.microsoft.com/office/drawing/2014/main" id="{E4F695A5-57A1-0671-801C-5B46C18868E6}"/>
                  </a:ext>
                </a:extLst>
              </p:cNvPr>
              <p:cNvSpPr/>
              <p:nvPr/>
            </p:nvSpPr>
            <p:spPr>
              <a:xfrm>
                <a:off x="3526364" y="1611992"/>
                <a:ext cx="1206884" cy="1817007"/>
              </a:xfrm>
              <a:custGeom>
                <a:avLst/>
                <a:gdLst>
                  <a:gd name="connsiteX0" fmla="*/ -213 w 1206884"/>
                  <a:gd name="connsiteY0" fmla="*/ 1816932 h 1817007"/>
                  <a:gd name="connsiteX1" fmla="*/ 752415 w 1206884"/>
                  <a:gd name="connsiteY1" fmla="*/ -76 h 1817007"/>
                  <a:gd name="connsiteX2" fmla="*/ 1206671 w 1206884"/>
                  <a:gd name="connsiteY2" fmla="*/ 454181 h 1817007"/>
                  <a:gd name="connsiteX3" fmla="*/ 642201 w 1206884"/>
                  <a:gd name="connsiteY3" fmla="*/ 1816932 h 1817007"/>
                </a:gdLst>
                <a:ahLst/>
                <a:cxnLst>
                  <a:cxn ang="0">
                    <a:pos x="connsiteX0" y="connsiteY0"/>
                  </a:cxn>
                  <a:cxn ang="0">
                    <a:pos x="connsiteX1" y="connsiteY1"/>
                  </a:cxn>
                  <a:cxn ang="0">
                    <a:pos x="connsiteX2" y="connsiteY2"/>
                  </a:cxn>
                  <a:cxn ang="0">
                    <a:pos x="connsiteX3" y="connsiteY3"/>
                  </a:cxn>
                </a:cxnLst>
                <a:rect l="l" t="t" r="r" b="b"/>
                <a:pathLst>
                  <a:path w="1206884" h="1817007">
                    <a:moveTo>
                      <a:pt x="-213" y="1816932"/>
                    </a:moveTo>
                    <a:cubicBezTo>
                      <a:pt x="-213" y="1135418"/>
                      <a:pt x="270516" y="481822"/>
                      <a:pt x="752415" y="-76"/>
                    </a:cubicBezTo>
                    <a:lnTo>
                      <a:pt x="1206671" y="454181"/>
                    </a:lnTo>
                    <a:cubicBezTo>
                      <a:pt x="845245" y="815597"/>
                      <a:pt x="642201" y="1305802"/>
                      <a:pt x="642201" y="1816932"/>
                    </a:cubicBezTo>
                    <a:close/>
                  </a:path>
                </a:pathLst>
              </a:custGeom>
              <a:solidFill>
                <a:srgbClr val="0070C0"/>
              </a:solidFill>
              <a:ln w="19050" cap="flat">
                <a:noFill/>
                <a:prstDash val="solid"/>
                <a:round/>
              </a:ln>
            </p:spPr>
            <p:txBody>
              <a:bodyPr rtlCol="0" anchor="ctr"/>
              <a:lstStyle/>
              <a:p>
                <a:endParaRPr lang="en-ID" sz="800">
                  <a:latin typeface="Arial" panose="020B0604020202020204" pitchFamily="34" charset="0"/>
                  <a:cs typeface="Arial" panose="020B0604020202020204" pitchFamily="34" charset="0"/>
                </a:endParaRPr>
              </a:p>
            </p:txBody>
          </p:sp>
          <p:sp>
            <p:nvSpPr>
              <p:cNvPr id="76" name="Freeform: Shape 76">
                <a:extLst>
                  <a:ext uri="{FF2B5EF4-FFF2-40B4-BE49-F238E27FC236}">
                    <a16:creationId xmlns:a16="http://schemas.microsoft.com/office/drawing/2014/main" id="{B8A9F447-D5BC-B35B-E47D-43327B8D0D7B}"/>
                  </a:ext>
                </a:extLst>
              </p:cNvPr>
              <p:cNvSpPr/>
              <p:nvPr/>
            </p:nvSpPr>
            <p:spPr>
              <a:xfrm>
                <a:off x="4278992" y="859367"/>
                <a:ext cx="1817007" cy="1206881"/>
              </a:xfrm>
              <a:custGeom>
                <a:avLst/>
                <a:gdLst>
                  <a:gd name="connsiteX0" fmla="*/ -213 w 1817007"/>
                  <a:gd name="connsiteY0" fmla="*/ 752549 h 1206881"/>
                  <a:gd name="connsiteX1" fmla="*/ 1816795 w 1817007"/>
                  <a:gd name="connsiteY1" fmla="*/ -76 h 1206881"/>
                  <a:gd name="connsiteX2" fmla="*/ 1816795 w 1817007"/>
                  <a:gd name="connsiteY2" fmla="*/ 642335 h 1206881"/>
                  <a:gd name="connsiteX3" fmla="*/ 454044 w 1817007"/>
                  <a:gd name="connsiteY3" fmla="*/ 1206805 h 1206881"/>
                </a:gdLst>
                <a:ahLst/>
                <a:cxnLst>
                  <a:cxn ang="0">
                    <a:pos x="connsiteX0" y="connsiteY0"/>
                  </a:cxn>
                  <a:cxn ang="0">
                    <a:pos x="connsiteX1" y="connsiteY1"/>
                  </a:cxn>
                  <a:cxn ang="0">
                    <a:pos x="connsiteX2" y="connsiteY2"/>
                  </a:cxn>
                  <a:cxn ang="0">
                    <a:pos x="connsiteX3" y="connsiteY3"/>
                  </a:cxn>
                </a:cxnLst>
                <a:rect l="l" t="t" r="r" b="b"/>
                <a:pathLst>
                  <a:path w="1817007" h="1206881">
                    <a:moveTo>
                      <a:pt x="-213" y="752549"/>
                    </a:moveTo>
                    <a:cubicBezTo>
                      <a:pt x="481695" y="270650"/>
                      <a:pt x="1135291" y="-76"/>
                      <a:pt x="1816795" y="-76"/>
                    </a:cubicBezTo>
                    <a:lnTo>
                      <a:pt x="1816795" y="642335"/>
                    </a:lnTo>
                    <a:cubicBezTo>
                      <a:pt x="1305665" y="642335"/>
                      <a:pt x="815470" y="845379"/>
                      <a:pt x="454044" y="1206805"/>
                    </a:cubicBezTo>
                    <a:close/>
                  </a:path>
                </a:pathLst>
              </a:custGeom>
              <a:solidFill>
                <a:srgbClr val="00B0F0"/>
              </a:solidFill>
              <a:ln w="19050" cap="flat">
                <a:noFill/>
                <a:prstDash val="solid"/>
                <a:round/>
              </a:ln>
            </p:spPr>
            <p:txBody>
              <a:bodyPr rtlCol="0" anchor="ctr"/>
              <a:lstStyle/>
              <a:p>
                <a:endParaRPr lang="en-ID" sz="800" dirty="0">
                  <a:latin typeface="Arial" panose="020B0604020202020204" pitchFamily="34" charset="0"/>
                  <a:cs typeface="Arial" panose="020B0604020202020204" pitchFamily="34" charset="0"/>
                </a:endParaRPr>
              </a:p>
            </p:txBody>
          </p:sp>
        </p:grpSp>
        <p:sp>
          <p:nvSpPr>
            <p:cNvPr id="18" name="Freeform: Shape 80">
              <a:extLst>
                <a:ext uri="{FF2B5EF4-FFF2-40B4-BE49-F238E27FC236}">
                  <a16:creationId xmlns:a16="http://schemas.microsoft.com/office/drawing/2014/main" id="{A1D35A91-B122-36EB-2417-B8D461D87AE8}"/>
                </a:ext>
              </a:extLst>
            </p:cNvPr>
            <p:cNvSpPr/>
            <p:nvPr/>
          </p:nvSpPr>
          <p:spPr>
            <a:xfrm>
              <a:off x="8189235" y="1747648"/>
              <a:ext cx="631413" cy="1274060"/>
            </a:xfrm>
            <a:custGeom>
              <a:avLst/>
              <a:gdLst>
                <a:gd name="connsiteX0" fmla="*/ 1478366 w 1478366"/>
                <a:gd name="connsiteY0" fmla="*/ 0 h 2983037"/>
                <a:gd name="connsiteX1" fmla="*/ 1478366 w 1478366"/>
                <a:gd name="connsiteY1" fmla="*/ 2983037 h 2983037"/>
                <a:gd name="connsiteX2" fmla="*/ 1339648 w 1478366"/>
                <a:gd name="connsiteY2" fmla="*/ 2976032 h 2983037"/>
                <a:gd name="connsiteX3" fmla="*/ 0 w 1478366"/>
                <a:gd name="connsiteY3" fmla="*/ 1491518 h 2983037"/>
                <a:gd name="connsiteX4" fmla="*/ 1339648 w 1478366"/>
                <a:gd name="connsiteY4" fmla="*/ 7004 h 298303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78366" h="2983037">
                  <a:moveTo>
                    <a:pt x="1478366" y="0"/>
                  </a:moveTo>
                  <a:lnTo>
                    <a:pt x="1478366" y="2983037"/>
                  </a:lnTo>
                  <a:lnTo>
                    <a:pt x="1339648" y="2976032"/>
                  </a:lnTo>
                  <a:cubicBezTo>
                    <a:pt x="587188" y="2899616"/>
                    <a:pt x="0" y="2264139"/>
                    <a:pt x="0" y="1491518"/>
                  </a:cubicBezTo>
                  <a:cubicBezTo>
                    <a:pt x="0" y="718897"/>
                    <a:pt x="587188" y="83421"/>
                    <a:pt x="1339648" y="7004"/>
                  </a:cubicBezTo>
                  <a:close/>
                </a:path>
              </a:pathLst>
            </a:custGeom>
            <a:gradFill>
              <a:gsLst>
                <a:gs pos="0">
                  <a:srgbClr val="002060"/>
                </a:gs>
                <a:gs pos="100000">
                  <a:srgbClr val="0070C0"/>
                </a:gs>
              </a:gsLst>
              <a:lin ang="12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ID" sz="800" dirty="0">
                <a:latin typeface="Arial" panose="020B0604020202020204" pitchFamily="34" charset="0"/>
                <a:cs typeface="Arial" panose="020B0604020202020204" pitchFamily="34" charset="0"/>
              </a:endParaRPr>
            </a:p>
          </p:txBody>
        </p:sp>
        <p:sp>
          <p:nvSpPr>
            <p:cNvPr id="19" name="Oval 18">
              <a:extLst>
                <a:ext uri="{FF2B5EF4-FFF2-40B4-BE49-F238E27FC236}">
                  <a16:creationId xmlns:a16="http://schemas.microsoft.com/office/drawing/2014/main" id="{F3CD5DB5-1FBE-A98F-535D-EC28CF9B2E17}"/>
                </a:ext>
              </a:extLst>
            </p:cNvPr>
            <p:cNvSpPr/>
            <p:nvPr/>
          </p:nvSpPr>
          <p:spPr>
            <a:xfrm>
              <a:off x="8336460" y="1408829"/>
              <a:ext cx="247963" cy="247963"/>
            </a:xfrm>
            <a:prstGeom prst="ellipse">
              <a:avLst/>
            </a:prstGeom>
            <a:solidFill>
              <a:srgbClr val="00B0F0"/>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latin typeface="Arial" panose="020B0604020202020204" pitchFamily="34" charset="0"/>
                <a:cs typeface="Arial" panose="020B0604020202020204" pitchFamily="34" charset="0"/>
              </a:endParaRPr>
            </a:p>
          </p:txBody>
        </p:sp>
        <p:sp>
          <p:nvSpPr>
            <p:cNvPr id="20" name="Oval 19">
              <a:extLst>
                <a:ext uri="{FF2B5EF4-FFF2-40B4-BE49-F238E27FC236}">
                  <a16:creationId xmlns:a16="http://schemas.microsoft.com/office/drawing/2014/main" id="{F16915DC-D75B-8325-0BAF-3BFBC13A9185}"/>
                </a:ext>
              </a:extLst>
            </p:cNvPr>
            <p:cNvSpPr/>
            <p:nvPr/>
          </p:nvSpPr>
          <p:spPr>
            <a:xfrm>
              <a:off x="7847173" y="1878225"/>
              <a:ext cx="247963" cy="247963"/>
            </a:xfrm>
            <a:prstGeom prst="ellipse">
              <a:avLst/>
            </a:prstGeom>
            <a:solidFill>
              <a:srgbClr val="0070C0"/>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latin typeface="Arial" panose="020B0604020202020204" pitchFamily="34" charset="0"/>
                <a:cs typeface="Arial" panose="020B0604020202020204" pitchFamily="34" charset="0"/>
              </a:endParaRPr>
            </a:p>
          </p:txBody>
        </p:sp>
        <p:sp>
          <p:nvSpPr>
            <p:cNvPr id="21" name="Oval 20">
              <a:extLst>
                <a:ext uri="{FF2B5EF4-FFF2-40B4-BE49-F238E27FC236}">
                  <a16:creationId xmlns:a16="http://schemas.microsoft.com/office/drawing/2014/main" id="{7CB59A89-3C18-5594-1A98-77382CC158E1}"/>
                </a:ext>
              </a:extLst>
            </p:cNvPr>
            <p:cNvSpPr/>
            <p:nvPr/>
          </p:nvSpPr>
          <p:spPr>
            <a:xfrm>
              <a:off x="7859124" y="2598151"/>
              <a:ext cx="247963" cy="247963"/>
            </a:xfrm>
            <a:prstGeom prst="ellipse">
              <a:avLst/>
            </a:prstGeom>
            <a:solidFill>
              <a:srgbClr val="124BA4"/>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latin typeface="Arial" panose="020B0604020202020204" pitchFamily="34" charset="0"/>
                <a:cs typeface="Arial" panose="020B0604020202020204" pitchFamily="34" charset="0"/>
              </a:endParaRPr>
            </a:p>
          </p:txBody>
        </p:sp>
        <p:sp>
          <p:nvSpPr>
            <p:cNvPr id="22" name="Oval 21">
              <a:extLst>
                <a:ext uri="{FF2B5EF4-FFF2-40B4-BE49-F238E27FC236}">
                  <a16:creationId xmlns:a16="http://schemas.microsoft.com/office/drawing/2014/main" id="{D0540974-4E7D-4A43-5E72-8EE59BE867F2}"/>
                </a:ext>
              </a:extLst>
            </p:cNvPr>
            <p:cNvSpPr/>
            <p:nvPr/>
          </p:nvSpPr>
          <p:spPr>
            <a:xfrm>
              <a:off x="8336460" y="3103037"/>
              <a:ext cx="247963" cy="247963"/>
            </a:xfrm>
            <a:prstGeom prst="ellipse">
              <a:avLst/>
            </a:prstGeom>
            <a:solidFill>
              <a:srgbClr val="002060"/>
            </a:solidFill>
            <a:ln w="635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latin typeface="Arial" panose="020B0604020202020204" pitchFamily="34" charset="0"/>
                <a:cs typeface="Arial" panose="020B0604020202020204" pitchFamily="34" charset="0"/>
              </a:endParaRPr>
            </a:p>
          </p:txBody>
        </p:sp>
        <p:grpSp>
          <p:nvGrpSpPr>
            <p:cNvPr id="24" name="Group 23">
              <a:extLst>
                <a:ext uri="{FF2B5EF4-FFF2-40B4-BE49-F238E27FC236}">
                  <a16:creationId xmlns:a16="http://schemas.microsoft.com/office/drawing/2014/main" id="{4E75BE3A-5B85-2DD4-CF7E-4F631481765E}"/>
                </a:ext>
              </a:extLst>
            </p:cNvPr>
            <p:cNvGrpSpPr/>
            <p:nvPr/>
          </p:nvGrpSpPr>
          <p:grpSpPr>
            <a:xfrm>
              <a:off x="8391815" y="1476212"/>
              <a:ext cx="129283" cy="129282"/>
              <a:chOff x="5562600" y="3979863"/>
              <a:chExt cx="346076" cy="346075"/>
            </a:xfrm>
          </p:grpSpPr>
          <p:sp>
            <p:nvSpPr>
              <p:cNvPr id="69" name="Oval 68">
                <a:extLst>
                  <a:ext uri="{FF2B5EF4-FFF2-40B4-BE49-F238E27FC236}">
                    <a16:creationId xmlns:a16="http://schemas.microsoft.com/office/drawing/2014/main" id="{0263885C-C564-9833-03E6-52661CB08A9F}"/>
                  </a:ext>
                </a:extLst>
              </p:cNvPr>
              <p:cNvSpPr>
                <a:spLocks noChangeArrowheads="1"/>
              </p:cNvSpPr>
              <p:nvPr/>
            </p:nvSpPr>
            <p:spPr bwMode="auto">
              <a:xfrm>
                <a:off x="5637213" y="4160838"/>
                <a:ext cx="90488" cy="90488"/>
              </a:xfrm>
              <a:prstGeom prst="ellipse">
                <a:avLst/>
              </a:prstGeom>
              <a:noFill/>
              <a:ln w="6350"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70" name="Oval 69">
                <a:extLst>
                  <a:ext uri="{FF2B5EF4-FFF2-40B4-BE49-F238E27FC236}">
                    <a16:creationId xmlns:a16="http://schemas.microsoft.com/office/drawing/2014/main" id="{B4435D46-5F0A-F9E8-02D9-0B08D3B2FBEC}"/>
                  </a:ext>
                </a:extLst>
              </p:cNvPr>
              <p:cNvSpPr>
                <a:spLocks noChangeArrowheads="1"/>
              </p:cNvSpPr>
              <p:nvPr/>
            </p:nvSpPr>
            <p:spPr bwMode="auto">
              <a:xfrm>
                <a:off x="5818188" y="4024313"/>
                <a:ext cx="44450" cy="46038"/>
              </a:xfrm>
              <a:prstGeom prst="ellipse">
                <a:avLst/>
              </a:prstGeom>
              <a:noFill/>
              <a:ln w="6350"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71" name="Freeform 66">
                <a:extLst>
                  <a:ext uri="{FF2B5EF4-FFF2-40B4-BE49-F238E27FC236}">
                    <a16:creationId xmlns:a16="http://schemas.microsoft.com/office/drawing/2014/main" id="{9DB716AC-87AF-45F8-88CE-899E0E4E36FE}"/>
                  </a:ext>
                </a:extLst>
              </p:cNvPr>
              <p:cNvSpPr>
                <a:spLocks/>
              </p:cNvSpPr>
              <p:nvPr/>
            </p:nvSpPr>
            <p:spPr bwMode="auto">
              <a:xfrm>
                <a:off x="5562600" y="4084638"/>
                <a:ext cx="241300" cy="241300"/>
              </a:xfrm>
              <a:custGeom>
                <a:avLst/>
                <a:gdLst>
                  <a:gd name="T0" fmla="*/ 58 w 64"/>
                  <a:gd name="T1" fmla="*/ 32 h 64"/>
                  <a:gd name="T2" fmla="*/ 57 w 64"/>
                  <a:gd name="T3" fmla="*/ 27 h 64"/>
                  <a:gd name="T4" fmla="*/ 64 w 64"/>
                  <a:gd name="T5" fmla="*/ 23 h 64"/>
                  <a:gd name="T6" fmla="*/ 56 w 64"/>
                  <a:gd name="T7" fmla="*/ 9 h 64"/>
                  <a:gd name="T8" fmla="*/ 50 w 64"/>
                  <a:gd name="T9" fmla="*/ 13 h 64"/>
                  <a:gd name="T10" fmla="*/ 40 w 64"/>
                  <a:gd name="T11" fmla="*/ 7 h 64"/>
                  <a:gd name="T12" fmla="*/ 40 w 64"/>
                  <a:gd name="T13" fmla="*/ 0 h 64"/>
                  <a:gd name="T14" fmla="*/ 24 w 64"/>
                  <a:gd name="T15" fmla="*/ 0 h 64"/>
                  <a:gd name="T16" fmla="*/ 24 w 64"/>
                  <a:gd name="T17" fmla="*/ 7 h 64"/>
                  <a:gd name="T18" fmla="*/ 15 w 64"/>
                  <a:gd name="T19" fmla="*/ 13 h 64"/>
                  <a:gd name="T20" fmla="*/ 8 w 64"/>
                  <a:gd name="T21" fmla="*/ 9 h 64"/>
                  <a:gd name="T22" fmla="*/ 0 w 64"/>
                  <a:gd name="T23" fmla="*/ 23 h 64"/>
                  <a:gd name="T24" fmla="*/ 7 w 64"/>
                  <a:gd name="T25" fmla="*/ 27 h 64"/>
                  <a:gd name="T26" fmla="*/ 6 w 64"/>
                  <a:gd name="T27" fmla="*/ 32 h 64"/>
                  <a:gd name="T28" fmla="*/ 7 w 64"/>
                  <a:gd name="T29" fmla="*/ 37 h 64"/>
                  <a:gd name="T30" fmla="*/ 0 w 64"/>
                  <a:gd name="T31" fmla="*/ 41 h 64"/>
                  <a:gd name="T32" fmla="*/ 8 w 64"/>
                  <a:gd name="T33" fmla="*/ 55 h 64"/>
                  <a:gd name="T34" fmla="*/ 15 w 64"/>
                  <a:gd name="T35" fmla="*/ 51 h 64"/>
                  <a:gd name="T36" fmla="*/ 24 w 64"/>
                  <a:gd name="T37" fmla="*/ 57 h 64"/>
                  <a:gd name="T38" fmla="*/ 24 w 64"/>
                  <a:gd name="T39" fmla="*/ 64 h 64"/>
                  <a:gd name="T40" fmla="*/ 40 w 64"/>
                  <a:gd name="T41" fmla="*/ 64 h 64"/>
                  <a:gd name="T42" fmla="*/ 40 w 64"/>
                  <a:gd name="T43" fmla="*/ 57 h 64"/>
                  <a:gd name="T44" fmla="*/ 50 w 64"/>
                  <a:gd name="T45" fmla="*/ 51 h 64"/>
                  <a:gd name="T46" fmla="*/ 56 w 64"/>
                  <a:gd name="T47" fmla="*/ 55 h 64"/>
                  <a:gd name="T48" fmla="*/ 64 w 64"/>
                  <a:gd name="T49" fmla="*/ 41 h 64"/>
                  <a:gd name="T50" fmla="*/ 57 w 64"/>
                  <a:gd name="T51" fmla="*/ 37 h 64"/>
                  <a:gd name="T52" fmla="*/ 58 w 64"/>
                  <a:gd name="T53" fmla="*/ 32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4" h="64">
                    <a:moveTo>
                      <a:pt x="58" y="32"/>
                    </a:moveTo>
                    <a:cubicBezTo>
                      <a:pt x="58" y="30"/>
                      <a:pt x="58" y="28"/>
                      <a:pt x="57" y="27"/>
                    </a:cubicBezTo>
                    <a:cubicBezTo>
                      <a:pt x="64" y="23"/>
                      <a:pt x="64" y="23"/>
                      <a:pt x="64" y="23"/>
                    </a:cubicBezTo>
                    <a:cubicBezTo>
                      <a:pt x="56" y="9"/>
                      <a:pt x="56" y="9"/>
                      <a:pt x="56" y="9"/>
                    </a:cubicBezTo>
                    <a:cubicBezTo>
                      <a:pt x="50" y="13"/>
                      <a:pt x="50" y="13"/>
                      <a:pt x="50" y="13"/>
                    </a:cubicBezTo>
                    <a:cubicBezTo>
                      <a:pt x="47" y="10"/>
                      <a:pt x="44" y="8"/>
                      <a:pt x="40" y="7"/>
                    </a:cubicBezTo>
                    <a:cubicBezTo>
                      <a:pt x="40" y="0"/>
                      <a:pt x="40" y="0"/>
                      <a:pt x="40" y="0"/>
                    </a:cubicBezTo>
                    <a:cubicBezTo>
                      <a:pt x="24" y="0"/>
                      <a:pt x="24" y="0"/>
                      <a:pt x="24" y="0"/>
                    </a:cubicBezTo>
                    <a:cubicBezTo>
                      <a:pt x="24" y="7"/>
                      <a:pt x="24" y="7"/>
                      <a:pt x="24" y="7"/>
                    </a:cubicBezTo>
                    <a:cubicBezTo>
                      <a:pt x="20" y="8"/>
                      <a:pt x="17" y="10"/>
                      <a:pt x="15" y="13"/>
                    </a:cubicBezTo>
                    <a:cubicBezTo>
                      <a:pt x="8" y="9"/>
                      <a:pt x="8" y="9"/>
                      <a:pt x="8" y="9"/>
                    </a:cubicBezTo>
                    <a:cubicBezTo>
                      <a:pt x="0" y="23"/>
                      <a:pt x="0" y="23"/>
                      <a:pt x="0" y="23"/>
                    </a:cubicBezTo>
                    <a:cubicBezTo>
                      <a:pt x="7" y="27"/>
                      <a:pt x="7" y="27"/>
                      <a:pt x="7" y="27"/>
                    </a:cubicBezTo>
                    <a:cubicBezTo>
                      <a:pt x="6" y="28"/>
                      <a:pt x="6" y="30"/>
                      <a:pt x="6" y="32"/>
                    </a:cubicBezTo>
                    <a:cubicBezTo>
                      <a:pt x="6" y="34"/>
                      <a:pt x="6" y="36"/>
                      <a:pt x="7" y="37"/>
                    </a:cubicBezTo>
                    <a:cubicBezTo>
                      <a:pt x="0" y="41"/>
                      <a:pt x="0" y="41"/>
                      <a:pt x="0" y="41"/>
                    </a:cubicBezTo>
                    <a:cubicBezTo>
                      <a:pt x="8" y="55"/>
                      <a:pt x="8" y="55"/>
                      <a:pt x="8" y="55"/>
                    </a:cubicBezTo>
                    <a:cubicBezTo>
                      <a:pt x="15" y="51"/>
                      <a:pt x="15" y="51"/>
                      <a:pt x="15" y="51"/>
                    </a:cubicBezTo>
                    <a:cubicBezTo>
                      <a:pt x="17" y="54"/>
                      <a:pt x="20" y="56"/>
                      <a:pt x="24" y="57"/>
                    </a:cubicBezTo>
                    <a:cubicBezTo>
                      <a:pt x="24" y="64"/>
                      <a:pt x="24" y="64"/>
                      <a:pt x="24" y="64"/>
                    </a:cubicBezTo>
                    <a:cubicBezTo>
                      <a:pt x="40" y="64"/>
                      <a:pt x="40" y="64"/>
                      <a:pt x="40" y="64"/>
                    </a:cubicBezTo>
                    <a:cubicBezTo>
                      <a:pt x="40" y="57"/>
                      <a:pt x="40" y="57"/>
                      <a:pt x="40" y="57"/>
                    </a:cubicBezTo>
                    <a:cubicBezTo>
                      <a:pt x="44" y="56"/>
                      <a:pt x="47" y="54"/>
                      <a:pt x="50" y="51"/>
                    </a:cubicBezTo>
                    <a:cubicBezTo>
                      <a:pt x="56" y="55"/>
                      <a:pt x="56" y="55"/>
                      <a:pt x="56" y="55"/>
                    </a:cubicBezTo>
                    <a:cubicBezTo>
                      <a:pt x="64" y="41"/>
                      <a:pt x="64" y="41"/>
                      <a:pt x="64" y="41"/>
                    </a:cubicBezTo>
                    <a:cubicBezTo>
                      <a:pt x="57" y="37"/>
                      <a:pt x="57" y="37"/>
                      <a:pt x="57" y="37"/>
                    </a:cubicBezTo>
                    <a:cubicBezTo>
                      <a:pt x="58" y="36"/>
                      <a:pt x="58" y="34"/>
                      <a:pt x="58" y="32"/>
                    </a:cubicBezTo>
                    <a:close/>
                  </a:path>
                </a:pathLst>
              </a:custGeom>
              <a:noFill/>
              <a:ln w="6350"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800" dirty="0">
                  <a:latin typeface="Arial" panose="020B0604020202020204" pitchFamily="34" charset="0"/>
                  <a:cs typeface="Arial" panose="020B0604020202020204" pitchFamily="34" charset="0"/>
                </a:endParaRPr>
              </a:p>
            </p:txBody>
          </p:sp>
          <p:sp>
            <p:nvSpPr>
              <p:cNvPr id="72" name="Freeform 67">
                <a:extLst>
                  <a:ext uri="{FF2B5EF4-FFF2-40B4-BE49-F238E27FC236}">
                    <a16:creationId xmlns:a16="http://schemas.microsoft.com/office/drawing/2014/main" id="{8A27EBDC-F50F-99C4-21D5-6B8A4CCAAFBE}"/>
                  </a:ext>
                </a:extLst>
              </p:cNvPr>
              <p:cNvSpPr>
                <a:spLocks/>
              </p:cNvSpPr>
              <p:nvPr/>
            </p:nvSpPr>
            <p:spPr bwMode="auto">
              <a:xfrm>
                <a:off x="5773738" y="3979863"/>
                <a:ext cx="134938" cy="134938"/>
              </a:xfrm>
              <a:custGeom>
                <a:avLst/>
                <a:gdLst>
                  <a:gd name="T0" fmla="*/ 32 w 36"/>
                  <a:gd name="T1" fmla="*/ 18 h 36"/>
                  <a:gd name="T2" fmla="*/ 32 w 36"/>
                  <a:gd name="T3" fmla="*/ 15 h 36"/>
                  <a:gd name="T4" fmla="*/ 36 w 36"/>
                  <a:gd name="T5" fmla="*/ 12 h 36"/>
                  <a:gd name="T6" fmla="*/ 32 w 36"/>
                  <a:gd name="T7" fmla="*/ 6 h 36"/>
                  <a:gd name="T8" fmla="*/ 28 w 36"/>
                  <a:gd name="T9" fmla="*/ 8 h 36"/>
                  <a:gd name="T10" fmla="*/ 22 w 36"/>
                  <a:gd name="T11" fmla="*/ 5 h 36"/>
                  <a:gd name="T12" fmla="*/ 22 w 36"/>
                  <a:gd name="T13" fmla="*/ 0 h 36"/>
                  <a:gd name="T14" fmla="*/ 14 w 36"/>
                  <a:gd name="T15" fmla="*/ 0 h 36"/>
                  <a:gd name="T16" fmla="*/ 14 w 36"/>
                  <a:gd name="T17" fmla="*/ 5 h 36"/>
                  <a:gd name="T18" fmla="*/ 9 w 36"/>
                  <a:gd name="T19" fmla="*/ 8 h 36"/>
                  <a:gd name="T20" fmla="*/ 5 w 36"/>
                  <a:gd name="T21" fmla="*/ 6 h 36"/>
                  <a:gd name="T22" fmla="*/ 0 w 36"/>
                  <a:gd name="T23" fmla="*/ 12 h 36"/>
                  <a:gd name="T24" fmla="*/ 4 w 36"/>
                  <a:gd name="T25" fmla="*/ 15 h 36"/>
                  <a:gd name="T26" fmla="*/ 4 w 36"/>
                  <a:gd name="T27" fmla="*/ 18 h 36"/>
                  <a:gd name="T28" fmla="*/ 4 w 36"/>
                  <a:gd name="T29" fmla="*/ 21 h 36"/>
                  <a:gd name="T30" fmla="*/ 0 w 36"/>
                  <a:gd name="T31" fmla="*/ 24 h 36"/>
                  <a:gd name="T32" fmla="*/ 4 w 36"/>
                  <a:gd name="T33" fmla="*/ 30 h 36"/>
                  <a:gd name="T34" fmla="*/ 9 w 36"/>
                  <a:gd name="T35" fmla="*/ 28 h 36"/>
                  <a:gd name="T36" fmla="*/ 14 w 36"/>
                  <a:gd name="T37" fmla="*/ 31 h 36"/>
                  <a:gd name="T38" fmla="*/ 14 w 36"/>
                  <a:gd name="T39" fmla="*/ 36 h 36"/>
                  <a:gd name="T40" fmla="*/ 22 w 36"/>
                  <a:gd name="T41" fmla="*/ 36 h 36"/>
                  <a:gd name="T42" fmla="*/ 22 w 36"/>
                  <a:gd name="T43" fmla="*/ 31 h 36"/>
                  <a:gd name="T44" fmla="*/ 28 w 36"/>
                  <a:gd name="T45" fmla="*/ 28 h 36"/>
                  <a:gd name="T46" fmla="*/ 32 w 36"/>
                  <a:gd name="T47" fmla="*/ 30 h 36"/>
                  <a:gd name="T48" fmla="*/ 36 w 36"/>
                  <a:gd name="T49" fmla="*/ 24 h 36"/>
                  <a:gd name="T50" fmla="*/ 32 w 36"/>
                  <a:gd name="T51" fmla="*/ 21 h 36"/>
                  <a:gd name="T52" fmla="*/ 32 w 36"/>
                  <a:gd name="T53"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 h="36">
                    <a:moveTo>
                      <a:pt x="32" y="18"/>
                    </a:moveTo>
                    <a:cubicBezTo>
                      <a:pt x="32" y="17"/>
                      <a:pt x="32" y="16"/>
                      <a:pt x="32" y="15"/>
                    </a:cubicBezTo>
                    <a:cubicBezTo>
                      <a:pt x="36" y="12"/>
                      <a:pt x="36" y="12"/>
                      <a:pt x="36" y="12"/>
                    </a:cubicBezTo>
                    <a:cubicBezTo>
                      <a:pt x="32" y="6"/>
                      <a:pt x="32" y="6"/>
                      <a:pt x="32" y="6"/>
                    </a:cubicBezTo>
                    <a:cubicBezTo>
                      <a:pt x="28" y="8"/>
                      <a:pt x="28" y="8"/>
                      <a:pt x="28" y="8"/>
                    </a:cubicBezTo>
                    <a:cubicBezTo>
                      <a:pt x="26" y="6"/>
                      <a:pt x="24" y="5"/>
                      <a:pt x="22" y="5"/>
                    </a:cubicBezTo>
                    <a:cubicBezTo>
                      <a:pt x="22" y="0"/>
                      <a:pt x="22" y="0"/>
                      <a:pt x="22" y="0"/>
                    </a:cubicBezTo>
                    <a:cubicBezTo>
                      <a:pt x="14" y="0"/>
                      <a:pt x="14" y="0"/>
                      <a:pt x="14" y="0"/>
                    </a:cubicBezTo>
                    <a:cubicBezTo>
                      <a:pt x="14" y="5"/>
                      <a:pt x="14" y="5"/>
                      <a:pt x="14" y="5"/>
                    </a:cubicBezTo>
                    <a:cubicBezTo>
                      <a:pt x="12" y="5"/>
                      <a:pt x="10" y="6"/>
                      <a:pt x="9" y="8"/>
                    </a:cubicBezTo>
                    <a:cubicBezTo>
                      <a:pt x="5" y="6"/>
                      <a:pt x="5" y="6"/>
                      <a:pt x="5" y="6"/>
                    </a:cubicBezTo>
                    <a:cubicBezTo>
                      <a:pt x="0" y="12"/>
                      <a:pt x="0" y="12"/>
                      <a:pt x="0" y="12"/>
                    </a:cubicBezTo>
                    <a:cubicBezTo>
                      <a:pt x="4" y="15"/>
                      <a:pt x="4" y="15"/>
                      <a:pt x="4" y="15"/>
                    </a:cubicBezTo>
                    <a:cubicBezTo>
                      <a:pt x="4" y="16"/>
                      <a:pt x="4" y="17"/>
                      <a:pt x="4" y="18"/>
                    </a:cubicBezTo>
                    <a:cubicBezTo>
                      <a:pt x="4" y="19"/>
                      <a:pt x="4" y="20"/>
                      <a:pt x="4" y="21"/>
                    </a:cubicBezTo>
                    <a:cubicBezTo>
                      <a:pt x="0" y="24"/>
                      <a:pt x="0" y="24"/>
                      <a:pt x="0" y="24"/>
                    </a:cubicBezTo>
                    <a:cubicBezTo>
                      <a:pt x="4" y="30"/>
                      <a:pt x="4" y="30"/>
                      <a:pt x="4" y="30"/>
                    </a:cubicBezTo>
                    <a:cubicBezTo>
                      <a:pt x="9" y="28"/>
                      <a:pt x="9" y="28"/>
                      <a:pt x="9" y="28"/>
                    </a:cubicBezTo>
                    <a:cubicBezTo>
                      <a:pt x="10" y="30"/>
                      <a:pt x="12" y="31"/>
                      <a:pt x="14" y="31"/>
                    </a:cubicBezTo>
                    <a:cubicBezTo>
                      <a:pt x="14" y="36"/>
                      <a:pt x="14" y="36"/>
                      <a:pt x="14" y="36"/>
                    </a:cubicBezTo>
                    <a:cubicBezTo>
                      <a:pt x="22" y="36"/>
                      <a:pt x="22" y="36"/>
                      <a:pt x="22" y="36"/>
                    </a:cubicBezTo>
                    <a:cubicBezTo>
                      <a:pt x="22" y="31"/>
                      <a:pt x="22" y="31"/>
                      <a:pt x="22" y="31"/>
                    </a:cubicBezTo>
                    <a:cubicBezTo>
                      <a:pt x="24" y="31"/>
                      <a:pt x="26" y="30"/>
                      <a:pt x="28" y="28"/>
                    </a:cubicBezTo>
                    <a:cubicBezTo>
                      <a:pt x="32" y="30"/>
                      <a:pt x="32" y="30"/>
                      <a:pt x="32" y="30"/>
                    </a:cubicBezTo>
                    <a:cubicBezTo>
                      <a:pt x="36" y="24"/>
                      <a:pt x="36" y="24"/>
                      <a:pt x="36" y="24"/>
                    </a:cubicBezTo>
                    <a:cubicBezTo>
                      <a:pt x="32" y="21"/>
                      <a:pt x="32" y="21"/>
                      <a:pt x="32" y="21"/>
                    </a:cubicBezTo>
                    <a:cubicBezTo>
                      <a:pt x="32" y="20"/>
                      <a:pt x="32" y="19"/>
                      <a:pt x="32" y="18"/>
                    </a:cubicBezTo>
                    <a:close/>
                  </a:path>
                </a:pathLst>
              </a:custGeom>
              <a:noFill/>
              <a:ln w="3175" cap="flat">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grpSp>
        <p:grpSp>
          <p:nvGrpSpPr>
            <p:cNvPr id="25" name="Group 24">
              <a:extLst>
                <a:ext uri="{FF2B5EF4-FFF2-40B4-BE49-F238E27FC236}">
                  <a16:creationId xmlns:a16="http://schemas.microsoft.com/office/drawing/2014/main" id="{970977EA-79AA-5B8A-0B69-6C3C4778B0D1}"/>
                </a:ext>
              </a:extLst>
            </p:cNvPr>
            <p:cNvGrpSpPr/>
            <p:nvPr/>
          </p:nvGrpSpPr>
          <p:grpSpPr>
            <a:xfrm>
              <a:off x="7909381" y="1947220"/>
              <a:ext cx="123545" cy="123003"/>
              <a:chOff x="3390900" y="723900"/>
              <a:chExt cx="361951" cy="360363"/>
            </a:xfrm>
            <a:solidFill>
              <a:schemeClr val="bg1"/>
            </a:solidFill>
          </p:grpSpPr>
          <p:sp>
            <p:nvSpPr>
              <p:cNvPr id="61" name="Freeform 1735">
                <a:extLst>
                  <a:ext uri="{FF2B5EF4-FFF2-40B4-BE49-F238E27FC236}">
                    <a16:creationId xmlns:a16="http://schemas.microsoft.com/office/drawing/2014/main" id="{2B4D16E7-FC72-BF5A-43E7-8E69033F62B3}"/>
                  </a:ext>
                </a:extLst>
              </p:cNvPr>
              <p:cNvSpPr>
                <a:spLocks noEditPoints="1"/>
              </p:cNvSpPr>
              <p:nvPr/>
            </p:nvSpPr>
            <p:spPr bwMode="auto">
              <a:xfrm>
                <a:off x="3497263" y="993775"/>
                <a:ext cx="134938" cy="90488"/>
              </a:xfrm>
              <a:custGeom>
                <a:avLst/>
                <a:gdLst>
                  <a:gd name="T0" fmla="*/ 34 w 36"/>
                  <a:gd name="T1" fmla="*/ 24 h 24"/>
                  <a:gd name="T2" fmla="*/ 2 w 36"/>
                  <a:gd name="T3" fmla="*/ 24 h 24"/>
                  <a:gd name="T4" fmla="*/ 0 w 36"/>
                  <a:gd name="T5" fmla="*/ 23 h 24"/>
                  <a:gd name="T6" fmla="*/ 0 w 36"/>
                  <a:gd name="T7" fmla="*/ 21 h 24"/>
                  <a:gd name="T8" fmla="*/ 16 w 36"/>
                  <a:gd name="T9" fmla="*/ 1 h 24"/>
                  <a:gd name="T10" fmla="*/ 20 w 36"/>
                  <a:gd name="T11" fmla="*/ 1 h 24"/>
                  <a:gd name="T12" fmla="*/ 36 w 36"/>
                  <a:gd name="T13" fmla="*/ 21 h 24"/>
                  <a:gd name="T14" fmla="*/ 36 w 36"/>
                  <a:gd name="T15" fmla="*/ 23 h 24"/>
                  <a:gd name="T16" fmla="*/ 34 w 36"/>
                  <a:gd name="T17" fmla="*/ 24 h 24"/>
                  <a:gd name="T18" fmla="*/ 6 w 36"/>
                  <a:gd name="T19" fmla="*/ 20 h 24"/>
                  <a:gd name="T20" fmla="*/ 30 w 36"/>
                  <a:gd name="T21" fmla="*/ 20 h 24"/>
                  <a:gd name="T22" fmla="*/ 18 w 36"/>
                  <a:gd name="T23" fmla="*/ 5 h 24"/>
                  <a:gd name="T24" fmla="*/ 6 w 36"/>
                  <a:gd name="T25"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24">
                    <a:moveTo>
                      <a:pt x="34" y="24"/>
                    </a:moveTo>
                    <a:cubicBezTo>
                      <a:pt x="2" y="24"/>
                      <a:pt x="2" y="24"/>
                      <a:pt x="2" y="24"/>
                    </a:cubicBezTo>
                    <a:cubicBezTo>
                      <a:pt x="1" y="24"/>
                      <a:pt x="1" y="24"/>
                      <a:pt x="0" y="23"/>
                    </a:cubicBezTo>
                    <a:cubicBezTo>
                      <a:pt x="0" y="22"/>
                      <a:pt x="0" y="21"/>
                      <a:pt x="0" y="21"/>
                    </a:cubicBezTo>
                    <a:cubicBezTo>
                      <a:pt x="16" y="1"/>
                      <a:pt x="16" y="1"/>
                      <a:pt x="16" y="1"/>
                    </a:cubicBezTo>
                    <a:cubicBezTo>
                      <a:pt x="17" y="0"/>
                      <a:pt x="19" y="0"/>
                      <a:pt x="20" y="1"/>
                    </a:cubicBezTo>
                    <a:cubicBezTo>
                      <a:pt x="36" y="21"/>
                      <a:pt x="36" y="21"/>
                      <a:pt x="36" y="21"/>
                    </a:cubicBezTo>
                    <a:cubicBezTo>
                      <a:pt x="36" y="21"/>
                      <a:pt x="36" y="22"/>
                      <a:pt x="36" y="23"/>
                    </a:cubicBezTo>
                    <a:cubicBezTo>
                      <a:pt x="35" y="24"/>
                      <a:pt x="35" y="24"/>
                      <a:pt x="34" y="24"/>
                    </a:cubicBezTo>
                    <a:close/>
                    <a:moveTo>
                      <a:pt x="6" y="20"/>
                    </a:moveTo>
                    <a:cubicBezTo>
                      <a:pt x="30" y="20"/>
                      <a:pt x="30" y="20"/>
                      <a:pt x="30" y="20"/>
                    </a:cubicBezTo>
                    <a:cubicBezTo>
                      <a:pt x="18" y="5"/>
                      <a:pt x="18" y="5"/>
                      <a:pt x="18" y="5"/>
                    </a:cubicBezTo>
                    <a:lnTo>
                      <a:pt x="6" y="2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62" name="Freeform 1736">
                <a:extLst>
                  <a:ext uri="{FF2B5EF4-FFF2-40B4-BE49-F238E27FC236}">
                    <a16:creationId xmlns:a16="http://schemas.microsoft.com/office/drawing/2014/main" id="{B2E1839C-8862-CA8C-CA9F-9BD74386BC8F}"/>
                  </a:ext>
                </a:extLst>
              </p:cNvPr>
              <p:cNvSpPr>
                <a:spLocks/>
              </p:cNvSpPr>
              <p:nvPr/>
            </p:nvSpPr>
            <p:spPr bwMode="auto">
              <a:xfrm>
                <a:off x="3390900" y="993775"/>
                <a:ext cx="361950" cy="15875"/>
              </a:xfrm>
              <a:custGeom>
                <a:avLst/>
                <a:gdLst>
                  <a:gd name="T0" fmla="*/ 94 w 96"/>
                  <a:gd name="T1" fmla="*/ 4 h 4"/>
                  <a:gd name="T2" fmla="*/ 2 w 96"/>
                  <a:gd name="T3" fmla="*/ 4 h 4"/>
                  <a:gd name="T4" fmla="*/ 0 w 96"/>
                  <a:gd name="T5" fmla="*/ 2 h 4"/>
                  <a:gd name="T6" fmla="*/ 2 w 96"/>
                  <a:gd name="T7" fmla="*/ 0 h 4"/>
                  <a:gd name="T8" fmla="*/ 94 w 96"/>
                  <a:gd name="T9" fmla="*/ 0 h 4"/>
                  <a:gd name="T10" fmla="*/ 96 w 96"/>
                  <a:gd name="T11" fmla="*/ 2 h 4"/>
                  <a:gd name="T12" fmla="*/ 94 w 9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6" h="4">
                    <a:moveTo>
                      <a:pt x="94" y="4"/>
                    </a:moveTo>
                    <a:cubicBezTo>
                      <a:pt x="2" y="4"/>
                      <a:pt x="2" y="4"/>
                      <a:pt x="2" y="4"/>
                    </a:cubicBezTo>
                    <a:cubicBezTo>
                      <a:pt x="1" y="4"/>
                      <a:pt x="0" y="3"/>
                      <a:pt x="0" y="2"/>
                    </a:cubicBezTo>
                    <a:cubicBezTo>
                      <a:pt x="0" y="1"/>
                      <a:pt x="1" y="0"/>
                      <a:pt x="2" y="0"/>
                    </a:cubicBezTo>
                    <a:cubicBezTo>
                      <a:pt x="94" y="0"/>
                      <a:pt x="94" y="0"/>
                      <a:pt x="94" y="0"/>
                    </a:cubicBezTo>
                    <a:cubicBezTo>
                      <a:pt x="95" y="0"/>
                      <a:pt x="96" y="1"/>
                      <a:pt x="96" y="2"/>
                    </a:cubicBezTo>
                    <a:cubicBezTo>
                      <a:pt x="96" y="3"/>
                      <a:pt x="95" y="4"/>
                      <a:pt x="94"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63" name="Freeform 1737">
                <a:extLst>
                  <a:ext uri="{FF2B5EF4-FFF2-40B4-BE49-F238E27FC236}">
                    <a16:creationId xmlns:a16="http://schemas.microsoft.com/office/drawing/2014/main" id="{FF604BE1-1DD8-479D-7D9E-5E9640D1C0CA}"/>
                  </a:ext>
                </a:extLst>
              </p:cNvPr>
              <p:cNvSpPr>
                <a:spLocks noEditPoints="1"/>
              </p:cNvSpPr>
              <p:nvPr/>
            </p:nvSpPr>
            <p:spPr bwMode="auto">
              <a:xfrm>
                <a:off x="3586163" y="798513"/>
                <a:ext cx="166688" cy="166688"/>
              </a:xfrm>
              <a:custGeom>
                <a:avLst/>
                <a:gdLst>
                  <a:gd name="T0" fmla="*/ 22 w 44"/>
                  <a:gd name="T1" fmla="*/ 44 h 44"/>
                  <a:gd name="T2" fmla="*/ 0 w 44"/>
                  <a:gd name="T3" fmla="*/ 22 h 44"/>
                  <a:gd name="T4" fmla="*/ 22 w 44"/>
                  <a:gd name="T5" fmla="*/ 0 h 44"/>
                  <a:gd name="T6" fmla="*/ 44 w 44"/>
                  <a:gd name="T7" fmla="*/ 22 h 44"/>
                  <a:gd name="T8" fmla="*/ 22 w 44"/>
                  <a:gd name="T9" fmla="*/ 44 h 44"/>
                  <a:gd name="T10" fmla="*/ 22 w 44"/>
                  <a:gd name="T11" fmla="*/ 4 h 44"/>
                  <a:gd name="T12" fmla="*/ 4 w 44"/>
                  <a:gd name="T13" fmla="*/ 22 h 44"/>
                  <a:gd name="T14" fmla="*/ 22 w 44"/>
                  <a:gd name="T15" fmla="*/ 40 h 44"/>
                  <a:gd name="T16" fmla="*/ 40 w 44"/>
                  <a:gd name="T17" fmla="*/ 22 h 44"/>
                  <a:gd name="T18" fmla="*/ 22 w 44"/>
                  <a:gd name="T19" fmla="*/ 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 h="44">
                    <a:moveTo>
                      <a:pt x="22" y="44"/>
                    </a:moveTo>
                    <a:cubicBezTo>
                      <a:pt x="10" y="44"/>
                      <a:pt x="0" y="34"/>
                      <a:pt x="0" y="22"/>
                    </a:cubicBezTo>
                    <a:cubicBezTo>
                      <a:pt x="0" y="10"/>
                      <a:pt x="10" y="0"/>
                      <a:pt x="22" y="0"/>
                    </a:cubicBezTo>
                    <a:cubicBezTo>
                      <a:pt x="34" y="0"/>
                      <a:pt x="44" y="10"/>
                      <a:pt x="44" y="22"/>
                    </a:cubicBezTo>
                    <a:cubicBezTo>
                      <a:pt x="44" y="34"/>
                      <a:pt x="34" y="44"/>
                      <a:pt x="22" y="44"/>
                    </a:cubicBezTo>
                    <a:close/>
                    <a:moveTo>
                      <a:pt x="22" y="4"/>
                    </a:moveTo>
                    <a:cubicBezTo>
                      <a:pt x="12" y="4"/>
                      <a:pt x="4" y="12"/>
                      <a:pt x="4" y="22"/>
                    </a:cubicBezTo>
                    <a:cubicBezTo>
                      <a:pt x="4" y="32"/>
                      <a:pt x="12" y="40"/>
                      <a:pt x="22" y="40"/>
                    </a:cubicBezTo>
                    <a:cubicBezTo>
                      <a:pt x="32" y="40"/>
                      <a:pt x="40" y="32"/>
                      <a:pt x="40" y="22"/>
                    </a:cubicBezTo>
                    <a:cubicBezTo>
                      <a:pt x="40" y="12"/>
                      <a:pt x="32" y="4"/>
                      <a:pt x="22"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65" name="Freeform 1739">
                <a:extLst>
                  <a:ext uri="{FF2B5EF4-FFF2-40B4-BE49-F238E27FC236}">
                    <a16:creationId xmlns:a16="http://schemas.microsoft.com/office/drawing/2014/main" id="{E4E537F6-17B6-A11F-5D03-9A9979B23E8C}"/>
                  </a:ext>
                </a:extLst>
              </p:cNvPr>
              <p:cNvSpPr>
                <a:spLocks/>
              </p:cNvSpPr>
              <p:nvPr/>
            </p:nvSpPr>
            <p:spPr bwMode="auto">
              <a:xfrm>
                <a:off x="3662363" y="908050"/>
                <a:ext cx="14288" cy="26988"/>
              </a:xfrm>
              <a:custGeom>
                <a:avLst/>
                <a:gdLst>
                  <a:gd name="T0" fmla="*/ 2 w 4"/>
                  <a:gd name="T1" fmla="*/ 7 h 7"/>
                  <a:gd name="T2" fmla="*/ 0 w 4"/>
                  <a:gd name="T3" fmla="*/ 5 h 7"/>
                  <a:gd name="T4" fmla="*/ 0 w 4"/>
                  <a:gd name="T5" fmla="*/ 2 h 7"/>
                  <a:gd name="T6" fmla="*/ 2 w 4"/>
                  <a:gd name="T7" fmla="*/ 0 h 7"/>
                  <a:gd name="T8" fmla="*/ 4 w 4"/>
                  <a:gd name="T9" fmla="*/ 2 h 7"/>
                  <a:gd name="T10" fmla="*/ 4 w 4"/>
                  <a:gd name="T11" fmla="*/ 5 h 7"/>
                  <a:gd name="T12" fmla="*/ 2 w 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2" y="7"/>
                    </a:moveTo>
                    <a:cubicBezTo>
                      <a:pt x="1" y="7"/>
                      <a:pt x="0" y="6"/>
                      <a:pt x="0" y="5"/>
                    </a:cubicBezTo>
                    <a:cubicBezTo>
                      <a:pt x="0" y="2"/>
                      <a:pt x="0" y="2"/>
                      <a:pt x="0" y="2"/>
                    </a:cubicBezTo>
                    <a:cubicBezTo>
                      <a:pt x="0" y="1"/>
                      <a:pt x="1" y="0"/>
                      <a:pt x="2" y="0"/>
                    </a:cubicBezTo>
                    <a:cubicBezTo>
                      <a:pt x="3" y="0"/>
                      <a:pt x="4" y="1"/>
                      <a:pt x="4" y="2"/>
                    </a:cubicBezTo>
                    <a:cubicBezTo>
                      <a:pt x="4" y="5"/>
                      <a:pt x="4" y="5"/>
                      <a:pt x="4" y="5"/>
                    </a:cubicBezTo>
                    <a:cubicBezTo>
                      <a:pt x="4" y="6"/>
                      <a:pt x="3" y="7"/>
                      <a:pt x="2"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66" name="Freeform 1740">
                <a:extLst>
                  <a:ext uri="{FF2B5EF4-FFF2-40B4-BE49-F238E27FC236}">
                    <a16:creationId xmlns:a16="http://schemas.microsoft.com/office/drawing/2014/main" id="{49C330E0-AB14-098F-A0A2-BDB9DA611292}"/>
                  </a:ext>
                </a:extLst>
              </p:cNvPr>
              <p:cNvSpPr>
                <a:spLocks/>
              </p:cNvSpPr>
              <p:nvPr/>
            </p:nvSpPr>
            <p:spPr bwMode="auto">
              <a:xfrm>
                <a:off x="3662363" y="828678"/>
                <a:ext cx="14287" cy="26988"/>
              </a:xfrm>
              <a:custGeom>
                <a:avLst/>
                <a:gdLst>
                  <a:gd name="T0" fmla="*/ 2 w 4"/>
                  <a:gd name="T1" fmla="*/ 7 h 7"/>
                  <a:gd name="T2" fmla="*/ 0 w 4"/>
                  <a:gd name="T3" fmla="*/ 5 h 7"/>
                  <a:gd name="T4" fmla="*/ 0 w 4"/>
                  <a:gd name="T5" fmla="*/ 2 h 7"/>
                  <a:gd name="T6" fmla="*/ 2 w 4"/>
                  <a:gd name="T7" fmla="*/ 0 h 7"/>
                  <a:gd name="T8" fmla="*/ 4 w 4"/>
                  <a:gd name="T9" fmla="*/ 2 h 7"/>
                  <a:gd name="T10" fmla="*/ 4 w 4"/>
                  <a:gd name="T11" fmla="*/ 5 h 7"/>
                  <a:gd name="T12" fmla="*/ 2 w 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2" y="7"/>
                    </a:moveTo>
                    <a:cubicBezTo>
                      <a:pt x="1" y="7"/>
                      <a:pt x="0" y="6"/>
                      <a:pt x="0" y="5"/>
                    </a:cubicBezTo>
                    <a:cubicBezTo>
                      <a:pt x="0" y="2"/>
                      <a:pt x="0" y="2"/>
                      <a:pt x="0" y="2"/>
                    </a:cubicBezTo>
                    <a:cubicBezTo>
                      <a:pt x="0" y="1"/>
                      <a:pt x="1" y="0"/>
                      <a:pt x="2" y="0"/>
                    </a:cubicBezTo>
                    <a:cubicBezTo>
                      <a:pt x="3" y="0"/>
                      <a:pt x="4" y="1"/>
                      <a:pt x="4" y="2"/>
                    </a:cubicBezTo>
                    <a:cubicBezTo>
                      <a:pt x="4" y="5"/>
                      <a:pt x="4" y="5"/>
                      <a:pt x="4" y="5"/>
                    </a:cubicBezTo>
                    <a:cubicBezTo>
                      <a:pt x="4" y="6"/>
                      <a:pt x="3" y="7"/>
                      <a:pt x="2" y="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67" name="Freeform 1741">
                <a:extLst>
                  <a:ext uri="{FF2B5EF4-FFF2-40B4-BE49-F238E27FC236}">
                    <a16:creationId xmlns:a16="http://schemas.microsoft.com/office/drawing/2014/main" id="{44A70712-7281-E2A4-E28E-5643A2D0FE2F}"/>
                  </a:ext>
                </a:extLst>
              </p:cNvPr>
              <p:cNvSpPr>
                <a:spLocks noEditPoints="1"/>
              </p:cNvSpPr>
              <p:nvPr/>
            </p:nvSpPr>
            <p:spPr bwMode="auto">
              <a:xfrm>
                <a:off x="3414713" y="723900"/>
                <a:ext cx="104775" cy="104775"/>
              </a:xfrm>
              <a:custGeom>
                <a:avLst/>
                <a:gdLst>
                  <a:gd name="T0" fmla="*/ 14 w 28"/>
                  <a:gd name="T1" fmla="*/ 28 h 28"/>
                  <a:gd name="T2" fmla="*/ 0 w 28"/>
                  <a:gd name="T3" fmla="*/ 14 h 28"/>
                  <a:gd name="T4" fmla="*/ 14 w 28"/>
                  <a:gd name="T5" fmla="*/ 0 h 28"/>
                  <a:gd name="T6" fmla="*/ 28 w 28"/>
                  <a:gd name="T7" fmla="*/ 14 h 28"/>
                  <a:gd name="T8" fmla="*/ 14 w 28"/>
                  <a:gd name="T9" fmla="*/ 28 h 28"/>
                  <a:gd name="T10" fmla="*/ 14 w 28"/>
                  <a:gd name="T11" fmla="*/ 4 h 28"/>
                  <a:gd name="T12" fmla="*/ 4 w 28"/>
                  <a:gd name="T13" fmla="*/ 14 h 28"/>
                  <a:gd name="T14" fmla="*/ 14 w 28"/>
                  <a:gd name="T15" fmla="*/ 24 h 28"/>
                  <a:gd name="T16" fmla="*/ 24 w 28"/>
                  <a:gd name="T17" fmla="*/ 14 h 28"/>
                  <a:gd name="T18" fmla="*/ 14 w 28"/>
                  <a:gd name="T19" fmla="*/ 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28">
                    <a:moveTo>
                      <a:pt x="14" y="28"/>
                    </a:moveTo>
                    <a:cubicBezTo>
                      <a:pt x="6" y="28"/>
                      <a:pt x="0" y="22"/>
                      <a:pt x="0" y="14"/>
                    </a:cubicBezTo>
                    <a:cubicBezTo>
                      <a:pt x="0" y="6"/>
                      <a:pt x="6" y="0"/>
                      <a:pt x="14" y="0"/>
                    </a:cubicBezTo>
                    <a:cubicBezTo>
                      <a:pt x="22" y="0"/>
                      <a:pt x="28" y="6"/>
                      <a:pt x="28" y="14"/>
                    </a:cubicBezTo>
                    <a:cubicBezTo>
                      <a:pt x="28" y="22"/>
                      <a:pt x="22" y="28"/>
                      <a:pt x="14" y="28"/>
                    </a:cubicBezTo>
                    <a:close/>
                    <a:moveTo>
                      <a:pt x="14" y="4"/>
                    </a:moveTo>
                    <a:cubicBezTo>
                      <a:pt x="8" y="4"/>
                      <a:pt x="4" y="8"/>
                      <a:pt x="4" y="14"/>
                    </a:cubicBezTo>
                    <a:cubicBezTo>
                      <a:pt x="4" y="20"/>
                      <a:pt x="8" y="24"/>
                      <a:pt x="14" y="24"/>
                    </a:cubicBezTo>
                    <a:cubicBezTo>
                      <a:pt x="20" y="24"/>
                      <a:pt x="24" y="20"/>
                      <a:pt x="24" y="14"/>
                    </a:cubicBezTo>
                    <a:cubicBezTo>
                      <a:pt x="24" y="8"/>
                      <a:pt x="20" y="4"/>
                      <a:pt x="14" y="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68" name="Freeform 1742">
                <a:extLst>
                  <a:ext uri="{FF2B5EF4-FFF2-40B4-BE49-F238E27FC236}">
                    <a16:creationId xmlns:a16="http://schemas.microsoft.com/office/drawing/2014/main" id="{2AF8171A-8B6F-2A81-8227-95BAC710B062}"/>
                  </a:ext>
                </a:extLst>
              </p:cNvPr>
              <p:cNvSpPr>
                <a:spLocks noEditPoints="1"/>
              </p:cNvSpPr>
              <p:nvPr/>
            </p:nvSpPr>
            <p:spPr bwMode="auto">
              <a:xfrm>
                <a:off x="3390900" y="844550"/>
                <a:ext cx="150813" cy="165100"/>
              </a:xfrm>
              <a:custGeom>
                <a:avLst/>
                <a:gdLst>
                  <a:gd name="T0" fmla="*/ 26 w 40"/>
                  <a:gd name="T1" fmla="*/ 44 h 44"/>
                  <a:gd name="T2" fmla="*/ 14 w 40"/>
                  <a:gd name="T3" fmla="*/ 44 h 44"/>
                  <a:gd name="T4" fmla="*/ 12 w 40"/>
                  <a:gd name="T5" fmla="*/ 42 h 44"/>
                  <a:gd name="T6" fmla="*/ 12 w 40"/>
                  <a:gd name="T7" fmla="*/ 26 h 44"/>
                  <a:gd name="T8" fmla="*/ 0 w 40"/>
                  <a:gd name="T9" fmla="*/ 2 h 44"/>
                  <a:gd name="T10" fmla="*/ 2 w 40"/>
                  <a:gd name="T11" fmla="*/ 0 h 44"/>
                  <a:gd name="T12" fmla="*/ 38 w 40"/>
                  <a:gd name="T13" fmla="*/ 0 h 44"/>
                  <a:gd name="T14" fmla="*/ 40 w 40"/>
                  <a:gd name="T15" fmla="*/ 2 h 44"/>
                  <a:gd name="T16" fmla="*/ 28 w 40"/>
                  <a:gd name="T17" fmla="*/ 26 h 44"/>
                  <a:gd name="T18" fmla="*/ 28 w 40"/>
                  <a:gd name="T19" fmla="*/ 42 h 44"/>
                  <a:gd name="T20" fmla="*/ 26 w 40"/>
                  <a:gd name="T21" fmla="*/ 44 h 44"/>
                  <a:gd name="T22" fmla="*/ 16 w 40"/>
                  <a:gd name="T23" fmla="*/ 40 h 44"/>
                  <a:gd name="T24" fmla="*/ 24 w 40"/>
                  <a:gd name="T25" fmla="*/ 40 h 44"/>
                  <a:gd name="T26" fmla="*/ 24 w 40"/>
                  <a:gd name="T27" fmla="*/ 25 h 44"/>
                  <a:gd name="T28" fmla="*/ 25 w 40"/>
                  <a:gd name="T29" fmla="*/ 23 h 44"/>
                  <a:gd name="T30" fmla="*/ 36 w 40"/>
                  <a:gd name="T31" fmla="*/ 4 h 44"/>
                  <a:gd name="T32" fmla="*/ 4 w 40"/>
                  <a:gd name="T33" fmla="*/ 4 h 44"/>
                  <a:gd name="T34" fmla="*/ 15 w 40"/>
                  <a:gd name="T35" fmla="*/ 23 h 44"/>
                  <a:gd name="T36" fmla="*/ 16 w 40"/>
                  <a:gd name="T37" fmla="*/ 25 h 44"/>
                  <a:gd name="T38" fmla="*/ 16 w 40"/>
                  <a:gd name="T39"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 h="44">
                    <a:moveTo>
                      <a:pt x="26" y="44"/>
                    </a:moveTo>
                    <a:cubicBezTo>
                      <a:pt x="14" y="44"/>
                      <a:pt x="14" y="44"/>
                      <a:pt x="14" y="44"/>
                    </a:cubicBezTo>
                    <a:cubicBezTo>
                      <a:pt x="13" y="44"/>
                      <a:pt x="12" y="43"/>
                      <a:pt x="12" y="42"/>
                    </a:cubicBezTo>
                    <a:cubicBezTo>
                      <a:pt x="12" y="26"/>
                      <a:pt x="12" y="26"/>
                      <a:pt x="12" y="26"/>
                    </a:cubicBezTo>
                    <a:cubicBezTo>
                      <a:pt x="4" y="22"/>
                      <a:pt x="0" y="11"/>
                      <a:pt x="0" y="2"/>
                    </a:cubicBezTo>
                    <a:cubicBezTo>
                      <a:pt x="0" y="1"/>
                      <a:pt x="1" y="0"/>
                      <a:pt x="2" y="0"/>
                    </a:cubicBezTo>
                    <a:cubicBezTo>
                      <a:pt x="38" y="0"/>
                      <a:pt x="38" y="0"/>
                      <a:pt x="38" y="0"/>
                    </a:cubicBezTo>
                    <a:cubicBezTo>
                      <a:pt x="39" y="0"/>
                      <a:pt x="40" y="1"/>
                      <a:pt x="40" y="2"/>
                    </a:cubicBezTo>
                    <a:cubicBezTo>
                      <a:pt x="40" y="11"/>
                      <a:pt x="36" y="22"/>
                      <a:pt x="28" y="26"/>
                    </a:cubicBezTo>
                    <a:cubicBezTo>
                      <a:pt x="28" y="42"/>
                      <a:pt x="28" y="42"/>
                      <a:pt x="28" y="42"/>
                    </a:cubicBezTo>
                    <a:cubicBezTo>
                      <a:pt x="28" y="43"/>
                      <a:pt x="27" y="44"/>
                      <a:pt x="26" y="44"/>
                    </a:cubicBezTo>
                    <a:close/>
                    <a:moveTo>
                      <a:pt x="16" y="40"/>
                    </a:moveTo>
                    <a:cubicBezTo>
                      <a:pt x="24" y="40"/>
                      <a:pt x="24" y="40"/>
                      <a:pt x="24" y="40"/>
                    </a:cubicBezTo>
                    <a:cubicBezTo>
                      <a:pt x="24" y="25"/>
                      <a:pt x="24" y="25"/>
                      <a:pt x="24" y="25"/>
                    </a:cubicBezTo>
                    <a:cubicBezTo>
                      <a:pt x="24" y="24"/>
                      <a:pt x="25" y="23"/>
                      <a:pt x="25" y="23"/>
                    </a:cubicBezTo>
                    <a:cubicBezTo>
                      <a:pt x="31" y="21"/>
                      <a:pt x="35" y="12"/>
                      <a:pt x="36" y="4"/>
                    </a:cubicBezTo>
                    <a:cubicBezTo>
                      <a:pt x="4" y="4"/>
                      <a:pt x="4" y="4"/>
                      <a:pt x="4" y="4"/>
                    </a:cubicBezTo>
                    <a:cubicBezTo>
                      <a:pt x="5" y="12"/>
                      <a:pt x="9" y="21"/>
                      <a:pt x="15" y="23"/>
                    </a:cubicBezTo>
                    <a:cubicBezTo>
                      <a:pt x="15" y="23"/>
                      <a:pt x="16" y="24"/>
                      <a:pt x="16" y="25"/>
                    </a:cubicBezTo>
                    <a:lnTo>
                      <a:pt x="16" y="4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grpSp>
        <p:grpSp>
          <p:nvGrpSpPr>
            <p:cNvPr id="26" name="Group 25">
              <a:extLst>
                <a:ext uri="{FF2B5EF4-FFF2-40B4-BE49-F238E27FC236}">
                  <a16:creationId xmlns:a16="http://schemas.microsoft.com/office/drawing/2014/main" id="{19F737FA-B092-8236-EFF8-F40B83D61B89}"/>
                </a:ext>
              </a:extLst>
            </p:cNvPr>
            <p:cNvGrpSpPr/>
            <p:nvPr/>
          </p:nvGrpSpPr>
          <p:grpSpPr>
            <a:xfrm>
              <a:off x="7913453" y="2682132"/>
              <a:ext cx="119473" cy="79999"/>
              <a:chOff x="8440738" y="3729038"/>
              <a:chExt cx="360363" cy="241300"/>
            </a:xfrm>
            <a:solidFill>
              <a:schemeClr val="bg1"/>
            </a:solidFill>
          </p:grpSpPr>
          <p:sp>
            <p:nvSpPr>
              <p:cNvPr id="56" name="Freeform 1204">
                <a:extLst>
                  <a:ext uri="{FF2B5EF4-FFF2-40B4-BE49-F238E27FC236}">
                    <a16:creationId xmlns:a16="http://schemas.microsoft.com/office/drawing/2014/main" id="{A8225227-8933-58DD-C65D-E6A9456CF13D}"/>
                  </a:ext>
                </a:extLst>
              </p:cNvPr>
              <p:cNvSpPr>
                <a:spLocks/>
              </p:cNvSpPr>
              <p:nvPr/>
            </p:nvSpPr>
            <p:spPr bwMode="auto">
              <a:xfrm>
                <a:off x="8440738" y="3954463"/>
                <a:ext cx="360363" cy="15875"/>
              </a:xfrm>
              <a:custGeom>
                <a:avLst/>
                <a:gdLst>
                  <a:gd name="T0" fmla="*/ 94 w 96"/>
                  <a:gd name="T1" fmla="*/ 4 h 4"/>
                  <a:gd name="T2" fmla="*/ 2 w 96"/>
                  <a:gd name="T3" fmla="*/ 4 h 4"/>
                  <a:gd name="T4" fmla="*/ 0 w 96"/>
                  <a:gd name="T5" fmla="*/ 2 h 4"/>
                  <a:gd name="T6" fmla="*/ 2 w 96"/>
                  <a:gd name="T7" fmla="*/ 0 h 4"/>
                  <a:gd name="T8" fmla="*/ 94 w 96"/>
                  <a:gd name="T9" fmla="*/ 0 h 4"/>
                  <a:gd name="T10" fmla="*/ 96 w 96"/>
                  <a:gd name="T11" fmla="*/ 2 h 4"/>
                  <a:gd name="T12" fmla="*/ 94 w 96"/>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96" h="4">
                    <a:moveTo>
                      <a:pt x="94" y="4"/>
                    </a:moveTo>
                    <a:cubicBezTo>
                      <a:pt x="2" y="4"/>
                      <a:pt x="2" y="4"/>
                      <a:pt x="2" y="4"/>
                    </a:cubicBezTo>
                    <a:cubicBezTo>
                      <a:pt x="1" y="4"/>
                      <a:pt x="0" y="3"/>
                      <a:pt x="0" y="2"/>
                    </a:cubicBezTo>
                    <a:cubicBezTo>
                      <a:pt x="0" y="1"/>
                      <a:pt x="1" y="0"/>
                      <a:pt x="2" y="0"/>
                    </a:cubicBezTo>
                    <a:cubicBezTo>
                      <a:pt x="94" y="0"/>
                      <a:pt x="94" y="0"/>
                      <a:pt x="94" y="0"/>
                    </a:cubicBezTo>
                    <a:cubicBezTo>
                      <a:pt x="95" y="0"/>
                      <a:pt x="96" y="1"/>
                      <a:pt x="96" y="2"/>
                    </a:cubicBezTo>
                    <a:cubicBezTo>
                      <a:pt x="96" y="3"/>
                      <a:pt x="95" y="4"/>
                      <a:pt x="9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57" name="Freeform 1205">
                <a:extLst>
                  <a:ext uri="{FF2B5EF4-FFF2-40B4-BE49-F238E27FC236}">
                    <a16:creationId xmlns:a16="http://schemas.microsoft.com/office/drawing/2014/main" id="{19A4209F-1344-0C16-1128-23A03A5D8D13}"/>
                  </a:ext>
                </a:extLst>
              </p:cNvPr>
              <p:cNvSpPr>
                <a:spLocks noEditPoints="1"/>
              </p:cNvSpPr>
              <p:nvPr/>
            </p:nvSpPr>
            <p:spPr bwMode="auto">
              <a:xfrm>
                <a:off x="8455025" y="3879850"/>
                <a:ext cx="60325" cy="90488"/>
              </a:xfrm>
              <a:custGeom>
                <a:avLst/>
                <a:gdLst>
                  <a:gd name="T0" fmla="*/ 14 w 16"/>
                  <a:gd name="T1" fmla="*/ 24 h 24"/>
                  <a:gd name="T2" fmla="*/ 2 w 16"/>
                  <a:gd name="T3" fmla="*/ 24 h 24"/>
                  <a:gd name="T4" fmla="*/ 0 w 16"/>
                  <a:gd name="T5" fmla="*/ 22 h 24"/>
                  <a:gd name="T6" fmla="*/ 0 w 16"/>
                  <a:gd name="T7" fmla="*/ 2 h 24"/>
                  <a:gd name="T8" fmla="*/ 2 w 16"/>
                  <a:gd name="T9" fmla="*/ 0 h 24"/>
                  <a:gd name="T10" fmla="*/ 14 w 16"/>
                  <a:gd name="T11" fmla="*/ 0 h 24"/>
                  <a:gd name="T12" fmla="*/ 16 w 16"/>
                  <a:gd name="T13" fmla="*/ 2 h 24"/>
                  <a:gd name="T14" fmla="*/ 16 w 16"/>
                  <a:gd name="T15" fmla="*/ 22 h 24"/>
                  <a:gd name="T16" fmla="*/ 14 w 16"/>
                  <a:gd name="T17" fmla="*/ 24 h 24"/>
                  <a:gd name="T18" fmla="*/ 4 w 16"/>
                  <a:gd name="T19" fmla="*/ 20 h 24"/>
                  <a:gd name="T20" fmla="*/ 12 w 16"/>
                  <a:gd name="T21" fmla="*/ 20 h 24"/>
                  <a:gd name="T22" fmla="*/ 12 w 16"/>
                  <a:gd name="T23" fmla="*/ 4 h 24"/>
                  <a:gd name="T24" fmla="*/ 4 w 16"/>
                  <a:gd name="T25" fmla="*/ 4 h 24"/>
                  <a:gd name="T26" fmla="*/ 4 w 16"/>
                  <a:gd name="T27" fmla="*/ 2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24">
                    <a:moveTo>
                      <a:pt x="14" y="24"/>
                    </a:moveTo>
                    <a:cubicBezTo>
                      <a:pt x="2" y="24"/>
                      <a:pt x="2" y="24"/>
                      <a:pt x="2" y="24"/>
                    </a:cubicBezTo>
                    <a:cubicBezTo>
                      <a:pt x="1" y="24"/>
                      <a:pt x="0" y="23"/>
                      <a:pt x="0" y="22"/>
                    </a:cubicBezTo>
                    <a:cubicBezTo>
                      <a:pt x="0" y="2"/>
                      <a:pt x="0" y="2"/>
                      <a:pt x="0" y="2"/>
                    </a:cubicBezTo>
                    <a:cubicBezTo>
                      <a:pt x="0" y="1"/>
                      <a:pt x="1" y="0"/>
                      <a:pt x="2" y="0"/>
                    </a:cubicBezTo>
                    <a:cubicBezTo>
                      <a:pt x="14" y="0"/>
                      <a:pt x="14" y="0"/>
                      <a:pt x="14" y="0"/>
                    </a:cubicBezTo>
                    <a:cubicBezTo>
                      <a:pt x="15" y="0"/>
                      <a:pt x="16" y="1"/>
                      <a:pt x="16" y="2"/>
                    </a:cubicBezTo>
                    <a:cubicBezTo>
                      <a:pt x="16" y="22"/>
                      <a:pt x="16" y="22"/>
                      <a:pt x="16" y="22"/>
                    </a:cubicBezTo>
                    <a:cubicBezTo>
                      <a:pt x="16" y="23"/>
                      <a:pt x="15" y="24"/>
                      <a:pt x="14" y="24"/>
                    </a:cubicBezTo>
                    <a:close/>
                    <a:moveTo>
                      <a:pt x="4" y="20"/>
                    </a:moveTo>
                    <a:cubicBezTo>
                      <a:pt x="12" y="20"/>
                      <a:pt x="12" y="20"/>
                      <a:pt x="12" y="20"/>
                    </a:cubicBezTo>
                    <a:cubicBezTo>
                      <a:pt x="12" y="4"/>
                      <a:pt x="12" y="4"/>
                      <a:pt x="12" y="4"/>
                    </a:cubicBezTo>
                    <a:cubicBezTo>
                      <a:pt x="4" y="4"/>
                      <a:pt x="4" y="4"/>
                      <a:pt x="4" y="4"/>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58" name="Freeform 1206">
                <a:extLst>
                  <a:ext uri="{FF2B5EF4-FFF2-40B4-BE49-F238E27FC236}">
                    <a16:creationId xmlns:a16="http://schemas.microsoft.com/office/drawing/2014/main" id="{F9D8059E-14B6-2FC1-8090-56FA40809562}"/>
                  </a:ext>
                </a:extLst>
              </p:cNvPr>
              <p:cNvSpPr>
                <a:spLocks noEditPoints="1"/>
              </p:cNvSpPr>
              <p:nvPr/>
            </p:nvSpPr>
            <p:spPr bwMode="auto">
              <a:xfrm>
                <a:off x="8545513" y="3805238"/>
                <a:ext cx="60325" cy="165100"/>
              </a:xfrm>
              <a:custGeom>
                <a:avLst/>
                <a:gdLst>
                  <a:gd name="T0" fmla="*/ 14 w 16"/>
                  <a:gd name="T1" fmla="*/ 44 h 44"/>
                  <a:gd name="T2" fmla="*/ 2 w 16"/>
                  <a:gd name="T3" fmla="*/ 44 h 44"/>
                  <a:gd name="T4" fmla="*/ 0 w 16"/>
                  <a:gd name="T5" fmla="*/ 42 h 44"/>
                  <a:gd name="T6" fmla="*/ 0 w 16"/>
                  <a:gd name="T7" fmla="*/ 2 h 44"/>
                  <a:gd name="T8" fmla="*/ 2 w 16"/>
                  <a:gd name="T9" fmla="*/ 0 h 44"/>
                  <a:gd name="T10" fmla="*/ 14 w 16"/>
                  <a:gd name="T11" fmla="*/ 0 h 44"/>
                  <a:gd name="T12" fmla="*/ 16 w 16"/>
                  <a:gd name="T13" fmla="*/ 2 h 44"/>
                  <a:gd name="T14" fmla="*/ 16 w 16"/>
                  <a:gd name="T15" fmla="*/ 42 h 44"/>
                  <a:gd name="T16" fmla="*/ 14 w 16"/>
                  <a:gd name="T17" fmla="*/ 44 h 44"/>
                  <a:gd name="T18" fmla="*/ 4 w 16"/>
                  <a:gd name="T19" fmla="*/ 40 h 44"/>
                  <a:gd name="T20" fmla="*/ 12 w 16"/>
                  <a:gd name="T21" fmla="*/ 40 h 44"/>
                  <a:gd name="T22" fmla="*/ 12 w 16"/>
                  <a:gd name="T23" fmla="*/ 4 h 44"/>
                  <a:gd name="T24" fmla="*/ 4 w 16"/>
                  <a:gd name="T25" fmla="*/ 4 h 44"/>
                  <a:gd name="T26" fmla="*/ 4 w 16"/>
                  <a:gd name="T27" fmla="*/ 4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44">
                    <a:moveTo>
                      <a:pt x="14" y="44"/>
                    </a:moveTo>
                    <a:cubicBezTo>
                      <a:pt x="2" y="44"/>
                      <a:pt x="2" y="44"/>
                      <a:pt x="2" y="44"/>
                    </a:cubicBezTo>
                    <a:cubicBezTo>
                      <a:pt x="1" y="44"/>
                      <a:pt x="0" y="43"/>
                      <a:pt x="0" y="42"/>
                    </a:cubicBezTo>
                    <a:cubicBezTo>
                      <a:pt x="0" y="2"/>
                      <a:pt x="0" y="2"/>
                      <a:pt x="0" y="2"/>
                    </a:cubicBezTo>
                    <a:cubicBezTo>
                      <a:pt x="0" y="1"/>
                      <a:pt x="1" y="0"/>
                      <a:pt x="2" y="0"/>
                    </a:cubicBezTo>
                    <a:cubicBezTo>
                      <a:pt x="14" y="0"/>
                      <a:pt x="14" y="0"/>
                      <a:pt x="14" y="0"/>
                    </a:cubicBezTo>
                    <a:cubicBezTo>
                      <a:pt x="15" y="0"/>
                      <a:pt x="16" y="1"/>
                      <a:pt x="16" y="2"/>
                    </a:cubicBezTo>
                    <a:cubicBezTo>
                      <a:pt x="16" y="42"/>
                      <a:pt x="16" y="42"/>
                      <a:pt x="16" y="42"/>
                    </a:cubicBezTo>
                    <a:cubicBezTo>
                      <a:pt x="16" y="43"/>
                      <a:pt x="15" y="44"/>
                      <a:pt x="14" y="44"/>
                    </a:cubicBezTo>
                    <a:close/>
                    <a:moveTo>
                      <a:pt x="4" y="40"/>
                    </a:moveTo>
                    <a:cubicBezTo>
                      <a:pt x="12" y="40"/>
                      <a:pt x="12" y="40"/>
                      <a:pt x="12" y="40"/>
                    </a:cubicBezTo>
                    <a:cubicBezTo>
                      <a:pt x="12" y="4"/>
                      <a:pt x="12" y="4"/>
                      <a:pt x="12" y="4"/>
                    </a:cubicBezTo>
                    <a:cubicBezTo>
                      <a:pt x="4" y="4"/>
                      <a:pt x="4" y="4"/>
                      <a:pt x="4" y="4"/>
                    </a:cubicBezTo>
                    <a:lnTo>
                      <a:pt x="4" y="4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59" name="Freeform 1207">
                <a:extLst>
                  <a:ext uri="{FF2B5EF4-FFF2-40B4-BE49-F238E27FC236}">
                    <a16:creationId xmlns:a16="http://schemas.microsoft.com/office/drawing/2014/main" id="{C5965315-3224-E574-BCFE-49F488362333}"/>
                  </a:ext>
                </a:extLst>
              </p:cNvPr>
              <p:cNvSpPr>
                <a:spLocks noEditPoints="1"/>
              </p:cNvSpPr>
              <p:nvPr/>
            </p:nvSpPr>
            <p:spPr bwMode="auto">
              <a:xfrm>
                <a:off x="8636000" y="3835400"/>
                <a:ext cx="60325" cy="134938"/>
              </a:xfrm>
              <a:custGeom>
                <a:avLst/>
                <a:gdLst>
                  <a:gd name="T0" fmla="*/ 14 w 16"/>
                  <a:gd name="T1" fmla="*/ 36 h 36"/>
                  <a:gd name="T2" fmla="*/ 2 w 16"/>
                  <a:gd name="T3" fmla="*/ 36 h 36"/>
                  <a:gd name="T4" fmla="*/ 0 w 16"/>
                  <a:gd name="T5" fmla="*/ 34 h 36"/>
                  <a:gd name="T6" fmla="*/ 0 w 16"/>
                  <a:gd name="T7" fmla="*/ 2 h 36"/>
                  <a:gd name="T8" fmla="*/ 2 w 16"/>
                  <a:gd name="T9" fmla="*/ 0 h 36"/>
                  <a:gd name="T10" fmla="*/ 14 w 16"/>
                  <a:gd name="T11" fmla="*/ 0 h 36"/>
                  <a:gd name="T12" fmla="*/ 16 w 16"/>
                  <a:gd name="T13" fmla="*/ 2 h 36"/>
                  <a:gd name="T14" fmla="*/ 16 w 16"/>
                  <a:gd name="T15" fmla="*/ 34 h 36"/>
                  <a:gd name="T16" fmla="*/ 14 w 16"/>
                  <a:gd name="T17" fmla="*/ 36 h 36"/>
                  <a:gd name="T18" fmla="*/ 4 w 16"/>
                  <a:gd name="T19" fmla="*/ 32 h 36"/>
                  <a:gd name="T20" fmla="*/ 12 w 16"/>
                  <a:gd name="T21" fmla="*/ 32 h 36"/>
                  <a:gd name="T22" fmla="*/ 12 w 16"/>
                  <a:gd name="T23" fmla="*/ 4 h 36"/>
                  <a:gd name="T24" fmla="*/ 4 w 16"/>
                  <a:gd name="T25" fmla="*/ 4 h 36"/>
                  <a:gd name="T26" fmla="*/ 4 w 16"/>
                  <a:gd name="T27" fmla="*/ 3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36">
                    <a:moveTo>
                      <a:pt x="14" y="36"/>
                    </a:moveTo>
                    <a:cubicBezTo>
                      <a:pt x="2" y="36"/>
                      <a:pt x="2" y="36"/>
                      <a:pt x="2" y="36"/>
                    </a:cubicBezTo>
                    <a:cubicBezTo>
                      <a:pt x="1" y="36"/>
                      <a:pt x="0" y="35"/>
                      <a:pt x="0" y="34"/>
                    </a:cubicBezTo>
                    <a:cubicBezTo>
                      <a:pt x="0" y="2"/>
                      <a:pt x="0" y="2"/>
                      <a:pt x="0" y="2"/>
                    </a:cubicBezTo>
                    <a:cubicBezTo>
                      <a:pt x="0" y="1"/>
                      <a:pt x="1" y="0"/>
                      <a:pt x="2" y="0"/>
                    </a:cubicBezTo>
                    <a:cubicBezTo>
                      <a:pt x="14" y="0"/>
                      <a:pt x="14" y="0"/>
                      <a:pt x="14" y="0"/>
                    </a:cubicBezTo>
                    <a:cubicBezTo>
                      <a:pt x="15" y="0"/>
                      <a:pt x="16" y="1"/>
                      <a:pt x="16" y="2"/>
                    </a:cubicBezTo>
                    <a:cubicBezTo>
                      <a:pt x="16" y="34"/>
                      <a:pt x="16" y="34"/>
                      <a:pt x="16" y="34"/>
                    </a:cubicBezTo>
                    <a:cubicBezTo>
                      <a:pt x="16" y="35"/>
                      <a:pt x="15" y="36"/>
                      <a:pt x="14" y="36"/>
                    </a:cubicBezTo>
                    <a:close/>
                    <a:moveTo>
                      <a:pt x="4" y="32"/>
                    </a:moveTo>
                    <a:cubicBezTo>
                      <a:pt x="12" y="32"/>
                      <a:pt x="12" y="32"/>
                      <a:pt x="12" y="32"/>
                    </a:cubicBezTo>
                    <a:cubicBezTo>
                      <a:pt x="12" y="4"/>
                      <a:pt x="12" y="4"/>
                      <a:pt x="12" y="4"/>
                    </a:cubicBezTo>
                    <a:cubicBezTo>
                      <a:pt x="4" y="4"/>
                      <a:pt x="4" y="4"/>
                      <a:pt x="4" y="4"/>
                    </a:cubicBezTo>
                    <a:lnTo>
                      <a:pt x="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60" name="Freeform 1208">
                <a:extLst>
                  <a:ext uri="{FF2B5EF4-FFF2-40B4-BE49-F238E27FC236}">
                    <a16:creationId xmlns:a16="http://schemas.microsoft.com/office/drawing/2014/main" id="{9C79BAB6-9018-AECD-CA68-C49CA9D683AB}"/>
                  </a:ext>
                </a:extLst>
              </p:cNvPr>
              <p:cNvSpPr>
                <a:spLocks noEditPoints="1"/>
              </p:cNvSpPr>
              <p:nvPr/>
            </p:nvSpPr>
            <p:spPr bwMode="auto">
              <a:xfrm>
                <a:off x="8724900" y="3729038"/>
                <a:ext cx="60325" cy="241300"/>
              </a:xfrm>
              <a:custGeom>
                <a:avLst/>
                <a:gdLst>
                  <a:gd name="T0" fmla="*/ 14 w 16"/>
                  <a:gd name="T1" fmla="*/ 64 h 64"/>
                  <a:gd name="T2" fmla="*/ 2 w 16"/>
                  <a:gd name="T3" fmla="*/ 64 h 64"/>
                  <a:gd name="T4" fmla="*/ 0 w 16"/>
                  <a:gd name="T5" fmla="*/ 62 h 64"/>
                  <a:gd name="T6" fmla="*/ 0 w 16"/>
                  <a:gd name="T7" fmla="*/ 2 h 64"/>
                  <a:gd name="T8" fmla="*/ 2 w 16"/>
                  <a:gd name="T9" fmla="*/ 0 h 64"/>
                  <a:gd name="T10" fmla="*/ 14 w 16"/>
                  <a:gd name="T11" fmla="*/ 0 h 64"/>
                  <a:gd name="T12" fmla="*/ 16 w 16"/>
                  <a:gd name="T13" fmla="*/ 2 h 64"/>
                  <a:gd name="T14" fmla="*/ 16 w 16"/>
                  <a:gd name="T15" fmla="*/ 62 h 64"/>
                  <a:gd name="T16" fmla="*/ 14 w 16"/>
                  <a:gd name="T17" fmla="*/ 64 h 64"/>
                  <a:gd name="T18" fmla="*/ 4 w 16"/>
                  <a:gd name="T19" fmla="*/ 60 h 64"/>
                  <a:gd name="T20" fmla="*/ 12 w 16"/>
                  <a:gd name="T21" fmla="*/ 60 h 64"/>
                  <a:gd name="T22" fmla="*/ 12 w 16"/>
                  <a:gd name="T23" fmla="*/ 4 h 64"/>
                  <a:gd name="T24" fmla="*/ 4 w 16"/>
                  <a:gd name="T25" fmla="*/ 4 h 64"/>
                  <a:gd name="T26" fmla="*/ 4 w 16"/>
                  <a:gd name="T2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64">
                    <a:moveTo>
                      <a:pt x="14" y="64"/>
                    </a:moveTo>
                    <a:cubicBezTo>
                      <a:pt x="2" y="64"/>
                      <a:pt x="2" y="64"/>
                      <a:pt x="2" y="64"/>
                    </a:cubicBezTo>
                    <a:cubicBezTo>
                      <a:pt x="1" y="64"/>
                      <a:pt x="0" y="63"/>
                      <a:pt x="0" y="62"/>
                    </a:cubicBezTo>
                    <a:cubicBezTo>
                      <a:pt x="0" y="2"/>
                      <a:pt x="0" y="2"/>
                      <a:pt x="0" y="2"/>
                    </a:cubicBezTo>
                    <a:cubicBezTo>
                      <a:pt x="0" y="1"/>
                      <a:pt x="1" y="0"/>
                      <a:pt x="2" y="0"/>
                    </a:cubicBezTo>
                    <a:cubicBezTo>
                      <a:pt x="14" y="0"/>
                      <a:pt x="14" y="0"/>
                      <a:pt x="14" y="0"/>
                    </a:cubicBezTo>
                    <a:cubicBezTo>
                      <a:pt x="15" y="0"/>
                      <a:pt x="16" y="1"/>
                      <a:pt x="16" y="2"/>
                    </a:cubicBezTo>
                    <a:cubicBezTo>
                      <a:pt x="16" y="62"/>
                      <a:pt x="16" y="62"/>
                      <a:pt x="16" y="62"/>
                    </a:cubicBezTo>
                    <a:cubicBezTo>
                      <a:pt x="16" y="63"/>
                      <a:pt x="15" y="64"/>
                      <a:pt x="14" y="64"/>
                    </a:cubicBezTo>
                    <a:close/>
                    <a:moveTo>
                      <a:pt x="4" y="60"/>
                    </a:moveTo>
                    <a:cubicBezTo>
                      <a:pt x="12" y="60"/>
                      <a:pt x="12" y="60"/>
                      <a:pt x="12" y="60"/>
                    </a:cubicBezTo>
                    <a:cubicBezTo>
                      <a:pt x="12" y="4"/>
                      <a:pt x="12" y="4"/>
                      <a:pt x="12" y="4"/>
                    </a:cubicBezTo>
                    <a:cubicBezTo>
                      <a:pt x="4" y="4"/>
                      <a:pt x="4" y="4"/>
                      <a:pt x="4" y="4"/>
                    </a:cubicBezTo>
                    <a:lnTo>
                      <a:pt x="4"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grpSp>
        <p:grpSp>
          <p:nvGrpSpPr>
            <p:cNvPr id="27" name="Group 26">
              <a:extLst>
                <a:ext uri="{FF2B5EF4-FFF2-40B4-BE49-F238E27FC236}">
                  <a16:creationId xmlns:a16="http://schemas.microsoft.com/office/drawing/2014/main" id="{FBA28EEC-F67F-96AD-227C-465AA8E1FF22}"/>
                </a:ext>
              </a:extLst>
            </p:cNvPr>
            <p:cNvGrpSpPr/>
            <p:nvPr/>
          </p:nvGrpSpPr>
          <p:grpSpPr>
            <a:xfrm>
              <a:off x="8402529" y="3171619"/>
              <a:ext cx="114419" cy="114947"/>
              <a:chOff x="9169398" y="2895603"/>
              <a:chExt cx="344482" cy="346073"/>
            </a:xfrm>
          </p:grpSpPr>
          <p:sp>
            <p:nvSpPr>
              <p:cNvPr id="50" name="Oval 37">
                <a:extLst>
                  <a:ext uri="{FF2B5EF4-FFF2-40B4-BE49-F238E27FC236}">
                    <a16:creationId xmlns:a16="http://schemas.microsoft.com/office/drawing/2014/main" id="{0CAF9959-7D48-950E-3277-234F548D304B}"/>
                  </a:ext>
                </a:extLst>
              </p:cNvPr>
              <p:cNvSpPr>
                <a:spLocks noChangeArrowheads="1"/>
              </p:cNvSpPr>
              <p:nvPr/>
            </p:nvSpPr>
            <p:spPr bwMode="auto">
              <a:xfrm>
                <a:off x="9169398" y="2895603"/>
                <a:ext cx="269877" cy="269875"/>
              </a:xfrm>
              <a:prstGeom prst="ellipse">
                <a:avLst/>
              </a:prstGeom>
              <a:noFill/>
              <a:ln w="6350"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51" name="Line 38">
                <a:extLst>
                  <a:ext uri="{FF2B5EF4-FFF2-40B4-BE49-F238E27FC236}">
                    <a16:creationId xmlns:a16="http://schemas.microsoft.com/office/drawing/2014/main" id="{422165EA-9FAA-2BA4-3F29-3461E277BEDD}"/>
                  </a:ext>
                </a:extLst>
              </p:cNvPr>
              <p:cNvSpPr>
                <a:spLocks noChangeShapeType="1"/>
              </p:cNvSpPr>
              <p:nvPr/>
            </p:nvSpPr>
            <p:spPr bwMode="auto">
              <a:xfrm>
                <a:off x="9397992" y="3124202"/>
                <a:ext cx="115888" cy="117474"/>
              </a:xfrm>
              <a:prstGeom prst="line">
                <a:avLst/>
              </a:prstGeom>
              <a:noFill/>
              <a:ln w="6350"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52" name="Freeform 39">
                <a:extLst>
                  <a:ext uri="{FF2B5EF4-FFF2-40B4-BE49-F238E27FC236}">
                    <a16:creationId xmlns:a16="http://schemas.microsoft.com/office/drawing/2014/main" id="{92C60F60-09E4-5004-DCB9-E95A1DA3AC93}"/>
                  </a:ext>
                </a:extLst>
              </p:cNvPr>
              <p:cNvSpPr>
                <a:spLocks/>
              </p:cNvSpPr>
              <p:nvPr/>
            </p:nvSpPr>
            <p:spPr bwMode="auto">
              <a:xfrm>
                <a:off x="9326563" y="3044826"/>
                <a:ext cx="60325" cy="53975"/>
              </a:xfrm>
              <a:custGeom>
                <a:avLst/>
                <a:gdLst>
                  <a:gd name="T0" fmla="*/ 38 w 38"/>
                  <a:gd name="T1" fmla="*/ 34 h 34"/>
                  <a:gd name="T2" fmla="*/ 0 w 38"/>
                  <a:gd name="T3" fmla="*/ 17 h 34"/>
                  <a:gd name="T4" fmla="*/ 0 w 38"/>
                  <a:gd name="T5" fmla="*/ 0 h 34"/>
                </a:gdLst>
                <a:ahLst/>
                <a:cxnLst>
                  <a:cxn ang="0">
                    <a:pos x="T0" y="T1"/>
                  </a:cxn>
                  <a:cxn ang="0">
                    <a:pos x="T2" y="T3"/>
                  </a:cxn>
                  <a:cxn ang="0">
                    <a:pos x="T4" y="T5"/>
                  </a:cxn>
                </a:cxnLst>
                <a:rect l="0" t="0" r="r" b="b"/>
                <a:pathLst>
                  <a:path w="38" h="34">
                    <a:moveTo>
                      <a:pt x="38" y="34"/>
                    </a:moveTo>
                    <a:lnTo>
                      <a:pt x="0" y="17"/>
                    </a:lnTo>
                    <a:lnTo>
                      <a:pt x="0" y="0"/>
                    </a:lnTo>
                  </a:path>
                </a:pathLst>
              </a:custGeom>
              <a:noFill/>
              <a:ln w="63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53" name="Freeform 40">
                <a:extLst>
                  <a:ext uri="{FF2B5EF4-FFF2-40B4-BE49-F238E27FC236}">
                    <a16:creationId xmlns:a16="http://schemas.microsoft.com/office/drawing/2014/main" id="{C7D41DCD-6B68-D5FE-49FA-60F03BF6FD30}"/>
                  </a:ext>
                </a:extLst>
              </p:cNvPr>
              <p:cNvSpPr>
                <a:spLocks/>
              </p:cNvSpPr>
              <p:nvPr/>
            </p:nvSpPr>
            <p:spPr bwMode="auto">
              <a:xfrm>
                <a:off x="9221788" y="3044826"/>
                <a:ext cx="60325" cy="53975"/>
              </a:xfrm>
              <a:custGeom>
                <a:avLst/>
                <a:gdLst>
                  <a:gd name="T0" fmla="*/ 38 w 38"/>
                  <a:gd name="T1" fmla="*/ 0 h 34"/>
                  <a:gd name="T2" fmla="*/ 38 w 38"/>
                  <a:gd name="T3" fmla="*/ 17 h 34"/>
                  <a:gd name="T4" fmla="*/ 0 w 38"/>
                  <a:gd name="T5" fmla="*/ 34 h 34"/>
                </a:gdLst>
                <a:ahLst/>
                <a:cxnLst>
                  <a:cxn ang="0">
                    <a:pos x="T0" y="T1"/>
                  </a:cxn>
                  <a:cxn ang="0">
                    <a:pos x="T2" y="T3"/>
                  </a:cxn>
                  <a:cxn ang="0">
                    <a:pos x="T4" y="T5"/>
                  </a:cxn>
                </a:cxnLst>
                <a:rect l="0" t="0" r="r" b="b"/>
                <a:pathLst>
                  <a:path w="38" h="34">
                    <a:moveTo>
                      <a:pt x="38" y="0"/>
                    </a:moveTo>
                    <a:lnTo>
                      <a:pt x="38" y="17"/>
                    </a:lnTo>
                    <a:lnTo>
                      <a:pt x="0" y="34"/>
                    </a:lnTo>
                  </a:path>
                </a:pathLst>
              </a:custGeom>
              <a:noFill/>
              <a:ln w="63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54" name="Oval 41">
                <a:extLst>
                  <a:ext uri="{FF2B5EF4-FFF2-40B4-BE49-F238E27FC236}">
                    <a16:creationId xmlns:a16="http://schemas.microsoft.com/office/drawing/2014/main" id="{27641255-CD38-5FF6-C71A-181605BFADB3}"/>
                  </a:ext>
                </a:extLst>
              </p:cNvPr>
              <p:cNvSpPr>
                <a:spLocks noChangeArrowheads="1"/>
              </p:cNvSpPr>
              <p:nvPr/>
            </p:nvSpPr>
            <p:spPr bwMode="auto">
              <a:xfrm>
                <a:off x="9255110" y="2936880"/>
                <a:ext cx="98426" cy="115889"/>
              </a:xfrm>
              <a:prstGeom prst="ellipse">
                <a:avLst/>
              </a:prstGeom>
              <a:noFill/>
              <a:ln w="63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55" name="Freeform 42">
                <a:extLst>
                  <a:ext uri="{FF2B5EF4-FFF2-40B4-BE49-F238E27FC236}">
                    <a16:creationId xmlns:a16="http://schemas.microsoft.com/office/drawing/2014/main" id="{383E4996-DD18-54C6-4731-622518972F63}"/>
                  </a:ext>
                </a:extLst>
              </p:cNvPr>
              <p:cNvSpPr>
                <a:spLocks/>
              </p:cNvSpPr>
              <p:nvPr/>
            </p:nvSpPr>
            <p:spPr bwMode="auto">
              <a:xfrm>
                <a:off x="9255126" y="2970214"/>
                <a:ext cx="93663" cy="22225"/>
              </a:xfrm>
              <a:custGeom>
                <a:avLst/>
                <a:gdLst>
                  <a:gd name="T0" fmla="*/ 25 w 25"/>
                  <a:gd name="T1" fmla="*/ 5 h 6"/>
                  <a:gd name="T2" fmla="*/ 24 w 25"/>
                  <a:gd name="T3" fmla="*/ 5 h 6"/>
                  <a:gd name="T4" fmla="*/ 15 w 25"/>
                  <a:gd name="T5" fmla="*/ 0 h 6"/>
                  <a:gd name="T6" fmla="*/ 6 w 25"/>
                  <a:gd name="T7" fmla="*/ 5 h 6"/>
                  <a:gd name="T8" fmla="*/ 0 w 25"/>
                  <a:gd name="T9" fmla="*/ 4 h 6"/>
                </a:gdLst>
                <a:ahLst/>
                <a:cxnLst>
                  <a:cxn ang="0">
                    <a:pos x="T0" y="T1"/>
                  </a:cxn>
                  <a:cxn ang="0">
                    <a:pos x="T2" y="T3"/>
                  </a:cxn>
                  <a:cxn ang="0">
                    <a:pos x="T4" y="T5"/>
                  </a:cxn>
                  <a:cxn ang="0">
                    <a:pos x="T6" y="T7"/>
                  </a:cxn>
                  <a:cxn ang="0">
                    <a:pos x="T8" y="T9"/>
                  </a:cxn>
                </a:cxnLst>
                <a:rect l="0" t="0" r="r" b="b"/>
                <a:pathLst>
                  <a:path w="25" h="6">
                    <a:moveTo>
                      <a:pt x="25" y="5"/>
                    </a:moveTo>
                    <a:cubicBezTo>
                      <a:pt x="25" y="5"/>
                      <a:pt x="25" y="5"/>
                      <a:pt x="24" y="5"/>
                    </a:cubicBezTo>
                    <a:cubicBezTo>
                      <a:pt x="20" y="6"/>
                      <a:pt x="17" y="4"/>
                      <a:pt x="15" y="0"/>
                    </a:cubicBezTo>
                    <a:cubicBezTo>
                      <a:pt x="14" y="3"/>
                      <a:pt x="9" y="5"/>
                      <a:pt x="6" y="5"/>
                    </a:cubicBezTo>
                    <a:cubicBezTo>
                      <a:pt x="4" y="5"/>
                      <a:pt x="2" y="4"/>
                      <a:pt x="0" y="4"/>
                    </a:cubicBezTo>
                  </a:path>
                </a:pathLst>
              </a:custGeom>
              <a:noFill/>
              <a:ln w="63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grpSp>
        <p:grpSp>
          <p:nvGrpSpPr>
            <p:cNvPr id="28" name="Group 27">
              <a:extLst>
                <a:ext uri="{FF2B5EF4-FFF2-40B4-BE49-F238E27FC236}">
                  <a16:creationId xmlns:a16="http://schemas.microsoft.com/office/drawing/2014/main" id="{4203C48C-DC57-050F-6149-9512FFEBBCD3}"/>
                </a:ext>
              </a:extLst>
            </p:cNvPr>
            <p:cNvGrpSpPr/>
            <p:nvPr/>
          </p:nvGrpSpPr>
          <p:grpSpPr>
            <a:xfrm>
              <a:off x="8498513" y="2262897"/>
              <a:ext cx="229023" cy="243563"/>
              <a:chOff x="7758113" y="3633788"/>
              <a:chExt cx="300038" cy="319087"/>
            </a:xfrm>
          </p:grpSpPr>
          <p:sp>
            <p:nvSpPr>
              <p:cNvPr id="42" name="Freeform 5">
                <a:extLst>
                  <a:ext uri="{FF2B5EF4-FFF2-40B4-BE49-F238E27FC236}">
                    <a16:creationId xmlns:a16="http://schemas.microsoft.com/office/drawing/2014/main" id="{B17B1F79-AD30-A14D-DA82-D867D1AD99D5}"/>
                  </a:ext>
                </a:extLst>
              </p:cNvPr>
              <p:cNvSpPr>
                <a:spLocks/>
              </p:cNvSpPr>
              <p:nvPr/>
            </p:nvSpPr>
            <p:spPr bwMode="auto">
              <a:xfrm>
                <a:off x="7818438" y="3694113"/>
                <a:ext cx="179388" cy="198438"/>
              </a:xfrm>
              <a:custGeom>
                <a:avLst/>
                <a:gdLst>
                  <a:gd name="T0" fmla="*/ 48 w 48"/>
                  <a:gd name="T1" fmla="*/ 24 h 52"/>
                  <a:gd name="T2" fmla="*/ 24 w 48"/>
                  <a:gd name="T3" fmla="*/ 0 h 52"/>
                  <a:gd name="T4" fmla="*/ 0 w 48"/>
                  <a:gd name="T5" fmla="*/ 24 h 52"/>
                  <a:gd name="T6" fmla="*/ 18 w 48"/>
                  <a:gd name="T7" fmla="*/ 47 h 52"/>
                  <a:gd name="T8" fmla="*/ 18 w 48"/>
                  <a:gd name="T9" fmla="*/ 52 h 52"/>
                  <a:gd name="T10" fmla="*/ 30 w 48"/>
                  <a:gd name="T11" fmla="*/ 52 h 52"/>
                  <a:gd name="T12" fmla="*/ 30 w 48"/>
                  <a:gd name="T13" fmla="*/ 47 h 52"/>
                  <a:gd name="T14" fmla="*/ 48 w 48"/>
                  <a:gd name="T15" fmla="*/ 24 h 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52">
                    <a:moveTo>
                      <a:pt x="48" y="24"/>
                    </a:moveTo>
                    <a:cubicBezTo>
                      <a:pt x="48" y="11"/>
                      <a:pt x="37" y="0"/>
                      <a:pt x="24" y="0"/>
                    </a:cubicBezTo>
                    <a:cubicBezTo>
                      <a:pt x="11" y="0"/>
                      <a:pt x="0" y="11"/>
                      <a:pt x="0" y="24"/>
                    </a:cubicBezTo>
                    <a:cubicBezTo>
                      <a:pt x="0" y="35"/>
                      <a:pt x="8" y="45"/>
                      <a:pt x="18" y="47"/>
                    </a:cubicBezTo>
                    <a:cubicBezTo>
                      <a:pt x="18" y="52"/>
                      <a:pt x="18" y="52"/>
                      <a:pt x="18" y="52"/>
                    </a:cubicBezTo>
                    <a:cubicBezTo>
                      <a:pt x="30" y="52"/>
                      <a:pt x="30" y="52"/>
                      <a:pt x="30" y="52"/>
                    </a:cubicBezTo>
                    <a:cubicBezTo>
                      <a:pt x="30" y="47"/>
                      <a:pt x="30" y="47"/>
                      <a:pt x="30" y="47"/>
                    </a:cubicBezTo>
                    <a:cubicBezTo>
                      <a:pt x="40" y="45"/>
                      <a:pt x="48" y="35"/>
                      <a:pt x="48" y="24"/>
                    </a:cubicBezTo>
                    <a:close/>
                  </a:path>
                </a:pathLst>
              </a:custGeom>
              <a:noFill/>
              <a:ln w="15875" cap="rnd">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43" name="Line 6">
                <a:extLst>
                  <a:ext uri="{FF2B5EF4-FFF2-40B4-BE49-F238E27FC236}">
                    <a16:creationId xmlns:a16="http://schemas.microsoft.com/office/drawing/2014/main" id="{DDEEB303-6AA2-5D15-2645-065006219B17}"/>
                  </a:ext>
                </a:extLst>
              </p:cNvPr>
              <p:cNvSpPr>
                <a:spLocks noChangeShapeType="1"/>
              </p:cNvSpPr>
              <p:nvPr/>
            </p:nvSpPr>
            <p:spPr bwMode="auto">
              <a:xfrm flipH="1">
                <a:off x="7900988" y="3952875"/>
                <a:ext cx="14288" cy="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44" name="Line 7">
                <a:extLst>
                  <a:ext uri="{FF2B5EF4-FFF2-40B4-BE49-F238E27FC236}">
                    <a16:creationId xmlns:a16="http://schemas.microsoft.com/office/drawing/2014/main" id="{6A05BA35-D4A7-3FB6-4156-0146D05F4EC2}"/>
                  </a:ext>
                </a:extLst>
              </p:cNvPr>
              <p:cNvSpPr>
                <a:spLocks noChangeShapeType="1"/>
              </p:cNvSpPr>
              <p:nvPr/>
            </p:nvSpPr>
            <p:spPr bwMode="auto">
              <a:xfrm flipH="1">
                <a:off x="7885113" y="3922713"/>
                <a:ext cx="46038" cy="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45" name="Line 8">
                <a:extLst>
                  <a:ext uri="{FF2B5EF4-FFF2-40B4-BE49-F238E27FC236}">
                    <a16:creationId xmlns:a16="http://schemas.microsoft.com/office/drawing/2014/main" id="{255B9DAF-1F36-920C-7D16-D8831B6A2DFE}"/>
                  </a:ext>
                </a:extLst>
              </p:cNvPr>
              <p:cNvSpPr>
                <a:spLocks noChangeShapeType="1"/>
              </p:cNvSpPr>
              <p:nvPr/>
            </p:nvSpPr>
            <p:spPr bwMode="auto">
              <a:xfrm>
                <a:off x="7908926" y="3633788"/>
                <a:ext cx="0" cy="30163"/>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46" name="Line 9">
                <a:extLst>
                  <a:ext uri="{FF2B5EF4-FFF2-40B4-BE49-F238E27FC236}">
                    <a16:creationId xmlns:a16="http://schemas.microsoft.com/office/drawing/2014/main" id="{D18DFD19-BFBA-8621-F6E3-89E61526CA20}"/>
                  </a:ext>
                </a:extLst>
              </p:cNvPr>
              <p:cNvSpPr>
                <a:spLocks noChangeShapeType="1"/>
              </p:cNvSpPr>
              <p:nvPr/>
            </p:nvSpPr>
            <p:spPr bwMode="auto">
              <a:xfrm flipH="1">
                <a:off x="8027988" y="3786188"/>
                <a:ext cx="30163" cy="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47" name="Line 10">
                <a:extLst>
                  <a:ext uri="{FF2B5EF4-FFF2-40B4-BE49-F238E27FC236}">
                    <a16:creationId xmlns:a16="http://schemas.microsoft.com/office/drawing/2014/main" id="{F2B592C7-3B20-8A00-43D2-392696CA718C}"/>
                  </a:ext>
                </a:extLst>
              </p:cNvPr>
              <p:cNvSpPr>
                <a:spLocks noChangeShapeType="1"/>
              </p:cNvSpPr>
              <p:nvPr/>
            </p:nvSpPr>
            <p:spPr bwMode="auto">
              <a:xfrm>
                <a:off x="7758113" y="3786188"/>
                <a:ext cx="30163" cy="0"/>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48" name="Line 11">
                <a:extLst>
                  <a:ext uri="{FF2B5EF4-FFF2-40B4-BE49-F238E27FC236}">
                    <a16:creationId xmlns:a16="http://schemas.microsoft.com/office/drawing/2014/main" id="{896AC683-0713-B7C7-F7FE-151432EE66D0}"/>
                  </a:ext>
                </a:extLst>
              </p:cNvPr>
              <p:cNvSpPr>
                <a:spLocks noChangeShapeType="1"/>
              </p:cNvSpPr>
              <p:nvPr/>
            </p:nvSpPr>
            <p:spPr bwMode="auto">
              <a:xfrm>
                <a:off x="7791451" y="3668713"/>
                <a:ext cx="30163" cy="30163"/>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sp>
            <p:nvSpPr>
              <p:cNvPr id="49" name="Line 12">
                <a:extLst>
                  <a:ext uri="{FF2B5EF4-FFF2-40B4-BE49-F238E27FC236}">
                    <a16:creationId xmlns:a16="http://schemas.microsoft.com/office/drawing/2014/main" id="{DD657C29-5BF7-CCE1-EF46-65C7B961FB78}"/>
                  </a:ext>
                </a:extLst>
              </p:cNvPr>
              <p:cNvSpPr>
                <a:spLocks noChangeShapeType="1"/>
              </p:cNvSpPr>
              <p:nvPr/>
            </p:nvSpPr>
            <p:spPr bwMode="auto">
              <a:xfrm flipH="1">
                <a:off x="7994651" y="3668713"/>
                <a:ext cx="30163" cy="30163"/>
              </a:xfrm>
              <a:prstGeom prst="line">
                <a:avLst/>
              </a:prstGeom>
              <a:noFill/>
              <a:ln w="15875" cap="rnd">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id-ID" sz="800">
                  <a:latin typeface="Arial" panose="020B0604020202020204" pitchFamily="34" charset="0"/>
                  <a:cs typeface="Arial" panose="020B0604020202020204" pitchFamily="34" charset="0"/>
                </a:endParaRPr>
              </a:p>
            </p:txBody>
          </p:sp>
        </p:grpSp>
        <p:grpSp>
          <p:nvGrpSpPr>
            <p:cNvPr id="29" name="Group 28">
              <a:extLst>
                <a:ext uri="{FF2B5EF4-FFF2-40B4-BE49-F238E27FC236}">
                  <a16:creationId xmlns:a16="http://schemas.microsoft.com/office/drawing/2014/main" id="{2A85D1AE-C841-3486-61FA-DCB3547B5C1D}"/>
                </a:ext>
              </a:extLst>
            </p:cNvPr>
            <p:cNvGrpSpPr/>
            <p:nvPr/>
          </p:nvGrpSpPr>
          <p:grpSpPr>
            <a:xfrm>
              <a:off x="4887094" y="1889556"/>
              <a:ext cx="2924887" cy="418408"/>
              <a:chOff x="315615" y="1216313"/>
              <a:chExt cx="9251131" cy="738334"/>
            </a:xfrm>
          </p:grpSpPr>
          <p:sp>
            <p:nvSpPr>
              <p:cNvPr id="40" name="Rectangle: Rounded Corners 96">
                <a:extLst>
                  <a:ext uri="{FF2B5EF4-FFF2-40B4-BE49-F238E27FC236}">
                    <a16:creationId xmlns:a16="http://schemas.microsoft.com/office/drawing/2014/main" id="{E4176225-AD2C-60FC-7F03-E84BFBCC9AE7}"/>
                  </a:ext>
                </a:extLst>
              </p:cNvPr>
              <p:cNvSpPr/>
              <p:nvPr/>
            </p:nvSpPr>
            <p:spPr>
              <a:xfrm>
                <a:off x="315615" y="1216313"/>
                <a:ext cx="9251131" cy="738334"/>
              </a:xfrm>
              <a:prstGeom prst="roundRect">
                <a:avLst>
                  <a:gd name="adj" fmla="val 50000"/>
                </a:avLst>
              </a:prstGeom>
              <a:solidFill>
                <a:schemeClr val="bg1">
                  <a:lumMod val="95000"/>
                </a:schemeClr>
              </a:solidFill>
              <a:ln>
                <a:solidFill>
                  <a:srgbClr val="1443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800">
                  <a:latin typeface="Arial" panose="020B0604020202020204" pitchFamily="34" charset="0"/>
                  <a:cs typeface="Arial" panose="020B0604020202020204" pitchFamily="34" charset="0"/>
                </a:endParaRPr>
              </a:p>
            </p:txBody>
          </p:sp>
          <p:sp>
            <p:nvSpPr>
              <p:cNvPr id="41" name="TextBox 40">
                <a:extLst>
                  <a:ext uri="{FF2B5EF4-FFF2-40B4-BE49-F238E27FC236}">
                    <a16:creationId xmlns:a16="http://schemas.microsoft.com/office/drawing/2014/main" id="{CE158248-E726-E7C2-D389-DD2831D0BD0C}"/>
                  </a:ext>
                </a:extLst>
              </p:cNvPr>
              <p:cNvSpPr txBox="1"/>
              <p:nvPr/>
            </p:nvSpPr>
            <p:spPr>
              <a:xfrm>
                <a:off x="836249" y="1287565"/>
                <a:ext cx="7872831" cy="553370"/>
              </a:xfrm>
              <a:prstGeom prst="rect">
                <a:avLst/>
              </a:prstGeom>
              <a:noFill/>
            </p:spPr>
            <p:txBody>
              <a:bodyPr wrap="square" lIns="0" tIns="0" rIns="0" bIns="0" rtlCol="0" anchor="ctr" anchorCtr="0">
                <a:noAutofit/>
              </a:bodyPr>
              <a:lstStyle/>
              <a:p>
                <a:pPr lvl="0" algn="ctr"/>
                <a:r>
                  <a:rPr lang="en-GB" sz="1400" b="0" kern="1200" dirty="0">
                    <a:solidFill>
                      <a:schemeClr val="tx2"/>
                    </a:solidFill>
                    <a:latin typeface="Arial "/>
                    <a:ea typeface="+mn-ea"/>
                    <a:cs typeface="+mn-cs"/>
                  </a:rPr>
                  <a:t>Examiners must provide objective </a:t>
                </a:r>
              </a:p>
              <a:p>
                <a:pPr lvl="0" algn="ctr"/>
                <a:r>
                  <a:rPr lang="en-GB" sz="1400" b="0" kern="1200" dirty="0">
                    <a:solidFill>
                      <a:schemeClr val="tx2"/>
                    </a:solidFill>
                    <a:latin typeface="Arial "/>
                    <a:ea typeface="+mn-ea"/>
                    <a:cs typeface="+mn-cs"/>
                  </a:rPr>
                  <a:t>statements of reasons</a:t>
                </a:r>
                <a:endParaRPr lang="en-GB" sz="1400" b="1" kern="1200" dirty="0">
                  <a:solidFill>
                    <a:schemeClr val="tx2"/>
                  </a:solidFill>
                  <a:latin typeface="Arial "/>
                  <a:ea typeface="+mn-ea"/>
                  <a:cs typeface="+mn-cs"/>
                </a:endParaRPr>
              </a:p>
            </p:txBody>
          </p:sp>
        </p:grpSp>
        <p:grpSp>
          <p:nvGrpSpPr>
            <p:cNvPr id="30" name="Group 29">
              <a:extLst>
                <a:ext uri="{FF2B5EF4-FFF2-40B4-BE49-F238E27FC236}">
                  <a16:creationId xmlns:a16="http://schemas.microsoft.com/office/drawing/2014/main" id="{17007689-805E-88AF-5A8D-078ACB7295C6}"/>
                </a:ext>
              </a:extLst>
            </p:cNvPr>
            <p:cNvGrpSpPr/>
            <p:nvPr/>
          </p:nvGrpSpPr>
          <p:grpSpPr>
            <a:xfrm>
              <a:off x="4887095" y="2387521"/>
              <a:ext cx="2924887" cy="531196"/>
              <a:chOff x="315616" y="1120949"/>
              <a:chExt cx="9251130" cy="937362"/>
            </a:xfrm>
          </p:grpSpPr>
          <p:sp>
            <p:nvSpPr>
              <p:cNvPr id="38" name="Rectangle: Rounded Corners 100">
                <a:extLst>
                  <a:ext uri="{FF2B5EF4-FFF2-40B4-BE49-F238E27FC236}">
                    <a16:creationId xmlns:a16="http://schemas.microsoft.com/office/drawing/2014/main" id="{BDECA8E0-4288-69CE-A6DD-6BD43592C814}"/>
                  </a:ext>
                </a:extLst>
              </p:cNvPr>
              <p:cNvSpPr/>
              <p:nvPr/>
            </p:nvSpPr>
            <p:spPr>
              <a:xfrm>
                <a:off x="315616" y="1120949"/>
                <a:ext cx="9251130" cy="937362"/>
              </a:xfrm>
              <a:prstGeom prst="roundRect">
                <a:avLst>
                  <a:gd name="adj" fmla="val 50000"/>
                </a:avLst>
              </a:prstGeom>
              <a:solidFill>
                <a:schemeClr val="bg1">
                  <a:lumMod val="95000"/>
                </a:schemeClr>
              </a:solidFill>
              <a:ln>
                <a:solidFill>
                  <a:srgbClr val="1443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800">
                  <a:latin typeface="Arial" panose="020B06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F64EE868-EF78-C30F-7A70-00C0C5715B04}"/>
                  </a:ext>
                </a:extLst>
              </p:cNvPr>
              <p:cNvSpPr txBox="1"/>
              <p:nvPr/>
            </p:nvSpPr>
            <p:spPr>
              <a:xfrm>
                <a:off x="836252" y="1310240"/>
                <a:ext cx="8426974" cy="553370"/>
              </a:xfrm>
              <a:prstGeom prst="rect">
                <a:avLst/>
              </a:prstGeom>
              <a:noFill/>
            </p:spPr>
            <p:txBody>
              <a:bodyPr wrap="square" lIns="0" tIns="0" rIns="0" bIns="0" rtlCol="0" anchor="ctr" anchorCtr="0">
                <a:noAutofit/>
              </a:bodyPr>
              <a:lstStyle/>
              <a:p>
                <a:pPr marL="0" lvl="0" indent="0" algn="ctr" defTabSz="622300">
                  <a:spcBef>
                    <a:spcPct val="0"/>
                  </a:spcBef>
                  <a:spcAft>
                    <a:spcPct val="35000"/>
                  </a:spcAft>
                  <a:buNone/>
                </a:pPr>
                <a:r>
                  <a:rPr lang="en-GB" sz="1400" b="0" dirty="0">
                    <a:solidFill>
                      <a:schemeClr val="tx2"/>
                    </a:solidFill>
                    <a:latin typeface="Arial "/>
                    <a:ea typeface="+mn-ea"/>
                    <a:cs typeface="+mn-cs"/>
                  </a:rPr>
                  <a:t>To reb</a:t>
                </a:r>
                <a:r>
                  <a:rPr lang="en-GB" sz="1400" dirty="0">
                    <a:solidFill>
                      <a:schemeClr val="tx2"/>
                    </a:solidFill>
                    <a:latin typeface="Arial "/>
                  </a:rPr>
                  <a:t>ut objection, a</a:t>
                </a:r>
                <a:r>
                  <a:rPr lang="en-GB" sz="1400" b="0" dirty="0">
                    <a:solidFill>
                      <a:schemeClr val="tx2"/>
                    </a:solidFill>
                    <a:latin typeface="Arial "/>
                    <a:ea typeface="+mn-ea"/>
                    <a:cs typeface="+mn-cs"/>
                  </a:rPr>
                  <a:t>pplicant may submit evidence to provide counter-demonstration of consumer’s reaction to the sign</a:t>
                </a:r>
              </a:p>
            </p:txBody>
          </p:sp>
        </p:grpSp>
        <p:grpSp>
          <p:nvGrpSpPr>
            <p:cNvPr id="31" name="Group 30">
              <a:extLst>
                <a:ext uri="{FF2B5EF4-FFF2-40B4-BE49-F238E27FC236}">
                  <a16:creationId xmlns:a16="http://schemas.microsoft.com/office/drawing/2014/main" id="{EC448EE4-D57B-B458-CE92-09D53610EDC4}"/>
                </a:ext>
              </a:extLst>
            </p:cNvPr>
            <p:cNvGrpSpPr/>
            <p:nvPr/>
          </p:nvGrpSpPr>
          <p:grpSpPr>
            <a:xfrm>
              <a:off x="4887094" y="2983155"/>
              <a:ext cx="2924887" cy="415966"/>
              <a:chOff x="135154" y="4793955"/>
              <a:chExt cx="9251131" cy="734026"/>
            </a:xfrm>
          </p:grpSpPr>
          <p:sp>
            <p:nvSpPr>
              <p:cNvPr id="36" name="Rectangle: Rounded Corners 103">
                <a:extLst>
                  <a:ext uri="{FF2B5EF4-FFF2-40B4-BE49-F238E27FC236}">
                    <a16:creationId xmlns:a16="http://schemas.microsoft.com/office/drawing/2014/main" id="{B0C6040C-29E8-4747-B417-90B8CA14D16E}"/>
                  </a:ext>
                </a:extLst>
              </p:cNvPr>
              <p:cNvSpPr/>
              <p:nvPr/>
            </p:nvSpPr>
            <p:spPr>
              <a:xfrm>
                <a:off x="135154" y="4793955"/>
                <a:ext cx="9251131" cy="734026"/>
              </a:xfrm>
              <a:prstGeom prst="roundRect">
                <a:avLst>
                  <a:gd name="adj" fmla="val 50000"/>
                </a:avLst>
              </a:prstGeom>
              <a:solidFill>
                <a:schemeClr val="bg1">
                  <a:lumMod val="95000"/>
                </a:schemeClr>
              </a:solidFill>
              <a:ln>
                <a:solidFill>
                  <a:srgbClr val="14438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800">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CFB55625-6B5D-1233-6733-1F26FA6A3CFA}"/>
                  </a:ext>
                </a:extLst>
              </p:cNvPr>
              <p:cNvSpPr txBox="1"/>
              <p:nvPr/>
            </p:nvSpPr>
            <p:spPr>
              <a:xfrm>
                <a:off x="655794" y="4894910"/>
                <a:ext cx="7872829" cy="553369"/>
              </a:xfrm>
              <a:prstGeom prst="rect">
                <a:avLst/>
              </a:prstGeom>
              <a:noFill/>
            </p:spPr>
            <p:txBody>
              <a:bodyPr wrap="square" lIns="0" tIns="0" rIns="0" bIns="0" rtlCol="0" anchor="ctr" anchorCtr="0">
                <a:noAutofit/>
              </a:bodyPr>
              <a:lstStyle/>
              <a:p>
                <a:pPr lvl="0" algn="ctr"/>
                <a:r>
                  <a:rPr lang="en-GB" sz="1400" b="0" dirty="0">
                    <a:solidFill>
                      <a:schemeClr val="tx2"/>
                    </a:solidFill>
                    <a:latin typeface="Arial "/>
                    <a:ea typeface="+mn-ea"/>
                    <a:cs typeface="+mn-cs"/>
                    <a:hlinkClick r:id="rId4"/>
                  </a:rPr>
                  <a:t>CP12 </a:t>
                </a:r>
                <a:r>
                  <a:rPr lang="en-GB" sz="1400" b="0">
                    <a:solidFill>
                      <a:schemeClr val="tx2"/>
                    </a:solidFill>
                    <a:latin typeface="Arial "/>
                    <a:ea typeface="+mn-ea"/>
                    <a:cs typeface="+mn-cs"/>
                    <a:hlinkClick r:id="rId4"/>
                  </a:rPr>
                  <a:t>Common Practice</a:t>
                </a:r>
                <a:r>
                  <a:rPr lang="en-GB" sz="1400" b="0">
                    <a:solidFill>
                      <a:schemeClr val="tx2"/>
                    </a:solidFill>
                    <a:latin typeface="Arial "/>
                    <a:ea typeface="+mn-ea"/>
                    <a:cs typeface="+mn-cs"/>
                  </a:rPr>
                  <a:t> as </a:t>
                </a:r>
                <a:r>
                  <a:rPr lang="en-GB" sz="1400" b="0" dirty="0">
                    <a:solidFill>
                      <a:schemeClr val="tx2"/>
                    </a:solidFill>
                    <a:latin typeface="Arial "/>
                    <a:ea typeface="+mn-ea"/>
                    <a:cs typeface="+mn-cs"/>
                  </a:rPr>
                  <a:t>non-binding</a:t>
                </a:r>
              </a:p>
              <a:p>
                <a:pPr lvl="0" algn="ctr"/>
                <a:r>
                  <a:rPr lang="en-GB" sz="1400" b="0" dirty="0">
                    <a:solidFill>
                      <a:schemeClr val="tx2"/>
                    </a:solidFill>
                    <a:latin typeface="Arial "/>
                    <a:ea typeface="+mn-ea"/>
                    <a:cs typeface="+mn-cs"/>
                  </a:rPr>
                  <a:t> reference for evidence</a:t>
                </a:r>
              </a:p>
            </p:txBody>
          </p:sp>
        </p:grpSp>
      </p:grpSp>
      <p:sp>
        <p:nvSpPr>
          <p:cNvPr id="5" name="Rectangle 4">
            <a:extLst>
              <a:ext uri="{FF2B5EF4-FFF2-40B4-BE49-F238E27FC236}">
                <a16:creationId xmlns:a16="http://schemas.microsoft.com/office/drawing/2014/main" id="{1C673E00-7DC1-AF09-3C76-0E39B5BB2AC4}"/>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Identification of the applicable fundamental moral values and standards</a:t>
            </a:r>
          </a:p>
        </p:txBody>
      </p:sp>
      <p:sp>
        <p:nvSpPr>
          <p:cNvPr id="4" name="Text Placeholder 14">
            <a:extLst>
              <a:ext uri="{FF2B5EF4-FFF2-40B4-BE49-F238E27FC236}">
                <a16:creationId xmlns:a16="http://schemas.microsoft.com/office/drawing/2014/main" id="{9194F142-2620-023C-BB93-79BD248C72AF}"/>
              </a:ext>
            </a:extLst>
          </p:cNvPr>
          <p:cNvSpPr txBox="1">
            <a:spLocks/>
          </p:cNvSpPr>
          <p:nvPr/>
        </p:nvSpPr>
        <p:spPr>
          <a:xfrm>
            <a:off x="674299" y="1424540"/>
            <a:ext cx="8318700" cy="378042"/>
          </a:xfrm>
          <a:prstGeom prst="rect">
            <a:avLst/>
          </a:prstGeom>
        </p:spPr>
        <p:txBody>
          <a:bodyPr anchor="ct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sz="1800" b="1" dirty="0">
                <a:solidFill>
                  <a:srgbClr val="14438E"/>
                </a:solidFill>
                <a:latin typeface="Arial" panose="020B0604020202020204" pitchFamily="34" charset="0"/>
                <a:cs typeface="Arial" panose="020B0604020202020204" pitchFamily="34" charset="0"/>
              </a:rPr>
              <a:t>Accepted principles of morality</a:t>
            </a:r>
          </a:p>
        </p:txBody>
      </p:sp>
    </p:spTree>
    <p:extLst>
      <p:ext uri="{BB962C8B-B14F-4D97-AF65-F5344CB8AC3E}">
        <p14:creationId xmlns:p14="http://schemas.microsoft.com/office/powerpoint/2010/main" val="41702749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3 Overlap between public policy and accepted principles of morality</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18" name="TextBox 17">
            <a:extLst>
              <a:ext uri="{FF2B5EF4-FFF2-40B4-BE49-F238E27FC236}">
                <a16:creationId xmlns:a16="http://schemas.microsoft.com/office/drawing/2014/main" id="{644FF058-4691-F7C4-4EF0-326C4FB972CD}"/>
              </a:ext>
            </a:extLst>
          </p:cNvPr>
          <p:cNvSpPr txBox="1"/>
          <p:nvPr/>
        </p:nvSpPr>
        <p:spPr>
          <a:xfrm>
            <a:off x="652210" y="1348128"/>
            <a:ext cx="2141232" cy="523220"/>
          </a:xfrm>
          <a:prstGeom prst="rect">
            <a:avLst/>
          </a:prstGeom>
          <a:ln>
            <a:solidFill>
              <a:srgbClr val="4BACC6"/>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GB" sz="1400" b="1" dirty="0">
                <a:solidFill>
                  <a:srgbClr val="024DA1"/>
                </a:solidFill>
                <a:latin typeface="Arial" panose="020B0604020202020204" pitchFamily="34" charset="0"/>
                <a:cs typeface="Arial" panose="020B0604020202020204" pitchFamily="34" charset="0"/>
              </a:rPr>
              <a:t>Two different concepts </a:t>
            </a:r>
          </a:p>
          <a:p>
            <a:pPr algn="ctr"/>
            <a:r>
              <a:rPr lang="en-GB" sz="1400" b="1" dirty="0">
                <a:solidFill>
                  <a:srgbClr val="024DA1"/>
                </a:solidFill>
                <a:latin typeface="Arial" panose="020B0604020202020204" pitchFamily="34" charset="0"/>
                <a:cs typeface="Arial" panose="020B0604020202020204" pitchFamily="34" charset="0"/>
              </a:rPr>
              <a:t>that often overlap</a:t>
            </a:r>
            <a:endParaRPr lang="en-GB" sz="1400" dirty="0">
              <a:solidFill>
                <a:srgbClr val="024DA1"/>
              </a:solidFill>
              <a:latin typeface="Arial" panose="020B0604020202020204" pitchFamily="34" charset="0"/>
              <a:cs typeface="Arial" panose="020B0604020202020204" pitchFamily="34" charset="0"/>
            </a:endParaRPr>
          </a:p>
        </p:txBody>
      </p:sp>
      <p:grpSp>
        <p:nvGrpSpPr>
          <p:cNvPr id="19" name="Group 18">
            <a:extLst>
              <a:ext uri="{FF2B5EF4-FFF2-40B4-BE49-F238E27FC236}">
                <a16:creationId xmlns:a16="http://schemas.microsoft.com/office/drawing/2014/main" id="{6AD94A23-3BD0-CFB2-C79C-FB197B45A500}"/>
              </a:ext>
            </a:extLst>
          </p:cNvPr>
          <p:cNvGrpSpPr/>
          <p:nvPr/>
        </p:nvGrpSpPr>
        <p:grpSpPr>
          <a:xfrm>
            <a:off x="938893" y="2375520"/>
            <a:ext cx="1899451" cy="1200150"/>
            <a:chOff x="933640" y="2217523"/>
            <a:chExt cx="1558640" cy="1022160"/>
          </a:xfrm>
        </p:grpSpPr>
        <p:sp>
          <p:nvSpPr>
            <p:cNvPr id="20" name="Oval 19">
              <a:extLst>
                <a:ext uri="{FF2B5EF4-FFF2-40B4-BE49-F238E27FC236}">
                  <a16:creationId xmlns:a16="http://schemas.microsoft.com/office/drawing/2014/main" id="{FFC7D664-EF45-8D89-247B-B016762BC620}"/>
                </a:ext>
              </a:extLst>
            </p:cNvPr>
            <p:cNvSpPr/>
            <p:nvPr/>
          </p:nvSpPr>
          <p:spPr>
            <a:xfrm>
              <a:off x="933640" y="2217523"/>
              <a:ext cx="1022160" cy="1022160"/>
            </a:xfrm>
            <a:prstGeom prst="ellipse">
              <a:avLst/>
            </a:prstGeom>
            <a:solidFill>
              <a:srgbClr val="14438E">
                <a:alpha val="20000"/>
              </a:srgbClr>
            </a:solidFill>
            <a:ln>
              <a:solidFill>
                <a:schemeClr val="bg1">
                  <a:lumMod val="85000"/>
                  <a:alpha val="2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Oval 20">
              <a:extLst>
                <a:ext uri="{FF2B5EF4-FFF2-40B4-BE49-F238E27FC236}">
                  <a16:creationId xmlns:a16="http://schemas.microsoft.com/office/drawing/2014/main" id="{44C34F92-59ED-3BB0-D398-D5D2EAB3BA59}"/>
                </a:ext>
              </a:extLst>
            </p:cNvPr>
            <p:cNvSpPr/>
            <p:nvPr/>
          </p:nvSpPr>
          <p:spPr>
            <a:xfrm>
              <a:off x="1470120" y="2217523"/>
              <a:ext cx="1022160" cy="1022160"/>
            </a:xfrm>
            <a:prstGeom prst="ellipse">
              <a:avLst/>
            </a:prstGeom>
            <a:solidFill>
              <a:srgbClr val="4BACC6">
                <a:alpha val="20000"/>
              </a:srgbClr>
            </a:solidFill>
            <a:ln>
              <a:solidFill>
                <a:schemeClr val="bg1">
                  <a:lumMod val="85000"/>
                  <a:alpha val="2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GB"/>
            </a:p>
          </p:txBody>
        </p:sp>
      </p:grpSp>
      <p:grpSp>
        <p:nvGrpSpPr>
          <p:cNvPr id="22" name="Group 21">
            <a:extLst>
              <a:ext uri="{FF2B5EF4-FFF2-40B4-BE49-F238E27FC236}">
                <a16:creationId xmlns:a16="http://schemas.microsoft.com/office/drawing/2014/main" id="{456F2279-11CE-1797-D928-18C2B1F5DBB1}"/>
              </a:ext>
            </a:extLst>
          </p:cNvPr>
          <p:cNvGrpSpPr/>
          <p:nvPr/>
        </p:nvGrpSpPr>
        <p:grpSpPr>
          <a:xfrm>
            <a:off x="3223666" y="2080298"/>
            <a:ext cx="5367492" cy="2028602"/>
            <a:chOff x="2769262" y="2589125"/>
            <a:chExt cx="5914186" cy="2028602"/>
          </a:xfrm>
        </p:grpSpPr>
        <p:sp>
          <p:nvSpPr>
            <p:cNvPr id="24" name="Rectangle: Rounded Corners 23">
              <a:extLst>
                <a:ext uri="{FF2B5EF4-FFF2-40B4-BE49-F238E27FC236}">
                  <a16:creationId xmlns:a16="http://schemas.microsoft.com/office/drawing/2014/main" id="{1A8C477A-19BE-72BE-200F-CBF8811FD4A5}"/>
                </a:ext>
              </a:extLst>
            </p:cNvPr>
            <p:cNvSpPr/>
            <p:nvPr/>
          </p:nvSpPr>
          <p:spPr>
            <a:xfrm>
              <a:off x="2769262" y="2589125"/>
              <a:ext cx="5914186" cy="340519"/>
            </a:xfrm>
            <a:prstGeom prst="roundRect">
              <a:avLst/>
            </a:prstGeom>
            <a:solidFill>
              <a:schemeClr val="bg1">
                <a:lumMod val="95000"/>
              </a:schemeClr>
            </a:solidFill>
            <a:ln>
              <a:noFill/>
            </a:ln>
          </p:spPr>
          <p:style>
            <a:lnRef idx="1">
              <a:schemeClr val="accent1"/>
            </a:lnRef>
            <a:fillRef idx="2">
              <a:schemeClr val="accent1"/>
            </a:fillRef>
            <a:effectRef idx="1">
              <a:schemeClr val="accent1"/>
            </a:effectRef>
            <a:fontRef idx="minor">
              <a:schemeClr val="dk1"/>
            </a:fontRef>
          </p:style>
          <p:txBody>
            <a:bodyPr wrap="square" rtlCol="0" anchor="t" anchorCtr="1">
              <a:spAutoFit/>
            </a:bodyPr>
            <a:lstStyle/>
            <a:p>
              <a:pPr algn="just"/>
              <a:r>
                <a:rPr lang="en-GB" sz="1400">
                  <a:solidFill>
                    <a:srgbClr val="024DA1"/>
                  </a:solidFill>
                  <a:latin typeface="Arial" panose="020B0604020202020204" pitchFamily="34" charset="0"/>
                </a:rPr>
                <a:t>Human rights</a:t>
              </a:r>
            </a:p>
          </p:txBody>
        </p:sp>
        <p:sp>
          <p:nvSpPr>
            <p:cNvPr id="26" name="Rectangle: Rounded Corners 25">
              <a:extLst>
                <a:ext uri="{FF2B5EF4-FFF2-40B4-BE49-F238E27FC236}">
                  <a16:creationId xmlns:a16="http://schemas.microsoft.com/office/drawing/2014/main" id="{4DA26EEE-DD81-0318-75C5-2152F51CA45C}"/>
                </a:ext>
              </a:extLst>
            </p:cNvPr>
            <p:cNvSpPr/>
            <p:nvPr/>
          </p:nvSpPr>
          <p:spPr>
            <a:xfrm>
              <a:off x="2769262" y="3047370"/>
              <a:ext cx="5914186" cy="578882"/>
            </a:xfrm>
            <a:prstGeom prst="roundRect">
              <a:avLst/>
            </a:prstGeom>
            <a:solidFill>
              <a:schemeClr val="bg1">
                <a:lumMod val="95000"/>
              </a:schemeClr>
            </a:solidFill>
            <a:ln>
              <a:noFill/>
            </a:ln>
          </p:spPr>
          <p:style>
            <a:lnRef idx="1">
              <a:schemeClr val="accent1"/>
            </a:lnRef>
            <a:fillRef idx="2">
              <a:schemeClr val="accent1"/>
            </a:fillRef>
            <a:effectRef idx="1">
              <a:schemeClr val="accent1"/>
            </a:effectRef>
            <a:fontRef idx="minor">
              <a:schemeClr val="dk1"/>
            </a:fontRef>
          </p:style>
          <p:txBody>
            <a:bodyPr wrap="square" rtlCol="0" anchor="t" anchorCtr="1">
              <a:spAutoFit/>
            </a:bodyPr>
            <a:lstStyle/>
            <a:p>
              <a:pPr algn="ctr"/>
              <a:r>
                <a:rPr lang="en-GB" sz="1400">
                  <a:solidFill>
                    <a:srgbClr val="024DA1"/>
                  </a:solidFill>
                  <a:latin typeface="Arial" panose="020B0604020202020204" pitchFamily="34" charset="0"/>
                </a:rPr>
                <a:t>Illegal substances which target vulnerable groups (e.g. illicit drugs or substances forbidden for underage people)</a:t>
              </a:r>
            </a:p>
          </p:txBody>
        </p:sp>
        <p:sp>
          <p:nvSpPr>
            <p:cNvPr id="27" name="Rectangle: Rounded Corners 26">
              <a:extLst>
                <a:ext uri="{FF2B5EF4-FFF2-40B4-BE49-F238E27FC236}">
                  <a16:creationId xmlns:a16="http://schemas.microsoft.com/office/drawing/2014/main" id="{43A2B8AE-8B40-618F-F0C9-488AB917AED7}"/>
                </a:ext>
              </a:extLst>
            </p:cNvPr>
            <p:cNvSpPr/>
            <p:nvPr/>
          </p:nvSpPr>
          <p:spPr>
            <a:xfrm>
              <a:off x="2769262" y="3743978"/>
              <a:ext cx="5914186" cy="340519"/>
            </a:xfrm>
            <a:prstGeom prst="roundRect">
              <a:avLst/>
            </a:prstGeom>
            <a:solidFill>
              <a:schemeClr val="bg1">
                <a:lumMod val="95000"/>
              </a:schemeClr>
            </a:solidFill>
            <a:ln>
              <a:noFill/>
            </a:ln>
          </p:spPr>
          <p:style>
            <a:lnRef idx="1">
              <a:schemeClr val="accent1"/>
            </a:lnRef>
            <a:fillRef idx="2">
              <a:schemeClr val="accent1"/>
            </a:fillRef>
            <a:effectRef idx="1">
              <a:schemeClr val="accent1"/>
            </a:effectRef>
            <a:fontRef idx="minor">
              <a:schemeClr val="dk1"/>
            </a:fontRef>
          </p:style>
          <p:txBody>
            <a:bodyPr wrap="square" rtlCol="0" anchor="t" anchorCtr="1">
              <a:spAutoFit/>
            </a:bodyPr>
            <a:lstStyle/>
            <a:p>
              <a:pPr algn="ctr"/>
              <a:r>
                <a:rPr lang="es-ES" sz="1400">
                  <a:solidFill>
                    <a:srgbClr val="024DA1"/>
                  </a:solidFill>
                  <a:latin typeface="Arial" panose="020B0604020202020204" pitchFamily="34" charset="0"/>
                </a:rPr>
                <a:t>R</a:t>
              </a:r>
              <a:r>
                <a:rPr lang="en-GB" sz="1400">
                  <a:solidFill>
                    <a:srgbClr val="024DA1"/>
                  </a:solidFill>
                  <a:latin typeface="Arial" panose="020B0604020202020204" pitchFamily="34" charset="0"/>
                </a:rPr>
                <a:t>eligion</a:t>
              </a:r>
            </a:p>
          </p:txBody>
        </p:sp>
        <p:sp>
          <p:nvSpPr>
            <p:cNvPr id="28" name="Rectangle: Rounded Corners 27">
              <a:extLst>
                <a:ext uri="{FF2B5EF4-FFF2-40B4-BE49-F238E27FC236}">
                  <a16:creationId xmlns:a16="http://schemas.microsoft.com/office/drawing/2014/main" id="{DE282900-C90B-F42B-AE98-ED5713680A50}"/>
                </a:ext>
              </a:extLst>
            </p:cNvPr>
            <p:cNvSpPr/>
            <p:nvPr/>
          </p:nvSpPr>
          <p:spPr>
            <a:xfrm>
              <a:off x="2769262" y="4202223"/>
              <a:ext cx="5914186" cy="415504"/>
            </a:xfrm>
            <a:prstGeom prst="roundRect">
              <a:avLst/>
            </a:prstGeom>
            <a:solidFill>
              <a:schemeClr val="bg1">
                <a:lumMod val="95000"/>
              </a:schemeClr>
            </a:solidFill>
            <a:ln>
              <a:noFill/>
            </a:ln>
          </p:spPr>
          <p:style>
            <a:lnRef idx="1">
              <a:schemeClr val="accent1"/>
            </a:lnRef>
            <a:fillRef idx="2">
              <a:schemeClr val="accent1"/>
            </a:fillRef>
            <a:effectRef idx="1">
              <a:schemeClr val="accent1"/>
            </a:effectRef>
            <a:fontRef idx="minor">
              <a:schemeClr val="dk1"/>
            </a:fontRef>
          </p:style>
          <p:txBody>
            <a:bodyPr wrap="square" rtlCol="0" anchor="t" anchorCtr="1">
              <a:spAutoFit/>
            </a:bodyPr>
            <a:lstStyle/>
            <a:p>
              <a:pPr>
                <a:lnSpc>
                  <a:spcPct val="150000"/>
                </a:lnSpc>
              </a:pPr>
              <a:r>
                <a:rPr lang="en-GB" sz="1400">
                  <a:solidFill>
                    <a:srgbClr val="024DA1"/>
                  </a:solidFill>
                  <a:latin typeface="Arial" panose="020B0604020202020204" pitchFamily="34" charset="0"/>
                </a:rPr>
                <a:t>Criminal activities/organisations (e.g. terrorism, the mafia)</a:t>
              </a:r>
            </a:p>
          </p:txBody>
        </p:sp>
      </p:grpSp>
      <p:sp>
        <p:nvSpPr>
          <p:cNvPr id="29" name="TextBox 28">
            <a:extLst>
              <a:ext uri="{FF2B5EF4-FFF2-40B4-BE49-F238E27FC236}">
                <a16:creationId xmlns:a16="http://schemas.microsoft.com/office/drawing/2014/main" id="{FE409A7F-61C8-A959-7FB9-911C980F32B5}"/>
              </a:ext>
            </a:extLst>
          </p:cNvPr>
          <p:cNvSpPr txBox="1"/>
          <p:nvPr/>
        </p:nvSpPr>
        <p:spPr>
          <a:xfrm>
            <a:off x="3249522" y="1346897"/>
            <a:ext cx="5348912" cy="307777"/>
          </a:xfrm>
          <a:prstGeom prst="rect">
            <a:avLst/>
          </a:prstGeom>
          <a:noFill/>
        </p:spPr>
        <p:txBody>
          <a:bodyPr wrap="square">
            <a:spAutoFit/>
          </a:bodyPr>
          <a:lstStyle/>
          <a:p>
            <a:pPr algn="ctr"/>
            <a:r>
              <a:rPr lang="en-GB" sz="1400" b="1">
                <a:solidFill>
                  <a:srgbClr val="024DA1"/>
                </a:solidFill>
                <a:latin typeface="Arial" panose="020B0604020202020204" pitchFamily="34" charset="0"/>
                <a:ea typeface="Times New Roman" panose="02020603050405020304" pitchFamily="18" charset="0"/>
              </a:rPr>
              <a:t>Scenarios where a sign could be contrary to both concepts:</a:t>
            </a:r>
          </a:p>
        </p:txBody>
      </p:sp>
    </p:spTree>
    <p:extLst>
      <p:ext uri="{BB962C8B-B14F-4D97-AF65-F5344CB8AC3E}">
        <p14:creationId xmlns:p14="http://schemas.microsoft.com/office/powerpoint/2010/main" val="34543503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4 Freedom of expression</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4" name="Rectangle: Rounded Corners 3">
            <a:extLst>
              <a:ext uri="{FF2B5EF4-FFF2-40B4-BE49-F238E27FC236}">
                <a16:creationId xmlns:a16="http://schemas.microsoft.com/office/drawing/2014/main" id="{77A000E4-96D2-20B0-1BC8-B79A633625AE}"/>
              </a:ext>
            </a:extLst>
          </p:cNvPr>
          <p:cNvSpPr/>
          <p:nvPr/>
        </p:nvSpPr>
        <p:spPr>
          <a:xfrm>
            <a:off x="3943107" y="2755076"/>
            <a:ext cx="4812529" cy="340519"/>
          </a:xfrm>
          <a:prstGeom prst="roundRect">
            <a:avLst/>
          </a:prstGeom>
          <a:solidFill>
            <a:srgbClr val="F2F2F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360000" defTabSz="622300">
              <a:lnSpc>
                <a:spcPct val="90000"/>
              </a:lnSpc>
              <a:spcBef>
                <a:spcPct val="0"/>
              </a:spcBef>
              <a:spcAft>
                <a:spcPct val="35000"/>
              </a:spcAft>
            </a:pPr>
            <a:r>
              <a:rPr lang="en-GB" sz="1400" b="1" kern="1200" dirty="0">
                <a:solidFill>
                  <a:srgbClr val="024DA1"/>
                </a:solidFill>
                <a:latin typeface="Arial "/>
                <a:ea typeface="+mn-ea"/>
                <a:cs typeface="+mn-cs"/>
              </a:rPr>
              <a:t>Reference to the </a:t>
            </a:r>
            <a:r>
              <a:rPr lang="en-GB" sz="1400" b="1" kern="1200" dirty="0" err="1">
                <a:solidFill>
                  <a:srgbClr val="024DA1"/>
                </a:solidFill>
                <a:latin typeface="Arial "/>
                <a:ea typeface="+mn-ea"/>
                <a:cs typeface="+mn-cs"/>
              </a:rPr>
              <a:t>Fack</a:t>
            </a:r>
            <a:r>
              <a:rPr lang="en-GB" sz="1400" b="1" kern="1200" dirty="0">
                <a:solidFill>
                  <a:srgbClr val="024DA1"/>
                </a:solidFill>
                <a:latin typeface="Arial "/>
                <a:ea typeface="+mn-ea"/>
                <a:cs typeface="+mn-cs"/>
              </a:rPr>
              <a:t> Ju </a:t>
            </a:r>
            <a:r>
              <a:rPr lang="en-GB" sz="1400" b="1" kern="1200" dirty="0" err="1">
                <a:solidFill>
                  <a:srgbClr val="024DA1"/>
                </a:solidFill>
                <a:latin typeface="Arial "/>
                <a:ea typeface="+mn-ea"/>
                <a:cs typeface="+mn-cs"/>
              </a:rPr>
              <a:t>Göhte</a:t>
            </a:r>
            <a:r>
              <a:rPr lang="en-GB" sz="1400" b="1" kern="1200" dirty="0">
                <a:solidFill>
                  <a:srgbClr val="024DA1"/>
                </a:solidFill>
                <a:latin typeface="Arial "/>
                <a:ea typeface="+mn-ea"/>
                <a:cs typeface="+mn-cs"/>
              </a:rPr>
              <a:t> case*</a:t>
            </a:r>
            <a:endParaRPr lang="en-GB" sz="1400" kern="1200" dirty="0">
              <a:solidFill>
                <a:srgbClr val="024DA1"/>
              </a:solidFill>
              <a:latin typeface="Arial "/>
              <a:ea typeface="+mn-ea"/>
              <a:cs typeface="+mn-cs"/>
            </a:endParaRPr>
          </a:p>
        </p:txBody>
      </p:sp>
      <p:sp>
        <p:nvSpPr>
          <p:cNvPr id="5" name="TextBox 4">
            <a:extLst>
              <a:ext uri="{FF2B5EF4-FFF2-40B4-BE49-F238E27FC236}">
                <a16:creationId xmlns:a16="http://schemas.microsoft.com/office/drawing/2014/main" id="{8D0E2585-530F-56C1-140D-8EB59C1F9A96}"/>
              </a:ext>
            </a:extLst>
          </p:cNvPr>
          <p:cNvSpPr txBox="1"/>
          <p:nvPr/>
        </p:nvSpPr>
        <p:spPr>
          <a:xfrm>
            <a:off x="652207" y="3032048"/>
            <a:ext cx="2903789" cy="1055608"/>
          </a:xfrm>
          <a:prstGeom prst="roundRect">
            <a:avLst/>
          </a:prstGeom>
          <a:ln>
            <a:solidFill>
              <a:srgbClr val="4BACC6"/>
            </a:solidFill>
            <a:prstDash val="sysDash"/>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GB" sz="1400" b="1" dirty="0">
                <a:solidFill>
                  <a:srgbClr val="024DA1"/>
                </a:solidFill>
                <a:latin typeface="Arial" panose="020B0604020202020204" pitchFamily="34" charset="0"/>
                <a:cs typeface="Arial" panose="020B0604020202020204" pitchFamily="34" charset="0"/>
              </a:rPr>
              <a:t>The impact of this principle on the assessment </a:t>
            </a:r>
            <a:r>
              <a:rPr lang="en-GB" sz="1400" b="1">
                <a:solidFill>
                  <a:srgbClr val="024DA1"/>
                </a:solidFill>
                <a:latin typeface="Arial" panose="020B0604020202020204" pitchFamily="34" charset="0"/>
                <a:cs typeface="Arial" panose="020B0604020202020204" pitchFamily="34" charset="0"/>
              </a:rPr>
              <a:t>of Article 4(1</a:t>
            </a:r>
            <a:r>
              <a:rPr lang="en-GB" sz="1400" b="1" dirty="0">
                <a:solidFill>
                  <a:srgbClr val="024DA1"/>
                </a:solidFill>
                <a:latin typeface="Arial" panose="020B0604020202020204" pitchFamily="34" charset="0"/>
                <a:cs typeface="Arial" panose="020B0604020202020204" pitchFamily="34" charset="0"/>
              </a:rPr>
              <a:t>)(f) TMD is currently not settled in EU trade </a:t>
            </a:r>
            <a:r>
              <a:rPr lang="en-GB" sz="1400" b="1">
                <a:solidFill>
                  <a:srgbClr val="024DA1"/>
                </a:solidFill>
                <a:latin typeface="Arial" panose="020B0604020202020204" pitchFamily="34" charset="0"/>
                <a:cs typeface="Arial" panose="020B0604020202020204" pitchFamily="34" charset="0"/>
              </a:rPr>
              <a:t>mark law</a:t>
            </a:r>
            <a:endParaRPr lang="en-GB" sz="1400" b="1" dirty="0">
              <a:solidFill>
                <a:srgbClr val="024DA1"/>
              </a:solidFill>
              <a:latin typeface="Arial" panose="020B0604020202020204" pitchFamily="34" charset="0"/>
              <a:cs typeface="Arial" panose="020B0604020202020204" pitchFamily="34" charset="0"/>
            </a:endParaRPr>
          </a:p>
        </p:txBody>
      </p:sp>
      <p:sp>
        <p:nvSpPr>
          <p:cNvPr id="26" name="Rectangle: Rounded Corners 25">
            <a:extLst>
              <a:ext uri="{FF2B5EF4-FFF2-40B4-BE49-F238E27FC236}">
                <a16:creationId xmlns:a16="http://schemas.microsoft.com/office/drawing/2014/main" id="{E385C8AC-B2C9-4720-A6E7-E6AC7507D709}"/>
              </a:ext>
            </a:extLst>
          </p:cNvPr>
          <p:cNvSpPr/>
          <p:nvPr/>
        </p:nvSpPr>
        <p:spPr>
          <a:xfrm>
            <a:off x="3943109" y="1718677"/>
            <a:ext cx="4812529" cy="340519"/>
          </a:xfrm>
          <a:prstGeom prst="roundRect">
            <a:avLst/>
          </a:prstGeom>
          <a:solidFill>
            <a:srgbClr val="F2F2F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360000" defTabSz="622300">
              <a:lnSpc>
                <a:spcPct val="90000"/>
              </a:lnSpc>
              <a:spcBef>
                <a:spcPct val="0"/>
              </a:spcBef>
              <a:spcAft>
                <a:spcPct val="35000"/>
              </a:spcAft>
            </a:pPr>
            <a:r>
              <a:rPr lang="en-GB" sz="1400" b="1" kern="1200" dirty="0">
                <a:solidFill>
                  <a:srgbClr val="024DA1"/>
                </a:solidFill>
                <a:latin typeface="Arial "/>
                <a:ea typeface="+mn-ea"/>
                <a:cs typeface="+mn-cs"/>
              </a:rPr>
              <a:t>Assessment is out of scope of the project</a:t>
            </a:r>
            <a:endParaRPr lang="en-GB" sz="1400" kern="1200" dirty="0">
              <a:solidFill>
                <a:srgbClr val="024DA1"/>
              </a:solidFill>
              <a:latin typeface="Arial "/>
              <a:ea typeface="+mn-ea"/>
              <a:cs typeface="+mn-cs"/>
            </a:endParaRPr>
          </a:p>
        </p:txBody>
      </p:sp>
      <p:sp>
        <p:nvSpPr>
          <p:cNvPr id="7" name="TextBox 6">
            <a:extLst>
              <a:ext uri="{FF2B5EF4-FFF2-40B4-BE49-F238E27FC236}">
                <a16:creationId xmlns:a16="http://schemas.microsoft.com/office/drawing/2014/main" id="{90A05E51-E5E9-7938-865E-CB888CDDAA58}"/>
              </a:ext>
            </a:extLst>
          </p:cNvPr>
          <p:cNvSpPr txBox="1"/>
          <p:nvPr/>
        </p:nvSpPr>
        <p:spPr>
          <a:xfrm>
            <a:off x="652207" y="2016412"/>
            <a:ext cx="2903790" cy="1055608"/>
          </a:xfrm>
          <a:prstGeom prst="roundRect">
            <a:avLst/>
          </a:prstGeom>
          <a:ln>
            <a:solidFill>
              <a:srgbClr val="4BACC6"/>
            </a:solidFill>
          </a:ln>
        </p:spPr>
        <p:style>
          <a:lnRef idx="2">
            <a:schemeClr val="accent1"/>
          </a:lnRef>
          <a:fillRef idx="1">
            <a:schemeClr val="lt1"/>
          </a:fillRef>
          <a:effectRef idx="0">
            <a:schemeClr val="accent1"/>
          </a:effectRef>
          <a:fontRef idx="minor">
            <a:schemeClr val="dk1"/>
          </a:fontRef>
        </p:style>
        <p:txBody>
          <a:bodyPr wrap="square" rtlCol="0">
            <a:spAutoFit/>
          </a:bodyPr>
          <a:lstStyle/>
          <a:p>
            <a:pPr algn="ctr"/>
            <a:r>
              <a:rPr lang="en-GB" sz="1400" b="1" dirty="0">
                <a:solidFill>
                  <a:srgbClr val="024DA1"/>
                </a:solidFill>
                <a:latin typeface="Arial" panose="020B0604020202020204" pitchFamily="34" charset="0"/>
                <a:ea typeface="Times New Roman" panose="02020603050405020304" pitchFamily="18" charset="0"/>
              </a:rPr>
              <a:t>Freedom of expression must be taken into account according to CJEU in Fack </a:t>
            </a:r>
            <a:r>
              <a:rPr lang="en-GB" sz="1400" b="1">
                <a:solidFill>
                  <a:srgbClr val="024DA1"/>
                </a:solidFill>
                <a:latin typeface="Arial" panose="020B0604020202020204" pitchFamily="34" charset="0"/>
                <a:ea typeface="Times New Roman" panose="02020603050405020304" pitchFamily="18" charset="0"/>
              </a:rPr>
              <a:t>Ju Göhte case*</a:t>
            </a:r>
            <a:endParaRPr lang="en-GB" sz="1400" b="1" dirty="0">
              <a:solidFill>
                <a:srgbClr val="024DA1"/>
              </a:solidFill>
              <a:latin typeface="Arial" panose="020B0604020202020204" pitchFamily="34" charset="0"/>
              <a:ea typeface="Times New Roman" panose="02020603050405020304" pitchFamily="18" charset="0"/>
            </a:endParaRPr>
          </a:p>
        </p:txBody>
      </p:sp>
      <p:sp>
        <p:nvSpPr>
          <p:cNvPr id="10" name="Rectangle: Rounded Corners 9">
            <a:extLst>
              <a:ext uri="{FF2B5EF4-FFF2-40B4-BE49-F238E27FC236}">
                <a16:creationId xmlns:a16="http://schemas.microsoft.com/office/drawing/2014/main" id="{37268655-351E-7CC1-C632-5C946C08B39E}"/>
              </a:ext>
            </a:extLst>
          </p:cNvPr>
          <p:cNvSpPr/>
          <p:nvPr/>
        </p:nvSpPr>
        <p:spPr>
          <a:xfrm>
            <a:off x="3943108" y="3727136"/>
            <a:ext cx="4812529" cy="531209"/>
          </a:xfrm>
          <a:prstGeom prst="roundRect">
            <a:avLst/>
          </a:prstGeom>
          <a:solidFill>
            <a:srgbClr val="F2F2F2"/>
          </a:solidFill>
          <a:ln>
            <a:noFill/>
          </a:ln>
        </p:spPr>
        <p:style>
          <a:lnRef idx="1">
            <a:schemeClr val="accent1"/>
          </a:lnRef>
          <a:fillRef idx="2">
            <a:schemeClr val="accent1"/>
          </a:fillRef>
          <a:effectRef idx="1">
            <a:schemeClr val="accent1"/>
          </a:effectRef>
          <a:fontRef idx="minor">
            <a:schemeClr val="dk1"/>
          </a:fontRef>
        </p:style>
        <p:txBody>
          <a:bodyPr wrap="square" rtlCol="0" anchor="ctr" anchorCtr="1">
            <a:spAutoFit/>
          </a:bodyPr>
          <a:lstStyle/>
          <a:p>
            <a:pPr marL="0" lvl="0" indent="0" defTabSz="622300">
              <a:lnSpc>
                <a:spcPct val="90000"/>
              </a:lnSpc>
              <a:spcBef>
                <a:spcPct val="0"/>
              </a:spcBef>
              <a:spcAft>
                <a:spcPct val="35000"/>
              </a:spcAft>
              <a:buNone/>
            </a:pPr>
            <a:r>
              <a:rPr lang="en-GB" sz="1400" b="1">
                <a:solidFill>
                  <a:srgbClr val="024DA1"/>
                </a:solidFill>
                <a:latin typeface="Arial "/>
                <a:ea typeface="+mn-ea"/>
                <a:cs typeface="+mn-cs"/>
              </a:rPr>
              <a:t>Appendix </a:t>
            </a:r>
            <a:r>
              <a:rPr lang="en-GB" sz="1400" b="1" dirty="0">
                <a:solidFill>
                  <a:srgbClr val="024DA1"/>
                </a:solidFill>
                <a:latin typeface="Arial "/>
                <a:ea typeface="+mn-ea"/>
                <a:cs typeface="+mn-cs"/>
              </a:rPr>
              <a:t>on ‘Potentially relevant legal sources in relation to freedom of expression’</a:t>
            </a:r>
            <a:endParaRPr lang="en-GB" sz="1400" b="1" kern="1200" dirty="0">
              <a:solidFill>
                <a:srgbClr val="024DA1"/>
              </a:solidFill>
              <a:latin typeface="Arial "/>
              <a:ea typeface="+mn-ea"/>
              <a:cs typeface="+mn-cs"/>
            </a:endParaRPr>
          </a:p>
        </p:txBody>
      </p:sp>
      <p:sp>
        <p:nvSpPr>
          <p:cNvPr id="16" name="Oval 15">
            <a:extLst>
              <a:ext uri="{FF2B5EF4-FFF2-40B4-BE49-F238E27FC236}">
                <a16:creationId xmlns:a16="http://schemas.microsoft.com/office/drawing/2014/main" id="{66A47975-74A4-4CBB-86EF-8CA4529C7EE9}"/>
              </a:ext>
            </a:extLst>
          </p:cNvPr>
          <p:cNvSpPr/>
          <p:nvPr/>
        </p:nvSpPr>
        <p:spPr>
          <a:xfrm>
            <a:off x="3719162" y="2711034"/>
            <a:ext cx="443712" cy="428601"/>
          </a:xfrm>
          <a:prstGeom prst="ellipse">
            <a:avLst/>
          </a:prstGeom>
          <a:solidFill>
            <a:schemeClr val="bg1"/>
          </a:solidFill>
          <a:ln>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2" name="Group 31">
            <a:extLst>
              <a:ext uri="{FF2B5EF4-FFF2-40B4-BE49-F238E27FC236}">
                <a16:creationId xmlns:a16="http://schemas.microsoft.com/office/drawing/2014/main" id="{EB6514AB-D21E-15F9-CFF6-921475932F97}"/>
              </a:ext>
            </a:extLst>
          </p:cNvPr>
          <p:cNvGrpSpPr/>
          <p:nvPr/>
        </p:nvGrpSpPr>
        <p:grpSpPr>
          <a:xfrm>
            <a:off x="3723339" y="1667629"/>
            <a:ext cx="439535" cy="455328"/>
            <a:chOff x="3723339" y="1667629"/>
            <a:chExt cx="439535" cy="455328"/>
          </a:xfrm>
          <a:solidFill>
            <a:schemeClr val="bg1"/>
          </a:solidFill>
        </p:grpSpPr>
        <p:sp>
          <p:nvSpPr>
            <p:cNvPr id="17" name="Oval 16">
              <a:extLst>
                <a:ext uri="{FF2B5EF4-FFF2-40B4-BE49-F238E27FC236}">
                  <a16:creationId xmlns:a16="http://schemas.microsoft.com/office/drawing/2014/main" id="{CD79F1FE-ED11-6B56-8905-5909DC90DA7F}"/>
                </a:ext>
              </a:extLst>
            </p:cNvPr>
            <p:cNvSpPr/>
            <p:nvPr/>
          </p:nvSpPr>
          <p:spPr>
            <a:xfrm>
              <a:off x="3723339" y="1667629"/>
              <a:ext cx="439535" cy="455328"/>
            </a:xfrm>
            <a:prstGeom prst="ellipse">
              <a:avLst/>
            </a:prstGeom>
            <a:grpFill/>
            <a:ln>
              <a:solidFill>
                <a:srgbClr val="4BACC6"/>
              </a:solidFill>
            </a:ln>
            <a:effectLst>
              <a:outerShdw blurRad="762000" dist="254000" dir="5400000" algn="ctr" rotWithShape="0">
                <a:schemeClr val="accent1">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9" name="Google Shape;1488;p52">
              <a:extLst>
                <a:ext uri="{FF2B5EF4-FFF2-40B4-BE49-F238E27FC236}">
                  <a16:creationId xmlns:a16="http://schemas.microsoft.com/office/drawing/2014/main" id="{AF5A56B1-9031-1AC6-5000-9E9F455E0325}"/>
                </a:ext>
              </a:extLst>
            </p:cNvPr>
            <p:cNvGrpSpPr/>
            <p:nvPr/>
          </p:nvGrpSpPr>
          <p:grpSpPr>
            <a:xfrm>
              <a:off x="3784285" y="1733306"/>
              <a:ext cx="317645" cy="325890"/>
              <a:chOff x="5779408" y="3699191"/>
              <a:chExt cx="317645" cy="318757"/>
            </a:xfrm>
            <a:grpFill/>
          </p:grpSpPr>
          <p:sp>
            <p:nvSpPr>
              <p:cNvPr id="30" name="Google Shape;1489;p52">
                <a:extLst>
                  <a:ext uri="{FF2B5EF4-FFF2-40B4-BE49-F238E27FC236}">
                    <a16:creationId xmlns:a16="http://schemas.microsoft.com/office/drawing/2014/main" id="{8B670256-8A51-4A84-F01E-2E4B79B15886}"/>
                  </a:ext>
                </a:extLst>
              </p:cNvPr>
              <p:cNvSpPr/>
              <p:nvPr/>
            </p:nvSpPr>
            <p:spPr>
              <a:xfrm>
                <a:off x="5892837" y="3700334"/>
                <a:ext cx="204216" cy="317614"/>
              </a:xfrm>
              <a:custGeom>
                <a:avLst/>
                <a:gdLst/>
                <a:ahLst/>
                <a:cxnLst/>
                <a:rect l="l" t="t" r="r" b="b"/>
                <a:pathLst>
                  <a:path w="6431" h="10002" extrusionOk="0">
                    <a:moveTo>
                      <a:pt x="4025" y="0"/>
                    </a:moveTo>
                    <a:cubicBezTo>
                      <a:pt x="3870" y="0"/>
                      <a:pt x="3704" y="60"/>
                      <a:pt x="3608" y="179"/>
                    </a:cubicBezTo>
                    <a:lnTo>
                      <a:pt x="1465" y="2322"/>
                    </a:lnTo>
                    <a:lnTo>
                      <a:pt x="299" y="1167"/>
                    </a:lnTo>
                    <a:cubicBezTo>
                      <a:pt x="269" y="1138"/>
                      <a:pt x="227" y="1123"/>
                      <a:pt x="184" y="1123"/>
                    </a:cubicBezTo>
                    <a:cubicBezTo>
                      <a:pt x="141" y="1123"/>
                      <a:pt x="96" y="1138"/>
                      <a:pt x="60" y="1167"/>
                    </a:cubicBezTo>
                    <a:cubicBezTo>
                      <a:pt x="1" y="1227"/>
                      <a:pt x="1" y="1322"/>
                      <a:pt x="60" y="1405"/>
                    </a:cubicBezTo>
                    <a:lnTo>
                      <a:pt x="1346" y="2679"/>
                    </a:lnTo>
                    <a:cubicBezTo>
                      <a:pt x="1370" y="2715"/>
                      <a:pt x="1418" y="2727"/>
                      <a:pt x="1465" y="2727"/>
                    </a:cubicBezTo>
                    <a:cubicBezTo>
                      <a:pt x="1501" y="2727"/>
                      <a:pt x="1549" y="2715"/>
                      <a:pt x="1584" y="2679"/>
                    </a:cubicBezTo>
                    <a:lnTo>
                      <a:pt x="3847" y="417"/>
                    </a:lnTo>
                    <a:cubicBezTo>
                      <a:pt x="3882" y="370"/>
                      <a:pt x="3966" y="346"/>
                      <a:pt x="4037" y="346"/>
                    </a:cubicBezTo>
                    <a:cubicBezTo>
                      <a:pt x="4109" y="346"/>
                      <a:pt x="4168" y="370"/>
                      <a:pt x="4228" y="417"/>
                    </a:cubicBezTo>
                    <a:lnTo>
                      <a:pt x="6049" y="2239"/>
                    </a:lnTo>
                    <a:cubicBezTo>
                      <a:pt x="6085" y="2275"/>
                      <a:pt x="6121" y="2358"/>
                      <a:pt x="6121" y="2429"/>
                    </a:cubicBezTo>
                    <a:cubicBezTo>
                      <a:pt x="6121" y="2501"/>
                      <a:pt x="6085" y="2560"/>
                      <a:pt x="6049" y="2620"/>
                    </a:cubicBezTo>
                    <a:lnTo>
                      <a:pt x="3775" y="4882"/>
                    </a:lnTo>
                    <a:cubicBezTo>
                      <a:pt x="3716" y="4942"/>
                      <a:pt x="3716" y="5049"/>
                      <a:pt x="3775" y="5120"/>
                    </a:cubicBezTo>
                    <a:lnTo>
                      <a:pt x="6049" y="7382"/>
                    </a:lnTo>
                    <a:cubicBezTo>
                      <a:pt x="6085" y="7430"/>
                      <a:pt x="6121" y="7501"/>
                      <a:pt x="6121" y="7573"/>
                    </a:cubicBezTo>
                    <a:cubicBezTo>
                      <a:pt x="6121" y="7656"/>
                      <a:pt x="6085" y="7716"/>
                      <a:pt x="6049" y="7775"/>
                    </a:cubicBezTo>
                    <a:lnTo>
                      <a:pt x="4228" y="9585"/>
                    </a:lnTo>
                    <a:cubicBezTo>
                      <a:pt x="4174" y="9639"/>
                      <a:pt x="4103" y="9665"/>
                      <a:pt x="4033" y="9665"/>
                    </a:cubicBezTo>
                    <a:cubicBezTo>
                      <a:pt x="3963" y="9665"/>
                      <a:pt x="3894" y="9639"/>
                      <a:pt x="3847" y="9585"/>
                    </a:cubicBezTo>
                    <a:lnTo>
                      <a:pt x="2989" y="8740"/>
                    </a:lnTo>
                    <a:cubicBezTo>
                      <a:pt x="2960" y="8710"/>
                      <a:pt x="2921" y="8695"/>
                      <a:pt x="2879" y="8695"/>
                    </a:cubicBezTo>
                    <a:cubicBezTo>
                      <a:pt x="2838" y="8695"/>
                      <a:pt x="2793" y="8710"/>
                      <a:pt x="2751" y="8740"/>
                    </a:cubicBezTo>
                    <a:cubicBezTo>
                      <a:pt x="2692" y="8799"/>
                      <a:pt x="2692" y="8906"/>
                      <a:pt x="2751" y="8978"/>
                    </a:cubicBezTo>
                    <a:lnTo>
                      <a:pt x="3608" y="9823"/>
                    </a:lnTo>
                    <a:cubicBezTo>
                      <a:pt x="3728" y="9942"/>
                      <a:pt x="3870" y="10002"/>
                      <a:pt x="4025" y="10002"/>
                    </a:cubicBezTo>
                    <a:cubicBezTo>
                      <a:pt x="4168" y="10002"/>
                      <a:pt x="4335" y="9942"/>
                      <a:pt x="4442" y="9823"/>
                    </a:cubicBezTo>
                    <a:lnTo>
                      <a:pt x="6252" y="8013"/>
                    </a:lnTo>
                    <a:cubicBezTo>
                      <a:pt x="6371" y="7894"/>
                      <a:pt x="6430" y="7740"/>
                      <a:pt x="6430" y="7597"/>
                    </a:cubicBezTo>
                    <a:cubicBezTo>
                      <a:pt x="6430" y="7430"/>
                      <a:pt x="6371" y="7275"/>
                      <a:pt x="6252" y="7180"/>
                    </a:cubicBezTo>
                    <a:lnTo>
                      <a:pt x="4109" y="4977"/>
                    </a:lnTo>
                    <a:lnTo>
                      <a:pt x="6252" y="2834"/>
                    </a:lnTo>
                    <a:cubicBezTo>
                      <a:pt x="6371" y="2715"/>
                      <a:pt x="6430" y="2560"/>
                      <a:pt x="6430" y="2417"/>
                    </a:cubicBezTo>
                    <a:cubicBezTo>
                      <a:pt x="6430" y="2251"/>
                      <a:pt x="6371" y="2096"/>
                      <a:pt x="6252" y="2001"/>
                    </a:cubicBezTo>
                    <a:lnTo>
                      <a:pt x="4442" y="179"/>
                    </a:lnTo>
                    <a:cubicBezTo>
                      <a:pt x="4323" y="60"/>
                      <a:pt x="4168" y="0"/>
                      <a:pt x="4025" y="0"/>
                    </a:cubicBezTo>
                    <a:close/>
                  </a:path>
                </a:pathLst>
              </a:custGeom>
              <a:grpFill/>
              <a:ln>
                <a:solidFill>
                  <a:srgbClr val="14438E"/>
                </a:solidFill>
              </a:ln>
            </p:spPr>
            <p:txBody>
              <a:bodyPr spcFirstLastPara="1" wrap="square" lIns="91425" tIns="91425" rIns="91425" bIns="91425" anchor="ctr" anchorCtr="0">
                <a:noAutofit/>
              </a:bodyPr>
              <a:lstStyle/>
              <a:p>
                <a:endParaRPr/>
              </a:p>
            </p:txBody>
          </p:sp>
          <p:sp>
            <p:nvSpPr>
              <p:cNvPr id="31" name="Google Shape;1490;p52">
                <a:extLst>
                  <a:ext uri="{FF2B5EF4-FFF2-40B4-BE49-F238E27FC236}">
                    <a16:creationId xmlns:a16="http://schemas.microsoft.com/office/drawing/2014/main" id="{D22C8F7C-D001-9BFA-1EC7-DECB7AA1E6FD}"/>
                  </a:ext>
                </a:extLst>
              </p:cNvPr>
              <p:cNvSpPr/>
              <p:nvPr/>
            </p:nvSpPr>
            <p:spPr>
              <a:xfrm>
                <a:off x="5779408" y="3699191"/>
                <a:ext cx="195134" cy="316883"/>
              </a:xfrm>
              <a:custGeom>
                <a:avLst/>
                <a:gdLst/>
                <a:ahLst/>
                <a:cxnLst/>
                <a:rect l="l" t="t" r="r" b="b"/>
                <a:pathLst>
                  <a:path w="6145" h="9979" extrusionOk="0">
                    <a:moveTo>
                      <a:pt x="2477" y="1"/>
                    </a:moveTo>
                    <a:cubicBezTo>
                      <a:pt x="2311" y="1"/>
                      <a:pt x="2156" y="60"/>
                      <a:pt x="2061" y="179"/>
                    </a:cubicBezTo>
                    <a:lnTo>
                      <a:pt x="239" y="2001"/>
                    </a:lnTo>
                    <a:cubicBezTo>
                      <a:pt x="1" y="2239"/>
                      <a:pt x="1" y="2608"/>
                      <a:pt x="239" y="2846"/>
                    </a:cubicBezTo>
                    <a:lnTo>
                      <a:pt x="2382" y="4989"/>
                    </a:lnTo>
                    <a:lnTo>
                      <a:pt x="239" y="7133"/>
                    </a:lnTo>
                    <a:cubicBezTo>
                      <a:pt x="1" y="7371"/>
                      <a:pt x="1" y="7752"/>
                      <a:pt x="239" y="7990"/>
                    </a:cubicBezTo>
                    <a:lnTo>
                      <a:pt x="2061" y="9800"/>
                    </a:lnTo>
                    <a:cubicBezTo>
                      <a:pt x="2180" y="9919"/>
                      <a:pt x="2323" y="9978"/>
                      <a:pt x="2477" y="9978"/>
                    </a:cubicBezTo>
                    <a:cubicBezTo>
                      <a:pt x="2620" y="9978"/>
                      <a:pt x="2787" y="9919"/>
                      <a:pt x="2882" y="9800"/>
                    </a:cubicBezTo>
                    <a:lnTo>
                      <a:pt x="5037" y="7656"/>
                    </a:lnTo>
                    <a:lnTo>
                      <a:pt x="5859" y="8490"/>
                    </a:lnTo>
                    <a:cubicBezTo>
                      <a:pt x="5895" y="8520"/>
                      <a:pt x="5936" y="8535"/>
                      <a:pt x="5978" y="8535"/>
                    </a:cubicBezTo>
                    <a:cubicBezTo>
                      <a:pt x="6020" y="8535"/>
                      <a:pt x="6061" y="8520"/>
                      <a:pt x="6097" y="8490"/>
                    </a:cubicBezTo>
                    <a:cubicBezTo>
                      <a:pt x="6145" y="8430"/>
                      <a:pt x="6145" y="8323"/>
                      <a:pt x="6085" y="8264"/>
                    </a:cubicBezTo>
                    <a:lnTo>
                      <a:pt x="5156" y="7335"/>
                    </a:lnTo>
                    <a:cubicBezTo>
                      <a:pt x="5121" y="7299"/>
                      <a:pt x="5073" y="7287"/>
                      <a:pt x="5037" y="7287"/>
                    </a:cubicBezTo>
                    <a:cubicBezTo>
                      <a:pt x="4990" y="7287"/>
                      <a:pt x="4942" y="7299"/>
                      <a:pt x="4918" y="7335"/>
                    </a:cubicBezTo>
                    <a:lnTo>
                      <a:pt x="2656" y="9597"/>
                    </a:lnTo>
                    <a:cubicBezTo>
                      <a:pt x="2608" y="9633"/>
                      <a:pt x="2537" y="9669"/>
                      <a:pt x="2454" y="9669"/>
                    </a:cubicBezTo>
                    <a:cubicBezTo>
                      <a:pt x="2382" y="9669"/>
                      <a:pt x="2323" y="9633"/>
                      <a:pt x="2263" y="9597"/>
                    </a:cubicBezTo>
                    <a:lnTo>
                      <a:pt x="453" y="7776"/>
                    </a:lnTo>
                    <a:cubicBezTo>
                      <a:pt x="346" y="7668"/>
                      <a:pt x="346" y="7490"/>
                      <a:pt x="453" y="7395"/>
                    </a:cubicBezTo>
                    <a:lnTo>
                      <a:pt x="2716" y="5132"/>
                    </a:lnTo>
                    <a:cubicBezTo>
                      <a:pt x="2739" y="5097"/>
                      <a:pt x="2751" y="5049"/>
                      <a:pt x="2751" y="5013"/>
                    </a:cubicBezTo>
                    <a:cubicBezTo>
                      <a:pt x="2751" y="4966"/>
                      <a:pt x="2739" y="4918"/>
                      <a:pt x="2716" y="4894"/>
                    </a:cubicBezTo>
                    <a:lnTo>
                      <a:pt x="453" y="2632"/>
                    </a:lnTo>
                    <a:cubicBezTo>
                      <a:pt x="346" y="2525"/>
                      <a:pt x="346" y="2346"/>
                      <a:pt x="453" y="2239"/>
                    </a:cubicBezTo>
                    <a:lnTo>
                      <a:pt x="2263" y="417"/>
                    </a:lnTo>
                    <a:cubicBezTo>
                      <a:pt x="2311" y="382"/>
                      <a:pt x="2382" y="346"/>
                      <a:pt x="2454" y="346"/>
                    </a:cubicBezTo>
                    <a:cubicBezTo>
                      <a:pt x="2537" y="346"/>
                      <a:pt x="2597" y="382"/>
                      <a:pt x="2656" y="417"/>
                    </a:cubicBezTo>
                    <a:lnTo>
                      <a:pt x="3168" y="941"/>
                    </a:lnTo>
                    <a:cubicBezTo>
                      <a:pt x="3198" y="971"/>
                      <a:pt x="3239" y="986"/>
                      <a:pt x="3283" y="986"/>
                    </a:cubicBezTo>
                    <a:cubicBezTo>
                      <a:pt x="3326" y="986"/>
                      <a:pt x="3370" y="971"/>
                      <a:pt x="3406" y="941"/>
                    </a:cubicBezTo>
                    <a:cubicBezTo>
                      <a:pt x="3466" y="882"/>
                      <a:pt x="3466" y="775"/>
                      <a:pt x="3406" y="703"/>
                    </a:cubicBezTo>
                    <a:lnTo>
                      <a:pt x="2882" y="179"/>
                    </a:lnTo>
                    <a:cubicBezTo>
                      <a:pt x="2775" y="60"/>
                      <a:pt x="2620" y="1"/>
                      <a:pt x="2477" y="1"/>
                    </a:cubicBezTo>
                    <a:close/>
                  </a:path>
                </a:pathLst>
              </a:custGeom>
              <a:grpFill/>
              <a:ln>
                <a:solidFill>
                  <a:srgbClr val="14438E"/>
                </a:solidFill>
              </a:ln>
            </p:spPr>
            <p:txBody>
              <a:bodyPr spcFirstLastPara="1" wrap="square" lIns="91425" tIns="91425" rIns="91425" bIns="91425" anchor="ctr" anchorCtr="0">
                <a:noAutofit/>
              </a:bodyPr>
              <a:lstStyle/>
              <a:p>
                <a:endParaRPr/>
              </a:p>
            </p:txBody>
          </p:sp>
        </p:grpSp>
      </p:grpSp>
      <p:grpSp>
        <p:nvGrpSpPr>
          <p:cNvPr id="37" name="Group 36">
            <a:extLst>
              <a:ext uri="{FF2B5EF4-FFF2-40B4-BE49-F238E27FC236}">
                <a16:creationId xmlns:a16="http://schemas.microsoft.com/office/drawing/2014/main" id="{1BEBB5D9-9250-7BAC-955C-B25FD856FBA2}"/>
              </a:ext>
            </a:extLst>
          </p:cNvPr>
          <p:cNvGrpSpPr/>
          <p:nvPr/>
        </p:nvGrpSpPr>
        <p:grpSpPr>
          <a:xfrm>
            <a:off x="3723339" y="3781432"/>
            <a:ext cx="443712" cy="455328"/>
            <a:chOff x="3697458" y="3781432"/>
            <a:chExt cx="439535" cy="455328"/>
          </a:xfrm>
          <a:solidFill>
            <a:srgbClr val="FFFFFF"/>
          </a:solidFill>
        </p:grpSpPr>
        <p:sp>
          <p:nvSpPr>
            <p:cNvPr id="18" name="Oval 17">
              <a:extLst>
                <a:ext uri="{FF2B5EF4-FFF2-40B4-BE49-F238E27FC236}">
                  <a16:creationId xmlns:a16="http://schemas.microsoft.com/office/drawing/2014/main" id="{43C8267F-4C53-A65E-20ED-346852C02202}"/>
                </a:ext>
              </a:extLst>
            </p:cNvPr>
            <p:cNvSpPr/>
            <p:nvPr/>
          </p:nvSpPr>
          <p:spPr>
            <a:xfrm>
              <a:off x="3697458" y="3781432"/>
              <a:ext cx="439535" cy="455328"/>
            </a:xfrm>
            <a:prstGeom prst="ellipse">
              <a:avLst/>
            </a:prstGeom>
            <a:grpFill/>
            <a:ln>
              <a:solidFill>
                <a:srgbClr val="4BAC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3" name="Google Shape;1481;p52">
              <a:extLst>
                <a:ext uri="{FF2B5EF4-FFF2-40B4-BE49-F238E27FC236}">
                  <a16:creationId xmlns:a16="http://schemas.microsoft.com/office/drawing/2014/main" id="{F4E442A4-A7AE-3B88-2AFE-C1548A13F296}"/>
                </a:ext>
              </a:extLst>
            </p:cNvPr>
            <p:cNvGrpSpPr/>
            <p:nvPr/>
          </p:nvGrpSpPr>
          <p:grpSpPr>
            <a:xfrm>
              <a:off x="3771615" y="3880373"/>
              <a:ext cx="291219" cy="252388"/>
              <a:chOff x="4673540" y="3680297"/>
              <a:chExt cx="355434" cy="355815"/>
            </a:xfrm>
            <a:grpFill/>
          </p:grpSpPr>
          <p:sp>
            <p:nvSpPr>
              <p:cNvPr id="34" name="Google Shape;1482;p52">
                <a:extLst>
                  <a:ext uri="{FF2B5EF4-FFF2-40B4-BE49-F238E27FC236}">
                    <a16:creationId xmlns:a16="http://schemas.microsoft.com/office/drawing/2014/main" id="{4233F45E-3128-86BC-3B1C-48666A1C0722}"/>
                  </a:ext>
                </a:extLst>
              </p:cNvPr>
              <p:cNvSpPr/>
              <p:nvPr/>
            </p:nvSpPr>
            <p:spPr>
              <a:xfrm>
                <a:off x="4673540" y="3680297"/>
                <a:ext cx="355434" cy="355815"/>
              </a:xfrm>
              <a:custGeom>
                <a:avLst/>
                <a:gdLst/>
                <a:ahLst/>
                <a:cxnLst/>
                <a:rect l="l" t="t" r="r" b="b"/>
                <a:pathLst>
                  <a:path w="11193" h="11205" extrusionOk="0">
                    <a:moveTo>
                      <a:pt x="2012" y="0"/>
                    </a:moveTo>
                    <a:cubicBezTo>
                      <a:pt x="905" y="0"/>
                      <a:pt x="0" y="893"/>
                      <a:pt x="0" y="2013"/>
                    </a:cubicBezTo>
                    <a:lnTo>
                      <a:pt x="0" y="9192"/>
                    </a:lnTo>
                    <a:cubicBezTo>
                      <a:pt x="0" y="10287"/>
                      <a:pt x="893" y="11204"/>
                      <a:pt x="2012" y="11204"/>
                    </a:cubicBezTo>
                    <a:lnTo>
                      <a:pt x="9180" y="11204"/>
                    </a:lnTo>
                    <a:cubicBezTo>
                      <a:pt x="10287" y="11204"/>
                      <a:pt x="11192" y="10311"/>
                      <a:pt x="11192" y="9192"/>
                    </a:cubicBezTo>
                    <a:lnTo>
                      <a:pt x="11192" y="2013"/>
                    </a:lnTo>
                    <a:cubicBezTo>
                      <a:pt x="11180" y="917"/>
                      <a:pt x="10287" y="0"/>
                      <a:pt x="9180" y="0"/>
                    </a:cubicBezTo>
                    <a:lnTo>
                      <a:pt x="8085" y="0"/>
                    </a:lnTo>
                    <a:cubicBezTo>
                      <a:pt x="7989" y="0"/>
                      <a:pt x="7918" y="84"/>
                      <a:pt x="7918" y="167"/>
                    </a:cubicBezTo>
                    <a:cubicBezTo>
                      <a:pt x="7918" y="262"/>
                      <a:pt x="7989" y="334"/>
                      <a:pt x="8085" y="334"/>
                    </a:cubicBezTo>
                    <a:lnTo>
                      <a:pt x="9180" y="334"/>
                    </a:lnTo>
                    <a:cubicBezTo>
                      <a:pt x="10109" y="334"/>
                      <a:pt x="10847" y="1084"/>
                      <a:pt x="10847" y="2001"/>
                    </a:cubicBezTo>
                    <a:lnTo>
                      <a:pt x="10847" y="9180"/>
                    </a:lnTo>
                    <a:cubicBezTo>
                      <a:pt x="10847" y="10097"/>
                      <a:pt x="10109" y="10847"/>
                      <a:pt x="9180" y="10847"/>
                    </a:cubicBezTo>
                    <a:lnTo>
                      <a:pt x="2012" y="10847"/>
                    </a:lnTo>
                    <a:cubicBezTo>
                      <a:pt x="1084" y="10847"/>
                      <a:pt x="345" y="10097"/>
                      <a:pt x="345" y="9180"/>
                    </a:cubicBezTo>
                    <a:lnTo>
                      <a:pt x="345" y="2001"/>
                    </a:lnTo>
                    <a:cubicBezTo>
                      <a:pt x="345" y="1084"/>
                      <a:pt x="1084" y="334"/>
                      <a:pt x="2012" y="334"/>
                    </a:cubicBezTo>
                    <a:lnTo>
                      <a:pt x="7418" y="334"/>
                    </a:lnTo>
                    <a:cubicBezTo>
                      <a:pt x="7501" y="334"/>
                      <a:pt x="7573" y="262"/>
                      <a:pt x="7573" y="167"/>
                    </a:cubicBezTo>
                    <a:cubicBezTo>
                      <a:pt x="7573" y="84"/>
                      <a:pt x="7501" y="0"/>
                      <a:pt x="7418" y="0"/>
                    </a:cubicBezTo>
                    <a:close/>
                  </a:path>
                </a:pathLst>
              </a:custGeom>
              <a:grpFill/>
              <a:ln>
                <a:solidFill>
                  <a:srgbClr val="14438E"/>
                </a:solidFill>
              </a:ln>
            </p:spPr>
            <p:txBody>
              <a:bodyPr spcFirstLastPara="1" wrap="square" lIns="91425" tIns="91425" rIns="91425" bIns="91425" anchor="ctr" anchorCtr="0">
                <a:noAutofit/>
              </a:bodyPr>
              <a:lstStyle/>
              <a:p>
                <a:endParaRPr dirty="0"/>
              </a:p>
            </p:txBody>
          </p:sp>
          <p:sp>
            <p:nvSpPr>
              <p:cNvPr id="35" name="Google Shape;1483;p52">
                <a:extLst>
                  <a:ext uri="{FF2B5EF4-FFF2-40B4-BE49-F238E27FC236}">
                    <a16:creationId xmlns:a16="http://schemas.microsoft.com/office/drawing/2014/main" id="{EA383AF7-B239-F97C-2CCE-6DA55B95DD4A}"/>
                  </a:ext>
                </a:extLst>
              </p:cNvPr>
              <p:cNvSpPr/>
              <p:nvPr/>
            </p:nvSpPr>
            <p:spPr>
              <a:xfrm>
                <a:off x="4805864" y="3736630"/>
                <a:ext cx="93042" cy="92661"/>
              </a:xfrm>
              <a:custGeom>
                <a:avLst/>
                <a:gdLst/>
                <a:ahLst/>
                <a:cxnLst/>
                <a:rect l="l" t="t" r="r" b="b"/>
                <a:pathLst>
                  <a:path w="2930" h="2918" extrusionOk="0">
                    <a:moveTo>
                      <a:pt x="1477" y="334"/>
                    </a:moveTo>
                    <a:cubicBezTo>
                      <a:pt x="2096" y="334"/>
                      <a:pt x="2608" y="834"/>
                      <a:pt x="2608" y="1465"/>
                    </a:cubicBezTo>
                    <a:cubicBezTo>
                      <a:pt x="2608" y="2084"/>
                      <a:pt x="2096" y="2596"/>
                      <a:pt x="1477" y="2596"/>
                    </a:cubicBezTo>
                    <a:cubicBezTo>
                      <a:pt x="846" y="2596"/>
                      <a:pt x="346" y="2084"/>
                      <a:pt x="346" y="1465"/>
                    </a:cubicBezTo>
                    <a:cubicBezTo>
                      <a:pt x="346" y="834"/>
                      <a:pt x="846" y="334"/>
                      <a:pt x="1477" y="334"/>
                    </a:cubicBezTo>
                    <a:close/>
                    <a:moveTo>
                      <a:pt x="1477" y="0"/>
                    </a:moveTo>
                    <a:cubicBezTo>
                      <a:pt x="667" y="0"/>
                      <a:pt x="12" y="655"/>
                      <a:pt x="12" y="1465"/>
                    </a:cubicBezTo>
                    <a:cubicBezTo>
                      <a:pt x="0" y="2263"/>
                      <a:pt x="655" y="2918"/>
                      <a:pt x="1477" y="2918"/>
                    </a:cubicBezTo>
                    <a:cubicBezTo>
                      <a:pt x="2274" y="2918"/>
                      <a:pt x="2929" y="2263"/>
                      <a:pt x="2929" y="1465"/>
                    </a:cubicBezTo>
                    <a:cubicBezTo>
                      <a:pt x="2929" y="655"/>
                      <a:pt x="2274" y="0"/>
                      <a:pt x="1477" y="0"/>
                    </a:cubicBezTo>
                    <a:close/>
                  </a:path>
                </a:pathLst>
              </a:custGeom>
              <a:grpFill/>
              <a:ln>
                <a:solidFill>
                  <a:srgbClr val="14438E"/>
                </a:solidFill>
              </a:ln>
            </p:spPr>
            <p:txBody>
              <a:bodyPr spcFirstLastPara="1" wrap="square" lIns="91425" tIns="91425" rIns="91425" bIns="91425" anchor="ctr" anchorCtr="0">
                <a:noAutofit/>
              </a:bodyPr>
              <a:lstStyle/>
              <a:p>
                <a:endParaRPr/>
              </a:p>
            </p:txBody>
          </p:sp>
          <p:sp>
            <p:nvSpPr>
              <p:cNvPr id="36" name="Google Shape;1484;p52">
                <a:extLst>
                  <a:ext uri="{FF2B5EF4-FFF2-40B4-BE49-F238E27FC236}">
                    <a16:creationId xmlns:a16="http://schemas.microsoft.com/office/drawing/2014/main" id="{E3F4D5D2-62AA-18CC-F6AF-7CB95445AA73}"/>
                  </a:ext>
                </a:extLst>
              </p:cNvPr>
              <p:cNvSpPr/>
              <p:nvPr/>
            </p:nvSpPr>
            <p:spPr>
              <a:xfrm>
                <a:off x="4779380" y="3841358"/>
                <a:ext cx="143723" cy="138801"/>
              </a:xfrm>
              <a:custGeom>
                <a:avLst/>
                <a:gdLst/>
                <a:ahLst/>
                <a:cxnLst/>
                <a:rect l="l" t="t" r="r" b="b"/>
                <a:pathLst>
                  <a:path w="4526" h="4371" extrusionOk="0">
                    <a:moveTo>
                      <a:pt x="477" y="1"/>
                    </a:moveTo>
                    <a:cubicBezTo>
                      <a:pt x="215" y="1"/>
                      <a:pt x="1" y="203"/>
                      <a:pt x="1" y="477"/>
                    </a:cubicBezTo>
                    <a:lnTo>
                      <a:pt x="1" y="893"/>
                    </a:lnTo>
                    <a:cubicBezTo>
                      <a:pt x="1" y="1155"/>
                      <a:pt x="203" y="1370"/>
                      <a:pt x="477" y="1370"/>
                    </a:cubicBezTo>
                    <a:lnTo>
                      <a:pt x="763" y="1370"/>
                    </a:lnTo>
                    <a:cubicBezTo>
                      <a:pt x="834" y="1370"/>
                      <a:pt x="906" y="1429"/>
                      <a:pt x="906" y="1513"/>
                    </a:cubicBezTo>
                    <a:lnTo>
                      <a:pt x="906" y="2858"/>
                    </a:lnTo>
                    <a:cubicBezTo>
                      <a:pt x="906" y="2929"/>
                      <a:pt x="846" y="3001"/>
                      <a:pt x="763" y="3001"/>
                    </a:cubicBezTo>
                    <a:lnTo>
                      <a:pt x="572" y="3001"/>
                    </a:lnTo>
                    <a:cubicBezTo>
                      <a:pt x="299" y="3001"/>
                      <a:pt x="96" y="3215"/>
                      <a:pt x="96" y="3477"/>
                    </a:cubicBezTo>
                    <a:lnTo>
                      <a:pt x="96" y="3894"/>
                    </a:lnTo>
                    <a:cubicBezTo>
                      <a:pt x="96" y="4168"/>
                      <a:pt x="299" y="4370"/>
                      <a:pt x="572" y="4370"/>
                    </a:cubicBezTo>
                    <a:lnTo>
                      <a:pt x="4049" y="4370"/>
                    </a:lnTo>
                    <a:cubicBezTo>
                      <a:pt x="4311" y="4370"/>
                      <a:pt x="4525" y="4168"/>
                      <a:pt x="4525" y="3894"/>
                    </a:cubicBezTo>
                    <a:lnTo>
                      <a:pt x="4525" y="3477"/>
                    </a:lnTo>
                    <a:cubicBezTo>
                      <a:pt x="4525" y="3215"/>
                      <a:pt x="4311" y="3001"/>
                      <a:pt x="4049" y="3001"/>
                    </a:cubicBezTo>
                    <a:lnTo>
                      <a:pt x="3859" y="3001"/>
                    </a:lnTo>
                    <a:cubicBezTo>
                      <a:pt x="3787" y="3001"/>
                      <a:pt x="3704" y="2941"/>
                      <a:pt x="3704" y="2858"/>
                    </a:cubicBezTo>
                    <a:lnTo>
                      <a:pt x="3704" y="477"/>
                    </a:lnTo>
                    <a:cubicBezTo>
                      <a:pt x="3704" y="203"/>
                      <a:pt x="3501" y="1"/>
                      <a:pt x="3228" y="1"/>
                    </a:cubicBezTo>
                    <a:lnTo>
                      <a:pt x="1442" y="1"/>
                    </a:lnTo>
                    <a:cubicBezTo>
                      <a:pt x="1358" y="1"/>
                      <a:pt x="1287" y="72"/>
                      <a:pt x="1287" y="155"/>
                    </a:cubicBezTo>
                    <a:cubicBezTo>
                      <a:pt x="1287" y="251"/>
                      <a:pt x="1358" y="322"/>
                      <a:pt x="1442" y="322"/>
                    </a:cubicBezTo>
                    <a:lnTo>
                      <a:pt x="3228" y="322"/>
                    </a:lnTo>
                    <a:cubicBezTo>
                      <a:pt x="3311" y="322"/>
                      <a:pt x="3382" y="382"/>
                      <a:pt x="3382" y="477"/>
                    </a:cubicBezTo>
                    <a:lnTo>
                      <a:pt x="3382" y="2858"/>
                    </a:lnTo>
                    <a:cubicBezTo>
                      <a:pt x="3382" y="3120"/>
                      <a:pt x="3585" y="3334"/>
                      <a:pt x="3859" y="3334"/>
                    </a:cubicBezTo>
                    <a:lnTo>
                      <a:pt x="4049" y="3334"/>
                    </a:lnTo>
                    <a:cubicBezTo>
                      <a:pt x="4121" y="3334"/>
                      <a:pt x="4204" y="3394"/>
                      <a:pt x="4204" y="3477"/>
                    </a:cubicBezTo>
                    <a:lnTo>
                      <a:pt x="4204" y="3894"/>
                    </a:lnTo>
                    <a:cubicBezTo>
                      <a:pt x="4204" y="3965"/>
                      <a:pt x="4132" y="4049"/>
                      <a:pt x="4049" y="4049"/>
                    </a:cubicBezTo>
                    <a:lnTo>
                      <a:pt x="572" y="4049"/>
                    </a:lnTo>
                    <a:cubicBezTo>
                      <a:pt x="489" y="4049"/>
                      <a:pt x="418" y="3989"/>
                      <a:pt x="418" y="3894"/>
                    </a:cubicBezTo>
                    <a:lnTo>
                      <a:pt x="418" y="3477"/>
                    </a:lnTo>
                    <a:cubicBezTo>
                      <a:pt x="418" y="3406"/>
                      <a:pt x="477" y="3334"/>
                      <a:pt x="572" y="3334"/>
                    </a:cubicBezTo>
                    <a:lnTo>
                      <a:pt x="763" y="3334"/>
                    </a:lnTo>
                    <a:cubicBezTo>
                      <a:pt x="1025" y="3334"/>
                      <a:pt x="1239" y="3120"/>
                      <a:pt x="1239" y="2858"/>
                    </a:cubicBezTo>
                    <a:lnTo>
                      <a:pt x="1239" y="1513"/>
                    </a:lnTo>
                    <a:cubicBezTo>
                      <a:pt x="1239" y="1251"/>
                      <a:pt x="1025" y="1036"/>
                      <a:pt x="763" y="1036"/>
                    </a:cubicBezTo>
                    <a:lnTo>
                      <a:pt x="477" y="1036"/>
                    </a:lnTo>
                    <a:cubicBezTo>
                      <a:pt x="406" y="1036"/>
                      <a:pt x="334" y="977"/>
                      <a:pt x="334" y="893"/>
                    </a:cubicBezTo>
                    <a:lnTo>
                      <a:pt x="334" y="477"/>
                    </a:lnTo>
                    <a:cubicBezTo>
                      <a:pt x="334" y="393"/>
                      <a:pt x="394" y="322"/>
                      <a:pt x="477" y="322"/>
                    </a:cubicBezTo>
                    <a:lnTo>
                      <a:pt x="787" y="322"/>
                    </a:lnTo>
                    <a:cubicBezTo>
                      <a:pt x="882" y="322"/>
                      <a:pt x="953" y="251"/>
                      <a:pt x="953" y="155"/>
                    </a:cubicBezTo>
                    <a:cubicBezTo>
                      <a:pt x="953" y="72"/>
                      <a:pt x="882" y="1"/>
                      <a:pt x="787" y="1"/>
                    </a:cubicBezTo>
                    <a:close/>
                  </a:path>
                </a:pathLst>
              </a:custGeom>
              <a:grpFill/>
              <a:ln>
                <a:solidFill>
                  <a:srgbClr val="14438E"/>
                </a:solidFill>
              </a:ln>
            </p:spPr>
            <p:txBody>
              <a:bodyPr spcFirstLastPara="1" wrap="square" lIns="91425" tIns="91425" rIns="91425" bIns="91425" anchor="ctr" anchorCtr="0">
                <a:noAutofit/>
              </a:bodyPr>
              <a:lstStyle/>
              <a:p>
                <a:endParaRPr/>
              </a:p>
            </p:txBody>
          </p:sp>
        </p:grpSp>
      </p:grpSp>
      <p:sp>
        <p:nvSpPr>
          <p:cNvPr id="38" name="Google Shape;2282;p54">
            <a:extLst>
              <a:ext uri="{FF2B5EF4-FFF2-40B4-BE49-F238E27FC236}">
                <a16:creationId xmlns:a16="http://schemas.microsoft.com/office/drawing/2014/main" id="{EE800FC9-214C-E391-77EB-19BBF01177F3}"/>
              </a:ext>
            </a:extLst>
          </p:cNvPr>
          <p:cNvSpPr/>
          <p:nvPr/>
        </p:nvSpPr>
        <p:spPr>
          <a:xfrm>
            <a:off x="3787472" y="2753160"/>
            <a:ext cx="304716" cy="304048"/>
          </a:xfrm>
          <a:custGeom>
            <a:avLst/>
            <a:gdLst/>
            <a:ahLst/>
            <a:cxnLst/>
            <a:rect l="l" t="t" r="r" b="b"/>
            <a:pathLst>
              <a:path w="9574" h="9553" extrusionOk="0">
                <a:moveTo>
                  <a:pt x="4811" y="290"/>
                </a:moveTo>
                <a:lnTo>
                  <a:pt x="8157" y="2230"/>
                </a:lnTo>
                <a:lnTo>
                  <a:pt x="7573" y="2230"/>
                </a:lnTo>
                <a:lnTo>
                  <a:pt x="4918" y="671"/>
                </a:lnTo>
                <a:cubicBezTo>
                  <a:pt x="4876" y="647"/>
                  <a:pt x="4838" y="635"/>
                  <a:pt x="4800" y="635"/>
                </a:cubicBezTo>
                <a:cubicBezTo>
                  <a:pt x="4763" y="635"/>
                  <a:pt x="4728" y="647"/>
                  <a:pt x="4692" y="671"/>
                </a:cubicBezTo>
                <a:lnTo>
                  <a:pt x="3989" y="1087"/>
                </a:lnTo>
                <a:cubicBezTo>
                  <a:pt x="3930" y="1135"/>
                  <a:pt x="3906" y="1206"/>
                  <a:pt x="3942" y="1278"/>
                </a:cubicBezTo>
                <a:cubicBezTo>
                  <a:pt x="3974" y="1318"/>
                  <a:pt x="4017" y="1348"/>
                  <a:pt x="4067" y="1348"/>
                </a:cubicBezTo>
                <a:cubicBezTo>
                  <a:pt x="4092" y="1348"/>
                  <a:pt x="4117" y="1341"/>
                  <a:pt x="4144" y="1326"/>
                </a:cubicBezTo>
                <a:lnTo>
                  <a:pt x="4811" y="933"/>
                </a:lnTo>
                <a:lnTo>
                  <a:pt x="7025" y="2230"/>
                </a:lnTo>
                <a:lnTo>
                  <a:pt x="2572" y="2230"/>
                </a:lnTo>
                <a:lnTo>
                  <a:pt x="3561" y="1671"/>
                </a:lnTo>
                <a:cubicBezTo>
                  <a:pt x="3620" y="1623"/>
                  <a:pt x="3644" y="1552"/>
                  <a:pt x="3608" y="1480"/>
                </a:cubicBezTo>
                <a:cubicBezTo>
                  <a:pt x="3576" y="1440"/>
                  <a:pt x="3533" y="1411"/>
                  <a:pt x="3483" y="1411"/>
                </a:cubicBezTo>
                <a:cubicBezTo>
                  <a:pt x="3459" y="1411"/>
                  <a:pt x="3433" y="1417"/>
                  <a:pt x="3406" y="1433"/>
                </a:cubicBezTo>
                <a:lnTo>
                  <a:pt x="2013" y="2254"/>
                </a:lnTo>
                <a:lnTo>
                  <a:pt x="1429" y="2254"/>
                </a:lnTo>
                <a:lnTo>
                  <a:pt x="4811" y="290"/>
                </a:lnTo>
                <a:close/>
                <a:moveTo>
                  <a:pt x="8621" y="2528"/>
                </a:moveTo>
                <a:lnTo>
                  <a:pt x="8621" y="3207"/>
                </a:lnTo>
                <a:lnTo>
                  <a:pt x="965" y="3207"/>
                </a:lnTo>
                <a:lnTo>
                  <a:pt x="965" y="2528"/>
                </a:lnTo>
                <a:close/>
                <a:moveTo>
                  <a:pt x="2644" y="3469"/>
                </a:moveTo>
                <a:cubicBezTo>
                  <a:pt x="2692" y="3469"/>
                  <a:pt x="2727" y="3481"/>
                  <a:pt x="2751" y="3516"/>
                </a:cubicBezTo>
                <a:cubicBezTo>
                  <a:pt x="2787" y="3540"/>
                  <a:pt x="2799" y="3576"/>
                  <a:pt x="2799" y="3623"/>
                </a:cubicBezTo>
                <a:cubicBezTo>
                  <a:pt x="2799" y="3695"/>
                  <a:pt x="2739" y="3754"/>
                  <a:pt x="2668" y="3754"/>
                </a:cubicBezTo>
                <a:cubicBezTo>
                  <a:pt x="2620" y="3754"/>
                  <a:pt x="2596" y="3731"/>
                  <a:pt x="2561" y="3707"/>
                </a:cubicBezTo>
                <a:cubicBezTo>
                  <a:pt x="2528" y="3666"/>
                  <a:pt x="2479" y="3648"/>
                  <a:pt x="2432" y="3648"/>
                </a:cubicBezTo>
                <a:cubicBezTo>
                  <a:pt x="2410" y="3648"/>
                  <a:pt x="2389" y="3652"/>
                  <a:pt x="2370" y="3659"/>
                </a:cubicBezTo>
                <a:cubicBezTo>
                  <a:pt x="2299" y="3695"/>
                  <a:pt x="2251" y="3754"/>
                  <a:pt x="2251" y="3826"/>
                </a:cubicBezTo>
                <a:lnTo>
                  <a:pt x="2251" y="7707"/>
                </a:lnTo>
                <a:lnTo>
                  <a:pt x="1703" y="7707"/>
                </a:lnTo>
                <a:lnTo>
                  <a:pt x="1703" y="3826"/>
                </a:lnTo>
                <a:cubicBezTo>
                  <a:pt x="1703" y="3754"/>
                  <a:pt x="1656" y="3683"/>
                  <a:pt x="1584" y="3659"/>
                </a:cubicBezTo>
                <a:cubicBezTo>
                  <a:pt x="1568" y="3653"/>
                  <a:pt x="1551" y="3650"/>
                  <a:pt x="1532" y="3650"/>
                </a:cubicBezTo>
                <a:cubicBezTo>
                  <a:pt x="1482" y="3650"/>
                  <a:pt x="1425" y="3672"/>
                  <a:pt x="1382" y="3707"/>
                </a:cubicBezTo>
                <a:cubicBezTo>
                  <a:pt x="1358" y="3742"/>
                  <a:pt x="1322" y="3754"/>
                  <a:pt x="1287" y="3754"/>
                </a:cubicBezTo>
                <a:cubicBezTo>
                  <a:pt x="1239" y="3754"/>
                  <a:pt x="1203" y="3731"/>
                  <a:pt x="1179" y="3707"/>
                </a:cubicBezTo>
                <a:cubicBezTo>
                  <a:pt x="1144" y="3683"/>
                  <a:pt x="1132" y="3647"/>
                  <a:pt x="1132" y="3600"/>
                </a:cubicBezTo>
                <a:cubicBezTo>
                  <a:pt x="1132" y="3528"/>
                  <a:pt x="1203" y="3469"/>
                  <a:pt x="1287" y="3469"/>
                </a:cubicBezTo>
                <a:close/>
                <a:moveTo>
                  <a:pt x="5537" y="3481"/>
                </a:moveTo>
                <a:cubicBezTo>
                  <a:pt x="5573" y="3481"/>
                  <a:pt x="5609" y="3504"/>
                  <a:pt x="5644" y="3528"/>
                </a:cubicBezTo>
                <a:cubicBezTo>
                  <a:pt x="5668" y="3564"/>
                  <a:pt x="5692" y="3588"/>
                  <a:pt x="5692" y="3635"/>
                </a:cubicBezTo>
                <a:cubicBezTo>
                  <a:pt x="5692" y="3707"/>
                  <a:pt x="5632" y="3766"/>
                  <a:pt x="5549" y="3766"/>
                </a:cubicBezTo>
                <a:cubicBezTo>
                  <a:pt x="5513" y="3766"/>
                  <a:pt x="5478" y="3754"/>
                  <a:pt x="5454" y="3719"/>
                </a:cubicBezTo>
                <a:cubicBezTo>
                  <a:pt x="5424" y="3681"/>
                  <a:pt x="5376" y="3663"/>
                  <a:pt x="5329" y="3663"/>
                </a:cubicBezTo>
                <a:cubicBezTo>
                  <a:pt x="5301" y="3663"/>
                  <a:pt x="5274" y="3670"/>
                  <a:pt x="5251" y="3683"/>
                </a:cubicBezTo>
                <a:cubicBezTo>
                  <a:pt x="5180" y="3707"/>
                  <a:pt x="5132" y="3766"/>
                  <a:pt x="5132" y="3838"/>
                </a:cubicBezTo>
                <a:lnTo>
                  <a:pt x="5132" y="7731"/>
                </a:lnTo>
                <a:lnTo>
                  <a:pt x="4585" y="7731"/>
                </a:lnTo>
                <a:lnTo>
                  <a:pt x="4585" y="3838"/>
                </a:lnTo>
                <a:cubicBezTo>
                  <a:pt x="4585" y="3766"/>
                  <a:pt x="4537" y="3695"/>
                  <a:pt x="4466" y="3683"/>
                </a:cubicBezTo>
                <a:cubicBezTo>
                  <a:pt x="4439" y="3670"/>
                  <a:pt x="4412" y="3663"/>
                  <a:pt x="4386" y="3663"/>
                </a:cubicBezTo>
                <a:cubicBezTo>
                  <a:pt x="4344" y="3663"/>
                  <a:pt x="4305" y="3681"/>
                  <a:pt x="4275" y="3719"/>
                </a:cubicBezTo>
                <a:cubicBezTo>
                  <a:pt x="4239" y="3754"/>
                  <a:pt x="4216" y="3766"/>
                  <a:pt x="4168" y="3766"/>
                </a:cubicBezTo>
                <a:cubicBezTo>
                  <a:pt x="4120" y="3766"/>
                  <a:pt x="4096" y="3754"/>
                  <a:pt x="4061" y="3719"/>
                </a:cubicBezTo>
                <a:cubicBezTo>
                  <a:pt x="4037" y="3695"/>
                  <a:pt x="4025" y="3659"/>
                  <a:pt x="4025" y="3623"/>
                </a:cubicBezTo>
                <a:cubicBezTo>
                  <a:pt x="4025" y="3540"/>
                  <a:pt x="4096" y="3481"/>
                  <a:pt x="4168" y="3481"/>
                </a:cubicBezTo>
                <a:close/>
                <a:moveTo>
                  <a:pt x="8395" y="3481"/>
                </a:moveTo>
                <a:cubicBezTo>
                  <a:pt x="8442" y="3481"/>
                  <a:pt x="8466" y="3492"/>
                  <a:pt x="8502" y="3528"/>
                </a:cubicBezTo>
                <a:cubicBezTo>
                  <a:pt x="8526" y="3552"/>
                  <a:pt x="8538" y="3588"/>
                  <a:pt x="8538" y="3635"/>
                </a:cubicBezTo>
                <a:cubicBezTo>
                  <a:pt x="8526" y="3695"/>
                  <a:pt x="8466" y="3754"/>
                  <a:pt x="8407" y="3754"/>
                </a:cubicBezTo>
                <a:cubicBezTo>
                  <a:pt x="8371" y="3754"/>
                  <a:pt x="8335" y="3742"/>
                  <a:pt x="8311" y="3707"/>
                </a:cubicBezTo>
                <a:cubicBezTo>
                  <a:pt x="8279" y="3666"/>
                  <a:pt x="8224" y="3648"/>
                  <a:pt x="8174" y="3648"/>
                </a:cubicBezTo>
                <a:cubicBezTo>
                  <a:pt x="8150" y="3648"/>
                  <a:pt x="8128" y="3652"/>
                  <a:pt x="8109" y="3659"/>
                </a:cubicBezTo>
                <a:cubicBezTo>
                  <a:pt x="8037" y="3695"/>
                  <a:pt x="7990" y="3754"/>
                  <a:pt x="7990" y="3826"/>
                </a:cubicBezTo>
                <a:lnTo>
                  <a:pt x="7990" y="7707"/>
                </a:lnTo>
                <a:lnTo>
                  <a:pt x="7442" y="7707"/>
                </a:lnTo>
                <a:lnTo>
                  <a:pt x="7442" y="6314"/>
                </a:lnTo>
                <a:cubicBezTo>
                  <a:pt x="7442" y="6243"/>
                  <a:pt x="7383" y="6183"/>
                  <a:pt x="7311" y="6183"/>
                </a:cubicBezTo>
                <a:cubicBezTo>
                  <a:pt x="7240" y="6183"/>
                  <a:pt x="7180" y="6243"/>
                  <a:pt x="7180" y="6314"/>
                </a:cubicBezTo>
                <a:lnTo>
                  <a:pt x="7180" y="7743"/>
                </a:lnTo>
                <a:cubicBezTo>
                  <a:pt x="7097" y="7791"/>
                  <a:pt x="7061" y="7862"/>
                  <a:pt x="7061" y="7945"/>
                </a:cubicBezTo>
                <a:lnTo>
                  <a:pt x="7061" y="8148"/>
                </a:lnTo>
                <a:lnTo>
                  <a:pt x="5549" y="8148"/>
                </a:lnTo>
                <a:lnTo>
                  <a:pt x="5549" y="7969"/>
                </a:lnTo>
                <a:cubicBezTo>
                  <a:pt x="5549" y="7874"/>
                  <a:pt x="5513" y="7803"/>
                  <a:pt x="5430" y="7755"/>
                </a:cubicBezTo>
                <a:lnTo>
                  <a:pt x="5430" y="4016"/>
                </a:lnTo>
                <a:cubicBezTo>
                  <a:pt x="5465" y="4034"/>
                  <a:pt x="5500" y="4045"/>
                  <a:pt x="5535" y="4045"/>
                </a:cubicBezTo>
                <a:cubicBezTo>
                  <a:pt x="5547" y="4045"/>
                  <a:pt x="5560" y="4043"/>
                  <a:pt x="5573" y="4040"/>
                </a:cubicBezTo>
                <a:cubicBezTo>
                  <a:pt x="5787" y="4040"/>
                  <a:pt x="5966" y="3862"/>
                  <a:pt x="5966" y="3635"/>
                </a:cubicBezTo>
                <a:cubicBezTo>
                  <a:pt x="5966" y="3576"/>
                  <a:pt x="5966" y="3528"/>
                  <a:pt x="5954" y="3481"/>
                </a:cubicBezTo>
                <a:lnTo>
                  <a:pt x="6656" y="3481"/>
                </a:lnTo>
                <a:cubicBezTo>
                  <a:pt x="6633" y="3516"/>
                  <a:pt x="6633" y="3564"/>
                  <a:pt x="6621" y="3600"/>
                </a:cubicBezTo>
                <a:cubicBezTo>
                  <a:pt x="6621" y="3719"/>
                  <a:pt x="6656" y="3826"/>
                  <a:pt x="6740" y="3921"/>
                </a:cubicBezTo>
                <a:cubicBezTo>
                  <a:pt x="6811" y="4004"/>
                  <a:pt x="6942" y="4052"/>
                  <a:pt x="7037" y="4052"/>
                </a:cubicBezTo>
                <a:cubicBezTo>
                  <a:pt x="7085" y="4052"/>
                  <a:pt x="7133" y="4028"/>
                  <a:pt x="7168" y="4016"/>
                </a:cubicBezTo>
                <a:lnTo>
                  <a:pt x="7168" y="5636"/>
                </a:lnTo>
                <a:cubicBezTo>
                  <a:pt x="7168" y="5719"/>
                  <a:pt x="7228" y="5778"/>
                  <a:pt x="7311" y="5778"/>
                </a:cubicBezTo>
                <a:cubicBezTo>
                  <a:pt x="7383" y="5778"/>
                  <a:pt x="7442" y="5719"/>
                  <a:pt x="7442" y="5636"/>
                </a:cubicBezTo>
                <a:lnTo>
                  <a:pt x="7442" y="3838"/>
                </a:lnTo>
                <a:cubicBezTo>
                  <a:pt x="7442" y="3766"/>
                  <a:pt x="7395" y="3695"/>
                  <a:pt x="7323" y="3671"/>
                </a:cubicBezTo>
                <a:cubicBezTo>
                  <a:pt x="7301" y="3667"/>
                  <a:pt x="7278" y="3665"/>
                  <a:pt x="7255" y="3665"/>
                </a:cubicBezTo>
                <a:cubicBezTo>
                  <a:pt x="7205" y="3665"/>
                  <a:pt x="7157" y="3678"/>
                  <a:pt x="7133" y="3719"/>
                </a:cubicBezTo>
                <a:cubicBezTo>
                  <a:pt x="7097" y="3754"/>
                  <a:pt x="7073" y="3766"/>
                  <a:pt x="7025" y="3766"/>
                </a:cubicBezTo>
                <a:cubicBezTo>
                  <a:pt x="6978" y="3766"/>
                  <a:pt x="6954" y="3754"/>
                  <a:pt x="6918" y="3719"/>
                </a:cubicBezTo>
                <a:cubicBezTo>
                  <a:pt x="6894" y="3695"/>
                  <a:pt x="6871" y="3659"/>
                  <a:pt x="6871" y="3612"/>
                </a:cubicBezTo>
                <a:cubicBezTo>
                  <a:pt x="6871" y="3540"/>
                  <a:pt x="6954" y="3481"/>
                  <a:pt x="7025" y="3481"/>
                </a:cubicBezTo>
                <a:close/>
                <a:moveTo>
                  <a:pt x="2382" y="7993"/>
                </a:moveTo>
                <a:lnTo>
                  <a:pt x="2382" y="8160"/>
                </a:lnTo>
                <a:lnTo>
                  <a:pt x="1572" y="8160"/>
                </a:lnTo>
                <a:lnTo>
                  <a:pt x="1572" y="7993"/>
                </a:lnTo>
                <a:close/>
                <a:moveTo>
                  <a:pt x="3751" y="3481"/>
                </a:moveTo>
                <a:cubicBezTo>
                  <a:pt x="3739" y="3516"/>
                  <a:pt x="3739" y="3564"/>
                  <a:pt x="3715" y="3600"/>
                </a:cubicBezTo>
                <a:cubicBezTo>
                  <a:pt x="3715" y="3719"/>
                  <a:pt x="3751" y="3826"/>
                  <a:pt x="3835" y="3921"/>
                </a:cubicBezTo>
                <a:cubicBezTo>
                  <a:pt x="3918" y="4004"/>
                  <a:pt x="4037" y="4052"/>
                  <a:pt x="4132" y="4052"/>
                </a:cubicBezTo>
                <a:cubicBezTo>
                  <a:pt x="4180" y="4052"/>
                  <a:pt x="4227" y="4028"/>
                  <a:pt x="4275" y="4016"/>
                </a:cubicBezTo>
                <a:lnTo>
                  <a:pt x="4275" y="7755"/>
                </a:lnTo>
                <a:cubicBezTo>
                  <a:pt x="4192" y="7803"/>
                  <a:pt x="4156" y="7874"/>
                  <a:pt x="4156" y="7957"/>
                </a:cubicBezTo>
                <a:lnTo>
                  <a:pt x="4156" y="8160"/>
                </a:lnTo>
                <a:lnTo>
                  <a:pt x="2644" y="8160"/>
                </a:lnTo>
                <a:lnTo>
                  <a:pt x="2644" y="7969"/>
                </a:lnTo>
                <a:cubicBezTo>
                  <a:pt x="2668" y="7874"/>
                  <a:pt x="2608" y="7803"/>
                  <a:pt x="2537" y="7755"/>
                </a:cubicBezTo>
                <a:lnTo>
                  <a:pt x="2537" y="4016"/>
                </a:lnTo>
                <a:cubicBezTo>
                  <a:pt x="2563" y="4034"/>
                  <a:pt x="2595" y="4045"/>
                  <a:pt x="2630" y="4045"/>
                </a:cubicBezTo>
                <a:cubicBezTo>
                  <a:pt x="2642" y="4045"/>
                  <a:pt x="2655" y="4043"/>
                  <a:pt x="2668" y="4040"/>
                </a:cubicBezTo>
                <a:cubicBezTo>
                  <a:pt x="2894" y="4040"/>
                  <a:pt x="3073" y="3862"/>
                  <a:pt x="3073" y="3635"/>
                </a:cubicBezTo>
                <a:cubicBezTo>
                  <a:pt x="3073" y="3576"/>
                  <a:pt x="3073" y="3528"/>
                  <a:pt x="3049" y="3481"/>
                </a:cubicBezTo>
                <a:close/>
                <a:moveTo>
                  <a:pt x="5251" y="7993"/>
                </a:moveTo>
                <a:lnTo>
                  <a:pt x="5251" y="8160"/>
                </a:lnTo>
                <a:lnTo>
                  <a:pt x="4454" y="8160"/>
                </a:lnTo>
                <a:lnTo>
                  <a:pt x="4454" y="7993"/>
                </a:lnTo>
                <a:close/>
                <a:moveTo>
                  <a:pt x="8109" y="7993"/>
                </a:moveTo>
                <a:lnTo>
                  <a:pt x="8109" y="8160"/>
                </a:lnTo>
                <a:lnTo>
                  <a:pt x="7311" y="8160"/>
                </a:lnTo>
                <a:lnTo>
                  <a:pt x="7311" y="7993"/>
                </a:lnTo>
                <a:close/>
                <a:moveTo>
                  <a:pt x="8454" y="8445"/>
                </a:moveTo>
                <a:cubicBezTo>
                  <a:pt x="8526" y="8445"/>
                  <a:pt x="8573" y="8505"/>
                  <a:pt x="8573" y="8565"/>
                </a:cubicBezTo>
                <a:lnTo>
                  <a:pt x="8573" y="8719"/>
                </a:lnTo>
                <a:lnTo>
                  <a:pt x="4001" y="8719"/>
                </a:lnTo>
                <a:cubicBezTo>
                  <a:pt x="3930" y="8719"/>
                  <a:pt x="3870" y="8779"/>
                  <a:pt x="3870" y="8862"/>
                </a:cubicBezTo>
                <a:cubicBezTo>
                  <a:pt x="3870" y="8934"/>
                  <a:pt x="3930" y="8993"/>
                  <a:pt x="4001" y="8993"/>
                </a:cubicBezTo>
                <a:lnTo>
                  <a:pt x="8728" y="8993"/>
                </a:lnTo>
                <a:cubicBezTo>
                  <a:pt x="8799" y="8993"/>
                  <a:pt x="8859" y="9053"/>
                  <a:pt x="8859" y="9124"/>
                </a:cubicBezTo>
                <a:lnTo>
                  <a:pt x="8859" y="9279"/>
                </a:lnTo>
                <a:lnTo>
                  <a:pt x="715" y="9279"/>
                </a:lnTo>
                <a:lnTo>
                  <a:pt x="715" y="9136"/>
                </a:lnTo>
                <a:cubicBezTo>
                  <a:pt x="715" y="9065"/>
                  <a:pt x="775" y="9005"/>
                  <a:pt x="846" y="9005"/>
                </a:cubicBezTo>
                <a:lnTo>
                  <a:pt x="3323" y="9005"/>
                </a:lnTo>
                <a:cubicBezTo>
                  <a:pt x="3394" y="9005"/>
                  <a:pt x="3454" y="8946"/>
                  <a:pt x="3454" y="8874"/>
                </a:cubicBezTo>
                <a:cubicBezTo>
                  <a:pt x="3454" y="8803"/>
                  <a:pt x="3394" y="8743"/>
                  <a:pt x="3323" y="8743"/>
                </a:cubicBezTo>
                <a:lnTo>
                  <a:pt x="1013" y="8743"/>
                </a:lnTo>
                <a:lnTo>
                  <a:pt x="1013" y="8565"/>
                </a:lnTo>
                <a:cubicBezTo>
                  <a:pt x="1013" y="8481"/>
                  <a:pt x="1072" y="8445"/>
                  <a:pt x="1132" y="8445"/>
                </a:cubicBezTo>
                <a:close/>
                <a:moveTo>
                  <a:pt x="4781" y="1"/>
                </a:moveTo>
                <a:cubicBezTo>
                  <a:pt x="4736" y="1"/>
                  <a:pt x="4692" y="10"/>
                  <a:pt x="4656" y="28"/>
                </a:cubicBezTo>
                <a:lnTo>
                  <a:pt x="810" y="2278"/>
                </a:lnTo>
                <a:cubicBezTo>
                  <a:pt x="787" y="2278"/>
                  <a:pt x="775" y="2290"/>
                  <a:pt x="775" y="2314"/>
                </a:cubicBezTo>
                <a:cubicBezTo>
                  <a:pt x="715" y="2349"/>
                  <a:pt x="667" y="2445"/>
                  <a:pt x="667" y="2516"/>
                </a:cubicBezTo>
                <a:lnTo>
                  <a:pt x="667" y="3219"/>
                </a:lnTo>
                <a:cubicBezTo>
                  <a:pt x="667" y="3350"/>
                  <a:pt x="763" y="3457"/>
                  <a:pt x="882" y="3481"/>
                </a:cubicBezTo>
                <a:cubicBezTo>
                  <a:pt x="858" y="3528"/>
                  <a:pt x="846" y="3564"/>
                  <a:pt x="846" y="3600"/>
                </a:cubicBezTo>
                <a:cubicBezTo>
                  <a:pt x="846" y="3719"/>
                  <a:pt x="882" y="3826"/>
                  <a:pt x="965" y="3921"/>
                </a:cubicBezTo>
                <a:cubicBezTo>
                  <a:pt x="1048" y="4004"/>
                  <a:pt x="1168" y="4052"/>
                  <a:pt x="1263" y="4052"/>
                </a:cubicBezTo>
                <a:cubicBezTo>
                  <a:pt x="1310" y="4052"/>
                  <a:pt x="1358" y="4028"/>
                  <a:pt x="1406" y="4016"/>
                </a:cubicBezTo>
                <a:lnTo>
                  <a:pt x="1406" y="7755"/>
                </a:lnTo>
                <a:cubicBezTo>
                  <a:pt x="1322" y="7803"/>
                  <a:pt x="1287" y="7874"/>
                  <a:pt x="1287" y="7957"/>
                </a:cubicBezTo>
                <a:lnTo>
                  <a:pt x="1287" y="8160"/>
                </a:lnTo>
                <a:lnTo>
                  <a:pt x="1120" y="8160"/>
                </a:lnTo>
                <a:cubicBezTo>
                  <a:pt x="894" y="8160"/>
                  <a:pt x="715" y="8338"/>
                  <a:pt x="715" y="8553"/>
                </a:cubicBezTo>
                <a:lnTo>
                  <a:pt x="715" y="8743"/>
                </a:lnTo>
                <a:cubicBezTo>
                  <a:pt x="548" y="8791"/>
                  <a:pt x="417" y="8946"/>
                  <a:pt x="417" y="9136"/>
                </a:cubicBezTo>
                <a:lnTo>
                  <a:pt x="417" y="9291"/>
                </a:lnTo>
                <a:lnTo>
                  <a:pt x="132" y="9291"/>
                </a:lnTo>
                <a:cubicBezTo>
                  <a:pt x="60" y="9291"/>
                  <a:pt x="1" y="9350"/>
                  <a:pt x="1" y="9422"/>
                </a:cubicBezTo>
                <a:cubicBezTo>
                  <a:pt x="1" y="9493"/>
                  <a:pt x="60" y="9553"/>
                  <a:pt x="132" y="9553"/>
                </a:cubicBezTo>
                <a:lnTo>
                  <a:pt x="9442" y="9553"/>
                </a:lnTo>
                <a:cubicBezTo>
                  <a:pt x="9514" y="9553"/>
                  <a:pt x="9573" y="9493"/>
                  <a:pt x="9573" y="9422"/>
                </a:cubicBezTo>
                <a:cubicBezTo>
                  <a:pt x="9573" y="9350"/>
                  <a:pt x="9514" y="9291"/>
                  <a:pt x="9442" y="9291"/>
                </a:cubicBezTo>
                <a:lnTo>
                  <a:pt x="9157" y="9291"/>
                </a:lnTo>
                <a:lnTo>
                  <a:pt x="9157" y="9136"/>
                </a:lnTo>
                <a:cubicBezTo>
                  <a:pt x="9157" y="8957"/>
                  <a:pt x="9038" y="8803"/>
                  <a:pt x="8859" y="8743"/>
                </a:cubicBezTo>
                <a:lnTo>
                  <a:pt x="8859" y="8565"/>
                </a:lnTo>
                <a:cubicBezTo>
                  <a:pt x="8859" y="8338"/>
                  <a:pt x="8680" y="8160"/>
                  <a:pt x="8454" y="8160"/>
                </a:cubicBezTo>
                <a:lnTo>
                  <a:pt x="8395" y="8160"/>
                </a:lnTo>
                <a:lnTo>
                  <a:pt x="8395" y="7969"/>
                </a:lnTo>
                <a:cubicBezTo>
                  <a:pt x="8395" y="7874"/>
                  <a:pt x="8347" y="7803"/>
                  <a:pt x="8276" y="7755"/>
                </a:cubicBezTo>
                <a:lnTo>
                  <a:pt x="8276" y="4016"/>
                </a:lnTo>
                <a:cubicBezTo>
                  <a:pt x="8310" y="4034"/>
                  <a:pt x="8345" y="4045"/>
                  <a:pt x="8375" y="4045"/>
                </a:cubicBezTo>
                <a:cubicBezTo>
                  <a:pt x="8387" y="4045"/>
                  <a:pt x="8397" y="4043"/>
                  <a:pt x="8407" y="4040"/>
                </a:cubicBezTo>
                <a:cubicBezTo>
                  <a:pt x="8633" y="4040"/>
                  <a:pt x="8811" y="3862"/>
                  <a:pt x="8811" y="3635"/>
                </a:cubicBezTo>
                <a:cubicBezTo>
                  <a:pt x="8811" y="3564"/>
                  <a:pt x="8799" y="3504"/>
                  <a:pt x="8764" y="3421"/>
                </a:cubicBezTo>
                <a:cubicBezTo>
                  <a:pt x="8835" y="3385"/>
                  <a:pt x="8883" y="3290"/>
                  <a:pt x="8883" y="3207"/>
                </a:cubicBezTo>
                <a:lnTo>
                  <a:pt x="8883" y="2504"/>
                </a:lnTo>
                <a:cubicBezTo>
                  <a:pt x="8883" y="2397"/>
                  <a:pt x="8823" y="2314"/>
                  <a:pt x="8740" y="2266"/>
                </a:cubicBezTo>
                <a:lnTo>
                  <a:pt x="4906" y="28"/>
                </a:lnTo>
                <a:cubicBezTo>
                  <a:pt x="4870" y="10"/>
                  <a:pt x="4826" y="1"/>
                  <a:pt x="4781" y="1"/>
                </a:cubicBezTo>
                <a:close/>
              </a:path>
            </a:pathLst>
          </a:custGeom>
          <a:solidFill>
            <a:srgbClr val="174489"/>
          </a:solidFill>
          <a:ln>
            <a:noFill/>
          </a:ln>
        </p:spPr>
        <p:txBody>
          <a:bodyPr spcFirstLastPara="1" wrap="square" lIns="91425" tIns="91425" rIns="91425" bIns="91425" anchor="ctr" anchorCtr="0">
            <a:noAutofit/>
          </a:bodyPr>
          <a:lstStyle/>
          <a:p>
            <a:endParaRPr/>
          </a:p>
        </p:txBody>
      </p:sp>
      <p:sp>
        <p:nvSpPr>
          <p:cNvPr id="13" name="TextBox 12">
            <a:extLst>
              <a:ext uri="{FF2B5EF4-FFF2-40B4-BE49-F238E27FC236}">
                <a16:creationId xmlns:a16="http://schemas.microsoft.com/office/drawing/2014/main" id="{E4F88EC8-4545-0A02-F669-C649E0E408A6}"/>
              </a:ext>
            </a:extLst>
          </p:cNvPr>
          <p:cNvSpPr txBox="1"/>
          <p:nvPr/>
        </p:nvSpPr>
        <p:spPr>
          <a:xfrm>
            <a:off x="2479148" y="4672192"/>
            <a:ext cx="4511039" cy="276999"/>
          </a:xfrm>
          <a:prstGeom prst="rect">
            <a:avLst/>
          </a:prstGeom>
          <a:noFill/>
        </p:spPr>
        <p:txBody>
          <a:bodyPr wrap="square">
            <a:spAutoFit/>
          </a:bodyPr>
          <a:lstStyle/>
          <a:p>
            <a:r>
              <a:rPr lang="en-GB" sz="1200" dirty="0">
                <a:solidFill>
                  <a:srgbClr val="024DA1"/>
                </a:solidFill>
                <a:latin typeface="Arial "/>
              </a:rPr>
              <a:t>*</a:t>
            </a:r>
            <a:r>
              <a:rPr lang="sv-SE" sz="1200" kern="1200" dirty="0">
                <a:solidFill>
                  <a:srgbClr val="024DA1"/>
                </a:solidFill>
                <a:latin typeface="Arial "/>
                <a:ea typeface="+mn-ea"/>
                <a:cs typeface="+mn-cs"/>
              </a:rPr>
              <a:t>27/02/2020, C-240/18 P, Fack Ju Göhte, EU:C:2020:118, § 56</a:t>
            </a:r>
            <a:endParaRPr lang="en-US" sz="1200" dirty="0"/>
          </a:p>
        </p:txBody>
      </p:sp>
    </p:spTree>
    <p:extLst>
      <p:ext uri="{BB962C8B-B14F-4D97-AF65-F5344CB8AC3E}">
        <p14:creationId xmlns:p14="http://schemas.microsoft.com/office/powerpoint/2010/main" val="6029305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graphicFrame>
        <p:nvGraphicFramePr>
          <p:cNvPr id="15" name="Diagram 14">
            <a:extLst>
              <a:ext uri="{FF2B5EF4-FFF2-40B4-BE49-F238E27FC236}">
                <a16:creationId xmlns:a16="http://schemas.microsoft.com/office/drawing/2014/main" id="{9384E8F7-1763-78AF-A24C-76C1BC2BA317}"/>
              </a:ext>
            </a:extLst>
          </p:cNvPr>
          <p:cNvGraphicFramePr/>
          <p:nvPr>
            <p:extLst>
              <p:ext uri="{D42A27DB-BD31-4B8C-83A1-F6EECF244321}">
                <p14:modId xmlns:p14="http://schemas.microsoft.com/office/powerpoint/2010/main" val="23483511"/>
              </p:ext>
            </p:extLst>
          </p:nvPr>
        </p:nvGraphicFramePr>
        <p:xfrm>
          <a:off x="652210" y="1253066"/>
          <a:ext cx="7965979" cy="340698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5676597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1 Signs including/related to illicit substances</a:t>
            </a:r>
          </a:p>
        </p:txBody>
      </p:sp>
      <p:sp>
        <p:nvSpPr>
          <p:cNvPr id="18" name="Rectangle: Rounded Corners 17">
            <a:extLst>
              <a:ext uri="{FF2B5EF4-FFF2-40B4-BE49-F238E27FC236}">
                <a16:creationId xmlns:a16="http://schemas.microsoft.com/office/drawing/2014/main" id="{F68A6F88-EAF6-38F7-8ADE-4673ECE14BE8}"/>
              </a:ext>
            </a:extLst>
          </p:cNvPr>
          <p:cNvSpPr/>
          <p:nvPr/>
        </p:nvSpPr>
        <p:spPr>
          <a:xfrm>
            <a:off x="651600" y="2000631"/>
            <a:ext cx="1833478" cy="923640"/>
          </a:xfrm>
          <a:prstGeom prst="roundRect">
            <a:avLst/>
          </a:prstGeom>
          <a:solidFill>
            <a:srgbClr val="0C4CA2"/>
          </a:solidFill>
          <a:ln w="19050">
            <a:solidFill>
              <a:srgbClr val="4BACC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1" dirty="0">
              <a:solidFill>
                <a:schemeClr val="bg1"/>
              </a:solidFill>
              <a:latin typeface="Arial" panose="020B0604020202020204" pitchFamily="34" charset="0"/>
              <a:cs typeface="Arial" panose="020B0604020202020204" pitchFamily="34" charset="0"/>
            </a:endParaRPr>
          </a:p>
          <a:p>
            <a:pPr algn="ctr"/>
            <a:r>
              <a:rPr lang="en-GB" sz="1400" b="1">
                <a:solidFill>
                  <a:schemeClr val="bg1"/>
                </a:solidFill>
                <a:latin typeface="Arial" panose="020B0604020202020204" pitchFamily="34" charset="0"/>
                <a:cs typeface="Arial" panose="020B0604020202020204" pitchFamily="34" charset="0"/>
              </a:rPr>
              <a:t>What types of signs </a:t>
            </a:r>
            <a:r>
              <a:rPr lang="en-GB" sz="1400" b="1" dirty="0">
                <a:solidFill>
                  <a:schemeClr val="bg1"/>
                </a:solidFill>
                <a:latin typeface="Arial" panose="020B0604020202020204" pitchFamily="34" charset="0"/>
                <a:cs typeface="Arial" panose="020B0604020202020204" pitchFamily="34" charset="0"/>
              </a:rPr>
              <a:t>does this group comprise? </a:t>
            </a:r>
          </a:p>
          <a:p>
            <a:pPr algn="ctr"/>
            <a:endParaRPr lang="en-GB" dirty="0">
              <a:solidFill>
                <a:schemeClr val="bg1"/>
              </a:solidFill>
            </a:endParaRPr>
          </a:p>
        </p:txBody>
      </p:sp>
      <p:sp>
        <p:nvSpPr>
          <p:cNvPr id="19" name="Freeform: Shape 18">
            <a:extLst>
              <a:ext uri="{FF2B5EF4-FFF2-40B4-BE49-F238E27FC236}">
                <a16:creationId xmlns:a16="http://schemas.microsoft.com/office/drawing/2014/main" id="{878B8C4C-AE2A-E7FC-2D68-64F20614707B}"/>
              </a:ext>
            </a:extLst>
          </p:cNvPr>
          <p:cNvSpPr/>
          <p:nvPr/>
        </p:nvSpPr>
        <p:spPr>
          <a:xfrm>
            <a:off x="2616200" y="1666529"/>
            <a:ext cx="6105392" cy="823646"/>
          </a:xfrm>
          <a:custGeom>
            <a:avLst/>
            <a:gdLst>
              <a:gd name="connsiteX0" fmla="*/ 0 w 4363394"/>
              <a:gd name="connsiteY0" fmla="*/ 174617 h 1746173"/>
              <a:gd name="connsiteX1" fmla="*/ 174617 w 4363394"/>
              <a:gd name="connsiteY1" fmla="*/ 0 h 1746173"/>
              <a:gd name="connsiteX2" fmla="*/ 4188777 w 4363394"/>
              <a:gd name="connsiteY2" fmla="*/ 0 h 1746173"/>
              <a:gd name="connsiteX3" fmla="*/ 4363394 w 4363394"/>
              <a:gd name="connsiteY3" fmla="*/ 174617 h 1746173"/>
              <a:gd name="connsiteX4" fmla="*/ 4363394 w 4363394"/>
              <a:gd name="connsiteY4" fmla="*/ 1571556 h 1746173"/>
              <a:gd name="connsiteX5" fmla="*/ 4188777 w 4363394"/>
              <a:gd name="connsiteY5" fmla="*/ 1746173 h 1746173"/>
              <a:gd name="connsiteX6" fmla="*/ 174617 w 4363394"/>
              <a:gd name="connsiteY6" fmla="*/ 1746173 h 1746173"/>
              <a:gd name="connsiteX7" fmla="*/ 0 w 4363394"/>
              <a:gd name="connsiteY7" fmla="*/ 1571556 h 1746173"/>
              <a:gd name="connsiteX8" fmla="*/ 0 w 4363394"/>
              <a:gd name="connsiteY8" fmla="*/ 174617 h 1746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63394" h="1746173">
                <a:moveTo>
                  <a:pt x="0" y="174617"/>
                </a:moveTo>
                <a:cubicBezTo>
                  <a:pt x="0" y="78179"/>
                  <a:pt x="78179" y="0"/>
                  <a:pt x="174617" y="0"/>
                </a:cubicBezTo>
                <a:lnTo>
                  <a:pt x="4188777" y="0"/>
                </a:lnTo>
                <a:cubicBezTo>
                  <a:pt x="4285215" y="0"/>
                  <a:pt x="4363394" y="78179"/>
                  <a:pt x="4363394" y="174617"/>
                </a:cubicBezTo>
                <a:lnTo>
                  <a:pt x="4363394" y="1571556"/>
                </a:lnTo>
                <a:cubicBezTo>
                  <a:pt x="4363394" y="1667994"/>
                  <a:pt x="4285215" y="1746173"/>
                  <a:pt x="4188777" y="1746173"/>
                </a:cubicBezTo>
                <a:lnTo>
                  <a:pt x="174617" y="1746173"/>
                </a:lnTo>
                <a:cubicBezTo>
                  <a:pt x="78179" y="1746173"/>
                  <a:pt x="0" y="1667994"/>
                  <a:pt x="0" y="1571556"/>
                </a:cubicBezTo>
                <a:lnTo>
                  <a:pt x="0" y="17461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50712" tIns="150712" rIns="150712" bIns="150712" numCol="1" spcCol="1270" anchor="ctr" anchorCtr="0">
            <a:noAutofit/>
          </a:bodyPr>
          <a:lstStyle/>
          <a:p>
            <a:pPr marL="285750" lvl="1" indent="-285750" algn="just" defTabSz="622300">
              <a:lnSpc>
                <a:spcPct val="90000"/>
              </a:lnSpc>
              <a:spcBef>
                <a:spcPct val="0"/>
              </a:spcBef>
              <a:spcAft>
                <a:spcPct val="15000"/>
              </a:spcAft>
              <a:buFont typeface="Wingdings" panose="05000000000000000000" pitchFamily="2" charset="2"/>
              <a:buChar char="Ø"/>
            </a:pPr>
            <a:r>
              <a:rPr lang="en-GB" sz="1400" dirty="0">
                <a:solidFill>
                  <a:schemeClr val="tx2"/>
                </a:solidFill>
                <a:latin typeface="Arial" panose="020B0604020202020204" pitchFamily="34" charset="0"/>
              </a:rPr>
              <a:t>I</a:t>
            </a:r>
            <a:r>
              <a:rPr lang="en-GB" sz="1400" b="0" i="0" u="none" strike="noStrike" dirty="0">
                <a:solidFill>
                  <a:schemeClr val="tx2"/>
                </a:solidFill>
                <a:effectLst/>
                <a:latin typeface="Arial" panose="020B0604020202020204" pitchFamily="34" charset="0"/>
              </a:rPr>
              <a:t>llegal substances in the EU and/or in one or more MS, or substances used in an illegal manner according to the relevant EU or MS regulations (e.g. heroin, crystal, cocaine, cannabis)</a:t>
            </a:r>
            <a:endParaRPr lang="en-GB" sz="1400" dirty="0">
              <a:solidFill>
                <a:schemeClr val="tx2"/>
              </a:solidFill>
            </a:endParaRPr>
          </a:p>
        </p:txBody>
      </p:sp>
      <p:sp>
        <p:nvSpPr>
          <p:cNvPr id="20" name="Freeform: Shape 19">
            <a:extLst>
              <a:ext uri="{FF2B5EF4-FFF2-40B4-BE49-F238E27FC236}">
                <a16:creationId xmlns:a16="http://schemas.microsoft.com/office/drawing/2014/main" id="{9B570925-573D-2290-7F21-7C12E21D62E3}"/>
              </a:ext>
            </a:extLst>
          </p:cNvPr>
          <p:cNvSpPr/>
          <p:nvPr/>
        </p:nvSpPr>
        <p:spPr>
          <a:xfrm>
            <a:off x="2616200" y="2694635"/>
            <a:ext cx="6105392" cy="619200"/>
          </a:xfrm>
          <a:custGeom>
            <a:avLst/>
            <a:gdLst>
              <a:gd name="connsiteX0" fmla="*/ 0 w 4363394"/>
              <a:gd name="connsiteY0" fmla="*/ 174617 h 1746173"/>
              <a:gd name="connsiteX1" fmla="*/ 174617 w 4363394"/>
              <a:gd name="connsiteY1" fmla="*/ 0 h 1746173"/>
              <a:gd name="connsiteX2" fmla="*/ 4188777 w 4363394"/>
              <a:gd name="connsiteY2" fmla="*/ 0 h 1746173"/>
              <a:gd name="connsiteX3" fmla="*/ 4363394 w 4363394"/>
              <a:gd name="connsiteY3" fmla="*/ 174617 h 1746173"/>
              <a:gd name="connsiteX4" fmla="*/ 4363394 w 4363394"/>
              <a:gd name="connsiteY4" fmla="*/ 1571556 h 1746173"/>
              <a:gd name="connsiteX5" fmla="*/ 4188777 w 4363394"/>
              <a:gd name="connsiteY5" fmla="*/ 1746173 h 1746173"/>
              <a:gd name="connsiteX6" fmla="*/ 174617 w 4363394"/>
              <a:gd name="connsiteY6" fmla="*/ 1746173 h 1746173"/>
              <a:gd name="connsiteX7" fmla="*/ 0 w 4363394"/>
              <a:gd name="connsiteY7" fmla="*/ 1571556 h 1746173"/>
              <a:gd name="connsiteX8" fmla="*/ 0 w 4363394"/>
              <a:gd name="connsiteY8" fmla="*/ 174617 h 1746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63394" h="1746173">
                <a:moveTo>
                  <a:pt x="0" y="174617"/>
                </a:moveTo>
                <a:cubicBezTo>
                  <a:pt x="0" y="78179"/>
                  <a:pt x="78179" y="0"/>
                  <a:pt x="174617" y="0"/>
                </a:cubicBezTo>
                <a:lnTo>
                  <a:pt x="4188777" y="0"/>
                </a:lnTo>
                <a:cubicBezTo>
                  <a:pt x="4285215" y="0"/>
                  <a:pt x="4363394" y="78179"/>
                  <a:pt x="4363394" y="174617"/>
                </a:cubicBezTo>
                <a:lnTo>
                  <a:pt x="4363394" y="1571556"/>
                </a:lnTo>
                <a:cubicBezTo>
                  <a:pt x="4363394" y="1667994"/>
                  <a:pt x="4285215" y="1746173"/>
                  <a:pt x="4188777" y="1746173"/>
                </a:cubicBezTo>
                <a:lnTo>
                  <a:pt x="174617" y="1746173"/>
                </a:lnTo>
                <a:cubicBezTo>
                  <a:pt x="78179" y="1746173"/>
                  <a:pt x="0" y="1667994"/>
                  <a:pt x="0" y="1571556"/>
                </a:cubicBezTo>
                <a:lnTo>
                  <a:pt x="0" y="17461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50712" tIns="150712" rIns="150712" bIns="150712" numCol="1" spcCol="1270" anchor="ctr" anchorCtr="0">
            <a:noAutofit/>
          </a:bodyPr>
          <a:lstStyle/>
          <a:p>
            <a:pPr marL="285750" indent="-285750" algn="just">
              <a:buFont typeface="Wingdings" panose="05000000000000000000" pitchFamily="2" charset="2"/>
              <a:buChar char="Ø"/>
            </a:pPr>
            <a:r>
              <a:rPr lang="en-GB" sz="1400" dirty="0">
                <a:solidFill>
                  <a:schemeClr val="tx2"/>
                </a:solidFill>
                <a:latin typeface="Arial" panose="020B0604020202020204" pitchFamily="34" charset="0"/>
              </a:rPr>
              <a:t>Legal substances used in an illegal manner (e.g. alcoholic consumption by minors) </a:t>
            </a:r>
            <a:endParaRPr lang="en-GB" sz="1400" dirty="0">
              <a:solidFill>
                <a:schemeClr val="tx2"/>
              </a:solidFill>
            </a:endParaRPr>
          </a:p>
        </p:txBody>
      </p:sp>
      <p:sp>
        <p:nvSpPr>
          <p:cNvPr id="5" name="TextBox 4">
            <a:extLst>
              <a:ext uri="{FF2B5EF4-FFF2-40B4-BE49-F238E27FC236}">
                <a16:creationId xmlns:a16="http://schemas.microsoft.com/office/drawing/2014/main" id="{A4F71A1C-8950-982A-5FEB-ABF16007F02A}"/>
              </a:ext>
            </a:extLst>
          </p:cNvPr>
          <p:cNvSpPr txBox="1"/>
          <p:nvPr/>
        </p:nvSpPr>
        <p:spPr>
          <a:xfrm>
            <a:off x="672935" y="3641274"/>
            <a:ext cx="8103428" cy="1136145"/>
          </a:xfrm>
          <a:prstGeom prst="rect">
            <a:avLst/>
          </a:prstGeom>
          <a:noFill/>
        </p:spPr>
        <p:txBody>
          <a:bodyPr wrap="square">
            <a:spAutoFit/>
          </a:bodyPr>
          <a:lstStyle/>
          <a:p>
            <a:pPr marL="171450" indent="-171450" algn="just">
              <a:lnSpc>
                <a:spcPct val="115000"/>
              </a:lnSpc>
              <a:buFont typeface="Arial" panose="020B0604020202020204" pitchFamily="34" charset="0"/>
              <a:buChar char="•"/>
            </a:pPr>
            <a:r>
              <a:rPr lang="en-GB" sz="1200" b="1" dirty="0">
                <a:solidFill>
                  <a:srgbClr val="14438E"/>
                </a:solidFill>
                <a:latin typeface="Arial" panose="020B0604020202020204" pitchFamily="34" charset="0"/>
                <a:ea typeface="Times New Roman" panose="02020603050405020304" pitchFamily="18" charset="0"/>
                <a:cs typeface="Arial" panose="020B0604020202020204" pitchFamily="34" charset="0"/>
              </a:rPr>
              <a:t>C</a:t>
            </a:r>
            <a:r>
              <a:rPr lang="en-GB" sz="1200" b="1"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ontrary to public policy:</a:t>
            </a:r>
            <a:r>
              <a:rPr lang="en-GB" sz="12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 whenever they clearly promote, encourage, glorify and/or trivialise the recreational consumption of the above substances.</a:t>
            </a:r>
          </a:p>
          <a:p>
            <a:pPr algn="just">
              <a:lnSpc>
                <a:spcPct val="115000"/>
              </a:lnSpc>
            </a:pPr>
            <a:endParaRPr lang="en-GB" sz="12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endParaRPr>
          </a:p>
          <a:p>
            <a:pPr marL="171450" indent="-171450" algn="just">
              <a:lnSpc>
                <a:spcPct val="115000"/>
              </a:lnSpc>
              <a:buFont typeface="Arial" panose="020B0604020202020204" pitchFamily="34" charset="0"/>
              <a:buChar char="•"/>
            </a:pPr>
            <a:r>
              <a:rPr lang="en-GB" sz="1200" b="1"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Contrary to accepted principles of morality:</a:t>
            </a:r>
            <a:r>
              <a:rPr lang="en-GB" sz="12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 if it could be</a:t>
            </a:r>
            <a:r>
              <a:rPr lang="en-GB" sz="1200" b="1"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 </a:t>
            </a:r>
            <a:r>
              <a:rPr lang="en-GB" sz="12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perceived as offensive to the moral values and standards of a society of a MS and/or the EU.</a:t>
            </a:r>
            <a:endParaRPr lang="en-US" sz="1200" dirty="0">
              <a:solidFill>
                <a:srgbClr val="14438E"/>
              </a:solidFill>
              <a:effectLst/>
              <a:latin typeface="Arial" panose="020B06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6793396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1 Signs including/related to illicit substances</a:t>
            </a:r>
          </a:p>
        </p:txBody>
      </p:sp>
      <p:sp>
        <p:nvSpPr>
          <p:cNvPr id="4" name="TextBox 3">
            <a:extLst>
              <a:ext uri="{FF2B5EF4-FFF2-40B4-BE49-F238E27FC236}">
                <a16:creationId xmlns:a16="http://schemas.microsoft.com/office/drawing/2014/main" id="{A67BFA8F-76F2-BB96-52DC-E87765DC4052}"/>
              </a:ext>
            </a:extLst>
          </p:cNvPr>
          <p:cNvSpPr txBox="1"/>
          <p:nvPr/>
        </p:nvSpPr>
        <p:spPr>
          <a:xfrm>
            <a:off x="3052705" y="2011650"/>
            <a:ext cx="5668887" cy="1969770"/>
          </a:xfrm>
          <a:prstGeom prst="rect">
            <a:avLst/>
          </a:prstGeom>
          <a:noFill/>
          <a:effectLst>
            <a:softEdge rad="12700"/>
          </a:effectLst>
        </p:spPr>
        <p:txBody>
          <a:bodyPr wrap="square" rtlCol="0">
            <a:spAutoFit/>
          </a:bodyPr>
          <a:lstStyle/>
          <a:p>
            <a:pPr marL="285750" indent="-285750" algn="just">
              <a:spcBef>
                <a:spcPts val="600"/>
              </a:spcBef>
              <a:buFontTx/>
              <a:buChar char="‒"/>
            </a:pPr>
            <a:r>
              <a:rPr lang="en-GB" sz="1400" dirty="0">
                <a:solidFill>
                  <a:srgbClr val="2A5494"/>
                </a:solidFill>
                <a:latin typeface="Arial "/>
              </a:rPr>
              <a:t>The message conveyed by the combination of the verbal element and the figurative element of a superhero could be perceived by the general public as conveying a positive message of the effects after consuming cocaine, and glorifying and/or trivialising the use of drugs.</a:t>
            </a:r>
          </a:p>
          <a:p>
            <a:pPr marL="285750" indent="-285750" algn="just">
              <a:spcBef>
                <a:spcPts val="600"/>
              </a:spcBef>
              <a:buFont typeface="Wingdings" panose="05000000000000000000" pitchFamily="2" charset="2"/>
              <a:buChar char="Ø"/>
            </a:pPr>
            <a:endParaRPr lang="en-GB" sz="1400" dirty="0">
              <a:solidFill>
                <a:srgbClr val="2A5494"/>
              </a:solidFill>
              <a:latin typeface="Arial "/>
            </a:endParaRPr>
          </a:p>
          <a:p>
            <a:pPr marL="285750" indent="-285750" algn="just">
              <a:spcBef>
                <a:spcPts val="600"/>
              </a:spcBef>
              <a:buFont typeface="Wingdings" panose="05000000000000000000" pitchFamily="2" charset="2"/>
              <a:buChar char="Ø"/>
            </a:pPr>
            <a:r>
              <a:rPr lang="en-GB" sz="1400" dirty="0">
                <a:solidFill>
                  <a:srgbClr val="2A5494"/>
                </a:solidFill>
                <a:latin typeface="Arial "/>
              </a:rPr>
              <a:t>The sign is </a:t>
            </a:r>
            <a:r>
              <a:rPr lang="en-GB" sz="1400" b="1" dirty="0">
                <a:solidFill>
                  <a:srgbClr val="2A5494"/>
                </a:solidFill>
                <a:latin typeface="Arial "/>
              </a:rPr>
              <a:t>contrary to public policy and accepted principles of morality</a:t>
            </a:r>
            <a:endParaRPr lang="en-GB" sz="1400" dirty="0">
              <a:solidFill>
                <a:srgbClr val="2A5494"/>
              </a:solidFill>
              <a:latin typeface="Arial "/>
            </a:endParaRPr>
          </a:p>
        </p:txBody>
      </p:sp>
      <p:pic>
        <p:nvPicPr>
          <p:cNvPr id="5" name="Picture 4">
            <a:extLst>
              <a:ext uri="{FF2B5EF4-FFF2-40B4-BE49-F238E27FC236}">
                <a16:creationId xmlns:a16="http://schemas.microsoft.com/office/drawing/2014/main" id="{C3717BBA-2F2F-DE00-1E74-4E7B610A1ED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84000" y="2011650"/>
            <a:ext cx="1827604" cy="1399166"/>
          </a:xfrm>
          <a:prstGeom prst="rect">
            <a:avLst/>
          </a:prstGeom>
          <a:solidFill>
            <a:schemeClr val="accent2">
              <a:lumMod val="40000"/>
              <a:lumOff val="60000"/>
            </a:schemeClr>
          </a:solidFill>
          <a:ln w="28575">
            <a:solidFill>
              <a:srgbClr val="C00000"/>
            </a:solidFill>
          </a:ln>
        </p:spPr>
      </p:pic>
      <p:sp>
        <p:nvSpPr>
          <p:cNvPr id="7" name="TextBox 6">
            <a:extLst>
              <a:ext uri="{FF2B5EF4-FFF2-40B4-BE49-F238E27FC236}">
                <a16:creationId xmlns:a16="http://schemas.microsoft.com/office/drawing/2014/main" id="{AE816566-1F45-51EA-2F0D-E3C09709669E}"/>
              </a:ext>
            </a:extLst>
          </p:cNvPr>
          <p:cNvSpPr txBox="1"/>
          <p:nvPr/>
        </p:nvSpPr>
        <p:spPr>
          <a:xfrm>
            <a:off x="720097" y="3689032"/>
            <a:ext cx="1692232" cy="307777"/>
          </a:xfrm>
          <a:prstGeom prst="rect">
            <a:avLst/>
          </a:prstGeom>
          <a:noFill/>
        </p:spPr>
        <p:txBody>
          <a:bodyPr wrap="square" rtlCol="0">
            <a:spAutoFit/>
          </a:bodyPr>
          <a:lstStyle/>
          <a:p>
            <a:pPr algn="ctr"/>
            <a:r>
              <a:rPr lang="en-GB" sz="1400" dirty="0">
                <a:solidFill>
                  <a:srgbClr val="2A5494"/>
                </a:solidFill>
                <a:latin typeface="Arial "/>
              </a:rPr>
              <a:t>Class 25: Clothing</a:t>
            </a:r>
          </a:p>
        </p:txBody>
      </p:sp>
      <p:sp>
        <p:nvSpPr>
          <p:cNvPr id="9" name="TextBox 8">
            <a:extLst>
              <a:ext uri="{FF2B5EF4-FFF2-40B4-BE49-F238E27FC236}">
                <a16:creationId xmlns:a16="http://schemas.microsoft.com/office/drawing/2014/main" id="{6E4257DE-4909-1DA8-6860-BAB59B8D7018}"/>
              </a:ext>
            </a:extLst>
          </p:cNvPr>
          <p:cNvSpPr txBox="1"/>
          <p:nvPr/>
        </p:nvSpPr>
        <p:spPr>
          <a:xfrm>
            <a:off x="3601148" y="4173992"/>
            <a:ext cx="4572000" cy="307777"/>
          </a:xfrm>
          <a:prstGeom prst="rect">
            <a:avLst/>
          </a:prstGeom>
          <a:solidFill>
            <a:schemeClr val="accent2">
              <a:lumMod val="40000"/>
              <a:lumOff val="60000"/>
            </a:schemeClr>
          </a:solidFill>
          <a:ln>
            <a:noFill/>
          </a:ln>
        </p:spPr>
        <p:txBody>
          <a:bodyPr wrap="square" rtlCol="0">
            <a:spAutoFit/>
          </a:bodyPr>
          <a:lstStyle/>
          <a:p>
            <a:pPr algn="ctr"/>
            <a:r>
              <a:rPr lang="en-GB" sz="1400" dirty="0">
                <a:solidFill>
                  <a:schemeClr val="tx2"/>
                </a:solidFill>
                <a:latin typeface="Arial" panose="020B0604020202020204" pitchFamily="34" charset="0"/>
                <a:cs typeface="Arial" panose="020B0604020202020204" pitchFamily="34" charset="0"/>
              </a:rPr>
              <a:t>Objectionable under Article 4(1)(f) TMD</a:t>
            </a:r>
          </a:p>
        </p:txBody>
      </p:sp>
    </p:spTree>
    <p:extLst>
      <p:ext uri="{BB962C8B-B14F-4D97-AF65-F5344CB8AC3E}">
        <p14:creationId xmlns:p14="http://schemas.microsoft.com/office/powerpoint/2010/main" val="32884864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1 Signs including/related to illicit substances</a:t>
            </a:r>
          </a:p>
        </p:txBody>
      </p:sp>
      <p:sp>
        <p:nvSpPr>
          <p:cNvPr id="4" name="TextBox 3">
            <a:extLst>
              <a:ext uri="{FF2B5EF4-FFF2-40B4-BE49-F238E27FC236}">
                <a16:creationId xmlns:a16="http://schemas.microsoft.com/office/drawing/2014/main" id="{3C2964FD-4D69-4FBD-28EB-BC2AFF48A7AD}"/>
              </a:ext>
            </a:extLst>
          </p:cNvPr>
          <p:cNvSpPr txBox="1"/>
          <p:nvPr/>
        </p:nvSpPr>
        <p:spPr>
          <a:xfrm>
            <a:off x="3052705" y="1899444"/>
            <a:ext cx="5668887" cy="1831271"/>
          </a:xfrm>
          <a:prstGeom prst="rect">
            <a:avLst/>
          </a:prstGeom>
          <a:noFill/>
          <a:effectLst>
            <a:softEdge rad="12700"/>
          </a:effectLst>
        </p:spPr>
        <p:txBody>
          <a:bodyPr wrap="square" rtlCol="0">
            <a:spAutoFit/>
          </a:bodyPr>
          <a:lstStyle/>
          <a:p>
            <a:pPr marL="285750" indent="-285750" algn="just">
              <a:spcBef>
                <a:spcPts val="600"/>
              </a:spcBef>
              <a:buFontTx/>
              <a:buChar char="–"/>
            </a:pPr>
            <a:r>
              <a:rPr lang="en-GB" sz="1400" dirty="0">
                <a:solidFill>
                  <a:srgbClr val="2A5494"/>
                </a:solidFill>
                <a:latin typeface="Arial "/>
              </a:rPr>
              <a:t>The overall composition would not be perceived by the relevant public as promoting, encouraging, glorifying and/or trivialising the recreational consumption of an illegal substance or a legal substance used in an illegal manner.</a:t>
            </a:r>
          </a:p>
          <a:p>
            <a:pPr algn="just">
              <a:spcBef>
                <a:spcPts val="600"/>
              </a:spcBef>
            </a:pPr>
            <a:endParaRPr lang="en-GB" sz="1400" dirty="0">
              <a:solidFill>
                <a:srgbClr val="2A5494"/>
              </a:solidFill>
              <a:latin typeface="Arial "/>
            </a:endParaRPr>
          </a:p>
          <a:p>
            <a:pPr marL="285750" indent="-285750" algn="just">
              <a:spcBef>
                <a:spcPts val="600"/>
              </a:spcBef>
              <a:buFont typeface="Wingdings" panose="05000000000000000000" pitchFamily="2" charset="2"/>
              <a:buChar char="Ø"/>
            </a:pPr>
            <a:r>
              <a:rPr lang="en-GB" sz="1400" b="1" dirty="0">
                <a:solidFill>
                  <a:srgbClr val="2A5494"/>
                </a:solidFill>
                <a:latin typeface="Arial "/>
              </a:rPr>
              <a:t>Not contrary to Article 4(1)(f) TMD</a:t>
            </a:r>
          </a:p>
          <a:p>
            <a:pPr marL="285750" indent="-285750" algn="just">
              <a:spcBef>
                <a:spcPts val="600"/>
              </a:spcBef>
              <a:buFontTx/>
              <a:buChar char="–"/>
            </a:pPr>
            <a:endParaRPr lang="en-GB" sz="1400" dirty="0">
              <a:solidFill>
                <a:srgbClr val="2A5494"/>
              </a:solidFill>
              <a:latin typeface="Arial "/>
            </a:endParaRPr>
          </a:p>
        </p:txBody>
      </p:sp>
      <p:sp>
        <p:nvSpPr>
          <p:cNvPr id="5" name="TextBox 4">
            <a:extLst>
              <a:ext uri="{FF2B5EF4-FFF2-40B4-BE49-F238E27FC236}">
                <a16:creationId xmlns:a16="http://schemas.microsoft.com/office/drawing/2014/main" id="{EF54AD29-849D-2AB3-DEDD-DBD61FCAEB3D}"/>
              </a:ext>
            </a:extLst>
          </p:cNvPr>
          <p:cNvSpPr txBox="1"/>
          <p:nvPr/>
        </p:nvSpPr>
        <p:spPr>
          <a:xfrm>
            <a:off x="619513" y="3784396"/>
            <a:ext cx="1626948" cy="523220"/>
          </a:xfrm>
          <a:prstGeom prst="rect">
            <a:avLst/>
          </a:prstGeom>
          <a:noFill/>
        </p:spPr>
        <p:txBody>
          <a:bodyPr wrap="square" rtlCol="0">
            <a:spAutoFit/>
          </a:bodyPr>
          <a:lstStyle/>
          <a:p>
            <a:pPr algn="ctr"/>
            <a:r>
              <a:rPr lang="en-GB" sz="1400" dirty="0">
                <a:solidFill>
                  <a:srgbClr val="2A5494"/>
                </a:solidFill>
                <a:latin typeface="Arial "/>
              </a:rPr>
              <a:t>Class 3:</a:t>
            </a:r>
          </a:p>
          <a:p>
            <a:pPr algn="ctr"/>
            <a:r>
              <a:rPr lang="en-GB" sz="1400" dirty="0">
                <a:solidFill>
                  <a:srgbClr val="2A5494"/>
                </a:solidFill>
                <a:latin typeface="Arial "/>
              </a:rPr>
              <a:t>Hand cream</a:t>
            </a:r>
          </a:p>
        </p:txBody>
      </p:sp>
      <p:pic>
        <p:nvPicPr>
          <p:cNvPr id="7" name="Picture 6">
            <a:extLst>
              <a:ext uri="{FF2B5EF4-FFF2-40B4-BE49-F238E27FC236}">
                <a16:creationId xmlns:a16="http://schemas.microsoft.com/office/drawing/2014/main" id="{9DFAB248-E3AA-EAEF-BB1F-510F3D3DD2CE}"/>
              </a:ext>
            </a:extLst>
          </p:cNvPr>
          <p:cNvPicPr>
            <a:picLocks noChangeAspect="1"/>
          </p:cNvPicPr>
          <p:nvPr/>
        </p:nvPicPr>
        <p:blipFill rotWithShape="1">
          <a:blip r:embed="rId4"/>
          <a:srcRect l="9884" t="3790" r="5802" b="1468"/>
          <a:stretch/>
        </p:blipFill>
        <p:spPr bwMode="auto">
          <a:xfrm>
            <a:off x="784800" y="1900800"/>
            <a:ext cx="1330379" cy="1835005"/>
          </a:xfrm>
          <a:prstGeom prst="rect">
            <a:avLst/>
          </a:prstGeom>
          <a:ln w="28575">
            <a:solidFill>
              <a:srgbClr val="00B050"/>
            </a:solidFill>
          </a:ln>
          <a:extLst>
            <a:ext uri="{53640926-AAD7-44D8-BBD7-CCE9431645EC}">
              <a14:shadowObscured xmlns:a14="http://schemas.microsoft.com/office/drawing/2010/main"/>
            </a:ext>
          </a:extLst>
        </p:spPr>
      </p:pic>
      <p:sp>
        <p:nvSpPr>
          <p:cNvPr id="9" name="TextBox 8">
            <a:extLst>
              <a:ext uri="{FF2B5EF4-FFF2-40B4-BE49-F238E27FC236}">
                <a16:creationId xmlns:a16="http://schemas.microsoft.com/office/drawing/2014/main" id="{3F53279B-0E13-9F1A-E0F2-D6D303E6922A}"/>
              </a:ext>
            </a:extLst>
          </p:cNvPr>
          <p:cNvSpPr txBox="1"/>
          <p:nvPr/>
        </p:nvSpPr>
        <p:spPr>
          <a:xfrm>
            <a:off x="3381757" y="3946158"/>
            <a:ext cx="4572000" cy="307777"/>
          </a:xfrm>
          <a:prstGeom prst="rect">
            <a:avLst/>
          </a:prstGeom>
          <a:solidFill>
            <a:schemeClr val="accent3">
              <a:lumMod val="40000"/>
              <a:lumOff val="60000"/>
            </a:schemeClr>
          </a:solidFill>
        </p:spPr>
        <p:txBody>
          <a:bodyPr wrap="square">
            <a:spAutoFit/>
          </a:bodyPr>
          <a:lstStyle/>
          <a:p>
            <a:pPr algn="ctr"/>
            <a:r>
              <a:rPr lang="en-GB" sz="1400" dirty="0">
                <a:solidFill>
                  <a:srgbClr val="2A5494"/>
                </a:solidFill>
                <a:latin typeface="Arial "/>
              </a:rPr>
              <a:t>Non-objectionable under Article 4(1)(f) TMD</a:t>
            </a:r>
          </a:p>
        </p:txBody>
      </p:sp>
    </p:spTree>
    <p:extLst>
      <p:ext uri="{BB962C8B-B14F-4D97-AF65-F5344CB8AC3E}">
        <p14:creationId xmlns:p14="http://schemas.microsoft.com/office/powerpoint/2010/main" val="9738703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9" name="Rectangle 16">
            <a:extLst>
              <a:ext uri="{FF2B5EF4-FFF2-40B4-BE49-F238E27FC236}">
                <a16:creationId xmlns:a16="http://schemas.microsoft.com/office/drawing/2014/main" id="{A72D7631-5624-4FE2-9B16-5E3DF58A47DE}"/>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6" name="Rectangle 8">
            <a:extLst>
              <a:ext uri="{FF2B5EF4-FFF2-40B4-BE49-F238E27FC236}">
                <a16:creationId xmlns:a16="http://schemas.microsoft.com/office/drawing/2014/main" id="{4EB324E0-CE1A-40C3-AE04-8752DB257CE0}"/>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IE" sz="1400" b="1" dirty="0">
                <a:solidFill>
                  <a:schemeClr val="bg1"/>
                </a:solidFill>
                <a:latin typeface="Arial"/>
                <a:cs typeface="Arial"/>
              </a:rPr>
              <a:t>Background - </a:t>
            </a:r>
            <a:r>
              <a:rPr lang="en-IE" sz="1400" b="1" spc="-71" dirty="0">
                <a:solidFill>
                  <a:srgbClr val="FFFCF6"/>
                </a:solidFill>
                <a:latin typeface="Arial"/>
                <a:ea typeface="Open Sans" panose="020B0606030504020204" pitchFamily="34" charset="0"/>
                <a:cs typeface="Arial"/>
              </a:rPr>
              <a:t>Convergence Projects</a:t>
            </a:r>
          </a:p>
        </p:txBody>
      </p:sp>
      <p:sp>
        <p:nvSpPr>
          <p:cNvPr id="7" name="Rectangle 6">
            <a:extLst>
              <a:ext uri="{FF2B5EF4-FFF2-40B4-BE49-F238E27FC236}">
                <a16:creationId xmlns:a16="http://schemas.microsoft.com/office/drawing/2014/main" id="{40ECBDD0-8967-4029-8DBF-FC6569B6C0B8}"/>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Objectives</a:t>
            </a:r>
          </a:p>
        </p:txBody>
      </p:sp>
      <p:sp>
        <p:nvSpPr>
          <p:cNvPr id="10" name="Parallelogram 9">
            <a:extLst>
              <a:ext uri="{FF2B5EF4-FFF2-40B4-BE49-F238E27FC236}">
                <a16:creationId xmlns:a16="http://schemas.microsoft.com/office/drawing/2014/main" id="{BEBC1CAC-AA56-4302-8AC7-1ACC3D1EC217}"/>
              </a:ext>
            </a:extLst>
          </p:cNvPr>
          <p:cNvSpPr/>
          <p:nvPr/>
        </p:nvSpPr>
        <p:spPr>
          <a:xfrm>
            <a:off x="4489793" y="3124982"/>
            <a:ext cx="2847575" cy="1438808"/>
          </a:xfrm>
          <a:prstGeom prst="parallelogram">
            <a:avLst>
              <a:gd name="adj" fmla="val 50918"/>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Shape 10">
            <a:extLst>
              <a:ext uri="{FF2B5EF4-FFF2-40B4-BE49-F238E27FC236}">
                <a16:creationId xmlns:a16="http://schemas.microsoft.com/office/drawing/2014/main" id="{497C4582-4680-4A72-86D2-8A99729AAF74}"/>
              </a:ext>
            </a:extLst>
          </p:cNvPr>
          <p:cNvSpPr/>
          <p:nvPr/>
        </p:nvSpPr>
        <p:spPr>
          <a:xfrm flipH="1">
            <a:off x="4499318" y="4179232"/>
            <a:ext cx="368950" cy="384558"/>
          </a:xfrm>
          <a:custGeom>
            <a:avLst/>
            <a:gdLst>
              <a:gd name="connsiteX0" fmla="*/ 253406 w 506812"/>
              <a:gd name="connsiteY0" fmla="*/ 0 h 497675"/>
              <a:gd name="connsiteX1" fmla="*/ 0 w 506812"/>
              <a:gd name="connsiteY1" fmla="*/ 497675 h 497675"/>
              <a:gd name="connsiteX2" fmla="*/ 506812 w 506812"/>
              <a:gd name="connsiteY2" fmla="*/ 497675 h 497675"/>
            </a:gdLst>
            <a:ahLst/>
            <a:cxnLst>
              <a:cxn ang="0">
                <a:pos x="connsiteX0" y="connsiteY0"/>
              </a:cxn>
              <a:cxn ang="0">
                <a:pos x="connsiteX1" y="connsiteY1"/>
              </a:cxn>
              <a:cxn ang="0">
                <a:pos x="connsiteX2" y="connsiteY2"/>
              </a:cxn>
            </a:cxnLst>
            <a:rect l="l" t="t" r="r" b="b"/>
            <a:pathLst>
              <a:path w="506812" h="497675">
                <a:moveTo>
                  <a:pt x="253406" y="0"/>
                </a:moveTo>
                <a:lnTo>
                  <a:pt x="0" y="497675"/>
                </a:lnTo>
                <a:lnTo>
                  <a:pt x="506812" y="497675"/>
                </a:lnTo>
                <a:close/>
              </a:path>
            </a:pathLst>
          </a:custGeom>
          <a:solidFill>
            <a:schemeClr val="tx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2" name="Parallelogram 11">
            <a:extLst>
              <a:ext uri="{FF2B5EF4-FFF2-40B4-BE49-F238E27FC236}">
                <a16:creationId xmlns:a16="http://schemas.microsoft.com/office/drawing/2014/main" id="{E1611C62-3FE1-4A2D-AE5A-BDA07216F905}"/>
              </a:ext>
            </a:extLst>
          </p:cNvPr>
          <p:cNvSpPr/>
          <p:nvPr/>
        </p:nvSpPr>
        <p:spPr>
          <a:xfrm>
            <a:off x="1910334" y="1688891"/>
            <a:ext cx="2847575" cy="1438808"/>
          </a:xfrm>
          <a:prstGeom prst="parallelogram">
            <a:avLst>
              <a:gd name="adj" fmla="val 50918"/>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Freeform: Shape 12">
            <a:extLst>
              <a:ext uri="{FF2B5EF4-FFF2-40B4-BE49-F238E27FC236}">
                <a16:creationId xmlns:a16="http://schemas.microsoft.com/office/drawing/2014/main" id="{194EFDA3-BCEA-4066-8B57-FFE045BE1833}"/>
              </a:ext>
            </a:extLst>
          </p:cNvPr>
          <p:cNvSpPr/>
          <p:nvPr/>
        </p:nvSpPr>
        <p:spPr>
          <a:xfrm flipH="1">
            <a:off x="4384088" y="1688891"/>
            <a:ext cx="367471" cy="383016"/>
          </a:xfrm>
          <a:custGeom>
            <a:avLst/>
            <a:gdLst>
              <a:gd name="connsiteX0" fmla="*/ 504780 w 504780"/>
              <a:gd name="connsiteY0" fmla="*/ 0 h 495680"/>
              <a:gd name="connsiteX1" fmla="*/ 0 w 504780"/>
              <a:gd name="connsiteY1" fmla="*/ 0 h 495680"/>
              <a:gd name="connsiteX2" fmla="*/ 252390 w 504780"/>
              <a:gd name="connsiteY2" fmla="*/ 495680 h 495680"/>
            </a:gdLst>
            <a:ahLst/>
            <a:cxnLst>
              <a:cxn ang="0">
                <a:pos x="connsiteX0" y="connsiteY0"/>
              </a:cxn>
              <a:cxn ang="0">
                <a:pos x="connsiteX1" y="connsiteY1"/>
              </a:cxn>
              <a:cxn ang="0">
                <a:pos x="connsiteX2" y="connsiteY2"/>
              </a:cxn>
            </a:cxnLst>
            <a:rect l="l" t="t" r="r" b="b"/>
            <a:pathLst>
              <a:path w="504780" h="495680">
                <a:moveTo>
                  <a:pt x="504780" y="0"/>
                </a:moveTo>
                <a:lnTo>
                  <a:pt x="0" y="0"/>
                </a:lnTo>
                <a:lnTo>
                  <a:pt x="252390" y="495680"/>
                </a:lnTo>
                <a:close/>
              </a:path>
            </a:pathLst>
          </a:custGeom>
          <a:solidFill>
            <a:schemeClr val="tx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4" name="Parallelogram 13">
            <a:extLst>
              <a:ext uri="{FF2B5EF4-FFF2-40B4-BE49-F238E27FC236}">
                <a16:creationId xmlns:a16="http://schemas.microsoft.com/office/drawing/2014/main" id="{DB0E023F-8E63-4B48-9A83-FBB1AD80D5C8}"/>
              </a:ext>
            </a:extLst>
          </p:cNvPr>
          <p:cNvSpPr/>
          <p:nvPr/>
        </p:nvSpPr>
        <p:spPr>
          <a:xfrm flipH="1">
            <a:off x="4483443" y="1688891"/>
            <a:ext cx="2849055" cy="1438808"/>
          </a:xfrm>
          <a:prstGeom prst="parallelogram">
            <a:avLst>
              <a:gd name="adj" fmla="val 5091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Parallelogram 14">
            <a:extLst>
              <a:ext uri="{FF2B5EF4-FFF2-40B4-BE49-F238E27FC236}">
                <a16:creationId xmlns:a16="http://schemas.microsoft.com/office/drawing/2014/main" id="{6B1C339F-06AB-4675-97B2-C5227277041D}"/>
              </a:ext>
            </a:extLst>
          </p:cNvPr>
          <p:cNvSpPr/>
          <p:nvPr/>
        </p:nvSpPr>
        <p:spPr>
          <a:xfrm flipH="1">
            <a:off x="1908515" y="3124982"/>
            <a:ext cx="2849055" cy="1438808"/>
          </a:xfrm>
          <a:prstGeom prst="parallelogram">
            <a:avLst>
              <a:gd name="adj" fmla="val 50918"/>
            </a:avLst>
          </a:prstGeom>
          <a:solidFill>
            <a:srgbClr val="558ED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 name="Group 15">
            <a:extLst>
              <a:ext uri="{FF2B5EF4-FFF2-40B4-BE49-F238E27FC236}">
                <a16:creationId xmlns:a16="http://schemas.microsoft.com/office/drawing/2014/main" id="{AD2D12E5-9BF7-47C7-AAE7-5B12AC4E62D7}"/>
              </a:ext>
            </a:extLst>
          </p:cNvPr>
          <p:cNvGrpSpPr/>
          <p:nvPr/>
        </p:nvGrpSpPr>
        <p:grpSpPr>
          <a:xfrm>
            <a:off x="6651148" y="2573326"/>
            <a:ext cx="314171" cy="444748"/>
            <a:chOff x="2214671" y="2638486"/>
            <a:chExt cx="314171" cy="444748"/>
          </a:xfrm>
          <a:solidFill>
            <a:schemeClr val="bg1"/>
          </a:solidFill>
        </p:grpSpPr>
        <p:sp>
          <p:nvSpPr>
            <p:cNvPr id="17" name="Freeform: Shape 16">
              <a:extLst>
                <a:ext uri="{FF2B5EF4-FFF2-40B4-BE49-F238E27FC236}">
                  <a16:creationId xmlns:a16="http://schemas.microsoft.com/office/drawing/2014/main" id="{EF8F614A-2E89-42B6-82D5-C83A08486D82}"/>
                </a:ext>
              </a:extLst>
            </p:cNvPr>
            <p:cNvSpPr/>
            <p:nvPr/>
          </p:nvSpPr>
          <p:spPr>
            <a:xfrm>
              <a:off x="2353429" y="2666392"/>
              <a:ext cx="36654" cy="38905"/>
            </a:xfrm>
            <a:custGeom>
              <a:avLst/>
              <a:gdLst>
                <a:gd name="connsiteX0" fmla="*/ 25176 w 50350"/>
                <a:gd name="connsiteY0" fmla="*/ 50349 h 50349"/>
                <a:gd name="connsiteX1" fmla="*/ 50351 w 50350"/>
                <a:gd name="connsiteY1" fmla="*/ 25175 h 50349"/>
                <a:gd name="connsiteX2" fmla="*/ 25176 w 50350"/>
                <a:gd name="connsiteY2" fmla="*/ 0 h 50349"/>
                <a:gd name="connsiteX3" fmla="*/ 24457 w 50350"/>
                <a:gd name="connsiteY3" fmla="*/ 0 h 50349"/>
                <a:gd name="connsiteX4" fmla="*/ 2 w 50350"/>
                <a:gd name="connsiteY4" fmla="*/ 25175 h 50349"/>
                <a:gd name="connsiteX5" fmla="*/ 25176 w 50350"/>
                <a:gd name="connsiteY5" fmla="*/ 50349 h 50349"/>
                <a:gd name="connsiteX6" fmla="*/ 24701 w 50350"/>
                <a:gd name="connsiteY6" fmla="*/ 14385 h 50349"/>
                <a:gd name="connsiteX7" fmla="*/ 25176 w 50350"/>
                <a:gd name="connsiteY7" fmla="*/ 14385 h 50349"/>
                <a:gd name="connsiteX8" fmla="*/ 35965 w 50350"/>
                <a:gd name="connsiteY8" fmla="*/ 25175 h 50349"/>
                <a:gd name="connsiteX9" fmla="*/ 25175 w 50350"/>
                <a:gd name="connsiteY9" fmla="*/ 35964 h 50349"/>
                <a:gd name="connsiteX10" fmla="*/ 14386 w 50350"/>
                <a:gd name="connsiteY10" fmla="*/ 25174 h 50349"/>
                <a:gd name="connsiteX11" fmla="*/ 14387 w 50350"/>
                <a:gd name="connsiteY11" fmla="*/ 25074 h 50349"/>
                <a:gd name="connsiteX12" fmla="*/ 24701 w 50350"/>
                <a:gd name="connsiteY12" fmla="*/ 14385 h 50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0350" h="50349">
                  <a:moveTo>
                    <a:pt x="25176" y="50349"/>
                  </a:moveTo>
                  <a:cubicBezTo>
                    <a:pt x="39080" y="50349"/>
                    <a:pt x="50351" y="39078"/>
                    <a:pt x="50351" y="25175"/>
                  </a:cubicBezTo>
                  <a:cubicBezTo>
                    <a:pt x="50351" y="11271"/>
                    <a:pt x="39080" y="0"/>
                    <a:pt x="25176" y="0"/>
                  </a:cubicBezTo>
                  <a:lnTo>
                    <a:pt x="24457" y="0"/>
                  </a:lnTo>
                  <a:cubicBezTo>
                    <a:pt x="10772" y="245"/>
                    <a:pt x="-151" y="11488"/>
                    <a:pt x="2" y="25175"/>
                  </a:cubicBezTo>
                  <a:cubicBezTo>
                    <a:pt x="25" y="39068"/>
                    <a:pt x="11283" y="50325"/>
                    <a:pt x="25176" y="50349"/>
                  </a:cubicBezTo>
                  <a:close/>
                  <a:moveTo>
                    <a:pt x="24701" y="14385"/>
                  </a:moveTo>
                  <a:lnTo>
                    <a:pt x="25176" y="14385"/>
                  </a:lnTo>
                  <a:cubicBezTo>
                    <a:pt x="31135" y="14385"/>
                    <a:pt x="35965" y="19216"/>
                    <a:pt x="35965" y="25175"/>
                  </a:cubicBezTo>
                  <a:cubicBezTo>
                    <a:pt x="35965" y="31134"/>
                    <a:pt x="31134" y="35964"/>
                    <a:pt x="25175" y="35964"/>
                  </a:cubicBezTo>
                  <a:cubicBezTo>
                    <a:pt x="19216" y="35964"/>
                    <a:pt x="14386" y="31133"/>
                    <a:pt x="14386" y="25174"/>
                  </a:cubicBezTo>
                  <a:cubicBezTo>
                    <a:pt x="14386" y="25141"/>
                    <a:pt x="14387" y="25107"/>
                    <a:pt x="14387" y="25074"/>
                  </a:cubicBezTo>
                  <a:cubicBezTo>
                    <a:pt x="14295" y="19279"/>
                    <a:pt x="18906" y="14500"/>
                    <a:pt x="24701" y="14385"/>
                  </a:cubicBezTo>
                  <a:close/>
                </a:path>
              </a:pathLst>
            </a:custGeom>
            <a:grpFill/>
            <a:ln w="7144" cap="flat">
              <a:solidFill>
                <a:schemeClr val="bg1"/>
              </a:solidFill>
              <a:prstDash val="solid"/>
              <a:miter/>
            </a:ln>
          </p:spPr>
          <p:txBody>
            <a:bodyPr rtlCol="0" anchor="ctr"/>
            <a:lstStyle/>
            <a:p>
              <a:endParaRPr lang="en-US"/>
            </a:p>
          </p:txBody>
        </p:sp>
        <p:sp>
          <p:nvSpPr>
            <p:cNvPr id="18" name="Freeform: Shape 17">
              <a:extLst>
                <a:ext uri="{FF2B5EF4-FFF2-40B4-BE49-F238E27FC236}">
                  <a16:creationId xmlns:a16="http://schemas.microsoft.com/office/drawing/2014/main" id="{B7F066E5-C2E6-4282-8353-86546CAEC206}"/>
                </a:ext>
              </a:extLst>
            </p:cNvPr>
            <p:cNvSpPr/>
            <p:nvPr/>
          </p:nvSpPr>
          <p:spPr>
            <a:xfrm>
              <a:off x="2267263" y="2779168"/>
              <a:ext cx="70238" cy="56251"/>
            </a:xfrm>
            <a:custGeom>
              <a:avLst/>
              <a:gdLst>
                <a:gd name="connsiteX0" fmla="*/ 33856 w 96483"/>
                <a:gd name="connsiteY0" fmla="*/ 52449 h 72797"/>
                <a:gd name="connsiteX1" fmla="*/ 10171 w 96483"/>
                <a:gd name="connsiteY1" fmla="*/ 28771 h 72797"/>
                <a:gd name="connsiteX2" fmla="*/ 0 w 96483"/>
                <a:gd name="connsiteY2" fmla="*/ 38942 h 72797"/>
                <a:gd name="connsiteX3" fmla="*/ 33856 w 96483"/>
                <a:gd name="connsiteY3" fmla="*/ 72798 h 72797"/>
                <a:gd name="connsiteX4" fmla="*/ 96483 w 96483"/>
                <a:gd name="connsiteY4" fmla="*/ 10171 h 72797"/>
                <a:gd name="connsiteX5" fmla="*/ 86313 w 96483"/>
                <a:gd name="connsiteY5" fmla="*/ 0 h 72797"/>
                <a:gd name="connsiteX6" fmla="*/ 33856 w 96483"/>
                <a:gd name="connsiteY6" fmla="*/ 52449 h 72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6483" h="72797">
                  <a:moveTo>
                    <a:pt x="33856" y="52449"/>
                  </a:moveTo>
                  <a:lnTo>
                    <a:pt x="10171" y="28771"/>
                  </a:lnTo>
                  <a:lnTo>
                    <a:pt x="0" y="38942"/>
                  </a:lnTo>
                  <a:lnTo>
                    <a:pt x="33856" y="72798"/>
                  </a:lnTo>
                  <a:lnTo>
                    <a:pt x="96483" y="10171"/>
                  </a:lnTo>
                  <a:lnTo>
                    <a:pt x="86313" y="0"/>
                  </a:lnTo>
                  <a:lnTo>
                    <a:pt x="33856" y="52449"/>
                  </a:lnTo>
                  <a:close/>
                </a:path>
              </a:pathLst>
            </a:custGeom>
            <a:grpFill/>
            <a:ln w="7144" cap="flat">
              <a:solidFill>
                <a:schemeClr val="bg1"/>
              </a:solid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D747B545-A220-48C8-B690-F59B82E69610}"/>
                </a:ext>
              </a:extLst>
            </p:cNvPr>
            <p:cNvSpPr/>
            <p:nvPr/>
          </p:nvSpPr>
          <p:spPr>
            <a:xfrm>
              <a:off x="2366525" y="2799770"/>
              <a:ext cx="109960" cy="11115"/>
            </a:xfrm>
            <a:custGeom>
              <a:avLst/>
              <a:gdLst>
                <a:gd name="connsiteX0" fmla="*/ 0 w 151047"/>
                <a:gd name="connsiteY0" fmla="*/ 0 h 14385"/>
                <a:gd name="connsiteX1" fmla="*/ 151048 w 151047"/>
                <a:gd name="connsiteY1" fmla="*/ 0 h 14385"/>
                <a:gd name="connsiteX2" fmla="*/ 151048 w 151047"/>
                <a:gd name="connsiteY2" fmla="*/ 14385 h 14385"/>
                <a:gd name="connsiteX3" fmla="*/ 0 w 151047"/>
                <a:gd name="connsiteY3" fmla="*/ 14385 h 14385"/>
              </a:gdLst>
              <a:ahLst/>
              <a:cxnLst>
                <a:cxn ang="0">
                  <a:pos x="connsiteX0" y="connsiteY0"/>
                </a:cxn>
                <a:cxn ang="0">
                  <a:pos x="connsiteX1" y="connsiteY1"/>
                </a:cxn>
                <a:cxn ang="0">
                  <a:pos x="connsiteX2" y="connsiteY2"/>
                </a:cxn>
                <a:cxn ang="0">
                  <a:pos x="connsiteX3" y="connsiteY3"/>
                </a:cxn>
              </a:cxnLst>
              <a:rect l="l" t="t" r="r" b="b"/>
              <a:pathLst>
                <a:path w="151047" h="14385">
                  <a:moveTo>
                    <a:pt x="0" y="0"/>
                  </a:moveTo>
                  <a:lnTo>
                    <a:pt x="151048" y="0"/>
                  </a:lnTo>
                  <a:lnTo>
                    <a:pt x="151048" y="14385"/>
                  </a:lnTo>
                  <a:lnTo>
                    <a:pt x="0" y="14385"/>
                  </a:lnTo>
                  <a:close/>
                </a:path>
              </a:pathLst>
            </a:custGeom>
            <a:grpFill/>
            <a:ln w="7144" cap="flat">
              <a:solidFill>
                <a:schemeClr val="bg1"/>
              </a:solidFill>
              <a:prstDash val="solid"/>
              <a:miter/>
            </a:ln>
          </p:spPr>
          <p:txBody>
            <a:bodyPr rtlCol="0" anchor="ctr"/>
            <a:lstStyle/>
            <a:p>
              <a:endParaRPr lang="en-US"/>
            </a:p>
          </p:txBody>
        </p:sp>
        <p:sp>
          <p:nvSpPr>
            <p:cNvPr id="20" name="Freeform: Shape 19">
              <a:extLst>
                <a:ext uri="{FF2B5EF4-FFF2-40B4-BE49-F238E27FC236}">
                  <a16:creationId xmlns:a16="http://schemas.microsoft.com/office/drawing/2014/main" id="{F9E9E337-ECAC-4EF6-846B-4A9617C6F124}"/>
                </a:ext>
              </a:extLst>
            </p:cNvPr>
            <p:cNvSpPr/>
            <p:nvPr/>
          </p:nvSpPr>
          <p:spPr>
            <a:xfrm>
              <a:off x="2267263" y="2845862"/>
              <a:ext cx="66310" cy="53472"/>
            </a:xfrm>
            <a:custGeom>
              <a:avLst/>
              <a:gdLst>
                <a:gd name="connsiteX0" fmla="*/ 32058 w 91088"/>
                <a:gd name="connsiteY0" fmla="*/ 48853 h 69201"/>
                <a:gd name="connsiteX1" fmla="*/ 10171 w 91088"/>
                <a:gd name="connsiteY1" fmla="*/ 26973 h 69201"/>
                <a:gd name="connsiteX2" fmla="*/ 0 w 91088"/>
                <a:gd name="connsiteY2" fmla="*/ 37143 h 69201"/>
                <a:gd name="connsiteX3" fmla="*/ 32058 w 91088"/>
                <a:gd name="connsiteY3" fmla="*/ 69201 h 69201"/>
                <a:gd name="connsiteX4" fmla="*/ 91089 w 91088"/>
                <a:gd name="connsiteY4" fmla="*/ 10171 h 69201"/>
                <a:gd name="connsiteX5" fmla="*/ 80918 w 91088"/>
                <a:gd name="connsiteY5" fmla="*/ 0 h 69201"/>
                <a:gd name="connsiteX6" fmla="*/ 32058 w 91088"/>
                <a:gd name="connsiteY6" fmla="*/ 48853 h 69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1088" h="69201">
                  <a:moveTo>
                    <a:pt x="32058" y="48853"/>
                  </a:moveTo>
                  <a:lnTo>
                    <a:pt x="10171" y="26973"/>
                  </a:lnTo>
                  <a:lnTo>
                    <a:pt x="0" y="37143"/>
                  </a:lnTo>
                  <a:lnTo>
                    <a:pt x="32058" y="69201"/>
                  </a:lnTo>
                  <a:lnTo>
                    <a:pt x="91089" y="10171"/>
                  </a:lnTo>
                  <a:lnTo>
                    <a:pt x="80918" y="0"/>
                  </a:lnTo>
                  <a:lnTo>
                    <a:pt x="32058" y="48853"/>
                  </a:lnTo>
                  <a:close/>
                </a:path>
              </a:pathLst>
            </a:custGeom>
            <a:grpFill/>
            <a:ln w="7144" cap="flat">
              <a:solidFill>
                <a:schemeClr val="bg1"/>
              </a:solidFill>
              <a:prstDash val="solid"/>
              <a:miter/>
            </a:ln>
          </p:spPr>
          <p:txBody>
            <a:bodyPr rtlCol="0" anchor="ctr"/>
            <a:lstStyle/>
            <a:p>
              <a:endParaRPr lang="en-US"/>
            </a:p>
          </p:txBody>
        </p:sp>
        <p:sp>
          <p:nvSpPr>
            <p:cNvPr id="21" name="Freeform: Shape 20">
              <a:extLst>
                <a:ext uri="{FF2B5EF4-FFF2-40B4-BE49-F238E27FC236}">
                  <a16:creationId xmlns:a16="http://schemas.microsoft.com/office/drawing/2014/main" id="{2FE9674E-C397-46AB-8492-476EEF66DA39}"/>
                </a:ext>
              </a:extLst>
            </p:cNvPr>
            <p:cNvSpPr/>
            <p:nvPr/>
          </p:nvSpPr>
          <p:spPr>
            <a:xfrm>
              <a:off x="2366525" y="2866465"/>
              <a:ext cx="109960" cy="11115"/>
            </a:xfrm>
            <a:custGeom>
              <a:avLst/>
              <a:gdLst>
                <a:gd name="connsiteX0" fmla="*/ 0 w 151047"/>
                <a:gd name="connsiteY0" fmla="*/ 0 h 14385"/>
                <a:gd name="connsiteX1" fmla="*/ 151048 w 151047"/>
                <a:gd name="connsiteY1" fmla="*/ 0 h 14385"/>
                <a:gd name="connsiteX2" fmla="*/ 151048 w 151047"/>
                <a:gd name="connsiteY2" fmla="*/ 14385 h 14385"/>
                <a:gd name="connsiteX3" fmla="*/ 0 w 151047"/>
                <a:gd name="connsiteY3" fmla="*/ 14385 h 14385"/>
              </a:gdLst>
              <a:ahLst/>
              <a:cxnLst>
                <a:cxn ang="0">
                  <a:pos x="connsiteX0" y="connsiteY0"/>
                </a:cxn>
                <a:cxn ang="0">
                  <a:pos x="connsiteX1" y="connsiteY1"/>
                </a:cxn>
                <a:cxn ang="0">
                  <a:pos x="connsiteX2" y="connsiteY2"/>
                </a:cxn>
                <a:cxn ang="0">
                  <a:pos x="connsiteX3" y="connsiteY3"/>
                </a:cxn>
              </a:cxnLst>
              <a:rect l="l" t="t" r="r" b="b"/>
              <a:pathLst>
                <a:path w="151047" h="14385">
                  <a:moveTo>
                    <a:pt x="0" y="0"/>
                  </a:moveTo>
                  <a:lnTo>
                    <a:pt x="151048" y="0"/>
                  </a:lnTo>
                  <a:lnTo>
                    <a:pt x="151048" y="14385"/>
                  </a:lnTo>
                  <a:lnTo>
                    <a:pt x="0" y="14385"/>
                  </a:lnTo>
                  <a:close/>
                </a:path>
              </a:pathLst>
            </a:custGeom>
            <a:grpFill/>
            <a:ln w="7144" cap="flat">
              <a:solidFill>
                <a:schemeClr val="bg1"/>
              </a:solidFill>
              <a:prstDash val="solid"/>
              <a:miter/>
            </a:ln>
          </p:spPr>
          <p:txBody>
            <a:bodyPr rtlCol="0" anchor="ctr"/>
            <a:lstStyle/>
            <a:p>
              <a:endParaRPr lang="en-US"/>
            </a:p>
          </p:txBody>
        </p:sp>
        <p:sp>
          <p:nvSpPr>
            <p:cNvPr id="22" name="Freeform: Shape 21">
              <a:extLst>
                <a:ext uri="{FF2B5EF4-FFF2-40B4-BE49-F238E27FC236}">
                  <a16:creationId xmlns:a16="http://schemas.microsoft.com/office/drawing/2014/main" id="{3D4F31D2-D741-42EA-873C-29DA97F04A7C}"/>
                </a:ext>
              </a:extLst>
            </p:cNvPr>
            <p:cNvSpPr/>
            <p:nvPr/>
          </p:nvSpPr>
          <p:spPr>
            <a:xfrm>
              <a:off x="2366525" y="2933160"/>
              <a:ext cx="109960" cy="11115"/>
            </a:xfrm>
            <a:custGeom>
              <a:avLst/>
              <a:gdLst>
                <a:gd name="connsiteX0" fmla="*/ 0 w 151047"/>
                <a:gd name="connsiteY0" fmla="*/ 0 h 14385"/>
                <a:gd name="connsiteX1" fmla="*/ 151048 w 151047"/>
                <a:gd name="connsiteY1" fmla="*/ 0 h 14385"/>
                <a:gd name="connsiteX2" fmla="*/ 151048 w 151047"/>
                <a:gd name="connsiteY2" fmla="*/ 14385 h 14385"/>
                <a:gd name="connsiteX3" fmla="*/ 0 w 151047"/>
                <a:gd name="connsiteY3" fmla="*/ 14385 h 14385"/>
              </a:gdLst>
              <a:ahLst/>
              <a:cxnLst>
                <a:cxn ang="0">
                  <a:pos x="connsiteX0" y="connsiteY0"/>
                </a:cxn>
                <a:cxn ang="0">
                  <a:pos x="connsiteX1" y="connsiteY1"/>
                </a:cxn>
                <a:cxn ang="0">
                  <a:pos x="connsiteX2" y="connsiteY2"/>
                </a:cxn>
                <a:cxn ang="0">
                  <a:pos x="connsiteX3" y="connsiteY3"/>
                </a:cxn>
              </a:cxnLst>
              <a:rect l="l" t="t" r="r" b="b"/>
              <a:pathLst>
                <a:path w="151047" h="14385">
                  <a:moveTo>
                    <a:pt x="0" y="0"/>
                  </a:moveTo>
                  <a:lnTo>
                    <a:pt x="151048" y="0"/>
                  </a:lnTo>
                  <a:lnTo>
                    <a:pt x="151048" y="14385"/>
                  </a:lnTo>
                  <a:lnTo>
                    <a:pt x="0" y="14385"/>
                  </a:lnTo>
                  <a:close/>
                </a:path>
              </a:pathLst>
            </a:custGeom>
            <a:grpFill/>
            <a:ln w="7144" cap="flat">
              <a:solidFill>
                <a:schemeClr val="bg1"/>
              </a:solidFill>
              <a:prstDash val="solid"/>
              <a:miter/>
            </a:ln>
          </p:spPr>
          <p:txBody>
            <a:bodyPr rtlCol="0" anchor="ctr"/>
            <a:lstStyle/>
            <a:p>
              <a:endParaRPr lang="en-US"/>
            </a:p>
          </p:txBody>
        </p:sp>
        <p:sp>
          <p:nvSpPr>
            <p:cNvPr id="23" name="Freeform: Shape 22">
              <a:extLst>
                <a:ext uri="{FF2B5EF4-FFF2-40B4-BE49-F238E27FC236}">
                  <a16:creationId xmlns:a16="http://schemas.microsoft.com/office/drawing/2014/main" id="{9E51402F-E947-4390-9DAB-7167A8E66C5A}"/>
                </a:ext>
              </a:extLst>
            </p:cNvPr>
            <p:cNvSpPr/>
            <p:nvPr/>
          </p:nvSpPr>
          <p:spPr>
            <a:xfrm>
              <a:off x="2366525" y="2999855"/>
              <a:ext cx="109960" cy="11115"/>
            </a:xfrm>
            <a:custGeom>
              <a:avLst/>
              <a:gdLst>
                <a:gd name="connsiteX0" fmla="*/ 0 w 151047"/>
                <a:gd name="connsiteY0" fmla="*/ 0 h 14385"/>
                <a:gd name="connsiteX1" fmla="*/ 151048 w 151047"/>
                <a:gd name="connsiteY1" fmla="*/ 0 h 14385"/>
                <a:gd name="connsiteX2" fmla="*/ 151048 w 151047"/>
                <a:gd name="connsiteY2" fmla="*/ 14385 h 14385"/>
                <a:gd name="connsiteX3" fmla="*/ 0 w 151047"/>
                <a:gd name="connsiteY3" fmla="*/ 14385 h 14385"/>
              </a:gdLst>
              <a:ahLst/>
              <a:cxnLst>
                <a:cxn ang="0">
                  <a:pos x="connsiteX0" y="connsiteY0"/>
                </a:cxn>
                <a:cxn ang="0">
                  <a:pos x="connsiteX1" y="connsiteY1"/>
                </a:cxn>
                <a:cxn ang="0">
                  <a:pos x="connsiteX2" y="connsiteY2"/>
                </a:cxn>
                <a:cxn ang="0">
                  <a:pos x="connsiteX3" y="connsiteY3"/>
                </a:cxn>
              </a:cxnLst>
              <a:rect l="l" t="t" r="r" b="b"/>
              <a:pathLst>
                <a:path w="151047" h="14385">
                  <a:moveTo>
                    <a:pt x="0" y="0"/>
                  </a:moveTo>
                  <a:lnTo>
                    <a:pt x="151048" y="0"/>
                  </a:lnTo>
                  <a:lnTo>
                    <a:pt x="151048" y="14385"/>
                  </a:lnTo>
                  <a:lnTo>
                    <a:pt x="0" y="14385"/>
                  </a:lnTo>
                  <a:close/>
                </a:path>
              </a:pathLst>
            </a:custGeom>
            <a:grpFill/>
            <a:ln w="7144" cap="flat">
              <a:solidFill>
                <a:schemeClr val="bg1"/>
              </a:solidFill>
              <a:prstDash val="solid"/>
              <a:miter/>
            </a:ln>
          </p:spPr>
          <p:txBody>
            <a:bodyPr rtlCol="0" anchor="ctr"/>
            <a:lstStyle/>
            <a:p>
              <a:endParaRPr lang="en-US"/>
            </a:p>
          </p:txBody>
        </p:sp>
        <p:sp>
          <p:nvSpPr>
            <p:cNvPr id="24" name="Freeform: Shape 23">
              <a:extLst>
                <a:ext uri="{FF2B5EF4-FFF2-40B4-BE49-F238E27FC236}">
                  <a16:creationId xmlns:a16="http://schemas.microsoft.com/office/drawing/2014/main" id="{A4D2211E-3B80-4AFC-A089-5F0F7BEC4BBB}"/>
                </a:ext>
              </a:extLst>
            </p:cNvPr>
            <p:cNvSpPr/>
            <p:nvPr/>
          </p:nvSpPr>
          <p:spPr>
            <a:xfrm>
              <a:off x="2271190" y="2912557"/>
              <a:ext cx="49293" cy="52322"/>
            </a:xfrm>
            <a:custGeom>
              <a:avLst/>
              <a:gdLst>
                <a:gd name="connsiteX0" fmla="*/ 57542 w 67712"/>
                <a:gd name="connsiteY0" fmla="*/ 0 h 67712"/>
                <a:gd name="connsiteX1" fmla="*/ 33856 w 67712"/>
                <a:gd name="connsiteY1" fmla="*/ 23678 h 67712"/>
                <a:gd name="connsiteX2" fmla="*/ 10171 w 67712"/>
                <a:gd name="connsiteY2" fmla="*/ 0 h 67712"/>
                <a:gd name="connsiteX3" fmla="*/ 0 w 67712"/>
                <a:gd name="connsiteY3" fmla="*/ 10171 h 67712"/>
                <a:gd name="connsiteX4" fmla="*/ 23686 w 67712"/>
                <a:gd name="connsiteY4" fmla="*/ 33856 h 67712"/>
                <a:gd name="connsiteX5" fmla="*/ 0 w 67712"/>
                <a:gd name="connsiteY5" fmla="*/ 57542 h 67712"/>
                <a:gd name="connsiteX6" fmla="*/ 10171 w 67712"/>
                <a:gd name="connsiteY6" fmla="*/ 67712 h 67712"/>
                <a:gd name="connsiteX7" fmla="*/ 33856 w 67712"/>
                <a:gd name="connsiteY7" fmla="*/ 44027 h 67712"/>
                <a:gd name="connsiteX8" fmla="*/ 57542 w 67712"/>
                <a:gd name="connsiteY8" fmla="*/ 67712 h 67712"/>
                <a:gd name="connsiteX9" fmla="*/ 67712 w 67712"/>
                <a:gd name="connsiteY9" fmla="*/ 57542 h 67712"/>
                <a:gd name="connsiteX10" fmla="*/ 44027 w 67712"/>
                <a:gd name="connsiteY10" fmla="*/ 33856 h 67712"/>
                <a:gd name="connsiteX11" fmla="*/ 67712 w 67712"/>
                <a:gd name="connsiteY11" fmla="*/ 10171 h 67712"/>
                <a:gd name="connsiteX12" fmla="*/ 57542 w 67712"/>
                <a:gd name="connsiteY12" fmla="*/ 0 h 6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712" h="67712">
                  <a:moveTo>
                    <a:pt x="57542" y="0"/>
                  </a:moveTo>
                  <a:lnTo>
                    <a:pt x="33856" y="23678"/>
                  </a:lnTo>
                  <a:lnTo>
                    <a:pt x="10171" y="0"/>
                  </a:lnTo>
                  <a:lnTo>
                    <a:pt x="0" y="10171"/>
                  </a:lnTo>
                  <a:lnTo>
                    <a:pt x="23686" y="33856"/>
                  </a:lnTo>
                  <a:lnTo>
                    <a:pt x="0" y="57542"/>
                  </a:lnTo>
                  <a:lnTo>
                    <a:pt x="10171" y="67712"/>
                  </a:lnTo>
                  <a:lnTo>
                    <a:pt x="33856" y="44027"/>
                  </a:lnTo>
                  <a:lnTo>
                    <a:pt x="57542" y="67712"/>
                  </a:lnTo>
                  <a:lnTo>
                    <a:pt x="67712" y="57542"/>
                  </a:lnTo>
                  <a:lnTo>
                    <a:pt x="44027" y="33856"/>
                  </a:lnTo>
                  <a:lnTo>
                    <a:pt x="67712" y="10171"/>
                  </a:lnTo>
                  <a:lnTo>
                    <a:pt x="57542" y="0"/>
                  </a:lnTo>
                  <a:close/>
                </a:path>
              </a:pathLst>
            </a:custGeom>
            <a:grpFill/>
            <a:ln w="7144" cap="flat">
              <a:solidFill>
                <a:schemeClr val="bg1"/>
              </a:solidFill>
              <a:prstDash val="solid"/>
              <a:miter/>
            </a:ln>
          </p:spPr>
          <p:txBody>
            <a:bodyPr rtlCol="0" anchor="ctr"/>
            <a:lstStyle/>
            <a:p>
              <a:endParaRPr lang="en-US"/>
            </a:p>
          </p:txBody>
        </p:sp>
        <p:sp>
          <p:nvSpPr>
            <p:cNvPr id="25" name="Freeform: Shape 24">
              <a:extLst>
                <a:ext uri="{FF2B5EF4-FFF2-40B4-BE49-F238E27FC236}">
                  <a16:creationId xmlns:a16="http://schemas.microsoft.com/office/drawing/2014/main" id="{BD1A8CB5-810D-440F-AA80-38B068203C2B}"/>
                </a:ext>
              </a:extLst>
            </p:cNvPr>
            <p:cNvSpPr/>
            <p:nvPr/>
          </p:nvSpPr>
          <p:spPr>
            <a:xfrm>
              <a:off x="2271190" y="2979252"/>
              <a:ext cx="49293" cy="52322"/>
            </a:xfrm>
            <a:custGeom>
              <a:avLst/>
              <a:gdLst>
                <a:gd name="connsiteX0" fmla="*/ 57542 w 67712"/>
                <a:gd name="connsiteY0" fmla="*/ 0 h 67712"/>
                <a:gd name="connsiteX1" fmla="*/ 33856 w 67712"/>
                <a:gd name="connsiteY1" fmla="*/ 23678 h 67712"/>
                <a:gd name="connsiteX2" fmla="*/ 10171 w 67712"/>
                <a:gd name="connsiteY2" fmla="*/ 0 h 67712"/>
                <a:gd name="connsiteX3" fmla="*/ 0 w 67712"/>
                <a:gd name="connsiteY3" fmla="*/ 10171 h 67712"/>
                <a:gd name="connsiteX4" fmla="*/ 23686 w 67712"/>
                <a:gd name="connsiteY4" fmla="*/ 33856 h 67712"/>
                <a:gd name="connsiteX5" fmla="*/ 0 w 67712"/>
                <a:gd name="connsiteY5" fmla="*/ 57542 h 67712"/>
                <a:gd name="connsiteX6" fmla="*/ 10171 w 67712"/>
                <a:gd name="connsiteY6" fmla="*/ 67712 h 67712"/>
                <a:gd name="connsiteX7" fmla="*/ 33856 w 67712"/>
                <a:gd name="connsiteY7" fmla="*/ 44027 h 67712"/>
                <a:gd name="connsiteX8" fmla="*/ 57542 w 67712"/>
                <a:gd name="connsiteY8" fmla="*/ 67712 h 67712"/>
                <a:gd name="connsiteX9" fmla="*/ 67712 w 67712"/>
                <a:gd name="connsiteY9" fmla="*/ 57542 h 67712"/>
                <a:gd name="connsiteX10" fmla="*/ 44027 w 67712"/>
                <a:gd name="connsiteY10" fmla="*/ 33856 h 67712"/>
                <a:gd name="connsiteX11" fmla="*/ 67712 w 67712"/>
                <a:gd name="connsiteY11" fmla="*/ 10171 h 67712"/>
                <a:gd name="connsiteX12" fmla="*/ 57542 w 67712"/>
                <a:gd name="connsiteY12" fmla="*/ 0 h 67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7712" h="67712">
                  <a:moveTo>
                    <a:pt x="57542" y="0"/>
                  </a:moveTo>
                  <a:lnTo>
                    <a:pt x="33856" y="23678"/>
                  </a:lnTo>
                  <a:lnTo>
                    <a:pt x="10171" y="0"/>
                  </a:lnTo>
                  <a:lnTo>
                    <a:pt x="0" y="10171"/>
                  </a:lnTo>
                  <a:lnTo>
                    <a:pt x="23686" y="33856"/>
                  </a:lnTo>
                  <a:lnTo>
                    <a:pt x="0" y="57542"/>
                  </a:lnTo>
                  <a:lnTo>
                    <a:pt x="10171" y="67712"/>
                  </a:lnTo>
                  <a:lnTo>
                    <a:pt x="33856" y="44027"/>
                  </a:lnTo>
                  <a:lnTo>
                    <a:pt x="57542" y="67712"/>
                  </a:lnTo>
                  <a:lnTo>
                    <a:pt x="67712" y="57542"/>
                  </a:lnTo>
                  <a:lnTo>
                    <a:pt x="44027" y="33856"/>
                  </a:lnTo>
                  <a:lnTo>
                    <a:pt x="67712" y="10171"/>
                  </a:lnTo>
                  <a:lnTo>
                    <a:pt x="57542" y="0"/>
                  </a:lnTo>
                  <a:close/>
                </a:path>
              </a:pathLst>
            </a:custGeom>
            <a:grpFill/>
            <a:ln w="7144" cap="flat">
              <a:solidFill>
                <a:schemeClr val="bg1"/>
              </a:soli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81846D39-65EF-44BB-B4E5-586B5B4788CD}"/>
                </a:ext>
              </a:extLst>
            </p:cNvPr>
            <p:cNvSpPr/>
            <p:nvPr/>
          </p:nvSpPr>
          <p:spPr>
            <a:xfrm>
              <a:off x="2214671" y="2638486"/>
              <a:ext cx="314171" cy="444748"/>
            </a:xfrm>
            <a:custGeom>
              <a:avLst/>
              <a:gdLst>
                <a:gd name="connsiteX0" fmla="*/ 431564 w 431564"/>
                <a:gd name="connsiteY0" fmla="*/ 79120 h 575570"/>
                <a:gd name="connsiteX1" fmla="*/ 402793 w 431564"/>
                <a:gd name="connsiteY1" fmla="*/ 50349 h 575570"/>
                <a:gd name="connsiteX2" fmla="*/ 294902 w 431564"/>
                <a:gd name="connsiteY2" fmla="*/ 50349 h 575570"/>
                <a:gd name="connsiteX3" fmla="*/ 294902 w 431564"/>
                <a:gd name="connsiteY3" fmla="*/ 35964 h 575570"/>
                <a:gd name="connsiteX4" fmla="*/ 258939 w 431564"/>
                <a:gd name="connsiteY4" fmla="*/ 0 h 575570"/>
                <a:gd name="connsiteX5" fmla="*/ 172626 w 431564"/>
                <a:gd name="connsiteY5" fmla="*/ 0 h 575570"/>
                <a:gd name="connsiteX6" fmla="*/ 136662 w 431564"/>
                <a:gd name="connsiteY6" fmla="*/ 35964 h 575570"/>
                <a:gd name="connsiteX7" fmla="*/ 136662 w 431564"/>
                <a:gd name="connsiteY7" fmla="*/ 50349 h 575570"/>
                <a:gd name="connsiteX8" fmla="*/ 28771 w 431564"/>
                <a:gd name="connsiteY8" fmla="*/ 50349 h 575570"/>
                <a:gd name="connsiteX9" fmla="*/ 0 w 431564"/>
                <a:gd name="connsiteY9" fmla="*/ 79120 h 575570"/>
                <a:gd name="connsiteX10" fmla="*/ 0 w 431564"/>
                <a:gd name="connsiteY10" fmla="*/ 546799 h 575570"/>
                <a:gd name="connsiteX11" fmla="*/ 28771 w 431564"/>
                <a:gd name="connsiteY11" fmla="*/ 575570 h 575570"/>
                <a:gd name="connsiteX12" fmla="*/ 402793 w 431564"/>
                <a:gd name="connsiteY12" fmla="*/ 575570 h 575570"/>
                <a:gd name="connsiteX13" fmla="*/ 431564 w 431564"/>
                <a:gd name="connsiteY13" fmla="*/ 546799 h 575570"/>
                <a:gd name="connsiteX14" fmla="*/ 122277 w 431564"/>
                <a:gd name="connsiteY14" fmla="*/ 64735 h 575570"/>
                <a:gd name="connsiteX15" fmla="*/ 151048 w 431564"/>
                <a:gd name="connsiteY15" fmla="*/ 64735 h 575570"/>
                <a:gd name="connsiteX16" fmla="*/ 151048 w 431564"/>
                <a:gd name="connsiteY16" fmla="*/ 35964 h 575570"/>
                <a:gd name="connsiteX17" fmla="*/ 172626 w 431564"/>
                <a:gd name="connsiteY17" fmla="*/ 14385 h 575570"/>
                <a:gd name="connsiteX18" fmla="*/ 258939 w 431564"/>
                <a:gd name="connsiteY18" fmla="*/ 14385 h 575570"/>
                <a:gd name="connsiteX19" fmla="*/ 280517 w 431564"/>
                <a:gd name="connsiteY19" fmla="*/ 35964 h 575570"/>
                <a:gd name="connsiteX20" fmla="*/ 280517 w 431564"/>
                <a:gd name="connsiteY20" fmla="*/ 64735 h 575570"/>
                <a:gd name="connsiteX21" fmla="*/ 309288 w 431564"/>
                <a:gd name="connsiteY21" fmla="*/ 64735 h 575570"/>
                <a:gd name="connsiteX22" fmla="*/ 309288 w 431564"/>
                <a:gd name="connsiteY22" fmla="*/ 122428 h 575570"/>
                <a:gd name="connsiteX23" fmla="*/ 122277 w 431564"/>
                <a:gd name="connsiteY23" fmla="*/ 122428 h 575570"/>
                <a:gd name="connsiteX24" fmla="*/ 402793 w 431564"/>
                <a:gd name="connsiteY24" fmla="*/ 561185 h 575570"/>
                <a:gd name="connsiteX25" fmla="*/ 28771 w 431564"/>
                <a:gd name="connsiteY25" fmla="*/ 561185 h 575570"/>
                <a:gd name="connsiteX26" fmla="*/ 14385 w 431564"/>
                <a:gd name="connsiteY26" fmla="*/ 546799 h 575570"/>
                <a:gd name="connsiteX27" fmla="*/ 14385 w 431564"/>
                <a:gd name="connsiteY27" fmla="*/ 79120 h 575570"/>
                <a:gd name="connsiteX28" fmla="*/ 28771 w 431564"/>
                <a:gd name="connsiteY28" fmla="*/ 64735 h 575570"/>
                <a:gd name="connsiteX29" fmla="*/ 107891 w 431564"/>
                <a:gd name="connsiteY29" fmla="*/ 64735 h 575570"/>
                <a:gd name="connsiteX30" fmla="*/ 107891 w 431564"/>
                <a:gd name="connsiteY30" fmla="*/ 136813 h 575570"/>
                <a:gd name="connsiteX31" fmla="*/ 323673 w 431564"/>
                <a:gd name="connsiteY31" fmla="*/ 136813 h 575570"/>
                <a:gd name="connsiteX32" fmla="*/ 323673 w 431564"/>
                <a:gd name="connsiteY32" fmla="*/ 64735 h 575570"/>
                <a:gd name="connsiteX33" fmla="*/ 402793 w 431564"/>
                <a:gd name="connsiteY33" fmla="*/ 64735 h 575570"/>
                <a:gd name="connsiteX34" fmla="*/ 417179 w 431564"/>
                <a:gd name="connsiteY34" fmla="*/ 79120 h 575570"/>
                <a:gd name="connsiteX35" fmla="*/ 417179 w 431564"/>
                <a:gd name="connsiteY35" fmla="*/ 546799 h 575570"/>
                <a:gd name="connsiteX36" fmla="*/ 402793 w 431564"/>
                <a:gd name="connsiteY36" fmla="*/ 561185 h 575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431564" h="575570">
                  <a:moveTo>
                    <a:pt x="431564" y="79120"/>
                  </a:moveTo>
                  <a:cubicBezTo>
                    <a:pt x="431564" y="63231"/>
                    <a:pt x="418683" y="50349"/>
                    <a:pt x="402793" y="50349"/>
                  </a:cubicBezTo>
                  <a:lnTo>
                    <a:pt x="294902" y="50349"/>
                  </a:lnTo>
                  <a:lnTo>
                    <a:pt x="294902" y="35964"/>
                  </a:lnTo>
                  <a:cubicBezTo>
                    <a:pt x="294874" y="16113"/>
                    <a:pt x="278789" y="28"/>
                    <a:pt x="258939" y="0"/>
                  </a:cubicBezTo>
                  <a:lnTo>
                    <a:pt x="172626" y="0"/>
                  </a:lnTo>
                  <a:cubicBezTo>
                    <a:pt x="152773" y="24"/>
                    <a:pt x="136686" y="16111"/>
                    <a:pt x="136662" y="35964"/>
                  </a:cubicBezTo>
                  <a:lnTo>
                    <a:pt x="136662" y="50349"/>
                  </a:lnTo>
                  <a:lnTo>
                    <a:pt x="28771" y="50349"/>
                  </a:lnTo>
                  <a:cubicBezTo>
                    <a:pt x="12889" y="50369"/>
                    <a:pt x="20" y="63239"/>
                    <a:pt x="0" y="79120"/>
                  </a:cubicBezTo>
                  <a:lnTo>
                    <a:pt x="0" y="546799"/>
                  </a:lnTo>
                  <a:cubicBezTo>
                    <a:pt x="0" y="562689"/>
                    <a:pt x="12881" y="575570"/>
                    <a:pt x="28771" y="575570"/>
                  </a:cubicBezTo>
                  <a:lnTo>
                    <a:pt x="402793" y="575570"/>
                  </a:lnTo>
                  <a:cubicBezTo>
                    <a:pt x="418683" y="575570"/>
                    <a:pt x="431564" y="562689"/>
                    <a:pt x="431564" y="546799"/>
                  </a:cubicBezTo>
                  <a:close/>
                  <a:moveTo>
                    <a:pt x="122277" y="64735"/>
                  </a:moveTo>
                  <a:lnTo>
                    <a:pt x="151048" y="64735"/>
                  </a:lnTo>
                  <a:lnTo>
                    <a:pt x="151048" y="35964"/>
                  </a:lnTo>
                  <a:cubicBezTo>
                    <a:pt x="151048" y="24046"/>
                    <a:pt x="160708" y="14385"/>
                    <a:pt x="172626" y="14385"/>
                  </a:cubicBezTo>
                  <a:lnTo>
                    <a:pt x="258939" y="14385"/>
                  </a:lnTo>
                  <a:cubicBezTo>
                    <a:pt x="270856" y="14385"/>
                    <a:pt x="280517" y="24046"/>
                    <a:pt x="280517" y="35964"/>
                  </a:cubicBezTo>
                  <a:lnTo>
                    <a:pt x="280517" y="64735"/>
                  </a:lnTo>
                  <a:lnTo>
                    <a:pt x="309288" y="64735"/>
                  </a:lnTo>
                  <a:lnTo>
                    <a:pt x="309288" y="122428"/>
                  </a:lnTo>
                  <a:lnTo>
                    <a:pt x="122277" y="122428"/>
                  </a:lnTo>
                  <a:close/>
                  <a:moveTo>
                    <a:pt x="402793" y="561185"/>
                  </a:moveTo>
                  <a:lnTo>
                    <a:pt x="28771" y="561185"/>
                  </a:lnTo>
                  <a:cubicBezTo>
                    <a:pt x="20826" y="561185"/>
                    <a:pt x="14385" y="554744"/>
                    <a:pt x="14385" y="546799"/>
                  </a:cubicBezTo>
                  <a:lnTo>
                    <a:pt x="14385" y="79120"/>
                  </a:lnTo>
                  <a:cubicBezTo>
                    <a:pt x="14385" y="71175"/>
                    <a:pt x="20826" y="64735"/>
                    <a:pt x="28771" y="64735"/>
                  </a:cubicBezTo>
                  <a:lnTo>
                    <a:pt x="107891" y="64735"/>
                  </a:lnTo>
                  <a:lnTo>
                    <a:pt x="107891" y="136813"/>
                  </a:lnTo>
                  <a:lnTo>
                    <a:pt x="323673" y="136813"/>
                  </a:lnTo>
                  <a:lnTo>
                    <a:pt x="323673" y="64735"/>
                  </a:lnTo>
                  <a:lnTo>
                    <a:pt x="402793" y="64735"/>
                  </a:lnTo>
                  <a:cubicBezTo>
                    <a:pt x="410739" y="64735"/>
                    <a:pt x="417179" y="71175"/>
                    <a:pt x="417179" y="79120"/>
                  </a:cubicBezTo>
                  <a:lnTo>
                    <a:pt x="417179" y="546799"/>
                  </a:lnTo>
                  <a:cubicBezTo>
                    <a:pt x="417179" y="554744"/>
                    <a:pt x="410739" y="561185"/>
                    <a:pt x="402793" y="561185"/>
                  </a:cubicBezTo>
                  <a:close/>
                </a:path>
              </a:pathLst>
            </a:custGeom>
            <a:grpFill/>
            <a:ln w="7144" cap="flat">
              <a:solidFill>
                <a:schemeClr val="bg1"/>
              </a:solidFill>
              <a:prstDash val="solid"/>
              <a:miter/>
            </a:ln>
          </p:spPr>
          <p:txBody>
            <a:bodyPr rtlCol="0" anchor="ctr"/>
            <a:lstStyle/>
            <a:p>
              <a:endParaRPr lang="en-US"/>
            </a:p>
          </p:txBody>
        </p:sp>
      </p:grpSp>
      <p:grpSp>
        <p:nvGrpSpPr>
          <p:cNvPr id="27" name="Group 26">
            <a:extLst>
              <a:ext uri="{FF2B5EF4-FFF2-40B4-BE49-F238E27FC236}">
                <a16:creationId xmlns:a16="http://schemas.microsoft.com/office/drawing/2014/main" id="{B85A7ADB-4E02-4A80-97C9-6D5325C793BE}"/>
              </a:ext>
            </a:extLst>
          </p:cNvPr>
          <p:cNvGrpSpPr/>
          <p:nvPr/>
        </p:nvGrpSpPr>
        <p:grpSpPr>
          <a:xfrm>
            <a:off x="2291492" y="3298756"/>
            <a:ext cx="446005" cy="378005"/>
            <a:chOff x="2145671" y="3370274"/>
            <a:chExt cx="446005" cy="378005"/>
          </a:xfrm>
          <a:solidFill>
            <a:schemeClr val="bg1"/>
          </a:solidFill>
        </p:grpSpPr>
        <p:sp>
          <p:nvSpPr>
            <p:cNvPr id="28" name="Freeform: Shape 27">
              <a:extLst>
                <a:ext uri="{FF2B5EF4-FFF2-40B4-BE49-F238E27FC236}">
                  <a16:creationId xmlns:a16="http://schemas.microsoft.com/office/drawing/2014/main" id="{D39A5EFE-1884-4891-A852-4D55F17D1603}"/>
                </a:ext>
              </a:extLst>
            </p:cNvPr>
            <p:cNvSpPr/>
            <p:nvPr/>
          </p:nvSpPr>
          <p:spPr>
            <a:xfrm>
              <a:off x="2429825" y="3559243"/>
              <a:ext cx="10472" cy="45869"/>
            </a:xfrm>
            <a:custGeom>
              <a:avLst/>
              <a:gdLst>
                <a:gd name="connsiteX0" fmla="*/ 14385 w 14385"/>
                <a:gd name="connsiteY0" fmla="*/ 44983 h 59361"/>
                <a:gd name="connsiteX1" fmla="*/ 14385 w 14385"/>
                <a:gd name="connsiteY1" fmla="*/ 0 h 59361"/>
                <a:gd name="connsiteX2" fmla="*/ 0 w 14385"/>
                <a:gd name="connsiteY2" fmla="*/ 0 h 59361"/>
                <a:gd name="connsiteX3" fmla="*/ 0 w 14385"/>
                <a:gd name="connsiteY3" fmla="*/ 59362 h 59361"/>
                <a:gd name="connsiteX4" fmla="*/ 14385 w 14385"/>
                <a:gd name="connsiteY4" fmla="*/ 44983 h 59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85" h="59361">
                  <a:moveTo>
                    <a:pt x="14385" y="44983"/>
                  </a:moveTo>
                  <a:lnTo>
                    <a:pt x="14385" y="0"/>
                  </a:lnTo>
                  <a:lnTo>
                    <a:pt x="0" y="0"/>
                  </a:lnTo>
                  <a:lnTo>
                    <a:pt x="0" y="59362"/>
                  </a:lnTo>
                  <a:lnTo>
                    <a:pt x="14385" y="44983"/>
                  </a:lnTo>
                  <a:close/>
                </a:path>
              </a:pathLst>
            </a:custGeom>
            <a:grpFill/>
            <a:ln w="7144" cap="flat">
              <a:solidFill>
                <a:schemeClr val="bg1"/>
              </a:soli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71AE5451-0399-4488-B6E5-FE3E1A902F12}"/>
                </a:ext>
              </a:extLst>
            </p:cNvPr>
            <p:cNvSpPr/>
            <p:nvPr/>
          </p:nvSpPr>
          <p:spPr>
            <a:xfrm>
              <a:off x="2450780" y="3475874"/>
              <a:ext cx="10472" cy="107000"/>
            </a:xfrm>
            <a:custGeom>
              <a:avLst/>
              <a:gdLst>
                <a:gd name="connsiteX0" fmla="*/ 14386 w 14385"/>
                <a:gd name="connsiteY0" fmla="*/ 124089 h 138474"/>
                <a:gd name="connsiteX1" fmla="*/ 14386 w 14385"/>
                <a:gd name="connsiteY1" fmla="*/ 7193 h 138474"/>
                <a:gd name="connsiteX2" fmla="*/ 7193 w 14385"/>
                <a:gd name="connsiteY2" fmla="*/ 0 h 138474"/>
                <a:gd name="connsiteX3" fmla="*/ 0 w 14385"/>
                <a:gd name="connsiteY3" fmla="*/ 7193 h 138474"/>
                <a:gd name="connsiteX4" fmla="*/ 0 w 14385"/>
                <a:gd name="connsiteY4" fmla="*/ 138475 h 13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85" h="138474">
                  <a:moveTo>
                    <a:pt x="14386" y="124089"/>
                  </a:moveTo>
                  <a:lnTo>
                    <a:pt x="14386" y="7193"/>
                  </a:lnTo>
                  <a:cubicBezTo>
                    <a:pt x="14386" y="3220"/>
                    <a:pt x="11165" y="0"/>
                    <a:pt x="7193" y="0"/>
                  </a:cubicBezTo>
                  <a:cubicBezTo>
                    <a:pt x="3220" y="0"/>
                    <a:pt x="0" y="3220"/>
                    <a:pt x="0" y="7193"/>
                  </a:cubicBezTo>
                  <a:lnTo>
                    <a:pt x="0" y="138475"/>
                  </a:lnTo>
                  <a:close/>
                </a:path>
              </a:pathLst>
            </a:custGeom>
            <a:grpFill/>
            <a:ln w="7144" cap="flat">
              <a:solidFill>
                <a:schemeClr val="bg1"/>
              </a:soli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ECC1C405-3C13-4838-98DB-22C369451BD8}"/>
                </a:ext>
              </a:extLst>
            </p:cNvPr>
            <p:cNvSpPr/>
            <p:nvPr/>
          </p:nvSpPr>
          <p:spPr>
            <a:xfrm>
              <a:off x="2408891" y="3475874"/>
              <a:ext cx="10472" cy="151458"/>
            </a:xfrm>
            <a:custGeom>
              <a:avLst/>
              <a:gdLst>
                <a:gd name="connsiteX0" fmla="*/ 14385 w 14385"/>
                <a:gd name="connsiteY0" fmla="*/ 181624 h 196009"/>
                <a:gd name="connsiteX1" fmla="*/ 14385 w 14385"/>
                <a:gd name="connsiteY1" fmla="*/ 7193 h 196009"/>
                <a:gd name="connsiteX2" fmla="*/ 7193 w 14385"/>
                <a:gd name="connsiteY2" fmla="*/ 0 h 196009"/>
                <a:gd name="connsiteX3" fmla="*/ 0 w 14385"/>
                <a:gd name="connsiteY3" fmla="*/ 7193 h 196009"/>
                <a:gd name="connsiteX4" fmla="*/ 0 w 14385"/>
                <a:gd name="connsiteY4" fmla="*/ 196009 h 196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85" h="196009">
                  <a:moveTo>
                    <a:pt x="14385" y="181624"/>
                  </a:moveTo>
                  <a:lnTo>
                    <a:pt x="14385" y="7193"/>
                  </a:lnTo>
                  <a:cubicBezTo>
                    <a:pt x="14385" y="3220"/>
                    <a:pt x="11165" y="0"/>
                    <a:pt x="7193" y="0"/>
                  </a:cubicBezTo>
                  <a:cubicBezTo>
                    <a:pt x="3220" y="0"/>
                    <a:pt x="0" y="3220"/>
                    <a:pt x="0" y="7193"/>
                  </a:cubicBezTo>
                  <a:lnTo>
                    <a:pt x="0" y="196009"/>
                  </a:lnTo>
                  <a:close/>
                </a:path>
              </a:pathLst>
            </a:custGeom>
            <a:grpFill/>
            <a:ln w="7144" cap="flat">
              <a:solidFill>
                <a:schemeClr val="bg1"/>
              </a:solid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FF93A2B2-7FC5-4A3D-81D0-B9D4244807DD}"/>
                </a:ext>
              </a:extLst>
            </p:cNvPr>
            <p:cNvSpPr/>
            <p:nvPr/>
          </p:nvSpPr>
          <p:spPr>
            <a:xfrm>
              <a:off x="2337270" y="3475874"/>
              <a:ext cx="10472" cy="109807"/>
            </a:xfrm>
            <a:custGeom>
              <a:avLst/>
              <a:gdLst>
                <a:gd name="connsiteX0" fmla="*/ 14385 w 14385"/>
                <a:gd name="connsiteY0" fmla="*/ 142107 h 142106"/>
                <a:gd name="connsiteX1" fmla="*/ 14385 w 14385"/>
                <a:gd name="connsiteY1" fmla="*/ 7193 h 142106"/>
                <a:gd name="connsiteX2" fmla="*/ 7193 w 14385"/>
                <a:gd name="connsiteY2" fmla="*/ 0 h 142106"/>
                <a:gd name="connsiteX3" fmla="*/ 0 w 14385"/>
                <a:gd name="connsiteY3" fmla="*/ 7193 h 142106"/>
                <a:gd name="connsiteX4" fmla="*/ 0 w 14385"/>
                <a:gd name="connsiteY4" fmla="*/ 127721 h 1421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85" h="142106">
                  <a:moveTo>
                    <a:pt x="14385" y="142107"/>
                  </a:moveTo>
                  <a:lnTo>
                    <a:pt x="14385" y="7193"/>
                  </a:lnTo>
                  <a:cubicBezTo>
                    <a:pt x="14385" y="3220"/>
                    <a:pt x="11165" y="0"/>
                    <a:pt x="7193" y="0"/>
                  </a:cubicBezTo>
                  <a:cubicBezTo>
                    <a:pt x="3220" y="0"/>
                    <a:pt x="0" y="3220"/>
                    <a:pt x="0" y="7193"/>
                  </a:cubicBezTo>
                  <a:lnTo>
                    <a:pt x="0" y="127721"/>
                  </a:lnTo>
                  <a:close/>
                </a:path>
              </a:pathLst>
            </a:custGeom>
            <a:grpFill/>
            <a:ln w="7144" cap="flat">
              <a:solidFill>
                <a:schemeClr val="bg1"/>
              </a:solid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03B89501-7D5F-4221-9747-52D9BB65D396}"/>
                </a:ext>
              </a:extLst>
            </p:cNvPr>
            <p:cNvSpPr/>
            <p:nvPr/>
          </p:nvSpPr>
          <p:spPr>
            <a:xfrm>
              <a:off x="2295381" y="3475874"/>
              <a:ext cx="10472" cy="99647"/>
            </a:xfrm>
            <a:custGeom>
              <a:avLst/>
              <a:gdLst>
                <a:gd name="connsiteX0" fmla="*/ 14385 w 14385"/>
                <a:gd name="connsiteY0" fmla="*/ 114573 h 128958"/>
                <a:gd name="connsiteX1" fmla="*/ 14385 w 14385"/>
                <a:gd name="connsiteY1" fmla="*/ 7193 h 128958"/>
                <a:gd name="connsiteX2" fmla="*/ 7193 w 14385"/>
                <a:gd name="connsiteY2" fmla="*/ 0 h 128958"/>
                <a:gd name="connsiteX3" fmla="*/ 0 w 14385"/>
                <a:gd name="connsiteY3" fmla="*/ 7193 h 128958"/>
                <a:gd name="connsiteX4" fmla="*/ 0 w 14385"/>
                <a:gd name="connsiteY4" fmla="*/ 128959 h 128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85" h="128958">
                  <a:moveTo>
                    <a:pt x="14385" y="114573"/>
                  </a:moveTo>
                  <a:lnTo>
                    <a:pt x="14385" y="7193"/>
                  </a:lnTo>
                  <a:cubicBezTo>
                    <a:pt x="14385" y="3220"/>
                    <a:pt x="11165" y="0"/>
                    <a:pt x="7193" y="0"/>
                  </a:cubicBezTo>
                  <a:cubicBezTo>
                    <a:pt x="3220" y="0"/>
                    <a:pt x="0" y="3220"/>
                    <a:pt x="0" y="7193"/>
                  </a:cubicBezTo>
                  <a:lnTo>
                    <a:pt x="0" y="128959"/>
                  </a:lnTo>
                  <a:close/>
                </a:path>
              </a:pathLst>
            </a:custGeom>
            <a:grpFill/>
            <a:ln w="7144" cap="flat">
              <a:solidFill>
                <a:schemeClr val="bg1"/>
              </a:solid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94E83FD2-3A98-4EA4-91CB-9764B6A515A8}"/>
                </a:ext>
              </a:extLst>
            </p:cNvPr>
            <p:cNvSpPr/>
            <p:nvPr/>
          </p:nvSpPr>
          <p:spPr>
            <a:xfrm>
              <a:off x="2145671" y="3436968"/>
              <a:ext cx="348292" cy="124079"/>
            </a:xfrm>
            <a:custGeom>
              <a:avLst/>
              <a:gdLst>
                <a:gd name="connsiteX0" fmla="*/ 13093 w 478434"/>
                <a:gd name="connsiteY0" fmla="*/ 159808 h 160576"/>
                <a:gd name="connsiteX1" fmla="*/ 22750 w 478434"/>
                <a:gd name="connsiteY1" fmla="*/ 156613 h 160576"/>
                <a:gd name="connsiteX2" fmla="*/ 19609 w 478434"/>
                <a:gd name="connsiteY2" fmla="*/ 146984 h 160576"/>
                <a:gd name="connsiteX3" fmla="*/ 14574 w 478434"/>
                <a:gd name="connsiteY3" fmla="*/ 136058 h 160576"/>
                <a:gd name="connsiteX4" fmla="*/ 32606 w 478434"/>
                <a:gd name="connsiteY4" fmla="*/ 33604 h 160576"/>
                <a:gd name="connsiteX5" fmla="*/ 34764 w 478434"/>
                <a:gd name="connsiteY5" fmla="*/ 30080 h 160576"/>
                <a:gd name="connsiteX6" fmla="*/ 60255 w 478434"/>
                <a:gd name="connsiteY6" fmla="*/ 17601 h 160576"/>
                <a:gd name="connsiteX7" fmla="*/ 83193 w 478434"/>
                <a:gd name="connsiteY7" fmla="*/ 14385 h 160576"/>
                <a:gd name="connsiteX8" fmla="*/ 105325 w 478434"/>
                <a:gd name="connsiteY8" fmla="*/ 17572 h 160576"/>
                <a:gd name="connsiteX9" fmla="*/ 130960 w 478434"/>
                <a:gd name="connsiteY9" fmla="*/ 30087 h 160576"/>
                <a:gd name="connsiteX10" fmla="*/ 133003 w 478434"/>
                <a:gd name="connsiteY10" fmla="*/ 33194 h 160576"/>
                <a:gd name="connsiteX11" fmla="*/ 155415 w 478434"/>
                <a:gd name="connsiteY11" fmla="*/ 152378 h 160576"/>
                <a:gd name="connsiteX12" fmla="*/ 163822 w 478434"/>
                <a:gd name="connsiteY12" fmla="*/ 158105 h 160576"/>
                <a:gd name="connsiteX13" fmla="*/ 169549 w 478434"/>
                <a:gd name="connsiteY13" fmla="*/ 152378 h 160576"/>
                <a:gd name="connsiteX14" fmla="*/ 191847 w 478434"/>
                <a:gd name="connsiteY14" fmla="*/ 33619 h 160576"/>
                <a:gd name="connsiteX15" fmla="*/ 194004 w 478434"/>
                <a:gd name="connsiteY15" fmla="*/ 30087 h 160576"/>
                <a:gd name="connsiteX16" fmla="*/ 219682 w 478434"/>
                <a:gd name="connsiteY16" fmla="*/ 17557 h 160576"/>
                <a:gd name="connsiteX17" fmla="*/ 241786 w 478434"/>
                <a:gd name="connsiteY17" fmla="*/ 14385 h 160576"/>
                <a:gd name="connsiteX18" fmla="*/ 264601 w 478434"/>
                <a:gd name="connsiteY18" fmla="*/ 17572 h 160576"/>
                <a:gd name="connsiteX19" fmla="*/ 290495 w 478434"/>
                <a:gd name="connsiteY19" fmla="*/ 30253 h 160576"/>
                <a:gd name="connsiteX20" fmla="*/ 292264 w 478434"/>
                <a:gd name="connsiteY20" fmla="*/ 33000 h 160576"/>
                <a:gd name="connsiteX21" fmla="*/ 311282 w 478434"/>
                <a:gd name="connsiteY21" fmla="*/ 152184 h 160576"/>
                <a:gd name="connsiteX22" fmla="*/ 318281 w 478434"/>
                <a:gd name="connsiteY22" fmla="*/ 158240 h 160576"/>
                <a:gd name="connsiteX23" fmla="*/ 325473 w 478434"/>
                <a:gd name="connsiteY23" fmla="*/ 152378 h 160576"/>
                <a:gd name="connsiteX24" fmla="*/ 347771 w 478434"/>
                <a:gd name="connsiteY24" fmla="*/ 33619 h 160576"/>
                <a:gd name="connsiteX25" fmla="*/ 349929 w 478434"/>
                <a:gd name="connsiteY25" fmla="*/ 30087 h 160576"/>
                <a:gd name="connsiteX26" fmla="*/ 375607 w 478434"/>
                <a:gd name="connsiteY26" fmla="*/ 17557 h 160576"/>
                <a:gd name="connsiteX27" fmla="*/ 397703 w 478434"/>
                <a:gd name="connsiteY27" fmla="*/ 14385 h 160576"/>
                <a:gd name="connsiteX28" fmla="*/ 420525 w 478434"/>
                <a:gd name="connsiteY28" fmla="*/ 17572 h 160576"/>
                <a:gd name="connsiteX29" fmla="*/ 446419 w 478434"/>
                <a:gd name="connsiteY29" fmla="*/ 30253 h 160576"/>
                <a:gd name="connsiteX30" fmla="*/ 448189 w 478434"/>
                <a:gd name="connsiteY30" fmla="*/ 33022 h 160576"/>
                <a:gd name="connsiteX31" fmla="*/ 465926 w 478434"/>
                <a:gd name="connsiteY31" fmla="*/ 142035 h 160576"/>
                <a:gd name="connsiteX32" fmla="*/ 478434 w 478434"/>
                <a:gd name="connsiteY32" fmla="*/ 129469 h 160576"/>
                <a:gd name="connsiteX33" fmla="*/ 462250 w 478434"/>
                <a:gd name="connsiteY33" fmla="*/ 30087 h 160576"/>
                <a:gd name="connsiteX34" fmla="*/ 454792 w 478434"/>
                <a:gd name="connsiteY34" fmla="*/ 18543 h 160576"/>
                <a:gd name="connsiteX35" fmla="*/ 424129 w 478434"/>
                <a:gd name="connsiteY35" fmla="*/ 3611 h 160576"/>
                <a:gd name="connsiteX36" fmla="*/ 397703 w 478434"/>
                <a:gd name="connsiteY36" fmla="*/ 0 h 160576"/>
                <a:gd name="connsiteX37" fmla="*/ 371859 w 478434"/>
                <a:gd name="connsiteY37" fmla="*/ 3668 h 160576"/>
                <a:gd name="connsiteX38" fmla="*/ 341297 w 478434"/>
                <a:gd name="connsiteY38" fmla="*/ 18579 h 160576"/>
                <a:gd name="connsiteX39" fmla="*/ 333759 w 478434"/>
                <a:gd name="connsiteY39" fmla="*/ 30540 h 160576"/>
                <a:gd name="connsiteX40" fmla="*/ 319050 w 478434"/>
                <a:gd name="connsiteY40" fmla="*/ 108704 h 160576"/>
                <a:gd name="connsiteX41" fmla="*/ 318906 w 478434"/>
                <a:gd name="connsiteY41" fmla="*/ 108704 h 160576"/>
                <a:gd name="connsiteX42" fmla="*/ 306326 w 478434"/>
                <a:gd name="connsiteY42" fmla="*/ 30116 h 160576"/>
                <a:gd name="connsiteX43" fmla="*/ 298867 w 478434"/>
                <a:gd name="connsiteY43" fmla="*/ 18572 h 160576"/>
                <a:gd name="connsiteX44" fmla="*/ 268205 w 478434"/>
                <a:gd name="connsiteY44" fmla="*/ 3640 h 160576"/>
                <a:gd name="connsiteX45" fmla="*/ 241786 w 478434"/>
                <a:gd name="connsiteY45" fmla="*/ 0 h 160576"/>
                <a:gd name="connsiteX46" fmla="*/ 215942 w 478434"/>
                <a:gd name="connsiteY46" fmla="*/ 3668 h 160576"/>
                <a:gd name="connsiteX47" fmla="*/ 185409 w 478434"/>
                <a:gd name="connsiteY47" fmla="*/ 18579 h 160576"/>
                <a:gd name="connsiteX48" fmla="*/ 177864 w 478434"/>
                <a:gd name="connsiteY48" fmla="*/ 30540 h 160576"/>
                <a:gd name="connsiteX49" fmla="*/ 162558 w 478434"/>
                <a:gd name="connsiteY49" fmla="*/ 111768 h 160576"/>
                <a:gd name="connsiteX50" fmla="*/ 162414 w 478434"/>
                <a:gd name="connsiteY50" fmla="*/ 111768 h 160576"/>
                <a:gd name="connsiteX51" fmla="*/ 147057 w 478434"/>
                <a:gd name="connsiteY51" fmla="*/ 30130 h 160576"/>
                <a:gd name="connsiteX52" fmla="*/ 139591 w 478434"/>
                <a:gd name="connsiteY52" fmla="*/ 18579 h 160576"/>
                <a:gd name="connsiteX53" fmla="*/ 109072 w 478434"/>
                <a:gd name="connsiteY53" fmla="*/ 3683 h 160576"/>
                <a:gd name="connsiteX54" fmla="*/ 83179 w 478434"/>
                <a:gd name="connsiteY54" fmla="*/ 0 h 160576"/>
                <a:gd name="connsiteX55" fmla="*/ 56652 w 478434"/>
                <a:gd name="connsiteY55" fmla="*/ 3668 h 160576"/>
                <a:gd name="connsiteX56" fmla="*/ 26442 w 478434"/>
                <a:gd name="connsiteY56" fmla="*/ 18341 h 160576"/>
                <a:gd name="connsiteX57" fmla="*/ 18530 w 478434"/>
                <a:gd name="connsiteY57" fmla="*/ 30619 h 160576"/>
                <a:gd name="connsiteX58" fmla="*/ 383 w 478434"/>
                <a:gd name="connsiteY58" fmla="*/ 133612 h 160576"/>
                <a:gd name="connsiteX59" fmla="*/ 13093 w 478434"/>
                <a:gd name="connsiteY59" fmla="*/ 159808 h 160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478434" h="160576">
                  <a:moveTo>
                    <a:pt x="13093" y="159808"/>
                  </a:moveTo>
                  <a:cubicBezTo>
                    <a:pt x="16642" y="161593"/>
                    <a:pt x="20965" y="160161"/>
                    <a:pt x="22750" y="156613"/>
                  </a:cubicBezTo>
                  <a:cubicBezTo>
                    <a:pt x="24523" y="153085"/>
                    <a:pt x="23121" y="148788"/>
                    <a:pt x="19609" y="146984"/>
                  </a:cubicBezTo>
                  <a:cubicBezTo>
                    <a:pt x="15786" y="144775"/>
                    <a:pt x="13769" y="140399"/>
                    <a:pt x="14574" y="136058"/>
                  </a:cubicBezTo>
                  <a:lnTo>
                    <a:pt x="32606" y="33604"/>
                  </a:lnTo>
                  <a:cubicBezTo>
                    <a:pt x="33005" y="32261"/>
                    <a:pt x="33749" y="31045"/>
                    <a:pt x="34764" y="30080"/>
                  </a:cubicBezTo>
                  <a:cubicBezTo>
                    <a:pt x="42394" y="24344"/>
                    <a:pt x="51045" y="20109"/>
                    <a:pt x="60255" y="17601"/>
                  </a:cubicBezTo>
                  <a:cubicBezTo>
                    <a:pt x="67741" y="15593"/>
                    <a:pt x="75444" y="14513"/>
                    <a:pt x="83193" y="14385"/>
                  </a:cubicBezTo>
                  <a:cubicBezTo>
                    <a:pt x="90679" y="14460"/>
                    <a:pt x="98122" y="15531"/>
                    <a:pt x="105325" y="17572"/>
                  </a:cubicBezTo>
                  <a:cubicBezTo>
                    <a:pt x="114588" y="20076"/>
                    <a:pt x="123288" y="24324"/>
                    <a:pt x="130960" y="30087"/>
                  </a:cubicBezTo>
                  <a:cubicBezTo>
                    <a:pt x="131981" y="30854"/>
                    <a:pt x="132704" y="31953"/>
                    <a:pt x="133003" y="33194"/>
                  </a:cubicBezTo>
                  <a:lnTo>
                    <a:pt x="155415" y="152378"/>
                  </a:lnTo>
                  <a:cubicBezTo>
                    <a:pt x="156155" y="156281"/>
                    <a:pt x="159919" y="158845"/>
                    <a:pt x="163822" y="158105"/>
                  </a:cubicBezTo>
                  <a:cubicBezTo>
                    <a:pt x="166727" y="157555"/>
                    <a:pt x="168998" y="155283"/>
                    <a:pt x="169549" y="152378"/>
                  </a:cubicBezTo>
                  <a:lnTo>
                    <a:pt x="191847" y="33619"/>
                  </a:lnTo>
                  <a:cubicBezTo>
                    <a:pt x="192112" y="32218"/>
                    <a:pt x="192879" y="30963"/>
                    <a:pt x="194004" y="30087"/>
                  </a:cubicBezTo>
                  <a:cubicBezTo>
                    <a:pt x="201693" y="24322"/>
                    <a:pt x="210407" y="20069"/>
                    <a:pt x="219682" y="17557"/>
                  </a:cubicBezTo>
                  <a:cubicBezTo>
                    <a:pt x="226877" y="15525"/>
                    <a:pt x="234310" y="14458"/>
                    <a:pt x="241786" y="14385"/>
                  </a:cubicBezTo>
                  <a:cubicBezTo>
                    <a:pt x="249493" y="14511"/>
                    <a:pt x="257154" y="15581"/>
                    <a:pt x="264601" y="17572"/>
                  </a:cubicBezTo>
                  <a:cubicBezTo>
                    <a:pt x="273960" y="20116"/>
                    <a:pt x="282748" y="24419"/>
                    <a:pt x="290495" y="30253"/>
                  </a:cubicBezTo>
                  <a:cubicBezTo>
                    <a:pt x="291242" y="31058"/>
                    <a:pt x="291841" y="31988"/>
                    <a:pt x="292264" y="33000"/>
                  </a:cubicBezTo>
                  <a:lnTo>
                    <a:pt x="311282" y="152184"/>
                  </a:lnTo>
                  <a:cubicBezTo>
                    <a:pt x="311834" y="155635"/>
                    <a:pt x="314786" y="158190"/>
                    <a:pt x="318281" y="158240"/>
                  </a:cubicBezTo>
                  <a:cubicBezTo>
                    <a:pt x="321749" y="158194"/>
                    <a:pt x="324728" y="155766"/>
                    <a:pt x="325473" y="152378"/>
                  </a:cubicBezTo>
                  <a:lnTo>
                    <a:pt x="347771" y="33619"/>
                  </a:lnTo>
                  <a:cubicBezTo>
                    <a:pt x="348033" y="32217"/>
                    <a:pt x="348801" y="30960"/>
                    <a:pt x="349929" y="30087"/>
                  </a:cubicBezTo>
                  <a:cubicBezTo>
                    <a:pt x="357616" y="24320"/>
                    <a:pt x="366330" y="20068"/>
                    <a:pt x="375607" y="17557"/>
                  </a:cubicBezTo>
                  <a:cubicBezTo>
                    <a:pt x="382799" y="15525"/>
                    <a:pt x="390229" y="14458"/>
                    <a:pt x="397703" y="14385"/>
                  </a:cubicBezTo>
                  <a:cubicBezTo>
                    <a:pt x="405412" y="14511"/>
                    <a:pt x="413076" y="15581"/>
                    <a:pt x="420525" y="17572"/>
                  </a:cubicBezTo>
                  <a:cubicBezTo>
                    <a:pt x="429884" y="20116"/>
                    <a:pt x="438672" y="24419"/>
                    <a:pt x="446419" y="30253"/>
                  </a:cubicBezTo>
                  <a:cubicBezTo>
                    <a:pt x="447168" y="31064"/>
                    <a:pt x="447767" y="32002"/>
                    <a:pt x="448189" y="33022"/>
                  </a:cubicBezTo>
                  <a:lnTo>
                    <a:pt x="465926" y="142035"/>
                  </a:lnTo>
                  <a:lnTo>
                    <a:pt x="478434" y="129469"/>
                  </a:lnTo>
                  <a:lnTo>
                    <a:pt x="462250" y="30087"/>
                  </a:lnTo>
                  <a:cubicBezTo>
                    <a:pt x="461099" y="25524"/>
                    <a:pt x="458478" y="21467"/>
                    <a:pt x="454792" y="18543"/>
                  </a:cubicBezTo>
                  <a:cubicBezTo>
                    <a:pt x="445611" y="11665"/>
                    <a:pt x="435204" y="6598"/>
                    <a:pt x="424129" y="3611"/>
                  </a:cubicBezTo>
                  <a:cubicBezTo>
                    <a:pt x="415501" y="1331"/>
                    <a:pt x="406626" y="118"/>
                    <a:pt x="397703" y="0"/>
                  </a:cubicBezTo>
                  <a:cubicBezTo>
                    <a:pt x="388964" y="74"/>
                    <a:pt x="380273" y="1308"/>
                    <a:pt x="371859" y="3668"/>
                  </a:cubicBezTo>
                  <a:cubicBezTo>
                    <a:pt x="360820" y="6658"/>
                    <a:pt x="350449" y="11718"/>
                    <a:pt x="341297" y="18579"/>
                  </a:cubicBezTo>
                  <a:cubicBezTo>
                    <a:pt x="337441" y="21542"/>
                    <a:pt x="334768" y="25783"/>
                    <a:pt x="333759" y="30540"/>
                  </a:cubicBezTo>
                  <a:lnTo>
                    <a:pt x="319050" y="108704"/>
                  </a:lnTo>
                  <a:cubicBezTo>
                    <a:pt x="319007" y="108927"/>
                    <a:pt x="318942" y="108927"/>
                    <a:pt x="318906" y="108704"/>
                  </a:cubicBezTo>
                  <a:lnTo>
                    <a:pt x="306326" y="30116"/>
                  </a:lnTo>
                  <a:cubicBezTo>
                    <a:pt x="305175" y="25553"/>
                    <a:pt x="302554" y="21496"/>
                    <a:pt x="298867" y="18572"/>
                  </a:cubicBezTo>
                  <a:cubicBezTo>
                    <a:pt x="289687" y="11693"/>
                    <a:pt x="279281" y="6625"/>
                    <a:pt x="268205" y="3640"/>
                  </a:cubicBezTo>
                  <a:cubicBezTo>
                    <a:pt x="259581" y="1350"/>
                    <a:pt x="250708" y="128"/>
                    <a:pt x="241786" y="0"/>
                  </a:cubicBezTo>
                  <a:cubicBezTo>
                    <a:pt x="233047" y="73"/>
                    <a:pt x="224356" y="1306"/>
                    <a:pt x="215942" y="3668"/>
                  </a:cubicBezTo>
                  <a:cubicBezTo>
                    <a:pt x="204911" y="6659"/>
                    <a:pt x="194550" y="11719"/>
                    <a:pt x="185409" y="18579"/>
                  </a:cubicBezTo>
                  <a:cubicBezTo>
                    <a:pt x="181547" y="21538"/>
                    <a:pt x="178872" y="25781"/>
                    <a:pt x="177864" y="30540"/>
                  </a:cubicBezTo>
                  <a:lnTo>
                    <a:pt x="162558" y="111768"/>
                  </a:lnTo>
                  <a:cubicBezTo>
                    <a:pt x="162558" y="111977"/>
                    <a:pt x="162457" y="111977"/>
                    <a:pt x="162414" y="111768"/>
                  </a:cubicBezTo>
                  <a:lnTo>
                    <a:pt x="147057" y="30130"/>
                  </a:lnTo>
                  <a:cubicBezTo>
                    <a:pt x="146008" y="25521"/>
                    <a:pt x="143363" y="21429"/>
                    <a:pt x="139591" y="18579"/>
                  </a:cubicBezTo>
                  <a:cubicBezTo>
                    <a:pt x="130457" y="11720"/>
                    <a:pt x="120100" y="6664"/>
                    <a:pt x="109072" y="3683"/>
                  </a:cubicBezTo>
                  <a:cubicBezTo>
                    <a:pt x="100643" y="1310"/>
                    <a:pt x="91935" y="71"/>
                    <a:pt x="83179" y="0"/>
                  </a:cubicBezTo>
                  <a:cubicBezTo>
                    <a:pt x="74219" y="130"/>
                    <a:pt x="65310" y="1362"/>
                    <a:pt x="56652" y="3668"/>
                  </a:cubicBezTo>
                  <a:cubicBezTo>
                    <a:pt x="45745" y="6607"/>
                    <a:pt x="35495" y="11586"/>
                    <a:pt x="26442" y="18341"/>
                  </a:cubicBezTo>
                  <a:cubicBezTo>
                    <a:pt x="22467" y="21398"/>
                    <a:pt x="19671" y="25736"/>
                    <a:pt x="18530" y="30619"/>
                  </a:cubicBezTo>
                  <a:lnTo>
                    <a:pt x="383" y="133612"/>
                  </a:lnTo>
                  <a:cubicBezTo>
                    <a:pt x="-1491" y="144174"/>
                    <a:pt x="3637" y="154744"/>
                    <a:pt x="13093" y="159808"/>
                  </a:cubicBezTo>
                  <a:close/>
                </a:path>
              </a:pathLst>
            </a:custGeom>
            <a:grpFill/>
            <a:ln w="7144" cap="flat">
              <a:solidFill>
                <a:schemeClr val="bg1"/>
              </a:solidFill>
              <a:prstDash val="solid"/>
              <a:miter/>
            </a:ln>
          </p:spPr>
          <p:txBody>
            <a:bodyPr rtlCol="0" anchor="ctr"/>
            <a:lstStyle/>
            <a:p>
              <a:endParaRPr lang="en-US"/>
            </a:p>
          </p:txBody>
        </p:sp>
        <p:sp>
          <p:nvSpPr>
            <p:cNvPr id="34" name="Freeform: Shape 33">
              <a:extLst>
                <a:ext uri="{FF2B5EF4-FFF2-40B4-BE49-F238E27FC236}">
                  <a16:creationId xmlns:a16="http://schemas.microsoft.com/office/drawing/2014/main" id="{EE5D35F9-7DC4-4297-B113-2728F25A0230}"/>
                </a:ext>
              </a:extLst>
            </p:cNvPr>
            <p:cNvSpPr/>
            <p:nvPr/>
          </p:nvSpPr>
          <p:spPr>
            <a:xfrm>
              <a:off x="2295370" y="3370274"/>
              <a:ext cx="52362" cy="55579"/>
            </a:xfrm>
            <a:custGeom>
              <a:avLst/>
              <a:gdLst>
                <a:gd name="connsiteX0" fmla="*/ 35964 w 71927"/>
                <a:gd name="connsiteY0" fmla="*/ 71927 h 71927"/>
                <a:gd name="connsiteX1" fmla="*/ 0 w 71927"/>
                <a:gd name="connsiteY1" fmla="*/ 35964 h 71927"/>
                <a:gd name="connsiteX2" fmla="*/ 35964 w 71927"/>
                <a:gd name="connsiteY2" fmla="*/ 0 h 71927"/>
                <a:gd name="connsiteX3" fmla="*/ 71927 w 71927"/>
                <a:gd name="connsiteY3" fmla="*/ 35964 h 71927"/>
                <a:gd name="connsiteX4" fmla="*/ 35964 w 71927"/>
                <a:gd name="connsiteY4" fmla="*/ 71927 h 71927"/>
                <a:gd name="connsiteX5" fmla="*/ 35964 w 71927"/>
                <a:gd name="connsiteY5" fmla="*/ 14385 h 71927"/>
                <a:gd name="connsiteX6" fmla="*/ 14385 w 71927"/>
                <a:gd name="connsiteY6" fmla="*/ 35964 h 71927"/>
                <a:gd name="connsiteX7" fmla="*/ 35964 w 71927"/>
                <a:gd name="connsiteY7" fmla="*/ 57542 h 71927"/>
                <a:gd name="connsiteX8" fmla="*/ 57542 w 71927"/>
                <a:gd name="connsiteY8" fmla="*/ 35964 h 71927"/>
                <a:gd name="connsiteX9" fmla="*/ 35964 w 71927"/>
                <a:gd name="connsiteY9" fmla="*/ 14385 h 71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27" h="71927">
                  <a:moveTo>
                    <a:pt x="35964" y="71927"/>
                  </a:moveTo>
                  <a:cubicBezTo>
                    <a:pt x="16102" y="71927"/>
                    <a:pt x="0" y="55826"/>
                    <a:pt x="0" y="35964"/>
                  </a:cubicBezTo>
                  <a:cubicBezTo>
                    <a:pt x="0" y="16102"/>
                    <a:pt x="16102" y="0"/>
                    <a:pt x="35964" y="0"/>
                  </a:cubicBezTo>
                  <a:cubicBezTo>
                    <a:pt x="55826" y="0"/>
                    <a:pt x="71927" y="16102"/>
                    <a:pt x="71927" y="35964"/>
                  </a:cubicBezTo>
                  <a:cubicBezTo>
                    <a:pt x="71904" y="55816"/>
                    <a:pt x="55816" y="71904"/>
                    <a:pt x="35964" y="71927"/>
                  </a:cubicBezTo>
                  <a:close/>
                  <a:moveTo>
                    <a:pt x="35964" y="14385"/>
                  </a:moveTo>
                  <a:cubicBezTo>
                    <a:pt x="24046" y="14385"/>
                    <a:pt x="14385" y="24046"/>
                    <a:pt x="14385" y="35964"/>
                  </a:cubicBezTo>
                  <a:cubicBezTo>
                    <a:pt x="14385" y="47881"/>
                    <a:pt x="24046" y="57542"/>
                    <a:pt x="35964" y="57542"/>
                  </a:cubicBezTo>
                  <a:cubicBezTo>
                    <a:pt x="47881" y="57542"/>
                    <a:pt x="57542" y="47881"/>
                    <a:pt x="57542" y="35964"/>
                  </a:cubicBezTo>
                  <a:cubicBezTo>
                    <a:pt x="57542" y="24046"/>
                    <a:pt x="47881" y="14385"/>
                    <a:pt x="35964" y="14385"/>
                  </a:cubicBezTo>
                  <a:close/>
                </a:path>
              </a:pathLst>
            </a:custGeom>
            <a:grpFill/>
            <a:ln w="7144" cap="flat">
              <a:solidFill>
                <a:schemeClr val="bg1"/>
              </a:solid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E05988B4-5147-457C-9DE1-848D9161D525}"/>
                </a:ext>
              </a:extLst>
            </p:cNvPr>
            <p:cNvSpPr/>
            <p:nvPr/>
          </p:nvSpPr>
          <p:spPr>
            <a:xfrm>
              <a:off x="2180174" y="3370274"/>
              <a:ext cx="52362" cy="55579"/>
            </a:xfrm>
            <a:custGeom>
              <a:avLst/>
              <a:gdLst>
                <a:gd name="connsiteX0" fmla="*/ 35964 w 71927"/>
                <a:gd name="connsiteY0" fmla="*/ 71927 h 71927"/>
                <a:gd name="connsiteX1" fmla="*/ 0 w 71927"/>
                <a:gd name="connsiteY1" fmla="*/ 35964 h 71927"/>
                <a:gd name="connsiteX2" fmla="*/ 35964 w 71927"/>
                <a:gd name="connsiteY2" fmla="*/ 0 h 71927"/>
                <a:gd name="connsiteX3" fmla="*/ 71927 w 71927"/>
                <a:gd name="connsiteY3" fmla="*/ 35964 h 71927"/>
                <a:gd name="connsiteX4" fmla="*/ 35964 w 71927"/>
                <a:gd name="connsiteY4" fmla="*/ 71927 h 71927"/>
                <a:gd name="connsiteX5" fmla="*/ 35964 w 71927"/>
                <a:gd name="connsiteY5" fmla="*/ 14385 h 71927"/>
                <a:gd name="connsiteX6" fmla="*/ 14385 w 71927"/>
                <a:gd name="connsiteY6" fmla="*/ 35964 h 71927"/>
                <a:gd name="connsiteX7" fmla="*/ 35964 w 71927"/>
                <a:gd name="connsiteY7" fmla="*/ 57542 h 71927"/>
                <a:gd name="connsiteX8" fmla="*/ 57542 w 71927"/>
                <a:gd name="connsiteY8" fmla="*/ 35964 h 71927"/>
                <a:gd name="connsiteX9" fmla="*/ 35964 w 71927"/>
                <a:gd name="connsiteY9" fmla="*/ 14385 h 71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27" h="71927">
                  <a:moveTo>
                    <a:pt x="35964" y="71927"/>
                  </a:moveTo>
                  <a:cubicBezTo>
                    <a:pt x="16102" y="71927"/>
                    <a:pt x="0" y="55826"/>
                    <a:pt x="0" y="35964"/>
                  </a:cubicBezTo>
                  <a:cubicBezTo>
                    <a:pt x="0" y="16102"/>
                    <a:pt x="16102" y="0"/>
                    <a:pt x="35964" y="0"/>
                  </a:cubicBezTo>
                  <a:cubicBezTo>
                    <a:pt x="55826" y="0"/>
                    <a:pt x="71927" y="16102"/>
                    <a:pt x="71927" y="35964"/>
                  </a:cubicBezTo>
                  <a:cubicBezTo>
                    <a:pt x="71904" y="55816"/>
                    <a:pt x="55816" y="71904"/>
                    <a:pt x="35964" y="71927"/>
                  </a:cubicBezTo>
                  <a:close/>
                  <a:moveTo>
                    <a:pt x="35964" y="14385"/>
                  </a:moveTo>
                  <a:cubicBezTo>
                    <a:pt x="24046" y="14385"/>
                    <a:pt x="14385" y="24046"/>
                    <a:pt x="14385" y="35964"/>
                  </a:cubicBezTo>
                  <a:cubicBezTo>
                    <a:pt x="14385" y="47881"/>
                    <a:pt x="24046" y="57542"/>
                    <a:pt x="35964" y="57542"/>
                  </a:cubicBezTo>
                  <a:cubicBezTo>
                    <a:pt x="47881" y="57542"/>
                    <a:pt x="57542" y="47881"/>
                    <a:pt x="57542" y="35964"/>
                  </a:cubicBezTo>
                  <a:cubicBezTo>
                    <a:pt x="57542" y="24046"/>
                    <a:pt x="47881" y="14385"/>
                    <a:pt x="35964" y="14385"/>
                  </a:cubicBezTo>
                  <a:close/>
                </a:path>
              </a:pathLst>
            </a:custGeom>
            <a:grpFill/>
            <a:ln w="7144" cap="flat">
              <a:solidFill>
                <a:schemeClr val="bg1"/>
              </a:solid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5099352C-C696-4D98-BCEB-A48763D0511B}"/>
                </a:ext>
              </a:extLst>
            </p:cNvPr>
            <p:cNvSpPr/>
            <p:nvPr/>
          </p:nvSpPr>
          <p:spPr>
            <a:xfrm>
              <a:off x="2408881" y="3370274"/>
              <a:ext cx="52362" cy="55579"/>
            </a:xfrm>
            <a:custGeom>
              <a:avLst/>
              <a:gdLst>
                <a:gd name="connsiteX0" fmla="*/ 35964 w 71927"/>
                <a:gd name="connsiteY0" fmla="*/ 71927 h 71927"/>
                <a:gd name="connsiteX1" fmla="*/ 0 w 71927"/>
                <a:gd name="connsiteY1" fmla="*/ 35964 h 71927"/>
                <a:gd name="connsiteX2" fmla="*/ 35964 w 71927"/>
                <a:gd name="connsiteY2" fmla="*/ 0 h 71927"/>
                <a:gd name="connsiteX3" fmla="*/ 71927 w 71927"/>
                <a:gd name="connsiteY3" fmla="*/ 35964 h 71927"/>
                <a:gd name="connsiteX4" fmla="*/ 35964 w 71927"/>
                <a:gd name="connsiteY4" fmla="*/ 71927 h 71927"/>
                <a:gd name="connsiteX5" fmla="*/ 35964 w 71927"/>
                <a:gd name="connsiteY5" fmla="*/ 14385 h 71927"/>
                <a:gd name="connsiteX6" fmla="*/ 14385 w 71927"/>
                <a:gd name="connsiteY6" fmla="*/ 35964 h 71927"/>
                <a:gd name="connsiteX7" fmla="*/ 35964 w 71927"/>
                <a:gd name="connsiteY7" fmla="*/ 57542 h 71927"/>
                <a:gd name="connsiteX8" fmla="*/ 57542 w 71927"/>
                <a:gd name="connsiteY8" fmla="*/ 35964 h 71927"/>
                <a:gd name="connsiteX9" fmla="*/ 35964 w 71927"/>
                <a:gd name="connsiteY9" fmla="*/ 14385 h 71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27" h="71927">
                  <a:moveTo>
                    <a:pt x="35964" y="71927"/>
                  </a:moveTo>
                  <a:cubicBezTo>
                    <a:pt x="16102" y="71927"/>
                    <a:pt x="0" y="55826"/>
                    <a:pt x="0" y="35964"/>
                  </a:cubicBezTo>
                  <a:cubicBezTo>
                    <a:pt x="0" y="16102"/>
                    <a:pt x="16102" y="0"/>
                    <a:pt x="35964" y="0"/>
                  </a:cubicBezTo>
                  <a:cubicBezTo>
                    <a:pt x="55826" y="0"/>
                    <a:pt x="71927" y="16102"/>
                    <a:pt x="71927" y="35964"/>
                  </a:cubicBezTo>
                  <a:cubicBezTo>
                    <a:pt x="71904" y="55816"/>
                    <a:pt x="55816" y="71904"/>
                    <a:pt x="35964" y="71927"/>
                  </a:cubicBezTo>
                  <a:close/>
                  <a:moveTo>
                    <a:pt x="35964" y="14385"/>
                  </a:moveTo>
                  <a:cubicBezTo>
                    <a:pt x="24046" y="14385"/>
                    <a:pt x="14385" y="24046"/>
                    <a:pt x="14385" y="35964"/>
                  </a:cubicBezTo>
                  <a:cubicBezTo>
                    <a:pt x="14385" y="47881"/>
                    <a:pt x="24046" y="57542"/>
                    <a:pt x="35964" y="57542"/>
                  </a:cubicBezTo>
                  <a:cubicBezTo>
                    <a:pt x="47881" y="57542"/>
                    <a:pt x="57542" y="47881"/>
                    <a:pt x="57542" y="35964"/>
                  </a:cubicBezTo>
                  <a:cubicBezTo>
                    <a:pt x="57542" y="24046"/>
                    <a:pt x="47881" y="14385"/>
                    <a:pt x="35964" y="14385"/>
                  </a:cubicBezTo>
                  <a:close/>
                </a:path>
              </a:pathLst>
            </a:custGeom>
            <a:grpFill/>
            <a:ln w="7144" cap="flat">
              <a:solidFill>
                <a:schemeClr val="bg1"/>
              </a:solid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3F535650-03E4-43C0-A0C2-2A901B4A55B9}"/>
                </a:ext>
              </a:extLst>
            </p:cNvPr>
            <p:cNvSpPr/>
            <p:nvPr/>
          </p:nvSpPr>
          <p:spPr>
            <a:xfrm>
              <a:off x="2160213" y="3475852"/>
              <a:ext cx="92303" cy="205786"/>
            </a:xfrm>
            <a:custGeom>
              <a:avLst/>
              <a:gdLst>
                <a:gd name="connsiteX0" fmla="*/ 27440 w 126793"/>
                <a:gd name="connsiteY0" fmla="*/ 158391 h 266318"/>
                <a:gd name="connsiteX1" fmla="*/ 27440 w 126793"/>
                <a:gd name="connsiteY1" fmla="*/ 266318 h 266318"/>
                <a:gd name="connsiteX2" fmla="*/ 48350 w 126793"/>
                <a:gd name="connsiteY2" fmla="*/ 266318 h 266318"/>
                <a:gd name="connsiteX3" fmla="*/ 70575 w 126793"/>
                <a:gd name="connsiteY3" fmla="*/ 244086 h 266318"/>
                <a:gd name="connsiteX4" fmla="*/ 70575 w 126793"/>
                <a:gd name="connsiteY4" fmla="*/ 158391 h 266318"/>
                <a:gd name="connsiteX5" fmla="*/ 84961 w 126793"/>
                <a:gd name="connsiteY5" fmla="*/ 158391 h 266318"/>
                <a:gd name="connsiteX6" fmla="*/ 84961 w 126793"/>
                <a:gd name="connsiteY6" fmla="*/ 229679 h 266318"/>
                <a:gd name="connsiteX7" fmla="*/ 99346 w 126793"/>
                <a:gd name="connsiteY7" fmla="*/ 215293 h 266318"/>
                <a:gd name="connsiteX8" fmla="*/ 99346 w 126793"/>
                <a:gd name="connsiteY8" fmla="*/ 158391 h 266318"/>
                <a:gd name="connsiteX9" fmla="*/ 126794 w 126793"/>
                <a:gd name="connsiteY9" fmla="*/ 158391 h 266318"/>
                <a:gd name="connsiteX10" fmla="*/ 99368 w 126793"/>
                <a:gd name="connsiteY10" fmla="*/ 59556 h 266318"/>
                <a:gd name="connsiteX11" fmla="*/ 99368 w 126793"/>
                <a:gd name="connsiteY11" fmla="*/ 7222 h 266318"/>
                <a:gd name="connsiteX12" fmla="*/ 92175 w 126793"/>
                <a:gd name="connsiteY12" fmla="*/ 29 h 266318"/>
                <a:gd name="connsiteX13" fmla="*/ 84982 w 126793"/>
                <a:gd name="connsiteY13" fmla="*/ 7222 h 266318"/>
                <a:gd name="connsiteX14" fmla="*/ 84982 w 126793"/>
                <a:gd name="connsiteY14" fmla="*/ 60541 h 266318"/>
                <a:gd name="connsiteX15" fmla="*/ 107898 w 126793"/>
                <a:gd name="connsiteY15" fmla="*/ 143977 h 266318"/>
                <a:gd name="connsiteX16" fmla="*/ 18917 w 126793"/>
                <a:gd name="connsiteY16" fmla="*/ 143977 h 266318"/>
                <a:gd name="connsiteX17" fmla="*/ 41826 w 126793"/>
                <a:gd name="connsiteY17" fmla="*/ 61491 h 266318"/>
                <a:gd name="connsiteX18" fmla="*/ 41826 w 126793"/>
                <a:gd name="connsiteY18" fmla="*/ 7193 h 266318"/>
                <a:gd name="connsiteX19" fmla="*/ 34633 w 126793"/>
                <a:gd name="connsiteY19" fmla="*/ 0 h 266318"/>
                <a:gd name="connsiteX20" fmla="*/ 27440 w 126793"/>
                <a:gd name="connsiteY20" fmla="*/ 7193 h 266318"/>
                <a:gd name="connsiteX21" fmla="*/ 27440 w 126793"/>
                <a:gd name="connsiteY21" fmla="*/ 59527 h 266318"/>
                <a:gd name="connsiteX22" fmla="*/ 0 w 126793"/>
                <a:gd name="connsiteY22" fmla="*/ 158391 h 266318"/>
                <a:gd name="connsiteX23" fmla="*/ 41826 w 126793"/>
                <a:gd name="connsiteY23" fmla="*/ 158391 h 266318"/>
                <a:gd name="connsiteX24" fmla="*/ 56211 w 126793"/>
                <a:gd name="connsiteY24" fmla="*/ 158391 h 266318"/>
                <a:gd name="connsiteX25" fmla="*/ 56211 w 126793"/>
                <a:gd name="connsiteY25" fmla="*/ 251933 h 266318"/>
                <a:gd name="connsiteX26" fmla="*/ 41826 w 126793"/>
                <a:gd name="connsiteY26" fmla="*/ 251933 h 266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6793" h="266318">
                  <a:moveTo>
                    <a:pt x="27440" y="158391"/>
                  </a:moveTo>
                  <a:lnTo>
                    <a:pt x="27440" y="266318"/>
                  </a:lnTo>
                  <a:lnTo>
                    <a:pt x="48350" y="266318"/>
                  </a:lnTo>
                  <a:lnTo>
                    <a:pt x="70575" y="244086"/>
                  </a:lnTo>
                  <a:lnTo>
                    <a:pt x="70575" y="158391"/>
                  </a:lnTo>
                  <a:lnTo>
                    <a:pt x="84961" y="158391"/>
                  </a:lnTo>
                  <a:lnTo>
                    <a:pt x="84961" y="229679"/>
                  </a:lnTo>
                  <a:lnTo>
                    <a:pt x="99346" y="215293"/>
                  </a:lnTo>
                  <a:lnTo>
                    <a:pt x="99346" y="158391"/>
                  </a:lnTo>
                  <a:lnTo>
                    <a:pt x="126794" y="158391"/>
                  </a:lnTo>
                  <a:lnTo>
                    <a:pt x="99368" y="59556"/>
                  </a:lnTo>
                  <a:lnTo>
                    <a:pt x="99368" y="7222"/>
                  </a:lnTo>
                  <a:cubicBezTo>
                    <a:pt x="99368" y="3249"/>
                    <a:pt x="96148" y="29"/>
                    <a:pt x="92175" y="29"/>
                  </a:cubicBezTo>
                  <a:cubicBezTo>
                    <a:pt x="88202" y="29"/>
                    <a:pt x="84982" y="3249"/>
                    <a:pt x="84982" y="7222"/>
                  </a:cubicBezTo>
                  <a:lnTo>
                    <a:pt x="84982" y="60541"/>
                  </a:lnTo>
                  <a:lnTo>
                    <a:pt x="107898" y="143977"/>
                  </a:lnTo>
                  <a:lnTo>
                    <a:pt x="18917" y="143977"/>
                  </a:lnTo>
                  <a:lnTo>
                    <a:pt x="41826" y="61491"/>
                  </a:lnTo>
                  <a:lnTo>
                    <a:pt x="41826" y="7193"/>
                  </a:lnTo>
                  <a:cubicBezTo>
                    <a:pt x="41826" y="3220"/>
                    <a:pt x="38606" y="0"/>
                    <a:pt x="34633" y="0"/>
                  </a:cubicBezTo>
                  <a:cubicBezTo>
                    <a:pt x="30660" y="0"/>
                    <a:pt x="27440" y="3220"/>
                    <a:pt x="27440" y="7193"/>
                  </a:cubicBezTo>
                  <a:lnTo>
                    <a:pt x="27440" y="59527"/>
                  </a:lnTo>
                  <a:lnTo>
                    <a:pt x="0" y="158391"/>
                  </a:lnTo>
                  <a:close/>
                  <a:moveTo>
                    <a:pt x="41826" y="158391"/>
                  </a:moveTo>
                  <a:lnTo>
                    <a:pt x="56211" y="158391"/>
                  </a:lnTo>
                  <a:lnTo>
                    <a:pt x="56211" y="251933"/>
                  </a:lnTo>
                  <a:lnTo>
                    <a:pt x="41826" y="251933"/>
                  </a:lnTo>
                  <a:close/>
                </a:path>
              </a:pathLst>
            </a:custGeom>
            <a:grpFill/>
            <a:ln w="7144" cap="flat">
              <a:solidFill>
                <a:schemeClr val="bg1"/>
              </a:solid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85F2D3E0-2FE8-435F-9381-90577C778D2D}"/>
                </a:ext>
              </a:extLst>
            </p:cNvPr>
            <p:cNvSpPr/>
            <p:nvPr/>
          </p:nvSpPr>
          <p:spPr>
            <a:xfrm>
              <a:off x="2162244" y="3464758"/>
              <a:ext cx="429432" cy="283521"/>
            </a:xfrm>
            <a:custGeom>
              <a:avLst/>
              <a:gdLst>
                <a:gd name="connsiteX0" fmla="*/ 489195 w 589893"/>
                <a:gd name="connsiteY0" fmla="*/ 0 h 366918"/>
                <a:gd name="connsiteX1" fmla="*/ 482002 w 589893"/>
                <a:gd name="connsiteY1" fmla="*/ 7193 h 366918"/>
                <a:gd name="connsiteX2" fmla="*/ 489195 w 589893"/>
                <a:gd name="connsiteY2" fmla="*/ 14385 h 366918"/>
                <a:gd name="connsiteX3" fmla="*/ 565164 w 589893"/>
                <a:gd name="connsiteY3" fmla="*/ 14385 h 366918"/>
                <a:gd name="connsiteX4" fmla="*/ 565215 w 589893"/>
                <a:gd name="connsiteY4" fmla="*/ 14508 h 366918"/>
                <a:gd name="connsiteX5" fmla="*/ 323762 w 589893"/>
                <a:gd name="connsiteY5" fmla="*/ 255961 h 366918"/>
                <a:gd name="connsiteX6" fmla="*/ 212274 w 589893"/>
                <a:gd name="connsiteY6" fmla="*/ 144473 h 366918"/>
                <a:gd name="connsiteX7" fmla="*/ 2196 w 589893"/>
                <a:gd name="connsiteY7" fmla="*/ 354552 h 366918"/>
                <a:gd name="connsiteX8" fmla="*/ 2019 w 589893"/>
                <a:gd name="connsiteY8" fmla="*/ 364722 h 366918"/>
                <a:gd name="connsiteX9" fmla="*/ 12190 w 589893"/>
                <a:gd name="connsiteY9" fmla="*/ 364899 h 366918"/>
                <a:gd name="connsiteX10" fmla="*/ 12366 w 589893"/>
                <a:gd name="connsiteY10" fmla="*/ 364722 h 366918"/>
                <a:gd name="connsiteX11" fmla="*/ 212274 w 589893"/>
                <a:gd name="connsiteY11" fmla="*/ 164814 h 366918"/>
                <a:gd name="connsiteX12" fmla="*/ 323762 w 589893"/>
                <a:gd name="connsiteY12" fmla="*/ 276302 h 366918"/>
                <a:gd name="connsiteX13" fmla="*/ 575385 w 589893"/>
                <a:gd name="connsiteY13" fmla="*/ 24678 h 366918"/>
                <a:gd name="connsiteX14" fmla="*/ 575508 w 589893"/>
                <a:gd name="connsiteY14" fmla="*/ 24729 h 366918"/>
                <a:gd name="connsiteX15" fmla="*/ 575508 w 589893"/>
                <a:gd name="connsiteY15" fmla="*/ 100698 h 366918"/>
                <a:gd name="connsiteX16" fmla="*/ 582700 w 589893"/>
                <a:gd name="connsiteY16" fmla="*/ 107891 h 366918"/>
                <a:gd name="connsiteX17" fmla="*/ 589893 w 589893"/>
                <a:gd name="connsiteY17" fmla="*/ 100698 h 366918"/>
                <a:gd name="connsiteX18" fmla="*/ 589893 w 589893"/>
                <a:gd name="connsiteY18" fmla="*/ 0 h 36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89893" h="366918">
                  <a:moveTo>
                    <a:pt x="489195" y="0"/>
                  </a:moveTo>
                  <a:cubicBezTo>
                    <a:pt x="485222" y="0"/>
                    <a:pt x="482002" y="3220"/>
                    <a:pt x="482002" y="7193"/>
                  </a:cubicBezTo>
                  <a:cubicBezTo>
                    <a:pt x="482002" y="11165"/>
                    <a:pt x="485222" y="14385"/>
                    <a:pt x="489195" y="14385"/>
                  </a:cubicBezTo>
                  <a:lnTo>
                    <a:pt x="565164" y="14385"/>
                  </a:lnTo>
                  <a:cubicBezTo>
                    <a:pt x="565258" y="14385"/>
                    <a:pt x="565280" y="14443"/>
                    <a:pt x="565215" y="14508"/>
                  </a:cubicBezTo>
                  <a:lnTo>
                    <a:pt x="323762" y="255961"/>
                  </a:lnTo>
                  <a:lnTo>
                    <a:pt x="212274" y="144473"/>
                  </a:lnTo>
                  <a:lnTo>
                    <a:pt x="2196" y="354552"/>
                  </a:lnTo>
                  <a:cubicBezTo>
                    <a:pt x="-661" y="357312"/>
                    <a:pt x="-741" y="361865"/>
                    <a:pt x="2019" y="364722"/>
                  </a:cubicBezTo>
                  <a:cubicBezTo>
                    <a:pt x="4779" y="367580"/>
                    <a:pt x="9332" y="367659"/>
                    <a:pt x="12190" y="364899"/>
                  </a:cubicBezTo>
                  <a:cubicBezTo>
                    <a:pt x="12250" y="364841"/>
                    <a:pt x="12308" y="364782"/>
                    <a:pt x="12366" y="364722"/>
                  </a:cubicBezTo>
                  <a:lnTo>
                    <a:pt x="212274" y="164814"/>
                  </a:lnTo>
                  <a:lnTo>
                    <a:pt x="323762" y="276302"/>
                  </a:lnTo>
                  <a:lnTo>
                    <a:pt x="575385" y="24678"/>
                  </a:lnTo>
                  <a:cubicBezTo>
                    <a:pt x="575450" y="24614"/>
                    <a:pt x="575508" y="24635"/>
                    <a:pt x="575508" y="24729"/>
                  </a:cubicBezTo>
                  <a:lnTo>
                    <a:pt x="575508" y="100698"/>
                  </a:lnTo>
                  <a:cubicBezTo>
                    <a:pt x="575508" y="104671"/>
                    <a:pt x="578728" y="107891"/>
                    <a:pt x="582700" y="107891"/>
                  </a:cubicBezTo>
                  <a:cubicBezTo>
                    <a:pt x="586673" y="107891"/>
                    <a:pt x="589893" y="104671"/>
                    <a:pt x="589893" y="100698"/>
                  </a:cubicBezTo>
                  <a:lnTo>
                    <a:pt x="589893" y="0"/>
                  </a:lnTo>
                  <a:close/>
                </a:path>
              </a:pathLst>
            </a:custGeom>
            <a:grpFill/>
            <a:ln w="7144" cap="flat">
              <a:solidFill>
                <a:schemeClr val="bg1"/>
              </a:solidFill>
              <a:prstDash val="solid"/>
              <a:miter/>
            </a:ln>
          </p:spPr>
          <p:txBody>
            <a:bodyPr rtlCol="0" anchor="ctr"/>
            <a:lstStyle/>
            <a:p>
              <a:endParaRPr lang="en-US"/>
            </a:p>
          </p:txBody>
        </p:sp>
      </p:grpSp>
      <p:sp>
        <p:nvSpPr>
          <p:cNvPr id="39" name="Graphic 11" descr="Handshake">
            <a:extLst>
              <a:ext uri="{FF2B5EF4-FFF2-40B4-BE49-F238E27FC236}">
                <a16:creationId xmlns:a16="http://schemas.microsoft.com/office/drawing/2014/main" id="{1AA9CEC3-4E9A-4DCE-B135-58F83360EA6F}"/>
              </a:ext>
            </a:extLst>
          </p:cNvPr>
          <p:cNvSpPr/>
          <p:nvPr/>
        </p:nvSpPr>
        <p:spPr>
          <a:xfrm>
            <a:off x="6573458" y="3294988"/>
            <a:ext cx="482253" cy="315132"/>
          </a:xfrm>
          <a:custGeom>
            <a:avLst/>
            <a:gdLst>
              <a:gd name="connsiteX0" fmla="*/ 655978 w 662451"/>
              <a:gd name="connsiteY0" fmla="*/ 147451 h 407828"/>
              <a:gd name="connsiteX1" fmla="*/ 574700 w 662451"/>
              <a:gd name="connsiteY1" fmla="*/ 12228 h 407828"/>
              <a:gd name="connsiteX2" fmla="*/ 567507 w 662451"/>
              <a:gd name="connsiteY2" fmla="*/ 0 h 407828"/>
              <a:gd name="connsiteX3" fmla="*/ 555280 w 662451"/>
              <a:gd name="connsiteY3" fmla="*/ 7912 h 407828"/>
              <a:gd name="connsiteX4" fmla="*/ 500615 w 662451"/>
              <a:gd name="connsiteY4" fmla="*/ 41718 h 407828"/>
              <a:gd name="connsiteX5" fmla="*/ 486948 w 662451"/>
              <a:gd name="connsiteY5" fmla="*/ 58980 h 407828"/>
              <a:gd name="connsiteX6" fmla="*/ 487668 w 662451"/>
              <a:gd name="connsiteY6" fmla="*/ 74804 h 407828"/>
              <a:gd name="connsiteX7" fmla="*/ 441634 w 662451"/>
              <a:gd name="connsiteY7" fmla="*/ 82717 h 407828"/>
              <a:gd name="connsiteX8" fmla="*/ 377619 w 662451"/>
              <a:gd name="connsiteY8" fmla="*/ 71927 h 407828"/>
              <a:gd name="connsiteX9" fmla="*/ 345971 w 662451"/>
              <a:gd name="connsiteY9" fmla="*/ 64735 h 407828"/>
              <a:gd name="connsiteX10" fmla="*/ 344532 w 662451"/>
              <a:gd name="connsiteY10" fmla="*/ 64735 h 407828"/>
              <a:gd name="connsiteX11" fmla="*/ 344532 w 662451"/>
              <a:gd name="connsiteY11" fmla="*/ 64735 h 407828"/>
              <a:gd name="connsiteX12" fmla="*/ 343094 w 662451"/>
              <a:gd name="connsiteY12" fmla="*/ 64735 h 407828"/>
              <a:gd name="connsiteX13" fmla="*/ 341655 w 662451"/>
              <a:gd name="connsiteY13" fmla="*/ 64735 h 407828"/>
              <a:gd name="connsiteX14" fmla="*/ 340217 w 662451"/>
              <a:gd name="connsiteY14" fmla="*/ 64735 h 407828"/>
              <a:gd name="connsiteX15" fmla="*/ 336620 w 662451"/>
              <a:gd name="connsiteY15" fmla="*/ 64735 h 407828"/>
              <a:gd name="connsiteX16" fmla="*/ 336620 w 662451"/>
              <a:gd name="connsiteY16" fmla="*/ 64735 h 407828"/>
              <a:gd name="connsiteX17" fmla="*/ 304253 w 662451"/>
              <a:gd name="connsiteY17" fmla="*/ 79120 h 407828"/>
              <a:gd name="connsiteX18" fmla="*/ 298499 w 662451"/>
              <a:gd name="connsiteY18" fmla="*/ 85594 h 407828"/>
              <a:gd name="connsiteX19" fmla="*/ 269008 w 662451"/>
              <a:gd name="connsiteY19" fmla="*/ 79839 h 407828"/>
              <a:gd name="connsiteX20" fmla="*/ 263254 w 662451"/>
              <a:gd name="connsiteY20" fmla="*/ 79839 h 407828"/>
              <a:gd name="connsiteX21" fmla="*/ 251027 w 662451"/>
              <a:gd name="connsiteY21" fmla="*/ 80559 h 407828"/>
              <a:gd name="connsiteX22" fmla="*/ 222975 w 662451"/>
              <a:gd name="connsiteY22" fmla="*/ 81997 h 407828"/>
              <a:gd name="connsiteX23" fmla="*/ 176941 w 662451"/>
              <a:gd name="connsiteY23" fmla="*/ 72647 h 407828"/>
              <a:gd name="connsiteX24" fmla="*/ 176941 w 662451"/>
              <a:gd name="connsiteY24" fmla="*/ 58980 h 407828"/>
              <a:gd name="connsiteX25" fmla="*/ 163275 w 662451"/>
              <a:gd name="connsiteY25" fmla="*/ 41718 h 407828"/>
              <a:gd name="connsiteX26" fmla="*/ 109330 w 662451"/>
              <a:gd name="connsiteY26" fmla="*/ 7912 h 407828"/>
              <a:gd name="connsiteX27" fmla="*/ 97102 w 662451"/>
              <a:gd name="connsiteY27" fmla="*/ 0 h 407828"/>
              <a:gd name="connsiteX28" fmla="*/ 89909 w 662451"/>
              <a:gd name="connsiteY28" fmla="*/ 12228 h 407828"/>
              <a:gd name="connsiteX29" fmla="*/ 7193 w 662451"/>
              <a:gd name="connsiteY29" fmla="*/ 147451 h 407828"/>
              <a:gd name="connsiteX30" fmla="*/ 0 w 662451"/>
              <a:gd name="connsiteY30" fmla="*/ 159679 h 407828"/>
              <a:gd name="connsiteX31" fmla="*/ 12228 w 662451"/>
              <a:gd name="connsiteY31" fmla="*/ 166872 h 407828"/>
              <a:gd name="connsiteX32" fmla="*/ 67612 w 662451"/>
              <a:gd name="connsiteY32" fmla="*/ 200677 h 407828"/>
              <a:gd name="connsiteX33" fmla="*/ 99260 w 662451"/>
              <a:gd name="connsiteY33" fmla="*/ 199239 h 407828"/>
              <a:gd name="connsiteX34" fmla="*/ 146013 w 662451"/>
              <a:gd name="connsiteY34" fmla="*/ 253904 h 407828"/>
              <a:gd name="connsiteX35" fmla="*/ 146732 w 662451"/>
              <a:gd name="connsiteY35" fmla="*/ 255342 h 407828"/>
              <a:gd name="connsiteX36" fmla="*/ 148170 w 662451"/>
              <a:gd name="connsiteY36" fmla="*/ 256062 h 407828"/>
              <a:gd name="connsiteX37" fmla="*/ 148170 w 662451"/>
              <a:gd name="connsiteY37" fmla="*/ 256062 h 407828"/>
              <a:gd name="connsiteX38" fmla="*/ 138101 w 662451"/>
              <a:gd name="connsiteY38" fmla="*/ 267570 h 407828"/>
              <a:gd name="connsiteX39" fmla="*/ 140978 w 662451"/>
              <a:gd name="connsiteY39" fmla="*/ 317919 h 407828"/>
              <a:gd name="connsiteX40" fmla="*/ 140978 w 662451"/>
              <a:gd name="connsiteY40" fmla="*/ 317919 h 407828"/>
              <a:gd name="connsiteX41" fmla="*/ 140978 w 662451"/>
              <a:gd name="connsiteY41" fmla="*/ 317919 h 407828"/>
              <a:gd name="connsiteX42" fmla="*/ 163994 w 662451"/>
              <a:gd name="connsiteY42" fmla="*/ 326550 h 407828"/>
              <a:gd name="connsiteX43" fmla="*/ 168310 w 662451"/>
              <a:gd name="connsiteY43" fmla="*/ 326550 h 407828"/>
              <a:gd name="connsiteX44" fmla="*/ 181976 w 662451"/>
              <a:gd name="connsiteY44" fmla="*/ 321515 h 407828"/>
              <a:gd name="connsiteX45" fmla="*/ 193485 w 662451"/>
              <a:gd name="connsiteY45" fmla="*/ 344532 h 407828"/>
              <a:gd name="connsiteX46" fmla="*/ 193485 w 662451"/>
              <a:gd name="connsiteY46" fmla="*/ 344532 h 407828"/>
              <a:gd name="connsiteX47" fmla="*/ 193485 w 662451"/>
              <a:gd name="connsiteY47" fmla="*/ 344532 h 407828"/>
              <a:gd name="connsiteX48" fmla="*/ 216501 w 662451"/>
              <a:gd name="connsiteY48" fmla="*/ 353164 h 407828"/>
              <a:gd name="connsiteX49" fmla="*/ 219379 w 662451"/>
              <a:gd name="connsiteY49" fmla="*/ 353164 h 407828"/>
              <a:gd name="connsiteX50" fmla="*/ 230168 w 662451"/>
              <a:gd name="connsiteY50" fmla="*/ 351006 h 407828"/>
              <a:gd name="connsiteX51" fmla="*/ 240957 w 662451"/>
              <a:gd name="connsiteY51" fmla="*/ 371865 h 407828"/>
              <a:gd name="connsiteX52" fmla="*/ 240957 w 662451"/>
              <a:gd name="connsiteY52" fmla="*/ 371865 h 407828"/>
              <a:gd name="connsiteX53" fmla="*/ 240957 w 662451"/>
              <a:gd name="connsiteY53" fmla="*/ 371865 h 407828"/>
              <a:gd name="connsiteX54" fmla="*/ 261096 w 662451"/>
              <a:gd name="connsiteY54" fmla="*/ 379777 h 407828"/>
              <a:gd name="connsiteX55" fmla="*/ 264693 w 662451"/>
              <a:gd name="connsiteY55" fmla="*/ 379777 h 407828"/>
              <a:gd name="connsiteX56" fmla="*/ 278359 w 662451"/>
              <a:gd name="connsiteY56" fmla="*/ 375461 h 407828"/>
              <a:gd name="connsiteX57" fmla="*/ 286990 w 662451"/>
              <a:gd name="connsiteY57" fmla="*/ 389127 h 407828"/>
              <a:gd name="connsiteX58" fmla="*/ 307849 w 662451"/>
              <a:gd name="connsiteY58" fmla="*/ 396320 h 407828"/>
              <a:gd name="connsiteX59" fmla="*/ 309288 w 662451"/>
              <a:gd name="connsiteY59" fmla="*/ 396320 h 407828"/>
              <a:gd name="connsiteX60" fmla="*/ 310726 w 662451"/>
              <a:gd name="connsiteY60" fmla="*/ 396320 h 407828"/>
              <a:gd name="connsiteX61" fmla="*/ 322954 w 662451"/>
              <a:gd name="connsiteY61" fmla="*/ 391285 h 407828"/>
              <a:gd name="connsiteX62" fmla="*/ 323673 w 662451"/>
              <a:gd name="connsiteY62" fmla="*/ 392004 h 407828"/>
              <a:gd name="connsiteX63" fmla="*/ 333743 w 662451"/>
              <a:gd name="connsiteY63" fmla="*/ 399916 h 407828"/>
              <a:gd name="connsiteX64" fmla="*/ 334462 w 662451"/>
              <a:gd name="connsiteY64" fmla="*/ 400636 h 407828"/>
              <a:gd name="connsiteX65" fmla="*/ 335182 w 662451"/>
              <a:gd name="connsiteY65" fmla="*/ 401355 h 407828"/>
              <a:gd name="connsiteX66" fmla="*/ 356760 w 662451"/>
              <a:gd name="connsiteY66" fmla="*/ 407828 h 407828"/>
              <a:gd name="connsiteX67" fmla="*/ 361076 w 662451"/>
              <a:gd name="connsiteY67" fmla="*/ 407828 h 407828"/>
              <a:gd name="connsiteX68" fmla="*/ 398478 w 662451"/>
              <a:gd name="connsiteY68" fmla="*/ 376180 h 407828"/>
              <a:gd name="connsiteX69" fmla="*/ 431564 w 662451"/>
              <a:gd name="connsiteY69" fmla="*/ 345251 h 407828"/>
              <a:gd name="connsiteX70" fmla="*/ 464651 w 662451"/>
              <a:gd name="connsiteY70" fmla="*/ 313603 h 407828"/>
              <a:gd name="connsiteX71" fmla="*/ 467528 w 662451"/>
              <a:gd name="connsiteY71" fmla="*/ 313603 h 407828"/>
              <a:gd name="connsiteX72" fmla="*/ 506369 w 662451"/>
              <a:gd name="connsiteY72" fmla="*/ 268289 h 407828"/>
              <a:gd name="connsiteX73" fmla="*/ 506369 w 662451"/>
              <a:gd name="connsiteY73" fmla="*/ 263254 h 407828"/>
              <a:gd name="connsiteX74" fmla="*/ 512123 w 662451"/>
              <a:gd name="connsiteY74" fmla="*/ 256062 h 407828"/>
              <a:gd name="connsiteX75" fmla="*/ 561753 w 662451"/>
              <a:gd name="connsiteY75" fmla="*/ 198520 h 407828"/>
              <a:gd name="connsiteX76" fmla="*/ 594840 w 662451"/>
              <a:gd name="connsiteY76" fmla="*/ 199958 h 407828"/>
              <a:gd name="connsiteX77" fmla="*/ 650224 w 662451"/>
              <a:gd name="connsiteY77" fmla="*/ 166152 h 407828"/>
              <a:gd name="connsiteX78" fmla="*/ 662451 w 662451"/>
              <a:gd name="connsiteY78" fmla="*/ 158960 h 407828"/>
              <a:gd name="connsiteX79" fmla="*/ 655978 w 662451"/>
              <a:gd name="connsiteY79" fmla="*/ 147451 h 407828"/>
              <a:gd name="connsiteX80" fmla="*/ 74804 w 662451"/>
              <a:gd name="connsiteY80" fmla="*/ 188450 h 407828"/>
              <a:gd name="connsiteX81" fmla="*/ 19420 w 662451"/>
              <a:gd name="connsiteY81" fmla="*/ 154644 h 407828"/>
              <a:gd name="connsiteX82" fmla="*/ 101418 w 662451"/>
              <a:gd name="connsiteY82" fmla="*/ 19420 h 407828"/>
              <a:gd name="connsiteX83" fmla="*/ 156082 w 662451"/>
              <a:gd name="connsiteY83" fmla="*/ 53226 h 407828"/>
              <a:gd name="connsiteX84" fmla="*/ 162556 w 662451"/>
              <a:gd name="connsiteY84" fmla="*/ 69050 h 407828"/>
              <a:gd name="connsiteX85" fmla="*/ 158240 w 662451"/>
              <a:gd name="connsiteY85" fmla="*/ 76243 h 407828"/>
              <a:gd name="connsiteX86" fmla="*/ 95663 w 662451"/>
              <a:gd name="connsiteY86" fmla="*/ 179818 h 407828"/>
              <a:gd name="connsiteX87" fmla="*/ 91348 w 662451"/>
              <a:gd name="connsiteY87" fmla="*/ 186292 h 407828"/>
              <a:gd name="connsiteX88" fmla="*/ 81997 w 662451"/>
              <a:gd name="connsiteY88" fmla="*/ 189888 h 407828"/>
              <a:gd name="connsiteX89" fmla="*/ 74804 w 662451"/>
              <a:gd name="connsiteY89" fmla="*/ 188450 h 407828"/>
              <a:gd name="connsiteX90" fmla="*/ 166872 w 662451"/>
              <a:gd name="connsiteY90" fmla="*/ 312165 h 407828"/>
              <a:gd name="connsiteX91" fmla="*/ 164714 w 662451"/>
              <a:gd name="connsiteY91" fmla="*/ 312165 h 407828"/>
              <a:gd name="connsiteX92" fmla="*/ 143855 w 662451"/>
              <a:gd name="connsiteY92" fmla="*/ 290587 h 407828"/>
              <a:gd name="connsiteX93" fmla="*/ 148890 w 662451"/>
              <a:gd name="connsiteY93" fmla="*/ 276920 h 407828"/>
              <a:gd name="connsiteX94" fmla="*/ 187011 w 662451"/>
              <a:gd name="connsiteY94" fmla="*/ 233764 h 407828"/>
              <a:gd name="connsiteX95" fmla="*/ 203555 w 662451"/>
              <a:gd name="connsiteY95" fmla="*/ 226571 h 407828"/>
              <a:gd name="connsiteX96" fmla="*/ 217221 w 662451"/>
              <a:gd name="connsiteY96" fmla="*/ 231606 h 407828"/>
              <a:gd name="connsiteX97" fmla="*/ 219379 w 662451"/>
              <a:gd name="connsiteY97" fmla="*/ 261816 h 407828"/>
              <a:gd name="connsiteX98" fmla="*/ 181257 w 662451"/>
              <a:gd name="connsiteY98" fmla="*/ 304972 h 407828"/>
              <a:gd name="connsiteX99" fmla="*/ 166872 w 662451"/>
              <a:gd name="connsiteY99" fmla="*/ 312165 h 407828"/>
              <a:gd name="connsiteX100" fmla="*/ 220098 w 662451"/>
              <a:gd name="connsiteY100" fmla="*/ 339497 h 407828"/>
              <a:gd name="connsiteX101" fmla="*/ 217940 w 662451"/>
              <a:gd name="connsiteY101" fmla="*/ 339497 h 407828"/>
              <a:gd name="connsiteX102" fmla="*/ 197081 w 662451"/>
              <a:gd name="connsiteY102" fmla="*/ 317919 h 407828"/>
              <a:gd name="connsiteX103" fmla="*/ 202116 w 662451"/>
              <a:gd name="connsiteY103" fmla="*/ 304253 h 407828"/>
              <a:gd name="connsiteX104" fmla="*/ 235203 w 662451"/>
              <a:gd name="connsiteY104" fmla="*/ 266131 h 407828"/>
              <a:gd name="connsiteX105" fmla="*/ 251746 w 662451"/>
              <a:gd name="connsiteY105" fmla="*/ 258939 h 407828"/>
              <a:gd name="connsiteX106" fmla="*/ 265412 w 662451"/>
              <a:gd name="connsiteY106" fmla="*/ 263974 h 407828"/>
              <a:gd name="connsiteX107" fmla="*/ 267570 w 662451"/>
              <a:gd name="connsiteY107" fmla="*/ 294183 h 407828"/>
              <a:gd name="connsiteX108" fmla="*/ 234483 w 662451"/>
              <a:gd name="connsiteY108" fmla="*/ 332305 h 407828"/>
              <a:gd name="connsiteX109" fmla="*/ 220098 w 662451"/>
              <a:gd name="connsiteY109" fmla="*/ 339497 h 407828"/>
              <a:gd name="connsiteX110" fmla="*/ 220098 w 662451"/>
              <a:gd name="connsiteY110" fmla="*/ 339497 h 407828"/>
              <a:gd name="connsiteX111" fmla="*/ 265412 w 662451"/>
              <a:gd name="connsiteY111" fmla="*/ 366110 h 407828"/>
              <a:gd name="connsiteX112" fmla="*/ 263254 w 662451"/>
              <a:gd name="connsiteY112" fmla="*/ 366110 h 407828"/>
              <a:gd name="connsiteX113" fmla="*/ 251746 w 662451"/>
              <a:gd name="connsiteY113" fmla="*/ 361795 h 407828"/>
              <a:gd name="connsiteX114" fmla="*/ 250307 w 662451"/>
              <a:gd name="connsiteY114" fmla="*/ 336620 h 407828"/>
              <a:gd name="connsiteX115" fmla="*/ 283394 w 662451"/>
              <a:gd name="connsiteY115" fmla="*/ 298499 h 407828"/>
              <a:gd name="connsiteX116" fmla="*/ 297060 w 662451"/>
              <a:gd name="connsiteY116" fmla="*/ 292745 h 407828"/>
              <a:gd name="connsiteX117" fmla="*/ 308569 w 662451"/>
              <a:gd name="connsiteY117" fmla="*/ 297060 h 407828"/>
              <a:gd name="connsiteX118" fmla="*/ 310007 w 662451"/>
              <a:gd name="connsiteY118" fmla="*/ 322235 h 407828"/>
              <a:gd name="connsiteX119" fmla="*/ 276921 w 662451"/>
              <a:gd name="connsiteY119" fmla="*/ 360356 h 407828"/>
              <a:gd name="connsiteX120" fmla="*/ 265412 w 662451"/>
              <a:gd name="connsiteY120" fmla="*/ 366110 h 407828"/>
              <a:gd name="connsiteX121" fmla="*/ 265412 w 662451"/>
              <a:gd name="connsiteY121" fmla="*/ 366110 h 407828"/>
              <a:gd name="connsiteX122" fmla="*/ 309288 w 662451"/>
              <a:gd name="connsiteY122" fmla="*/ 383373 h 407828"/>
              <a:gd name="connsiteX123" fmla="*/ 298499 w 662451"/>
              <a:gd name="connsiteY123" fmla="*/ 379777 h 407828"/>
              <a:gd name="connsiteX124" fmla="*/ 297060 w 662451"/>
              <a:gd name="connsiteY124" fmla="*/ 359637 h 407828"/>
              <a:gd name="connsiteX125" fmla="*/ 325112 w 662451"/>
              <a:gd name="connsiteY125" fmla="*/ 327270 h 407828"/>
              <a:gd name="connsiteX126" fmla="*/ 335901 w 662451"/>
              <a:gd name="connsiteY126" fmla="*/ 322235 h 407828"/>
              <a:gd name="connsiteX127" fmla="*/ 345252 w 662451"/>
              <a:gd name="connsiteY127" fmla="*/ 325831 h 407828"/>
              <a:gd name="connsiteX128" fmla="*/ 346690 w 662451"/>
              <a:gd name="connsiteY128" fmla="*/ 345971 h 407828"/>
              <a:gd name="connsiteX129" fmla="*/ 318638 w 662451"/>
              <a:gd name="connsiteY129" fmla="*/ 378338 h 407828"/>
              <a:gd name="connsiteX130" fmla="*/ 309288 w 662451"/>
              <a:gd name="connsiteY130" fmla="*/ 383373 h 407828"/>
              <a:gd name="connsiteX131" fmla="*/ 309288 w 662451"/>
              <a:gd name="connsiteY131" fmla="*/ 383373 h 407828"/>
              <a:gd name="connsiteX132" fmla="*/ 467528 w 662451"/>
              <a:gd name="connsiteY132" fmla="*/ 299218 h 407828"/>
              <a:gd name="connsiteX133" fmla="*/ 464651 w 662451"/>
              <a:gd name="connsiteY133" fmla="*/ 299218 h 407828"/>
              <a:gd name="connsiteX134" fmla="*/ 452423 w 662451"/>
              <a:gd name="connsiteY134" fmla="*/ 296341 h 407828"/>
              <a:gd name="connsiteX135" fmla="*/ 453143 w 662451"/>
              <a:gd name="connsiteY135" fmla="*/ 300657 h 407828"/>
              <a:gd name="connsiteX136" fmla="*/ 427249 w 662451"/>
              <a:gd name="connsiteY136" fmla="*/ 331585 h 407828"/>
              <a:gd name="connsiteX137" fmla="*/ 427249 w 662451"/>
              <a:gd name="connsiteY137" fmla="*/ 331585 h 407828"/>
              <a:gd name="connsiteX138" fmla="*/ 420056 w 662451"/>
              <a:gd name="connsiteY138" fmla="*/ 330866 h 407828"/>
              <a:gd name="connsiteX139" fmla="*/ 420056 w 662451"/>
              <a:gd name="connsiteY139" fmla="*/ 331585 h 407828"/>
              <a:gd name="connsiteX140" fmla="*/ 394162 w 662451"/>
              <a:gd name="connsiteY140" fmla="*/ 362514 h 407828"/>
              <a:gd name="connsiteX141" fmla="*/ 394162 w 662451"/>
              <a:gd name="connsiteY141" fmla="*/ 362514 h 407828"/>
              <a:gd name="connsiteX142" fmla="*/ 386969 w 662451"/>
              <a:gd name="connsiteY142" fmla="*/ 361795 h 407828"/>
              <a:gd name="connsiteX143" fmla="*/ 386969 w 662451"/>
              <a:gd name="connsiteY143" fmla="*/ 362514 h 407828"/>
              <a:gd name="connsiteX144" fmla="*/ 361076 w 662451"/>
              <a:gd name="connsiteY144" fmla="*/ 393443 h 407828"/>
              <a:gd name="connsiteX145" fmla="*/ 361076 w 662451"/>
              <a:gd name="connsiteY145" fmla="*/ 393443 h 407828"/>
              <a:gd name="connsiteX146" fmla="*/ 358918 w 662451"/>
              <a:gd name="connsiteY146" fmla="*/ 393443 h 407828"/>
              <a:gd name="connsiteX147" fmla="*/ 343813 w 662451"/>
              <a:gd name="connsiteY147" fmla="*/ 389127 h 407828"/>
              <a:gd name="connsiteX148" fmla="*/ 334462 w 662451"/>
              <a:gd name="connsiteY148" fmla="*/ 381935 h 407828"/>
              <a:gd name="connsiteX149" fmla="*/ 357479 w 662451"/>
              <a:gd name="connsiteY149" fmla="*/ 355321 h 407828"/>
              <a:gd name="connsiteX150" fmla="*/ 354602 w 662451"/>
              <a:gd name="connsiteY150" fmla="*/ 315042 h 407828"/>
              <a:gd name="connsiteX151" fmla="*/ 335901 w 662451"/>
              <a:gd name="connsiteY151" fmla="*/ 307849 h 407828"/>
              <a:gd name="connsiteX152" fmla="*/ 328708 w 662451"/>
              <a:gd name="connsiteY152" fmla="*/ 308569 h 407828"/>
              <a:gd name="connsiteX153" fmla="*/ 317919 w 662451"/>
              <a:gd name="connsiteY153" fmla="*/ 286271 h 407828"/>
              <a:gd name="connsiteX154" fmla="*/ 296341 w 662451"/>
              <a:gd name="connsiteY154" fmla="*/ 278359 h 407828"/>
              <a:gd name="connsiteX155" fmla="*/ 296341 w 662451"/>
              <a:gd name="connsiteY155" fmla="*/ 278359 h 407828"/>
              <a:gd name="connsiteX156" fmla="*/ 286271 w 662451"/>
              <a:gd name="connsiteY156" fmla="*/ 279798 h 407828"/>
              <a:gd name="connsiteX157" fmla="*/ 274043 w 662451"/>
              <a:gd name="connsiteY157" fmla="*/ 253184 h 407828"/>
              <a:gd name="connsiteX158" fmla="*/ 251027 w 662451"/>
              <a:gd name="connsiteY158" fmla="*/ 244553 h 407828"/>
              <a:gd name="connsiteX159" fmla="*/ 251027 w 662451"/>
              <a:gd name="connsiteY159" fmla="*/ 244553 h 407828"/>
              <a:gd name="connsiteX160" fmla="*/ 238080 w 662451"/>
              <a:gd name="connsiteY160" fmla="*/ 246711 h 407828"/>
              <a:gd name="connsiteX161" fmla="*/ 225852 w 662451"/>
              <a:gd name="connsiteY161" fmla="*/ 220817 h 407828"/>
              <a:gd name="connsiteX162" fmla="*/ 202835 w 662451"/>
              <a:gd name="connsiteY162" fmla="*/ 212186 h 407828"/>
              <a:gd name="connsiteX163" fmla="*/ 202835 w 662451"/>
              <a:gd name="connsiteY163" fmla="*/ 212186 h 407828"/>
              <a:gd name="connsiteX164" fmla="*/ 175503 w 662451"/>
              <a:gd name="connsiteY164" fmla="*/ 224413 h 407828"/>
              <a:gd name="connsiteX165" fmla="*/ 156802 w 662451"/>
              <a:gd name="connsiteY165" fmla="*/ 245992 h 407828"/>
              <a:gd name="connsiteX166" fmla="*/ 156082 w 662451"/>
              <a:gd name="connsiteY166" fmla="*/ 245272 h 407828"/>
              <a:gd name="connsiteX167" fmla="*/ 107172 w 662451"/>
              <a:gd name="connsiteY167" fmla="*/ 188450 h 407828"/>
              <a:gd name="connsiteX168" fmla="*/ 169749 w 662451"/>
              <a:gd name="connsiteY168" fmla="*/ 84874 h 407828"/>
              <a:gd name="connsiteX169" fmla="*/ 221536 w 662451"/>
              <a:gd name="connsiteY169" fmla="*/ 95663 h 407828"/>
              <a:gd name="connsiteX170" fmla="*/ 263254 w 662451"/>
              <a:gd name="connsiteY170" fmla="*/ 92786 h 407828"/>
              <a:gd name="connsiteX171" fmla="*/ 267570 w 662451"/>
              <a:gd name="connsiteY171" fmla="*/ 92786 h 407828"/>
              <a:gd name="connsiteX172" fmla="*/ 286271 w 662451"/>
              <a:gd name="connsiteY172" fmla="*/ 95663 h 407828"/>
              <a:gd name="connsiteX173" fmla="*/ 246711 w 662451"/>
              <a:gd name="connsiteY173" fmla="*/ 142416 h 407828"/>
              <a:gd name="connsiteX174" fmla="*/ 235922 w 662451"/>
              <a:gd name="connsiteY174" fmla="*/ 174064 h 407828"/>
              <a:gd name="connsiteX175" fmla="*/ 251027 w 662451"/>
              <a:gd name="connsiteY175" fmla="*/ 203555 h 407828"/>
              <a:gd name="connsiteX176" fmla="*/ 251027 w 662451"/>
              <a:gd name="connsiteY176" fmla="*/ 203555 h 407828"/>
              <a:gd name="connsiteX177" fmla="*/ 251027 w 662451"/>
              <a:gd name="connsiteY177" fmla="*/ 203555 h 407828"/>
              <a:gd name="connsiteX178" fmla="*/ 279078 w 662451"/>
              <a:gd name="connsiteY178" fmla="*/ 213624 h 407828"/>
              <a:gd name="connsiteX179" fmla="*/ 282675 w 662451"/>
              <a:gd name="connsiteY179" fmla="*/ 213624 h 407828"/>
              <a:gd name="connsiteX180" fmla="*/ 312165 w 662451"/>
              <a:gd name="connsiteY180" fmla="*/ 198520 h 407828"/>
              <a:gd name="connsiteX181" fmla="*/ 361076 w 662451"/>
              <a:gd name="connsiteY181" fmla="*/ 142416 h 407828"/>
              <a:gd name="connsiteX182" fmla="*/ 361076 w 662451"/>
              <a:gd name="connsiteY182" fmla="*/ 142416 h 407828"/>
              <a:gd name="connsiteX183" fmla="*/ 368988 w 662451"/>
              <a:gd name="connsiteY183" fmla="*/ 149609 h 407828"/>
              <a:gd name="connsiteX184" fmla="*/ 484791 w 662451"/>
              <a:gd name="connsiteY184" fmla="*/ 248869 h 407828"/>
              <a:gd name="connsiteX185" fmla="*/ 492703 w 662451"/>
              <a:gd name="connsiteY185" fmla="*/ 266851 h 407828"/>
              <a:gd name="connsiteX186" fmla="*/ 492703 w 662451"/>
              <a:gd name="connsiteY186" fmla="*/ 269728 h 407828"/>
              <a:gd name="connsiteX187" fmla="*/ 467528 w 662451"/>
              <a:gd name="connsiteY187" fmla="*/ 299218 h 407828"/>
              <a:gd name="connsiteX188" fmla="*/ 467528 w 662451"/>
              <a:gd name="connsiteY188" fmla="*/ 299218 h 407828"/>
              <a:gd name="connsiteX189" fmla="*/ 502773 w 662451"/>
              <a:gd name="connsiteY189" fmla="*/ 246711 h 407828"/>
              <a:gd name="connsiteX190" fmla="*/ 494860 w 662451"/>
              <a:gd name="connsiteY190" fmla="*/ 237360 h 407828"/>
              <a:gd name="connsiteX191" fmla="*/ 360356 w 662451"/>
              <a:gd name="connsiteY191" fmla="*/ 121557 h 407828"/>
              <a:gd name="connsiteX192" fmla="*/ 301376 w 662451"/>
              <a:gd name="connsiteY192" fmla="*/ 189169 h 407828"/>
              <a:gd name="connsiteX193" fmla="*/ 281955 w 662451"/>
              <a:gd name="connsiteY193" fmla="*/ 199239 h 407828"/>
              <a:gd name="connsiteX194" fmla="*/ 279798 w 662451"/>
              <a:gd name="connsiteY194" fmla="*/ 199239 h 407828"/>
              <a:gd name="connsiteX195" fmla="*/ 260377 w 662451"/>
              <a:gd name="connsiteY195" fmla="*/ 192046 h 407828"/>
              <a:gd name="connsiteX196" fmla="*/ 256781 w 662451"/>
              <a:gd name="connsiteY196" fmla="*/ 152486 h 407828"/>
              <a:gd name="connsiteX197" fmla="*/ 257500 w 662451"/>
              <a:gd name="connsiteY197" fmla="*/ 151767 h 407828"/>
              <a:gd name="connsiteX198" fmla="*/ 314323 w 662451"/>
              <a:gd name="connsiteY198" fmla="*/ 87032 h 407828"/>
              <a:gd name="connsiteX199" fmla="*/ 335901 w 662451"/>
              <a:gd name="connsiteY199" fmla="*/ 77682 h 407828"/>
              <a:gd name="connsiteX200" fmla="*/ 338778 w 662451"/>
              <a:gd name="connsiteY200" fmla="*/ 77682 h 407828"/>
              <a:gd name="connsiteX201" fmla="*/ 342374 w 662451"/>
              <a:gd name="connsiteY201" fmla="*/ 78401 h 407828"/>
              <a:gd name="connsiteX202" fmla="*/ 440915 w 662451"/>
              <a:gd name="connsiteY202" fmla="*/ 96383 h 407828"/>
              <a:gd name="connsiteX203" fmla="*/ 493422 w 662451"/>
              <a:gd name="connsiteY203" fmla="*/ 87032 h 407828"/>
              <a:gd name="connsiteX204" fmla="*/ 535140 w 662451"/>
              <a:gd name="connsiteY204" fmla="*/ 154644 h 407828"/>
              <a:gd name="connsiteX205" fmla="*/ 554560 w 662451"/>
              <a:gd name="connsiteY205" fmla="*/ 187011 h 407828"/>
              <a:gd name="connsiteX206" fmla="*/ 502773 w 662451"/>
              <a:gd name="connsiteY206" fmla="*/ 246711 h 407828"/>
              <a:gd name="connsiteX207" fmla="*/ 588366 w 662451"/>
              <a:gd name="connsiteY207" fmla="*/ 188450 h 407828"/>
              <a:gd name="connsiteX208" fmla="*/ 581173 w 662451"/>
              <a:gd name="connsiteY208" fmla="*/ 190608 h 407828"/>
              <a:gd name="connsiteX209" fmla="*/ 571104 w 662451"/>
              <a:gd name="connsiteY209" fmla="*/ 186292 h 407828"/>
              <a:gd name="connsiteX210" fmla="*/ 566788 w 662451"/>
              <a:gd name="connsiteY210" fmla="*/ 179099 h 407828"/>
              <a:gd name="connsiteX211" fmla="*/ 547368 w 662451"/>
              <a:gd name="connsiteY211" fmla="*/ 147451 h 407828"/>
              <a:gd name="connsiteX212" fmla="*/ 502053 w 662451"/>
              <a:gd name="connsiteY212" fmla="*/ 72647 h 407828"/>
              <a:gd name="connsiteX213" fmla="*/ 505650 w 662451"/>
              <a:gd name="connsiteY213" fmla="*/ 53946 h 407828"/>
              <a:gd name="connsiteX214" fmla="*/ 507088 w 662451"/>
              <a:gd name="connsiteY214" fmla="*/ 53226 h 407828"/>
              <a:gd name="connsiteX215" fmla="*/ 562472 w 662451"/>
              <a:gd name="connsiteY215" fmla="*/ 19420 h 407828"/>
              <a:gd name="connsiteX216" fmla="*/ 643750 w 662451"/>
              <a:gd name="connsiteY216" fmla="*/ 154644 h 407828"/>
              <a:gd name="connsiteX217" fmla="*/ 588366 w 662451"/>
              <a:gd name="connsiteY217" fmla="*/ 188450 h 4078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662451" h="407828">
                <a:moveTo>
                  <a:pt x="655978" y="147451"/>
                </a:moveTo>
                <a:lnTo>
                  <a:pt x="574700" y="12228"/>
                </a:lnTo>
                <a:lnTo>
                  <a:pt x="567507" y="0"/>
                </a:lnTo>
                <a:lnTo>
                  <a:pt x="555280" y="7912"/>
                </a:lnTo>
                <a:lnTo>
                  <a:pt x="500615" y="41718"/>
                </a:lnTo>
                <a:cubicBezTo>
                  <a:pt x="494141" y="45314"/>
                  <a:pt x="489106" y="51788"/>
                  <a:pt x="486948" y="58980"/>
                </a:cubicBezTo>
                <a:cubicBezTo>
                  <a:pt x="485510" y="64015"/>
                  <a:pt x="485510" y="69770"/>
                  <a:pt x="487668" y="74804"/>
                </a:cubicBezTo>
                <a:cubicBezTo>
                  <a:pt x="472563" y="79839"/>
                  <a:pt x="457458" y="82717"/>
                  <a:pt x="441634" y="82717"/>
                </a:cubicBezTo>
                <a:cubicBezTo>
                  <a:pt x="420056" y="81997"/>
                  <a:pt x="398478" y="78401"/>
                  <a:pt x="377619" y="71927"/>
                </a:cubicBezTo>
                <a:cubicBezTo>
                  <a:pt x="367549" y="69050"/>
                  <a:pt x="356760" y="66892"/>
                  <a:pt x="345971" y="64735"/>
                </a:cubicBezTo>
                <a:lnTo>
                  <a:pt x="344532" y="64735"/>
                </a:lnTo>
                <a:lnTo>
                  <a:pt x="344532" y="64735"/>
                </a:lnTo>
                <a:cubicBezTo>
                  <a:pt x="343813" y="64735"/>
                  <a:pt x="343094" y="64735"/>
                  <a:pt x="343094" y="64735"/>
                </a:cubicBezTo>
                <a:lnTo>
                  <a:pt x="341655" y="64735"/>
                </a:lnTo>
                <a:lnTo>
                  <a:pt x="340217" y="64735"/>
                </a:lnTo>
                <a:cubicBezTo>
                  <a:pt x="338778" y="64735"/>
                  <a:pt x="338059" y="64735"/>
                  <a:pt x="336620" y="64735"/>
                </a:cubicBezTo>
                <a:lnTo>
                  <a:pt x="336620" y="64735"/>
                </a:lnTo>
                <a:cubicBezTo>
                  <a:pt x="324393" y="64735"/>
                  <a:pt x="312165" y="69770"/>
                  <a:pt x="304253" y="79120"/>
                </a:cubicBezTo>
                <a:lnTo>
                  <a:pt x="298499" y="85594"/>
                </a:lnTo>
                <a:cubicBezTo>
                  <a:pt x="289148" y="81997"/>
                  <a:pt x="279078" y="79839"/>
                  <a:pt x="269008" y="79839"/>
                </a:cubicBezTo>
                <a:cubicBezTo>
                  <a:pt x="266851" y="79839"/>
                  <a:pt x="265412" y="79839"/>
                  <a:pt x="263254" y="79839"/>
                </a:cubicBezTo>
                <a:cubicBezTo>
                  <a:pt x="258939" y="79839"/>
                  <a:pt x="255342" y="80559"/>
                  <a:pt x="251027" y="80559"/>
                </a:cubicBezTo>
                <a:cubicBezTo>
                  <a:pt x="241676" y="81278"/>
                  <a:pt x="232326" y="81997"/>
                  <a:pt x="222975" y="81997"/>
                </a:cubicBezTo>
                <a:cubicBezTo>
                  <a:pt x="207151" y="82717"/>
                  <a:pt x="191327" y="79120"/>
                  <a:pt x="176941" y="72647"/>
                </a:cubicBezTo>
                <a:cubicBezTo>
                  <a:pt x="177661" y="68331"/>
                  <a:pt x="177661" y="64015"/>
                  <a:pt x="176941" y="58980"/>
                </a:cubicBezTo>
                <a:cubicBezTo>
                  <a:pt x="174784" y="51788"/>
                  <a:pt x="169749" y="45314"/>
                  <a:pt x="163275" y="41718"/>
                </a:cubicBezTo>
                <a:lnTo>
                  <a:pt x="109330" y="7912"/>
                </a:lnTo>
                <a:lnTo>
                  <a:pt x="97102" y="0"/>
                </a:lnTo>
                <a:lnTo>
                  <a:pt x="89909" y="12228"/>
                </a:lnTo>
                <a:lnTo>
                  <a:pt x="7193" y="147451"/>
                </a:lnTo>
                <a:lnTo>
                  <a:pt x="0" y="159679"/>
                </a:lnTo>
                <a:lnTo>
                  <a:pt x="12228" y="166872"/>
                </a:lnTo>
                <a:lnTo>
                  <a:pt x="67612" y="200677"/>
                </a:lnTo>
                <a:cubicBezTo>
                  <a:pt x="77682" y="207151"/>
                  <a:pt x="89909" y="206432"/>
                  <a:pt x="99260" y="199239"/>
                </a:cubicBezTo>
                <a:lnTo>
                  <a:pt x="146013" y="253904"/>
                </a:lnTo>
                <a:lnTo>
                  <a:pt x="146732" y="255342"/>
                </a:lnTo>
                <a:lnTo>
                  <a:pt x="148170" y="256062"/>
                </a:lnTo>
                <a:lnTo>
                  <a:pt x="148170" y="256062"/>
                </a:lnTo>
                <a:lnTo>
                  <a:pt x="138101" y="267570"/>
                </a:lnTo>
                <a:cubicBezTo>
                  <a:pt x="125154" y="282675"/>
                  <a:pt x="126592" y="304972"/>
                  <a:pt x="140978" y="317919"/>
                </a:cubicBezTo>
                <a:lnTo>
                  <a:pt x="140978" y="317919"/>
                </a:lnTo>
                <a:lnTo>
                  <a:pt x="140978" y="317919"/>
                </a:lnTo>
                <a:cubicBezTo>
                  <a:pt x="147451" y="323673"/>
                  <a:pt x="155363" y="326550"/>
                  <a:pt x="163994" y="326550"/>
                </a:cubicBezTo>
                <a:cubicBezTo>
                  <a:pt x="165433" y="326550"/>
                  <a:pt x="166872" y="326550"/>
                  <a:pt x="168310" y="326550"/>
                </a:cubicBezTo>
                <a:cubicBezTo>
                  <a:pt x="173345" y="325831"/>
                  <a:pt x="177661" y="324393"/>
                  <a:pt x="181976" y="321515"/>
                </a:cubicBezTo>
                <a:cubicBezTo>
                  <a:pt x="182696" y="330147"/>
                  <a:pt x="187011" y="338778"/>
                  <a:pt x="193485" y="344532"/>
                </a:cubicBezTo>
                <a:lnTo>
                  <a:pt x="193485" y="344532"/>
                </a:lnTo>
                <a:lnTo>
                  <a:pt x="193485" y="344532"/>
                </a:lnTo>
                <a:cubicBezTo>
                  <a:pt x="199958" y="350286"/>
                  <a:pt x="207870" y="353164"/>
                  <a:pt x="216501" y="353164"/>
                </a:cubicBezTo>
                <a:cubicBezTo>
                  <a:pt x="217221" y="353164"/>
                  <a:pt x="218659" y="353164"/>
                  <a:pt x="219379" y="353164"/>
                </a:cubicBezTo>
                <a:cubicBezTo>
                  <a:pt x="222975" y="353164"/>
                  <a:pt x="226571" y="352444"/>
                  <a:pt x="230168" y="351006"/>
                </a:cubicBezTo>
                <a:cubicBezTo>
                  <a:pt x="230887" y="358918"/>
                  <a:pt x="234483" y="366830"/>
                  <a:pt x="240957" y="371865"/>
                </a:cubicBezTo>
                <a:lnTo>
                  <a:pt x="240957" y="371865"/>
                </a:lnTo>
                <a:lnTo>
                  <a:pt x="240957" y="371865"/>
                </a:lnTo>
                <a:cubicBezTo>
                  <a:pt x="246711" y="376900"/>
                  <a:pt x="253904" y="379777"/>
                  <a:pt x="261096" y="379777"/>
                </a:cubicBezTo>
                <a:cubicBezTo>
                  <a:pt x="262535" y="379777"/>
                  <a:pt x="263254" y="379777"/>
                  <a:pt x="264693" y="379777"/>
                </a:cubicBezTo>
                <a:cubicBezTo>
                  <a:pt x="269728" y="379777"/>
                  <a:pt x="274043" y="377619"/>
                  <a:pt x="278359" y="375461"/>
                </a:cubicBezTo>
                <a:cubicBezTo>
                  <a:pt x="279798" y="380496"/>
                  <a:pt x="282675" y="385531"/>
                  <a:pt x="286990" y="389127"/>
                </a:cubicBezTo>
                <a:cubicBezTo>
                  <a:pt x="292745" y="394162"/>
                  <a:pt x="299937" y="397039"/>
                  <a:pt x="307849" y="396320"/>
                </a:cubicBezTo>
                <a:lnTo>
                  <a:pt x="309288" y="396320"/>
                </a:lnTo>
                <a:lnTo>
                  <a:pt x="310726" y="396320"/>
                </a:lnTo>
                <a:cubicBezTo>
                  <a:pt x="315042" y="395601"/>
                  <a:pt x="319358" y="393443"/>
                  <a:pt x="322954" y="391285"/>
                </a:cubicBezTo>
                <a:lnTo>
                  <a:pt x="323673" y="392004"/>
                </a:lnTo>
                <a:lnTo>
                  <a:pt x="333743" y="399916"/>
                </a:lnTo>
                <a:lnTo>
                  <a:pt x="334462" y="400636"/>
                </a:lnTo>
                <a:lnTo>
                  <a:pt x="335182" y="401355"/>
                </a:lnTo>
                <a:cubicBezTo>
                  <a:pt x="341655" y="405671"/>
                  <a:pt x="349567" y="407828"/>
                  <a:pt x="356760" y="407828"/>
                </a:cubicBezTo>
                <a:cubicBezTo>
                  <a:pt x="358198" y="407828"/>
                  <a:pt x="359637" y="407828"/>
                  <a:pt x="361076" y="407828"/>
                </a:cubicBezTo>
                <a:cubicBezTo>
                  <a:pt x="379057" y="406390"/>
                  <a:pt x="393443" y="393443"/>
                  <a:pt x="398478" y="376180"/>
                </a:cubicBezTo>
                <a:cubicBezTo>
                  <a:pt x="414302" y="373303"/>
                  <a:pt x="427249" y="361076"/>
                  <a:pt x="431564" y="345251"/>
                </a:cubicBezTo>
                <a:cubicBezTo>
                  <a:pt x="448108" y="341655"/>
                  <a:pt x="461055" y="329427"/>
                  <a:pt x="464651" y="313603"/>
                </a:cubicBezTo>
                <a:cubicBezTo>
                  <a:pt x="465370" y="313603"/>
                  <a:pt x="466809" y="313603"/>
                  <a:pt x="467528" y="313603"/>
                </a:cubicBezTo>
                <a:cubicBezTo>
                  <a:pt x="490545" y="311446"/>
                  <a:pt x="507807" y="291306"/>
                  <a:pt x="506369" y="268289"/>
                </a:cubicBezTo>
                <a:cubicBezTo>
                  <a:pt x="506369" y="266851"/>
                  <a:pt x="506369" y="264693"/>
                  <a:pt x="506369" y="263254"/>
                </a:cubicBezTo>
                <a:lnTo>
                  <a:pt x="512123" y="256062"/>
                </a:lnTo>
                <a:lnTo>
                  <a:pt x="561753" y="198520"/>
                </a:lnTo>
                <a:cubicBezTo>
                  <a:pt x="571104" y="206432"/>
                  <a:pt x="584050" y="206432"/>
                  <a:pt x="594840" y="199958"/>
                </a:cubicBezTo>
                <a:lnTo>
                  <a:pt x="650224" y="166152"/>
                </a:lnTo>
                <a:lnTo>
                  <a:pt x="662451" y="158960"/>
                </a:lnTo>
                <a:lnTo>
                  <a:pt x="655978" y="147451"/>
                </a:lnTo>
                <a:close/>
                <a:moveTo>
                  <a:pt x="74804" y="188450"/>
                </a:moveTo>
                <a:lnTo>
                  <a:pt x="19420" y="154644"/>
                </a:lnTo>
                <a:lnTo>
                  <a:pt x="101418" y="19420"/>
                </a:lnTo>
                <a:lnTo>
                  <a:pt x="156082" y="53226"/>
                </a:lnTo>
                <a:cubicBezTo>
                  <a:pt x="161837" y="56103"/>
                  <a:pt x="164714" y="63296"/>
                  <a:pt x="162556" y="69050"/>
                </a:cubicBezTo>
                <a:lnTo>
                  <a:pt x="158240" y="76243"/>
                </a:lnTo>
                <a:lnTo>
                  <a:pt x="95663" y="179818"/>
                </a:lnTo>
                <a:lnTo>
                  <a:pt x="91348" y="186292"/>
                </a:lnTo>
                <a:cubicBezTo>
                  <a:pt x="89190" y="188450"/>
                  <a:pt x="85594" y="189888"/>
                  <a:pt x="81997" y="189888"/>
                </a:cubicBezTo>
                <a:cubicBezTo>
                  <a:pt x="79839" y="190608"/>
                  <a:pt x="76962" y="189888"/>
                  <a:pt x="74804" y="188450"/>
                </a:cubicBezTo>
                <a:close/>
                <a:moveTo>
                  <a:pt x="166872" y="312165"/>
                </a:moveTo>
                <a:cubicBezTo>
                  <a:pt x="166152" y="312165"/>
                  <a:pt x="165433" y="312165"/>
                  <a:pt x="164714" y="312165"/>
                </a:cubicBezTo>
                <a:cubicBezTo>
                  <a:pt x="153205" y="312165"/>
                  <a:pt x="143855" y="302095"/>
                  <a:pt x="143855" y="290587"/>
                </a:cubicBezTo>
                <a:cubicBezTo>
                  <a:pt x="143855" y="285552"/>
                  <a:pt x="146013" y="280517"/>
                  <a:pt x="148890" y="276920"/>
                </a:cubicBezTo>
                <a:lnTo>
                  <a:pt x="187011" y="233764"/>
                </a:lnTo>
                <a:cubicBezTo>
                  <a:pt x="191327" y="229448"/>
                  <a:pt x="197081" y="226571"/>
                  <a:pt x="203555" y="226571"/>
                </a:cubicBezTo>
                <a:cubicBezTo>
                  <a:pt x="208589" y="226571"/>
                  <a:pt x="213624" y="228729"/>
                  <a:pt x="217221" y="231606"/>
                </a:cubicBezTo>
                <a:cubicBezTo>
                  <a:pt x="225852" y="239518"/>
                  <a:pt x="227291" y="253184"/>
                  <a:pt x="219379" y="261816"/>
                </a:cubicBezTo>
                <a:lnTo>
                  <a:pt x="181257" y="304972"/>
                </a:lnTo>
                <a:cubicBezTo>
                  <a:pt x="177661" y="309288"/>
                  <a:pt x="172626" y="311446"/>
                  <a:pt x="166872" y="312165"/>
                </a:cubicBezTo>
                <a:close/>
                <a:moveTo>
                  <a:pt x="220098" y="339497"/>
                </a:moveTo>
                <a:cubicBezTo>
                  <a:pt x="219379" y="339497"/>
                  <a:pt x="218659" y="339497"/>
                  <a:pt x="217940" y="339497"/>
                </a:cubicBezTo>
                <a:cubicBezTo>
                  <a:pt x="206432" y="339497"/>
                  <a:pt x="197081" y="329427"/>
                  <a:pt x="197081" y="317919"/>
                </a:cubicBezTo>
                <a:cubicBezTo>
                  <a:pt x="197081" y="312884"/>
                  <a:pt x="199239" y="307849"/>
                  <a:pt x="202116" y="304253"/>
                </a:cubicBezTo>
                <a:lnTo>
                  <a:pt x="235203" y="266131"/>
                </a:lnTo>
                <a:cubicBezTo>
                  <a:pt x="239518" y="261816"/>
                  <a:pt x="245272" y="258939"/>
                  <a:pt x="251746" y="258939"/>
                </a:cubicBezTo>
                <a:cubicBezTo>
                  <a:pt x="256781" y="258939"/>
                  <a:pt x="261816" y="261096"/>
                  <a:pt x="265412" y="263974"/>
                </a:cubicBezTo>
                <a:cubicBezTo>
                  <a:pt x="274043" y="271886"/>
                  <a:pt x="275482" y="285552"/>
                  <a:pt x="267570" y="294183"/>
                </a:cubicBezTo>
                <a:lnTo>
                  <a:pt x="234483" y="332305"/>
                </a:lnTo>
                <a:cubicBezTo>
                  <a:pt x="230887" y="336620"/>
                  <a:pt x="225852" y="339497"/>
                  <a:pt x="220098" y="339497"/>
                </a:cubicBezTo>
                <a:lnTo>
                  <a:pt x="220098" y="339497"/>
                </a:lnTo>
                <a:close/>
                <a:moveTo>
                  <a:pt x="265412" y="366110"/>
                </a:moveTo>
                <a:cubicBezTo>
                  <a:pt x="264693" y="366110"/>
                  <a:pt x="263974" y="366110"/>
                  <a:pt x="263254" y="366110"/>
                </a:cubicBezTo>
                <a:cubicBezTo>
                  <a:pt x="258939" y="366110"/>
                  <a:pt x="255342" y="364672"/>
                  <a:pt x="251746" y="361795"/>
                </a:cubicBezTo>
                <a:cubicBezTo>
                  <a:pt x="244553" y="355321"/>
                  <a:pt x="243834" y="343813"/>
                  <a:pt x="250307" y="336620"/>
                </a:cubicBezTo>
                <a:lnTo>
                  <a:pt x="283394" y="298499"/>
                </a:lnTo>
                <a:cubicBezTo>
                  <a:pt x="286990" y="294902"/>
                  <a:pt x="292025" y="292745"/>
                  <a:pt x="297060" y="292745"/>
                </a:cubicBezTo>
                <a:cubicBezTo>
                  <a:pt x="301376" y="292745"/>
                  <a:pt x="305691" y="294183"/>
                  <a:pt x="308569" y="297060"/>
                </a:cubicBezTo>
                <a:cubicBezTo>
                  <a:pt x="315761" y="303534"/>
                  <a:pt x="316481" y="315042"/>
                  <a:pt x="310007" y="322235"/>
                </a:cubicBezTo>
                <a:lnTo>
                  <a:pt x="276921" y="360356"/>
                </a:lnTo>
                <a:cubicBezTo>
                  <a:pt x="274043" y="363953"/>
                  <a:pt x="269728" y="366110"/>
                  <a:pt x="265412" y="366110"/>
                </a:cubicBezTo>
                <a:lnTo>
                  <a:pt x="265412" y="366110"/>
                </a:lnTo>
                <a:close/>
                <a:moveTo>
                  <a:pt x="309288" y="383373"/>
                </a:moveTo>
                <a:cubicBezTo>
                  <a:pt x="305691" y="383373"/>
                  <a:pt x="301376" y="382654"/>
                  <a:pt x="298499" y="379777"/>
                </a:cubicBezTo>
                <a:cubicBezTo>
                  <a:pt x="292745" y="374742"/>
                  <a:pt x="292025" y="365391"/>
                  <a:pt x="297060" y="359637"/>
                </a:cubicBezTo>
                <a:lnTo>
                  <a:pt x="325112" y="327270"/>
                </a:lnTo>
                <a:cubicBezTo>
                  <a:pt x="327989" y="324393"/>
                  <a:pt x="331585" y="322235"/>
                  <a:pt x="335901" y="322235"/>
                </a:cubicBezTo>
                <a:cubicBezTo>
                  <a:pt x="339497" y="322235"/>
                  <a:pt x="342374" y="323673"/>
                  <a:pt x="345252" y="325831"/>
                </a:cubicBezTo>
                <a:cubicBezTo>
                  <a:pt x="351006" y="330866"/>
                  <a:pt x="351725" y="340217"/>
                  <a:pt x="346690" y="345971"/>
                </a:cubicBezTo>
                <a:lnTo>
                  <a:pt x="318638" y="378338"/>
                </a:lnTo>
                <a:cubicBezTo>
                  <a:pt x="316481" y="381215"/>
                  <a:pt x="312884" y="382654"/>
                  <a:pt x="309288" y="383373"/>
                </a:cubicBezTo>
                <a:lnTo>
                  <a:pt x="309288" y="383373"/>
                </a:lnTo>
                <a:close/>
                <a:moveTo>
                  <a:pt x="467528" y="299218"/>
                </a:moveTo>
                <a:cubicBezTo>
                  <a:pt x="466809" y="299218"/>
                  <a:pt x="465370" y="299218"/>
                  <a:pt x="464651" y="299218"/>
                </a:cubicBezTo>
                <a:cubicBezTo>
                  <a:pt x="460335" y="299218"/>
                  <a:pt x="456020" y="297779"/>
                  <a:pt x="452423" y="296341"/>
                </a:cubicBezTo>
                <a:cubicBezTo>
                  <a:pt x="452423" y="297779"/>
                  <a:pt x="453143" y="299218"/>
                  <a:pt x="453143" y="300657"/>
                </a:cubicBezTo>
                <a:cubicBezTo>
                  <a:pt x="454581" y="316481"/>
                  <a:pt x="443073" y="330147"/>
                  <a:pt x="427249" y="331585"/>
                </a:cubicBezTo>
                <a:cubicBezTo>
                  <a:pt x="427249" y="331585"/>
                  <a:pt x="427249" y="331585"/>
                  <a:pt x="427249" y="331585"/>
                </a:cubicBezTo>
                <a:cubicBezTo>
                  <a:pt x="425091" y="331585"/>
                  <a:pt x="422214" y="331585"/>
                  <a:pt x="420056" y="330866"/>
                </a:cubicBezTo>
                <a:lnTo>
                  <a:pt x="420056" y="331585"/>
                </a:lnTo>
                <a:cubicBezTo>
                  <a:pt x="421495" y="347409"/>
                  <a:pt x="409986" y="361076"/>
                  <a:pt x="394162" y="362514"/>
                </a:cubicBezTo>
                <a:cubicBezTo>
                  <a:pt x="394162" y="362514"/>
                  <a:pt x="394162" y="362514"/>
                  <a:pt x="394162" y="362514"/>
                </a:cubicBezTo>
                <a:cubicBezTo>
                  <a:pt x="392004" y="362514"/>
                  <a:pt x="389127" y="362514"/>
                  <a:pt x="386969" y="361795"/>
                </a:cubicBezTo>
                <a:lnTo>
                  <a:pt x="386969" y="362514"/>
                </a:lnTo>
                <a:cubicBezTo>
                  <a:pt x="388408" y="378338"/>
                  <a:pt x="376900" y="392004"/>
                  <a:pt x="361076" y="393443"/>
                </a:cubicBezTo>
                <a:cubicBezTo>
                  <a:pt x="361076" y="393443"/>
                  <a:pt x="361076" y="393443"/>
                  <a:pt x="361076" y="393443"/>
                </a:cubicBezTo>
                <a:cubicBezTo>
                  <a:pt x="360356" y="393443"/>
                  <a:pt x="359637" y="393443"/>
                  <a:pt x="358918" y="393443"/>
                </a:cubicBezTo>
                <a:cubicBezTo>
                  <a:pt x="353883" y="393443"/>
                  <a:pt x="348848" y="392004"/>
                  <a:pt x="343813" y="389127"/>
                </a:cubicBezTo>
                <a:lnTo>
                  <a:pt x="334462" y="381935"/>
                </a:lnTo>
                <a:lnTo>
                  <a:pt x="357479" y="355321"/>
                </a:lnTo>
                <a:cubicBezTo>
                  <a:pt x="367549" y="343094"/>
                  <a:pt x="366110" y="325112"/>
                  <a:pt x="354602" y="315042"/>
                </a:cubicBezTo>
                <a:cubicBezTo>
                  <a:pt x="349567" y="310726"/>
                  <a:pt x="343094" y="307849"/>
                  <a:pt x="335901" y="307849"/>
                </a:cubicBezTo>
                <a:cubicBezTo>
                  <a:pt x="333743" y="307849"/>
                  <a:pt x="330866" y="307849"/>
                  <a:pt x="328708" y="308569"/>
                </a:cubicBezTo>
                <a:cubicBezTo>
                  <a:pt x="327989" y="299937"/>
                  <a:pt x="324393" y="292025"/>
                  <a:pt x="317919" y="286271"/>
                </a:cubicBezTo>
                <a:cubicBezTo>
                  <a:pt x="312165" y="281236"/>
                  <a:pt x="304253" y="278359"/>
                  <a:pt x="296341" y="278359"/>
                </a:cubicBezTo>
                <a:lnTo>
                  <a:pt x="296341" y="278359"/>
                </a:lnTo>
                <a:cubicBezTo>
                  <a:pt x="292745" y="278359"/>
                  <a:pt x="289867" y="279078"/>
                  <a:pt x="286271" y="279798"/>
                </a:cubicBezTo>
                <a:cubicBezTo>
                  <a:pt x="286271" y="269728"/>
                  <a:pt x="281955" y="260377"/>
                  <a:pt x="274043" y="253184"/>
                </a:cubicBezTo>
                <a:cubicBezTo>
                  <a:pt x="267570" y="247430"/>
                  <a:pt x="259658" y="243834"/>
                  <a:pt x="251027" y="244553"/>
                </a:cubicBezTo>
                <a:lnTo>
                  <a:pt x="251027" y="244553"/>
                </a:lnTo>
                <a:cubicBezTo>
                  <a:pt x="246711" y="244553"/>
                  <a:pt x="242395" y="245272"/>
                  <a:pt x="238080" y="246711"/>
                </a:cubicBezTo>
                <a:cubicBezTo>
                  <a:pt x="237360" y="236641"/>
                  <a:pt x="233045" y="227291"/>
                  <a:pt x="225852" y="220817"/>
                </a:cubicBezTo>
                <a:cubicBezTo>
                  <a:pt x="219379" y="215063"/>
                  <a:pt x="211467" y="211467"/>
                  <a:pt x="202835" y="212186"/>
                </a:cubicBezTo>
                <a:lnTo>
                  <a:pt x="202835" y="212186"/>
                </a:lnTo>
                <a:cubicBezTo>
                  <a:pt x="192765" y="212186"/>
                  <a:pt x="182696" y="216501"/>
                  <a:pt x="175503" y="224413"/>
                </a:cubicBezTo>
                <a:lnTo>
                  <a:pt x="156802" y="245992"/>
                </a:lnTo>
                <a:lnTo>
                  <a:pt x="156082" y="245272"/>
                </a:lnTo>
                <a:lnTo>
                  <a:pt x="107172" y="188450"/>
                </a:lnTo>
                <a:lnTo>
                  <a:pt x="169749" y="84874"/>
                </a:lnTo>
                <a:cubicBezTo>
                  <a:pt x="185573" y="92786"/>
                  <a:pt x="203555" y="96383"/>
                  <a:pt x="221536" y="95663"/>
                </a:cubicBezTo>
                <a:cubicBezTo>
                  <a:pt x="235922" y="95663"/>
                  <a:pt x="250307" y="94225"/>
                  <a:pt x="263254" y="92786"/>
                </a:cubicBezTo>
                <a:cubicBezTo>
                  <a:pt x="264693" y="92786"/>
                  <a:pt x="266131" y="92786"/>
                  <a:pt x="267570" y="92786"/>
                </a:cubicBezTo>
                <a:cubicBezTo>
                  <a:pt x="274043" y="92786"/>
                  <a:pt x="280517" y="93506"/>
                  <a:pt x="286271" y="95663"/>
                </a:cubicBezTo>
                <a:lnTo>
                  <a:pt x="246711" y="142416"/>
                </a:lnTo>
                <a:cubicBezTo>
                  <a:pt x="238799" y="151048"/>
                  <a:pt x="235203" y="162556"/>
                  <a:pt x="235922" y="174064"/>
                </a:cubicBezTo>
                <a:cubicBezTo>
                  <a:pt x="236641" y="185573"/>
                  <a:pt x="242395" y="195643"/>
                  <a:pt x="251027" y="203555"/>
                </a:cubicBezTo>
                <a:lnTo>
                  <a:pt x="251027" y="203555"/>
                </a:lnTo>
                <a:lnTo>
                  <a:pt x="251027" y="203555"/>
                </a:lnTo>
                <a:cubicBezTo>
                  <a:pt x="258939" y="210028"/>
                  <a:pt x="269008" y="213624"/>
                  <a:pt x="279078" y="213624"/>
                </a:cubicBezTo>
                <a:cubicBezTo>
                  <a:pt x="280517" y="213624"/>
                  <a:pt x="281236" y="213624"/>
                  <a:pt x="282675" y="213624"/>
                </a:cubicBezTo>
                <a:cubicBezTo>
                  <a:pt x="294183" y="212905"/>
                  <a:pt x="304972" y="207151"/>
                  <a:pt x="312165" y="198520"/>
                </a:cubicBezTo>
                <a:lnTo>
                  <a:pt x="361076" y="142416"/>
                </a:lnTo>
                <a:lnTo>
                  <a:pt x="361076" y="142416"/>
                </a:lnTo>
                <a:lnTo>
                  <a:pt x="368988" y="149609"/>
                </a:lnTo>
                <a:lnTo>
                  <a:pt x="484791" y="248869"/>
                </a:lnTo>
                <a:cubicBezTo>
                  <a:pt x="489826" y="253184"/>
                  <a:pt x="492703" y="260377"/>
                  <a:pt x="492703" y="266851"/>
                </a:cubicBezTo>
                <a:cubicBezTo>
                  <a:pt x="492703" y="267570"/>
                  <a:pt x="492703" y="269728"/>
                  <a:pt x="492703" y="269728"/>
                </a:cubicBezTo>
                <a:cubicBezTo>
                  <a:pt x="494141" y="284832"/>
                  <a:pt x="482633" y="297779"/>
                  <a:pt x="467528" y="299218"/>
                </a:cubicBezTo>
                <a:cubicBezTo>
                  <a:pt x="467528" y="299218"/>
                  <a:pt x="467528" y="299218"/>
                  <a:pt x="467528" y="299218"/>
                </a:cubicBezTo>
                <a:close/>
                <a:moveTo>
                  <a:pt x="502773" y="246711"/>
                </a:moveTo>
                <a:cubicBezTo>
                  <a:pt x="500615" y="243115"/>
                  <a:pt x="497738" y="240237"/>
                  <a:pt x="494860" y="237360"/>
                </a:cubicBezTo>
                <a:lnTo>
                  <a:pt x="360356" y="121557"/>
                </a:lnTo>
                <a:lnTo>
                  <a:pt x="301376" y="189169"/>
                </a:lnTo>
                <a:cubicBezTo>
                  <a:pt x="296341" y="194923"/>
                  <a:pt x="289867" y="198520"/>
                  <a:pt x="281955" y="199239"/>
                </a:cubicBezTo>
                <a:cubicBezTo>
                  <a:pt x="281236" y="199239"/>
                  <a:pt x="280517" y="199239"/>
                  <a:pt x="279798" y="199239"/>
                </a:cubicBezTo>
                <a:cubicBezTo>
                  <a:pt x="272605" y="199239"/>
                  <a:pt x="266131" y="196362"/>
                  <a:pt x="260377" y="192046"/>
                </a:cubicBezTo>
                <a:cubicBezTo>
                  <a:pt x="248150" y="181976"/>
                  <a:pt x="246711" y="164714"/>
                  <a:pt x="256781" y="152486"/>
                </a:cubicBezTo>
                <a:cubicBezTo>
                  <a:pt x="256781" y="152486"/>
                  <a:pt x="257500" y="151767"/>
                  <a:pt x="257500" y="151767"/>
                </a:cubicBezTo>
                <a:lnTo>
                  <a:pt x="314323" y="87032"/>
                </a:lnTo>
                <a:cubicBezTo>
                  <a:pt x="320077" y="80559"/>
                  <a:pt x="327989" y="77682"/>
                  <a:pt x="335901" y="77682"/>
                </a:cubicBezTo>
                <a:cubicBezTo>
                  <a:pt x="336620" y="77682"/>
                  <a:pt x="337339" y="77682"/>
                  <a:pt x="338778" y="77682"/>
                </a:cubicBezTo>
                <a:cubicBezTo>
                  <a:pt x="340217" y="77682"/>
                  <a:pt x="340936" y="78401"/>
                  <a:pt x="342374" y="78401"/>
                </a:cubicBezTo>
                <a:cubicBezTo>
                  <a:pt x="375461" y="84874"/>
                  <a:pt x="405671" y="96383"/>
                  <a:pt x="440915" y="96383"/>
                </a:cubicBezTo>
                <a:cubicBezTo>
                  <a:pt x="458897" y="96383"/>
                  <a:pt x="476879" y="93506"/>
                  <a:pt x="493422" y="87032"/>
                </a:cubicBezTo>
                <a:lnTo>
                  <a:pt x="535140" y="154644"/>
                </a:lnTo>
                <a:lnTo>
                  <a:pt x="554560" y="187011"/>
                </a:lnTo>
                <a:lnTo>
                  <a:pt x="502773" y="246711"/>
                </a:lnTo>
                <a:close/>
                <a:moveTo>
                  <a:pt x="588366" y="188450"/>
                </a:moveTo>
                <a:cubicBezTo>
                  <a:pt x="586208" y="189888"/>
                  <a:pt x="583331" y="190608"/>
                  <a:pt x="581173" y="190608"/>
                </a:cubicBezTo>
                <a:cubicBezTo>
                  <a:pt x="577577" y="190608"/>
                  <a:pt x="573981" y="189169"/>
                  <a:pt x="571104" y="186292"/>
                </a:cubicBezTo>
                <a:lnTo>
                  <a:pt x="566788" y="179099"/>
                </a:lnTo>
                <a:lnTo>
                  <a:pt x="547368" y="147451"/>
                </a:lnTo>
                <a:lnTo>
                  <a:pt x="502053" y="72647"/>
                </a:lnTo>
                <a:cubicBezTo>
                  <a:pt x="497738" y="66173"/>
                  <a:pt x="499895" y="58261"/>
                  <a:pt x="505650" y="53946"/>
                </a:cubicBezTo>
                <a:cubicBezTo>
                  <a:pt x="506369" y="53946"/>
                  <a:pt x="506369" y="53226"/>
                  <a:pt x="507088" y="53226"/>
                </a:cubicBezTo>
                <a:lnTo>
                  <a:pt x="562472" y="19420"/>
                </a:lnTo>
                <a:lnTo>
                  <a:pt x="643750" y="154644"/>
                </a:lnTo>
                <a:lnTo>
                  <a:pt x="588366" y="188450"/>
                </a:lnTo>
                <a:close/>
              </a:path>
            </a:pathLst>
          </a:custGeom>
          <a:solidFill>
            <a:schemeClr val="bg1"/>
          </a:solidFill>
          <a:ln w="7144" cap="flat">
            <a:solidFill>
              <a:schemeClr val="bg1"/>
            </a:solidFill>
            <a:prstDash val="solid"/>
            <a:miter/>
          </a:ln>
        </p:spPr>
        <p:txBody>
          <a:bodyPr rtlCol="0" anchor="ctr"/>
          <a:lstStyle/>
          <a:p>
            <a:endParaRPr lang="en-US"/>
          </a:p>
        </p:txBody>
      </p:sp>
      <p:sp>
        <p:nvSpPr>
          <p:cNvPr id="40" name="Rectangle 39">
            <a:extLst>
              <a:ext uri="{FF2B5EF4-FFF2-40B4-BE49-F238E27FC236}">
                <a16:creationId xmlns:a16="http://schemas.microsoft.com/office/drawing/2014/main" id="{8D83F9C3-47DA-4212-9515-0590AA044D76}"/>
              </a:ext>
            </a:extLst>
          </p:cNvPr>
          <p:cNvSpPr/>
          <p:nvPr/>
        </p:nvSpPr>
        <p:spPr>
          <a:xfrm>
            <a:off x="2565184" y="1979095"/>
            <a:ext cx="1699476" cy="923330"/>
          </a:xfrm>
          <a:prstGeom prst="rect">
            <a:avLst/>
          </a:prstGeom>
        </p:spPr>
        <p:txBody>
          <a:bodyPr wrap="square" lIns="0" tIns="0" rIns="0" bIns="0">
            <a:spAutoFit/>
          </a:bodyPr>
          <a:lstStyle/>
          <a:p>
            <a:pPr algn="ctr" defTabSz="914330">
              <a:spcBef>
                <a:spcPts val="600"/>
              </a:spcBef>
            </a:pPr>
            <a:r>
              <a:rPr lang="en-US" sz="2000" b="1" dirty="0">
                <a:solidFill>
                  <a:schemeClr val="bg1"/>
                </a:solidFill>
                <a:latin typeface="Arial" panose="020B0604020202020204" pitchFamily="34" charset="0"/>
                <a:cs typeface="Arial" panose="020B0604020202020204" pitchFamily="34" charset="0"/>
              </a:rPr>
              <a:t>Analyse the practices of the IPOs </a:t>
            </a:r>
          </a:p>
        </p:txBody>
      </p:sp>
      <p:sp>
        <p:nvSpPr>
          <p:cNvPr id="41" name="Rectangle 40">
            <a:extLst>
              <a:ext uri="{FF2B5EF4-FFF2-40B4-BE49-F238E27FC236}">
                <a16:creationId xmlns:a16="http://schemas.microsoft.com/office/drawing/2014/main" id="{903609F9-7BB9-4CE2-90C3-6C93EE91EF11}"/>
              </a:ext>
            </a:extLst>
          </p:cNvPr>
          <p:cNvSpPr/>
          <p:nvPr/>
        </p:nvSpPr>
        <p:spPr>
          <a:xfrm>
            <a:off x="5166711" y="3476898"/>
            <a:ext cx="1874431" cy="923330"/>
          </a:xfrm>
          <a:prstGeom prst="rect">
            <a:avLst/>
          </a:prstGeom>
        </p:spPr>
        <p:txBody>
          <a:bodyPr wrap="square" lIns="0" tIns="0" rIns="0" bIns="0">
            <a:spAutoFit/>
          </a:bodyPr>
          <a:lstStyle/>
          <a:p>
            <a:r>
              <a:rPr lang="en-US" sz="2000" b="1" dirty="0" err="1">
                <a:solidFill>
                  <a:schemeClr val="bg1"/>
                </a:solidFill>
                <a:latin typeface="Arial" panose="020B0604020202020204" pitchFamily="34" charset="0"/>
                <a:cs typeface="Arial" panose="020B0604020202020204" pitchFamily="34" charset="0"/>
              </a:rPr>
              <a:t>Harmonise</a:t>
            </a:r>
            <a:r>
              <a:rPr lang="en-US" sz="2000" b="1" dirty="0">
                <a:solidFill>
                  <a:schemeClr val="bg1"/>
                </a:solidFill>
                <a:latin typeface="Arial" panose="020B0604020202020204" pitchFamily="34" charset="0"/>
                <a:cs typeface="Arial" panose="020B0604020202020204" pitchFamily="34" charset="0"/>
              </a:rPr>
              <a:t> suitable aspects</a:t>
            </a:r>
          </a:p>
        </p:txBody>
      </p:sp>
      <p:sp>
        <p:nvSpPr>
          <p:cNvPr id="42" name="Rectangle 41">
            <a:extLst>
              <a:ext uri="{FF2B5EF4-FFF2-40B4-BE49-F238E27FC236}">
                <a16:creationId xmlns:a16="http://schemas.microsoft.com/office/drawing/2014/main" id="{69488A5D-6316-45BD-80E7-C06BE08E3D26}"/>
              </a:ext>
            </a:extLst>
          </p:cNvPr>
          <p:cNvSpPr/>
          <p:nvPr/>
        </p:nvSpPr>
        <p:spPr>
          <a:xfrm>
            <a:off x="2848155" y="3485869"/>
            <a:ext cx="1938013" cy="923330"/>
          </a:xfrm>
          <a:prstGeom prst="rect">
            <a:avLst/>
          </a:prstGeom>
        </p:spPr>
        <p:txBody>
          <a:bodyPr wrap="square" lIns="0" tIns="0" rIns="0" bIns="0">
            <a:spAutoFit/>
          </a:bodyPr>
          <a:lstStyle/>
          <a:p>
            <a:r>
              <a:rPr lang="en-US" sz="2000" b="1">
                <a:solidFill>
                  <a:schemeClr val="bg1"/>
                </a:solidFill>
                <a:latin typeface="Arial" panose="020B0604020202020204" pitchFamily="34" charset="0"/>
                <a:cs typeface="Arial" panose="020B0604020202020204" pitchFamily="34" charset="0"/>
              </a:rPr>
              <a:t>Evaluate </a:t>
            </a:r>
          </a:p>
          <a:p>
            <a:r>
              <a:rPr lang="en-US" sz="2000" b="1">
                <a:solidFill>
                  <a:schemeClr val="bg1"/>
                </a:solidFill>
                <a:latin typeface="Arial" panose="020B0604020202020204" pitchFamily="34" charset="0"/>
                <a:cs typeface="Arial" panose="020B0604020202020204" pitchFamily="34" charset="0"/>
              </a:rPr>
              <a:t>impact &amp; </a:t>
            </a:r>
          </a:p>
          <a:p>
            <a:r>
              <a:rPr lang="en-US" sz="2000" b="1">
                <a:solidFill>
                  <a:schemeClr val="bg1"/>
                </a:solidFill>
                <a:latin typeface="Arial" panose="020B0604020202020204" pitchFamily="34" charset="0"/>
                <a:cs typeface="Arial" panose="020B0604020202020204" pitchFamily="34" charset="0"/>
              </a:rPr>
              <a:t>feasibility</a:t>
            </a:r>
            <a:endParaRPr lang="en-US" sz="2000" b="1" dirty="0">
              <a:solidFill>
                <a:schemeClr val="bg1"/>
              </a:solidFill>
              <a:latin typeface="Arial" panose="020B0604020202020204" pitchFamily="34" charset="0"/>
              <a:cs typeface="Arial" panose="020B0604020202020204" pitchFamily="34" charset="0"/>
            </a:endParaRPr>
          </a:p>
        </p:txBody>
      </p:sp>
      <p:sp>
        <p:nvSpPr>
          <p:cNvPr id="43" name="Rectangle 42">
            <a:extLst>
              <a:ext uri="{FF2B5EF4-FFF2-40B4-BE49-F238E27FC236}">
                <a16:creationId xmlns:a16="http://schemas.microsoft.com/office/drawing/2014/main" id="{E4A27764-416A-42A2-9116-4807556362C1}"/>
              </a:ext>
            </a:extLst>
          </p:cNvPr>
          <p:cNvSpPr/>
          <p:nvPr/>
        </p:nvSpPr>
        <p:spPr>
          <a:xfrm>
            <a:off x="5061255" y="2064555"/>
            <a:ext cx="1764064" cy="615553"/>
          </a:xfrm>
          <a:prstGeom prst="rect">
            <a:avLst/>
          </a:prstGeom>
        </p:spPr>
        <p:txBody>
          <a:bodyPr wrap="square" lIns="0" tIns="0" rIns="0" bIns="0">
            <a:spAutoFit/>
          </a:bodyPr>
          <a:lstStyle/>
          <a:p>
            <a:pPr>
              <a:spcBef>
                <a:spcPts val="600"/>
              </a:spcBef>
            </a:pPr>
            <a:r>
              <a:rPr lang="en-US" sz="2000" b="1" dirty="0">
                <a:solidFill>
                  <a:schemeClr val="bg1"/>
                </a:solidFill>
                <a:latin typeface="Arial" panose="020B0604020202020204" pitchFamily="34" charset="0"/>
                <a:cs typeface="Arial" panose="020B0604020202020204" pitchFamily="34" charset="0"/>
              </a:rPr>
              <a:t>Identify areas of divergence</a:t>
            </a:r>
          </a:p>
        </p:txBody>
      </p:sp>
      <p:grpSp>
        <p:nvGrpSpPr>
          <p:cNvPr id="44" name="Graphic 13" descr="Research">
            <a:extLst>
              <a:ext uri="{FF2B5EF4-FFF2-40B4-BE49-F238E27FC236}">
                <a16:creationId xmlns:a16="http://schemas.microsoft.com/office/drawing/2014/main" id="{B4297CA2-C921-4C53-8CAC-C47FD9EC38E6}"/>
              </a:ext>
            </a:extLst>
          </p:cNvPr>
          <p:cNvGrpSpPr/>
          <p:nvPr/>
        </p:nvGrpSpPr>
        <p:grpSpPr>
          <a:xfrm>
            <a:off x="2239178" y="2596962"/>
            <a:ext cx="513727" cy="516905"/>
            <a:chOff x="11353800" y="3094278"/>
            <a:chExt cx="581950" cy="581950"/>
          </a:xfrm>
          <a:solidFill>
            <a:schemeClr val="bg1"/>
          </a:solidFill>
        </p:grpSpPr>
        <p:sp>
          <p:nvSpPr>
            <p:cNvPr id="45" name="Freeform: Shape 44">
              <a:extLst>
                <a:ext uri="{FF2B5EF4-FFF2-40B4-BE49-F238E27FC236}">
                  <a16:creationId xmlns:a16="http://schemas.microsoft.com/office/drawing/2014/main" id="{06BA01BC-7D08-4193-8C44-6B32ED1F86FB}"/>
                </a:ext>
              </a:extLst>
            </p:cNvPr>
            <p:cNvSpPr/>
            <p:nvPr/>
          </p:nvSpPr>
          <p:spPr>
            <a:xfrm>
              <a:off x="11401080" y="3144589"/>
              <a:ext cx="479657" cy="480263"/>
            </a:xfrm>
            <a:custGeom>
              <a:avLst/>
              <a:gdLst>
                <a:gd name="connsiteX0" fmla="*/ 392213 w 479657"/>
                <a:gd name="connsiteY0" fmla="*/ 332200 h 480263"/>
                <a:gd name="connsiteX1" fmla="*/ 354629 w 479657"/>
                <a:gd name="connsiteY1" fmla="*/ 320682 h 480263"/>
                <a:gd name="connsiteX2" fmla="*/ 327350 w 479657"/>
                <a:gd name="connsiteY2" fmla="*/ 294009 h 480263"/>
                <a:gd name="connsiteX3" fmla="*/ 364935 w 479657"/>
                <a:gd name="connsiteY3" fmla="*/ 183681 h 480263"/>
                <a:gd name="connsiteX4" fmla="*/ 183075 w 479657"/>
                <a:gd name="connsiteY4" fmla="*/ 3 h 480263"/>
                <a:gd name="connsiteX5" fmla="*/ 3 w 479657"/>
                <a:gd name="connsiteY5" fmla="*/ 181863 h 480263"/>
                <a:gd name="connsiteX6" fmla="*/ 181863 w 479657"/>
                <a:gd name="connsiteY6" fmla="*/ 364935 h 480263"/>
                <a:gd name="connsiteX7" fmla="*/ 293403 w 479657"/>
                <a:gd name="connsiteY7" fmla="*/ 327350 h 480263"/>
                <a:gd name="connsiteX8" fmla="*/ 320076 w 479657"/>
                <a:gd name="connsiteY8" fmla="*/ 354023 h 480263"/>
                <a:gd name="connsiteX9" fmla="*/ 331594 w 479657"/>
                <a:gd name="connsiteY9" fmla="*/ 392213 h 480263"/>
                <a:gd name="connsiteX10" fmla="*/ 407368 w 479657"/>
                <a:gd name="connsiteY10" fmla="*/ 467988 h 480263"/>
                <a:gd name="connsiteX11" fmla="*/ 467382 w 479657"/>
                <a:gd name="connsiteY11" fmla="*/ 467988 h 480263"/>
                <a:gd name="connsiteX12" fmla="*/ 467382 w 479657"/>
                <a:gd name="connsiteY12" fmla="*/ 407975 h 480263"/>
                <a:gd name="connsiteX13" fmla="*/ 392213 w 479657"/>
                <a:gd name="connsiteY13" fmla="*/ 332200 h 480263"/>
                <a:gd name="connsiteX14" fmla="*/ 183075 w 479657"/>
                <a:gd name="connsiteY14" fmla="*/ 328563 h 480263"/>
                <a:gd name="connsiteX15" fmla="*/ 37588 w 479657"/>
                <a:gd name="connsiteY15" fmla="*/ 183075 h 480263"/>
                <a:gd name="connsiteX16" fmla="*/ 183075 w 479657"/>
                <a:gd name="connsiteY16" fmla="*/ 37588 h 480263"/>
                <a:gd name="connsiteX17" fmla="*/ 328563 w 479657"/>
                <a:gd name="connsiteY17" fmla="*/ 183075 h 480263"/>
                <a:gd name="connsiteX18" fmla="*/ 183075 w 479657"/>
                <a:gd name="connsiteY18" fmla="*/ 328563 h 48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79657" h="480263">
                  <a:moveTo>
                    <a:pt x="392213" y="332200"/>
                  </a:moveTo>
                  <a:cubicBezTo>
                    <a:pt x="382514" y="322501"/>
                    <a:pt x="367965" y="317651"/>
                    <a:pt x="354629" y="320682"/>
                  </a:cubicBezTo>
                  <a:lnTo>
                    <a:pt x="327350" y="294009"/>
                  </a:lnTo>
                  <a:cubicBezTo>
                    <a:pt x="351598" y="262487"/>
                    <a:pt x="364935" y="223690"/>
                    <a:pt x="364935" y="183681"/>
                  </a:cubicBezTo>
                  <a:cubicBezTo>
                    <a:pt x="365541" y="82446"/>
                    <a:pt x="283704" y="610"/>
                    <a:pt x="183075" y="3"/>
                  </a:cubicBezTo>
                  <a:cubicBezTo>
                    <a:pt x="82446" y="-603"/>
                    <a:pt x="610" y="81234"/>
                    <a:pt x="3" y="181863"/>
                  </a:cubicBezTo>
                  <a:cubicBezTo>
                    <a:pt x="-603" y="282492"/>
                    <a:pt x="81234" y="364328"/>
                    <a:pt x="181863" y="364935"/>
                  </a:cubicBezTo>
                  <a:cubicBezTo>
                    <a:pt x="221872" y="364935"/>
                    <a:pt x="261275" y="351598"/>
                    <a:pt x="293403" y="327350"/>
                  </a:cubicBezTo>
                  <a:lnTo>
                    <a:pt x="320076" y="354023"/>
                  </a:lnTo>
                  <a:cubicBezTo>
                    <a:pt x="317651" y="367965"/>
                    <a:pt x="321894" y="381908"/>
                    <a:pt x="331594" y="392213"/>
                  </a:cubicBezTo>
                  <a:lnTo>
                    <a:pt x="407368" y="467988"/>
                  </a:lnTo>
                  <a:cubicBezTo>
                    <a:pt x="423736" y="484355"/>
                    <a:pt x="451015" y="484355"/>
                    <a:pt x="467382" y="467988"/>
                  </a:cubicBezTo>
                  <a:cubicBezTo>
                    <a:pt x="483749" y="451621"/>
                    <a:pt x="483749" y="424342"/>
                    <a:pt x="467382" y="407975"/>
                  </a:cubicBezTo>
                  <a:lnTo>
                    <a:pt x="392213" y="332200"/>
                  </a:lnTo>
                  <a:close/>
                  <a:moveTo>
                    <a:pt x="183075" y="328563"/>
                  </a:moveTo>
                  <a:cubicBezTo>
                    <a:pt x="102451" y="328563"/>
                    <a:pt x="37588" y="263699"/>
                    <a:pt x="37588" y="183075"/>
                  </a:cubicBezTo>
                  <a:cubicBezTo>
                    <a:pt x="37588" y="102451"/>
                    <a:pt x="102451" y="37588"/>
                    <a:pt x="183075" y="37588"/>
                  </a:cubicBezTo>
                  <a:cubicBezTo>
                    <a:pt x="263699" y="37588"/>
                    <a:pt x="328563" y="102451"/>
                    <a:pt x="328563" y="183075"/>
                  </a:cubicBezTo>
                  <a:cubicBezTo>
                    <a:pt x="328563" y="263093"/>
                    <a:pt x="263093" y="328563"/>
                    <a:pt x="183075" y="328563"/>
                  </a:cubicBezTo>
                  <a:close/>
                </a:path>
              </a:pathLst>
            </a:custGeom>
            <a:solidFill>
              <a:schemeClr val="bg1"/>
            </a:solidFill>
            <a:ln w="3175"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9E6ADFC9-B30D-437C-9B12-A4F4B4EE02BF}"/>
                </a:ext>
              </a:extLst>
            </p:cNvPr>
            <p:cNvSpPr/>
            <p:nvPr/>
          </p:nvSpPr>
          <p:spPr>
            <a:xfrm>
              <a:off x="11453822" y="3234683"/>
              <a:ext cx="261271" cy="191790"/>
            </a:xfrm>
            <a:custGeom>
              <a:avLst/>
              <a:gdLst>
                <a:gd name="connsiteX0" fmla="*/ 260665 w 261271"/>
                <a:gd name="connsiteY0" fmla="*/ 83888 h 191790"/>
                <a:gd name="connsiteX1" fmla="*/ 226112 w 261271"/>
                <a:gd name="connsiteY1" fmla="*/ 83888 h 191790"/>
                <a:gd name="connsiteX2" fmla="*/ 218231 w 261271"/>
                <a:gd name="connsiteY2" fmla="*/ 88737 h 191790"/>
                <a:gd name="connsiteX3" fmla="*/ 195196 w 261271"/>
                <a:gd name="connsiteY3" fmla="*/ 113591 h 191790"/>
                <a:gd name="connsiteX4" fmla="*/ 175797 w 261271"/>
                <a:gd name="connsiteY4" fmla="*/ 46303 h 191790"/>
                <a:gd name="connsiteX5" fmla="*/ 162461 w 261271"/>
                <a:gd name="connsiteY5" fmla="*/ 39029 h 191790"/>
                <a:gd name="connsiteX6" fmla="*/ 155187 w 261271"/>
                <a:gd name="connsiteY6" fmla="*/ 45697 h 191790"/>
                <a:gd name="connsiteX7" fmla="*/ 118815 w 261271"/>
                <a:gd name="connsiteY7" fmla="*/ 142083 h 191790"/>
                <a:gd name="connsiteX8" fmla="*/ 93961 w 261271"/>
                <a:gd name="connsiteY8" fmla="*/ 8719 h 191790"/>
                <a:gd name="connsiteX9" fmla="*/ 81837 w 261271"/>
                <a:gd name="connsiteY9" fmla="*/ 232 h 191790"/>
                <a:gd name="connsiteX10" fmla="*/ 73350 w 261271"/>
                <a:gd name="connsiteY10" fmla="*/ 7507 h 191790"/>
                <a:gd name="connsiteX11" fmla="*/ 47283 w 261271"/>
                <a:gd name="connsiteY11" fmla="*/ 83888 h 191790"/>
                <a:gd name="connsiteX12" fmla="*/ 0 w 261271"/>
                <a:gd name="connsiteY12" fmla="*/ 83888 h 191790"/>
                <a:gd name="connsiteX13" fmla="*/ 0 w 261271"/>
                <a:gd name="connsiteY13" fmla="*/ 108136 h 191790"/>
                <a:gd name="connsiteX14" fmla="*/ 55164 w 261271"/>
                <a:gd name="connsiteY14" fmla="*/ 108136 h 191790"/>
                <a:gd name="connsiteX15" fmla="*/ 65469 w 261271"/>
                <a:gd name="connsiteY15" fmla="*/ 99043 h 191790"/>
                <a:gd name="connsiteX16" fmla="*/ 80624 w 261271"/>
                <a:gd name="connsiteY16" fmla="*/ 52972 h 191790"/>
                <a:gd name="connsiteX17" fmla="*/ 104872 w 261271"/>
                <a:gd name="connsiteY17" fmla="*/ 183304 h 191790"/>
                <a:gd name="connsiteX18" fmla="*/ 114571 w 261271"/>
                <a:gd name="connsiteY18" fmla="*/ 191791 h 191790"/>
                <a:gd name="connsiteX19" fmla="*/ 115784 w 261271"/>
                <a:gd name="connsiteY19" fmla="*/ 191791 h 191790"/>
                <a:gd name="connsiteX20" fmla="*/ 126089 w 261271"/>
                <a:gd name="connsiteY20" fmla="*/ 185123 h 191790"/>
                <a:gd name="connsiteX21" fmla="*/ 164886 w 261271"/>
                <a:gd name="connsiteY21" fmla="*/ 83281 h 191790"/>
                <a:gd name="connsiteX22" fmla="*/ 180647 w 261271"/>
                <a:gd name="connsiteY22" fmla="*/ 137839 h 191790"/>
                <a:gd name="connsiteX23" fmla="*/ 193983 w 261271"/>
                <a:gd name="connsiteY23" fmla="*/ 145114 h 191790"/>
                <a:gd name="connsiteX24" fmla="*/ 198833 w 261271"/>
                <a:gd name="connsiteY24" fmla="*/ 142083 h 191790"/>
                <a:gd name="connsiteX25" fmla="*/ 231568 w 261271"/>
                <a:gd name="connsiteY25" fmla="*/ 108136 h 191790"/>
                <a:gd name="connsiteX26" fmla="*/ 261271 w 261271"/>
                <a:gd name="connsiteY26" fmla="*/ 108136 h 191790"/>
                <a:gd name="connsiteX27" fmla="*/ 261271 w 261271"/>
                <a:gd name="connsiteY27" fmla="*/ 83888 h 1917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61271" h="191790">
                  <a:moveTo>
                    <a:pt x="260665" y="83888"/>
                  </a:moveTo>
                  <a:lnTo>
                    <a:pt x="226112" y="83888"/>
                  </a:lnTo>
                  <a:cubicBezTo>
                    <a:pt x="223081" y="84494"/>
                    <a:pt x="220050" y="86312"/>
                    <a:pt x="218231" y="88737"/>
                  </a:cubicBezTo>
                  <a:lnTo>
                    <a:pt x="195196" y="113591"/>
                  </a:lnTo>
                  <a:lnTo>
                    <a:pt x="175797" y="46303"/>
                  </a:lnTo>
                  <a:cubicBezTo>
                    <a:pt x="173979" y="40848"/>
                    <a:pt x="167917" y="37210"/>
                    <a:pt x="162461" y="39029"/>
                  </a:cubicBezTo>
                  <a:cubicBezTo>
                    <a:pt x="159430" y="40241"/>
                    <a:pt x="156399" y="42060"/>
                    <a:pt x="155187" y="45697"/>
                  </a:cubicBezTo>
                  <a:lnTo>
                    <a:pt x="118815" y="142083"/>
                  </a:lnTo>
                  <a:lnTo>
                    <a:pt x="93961" y="8719"/>
                  </a:lnTo>
                  <a:cubicBezTo>
                    <a:pt x="92748" y="2657"/>
                    <a:pt x="87293" y="-980"/>
                    <a:pt x="81837" y="232"/>
                  </a:cubicBezTo>
                  <a:cubicBezTo>
                    <a:pt x="78200" y="838"/>
                    <a:pt x="75169" y="3869"/>
                    <a:pt x="73350" y="7507"/>
                  </a:cubicBezTo>
                  <a:lnTo>
                    <a:pt x="47283" y="83888"/>
                  </a:lnTo>
                  <a:lnTo>
                    <a:pt x="0" y="83888"/>
                  </a:lnTo>
                  <a:lnTo>
                    <a:pt x="0" y="108136"/>
                  </a:lnTo>
                  <a:lnTo>
                    <a:pt x="55164" y="108136"/>
                  </a:lnTo>
                  <a:cubicBezTo>
                    <a:pt x="60014" y="107529"/>
                    <a:pt x="64257" y="103892"/>
                    <a:pt x="65469" y="99043"/>
                  </a:cubicBezTo>
                  <a:lnTo>
                    <a:pt x="80624" y="52972"/>
                  </a:lnTo>
                  <a:lnTo>
                    <a:pt x="104872" y="183304"/>
                  </a:lnTo>
                  <a:cubicBezTo>
                    <a:pt x="105478" y="188154"/>
                    <a:pt x="109722" y="191791"/>
                    <a:pt x="114571" y="191791"/>
                  </a:cubicBezTo>
                  <a:lnTo>
                    <a:pt x="115784" y="191791"/>
                  </a:lnTo>
                  <a:cubicBezTo>
                    <a:pt x="120027" y="191791"/>
                    <a:pt x="124271" y="189366"/>
                    <a:pt x="126089" y="185123"/>
                  </a:cubicBezTo>
                  <a:lnTo>
                    <a:pt x="164886" y="83281"/>
                  </a:lnTo>
                  <a:lnTo>
                    <a:pt x="180647" y="137839"/>
                  </a:lnTo>
                  <a:cubicBezTo>
                    <a:pt x="182466" y="143295"/>
                    <a:pt x="187921" y="146932"/>
                    <a:pt x="193983" y="145114"/>
                  </a:cubicBezTo>
                  <a:cubicBezTo>
                    <a:pt x="195802" y="144507"/>
                    <a:pt x="197621" y="143295"/>
                    <a:pt x="198833" y="142083"/>
                  </a:cubicBezTo>
                  <a:lnTo>
                    <a:pt x="231568" y="108136"/>
                  </a:lnTo>
                  <a:lnTo>
                    <a:pt x="261271" y="108136"/>
                  </a:lnTo>
                  <a:lnTo>
                    <a:pt x="261271" y="83888"/>
                  </a:lnTo>
                  <a:close/>
                </a:path>
              </a:pathLst>
            </a:custGeom>
            <a:grpFill/>
            <a:ln w="3175" cap="flat">
              <a:noFill/>
              <a:prstDash val="solid"/>
              <a:miter/>
            </a:ln>
          </p:spPr>
          <p:txBody>
            <a:bodyPr rtlCol="0" anchor="ctr"/>
            <a:lstStyle/>
            <a:p>
              <a:endParaRPr lang="en-US"/>
            </a:p>
          </p:txBody>
        </p:sp>
      </p:grpSp>
      <p:grpSp>
        <p:nvGrpSpPr>
          <p:cNvPr id="47" name="Graphic 5" descr="Bullseye">
            <a:extLst>
              <a:ext uri="{FF2B5EF4-FFF2-40B4-BE49-F238E27FC236}">
                <a16:creationId xmlns:a16="http://schemas.microsoft.com/office/drawing/2014/main" id="{91107998-ED67-456F-AFB9-CCE48AE04F0E}"/>
              </a:ext>
            </a:extLst>
          </p:cNvPr>
          <p:cNvGrpSpPr/>
          <p:nvPr/>
        </p:nvGrpSpPr>
        <p:grpSpPr>
          <a:xfrm>
            <a:off x="4323765" y="2851964"/>
            <a:ext cx="581950" cy="581950"/>
            <a:chOff x="11353800" y="4812165"/>
            <a:chExt cx="581950" cy="581950"/>
          </a:xfrm>
          <a:solidFill>
            <a:schemeClr val="tx1">
              <a:lumMod val="75000"/>
              <a:lumOff val="25000"/>
            </a:schemeClr>
          </a:solidFill>
        </p:grpSpPr>
        <p:sp>
          <p:nvSpPr>
            <p:cNvPr id="48" name="Freeform: Shape 47">
              <a:extLst>
                <a:ext uri="{FF2B5EF4-FFF2-40B4-BE49-F238E27FC236}">
                  <a16:creationId xmlns:a16="http://schemas.microsoft.com/office/drawing/2014/main" id="{CFB50040-45DF-4B07-937A-B450C8667F46}"/>
                </a:ext>
              </a:extLst>
            </p:cNvPr>
            <p:cNvSpPr/>
            <p:nvPr/>
          </p:nvSpPr>
          <p:spPr>
            <a:xfrm>
              <a:off x="11574456" y="4863691"/>
              <a:ext cx="309767" cy="309160"/>
            </a:xfrm>
            <a:custGeom>
              <a:avLst/>
              <a:gdLst>
                <a:gd name="connsiteX0" fmla="*/ 255209 w 309767"/>
                <a:gd name="connsiteY0" fmla="*/ 54558 h 309160"/>
                <a:gd name="connsiteX1" fmla="*/ 249147 w 309767"/>
                <a:gd name="connsiteY1" fmla="*/ 0 h 309160"/>
                <a:gd name="connsiteX2" fmla="*/ 182466 w 309767"/>
                <a:gd name="connsiteY2" fmla="*/ 66682 h 309160"/>
                <a:gd name="connsiteX3" fmla="*/ 186103 w 309767"/>
                <a:gd name="connsiteY3" fmla="*/ 98204 h 309160"/>
                <a:gd name="connsiteX4" fmla="*/ 89111 w 309767"/>
                <a:gd name="connsiteY4" fmla="*/ 195196 h 309160"/>
                <a:gd name="connsiteX5" fmla="*/ 60620 w 309767"/>
                <a:gd name="connsiteY5" fmla="*/ 187921 h 309160"/>
                <a:gd name="connsiteX6" fmla="*/ 0 w 309767"/>
                <a:gd name="connsiteY6" fmla="*/ 248541 h 309160"/>
                <a:gd name="connsiteX7" fmla="*/ 60620 w 309767"/>
                <a:gd name="connsiteY7" fmla="*/ 309161 h 309160"/>
                <a:gd name="connsiteX8" fmla="*/ 121240 w 309767"/>
                <a:gd name="connsiteY8" fmla="*/ 248541 h 309160"/>
                <a:gd name="connsiteX9" fmla="*/ 114571 w 309767"/>
                <a:gd name="connsiteY9" fmla="*/ 220656 h 309160"/>
                <a:gd name="connsiteX10" fmla="*/ 211563 w 309767"/>
                <a:gd name="connsiteY10" fmla="*/ 123664 h 309160"/>
                <a:gd name="connsiteX11" fmla="*/ 243085 w 309767"/>
                <a:gd name="connsiteY11" fmla="*/ 127302 h 309160"/>
                <a:gd name="connsiteX12" fmla="*/ 309767 w 309767"/>
                <a:gd name="connsiteY12" fmla="*/ 60620 h 309160"/>
                <a:gd name="connsiteX13" fmla="*/ 255209 w 309767"/>
                <a:gd name="connsiteY13" fmla="*/ 54558 h 3091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09767" h="309160">
                  <a:moveTo>
                    <a:pt x="255209" y="54558"/>
                  </a:moveTo>
                  <a:lnTo>
                    <a:pt x="249147" y="0"/>
                  </a:lnTo>
                  <a:lnTo>
                    <a:pt x="182466" y="66682"/>
                  </a:lnTo>
                  <a:lnTo>
                    <a:pt x="186103" y="98204"/>
                  </a:lnTo>
                  <a:lnTo>
                    <a:pt x="89111" y="195196"/>
                  </a:lnTo>
                  <a:cubicBezTo>
                    <a:pt x="80624" y="190952"/>
                    <a:pt x="70925" y="187921"/>
                    <a:pt x="60620" y="187921"/>
                  </a:cubicBezTo>
                  <a:cubicBezTo>
                    <a:pt x="27279" y="187921"/>
                    <a:pt x="0" y="215200"/>
                    <a:pt x="0" y="248541"/>
                  </a:cubicBezTo>
                  <a:cubicBezTo>
                    <a:pt x="0" y="281882"/>
                    <a:pt x="27279" y="309161"/>
                    <a:pt x="60620" y="309161"/>
                  </a:cubicBezTo>
                  <a:cubicBezTo>
                    <a:pt x="93961" y="309161"/>
                    <a:pt x="121240" y="281882"/>
                    <a:pt x="121240" y="248541"/>
                  </a:cubicBezTo>
                  <a:cubicBezTo>
                    <a:pt x="121240" y="238236"/>
                    <a:pt x="118815" y="229143"/>
                    <a:pt x="114571" y="220656"/>
                  </a:cubicBezTo>
                  <a:lnTo>
                    <a:pt x="211563" y="123664"/>
                  </a:lnTo>
                  <a:lnTo>
                    <a:pt x="243085" y="127302"/>
                  </a:lnTo>
                  <a:lnTo>
                    <a:pt x="309767" y="60620"/>
                  </a:lnTo>
                  <a:lnTo>
                    <a:pt x="255209" y="54558"/>
                  </a:lnTo>
                  <a:close/>
                </a:path>
              </a:pathLst>
            </a:custGeom>
            <a:grpFill/>
            <a:ln w="6052"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9E7248E0-C38F-4203-94A7-D071213C0505}"/>
                </a:ext>
              </a:extLst>
            </p:cNvPr>
            <p:cNvSpPr/>
            <p:nvPr/>
          </p:nvSpPr>
          <p:spPr>
            <a:xfrm>
              <a:off x="11405326" y="4881877"/>
              <a:ext cx="460710" cy="460710"/>
            </a:xfrm>
            <a:custGeom>
              <a:avLst/>
              <a:gdLst>
                <a:gd name="connsiteX0" fmla="*/ 429188 w 460710"/>
                <a:gd name="connsiteY0" fmla="*/ 126089 h 460710"/>
                <a:gd name="connsiteX1" fmla="*/ 421308 w 460710"/>
                <a:gd name="connsiteY1" fmla="*/ 134576 h 460710"/>
                <a:gd name="connsiteX2" fmla="*/ 409790 w 460710"/>
                <a:gd name="connsiteY2" fmla="*/ 133364 h 460710"/>
                <a:gd name="connsiteX3" fmla="*/ 397060 w 460710"/>
                <a:gd name="connsiteY3" fmla="*/ 131545 h 460710"/>
                <a:gd name="connsiteX4" fmla="*/ 424339 w 460710"/>
                <a:gd name="connsiteY4" fmla="*/ 230355 h 460710"/>
                <a:gd name="connsiteX5" fmla="*/ 230355 w 460710"/>
                <a:gd name="connsiteY5" fmla="*/ 424339 h 460710"/>
                <a:gd name="connsiteX6" fmla="*/ 36372 w 460710"/>
                <a:gd name="connsiteY6" fmla="*/ 230355 h 460710"/>
                <a:gd name="connsiteX7" fmla="*/ 230355 w 460710"/>
                <a:gd name="connsiteY7" fmla="*/ 36372 h 460710"/>
                <a:gd name="connsiteX8" fmla="*/ 329165 w 460710"/>
                <a:gd name="connsiteY8" fmla="*/ 63651 h 460710"/>
                <a:gd name="connsiteX9" fmla="*/ 327953 w 460710"/>
                <a:gd name="connsiteY9" fmla="*/ 51527 h 460710"/>
                <a:gd name="connsiteX10" fmla="*/ 326134 w 460710"/>
                <a:gd name="connsiteY10" fmla="*/ 39403 h 460710"/>
                <a:gd name="connsiteX11" fmla="*/ 334621 w 460710"/>
                <a:gd name="connsiteY11" fmla="*/ 30916 h 460710"/>
                <a:gd name="connsiteX12" fmla="*/ 338865 w 460710"/>
                <a:gd name="connsiteY12" fmla="*/ 26673 h 460710"/>
                <a:gd name="connsiteX13" fmla="*/ 230355 w 460710"/>
                <a:gd name="connsiteY13" fmla="*/ 0 h 460710"/>
                <a:gd name="connsiteX14" fmla="*/ 0 w 460710"/>
                <a:gd name="connsiteY14" fmla="*/ 230355 h 460710"/>
                <a:gd name="connsiteX15" fmla="*/ 230355 w 460710"/>
                <a:gd name="connsiteY15" fmla="*/ 460710 h 460710"/>
                <a:gd name="connsiteX16" fmla="*/ 460710 w 460710"/>
                <a:gd name="connsiteY16" fmla="*/ 230355 h 460710"/>
                <a:gd name="connsiteX17" fmla="*/ 433432 w 460710"/>
                <a:gd name="connsiteY17" fmla="*/ 122452 h 460710"/>
                <a:gd name="connsiteX18" fmla="*/ 429188 w 460710"/>
                <a:gd name="connsiteY18" fmla="*/ 126089 h 460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460710" h="460710">
                  <a:moveTo>
                    <a:pt x="429188" y="126089"/>
                  </a:moveTo>
                  <a:lnTo>
                    <a:pt x="421308" y="134576"/>
                  </a:lnTo>
                  <a:lnTo>
                    <a:pt x="409790" y="133364"/>
                  </a:lnTo>
                  <a:lnTo>
                    <a:pt x="397060" y="131545"/>
                  </a:lnTo>
                  <a:cubicBezTo>
                    <a:pt x="414033" y="160642"/>
                    <a:pt x="424339" y="193983"/>
                    <a:pt x="424339" y="230355"/>
                  </a:cubicBezTo>
                  <a:cubicBezTo>
                    <a:pt x="424339" y="337046"/>
                    <a:pt x="337046" y="424339"/>
                    <a:pt x="230355" y="424339"/>
                  </a:cubicBezTo>
                  <a:cubicBezTo>
                    <a:pt x="123664" y="424339"/>
                    <a:pt x="36372" y="337046"/>
                    <a:pt x="36372" y="230355"/>
                  </a:cubicBezTo>
                  <a:cubicBezTo>
                    <a:pt x="36372" y="123664"/>
                    <a:pt x="123664" y="36372"/>
                    <a:pt x="230355" y="36372"/>
                  </a:cubicBezTo>
                  <a:cubicBezTo>
                    <a:pt x="266121" y="36372"/>
                    <a:pt x="300068" y="46071"/>
                    <a:pt x="329165" y="63651"/>
                  </a:cubicBezTo>
                  <a:lnTo>
                    <a:pt x="327953" y="51527"/>
                  </a:lnTo>
                  <a:lnTo>
                    <a:pt x="326134" y="39403"/>
                  </a:lnTo>
                  <a:lnTo>
                    <a:pt x="334621" y="30916"/>
                  </a:lnTo>
                  <a:lnTo>
                    <a:pt x="338865" y="26673"/>
                  </a:lnTo>
                  <a:cubicBezTo>
                    <a:pt x="306130" y="9699"/>
                    <a:pt x="269758" y="0"/>
                    <a:pt x="230355" y="0"/>
                  </a:cubicBezTo>
                  <a:cubicBezTo>
                    <a:pt x="103054" y="0"/>
                    <a:pt x="0" y="103054"/>
                    <a:pt x="0" y="230355"/>
                  </a:cubicBezTo>
                  <a:cubicBezTo>
                    <a:pt x="0" y="357657"/>
                    <a:pt x="103054" y="460710"/>
                    <a:pt x="230355" y="460710"/>
                  </a:cubicBezTo>
                  <a:cubicBezTo>
                    <a:pt x="357657" y="460710"/>
                    <a:pt x="460710" y="357657"/>
                    <a:pt x="460710" y="230355"/>
                  </a:cubicBezTo>
                  <a:cubicBezTo>
                    <a:pt x="460710" y="190952"/>
                    <a:pt x="451011" y="154580"/>
                    <a:pt x="433432" y="122452"/>
                  </a:cubicBezTo>
                  <a:lnTo>
                    <a:pt x="429188" y="126089"/>
                  </a:lnTo>
                  <a:close/>
                </a:path>
              </a:pathLst>
            </a:custGeom>
            <a:grpFill/>
            <a:ln w="6052"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84ADDB94-8EDF-4CC4-9648-7661E10E59CB}"/>
                </a:ext>
              </a:extLst>
            </p:cNvPr>
            <p:cNvSpPr/>
            <p:nvPr/>
          </p:nvSpPr>
          <p:spPr>
            <a:xfrm>
              <a:off x="11490194" y="4966745"/>
              <a:ext cx="290975" cy="290975"/>
            </a:xfrm>
            <a:custGeom>
              <a:avLst/>
              <a:gdLst>
                <a:gd name="connsiteX0" fmla="*/ 246723 w 290975"/>
                <a:gd name="connsiteY0" fmla="*/ 104266 h 290975"/>
                <a:gd name="connsiteX1" fmla="*/ 254603 w 290975"/>
                <a:gd name="connsiteY1" fmla="*/ 145488 h 290975"/>
                <a:gd name="connsiteX2" fmla="*/ 145488 w 290975"/>
                <a:gd name="connsiteY2" fmla="*/ 254603 h 290975"/>
                <a:gd name="connsiteX3" fmla="*/ 36372 w 290975"/>
                <a:gd name="connsiteY3" fmla="*/ 145488 h 290975"/>
                <a:gd name="connsiteX4" fmla="*/ 145488 w 290975"/>
                <a:gd name="connsiteY4" fmla="*/ 36372 h 290975"/>
                <a:gd name="connsiteX5" fmla="*/ 186709 w 290975"/>
                <a:gd name="connsiteY5" fmla="*/ 44252 h 290975"/>
                <a:gd name="connsiteX6" fmla="*/ 213988 w 290975"/>
                <a:gd name="connsiteY6" fmla="*/ 16974 h 290975"/>
                <a:gd name="connsiteX7" fmla="*/ 145488 w 290975"/>
                <a:gd name="connsiteY7" fmla="*/ 0 h 290975"/>
                <a:gd name="connsiteX8" fmla="*/ 0 w 290975"/>
                <a:gd name="connsiteY8" fmla="*/ 145488 h 290975"/>
                <a:gd name="connsiteX9" fmla="*/ 145488 w 290975"/>
                <a:gd name="connsiteY9" fmla="*/ 290975 h 290975"/>
                <a:gd name="connsiteX10" fmla="*/ 290975 w 290975"/>
                <a:gd name="connsiteY10" fmla="*/ 145488 h 290975"/>
                <a:gd name="connsiteX11" fmla="*/ 274001 w 290975"/>
                <a:gd name="connsiteY11" fmla="*/ 76987 h 290975"/>
                <a:gd name="connsiteX12" fmla="*/ 246723 w 290975"/>
                <a:gd name="connsiteY12" fmla="*/ 104266 h 290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0975" h="290975">
                  <a:moveTo>
                    <a:pt x="246723" y="104266"/>
                  </a:moveTo>
                  <a:cubicBezTo>
                    <a:pt x="252178" y="116996"/>
                    <a:pt x="254603" y="130939"/>
                    <a:pt x="254603" y="145488"/>
                  </a:cubicBezTo>
                  <a:cubicBezTo>
                    <a:pt x="254603" y="205501"/>
                    <a:pt x="205501" y="254603"/>
                    <a:pt x="145488" y="254603"/>
                  </a:cubicBezTo>
                  <a:cubicBezTo>
                    <a:pt x="85474" y="254603"/>
                    <a:pt x="36372" y="205501"/>
                    <a:pt x="36372" y="145488"/>
                  </a:cubicBezTo>
                  <a:cubicBezTo>
                    <a:pt x="36372" y="85474"/>
                    <a:pt x="85474" y="36372"/>
                    <a:pt x="145488" y="36372"/>
                  </a:cubicBezTo>
                  <a:cubicBezTo>
                    <a:pt x="160036" y="36372"/>
                    <a:pt x="173979" y="39403"/>
                    <a:pt x="186709" y="44252"/>
                  </a:cubicBezTo>
                  <a:lnTo>
                    <a:pt x="213988" y="16974"/>
                  </a:lnTo>
                  <a:cubicBezTo>
                    <a:pt x="193377" y="6062"/>
                    <a:pt x="170342" y="0"/>
                    <a:pt x="145488" y="0"/>
                  </a:cubicBezTo>
                  <a:cubicBezTo>
                    <a:pt x="65469" y="0"/>
                    <a:pt x="0" y="65469"/>
                    <a:pt x="0" y="145488"/>
                  </a:cubicBezTo>
                  <a:cubicBezTo>
                    <a:pt x="0" y="225506"/>
                    <a:pt x="65469" y="290975"/>
                    <a:pt x="145488" y="290975"/>
                  </a:cubicBezTo>
                  <a:cubicBezTo>
                    <a:pt x="225506" y="290975"/>
                    <a:pt x="290975" y="225506"/>
                    <a:pt x="290975" y="145488"/>
                  </a:cubicBezTo>
                  <a:cubicBezTo>
                    <a:pt x="290975" y="120633"/>
                    <a:pt x="284913" y="97598"/>
                    <a:pt x="274001" y="76987"/>
                  </a:cubicBezTo>
                  <a:lnTo>
                    <a:pt x="246723" y="104266"/>
                  </a:lnTo>
                  <a:close/>
                </a:path>
              </a:pathLst>
            </a:custGeom>
            <a:grpFill/>
            <a:ln w="6052" cap="flat">
              <a:noFill/>
              <a:prstDash val="solid"/>
              <a:miter/>
            </a:ln>
          </p:spPr>
          <p:txBody>
            <a:bodyPr rtlCol="0" anchor="ctr"/>
            <a:lstStyle/>
            <a:p>
              <a:endParaRPr lang="en-US"/>
            </a:p>
          </p:txBody>
        </p:sp>
      </p:grpSp>
    </p:spTree>
    <p:extLst>
      <p:ext uri="{BB962C8B-B14F-4D97-AF65-F5344CB8AC3E}">
        <p14:creationId xmlns:p14="http://schemas.microsoft.com/office/powerpoint/2010/main" val="265409077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2 Signs referring/related to public safety risks</a:t>
            </a:r>
          </a:p>
        </p:txBody>
      </p:sp>
      <p:sp>
        <p:nvSpPr>
          <p:cNvPr id="4" name="Rectangle: Rounded Corners 3">
            <a:extLst>
              <a:ext uri="{FF2B5EF4-FFF2-40B4-BE49-F238E27FC236}">
                <a16:creationId xmlns:a16="http://schemas.microsoft.com/office/drawing/2014/main" id="{4423B4C8-9E86-4CE9-EC00-D7C9E3902885}"/>
              </a:ext>
            </a:extLst>
          </p:cNvPr>
          <p:cNvSpPr/>
          <p:nvPr/>
        </p:nvSpPr>
        <p:spPr>
          <a:xfrm>
            <a:off x="651600" y="1913501"/>
            <a:ext cx="1833478" cy="923640"/>
          </a:xfrm>
          <a:prstGeom prst="roundRect">
            <a:avLst/>
          </a:prstGeom>
          <a:solidFill>
            <a:srgbClr val="0C4CA2"/>
          </a:solidFill>
          <a:ln w="19050">
            <a:solidFill>
              <a:srgbClr val="4BACC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1" dirty="0">
              <a:solidFill>
                <a:schemeClr val="bg1"/>
              </a:solidFill>
              <a:latin typeface="Arial" panose="020B0604020202020204" pitchFamily="34" charset="0"/>
              <a:cs typeface="Arial" panose="020B0604020202020204" pitchFamily="34" charset="0"/>
            </a:endParaRPr>
          </a:p>
          <a:p>
            <a:pPr algn="ctr"/>
            <a:r>
              <a:rPr lang="en-GB" sz="1400" b="1">
                <a:solidFill>
                  <a:schemeClr val="bg1"/>
                </a:solidFill>
                <a:latin typeface="Arial" panose="020B0604020202020204" pitchFamily="34" charset="0"/>
                <a:cs typeface="Arial" panose="020B0604020202020204" pitchFamily="34" charset="0"/>
              </a:rPr>
              <a:t>What types </a:t>
            </a:r>
            <a:r>
              <a:rPr lang="en-GB" sz="1400" b="1" dirty="0">
                <a:solidFill>
                  <a:schemeClr val="bg1"/>
                </a:solidFill>
                <a:latin typeface="Arial" panose="020B0604020202020204" pitchFamily="34" charset="0"/>
                <a:cs typeface="Arial" panose="020B0604020202020204" pitchFamily="34" charset="0"/>
              </a:rPr>
              <a:t>of signs does this group comprise? </a:t>
            </a:r>
          </a:p>
          <a:p>
            <a:pPr algn="ctr"/>
            <a:endParaRPr lang="en-GB" dirty="0">
              <a:solidFill>
                <a:schemeClr val="bg1"/>
              </a:solidFill>
            </a:endParaRPr>
          </a:p>
        </p:txBody>
      </p:sp>
      <p:sp>
        <p:nvSpPr>
          <p:cNvPr id="5" name="Freeform: Shape 4">
            <a:extLst>
              <a:ext uri="{FF2B5EF4-FFF2-40B4-BE49-F238E27FC236}">
                <a16:creationId xmlns:a16="http://schemas.microsoft.com/office/drawing/2014/main" id="{999F47D8-22C0-C8C5-403F-E287CD430730}"/>
              </a:ext>
            </a:extLst>
          </p:cNvPr>
          <p:cNvSpPr/>
          <p:nvPr/>
        </p:nvSpPr>
        <p:spPr>
          <a:xfrm>
            <a:off x="2616200" y="1715356"/>
            <a:ext cx="6105392" cy="619854"/>
          </a:xfrm>
          <a:custGeom>
            <a:avLst/>
            <a:gdLst>
              <a:gd name="connsiteX0" fmla="*/ 0 w 4363394"/>
              <a:gd name="connsiteY0" fmla="*/ 174617 h 1746173"/>
              <a:gd name="connsiteX1" fmla="*/ 174617 w 4363394"/>
              <a:gd name="connsiteY1" fmla="*/ 0 h 1746173"/>
              <a:gd name="connsiteX2" fmla="*/ 4188777 w 4363394"/>
              <a:gd name="connsiteY2" fmla="*/ 0 h 1746173"/>
              <a:gd name="connsiteX3" fmla="*/ 4363394 w 4363394"/>
              <a:gd name="connsiteY3" fmla="*/ 174617 h 1746173"/>
              <a:gd name="connsiteX4" fmla="*/ 4363394 w 4363394"/>
              <a:gd name="connsiteY4" fmla="*/ 1571556 h 1746173"/>
              <a:gd name="connsiteX5" fmla="*/ 4188777 w 4363394"/>
              <a:gd name="connsiteY5" fmla="*/ 1746173 h 1746173"/>
              <a:gd name="connsiteX6" fmla="*/ 174617 w 4363394"/>
              <a:gd name="connsiteY6" fmla="*/ 1746173 h 1746173"/>
              <a:gd name="connsiteX7" fmla="*/ 0 w 4363394"/>
              <a:gd name="connsiteY7" fmla="*/ 1571556 h 1746173"/>
              <a:gd name="connsiteX8" fmla="*/ 0 w 4363394"/>
              <a:gd name="connsiteY8" fmla="*/ 174617 h 1746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63394" h="1746173">
                <a:moveTo>
                  <a:pt x="0" y="174617"/>
                </a:moveTo>
                <a:cubicBezTo>
                  <a:pt x="0" y="78179"/>
                  <a:pt x="78179" y="0"/>
                  <a:pt x="174617" y="0"/>
                </a:cubicBezTo>
                <a:lnTo>
                  <a:pt x="4188777" y="0"/>
                </a:lnTo>
                <a:cubicBezTo>
                  <a:pt x="4285215" y="0"/>
                  <a:pt x="4363394" y="78179"/>
                  <a:pt x="4363394" y="174617"/>
                </a:cubicBezTo>
                <a:lnTo>
                  <a:pt x="4363394" y="1571556"/>
                </a:lnTo>
                <a:cubicBezTo>
                  <a:pt x="4363394" y="1667994"/>
                  <a:pt x="4285215" y="1746173"/>
                  <a:pt x="4188777" y="1746173"/>
                </a:cubicBezTo>
                <a:lnTo>
                  <a:pt x="174617" y="1746173"/>
                </a:lnTo>
                <a:cubicBezTo>
                  <a:pt x="78179" y="1746173"/>
                  <a:pt x="0" y="1667994"/>
                  <a:pt x="0" y="1571556"/>
                </a:cubicBezTo>
                <a:lnTo>
                  <a:pt x="0" y="17461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50712" tIns="150712" rIns="150712" bIns="150712" numCol="1" spcCol="1270" anchor="ctr" anchorCtr="0">
            <a:noAutofit/>
          </a:bodyPr>
          <a:lstStyle/>
          <a:p>
            <a:pPr marL="285750" lvl="0" indent="-285750">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Promoting and/or trivialising a public safety risk and/or the consequences arising from it</a:t>
            </a:r>
            <a:endParaRPr lang="en-GB" sz="1400" dirty="0"/>
          </a:p>
        </p:txBody>
      </p:sp>
      <p:sp>
        <p:nvSpPr>
          <p:cNvPr id="7" name="Freeform: Shape 6">
            <a:extLst>
              <a:ext uri="{FF2B5EF4-FFF2-40B4-BE49-F238E27FC236}">
                <a16:creationId xmlns:a16="http://schemas.microsoft.com/office/drawing/2014/main" id="{3D87CA12-6FF3-AF0B-191E-D7159811009F}"/>
              </a:ext>
            </a:extLst>
          </p:cNvPr>
          <p:cNvSpPr/>
          <p:nvPr/>
        </p:nvSpPr>
        <p:spPr>
          <a:xfrm>
            <a:off x="2616200" y="2613921"/>
            <a:ext cx="6105392" cy="619200"/>
          </a:xfrm>
          <a:custGeom>
            <a:avLst/>
            <a:gdLst>
              <a:gd name="connsiteX0" fmla="*/ 0 w 4363394"/>
              <a:gd name="connsiteY0" fmla="*/ 174617 h 1746173"/>
              <a:gd name="connsiteX1" fmla="*/ 174617 w 4363394"/>
              <a:gd name="connsiteY1" fmla="*/ 0 h 1746173"/>
              <a:gd name="connsiteX2" fmla="*/ 4188777 w 4363394"/>
              <a:gd name="connsiteY2" fmla="*/ 0 h 1746173"/>
              <a:gd name="connsiteX3" fmla="*/ 4363394 w 4363394"/>
              <a:gd name="connsiteY3" fmla="*/ 174617 h 1746173"/>
              <a:gd name="connsiteX4" fmla="*/ 4363394 w 4363394"/>
              <a:gd name="connsiteY4" fmla="*/ 1571556 h 1746173"/>
              <a:gd name="connsiteX5" fmla="*/ 4188777 w 4363394"/>
              <a:gd name="connsiteY5" fmla="*/ 1746173 h 1746173"/>
              <a:gd name="connsiteX6" fmla="*/ 174617 w 4363394"/>
              <a:gd name="connsiteY6" fmla="*/ 1746173 h 1746173"/>
              <a:gd name="connsiteX7" fmla="*/ 0 w 4363394"/>
              <a:gd name="connsiteY7" fmla="*/ 1571556 h 1746173"/>
              <a:gd name="connsiteX8" fmla="*/ 0 w 4363394"/>
              <a:gd name="connsiteY8" fmla="*/ 174617 h 1746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63394" h="1746173">
                <a:moveTo>
                  <a:pt x="0" y="174617"/>
                </a:moveTo>
                <a:cubicBezTo>
                  <a:pt x="0" y="78179"/>
                  <a:pt x="78179" y="0"/>
                  <a:pt x="174617" y="0"/>
                </a:cubicBezTo>
                <a:lnTo>
                  <a:pt x="4188777" y="0"/>
                </a:lnTo>
                <a:cubicBezTo>
                  <a:pt x="4285215" y="0"/>
                  <a:pt x="4363394" y="78179"/>
                  <a:pt x="4363394" y="174617"/>
                </a:cubicBezTo>
                <a:lnTo>
                  <a:pt x="4363394" y="1571556"/>
                </a:lnTo>
                <a:cubicBezTo>
                  <a:pt x="4363394" y="1667994"/>
                  <a:pt x="4285215" y="1746173"/>
                  <a:pt x="4188777" y="1746173"/>
                </a:cubicBezTo>
                <a:lnTo>
                  <a:pt x="174617" y="1746173"/>
                </a:lnTo>
                <a:cubicBezTo>
                  <a:pt x="78179" y="1746173"/>
                  <a:pt x="0" y="1667994"/>
                  <a:pt x="0" y="1571556"/>
                </a:cubicBezTo>
                <a:lnTo>
                  <a:pt x="0" y="17461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50712" tIns="150712" rIns="150712" bIns="150712" numCol="1" spcCol="1270" anchor="ctr" anchorCtr="0">
            <a:noAutofit/>
          </a:bodyPr>
          <a:lstStyle/>
          <a:p>
            <a:pPr marL="285750" lvl="0" indent="-285750" algn="l" defTabSz="533400">
              <a:lnSpc>
                <a:spcPct val="90000"/>
              </a:lnSpc>
              <a:spcBef>
                <a:spcPct val="0"/>
              </a:spcBef>
              <a:spcAft>
                <a:spcPct val="15000"/>
              </a:spcAft>
              <a:buFont typeface="Wingdings" panose="05000000000000000000" pitchFamily="2" charset="2"/>
              <a:buChar char="Ø"/>
            </a:pPr>
            <a:r>
              <a:rPr lang="en-GB" sz="1400" kern="1200" dirty="0">
                <a:solidFill>
                  <a:srgbClr val="1F497D"/>
                </a:solidFill>
                <a:latin typeface="Arial" panose="020B0604020202020204" pitchFamily="34" charset="0"/>
                <a:ea typeface="+mn-ea"/>
                <a:cs typeface="Arial" panose="020B0604020202020204" pitchFamily="34" charset="0"/>
              </a:rPr>
              <a:t>Those whose registration pose a risk to public safety and/or health</a:t>
            </a:r>
          </a:p>
        </p:txBody>
      </p:sp>
      <p:sp>
        <p:nvSpPr>
          <p:cNvPr id="10" name="TextBox 9">
            <a:extLst>
              <a:ext uri="{FF2B5EF4-FFF2-40B4-BE49-F238E27FC236}">
                <a16:creationId xmlns:a16="http://schemas.microsoft.com/office/drawing/2014/main" id="{944A1285-2FF6-B3CE-0EA9-498148EB328C}"/>
              </a:ext>
            </a:extLst>
          </p:cNvPr>
          <p:cNvSpPr txBox="1"/>
          <p:nvPr/>
        </p:nvSpPr>
        <p:spPr>
          <a:xfrm>
            <a:off x="672935" y="3465366"/>
            <a:ext cx="8048657" cy="1348511"/>
          </a:xfrm>
          <a:prstGeom prst="rect">
            <a:avLst/>
          </a:prstGeom>
          <a:noFill/>
        </p:spPr>
        <p:txBody>
          <a:bodyPr wrap="square">
            <a:spAutoFit/>
          </a:bodyPr>
          <a:lstStyle/>
          <a:p>
            <a:pPr marL="171450" indent="-171450" algn="just">
              <a:lnSpc>
                <a:spcPct val="115000"/>
              </a:lnSpc>
              <a:buFont typeface="Arial" panose="020B0604020202020204" pitchFamily="34" charset="0"/>
              <a:buChar char="•"/>
            </a:pPr>
            <a:r>
              <a:rPr lang="en-GB" sz="1200" b="1" i="0" dirty="0">
                <a:solidFill>
                  <a:srgbClr val="14438E"/>
                </a:solidFill>
                <a:effectLst/>
                <a:latin typeface="Arial" panose="020B0604020202020204" pitchFamily="34" charset="0"/>
                <a:cs typeface="Arial" panose="020B0604020202020204" pitchFamily="34" charset="0"/>
              </a:rPr>
              <a:t>Contrary to public policy: </a:t>
            </a:r>
            <a:r>
              <a:rPr lang="en-GB" sz="1200" b="0" i="0" dirty="0">
                <a:solidFill>
                  <a:srgbClr val="14438E"/>
                </a:solidFill>
                <a:effectLst/>
                <a:latin typeface="Arial" panose="020B0604020202020204" pitchFamily="34" charset="0"/>
                <a:cs typeface="Arial" panose="020B0604020202020204" pitchFamily="34" charset="0"/>
              </a:rPr>
              <a:t>whenever they can </a:t>
            </a:r>
            <a:r>
              <a:rPr lang="en-GB" sz="1200" i="0" dirty="0">
                <a:solidFill>
                  <a:srgbClr val="14438E"/>
                </a:solidFill>
                <a:effectLst/>
                <a:latin typeface="Arial" panose="020B0604020202020204" pitchFamily="34" charset="0"/>
                <a:cs typeface="Arial" panose="020B0604020202020204" pitchFamily="34" charset="0"/>
              </a:rPr>
              <a:t>be understood by the relevant public as clearly inciting and/or trivialising acts and/or omissions that affect/endanger the public’s safety and/or health, and/or the consequences arising from such acts or omissions.</a:t>
            </a:r>
            <a:endParaRPr lang="en-GB" sz="12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endParaRPr>
          </a:p>
          <a:p>
            <a:pPr marL="171450" indent="-171450" algn="just">
              <a:lnSpc>
                <a:spcPct val="115000"/>
              </a:lnSpc>
              <a:buFont typeface="Arial" panose="020B0604020202020204" pitchFamily="34" charset="0"/>
              <a:buChar char="•"/>
            </a:pPr>
            <a:endParaRPr lang="en-GB" sz="12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endParaRPr>
          </a:p>
          <a:p>
            <a:pPr marL="171450" indent="-171450" algn="just">
              <a:lnSpc>
                <a:spcPct val="115000"/>
              </a:lnSpc>
              <a:buFont typeface="Arial" panose="020B0604020202020204" pitchFamily="34" charset="0"/>
              <a:buChar char="•"/>
            </a:pPr>
            <a:r>
              <a:rPr lang="en-GB" sz="1200" b="1" i="0" dirty="0">
                <a:solidFill>
                  <a:srgbClr val="14438E"/>
                </a:solidFill>
                <a:effectLst/>
                <a:latin typeface="Arial" panose="020B0604020202020204" pitchFamily="34" charset="0"/>
                <a:cs typeface="Arial" panose="020B0604020202020204" pitchFamily="34" charset="0"/>
              </a:rPr>
              <a:t>Contrary to accepted principles of morality:</a:t>
            </a:r>
            <a:r>
              <a:rPr lang="en-GB" sz="1200" b="0" i="0" dirty="0">
                <a:solidFill>
                  <a:srgbClr val="14438E"/>
                </a:solidFill>
                <a:effectLst/>
                <a:latin typeface="Arial" panose="020B0604020202020204" pitchFamily="34" charset="0"/>
                <a:cs typeface="Arial" panose="020B0604020202020204" pitchFamily="34" charset="0"/>
              </a:rPr>
              <a:t> </a:t>
            </a:r>
            <a:r>
              <a:rPr lang="en-GB" sz="1200" i="0" dirty="0">
                <a:solidFill>
                  <a:srgbClr val="14438E"/>
                </a:solidFill>
                <a:effectLst/>
                <a:latin typeface="Arial" panose="020B0604020202020204" pitchFamily="34" charset="0"/>
                <a:cs typeface="Arial" panose="020B0604020202020204" pitchFamily="34" charset="0"/>
              </a:rPr>
              <a:t>whenever they clearly offend and/or shock the relevant public’s moral values and standards in any manner.</a:t>
            </a:r>
            <a:endParaRPr lang="en-GB" sz="12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endParaRPr>
          </a:p>
        </p:txBody>
      </p:sp>
    </p:spTree>
    <p:extLst>
      <p:ext uri="{BB962C8B-B14F-4D97-AF65-F5344CB8AC3E}">
        <p14:creationId xmlns:p14="http://schemas.microsoft.com/office/powerpoint/2010/main" val="39793791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2 Signs referring/related to public safety risks</a:t>
            </a:r>
          </a:p>
        </p:txBody>
      </p:sp>
      <p:sp>
        <p:nvSpPr>
          <p:cNvPr id="9" name="TextBox 8">
            <a:extLst>
              <a:ext uri="{FF2B5EF4-FFF2-40B4-BE49-F238E27FC236}">
                <a16:creationId xmlns:a16="http://schemas.microsoft.com/office/drawing/2014/main" id="{33A8B9CF-D3A1-4860-7141-AB1526E27B64}"/>
              </a:ext>
            </a:extLst>
          </p:cNvPr>
          <p:cNvSpPr txBox="1"/>
          <p:nvPr/>
        </p:nvSpPr>
        <p:spPr>
          <a:xfrm>
            <a:off x="3052705" y="1764000"/>
            <a:ext cx="5668887" cy="2046714"/>
          </a:xfrm>
          <a:prstGeom prst="rect">
            <a:avLst/>
          </a:prstGeom>
          <a:noFill/>
          <a:effectLst>
            <a:softEdge rad="12700"/>
          </a:effectLst>
        </p:spPr>
        <p:txBody>
          <a:bodyPr wrap="square" rtlCol="0">
            <a:spAutoFit/>
          </a:bodyPr>
          <a:lstStyle/>
          <a:p>
            <a:pPr marL="285750" indent="-285750" algn="just">
              <a:spcBef>
                <a:spcPts val="600"/>
              </a:spcBef>
              <a:buFontTx/>
              <a:buChar char="-"/>
            </a:pPr>
            <a:r>
              <a:rPr lang="en-GB" sz="1400" dirty="0">
                <a:solidFill>
                  <a:srgbClr val="2A5494"/>
                </a:solidFill>
                <a:latin typeface="Arial "/>
              </a:rPr>
              <a:t>The message conveyed by the sign could be understood as inciting self-harm and suicide.</a:t>
            </a:r>
          </a:p>
          <a:p>
            <a:pPr marL="285750" indent="-285750" algn="just">
              <a:spcBef>
                <a:spcPts val="600"/>
              </a:spcBef>
              <a:buFontTx/>
              <a:buChar char="-"/>
            </a:pPr>
            <a:r>
              <a:rPr lang="en-GB" sz="1400" dirty="0">
                <a:solidFill>
                  <a:srgbClr val="2A5494"/>
                </a:solidFill>
                <a:latin typeface="Arial "/>
              </a:rPr>
              <a:t>Using an incitement to self-harm and suicide for commercial purposes would be likely to shock and offend the relevant public, which includes vulnerable age groups.</a:t>
            </a:r>
          </a:p>
          <a:p>
            <a:pPr algn="just">
              <a:spcBef>
                <a:spcPts val="600"/>
              </a:spcBef>
            </a:pPr>
            <a:endParaRPr lang="en-GB" sz="1400" dirty="0">
              <a:solidFill>
                <a:srgbClr val="2A5494"/>
              </a:solidFill>
              <a:latin typeface="Arial "/>
            </a:endParaRPr>
          </a:p>
          <a:p>
            <a:pPr marL="285750" indent="-285750" algn="just">
              <a:spcBef>
                <a:spcPts val="600"/>
              </a:spcBef>
              <a:buFont typeface="Wingdings" panose="05000000000000000000" pitchFamily="2" charset="2"/>
              <a:buChar char="Ø"/>
            </a:pPr>
            <a:r>
              <a:rPr lang="en-GB" sz="1400" dirty="0">
                <a:solidFill>
                  <a:srgbClr val="2A5494"/>
                </a:solidFill>
                <a:latin typeface="Arial "/>
              </a:rPr>
              <a:t>The sign is </a:t>
            </a:r>
            <a:r>
              <a:rPr lang="en-GB" sz="1400" b="1" dirty="0">
                <a:solidFill>
                  <a:srgbClr val="2A5494"/>
                </a:solidFill>
                <a:latin typeface="Arial "/>
              </a:rPr>
              <a:t>contrary to public policy and accepted principles of morality</a:t>
            </a:r>
            <a:endParaRPr lang="en-GB" sz="1400" dirty="0">
              <a:solidFill>
                <a:srgbClr val="2A5494"/>
              </a:solidFill>
              <a:latin typeface="Arial "/>
            </a:endParaRPr>
          </a:p>
        </p:txBody>
      </p:sp>
      <p:sp>
        <p:nvSpPr>
          <p:cNvPr id="10" name="TextBox 9">
            <a:extLst>
              <a:ext uri="{FF2B5EF4-FFF2-40B4-BE49-F238E27FC236}">
                <a16:creationId xmlns:a16="http://schemas.microsoft.com/office/drawing/2014/main" id="{2848669B-0598-C88F-35AF-D0C4F5C5AFA7}"/>
              </a:ext>
            </a:extLst>
          </p:cNvPr>
          <p:cNvSpPr txBox="1"/>
          <p:nvPr/>
        </p:nvSpPr>
        <p:spPr>
          <a:xfrm>
            <a:off x="683568" y="3793185"/>
            <a:ext cx="2139635" cy="523220"/>
          </a:xfrm>
          <a:prstGeom prst="rect">
            <a:avLst/>
          </a:prstGeom>
          <a:noFill/>
        </p:spPr>
        <p:txBody>
          <a:bodyPr wrap="square" rtlCol="0">
            <a:spAutoFit/>
          </a:bodyPr>
          <a:lstStyle/>
          <a:p>
            <a:r>
              <a:rPr lang="en-GB" sz="1400" dirty="0">
                <a:solidFill>
                  <a:srgbClr val="2A5494"/>
                </a:solidFill>
                <a:latin typeface="Arial "/>
              </a:rPr>
              <a:t>Class 41: Education and instruction services</a:t>
            </a:r>
          </a:p>
        </p:txBody>
      </p:sp>
      <p:sp>
        <p:nvSpPr>
          <p:cNvPr id="11" name="TextBox 10">
            <a:extLst>
              <a:ext uri="{FF2B5EF4-FFF2-40B4-BE49-F238E27FC236}">
                <a16:creationId xmlns:a16="http://schemas.microsoft.com/office/drawing/2014/main" id="{ACFB4CE0-EB12-4BB8-191E-A02DA50FFAEE}"/>
              </a:ext>
            </a:extLst>
          </p:cNvPr>
          <p:cNvSpPr txBox="1"/>
          <p:nvPr/>
        </p:nvSpPr>
        <p:spPr>
          <a:xfrm>
            <a:off x="3386337" y="3924400"/>
            <a:ext cx="4572000" cy="307777"/>
          </a:xfrm>
          <a:prstGeom prst="rect">
            <a:avLst/>
          </a:prstGeom>
          <a:solidFill>
            <a:schemeClr val="accent2">
              <a:lumMod val="40000"/>
              <a:lumOff val="60000"/>
            </a:schemeClr>
          </a:solidFill>
        </p:spPr>
        <p:txBody>
          <a:bodyPr wrap="square" rtlCol="0">
            <a:spAutoFit/>
          </a:bodyPr>
          <a:lstStyle/>
          <a:p>
            <a:pPr algn="ctr"/>
            <a:r>
              <a:rPr lang="en-GB" sz="1400" dirty="0">
                <a:solidFill>
                  <a:schemeClr val="tx2"/>
                </a:solidFill>
                <a:latin typeface="Arial" panose="020B0604020202020204" pitchFamily="34" charset="0"/>
                <a:cs typeface="Arial" panose="020B0604020202020204" pitchFamily="34" charset="0"/>
              </a:rPr>
              <a:t>Objectionable under Article 4(1)(f) TMD</a:t>
            </a:r>
          </a:p>
        </p:txBody>
      </p:sp>
      <p:pic>
        <p:nvPicPr>
          <p:cNvPr id="13" name="Picture 12">
            <a:extLst>
              <a:ext uri="{FF2B5EF4-FFF2-40B4-BE49-F238E27FC236}">
                <a16:creationId xmlns:a16="http://schemas.microsoft.com/office/drawing/2014/main" id="{10237DF1-E021-4586-10D5-4104A5925F76}"/>
              </a:ext>
            </a:extLst>
          </p:cNvPr>
          <p:cNvPicPr>
            <a:picLocks noChangeAspect="1"/>
          </p:cNvPicPr>
          <p:nvPr/>
        </p:nvPicPr>
        <p:blipFill rotWithShape="1">
          <a:blip r:embed="rId4"/>
          <a:srcRect r="8368"/>
          <a:stretch/>
        </p:blipFill>
        <p:spPr>
          <a:xfrm>
            <a:off x="920274" y="1843394"/>
            <a:ext cx="1649481" cy="1887926"/>
          </a:xfrm>
          <a:prstGeom prst="rect">
            <a:avLst/>
          </a:prstGeom>
          <a:ln w="28575">
            <a:solidFill>
              <a:srgbClr val="C00000"/>
            </a:solidFill>
          </a:ln>
        </p:spPr>
      </p:pic>
    </p:spTree>
    <p:extLst>
      <p:ext uri="{BB962C8B-B14F-4D97-AF65-F5344CB8AC3E}">
        <p14:creationId xmlns:p14="http://schemas.microsoft.com/office/powerpoint/2010/main" val="6107225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3 Signs with a religious or sacred nexus</a:t>
            </a:r>
          </a:p>
        </p:txBody>
      </p:sp>
      <p:sp>
        <p:nvSpPr>
          <p:cNvPr id="4" name="Rectangle: Rounded Corners 3">
            <a:extLst>
              <a:ext uri="{FF2B5EF4-FFF2-40B4-BE49-F238E27FC236}">
                <a16:creationId xmlns:a16="http://schemas.microsoft.com/office/drawing/2014/main" id="{989B9EEA-3D65-B7DA-8470-FB463318D8B7}"/>
              </a:ext>
            </a:extLst>
          </p:cNvPr>
          <p:cNvSpPr/>
          <p:nvPr/>
        </p:nvSpPr>
        <p:spPr>
          <a:xfrm>
            <a:off x="651600" y="1878731"/>
            <a:ext cx="1833478" cy="923640"/>
          </a:xfrm>
          <a:prstGeom prst="roundRect">
            <a:avLst/>
          </a:prstGeom>
          <a:solidFill>
            <a:srgbClr val="0C4CA2"/>
          </a:solidFill>
          <a:ln w="19050">
            <a:solidFill>
              <a:srgbClr val="4BACC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1" dirty="0">
              <a:solidFill>
                <a:schemeClr val="bg1"/>
              </a:solidFill>
              <a:latin typeface="Arial" panose="020B0604020202020204" pitchFamily="34" charset="0"/>
              <a:cs typeface="Arial" panose="020B0604020202020204" pitchFamily="34" charset="0"/>
            </a:endParaRPr>
          </a:p>
          <a:p>
            <a:pPr algn="ctr"/>
            <a:r>
              <a:rPr lang="en-GB" sz="1400" b="1">
                <a:solidFill>
                  <a:schemeClr val="bg1"/>
                </a:solidFill>
                <a:latin typeface="Arial" panose="020B0604020202020204" pitchFamily="34" charset="0"/>
                <a:cs typeface="Arial" panose="020B0604020202020204" pitchFamily="34" charset="0"/>
              </a:rPr>
              <a:t>What types </a:t>
            </a:r>
            <a:r>
              <a:rPr lang="en-GB" sz="1400" b="1" dirty="0">
                <a:solidFill>
                  <a:schemeClr val="bg1"/>
                </a:solidFill>
                <a:latin typeface="Arial" panose="020B0604020202020204" pitchFamily="34" charset="0"/>
                <a:cs typeface="Arial" panose="020B0604020202020204" pitchFamily="34" charset="0"/>
              </a:rPr>
              <a:t>of signs does this group comprise? </a:t>
            </a:r>
          </a:p>
          <a:p>
            <a:pPr algn="ctr"/>
            <a:endParaRPr lang="en-GB" dirty="0">
              <a:solidFill>
                <a:schemeClr val="bg1"/>
              </a:solidFill>
            </a:endParaRPr>
          </a:p>
        </p:txBody>
      </p:sp>
      <p:sp>
        <p:nvSpPr>
          <p:cNvPr id="5" name="Freeform: Shape 4">
            <a:extLst>
              <a:ext uri="{FF2B5EF4-FFF2-40B4-BE49-F238E27FC236}">
                <a16:creationId xmlns:a16="http://schemas.microsoft.com/office/drawing/2014/main" id="{22FB7635-819B-B7CB-A1ED-1A4E3894E8FA}"/>
              </a:ext>
            </a:extLst>
          </p:cNvPr>
          <p:cNvSpPr/>
          <p:nvPr/>
        </p:nvSpPr>
        <p:spPr>
          <a:xfrm>
            <a:off x="2650246" y="1473542"/>
            <a:ext cx="6104780" cy="1732510"/>
          </a:xfrm>
          <a:custGeom>
            <a:avLst/>
            <a:gdLst>
              <a:gd name="connsiteX0" fmla="*/ 0 w 4363394"/>
              <a:gd name="connsiteY0" fmla="*/ 174617 h 1746173"/>
              <a:gd name="connsiteX1" fmla="*/ 174617 w 4363394"/>
              <a:gd name="connsiteY1" fmla="*/ 0 h 1746173"/>
              <a:gd name="connsiteX2" fmla="*/ 4188777 w 4363394"/>
              <a:gd name="connsiteY2" fmla="*/ 0 h 1746173"/>
              <a:gd name="connsiteX3" fmla="*/ 4363394 w 4363394"/>
              <a:gd name="connsiteY3" fmla="*/ 174617 h 1746173"/>
              <a:gd name="connsiteX4" fmla="*/ 4363394 w 4363394"/>
              <a:gd name="connsiteY4" fmla="*/ 1571556 h 1746173"/>
              <a:gd name="connsiteX5" fmla="*/ 4188777 w 4363394"/>
              <a:gd name="connsiteY5" fmla="*/ 1746173 h 1746173"/>
              <a:gd name="connsiteX6" fmla="*/ 174617 w 4363394"/>
              <a:gd name="connsiteY6" fmla="*/ 1746173 h 1746173"/>
              <a:gd name="connsiteX7" fmla="*/ 0 w 4363394"/>
              <a:gd name="connsiteY7" fmla="*/ 1571556 h 1746173"/>
              <a:gd name="connsiteX8" fmla="*/ 0 w 4363394"/>
              <a:gd name="connsiteY8" fmla="*/ 174617 h 1746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63394" h="1746173">
                <a:moveTo>
                  <a:pt x="0" y="174617"/>
                </a:moveTo>
                <a:cubicBezTo>
                  <a:pt x="0" y="78179"/>
                  <a:pt x="78179" y="0"/>
                  <a:pt x="174617" y="0"/>
                </a:cubicBezTo>
                <a:lnTo>
                  <a:pt x="4188777" y="0"/>
                </a:lnTo>
                <a:cubicBezTo>
                  <a:pt x="4285215" y="0"/>
                  <a:pt x="4363394" y="78179"/>
                  <a:pt x="4363394" y="174617"/>
                </a:cubicBezTo>
                <a:lnTo>
                  <a:pt x="4363394" y="1571556"/>
                </a:lnTo>
                <a:cubicBezTo>
                  <a:pt x="4363394" y="1667994"/>
                  <a:pt x="4285215" y="1746173"/>
                  <a:pt x="4188777" y="1746173"/>
                </a:cubicBezTo>
                <a:lnTo>
                  <a:pt x="174617" y="1746173"/>
                </a:lnTo>
                <a:cubicBezTo>
                  <a:pt x="78179" y="1746173"/>
                  <a:pt x="0" y="1667994"/>
                  <a:pt x="0" y="1571556"/>
                </a:cubicBezTo>
                <a:lnTo>
                  <a:pt x="0" y="17461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50712" tIns="150712" rIns="150712" bIns="150712" numCol="1" spcCol="1270" anchor="ctr" anchorCtr="0">
            <a:noAutofit/>
          </a:bodyPr>
          <a:lstStyle/>
          <a:p>
            <a:pPr marL="285750" lvl="0" indent="-285750">
              <a:lnSpc>
                <a:spcPct val="150000"/>
              </a:lnSpc>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Leading figures (e.g. the pope of the Catholic Church)</a:t>
            </a:r>
          </a:p>
          <a:p>
            <a:pPr marL="285750" lvl="0" indent="-285750">
              <a:lnSpc>
                <a:spcPct val="150000"/>
              </a:lnSpc>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Symbols</a:t>
            </a:r>
          </a:p>
          <a:p>
            <a:pPr marL="285750" lvl="0" indent="-285750">
              <a:lnSpc>
                <a:spcPct val="150000"/>
              </a:lnSpc>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Texts</a:t>
            </a:r>
          </a:p>
          <a:p>
            <a:pPr marL="285750" lvl="0" indent="-285750">
              <a:lnSpc>
                <a:spcPct val="150000"/>
              </a:lnSpc>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Ceremonies</a:t>
            </a:r>
          </a:p>
          <a:p>
            <a:pPr marL="285750" lvl="0" indent="-285750">
              <a:lnSpc>
                <a:spcPct val="150000"/>
              </a:lnSpc>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Worshippers</a:t>
            </a:r>
          </a:p>
        </p:txBody>
      </p:sp>
      <p:sp>
        <p:nvSpPr>
          <p:cNvPr id="9" name="TextBox 8">
            <a:extLst>
              <a:ext uri="{FF2B5EF4-FFF2-40B4-BE49-F238E27FC236}">
                <a16:creationId xmlns:a16="http://schemas.microsoft.com/office/drawing/2014/main" id="{8E3AEA71-780D-73A1-B5AB-F9B8AB388EEE}"/>
              </a:ext>
            </a:extLst>
          </p:cNvPr>
          <p:cNvSpPr txBox="1"/>
          <p:nvPr/>
        </p:nvSpPr>
        <p:spPr>
          <a:xfrm>
            <a:off x="651599" y="3441720"/>
            <a:ext cx="8103427" cy="1384995"/>
          </a:xfrm>
          <a:prstGeom prst="rect">
            <a:avLst/>
          </a:prstGeom>
          <a:noFill/>
        </p:spPr>
        <p:txBody>
          <a:bodyPr wrap="square">
            <a:spAutoFit/>
          </a:bodyPr>
          <a:lstStyle/>
          <a:p>
            <a:pPr marL="171450" indent="-171450" algn="just">
              <a:buFont typeface="Arial" panose="020B0604020202020204" pitchFamily="34" charset="0"/>
              <a:buChar char="•"/>
            </a:pPr>
            <a:r>
              <a:rPr lang="en-GB" sz="1200" b="1" dirty="0">
                <a:solidFill>
                  <a:srgbClr val="14438E"/>
                </a:solidFill>
                <a:effectLst/>
                <a:latin typeface="Arial" panose="020B0604020202020204" pitchFamily="34" charset="0"/>
                <a:ea typeface="Times New Roman" panose="02020603050405020304" pitchFamily="18" charset="0"/>
              </a:rPr>
              <a:t>Contrary to public policy and/or accepted principles of morality:</a:t>
            </a:r>
            <a:r>
              <a:rPr lang="en-GB" sz="1200" dirty="0">
                <a:solidFill>
                  <a:srgbClr val="14438E"/>
                </a:solidFill>
                <a:effectLst/>
                <a:latin typeface="Arial" panose="020B0604020202020204" pitchFamily="34" charset="0"/>
                <a:ea typeface="Times New Roman" panose="02020603050405020304" pitchFamily="18" charset="0"/>
              </a:rPr>
              <a:t> when perceived as insulting, discriminating, degrading, denigrating and/or trivialising, </a:t>
            </a:r>
            <a:r>
              <a:rPr lang="en-GB" sz="1200">
                <a:solidFill>
                  <a:srgbClr val="14438E"/>
                </a:solidFill>
                <a:effectLst/>
                <a:latin typeface="Arial" panose="020B0604020202020204" pitchFamily="34" charset="0"/>
                <a:ea typeface="Times New Roman" panose="02020603050405020304" pitchFamily="18" charset="0"/>
              </a:rPr>
              <a:t>and thus </a:t>
            </a:r>
            <a:r>
              <a:rPr lang="en-GB" sz="1200" dirty="0">
                <a:solidFill>
                  <a:srgbClr val="14438E"/>
                </a:solidFill>
                <a:effectLst/>
                <a:latin typeface="Arial" panose="020B0604020202020204" pitchFamily="34" charset="0"/>
                <a:ea typeface="Times New Roman" panose="02020603050405020304" pitchFamily="18" charset="0"/>
              </a:rPr>
              <a:t>causing offence to those believers, because it would be unacceptable to the general public’s sensitivities if they became aware of the offence caused. </a:t>
            </a:r>
          </a:p>
          <a:p>
            <a:pPr marL="171450" indent="-171450" algn="just">
              <a:buFont typeface="Arial" panose="020B0604020202020204" pitchFamily="34" charset="0"/>
              <a:buChar char="•"/>
            </a:pPr>
            <a:endParaRPr lang="en-GB" sz="1200" dirty="0">
              <a:solidFill>
                <a:srgbClr val="14438E"/>
              </a:solidFill>
              <a:latin typeface="Arial" panose="020B0604020202020204" pitchFamily="34" charset="0"/>
            </a:endParaRPr>
          </a:p>
          <a:p>
            <a:pPr lvl="2" algn="just"/>
            <a:r>
              <a:rPr lang="en-IE" sz="1200" b="1" dirty="0">
                <a:solidFill>
                  <a:srgbClr val="14438E"/>
                </a:solidFill>
                <a:latin typeface="Arial" panose="020B0604020202020204" pitchFamily="34" charset="0"/>
              </a:rPr>
              <a:t>Unlikely to be refused under Article 4(1)(f) TMD:</a:t>
            </a:r>
            <a:r>
              <a:rPr lang="en-IE" sz="1200" dirty="0">
                <a:solidFill>
                  <a:srgbClr val="14438E"/>
                </a:solidFill>
                <a:latin typeface="Arial" panose="020B0604020202020204" pitchFamily="34" charset="0"/>
              </a:rPr>
              <a:t> signs including religious elements without any disparaging connotation, if they are applied for with respect to goods and/or services whose purpose, content or intended use is related to religious activities. </a:t>
            </a:r>
          </a:p>
        </p:txBody>
      </p:sp>
      <p:sp>
        <p:nvSpPr>
          <p:cNvPr id="11" name="Rectangle: Rounded Corners 10">
            <a:extLst>
              <a:ext uri="{FF2B5EF4-FFF2-40B4-BE49-F238E27FC236}">
                <a16:creationId xmlns:a16="http://schemas.microsoft.com/office/drawing/2014/main" id="{0FFECF06-AA79-4C68-B68A-6AE7F82216EB}"/>
              </a:ext>
            </a:extLst>
          </p:cNvPr>
          <p:cNvSpPr/>
          <p:nvPr/>
        </p:nvSpPr>
        <p:spPr>
          <a:xfrm>
            <a:off x="4714286" y="2158735"/>
            <a:ext cx="3213656" cy="739511"/>
          </a:xfrm>
          <a:prstGeom prst="roundRect">
            <a:avLst/>
          </a:prstGeom>
          <a:solidFill>
            <a:schemeClr val="bg1">
              <a:lumMod val="95000"/>
            </a:schemeClr>
          </a:solidFill>
          <a:ln>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r>
              <a:rPr lang="en-IE" dirty="0">
                <a:solidFill>
                  <a:srgbClr val="14438E"/>
                </a:solidFill>
                <a:latin typeface="Arial" panose="020B0604020202020204" pitchFamily="34" charset="0"/>
                <a:cs typeface="Arial" panose="020B0604020202020204" pitchFamily="34" charset="0"/>
              </a:rPr>
              <a:t>Held in high esteem by the believers of that religion</a:t>
            </a:r>
          </a:p>
        </p:txBody>
      </p:sp>
      <p:grpSp>
        <p:nvGrpSpPr>
          <p:cNvPr id="18" name="Google Shape;1471;p52">
            <a:extLst>
              <a:ext uri="{FF2B5EF4-FFF2-40B4-BE49-F238E27FC236}">
                <a16:creationId xmlns:a16="http://schemas.microsoft.com/office/drawing/2014/main" id="{9A20420B-B353-4B1A-8A8A-9CE36F3706AC}"/>
              </a:ext>
            </a:extLst>
          </p:cNvPr>
          <p:cNvGrpSpPr/>
          <p:nvPr/>
        </p:nvGrpSpPr>
        <p:grpSpPr>
          <a:xfrm>
            <a:off x="1104852" y="4167469"/>
            <a:ext cx="358069" cy="317995"/>
            <a:chOff x="3584280" y="3699191"/>
            <a:chExt cx="358069" cy="317995"/>
          </a:xfrm>
          <a:solidFill>
            <a:srgbClr val="174489"/>
          </a:solidFill>
        </p:grpSpPr>
        <p:sp>
          <p:nvSpPr>
            <p:cNvPr id="19" name="Google Shape;1472;p52">
              <a:extLst>
                <a:ext uri="{FF2B5EF4-FFF2-40B4-BE49-F238E27FC236}">
                  <a16:creationId xmlns:a16="http://schemas.microsoft.com/office/drawing/2014/main" id="{43CDAAC6-D6B3-460A-9AEE-701E85AA4BA4}"/>
                </a:ext>
              </a:extLst>
            </p:cNvPr>
            <p:cNvSpPr/>
            <p:nvPr/>
          </p:nvSpPr>
          <p:spPr>
            <a:xfrm>
              <a:off x="3584280" y="3699191"/>
              <a:ext cx="358069" cy="317995"/>
            </a:xfrm>
            <a:custGeom>
              <a:avLst/>
              <a:gdLst/>
              <a:ahLst/>
              <a:cxnLst/>
              <a:rect l="l" t="t" r="r" b="b"/>
              <a:pathLst>
                <a:path w="11276" h="10014" extrusionOk="0">
                  <a:moveTo>
                    <a:pt x="5644" y="1"/>
                  </a:moveTo>
                  <a:cubicBezTo>
                    <a:pt x="5203" y="1"/>
                    <a:pt x="4810" y="227"/>
                    <a:pt x="4596" y="620"/>
                  </a:cubicBezTo>
                  <a:lnTo>
                    <a:pt x="822" y="7168"/>
                  </a:lnTo>
                  <a:cubicBezTo>
                    <a:pt x="774" y="7240"/>
                    <a:pt x="798" y="7347"/>
                    <a:pt x="881" y="7395"/>
                  </a:cubicBezTo>
                  <a:cubicBezTo>
                    <a:pt x="903" y="7406"/>
                    <a:pt x="929" y="7411"/>
                    <a:pt x="955" y="7411"/>
                  </a:cubicBezTo>
                  <a:cubicBezTo>
                    <a:pt x="1012" y="7411"/>
                    <a:pt x="1071" y="7384"/>
                    <a:pt x="1096" y="7335"/>
                  </a:cubicBezTo>
                  <a:lnTo>
                    <a:pt x="4882" y="787"/>
                  </a:lnTo>
                  <a:cubicBezTo>
                    <a:pt x="5049" y="513"/>
                    <a:pt x="5322" y="346"/>
                    <a:pt x="5644" y="346"/>
                  </a:cubicBezTo>
                  <a:cubicBezTo>
                    <a:pt x="5953" y="346"/>
                    <a:pt x="6239" y="513"/>
                    <a:pt x="6394" y="787"/>
                  </a:cubicBezTo>
                  <a:lnTo>
                    <a:pt x="10775" y="8359"/>
                  </a:lnTo>
                  <a:cubicBezTo>
                    <a:pt x="10942" y="8621"/>
                    <a:pt x="10942" y="8954"/>
                    <a:pt x="10775" y="9240"/>
                  </a:cubicBezTo>
                  <a:cubicBezTo>
                    <a:pt x="10609" y="9502"/>
                    <a:pt x="10323" y="9669"/>
                    <a:pt x="10013" y="9669"/>
                  </a:cubicBezTo>
                  <a:lnTo>
                    <a:pt x="1262" y="9669"/>
                  </a:lnTo>
                  <a:cubicBezTo>
                    <a:pt x="953" y="9669"/>
                    <a:pt x="667" y="9502"/>
                    <a:pt x="500" y="9240"/>
                  </a:cubicBezTo>
                  <a:cubicBezTo>
                    <a:pt x="346" y="8966"/>
                    <a:pt x="346" y="8645"/>
                    <a:pt x="500" y="8359"/>
                  </a:cubicBezTo>
                  <a:lnTo>
                    <a:pt x="774" y="7895"/>
                  </a:lnTo>
                  <a:cubicBezTo>
                    <a:pt x="822" y="7823"/>
                    <a:pt x="786" y="7716"/>
                    <a:pt x="715" y="7668"/>
                  </a:cubicBezTo>
                  <a:cubicBezTo>
                    <a:pt x="693" y="7657"/>
                    <a:pt x="667" y="7652"/>
                    <a:pt x="641" y="7652"/>
                  </a:cubicBezTo>
                  <a:cubicBezTo>
                    <a:pt x="583" y="7652"/>
                    <a:pt x="521" y="7679"/>
                    <a:pt x="488" y="7728"/>
                  </a:cubicBezTo>
                  <a:lnTo>
                    <a:pt x="227" y="8192"/>
                  </a:lnTo>
                  <a:cubicBezTo>
                    <a:pt x="0" y="8561"/>
                    <a:pt x="0" y="9026"/>
                    <a:pt x="227" y="9395"/>
                  </a:cubicBezTo>
                  <a:cubicBezTo>
                    <a:pt x="441" y="9776"/>
                    <a:pt x="834" y="10014"/>
                    <a:pt x="1262" y="10014"/>
                  </a:cubicBezTo>
                  <a:lnTo>
                    <a:pt x="10013" y="10014"/>
                  </a:lnTo>
                  <a:cubicBezTo>
                    <a:pt x="10442" y="10014"/>
                    <a:pt x="10847" y="9788"/>
                    <a:pt x="11061" y="9395"/>
                  </a:cubicBezTo>
                  <a:cubicBezTo>
                    <a:pt x="11276" y="9026"/>
                    <a:pt x="11276" y="8585"/>
                    <a:pt x="11061" y="8192"/>
                  </a:cubicBezTo>
                  <a:lnTo>
                    <a:pt x="6680" y="620"/>
                  </a:lnTo>
                  <a:cubicBezTo>
                    <a:pt x="6453" y="251"/>
                    <a:pt x="6072" y="1"/>
                    <a:pt x="5644" y="1"/>
                  </a:cubicBezTo>
                  <a:close/>
                </a:path>
              </a:pathLst>
            </a:custGeom>
            <a:grpFill/>
            <a:ln>
              <a:noFill/>
            </a:ln>
          </p:spPr>
          <p:txBody>
            <a:bodyPr spcFirstLastPara="1" wrap="square" lIns="91425" tIns="91425" rIns="91425" bIns="91425"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a:p>
          </p:txBody>
        </p:sp>
        <p:sp>
          <p:nvSpPr>
            <p:cNvPr id="20" name="Google Shape;1473;p52">
              <a:extLst>
                <a:ext uri="{FF2B5EF4-FFF2-40B4-BE49-F238E27FC236}">
                  <a16:creationId xmlns:a16="http://schemas.microsoft.com/office/drawing/2014/main" id="{B48DA709-EE3B-427A-882E-0D588E6DECBA}"/>
                </a:ext>
              </a:extLst>
            </p:cNvPr>
            <p:cNvSpPr/>
            <p:nvPr/>
          </p:nvSpPr>
          <p:spPr>
            <a:xfrm>
              <a:off x="3613400" y="3727167"/>
              <a:ext cx="299831" cy="261661"/>
            </a:xfrm>
            <a:custGeom>
              <a:avLst/>
              <a:gdLst/>
              <a:ahLst/>
              <a:cxnLst/>
              <a:rect l="l" t="t" r="r" b="b"/>
              <a:pathLst>
                <a:path w="9442" h="8240" extrusionOk="0">
                  <a:moveTo>
                    <a:pt x="4727" y="358"/>
                  </a:moveTo>
                  <a:lnTo>
                    <a:pt x="9085" y="7907"/>
                  </a:lnTo>
                  <a:lnTo>
                    <a:pt x="381" y="7907"/>
                  </a:lnTo>
                  <a:lnTo>
                    <a:pt x="4727" y="358"/>
                  </a:lnTo>
                  <a:close/>
                  <a:moveTo>
                    <a:pt x="4727" y="1"/>
                  </a:moveTo>
                  <a:cubicBezTo>
                    <a:pt x="4608" y="1"/>
                    <a:pt x="4501" y="60"/>
                    <a:pt x="4441" y="168"/>
                  </a:cubicBezTo>
                  <a:lnTo>
                    <a:pt x="60" y="7740"/>
                  </a:lnTo>
                  <a:cubicBezTo>
                    <a:pt x="0" y="7847"/>
                    <a:pt x="0" y="7966"/>
                    <a:pt x="60" y="8073"/>
                  </a:cubicBezTo>
                  <a:cubicBezTo>
                    <a:pt x="119" y="8192"/>
                    <a:pt x="226" y="8240"/>
                    <a:pt x="345" y="8240"/>
                  </a:cubicBezTo>
                  <a:lnTo>
                    <a:pt x="9096" y="8240"/>
                  </a:lnTo>
                  <a:cubicBezTo>
                    <a:pt x="9216" y="8240"/>
                    <a:pt x="9323" y="8180"/>
                    <a:pt x="9382" y="8073"/>
                  </a:cubicBezTo>
                  <a:cubicBezTo>
                    <a:pt x="9442" y="7966"/>
                    <a:pt x="9442" y="7847"/>
                    <a:pt x="9382" y="7740"/>
                  </a:cubicBezTo>
                  <a:lnTo>
                    <a:pt x="5001" y="168"/>
                  </a:lnTo>
                  <a:cubicBezTo>
                    <a:pt x="4941" y="60"/>
                    <a:pt x="4846" y="1"/>
                    <a:pt x="4727" y="1"/>
                  </a:cubicBezTo>
                  <a:close/>
                </a:path>
              </a:pathLst>
            </a:custGeom>
            <a:grpFill/>
            <a:ln>
              <a:noFill/>
            </a:ln>
          </p:spPr>
          <p:txBody>
            <a:bodyPr spcFirstLastPara="1" wrap="square" lIns="91425" tIns="91425" rIns="91425" bIns="91425"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a:p>
          </p:txBody>
        </p:sp>
        <p:sp>
          <p:nvSpPr>
            <p:cNvPr id="21" name="Google Shape;1474;p52">
              <a:extLst>
                <a:ext uri="{FF2B5EF4-FFF2-40B4-BE49-F238E27FC236}">
                  <a16:creationId xmlns:a16="http://schemas.microsoft.com/office/drawing/2014/main" id="{BA6A46AB-FF1A-4553-95ED-1F36E738A0D6}"/>
                </a:ext>
              </a:extLst>
            </p:cNvPr>
            <p:cNvSpPr/>
            <p:nvPr/>
          </p:nvSpPr>
          <p:spPr>
            <a:xfrm>
              <a:off x="3735879" y="3910171"/>
              <a:ext cx="54873" cy="54841"/>
            </a:xfrm>
            <a:custGeom>
              <a:avLst/>
              <a:gdLst/>
              <a:ahLst/>
              <a:cxnLst/>
              <a:rect l="l" t="t" r="r" b="b"/>
              <a:pathLst>
                <a:path w="1728" h="1727" extrusionOk="0">
                  <a:moveTo>
                    <a:pt x="870" y="322"/>
                  </a:moveTo>
                  <a:cubicBezTo>
                    <a:pt x="1168" y="322"/>
                    <a:pt x="1406" y="572"/>
                    <a:pt x="1406" y="870"/>
                  </a:cubicBezTo>
                  <a:cubicBezTo>
                    <a:pt x="1406" y="1167"/>
                    <a:pt x="1168" y="1405"/>
                    <a:pt x="870" y="1405"/>
                  </a:cubicBezTo>
                  <a:cubicBezTo>
                    <a:pt x="572" y="1405"/>
                    <a:pt x="334" y="1167"/>
                    <a:pt x="334" y="870"/>
                  </a:cubicBezTo>
                  <a:cubicBezTo>
                    <a:pt x="334" y="572"/>
                    <a:pt x="572" y="322"/>
                    <a:pt x="870" y="322"/>
                  </a:cubicBezTo>
                  <a:close/>
                  <a:moveTo>
                    <a:pt x="870" y="0"/>
                  </a:moveTo>
                  <a:cubicBezTo>
                    <a:pt x="394" y="0"/>
                    <a:pt x="1" y="393"/>
                    <a:pt x="1" y="870"/>
                  </a:cubicBezTo>
                  <a:cubicBezTo>
                    <a:pt x="1" y="1346"/>
                    <a:pt x="394" y="1727"/>
                    <a:pt x="870" y="1727"/>
                  </a:cubicBezTo>
                  <a:cubicBezTo>
                    <a:pt x="1346" y="1727"/>
                    <a:pt x="1727" y="1334"/>
                    <a:pt x="1727" y="870"/>
                  </a:cubicBezTo>
                  <a:cubicBezTo>
                    <a:pt x="1727" y="393"/>
                    <a:pt x="1346" y="0"/>
                    <a:pt x="870" y="0"/>
                  </a:cubicBezTo>
                  <a:close/>
                </a:path>
              </a:pathLst>
            </a:custGeom>
            <a:grpFill/>
            <a:ln>
              <a:noFill/>
            </a:ln>
          </p:spPr>
          <p:txBody>
            <a:bodyPr spcFirstLastPara="1" wrap="square" lIns="91425" tIns="91425" rIns="91425" bIns="91425"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a:p>
          </p:txBody>
        </p:sp>
        <p:sp>
          <p:nvSpPr>
            <p:cNvPr id="22" name="Google Shape;1475;p52">
              <a:extLst>
                <a:ext uri="{FF2B5EF4-FFF2-40B4-BE49-F238E27FC236}">
                  <a16:creationId xmlns:a16="http://schemas.microsoft.com/office/drawing/2014/main" id="{21DBDCC9-62CC-468B-8546-FF2F7A70C55F}"/>
                </a:ext>
              </a:extLst>
            </p:cNvPr>
            <p:cNvSpPr/>
            <p:nvPr/>
          </p:nvSpPr>
          <p:spPr>
            <a:xfrm>
              <a:off x="3738896" y="3788422"/>
              <a:ext cx="49188" cy="114604"/>
            </a:xfrm>
            <a:custGeom>
              <a:avLst/>
              <a:gdLst/>
              <a:ahLst/>
              <a:cxnLst/>
              <a:rect l="l" t="t" r="r" b="b"/>
              <a:pathLst>
                <a:path w="1549" h="3609" extrusionOk="0">
                  <a:moveTo>
                    <a:pt x="572" y="1"/>
                  </a:moveTo>
                  <a:cubicBezTo>
                    <a:pt x="263" y="1"/>
                    <a:pt x="1" y="251"/>
                    <a:pt x="1" y="572"/>
                  </a:cubicBezTo>
                  <a:lnTo>
                    <a:pt x="1" y="3037"/>
                  </a:lnTo>
                  <a:cubicBezTo>
                    <a:pt x="1" y="3346"/>
                    <a:pt x="263" y="3608"/>
                    <a:pt x="572" y="3608"/>
                  </a:cubicBezTo>
                  <a:lnTo>
                    <a:pt x="965" y="3608"/>
                  </a:lnTo>
                  <a:cubicBezTo>
                    <a:pt x="1275" y="3608"/>
                    <a:pt x="1549" y="3358"/>
                    <a:pt x="1549" y="3037"/>
                  </a:cubicBezTo>
                  <a:lnTo>
                    <a:pt x="1549" y="1560"/>
                  </a:lnTo>
                  <a:cubicBezTo>
                    <a:pt x="1549" y="1465"/>
                    <a:pt x="1465" y="1394"/>
                    <a:pt x="1382" y="1394"/>
                  </a:cubicBezTo>
                  <a:cubicBezTo>
                    <a:pt x="1287" y="1394"/>
                    <a:pt x="1215" y="1465"/>
                    <a:pt x="1215" y="1560"/>
                  </a:cubicBezTo>
                  <a:lnTo>
                    <a:pt x="1215" y="3037"/>
                  </a:lnTo>
                  <a:cubicBezTo>
                    <a:pt x="1215" y="3168"/>
                    <a:pt x="1108" y="3275"/>
                    <a:pt x="977" y="3275"/>
                  </a:cubicBezTo>
                  <a:lnTo>
                    <a:pt x="584" y="3275"/>
                  </a:lnTo>
                  <a:cubicBezTo>
                    <a:pt x="453" y="3275"/>
                    <a:pt x="346" y="3168"/>
                    <a:pt x="346" y="3037"/>
                  </a:cubicBezTo>
                  <a:lnTo>
                    <a:pt x="346" y="572"/>
                  </a:lnTo>
                  <a:cubicBezTo>
                    <a:pt x="346" y="441"/>
                    <a:pt x="453" y="334"/>
                    <a:pt x="584" y="334"/>
                  </a:cubicBezTo>
                  <a:lnTo>
                    <a:pt x="977" y="334"/>
                  </a:lnTo>
                  <a:cubicBezTo>
                    <a:pt x="1108" y="334"/>
                    <a:pt x="1215" y="441"/>
                    <a:pt x="1215" y="572"/>
                  </a:cubicBezTo>
                  <a:lnTo>
                    <a:pt x="1215" y="906"/>
                  </a:lnTo>
                  <a:cubicBezTo>
                    <a:pt x="1215" y="989"/>
                    <a:pt x="1287" y="1072"/>
                    <a:pt x="1382" y="1072"/>
                  </a:cubicBezTo>
                  <a:cubicBezTo>
                    <a:pt x="1465" y="1072"/>
                    <a:pt x="1549" y="989"/>
                    <a:pt x="1549" y="906"/>
                  </a:cubicBezTo>
                  <a:lnTo>
                    <a:pt x="1549" y="572"/>
                  </a:lnTo>
                  <a:cubicBezTo>
                    <a:pt x="1549" y="263"/>
                    <a:pt x="1287" y="1"/>
                    <a:pt x="965" y="1"/>
                  </a:cubicBezTo>
                  <a:close/>
                </a:path>
              </a:pathLst>
            </a:custGeom>
            <a:grpFill/>
            <a:ln>
              <a:noFill/>
            </a:ln>
          </p:spPr>
          <p:txBody>
            <a:bodyPr spcFirstLastPara="1" wrap="square" lIns="91425" tIns="91425" rIns="91425" bIns="91425"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a:p>
          </p:txBody>
        </p:sp>
      </p:grpSp>
    </p:spTree>
    <p:extLst>
      <p:ext uri="{BB962C8B-B14F-4D97-AF65-F5344CB8AC3E}">
        <p14:creationId xmlns:p14="http://schemas.microsoft.com/office/powerpoint/2010/main" val="22180086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3 Signs with a religious or sacred nexus</a:t>
            </a:r>
          </a:p>
        </p:txBody>
      </p:sp>
      <p:sp>
        <p:nvSpPr>
          <p:cNvPr id="7" name="TextBox 6">
            <a:extLst>
              <a:ext uri="{FF2B5EF4-FFF2-40B4-BE49-F238E27FC236}">
                <a16:creationId xmlns:a16="http://schemas.microsoft.com/office/drawing/2014/main" id="{2BF90201-2F86-16EF-2E39-9B96F7CC40A3}"/>
              </a:ext>
            </a:extLst>
          </p:cNvPr>
          <p:cNvSpPr txBox="1"/>
          <p:nvPr/>
        </p:nvSpPr>
        <p:spPr>
          <a:xfrm>
            <a:off x="3086313" y="1842417"/>
            <a:ext cx="5668887" cy="1831271"/>
          </a:xfrm>
          <a:prstGeom prst="rect">
            <a:avLst/>
          </a:prstGeom>
          <a:noFill/>
          <a:effectLst>
            <a:softEdge rad="12700"/>
          </a:effectLst>
        </p:spPr>
        <p:txBody>
          <a:bodyPr wrap="square" rtlCol="0">
            <a:spAutoFit/>
          </a:bodyPr>
          <a:lstStyle/>
          <a:p>
            <a:pPr marL="285750" indent="-285750" algn="just">
              <a:spcAft>
                <a:spcPts val="600"/>
              </a:spcAft>
              <a:buFontTx/>
              <a:buChar char="-"/>
              <a:tabLst>
                <a:tab pos="3695700" algn="l"/>
              </a:tabLst>
            </a:pPr>
            <a:r>
              <a:rPr lang="en-GB" sz="1400" dirty="0">
                <a:solidFill>
                  <a:srgbClr val="2A5494"/>
                </a:solidFill>
                <a:latin typeface="Arial "/>
              </a:rPr>
              <a:t>The sign is applied </a:t>
            </a:r>
            <a:r>
              <a:rPr lang="en-GB" sz="1400">
                <a:solidFill>
                  <a:srgbClr val="2A5494"/>
                </a:solidFill>
                <a:latin typeface="Arial "/>
              </a:rPr>
              <a:t>for with respect to banal </a:t>
            </a:r>
            <a:r>
              <a:rPr lang="en-GB" sz="1400" dirty="0">
                <a:solidFill>
                  <a:srgbClr val="2A5494"/>
                </a:solidFill>
                <a:latin typeface="Arial "/>
              </a:rPr>
              <a:t>goods/services which are not related to religious activities.</a:t>
            </a:r>
          </a:p>
          <a:p>
            <a:pPr marL="285750" indent="-285750" algn="just">
              <a:spcAft>
                <a:spcPts val="600"/>
              </a:spcAft>
              <a:buFontTx/>
              <a:buChar char="-"/>
              <a:tabLst>
                <a:tab pos="3695700" algn="l"/>
              </a:tabLst>
            </a:pPr>
            <a:r>
              <a:rPr lang="en-GB" sz="1400" dirty="0">
                <a:solidFill>
                  <a:srgbClr val="2A5494"/>
                </a:solidFill>
                <a:latin typeface="Arial "/>
              </a:rPr>
              <a:t>It is likely to gratuitously offend the moral values of Christians and also those of other beliefs or even non-believers who may encounter the sign.</a:t>
            </a:r>
          </a:p>
          <a:p>
            <a:pPr algn="just">
              <a:spcAft>
                <a:spcPts val="600"/>
              </a:spcAft>
              <a:tabLst>
                <a:tab pos="3695700" algn="l"/>
              </a:tabLst>
            </a:pPr>
            <a:endParaRPr lang="en-GB" sz="1400" dirty="0">
              <a:solidFill>
                <a:srgbClr val="2A5494"/>
              </a:solidFill>
              <a:latin typeface="Arial "/>
            </a:endParaRPr>
          </a:p>
          <a:p>
            <a:pPr marL="285750" indent="-285750" algn="just">
              <a:spcAft>
                <a:spcPts val="600"/>
              </a:spcAft>
              <a:buFont typeface="Wingdings" panose="05000000000000000000" pitchFamily="2" charset="2"/>
              <a:buChar char="Ø"/>
              <a:tabLst>
                <a:tab pos="3695700" algn="l"/>
              </a:tabLst>
            </a:pPr>
            <a:r>
              <a:rPr lang="en-GB" sz="1400" dirty="0">
                <a:solidFill>
                  <a:srgbClr val="2A5494"/>
                </a:solidFill>
                <a:latin typeface="Arial "/>
              </a:rPr>
              <a:t>The sign is </a:t>
            </a:r>
            <a:r>
              <a:rPr lang="en-GB" sz="1400" b="1" dirty="0">
                <a:solidFill>
                  <a:srgbClr val="2A5494"/>
                </a:solidFill>
                <a:latin typeface="Arial "/>
              </a:rPr>
              <a:t>contrary to accepted principles of morality </a:t>
            </a:r>
          </a:p>
        </p:txBody>
      </p:sp>
      <p:sp>
        <p:nvSpPr>
          <p:cNvPr id="9" name="TextBox 8">
            <a:extLst>
              <a:ext uri="{FF2B5EF4-FFF2-40B4-BE49-F238E27FC236}">
                <a16:creationId xmlns:a16="http://schemas.microsoft.com/office/drawing/2014/main" id="{9D79A72B-D90E-152F-4AC5-A4130499C69E}"/>
              </a:ext>
            </a:extLst>
          </p:cNvPr>
          <p:cNvSpPr txBox="1"/>
          <p:nvPr/>
        </p:nvSpPr>
        <p:spPr>
          <a:xfrm>
            <a:off x="709322" y="3686242"/>
            <a:ext cx="1955957" cy="307777"/>
          </a:xfrm>
          <a:prstGeom prst="rect">
            <a:avLst/>
          </a:prstGeom>
          <a:noFill/>
        </p:spPr>
        <p:txBody>
          <a:bodyPr wrap="square" rtlCol="0">
            <a:spAutoFit/>
          </a:bodyPr>
          <a:lstStyle/>
          <a:p>
            <a:r>
              <a:rPr lang="en-GB" sz="1400" dirty="0">
                <a:solidFill>
                  <a:srgbClr val="2A5494"/>
                </a:solidFill>
                <a:latin typeface="Arial "/>
              </a:rPr>
              <a:t>Class 16: Toilet paper</a:t>
            </a:r>
          </a:p>
        </p:txBody>
      </p:sp>
      <p:sp>
        <p:nvSpPr>
          <p:cNvPr id="10" name="TextBox 9">
            <a:extLst>
              <a:ext uri="{FF2B5EF4-FFF2-40B4-BE49-F238E27FC236}">
                <a16:creationId xmlns:a16="http://schemas.microsoft.com/office/drawing/2014/main" id="{36BE6149-803C-5A13-A704-34D5754D2177}"/>
              </a:ext>
            </a:extLst>
          </p:cNvPr>
          <p:cNvSpPr txBox="1"/>
          <p:nvPr/>
        </p:nvSpPr>
        <p:spPr>
          <a:xfrm>
            <a:off x="3472249" y="3809826"/>
            <a:ext cx="4596714" cy="307777"/>
          </a:xfrm>
          <a:prstGeom prst="rect">
            <a:avLst/>
          </a:prstGeom>
          <a:solidFill>
            <a:schemeClr val="accent2">
              <a:lumMod val="40000"/>
              <a:lumOff val="60000"/>
            </a:schemeClr>
          </a:solidFill>
        </p:spPr>
        <p:txBody>
          <a:bodyPr wrap="square" rtlCol="0">
            <a:spAutoFit/>
          </a:bodyPr>
          <a:lstStyle/>
          <a:p>
            <a:pPr algn="ctr"/>
            <a:r>
              <a:rPr lang="en-GB" sz="1400" dirty="0">
                <a:solidFill>
                  <a:schemeClr val="tx2"/>
                </a:solidFill>
                <a:latin typeface="Arial" panose="020B0604020202020204" pitchFamily="34" charset="0"/>
                <a:cs typeface="Arial" panose="020B0604020202020204" pitchFamily="34" charset="0"/>
              </a:rPr>
              <a:t>Objectionable under Article 4(1)(f) TMD</a:t>
            </a:r>
          </a:p>
        </p:txBody>
      </p:sp>
      <p:pic>
        <p:nvPicPr>
          <p:cNvPr id="11" name="Picture 10">
            <a:extLst>
              <a:ext uri="{FF2B5EF4-FFF2-40B4-BE49-F238E27FC236}">
                <a16:creationId xmlns:a16="http://schemas.microsoft.com/office/drawing/2014/main" id="{83D4FC20-A5F5-6BB1-2A8C-0CCD03620515}"/>
              </a:ext>
            </a:extLst>
          </p:cNvPr>
          <p:cNvPicPr>
            <a:picLocks noChangeAspect="1"/>
          </p:cNvPicPr>
          <p:nvPr/>
        </p:nvPicPr>
        <p:blipFill>
          <a:blip r:embed="rId4"/>
          <a:stretch>
            <a:fillRect/>
          </a:stretch>
        </p:blipFill>
        <p:spPr>
          <a:xfrm>
            <a:off x="784800" y="1900800"/>
            <a:ext cx="1549880" cy="1557444"/>
          </a:xfrm>
          <a:prstGeom prst="rect">
            <a:avLst/>
          </a:prstGeom>
          <a:ln w="28575">
            <a:solidFill>
              <a:srgbClr val="C00000"/>
            </a:solidFill>
          </a:ln>
        </p:spPr>
      </p:pic>
    </p:spTree>
    <p:extLst>
      <p:ext uri="{BB962C8B-B14F-4D97-AF65-F5344CB8AC3E}">
        <p14:creationId xmlns:p14="http://schemas.microsoft.com/office/powerpoint/2010/main" val="21643666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3 Signs with a religious or sacred nexus</a:t>
            </a:r>
          </a:p>
        </p:txBody>
      </p:sp>
      <p:sp>
        <p:nvSpPr>
          <p:cNvPr id="15" name="TextBox 14">
            <a:extLst>
              <a:ext uri="{FF2B5EF4-FFF2-40B4-BE49-F238E27FC236}">
                <a16:creationId xmlns:a16="http://schemas.microsoft.com/office/drawing/2014/main" id="{0A42C04F-96E9-9FE3-EB21-B315B25662E4}"/>
              </a:ext>
            </a:extLst>
          </p:cNvPr>
          <p:cNvSpPr txBox="1"/>
          <p:nvPr/>
        </p:nvSpPr>
        <p:spPr>
          <a:xfrm>
            <a:off x="3086313" y="1796678"/>
            <a:ext cx="5668887" cy="1908215"/>
          </a:xfrm>
          <a:prstGeom prst="rect">
            <a:avLst/>
          </a:prstGeom>
          <a:noFill/>
          <a:effectLst>
            <a:softEdge rad="12700"/>
          </a:effectLst>
        </p:spPr>
        <p:txBody>
          <a:bodyPr wrap="square" rtlCol="0">
            <a:spAutoFit/>
          </a:bodyPr>
          <a:lstStyle/>
          <a:p>
            <a:pPr marL="285750" indent="-285750" algn="just">
              <a:spcAft>
                <a:spcPts val="600"/>
              </a:spcAft>
              <a:buFontTx/>
              <a:buChar char="-"/>
              <a:tabLst>
                <a:tab pos="3695700" algn="l"/>
              </a:tabLst>
            </a:pPr>
            <a:r>
              <a:rPr lang="en-GB" sz="1400" dirty="0">
                <a:solidFill>
                  <a:srgbClr val="2A5494"/>
                </a:solidFill>
                <a:latin typeface="Arial "/>
              </a:rPr>
              <a:t>No disparaging connotation deriving from the sign. The goods and/or services applied for are related to religious activities.</a:t>
            </a:r>
          </a:p>
          <a:p>
            <a:pPr marL="285750" indent="-285750" algn="just">
              <a:spcAft>
                <a:spcPts val="600"/>
              </a:spcAft>
              <a:buFontTx/>
              <a:buChar char="-"/>
              <a:tabLst>
                <a:tab pos="3695700" algn="l"/>
              </a:tabLst>
            </a:pPr>
            <a:r>
              <a:rPr lang="en-GB" sz="1400" dirty="0">
                <a:solidFill>
                  <a:srgbClr val="2A5494"/>
                </a:solidFill>
                <a:latin typeface="Arial "/>
              </a:rPr>
              <a:t>It is unlikely that the relevant public could be offended by the use of the sign as a trade mark.</a:t>
            </a:r>
          </a:p>
          <a:p>
            <a:pPr algn="just">
              <a:spcAft>
                <a:spcPts val="600"/>
              </a:spcAft>
              <a:tabLst>
                <a:tab pos="3695700" algn="l"/>
              </a:tabLst>
            </a:pPr>
            <a:endParaRPr lang="en-GB" sz="1400" dirty="0">
              <a:solidFill>
                <a:srgbClr val="2A5494"/>
              </a:solidFill>
              <a:latin typeface="Arial "/>
            </a:endParaRPr>
          </a:p>
          <a:p>
            <a:pPr marL="285750" indent="-285750" algn="just">
              <a:spcAft>
                <a:spcPts val="600"/>
              </a:spcAft>
              <a:buFont typeface="Wingdings" panose="05000000000000000000" pitchFamily="2" charset="2"/>
              <a:buChar char="Ø"/>
              <a:tabLst>
                <a:tab pos="3695700" algn="l"/>
              </a:tabLst>
            </a:pPr>
            <a:r>
              <a:rPr lang="en-GB" sz="1400" b="1" dirty="0">
                <a:solidFill>
                  <a:srgbClr val="2A5494"/>
                </a:solidFill>
                <a:latin typeface="Arial "/>
              </a:rPr>
              <a:t>Not contrary to Article 4(1)(f) TMD</a:t>
            </a:r>
          </a:p>
          <a:p>
            <a:pPr marL="285750" indent="-285750" algn="just">
              <a:spcAft>
                <a:spcPts val="600"/>
              </a:spcAft>
              <a:buFont typeface="Wingdings" panose="05000000000000000000" pitchFamily="2" charset="2"/>
              <a:buChar char="Ø"/>
              <a:tabLst>
                <a:tab pos="3695700" algn="l"/>
              </a:tabLst>
            </a:pPr>
            <a:endParaRPr lang="en-GB" sz="1400" dirty="0">
              <a:solidFill>
                <a:srgbClr val="2A5494"/>
              </a:solidFill>
              <a:latin typeface="Arial "/>
            </a:endParaRPr>
          </a:p>
        </p:txBody>
      </p:sp>
      <p:sp>
        <p:nvSpPr>
          <p:cNvPr id="16" name="TextBox 15">
            <a:extLst>
              <a:ext uri="{FF2B5EF4-FFF2-40B4-BE49-F238E27FC236}">
                <a16:creationId xmlns:a16="http://schemas.microsoft.com/office/drawing/2014/main" id="{3805C37B-78FE-3B69-0D09-621E86D6BF52}"/>
              </a:ext>
            </a:extLst>
          </p:cNvPr>
          <p:cNvSpPr txBox="1"/>
          <p:nvPr/>
        </p:nvSpPr>
        <p:spPr>
          <a:xfrm>
            <a:off x="682103" y="3658726"/>
            <a:ext cx="1800115" cy="523220"/>
          </a:xfrm>
          <a:prstGeom prst="rect">
            <a:avLst/>
          </a:prstGeom>
          <a:noFill/>
        </p:spPr>
        <p:txBody>
          <a:bodyPr wrap="square" rtlCol="0">
            <a:spAutoFit/>
          </a:bodyPr>
          <a:lstStyle/>
          <a:p>
            <a:r>
              <a:rPr lang="en-GB" sz="1400" dirty="0">
                <a:solidFill>
                  <a:srgbClr val="2A5494"/>
                </a:solidFill>
                <a:latin typeface="Arial "/>
              </a:rPr>
              <a:t>Class 41: Religious education</a:t>
            </a:r>
          </a:p>
        </p:txBody>
      </p:sp>
      <p:sp>
        <p:nvSpPr>
          <p:cNvPr id="17" name="TextBox 16">
            <a:extLst>
              <a:ext uri="{FF2B5EF4-FFF2-40B4-BE49-F238E27FC236}">
                <a16:creationId xmlns:a16="http://schemas.microsoft.com/office/drawing/2014/main" id="{1238BD80-9B27-34FA-482F-74B57C9E5AB9}"/>
              </a:ext>
            </a:extLst>
          </p:cNvPr>
          <p:cNvSpPr txBox="1"/>
          <p:nvPr/>
        </p:nvSpPr>
        <p:spPr>
          <a:xfrm>
            <a:off x="3501900" y="4050923"/>
            <a:ext cx="4572000" cy="307777"/>
          </a:xfrm>
          <a:prstGeom prst="rect">
            <a:avLst/>
          </a:prstGeom>
          <a:solidFill>
            <a:schemeClr val="accent3">
              <a:lumMod val="40000"/>
              <a:lumOff val="60000"/>
            </a:schemeClr>
          </a:solidFill>
        </p:spPr>
        <p:txBody>
          <a:bodyPr wrap="square" rtlCol="0">
            <a:spAutoFit/>
          </a:bodyPr>
          <a:lstStyle/>
          <a:p>
            <a:pPr algn="ctr"/>
            <a:r>
              <a:rPr lang="en-GB" sz="1400" dirty="0">
                <a:solidFill>
                  <a:schemeClr val="tx2"/>
                </a:solidFill>
                <a:latin typeface="Arial" panose="020B0604020202020204" pitchFamily="34" charset="0"/>
                <a:cs typeface="Arial" panose="020B0604020202020204" pitchFamily="34" charset="0"/>
              </a:rPr>
              <a:t>Non-objectionable under Article 4(1)(f) TMD</a:t>
            </a:r>
          </a:p>
        </p:txBody>
      </p:sp>
      <p:pic>
        <p:nvPicPr>
          <p:cNvPr id="18" name="Picture 17">
            <a:extLst>
              <a:ext uri="{FF2B5EF4-FFF2-40B4-BE49-F238E27FC236}">
                <a16:creationId xmlns:a16="http://schemas.microsoft.com/office/drawing/2014/main" id="{61A1CE4E-AF82-3148-200F-8F660C8D7AF7}"/>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84800" y="1900800"/>
            <a:ext cx="1384147" cy="1630826"/>
          </a:xfrm>
          <a:prstGeom prst="rect">
            <a:avLst/>
          </a:prstGeom>
          <a:noFill/>
          <a:ln w="28575">
            <a:solidFill>
              <a:srgbClr val="00B050"/>
            </a:solidFill>
          </a:ln>
        </p:spPr>
      </p:pic>
    </p:spTree>
    <p:extLst>
      <p:ext uri="{BB962C8B-B14F-4D97-AF65-F5344CB8AC3E}">
        <p14:creationId xmlns:p14="http://schemas.microsoft.com/office/powerpoint/2010/main" val="4092395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3 Signs with a religious or sacred nexus</a:t>
            </a:r>
          </a:p>
        </p:txBody>
      </p:sp>
      <p:sp>
        <p:nvSpPr>
          <p:cNvPr id="15" name="TextBox 14">
            <a:extLst>
              <a:ext uri="{FF2B5EF4-FFF2-40B4-BE49-F238E27FC236}">
                <a16:creationId xmlns:a16="http://schemas.microsoft.com/office/drawing/2014/main" id="{0A42C04F-96E9-9FE3-EB21-B315B25662E4}"/>
              </a:ext>
            </a:extLst>
          </p:cNvPr>
          <p:cNvSpPr txBox="1"/>
          <p:nvPr/>
        </p:nvSpPr>
        <p:spPr>
          <a:xfrm>
            <a:off x="3086751" y="1588084"/>
            <a:ext cx="5668887" cy="2985433"/>
          </a:xfrm>
          <a:prstGeom prst="rect">
            <a:avLst/>
          </a:prstGeom>
          <a:noFill/>
          <a:effectLst>
            <a:softEdge rad="12700"/>
          </a:effectLst>
        </p:spPr>
        <p:txBody>
          <a:bodyPr wrap="square" rtlCol="0">
            <a:spAutoFit/>
          </a:bodyPr>
          <a:lstStyle/>
          <a:p>
            <a:pPr marL="285750" indent="-285750" algn="just">
              <a:spcAft>
                <a:spcPts val="600"/>
              </a:spcAft>
              <a:buFontTx/>
              <a:buChar char="-"/>
              <a:tabLst>
                <a:tab pos="3695700" algn="l"/>
              </a:tabLst>
            </a:pPr>
            <a:r>
              <a:rPr lang="en-US" sz="1400">
                <a:solidFill>
                  <a:srgbClr val="2A5494"/>
                </a:solidFill>
                <a:latin typeface="Arial "/>
              </a:rPr>
              <a:t>Signs applied for with respect to </a:t>
            </a:r>
            <a:r>
              <a:rPr lang="en-US" sz="1400" b="1" dirty="0">
                <a:solidFill>
                  <a:srgbClr val="2A5494"/>
                </a:solidFill>
                <a:latin typeface="Arial "/>
              </a:rPr>
              <a:t>goods and/or services not related to religious activities</a:t>
            </a:r>
            <a:r>
              <a:rPr lang="en-US" sz="1400" dirty="0">
                <a:solidFill>
                  <a:srgbClr val="2A5494"/>
                </a:solidFill>
                <a:latin typeface="Arial "/>
              </a:rPr>
              <a:t>, but </a:t>
            </a:r>
            <a:r>
              <a:rPr lang="en-US" sz="1400" b="1" dirty="0">
                <a:solidFill>
                  <a:srgbClr val="2A5494"/>
                </a:solidFill>
                <a:latin typeface="Arial "/>
              </a:rPr>
              <a:t>without insulting and/or offending </a:t>
            </a:r>
            <a:r>
              <a:rPr lang="en-US" sz="1400" dirty="0">
                <a:solidFill>
                  <a:srgbClr val="2A5494"/>
                </a:solidFill>
                <a:latin typeface="Arial "/>
              </a:rPr>
              <a:t>the moral values of the believers of that religion and the society of a MS and/or the EU, are </a:t>
            </a:r>
            <a:r>
              <a:rPr lang="en-US" sz="1400" b="1" dirty="0">
                <a:solidFill>
                  <a:srgbClr val="2A5494"/>
                </a:solidFill>
                <a:latin typeface="Arial "/>
              </a:rPr>
              <a:t>unlikely</a:t>
            </a:r>
            <a:r>
              <a:rPr lang="en-US" sz="1400" dirty="0">
                <a:solidFill>
                  <a:srgbClr val="2A5494"/>
                </a:solidFill>
                <a:latin typeface="Arial "/>
              </a:rPr>
              <a:t> to be considered contrary to Article 4(1)(f) TMD. </a:t>
            </a:r>
            <a:endParaRPr lang="en-GB" sz="1400" dirty="0">
              <a:solidFill>
                <a:srgbClr val="2A5494"/>
              </a:solidFill>
              <a:latin typeface="Arial "/>
            </a:endParaRPr>
          </a:p>
          <a:p>
            <a:pPr marL="285750" indent="-285750" algn="just">
              <a:spcAft>
                <a:spcPts val="600"/>
              </a:spcAft>
              <a:buFontTx/>
              <a:buChar char="-"/>
              <a:tabLst>
                <a:tab pos="3695700" algn="l"/>
              </a:tabLst>
            </a:pPr>
            <a:r>
              <a:rPr lang="en-GB" sz="1400" dirty="0">
                <a:solidFill>
                  <a:srgbClr val="2A5494"/>
                </a:solidFill>
                <a:latin typeface="Arial "/>
              </a:rPr>
              <a:t>The sign is the mere representation of Saint George without transmitting an insulting or offensive message. </a:t>
            </a:r>
            <a:r>
              <a:rPr lang="en-US" sz="1400" dirty="0">
                <a:solidFill>
                  <a:srgbClr val="2A5494"/>
                </a:solidFill>
                <a:latin typeface="Arial "/>
              </a:rPr>
              <a:t>It is not uncommon to use terms related to religion in the wine sector, including the names of saints.</a:t>
            </a:r>
          </a:p>
          <a:p>
            <a:pPr marL="285750" indent="-285750" algn="just">
              <a:spcAft>
                <a:spcPts val="600"/>
              </a:spcAft>
              <a:buFontTx/>
              <a:buChar char="-"/>
              <a:tabLst>
                <a:tab pos="3695700" algn="l"/>
              </a:tabLst>
            </a:pPr>
            <a:endParaRPr lang="en-GB" sz="1400" dirty="0">
              <a:solidFill>
                <a:srgbClr val="2A5494"/>
              </a:solidFill>
              <a:latin typeface="Arial "/>
            </a:endParaRPr>
          </a:p>
          <a:p>
            <a:pPr marL="285750" indent="-285750" algn="just">
              <a:spcAft>
                <a:spcPts val="600"/>
              </a:spcAft>
              <a:buFont typeface="Wingdings" panose="05000000000000000000" pitchFamily="2" charset="2"/>
              <a:buChar char="Ø"/>
              <a:tabLst>
                <a:tab pos="3695700" algn="l"/>
              </a:tabLst>
            </a:pPr>
            <a:r>
              <a:rPr lang="en-GB" sz="1400" b="1" dirty="0">
                <a:solidFill>
                  <a:srgbClr val="2A5494"/>
                </a:solidFill>
                <a:latin typeface="Arial "/>
              </a:rPr>
              <a:t>Not contrary to accepted principles of morality</a:t>
            </a:r>
          </a:p>
          <a:p>
            <a:pPr marL="285750" indent="-285750" algn="just">
              <a:spcAft>
                <a:spcPts val="600"/>
              </a:spcAft>
              <a:buFont typeface="Wingdings" panose="05000000000000000000" pitchFamily="2" charset="2"/>
              <a:buChar char="Ø"/>
              <a:tabLst>
                <a:tab pos="3695700" algn="l"/>
              </a:tabLst>
            </a:pPr>
            <a:endParaRPr lang="en-GB" sz="1400" dirty="0">
              <a:solidFill>
                <a:srgbClr val="2A5494"/>
              </a:solidFill>
              <a:latin typeface="Arial "/>
            </a:endParaRPr>
          </a:p>
        </p:txBody>
      </p:sp>
      <p:sp>
        <p:nvSpPr>
          <p:cNvPr id="16" name="TextBox 15">
            <a:extLst>
              <a:ext uri="{FF2B5EF4-FFF2-40B4-BE49-F238E27FC236}">
                <a16:creationId xmlns:a16="http://schemas.microsoft.com/office/drawing/2014/main" id="{3805C37B-78FE-3B69-0D09-621E86D6BF52}"/>
              </a:ext>
            </a:extLst>
          </p:cNvPr>
          <p:cNvSpPr txBox="1"/>
          <p:nvPr/>
        </p:nvSpPr>
        <p:spPr>
          <a:xfrm>
            <a:off x="812409" y="3565221"/>
            <a:ext cx="1800115" cy="523220"/>
          </a:xfrm>
          <a:prstGeom prst="rect">
            <a:avLst/>
          </a:prstGeom>
          <a:noFill/>
        </p:spPr>
        <p:txBody>
          <a:bodyPr wrap="square" rtlCol="0">
            <a:spAutoFit/>
          </a:bodyPr>
          <a:lstStyle/>
          <a:p>
            <a:r>
              <a:rPr lang="en-GB" sz="1400" dirty="0">
                <a:solidFill>
                  <a:srgbClr val="2A5494"/>
                </a:solidFill>
                <a:latin typeface="Arial "/>
              </a:rPr>
              <a:t>Class 33: Wine</a:t>
            </a:r>
          </a:p>
          <a:p>
            <a:endParaRPr lang="en-GB" sz="1400" dirty="0">
              <a:solidFill>
                <a:srgbClr val="2A5494"/>
              </a:solidFill>
              <a:latin typeface="Arial "/>
            </a:endParaRPr>
          </a:p>
        </p:txBody>
      </p:sp>
      <p:sp>
        <p:nvSpPr>
          <p:cNvPr id="17" name="TextBox 16">
            <a:extLst>
              <a:ext uri="{FF2B5EF4-FFF2-40B4-BE49-F238E27FC236}">
                <a16:creationId xmlns:a16="http://schemas.microsoft.com/office/drawing/2014/main" id="{1238BD80-9B27-34FA-482F-74B57C9E5AB9}"/>
              </a:ext>
            </a:extLst>
          </p:cNvPr>
          <p:cNvSpPr txBox="1"/>
          <p:nvPr/>
        </p:nvSpPr>
        <p:spPr>
          <a:xfrm>
            <a:off x="3501900" y="4589798"/>
            <a:ext cx="4572000" cy="307777"/>
          </a:xfrm>
          <a:prstGeom prst="rect">
            <a:avLst/>
          </a:prstGeom>
          <a:solidFill>
            <a:schemeClr val="accent3">
              <a:lumMod val="40000"/>
              <a:lumOff val="60000"/>
            </a:schemeClr>
          </a:solidFill>
        </p:spPr>
        <p:txBody>
          <a:bodyPr wrap="square" rtlCol="0">
            <a:spAutoFit/>
          </a:bodyPr>
          <a:lstStyle/>
          <a:p>
            <a:pPr algn="ctr"/>
            <a:r>
              <a:rPr lang="en-GB" sz="1400" dirty="0">
                <a:solidFill>
                  <a:schemeClr val="tx2"/>
                </a:solidFill>
                <a:latin typeface="Arial" panose="020B0604020202020204" pitchFamily="34" charset="0"/>
                <a:cs typeface="Arial" panose="020B0604020202020204" pitchFamily="34" charset="0"/>
              </a:rPr>
              <a:t>Non-objectionable under Article 4(1)(f) TMD</a:t>
            </a:r>
          </a:p>
        </p:txBody>
      </p:sp>
      <p:pic>
        <p:nvPicPr>
          <p:cNvPr id="4" name="Picture 3">
            <a:extLst>
              <a:ext uri="{FF2B5EF4-FFF2-40B4-BE49-F238E27FC236}">
                <a16:creationId xmlns:a16="http://schemas.microsoft.com/office/drawing/2014/main" id="{3453A018-38C1-367B-FCEC-1C9C6A8B80E5}"/>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672935" y="1796678"/>
            <a:ext cx="1644504" cy="1637584"/>
          </a:xfrm>
          <a:prstGeom prst="rect">
            <a:avLst/>
          </a:prstGeom>
          <a:noFill/>
          <a:ln w="28575">
            <a:solidFill>
              <a:srgbClr val="00B050"/>
            </a:solidFill>
          </a:ln>
        </p:spPr>
      </p:pic>
    </p:spTree>
    <p:extLst>
      <p:ext uri="{BB962C8B-B14F-4D97-AF65-F5344CB8AC3E}">
        <p14:creationId xmlns:p14="http://schemas.microsoft.com/office/powerpoint/2010/main" val="29705058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3 Signs with a religious or sacred nexus</a:t>
            </a:r>
          </a:p>
        </p:txBody>
      </p:sp>
      <p:sp>
        <p:nvSpPr>
          <p:cNvPr id="7" name="TextBox 6">
            <a:extLst>
              <a:ext uri="{FF2B5EF4-FFF2-40B4-BE49-F238E27FC236}">
                <a16:creationId xmlns:a16="http://schemas.microsoft.com/office/drawing/2014/main" id="{2BF90201-2F86-16EF-2E39-9B96F7CC40A3}"/>
              </a:ext>
            </a:extLst>
          </p:cNvPr>
          <p:cNvSpPr txBox="1"/>
          <p:nvPr/>
        </p:nvSpPr>
        <p:spPr>
          <a:xfrm>
            <a:off x="2665279" y="1842417"/>
            <a:ext cx="6089921" cy="2185214"/>
          </a:xfrm>
          <a:prstGeom prst="rect">
            <a:avLst/>
          </a:prstGeom>
          <a:noFill/>
          <a:effectLst>
            <a:softEdge rad="12700"/>
          </a:effectLst>
        </p:spPr>
        <p:txBody>
          <a:bodyPr wrap="square" rtlCol="0">
            <a:spAutoFit/>
          </a:bodyPr>
          <a:lstStyle/>
          <a:p>
            <a:pPr marL="285750" indent="-285750" algn="just">
              <a:spcAft>
                <a:spcPts val="600"/>
              </a:spcAft>
              <a:buFontTx/>
              <a:buChar char="-"/>
              <a:tabLst>
                <a:tab pos="3695700" algn="l"/>
              </a:tabLst>
            </a:pPr>
            <a:r>
              <a:rPr lang="en-US" sz="1400" dirty="0">
                <a:solidFill>
                  <a:srgbClr val="2A5494"/>
                </a:solidFill>
                <a:latin typeface="Arial "/>
              </a:rPr>
              <a:t>The respect and freedom of religion are not only fundamental principles enshrined in several EU and national fundamental norms (e.g. the CFREU) but are also considered one of the foundations of a democratic society. </a:t>
            </a:r>
          </a:p>
          <a:p>
            <a:pPr marL="285750" indent="-285750" algn="just">
              <a:spcAft>
                <a:spcPts val="600"/>
              </a:spcAft>
              <a:buFontTx/>
              <a:buChar char="-"/>
              <a:tabLst>
                <a:tab pos="3695700" algn="l"/>
              </a:tabLst>
            </a:pPr>
            <a:r>
              <a:rPr lang="en-US" sz="1400" dirty="0">
                <a:solidFill>
                  <a:srgbClr val="2A5494"/>
                </a:solidFill>
                <a:latin typeface="Arial "/>
              </a:rPr>
              <a:t>The sign conveys a message of extreme irreverence or intolerance towards Christian beliefs and values, which is against, at least, the fundamental EU right enshrined in Article 10 of the CFREU.</a:t>
            </a:r>
            <a:endParaRPr lang="en-GB" sz="1400" dirty="0">
              <a:solidFill>
                <a:srgbClr val="2A5494"/>
              </a:solidFill>
              <a:latin typeface="Arial "/>
            </a:endParaRPr>
          </a:p>
          <a:p>
            <a:pPr marL="285750" indent="-285750" algn="just">
              <a:spcAft>
                <a:spcPts val="600"/>
              </a:spcAft>
              <a:buFont typeface="Wingdings" panose="05000000000000000000" pitchFamily="2" charset="2"/>
              <a:buChar char="Ø"/>
              <a:tabLst>
                <a:tab pos="3695700" algn="l"/>
              </a:tabLst>
            </a:pPr>
            <a:r>
              <a:rPr lang="en-GB" sz="1400" dirty="0">
                <a:solidFill>
                  <a:srgbClr val="2A5494"/>
                </a:solidFill>
                <a:latin typeface="Arial "/>
              </a:rPr>
              <a:t>The sign is </a:t>
            </a:r>
            <a:r>
              <a:rPr lang="en-GB" sz="1400" b="1" dirty="0">
                <a:solidFill>
                  <a:srgbClr val="2A5494"/>
                </a:solidFill>
                <a:latin typeface="Arial "/>
              </a:rPr>
              <a:t>contrary to</a:t>
            </a:r>
            <a:r>
              <a:rPr lang="en-US" sz="1400" b="1" dirty="0">
                <a:solidFill>
                  <a:srgbClr val="2A5494"/>
                </a:solidFill>
                <a:latin typeface="Arial "/>
              </a:rPr>
              <a:t> both public policy and accepted principles of morality.</a:t>
            </a:r>
            <a:endParaRPr lang="en-GB" sz="1400" b="1" dirty="0">
              <a:solidFill>
                <a:srgbClr val="2A5494"/>
              </a:solidFill>
              <a:latin typeface="Arial "/>
            </a:endParaRPr>
          </a:p>
        </p:txBody>
      </p:sp>
      <p:sp>
        <p:nvSpPr>
          <p:cNvPr id="9" name="TextBox 8">
            <a:extLst>
              <a:ext uri="{FF2B5EF4-FFF2-40B4-BE49-F238E27FC236}">
                <a16:creationId xmlns:a16="http://schemas.microsoft.com/office/drawing/2014/main" id="{9D79A72B-D90E-152F-4AC5-A4130499C69E}"/>
              </a:ext>
            </a:extLst>
          </p:cNvPr>
          <p:cNvSpPr txBox="1"/>
          <p:nvPr/>
        </p:nvSpPr>
        <p:spPr>
          <a:xfrm>
            <a:off x="709322" y="3686242"/>
            <a:ext cx="1955957" cy="307777"/>
          </a:xfrm>
          <a:prstGeom prst="rect">
            <a:avLst/>
          </a:prstGeom>
          <a:noFill/>
        </p:spPr>
        <p:txBody>
          <a:bodyPr wrap="square" rtlCol="0">
            <a:spAutoFit/>
          </a:bodyPr>
          <a:lstStyle/>
          <a:p>
            <a:r>
              <a:rPr lang="en-GB" sz="1400" dirty="0">
                <a:solidFill>
                  <a:srgbClr val="2A5494"/>
                </a:solidFill>
                <a:latin typeface="Arial "/>
              </a:rPr>
              <a:t>Class 25: Clothing</a:t>
            </a:r>
          </a:p>
        </p:txBody>
      </p:sp>
      <p:sp>
        <p:nvSpPr>
          <p:cNvPr id="10" name="TextBox 9">
            <a:extLst>
              <a:ext uri="{FF2B5EF4-FFF2-40B4-BE49-F238E27FC236}">
                <a16:creationId xmlns:a16="http://schemas.microsoft.com/office/drawing/2014/main" id="{36BE6149-803C-5A13-A704-34D5754D2177}"/>
              </a:ext>
            </a:extLst>
          </p:cNvPr>
          <p:cNvSpPr txBox="1"/>
          <p:nvPr/>
        </p:nvSpPr>
        <p:spPr>
          <a:xfrm>
            <a:off x="3472249" y="4139010"/>
            <a:ext cx="4596714" cy="307777"/>
          </a:xfrm>
          <a:prstGeom prst="rect">
            <a:avLst/>
          </a:prstGeom>
          <a:solidFill>
            <a:schemeClr val="accent2">
              <a:lumMod val="40000"/>
              <a:lumOff val="60000"/>
            </a:schemeClr>
          </a:solidFill>
        </p:spPr>
        <p:txBody>
          <a:bodyPr wrap="square" rtlCol="0">
            <a:spAutoFit/>
          </a:bodyPr>
          <a:lstStyle/>
          <a:p>
            <a:pPr algn="ctr"/>
            <a:r>
              <a:rPr lang="en-GB" sz="1400" dirty="0">
                <a:solidFill>
                  <a:schemeClr val="tx2"/>
                </a:solidFill>
                <a:latin typeface="Arial" panose="020B0604020202020204" pitchFamily="34" charset="0"/>
                <a:cs typeface="Arial" panose="020B0604020202020204" pitchFamily="34" charset="0"/>
              </a:rPr>
              <a:t>Objectionable under Article 4(1)(f) TMD</a:t>
            </a:r>
          </a:p>
        </p:txBody>
      </p:sp>
      <p:pic>
        <p:nvPicPr>
          <p:cNvPr id="4" name="Picture 3">
            <a:extLst>
              <a:ext uri="{FF2B5EF4-FFF2-40B4-BE49-F238E27FC236}">
                <a16:creationId xmlns:a16="http://schemas.microsoft.com/office/drawing/2014/main" id="{8684F991-C0DD-4567-B772-26456D36E777}"/>
              </a:ext>
            </a:extLst>
          </p:cNvPr>
          <p:cNvPicPr>
            <a:picLocks noChangeAspect="1"/>
          </p:cNvPicPr>
          <p:nvPr/>
        </p:nvPicPr>
        <p:blipFill>
          <a:blip r:embed="rId4"/>
          <a:stretch>
            <a:fillRect/>
          </a:stretch>
        </p:blipFill>
        <p:spPr>
          <a:xfrm>
            <a:off x="821217" y="2119924"/>
            <a:ext cx="1386249" cy="1386249"/>
          </a:xfrm>
          <a:prstGeom prst="rect">
            <a:avLst/>
          </a:prstGeom>
          <a:ln w="28575">
            <a:solidFill>
              <a:srgbClr val="C00000"/>
            </a:solidFill>
          </a:ln>
        </p:spPr>
      </p:pic>
    </p:spTree>
    <p:extLst>
      <p:ext uri="{BB962C8B-B14F-4D97-AF65-F5344CB8AC3E}">
        <p14:creationId xmlns:p14="http://schemas.microsoft.com/office/powerpoint/2010/main" val="31016421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1B9CE694-F263-BDA4-2EFF-C01CDDDF72C1}"/>
              </a:ext>
            </a:extLst>
          </p:cNvPr>
          <p:cNvSpPr/>
          <p:nvPr/>
        </p:nvSpPr>
        <p:spPr>
          <a:xfrm>
            <a:off x="1315566" y="4504264"/>
            <a:ext cx="6739922" cy="543702"/>
          </a:xfrm>
          <a:prstGeom prst="roundRect">
            <a:avLst/>
          </a:prstGeom>
          <a:solidFill>
            <a:schemeClr val="bg1">
              <a:lumMod val="95000"/>
            </a:schemeClr>
          </a:solidFill>
          <a:ln>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IE" dirty="0">
              <a:solidFill>
                <a:srgbClr val="14438E"/>
              </a:solidFill>
            </a:endParaRPr>
          </a:p>
        </p:txBody>
      </p:sp>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3 Signs with a religious or sacred nexus</a:t>
            </a:r>
          </a:p>
        </p:txBody>
      </p:sp>
      <p:sp>
        <p:nvSpPr>
          <p:cNvPr id="7" name="TextBox 6">
            <a:extLst>
              <a:ext uri="{FF2B5EF4-FFF2-40B4-BE49-F238E27FC236}">
                <a16:creationId xmlns:a16="http://schemas.microsoft.com/office/drawing/2014/main" id="{2BF90201-2F86-16EF-2E39-9B96F7CC40A3}"/>
              </a:ext>
            </a:extLst>
          </p:cNvPr>
          <p:cNvSpPr txBox="1"/>
          <p:nvPr/>
        </p:nvSpPr>
        <p:spPr>
          <a:xfrm>
            <a:off x="3063666" y="1451179"/>
            <a:ext cx="5669325" cy="2616101"/>
          </a:xfrm>
          <a:prstGeom prst="rect">
            <a:avLst/>
          </a:prstGeom>
          <a:noFill/>
          <a:effectLst>
            <a:softEdge rad="12700"/>
          </a:effectLst>
        </p:spPr>
        <p:txBody>
          <a:bodyPr wrap="square" rtlCol="0">
            <a:spAutoFit/>
          </a:bodyPr>
          <a:lstStyle/>
          <a:p>
            <a:pPr marL="285750" indent="-285750" algn="just">
              <a:spcAft>
                <a:spcPts val="600"/>
              </a:spcAft>
              <a:buFontTx/>
              <a:buChar char="-"/>
              <a:tabLst>
                <a:tab pos="3695700" algn="l"/>
              </a:tabLst>
            </a:pPr>
            <a:r>
              <a:rPr lang="en-US" sz="1350" dirty="0">
                <a:solidFill>
                  <a:srgbClr val="2A5494"/>
                </a:solidFill>
                <a:latin typeface="Arial "/>
              </a:rPr>
              <a:t>Signs that refer to/include a religious/sacred figure, symbol, text, ceremony and/or worshipper in a </a:t>
            </a:r>
            <a:r>
              <a:rPr lang="en-US" sz="1350" b="1" dirty="0">
                <a:solidFill>
                  <a:srgbClr val="2A5494"/>
                </a:solidFill>
                <a:latin typeface="Arial "/>
              </a:rPr>
              <a:t>provocative, offensive or profane manner</a:t>
            </a:r>
            <a:r>
              <a:rPr lang="en-US" sz="1350" dirty="0">
                <a:solidFill>
                  <a:srgbClr val="2A5494"/>
                </a:solidFill>
                <a:latin typeface="Arial "/>
              </a:rPr>
              <a:t>, and/or </a:t>
            </a:r>
            <a:r>
              <a:rPr lang="en-US" sz="1350" b="1" dirty="0">
                <a:solidFill>
                  <a:srgbClr val="2A5494"/>
                </a:solidFill>
                <a:latin typeface="Arial "/>
              </a:rPr>
              <a:t>attack a religion in an unwarranted or abusive manner</a:t>
            </a:r>
            <a:r>
              <a:rPr lang="en-US" sz="1350" dirty="0">
                <a:solidFill>
                  <a:srgbClr val="2A5494"/>
                </a:solidFill>
                <a:latin typeface="Arial "/>
              </a:rPr>
              <a:t>, are </a:t>
            </a:r>
            <a:r>
              <a:rPr lang="en-US" sz="1350" b="1" dirty="0">
                <a:solidFill>
                  <a:srgbClr val="2A5494"/>
                </a:solidFill>
                <a:latin typeface="Arial "/>
              </a:rPr>
              <a:t>likely </a:t>
            </a:r>
            <a:r>
              <a:rPr lang="en-US" sz="1350" dirty="0">
                <a:solidFill>
                  <a:srgbClr val="2A5494"/>
                </a:solidFill>
                <a:latin typeface="Arial "/>
              </a:rPr>
              <a:t>to be </a:t>
            </a:r>
            <a:r>
              <a:rPr lang="en-US" sz="1350" b="1" dirty="0">
                <a:solidFill>
                  <a:srgbClr val="2A5494"/>
                </a:solidFill>
                <a:latin typeface="Arial "/>
              </a:rPr>
              <a:t>contrary to accepted principles of morality</a:t>
            </a:r>
            <a:r>
              <a:rPr lang="en-US" sz="1350" dirty="0">
                <a:solidFill>
                  <a:srgbClr val="2A5494"/>
                </a:solidFill>
                <a:latin typeface="Arial "/>
              </a:rPr>
              <a:t>.</a:t>
            </a:r>
          </a:p>
          <a:p>
            <a:pPr marL="285750" indent="-285750" algn="just">
              <a:spcAft>
                <a:spcPts val="600"/>
              </a:spcAft>
              <a:buFontTx/>
              <a:buChar char="-"/>
              <a:tabLst>
                <a:tab pos="3695700" algn="l"/>
              </a:tabLst>
            </a:pPr>
            <a:r>
              <a:rPr lang="en-US" sz="1350" dirty="0">
                <a:solidFill>
                  <a:srgbClr val="2A5494"/>
                </a:solidFill>
                <a:latin typeface="Arial "/>
              </a:rPr>
              <a:t>The sign includes the image of a Hindu God and transmits a gratuitously provocative and offensive message in relation to the moral values of not only Hindus but also those of other beliefs or even non-believers, who may encounter the sign incidentally in their daily lives.</a:t>
            </a:r>
          </a:p>
          <a:p>
            <a:pPr marL="285750" indent="-285750" algn="just">
              <a:spcAft>
                <a:spcPts val="600"/>
              </a:spcAft>
              <a:buFont typeface="Wingdings" panose="05000000000000000000" pitchFamily="2" charset="2"/>
              <a:buChar char="Ø"/>
              <a:tabLst>
                <a:tab pos="3695700" algn="l"/>
              </a:tabLst>
            </a:pPr>
            <a:r>
              <a:rPr lang="en-GB" sz="1350" dirty="0">
                <a:solidFill>
                  <a:srgbClr val="2A5494"/>
                </a:solidFill>
                <a:latin typeface="Arial "/>
              </a:rPr>
              <a:t>The sign is </a:t>
            </a:r>
            <a:r>
              <a:rPr lang="en-GB" sz="1350" b="1" dirty="0">
                <a:solidFill>
                  <a:srgbClr val="2A5494"/>
                </a:solidFill>
                <a:latin typeface="Arial "/>
              </a:rPr>
              <a:t>contrary to </a:t>
            </a:r>
            <a:r>
              <a:rPr lang="en-US" sz="1350" b="1" dirty="0">
                <a:solidFill>
                  <a:srgbClr val="2A5494"/>
                </a:solidFill>
                <a:latin typeface="Arial "/>
              </a:rPr>
              <a:t>accepted principles of morality.</a:t>
            </a:r>
            <a:endParaRPr lang="en-GB" sz="1350" b="1" dirty="0">
              <a:solidFill>
                <a:srgbClr val="2A5494"/>
              </a:solidFill>
              <a:latin typeface="Arial "/>
            </a:endParaRPr>
          </a:p>
        </p:txBody>
      </p:sp>
      <p:sp>
        <p:nvSpPr>
          <p:cNvPr id="9" name="TextBox 8">
            <a:extLst>
              <a:ext uri="{FF2B5EF4-FFF2-40B4-BE49-F238E27FC236}">
                <a16:creationId xmlns:a16="http://schemas.microsoft.com/office/drawing/2014/main" id="{9D79A72B-D90E-152F-4AC5-A4130499C69E}"/>
              </a:ext>
            </a:extLst>
          </p:cNvPr>
          <p:cNvSpPr txBox="1"/>
          <p:nvPr/>
        </p:nvSpPr>
        <p:spPr>
          <a:xfrm>
            <a:off x="964043" y="3125989"/>
            <a:ext cx="1955957" cy="307777"/>
          </a:xfrm>
          <a:prstGeom prst="rect">
            <a:avLst/>
          </a:prstGeom>
          <a:noFill/>
        </p:spPr>
        <p:txBody>
          <a:bodyPr wrap="square" rtlCol="0">
            <a:spAutoFit/>
          </a:bodyPr>
          <a:lstStyle/>
          <a:p>
            <a:r>
              <a:rPr lang="en-GB" sz="1400" dirty="0">
                <a:solidFill>
                  <a:srgbClr val="2A5494"/>
                </a:solidFill>
                <a:latin typeface="Arial "/>
              </a:rPr>
              <a:t>Class 18: Bags </a:t>
            </a:r>
          </a:p>
        </p:txBody>
      </p:sp>
      <p:sp>
        <p:nvSpPr>
          <p:cNvPr id="10" name="TextBox 9">
            <a:extLst>
              <a:ext uri="{FF2B5EF4-FFF2-40B4-BE49-F238E27FC236}">
                <a16:creationId xmlns:a16="http://schemas.microsoft.com/office/drawing/2014/main" id="{36BE6149-803C-5A13-A704-34D5754D2177}"/>
              </a:ext>
            </a:extLst>
          </p:cNvPr>
          <p:cNvSpPr txBox="1"/>
          <p:nvPr/>
        </p:nvSpPr>
        <p:spPr>
          <a:xfrm>
            <a:off x="3348272" y="4066409"/>
            <a:ext cx="4596714" cy="307777"/>
          </a:xfrm>
          <a:prstGeom prst="rect">
            <a:avLst/>
          </a:prstGeom>
          <a:solidFill>
            <a:schemeClr val="accent2">
              <a:lumMod val="40000"/>
              <a:lumOff val="60000"/>
            </a:schemeClr>
          </a:solidFill>
        </p:spPr>
        <p:txBody>
          <a:bodyPr wrap="square" rtlCol="0">
            <a:spAutoFit/>
          </a:bodyPr>
          <a:lstStyle/>
          <a:p>
            <a:pPr algn="ctr"/>
            <a:r>
              <a:rPr lang="en-GB" sz="1400" dirty="0">
                <a:solidFill>
                  <a:schemeClr val="tx2"/>
                </a:solidFill>
                <a:latin typeface="Arial" panose="020B0604020202020204" pitchFamily="34" charset="0"/>
                <a:cs typeface="Arial" panose="020B0604020202020204" pitchFamily="34" charset="0"/>
              </a:rPr>
              <a:t>Objectionable under Article 4(1)(f) TMD</a:t>
            </a:r>
          </a:p>
        </p:txBody>
      </p:sp>
      <p:pic>
        <p:nvPicPr>
          <p:cNvPr id="5" name="Picture 4">
            <a:extLst>
              <a:ext uri="{FF2B5EF4-FFF2-40B4-BE49-F238E27FC236}">
                <a16:creationId xmlns:a16="http://schemas.microsoft.com/office/drawing/2014/main" id="{C5899D77-5B83-8E06-4FA6-30D7893C9685}"/>
              </a:ext>
            </a:extLst>
          </p:cNvPr>
          <p:cNvPicPr>
            <a:picLocks noChangeAspect="1"/>
          </p:cNvPicPr>
          <p:nvPr/>
        </p:nvPicPr>
        <p:blipFill>
          <a:blip r:embed="rId4"/>
          <a:stretch>
            <a:fillRect/>
          </a:stretch>
        </p:blipFill>
        <p:spPr>
          <a:xfrm>
            <a:off x="628724" y="1998470"/>
            <a:ext cx="2016505" cy="998312"/>
          </a:xfrm>
          <a:prstGeom prst="rect">
            <a:avLst/>
          </a:prstGeom>
          <a:ln w="28575">
            <a:solidFill>
              <a:srgbClr val="C00000"/>
            </a:solidFill>
          </a:ln>
        </p:spPr>
      </p:pic>
      <p:sp>
        <p:nvSpPr>
          <p:cNvPr id="13" name="TextBox 12">
            <a:extLst>
              <a:ext uri="{FF2B5EF4-FFF2-40B4-BE49-F238E27FC236}">
                <a16:creationId xmlns:a16="http://schemas.microsoft.com/office/drawing/2014/main" id="{A98EEFD9-52C3-8300-DBBC-201C8D0543CF}"/>
              </a:ext>
            </a:extLst>
          </p:cNvPr>
          <p:cNvSpPr txBox="1"/>
          <p:nvPr/>
        </p:nvSpPr>
        <p:spPr>
          <a:xfrm>
            <a:off x="1362457" y="4478178"/>
            <a:ext cx="6646140" cy="600164"/>
          </a:xfrm>
          <a:prstGeom prst="rect">
            <a:avLst/>
          </a:prstGeom>
          <a:noFill/>
          <a:effectLst>
            <a:softEdge rad="12700"/>
          </a:effectLst>
        </p:spPr>
        <p:txBody>
          <a:bodyPr wrap="square" rtlCol="0">
            <a:spAutoFit/>
          </a:bodyPr>
          <a:lstStyle/>
          <a:p>
            <a:pPr algn="just">
              <a:spcAft>
                <a:spcPts val="600"/>
              </a:spcAft>
              <a:tabLst>
                <a:tab pos="3695700" algn="l"/>
              </a:tabLst>
            </a:pPr>
            <a:r>
              <a:rPr lang="en-US" sz="1100" dirty="0">
                <a:solidFill>
                  <a:srgbClr val="2A5494"/>
                </a:solidFill>
                <a:latin typeface="Arial "/>
              </a:rPr>
              <a:t>Account must be taken of the fact that some Member State legislation provides specific provisions for preserving signs of high symbolic value, in particular religious symbols, and protecting them from trade mark registration (based </a:t>
            </a:r>
            <a:r>
              <a:rPr lang="en-US" sz="1100">
                <a:solidFill>
                  <a:srgbClr val="2A5494"/>
                </a:solidFill>
                <a:latin typeface="Arial "/>
              </a:rPr>
              <a:t>on Article 4(3</a:t>
            </a:r>
            <a:r>
              <a:rPr lang="en-US" sz="1100" dirty="0">
                <a:solidFill>
                  <a:srgbClr val="2A5494"/>
                </a:solidFill>
                <a:latin typeface="Arial "/>
              </a:rPr>
              <a:t>)(b) TMD). </a:t>
            </a:r>
            <a:endParaRPr lang="en-GB" sz="1100" dirty="0">
              <a:solidFill>
                <a:srgbClr val="2A5494"/>
              </a:solidFill>
              <a:latin typeface="Arial "/>
            </a:endParaRPr>
          </a:p>
        </p:txBody>
      </p:sp>
    </p:spTree>
    <p:extLst>
      <p:ext uri="{BB962C8B-B14F-4D97-AF65-F5344CB8AC3E}">
        <p14:creationId xmlns:p14="http://schemas.microsoft.com/office/powerpoint/2010/main" val="4382488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4 Signs including/related to vulgar elements</a:t>
            </a:r>
          </a:p>
        </p:txBody>
      </p:sp>
      <p:sp>
        <p:nvSpPr>
          <p:cNvPr id="4" name="Rectangle: Rounded Corners 3">
            <a:extLst>
              <a:ext uri="{FF2B5EF4-FFF2-40B4-BE49-F238E27FC236}">
                <a16:creationId xmlns:a16="http://schemas.microsoft.com/office/drawing/2014/main" id="{72D26D8E-0E2E-13C8-5758-55A49597409A}"/>
              </a:ext>
            </a:extLst>
          </p:cNvPr>
          <p:cNvSpPr/>
          <p:nvPr/>
        </p:nvSpPr>
        <p:spPr>
          <a:xfrm>
            <a:off x="652210" y="1798009"/>
            <a:ext cx="1833478" cy="923640"/>
          </a:xfrm>
          <a:prstGeom prst="roundRect">
            <a:avLst/>
          </a:prstGeom>
          <a:solidFill>
            <a:srgbClr val="0C4CA2"/>
          </a:solidFill>
          <a:ln w="19050">
            <a:solidFill>
              <a:srgbClr val="4BACC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1" dirty="0">
              <a:solidFill>
                <a:schemeClr val="bg1"/>
              </a:solidFill>
              <a:latin typeface="Arial" panose="020B0604020202020204" pitchFamily="34" charset="0"/>
              <a:cs typeface="Arial" panose="020B0604020202020204" pitchFamily="34" charset="0"/>
            </a:endParaRPr>
          </a:p>
          <a:p>
            <a:pPr algn="ctr"/>
            <a:r>
              <a:rPr lang="en-GB" sz="1400" b="1">
                <a:solidFill>
                  <a:schemeClr val="bg1"/>
                </a:solidFill>
                <a:latin typeface="Arial" panose="020B0604020202020204" pitchFamily="34" charset="0"/>
                <a:cs typeface="Arial" panose="020B0604020202020204" pitchFamily="34" charset="0"/>
              </a:rPr>
              <a:t>What types </a:t>
            </a:r>
            <a:r>
              <a:rPr lang="en-GB" sz="1400" b="1" dirty="0">
                <a:solidFill>
                  <a:schemeClr val="bg1"/>
                </a:solidFill>
                <a:latin typeface="Arial" panose="020B0604020202020204" pitchFamily="34" charset="0"/>
                <a:cs typeface="Arial" panose="020B0604020202020204" pitchFamily="34" charset="0"/>
              </a:rPr>
              <a:t>of signs does this group comprise? </a:t>
            </a:r>
          </a:p>
          <a:p>
            <a:pPr algn="ctr"/>
            <a:endParaRPr lang="en-GB" dirty="0">
              <a:solidFill>
                <a:schemeClr val="bg1"/>
              </a:solidFill>
            </a:endParaRPr>
          </a:p>
        </p:txBody>
      </p:sp>
      <p:sp>
        <p:nvSpPr>
          <p:cNvPr id="5" name="Freeform: Shape 4">
            <a:extLst>
              <a:ext uri="{FF2B5EF4-FFF2-40B4-BE49-F238E27FC236}">
                <a16:creationId xmlns:a16="http://schemas.microsoft.com/office/drawing/2014/main" id="{78764653-F709-760B-CD52-EE467E631E00}"/>
              </a:ext>
            </a:extLst>
          </p:cNvPr>
          <p:cNvSpPr/>
          <p:nvPr/>
        </p:nvSpPr>
        <p:spPr>
          <a:xfrm>
            <a:off x="2599446" y="1633806"/>
            <a:ext cx="6105392" cy="1208773"/>
          </a:xfrm>
          <a:custGeom>
            <a:avLst/>
            <a:gdLst>
              <a:gd name="connsiteX0" fmla="*/ 0 w 4363394"/>
              <a:gd name="connsiteY0" fmla="*/ 174617 h 1746173"/>
              <a:gd name="connsiteX1" fmla="*/ 174617 w 4363394"/>
              <a:gd name="connsiteY1" fmla="*/ 0 h 1746173"/>
              <a:gd name="connsiteX2" fmla="*/ 4188777 w 4363394"/>
              <a:gd name="connsiteY2" fmla="*/ 0 h 1746173"/>
              <a:gd name="connsiteX3" fmla="*/ 4363394 w 4363394"/>
              <a:gd name="connsiteY3" fmla="*/ 174617 h 1746173"/>
              <a:gd name="connsiteX4" fmla="*/ 4363394 w 4363394"/>
              <a:gd name="connsiteY4" fmla="*/ 1571556 h 1746173"/>
              <a:gd name="connsiteX5" fmla="*/ 4188777 w 4363394"/>
              <a:gd name="connsiteY5" fmla="*/ 1746173 h 1746173"/>
              <a:gd name="connsiteX6" fmla="*/ 174617 w 4363394"/>
              <a:gd name="connsiteY6" fmla="*/ 1746173 h 1746173"/>
              <a:gd name="connsiteX7" fmla="*/ 0 w 4363394"/>
              <a:gd name="connsiteY7" fmla="*/ 1571556 h 1746173"/>
              <a:gd name="connsiteX8" fmla="*/ 0 w 4363394"/>
              <a:gd name="connsiteY8" fmla="*/ 174617 h 1746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63394" h="1746173">
                <a:moveTo>
                  <a:pt x="0" y="174617"/>
                </a:moveTo>
                <a:cubicBezTo>
                  <a:pt x="0" y="78179"/>
                  <a:pt x="78179" y="0"/>
                  <a:pt x="174617" y="0"/>
                </a:cubicBezTo>
                <a:lnTo>
                  <a:pt x="4188777" y="0"/>
                </a:lnTo>
                <a:cubicBezTo>
                  <a:pt x="4285215" y="0"/>
                  <a:pt x="4363394" y="78179"/>
                  <a:pt x="4363394" y="174617"/>
                </a:cubicBezTo>
                <a:lnTo>
                  <a:pt x="4363394" y="1571556"/>
                </a:lnTo>
                <a:cubicBezTo>
                  <a:pt x="4363394" y="1667994"/>
                  <a:pt x="4285215" y="1746173"/>
                  <a:pt x="4188777" y="1746173"/>
                </a:cubicBezTo>
                <a:lnTo>
                  <a:pt x="174617" y="1746173"/>
                </a:lnTo>
                <a:cubicBezTo>
                  <a:pt x="78179" y="1746173"/>
                  <a:pt x="0" y="1667994"/>
                  <a:pt x="0" y="1571556"/>
                </a:cubicBezTo>
                <a:lnTo>
                  <a:pt x="0" y="17461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50712" tIns="150712" rIns="150712" bIns="150712" numCol="1" spcCol="1270" anchor="t" anchorCtr="0">
            <a:noAutofit/>
          </a:bodyPr>
          <a:lstStyle/>
          <a:p>
            <a:pPr marL="285750" lvl="0" indent="-285750">
              <a:spcBef>
                <a:spcPts val="1200"/>
              </a:spcBef>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Swear words</a:t>
            </a:r>
          </a:p>
          <a:p>
            <a:pPr marL="285750" indent="-285750">
              <a:spcBef>
                <a:spcPts val="1200"/>
              </a:spcBef>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Offensive gestures or uses</a:t>
            </a:r>
          </a:p>
          <a:p>
            <a:pPr marL="285750" lvl="0" indent="-285750">
              <a:spcBef>
                <a:spcPts val="1200"/>
              </a:spcBef>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Insults</a:t>
            </a:r>
          </a:p>
          <a:p>
            <a:pPr lvl="0"/>
            <a:endParaRPr lang="en-GB" sz="1400" dirty="0">
              <a:solidFill>
                <a:schemeClr val="tx2"/>
              </a:solidFill>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CD8C454B-26A8-63BC-6016-471CBE23D865}"/>
              </a:ext>
            </a:extLst>
          </p:cNvPr>
          <p:cNvSpPr txBox="1"/>
          <p:nvPr/>
        </p:nvSpPr>
        <p:spPr>
          <a:xfrm>
            <a:off x="672936" y="3211005"/>
            <a:ext cx="8103428" cy="1502399"/>
          </a:xfrm>
          <a:prstGeom prst="rect">
            <a:avLst/>
          </a:prstGeom>
          <a:noFill/>
        </p:spPr>
        <p:txBody>
          <a:bodyPr wrap="square">
            <a:spAutoFit/>
          </a:bodyPr>
          <a:lstStyle/>
          <a:p>
            <a:pPr marL="171450" indent="-171450" algn="just">
              <a:lnSpc>
                <a:spcPct val="115000"/>
              </a:lnSpc>
              <a:spcAft>
                <a:spcPts val="600"/>
              </a:spcAft>
              <a:buFont typeface="Arial" panose="020B0604020202020204" pitchFamily="34" charset="0"/>
              <a:buChar char="•"/>
            </a:pPr>
            <a:r>
              <a:rPr lang="en-GB" sz="12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These signs should have at least a </a:t>
            </a:r>
            <a:r>
              <a:rPr lang="en-GB" sz="1200" b="1"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clear vulgar element and be offensive. </a:t>
            </a:r>
          </a:p>
          <a:p>
            <a:pPr marL="171450" indent="-171450" algn="just">
              <a:lnSpc>
                <a:spcPct val="115000"/>
              </a:lnSpc>
              <a:spcAft>
                <a:spcPts val="600"/>
              </a:spcAft>
              <a:buFont typeface="Arial" panose="020B0604020202020204" pitchFamily="34" charset="0"/>
              <a:buChar char="•"/>
            </a:pPr>
            <a:r>
              <a:rPr lang="en-GB" sz="1200" b="1" dirty="0">
                <a:solidFill>
                  <a:srgbClr val="14438E"/>
                </a:solidFill>
                <a:latin typeface="Arial" panose="020B0604020202020204" pitchFamily="34" charset="0"/>
                <a:ea typeface="Times New Roman" panose="02020603050405020304" pitchFamily="18" charset="0"/>
                <a:cs typeface="Arial" panose="020B0604020202020204" pitchFamily="34" charset="0"/>
              </a:rPr>
              <a:t>C</a:t>
            </a:r>
            <a:r>
              <a:rPr lang="en-GB" sz="1200" b="1"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ontrary to</a:t>
            </a:r>
            <a:r>
              <a:rPr lang="en-GB" sz="12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 </a:t>
            </a:r>
            <a:r>
              <a:rPr lang="en-GB" sz="1200" b="1"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accepted principles of morality:</a:t>
            </a:r>
            <a:r>
              <a:rPr lang="en-GB" sz="12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 whenever they might be perceived by the relevant public as clearly insulting, derogatory and/or offensive to their moral values, particularly if the sign and/or the message conveyed by it is addressed to any specific group or individual(s).</a:t>
            </a:r>
            <a:endParaRPr lang="en-US" sz="1200" dirty="0">
              <a:solidFill>
                <a:srgbClr val="14438E"/>
              </a:solidFill>
              <a:effectLst/>
              <a:latin typeface="Arial" panose="020B0604020202020204" pitchFamily="34" charset="0"/>
              <a:ea typeface="Times New Roman" panose="02020603050405020304" pitchFamily="18" charset="0"/>
              <a:cs typeface="Times New Roman" panose="02020603050405020304" pitchFamily="18" charset="0"/>
            </a:endParaRPr>
          </a:p>
          <a:p>
            <a:pPr marL="171450" indent="-171450" algn="just">
              <a:lnSpc>
                <a:spcPct val="115000"/>
              </a:lnSpc>
              <a:spcAft>
                <a:spcPts val="600"/>
              </a:spcAft>
              <a:buFont typeface="Arial" panose="020B0604020202020204" pitchFamily="34" charset="0"/>
              <a:buChar char="•"/>
            </a:pPr>
            <a:r>
              <a:rPr lang="en-GB" sz="1200" b="1" dirty="0">
                <a:solidFill>
                  <a:srgbClr val="14438E"/>
                </a:solidFill>
                <a:latin typeface="Arial" panose="020B0604020202020204" pitchFamily="34" charset="0"/>
                <a:ea typeface="Times New Roman" panose="02020603050405020304" pitchFamily="18" charset="0"/>
                <a:cs typeface="Arial" panose="020B0604020202020204" pitchFamily="34" charset="0"/>
              </a:rPr>
              <a:t>Contrary to public policy: </a:t>
            </a:r>
            <a:r>
              <a:rPr lang="en-GB" sz="1200" dirty="0">
                <a:solidFill>
                  <a:srgbClr val="14438E"/>
                </a:solidFill>
                <a:latin typeface="Arial" panose="020B0604020202020204" pitchFamily="34" charset="0"/>
                <a:ea typeface="Times New Roman" panose="02020603050405020304" pitchFamily="18" charset="0"/>
                <a:cs typeface="Arial" panose="020B0604020202020204" pitchFamily="34" charset="0"/>
              </a:rPr>
              <a:t>if</a:t>
            </a:r>
            <a:r>
              <a:rPr lang="en-GB" sz="12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 the signs contain characteristics that could contravene and/or incite the contravention of a fundamental norm, principle and/or value in the EU </a:t>
            </a:r>
            <a:r>
              <a:rPr lang="en-GB" sz="1200">
                <a:solidFill>
                  <a:srgbClr val="14438E"/>
                </a:solidFill>
                <a:effectLst/>
                <a:latin typeface="Arial" panose="020B0604020202020204" pitchFamily="34" charset="0"/>
                <a:ea typeface="Times New Roman" panose="02020603050405020304" pitchFamily="18" charset="0"/>
                <a:cs typeface="Arial" panose="020B0604020202020204" pitchFamily="34" charset="0"/>
              </a:rPr>
              <a:t>and/or </a:t>
            </a:r>
            <a:r>
              <a:rPr lang="en-GB" sz="12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in a MS</a:t>
            </a:r>
            <a:r>
              <a:rPr lang="en-GB" sz="1200" dirty="0">
                <a:solidFill>
                  <a:srgbClr val="14438E"/>
                </a:solidFill>
                <a:latin typeface="Arial" panose="020B0604020202020204" pitchFamily="34" charset="0"/>
                <a:ea typeface="Times New Roman" panose="02020603050405020304" pitchFamily="18" charset="0"/>
                <a:cs typeface="Arial" panose="020B0604020202020204" pitchFamily="34" charset="0"/>
              </a:rPr>
              <a:t>.</a:t>
            </a:r>
            <a:endParaRPr lang="en-US" sz="1200" dirty="0">
              <a:solidFill>
                <a:srgbClr val="14438E"/>
              </a:solidFill>
              <a:effectLst/>
              <a:latin typeface="Arial" panose="020B06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7517786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4 Signs including/related to vulgar elements</a:t>
            </a:r>
          </a:p>
        </p:txBody>
      </p:sp>
      <p:pic>
        <p:nvPicPr>
          <p:cNvPr id="10" name="Picture 9">
            <a:extLst>
              <a:ext uri="{FF2B5EF4-FFF2-40B4-BE49-F238E27FC236}">
                <a16:creationId xmlns:a16="http://schemas.microsoft.com/office/drawing/2014/main" id="{42CA1215-93D5-1299-D5F2-DEA875A978F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4800" y="1900800"/>
            <a:ext cx="1937803" cy="1442215"/>
          </a:xfrm>
          <a:prstGeom prst="rect">
            <a:avLst/>
          </a:prstGeom>
          <a:ln w="28575">
            <a:solidFill>
              <a:srgbClr val="C00000"/>
            </a:solidFill>
          </a:ln>
        </p:spPr>
      </p:pic>
      <p:sp>
        <p:nvSpPr>
          <p:cNvPr id="11" name="TextBox 10">
            <a:extLst>
              <a:ext uri="{FF2B5EF4-FFF2-40B4-BE49-F238E27FC236}">
                <a16:creationId xmlns:a16="http://schemas.microsoft.com/office/drawing/2014/main" id="{BC1C34BA-47CC-820D-68BD-CC3A97C11346}"/>
              </a:ext>
            </a:extLst>
          </p:cNvPr>
          <p:cNvSpPr txBox="1"/>
          <p:nvPr/>
        </p:nvSpPr>
        <p:spPr>
          <a:xfrm>
            <a:off x="947931" y="3497004"/>
            <a:ext cx="1800115" cy="307777"/>
          </a:xfrm>
          <a:prstGeom prst="rect">
            <a:avLst/>
          </a:prstGeom>
          <a:noFill/>
        </p:spPr>
        <p:txBody>
          <a:bodyPr wrap="square" rtlCol="0">
            <a:spAutoFit/>
          </a:bodyPr>
          <a:lstStyle/>
          <a:p>
            <a:r>
              <a:rPr lang="en-GB" sz="1400" dirty="0">
                <a:solidFill>
                  <a:srgbClr val="2A5494"/>
                </a:solidFill>
                <a:latin typeface="Arial "/>
              </a:rPr>
              <a:t>Class 25: Clothing</a:t>
            </a:r>
          </a:p>
        </p:txBody>
      </p:sp>
      <p:sp>
        <p:nvSpPr>
          <p:cNvPr id="13" name="TextBox 12">
            <a:extLst>
              <a:ext uri="{FF2B5EF4-FFF2-40B4-BE49-F238E27FC236}">
                <a16:creationId xmlns:a16="http://schemas.microsoft.com/office/drawing/2014/main" id="{2A9EE0FB-8B7C-749C-B641-229B75F2B41F}"/>
              </a:ext>
            </a:extLst>
          </p:cNvPr>
          <p:cNvSpPr txBox="1"/>
          <p:nvPr/>
        </p:nvSpPr>
        <p:spPr>
          <a:xfrm>
            <a:off x="3052800" y="1900800"/>
            <a:ext cx="5632625" cy="2031325"/>
          </a:xfrm>
          <a:prstGeom prst="rect">
            <a:avLst/>
          </a:prstGeom>
          <a:noFill/>
          <a:effectLst>
            <a:softEdge rad="12700"/>
          </a:effectLst>
        </p:spPr>
        <p:txBody>
          <a:bodyPr wrap="square" rtlCol="0">
            <a:spAutoFit/>
          </a:bodyPr>
          <a:lstStyle/>
          <a:p>
            <a:pPr marL="285750" indent="-285750" algn="just">
              <a:buFontTx/>
              <a:buChar char="-"/>
            </a:pPr>
            <a:r>
              <a:rPr lang="en-US" sz="1400" dirty="0">
                <a:solidFill>
                  <a:srgbClr val="2A5494"/>
                </a:solidFill>
                <a:latin typeface="Arial "/>
              </a:rPr>
              <a:t>The verbal elements are an offensive manner to refer to a person</a:t>
            </a:r>
            <a:r>
              <a:rPr lang="en-US" sz="1400">
                <a:solidFill>
                  <a:srgbClr val="2A5494"/>
                </a:solidFill>
                <a:latin typeface="Arial "/>
              </a:rPr>
              <a:t>, being highly </a:t>
            </a:r>
            <a:r>
              <a:rPr lang="en-US" sz="1400" dirty="0">
                <a:solidFill>
                  <a:srgbClr val="2A5494"/>
                </a:solidFill>
                <a:latin typeface="Arial "/>
              </a:rPr>
              <a:t>insulting and obnoxious. In combination with the figurative element of a hand raising the middle finger, which is a graphical representation of an insulting gesture, </a:t>
            </a:r>
            <a:r>
              <a:rPr lang="en-GB" sz="1400" dirty="0">
                <a:solidFill>
                  <a:srgbClr val="2A5494"/>
                </a:solidFill>
                <a:latin typeface="Arial "/>
              </a:rPr>
              <a:t>the relevant public will perceive the sign as strong, shocking, insulting, and offensive.</a:t>
            </a:r>
          </a:p>
          <a:p>
            <a:pPr algn="just"/>
            <a:endParaRPr lang="en-GB" sz="1400" dirty="0">
              <a:solidFill>
                <a:srgbClr val="2A5494"/>
              </a:solidFill>
              <a:latin typeface="Arial "/>
            </a:endParaRPr>
          </a:p>
          <a:p>
            <a:pPr marL="285750" indent="-285750" algn="just">
              <a:spcAft>
                <a:spcPts val="600"/>
              </a:spcAft>
              <a:buFont typeface="Wingdings" panose="05000000000000000000" pitchFamily="2" charset="2"/>
              <a:buChar char="Ø"/>
              <a:tabLst>
                <a:tab pos="3695700" algn="l"/>
              </a:tabLst>
            </a:pPr>
            <a:r>
              <a:rPr lang="en-GB" sz="1400" dirty="0">
                <a:solidFill>
                  <a:srgbClr val="2A5494"/>
                </a:solidFill>
                <a:latin typeface="Arial "/>
              </a:rPr>
              <a:t>The sign is </a:t>
            </a:r>
            <a:r>
              <a:rPr lang="en-GB" sz="1400" b="1" dirty="0">
                <a:solidFill>
                  <a:srgbClr val="2A5494"/>
                </a:solidFill>
                <a:latin typeface="Arial "/>
              </a:rPr>
              <a:t>contrary to accepted principles of morality </a:t>
            </a:r>
            <a:r>
              <a:rPr lang="en-GB" sz="1400" dirty="0">
                <a:solidFill>
                  <a:srgbClr val="2A5494"/>
                </a:solidFill>
                <a:latin typeface="Arial "/>
              </a:rPr>
              <a:t>for all goods and services</a:t>
            </a:r>
          </a:p>
        </p:txBody>
      </p:sp>
      <p:sp>
        <p:nvSpPr>
          <p:cNvPr id="14" name="TextBox 13">
            <a:extLst>
              <a:ext uri="{FF2B5EF4-FFF2-40B4-BE49-F238E27FC236}">
                <a16:creationId xmlns:a16="http://schemas.microsoft.com/office/drawing/2014/main" id="{A8B63D27-C943-3B11-E089-E4E336E4C667}"/>
              </a:ext>
            </a:extLst>
          </p:cNvPr>
          <p:cNvSpPr txBox="1"/>
          <p:nvPr/>
        </p:nvSpPr>
        <p:spPr>
          <a:xfrm>
            <a:off x="3412800" y="4063451"/>
            <a:ext cx="4572000" cy="307777"/>
          </a:xfrm>
          <a:prstGeom prst="rect">
            <a:avLst/>
          </a:prstGeom>
          <a:solidFill>
            <a:schemeClr val="accent2">
              <a:lumMod val="40000"/>
              <a:lumOff val="60000"/>
            </a:schemeClr>
          </a:solidFill>
        </p:spPr>
        <p:txBody>
          <a:bodyPr wrap="square" rtlCol="0">
            <a:spAutoFit/>
          </a:bodyPr>
          <a:lstStyle/>
          <a:p>
            <a:pPr algn="ctr"/>
            <a:r>
              <a:rPr lang="en-GB" sz="1400" dirty="0">
                <a:solidFill>
                  <a:schemeClr val="tx2"/>
                </a:solidFill>
                <a:latin typeface="Arial" panose="020B0604020202020204" pitchFamily="34" charset="0"/>
                <a:cs typeface="Arial" panose="020B0604020202020204" pitchFamily="34" charset="0"/>
              </a:rPr>
              <a:t>Objectionable under Article 4(1)(f) TMD</a:t>
            </a:r>
          </a:p>
        </p:txBody>
      </p:sp>
    </p:spTree>
    <p:extLst>
      <p:ext uri="{BB962C8B-B14F-4D97-AF65-F5344CB8AC3E}">
        <p14:creationId xmlns:p14="http://schemas.microsoft.com/office/powerpoint/2010/main" val="25983276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9" name="Rectangle 16">
            <a:extLst>
              <a:ext uri="{FF2B5EF4-FFF2-40B4-BE49-F238E27FC236}">
                <a16:creationId xmlns:a16="http://schemas.microsoft.com/office/drawing/2014/main" id="{A72D7631-5624-4FE2-9B16-5E3DF58A47DE}"/>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6" name="Rectangle 5">
            <a:extLst>
              <a:ext uri="{FF2B5EF4-FFF2-40B4-BE49-F238E27FC236}">
                <a16:creationId xmlns:a16="http://schemas.microsoft.com/office/drawing/2014/main" id="{3D9AFD11-305B-493F-A45D-899D43088659}"/>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Legal basis</a:t>
            </a:r>
          </a:p>
        </p:txBody>
      </p:sp>
      <p:graphicFrame>
        <p:nvGraphicFramePr>
          <p:cNvPr id="7" name="Diagram 6">
            <a:extLst>
              <a:ext uri="{FF2B5EF4-FFF2-40B4-BE49-F238E27FC236}">
                <a16:creationId xmlns:a16="http://schemas.microsoft.com/office/drawing/2014/main" id="{7F654DC5-AF72-46E2-B9DD-6772993BB9FD}"/>
              </a:ext>
            </a:extLst>
          </p:cNvPr>
          <p:cNvGraphicFramePr/>
          <p:nvPr>
            <p:extLst>
              <p:ext uri="{D42A27DB-BD31-4B8C-83A1-F6EECF244321}">
                <p14:modId xmlns:p14="http://schemas.microsoft.com/office/powerpoint/2010/main" val="823518732"/>
              </p:ext>
            </p:extLst>
          </p:nvPr>
        </p:nvGraphicFramePr>
        <p:xfrm>
          <a:off x="1627367" y="2169812"/>
          <a:ext cx="5419966" cy="256820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0" name="TextBox 9">
            <a:extLst>
              <a:ext uri="{FF2B5EF4-FFF2-40B4-BE49-F238E27FC236}">
                <a16:creationId xmlns:a16="http://schemas.microsoft.com/office/drawing/2014/main" id="{6B6B5FAB-09BB-4C2E-A2B9-697FFCBA8039}"/>
              </a:ext>
            </a:extLst>
          </p:cNvPr>
          <p:cNvSpPr txBox="1"/>
          <p:nvPr/>
        </p:nvSpPr>
        <p:spPr>
          <a:xfrm>
            <a:off x="912020" y="1719609"/>
            <a:ext cx="3055396" cy="307777"/>
          </a:xfrm>
          <a:prstGeom prst="rect">
            <a:avLst/>
          </a:prstGeom>
          <a:noFill/>
        </p:spPr>
        <p:txBody>
          <a:bodyPr wrap="square" rtlCol="0">
            <a:spAutoFit/>
          </a:bodyPr>
          <a:lstStyle/>
          <a:p>
            <a:r>
              <a:rPr lang="es-ES" sz="1400" b="1" dirty="0">
                <a:solidFill>
                  <a:schemeClr val="tx2"/>
                </a:solidFill>
                <a:latin typeface="Arial" panose="020B0604020202020204" pitchFamily="34" charset="0"/>
                <a:cs typeface="Arial" panose="020B0604020202020204" pitchFamily="34" charset="0"/>
              </a:rPr>
              <a:t>EU trade mark reform package </a:t>
            </a:r>
          </a:p>
        </p:txBody>
      </p:sp>
      <p:sp>
        <p:nvSpPr>
          <p:cNvPr id="11" name="Rectangle 10">
            <a:extLst>
              <a:ext uri="{FF2B5EF4-FFF2-40B4-BE49-F238E27FC236}">
                <a16:creationId xmlns:a16="http://schemas.microsoft.com/office/drawing/2014/main" id="{0CACC50A-1F3F-4501-A590-7538F11E5A6C}"/>
              </a:ext>
            </a:extLst>
          </p:cNvPr>
          <p:cNvSpPr/>
          <p:nvPr/>
        </p:nvSpPr>
        <p:spPr>
          <a:xfrm>
            <a:off x="1089575" y="1970236"/>
            <a:ext cx="2470647" cy="830997"/>
          </a:xfrm>
          <a:prstGeom prst="rect">
            <a:avLst/>
          </a:prstGeom>
        </p:spPr>
        <p:txBody>
          <a:bodyPr wrap="square">
            <a:spAutoFit/>
          </a:bodyPr>
          <a:lstStyle/>
          <a:p>
            <a:pPr marL="179388" indent="-179388">
              <a:buFont typeface="Arial" panose="020B0604020202020204" pitchFamily="34" charset="0"/>
              <a:buChar char="•"/>
            </a:pPr>
            <a:r>
              <a:rPr lang="es-ES" sz="1200" dirty="0" err="1">
                <a:solidFill>
                  <a:schemeClr val="tx2"/>
                </a:solidFill>
                <a:latin typeface="Arial" panose="020B0604020202020204" pitchFamily="34" charset="0"/>
                <a:cs typeface="Arial" panose="020B0604020202020204" pitchFamily="34" charset="0"/>
                <a:sym typeface="Wingdings" panose="05000000000000000000" pitchFamily="2" charset="2"/>
              </a:rPr>
              <a:t>Article</a:t>
            </a:r>
            <a:r>
              <a:rPr lang="es-ES" sz="1200" dirty="0">
                <a:solidFill>
                  <a:schemeClr val="tx2"/>
                </a:solidFill>
                <a:latin typeface="Arial" panose="020B0604020202020204" pitchFamily="34" charset="0"/>
                <a:cs typeface="Arial" panose="020B0604020202020204" pitchFamily="34" charset="0"/>
                <a:sym typeface="Wingdings" panose="05000000000000000000" pitchFamily="2" charset="2"/>
              </a:rPr>
              <a:t> 151 EUTMR</a:t>
            </a:r>
          </a:p>
          <a:p>
            <a:pPr marL="179388" indent="-179388">
              <a:buFont typeface="Arial" panose="020B0604020202020204" pitchFamily="34" charset="0"/>
              <a:buChar char="•"/>
            </a:pPr>
            <a:r>
              <a:rPr lang="es-ES" sz="1200" dirty="0" err="1">
                <a:solidFill>
                  <a:schemeClr val="tx2"/>
                </a:solidFill>
                <a:latin typeface="Arial" panose="020B0604020202020204" pitchFamily="34" charset="0"/>
                <a:cs typeface="Arial" panose="020B0604020202020204" pitchFamily="34" charset="0"/>
                <a:sym typeface="Wingdings" panose="05000000000000000000" pitchFamily="2" charset="2"/>
              </a:rPr>
              <a:t>Article</a:t>
            </a:r>
            <a:r>
              <a:rPr lang="es-ES" sz="1200" dirty="0">
                <a:solidFill>
                  <a:schemeClr val="tx2"/>
                </a:solidFill>
                <a:latin typeface="Arial" panose="020B0604020202020204" pitchFamily="34" charset="0"/>
                <a:cs typeface="Arial" panose="020B0604020202020204" pitchFamily="34" charset="0"/>
                <a:sym typeface="Wingdings" panose="05000000000000000000" pitchFamily="2" charset="2"/>
              </a:rPr>
              <a:t> 152 EUTMR</a:t>
            </a:r>
          </a:p>
          <a:p>
            <a:pPr marL="179388" indent="-179388">
              <a:buFont typeface="Arial" panose="020B0604020202020204" pitchFamily="34" charset="0"/>
              <a:buChar char="•"/>
            </a:pPr>
            <a:r>
              <a:rPr lang="es-ES" sz="1200">
                <a:solidFill>
                  <a:schemeClr val="tx2"/>
                </a:solidFill>
                <a:latin typeface="Arial" panose="020B0604020202020204" pitchFamily="34" charset="0"/>
                <a:cs typeface="Arial" panose="020B0604020202020204" pitchFamily="34" charset="0"/>
                <a:sym typeface="Wingdings" panose="05000000000000000000" pitchFamily="2" charset="2"/>
              </a:rPr>
              <a:t>Articles </a:t>
            </a:r>
            <a:r>
              <a:rPr lang="es-ES" sz="1200" dirty="0">
                <a:solidFill>
                  <a:schemeClr val="tx2"/>
                </a:solidFill>
                <a:latin typeface="Arial" panose="020B0604020202020204" pitchFamily="34" charset="0"/>
                <a:cs typeface="Arial" panose="020B0604020202020204" pitchFamily="34" charset="0"/>
                <a:sym typeface="Wingdings" panose="05000000000000000000" pitchFamily="2" charset="2"/>
              </a:rPr>
              <a:t>51-52 TMD</a:t>
            </a:r>
          </a:p>
          <a:p>
            <a:pPr marL="179388" indent="-179388">
              <a:buFont typeface="Arial" panose="020B0604020202020204" pitchFamily="34" charset="0"/>
              <a:buChar char="•"/>
            </a:pPr>
            <a:endParaRPr lang="es-ES" sz="1200" dirty="0">
              <a:solidFill>
                <a:schemeClr val="tx2"/>
              </a:solidFill>
              <a:latin typeface="Arial" panose="020B0604020202020204" pitchFamily="34" charset="0"/>
              <a:cs typeface="Arial" panose="020B0604020202020204" pitchFamily="34" charset="0"/>
              <a:sym typeface="Wingdings" panose="05000000000000000000" pitchFamily="2" charset="2"/>
            </a:endParaRPr>
          </a:p>
        </p:txBody>
      </p:sp>
      <p:grpSp>
        <p:nvGrpSpPr>
          <p:cNvPr id="12" name="Group 11">
            <a:extLst>
              <a:ext uri="{FF2B5EF4-FFF2-40B4-BE49-F238E27FC236}">
                <a16:creationId xmlns:a16="http://schemas.microsoft.com/office/drawing/2014/main" id="{2800AC9B-3AB2-4043-B9F0-E965436EB764}"/>
              </a:ext>
            </a:extLst>
          </p:cNvPr>
          <p:cNvGrpSpPr/>
          <p:nvPr/>
        </p:nvGrpSpPr>
        <p:grpSpPr>
          <a:xfrm>
            <a:off x="637807" y="2782039"/>
            <a:ext cx="1327265" cy="1338228"/>
            <a:chOff x="784051" y="782741"/>
            <a:chExt cx="1121881" cy="996031"/>
          </a:xfrm>
          <a:solidFill>
            <a:schemeClr val="tx2"/>
          </a:solidFill>
        </p:grpSpPr>
        <p:sp>
          <p:nvSpPr>
            <p:cNvPr id="13" name="Rounded Rectangle 15">
              <a:extLst>
                <a:ext uri="{FF2B5EF4-FFF2-40B4-BE49-F238E27FC236}">
                  <a16:creationId xmlns:a16="http://schemas.microsoft.com/office/drawing/2014/main" id="{3EDFB9B6-DC4F-43BF-BA9F-5DB480D262DB}"/>
                </a:ext>
              </a:extLst>
            </p:cNvPr>
            <p:cNvSpPr/>
            <p:nvPr/>
          </p:nvSpPr>
          <p:spPr>
            <a:xfrm>
              <a:off x="784051" y="782741"/>
              <a:ext cx="1121881" cy="996031"/>
            </a:xfrm>
            <a:prstGeom prst="roundRect">
              <a:avLst/>
            </a:prstGeom>
            <a:grpFill/>
            <a:ln>
              <a:solidFill>
                <a:schemeClr val="tx2"/>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4" name="Rounded Rectangle 4">
              <a:extLst>
                <a:ext uri="{FF2B5EF4-FFF2-40B4-BE49-F238E27FC236}">
                  <a16:creationId xmlns:a16="http://schemas.microsoft.com/office/drawing/2014/main" id="{E751F882-4D64-4863-A1BB-0D4FE10DC9D0}"/>
                </a:ext>
              </a:extLst>
            </p:cNvPr>
            <p:cNvSpPr/>
            <p:nvPr/>
          </p:nvSpPr>
          <p:spPr>
            <a:xfrm>
              <a:off x="945744" y="851033"/>
              <a:ext cx="855121" cy="859445"/>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45720" tIns="45720" rIns="45720" bIns="45720" numCol="1" spcCol="1270" anchor="ctr" anchorCtr="0">
              <a:noAutofit/>
            </a:bodyPr>
            <a:lstStyle/>
            <a:p>
              <a:pPr algn="ctr"/>
              <a:r>
                <a:rPr lang="es-ES" sz="1200" b="1" dirty="0">
                  <a:solidFill>
                    <a:schemeClr val="bg1"/>
                  </a:solidFill>
                  <a:latin typeface="Arial" panose="020B0604020202020204" pitchFamily="34" charset="0"/>
                  <a:cs typeface="Arial" panose="020B0604020202020204" pitchFamily="34" charset="0"/>
                </a:rPr>
                <a:t>EUIPO’s Strategic Plan 2025</a:t>
              </a:r>
            </a:p>
          </p:txBody>
        </p:sp>
      </p:grpSp>
      <p:sp>
        <p:nvSpPr>
          <p:cNvPr id="16" name="Rounded Rectangle 19">
            <a:extLst>
              <a:ext uri="{FF2B5EF4-FFF2-40B4-BE49-F238E27FC236}">
                <a16:creationId xmlns:a16="http://schemas.microsoft.com/office/drawing/2014/main" id="{572E5089-DF40-4B5C-8F0D-B4143AD8C9F1}"/>
              </a:ext>
            </a:extLst>
          </p:cNvPr>
          <p:cNvSpPr/>
          <p:nvPr/>
        </p:nvSpPr>
        <p:spPr>
          <a:xfrm>
            <a:off x="7037057" y="2635613"/>
            <a:ext cx="1788443" cy="1617890"/>
          </a:xfrm>
          <a:prstGeom prst="roundRect">
            <a:avLst/>
          </a:prstGeom>
          <a:solidFill>
            <a:schemeClr val="tx2"/>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a:lstStyle/>
          <a:p>
            <a:pPr algn="ctr" defTabSz="444500">
              <a:lnSpc>
                <a:spcPct val="90000"/>
              </a:lnSpc>
              <a:spcBef>
                <a:spcPct val="0"/>
              </a:spcBef>
              <a:spcAft>
                <a:spcPts val="1200"/>
              </a:spcAft>
            </a:pPr>
            <a:r>
              <a:rPr lang="en-US" sz="1200" b="1" dirty="0">
                <a:solidFill>
                  <a:srgbClr val="4F81BD">
                    <a:lumMod val="20000"/>
                    <a:lumOff val="80000"/>
                  </a:srgbClr>
                </a:solidFill>
                <a:latin typeface="Arial" panose="020B0604020202020204" pitchFamily="34" charset="0"/>
                <a:cs typeface="Arial" panose="020B0604020202020204" pitchFamily="34" charset="0"/>
              </a:rPr>
              <a:t>CP14 Project</a:t>
            </a:r>
          </a:p>
          <a:p>
            <a:pPr algn="ctr" defTabSz="444500">
              <a:lnSpc>
                <a:spcPct val="90000"/>
              </a:lnSpc>
              <a:spcBef>
                <a:spcPct val="0"/>
              </a:spcBef>
              <a:spcAft>
                <a:spcPct val="35000"/>
              </a:spcAft>
            </a:pPr>
            <a:r>
              <a:rPr lang="en-US" sz="1200" b="1" dirty="0">
                <a:solidFill>
                  <a:srgbClr val="4F81BD">
                    <a:lumMod val="20000"/>
                    <a:lumOff val="80000"/>
                  </a:srgbClr>
                </a:solidFill>
                <a:latin typeface="Arial" panose="020B0604020202020204" pitchFamily="34" charset="0"/>
                <a:cs typeface="Arial" panose="020B0604020202020204" pitchFamily="34" charset="0"/>
              </a:rPr>
              <a:t>Trade marks contrary to public policy or to accepted principles of morality</a:t>
            </a:r>
            <a:endParaRPr lang="en-GB" sz="1200" dirty="0"/>
          </a:p>
        </p:txBody>
      </p:sp>
      <p:sp>
        <p:nvSpPr>
          <p:cNvPr id="18" name="Rectangle 8">
            <a:extLst>
              <a:ext uri="{FF2B5EF4-FFF2-40B4-BE49-F238E27FC236}">
                <a16:creationId xmlns:a16="http://schemas.microsoft.com/office/drawing/2014/main" id="{C8E84ED2-C8F4-4A37-B675-49A55AB008EB}"/>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IE" sz="1400" b="1" dirty="0">
                <a:solidFill>
                  <a:schemeClr val="bg1"/>
                </a:solidFill>
                <a:latin typeface="Arial"/>
                <a:cs typeface="Arial"/>
              </a:rPr>
              <a:t>Background - </a:t>
            </a:r>
            <a:r>
              <a:rPr lang="en-IE" sz="1400" b="1" spc="-71" dirty="0">
                <a:solidFill>
                  <a:srgbClr val="FFFCF6"/>
                </a:solidFill>
                <a:latin typeface="Arial"/>
                <a:ea typeface="Open Sans" panose="020B0606030504020204" pitchFamily="34" charset="0"/>
                <a:cs typeface="Arial"/>
              </a:rPr>
              <a:t>Convergence Projects</a:t>
            </a:r>
          </a:p>
        </p:txBody>
      </p:sp>
    </p:spTree>
    <p:extLst>
      <p:ext uri="{BB962C8B-B14F-4D97-AF65-F5344CB8AC3E}">
        <p14:creationId xmlns:p14="http://schemas.microsoft.com/office/powerpoint/2010/main" val="15039627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4 Signs including/related to vulgar elements</a:t>
            </a:r>
          </a:p>
        </p:txBody>
      </p:sp>
      <p:pic>
        <p:nvPicPr>
          <p:cNvPr id="4" name="Picture 3">
            <a:extLst>
              <a:ext uri="{FF2B5EF4-FFF2-40B4-BE49-F238E27FC236}">
                <a16:creationId xmlns:a16="http://schemas.microsoft.com/office/drawing/2014/main" id="{BFF48A20-0522-FA1B-0830-761DC501C797}"/>
              </a:ext>
            </a:extLst>
          </p:cNvPr>
          <p:cNvPicPr>
            <a:picLocks noChangeAspect="1"/>
          </p:cNvPicPr>
          <p:nvPr/>
        </p:nvPicPr>
        <p:blipFill rotWithShape="1">
          <a:blip r:embed="rId4"/>
          <a:srcRect t="14858"/>
          <a:stretch/>
        </p:blipFill>
        <p:spPr>
          <a:xfrm>
            <a:off x="832188" y="2261286"/>
            <a:ext cx="1984567" cy="1145204"/>
          </a:xfrm>
          <a:prstGeom prst="rect">
            <a:avLst/>
          </a:prstGeom>
          <a:ln w="28575">
            <a:solidFill>
              <a:srgbClr val="00B050"/>
            </a:solidFill>
          </a:ln>
        </p:spPr>
      </p:pic>
      <p:sp>
        <p:nvSpPr>
          <p:cNvPr id="5" name="TextBox 4">
            <a:extLst>
              <a:ext uri="{FF2B5EF4-FFF2-40B4-BE49-F238E27FC236}">
                <a16:creationId xmlns:a16="http://schemas.microsoft.com/office/drawing/2014/main" id="{C55BF907-03D2-CA3A-15FC-211BBD95F0A9}"/>
              </a:ext>
            </a:extLst>
          </p:cNvPr>
          <p:cNvSpPr txBox="1"/>
          <p:nvPr/>
        </p:nvSpPr>
        <p:spPr>
          <a:xfrm>
            <a:off x="784801" y="3625273"/>
            <a:ext cx="2031954" cy="523220"/>
          </a:xfrm>
          <a:prstGeom prst="rect">
            <a:avLst/>
          </a:prstGeom>
          <a:noFill/>
        </p:spPr>
        <p:txBody>
          <a:bodyPr wrap="square" rtlCol="0">
            <a:spAutoFit/>
          </a:bodyPr>
          <a:lstStyle/>
          <a:p>
            <a:pPr algn="ctr"/>
            <a:r>
              <a:rPr lang="en-GB" sz="1400" dirty="0">
                <a:solidFill>
                  <a:srgbClr val="2A5494"/>
                </a:solidFill>
                <a:latin typeface="Arial "/>
              </a:rPr>
              <a:t>Class 33: Alcoholic beverages</a:t>
            </a:r>
          </a:p>
        </p:txBody>
      </p:sp>
      <p:sp>
        <p:nvSpPr>
          <p:cNvPr id="7" name="TextBox 6">
            <a:extLst>
              <a:ext uri="{FF2B5EF4-FFF2-40B4-BE49-F238E27FC236}">
                <a16:creationId xmlns:a16="http://schemas.microsoft.com/office/drawing/2014/main" id="{314AD5FA-BCF8-A875-A857-709AC8769D45}"/>
              </a:ext>
            </a:extLst>
          </p:cNvPr>
          <p:cNvSpPr txBox="1"/>
          <p:nvPr/>
        </p:nvSpPr>
        <p:spPr>
          <a:xfrm>
            <a:off x="3411633" y="4578520"/>
            <a:ext cx="4450768" cy="307777"/>
          </a:xfrm>
          <a:prstGeom prst="rect">
            <a:avLst/>
          </a:prstGeom>
          <a:solidFill>
            <a:schemeClr val="accent3">
              <a:lumMod val="40000"/>
              <a:lumOff val="60000"/>
            </a:schemeClr>
          </a:solidFill>
        </p:spPr>
        <p:txBody>
          <a:bodyPr wrap="square" rtlCol="0">
            <a:spAutoFit/>
          </a:bodyPr>
          <a:lstStyle/>
          <a:p>
            <a:pPr algn="ctr"/>
            <a:r>
              <a:rPr lang="en-GB" sz="1400" dirty="0">
                <a:solidFill>
                  <a:schemeClr val="tx2"/>
                </a:solidFill>
                <a:latin typeface="Arial" panose="020B0604020202020204" pitchFamily="34" charset="0"/>
                <a:cs typeface="Arial" panose="020B0604020202020204" pitchFamily="34" charset="0"/>
              </a:rPr>
              <a:t>Non-objectionable under Article 4(1)(f) TMD</a:t>
            </a:r>
          </a:p>
        </p:txBody>
      </p:sp>
      <p:sp>
        <p:nvSpPr>
          <p:cNvPr id="10" name="TextBox 9">
            <a:extLst>
              <a:ext uri="{FF2B5EF4-FFF2-40B4-BE49-F238E27FC236}">
                <a16:creationId xmlns:a16="http://schemas.microsoft.com/office/drawing/2014/main" id="{73651D77-D0DD-DF3E-26E0-3345DE4B79A0}"/>
              </a:ext>
            </a:extLst>
          </p:cNvPr>
          <p:cNvSpPr txBox="1"/>
          <p:nvPr/>
        </p:nvSpPr>
        <p:spPr>
          <a:xfrm>
            <a:off x="3351016" y="1577680"/>
            <a:ext cx="5404183" cy="3323987"/>
          </a:xfrm>
          <a:prstGeom prst="rect">
            <a:avLst/>
          </a:prstGeom>
          <a:noFill/>
        </p:spPr>
        <p:txBody>
          <a:bodyPr wrap="square" rtlCol="0">
            <a:spAutoFit/>
          </a:bodyPr>
          <a:lstStyle/>
          <a:p>
            <a:pPr marL="285750" indent="-285750" algn="just">
              <a:buFontTx/>
              <a:buChar char="-"/>
            </a:pPr>
            <a:r>
              <a:rPr lang="en-US" sz="1400" dirty="0">
                <a:solidFill>
                  <a:srgbClr val="2A5494"/>
                </a:solidFill>
                <a:latin typeface="Arial "/>
              </a:rPr>
              <a:t>It is possible that, </a:t>
            </a:r>
            <a:r>
              <a:rPr lang="en-US" sz="1400" b="1" dirty="0">
                <a:solidFill>
                  <a:srgbClr val="2A5494"/>
                </a:solidFill>
                <a:latin typeface="Arial "/>
              </a:rPr>
              <a:t>despite containing unpleasant or undesired words, gestures and/or uses</a:t>
            </a:r>
            <a:r>
              <a:rPr lang="en-US" sz="1400" dirty="0">
                <a:solidFill>
                  <a:srgbClr val="2A5494"/>
                </a:solidFill>
                <a:latin typeface="Arial "/>
              </a:rPr>
              <a:t>, a sign and/or the message conveyed by it is </a:t>
            </a:r>
            <a:r>
              <a:rPr lang="en-US" sz="1400" b="1" dirty="0">
                <a:solidFill>
                  <a:srgbClr val="2A5494"/>
                </a:solidFill>
                <a:latin typeface="Arial "/>
              </a:rPr>
              <a:t>not considered sufficiently offensive </a:t>
            </a:r>
            <a:r>
              <a:rPr lang="en-US" sz="1400" dirty="0">
                <a:solidFill>
                  <a:srgbClr val="2A5494"/>
                </a:solidFill>
                <a:latin typeface="Arial "/>
              </a:rPr>
              <a:t>to be refused under accepted principles of morality.</a:t>
            </a:r>
          </a:p>
          <a:p>
            <a:pPr marL="285750" indent="-285750" algn="just">
              <a:buFontTx/>
              <a:buChar char="-"/>
            </a:pPr>
            <a:endParaRPr lang="en-GB" sz="1400" dirty="0">
              <a:solidFill>
                <a:srgbClr val="2A5494"/>
              </a:solidFill>
              <a:latin typeface="Arial "/>
            </a:endParaRPr>
          </a:p>
          <a:p>
            <a:pPr marL="285750" indent="-285750" algn="just">
              <a:buFontTx/>
              <a:buChar char="-"/>
            </a:pPr>
            <a:r>
              <a:rPr lang="en-GB" sz="1400" dirty="0">
                <a:solidFill>
                  <a:srgbClr val="2A5494"/>
                </a:solidFill>
                <a:latin typeface="Arial "/>
              </a:rPr>
              <a:t>The verbal element ‘BASTARD’ preceded by the words ‘I AM A’ would detract from the seriousness of the insult and introduce an element of irony and humour aimed at oneself.</a:t>
            </a:r>
          </a:p>
          <a:p>
            <a:pPr marL="285750" indent="-285750" algn="just">
              <a:buFontTx/>
              <a:buChar char="-"/>
            </a:pPr>
            <a:endParaRPr lang="en-GB" sz="1400" dirty="0">
              <a:solidFill>
                <a:srgbClr val="2A5494"/>
              </a:solidFill>
              <a:latin typeface="Arial "/>
            </a:endParaRPr>
          </a:p>
          <a:p>
            <a:pPr marL="285750" indent="-285750" algn="just">
              <a:buFontTx/>
              <a:buChar char="-"/>
            </a:pPr>
            <a:r>
              <a:rPr lang="en-GB" sz="1400" dirty="0">
                <a:solidFill>
                  <a:srgbClr val="2A5494"/>
                </a:solidFill>
                <a:latin typeface="Arial "/>
              </a:rPr>
              <a:t>In relation to ‘alcoholic beverages’, the sign will not be perceived as a message addressed to any third person. </a:t>
            </a:r>
          </a:p>
          <a:p>
            <a:pPr algn="just"/>
            <a:endParaRPr lang="en-GB" sz="1400" dirty="0">
              <a:solidFill>
                <a:srgbClr val="2A5494"/>
              </a:solidFill>
              <a:latin typeface="Arial "/>
            </a:endParaRPr>
          </a:p>
          <a:p>
            <a:pPr marL="285750" indent="-285750" algn="just">
              <a:buFont typeface="Wingdings" panose="05000000000000000000" pitchFamily="2" charset="2"/>
              <a:buChar char="Ø"/>
            </a:pPr>
            <a:r>
              <a:rPr lang="en-GB" sz="1400" b="1" dirty="0">
                <a:solidFill>
                  <a:srgbClr val="2A5494"/>
                </a:solidFill>
                <a:latin typeface="Arial "/>
              </a:rPr>
              <a:t>Not contrary to accepted principles of morality</a:t>
            </a:r>
          </a:p>
          <a:p>
            <a:pPr algn="just"/>
            <a:endParaRPr lang="en-GB" sz="1400" dirty="0">
              <a:solidFill>
                <a:srgbClr val="2A5494"/>
              </a:solidFill>
              <a:latin typeface="Arial "/>
            </a:endParaRPr>
          </a:p>
          <a:p>
            <a:pPr marL="285750" indent="-285750">
              <a:buFontTx/>
              <a:buChar char="-"/>
            </a:pPr>
            <a:endParaRPr lang="en-GB" sz="1400" dirty="0">
              <a:solidFill>
                <a:srgbClr val="2A5494"/>
              </a:solidFill>
              <a:latin typeface="Arial "/>
            </a:endParaRPr>
          </a:p>
        </p:txBody>
      </p:sp>
    </p:spTree>
    <p:extLst>
      <p:ext uri="{BB962C8B-B14F-4D97-AF65-F5344CB8AC3E}">
        <p14:creationId xmlns:p14="http://schemas.microsoft.com/office/powerpoint/2010/main" val="14334295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5 Signs including/related to obscenity, sexuality and innuendo</a:t>
            </a:r>
          </a:p>
        </p:txBody>
      </p:sp>
      <p:sp>
        <p:nvSpPr>
          <p:cNvPr id="10" name="Rectangle: Rounded Corners 9">
            <a:extLst>
              <a:ext uri="{FF2B5EF4-FFF2-40B4-BE49-F238E27FC236}">
                <a16:creationId xmlns:a16="http://schemas.microsoft.com/office/drawing/2014/main" id="{9864C8C6-48B8-C135-6D52-6F10EB7CAA01}"/>
              </a:ext>
            </a:extLst>
          </p:cNvPr>
          <p:cNvSpPr/>
          <p:nvPr/>
        </p:nvSpPr>
        <p:spPr>
          <a:xfrm>
            <a:off x="651600" y="2262300"/>
            <a:ext cx="1833478" cy="923640"/>
          </a:xfrm>
          <a:prstGeom prst="roundRect">
            <a:avLst/>
          </a:prstGeom>
          <a:solidFill>
            <a:srgbClr val="0C4CA2"/>
          </a:solidFill>
          <a:ln w="19050">
            <a:solidFill>
              <a:srgbClr val="4BACC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1" dirty="0">
              <a:solidFill>
                <a:schemeClr val="bg1"/>
              </a:solidFill>
              <a:latin typeface="Arial" panose="020B0604020202020204" pitchFamily="34" charset="0"/>
              <a:cs typeface="Arial" panose="020B0604020202020204" pitchFamily="34" charset="0"/>
            </a:endParaRPr>
          </a:p>
          <a:p>
            <a:pPr algn="ctr"/>
            <a:r>
              <a:rPr lang="en-GB" sz="1400" b="1">
                <a:solidFill>
                  <a:schemeClr val="bg1"/>
                </a:solidFill>
                <a:latin typeface="Arial" panose="020B0604020202020204" pitchFamily="34" charset="0"/>
                <a:cs typeface="Arial" panose="020B0604020202020204" pitchFamily="34" charset="0"/>
              </a:rPr>
              <a:t>What types </a:t>
            </a:r>
            <a:r>
              <a:rPr lang="en-GB" sz="1400" b="1" dirty="0">
                <a:solidFill>
                  <a:schemeClr val="bg1"/>
                </a:solidFill>
                <a:latin typeface="Arial" panose="020B0604020202020204" pitchFamily="34" charset="0"/>
                <a:cs typeface="Arial" panose="020B0604020202020204" pitchFamily="34" charset="0"/>
              </a:rPr>
              <a:t>of signs does this group comprise? </a:t>
            </a:r>
          </a:p>
          <a:p>
            <a:pPr algn="ctr"/>
            <a:endParaRPr lang="en-GB" dirty="0">
              <a:solidFill>
                <a:schemeClr val="bg1"/>
              </a:solidFill>
            </a:endParaRPr>
          </a:p>
        </p:txBody>
      </p:sp>
      <p:sp>
        <p:nvSpPr>
          <p:cNvPr id="11" name="Freeform: Shape 10">
            <a:extLst>
              <a:ext uri="{FF2B5EF4-FFF2-40B4-BE49-F238E27FC236}">
                <a16:creationId xmlns:a16="http://schemas.microsoft.com/office/drawing/2014/main" id="{D9AF4ACB-2D83-8877-062B-C67859F7CE99}"/>
              </a:ext>
            </a:extLst>
          </p:cNvPr>
          <p:cNvSpPr/>
          <p:nvPr/>
        </p:nvSpPr>
        <p:spPr>
          <a:xfrm>
            <a:off x="2649636" y="1870499"/>
            <a:ext cx="6105392" cy="1639962"/>
          </a:xfrm>
          <a:custGeom>
            <a:avLst/>
            <a:gdLst>
              <a:gd name="connsiteX0" fmla="*/ 0 w 4363394"/>
              <a:gd name="connsiteY0" fmla="*/ 174617 h 1746173"/>
              <a:gd name="connsiteX1" fmla="*/ 174617 w 4363394"/>
              <a:gd name="connsiteY1" fmla="*/ 0 h 1746173"/>
              <a:gd name="connsiteX2" fmla="*/ 4188777 w 4363394"/>
              <a:gd name="connsiteY2" fmla="*/ 0 h 1746173"/>
              <a:gd name="connsiteX3" fmla="*/ 4363394 w 4363394"/>
              <a:gd name="connsiteY3" fmla="*/ 174617 h 1746173"/>
              <a:gd name="connsiteX4" fmla="*/ 4363394 w 4363394"/>
              <a:gd name="connsiteY4" fmla="*/ 1571556 h 1746173"/>
              <a:gd name="connsiteX5" fmla="*/ 4188777 w 4363394"/>
              <a:gd name="connsiteY5" fmla="*/ 1746173 h 1746173"/>
              <a:gd name="connsiteX6" fmla="*/ 174617 w 4363394"/>
              <a:gd name="connsiteY6" fmla="*/ 1746173 h 1746173"/>
              <a:gd name="connsiteX7" fmla="*/ 0 w 4363394"/>
              <a:gd name="connsiteY7" fmla="*/ 1571556 h 1746173"/>
              <a:gd name="connsiteX8" fmla="*/ 0 w 4363394"/>
              <a:gd name="connsiteY8" fmla="*/ 174617 h 1746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63394" h="1746173">
                <a:moveTo>
                  <a:pt x="0" y="174617"/>
                </a:moveTo>
                <a:cubicBezTo>
                  <a:pt x="0" y="78179"/>
                  <a:pt x="78179" y="0"/>
                  <a:pt x="174617" y="0"/>
                </a:cubicBezTo>
                <a:lnTo>
                  <a:pt x="4188777" y="0"/>
                </a:lnTo>
                <a:cubicBezTo>
                  <a:pt x="4285215" y="0"/>
                  <a:pt x="4363394" y="78179"/>
                  <a:pt x="4363394" y="174617"/>
                </a:cubicBezTo>
                <a:lnTo>
                  <a:pt x="4363394" y="1571556"/>
                </a:lnTo>
                <a:cubicBezTo>
                  <a:pt x="4363394" y="1667994"/>
                  <a:pt x="4285215" y="1746173"/>
                  <a:pt x="4188777" y="1746173"/>
                </a:cubicBezTo>
                <a:lnTo>
                  <a:pt x="174617" y="1746173"/>
                </a:lnTo>
                <a:cubicBezTo>
                  <a:pt x="78179" y="1746173"/>
                  <a:pt x="0" y="1667994"/>
                  <a:pt x="0" y="1571556"/>
                </a:cubicBezTo>
                <a:lnTo>
                  <a:pt x="0" y="17461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50712" tIns="150712" rIns="150712" bIns="150712" numCol="1" spcCol="1270" anchor="t" anchorCtr="0">
            <a:noAutofit/>
          </a:bodyPr>
          <a:lstStyle/>
          <a:p>
            <a:pPr marL="285750" lvl="0" indent="-285750">
              <a:spcAft>
                <a:spcPts val="1200"/>
              </a:spcAft>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Sexual activity/practice</a:t>
            </a:r>
          </a:p>
          <a:p>
            <a:pPr marL="285750" lvl="0" indent="-285750">
              <a:spcAft>
                <a:spcPts val="1200"/>
              </a:spcAft>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Genitalia</a:t>
            </a:r>
          </a:p>
          <a:p>
            <a:pPr marL="285750" lvl="0" indent="-285750">
              <a:spcAft>
                <a:spcPts val="1200"/>
              </a:spcAft>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Nudity</a:t>
            </a:r>
          </a:p>
          <a:p>
            <a:pPr marL="285750" indent="-285750">
              <a:spcAft>
                <a:spcPts val="1200"/>
              </a:spcAft>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Slang words referring to the above</a:t>
            </a:r>
          </a:p>
          <a:p>
            <a:pPr marL="285750" lvl="0" indent="-285750">
              <a:buFont typeface="Wingdings" panose="05000000000000000000" pitchFamily="2" charset="2"/>
              <a:buChar char="Ø"/>
            </a:pPr>
            <a:endParaRPr lang="en-GB" sz="1400" dirty="0">
              <a:solidFill>
                <a:schemeClr val="tx2"/>
              </a:solidFill>
              <a:latin typeface="Arial" panose="020B0604020202020204" pitchFamily="34" charset="0"/>
              <a:cs typeface="Arial" panose="020B0604020202020204" pitchFamily="34" charset="0"/>
            </a:endParaRPr>
          </a:p>
          <a:p>
            <a:pPr marL="285750" lvl="0" indent="-285750">
              <a:buFont typeface="Wingdings" panose="05000000000000000000" pitchFamily="2" charset="2"/>
              <a:buChar char="Ø"/>
            </a:pPr>
            <a:endParaRPr lang="en-GB" sz="1400" dirty="0">
              <a:solidFill>
                <a:schemeClr val="tx2"/>
              </a:solidFill>
              <a:latin typeface="Arial" panose="020B0604020202020204" pitchFamily="34" charset="0"/>
              <a:cs typeface="Arial" panose="020B0604020202020204" pitchFamily="34" charset="0"/>
            </a:endParaRPr>
          </a:p>
          <a:p>
            <a:pPr lvl="0"/>
            <a:endParaRPr lang="en-GB" sz="1400" dirty="0">
              <a:solidFill>
                <a:schemeClr val="tx2"/>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16B901AA-74D5-0913-406F-39A08E6F7EE5}"/>
              </a:ext>
            </a:extLst>
          </p:cNvPr>
          <p:cNvSpPr txBox="1"/>
          <p:nvPr/>
        </p:nvSpPr>
        <p:spPr>
          <a:xfrm>
            <a:off x="651600" y="3863264"/>
            <a:ext cx="8103428" cy="711413"/>
          </a:xfrm>
          <a:prstGeom prst="rect">
            <a:avLst/>
          </a:prstGeom>
          <a:noFill/>
        </p:spPr>
        <p:txBody>
          <a:bodyPr wrap="square">
            <a:spAutoFit/>
          </a:bodyPr>
          <a:lstStyle/>
          <a:p>
            <a:pPr marL="171450" indent="-171450" algn="just">
              <a:lnSpc>
                <a:spcPct val="115000"/>
              </a:lnSpc>
              <a:spcAft>
                <a:spcPts val="600"/>
              </a:spcAft>
              <a:buFont typeface="Arial" panose="020B0604020202020204" pitchFamily="34" charset="0"/>
              <a:buChar char="•"/>
            </a:pPr>
            <a:r>
              <a:rPr lang="en-GB" sz="1200" b="1" dirty="0">
                <a:solidFill>
                  <a:srgbClr val="14438E"/>
                </a:solidFill>
                <a:latin typeface="Arial" panose="020B0604020202020204" pitchFamily="34" charset="0"/>
                <a:ea typeface="Times New Roman" panose="02020603050405020304" pitchFamily="18" charset="0"/>
                <a:cs typeface="Arial" panose="020B0604020202020204" pitchFamily="34" charset="0"/>
              </a:rPr>
              <a:t>C</a:t>
            </a:r>
            <a:r>
              <a:rPr lang="en-GB" sz="1200" b="1"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ontrary to</a:t>
            </a:r>
            <a:r>
              <a:rPr lang="en-GB" sz="12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 </a:t>
            </a:r>
            <a:r>
              <a:rPr lang="en-GB" sz="1200" b="1"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accepted principles of morality:</a:t>
            </a:r>
            <a:r>
              <a:rPr lang="en-GB" sz="12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 whenever they might be perceived by the relevant public as clearly insulting, offending and/or shocking their moral values due to the meaning of the sign and, eventually, because of the goods and/or services applied for. </a:t>
            </a:r>
            <a:endParaRPr lang="en-US" sz="1200" dirty="0">
              <a:solidFill>
                <a:srgbClr val="14438E"/>
              </a:solidFill>
              <a:effectLst/>
              <a:latin typeface="Arial" panose="020B06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6033915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5 Signs including/related to obscenity, sexuality and innuendo</a:t>
            </a:r>
          </a:p>
        </p:txBody>
      </p:sp>
      <p:pic>
        <p:nvPicPr>
          <p:cNvPr id="4" name="Picture 3">
            <a:extLst>
              <a:ext uri="{FF2B5EF4-FFF2-40B4-BE49-F238E27FC236}">
                <a16:creationId xmlns:a16="http://schemas.microsoft.com/office/drawing/2014/main" id="{3275EFDC-881F-4544-2716-012AF5C325B6}"/>
              </a:ext>
            </a:extLst>
          </p:cNvPr>
          <p:cNvPicPr>
            <a:picLocks noChangeAspect="1"/>
          </p:cNvPicPr>
          <p:nvPr/>
        </p:nvPicPr>
        <p:blipFill>
          <a:blip r:embed="rId4"/>
          <a:stretch>
            <a:fillRect/>
          </a:stretch>
        </p:blipFill>
        <p:spPr>
          <a:xfrm>
            <a:off x="985515" y="1900800"/>
            <a:ext cx="1692000" cy="983863"/>
          </a:xfrm>
          <a:prstGeom prst="rect">
            <a:avLst/>
          </a:prstGeom>
          <a:ln w="28575">
            <a:solidFill>
              <a:srgbClr val="C00000"/>
            </a:solidFill>
          </a:ln>
        </p:spPr>
      </p:pic>
      <p:sp>
        <p:nvSpPr>
          <p:cNvPr id="5" name="TextBox 4">
            <a:extLst>
              <a:ext uri="{FF2B5EF4-FFF2-40B4-BE49-F238E27FC236}">
                <a16:creationId xmlns:a16="http://schemas.microsoft.com/office/drawing/2014/main" id="{1C0FF7B6-4B7D-705D-3301-4A8D4D253A1E}"/>
              </a:ext>
            </a:extLst>
          </p:cNvPr>
          <p:cNvSpPr txBox="1"/>
          <p:nvPr/>
        </p:nvSpPr>
        <p:spPr>
          <a:xfrm>
            <a:off x="1030120" y="2993665"/>
            <a:ext cx="1773137" cy="292388"/>
          </a:xfrm>
          <a:prstGeom prst="rect">
            <a:avLst/>
          </a:prstGeom>
          <a:noFill/>
        </p:spPr>
        <p:txBody>
          <a:bodyPr wrap="square" rtlCol="0">
            <a:spAutoFit/>
          </a:bodyPr>
          <a:lstStyle/>
          <a:p>
            <a:r>
              <a:rPr lang="en-GB" sz="1300" dirty="0">
                <a:solidFill>
                  <a:srgbClr val="2A5494"/>
                </a:solidFill>
                <a:latin typeface="Arial "/>
              </a:rPr>
              <a:t>Class 25: Clothing</a:t>
            </a:r>
          </a:p>
        </p:txBody>
      </p:sp>
      <p:sp>
        <p:nvSpPr>
          <p:cNvPr id="7" name="TextBox 6">
            <a:extLst>
              <a:ext uri="{FF2B5EF4-FFF2-40B4-BE49-F238E27FC236}">
                <a16:creationId xmlns:a16="http://schemas.microsoft.com/office/drawing/2014/main" id="{FFA22F65-FA0B-7AD4-81A9-456BF5BD50A6}"/>
              </a:ext>
            </a:extLst>
          </p:cNvPr>
          <p:cNvSpPr txBox="1"/>
          <p:nvPr/>
        </p:nvSpPr>
        <p:spPr>
          <a:xfrm>
            <a:off x="3201081" y="1937308"/>
            <a:ext cx="5554119" cy="1384995"/>
          </a:xfrm>
          <a:prstGeom prst="rect">
            <a:avLst/>
          </a:prstGeom>
          <a:noFill/>
          <a:effectLst>
            <a:softEdge rad="12700"/>
          </a:effectLst>
        </p:spPr>
        <p:txBody>
          <a:bodyPr wrap="square" rtlCol="0">
            <a:spAutoFit/>
          </a:bodyPr>
          <a:lstStyle/>
          <a:p>
            <a:pPr marL="285750" indent="-285750" algn="just">
              <a:buFontTx/>
              <a:buChar char="-"/>
            </a:pPr>
            <a:r>
              <a:rPr lang="en-GB" sz="1400" dirty="0">
                <a:solidFill>
                  <a:srgbClr val="2A5494"/>
                </a:solidFill>
                <a:latin typeface="Arial "/>
              </a:rPr>
              <a:t>The verbal element would be clearly perceived by the relevant public as the word ‘cunt’, a slang word for a woman’s vagina and outer sexual organs. This word would be found clearly insulting </a:t>
            </a:r>
            <a:r>
              <a:rPr lang="en-GB" sz="1400">
                <a:solidFill>
                  <a:srgbClr val="2A5494"/>
                </a:solidFill>
                <a:latin typeface="Arial "/>
              </a:rPr>
              <a:t>and offensive to </a:t>
            </a:r>
            <a:r>
              <a:rPr lang="en-GB" sz="1400" dirty="0">
                <a:solidFill>
                  <a:srgbClr val="2A5494"/>
                </a:solidFill>
                <a:latin typeface="Arial "/>
              </a:rPr>
              <a:t>their moral values.</a:t>
            </a:r>
          </a:p>
          <a:p>
            <a:pPr algn="just"/>
            <a:endParaRPr lang="en-GB" sz="1400" dirty="0">
              <a:solidFill>
                <a:srgbClr val="2A5494"/>
              </a:solidFill>
              <a:latin typeface="Arial "/>
            </a:endParaRPr>
          </a:p>
          <a:p>
            <a:pPr marL="285750" indent="-285750" algn="just">
              <a:buFont typeface="Wingdings" panose="05000000000000000000" pitchFamily="2" charset="2"/>
              <a:buChar char="Ø"/>
            </a:pPr>
            <a:r>
              <a:rPr lang="en-GB" sz="1400" dirty="0">
                <a:solidFill>
                  <a:srgbClr val="2A5494"/>
                </a:solidFill>
                <a:latin typeface="Arial "/>
              </a:rPr>
              <a:t>The sign is </a:t>
            </a:r>
            <a:r>
              <a:rPr lang="en-GB" sz="1400" b="1" dirty="0">
                <a:solidFill>
                  <a:srgbClr val="2A5494"/>
                </a:solidFill>
                <a:latin typeface="Arial "/>
              </a:rPr>
              <a:t>contrary to accepted principles of morality</a:t>
            </a:r>
            <a:endParaRPr lang="en-GB" sz="1400" dirty="0">
              <a:solidFill>
                <a:srgbClr val="2A5494"/>
              </a:solidFill>
              <a:latin typeface="Arial "/>
            </a:endParaRPr>
          </a:p>
        </p:txBody>
      </p:sp>
      <p:sp>
        <p:nvSpPr>
          <p:cNvPr id="9" name="TextBox 8">
            <a:extLst>
              <a:ext uri="{FF2B5EF4-FFF2-40B4-BE49-F238E27FC236}">
                <a16:creationId xmlns:a16="http://schemas.microsoft.com/office/drawing/2014/main" id="{53FC6E35-58FD-5B2C-368E-AD427B5E4CD7}"/>
              </a:ext>
            </a:extLst>
          </p:cNvPr>
          <p:cNvSpPr txBox="1"/>
          <p:nvPr/>
        </p:nvSpPr>
        <p:spPr>
          <a:xfrm>
            <a:off x="3412800" y="3676672"/>
            <a:ext cx="4572000" cy="307777"/>
          </a:xfrm>
          <a:prstGeom prst="rect">
            <a:avLst/>
          </a:prstGeom>
          <a:solidFill>
            <a:schemeClr val="accent2">
              <a:lumMod val="40000"/>
              <a:lumOff val="60000"/>
            </a:schemeClr>
          </a:solidFill>
        </p:spPr>
        <p:txBody>
          <a:bodyPr wrap="square" rtlCol="0">
            <a:spAutoFit/>
          </a:bodyPr>
          <a:lstStyle/>
          <a:p>
            <a:pPr algn="ctr"/>
            <a:r>
              <a:rPr lang="en-GB" sz="1400" dirty="0">
                <a:solidFill>
                  <a:schemeClr val="tx2"/>
                </a:solidFill>
                <a:latin typeface="Arial" panose="020B0604020202020204" pitchFamily="34" charset="0"/>
                <a:cs typeface="Arial" panose="020B0604020202020204" pitchFamily="34" charset="0"/>
              </a:rPr>
              <a:t>Objectionable under Article 4(1)(f) TMD</a:t>
            </a:r>
          </a:p>
        </p:txBody>
      </p:sp>
    </p:spTree>
    <p:extLst>
      <p:ext uri="{BB962C8B-B14F-4D97-AF65-F5344CB8AC3E}">
        <p14:creationId xmlns:p14="http://schemas.microsoft.com/office/powerpoint/2010/main" val="22854514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52211" y="1055059"/>
            <a:ext cx="8103427"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5 Signs including/related to obscenity, sexuality and innuendo</a:t>
            </a:r>
          </a:p>
        </p:txBody>
      </p:sp>
      <p:sp>
        <p:nvSpPr>
          <p:cNvPr id="10" name="TextBox 9">
            <a:extLst>
              <a:ext uri="{FF2B5EF4-FFF2-40B4-BE49-F238E27FC236}">
                <a16:creationId xmlns:a16="http://schemas.microsoft.com/office/drawing/2014/main" id="{A246DF99-A7A9-577D-8E7F-EA489B051122}"/>
              </a:ext>
            </a:extLst>
          </p:cNvPr>
          <p:cNvSpPr txBox="1"/>
          <p:nvPr/>
        </p:nvSpPr>
        <p:spPr>
          <a:xfrm>
            <a:off x="652210" y="1464794"/>
            <a:ext cx="8141957" cy="292388"/>
          </a:xfrm>
          <a:prstGeom prst="rect">
            <a:avLst/>
          </a:prstGeom>
          <a:noFill/>
        </p:spPr>
        <p:txBody>
          <a:bodyPr wrap="square" rtlCol="0">
            <a:spAutoFit/>
          </a:bodyPr>
          <a:lstStyle/>
          <a:p>
            <a:pPr marL="171450" indent="-171450" algn="just">
              <a:buFont typeface="Arial" panose="020B0604020202020204" pitchFamily="34" charset="0"/>
              <a:buChar char="-"/>
            </a:pPr>
            <a:r>
              <a:rPr lang="en-GB" sz="1300" dirty="0">
                <a:solidFill>
                  <a:srgbClr val="2A5494"/>
                </a:solidFill>
                <a:latin typeface="Arial" panose="020B0604020202020204" pitchFamily="34" charset="0"/>
              </a:rPr>
              <a:t>The goods/services applied for may play an </a:t>
            </a:r>
            <a:r>
              <a:rPr lang="en-GB" sz="1300" b="1" dirty="0">
                <a:solidFill>
                  <a:srgbClr val="2A5494"/>
                </a:solidFill>
                <a:latin typeface="Arial" panose="020B0604020202020204" pitchFamily="34" charset="0"/>
              </a:rPr>
              <a:t>important role </a:t>
            </a:r>
            <a:r>
              <a:rPr lang="en-GB" sz="1300" dirty="0">
                <a:solidFill>
                  <a:srgbClr val="2A5494"/>
                </a:solidFill>
                <a:latin typeface="Arial" panose="020B0604020202020204" pitchFamily="34" charset="0"/>
              </a:rPr>
              <a:t>in the assessment of signs under this group.</a:t>
            </a:r>
          </a:p>
        </p:txBody>
      </p:sp>
      <p:graphicFrame>
        <p:nvGraphicFramePr>
          <p:cNvPr id="11" name="Table 10">
            <a:extLst>
              <a:ext uri="{FF2B5EF4-FFF2-40B4-BE49-F238E27FC236}">
                <a16:creationId xmlns:a16="http://schemas.microsoft.com/office/drawing/2014/main" id="{A80D7137-EE1B-BF42-F3EA-4260C484F0CF}"/>
              </a:ext>
            </a:extLst>
          </p:cNvPr>
          <p:cNvGraphicFramePr>
            <a:graphicFrameLocks noGrp="1"/>
          </p:cNvGraphicFramePr>
          <p:nvPr/>
        </p:nvGraphicFramePr>
        <p:xfrm>
          <a:off x="823700" y="3777694"/>
          <a:ext cx="3539209" cy="1190438"/>
        </p:xfrm>
        <a:graphic>
          <a:graphicData uri="http://schemas.openxmlformats.org/drawingml/2006/table">
            <a:tbl>
              <a:tblPr firstRow="1" firstCol="1" bandRow="1"/>
              <a:tblGrid>
                <a:gridCol w="1662718">
                  <a:extLst>
                    <a:ext uri="{9D8B030D-6E8A-4147-A177-3AD203B41FA5}">
                      <a16:colId xmlns:a16="http://schemas.microsoft.com/office/drawing/2014/main" val="1752814018"/>
                    </a:ext>
                  </a:extLst>
                </a:gridCol>
                <a:gridCol w="1876491">
                  <a:extLst>
                    <a:ext uri="{9D8B030D-6E8A-4147-A177-3AD203B41FA5}">
                      <a16:colId xmlns:a16="http://schemas.microsoft.com/office/drawing/2014/main" val="1759485150"/>
                    </a:ext>
                  </a:extLst>
                </a:gridCol>
              </a:tblGrid>
              <a:tr h="251179">
                <a:tc>
                  <a:txBody>
                    <a:bodyPr/>
                    <a:lstStyle/>
                    <a:p>
                      <a:pPr algn="ctr">
                        <a:lnSpc>
                          <a:spcPts val="1200"/>
                        </a:lnSpc>
                      </a:pPr>
                      <a:r>
                        <a:rPr lang="en-GB" sz="11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Sign</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E2EFD9"/>
                    </a:solidFill>
                  </a:tcPr>
                </a:tc>
                <a:tc>
                  <a:txBody>
                    <a:bodyPr/>
                    <a:lstStyle/>
                    <a:p>
                      <a:pPr algn="ctr">
                        <a:lnSpc>
                          <a:spcPts val="1200"/>
                        </a:lnSpc>
                      </a:pPr>
                      <a:r>
                        <a:rPr lang="en-GB" sz="11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Goods and services</a:t>
                      </a:r>
                      <a:endParaRPr lang="en-GB" sz="11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E2EFD9"/>
                    </a:solidFill>
                  </a:tcPr>
                </a:tc>
                <a:extLst>
                  <a:ext uri="{0D108BD9-81ED-4DB2-BD59-A6C34878D82A}">
                    <a16:rowId xmlns:a16="http://schemas.microsoft.com/office/drawing/2014/main" val="3832144152"/>
                  </a:ext>
                </a:extLst>
              </a:tr>
              <a:tr h="939259">
                <a:tc>
                  <a:txBody>
                    <a:bodyPr/>
                    <a:lstStyle/>
                    <a:p>
                      <a:pPr algn="ctr">
                        <a:lnSpc>
                          <a:spcPct val="100000"/>
                        </a:lnSpc>
                      </a:pPr>
                      <a:endParaRPr lang="en-GB" sz="1800" dirty="0">
                        <a:effectLst/>
                        <a:latin typeface="Berlin Sans FB Demi" panose="020E0802020502020306" pitchFamily="34" charset="0"/>
                        <a:ea typeface="Times New Roman" panose="02020603050405020304" pitchFamily="18" charset="0"/>
                        <a:cs typeface="Arial" panose="020B0604020202020204" pitchFamily="34" charset="0"/>
                      </a:endParaRP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r>
                        <a:rPr lang="en-GB" sz="1100" dirty="0">
                          <a:solidFill>
                            <a:srgbClr val="2A5494"/>
                          </a:solidFill>
                          <a:latin typeface="Arial "/>
                        </a:rPr>
                        <a:t>          Class 10: Sex toys</a:t>
                      </a: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68430799"/>
                  </a:ext>
                </a:extLst>
              </a:tr>
            </a:tbl>
          </a:graphicData>
        </a:graphic>
      </p:graphicFrame>
      <p:sp>
        <p:nvSpPr>
          <p:cNvPr id="14" name="TextBox 13">
            <a:extLst>
              <a:ext uri="{FF2B5EF4-FFF2-40B4-BE49-F238E27FC236}">
                <a16:creationId xmlns:a16="http://schemas.microsoft.com/office/drawing/2014/main" id="{1015B297-CED6-BDB2-D765-5DED42F300B8}"/>
              </a:ext>
            </a:extLst>
          </p:cNvPr>
          <p:cNvSpPr txBox="1"/>
          <p:nvPr/>
        </p:nvSpPr>
        <p:spPr>
          <a:xfrm>
            <a:off x="4572000" y="1821355"/>
            <a:ext cx="4190528" cy="1492716"/>
          </a:xfrm>
          <a:prstGeom prst="rect">
            <a:avLst/>
          </a:prstGeom>
          <a:noFill/>
        </p:spPr>
        <p:txBody>
          <a:bodyPr wrap="square">
            <a:spAutoFit/>
          </a:bodyPr>
          <a:lstStyle/>
          <a:p>
            <a:pPr marL="285750" indent="-285750" algn="just">
              <a:buFont typeface="Wingdings" panose="05000000000000000000" pitchFamily="2" charset="2"/>
              <a:buChar char="Ø"/>
            </a:pPr>
            <a:r>
              <a:rPr lang="en-GB" sz="1300" dirty="0">
                <a:solidFill>
                  <a:srgbClr val="2A5494"/>
                </a:solidFill>
                <a:latin typeface="Arial" panose="020B0604020202020204" pitchFamily="34" charset="0"/>
                <a:ea typeface="Times New Roman" panose="02020603050405020304" pitchFamily="18" charset="0"/>
                <a:cs typeface="Times New Roman" panose="02020603050405020304" pitchFamily="18" charset="0"/>
              </a:rPr>
              <a:t>W</a:t>
            </a:r>
            <a:r>
              <a:rPr lang="en-GB" sz="1300" dirty="0">
                <a:solidFill>
                  <a:srgbClr val="2A5494"/>
                </a:solidFill>
                <a:effectLst/>
                <a:latin typeface="Arial" panose="020B0604020202020204" pitchFamily="34" charset="0"/>
                <a:ea typeface="Times New Roman" panose="02020603050405020304" pitchFamily="18" charset="0"/>
              </a:rPr>
              <a:t>hen these signs are applied for </a:t>
            </a:r>
            <a:r>
              <a:rPr lang="en-GB" sz="1300" b="1" dirty="0">
                <a:solidFill>
                  <a:srgbClr val="2A5494"/>
                </a:solidFill>
                <a:effectLst/>
                <a:latin typeface="Arial" panose="020B0604020202020204" pitchFamily="34" charset="0"/>
                <a:ea typeface="Times New Roman" panose="02020603050405020304" pitchFamily="18" charset="0"/>
              </a:rPr>
              <a:t>with regard to goods and/or services not related to such industries,</a:t>
            </a:r>
            <a:r>
              <a:rPr lang="en-GB" sz="1300" dirty="0">
                <a:solidFill>
                  <a:srgbClr val="2A5494"/>
                </a:solidFill>
                <a:effectLst/>
                <a:latin typeface="Arial" panose="020B0604020202020204" pitchFamily="34" charset="0"/>
                <a:ea typeface="Times New Roman" panose="02020603050405020304" pitchFamily="18" charset="0"/>
              </a:rPr>
              <a:t> they are </a:t>
            </a:r>
            <a:r>
              <a:rPr lang="en-GB" sz="1300" b="1" dirty="0">
                <a:solidFill>
                  <a:srgbClr val="2A5494"/>
                </a:solidFill>
                <a:effectLst/>
                <a:latin typeface="Arial" panose="020B0604020202020204" pitchFamily="34" charset="0"/>
                <a:ea typeface="Times New Roman" panose="02020603050405020304" pitchFamily="18" charset="0"/>
              </a:rPr>
              <a:t>more likely to be found contrary to Article 4(1)(f) TMD</a:t>
            </a:r>
            <a:r>
              <a:rPr lang="en-GB" sz="1300" dirty="0">
                <a:solidFill>
                  <a:srgbClr val="2A5494"/>
                </a:solidFill>
                <a:effectLst/>
                <a:latin typeface="Arial" panose="020B0604020202020204" pitchFamily="34" charset="0"/>
                <a:ea typeface="Times New Roman" panose="02020603050405020304" pitchFamily="18" charset="0"/>
              </a:rPr>
              <a:t> because the general public will be exposed to the mark and would be more likely to be shocked and/or offended by the content of the sign.</a:t>
            </a:r>
            <a:endParaRPr lang="en-GB" sz="1300" dirty="0">
              <a:solidFill>
                <a:srgbClr val="2A5494"/>
              </a:solidFill>
            </a:endParaRPr>
          </a:p>
        </p:txBody>
      </p:sp>
      <p:graphicFrame>
        <p:nvGraphicFramePr>
          <p:cNvPr id="15" name="Table 14">
            <a:extLst>
              <a:ext uri="{FF2B5EF4-FFF2-40B4-BE49-F238E27FC236}">
                <a16:creationId xmlns:a16="http://schemas.microsoft.com/office/drawing/2014/main" id="{2EC36170-2DA7-27E4-E91B-B36B02594F07}"/>
              </a:ext>
            </a:extLst>
          </p:cNvPr>
          <p:cNvGraphicFramePr>
            <a:graphicFrameLocks noGrp="1"/>
          </p:cNvGraphicFramePr>
          <p:nvPr/>
        </p:nvGraphicFramePr>
        <p:xfrm>
          <a:off x="5108404" y="3777694"/>
          <a:ext cx="3539209" cy="1190438"/>
        </p:xfrm>
        <a:graphic>
          <a:graphicData uri="http://schemas.openxmlformats.org/drawingml/2006/table">
            <a:tbl>
              <a:tblPr firstRow="1" firstCol="1" bandRow="1"/>
              <a:tblGrid>
                <a:gridCol w="1688711">
                  <a:extLst>
                    <a:ext uri="{9D8B030D-6E8A-4147-A177-3AD203B41FA5}">
                      <a16:colId xmlns:a16="http://schemas.microsoft.com/office/drawing/2014/main" val="1990132950"/>
                    </a:ext>
                  </a:extLst>
                </a:gridCol>
                <a:gridCol w="1850498">
                  <a:extLst>
                    <a:ext uri="{9D8B030D-6E8A-4147-A177-3AD203B41FA5}">
                      <a16:colId xmlns:a16="http://schemas.microsoft.com/office/drawing/2014/main" val="1427788133"/>
                    </a:ext>
                  </a:extLst>
                </a:gridCol>
              </a:tblGrid>
              <a:tr h="250321">
                <a:tc>
                  <a:txBody>
                    <a:bodyPr/>
                    <a:lstStyle/>
                    <a:p>
                      <a:pPr algn="ctr">
                        <a:lnSpc>
                          <a:spcPts val="1200"/>
                        </a:lnSpc>
                      </a:pPr>
                      <a:r>
                        <a:rPr lang="en-GB" sz="11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Sign</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D9D9"/>
                    </a:solidFill>
                  </a:tcPr>
                </a:tc>
                <a:tc>
                  <a:txBody>
                    <a:bodyPr/>
                    <a:lstStyle/>
                    <a:p>
                      <a:pPr algn="ctr">
                        <a:lnSpc>
                          <a:spcPts val="1200"/>
                        </a:lnSpc>
                      </a:pPr>
                      <a:r>
                        <a:rPr lang="en-GB" sz="11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Goods and services</a:t>
                      </a:r>
                      <a:endParaRPr lang="en-GB" sz="1100" dirty="0">
                        <a:effectLst/>
                        <a:latin typeface="Arial" panose="020B0604020202020204" pitchFamily="34" charset="0"/>
                        <a:ea typeface="Times New Roman" panose="02020603050405020304" pitchFamily="18" charset="0"/>
                        <a:cs typeface="Arial" panose="020B0604020202020204" pitchFamily="34" charset="0"/>
                      </a:endParaRP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rgbClr val="FFD9D9"/>
                    </a:solidFill>
                  </a:tcPr>
                </a:tc>
                <a:extLst>
                  <a:ext uri="{0D108BD9-81ED-4DB2-BD59-A6C34878D82A}">
                    <a16:rowId xmlns:a16="http://schemas.microsoft.com/office/drawing/2014/main" val="1250429576"/>
                  </a:ext>
                </a:extLst>
              </a:tr>
              <a:tr h="940117">
                <a:tc>
                  <a:txBody>
                    <a:bodyPr/>
                    <a:lstStyle/>
                    <a:p>
                      <a:pPr algn="ctr">
                        <a:lnSpc>
                          <a:spcPct val="100000"/>
                        </a:lnSpc>
                      </a:pPr>
                      <a:endParaRPr lang="en-GB" sz="1800">
                        <a:effectLst/>
                        <a:latin typeface="Berlin Sans FB Demi" panose="020E0802020502020306" pitchFamily="34" charset="0"/>
                        <a:ea typeface="Times New Roman" panose="02020603050405020304" pitchFamily="18" charset="0"/>
                        <a:cs typeface="Arial" panose="020B0604020202020204" pitchFamily="34" charset="0"/>
                      </a:endParaRP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r>
                        <a:rPr lang="en-GB" sz="1100" dirty="0">
                          <a:solidFill>
                            <a:srgbClr val="2A5494"/>
                          </a:solidFill>
                          <a:latin typeface="Arial "/>
                        </a:rPr>
                        <a:t>    Class 28: Children’s toys</a:t>
                      </a:r>
                    </a:p>
                  </a:txBody>
                  <a:tcPr marL="17780" marR="17780" marT="17780" marB="1778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487510"/>
                  </a:ext>
                </a:extLst>
              </a:tr>
            </a:tbl>
          </a:graphicData>
        </a:graphic>
      </p:graphicFrame>
      <p:pic>
        <p:nvPicPr>
          <p:cNvPr id="4" name="Picture 3">
            <a:extLst>
              <a:ext uri="{FF2B5EF4-FFF2-40B4-BE49-F238E27FC236}">
                <a16:creationId xmlns:a16="http://schemas.microsoft.com/office/drawing/2014/main" id="{44D8639B-B5A4-DC67-A900-434193EE313E}"/>
              </a:ext>
            </a:extLst>
          </p:cNvPr>
          <p:cNvPicPr>
            <a:picLocks noChangeAspect="1"/>
          </p:cNvPicPr>
          <p:nvPr/>
        </p:nvPicPr>
        <p:blipFill rotWithShape="1">
          <a:blip r:embed="rId4"/>
          <a:srcRect t="15647" b="7429"/>
          <a:stretch/>
        </p:blipFill>
        <p:spPr>
          <a:xfrm>
            <a:off x="1220414" y="4144188"/>
            <a:ext cx="868667" cy="783895"/>
          </a:xfrm>
          <a:prstGeom prst="rect">
            <a:avLst/>
          </a:prstGeom>
        </p:spPr>
      </p:pic>
      <p:pic>
        <p:nvPicPr>
          <p:cNvPr id="5" name="Picture 4">
            <a:extLst>
              <a:ext uri="{FF2B5EF4-FFF2-40B4-BE49-F238E27FC236}">
                <a16:creationId xmlns:a16="http://schemas.microsoft.com/office/drawing/2014/main" id="{246AF4DF-A66C-DBDE-DCE1-E388CF2993B9}"/>
              </a:ext>
            </a:extLst>
          </p:cNvPr>
          <p:cNvPicPr>
            <a:picLocks noChangeAspect="1"/>
          </p:cNvPicPr>
          <p:nvPr/>
        </p:nvPicPr>
        <p:blipFill rotWithShape="1">
          <a:blip r:embed="rId4"/>
          <a:srcRect t="15647" b="7429"/>
          <a:stretch/>
        </p:blipFill>
        <p:spPr>
          <a:xfrm>
            <a:off x="5441894" y="4111861"/>
            <a:ext cx="868667" cy="783895"/>
          </a:xfrm>
          <a:prstGeom prst="rect">
            <a:avLst/>
          </a:prstGeom>
        </p:spPr>
      </p:pic>
      <p:sp>
        <p:nvSpPr>
          <p:cNvPr id="7" name="TextBox 6">
            <a:extLst>
              <a:ext uri="{FF2B5EF4-FFF2-40B4-BE49-F238E27FC236}">
                <a16:creationId xmlns:a16="http://schemas.microsoft.com/office/drawing/2014/main" id="{B6E01439-1504-CF64-3013-59E9E65B1F93}"/>
              </a:ext>
            </a:extLst>
          </p:cNvPr>
          <p:cNvSpPr txBox="1"/>
          <p:nvPr/>
        </p:nvSpPr>
        <p:spPr>
          <a:xfrm>
            <a:off x="590820" y="1629724"/>
            <a:ext cx="3958320" cy="2077492"/>
          </a:xfrm>
          <a:prstGeom prst="rect">
            <a:avLst/>
          </a:prstGeom>
          <a:noFill/>
        </p:spPr>
        <p:txBody>
          <a:bodyPr wrap="square" rtlCol="0">
            <a:spAutoFit/>
          </a:bodyPr>
          <a:lstStyle/>
          <a:p>
            <a:pPr marL="285750" indent="-285750" algn="just">
              <a:buFont typeface="Wingdings" panose="05000000000000000000" pitchFamily="2" charset="2"/>
              <a:buChar char="Ø"/>
            </a:pPr>
            <a:endParaRPr lang="en-GB" sz="1200" dirty="0">
              <a:solidFill>
                <a:srgbClr val="2A5494"/>
              </a:solidFill>
              <a:latin typeface="Arial" panose="020B0604020202020204" pitchFamily="34" charset="0"/>
            </a:endParaRPr>
          </a:p>
          <a:p>
            <a:pPr marL="285750" indent="-285750" algn="just">
              <a:buFont typeface="Wingdings" panose="05000000000000000000" pitchFamily="2" charset="2"/>
              <a:buChar char="Ø"/>
            </a:pPr>
            <a:r>
              <a:rPr lang="en-US" sz="1300" dirty="0">
                <a:solidFill>
                  <a:srgbClr val="2A5494"/>
                </a:solidFill>
                <a:latin typeface="Arial" panose="020B0604020202020204" pitchFamily="34" charset="0"/>
              </a:rPr>
              <a:t>When these signs are </a:t>
            </a:r>
            <a:r>
              <a:rPr lang="en-US" sz="1300" b="1" dirty="0">
                <a:solidFill>
                  <a:srgbClr val="2A5494"/>
                </a:solidFill>
                <a:latin typeface="Arial" panose="020B0604020202020204" pitchFamily="34" charset="0"/>
              </a:rPr>
              <a:t>applied for goods and/or services</a:t>
            </a:r>
            <a:r>
              <a:rPr lang="en-US" sz="1300" dirty="0">
                <a:solidFill>
                  <a:srgbClr val="2A5494"/>
                </a:solidFill>
                <a:latin typeface="Arial" panose="020B0604020202020204" pitchFamily="34" charset="0"/>
              </a:rPr>
              <a:t> </a:t>
            </a:r>
            <a:r>
              <a:rPr lang="en-US" sz="1300" b="1" dirty="0">
                <a:solidFill>
                  <a:srgbClr val="2A5494"/>
                </a:solidFill>
                <a:latin typeface="Arial" panose="020B0604020202020204" pitchFamily="34" charset="0"/>
              </a:rPr>
              <a:t>related to industries </a:t>
            </a:r>
            <a:r>
              <a:rPr lang="en-US" sz="1300" b="1" dirty="0" err="1">
                <a:solidFill>
                  <a:srgbClr val="2A5494"/>
                </a:solidFill>
                <a:latin typeface="Arial" panose="020B0604020202020204" pitchFamily="34" charset="0"/>
              </a:rPr>
              <a:t>specialised</a:t>
            </a:r>
            <a:r>
              <a:rPr lang="en-US" sz="1300" b="1" dirty="0">
                <a:solidFill>
                  <a:srgbClr val="2A5494"/>
                </a:solidFill>
                <a:latin typeface="Arial" panose="020B0604020202020204" pitchFamily="34" charset="0"/>
              </a:rPr>
              <a:t> in and/or strictly related to activities that the signs may refer to</a:t>
            </a:r>
            <a:r>
              <a:rPr lang="en-US" sz="1300" dirty="0">
                <a:solidFill>
                  <a:srgbClr val="2A5494"/>
                </a:solidFill>
                <a:latin typeface="Arial" panose="020B0604020202020204" pitchFamily="34" charset="0"/>
              </a:rPr>
              <a:t>, the sign is </a:t>
            </a:r>
            <a:r>
              <a:rPr lang="en-US" sz="1300" b="1" dirty="0">
                <a:solidFill>
                  <a:srgbClr val="2A5494"/>
                </a:solidFill>
                <a:latin typeface="Arial" panose="020B0604020202020204" pitchFamily="34" charset="0"/>
              </a:rPr>
              <a:t>less likely to be found contrary to Article 4(1)(f) TMD </a:t>
            </a:r>
            <a:r>
              <a:rPr lang="en-US" sz="1300" dirty="0">
                <a:solidFill>
                  <a:srgbClr val="2A5494"/>
                </a:solidFill>
                <a:latin typeface="Arial" panose="020B0604020202020204" pitchFamily="34" charset="0"/>
              </a:rPr>
              <a:t>because those who would be exposed to it are less likely to be offended and/or shocked by the content of the sign than the general public.</a:t>
            </a:r>
            <a:endParaRPr lang="en-GB" sz="1300" dirty="0">
              <a:solidFill>
                <a:srgbClr val="2A5494"/>
              </a:solidFill>
              <a:latin typeface="Arial" panose="020B0604020202020204" pitchFamily="34" charset="0"/>
            </a:endParaRPr>
          </a:p>
        </p:txBody>
      </p:sp>
    </p:spTree>
    <p:extLst>
      <p:ext uri="{BB962C8B-B14F-4D97-AF65-F5344CB8AC3E}">
        <p14:creationId xmlns:p14="http://schemas.microsoft.com/office/powerpoint/2010/main" val="25306158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5 Signs including/related to obscenity, sexuality and innuendo</a:t>
            </a:r>
          </a:p>
        </p:txBody>
      </p:sp>
      <p:sp>
        <p:nvSpPr>
          <p:cNvPr id="5" name="TextBox 4">
            <a:extLst>
              <a:ext uri="{FF2B5EF4-FFF2-40B4-BE49-F238E27FC236}">
                <a16:creationId xmlns:a16="http://schemas.microsoft.com/office/drawing/2014/main" id="{1C0FF7B6-4B7D-705D-3301-4A8D4D253A1E}"/>
              </a:ext>
            </a:extLst>
          </p:cNvPr>
          <p:cNvSpPr txBox="1"/>
          <p:nvPr/>
        </p:nvSpPr>
        <p:spPr>
          <a:xfrm>
            <a:off x="652210" y="3672190"/>
            <a:ext cx="1773137" cy="292388"/>
          </a:xfrm>
          <a:prstGeom prst="rect">
            <a:avLst/>
          </a:prstGeom>
          <a:noFill/>
        </p:spPr>
        <p:txBody>
          <a:bodyPr wrap="square" rtlCol="0">
            <a:spAutoFit/>
          </a:bodyPr>
          <a:lstStyle/>
          <a:p>
            <a:r>
              <a:rPr lang="en-GB" sz="1300" dirty="0">
                <a:solidFill>
                  <a:srgbClr val="2A5494"/>
                </a:solidFill>
                <a:latin typeface="Arial "/>
              </a:rPr>
              <a:t>Class 25: Clothing</a:t>
            </a:r>
          </a:p>
        </p:txBody>
      </p:sp>
      <p:sp>
        <p:nvSpPr>
          <p:cNvPr id="7" name="TextBox 6">
            <a:extLst>
              <a:ext uri="{FF2B5EF4-FFF2-40B4-BE49-F238E27FC236}">
                <a16:creationId xmlns:a16="http://schemas.microsoft.com/office/drawing/2014/main" id="{FFA22F65-FA0B-7AD4-81A9-456BF5BD50A6}"/>
              </a:ext>
            </a:extLst>
          </p:cNvPr>
          <p:cNvSpPr txBox="1"/>
          <p:nvPr/>
        </p:nvSpPr>
        <p:spPr>
          <a:xfrm>
            <a:off x="2425347" y="1726012"/>
            <a:ext cx="6302248" cy="2462213"/>
          </a:xfrm>
          <a:prstGeom prst="rect">
            <a:avLst/>
          </a:prstGeom>
          <a:noFill/>
          <a:effectLst>
            <a:softEdge rad="12700"/>
          </a:effectLst>
        </p:spPr>
        <p:txBody>
          <a:bodyPr wrap="square" rtlCol="0">
            <a:spAutoFit/>
          </a:bodyPr>
          <a:lstStyle/>
          <a:p>
            <a:pPr marL="285750" indent="-285750" algn="just">
              <a:buFontTx/>
              <a:buChar char="-"/>
            </a:pPr>
            <a:r>
              <a:rPr lang="en-US" sz="1400" dirty="0">
                <a:solidFill>
                  <a:srgbClr val="2A5494"/>
                </a:solidFill>
                <a:latin typeface="Arial "/>
              </a:rPr>
              <a:t>A sign including/related to obscenity, sexuality and innuendo would </a:t>
            </a:r>
            <a:r>
              <a:rPr lang="en-US" sz="1400" b="1" dirty="0">
                <a:solidFill>
                  <a:srgbClr val="2A5494"/>
                </a:solidFill>
                <a:latin typeface="Arial "/>
              </a:rPr>
              <a:t>not be contrary to Article 4(1)(f</a:t>
            </a:r>
            <a:r>
              <a:rPr lang="en-US" sz="1400" b="1">
                <a:solidFill>
                  <a:srgbClr val="2A5494"/>
                </a:solidFill>
                <a:latin typeface="Arial "/>
              </a:rPr>
              <a:t>) TMD</a:t>
            </a:r>
            <a:r>
              <a:rPr lang="en-US" sz="1400">
                <a:solidFill>
                  <a:srgbClr val="2A5494"/>
                </a:solidFill>
                <a:latin typeface="Arial "/>
              </a:rPr>
              <a:t> </a:t>
            </a:r>
            <a:r>
              <a:rPr lang="en-US" sz="1400" dirty="0">
                <a:solidFill>
                  <a:srgbClr val="2A5494"/>
                </a:solidFill>
                <a:latin typeface="Arial "/>
              </a:rPr>
              <a:t>if the sign contains </a:t>
            </a:r>
            <a:r>
              <a:rPr lang="en-US" sz="1400" b="1" dirty="0">
                <a:solidFill>
                  <a:srgbClr val="2A5494"/>
                </a:solidFill>
                <a:latin typeface="Arial "/>
              </a:rPr>
              <a:t>only a mild sexual innuendo</a:t>
            </a:r>
            <a:r>
              <a:rPr lang="en-US" sz="1400" dirty="0">
                <a:solidFill>
                  <a:srgbClr val="2A5494"/>
                </a:solidFill>
                <a:latin typeface="Arial "/>
              </a:rPr>
              <a:t>, or it is considered </a:t>
            </a:r>
            <a:r>
              <a:rPr lang="en-US" sz="1400" b="1" dirty="0">
                <a:solidFill>
                  <a:srgbClr val="2A5494"/>
                </a:solidFill>
                <a:latin typeface="Arial "/>
              </a:rPr>
              <a:t>merely humorous and/or allusive</a:t>
            </a:r>
            <a:r>
              <a:rPr lang="en-US" sz="1400" dirty="0">
                <a:solidFill>
                  <a:srgbClr val="2A5494"/>
                </a:solidFill>
                <a:latin typeface="Arial "/>
              </a:rPr>
              <a:t>, </a:t>
            </a:r>
            <a:r>
              <a:rPr lang="en-US" sz="1400">
                <a:solidFill>
                  <a:srgbClr val="2A5494"/>
                </a:solidFill>
                <a:latin typeface="Arial "/>
              </a:rPr>
              <a:t>and thus </a:t>
            </a:r>
            <a:r>
              <a:rPr lang="en-US" sz="1400" dirty="0">
                <a:solidFill>
                  <a:srgbClr val="2A5494"/>
                </a:solidFill>
                <a:latin typeface="Arial "/>
              </a:rPr>
              <a:t>in </a:t>
            </a:r>
            <a:r>
              <a:rPr lang="en-US" sz="1400" b="1" dirty="0">
                <a:solidFill>
                  <a:srgbClr val="2A5494"/>
                </a:solidFill>
                <a:latin typeface="Arial "/>
              </a:rPr>
              <a:t>bad taste</a:t>
            </a:r>
            <a:r>
              <a:rPr lang="en-US" sz="1400" dirty="0">
                <a:solidFill>
                  <a:srgbClr val="2A5494"/>
                </a:solidFill>
                <a:latin typeface="Arial "/>
              </a:rPr>
              <a:t>. </a:t>
            </a:r>
          </a:p>
          <a:p>
            <a:pPr algn="just"/>
            <a:endParaRPr lang="en-US" sz="1400" dirty="0">
              <a:solidFill>
                <a:srgbClr val="2A5494"/>
              </a:solidFill>
              <a:latin typeface="Arial "/>
            </a:endParaRPr>
          </a:p>
          <a:p>
            <a:pPr marL="285750" indent="-285750" algn="just">
              <a:buFontTx/>
              <a:buChar char="-"/>
            </a:pPr>
            <a:r>
              <a:rPr lang="en-US" sz="1400" dirty="0">
                <a:solidFill>
                  <a:srgbClr val="2A5494"/>
                </a:solidFill>
                <a:latin typeface="Arial "/>
              </a:rPr>
              <a:t>The sign would be first perceived as a highly </a:t>
            </a:r>
            <a:r>
              <a:rPr lang="en-US" sz="1400" dirty="0" err="1">
                <a:solidFill>
                  <a:srgbClr val="2A5494"/>
                </a:solidFill>
                <a:latin typeface="Arial "/>
              </a:rPr>
              <a:t>stylised</a:t>
            </a:r>
            <a:r>
              <a:rPr lang="en-US" sz="1400" dirty="0">
                <a:solidFill>
                  <a:srgbClr val="2A5494"/>
                </a:solidFill>
                <a:latin typeface="Arial "/>
              </a:rPr>
              <a:t> representation of the letter ‘K’. Since the target public of clothing only displays an average degree of attention, it is likely the perception of the representation of a sexual position will not be immediately apparent</a:t>
            </a:r>
            <a:r>
              <a:rPr lang="en-US" sz="1400">
                <a:solidFill>
                  <a:srgbClr val="2A5494"/>
                </a:solidFill>
                <a:latin typeface="Arial "/>
              </a:rPr>
              <a:t>, especially to </a:t>
            </a:r>
            <a:r>
              <a:rPr lang="en-US" sz="1400" dirty="0">
                <a:solidFill>
                  <a:srgbClr val="2A5494"/>
                </a:solidFill>
                <a:latin typeface="Arial "/>
              </a:rPr>
              <a:t>children. </a:t>
            </a:r>
          </a:p>
          <a:p>
            <a:pPr algn="just"/>
            <a:endParaRPr lang="en-GB" sz="1400" dirty="0">
              <a:solidFill>
                <a:srgbClr val="2A5494"/>
              </a:solidFill>
              <a:latin typeface="Arial "/>
            </a:endParaRPr>
          </a:p>
          <a:p>
            <a:pPr marL="285750" indent="-285750" algn="just">
              <a:buFont typeface="Wingdings" panose="05000000000000000000" pitchFamily="2" charset="2"/>
              <a:buChar char="Ø"/>
            </a:pPr>
            <a:r>
              <a:rPr lang="en-GB" sz="1400" dirty="0">
                <a:solidFill>
                  <a:srgbClr val="2A5494"/>
                </a:solidFill>
                <a:latin typeface="Arial "/>
              </a:rPr>
              <a:t>The sign would not be </a:t>
            </a:r>
            <a:r>
              <a:rPr lang="en-GB" sz="1400" b="1" dirty="0">
                <a:solidFill>
                  <a:srgbClr val="2A5494"/>
                </a:solidFill>
                <a:latin typeface="Arial "/>
              </a:rPr>
              <a:t>contrary to accepted principles of morality</a:t>
            </a:r>
            <a:endParaRPr lang="en-GB" sz="1400" dirty="0">
              <a:solidFill>
                <a:srgbClr val="2A5494"/>
              </a:solidFill>
              <a:latin typeface="Arial "/>
            </a:endParaRPr>
          </a:p>
        </p:txBody>
      </p:sp>
      <p:sp>
        <p:nvSpPr>
          <p:cNvPr id="10" name="TextBox 9">
            <a:extLst>
              <a:ext uri="{FF2B5EF4-FFF2-40B4-BE49-F238E27FC236}">
                <a16:creationId xmlns:a16="http://schemas.microsoft.com/office/drawing/2014/main" id="{BFA6621E-E09F-E873-DA2C-B3FCC2FD0D0E}"/>
              </a:ext>
            </a:extLst>
          </p:cNvPr>
          <p:cNvSpPr txBox="1"/>
          <p:nvPr/>
        </p:nvSpPr>
        <p:spPr>
          <a:xfrm>
            <a:off x="2989890" y="4392280"/>
            <a:ext cx="4572000" cy="307777"/>
          </a:xfrm>
          <a:prstGeom prst="rect">
            <a:avLst/>
          </a:prstGeom>
          <a:solidFill>
            <a:schemeClr val="accent3">
              <a:lumMod val="40000"/>
              <a:lumOff val="60000"/>
            </a:schemeClr>
          </a:solidFill>
        </p:spPr>
        <p:txBody>
          <a:bodyPr wrap="square" lIns="91440" tIns="45720" rIns="91440" bIns="45720" rtlCol="0" anchor="t">
            <a:spAutoFit/>
          </a:bodyPr>
          <a:lstStyle/>
          <a:p>
            <a:pPr algn="ctr"/>
            <a:r>
              <a:rPr lang="en-GB" sz="1400" dirty="0">
                <a:solidFill>
                  <a:schemeClr val="tx2"/>
                </a:solidFill>
                <a:latin typeface="Arial"/>
                <a:cs typeface="Arial"/>
              </a:rPr>
              <a:t>Non-objectionable under Article 4(1)(f) TMD</a:t>
            </a:r>
            <a:endParaRPr lang="en-GB" sz="1400" dirty="0">
              <a:solidFill>
                <a:schemeClr val="tx2"/>
              </a:solidFill>
              <a:latin typeface="Arial" panose="020B0604020202020204" pitchFamily="34" charset="0"/>
              <a:cs typeface="Arial" panose="020B0604020202020204" pitchFamily="34" charset="0"/>
            </a:endParaRPr>
          </a:p>
        </p:txBody>
      </p:sp>
      <p:pic>
        <p:nvPicPr>
          <p:cNvPr id="14" name="Picture 13">
            <a:extLst>
              <a:ext uri="{FF2B5EF4-FFF2-40B4-BE49-F238E27FC236}">
                <a16:creationId xmlns:a16="http://schemas.microsoft.com/office/drawing/2014/main" id="{767BF810-45FC-0F60-006E-E69573B34614}"/>
              </a:ext>
            </a:extLst>
          </p:cNvPr>
          <p:cNvPicPr>
            <a:picLocks noChangeAspect="1"/>
          </p:cNvPicPr>
          <p:nvPr/>
        </p:nvPicPr>
        <p:blipFill>
          <a:blip r:embed="rId4"/>
          <a:stretch>
            <a:fillRect/>
          </a:stretch>
        </p:blipFill>
        <p:spPr>
          <a:xfrm>
            <a:off x="795727" y="1854679"/>
            <a:ext cx="1226148" cy="1688845"/>
          </a:xfrm>
          <a:prstGeom prst="rect">
            <a:avLst/>
          </a:prstGeom>
          <a:ln w="28575">
            <a:solidFill>
              <a:srgbClr val="C00000"/>
            </a:solidFill>
          </a:ln>
        </p:spPr>
      </p:pic>
    </p:spTree>
    <p:extLst>
      <p:ext uri="{BB962C8B-B14F-4D97-AF65-F5344CB8AC3E}">
        <p14:creationId xmlns:p14="http://schemas.microsoft.com/office/powerpoint/2010/main" val="78269067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6 Signs disparaging or slurring a particular group </a:t>
            </a:r>
          </a:p>
        </p:txBody>
      </p:sp>
      <p:sp>
        <p:nvSpPr>
          <p:cNvPr id="4" name="Rectangle: Rounded Corners 3">
            <a:extLst>
              <a:ext uri="{FF2B5EF4-FFF2-40B4-BE49-F238E27FC236}">
                <a16:creationId xmlns:a16="http://schemas.microsoft.com/office/drawing/2014/main" id="{FE939C6D-93AF-074F-E024-1BFDC5D2FC76}"/>
              </a:ext>
            </a:extLst>
          </p:cNvPr>
          <p:cNvSpPr/>
          <p:nvPr/>
        </p:nvSpPr>
        <p:spPr>
          <a:xfrm>
            <a:off x="651600" y="1885950"/>
            <a:ext cx="1833478" cy="923640"/>
          </a:xfrm>
          <a:prstGeom prst="roundRect">
            <a:avLst/>
          </a:prstGeom>
          <a:solidFill>
            <a:srgbClr val="0C4CA2"/>
          </a:solidFill>
          <a:ln w="19050">
            <a:solidFill>
              <a:srgbClr val="4BACC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1" dirty="0">
              <a:solidFill>
                <a:schemeClr val="bg1"/>
              </a:solidFill>
              <a:latin typeface="Arial" panose="020B0604020202020204" pitchFamily="34" charset="0"/>
              <a:cs typeface="Arial" panose="020B0604020202020204" pitchFamily="34" charset="0"/>
            </a:endParaRPr>
          </a:p>
          <a:p>
            <a:pPr algn="ctr"/>
            <a:r>
              <a:rPr lang="en-GB" sz="1400" b="1">
                <a:solidFill>
                  <a:schemeClr val="bg1"/>
                </a:solidFill>
                <a:latin typeface="Arial" panose="020B0604020202020204" pitchFamily="34" charset="0"/>
                <a:cs typeface="Arial" panose="020B0604020202020204" pitchFamily="34" charset="0"/>
              </a:rPr>
              <a:t>What types </a:t>
            </a:r>
            <a:r>
              <a:rPr lang="en-GB" sz="1400" b="1" dirty="0">
                <a:solidFill>
                  <a:schemeClr val="bg1"/>
                </a:solidFill>
                <a:latin typeface="Arial" panose="020B0604020202020204" pitchFamily="34" charset="0"/>
                <a:cs typeface="Arial" panose="020B0604020202020204" pitchFamily="34" charset="0"/>
              </a:rPr>
              <a:t>of signs does this group comprise? </a:t>
            </a:r>
          </a:p>
          <a:p>
            <a:pPr algn="ctr"/>
            <a:endParaRPr lang="en-GB" dirty="0">
              <a:solidFill>
                <a:schemeClr val="bg1"/>
              </a:solidFill>
            </a:endParaRPr>
          </a:p>
        </p:txBody>
      </p:sp>
      <p:sp>
        <p:nvSpPr>
          <p:cNvPr id="5" name="Freeform: Shape 4">
            <a:extLst>
              <a:ext uri="{FF2B5EF4-FFF2-40B4-BE49-F238E27FC236}">
                <a16:creationId xmlns:a16="http://schemas.microsoft.com/office/drawing/2014/main" id="{D95726D0-8DF5-D23A-7E22-2732ECF1158A}"/>
              </a:ext>
            </a:extLst>
          </p:cNvPr>
          <p:cNvSpPr/>
          <p:nvPr/>
        </p:nvSpPr>
        <p:spPr>
          <a:xfrm>
            <a:off x="2616200" y="1682384"/>
            <a:ext cx="6105392" cy="544221"/>
          </a:xfrm>
          <a:custGeom>
            <a:avLst/>
            <a:gdLst>
              <a:gd name="connsiteX0" fmla="*/ 0 w 4363394"/>
              <a:gd name="connsiteY0" fmla="*/ 174617 h 1746173"/>
              <a:gd name="connsiteX1" fmla="*/ 174617 w 4363394"/>
              <a:gd name="connsiteY1" fmla="*/ 0 h 1746173"/>
              <a:gd name="connsiteX2" fmla="*/ 4188777 w 4363394"/>
              <a:gd name="connsiteY2" fmla="*/ 0 h 1746173"/>
              <a:gd name="connsiteX3" fmla="*/ 4363394 w 4363394"/>
              <a:gd name="connsiteY3" fmla="*/ 174617 h 1746173"/>
              <a:gd name="connsiteX4" fmla="*/ 4363394 w 4363394"/>
              <a:gd name="connsiteY4" fmla="*/ 1571556 h 1746173"/>
              <a:gd name="connsiteX5" fmla="*/ 4188777 w 4363394"/>
              <a:gd name="connsiteY5" fmla="*/ 1746173 h 1746173"/>
              <a:gd name="connsiteX6" fmla="*/ 174617 w 4363394"/>
              <a:gd name="connsiteY6" fmla="*/ 1746173 h 1746173"/>
              <a:gd name="connsiteX7" fmla="*/ 0 w 4363394"/>
              <a:gd name="connsiteY7" fmla="*/ 1571556 h 1746173"/>
              <a:gd name="connsiteX8" fmla="*/ 0 w 4363394"/>
              <a:gd name="connsiteY8" fmla="*/ 174617 h 1746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63394" h="1746173">
                <a:moveTo>
                  <a:pt x="0" y="174617"/>
                </a:moveTo>
                <a:cubicBezTo>
                  <a:pt x="0" y="78179"/>
                  <a:pt x="78179" y="0"/>
                  <a:pt x="174617" y="0"/>
                </a:cubicBezTo>
                <a:lnTo>
                  <a:pt x="4188777" y="0"/>
                </a:lnTo>
                <a:cubicBezTo>
                  <a:pt x="4285215" y="0"/>
                  <a:pt x="4363394" y="78179"/>
                  <a:pt x="4363394" y="174617"/>
                </a:cubicBezTo>
                <a:lnTo>
                  <a:pt x="4363394" y="1571556"/>
                </a:lnTo>
                <a:cubicBezTo>
                  <a:pt x="4363394" y="1667994"/>
                  <a:pt x="4285215" y="1746173"/>
                  <a:pt x="4188777" y="1746173"/>
                </a:cubicBezTo>
                <a:lnTo>
                  <a:pt x="174617" y="1746173"/>
                </a:lnTo>
                <a:cubicBezTo>
                  <a:pt x="78179" y="1746173"/>
                  <a:pt x="0" y="1667994"/>
                  <a:pt x="0" y="1571556"/>
                </a:cubicBezTo>
                <a:lnTo>
                  <a:pt x="0" y="17461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50712" tIns="150712" rIns="150712" bIns="150712" numCol="1" spcCol="1270" anchor="t" anchorCtr="0">
            <a:noAutofit/>
          </a:bodyPr>
          <a:lstStyle/>
          <a:p>
            <a:pPr marL="285750" lvl="0" indent="-285750" algn="just">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Offensive stereotypes</a:t>
            </a:r>
          </a:p>
          <a:p>
            <a:pPr lvl="0"/>
            <a:endParaRPr lang="en-GB" sz="1400" dirty="0">
              <a:solidFill>
                <a:schemeClr val="tx2"/>
              </a:solidFill>
              <a:latin typeface="Arial" panose="020B0604020202020204" pitchFamily="34" charset="0"/>
              <a:cs typeface="Arial" panose="020B0604020202020204" pitchFamily="34" charset="0"/>
            </a:endParaRPr>
          </a:p>
        </p:txBody>
      </p:sp>
      <p:sp>
        <p:nvSpPr>
          <p:cNvPr id="7" name="Freeform: Shape 6">
            <a:extLst>
              <a:ext uri="{FF2B5EF4-FFF2-40B4-BE49-F238E27FC236}">
                <a16:creationId xmlns:a16="http://schemas.microsoft.com/office/drawing/2014/main" id="{97B9E1DF-434F-8A8A-AC00-CB5ADAA089E3}"/>
              </a:ext>
            </a:extLst>
          </p:cNvPr>
          <p:cNvSpPr/>
          <p:nvPr/>
        </p:nvSpPr>
        <p:spPr>
          <a:xfrm>
            <a:off x="2616200" y="2358376"/>
            <a:ext cx="6105392" cy="693207"/>
          </a:xfrm>
          <a:custGeom>
            <a:avLst/>
            <a:gdLst>
              <a:gd name="connsiteX0" fmla="*/ 0 w 4363394"/>
              <a:gd name="connsiteY0" fmla="*/ 174617 h 1746173"/>
              <a:gd name="connsiteX1" fmla="*/ 174617 w 4363394"/>
              <a:gd name="connsiteY1" fmla="*/ 0 h 1746173"/>
              <a:gd name="connsiteX2" fmla="*/ 4188777 w 4363394"/>
              <a:gd name="connsiteY2" fmla="*/ 0 h 1746173"/>
              <a:gd name="connsiteX3" fmla="*/ 4363394 w 4363394"/>
              <a:gd name="connsiteY3" fmla="*/ 174617 h 1746173"/>
              <a:gd name="connsiteX4" fmla="*/ 4363394 w 4363394"/>
              <a:gd name="connsiteY4" fmla="*/ 1571556 h 1746173"/>
              <a:gd name="connsiteX5" fmla="*/ 4188777 w 4363394"/>
              <a:gd name="connsiteY5" fmla="*/ 1746173 h 1746173"/>
              <a:gd name="connsiteX6" fmla="*/ 174617 w 4363394"/>
              <a:gd name="connsiteY6" fmla="*/ 1746173 h 1746173"/>
              <a:gd name="connsiteX7" fmla="*/ 0 w 4363394"/>
              <a:gd name="connsiteY7" fmla="*/ 1571556 h 1746173"/>
              <a:gd name="connsiteX8" fmla="*/ 0 w 4363394"/>
              <a:gd name="connsiteY8" fmla="*/ 174617 h 1746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63394" h="1746173">
                <a:moveTo>
                  <a:pt x="0" y="174617"/>
                </a:moveTo>
                <a:cubicBezTo>
                  <a:pt x="0" y="78179"/>
                  <a:pt x="78179" y="0"/>
                  <a:pt x="174617" y="0"/>
                </a:cubicBezTo>
                <a:lnTo>
                  <a:pt x="4188777" y="0"/>
                </a:lnTo>
                <a:cubicBezTo>
                  <a:pt x="4285215" y="0"/>
                  <a:pt x="4363394" y="78179"/>
                  <a:pt x="4363394" y="174617"/>
                </a:cubicBezTo>
                <a:lnTo>
                  <a:pt x="4363394" y="1571556"/>
                </a:lnTo>
                <a:cubicBezTo>
                  <a:pt x="4363394" y="1667994"/>
                  <a:pt x="4285215" y="1746173"/>
                  <a:pt x="4188777" y="1746173"/>
                </a:cubicBezTo>
                <a:lnTo>
                  <a:pt x="174617" y="1746173"/>
                </a:lnTo>
                <a:cubicBezTo>
                  <a:pt x="78179" y="1746173"/>
                  <a:pt x="0" y="1667994"/>
                  <a:pt x="0" y="1571556"/>
                </a:cubicBezTo>
                <a:lnTo>
                  <a:pt x="0" y="17461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50712" tIns="150712" rIns="150712" bIns="150712" numCol="1" spcCol="1270" anchor="t" anchorCtr="0">
            <a:noAutofit/>
          </a:bodyPr>
          <a:lstStyle/>
          <a:p>
            <a:pPr marL="285750" lvl="0" indent="-285750" algn="just">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Terms or messages that incite hate, prejudice, aversion, or exclusion towards a group</a:t>
            </a:r>
          </a:p>
          <a:p>
            <a:pPr lvl="0"/>
            <a:endParaRPr lang="en-GB" sz="1400" dirty="0">
              <a:solidFill>
                <a:schemeClr val="tx2"/>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7EF119AA-8D09-4F9A-6152-139F82A53FA4}"/>
              </a:ext>
            </a:extLst>
          </p:cNvPr>
          <p:cNvSpPr txBox="1"/>
          <p:nvPr/>
        </p:nvSpPr>
        <p:spPr>
          <a:xfrm>
            <a:off x="672935" y="3349070"/>
            <a:ext cx="8104038" cy="1348511"/>
          </a:xfrm>
          <a:prstGeom prst="rect">
            <a:avLst/>
          </a:prstGeom>
          <a:noFill/>
        </p:spPr>
        <p:txBody>
          <a:bodyPr wrap="square">
            <a:spAutoFit/>
          </a:bodyPr>
          <a:lstStyle/>
          <a:p>
            <a:pPr marL="171450" indent="-171450" algn="just">
              <a:lnSpc>
                <a:spcPct val="115000"/>
              </a:lnSpc>
              <a:buFont typeface="Arial" panose="020B0604020202020204" pitchFamily="34" charset="0"/>
              <a:buChar char="•"/>
            </a:pPr>
            <a:r>
              <a:rPr lang="en-GB" sz="1200" b="1" dirty="0">
                <a:solidFill>
                  <a:srgbClr val="14438E"/>
                </a:solidFill>
                <a:latin typeface="Arial" panose="020B0604020202020204" pitchFamily="34" charset="0"/>
                <a:ea typeface="Times New Roman" panose="02020603050405020304" pitchFamily="18" charset="0"/>
                <a:cs typeface="Arial" panose="020B0604020202020204" pitchFamily="34" charset="0"/>
              </a:rPr>
              <a:t>O</a:t>
            </a:r>
            <a:r>
              <a:rPr lang="en-GB" sz="1200" b="1"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nly contrary to accepted principles of morality:</a:t>
            </a:r>
            <a:r>
              <a:rPr lang="en-GB" sz="12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 when the sign and/or the message conveyed by it might be perceived by the relevant public as offensive, degrading, and/or derogatory to a particular group of people. </a:t>
            </a:r>
          </a:p>
          <a:p>
            <a:pPr marL="171450" indent="-171450" algn="just">
              <a:lnSpc>
                <a:spcPct val="115000"/>
              </a:lnSpc>
              <a:buFont typeface="Arial" panose="020B0604020202020204" pitchFamily="34" charset="0"/>
              <a:buChar char="•"/>
            </a:pPr>
            <a:endParaRPr lang="en-GB" sz="1200" b="1" dirty="0">
              <a:solidFill>
                <a:srgbClr val="14438E"/>
              </a:solidFill>
              <a:latin typeface="Arial" panose="020B0604020202020204" pitchFamily="34" charset="0"/>
              <a:ea typeface="Times New Roman" panose="02020603050405020304" pitchFamily="18" charset="0"/>
              <a:cs typeface="Arial" panose="020B0604020202020204" pitchFamily="34" charset="0"/>
            </a:endParaRPr>
          </a:p>
          <a:p>
            <a:pPr marL="171450" indent="-171450" algn="just">
              <a:lnSpc>
                <a:spcPct val="115000"/>
              </a:lnSpc>
              <a:buFont typeface="Arial" panose="020B0604020202020204" pitchFamily="34" charset="0"/>
              <a:buChar char="•"/>
            </a:pPr>
            <a:r>
              <a:rPr lang="en-GB" sz="1200" b="1" dirty="0">
                <a:solidFill>
                  <a:srgbClr val="14438E"/>
                </a:solidFill>
                <a:latin typeface="Arial" panose="020B0604020202020204" pitchFamily="34" charset="0"/>
                <a:ea typeface="Times New Roman" panose="02020603050405020304" pitchFamily="18" charset="0"/>
                <a:cs typeface="Arial" panose="020B0604020202020204" pitchFamily="34" charset="0"/>
              </a:rPr>
              <a:t>Also contrary to public policy</a:t>
            </a:r>
            <a:r>
              <a:rPr lang="en-GB" sz="1200" b="1">
                <a:solidFill>
                  <a:srgbClr val="14438E"/>
                </a:solidFill>
                <a:latin typeface="Arial" panose="020B0604020202020204" pitchFamily="34" charset="0"/>
                <a:ea typeface="Times New Roman" panose="02020603050405020304" pitchFamily="18" charset="0"/>
                <a:cs typeface="Arial" panose="020B0604020202020204" pitchFamily="34" charset="0"/>
              </a:rPr>
              <a:t>: </a:t>
            </a:r>
            <a:r>
              <a:rPr lang="en-GB" sz="1200">
                <a:solidFill>
                  <a:srgbClr val="14438E"/>
                </a:solidFill>
                <a:latin typeface="Arial" panose="020B0604020202020204" pitchFamily="34" charset="0"/>
                <a:ea typeface="Times New Roman" panose="02020603050405020304" pitchFamily="18" charset="0"/>
                <a:cs typeface="Arial" panose="020B0604020202020204" pitchFamily="34" charset="0"/>
              </a:rPr>
              <a:t>i</a:t>
            </a:r>
            <a:r>
              <a:rPr lang="en-GB" sz="1200">
                <a:solidFill>
                  <a:srgbClr val="14438E"/>
                </a:solidFill>
                <a:effectLst/>
                <a:latin typeface="Arial" panose="020B0604020202020204" pitchFamily="34" charset="0"/>
                <a:ea typeface="Times New Roman" panose="02020603050405020304" pitchFamily="18" charset="0"/>
                <a:cs typeface="Arial" panose="020B0604020202020204" pitchFamily="34" charset="0"/>
              </a:rPr>
              <a:t>f the </a:t>
            </a:r>
            <a:r>
              <a:rPr lang="en-GB" sz="12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sign or the message conveyed by it is understood as discriminatory, racist, an incitation or call for hatred, and/or contravenes a fundamental principle and/or value in the EU and/or in a MS (e.g. the respect for human rights, including the rights of persons belonging to minorities).</a:t>
            </a:r>
            <a:endParaRPr lang="en-US" sz="1200" dirty="0">
              <a:solidFill>
                <a:srgbClr val="14438E"/>
              </a:solidFill>
              <a:effectLst/>
              <a:latin typeface="Arial" panose="020B0604020202020204" pitchFamily="34" charset="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4705835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6 Signs disparaging or slurring a particular group </a:t>
            </a:r>
          </a:p>
        </p:txBody>
      </p:sp>
      <p:pic>
        <p:nvPicPr>
          <p:cNvPr id="9" name="Picture 8">
            <a:extLst>
              <a:ext uri="{FF2B5EF4-FFF2-40B4-BE49-F238E27FC236}">
                <a16:creationId xmlns:a16="http://schemas.microsoft.com/office/drawing/2014/main" id="{2040580F-F147-D133-2C5D-41245E2FFD9A}"/>
              </a:ext>
            </a:extLst>
          </p:cNvPr>
          <p:cNvPicPr>
            <a:picLocks noChangeAspect="1"/>
          </p:cNvPicPr>
          <p:nvPr/>
        </p:nvPicPr>
        <p:blipFill>
          <a:blip r:embed="rId4"/>
          <a:stretch>
            <a:fillRect/>
          </a:stretch>
        </p:blipFill>
        <p:spPr>
          <a:xfrm>
            <a:off x="784800" y="1900800"/>
            <a:ext cx="1706400" cy="1195453"/>
          </a:xfrm>
          <a:prstGeom prst="rect">
            <a:avLst/>
          </a:prstGeom>
          <a:ln w="28575">
            <a:solidFill>
              <a:srgbClr val="C00000"/>
            </a:solidFill>
          </a:ln>
        </p:spPr>
      </p:pic>
      <p:sp>
        <p:nvSpPr>
          <p:cNvPr id="10" name="TextBox 9">
            <a:extLst>
              <a:ext uri="{FF2B5EF4-FFF2-40B4-BE49-F238E27FC236}">
                <a16:creationId xmlns:a16="http://schemas.microsoft.com/office/drawing/2014/main" id="{2B20870A-22B5-812A-1912-7DF014A4CE6C}"/>
              </a:ext>
            </a:extLst>
          </p:cNvPr>
          <p:cNvSpPr txBox="1"/>
          <p:nvPr/>
        </p:nvSpPr>
        <p:spPr>
          <a:xfrm>
            <a:off x="654195" y="3451633"/>
            <a:ext cx="2164506" cy="523220"/>
          </a:xfrm>
          <a:prstGeom prst="rect">
            <a:avLst/>
          </a:prstGeom>
          <a:noFill/>
        </p:spPr>
        <p:txBody>
          <a:bodyPr wrap="square" rtlCol="0">
            <a:spAutoFit/>
          </a:bodyPr>
          <a:lstStyle/>
          <a:p>
            <a:r>
              <a:rPr lang="en-GB" sz="1400" dirty="0">
                <a:solidFill>
                  <a:schemeClr val="tx2"/>
                </a:solidFill>
                <a:latin typeface="Arial" panose="020B0604020202020204" pitchFamily="34" charset="0"/>
                <a:cs typeface="Arial" panose="020B0604020202020204" pitchFamily="34" charset="0"/>
              </a:rPr>
              <a:t>Class 41: Education and instruction services</a:t>
            </a:r>
          </a:p>
        </p:txBody>
      </p:sp>
      <p:sp>
        <p:nvSpPr>
          <p:cNvPr id="11" name="TextBox 10">
            <a:extLst>
              <a:ext uri="{FF2B5EF4-FFF2-40B4-BE49-F238E27FC236}">
                <a16:creationId xmlns:a16="http://schemas.microsoft.com/office/drawing/2014/main" id="{29B1F2C9-6763-CDA0-BDEB-D101E18B61D2}"/>
              </a:ext>
            </a:extLst>
          </p:cNvPr>
          <p:cNvSpPr txBox="1"/>
          <p:nvPr/>
        </p:nvSpPr>
        <p:spPr>
          <a:xfrm>
            <a:off x="3052800" y="1900800"/>
            <a:ext cx="5670000" cy="2246769"/>
          </a:xfrm>
          <a:prstGeom prst="rect">
            <a:avLst/>
          </a:prstGeom>
          <a:noFill/>
        </p:spPr>
        <p:txBody>
          <a:bodyPr wrap="square" rtlCol="0">
            <a:spAutoFit/>
          </a:bodyPr>
          <a:lstStyle/>
          <a:p>
            <a:pPr marL="285750" indent="-285750" algn="just">
              <a:buFontTx/>
              <a:buChar char="-"/>
            </a:pPr>
            <a:r>
              <a:rPr lang="en-GB" sz="1400" dirty="0">
                <a:solidFill>
                  <a:srgbClr val="2A5494"/>
                </a:solidFill>
                <a:latin typeface="Arial "/>
              </a:rPr>
              <a:t>The sign includes a </a:t>
            </a:r>
            <a:r>
              <a:rPr lang="en-US" sz="1400" dirty="0">
                <a:solidFill>
                  <a:srgbClr val="2A5494"/>
                </a:solidFill>
                <a:latin typeface="Arial "/>
              </a:rPr>
              <a:t>figurative element (i.e. a symbol of the LGBTIQ+ collective), accompanied by the verbal elements ‘LET’S KEEP THEM STRAIGHT’. ‘Straight’ is a slang term to refer to heterosexual persons. The sign</a:t>
            </a:r>
            <a:r>
              <a:rPr lang="en-GB" sz="1400" dirty="0">
                <a:solidFill>
                  <a:srgbClr val="2A5494"/>
                </a:solidFill>
                <a:latin typeface="Arial "/>
              </a:rPr>
              <a:t> could be perceived by the relevant public as conveying a message of discrimination, homophobia, contempt, prejudice, aversion, hatred and/or exclusion towards a particular group.</a:t>
            </a:r>
          </a:p>
          <a:p>
            <a:pPr algn="just"/>
            <a:endParaRPr lang="en-GB" sz="1400" dirty="0">
              <a:solidFill>
                <a:srgbClr val="2A5494"/>
              </a:solidFill>
              <a:latin typeface="Arial "/>
            </a:endParaRPr>
          </a:p>
          <a:p>
            <a:pPr marL="285750" indent="-285750" algn="just">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The sign is </a:t>
            </a:r>
            <a:r>
              <a:rPr lang="en-GB" sz="1400" b="1" dirty="0">
                <a:solidFill>
                  <a:schemeClr val="tx2"/>
                </a:solidFill>
                <a:latin typeface="Arial" panose="020B0604020202020204" pitchFamily="34" charset="0"/>
                <a:cs typeface="Arial" panose="020B0604020202020204" pitchFamily="34" charset="0"/>
              </a:rPr>
              <a:t>contrary to both public policy and accepted principles of morality</a:t>
            </a:r>
          </a:p>
        </p:txBody>
      </p:sp>
      <p:sp>
        <p:nvSpPr>
          <p:cNvPr id="13" name="TextBox 12">
            <a:extLst>
              <a:ext uri="{FF2B5EF4-FFF2-40B4-BE49-F238E27FC236}">
                <a16:creationId xmlns:a16="http://schemas.microsoft.com/office/drawing/2014/main" id="{D1BDE934-8534-7E2C-1574-0D68F3F076D3}"/>
              </a:ext>
            </a:extLst>
          </p:cNvPr>
          <p:cNvSpPr txBox="1"/>
          <p:nvPr/>
        </p:nvSpPr>
        <p:spPr>
          <a:xfrm>
            <a:off x="3474584" y="4310399"/>
            <a:ext cx="4572000" cy="307777"/>
          </a:xfrm>
          <a:prstGeom prst="rect">
            <a:avLst/>
          </a:prstGeom>
          <a:solidFill>
            <a:schemeClr val="accent2">
              <a:lumMod val="40000"/>
              <a:lumOff val="60000"/>
            </a:schemeClr>
          </a:solidFill>
        </p:spPr>
        <p:txBody>
          <a:bodyPr wrap="square" lIns="91440" tIns="45720" rIns="91440" bIns="45720" rtlCol="0" anchor="t">
            <a:spAutoFit/>
          </a:bodyPr>
          <a:lstStyle/>
          <a:p>
            <a:pPr algn="ctr"/>
            <a:r>
              <a:rPr lang="en-GB" sz="1400" dirty="0">
                <a:solidFill>
                  <a:schemeClr val="tx2"/>
                </a:solidFill>
                <a:latin typeface="Arial"/>
                <a:cs typeface="Arial"/>
              </a:rPr>
              <a:t>Objectionable under Article 4(1)(f) TMD</a:t>
            </a:r>
            <a:endParaRPr lang="en-GB" sz="140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61339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6 Signs disparaging or slurring a particular group </a:t>
            </a:r>
          </a:p>
        </p:txBody>
      </p:sp>
      <p:pic>
        <p:nvPicPr>
          <p:cNvPr id="4" name="Picture 3">
            <a:extLst>
              <a:ext uri="{FF2B5EF4-FFF2-40B4-BE49-F238E27FC236}">
                <a16:creationId xmlns:a16="http://schemas.microsoft.com/office/drawing/2014/main" id="{B05AE3C5-A83C-6386-CBEB-49A9A9DFE20F}"/>
              </a:ext>
            </a:extLst>
          </p:cNvPr>
          <p:cNvPicPr>
            <a:picLocks noChangeAspect="1"/>
          </p:cNvPicPr>
          <p:nvPr/>
        </p:nvPicPr>
        <p:blipFill>
          <a:blip r:embed="rId4"/>
          <a:stretch>
            <a:fillRect/>
          </a:stretch>
        </p:blipFill>
        <p:spPr>
          <a:xfrm>
            <a:off x="784800" y="1900800"/>
            <a:ext cx="1706400" cy="1921720"/>
          </a:xfrm>
          <a:prstGeom prst="rect">
            <a:avLst/>
          </a:prstGeom>
          <a:ln w="28575">
            <a:solidFill>
              <a:srgbClr val="00B050"/>
            </a:solidFill>
          </a:ln>
        </p:spPr>
      </p:pic>
      <p:sp>
        <p:nvSpPr>
          <p:cNvPr id="5" name="TextBox 4">
            <a:extLst>
              <a:ext uri="{FF2B5EF4-FFF2-40B4-BE49-F238E27FC236}">
                <a16:creationId xmlns:a16="http://schemas.microsoft.com/office/drawing/2014/main" id="{69420858-F2F3-CC45-9E8F-D378DD8D6034}"/>
              </a:ext>
            </a:extLst>
          </p:cNvPr>
          <p:cNvSpPr txBox="1"/>
          <p:nvPr/>
        </p:nvSpPr>
        <p:spPr>
          <a:xfrm>
            <a:off x="964043" y="3919528"/>
            <a:ext cx="2021533" cy="307777"/>
          </a:xfrm>
          <a:prstGeom prst="rect">
            <a:avLst/>
          </a:prstGeom>
          <a:noFill/>
          <a:ln>
            <a:noFill/>
          </a:ln>
        </p:spPr>
        <p:txBody>
          <a:bodyPr wrap="square" rtlCol="0">
            <a:spAutoFit/>
          </a:bodyPr>
          <a:lstStyle/>
          <a:p>
            <a:r>
              <a:rPr lang="en-GB" sz="1400" dirty="0">
                <a:solidFill>
                  <a:schemeClr val="tx2"/>
                </a:solidFill>
                <a:latin typeface="Arial" panose="020B0604020202020204" pitchFamily="34" charset="0"/>
                <a:cs typeface="Arial" panose="020B0604020202020204" pitchFamily="34" charset="0"/>
              </a:rPr>
              <a:t>Class 18: Bags</a:t>
            </a:r>
          </a:p>
        </p:txBody>
      </p:sp>
      <p:sp>
        <p:nvSpPr>
          <p:cNvPr id="7" name="TextBox 6">
            <a:extLst>
              <a:ext uri="{FF2B5EF4-FFF2-40B4-BE49-F238E27FC236}">
                <a16:creationId xmlns:a16="http://schemas.microsoft.com/office/drawing/2014/main" id="{097B92C3-BF3E-DFD2-B927-B8FB95AB8FB6}"/>
              </a:ext>
            </a:extLst>
          </p:cNvPr>
          <p:cNvSpPr txBox="1"/>
          <p:nvPr/>
        </p:nvSpPr>
        <p:spPr>
          <a:xfrm>
            <a:off x="3085200" y="1900800"/>
            <a:ext cx="5670000" cy="1600438"/>
          </a:xfrm>
          <a:prstGeom prst="rect">
            <a:avLst/>
          </a:prstGeom>
          <a:noFill/>
        </p:spPr>
        <p:txBody>
          <a:bodyPr wrap="square">
            <a:spAutoFit/>
          </a:bodyPr>
          <a:lstStyle/>
          <a:p>
            <a:pPr marL="285750" indent="-285750" algn="just">
              <a:buFontTx/>
              <a:buChar char="-"/>
            </a:pPr>
            <a:r>
              <a:rPr lang="en-GB" sz="1400" dirty="0">
                <a:solidFill>
                  <a:schemeClr val="tx2"/>
                </a:solidFill>
                <a:latin typeface="Arial" panose="020B0604020202020204" pitchFamily="34" charset="0"/>
                <a:cs typeface="Arial" panose="020B0604020202020204" pitchFamily="34" charset="0"/>
              </a:rPr>
              <a:t>The sign refers to a particular group of people, however, it is likely that the general public, in particular the target group, do not perceive the message as offensive or derogatory towards the particular group it refers to. </a:t>
            </a:r>
          </a:p>
          <a:p>
            <a:pPr algn="just"/>
            <a:r>
              <a:rPr lang="en-GB" sz="1400" dirty="0">
                <a:solidFill>
                  <a:schemeClr val="tx2"/>
                </a:solidFill>
                <a:latin typeface="Arial" panose="020B0604020202020204" pitchFamily="34" charset="0"/>
                <a:cs typeface="Arial" panose="020B0604020202020204" pitchFamily="34" charset="0"/>
              </a:rPr>
              <a:t> </a:t>
            </a:r>
          </a:p>
          <a:p>
            <a:pPr marL="285750" indent="-285750" algn="just">
              <a:buFont typeface="Wingdings" panose="05000000000000000000" pitchFamily="2" charset="2"/>
              <a:buChar char="Ø"/>
            </a:pPr>
            <a:r>
              <a:rPr lang="en-GB" sz="1400" b="1" dirty="0">
                <a:solidFill>
                  <a:srgbClr val="2A5494"/>
                </a:solidFill>
                <a:latin typeface="Arial "/>
              </a:rPr>
              <a:t>Not contrary to Article 4(1)(f) TMD</a:t>
            </a:r>
          </a:p>
          <a:p>
            <a:pPr marL="285750" indent="-285750" algn="just">
              <a:buFont typeface="Wingdings" panose="05000000000000000000" pitchFamily="2" charset="2"/>
              <a:buChar char="Ø"/>
            </a:pPr>
            <a:endParaRPr lang="en-GB" sz="1400" dirty="0">
              <a:solidFill>
                <a:schemeClr val="tx2"/>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21F560FF-5F65-4BDD-C7E5-DA07ABE03764}"/>
              </a:ext>
            </a:extLst>
          </p:cNvPr>
          <p:cNvSpPr txBox="1"/>
          <p:nvPr/>
        </p:nvSpPr>
        <p:spPr>
          <a:xfrm>
            <a:off x="3412800" y="3580750"/>
            <a:ext cx="4572000" cy="307777"/>
          </a:xfrm>
          <a:prstGeom prst="rect">
            <a:avLst/>
          </a:prstGeom>
          <a:solidFill>
            <a:schemeClr val="accent3">
              <a:lumMod val="40000"/>
              <a:lumOff val="60000"/>
            </a:schemeClr>
          </a:solidFill>
        </p:spPr>
        <p:txBody>
          <a:bodyPr wrap="square" lIns="91440" tIns="45720" rIns="91440" bIns="45720" rtlCol="0" anchor="t">
            <a:spAutoFit/>
          </a:bodyPr>
          <a:lstStyle/>
          <a:p>
            <a:pPr algn="ctr"/>
            <a:r>
              <a:rPr lang="en-GB" sz="1400" dirty="0">
                <a:solidFill>
                  <a:schemeClr val="tx2"/>
                </a:solidFill>
                <a:latin typeface="Arial"/>
                <a:cs typeface="Arial"/>
              </a:rPr>
              <a:t>Non-objectionable under Article 4(1)(f) TMD</a:t>
            </a:r>
            <a:endParaRPr lang="en-GB" sz="140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367710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8"/>
            <a:ext cx="8082703" cy="474255"/>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7 Signs referring to: criminal activities, crimes against humanity, racist and totalitarian and extremist regimes, </a:t>
            </a:r>
            <a:r>
              <a:rPr lang="en-US" sz="1400" b="1" spc="-71" dirty="0" err="1">
                <a:solidFill>
                  <a:schemeClr val="accent5"/>
                </a:solidFill>
                <a:latin typeface="Arial"/>
                <a:ea typeface="Open Sans" panose="020B0606030504020204" pitchFamily="34" charset="0"/>
                <a:cs typeface="Arial"/>
              </a:rPr>
              <a:t>organisations</a:t>
            </a:r>
            <a:r>
              <a:rPr lang="en-US" sz="1400" b="1" spc="-71" dirty="0">
                <a:solidFill>
                  <a:schemeClr val="accent5"/>
                </a:solidFill>
                <a:latin typeface="Arial"/>
                <a:ea typeface="Open Sans" panose="020B0606030504020204" pitchFamily="34" charset="0"/>
                <a:cs typeface="Arial"/>
              </a:rPr>
              <a:t> and movements</a:t>
            </a:r>
          </a:p>
        </p:txBody>
      </p:sp>
      <p:sp>
        <p:nvSpPr>
          <p:cNvPr id="9" name="Rectangle: Rounded Corners 8">
            <a:extLst>
              <a:ext uri="{FF2B5EF4-FFF2-40B4-BE49-F238E27FC236}">
                <a16:creationId xmlns:a16="http://schemas.microsoft.com/office/drawing/2014/main" id="{E1A2D411-239B-1534-24F9-84CB7D1E025C}"/>
              </a:ext>
            </a:extLst>
          </p:cNvPr>
          <p:cNvSpPr/>
          <p:nvPr/>
        </p:nvSpPr>
        <p:spPr>
          <a:xfrm>
            <a:off x="651600" y="1938972"/>
            <a:ext cx="1833478" cy="923640"/>
          </a:xfrm>
          <a:prstGeom prst="roundRect">
            <a:avLst/>
          </a:prstGeom>
          <a:solidFill>
            <a:srgbClr val="0C4CA2"/>
          </a:solidFill>
          <a:ln w="19050">
            <a:solidFill>
              <a:srgbClr val="4BACC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1" dirty="0">
              <a:solidFill>
                <a:schemeClr val="bg1"/>
              </a:solidFill>
              <a:latin typeface="Arial" panose="020B0604020202020204" pitchFamily="34" charset="0"/>
              <a:cs typeface="Arial" panose="020B0604020202020204" pitchFamily="34" charset="0"/>
            </a:endParaRPr>
          </a:p>
          <a:p>
            <a:pPr algn="ctr"/>
            <a:r>
              <a:rPr lang="en-GB" sz="1400" b="1">
                <a:solidFill>
                  <a:schemeClr val="bg1"/>
                </a:solidFill>
                <a:latin typeface="Arial" panose="020B0604020202020204" pitchFamily="34" charset="0"/>
                <a:cs typeface="Arial" panose="020B0604020202020204" pitchFamily="34" charset="0"/>
              </a:rPr>
              <a:t>What types </a:t>
            </a:r>
            <a:r>
              <a:rPr lang="en-GB" sz="1400" b="1" dirty="0">
                <a:solidFill>
                  <a:schemeClr val="bg1"/>
                </a:solidFill>
                <a:latin typeface="Arial" panose="020B0604020202020204" pitchFamily="34" charset="0"/>
                <a:cs typeface="Arial" panose="020B0604020202020204" pitchFamily="34" charset="0"/>
              </a:rPr>
              <a:t>of signs does this group comprise? </a:t>
            </a:r>
          </a:p>
          <a:p>
            <a:pPr algn="ctr"/>
            <a:endParaRPr lang="en-GB" dirty="0">
              <a:solidFill>
                <a:schemeClr val="bg1"/>
              </a:solidFill>
            </a:endParaRPr>
          </a:p>
        </p:txBody>
      </p:sp>
      <p:sp>
        <p:nvSpPr>
          <p:cNvPr id="10" name="Freeform: Shape 9">
            <a:extLst>
              <a:ext uri="{FF2B5EF4-FFF2-40B4-BE49-F238E27FC236}">
                <a16:creationId xmlns:a16="http://schemas.microsoft.com/office/drawing/2014/main" id="{9693D552-23E4-ED5D-0AE4-5C02A2465510}"/>
              </a:ext>
            </a:extLst>
          </p:cNvPr>
          <p:cNvSpPr/>
          <p:nvPr/>
        </p:nvSpPr>
        <p:spPr>
          <a:xfrm>
            <a:off x="2607213" y="1687097"/>
            <a:ext cx="6105392" cy="1333107"/>
          </a:xfrm>
          <a:custGeom>
            <a:avLst/>
            <a:gdLst>
              <a:gd name="connsiteX0" fmla="*/ 0 w 4363394"/>
              <a:gd name="connsiteY0" fmla="*/ 174617 h 1746173"/>
              <a:gd name="connsiteX1" fmla="*/ 174617 w 4363394"/>
              <a:gd name="connsiteY1" fmla="*/ 0 h 1746173"/>
              <a:gd name="connsiteX2" fmla="*/ 4188777 w 4363394"/>
              <a:gd name="connsiteY2" fmla="*/ 0 h 1746173"/>
              <a:gd name="connsiteX3" fmla="*/ 4363394 w 4363394"/>
              <a:gd name="connsiteY3" fmla="*/ 174617 h 1746173"/>
              <a:gd name="connsiteX4" fmla="*/ 4363394 w 4363394"/>
              <a:gd name="connsiteY4" fmla="*/ 1571556 h 1746173"/>
              <a:gd name="connsiteX5" fmla="*/ 4188777 w 4363394"/>
              <a:gd name="connsiteY5" fmla="*/ 1746173 h 1746173"/>
              <a:gd name="connsiteX6" fmla="*/ 174617 w 4363394"/>
              <a:gd name="connsiteY6" fmla="*/ 1746173 h 1746173"/>
              <a:gd name="connsiteX7" fmla="*/ 0 w 4363394"/>
              <a:gd name="connsiteY7" fmla="*/ 1571556 h 1746173"/>
              <a:gd name="connsiteX8" fmla="*/ 0 w 4363394"/>
              <a:gd name="connsiteY8" fmla="*/ 174617 h 1746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63394" h="1746173">
                <a:moveTo>
                  <a:pt x="0" y="174617"/>
                </a:moveTo>
                <a:cubicBezTo>
                  <a:pt x="0" y="78179"/>
                  <a:pt x="78179" y="0"/>
                  <a:pt x="174617" y="0"/>
                </a:cubicBezTo>
                <a:lnTo>
                  <a:pt x="4188777" y="0"/>
                </a:lnTo>
                <a:cubicBezTo>
                  <a:pt x="4285215" y="0"/>
                  <a:pt x="4363394" y="78179"/>
                  <a:pt x="4363394" y="174617"/>
                </a:cubicBezTo>
                <a:lnTo>
                  <a:pt x="4363394" y="1571556"/>
                </a:lnTo>
                <a:cubicBezTo>
                  <a:pt x="4363394" y="1667994"/>
                  <a:pt x="4285215" y="1746173"/>
                  <a:pt x="4188777" y="1746173"/>
                </a:cubicBezTo>
                <a:lnTo>
                  <a:pt x="174617" y="1746173"/>
                </a:lnTo>
                <a:cubicBezTo>
                  <a:pt x="78179" y="1746173"/>
                  <a:pt x="0" y="1667994"/>
                  <a:pt x="0" y="1571556"/>
                </a:cubicBezTo>
                <a:lnTo>
                  <a:pt x="0" y="17461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50712" tIns="150712" rIns="150712" bIns="150712" numCol="1" spcCol="1270" anchor="t" anchorCtr="0">
            <a:noAutofit/>
          </a:bodyPr>
          <a:lstStyle/>
          <a:p>
            <a:pPr marL="285750" lvl="0" indent="-285750">
              <a:buFont typeface="Wingdings" panose="05000000000000000000" pitchFamily="2" charset="2"/>
              <a:buChar char="Ø"/>
            </a:pPr>
            <a:r>
              <a:rPr lang="en-GB" sz="1200" dirty="0">
                <a:solidFill>
                  <a:schemeClr val="tx2"/>
                </a:solidFill>
                <a:latin typeface="Arial" panose="020B0604020202020204" pitchFamily="34" charset="0"/>
                <a:cs typeface="Arial" panose="020B0604020202020204" pitchFamily="34" charset="0"/>
              </a:rPr>
              <a:t>Illicit activities (crimes)</a:t>
            </a:r>
          </a:p>
          <a:p>
            <a:pPr marL="285750" indent="-285750">
              <a:buFont typeface="Wingdings" panose="05000000000000000000" pitchFamily="2" charset="2"/>
              <a:buChar char="Ø"/>
            </a:pPr>
            <a:r>
              <a:rPr lang="en-GB" sz="1200" dirty="0">
                <a:solidFill>
                  <a:schemeClr val="tx2"/>
                </a:solidFill>
                <a:latin typeface="Arial" panose="020B0604020202020204" pitchFamily="34" charset="0"/>
                <a:cs typeface="Arial" panose="020B0604020202020204" pitchFamily="34" charset="0"/>
              </a:rPr>
              <a:t>War crimes (e.g. </a:t>
            </a:r>
            <a:r>
              <a:rPr lang="en-US" sz="1200" dirty="0">
                <a:solidFill>
                  <a:schemeClr val="tx2"/>
                </a:solidFill>
                <a:latin typeface="Arial" panose="020B0604020202020204" pitchFamily="34" charset="0"/>
                <a:cs typeface="Arial" panose="020B0604020202020204" pitchFamily="34" charset="0"/>
              </a:rPr>
              <a:t>inhuman treatment, taking of hostages)</a:t>
            </a:r>
          </a:p>
          <a:p>
            <a:pPr marL="285750" indent="-285750">
              <a:buFont typeface="Wingdings" panose="05000000000000000000" pitchFamily="2" charset="2"/>
              <a:buChar char="Ø"/>
            </a:pPr>
            <a:r>
              <a:rPr lang="en-GB" sz="1200" dirty="0">
                <a:solidFill>
                  <a:schemeClr val="tx2"/>
                </a:solidFill>
                <a:latin typeface="Arial" panose="020B0604020202020204" pitchFamily="34" charset="0"/>
                <a:cs typeface="Arial" panose="020B0604020202020204" pitchFamily="34" charset="0"/>
              </a:rPr>
              <a:t>Crimes against humanity (e.g. murder, terrorism, extermination, enslavement, apartheid)</a:t>
            </a:r>
          </a:p>
          <a:p>
            <a:pPr marL="285750" indent="-285750">
              <a:buFont typeface="Wingdings" panose="05000000000000000000" pitchFamily="2" charset="2"/>
              <a:buChar char="Ø"/>
            </a:pPr>
            <a:r>
              <a:rPr lang="en-GB" sz="1200" dirty="0">
                <a:solidFill>
                  <a:schemeClr val="tx2"/>
                </a:solidFill>
                <a:latin typeface="Arial" panose="020B0604020202020204" pitchFamily="34" charset="0"/>
                <a:cs typeface="Arial" panose="020B0604020202020204" pitchFamily="34" charset="0"/>
              </a:rPr>
              <a:t>Totalitarian and extremist regimes, organisations and movements (e.g. white supremacy movements, the Ku Klux Klan,</a:t>
            </a:r>
            <a:r>
              <a:rPr lang="en-US" sz="1200" dirty="0">
                <a:solidFill>
                  <a:schemeClr val="tx2"/>
                </a:solidFill>
                <a:latin typeface="Arial" panose="020B0604020202020204" pitchFamily="34" charset="0"/>
                <a:cs typeface="Arial" panose="020B0604020202020204" pitchFamily="34" charset="0"/>
              </a:rPr>
              <a:t> movements based on Nazi ideology</a:t>
            </a:r>
            <a:r>
              <a:rPr lang="en-GB" sz="1200" dirty="0">
                <a:solidFill>
                  <a:schemeClr val="tx2"/>
                </a:solidFill>
                <a:latin typeface="Arial" panose="020B0604020202020204" pitchFamily="34" charset="0"/>
                <a:cs typeface="Arial" panose="020B0604020202020204" pitchFamily="34" charset="0"/>
              </a:rPr>
              <a:t>)</a:t>
            </a:r>
          </a:p>
          <a:p>
            <a:pPr marL="285750" indent="-285750">
              <a:buFont typeface="Wingdings" panose="05000000000000000000" pitchFamily="2" charset="2"/>
              <a:buChar char="Ø"/>
            </a:pPr>
            <a:endParaRPr lang="en-GB" sz="1400" dirty="0">
              <a:solidFill>
                <a:schemeClr val="tx2"/>
              </a:solidFill>
              <a:latin typeface="Arial" panose="020B0604020202020204" pitchFamily="34" charset="0"/>
              <a:cs typeface="Arial" panose="020B0604020202020204" pitchFamily="34" charset="0"/>
            </a:endParaRPr>
          </a:p>
          <a:p>
            <a:pPr marL="285750" lvl="0" indent="-285750">
              <a:buFont typeface="Wingdings" panose="05000000000000000000" pitchFamily="2" charset="2"/>
              <a:buChar char="Ø"/>
            </a:pPr>
            <a:endParaRPr lang="en-GB" sz="1400" dirty="0">
              <a:solidFill>
                <a:schemeClr val="tx2"/>
              </a:solidFill>
              <a:latin typeface="Arial" panose="020B0604020202020204" pitchFamily="34" charset="0"/>
              <a:cs typeface="Arial" panose="020B0604020202020204" pitchFamily="34" charset="0"/>
            </a:endParaRPr>
          </a:p>
          <a:p>
            <a:pPr lvl="0"/>
            <a:endParaRPr lang="en-GB" sz="1400" dirty="0">
              <a:solidFill>
                <a:schemeClr val="tx2"/>
              </a:solidFill>
              <a:latin typeface="Arial" panose="020B0604020202020204" pitchFamily="34" charset="0"/>
              <a:cs typeface="Arial" panose="020B0604020202020204" pitchFamily="34" charset="0"/>
            </a:endParaRPr>
          </a:p>
          <a:p>
            <a:pPr lvl="0"/>
            <a:endParaRPr lang="en-GB" sz="1400" dirty="0">
              <a:solidFill>
                <a:schemeClr val="tx2"/>
              </a:solidFill>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59C2D07C-31C8-B93F-5552-371173874B71}"/>
              </a:ext>
            </a:extLst>
          </p:cNvPr>
          <p:cNvSpPr txBox="1"/>
          <p:nvPr/>
        </p:nvSpPr>
        <p:spPr>
          <a:xfrm>
            <a:off x="652210" y="3174357"/>
            <a:ext cx="8082702" cy="1954381"/>
          </a:xfrm>
          <a:prstGeom prst="rect">
            <a:avLst/>
          </a:prstGeom>
          <a:noFill/>
        </p:spPr>
        <p:txBody>
          <a:bodyPr wrap="square">
            <a:spAutoFit/>
          </a:bodyPr>
          <a:lstStyle/>
          <a:p>
            <a:pPr marL="171450" lvl="0" indent="-171450" algn="just">
              <a:buFont typeface="Arial" panose="020B0604020202020204" pitchFamily="34" charset="0"/>
              <a:buChar char="•"/>
            </a:pPr>
            <a:r>
              <a:rPr lang="en-US" sz="1100" dirty="0">
                <a:solidFill>
                  <a:schemeClr val="tx2"/>
                </a:solidFill>
                <a:latin typeface="Arial" panose="020B0604020202020204" pitchFamily="34" charset="0"/>
                <a:cs typeface="Arial" panose="020B0604020202020204" pitchFamily="34" charset="0"/>
              </a:rPr>
              <a:t>Likely to be considered </a:t>
            </a:r>
            <a:r>
              <a:rPr lang="en-US" sz="1100" b="1" dirty="0">
                <a:solidFill>
                  <a:schemeClr val="tx2"/>
                </a:solidFill>
                <a:latin typeface="Arial" panose="020B0604020202020204" pitchFamily="34" charset="0"/>
                <a:cs typeface="Arial" panose="020B0604020202020204" pitchFamily="34" charset="0"/>
              </a:rPr>
              <a:t>contrary to </a:t>
            </a:r>
            <a:r>
              <a:rPr lang="en-US" sz="1100" b="1" u="sng" dirty="0">
                <a:solidFill>
                  <a:schemeClr val="tx2"/>
                </a:solidFill>
                <a:latin typeface="Arial" panose="020B0604020202020204" pitchFamily="34" charset="0"/>
                <a:cs typeface="Arial" panose="020B0604020202020204" pitchFamily="34" charset="0"/>
              </a:rPr>
              <a:t>both</a:t>
            </a:r>
            <a:r>
              <a:rPr lang="en-US" sz="1100" b="1" dirty="0">
                <a:solidFill>
                  <a:schemeClr val="tx2"/>
                </a:solidFill>
                <a:latin typeface="Arial" panose="020B0604020202020204" pitchFamily="34" charset="0"/>
                <a:cs typeface="Arial" panose="020B0604020202020204" pitchFamily="34" charset="0"/>
              </a:rPr>
              <a:t> public policy and accepted principles of morality</a:t>
            </a:r>
            <a:r>
              <a:rPr lang="en-US" sz="1100" dirty="0">
                <a:solidFill>
                  <a:schemeClr val="tx2"/>
                </a:solidFill>
                <a:latin typeface="Arial" panose="020B0604020202020204" pitchFamily="34" charset="0"/>
                <a:cs typeface="Arial" panose="020B0604020202020204" pitchFamily="34" charset="0"/>
              </a:rPr>
              <a:t>. </a:t>
            </a:r>
          </a:p>
          <a:p>
            <a:pPr lvl="0" algn="just"/>
            <a:endParaRPr lang="en-US" sz="1100" dirty="0">
              <a:solidFill>
                <a:schemeClr val="tx2"/>
              </a:solidFill>
              <a:latin typeface="Arial" panose="020B0604020202020204" pitchFamily="34" charset="0"/>
              <a:cs typeface="Arial" panose="020B0604020202020204" pitchFamily="34" charset="0"/>
            </a:endParaRPr>
          </a:p>
          <a:p>
            <a:pPr marL="171450" lvl="0" indent="-171450" algn="just">
              <a:buFont typeface="Arial" panose="020B0604020202020204" pitchFamily="34" charset="0"/>
              <a:buChar char="•"/>
            </a:pPr>
            <a:r>
              <a:rPr lang="en-US" sz="1100" b="1" dirty="0">
                <a:solidFill>
                  <a:schemeClr val="tx2"/>
                </a:solidFill>
                <a:latin typeface="Arial" panose="020B0604020202020204" pitchFamily="34" charset="0"/>
                <a:cs typeface="Arial" panose="020B0604020202020204" pitchFamily="34" charset="0"/>
              </a:rPr>
              <a:t>Contrary to public policy: </a:t>
            </a:r>
            <a:r>
              <a:rPr lang="en-US" sz="1100" dirty="0">
                <a:solidFill>
                  <a:schemeClr val="tx2"/>
                </a:solidFill>
                <a:latin typeface="Arial" panose="020B0604020202020204" pitchFamily="34" charset="0"/>
                <a:cs typeface="Arial" panose="020B0604020202020204" pitchFamily="34" charset="0"/>
              </a:rPr>
              <a:t>whenever they refer and/or are related to acts that contravene fundamental norms, principles and values on which a MS and/or the EU is based (e.g. human dignity</a:t>
            </a:r>
            <a:r>
              <a:rPr lang="en-US" sz="1100">
                <a:solidFill>
                  <a:schemeClr val="tx2"/>
                </a:solidFill>
                <a:latin typeface="Arial" panose="020B0604020202020204" pitchFamily="34" charset="0"/>
                <a:cs typeface="Arial" panose="020B0604020202020204" pitchFamily="34" charset="0"/>
              </a:rPr>
              <a:t>, freedom, </a:t>
            </a:r>
            <a:r>
              <a:rPr lang="en-US" sz="1100" dirty="0">
                <a:solidFill>
                  <a:schemeClr val="tx2"/>
                </a:solidFill>
                <a:latin typeface="Arial" panose="020B0604020202020204" pitchFamily="34" charset="0"/>
                <a:cs typeface="Arial" panose="020B0604020202020204" pitchFamily="34" charset="0"/>
              </a:rPr>
              <a:t>physical integrity) or when they incite, glorify, </a:t>
            </a:r>
            <a:r>
              <a:rPr lang="en-US" sz="1100" dirty="0" err="1">
                <a:solidFill>
                  <a:schemeClr val="tx2"/>
                </a:solidFill>
                <a:latin typeface="Arial" panose="020B0604020202020204" pitchFamily="34" charset="0"/>
                <a:cs typeface="Arial" panose="020B0604020202020204" pitchFamily="34" charset="0"/>
              </a:rPr>
              <a:t>trivialise</a:t>
            </a:r>
            <a:r>
              <a:rPr lang="en-US" sz="1100" dirty="0">
                <a:solidFill>
                  <a:schemeClr val="tx2"/>
                </a:solidFill>
                <a:latin typeface="Arial" panose="020B0604020202020204" pitchFamily="34" charset="0"/>
                <a:cs typeface="Arial" panose="020B0604020202020204" pitchFamily="34" charset="0"/>
              </a:rPr>
              <a:t> or justify these violations. </a:t>
            </a:r>
          </a:p>
          <a:p>
            <a:pPr marL="171450" lvl="0" indent="-171450" algn="just">
              <a:buFont typeface="Arial" panose="020B0604020202020204" pitchFamily="34" charset="0"/>
              <a:buChar char="•"/>
            </a:pPr>
            <a:endParaRPr lang="en-US" sz="1100" dirty="0">
              <a:solidFill>
                <a:schemeClr val="tx2"/>
              </a:solidFill>
              <a:latin typeface="Arial" panose="020B0604020202020204" pitchFamily="34" charset="0"/>
              <a:cs typeface="Arial" panose="020B0604020202020204" pitchFamily="34" charset="0"/>
            </a:endParaRPr>
          </a:p>
          <a:p>
            <a:pPr marL="171450" indent="-171450" algn="just">
              <a:buFont typeface="Arial" panose="020B0604020202020204" pitchFamily="34" charset="0"/>
              <a:buChar char="•"/>
            </a:pPr>
            <a:r>
              <a:rPr lang="en-GB" sz="1100" b="1" dirty="0">
                <a:solidFill>
                  <a:schemeClr val="tx2"/>
                </a:solidFill>
                <a:latin typeface="Arial" panose="020B0604020202020204" pitchFamily="34" charset="0"/>
                <a:cs typeface="Arial" panose="020B0604020202020204" pitchFamily="34" charset="0"/>
              </a:rPr>
              <a:t>Contrary to accepted principles of morality: </a:t>
            </a:r>
            <a:r>
              <a:rPr lang="en-GB" sz="1100" dirty="0">
                <a:solidFill>
                  <a:schemeClr val="tx2"/>
                </a:solidFill>
                <a:latin typeface="Arial" panose="020B0604020202020204" pitchFamily="34" charset="0"/>
                <a:cs typeface="Arial" panose="020B0604020202020204" pitchFamily="34" charset="0"/>
              </a:rPr>
              <a:t>whenever they are perceived as trivialising such acts and/or transmitting a noticeably offensive message towards the moral values and standards of a society of a MS and/or the EU. </a:t>
            </a:r>
          </a:p>
          <a:p>
            <a:pPr marL="171450" indent="-171450" algn="just">
              <a:buFont typeface="Arial" panose="020B0604020202020204" pitchFamily="34" charset="0"/>
              <a:buChar char="•"/>
            </a:pPr>
            <a:endParaRPr lang="en-GB" sz="1100" dirty="0">
              <a:solidFill>
                <a:schemeClr val="tx2"/>
              </a:solidFill>
              <a:latin typeface="Arial" panose="020B0604020202020204" pitchFamily="34" charset="0"/>
              <a:cs typeface="Arial" panose="020B0604020202020204" pitchFamily="34" charset="0"/>
            </a:endParaRPr>
          </a:p>
          <a:p>
            <a:pPr marL="171450" indent="-171450" algn="just">
              <a:buFont typeface="Arial" panose="020B0604020202020204" pitchFamily="34" charset="0"/>
              <a:buChar char="•"/>
            </a:pPr>
            <a:r>
              <a:rPr lang="en-US" sz="1100" dirty="0">
                <a:solidFill>
                  <a:schemeClr val="tx2"/>
                </a:solidFill>
                <a:latin typeface="Arial" panose="020B0604020202020204" pitchFamily="34" charset="0"/>
                <a:cs typeface="Arial" panose="020B0604020202020204" pitchFamily="34" charset="0"/>
              </a:rPr>
              <a:t>An </a:t>
            </a:r>
            <a:r>
              <a:rPr lang="en-US" sz="1100" b="1" dirty="0">
                <a:solidFill>
                  <a:schemeClr val="tx2"/>
                </a:solidFill>
                <a:latin typeface="Arial" panose="020B0604020202020204" pitchFamily="34" charset="0"/>
                <a:cs typeface="Arial" panose="020B0604020202020204" pitchFamily="34" charset="0"/>
              </a:rPr>
              <a:t>association</a:t>
            </a:r>
            <a:r>
              <a:rPr lang="en-US" sz="1100" dirty="0">
                <a:solidFill>
                  <a:schemeClr val="tx2"/>
                </a:solidFill>
                <a:latin typeface="Arial" panose="020B0604020202020204" pitchFamily="34" charset="0"/>
                <a:cs typeface="Arial" panose="020B0604020202020204" pitchFamily="34" charset="0"/>
              </a:rPr>
              <a:t> between the </a:t>
            </a:r>
            <a:r>
              <a:rPr lang="en-US" sz="1100" b="1" dirty="0">
                <a:solidFill>
                  <a:schemeClr val="tx2"/>
                </a:solidFill>
                <a:latin typeface="Arial" panose="020B0604020202020204" pitchFamily="34" charset="0"/>
                <a:cs typeface="Arial" panose="020B0604020202020204" pitchFamily="34" charset="0"/>
              </a:rPr>
              <a:t>meaning of the sign </a:t>
            </a:r>
            <a:r>
              <a:rPr lang="en-US" sz="1100" dirty="0">
                <a:solidFill>
                  <a:schemeClr val="tx2"/>
                </a:solidFill>
                <a:latin typeface="Arial" panose="020B0604020202020204" pitchFamily="34" charset="0"/>
                <a:cs typeface="Arial" panose="020B0604020202020204" pitchFamily="34" charset="0"/>
              </a:rPr>
              <a:t>and the </a:t>
            </a:r>
            <a:r>
              <a:rPr lang="en-US" sz="1100" b="1" dirty="0">
                <a:solidFill>
                  <a:schemeClr val="tx2"/>
                </a:solidFill>
                <a:latin typeface="Arial" panose="020B0604020202020204" pitchFamily="34" charset="0"/>
                <a:cs typeface="Arial" panose="020B0604020202020204" pitchFamily="34" charset="0"/>
              </a:rPr>
              <a:t>criminal activity/</a:t>
            </a:r>
            <a:r>
              <a:rPr lang="en-US" sz="1100" b="1" dirty="0" err="1">
                <a:solidFill>
                  <a:schemeClr val="tx2"/>
                </a:solidFill>
                <a:latin typeface="Arial" panose="020B0604020202020204" pitchFamily="34" charset="0"/>
                <a:cs typeface="Arial" panose="020B0604020202020204" pitchFamily="34" charset="0"/>
              </a:rPr>
              <a:t>organisation</a:t>
            </a:r>
            <a:r>
              <a:rPr lang="en-US" sz="1100" b="1" dirty="0">
                <a:solidFill>
                  <a:schemeClr val="tx2"/>
                </a:solidFill>
                <a:latin typeface="Arial" panose="020B0604020202020204" pitchFamily="34" charset="0"/>
                <a:cs typeface="Arial" panose="020B0604020202020204" pitchFamily="34" charset="0"/>
              </a:rPr>
              <a:t> </a:t>
            </a:r>
            <a:r>
              <a:rPr lang="en-US" sz="1100" dirty="0">
                <a:solidFill>
                  <a:schemeClr val="tx2"/>
                </a:solidFill>
                <a:latin typeface="Arial" panose="020B0604020202020204" pitchFamily="34" charset="0"/>
                <a:cs typeface="Arial" panose="020B0604020202020204" pitchFamily="34" charset="0"/>
              </a:rPr>
              <a:t>referred to needs to be established </a:t>
            </a:r>
            <a:r>
              <a:rPr lang="en-US" sz="1100" b="1" dirty="0">
                <a:solidFill>
                  <a:schemeClr val="tx2"/>
                </a:solidFill>
                <a:latin typeface="Arial" panose="020B0604020202020204" pitchFamily="34" charset="0"/>
                <a:cs typeface="Arial" panose="020B0604020202020204" pitchFamily="34" charset="0"/>
              </a:rPr>
              <a:t>in the public’s mind.</a:t>
            </a:r>
          </a:p>
        </p:txBody>
      </p:sp>
    </p:spTree>
    <p:extLst>
      <p:ext uri="{BB962C8B-B14F-4D97-AF65-F5344CB8AC3E}">
        <p14:creationId xmlns:p14="http://schemas.microsoft.com/office/powerpoint/2010/main" val="12932865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23" name="Rectangle 22">
            <a:extLst>
              <a:ext uri="{FF2B5EF4-FFF2-40B4-BE49-F238E27FC236}">
                <a16:creationId xmlns:a16="http://schemas.microsoft.com/office/drawing/2014/main" id="{701CA081-01D9-6EAB-B293-E19A1386BDEC}"/>
              </a:ext>
            </a:extLst>
          </p:cNvPr>
          <p:cNvSpPr>
            <a:spLocks/>
          </p:cNvSpPr>
          <p:nvPr/>
        </p:nvSpPr>
        <p:spPr bwMode="auto">
          <a:xfrm>
            <a:off x="672935" y="1055058"/>
            <a:ext cx="8082703" cy="474255"/>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7 Signs referring to: criminal activities, crimes against humanity, racist and totalitarian and extremist regimes, </a:t>
            </a:r>
            <a:r>
              <a:rPr lang="en-US" sz="1400" b="1" spc="-71" dirty="0" err="1">
                <a:solidFill>
                  <a:schemeClr val="accent5"/>
                </a:solidFill>
                <a:latin typeface="Arial"/>
                <a:ea typeface="Open Sans" panose="020B0606030504020204" pitchFamily="34" charset="0"/>
                <a:cs typeface="Arial"/>
              </a:rPr>
              <a:t>organisations</a:t>
            </a:r>
            <a:r>
              <a:rPr lang="en-US" sz="1400" b="1" spc="-71" dirty="0">
                <a:solidFill>
                  <a:schemeClr val="accent5"/>
                </a:solidFill>
                <a:latin typeface="Arial"/>
                <a:ea typeface="Open Sans" panose="020B0606030504020204" pitchFamily="34" charset="0"/>
                <a:cs typeface="Arial"/>
              </a:rPr>
              <a:t> and movements</a:t>
            </a:r>
          </a:p>
        </p:txBody>
      </p:sp>
      <p:sp>
        <p:nvSpPr>
          <p:cNvPr id="4" name="TextBox 3">
            <a:extLst>
              <a:ext uri="{FF2B5EF4-FFF2-40B4-BE49-F238E27FC236}">
                <a16:creationId xmlns:a16="http://schemas.microsoft.com/office/drawing/2014/main" id="{93BA8F0E-76B1-AC1F-1D10-CD06AC3B7EB7}"/>
              </a:ext>
            </a:extLst>
          </p:cNvPr>
          <p:cNvSpPr txBox="1"/>
          <p:nvPr/>
        </p:nvSpPr>
        <p:spPr>
          <a:xfrm>
            <a:off x="939329" y="3992057"/>
            <a:ext cx="2192982" cy="292388"/>
          </a:xfrm>
          <a:prstGeom prst="rect">
            <a:avLst/>
          </a:prstGeom>
          <a:noFill/>
        </p:spPr>
        <p:txBody>
          <a:bodyPr wrap="square" rtlCol="0">
            <a:spAutoFit/>
          </a:bodyPr>
          <a:lstStyle/>
          <a:p>
            <a:r>
              <a:rPr lang="en-GB" sz="1300" dirty="0">
                <a:solidFill>
                  <a:schemeClr val="tx2"/>
                </a:solidFill>
                <a:latin typeface="Arial" panose="020B0604020202020204" pitchFamily="34" charset="0"/>
                <a:cs typeface="Arial" panose="020B0604020202020204" pitchFamily="34" charset="0"/>
              </a:rPr>
              <a:t>Class 25: Clothing</a:t>
            </a:r>
          </a:p>
        </p:txBody>
      </p:sp>
      <p:sp>
        <p:nvSpPr>
          <p:cNvPr id="5" name="TextBox 4">
            <a:extLst>
              <a:ext uri="{FF2B5EF4-FFF2-40B4-BE49-F238E27FC236}">
                <a16:creationId xmlns:a16="http://schemas.microsoft.com/office/drawing/2014/main" id="{05B6F019-8F98-2266-DCE9-7A1B2256B9B9}"/>
              </a:ext>
            </a:extLst>
          </p:cNvPr>
          <p:cNvSpPr txBox="1"/>
          <p:nvPr/>
        </p:nvSpPr>
        <p:spPr>
          <a:xfrm>
            <a:off x="3052800" y="1685357"/>
            <a:ext cx="5670000" cy="2246769"/>
          </a:xfrm>
          <a:prstGeom prst="rect">
            <a:avLst/>
          </a:prstGeom>
          <a:noFill/>
        </p:spPr>
        <p:txBody>
          <a:bodyPr wrap="square" anchor="ctr">
            <a:spAutoFit/>
          </a:bodyPr>
          <a:lstStyle/>
          <a:p>
            <a:pPr marL="285750" indent="-285750" algn="just">
              <a:buFontTx/>
              <a:buChar char="-"/>
            </a:pPr>
            <a:r>
              <a:rPr lang="en-GB" sz="1400" dirty="0">
                <a:solidFill>
                  <a:schemeClr val="tx2"/>
                </a:solidFill>
                <a:latin typeface="Arial" panose="020B0604020202020204" pitchFamily="34" charset="0"/>
                <a:cs typeface="Arial" panose="020B0604020202020204" pitchFamily="34" charset="0"/>
              </a:rPr>
              <a:t>The combination of the verbal and figurative elements clearly refer to the </a:t>
            </a:r>
            <a:r>
              <a:rPr lang="en-GB" sz="1400" i="1" dirty="0">
                <a:solidFill>
                  <a:schemeClr val="tx2"/>
                </a:solidFill>
                <a:latin typeface="Arial" panose="020B0604020202020204" pitchFamily="34" charset="0"/>
                <a:cs typeface="Arial" panose="020B0604020202020204" pitchFamily="34" charset="0"/>
              </a:rPr>
              <a:t>Schutzstaffel</a:t>
            </a:r>
            <a:r>
              <a:rPr lang="en-GB" sz="1400" dirty="0">
                <a:solidFill>
                  <a:schemeClr val="tx2"/>
                </a:solidFill>
                <a:latin typeface="Arial" panose="020B0604020202020204" pitchFamily="34" charset="0"/>
                <a:cs typeface="Arial" panose="020B0604020202020204" pitchFamily="34" charset="0"/>
              </a:rPr>
              <a:t> or Protection Squads, </a:t>
            </a:r>
            <a:r>
              <a:rPr lang="en-US" sz="1400" dirty="0">
                <a:solidFill>
                  <a:schemeClr val="tx2"/>
                </a:solidFill>
                <a:latin typeface="Arial" panose="020B0604020202020204" pitchFamily="34" charset="0"/>
                <a:cs typeface="Arial" panose="020B0604020202020204" pitchFamily="34" charset="0"/>
              </a:rPr>
              <a:t>a major military </a:t>
            </a:r>
            <a:r>
              <a:rPr lang="en-US" sz="1400" dirty="0" err="1">
                <a:solidFill>
                  <a:schemeClr val="tx2"/>
                </a:solidFill>
                <a:latin typeface="Arial" panose="020B0604020202020204" pitchFamily="34" charset="0"/>
                <a:cs typeface="Arial" panose="020B0604020202020204" pitchFamily="34" charset="0"/>
              </a:rPr>
              <a:t>organisation</a:t>
            </a:r>
            <a:r>
              <a:rPr lang="en-US" sz="1400" dirty="0">
                <a:solidFill>
                  <a:schemeClr val="tx2"/>
                </a:solidFill>
                <a:latin typeface="Arial" panose="020B0604020202020204" pitchFamily="34" charset="0"/>
                <a:cs typeface="Arial" panose="020B0604020202020204" pitchFamily="34" charset="0"/>
              </a:rPr>
              <a:t> under Adolf Hitler and the Nazi Party in Germany, </a:t>
            </a:r>
            <a:r>
              <a:rPr lang="en-GB" sz="1400" dirty="0">
                <a:solidFill>
                  <a:schemeClr val="tx2"/>
                </a:solidFill>
                <a:latin typeface="Arial" panose="020B0604020202020204" pitchFamily="34" charset="0"/>
                <a:cs typeface="Arial" panose="020B0604020202020204" pitchFamily="34" charset="0"/>
              </a:rPr>
              <a:t>which was declared a criminal organisation.</a:t>
            </a:r>
          </a:p>
          <a:p>
            <a:pPr marL="285750" indent="-285750" algn="just">
              <a:buFontTx/>
              <a:buChar char="-"/>
            </a:pPr>
            <a:r>
              <a:rPr lang="en-GB" sz="1400" dirty="0">
                <a:solidFill>
                  <a:schemeClr val="tx2"/>
                </a:solidFill>
                <a:latin typeface="Arial" panose="020B0604020202020204" pitchFamily="34" charset="0"/>
                <a:cs typeface="Arial" panose="020B0604020202020204" pitchFamily="34" charset="0"/>
              </a:rPr>
              <a:t>The relevant public will perceive the message conveyed by the sign as so strong and heavily associated with Nazism and criminal actions that it cannot be deemed in any way nuanced.</a:t>
            </a:r>
          </a:p>
          <a:p>
            <a:pPr algn="just"/>
            <a:endParaRPr lang="en-GB" sz="1400" dirty="0">
              <a:solidFill>
                <a:schemeClr val="tx2"/>
              </a:solidFill>
              <a:latin typeface="Arial" panose="020B0604020202020204" pitchFamily="34" charset="0"/>
              <a:cs typeface="Arial" panose="020B0604020202020204" pitchFamily="34" charset="0"/>
            </a:endParaRPr>
          </a:p>
          <a:p>
            <a:pPr marL="285750" indent="-285750" algn="just">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The sign is </a:t>
            </a:r>
            <a:r>
              <a:rPr lang="en-GB" sz="1400" b="1" dirty="0">
                <a:solidFill>
                  <a:schemeClr val="tx2"/>
                </a:solidFill>
                <a:latin typeface="Arial" panose="020B0604020202020204" pitchFamily="34" charset="0"/>
                <a:cs typeface="Arial" panose="020B0604020202020204" pitchFamily="34" charset="0"/>
              </a:rPr>
              <a:t>contrary to public policy and to accepted principles of morality </a:t>
            </a:r>
            <a:r>
              <a:rPr lang="en-GB" sz="1400" dirty="0">
                <a:solidFill>
                  <a:schemeClr val="tx2"/>
                </a:solidFill>
                <a:latin typeface="Arial" panose="020B0604020202020204" pitchFamily="34" charset="0"/>
                <a:cs typeface="Arial" panose="020B0604020202020204" pitchFamily="34" charset="0"/>
              </a:rPr>
              <a:t>for all goods and services</a:t>
            </a:r>
          </a:p>
        </p:txBody>
      </p:sp>
      <p:sp>
        <p:nvSpPr>
          <p:cNvPr id="7" name="TextBox 6">
            <a:extLst>
              <a:ext uri="{FF2B5EF4-FFF2-40B4-BE49-F238E27FC236}">
                <a16:creationId xmlns:a16="http://schemas.microsoft.com/office/drawing/2014/main" id="{34E5AA6A-BD9D-9FBF-AD58-49A411476E3E}"/>
              </a:ext>
            </a:extLst>
          </p:cNvPr>
          <p:cNvSpPr txBox="1"/>
          <p:nvPr/>
        </p:nvSpPr>
        <p:spPr>
          <a:xfrm>
            <a:off x="3400443" y="4138251"/>
            <a:ext cx="4572000" cy="307777"/>
          </a:xfrm>
          <a:prstGeom prst="rect">
            <a:avLst/>
          </a:prstGeom>
          <a:solidFill>
            <a:schemeClr val="accent2">
              <a:lumMod val="40000"/>
              <a:lumOff val="60000"/>
            </a:schemeClr>
          </a:solidFill>
        </p:spPr>
        <p:txBody>
          <a:bodyPr wrap="square" lIns="91440" tIns="45720" rIns="91440" bIns="45720" rtlCol="0" anchor="t">
            <a:spAutoFit/>
          </a:bodyPr>
          <a:lstStyle/>
          <a:p>
            <a:pPr algn="ctr"/>
            <a:r>
              <a:rPr lang="en-GB" sz="1400" dirty="0">
                <a:solidFill>
                  <a:schemeClr val="tx2"/>
                </a:solidFill>
                <a:latin typeface="Arial"/>
                <a:cs typeface="Arial"/>
              </a:rPr>
              <a:t>Objectionable under Article 4(1)(f) TMD</a:t>
            </a:r>
            <a:endParaRPr lang="en-GB" sz="1400" dirty="0">
              <a:solidFill>
                <a:schemeClr val="tx2"/>
              </a:solidFill>
              <a:latin typeface="Arial" panose="020B0604020202020204" pitchFamily="34" charset="0"/>
              <a:cs typeface="Arial" panose="020B0604020202020204" pitchFamily="34" charset="0"/>
            </a:endParaRPr>
          </a:p>
        </p:txBody>
      </p:sp>
      <p:pic>
        <p:nvPicPr>
          <p:cNvPr id="14" name="Picture 13">
            <a:extLst>
              <a:ext uri="{FF2B5EF4-FFF2-40B4-BE49-F238E27FC236}">
                <a16:creationId xmlns:a16="http://schemas.microsoft.com/office/drawing/2014/main" id="{0F7F4975-FD5F-7BFB-035B-00C36EBB4D2A}"/>
              </a:ext>
            </a:extLst>
          </p:cNvPr>
          <p:cNvPicPr>
            <a:picLocks noChangeAspect="1"/>
          </p:cNvPicPr>
          <p:nvPr/>
        </p:nvPicPr>
        <p:blipFill rotWithShape="1">
          <a:blip r:embed="rId4"/>
          <a:srcRect l="7832" t="17551" r="21948" b="14405"/>
          <a:stretch/>
        </p:blipFill>
        <p:spPr bwMode="auto">
          <a:xfrm>
            <a:off x="684000" y="2157841"/>
            <a:ext cx="2184490" cy="1600438"/>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6656141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9" name="Rectangle 16">
            <a:extLst>
              <a:ext uri="{FF2B5EF4-FFF2-40B4-BE49-F238E27FC236}">
                <a16:creationId xmlns:a16="http://schemas.microsoft.com/office/drawing/2014/main" id="{A72D7631-5624-4FE2-9B16-5E3DF58A47DE}"/>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6" name="Rectangle 8">
            <a:extLst>
              <a:ext uri="{FF2B5EF4-FFF2-40B4-BE49-F238E27FC236}">
                <a16:creationId xmlns:a16="http://schemas.microsoft.com/office/drawing/2014/main" id="{36B8CCF4-9673-4887-BF29-7980B4EA637A}"/>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IE" sz="1400" b="1" dirty="0">
                <a:solidFill>
                  <a:schemeClr val="bg1"/>
                </a:solidFill>
                <a:latin typeface="Arial"/>
                <a:cs typeface="Arial"/>
              </a:rPr>
              <a:t>CP14</a:t>
            </a:r>
            <a:r>
              <a:rPr lang="en-IE" sz="1400" b="1" dirty="0">
                <a:solidFill>
                  <a:schemeClr val="bg1"/>
                </a:solidFill>
                <a:latin typeface="Arial" panose="020B0604020202020204" pitchFamily="34" charset="0"/>
                <a:cs typeface="Arial" panose="020B0604020202020204" pitchFamily="34" charset="0"/>
              </a:rPr>
              <a:t> </a:t>
            </a:r>
            <a:r>
              <a:rPr lang="en-IE" sz="1400" b="1" dirty="0">
                <a:solidFill>
                  <a:schemeClr val="bg1"/>
                </a:solidFill>
                <a:latin typeface="Arial"/>
                <a:cs typeface="Arial"/>
              </a:rPr>
              <a:t>Common Practice </a:t>
            </a:r>
            <a:endParaRPr lang="en-IE" sz="1500" b="1" spc="-71" dirty="0">
              <a:solidFill>
                <a:srgbClr val="FFFCF6"/>
              </a:solidFill>
              <a:latin typeface="Arial"/>
              <a:ea typeface="Open Sans" panose="020B0606030504020204" pitchFamily="34" charset="0"/>
              <a:cs typeface="Arial"/>
            </a:endParaRPr>
          </a:p>
        </p:txBody>
      </p:sp>
      <p:sp>
        <p:nvSpPr>
          <p:cNvPr id="7" name="Rectangle 6">
            <a:extLst>
              <a:ext uri="{FF2B5EF4-FFF2-40B4-BE49-F238E27FC236}">
                <a16:creationId xmlns:a16="http://schemas.microsoft.com/office/drawing/2014/main" id="{F751F79E-15F8-4140-A37C-FC198305B552}"/>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endParaRPr lang="en-US" sz="1500" b="1" spc="-71" dirty="0">
              <a:solidFill>
                <a:schemeClr val="accent5"/>
              </a:solidFill>
              <a:latin typeface="Arial"/>
              <a:ea typeface="Open Sans" panose="020B0606030504020204" pitchFamily="34" charset="0"/>
              <a:cs typeface="Arial"/>
            </a:endParaRPr>
          </a:p>
        </p:txBody>
      </p:sp>
      <p:sp>
        <p:nvSpPr>
          <p:cNvPr id="10" name="TextBox 9">
            <a:extLst>
              <a:ext uri="{FF2B5EF4-FFF2-40B4-BE49-F238E27FC236}">
                <a16:creationId xmlns:a16="http://schemas.microsoft.com/office/drawing/2014/main" id="{0E401A25-9029-4D32-9314-147FF3712580}"/>
              </a:ext>
            </a:extLst>
          </p:cNvPr>
          <p:cNvSpPr txBox="1"/>
          <p:nvPr/>
        </p:nvSpPr>
        <p:spPr>
          <a:xfrm>
            <a:off x="528145" y="1032791"/>
            <a:ext cx="8227493" cy="307777"/>
          </a:xfrm>
          <a:prstGeom prst="rect">
            <a:avLst/>
          </a:prstGeom>
          <a:noFill/>
        </p:spPr>
        <p:txBody>
          <a:bodyPr wrap="square">
            <a:spAutoFit/>
          </a:bodyPr>
          <a:lstStyle/>
          <a:p>
            <a:pPr marL="85725"/>
            <a:r>
              <a:rPr lang="en-US" sz="1400" b="1" spc="-71" dirty="0">
                <a:solidFill>
                  <a:schemeClr val="accent5"/>
                </a:solidFill>
                <a:latin typeface="Arial"/>
                <a:ea typeface="Open Sans" panose="020B0606030504020204" pitchFamily="34" charset="0"/>
                <a:cs typeface="Arial"/>
              </a:rPr>
              <a:t>Background</a:t>
            </a:r>
          </a:p>
        </p:txBody>
      </p:sp>
      <p:grpSp>
        <p:nvGrpSpPr>
          <p:cNvPr id="11" name="Group 10">
            <a:extLst>
              <a:ext uri="{FF2B5EF4-FFF2-40B4-BE49-F238E27FC236}">
                <a16:creationId xmlns:a16="http://schemas.microsoft.com/office/drawing/2014/main" id="{A0389156-E331-4ABE-802A-0F98B86C6490}"/>
              </a:ext>
            </a:extLst>
          </p:cNvPr>
          <p:cNvGrpSpPr/>
          <p:nvPr/>
        </p:nvGrpSpPr>
        <p:grpSpPr>
          <a:xfrm>
            <a:off x="762185" y="1729585"/>
            <a:ext cx="7589967" cy="2976638"/>
            <a:chOff x="826598" y="1680356"/>
            <a:chExt cx="7589967" cy="2976638"/>
          </a:xfrm>
        </p:grpSpPr>
        <p:grpSp>
          <p:nvGrpSpPr>
            <p:cNvPr id="12" name="Group 11">
              <a:extLst>
                <a:ext uri="{FF2B5EF4-FFF2-40B4-BE49-F238E27FC236}">
                  <a16:creationId xmlns:a16="http://schemas.microsoft.com/office/drawing/2014/main" id="{C0035E7B-D6B8-44DB-9D0D-B59E26798AF0}"/>
                </a:ext>
              </a:extLst>
            </p:cNvPr>
            <p:cNvGrpSpPr/>
            <p:nvPr/>
          </p:nvGrpSpPr>
          <p:grpSpPr>
            <a:xfrm>
              <a:off x="826598" y="1680356"/>
              <a:ext cx="7589967" cy="2976638"/>
              <a:chOff x="-480649" y="1751511"/>
              <a:chExt cx="10092534" cy="3958094"/>
            </a:xfrm>
          </p:grpSpPr>
          <p:cxnSp>
            <p:nvCxnSpPr>
              <p:cNvPr id="36" name="Straight Connector 35">
                <a:extLst>
                  <a:ext uri="{FF2B5EF4-FFF2-40B4-BE49-F238E27FC236}">
                    <a16:creationId xmlns:a16="http://schemas.microsoft.com/office/drawing/2014/main" id="{3A1EE194-063B-4275-B6EF-3B90DF75FF99}"/>
                  </a:ext>
                </a:extLst>
              </p:cNvPr>
              <p:cNvCxnSpPr>
                <a:cxnSpLocks/>
              </p:cNvCxnSpPr>
              <p:nvPr/>
            </p:nvCxnSpPr>
            <p:spPr>
              <a:xfrm flipV="1">
                <a:off x="1027788" y="2463746"/>
                <a:ext cx="7067260" cy="23109"/>
              </a:xfrm>
              <a:prstGeom prst="line">
                <a:avLst/>
              </a:prstGeom>
              <a:ln w="6350">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364324C-8127-403A-8138-66041DEEA7FC}"/>
                  </a:ext>
                </a:extLst>
              </p:cNvPr>
              <p:cNvCxnSpPr/>
              <p:nvPr/>
            </p:nvCxnSpPr>
            <p:spPr>
              <a:xfrm>
                <a:off x="999273" y="2973211"/>
                <a:ext cx="0" cy="477078"/>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4D1A5DCE-5251-470E-AFF6-EF4B1A2C7D95}"/>
                  </a:ext>
                </a:extLst>
              </p:cNvPr>
              <p:cNvSpPr txBox="1"/>
              <p:nvPr/>
            </p:nvSpPr>
            <p:spPr>
              <a:xfrm>
                <a:off x="-480649" y="3581471"/>
                <a:ext cx="2988468" cy="2128134"/>
              </a:xfrm>
              <a:prstGeom prst="rect">
                <a:avLst/>
              </a:prstGeom>
              <a:noFill/>
            </p:spPr>
            <p:txBody>
              <a:bodyPr wrap="square" lIns="0" rIns="0" rtlCol="0">
                <a:spAutoFit/>
              </a:bodyPr>
              <a:lstStyle/>
              <a:p>
                <a:pPr algn="just"/>
                <a:r>
                  <a:rPr lang="en-GB" sz="1400" b="1" dirty="0">
                    <a:solidFill>
                      <a:srgbClr val="024DA1"/>
                    </a:solidFill>
                    <a:latin typeface="Arial" panose="020B0604020202020204" pitchFamily="34" charset="0"/>
                  </a:rPr>
                  <a:t>The TMD does not include a definition </a:t>
                </a:r>
                <a:r>
                  <a:rPr lang="en-GB" sz="1400" dirty="0">
                    <a:solidFill>
                      <a:srgbClr val="024DA1"/>
                    </a:solidFill>
                    <a:latin typeface="Arial" panose="020B0604020202020204" pitchFamily="34" charset="0"/>
                  </a:rPr>
                  <a:t>of public policy and accepted principles of morality</a:t>
                </a:r>
              </a:p>
              <a:p>
                <a:pPr algn="just"/>
                <a:endParaRPr lang="en-GB" sz="1400" dirty="0">
                  <a:solidFill>
                    <a:srgbClr val="024DA1"/>
                  </a:solidFill>
                  <a:latin typeface="Arial" panose="020B0604020202020204" pitchFamily="34" charset="0"/>
                </a:endParaRPr>
              </a:p>
              <a:p>
                <a:pPr algn="just"/>
                <a:r>
                  <a:rPr lang="en-GB" sz="1400" b="1" dirty="0">
                    <a:solidFill>
                      <a:srgbClr val="024DA1"/>
                    </a:solidFill>
                    <a:latin typeface="Arial" panose="020B0604020202020204" pitchFamily="34" charset="0"/>
                  </a:rPr>
                  <a:t>Nor an indication of the criteria </a:t>
                </a:r>
                <a:r>
                  <a:rPr lang="en-GB" sz="1400" dirty="0">
                    <a:solidFill>
                      <a:srgbClr val="024DA1"/>
                    </a:solidFill>
                    <a:latin typeface="Arial" panose="020B0604020202020204" pitchFamily="34" charset="0"/>
                  </a:rPr>
                  <a:t>for its assessment</a:t>
                </a:r>
              </a:p>
            </p:txBody>
          </p:sp>
          <p:cxnSp>
            <p:nvCxnSpPr>
              <p:cNvPr id="40" name="Straight Connector 39">
                <a:extLst>
                  <a:ext uri="{FF2B5EF4-FFF2-40B4-BE49-F238E27FC236}">
                    <a16:creationId xmlns:a16="http://schemas.microsoft.com/office/drawing/2014/main" id="{55BB761E-DDE2-457F-83D1-1568AFB6AA6A}"/>
                  </a:ext>
                </a:extLst>
              </p:cNvPr>
              <p:cNvCxnSpPr/>
              <p:nvPr/>
            </p:nvCxnSpPr>
            <p:spPr>
              <a:xfrm>
                <a:off x="4572000" y="2914524"/>
                <a:ext cx="0" cy="477078"/>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B7D2D08-6C09-44D9-9882-5C03F62FEF5A}"/>
                  </a:ext>
                </a:extLst>
              </p:cNvPr>
              <p:cNvCxnSpPr/>
              <p:nvPr/>
            </p:nvCxnSpPr>
            <p:spPr>
              <a:xfrm>
                <a:off x="8135984" y="2917173"/>
                <a:ext cx="0" cy="477078"/>
              </a:xfrm>
              <a:prstGeom prst="line">
                <a:avLst/>
              </a:prstGeom>
              <a:ln>
                <a:solidFill>
                  <a:schemeClr val="tx1">
                    <a:alpha val="20000"/>
                  </a:schemeClr>
                </a:solidFill>
              </a:ln>
            </p:spPr>
            <p:style>
              <a:lnRef idx="1">
                <a:schemeClr val="accent1"/>
              </a:lnRef>
              <a:fillRef idx="0">
                <a:schemeClr val="accent1"/>
              </a:fillRef>
              <a:effectRef idx="0">
                <a:schemeClr val="accent1"/>
              </a:effectRef>
              <a:fontRef idx="minor">
                <a:schemeClr val="tx1"/>
              </a:fontRef>
            </p:style>
          </p:cxnSp>
          <p:sp>
            <p:nvSpPr>
              <p:cNvPr id="42" name="Oval 41">
                <a:extLst>
                  <a:ext uri="{FF2B5EF4-FFF2-40B4-BE49-F238E27FC236}">
                    <a16:creationId xmlns:a16="http://schemas.microsoft.com/office/drawing/2014/main" id="{B405EC69-C49C-48B4-A618-34A6CC387005}"/>
                  </a:ext>
                </a:extLst>
              </p:cNvPr>
              <p:cNvSpPr/>
              <p:nvPr/>
            </p:nvSpPr>
            <p:spPr>
              <a:xfrm>
                <a:off x="3857131" y="1751511"/>
                <a:ext cx="1424470" cy="1424469"/>
              </a:xfrm>
              <a:prstGeom prst="ellipse">
                <a:avLst/>
              </a:prstGeom>
              <a:solidFill>
                <a:schemeClr val="accent1">
                  <a:lumMod val="60000"/>
                  <a:lumOff val="40000"/>
                </a:schemeClr>
              </a:solidFill>
              <a:ln w="6350">
                <a:noFill/>
              </a:ln>
              <a:effectLst>
                <a:outerShdw blurRad="38100" dist="12700" dir="5400000" algn="ctr" rotWithShape="0">
                  <a:schemeClr val="tx1">
                    <a:alpha val="15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0" bIns="45720" numCol="1" spcCol="0" rtlCol="0" fromWordArt="0" anchor="t" anchorCtr="0" forceAA="0" compatLnSpc="1">
                <a:prstTxWarp prst="textNoShape">
                  <a:avLst/>
                </a:prstTxWarp>
                <a:noAutofit/>
              </a:bodyPr>
              <a:lstStyle/>
              <a:p>
                <a:endParaRPr lang="en-US" sz="1000" dirty="0">
                  <a:solidFill>
                    <a:schemeClr val="tx1"/>
                  </a:solidFill>
                </a:endParaRPr>
              </a:p>
            </p:txBody>
          </p:sp>
          <p:sp>
            <p:nvSpPr>
              <p:cNvPr id="44" name="TextBox 43">
                <a:extLst>
                  <a:ext uri="{FF2B5EF4-FFF2-40B4-BE49-F238E27FC236}">
                    <a16:creationId xmlns:a16="http://schemas.microsoft.com/office/drawing/2014/main" id="{55288A6A-8135-4AF7-9F6F-79842A22EB80}"/>
                  </a:ext>
                </a:extLst>
              </p:cNvPr>
              <p:cNvSpPr txBox="1"/>
              <p:nvPr/>
            </p:nvSpPr>
            <p:spPr>
              <a:xfrm>
                <a:off x="3067183" y="3579358"/>
                <a:ext cx="2988468" cy="2080387"/>
              </a:xfrm>
              <a:prstGeom prst="rect">
                <a:avLst/>
              </a:prstGeom>
              <a:noFill/>
            </p:spPr>
            <p:txBody>
              <a:bodyPr wrap="square" lIns="0" rIns="0" rtlCol="0">
                <a:spAutoFit/>
              </a:bodyPr>
              <a:lstStyle/>
              <a:p>
                <a:pPr algn="ctr">
                  <a:spcBef>
                    <a:spcPts val="1350"/>
                  </a:spcBef>
                </a:pPr>
                <a:r>
                  <a:rPr lang="en-GB" sz="1400" b="1" dirty="0">
                    <a:solidFill>
                      <a:srgbClr val="024DA1"/>
                    </a:solidFill>
                    <a:latin typeface="Arial" panose="020B0604020202020204" pitchFamily="34" charset="0"/>
                    <a:cs typeface="Arial" panose="020B0604020202020204" pitchFamily="34" charset="0"/>
                  </a:rPr>
                  <a:t>EU case-law </a:t>
                </a:r>
                <a:r>
                  <a:rPr lang="en-GB" sz="1400" dirty="0">
                    <a:solidFill>
                      <a:srgbClr val="024DA1"/>
                    </a:solidFill>
                    <a:latin typeface="Arial" panose="020B0604020202020204" pitchFamily="34" charset="0"/>
                    <a:cs typeface="Arial" panose="020B0604020202020204" pitchFamily="34" charset="0"/>
                  </a:rPr>
                  <a:t>has established some guidance on this topic (e.g. </a:t>
                </a:r>
                <a:r>
                  <a:rPr lang="en-GB" sz="1400" i="1" dirty="0" err="1">
                    <a:solidFill>
                      <a:srgbClr val="024DA1"/>
                    </a:solidFill>
                    <a:latin typeface="Arial" panose="020B0604020202020204" pitchFamily="34" charset="0"/>
                    <a:cs typeface="Arial" panose="020B0604020202020204" pitchFamily="34" charset="0"/>
                  </a:rPr>
                  <a:t>Fack</a:t>
                </a:r>
                <a:r>
                  <a:rPr lang="en-GB" sz="1400" i="1" dirty="0">
                    <a:solidFill>
                      <a:srgbClr val="024DA1"/>
                    </a:solidFill>
                    <a:latin typeface="Arial" panose="020B0604020202020204" pitchFamily="34" charset="0"/>
                    <a:cs typeface="Arial" panose="020B0604020202020204" pitchFamily="34" charset="0"/>
                  </a:rPr>
                  <a:t> Ju </a:t>
                </a:r>
                <a:r>
                  <a:rPr lang="en-GB" sz="1400" i="1" dirty="0" err="1">
                    <a:solidFill>
                      <a:srgbClr val="024DA1"/>
                    </a:solidFill>
                    <a:latin typeface="Arial" panose="020B0604020202020204" pitchFamily="34" charset="0"/>
                    <a:cs typeface="Arial" panose="020B0604020202020204" pitchFamily="34" charset="0"/>
                  </a:rPr>
                  <a:t>Göhte</a:t>
                </a:r>
                <a:r>
                  <a:rPr lang="en-GB" sz="1400" dirty="0">
                    <a:solidFill>
                      <a:srgbClr val="024DA1"/>
                    </a:solidFill>
                    <a:latin typeface="Arial" panose="020B0604020202020204" pitchFamily="34" charset="0"/>
                    <a:cs typeface="Arial" panose="020B0604020202020204" pitchFamily="34" charset="0"/>
                  </a:rPr>
                  <a:t>) </a:t>
                </a:r>
              </a:p>
              <a:p>
                <a:pPr algn="ctr">
                  <a:spcBef>
                    <a:spcPts val="1350"/>
                  </a:spcBef>
                </a:pPr>
                <a:r>
                  <a:rPr lang="en-GB" sz="1400" b="1" dirty="0">
                    <a:solidFill>
                      <a:srgbClr val="024DA1"/>
                    </a:solidFill>
                    <a:latin typeface="Arial" panose="020B0604020202020204" pitchFamily="34" charset="0"/>
                    <a:cs typeface="Arial" panose="020B0604020202020204" pitchFamily="34" charset="0"/>
                  </a:rPr>
                  <a:t>Risk</a:t>
                </a:r>
                <a:r>
                  <a:rPr lang="en-GB" sz="1400" dirty="0">
                    <a:solidFill>
                      <a:srgbClr val="024DA1"/>
                    </a:solidFill>
                    <a:latin typeface="Arial" panose="020B0604020202020204" pitchFamily="34" charset="0"/>
                    <a:cs typeface="Arial" panose="020B0604020202020204" pitchFamily="34" charset="0"/>
                  </a:rPr>
                  <a:t> </a:t>
                </a:r>
                <a:r>
                  <a:rPr lang="en-GB" sz="1400" b="1" dirty="0">
                    <a:solidFill>
                      <a:srgbClr val="024DA1"/>
                    </a:solidFill>
                    <a:latin typeface="Arial" panose="020B0604020202020204" pitchFamily="34" charset="0"/>
                    <a:cs typeface="Arial" panose="020B0604020202020204" pitchFamily="34" charset="0"/>
                  </a:rPr>
                  <a:t>of different IPOs interpreting it differently</a:t>
                </a:r>
              </a:p>
            </p:txBody>
          </p:sp>
          <p:sp>
            <p:nvSpPr>
              <p:cNvPr id="45" name="TextBox 44">
                <a:extLst>
                  <a:ext uri="{FF2B5EF4-FFF2-40B4-BE49-F238E27FC236}">
                    <a16:creationId xmlns:a16="http://schemas.microsoft.com/office/drawing/2014/main" id="{8C6FC146-7E68-4CB0-9264-52B1874949F1}"/>
                  </a:ext>
                </a:extLst>
              </p:cNvPr>
              <p:cNvSpPr txBox="1"/>
              <p:nvPr/>
            </p:nvSpPr>
            <p:spPr>
              <a:xfrm>
                <a:off x="6615016" y="3581470"/>
                <a:ext cx="2996869" cy="1841655"/>
              </a:xfrm>
              <a:prstGeom prst="rect">
                <a:avLst/>
              </a:prstGeom>
              <a:noFill/>
            </p:spPr>
            <p:txBody>
              <a:bodyPr wrap="square" lIns="0" rIns="0" rtlCol="0">
                <a:spAutoFit/>
              </a:bodyPr>
              <a:lstStyle/>
              <a:p>
                <a:pPr algn="ctr">
                  <a:spcBef>
                    <a:spcPts val="1350"/>
                  </a:spcBef>
                </a:pPr>
                <a:r>
                  <a:rPr lang="en-GB" sz="1400" b="1" dirty="0">
                    <a:solidFill>
                      <a:srgbClr val="024DA1"/>
                    </a:solidFill>
                    <a:latin typeface="Arial" panose="020B0604020202020204" pitchFamily="34" charset="0"/>
                  </a:rPr>
                  <a:t>Increase in the number of trade mark applications related to well-known events </a:t>
                </a:r>
                <a:r>
                  <a:rPr lang="en-GB" sz="1400" dirty="0">
                    <a:solidFill>
                      <a:srgbClr val="024DA1"/>
                    </a:solidFill>
                    <a:latin typeface="Arial" panose="020B0604020202020204" pitchFamily="34" charset="0"/>
                  </a:rPr>
                  <a:t>(</a:t>
                </a:r>
                <a:r>
                  <a:rPr lang="en-GB" sz="1400" i="1" dirty="0">
                    <a:solidFill>
                      <a:srgbClr val="024DA1"/>
                    </a:solidFill>
                    <a:latin typeface="Arial" panose="020B0604020202020204" pitchFamily="34" charset="0"/>
                  </a:rPr>
                  <a:t>COVID-19, BLACK LIVES MATTER, Je suis Charlie, Brexit</a:t>
                </a:r>
                <a:r>
                  <a:rPr lang="en-GB" sz="1400" dirty="0">
                    <a:solidFill>
                      <a:srgbClr val="024DA1"/>
                    </a:solidFill>
                    <a:latin typeface="Arial" panose="020B0604020202020204" pitchFamily="34" charset="0"/>
                  </a:rPr>
                  <a:t>) </a:t>
                </a:r>
              </a:p>
            </p:txBody>
          </p:sp>
        </p:grpSp>
        <p:grpSp>
          <p:nvGrpSpPr>
            <p:cNvPr id="14" name="Google Shape;4926;p58">
              <a:extLst>
                <a:ext uri="{FF2B5EF4-FFF2-40B4-BE49-F238E27FC236}">
                  <a16:creationId xmlns:a16="http://schemas.microsoft.com/office/drawing/2014/main" id="{B983C7C0-FC40-4D90-8C10-D73025ED9536}"/>
                </a:ext>
              </a:extLst>
            </p:cNvPr>
            <p:cNvGrpSpPr/>
            <p:nvPr/>
          </p:nvGrpSpPr>
          <p:grpSpPr>
            <a:xfrm>
              <a:off x="6755256" y="2120048"/>
              <a:ext cx="231213" cy="123978"/>
              <a:chOff x="3767509" y="1590108"/>
              <a:chExt cx="231213" cy="123978"/>
            </a:xfrm>
            <a:solidFill>
              <a:schemeClr val="bg1"/>
            </a:solidFill>
          </p:grpSpPr>
          <p:sp>
            <p:nvSpPr>
              <p:cNvPr id="16" name="Google Shape;4927;p58">
                <a:extLst>
                  <a:ext uri="{FF2B5EF4-FFF2-40B4-BE49-F238E27FC236}">
                    <a16:creationId xmlns:a16="http://schemas.microsoft.com/office/drawing/2014/main" id="{EBD9C1CF-8E92-4CB7-BBF1-434EBBA9684C}"/>
                  </a:ext>
                </a:extLst>
              </p:cNvPr>
              <p:cNvSpPr/>
              <p:nvPr/>
            </p:nvSpPr>
            <p:spPr>
              <a:xfrm>
                <a:off x="3767509" y="1646957"/>
                <a:ext cx="231213" cy="10663"/>
              </a:xfrm>
              <a:custGeom>
                <a:avLst/>
                <a:gdLst/>
                <a:ahLst/>
                <a:cxnLst/>
                <a:rect l="l" t="t" r="r" b="b"/>
                <a:pathLst>
                  <a:path w="7264" h="335" extrusionOk="0">
                    <a:moveTo>
                      <a:pt x="168" y="1"/>
                    </a:moveTo>
                    <a:cubicBezTo>
                      <a:pt x="72" y="1"/>
                      <a:pt x="1" y="72"/>
                      <a:pt x="1" y="167"/>
                    </a:cubicBezTo>
                    <a:cubicBezTo>
                      <a:pt x="1" y="263"/>
                      <a:pt x="72" y="334"/>
                      <a:pt x="168" y="334"/>
                    </a:cubicBezTo>
                    <a:lnTo>
                      <a:pt x="7097" y="334"/>
                    </a:lnTo>
                    <a:cubicBezTo>
                      <a:pt x="7192" y="334"/>
                      <a:pt x="7264" y="263"/>
                      <a:pt x="7264" y="167"/>
                    </a:cubicBezTo>
                    <a:cubicBezTo>
                      <a:pt x="7264" y="72"/>
                      <a:pt x="7192" y="1"/>
                      <a:pt x="7097" y="1"/>
                    </a:cubicBezTo>
                    <a:close/>
                  </a:path>
                </a:pathLst>
              </a:custGeom>
              <a:grpFill/>
              <a:ln>
                <a:noFill/>
              </a:ln>
            </p:spPr>
            <p:txBody>
              <a:bodyPr spcFirstLastPara="1" wrap="square" lIns="91425" tIns="91425" rIns="91425" bIns="91425" anchor="ctr" anchorCtr="0">
                <a:noAutofit/>
              </a:bodyPr>
              <a:lstStyle/>
              <a:p>
                <a:endParaRPr/>
              </a:p>
            </p:txBody>
          </p:sp>
          <p:sp>
            <p:nvSpPr>
              <p:cNvPr id="18" name="Google Shape;4929;p58">
                <a:extLst>
                  <a:ext uri="{FF2B5EF4-FFF2-40B4-BE49-F238E27FC236}">
                    <a16:creationId xmlns:a16="http://schemas.microsoft.com/office/drawing/2014/main" id="{7E6A636D-ACFD-4DEA-9C4E-0237031D5EAC}"/>
                  </a:ext>
                </a:extLst>
              </p:cNvPr>
              <p:cNvSpPr/>
              <p:nvPr/>
            </p:nvSpPr>
            <p:spPr>
              <a:xfrm>
                <a:off x="3931624" y="1618532"/>
                <a:ext cx="67098" cy="10663"/>
              </a:xfrm>
              <a:custGeom>
                <a:avLst/>
                <a:gdLst/>
                <a:ahLst/>
                <a:cxnLst/>
                <a:rect l="l" t="t" r="r" b="b"/>
                <a:pathLst>
                  <a:path w="2108" h="335" extrusionOk="0">
                    <a:moveTo>
                      <a:pt x="155" y="1"/>
                    </a:moveTo>
                    <a:cubicBezTo>
                      <a:pt x="72" y="1"/>
                      <a:pt x="0" y="72"/>
                      <a:pt x="0" y="168"/>
                    </a:cubicBezTo>
                    <a:cubicBezTo>
                      <a:pt x="0" y="263"/>
                      <a:pt x="72" y="334"/>
                      <a:pt x="155" y="334"/>
                    </a:cubicBezTo>
                    <a:lnTo>
                      <a:pt x="1941" y="334"/>
                    </a:lnTo>
                    <a:cubicBezTo>
                      <a:pt x="2036" y="334"/>
                      <a:pt x="2108" y="263"/>
                      <a:pt x="2108" y="168"/>
                    </a:cubicBezTo>
                    <a:cubicBezTo>
                      <a:pt x="2108" y="72"/>
                      <a:pt x="2036" y="1"/>
                      <a:pt x="1941" y="1"/>
                    </a:cubicBezTo>
                    <a:close/>
                  </a:path>
                </a:pathLst>
              </a:custGeom>
              <a:grpFill/>
              <a:ln>
                <a:noFill/>
              </a:ln>
            </p:spPr>
            <p:txBody>
              <a:bodyPr spcFirstLastPara="1" wrap="square" lIns="91425" tIns="91425" rIns="91425" bIns="91425" anchor="ctr" anchorCtr="0">
                <a:noAutofit/>
              </a:bodyPr>
              <a:lstStyle/>
              <a:p>
                <a:endParaRPr/>
              </a:p>
            </p:txBody>
          </p:sp>
          <p:sp>
            <p:nvSpPr>
              <p:cNvPr id="19" name="Google Shape;4930;p58">
                <a:extLst>
                  <a:ext uri="{FF2B5EF4-FFF2-40B4-BE49-F238E27FC236}">
                    <a16:creationId xmlns:a16="http://schemas.microsoft.com/office/drawing/2014/main" id="{61ACD2DE-EBA4-4BFE-855E-3B10C67729C2}"/>
                  </a:ext>
                </a:extLst>
              </p:cNvPr>
              <p:cNvSpPr/>
              <p:nvPr/>
            </p:nvSpPr>
            <p:spPr>
              <a:xfrm>
                <a:off x="3767509" y="1590108"/>
                <a:ext cx="39087" cy="10663"/>
              </a:xfrm>
              <a:custGeom>
                <a:avLst/>
                <a:gdLst/>
                <a:ahLst/>
                <a:cxnLst/>
                <a:rect l="l" t="t" r="r" b="b"/>
                <a:pathLst>
                  <a:path w="1228" h="335" extrusionOk="0">
                    <a:moveTo>
                      <a:pt x="168" y="1"/>
                    </a:moveTo>
                    <a:cubicBezTo>
                      <a:pt x="72" y="1"/>
                      <a:pt x="1" y="72"/>
                      <a:pt x="1" y="168"/>
                    </a:cubicBezTo>
                    <a:cubicBezTo>
                      <a:pt x="1" y="263"/>
                      <a:pt x="72" y="334"/>
                      <a:pt x="168" y="334"/>
                    </a:cubicBezTo>
                    <a:lnTo>
                      <a:pt x="1061" y="334"/>
                    </a:lnTo>
                    <a:cubicBezTo>
                      <a:pt x="1144" y="334"/>
                      <a:pt x="1227" y="263"/>
                      <a:pt x="1227" y="168"/>
                    </a:cubicBezTo>
                    <a:cubicBezTo>
                      <a:pt x="1227" y="72"/>
                      <a:pt x="1144" y="1"/>
                      <a:pt x="1061" y="1"/>
                    </a:cubicBezTo>
                    <a:close/>
                  </a:path>
                </a:pathLst>
              </a:custGeom>
              <a:grpFill/>
              <a:ln>
                <a:noFill/>
              </a:ln>
            </p:spPr>
            <p:txBody>
              <a:bodyPr spcFirstLastPara="1" wrap="square" lIns="91425" tIns="91425" rIns="91425" bIns="91425" anchor="ctr" anchorCtr="0">
                <a:noAutofit/>
              </a:bodyPr>
              <a:lstStyle/>
              <a:p>
                <a:endParaRPr/>
              </a:p>
            </p:txBody>
          </p:sp>
          <p:sp>
            <p:nvSpPr>
              <p:cNvPr id="20" name="Google Shape;4931;p58">
                <a:extLst>
                  <a:ext uri="{FF2B5EF4-FFF2-40B4-BE49-F238E27FC236}">
                    <a16:creationId xmlns:a16="http://schemas.microsoft.com/office/drawing/2014/main" id="{B149B845-8F1F-4568-9E17-BB9FF91B0591}"/>
                  </a:ext>
                </a:extLst>
              </p:cNvPr>
              <p:cNvSpPr/>
              <p:nvPr/>
            </p:nvSpPr>
            <p:spPr>
              <a:xfrm>
                <a:off x="3818309" y="1590108"/>
                <a:ext cx="180412" cy="10663"/>
              </a:xfrm>
              <a:custGeom>
                <a:avLst/>
                <a:gdLst/>
                <a:ahLst/>
                <a:cxnLst/>
                <a:rect l="l" t="t" r="r" b="b"/>
                <a:pathLst>
                  <a:path w="5668" h="335" extrusionOk="0">
                    <a:moveTo>
                      <a:pt x="167" y="1"/>
                    </a:moveTo>
                    <a:cubicBezTo>
                      <a:pt x="72" y="1"/>
                      <a:pt x="0" y="72"/>
                      <a:pt x="0" y="168"/>
                    </a:cubicBezTo>
                    <a:cubicBezTo>
                      <a:pt x="0" y="263"/>
                      <a:pt x="72" y="334"/>
                      <a:pt x="167" y="334"/>
                    </a:cubicBezTo>
                    <a:lnTo>
                      <a:pt x="5501" y="334"/>
                    </a:lnTo>
                    <a:cubicBezTo>
                      <a:pt x="5596" y="334"/>
                      <a:pt x="5668" y="263"/>
                      <a:pt x="5668" y="168"/>
                    </a:cubicBezTo>
                    <a:cubicBezTo>
                      <a:pt x="5668" y="72"/>
                      <a:pt x="5596" y="1"/>
                      <a:pt x="5501" y="1"/>
                    </a:cubicBezTo>
                    <a:close/>
                  </a:path>
                </a:pathLst>
              </a:custGeom>
              <a:grpFill/>
              <a:ln>
                <a:noFill/>
              </a:ln>
            </p:spPr>
            <p:txBody>
              <a:bodyPr spcFirstLastPara="1" wrap="square" lIns="91425" tIns="91425" rIns="91425" bIns="91425" anchor="ctr" anchorCtr="0">
                <a:noAutofit/>
              </a:bodyPr>
              <a:lstStyle/>
              <a:p>
                <a:endParaRPr/>
              </a:p>
            </p:txBody>
          </p:sp>
          <p:grpSp>
            <p:nvGrpSpPr>
              <p:cNvPr id="21" name="Google Shape;4932;p58">
                <a:extLst>
                  <a:ext uri="{FF2B5EF4-FFF2-40B4-BE49-F238E27FC236}">
                    <a16:creationId xmlns:a16="http://schemas.microsoft.com/office/drawing/2014/main" id="{F1E90E7A-0F03-409D-AB3E-F2B92FB83812}"/>
                  </a:ext>
                </a:extLst>
              </p:cNvPr>
              <p:cNvGrpSpPr/>
              <p:nvPr/>
            </p:nvGrpSpPr>
            <p:grpSpPr>
              <a:xfrm>
                <a:off x="3767509" y="1675381"/>
                <a:ext cx="231213" cy="38705"/>
                <a:chOff x="3767509" y="1675381"/>
                <a:chExt cx="231213" cy="38705"/>
              </a:xfrm>
              <a:grpFill/>
            </p:grpSpPr>
            <p:sp>
              <p:nvSpPr>
                <p:cNvPr id="22" name="Google Shape;4933;p58">
                  <a:extLst>
                    <a:ext uri="{FF2B5EF4-FFF2-40B4-BE49-F238E27FC236}">
                      <a16:creationId xmlns:a16="http://schemas.microsoft.com/office/drawing/2014/main" id="{A6B72902-0B83-46F8-B335-87CB2CFC6E9E}"/>
                    </a:ext>
                  </a:extLst>
                </p:cNvPr>
                <p:cNvSpPr/>
                <p:nvPr/>
              </p:nvSpPr>
              <p:spPr>
                <a:xfrm>
                  <a:off x="3767509" y="1675381"/>
                  <a:ext cx="84540" cy="10663"/>
                </a:xfrm>
                <a:custGeom>
                  <a:avLst/>
                  <a:gdLst/>
                  <a:ahLst/>
                  <a:cxnLst/>
                  <a:rect l="l" t="t" r="r" b="b"/>
                  <a:pathLst>
                    <a:path w="2656" h="335" extrusionOk="0">
                      <a:moveTo>
                        <a:pt x="168" y="1"/>
                      </a:moveTo>
                      <a:cubicBezTo>
                        <a:pt x="72" y="1"/>
                        <a:pt x="1" y="72"/>
                        <a:pt x="1" y="167"/>
                      </a:cubicBezTo>
                      <a:cubicBezTo>
                        <a:pt x="1" y="263"/>
                        <a:pt x="72" y="334"/>
                        <a:pt x="168" y="334"/>
                      </a:cubicBezTo>
                      <a:lnTo>
                        <a:pt x="2477" y="334"/>
                      </a:lnTo>
                      <a:cubicBezTo>
                        <a:pt x="2561" y="334"/>
                        <a:pt x="2632" y="263"/>
                        <a:pt x="2632" y="167"/>
                      </a:cubicBezTo>
                      <a:cubicBezTo>
                        <a:pt x="2656" y="72"/>
                        <a:pt x="2573" y="1"/>
                        <a:pt x="2477" y="1"/>
                      </a:cubicBezTo>
                      <a:close/>
                    </a:path>
                  </a:pathLst>
                </a:custGeom>
                <a:grpFill/>
                <a:ln>
                  <a:noFill/>
                </a:ln>
              </p:spPr>
              <p:txBody>
                <a:bodyPr spcFirstLastPara="1" wrap="square" lIns="91425" tIns="91425" rIns="91425" bIns="91425" anchor="ctr" anchorCtr="0">
                  <a:noAutofit/>
                </a:bodyPr>
                <a:lstStyle/>
                <a:p>
                  <a:endParaRPr/>
                </a:p>
              </p:txBody>
            </p:sp>
            <p:sp>
              <p:nvSpPr>
                <p:cNvPr id="23" name="Google Shape;4934;p58">
                  <a:extLst>
                    <a:ext uri="{FF2B5EF4-FFF2-40B4-BE49-F238E27FC236}">
                      <a16:creationId xmlns:a16="http://schemas.microsoft.com/office/drawing/2014/main" id="{36396D82-3AB2-4957-A13F-897BB6FC2481}"/>
                    </a:ext>
                  </a:extLst>
                </p:cNvPr>
                <p:cNvSpPr/>
                <p:nvPr/>
              </p:nvSpPr>
              <p:spPr>
                <a:xfrm>
                  <a:off x="3875158" y="1675381"/>
                  <a:ext cx="123564" cy="10663"/>
                </a:xfrm>
                <a:custGeom>
                  <a:avLst/>
                  <a:gdLst/>
                  <a:ahLst/>
                  <a:cxnLst/>
                  <a:rect l="l" t="t" r="r" b="b"/>
                  <a:pathLst>
                    <a:path w="3882" h="335" extrusionOk="0">
                      <a:moveTo>
                        <a:pt x="167" y="1"/>
                      </a:moveTo>
                      <a:cubicBezTo>
                        <a:pt x="72" y="1"/>
                        <a:pt x="0" y="72"/>
                        <a:pt x="0" y="167"/>
                      </a:cubicBezTo>
                      <a:cubicBezTo>
                        <a:pt x="0" y="263"/>
                        <a:pt x="72" y="334"/>
                        <a:pt x="167" y="334"/>
                      </a:cubicBezTo>
                      <a:lnTo>
                        <a:pt x="3715" y="334"/>
                      </a:lnTo>
                      <a:cubicBezTo>
                        <a:pt x="3810" y="334"/>
                        <a:pt x="3882" y="263"/>
                        <a:pt x="3882" y="167"/>
                      </a:cubicBezTo>
                      <a:cubicBezTo>
                        <a:pt x="3882" y="72"/>
                        <a:pt x="3810" y="1"/>
                        <a:pt x="3715" y="1"/>
                      </a:cubicBezTo>
                      <a:close/>
                    </a:path>
                  </a:pathLst>
                </a:custGeom>
                <a:grpFill/>
                <a:ln>
                  <a:noFill/>
                </a:ln>
              </p:spPr>
              <p:txBody>
                <a:bodyPr spcFirstLastPara="1" wrap="square" lIns="91425" tIns="91425" rIns="91425" bIns="91425" anchor="ctr" anchorCtr="0">
                  <a:noAutofit/>
                </a:bodyPr>
                <a:lstStyle/>
                <a:p>
                  <a:endParaRPr/>
                </a:p>
              </p:txBody>
            </p:sp>
            <p:sp>
              <p:nvSpPr>
                <p:cNvPr id="24" name="Google Shape;4935;p58">
                  <a:extLst>
                    <a:ext uri="{FF2B5EF4-FFF2-40B4-BE49-F238E27FC236}">
                      <a16:creationId xmlns:a16="http://schemas.microsoft.com/office/drawing/2014/main" id="{CCDEB1A9-4D09-479F-A883-772A382ECE16}"/>
                    </a:ext>
                  </a:extLst>
                </p:cNvPr>
                <p:cNvSpPr/>
                <p:nvPr/>
              </p:nvSpPr>
              <p:spPr>
                <a:xfrm>
                  <a:off x="3767509" y="1703423"/>
                  <a:ext cx="174747" cy="10663"/>
                </a:xfrm>
                <a:custGeom>
                  <a:avLst/>
                  <a:gdLst/>
                  <a:ahLst/>
                  <a:cxnLst/>
                  <a:rect l="l" t="t" r="r" b="b"/>
                  <a:pathLst>
                    <a:path w="5490" h="335" extrusionOk="0">
                      <a:moveTo>
                        <a:pt x="168" y="1"/>
                      </a:moveTo>
                      <a:cubicBezTo>
                        <a:pt x="72" y="1"/>
                        <a:pt x="1" y="72"/>
                        <a:pt x="1" y="168"/>
                      </a:cubicBezTo>
                      <a:cubicBezTo>
                        <a:pt x="1" y="251"/>
                        <a:pt x="72" y="334"/>
                        <a:pt x="168" y="334"/>
                      </a:cubicBezTo>
                      <a:lnTo>
                        <a:pt x="5335" y="334"/>
                      </a:lnTo>
                      <a:cubicBezTo>
                        <a:pt x="5418" y="334"/>
                        <a:pt x="5490" y="251"/>
                        <a:pt x="5490" y="168"/>
                      </a:cubicBezTo>
                      <a:cubicBezTo>
                        <a:pt x="5490" y="72"/>
                        <a:pt x="5418" y="1"/>
                        <a:pt x="5335" y="1"/>
                      </a:cubicBezTo>
                      <a:close/>
                    </a:path>
                  </a:pathLst>
                </a:custGeom>
                <a:grpFill/>
                <a:ln>
                  <a:noFill/>
                </a:ln>
              </p:spPr>
              <p:txBody>
                <a:bodyPr spcFirstLastPara="1" wrap="square" lIns="91425" tIns="91425" rIns="91425" bIns="91425" anchor="ctr" anchorCtr="0">
                  <a:noAutofit/>
                </a:bodyPr>
                <a:lstStyle/>
                <a:p>
                  <a:endParaRPr dirty="0"/>
                </a:p>
              </p:txBody>
            </p:sp>
            <p:sp>
              <p:nvSpPr>
                <p:cNvPr id="25" name="Google Shape;4936;p58">
                  <a:extLst>
                    <a:ext uri="{FF2B5EF4-FFF2-40B4-BE49-F238E27FC236}">
                      <a16:creationId xmlns:a16="http://schemas.microsoft.com/office/drawing/2014/main" id="{2825D392-D2CB-4D42-BE85-80C6A7A12F7B}"/>
                    </a:ext>
                  </a:extLst>
                </p:cNvPr>
                <p:cNvSpPr/>
                <p:nvPr/>
              </p:nvSpPr>
              <p:spPr>
                <a:xfrm>
                  <a:off x="3954351" y="1703423"/>
                  <a:ext cx="44371" cy="10663"/>
                </a:xfrm>
                <a:custGeom>
                  <a:avLst/>
                  <a:gdLst/>
                  <a:ahLst/>
                  <a:cxnLst/>
                  <a:rect l="l" t="t" r="r" b="b"/>
                  <a:pathLst>
                    <a:path w="1394" h="335" extrusionOk="0">
                      <a:moveTo>
                        <a:pt x="155" y="1"/>
                      </a:moveTo>
                      <a:cubicBezTo>
                        <a:pt x="72" y="1"/>
                        <a:pt x="1" y="72"/>
                        <a:pt x="1" y="168"/>
                      </a:cubicBezTo>
                      <a:cubicBezTo>
                        <a:pt x="1" y="251"/>
                        <a:pt x="72" y="334"/>
                        <a:pt x="155" y="334"/>
                      </a:cubicBezTo>
                      <a:lnTo>
                        <a:pt x="1227" y="334"/>
                      </a:lnTo>
                      <a:cubicBezTo>
                        <a:pt x="1322" y="334"/>
                        <a:pt x="1394" y="251"/>
                        <a:pt x="1394" y="168"/>
                      </a:cubicBezTo>
                      <a:cubicBezTo>
                        <a:pt x="1394" y="72"/>
                        <a:pt x="1322" y="1"/>
                        <a:pt x="1227" y="1"/>
                      </a:cubicBezTo>
                      <a:close/>
                    </a:path>
                  </a:pathLst>
                </a:custGeom>
                <a:grpFill/>
                <a:ln>
                  <a:noFill/>
                </a:ln>
              </p:spPr>
              <p:txBody>
                <a:bodyPr spcFirstLastPara="1" wrap="square" lIns="91425" tIns="91425" rIns="91425" bIns="91425" anchor="ctr" anchorCtr="0">
                  <a:noAutofit/>
                </a:bodyPr>
                <a:lstStyle/>
                <a:p>
                  <a:endParaRPr/>
                </a:p>
              </p:txBody>
            </p:sp>
          </p:grpSp>
        </p:grpSp>
      </p:grpSp>
      <p:sp>
        <p:nvSpPr>
          <p:cNvPr id="62" name="Oval 61">
            <a:extLst>
              <a:ext uri="{FF2B5EF4-FFF2-40B4-BE49-F238E27FC236}">
                <a16:creationId xmlns:a16="http://schemas.microsoft.com/office/drawing/2014/main" id="{C10F314D-6B73-4713-A25E-0C829AB7A474}"/>
              </a:ext>
            </a:extLst>
          </p:cNvPr>
          <p:cNvSpPr/>
          <p:nvPr/>
        </p:nvSpPr>
        <p:spPr>
          <a:xfrm>
            <a:off x="6706592" y="1729584"/>
            <a:ext cx="1071255" cy="1071255"/>
          </a:xfrm>
          <a:prstGeom prst="ellipse">
            <a:avLst/>
          </a:prstGeom>
          <a:solidFill>
            <a:schemeClr val="accent5"/>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0" bIns="45720" numCol="1" spcCol="0" rtlCol="0" fromWordArt="0" anchor="t" anchorCtr="0" forceAA="0" compatLnSpc="1">
            <a:prstTxWarp prst="textNoShape">
              <a:avLst/>
            </a:prstTxWarp>
            <a:noAutofit/>
          </a:bodyPr>
          <a:lstStyle/>
          <a:p>
            <a:endParaRPr lang="en-US" sz="1000" dirty="0">
              <a:solidFill>
                <a:schemeClr val="tx1"/>
              </a:solidFill>
            </a:endParaRPr>
          </a:p>
        </p:txBody>
      </p:sp>
      <p:sp>
        <p:nvSpPr>
          <p:cNvPr id="46" name="Google Shape;2224;p54">
            <a:extLst>
              <a:ext uri="{FF2B5EF4-FFF2-40B4-BE49-F238E27FC236}">
                <a16:creationId xmlns:a16="http://schemas.microsoft.com/office/drawing/2014/main" id="{D40D5AD5-DBE0-4438-90A3-48B8F7CF3028}"/>
              </a:ext>
            </a:extLst>
          </p:cNvPr>
          <p:cNvSpPr/>
          <p:nvPr/>
        </p:nvSpPr>
        <p:spPr>
          <a:xfrm>
            <a:off x="4330052" y="1998937"/>
            <a:ext cx="482005" cy="505368"/>
          </a:xfrm>
          <a:custGeom>
            <a:avLst/>
            <a:gdLst/>
            <a:ahLst/>
            <a:cxnLst/>
            <a:rect l="l" t="t" r="r" b="b"/>
            <a:pathLst>
              <a:path w="13038" h="11907" extrusionOk="0">
                <a:moveTo>
                  <a:pt x="6632" y="369"/>
                </a:moveTo>
                <a:cubicBezTo>
                  <a:pt x="6680" y="369"/>
                  <a:pt x="6704" y="405"/>
                  <a:pt x="6704" y="441"/>
                </a:cubicBezTo>
                <a:lnTo>
                  <a:pt x="6704" y="881"/>
                </a:lnTo>
                <a:cubicBezTo>
                  <a:pt x="6644" y="864"/>
                  <a:pt x="6582" y="855"/>
                  <a:pt x="6519" y="855"/>
                </a:cubicBezTo>
                <a:cubicBezTo>
                  <a:pt x="6457" y="855"/>
                  <a:pt x="6394" y="864"/>
                  <a:pt x="6335" y="881"/>
                </a:cubicBezTo>
                <a:lnTo>
                  <a:pt x="6335" y="441"/>
                </a:lnTo>
                <a:lnTo>
                  <a:pt x="6323" y="441"/>
                </a:lnTo>
                <a:cubicBezTo>
                  <a:pt x="6323" y="405"/>
                  <a:pt x="6347" y="369"/>
                  <a:pt x="6394" y="369"/>
                </a:cubicBezTo>
                <a:close/>
                <a:moveTo>
                  <a:pt x="6501" y="1251"/>
                </a:moveTo>
                <a:cubicBezTo>
                  <a:pt x="7061" y="1251"/>
                  <a:pt x="7275" y="2013"/>
                  <a:pt x="6763" y="2286"/>
                </a:cubicBezTo>
                <a:cubicBezTo>
                  <a:pt x="6692" y="2322"/>
                  <a:pt x="6585" y="2346"/>
                  <a:pt x="6501" y="2346"/>
                </a:cubicBezTo>
                <a:cubicBezTo>
                  <a:pt x="6204" y="2346"/>
                  <a:pt x="5954" y="2096"/>
                  <a:pt x="5954" y="1798"/>
                </a:cubicBezTo>
                <a:cubicBezTo>
                  <a:pt x="5954" y="1489"/>
                  <a:pt x="6204" y="1251"/>
                  <a:pt x="6501" y="1251"/>
                </a:cubicBezTo>
                <a:close/>
                <a:moveTo>
                  <a:pt x="2382" y="2429"/>
                </a:moveTo>
                <a:cubicBezTo>
                  <a:pt x="2560" y="2429"/>
                  <a:pt x="2703" y="2572"/>
                  <a:pt x="2703" y="2751"/>
                </a:cubicBezTo>
                <a:cubicBezTo>
                  <a:pt x="2703" y="2929"/>
                  <a:pt x="2560" y="3084"/>
                  <a:pt x="2382" y="3084"/>
                </a:cubicBezTo>
                <a:cubicBezTo>
                  <a:pt x="2215" y="3084"/>
                  <a:pt x="2048" y="2941"/>
                  <a:pt x="2048" y="2751"/>
                </a:cubicBezTo>
                <a:cubicBezTo>
                  <a:pt x="2048" y="2560"/>
                  <a:pt x="2203" y="2429"/>
                  <a:pt x="2382" y="2429"/>
                </a:cubicBezTo>
                <a:close/>
                <a:moveTo>
                  <a:pt x="10657" y="2429"/>
                </a:moveTo>
                <a:cubicBezTo>
                  <a:pt x="10835" y="2429"/>
                  <a:pt x="10978" y="2572"/>
                  <a:pt x="10978" y="2751"/>
                </a:cubicBezTo>
                <a:cubicBezTo>
                  <a:pt x="10978" y="2929"/>
                  <a:pt x="10835" y="3084"/>
                  <a:pt x="10657" y="3084"/>
                </a:cubicBezTo>
                <a:cubicBezTo>
                  <a:pt x="10478" y="3084"/>
                  <a:pt x="10323" y="2941"/>
                  <a:pt x="10323" y="2751"/>
                </a:cubicBezTo>
                <a:cubicBezTo>
                  <a:pt x="10323" y="2560"/>
                  <a:pt x="10478" y="2429"/>
                  <a:pt x="10657" y="2429"/>
                </a:cubicBezTo>
                <a:close/>
                <a:moveTo>
                  <a:pt x="2477" y="3441"/>
                </a:moveTo>
                <a:lnTo>
                  <a:pt x="3715" y="6025"/>
                </a:lnTo>
                <a:lnTo>
                  <a:pt x="1024" y="6025"/>
                </a:lnTo>
                <a:lnTo>
                  <a:pt x="2239" y="3441"/>
                </a:lnTo>
                <a:cubicBezTo>
                  <a:pt x="2275" y="3447"/>
                  <a:pt x="2316" y="3450"/>
                  <a:pt x="2358" y="3450"/>
                </a:cubicBezTo>
                <a:cubicBezTo>
                  <a:pt x="2400" y="3450"/>
                  <a:pt x="2441" y="3447"/>
                  <a:pt x="2477" y="3441"/>
                </a:cubicBezTo>
                <a:close/>
                <a:moveTo>
                  <a:pt x="10776" y="3441"/>
                </a:moveTo>
                <a:lnTo>
                  <a:pt x="11990" y="6025"/>
                </a:lnTo>
                <a:lnTo>
                  <a:pt x="9299" y="6025"/>
                </a:lnTo>
                <a:lnTo>
                  <a:pt x="10538" y="3441"/>
                </a:lnTo>
                <a:cubicBezTo>
                  <a:pt x="10573" y="3447"/>
                  <a:pt x="10612" y="3450"/>
                  <a:pt x="10652" y="3450"/>
                </a:cubicBezTo>
                <a:cubicBezTo>
                  <a:pt x="10692" y="3450"/>
                  <a:pt x="10734" y="3447"/>
                  <a:pt x="10776" y="3441"/>
                </a:cubicBezTo>
                <a:close/>
                <a:moveTo>
                  <a:pt x="4251" y="6418"/>
                </a:moveTo>
                <a:cubicBezTo>
                  <a:pt x="4322" y="6418"/>
                  <a:pt x="4382" y="6477"/>
                  <a:pt x="4382" y="6549"/>
                </a:cubicBezTo>
                <a:lnTo>
                  <a:pt x="4382" y="6668"/>
                </a:lnTo>
                <a:cubicBezTo>
                  <a:pt x="4382" y="6739"/>
                  <a:pt x="4322" y="6799"/>
                  <a:pt x="4251" y="6799"/>
                </a:cubicBezTo>
                <a:lnTo>
                  <a:pt x="501" y="6799"/>
                </a:lnTo>
                <a:cubicBezTo>
                  <a:pt x="429" y="6799"/>
                  <a:pt x="370" y="6739"/>
                  <a:pt x="370" y="6668"/>
                </a:cubicBezTo>
                <a:lnTo>
                  <a:pt x="370" y="6549"/>
                </a:lnTo>
                <a:cubicBezTo>
                  <a:pt x="370" y="6477"/>
                  <a:pt x="429" y="6418"/>
                  <a:pt x="501" y="6418"/>
                </a:cubicBezTo>
                <a:close/>
                <a:moveTo>
                  <a:pt x="12526" y="6418"/>
                </a:moveTo>
                <a:cubicBezTo>
                  <a:pt x="12597" y="6418"/>
                  <a:pt x="12657" y="6477"/>
                  <a:pt x="12657" y="6549"/>
                </a:cubicBezTo>
                <a:lnTo>
                  <a:pt x="12657" y="6668"/>
                </a:lnTo>
                <a:cubicBezTo>
                  <a:pt x="12657" y="6739"/>
                  <a:pt x="12597" y="6799"/>
                  <a:pt x="12526" y="6799"/>
                </a:cubicBezTo>
                <a:lnTo>
                  <a:pt x="8775" y="6799"/>
                </a:lnTo>
                <a:cubicBezTo>
                  <a:pt x="8704" y="6799"/>
                  <a:pt x="8644" y="6739"/>
                  <a:pt x="8644" y="6668"/>
                </a:cubicBezTo>
                <a:lnTo>
                  <a:pt x="8644" y="6549"/>
                </a:lnTo>
                <a:cubicBezTo>
                  <a:pt x="8644" y="6477"/>
                  <a:pt x="8704" y="6418"/>
                  <a:pt x="8775" y="6418"/>
                </a:cubicBezTo>
                <a:close/>
                <a:moveTo>
                  <a:pt x="3715" y="7168"/>
                </a:moveTo>
                <a:cubicBezTo>
                  <a:pt x="3525" y="7787"/>
                  <a:pt x="2953" y="8228"/>
                  <a:pt x="2298" y="8228"/>
                </a:cubicBezTo>
                <a:cubicBezTo>
                  <a:pt x="1644" y="8228"/>
                  <a:pt x="1084" y="7799"/>
                  <a:pt x="905" y="7168"/>
                </a:cubicBezTo>
                <a:close/>
                <a:moveTo>
                  <a:pt x="12145" y="7168"/>
                </a:moveTo>
                <a:cubicBezTo>
                  <a:pt x="11942" y="7787"/>
                  <a:pt x="11383" y="8228"/>
                  <a:pt x="10728" y="8228"/>
                </a:cubicBezTo>
                <a:cubicBezTo>
                  <a:pt x="10073" y="8228"/>
                  <a:pt x="9502" y="7799"/>
                  <a:pt x="9323" y="7168"/>
                </a:cubicBezTo>
                <a:close/>
                <a:moveTo>
                  <a:pt x="7942" y="10371"/>
                </a:moveTo>
                <a:cubicBezTo>
                  <a:pt x="8013" y="10371"/>
                  <a:pt x="8073" y="10430"/>
                  <a:pt x="8073" y="10502"/>
                </a:cubicBezTo>
                <a:lnTo>
                  <a:pt x="8073" y="10764"/>
                </a:lnTo>
                <a:lnTo>
                  <a:pt x="4918" y="10764"/>
                </a:lnTo>
                <a:lnTo>
                  <a:pt x="4918" y="10502"/>
                </a:lnTo>
                <a:cubicBezTo>
                  <a:pt x="4918" y="10430"/>
                  <a:pt x="4977" y="10371"/>
                  <a:pt x="5049" y="10371"/>
                </a:cubicBezTo>
                <a:close/>
                <a:moveTo>
                  <a:pt x="6382" y="0"/>
                </a:moveTo>
                <a:cubicBezTo>
                  <a:pt x="6132" y="0"/>
                  <a:pt x="5930" y="203"/>
                  <a:pt x="5930" y="441"/>
                </a:cubicBezTo>
                <a:lnTo>
                  <a:pt x="5930" y="1060"/>
                </a:lnTo>
                <a:cubicBezTo>
                  <a:pt x="5692" y="1251"/>
                  <a:pt x="5549" y="1536"/>
                  <a:pt x="5561" y="1858"/>
                </a:cubicBezTo>
                <a:lnTo>
                  <a:pt x="3703" y="2370"/>
                </a:lnTo>
                <a:cubicBezTo>
                  <a:pt x="3477" y="2429"/>
                  <a:pt x="3251" y="2465"/>
                  <a:pt x="3037" y="2501"/>
                </a:cubicBezTo>
                <a:cubicBezTo>
                  <a:pt x="2929" y="2227"/>
                  <a:pt x="2679" y="2036"/>
                  <a:pt x="2382" y="2036"/>
                </a:cubicBezTo>
                <a:cubicBezTo>
                  <a:pt x="1989" y="2036"/>
                  <a:pt x="1679" y="2346"/>
                  <a:pt x="1679" y="2739"/>
                </a:cubicBezTo>
                <a:cubicBezTo>
                  <a:pt x="1679" y="2941"/>
                  <a:pt x="1763" y="3132"/>
                  <a:pt x="1917" y="3275"/>
                </a:cubicBezTo>
                <a:lnTo>
                  <a:pt x="608" y="6025"/>
                </a:lnTo>
                <a:lnTo>
                  <a:pt x="501" y="6025"/>
                </a:lnTo>
                <a:cubicBezTo>
                  <a:pt x="215" y="6025"/>
                  <a:pt x="1" y="6251"/>
                  <a:pt x="1" y="6525"/>
                </a:cubicBezTo>
                <a:lnTo>
                  <a:pt x="1" y="6644"/>
                </a:lnTo>
                <a:cubicBezTo>
                  <a:pt x="1" y="6930"/>
                  <a:pt x="215" y="7156"/>
                  <a:pt x="501" y="7156"/>
                </a:cubicBezTo>
                <a:cubicBezTo>
                  <a:pt x="691" y="7989"/>
                  <a:pt x="1441" y="8585"/>
                  <a:pt x="2298" y="8585"/>
                </a:cubicBezTo>
                <a:cubicBezTo>
                  <a:pt x="3168" y="8585"/>
                  <a:pt x="3906" y="7978"/>
                  <a:pt x="4108" y="7156"/>
                </a:cubicBezTo>
                <a:lnTo>
                  <a:pt x="4251" y="7156"/>
                </a:lnTo>
                <a:cubicBezTo>
                  <a:pt x="4537" y="7156"/>
                  <a:pt x="4763" y="6930"/>
                  <a:pt x="4763" y="6644"/>
                </a:cubicBezTo>
                <a:lnTo>
                  <a:pt x="4763" y="6525"/>
                </a:lnTo>
                <a:cubicBezTo>
                  <a:pt x="4763" y="6251"/>
                  <a:pt x="4537" y="6025"/>
                  <a:pt x="4251" y="6025"/>
                </a:cubicBezTo>
                <a:lnTo>
                  <a:pt x="4144" y="6025"/>
                </a:lnTo>
                <a:lnTo>
                  <a:pt x="2834" y="3275"/>
                </a:lnTo>
                <a:cubicBezTo>
                  <a:pt x="2953" y="3167"/>
                  <a:pt x="3037" y="3036"/>
                  <a:pt x="3060" y="2870"/>
                </a:cubicBezTo>
                <a:cubicBezTo>
                  <a:pt x="3310" y="2846"/>
                  <a:pt x="3549" y="2798"/>
                  <a:pt x="3787" y="2727"/>
                </a:cubicBezTo>
                <a:lnTo>
                  <a:pt x="5656" y="2215"/>
                </a:lnTo>
                <a:cubicBezTo>
                  <a:pt x="5716" y="2346"/>
                  <a:pt x="5811" y="2453"/>
                  <a:pt x="5918" y="2548"/>
                </a:cubicBezTo>
                <a:lnTo>
                  <a:pt x="5918" y="10002"/>
                </a:lnTo>
                <a:lnTo>
                  <a:pt x="5037" y="10002"/>
                </a:lnTo>
                <a:cubicBezTo>
                  <a:pt x="4763" y="10002"/>
                  <a:pt x="4537" y="10228"/>
                  <a:pt x="4537" y="10502"/>
                </a:cubicBezTo>
                <a:lnTo>
                  <a:pt x="4537" y="10776"/>
                </a:lnTo>
                <a:cubicBezTo>
                  <a:pt x="4299" y="10823"/>
                  <a:pt x="4120" y="11026"/>
                  <a:pt x="4120" y="11276"/>
                </a:cubicBezTo>
                <a:lnTo>
                  <a:pt x="4120" y="11395"/>
                </a:lnTo>
                <a:cubicBezTo>
                  <a:pt x="4120" y="11680"/>
                  <a:pt x="4346" y="11907"/>
                  <a:pt x="4620" y="11907"/>
                </a:cubicBezTo>
                <a:lnTo>
                  <a:pt x="6049" y="11907"/>
                </a:lnTo>
                <a:cubicBezTo>
                  <a:pt x="6156" y="11907"/>
                  <a:pt x="6251" y="11811"/>
                  <a:pt x="6251" y="11704"/>
                </a:cubicBezTo>
                <a:cubicBezTo>
                  <a:pt x="6251" y="11609"/>
                  <a:pt x="6156" y="11514"/>
                  <a:pt x="6049" y="11514"/>
                </a:cubicBezTo>
                <a:lnTo>
                  <a:pt x="4620" y="11514"/>
                </a:lnTo>
                <a:cubicBezTo>
                  <a:pt x="4549" y="11514"/>
                  <a:pt x="4489" y="11454"/>
                  <a:pt x="4489" y="11383"/>
                </a:cubicBezTo>
                <a:lnTo>
                  <a:pt x="4489" y="11264"/>
                </a:lnTo>
                <a:cubicBezTo>
                  <a:pt x="4489" y="11192"/>
                  <a:pt x="4549" y="11133"/>
                  <a:pt x="4620" y="11133"/>
                </a:cubicBezTo>
                <a:lnTo>
                  <a:pt x="8371" y="11133"/>
                </a:lnTo>
                <a:cubicBezTo>
                  <a:pt x="8454" y="11133"/>
                  <a:pt x="8513" y="11192"/>
                  <a:pt x="8513" y="11264"/>
                </a:cubicBezTo>
                <a:lnTo>
                  <a:pt x="8513" y="11383"/>
                </a:lnTo>
                <a:cubicBezTo>
                  <a:pt x="8513" y="11454"/>
                  <a:pt x="8454" y="11514"/>
                  <a:pt x="8371" y="11514"/>
                </a:cubicBezTo>
                <a:lnTo>
                  <a:pt x="6930" y="11514"/>
                </a:lnTo>
                <a:cubicBezTo>
                  <a:pt x="6823" y="11514"/>
                  <a:pt x="6739" y="11609"/>
                  <a:pt x="6739" y="11704"/>
                </a:cubicBezTo>
                <a:cubicBezTo>
                  <a:pt x="6739" y="11811"/>
                  <a:pt x="6823" y="11907"/>
                  <a:pt x="6930" y="11907"/>
                </a:cubicBezTo>
                <a:lnTo>
                  <a:pt x="8371" y="11907"/>
                </a:lnTo>
                <a:cubicBezTo>
                  <a:pt x="8656" y="11907"/>
                  <a:pt x="8883" y="11680"/>
                  <a:pt x="8883" y="11395"/>
                </a:cubicBezTo>
                <a:lnTo>
                  <a:pt x="8883" y="11276"/>
                </a:lnTo>
                <a:cubicBezTo>
                  <a:pt x="8883" y="11026"/>
                  <a:pt x="8692" y="10799"/>
                  <a:pt x="8454" y="10776"/>
                </a:cubicBezTo>
                <a:lnTo>
                  <a:pt x="8454" y="10502"/>
                </a:lnTo>
                <a:cubicBezTo>
                  <a:pt x="8454" y="10228"/>
                  <a:pt x="8228" y="10002"/>
                  <a:pt x="7942" y="10002"/>
                </a:cubicBezTo>
                <a:lnTo>
                  <a:pt x="7061" y="10002"/>
                </a:lnTo>
                <a:lnTo>
                  <a:pt x="7061" y="7049"/>
                </a:lnTo>
                <a:cubicBezTo>
                  <a:pt x="7061" y="6954"/>
                  <a:pt x="6978" y="6858"/>
                  <a:pt x="6870" y="6858"/>
                </a:cubicBezTo>
                <a:cubicBezTo>
                  <a:pt x="6763" y="6858"/>
                  <a:pt x="6680" y="6954"/>
                  <a:pt x="6680" y="7049"/>
                </a:cubicBezTo>
                <a:lnTo>
                  <a:pt x="6680" y="10002"/>
                </a:lnTo>
                <a:lnTo>
                  <a:pt x="6311" y="10002"/>
                </a:lnTo>
                <a:lnTo>
                  <a:pt x="6311" y="2727"/>
                </a:lnTo>
                <a:cubicBezTo>
                  <a:pt x="6370" y="2739"/>
                  <a:pt x="6430" y="2745"/>
                  <a:pt x="6491" y="2745"/>
                </a:cubicBezTo>
                <a:cubicBezTo>
                  <a:pt x="6552" y="2745"/>
                  <a:pt x="6614" y="2739"/>
                  <a:pt x="6680" y="2727"/>
                </a:cubicBezTo>
                <a:lnTo>
                  <a:pt x="6680" y="6156"/>
                </a:lnTo>
                <a:cubicBezTo>
                  <a:pt x="6680" y="6263"/>
                  <a:pt x="6763" y="6358"/>
                  <a:pt x="6870" y="6358"/>
                </a:cubicBezTo>
                <a:cubicBezTo>
                  <a:pt x="6978" y="6358"/>
                  <a:pt x="7061" y="6263"/>
                  <a:pt x="7061" y="6156"/>
                </a:cubicBezTo>
                <a:lnTo>
                  <a:pt x="7061" y="2548"/>
                </a:lnTo>
                <a:cubicBezTo>
                  <a:pt x="7180" y="2453"/>
                  <a:pt x="7275" y="2346"/>
                  <a:pt x="7335" y="2215"/>
                </a:cubicBezTo>
                <a:lnTo>
                  <a:pt x="9228" y="2739"/>
                </a:lnTo>
                <a:cubicBezTo>
                  <a:pt x="9466" y="2798"/>
                  <a:pt x="9716" y="2858"/>
                  <a:pt x="9954" y="2882"/>
                </a:cubicBezTo>
                <a:cubicBezTo>
                  <a:pt x="9978" y="3048"/>
                  <a:pt x="10073" y="3179"/>
                  <a:pt x="10180" y="3287"/>
                </a:cubicBezTo>
                <a:lnTo>
                  <a:pt x="8871" y="6037"/>
                </a:lnTo>
                <a:lnTo>
                  <a:pt x="8764" y="6037"/>
                </a:lnTo>
                <a:cubicBezTo>
                  <a:pt x="8478" y="6037"/>
                  <a:pt x="8252" y="6263"/>
                  <a:pt x="8252" y="6549"/>
                </a:cubicBezTo>
                <a:lnTo>
                  <a:pt x="8252" y="6668"/>
                </a:lnTo>
                <a:cubicBezTo>
                  <a:pt x="8252" y="6954"/>
                  <a:pt x="8478" y="7168"/>
                  <a:pt x="8764" y="7168"/>
                </a:cubicBezTo>
                <a:lnTo>
                  <a:pt x="8906" y="7168"/>
                </a:lnTo>
                <a:cubicBezTo>
                  <a:pt x="9109" y="8001"/>
                  <a:pt x="9847" y="8597"/>
                  <a:pt x="10716" y="8597"/>
                </a:cubicBezTo>
                <a:cubicBezTo>
                  <a:pt x="11573" y="8597"/>
                  <a:pt x="12323" y="7989"/>
                  <a:pt x="12514" y="7168"/>
                </a:cubicBezTo>
                <a:cubicBezTo>
                  <a:pt x="12800" y="7168"/>
                  <a:pt x="13014" y="6954"/>
                  <a:pt x="13014" y="6668"/>
                </a:cubicBezTo>
                <a:lnTo>
                  <a:pt x="13014" y="6549"/>
                </a:lnTo>
                <a:cubicBezTo>
                  <a:pt x="13038" y="6263"/>
                  <a:pt x="12812" y="6025"/>
                  <a:pt x="12526" y="6025"/>
                </a:cubicBezTo>
                <a:lnTo>
                  <a:pt x="12419" y="6025"/>
                </a:lnTo>
                <a:lnTo>
                  <a:pt x="11109" y="3275"/>
                </a:lnTo>
                <a:cubicBezTo>
                  <a:pt x="11264" y="3144"/>
                  <a:pt x="11347" y="2965"/>
                  <a:pt x="11347" y="2739"/>
                </a:cubicBezTo>
                <a:cubicBezTo>
                  <a:pt x="11347" y="2346"/>
                  <a:pt x="11038" y="2036"/>
                  <a:pt x="10657" y="2036"/>
                </a:cubicBezTo>
                <a:cubicBezTo>
                  <a:pt x="10359" y="2036"/>
                  <a:pt x="10097" y="2227"/>
                  <a:pt x="10002" y="2501"/>
                </a:cubicBezTo>
                <a:cubicBezTo>
                  <a:pt x="9776" y="2465"/>
                  <a:pt x="9549" y="2429"/>
                  <a:pt x="9323" y="2370"/>
                </a:cubicBezTo>
                <a:lnTo>
                  <a:pt x="7442" y="1846"/>
                </a:lnTo>
                <a:cubicBezTo>
                  <a:pt x="7454" y="1536"/>
                  <a:pt x="7323" y="1239"/>
                  <a:pt x="7061" y="1060"/>
                </a:cubicBezTo>
                <a:lnTo>
                  <a:pt x="7061" y="441"/>
                </a:lnTo>
                <a:cubicBezTo>
                  <a:pt x="7061" y="191"/>
                  <a:pt x="6859" y="0"/>
                  <a:pt x="6620" y="0"/>
                </a:cubicBezTo>
                <a:close/>
              </a:path>
            </a:pathLst>
          </a:custGeom>
          <a:solidFill>
            <a:schemeClr val="bg1"/>
          </a:solidFill>
          <a:ln>
            <a:noFill/>
          </a:ln>
        </p:spPr>
        <p:txBody>
          <a:bodyPr spcFirstLastPara="1" wrap="square" lIns="91425" tIns="91425" rIns="91425" bIns="91425" anchor="ctr" anchorCtr="0">
            <a:noAutofit/>
          </a:bodyPr>
          <a:lstStyle/>
          <a:p>
            <a:endParaRPr dirty="0"/>
          </a:p>
        </p:txBody>
      </p:sp>
      <p:sp>
        <p:nvSpPr>
          <p:cNvPr id="65" name="Oval 64">
            <a:extLst>
              <a:ext uri="{FF2B5EF4-FFF2-40B4-BE49-F238E27FC236}">
                <a16:creationId xmlns:a16="http://schemas.microsoft.com/office/drawing/2014/main" id="{D2D67455-A571-49ED-9534-09CF8A7F07D6}"/>
              </a:ext>
            </a:extLst>
          </p:cNvPr>
          <p:cNvSpPr/>
          <p:nvPr/>
        </p:nvSpPr>
        <p:spPr>
          <a:xfrm>
            <a:off x="1360959" y="1753158"/>
            <a:ext cx="1071255" cy="1071255"/>
          </a:xfrm>
          <a:prstGeom prst="ellipse">
            <a:avLst/>
          </a:prstGeom>
          <a:solidFill>
            <a:schemeClr val="accent5"/>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80000" rIns="0" bIns="45720" numCol="1" spcCol="0" rtlCol="0" fromWordArt="0" anchor="t" anchorCtr="0" forceAA="0" compatLnSpc="1">
            <a:prstTxWarp prst="textNoShape">
              <a:avLst/>
            </a:prstTxWarp>
            <a:noAutofit/>
          </a:bodyPr>
          <a:lstStyle/>
          <a:p>
            <a:endParaRPr lang="en-US" sz="1000" dirty="0">
              <a:solidFill>
                <a:schemeClr val="tx1"/>
              </a:solidFill>
            </a:endParaRPr>
          </a:p>
        </p:txBody>
      </p:sp>
      <p:grpSp>
        <p:nvGrpSpPr>
          <p:cNvPr id="83" name="Google Shape;1467;p52">
            <a:extLst>
              <a:ext uri="{FF2B5EF4-FFF2-40B4-BE49-F238E27FC236}">
                <a16:creationId xmlns:a16="http://schemas.microsoft.com/office/drawing/2014/main" id="{00E8EE0B-A27E-4E77-AA4E-2E4372F8912D}"/>
              </a:ext>
            </a:extLst>
          </p:cNvPr>
          <p:cNvGrpSpPr/>
          <p:nvPr/>
        </p:nvGrpSpPr>
        <p:grpSpPr>
          <a:xfrm>
            <a:off x="1742822" y="2046952"/>
            <a:ext cx="309006" cy="490606"/>
            <a:chOff x="3149110" y="3735868"/>
            <a:chExt cx="141056" cy="245022"/>
          </a:xfrm>
          <a:solidFill>
            <a:schemeClr val="bg1"/>
          </a:solidFill>
        </p:grpSpPr>
        <p:sp>
          <p:nvSpPr>
            <p:cNvPr id="85" name="Google Shape;1469;p52">
              <a:extLst>
                <a:ext uri="{FF2B5EF4-FFF2-40B4-BE49-F238E27FC236}">
                  <a16:creationId xmlns:a16="http://schemas.microsoft.com/office/drawing/2014/main" id="{881A8A14-CE45-47C7-9DD8-BF026CB08E20}"/>
                </a:ext>
              </a:extLst>
            </p:cNvPr>
            <p:cNvSpPr/>
            <p:nvPr/>
          </p:nvSpPr>
          <p:spPr>
            <a:xfrm>
              <a:off x="3183120" y="3921508"/>
              <a:ext cx="59414" cy="59382"/>
            </a:xfrm>
            <a:custGeom>
              <a:avLst/>
              <a:gdLst/>
              <a:ahLst/>
              <a:cxnLst/>
              <a:rect l="l" t="t" r="r" b="b"/>
              <a:pathLst>
                <a:path w="1871" h="1870" extrusionOk="0">
                  <a:moveTo>
                    <a:pt x="929" y="334"/>
                  </a:moveTo>
                  <a:cubicBezTo>
                    <a:pt x="1263" y="334"/>
                    <a:pt x="1549" y="608"/>
                    <a:pt x="1549" y="941"/>
                  </a:cubicBezTo>
                  <a:cubicBezTo>
                    <a:pt x="1549" y="1263"/>
                    <a:pt x="1263" y="1548"/>
                    <a:pt x="929" y="1548"/>
                  </a:cubicBezTo>
                  <a:cubicBezTo>
                    <a:pt x="608" y="1548"/>
                    <a:pt x="334" y="1287"/>
                    <a:pt x="334" y="941"/>
                  </a:cubicBezTo>
                  <a:cubicBezTo>
                    <a:pt x="334" y="596"/>
                    <a:pt x="608" y="334"/>
                    <a:pt x="929" y="334"/>
                  </a:cubicBezTo>
                  <a:close/>
                  <a:moveTo>
                    <a:pt x="929" y="1"/>
                  </a:moveTo>
                  <a:cubicBezTo>
                    <a:pt x="429" y="1"/>
                    <a:pt x="1" y="417"/>
                    <a:pt x="1" y="941"/>
                  </a:cubicBezTo>
                  <a:cubicBezTo>
                    <a:pt x="1" y="1453"/>
                    <a:pt x="417" y="1870"/>
                    <a:pt x="929" y="1870"/>
                  </a:cubicBezTo>
                  <a:cubicBezTo>
                    <a:pt x="1191" y="1870"/>
                    <a:pt x="1430" y="1775"/>
                    <a:pt x="1608" y="1596"/>
                  </a:cubicBezTo>
                  <a:cubicBezTo>
                    <a:pt x="1787" y="1417"/>
                    <a:pt x="1870" y="1179"/>
                    <a:pt x="1870" y="941"/>
                  </a:cubicBezTo>
                  <a:cubicBezTo>
                    <a:pt x="1870" y="679"/>
                    <a:pt x="1763" y="453"/>
                    <a:pt x="1584" y="263"/>
                  </a:cubicBezTo>
                  <a:cubicBezTo>
                    <a:pt x="1406" y="108"/>
                    <a:pt x="1191" y="1"/>
                    <a:pt x="929" y="1"/>
                  </a:cubicBezTo>
                  <a:close/>
                </a:path>
              </a:pathLst>
            </a:custGeom>
            <a:grpFill/>
            <a:ln>
              <a:noFill/>
            </a:ln>
          </p:spPr>
          <p:txBody>
            <a:bodyPr spcFirstLastPara="1" wrap="square" lIns="91425" tIns="91425" rIns="91425" bIns="91425" anchor="ctr" anchorCtr="0">
              <a:noAutofit/>
            </a:bodyPr>
            <a:lstStyle/>
            <a:p>
              <a:endParaRPr/>
            </a:p>
          </p:txBody>
        </p:sp>
        <p:sp>
          <p:nvSpPr>
            <p:cNvPr id="86" name="Google Shape;1470;p52">
              <a:extLst>
                <a:ext uri="{FF2B5EF4-FFF2-40B4-BE49-F238E27FC236}">
                  <a16:creationId xmlns:a16="http://schemas.microsoft.com/office/drawing/2014/main" id="{B30F01B5-06CC-45B5-B4A1-DD51F3FF5D13}"/>
                </a:ext>
              </a:extLst>
            </p:cNvPr>
            <p:cNvSpPr/>
            <p:nvPr/>
          </p:nvSpPr>
          <p:spPr>
            <a:xfrm>
              <a:off x="3149110" y="3735868"/>
              <a:ext cx="141056" cy="174716"/>
            </a:xfrm>
            <a:custGeom>
              <a:avLst/>
              <a:gdLst/>
              <a:ahLst/>
              <a:cxnLst/>
              <a:rect l="l" t="t" r="r" b="b"/>
              <a:pathLst>
                <a:path w="4442" h="5502" extrusionOk="0">
                  <a:moveTo>
                    <a:pt x="2143" y="1"/>
                  </a:moveTo>
                  <a:cubicBezTo>
                    <a:pt x="1322" y="1"/>
                    <a:pt x="810" y="286"/>
                    <a:pt x="536" y="501"/>
                  </a:cubicBezTo>
                  <a:cubicBezTo>
                    <a:pt x="191" y="786"/>
                    <a:pt x="0" y="1156"/>
                    <a:pt x="0" y="1513"/>
                  </a:cubicBezTo>
                  <a:cubicBezTo>
                    <a:pt x="0" y="1739"/>
                    <a:pt x="84" y="1941"/>
                    <a:pt x="262" y="2084"/>
                  </a:cubicBezTo>
                  <a:cubicBezTo>
                    <a:pt x="393" y="2203"/>
                    <a:pt x="596" y="2263"/>
                    <a:pt x="774" y="2263"/>
                  </a:cubicBezTo>
                  <a:cubicBezTo>
                    <a:pt x="1084" y="2263"/>
                    <a:pt x="1227" y="2049"/>
                    <a:pt x="1334" y="1894"/>
                  </a:cubicBezTo>
                  <a:cubicBezTo>
                    <a:pt x="1465" y="1679"/>
                    <a:pt x="1596" y="1489"/>
                    <a:pt x="2108" y="1489"/>
                  </a:cubicBezTo>
                  <a:cubicBezTo>
                    <a:pt x="2286" y="1489"/>
                    <a:pt x="2858" y="1525"/>
                    <a:pt x="2858" y="2001"/>
                  </a:cubicBezTo>
                  <a:cubicBezTo>
                    <a:pt x="2858" y="2358"/>
                    <a:pt x="2512" y="2632"/>
                    <a:pt x="2227" y="2858"/>
                  </a:cubicBezTo>
                  <a:cubicBezTo>
                    <a:pt x="2155" y="2918"/>
                    <a:pt x="2072" y="2965"/>
                    <a:pt x="2024" y="3025"/>
                  </a:cubicBezTo>
                  <a:cubicBezTo>
                    <a:pt x="1679" y="3323"/>
                    <a:pt x="1286" y="3763"/>
                    <a:pt x="1286" y="4668"/>
                  </a:cubicBezTo>
                  <a:cubicBezTo>
                    <a:pt x="1286" y="5180"/>
                    <a:pt x="1405" y="5501"/>
                    <a:pt x="2000" y="5501"/>
                  </a:cubicBezTo>
                  <a:cubicBezTo>
                    <a:pt x="2274" y="5501"/>
                    <a:pt x="2465" y="5442"/>
                    <a:pt x="2596" y="5323"/>
                  </a:cubicBezTo>
                  <a:cubicBezTo>
                    <a:pt x="2703" y="5216"/>
                    <a:pt x="2762" y="5085"/>
                    <a:pt x="2762" y="4918"/>
                  </a:cubicBezTo>
                  <a:cubicBezTo>
                    <a:pt x="2762" y="4430"/>
                    <a:pt x="2762" y="4192"/>
                    <a:pt x="3263" y="3787"/>
                  </a:cubicBezTo>
                  <a:lnTo>
                    <a:pt x="3286" y="3787"/>
                  </a:lnTo>
                  <a:cubicBezTo>
                    <a:pt x="3298" y="3775"/>
                    <a:pt x="3322" y="3763"/>
                    <a:pt x="3358" y="3727"/>
                  </a:cubicBezTo>
                  <a:cubicBezTo>
                    <a:pt x="3429" y="3680"/>
                    <a:pt x="3453" y="3573"/>
                    <a:pt x="3393" y="3489"/>
                  </a:cubicBezTo>
                  <a:cubicBezTo>
                    <a:pt x="3360" y="3449"/>
                    <a:pt x="3311" y="3427"/>
                    <a:pt x="3261" y="3427"/>
                  </a:cubicBezTo>
                  <a:cubicBezTo>
                    <a:pt x="3224" y="3427"/>
                    <a:pt x="3186" y="3440"/>
                    <a:pt x="3155" y="3465"/>
                  </a:cubicBezTo>
                  <a:cubicBezTo>
                    <a:pt x="3120" y="3477"/>
                    <a:pt x="3108" y="3513"/>
                    <a:pt x="3072" y="3525"/>
                  </a:cubicBezTo>
                  <a:lnTo>
                    <a:pt x="3060" y="3525"/>
                  </a:lnTo>
                  <a:cubicBezTo>
                    <a:pt x="2465" y="3989"/>
                    <a:pt x="2429" y="4346"/>
                    <a:pt x="2429" y="4906"/>
                  </a:cubicBezTo>
                  <a:cubicBezTo>
                    <a:pt x="2429" y="4977"/>
                    <a:pt x="2429" y="5156"/>
                    <a:pt x="2000" y="5156"/>
                  </a:cubicBezTo>
                  <a:cubicBezTo>
                    <a:pt x="1798" y="5156"/>
                    <a:pt x="1739" y="5120"/>
                    <a:pt x="1703" y="5085"/>
                  </a:cubicBezTo>
                  <a:cubicBezTo>
                    <a:pt x="1643" y="5025"/>
                    <a:pt x="1619" y="4882"/>
                    <a:pt x="1619" y="4656"/>
                  </a:cubicBezTo>
                  <a:cubicBezTo>
                    <a:pt x="1619" y="3882"/>
                    <a:pt x="1929" y="3513"/>
                    <a:pt x="2227" y="3251"/>
                  </a:cubicBezTo>
                  <a:cubicBezTo>
                    <a:pt x="2286" y="3215"/>
                    <a:pt x="2346" y="3156"/>
                    <a:pt x="2417" y="3108"/>
                  </a:cubicBezTo>
                  <a:cubicBezTo>
                    <a:pt x="2762" y="2858"/>
                    <a:pt x="3179" y="2525"/>
                    <a:pt x="3179" y="1989"/>
                  </a:cubicBezTo>
                  <a:cubicBezTo>
                    <a:pt x="3179" y="1465"/>
                    <a:pt x="2762" y="1144"/>
                    <a:pt x="2108" y="1144"/>
                  </a:cubicBezTo>
                  <a:cubicBezTo>
                    <a:pt x="1417" y="1144"/>
                    <a:pt x="1215" y="1453"/>
                    <a:pt x="1048" y="1691"/>
                  </a:cubicBezTo>
                  <a:cubicBezTo>
                    <a:pt x="941" y="1858"/>
                    <a:pt x="881" y="1918"/>
                    <a:pt x="750" y="1918"/>
                  </a:cubicBezTo>
                  <a:cubicBezTo>
                    <a:pt x="572" y="1918"/>
                    <a:pt x="322" y="1810"/>
                    <a:pt x="322" y="1513"/>
                  </a:cubicBezTo>
                  <a:cubicBezTo>
                    <a:pt x="322" y="1322"/>
                    <a:pt x="429" y="1025"/>
                    <a:pt x="738" y="775"/>
                  </a:cubicBezTo>
                  <a:cubicBezTo>
                    <a:pt x="977" y="572"/>
                    <a:pt x="1405" y="334"/>
                    <a:pt x="2131" y="334"/>
                  </a:cubicBezTo>
                  <a:cubicBezTo>
                    <a:pt x="3298" y="334"/>
                    <a:pt x="4120" y="953"/>
                    <a:pt x="4120" y="1822"/>
                  </a:cubicBezTo>
                  <a:cubicBezTo>
                    <a:pt x="4120" y="2227"/>
                    <a:pt x="3941" y="2644"/>
                    <a:pt x="3596" y="3037"/>
                  </a:cubicBezTo>
                  <a:cubicBezTo>
                    <a:pt x="3524" y="3096"/>
                    <a:pt x="3536" y="3203"/>
                    <a:pt x="3596" y="3263"/>
                  </a:cubicBezTo>
                  <a:cubicBezTo>
                    <a:pt x="3629" y="3290"/>
                    <a:pt x="3669" y="3305"/>
                    <a:pt x="3709" y="3305"/>
                  </a:cubicBezTo>
                  <a:cubicBezTo>
                    <a:pt x="3755" y="3305"/>
                    <a:pt x="3802" y="3284"/>
                    <a:pt x="3834" y="3239"/>
                  </a:cubicBezTo>
                  <a:cubicBezTo>
                    <a:pt x="4239" y="2787"/>
                    <a:pt x="4441" y="2310"/>
                    <a:pt x="4441" y="1810"/>
                  </a:cubicBezTo>
                  <a:cubicBezTo>
                    <a:pt x="4441" y="1287"/>
                    <a:pt x="4203" y="834"/>
                    <a:pt x="3786" y="501"/>
                  </a:cubicBezTo>
                  <a:cubicBezTo>
                    <a:pt x="3370" y="179"/>
                    <a:pt x="2798" y="1"/>
                    <a:pt x="2143" y="1"/>
                  </a:cubicBezTo>
                  <a:close/>
                </a:path>
              </a:pathLst>
            </a:custGeom>
            <a:grpFill/>
            <a:ln>
              <a:noFill/>
            </a:ln>
          </p:spPr>
          <p:txBody>
            <a:bodyPr spcFirstLastPara="1" wrap="square" lIns="91425" tIns="91425" rIns="91425" bIns="91425" anchor="ctr" anchorCtr="0">
              <a:noAutofit/>
            </a:bodyPr>
            <a:lstStyle/>
            <a:p>
              <a:endParaRPr/>
            </a:p>
          </p:txBody>
        </p:sp>
      </p:grpSp>
      <p:grpSp>
        <p:nvGrpSpPr>
          <p:cNvPr id="4" name="Group 3">
            <a:extLst>
              <a:ext uri="{FF2B5EF4-FFF2-40B4-BE49-F238E27FC236}">
                <a16:creationId xmlns:a16="http://schemas.microsoft.com/office/drawing/2014/main" id="{0161C0FC-0F0E-A46E-7D96-C3EAB2BE1F94}"/>
              </a:ext>
            </a:extLst>
          </p:cNvPr>
          <p:cNvGrpSpPr/>
          <p:nvPr/>
        </p:nvGrpSpPr>
        <p:grpSpPr>
          <a:xfrm>
            <a:off x="7006233" y="2040694"/>
            <a:ext cx="561402" cy="466415"/>
            <a:chOff x="2145671" y="3370274"/>
            <a:chExt cx="446005" cy="378005"/>
          </a:xfrm>
          <a:solidFill>
            <a:schemeClr val="bg1"/>
          </a:solidFill>
        </p:grpSpPr>
        <p:sp>
          <p:nvSpPr>
            <p:cNvPr id="5" name="Freeform: Shape 4">
              <a:extLst>
                <a:ext uri="{FF2B5EF4-FFF2-40B4-BE49-F238E27FC236}">
                  <a16:creationId xmlns:a16="http://schemas.microsoft.com/office/drawing/2014/main" id="{E2BED715-3AF8-50AE-D64B-A8732C4F16DF}"/>
                </a:ext>
              </a:extLst>
            </p:cNvPr>
            <p:cNvSpPr/>
            <p:nvPr/>
          </p:nvSpPr>
          <p:spPr>
            <a:xfrm>
              <a:off x="2429825" y="3559243"/>
              <a:ext cx="10472" cy="45869"/>
            </a:xfrm>
            <a:custGeom>
              <a:avLst/>
              <a:gdLst>
                <a:gd name="connsiteX0" fmla="*/ 14385 w 14385"/>
                <a:gd name="connsiteY0" fmla="*/ 44983 h 59361"/>
                <a:gd name="connsiteX1" fmla="*/ 14385 w 14385"/>
                <a:gd name="connsiteY1" fmla="*/ 0 h 59361"/>
                <a:gd name="connsiteX2" fmla="*/ 0 w 14385"/>
                <a:gd name="connsiteY2" fmla="*/ 0 h 59361"/>
                <a:gd name="connsiteX3" fmla="*/ 0 w 14385"/>
                <a:gd name="connsiteY3" fmla="*/ 59362 h 59361"/>
                <a:gd name="connsiteX4" fmla="*/ 14385 w 14385"/>
                <a:gd name="connsiteY4" fmla="*/ 44983 h 593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85" h="59361">
                  <a:moveTo>
                    <a:pt x="14385" y="44983"/>
                  </a:moveTo>
                  <a:lnTo>
                    <a:pt x="14385" y="0"/>
                  </a:lnTo>
                  <a:lnTo>
                    <a:pt x="0" y="0"/>
                  </a:lnTo>
                  <a:lnTo>
                    <a:pt x="0" y="59362"/>
                  </a:lnTo>
                  <a:lnTo>
                    <a:pt x="14385" y="44983"/>
                  </a:lnTo>
                  <a:close/>
                </a:path>
              </a:pathLst>
            </a:custGeom>
            <a:grpFill/>
            <a:ln w="7144" cap="flat">
              <a:solidFill>
                <a:schemeClr val="bg1"/>
              </a:solidFill>
              <a:prstDash val="solid"/>
              <a:miter/>
            </a:ln>
          </p:spPr>
          <p:txBody>
            <a:bodyPr rtlCol="0" anchor="ctr"/>
            <a:lstStyle/>
            <a:p>
              <a:endParaRPr lang="en-US"/>
            </a:p>
          </p:txBody>
        </p:sp>
        <p:sp>
          <p:nvSpPr>
            <p:cNvPr id="13" name="Freeform: Shape 12">
              <a:extLst>
                <a:ext uri="{FF2B5EF4-FFF2-40B4-BE49-F238E27FC236}">
                  <a16:creationId xmlns:a16="http://schemas.microsoft.com/office/drawing/2014/main" id="{904261BC-6F82-76A1-4241-61E342A815BF}"/>
                </a:ext>
              </a:extLst>
            </p:cNvPr>
            <p:cNvSpPr/>
            <p:nvPr/>
          </p:nvSpPr>
          <p:spPr>
            <a:xfrm>
              <a:off x="2450780" y="3475874"/>
              <a:ext cx="10472" cy="107000"/>
            </a:xfrm>
            <a:custGeom>
              <a:avLst/>
              <a:gdLst>
                <a:gd name="connsiteX0" fmla="*/ 14386 w 14385"/>
                <a:gd name="connsiteY0" fmla="*/ 124089 h 138474"/>
                <a:gd name="connsiteX1" fmla="*/ 14386 w 14385"/>
                <a:gd name="connsiteY1" fmla="*/ 7193 h 138474"/>
                <a:gd name="connsiteX2" fmla="*/ 7193 w 14385"/>
                <a:gd name="connsiteY2" fmla="*/ 0 h 138474"/>
                <a:gd name="connsiteX3" fmla="*/ 0 w 14385"/>
                <a:gd name="connsiteY3" fmla="*/ 7193 h 138474"/>
                <a:gd name="connsiteX4" fmla="*/ 0 w 14385"/>
                <a:gd name="connsiteY4" fmla="*/ 138475 h 13847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85" h="138474">
                  <a:moveTo>
                    <a:pt x="14386" y="124089"/>
                  </a:moveTo>
                  <a:lnTo>
                    <a:pt x="14386" y="7193"/>
                  </a:lnTo>
                  <a:cubicBezTo>
                    <a:pt x="14386" y="3220"/>
                    <a:pt x="11165" y="0"/>
                    <a:pt x="7193" y="0"/>
                  </a:cubicBezTo>
                  <a:cubicBezTo>
                    <a:pt x="3220" y="0"/>
                    <a:pt x="0" y="3220"/>
                    <a:pt x="0" y="7193"/>
                  </a:cubicBezTo>
                  <a:lnTo>
                    <a:pt x="0" y="138475"/>
                  </a:lnTo>
                  <a:close/>
                </a:path>
              </a:pathLst>
            </a:custGeom>
            <a:grpFill/>
            <a:ln w="7144" cap="flat">
              <a:solidFill>
                <a:schemeClr val="bg1"/>
              </a:solidFill>
              <a:prstDash val="solid"/>
              <a:miter/>
            </a:ln>
          </p:spPr>
          <p:txBody>
            <a:bodyPr rtlCol="0" anchor="ctr"/>
            <a:lstStyle/>
            <a:p>
              <a:endParaRPr lang="en-US"/>
            </a:p>
          </p:txBody>
        </p:sp>
        <p:sp>
          <p:nvSpPr>
            <p:cNvPr id="15" name="Freeform: Shape 14">
              <a:extLst>
                <a:ext uri="{FF2B5EF4-FFF2-40B4-BE49-F238E27FC236}">
                  <a16:creationId xmlns:a16="http://schemas.microsoft.com/office/drawing/2014/main" id="{5C48DE86-AF8A-C80B-4EA3-65F80AD2FF02}"/>
                </a:ext>
              </a:extLst>
            </p:cNvPr>
            <p:cNvSpPr/>
            <p:nvPr/>
          </p:nvSpPr>
          <p:spPr>
            <a:xfrm>
              <a:off x="2408891" y="3475874"/>
              <a:ext cx="10472" cy="151458"/>
            </a:xfrm>
            <a:custGeom>
              <a:avLst/>
              <a:gdLst>
                <a:gd name="connsiteX0" fmla="*/ 14385 w 14385"/>
                <a:gd name="connsiteY0" fmla="*/ 181624 h 196009"/>
                <a:gd name="connsiteX1" fmla="*/ 14385 w 14385"/>
                <a:gd name="connsiteY1" fmla="*/ 7193 h 196009"/>
                <a:gd name="connsiteX2" fmla="*/ 7193 w 14385"/>
                <a:gd name="connsiteY2" fmla="*/ 0 h 196009"/>
                <a:gd name="connsiteX3" fmla="*/ 0 w 14385"/>
                <a:gd name="connsiteY3" fmla="*/ 7193 h 196009"/>
                <a:gd name="connsiteX4" fmla="*/ 0 w 14385"/>
                <a:gd name="connsiteY4" fmla="*/ 196009 h 1960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85" h="196009">
                  <a:moveTo>
                    <a:pt x="14385" y="181624"/>
                  </a:moveTo>
                  <a:lnTo>
                    <a:pt x="14385" y="7193"/>
                  </a:lnTo>
                  <a:cubicBezTo>
                    <a:pt x="14385" y="3220"/>
                    <a:pt x="11165" y="0"/>
                    <a:pt x="7193" y="0"/>
                  </a:cubicBezTo>
                  <a:cubicBezTo>
                    <a:pt x="3220" y="0"/>
                    <a:pt x="0" y="3220"/>
                    <a:pt x="0" y="7193"/>
                  </a:cubicBezTo>
                  <a:lnTo>
                    <a:pt x="0" y="196009"/>
                  </a:lnTo>
                  <a:close/>
                </a:path>
              </a:pathLst>
            </a:custGeom>
            <a:grpFill/>
            <a:ln w="7144" cap="flat">
              <a:solidFill>
                <a:schemeClr val="bg1"/>
              </a:solidFill>
              <a:prstDash val="solid"/>
              <a:miter/>
            </a:ln>
          </p:spPr>
          <p:txBody>
            <a:bodyPr rtlCol="0" anchor="ctr"/>
            <a:lstStyle/>
            <a:p>
              <a:endParaRPr lang="en-US"/>
            </a:p>
          </p:txBody>
        </p:sp>
        <p:sp>
          <p:nvSpPr>
            <p:cNvPr id="17" name="Freeform: Shape 16">
              <a:extLst>
                <a:ext uri="{FF2B5EF4-FFF2-40B4-BE49-F238E27FC236}">
                  <a16:creationId xmlns:a16="http://schemas.microsoft.com/office/drawing/2014/main" id="{66950A1E-871B-E302-3D88-5849DB4431D9}"/>
                </a:ext>
              </a:extLst>
            </p:cNvPr>
            <p:cNvSpPr/>
            <p:nvPr/>
          </p:nvSpPr>
          <p:spPr>
            <a:xfrm>
              <a:off x="2337270" y="3475874"/>
              <a:ext cx="10472" cy="109807"/>
            </a:xfrm>
            <a:custGeom>
              <a:avLst/>
              <a:gdLst>
                <a:gd name="connsiteX0" fmla="*/ 14385 w 14385"/>
                <a:gd name="connsiteY0" fmla="*/ 142107 h 142106"/>
                <a:gd name="connsiteX1" fmla="*/ 14385 w 14385"/>
                <a:gd name="connsiteY1" fmla="*/ 7193 h 142106"/>
                <a:gd name="connsiteX2" fmla="*/ 7193 w 14385"/>
                <a:gd name="connsiteY2" fmla="*/ 0 h 142106"/>
                <a:gd name="connsiteX3" fmla="*/ 0 w 14385"/>
                <a:gd name="connsiteY3" fmla="*/ 7193 h 142106"/>
                <a:gd name="connsiteX4" fmla="*/ 0 w 14385"/>
                <a:gd name="connsiteY4" fmla="*/ 127721 h 1421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85" h="142106">
                  <a:moveTo>
                    <a:pt x="14385" y="142107"/>
                  </a:moveTo>
                  <a:lnTo>
                    <a:pt x="14385" y="7193"/>
                  </a:lnTo>
                  <a:cubicBezTo>
                    <a:pt x="14385" y="3220"/>
                    <a:pt x="11165" y="0"/>
                    <a:pt x="7193" y="0"/>
                  </a:cubicBezTo>
                  <a:cubicBezTo>
                    <a:pt x="3220" y="0"/>
                    <a:pt x="0" y="3220"/>
                    <a:pt x="0" y="7193"/>
                  </a:cubicBezTo>
                  <a:lnTo>
                    <a:pt x="0" y="127721"/>
                  </a:lnTo>
                  <a:close/>
                </a:path>
              </a:pathLst>
            </a:custGeom>
            <a:grpFill/>
            <a:ln w="7144" cap="flat">
              <a:solidFill>
                <a:schemeClr val="bg1"/>
              </a:solid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1CC38BB3-A7F6-8350-0D66-F1C233B5CD22}"/>
                </a:ext>
              </a:extLst>
            </p:cNvPr>
            <p:cNvSpPr/>
            <p:nvPr/>
          </p:nvSpPr>
          <p:spPr>
            <a:xfrm>
              <a:off x="2295381" y="3475874"/>
              <a:ext cx="10472" cy="99647"/>
            </a:xfrm>
            <a:custGeom>
              <a:avLst/>
              <a:gdLst>
                <a:gd name="connsiteX0" fmla="*/ 14385 w 14385"/>
                <a:gd name="connsiteY0" fmla="*/ 114573 h 128958"/>
                <a:gd name="connsiteX1" fmla="*/ 14385 w 14385"/>
                <a:gd name="connsiteY1" fmla="*/ 7193 h 128958"/>
                <a:gd name="connsiteX2" fmla="*/ 7193 w 14385"/>
                <a:gd name="connsiteY2" fmla="*/ 0 h 128958"/>
                <a:gd name="connsiteX3" fmla="*/ 0 w 14385"/>
                <a:gd name="connsiteY3" fmla="*/ 7193 h 128958"/>
                <a:gd name="connsiteX4" fmla="*/ 0 w 14385"/>
                <a:gd name="connsiteY4" fmla="*/ 128959 h 1289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85" h="128958">
                  <a:moveTo>
                    <a:pt x="14385" y="114573"/>
                  </a:moveTo>
                  <a:lnTo>
                    <a:pt x="14385" y="7193"/>
                  </a:lnTo>
                  <a:cubicBezTo>
                    <a:pt x="14385" y="3220"/>
                    <a:pt x="11165" y="0"/>
                    <a:pt x="7193" y="0"/>
                  </a:cubicBezTo>
                  <a:cubicBezTo>
                    <a:pt x="3220" y="0"/>
                    <a:pt x="0" y="3220"/>
                    <a:pt x="0" y="7193"/>
                  </a:cubicBezTo>
                  <a:lnTo>
                    <a:pt x="0" y="128959"/>
                  </a:lnTo>
                  <a:close/>
                </a:path>
              </a:pathLst>
            </a:custGeom>
            <a:grpFill/>
            <a:ln w="7144" cap="flat">
              <a:solidFill>
                <a:schemeClr val="bg1"/>
              </a:solidFill>
              <a:prstDash val="solid"/>
              <a:miter/>
            </a:ln>
          </p:spPr>
          <p:txBody>
            <a:bodyPr rtlCol="0" anchor="ctr"/>
            <a:lstStyle/>
            <a:p>
              <a:endParaRPr lang="en-US"/>
            </a:p>
          </p:txBody>
        </p:sp>
        <p:sp>
          <p:nvSpPr>
            <p:cNvPr id="27" name="Freeform: Shape 26">
              <a:extLst>
                <a:ext uri="{FF2B5EF4-FFF2-40B4-BE49-F238E27FC236}">
                  <a16:creationId xmlns:a16="http://schemas.microsoft.com/office/drawing/2014/main" id="{7B92E517-9D9F-B3D6-FDF1-DD350DF6904F}"/>
                </a:ext>
              </a:extLst>
            </p:cNvPr>
            <p:cNvSpPr/>
            <p:nvPr/>
          </p:nvSpPr>
          <p:spPr>
            <a:xfrm>
              <a:off x="2145671" y="3436968"/>
              <a:ext cx="348292" cy="124079"/>
            </a:xfrm>
            <a:custGeom>
              <a:avLst/>
              <a:gdLst>
                <a:gd name="connsiteX0" fmla="*/ 13093 w 478434"/>
                <a:gd name="connsiteY0" fmla="*/ 159808 h 160576"/>
                <a:gd name="connsiteX1" fmla="*/ 22750 w 478434"/>
                <a:gd name="connsiteY1" fmla="*/ 156613 h 160576"/>
                <a:gd name="connsiteX2" fmla="*/ 19609 w 478434"/>
                <a:gd name="connsiteY2" fmla="*/ 146984 h 160576"/>
                <a:gd name="connsiteX3" fmla="*/ 14574 w 478434"/>
                <a:gd name="connsiteY3" fmla="*/ 136058 h 160576"/>
                <a:gd name="connsiteX4" fmla="*/ 32606 w 478434"/>
                <a:gd name="connsiteY4" fmla="*/ 33604 h 160576"/>
                <a:gd name="connsiteX5" fmla="*/ 34764 w 478434"/>
                <a:gd name="connsiteY5" fmla="*/ 30080 h 160576"/>
                <a:gd name="connsiteX6" fmla="*/ 60255 w 478434"/>
                <a:gd name="connsiteY6" fmla="*/ 17601 h 160576"/>
                <a:gd name="connsiteX7" fmla="*/ 83193 w 478434"/>
                <a:gd name="connsiteY7" fmla="*/ 14385 h 160576"/>
                <a:gd name="connsiteX8" fmla="*/ 105325 w 478434"/>
                <a:gd name="connsiteY8" fmla="*/ 17572 h 160576"/>
                <a:gd name="connsiteX9" fmla="*/ 130960 w 478434"/>
                <a:gd name="connsiteY9" fmla="*/ 30087 h 160576"/>
                <a:gd name="connsiteX10" fmla="*/ 133003 w 478434"/>
                <a:gd name="connsiteY10" fmla="*/ 33194 h 160576"/>
                <a:gd name="connsiteX11" fmla="*/ 155415 w 478434"/>
                <a:gd name="connsiteY11" fmla="*/ 152378 h 160576"/>
                <a:gd name="connsiteX12" fmla="*/ 163822 w 478434"/>
                <a:gd name="connsiteY12" fmla="*/ 158105 h 160576"/>
                <a:gd name="connsiteX13" fmla="*/ 169549 w 478434"/>
                <a:gd name="connsiteY13" fmla="*/ 152378 h 160576"/>
                <a:gd name="connsiteX14" fmla="*/ 191847 w 478434"/>
                <a:gd name="connsiteY14" fmla="*/ 33619 h 160576"/>
                <a:gd name="connsiteX15" fmla="*/ 194004 w 478434"/>
                <a:gd name="connsiteY15" fmla="*/ 30087 h 160576"/>
                <a:gd name="connsiteX16" fmla="*/ 219682 w 478434"/>
                <a:gd name="connsiteY16" fmla="*/ 17557 h 160576"/>
                <a:gd name="connsiteX17" fmla="*/ 241786 w 478434"/>
                <a:gd name="connsiteY17" fmla="*/ 14385 h 160576"/>
                <a:gd name="connsiteX18" fmla="*/ 264601 w 478434"/>
                <a:gd name="connsiteY18" fmla="*/ 17572 h 160576"/>
                <a:gd name="connsiteX19" fmla="*/ 290495 w 478434"/>
                <a:gd name="connsiteY19" fmla="*/ 30253 h 160576"/>
                <a:gd name="connsiteX20" fmla="*/ 292264 w 478434"/>
                <a:gd name="connsiteY20" fmla="*/ 33000 h 160576"/>
                <a:gd name="connsiteX21" fmla="*/ 311282 w 478434"/>
                <a:gd name="connsiteY21" fmla="*/ 152184 h 160576"/>
                <a:gd name="connsiteX22" fmla="*/ 318281 w 478434"/>
                <a:gd name="connsiteY22" fmla="*/ 158240 h 160576"/>
                <a:gd name="connsiteX23" fmla="*/ 325473 w 478434"/>
                <a:gd name="connsiteY23" fmla="*/ 152378 h 160576"/>
                <a:gd name="connsiteX24" fmla="*/ 347771 w 478434"/>
                <a:gd name="connsiteY24" fmla="*/ 33619 h 160576"/>
                <a:gd name="connsiteX25" fmla="*/ 349929 w 478434"/>
                <a:gd name="connsiteY25" fmla="*/ 30087 h 160576"/>
                <a:gd name="connsiteX26" fmla="*/ 375607 w 478434"/>
                <a:gd name="connsiteY26" fmla="*/ 17557 h 160576"/>
                <a:gd name="connsiteX27" fmla="*/ 397703 w 478434"/>
                <a:gd name="connsiteY27" fmla="*/ 14385 h 160576"/>
                <a:gd name="connsiteX28" fmla="*/ 420525 w 478434"/>
                <a:gd name="connsiteY28" fmla="*/ 17572 h 160576"/>
                <a:gd name="connsiteX29" fmla="*/ 446419 w 478434"/>
                <a:gd name="connsiteY29" fmla="*/ 30253 h 160576"/>
                <a:gd name="connsiteX30" fmla="*/ 448189 w 478434"/>
                <a:gd name="connsiteY30" fmla="*/ 33022 h 160576"/>
                <a:gd name="connsiteX31" fmla="*/ 465926 w 478434"/>
                <a:gd name="connsiteY31" fmla="*/ 142035 h 160576"/>
                <a:gd name="connsiteX32" fmla="*/ 478434 w 478434"/>
                <a:gd name="connsiteY32" fmla="*/ 129469 h 160576"/>
                <a:gd name="connsiteX33" fmla="*/ 462250 w 478434"/>
                <a:gd name="connsiteY33" fmla="*/ 30087 h 160576"/>
                <a:gd name="connsiteX34" fmla="*/ 454792 w 478434"/>
                <a:gd name="connsiteY34" fmla="*/ 18543 h 160576"/>
                <a:gd name="connsiteX35" fmla="*/ 424129 w 478434"/>
                <a:gd name="connsiteY35" fmla="*/ 3611 h 160576"/>
                <a:gd name="connsiteX36" fmla="*/ 397703 w 478434"/>
                <a:gd name="connsiteY36" fmla="*/ 0 h 160576"/>
                <a:gd name="connsiteX37" fmla="*/ 371859 w 478434"/>
                <a:gd name="connsiteY37" fmla="*/ 3668 h 160576"/>
                <a:gd name="connsiteX38" fmla="*/ 341297 w 478434"/>
                <a:gd name="connsiteY38" fmla="*/ 18579 h 160576"/>
                <a:gd name="connsiteX39" fmla="*/ 333759 w 478434"/>
                <a:gd name="connsiteY39" fmla="*/ 30540 h 160576"/>
                <a:gd name="connsiteX40" fmla="*/ 319050 w 478434"/>
                <a:gd name="connsiteY40" fmla="*/ 108704 h 160576"/>
                <a:gd name="connsiteX41" fmla="*/ 318906 w 478434"/>
                <a:gd name="connsiteY41" fmla="*/ 108704 h 160576"/>
                <a:gd name="connsiteX42" fmla="*/ 306326 w 478434"/>
                <a:gd name="connsiteY42" fmla="*/ 30116 h 160576"/>
                <a:gd name="connsiteX43" fmla="*/ 298867 w 478434"/>
                <a:gd name="connsiteY43" fmla="*/ 18572 h 160576"/>
                <a:gd name="connsiteX44" fmla="*/ 268205 w 478434"/>
                <a:gd name="connsiteY44" fmla="*/ 3640 h 160576"/>
                <a:gd name="connsiteX45" fmla="*/ 241786 w 478434"/>
                <a:gd name="connsiteY45" fmla="*/ 0 h 160576"/>
                <a:gd name="connsiteX46" fmla="*/ 215942 w 478434"/>
                <a:gd name="connsiteY46" fmla="*/ 3668 h 160576"/>
                <a:gd name="connsiteX47" fmla="*/ 185409 w 478434"/>
                <a:gd name="connsiteY47" fmla="*/ 18579 h 160576"/>
                <a:gd name="connsiteX48" fmla="*/ 177864 w 478434"/>
                <a:gd name="connsiteY48" fmla="*/ 30540 h 160576"/>
                <a:gd name="connsiteX49" fmla="*/ 162558 w 478434"/>
                <a:gd name="connsiteY49" fmla="*/ 111768 h 160576"/>
                <a:gd name="connsiteX50" fmla="*/ 162414 w 478434"/>
                <a:gd name="connsiteY50" fmla="*/ 111768 h 160576"/>
                <a:gd name="connsiteX51" fmla="*/ 147057 w 478434"/>
                <a:gd name="connsiteY51" fmla="*/ 30130 h 160576"/>
                <a:gd name="connsiteX52" fmla="*/ 139591 w 478434"/>
                <a:gd name="connsiteY52" fmla="*/ 18579 h 160576"/>
                <a:gd name="connsiteX53" fmla="*/ 109072 w 478434"/>
                <a:gd name="connsiteY53" fmla="*/ 3683 h 160576"/>
                <a:gd name="connsiteX54" fmla="*/ 83179 w 478434"/>
                <a:gd name="connsiteY54" fmla="*/ 0 h 160576"/>
                <a:gd name="connsiteX55" fmla="*/ 56652 w 478434"/>
                <a:gd name="connsiteY55" fmla="*/ 3668 h 160576"/>
                <a:gd name="connsiteX56" fmla="*/ 26442 w 478434"/>
                <a:gd name="connsiteY56" fmla="*/ 18341 h 160576"/>
                <a:gd name="connsiteX57" fmla="*/ 18530 w 478434"/>
                <a:gd name="connsiteY57" fmla="*/ 30619 h 160576"/>
                <a:gd name="connsiteX58" fmla="*/ 383 w 478434"/>
                <a:gd name="connsiteY58" fmla="*/ 133612 h 160576"/>
                <a:gd name="connsiteX59" fmla="*/ 13093 w 478434"/>
                <a:gd name="connsiteY59" fmla="*/ 159808 h 1605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478434" h="160576">
                  <a:moveTo>
                    <a:pt x="13093" y="159808"/>
                  </a:moveTo>
                  <a:cubicBezTo>
                    <a:pt x="16642" y="161593"/>
                    <a:pt x="20965" y="160161"/>
                    <a:pt x="22750" y="156613"/>
                  </a:cubicBezTo>
                  <a:cubicBezTo>
                    <a:pt x="24523" y="153085"/>
                    <a:pt x="23121" y="148788"/>
                    <a:pt x="19609" y="146984"/>
                  </a:cubicBezTo>
                  <a:cubicBezTo>
                    <a:pt x="15786" y="144775"/>
                    <a:pt x="13769" y="140399"/>
                    <a:pt x="14574" y="136058"/>
                  </a:cubicBezTo>
                  <a:lnTo>
                    <a:pt x="32606" y="33604"/>
                  </a:lnTo>
                  <a:cubicBezTo>
                    <a:pt x="33005" y="32261"/>
                    <a:pt x="33749" y="31045"/>
                    <a:pt x="34764" y="30080"/>
                  </a:cubicBezTo>
                  <a:cubicBezTo>
                    <a:pt x="42394" y="24344"/>
                    <a:pt x="51045" y="20109"/>
                    <a:pt x="60255" y="17601"/>
                  </a:cubicBezTo>
                  <a:cubicBezTo>
                    <a:pt x="67741" y="15593"/>
                    <a:pt x="75444" y="14513"/>
                    <a:pt x="83193" y="14385"/>
                  </a:cubicBezTo>
                  <a:cubicBezTo>
                    <a:pt x="90679" y="14460"/>
                    <a:pt x="98122" y="15531"/>
                    <a:pt x="105325" y="17572"/>
                  </a:cubicBezTo>
                  <a:cubicBezTo>
                    <a:pt x="114588" y="20076"/>
                    <a:pt x="123288" y="24324"/>
                    <a:pt x="130960" y="30087"/>
                  </a:cubicBezTo>
                  <a:cubicBezTo>
                    <a:pt x="131981" y="30854"/>
                    <a:pt x="132704" y="31953"/>
                    <a:pt x="133003" y="33194"/>
                  </a:cubicBezTo>
                  <a:lnTo>
                    <a:pt x="155415" y="152378"/>
                  </a:lnTo>
                  <a:cubicBezTo>
                    <a:pt x="156155" y="156281"/>
                    <a:pt x="159919" y="158845"/>
                    <a:pt x="163822" y="158105"/>
                  </a:cubicBezTo>
                  <a:cubicBezTo>
                    <a:pt x="166727" y="157555"/>
                    <a:pt x="168998" y="155283"/>
                    <a:pt x="169549" y="152378"/>
                  </a:cubicBezTo>
                  <a:lnTo>
                    <a:pt x="191847" y="33619"/>
                  </a:lnTo>
                  <a:cubicBezTo>
                    <a:pt x="192112" y="32218"/>
                    <a:pt x="192879" y="30963"/>
                    <a:pt x="194004" y="30087"/>
                  </a:cubicBezTo>
                  <a:cubicBezTo>
                    <a:pt x="201693" y="24322"/>
                    <a:pt x="210407" y="20069"/>
                    <a:pt x="219682" y="17557"/>
                  </a:cubicBezTo>
                  <a:cubicBezTo>
                    <a:pt x="226877" y="15525"/>
                    <a:pt x="234310" y="14458"/>
                    <a:pt x="241786" y="14385"/>
                  </a:cubicBezTo>
                  <a:cubicBezTo>
                    <a:pt x="249493" y="14511"/>
                    <a:pt x="257154" y="15581"/>
                    <a:pt x="264601" y="17572"/>
                  </a:cubicBezTo>
                  <a:cubicBezTo>
                    <a:pt x="273960" y="20116"/>
                    <a:pt x="282748" y="24419"/>
                    <a:pt x="290495" y="30253"/>
                  </a:cubicBezTo>
                  <a:cubicBezTo>
                    <a:pt x="291242" y="31058"/>
                    <a:pt x="291841" y="31988"/>
                    <a:pt x="292264" y="33000"/>
                  </a:cubicBezTo>
                  <a:lnTo>
                    <a:pt x="311282" y="152184"/>
                  </a:lnTo>
                  <a:cubicBezTo>
                    <a:pt x="311834" y="155635"/>
                    <a:pt x="314786" y="158190"/>
                    <a:pt x="318281" y="158240"/>
                  </a:cubicBezTo>
                  <a:cubicBezTo>
                    <a:pt x="321749" y="158194"/>
                    <a:pt x="324728" y="155766"/>
                    <a:pt x="325473" y="152378"/>
                  </a:cubicBezTo>
                  <a:lnTo>
                    <a:pt x="347771" y="33619"/>
                  </a:lnTo>
                  <a:cubicBezTo>
                    <a:pt x="348033" y="32217"/>
                    <a:pt x="348801" y="30960"/>
                    <a:pt x="349929" y="30087"/>
                  </a:cubicBezTo>
                  <a:cubicBezTo>
                    <a:pt x="357616" y="24320"/>
                    <a:pt x="366330" y="20068"/>
                    <a:pt x="375607" y="17557"/>
                  </a:cubicBezTo>
                  <a:cubicBezTo>
                    <a:pt x="382799" y="15525"/>
                    <a:pt x="390229" y="14458"/>
                    <a:pt x="397703" y="14385"/>
                  </a:cubicBezTo>
                  <a:cubicBezTo>
                    <a:pt x="405412" y="14511"/>
                    <a:pt x="413076" y="15581"/>
                    <a:pt x="420525" y="17572"/>
                  </a:cubicBezTo>
                  <a:cubicBezTo>
                    <a:pt x="429884" y="20116"/>
                    <a:pt x="438672" y="24419"/>
                    <a:pt x="446419" y="30253"/>
                  </a:cubicBezTo>
                  <a:cubicBezTo>
                    <a:pt x="447168" y="31064"/>
                    <a:pt x="447767" y="32002"/>
                    <a:pt x="448189" y="33022"/>
                  </a:cubicBezTo>
                  <a:lnTo>
                    <a:pt x="465926" y="142035"/>
                  </a:lnTo>
                  <a:lnTo>
                    <a:pt x="478434" y="129469"/>
                  </a:lnTo>
                  <a:lnTo>
                    <a:pt x="462250" y="30087"/>
                  </a:lnTo>
                  <a:cubicBezTo>
                    <a:pt x="461099" y="25524"/>
                    <a:pt x="458478" y="21467"/>
                    <a:pt x="454792" y="18543"/>
                  </a:cubicBezTo>
                  <a:cubicBezTo>
                    <a:pt x="445611" y="11665"/>
                    <a:pt x="435204" y="6598"/>
                    <a:pt x="424129" y="3611"/>
                  </a:cubicBezTo>
                  <a:cubicBezTo>
                    <a:pt x="415501" y="1331"/>
                    <a:pt x="406626" y="118"/>
                    <a:pt x="397703" y="0"/>
                  </a:cubicBezTo>
                  <a:cubicBezTo>
                    <a:pt x="388964" y="74"/>
                    <a:pt x="380273" y="1308"/>
                    <a:pt x="371859" y="3668"/>
                  </a:cubicBezTo>
                  <a:cubicBezTo>
                    <a:pt x="360820" y="6658"/>
                    <a:pt x="350449" y="11718"/>
                    <a:pt x="341297" y="18579"/>
                  </a:cubicBezTo>
                  <a:cubicBezTo>
                    <a:pt x="337441" y="21542"/>
                    <a:pt x="334768" y="25783"/>
                    <a:pt x="333759" y="30540"/>
                  </a:cubicBezTo>
                  <a:lnTo>
                    <a:pt x="319050" y="108704"/>
                  </a:lnTo>
                  <a:cubicBezTo>
                    <a:pt x="319007" y="108927"/>
                    <a:pt x="318942" y="108927"/>
                    <a:pt x="318906" y="108704"/>
                  </a:cubicBezTo>
                  <a:lnTo>
                    <a:pt x="306326" y="30116"/>
                  </a:lnTo>
                  <a:cubicBezTo>
                    <a:pt x="305175" y="25553"/>
                    <a:pt x="302554" y="21496"/>
                    <a:pt x="298867" y="18572"/>
                  </a:cubicBezTo>
                  <a:cubicBezTo>
                    <a:pt x="289687" y="11693"/>
                    <a:pt x="279281" y="6625"/>
                    <a:pt x="268205" y="3640"/>
                  </a:cubicBezTo>
                  <a:cubicBezTo>
                    <a:pt x="259581" y="1350"/>
                    <a:pt x="250708" y="128"/>
                    <a:pt x="241786" y="0"/>
                  </a:cubicBezTo>
                  <a:cubicBezTo>
                    <a:pt x="233047" y="73"/>
                    <a:pt x="224356" y="1306"/>
                    <a:pt x="215942" y="3668"/>
                  </a:cubicBezTo>
                  <a:cubicBezTo>
                    <a:pt x="204911" y="6659"/>
                    <a:pt x="194550" y="11719"/>
                    <a:pt x="185409" y="18579"/>
                  </a:cubicBezTo>
                  <a:cubicBezTo>
                    <a:pt x="181547" y="21538"/>
                    <a:pt x="178872" y="25781"/>
                    <a:pt x="177864" y="30540"/>
                  </a:cubicBezTo>
                  <a:lnTo>
                    <a:pt x="162558" y="111768"/>
                  </a:lnTo>
                  <a:cubicBezTo>
                    <a:pt x="162558" y="111977"/>
                    <a:pt x="162457" y="111977"/>
                    <a:pt x="162414" y="111768"/>
                  </a:cubicBezTo>
                  <a:lnTo>
                    <a:pt x="147057" y="30130"/>
                  </a:lnTo>
                  <a:cubicBezTo>
                    <a:pt x="146008" y="25521"/>
                    <a:pt x="143363" y="21429"/>
                    <a:pt x="139591" y="18579"/>
                  </a:cubicBezTo>
                  <a:cubicBezTo>
                    <a:pt x="130457" y="11720"/>
                    <a:pt x="120100" y="6664"/>
                    <a:pt x="109072" y="3683"/>
                  </a:cubicBezTo>
                  <a:cubicBezTo>
                    <a:pt x="100643" y="1310"/>
                    <a:pt x="91935" y="71"/>
                    <a:pt x="83179" y="0"/>
                  </a:cubicBezTo>
                  <a:cubicBezTo>
                    <a:pt x="74219" y="130"/>
                    <a:pt x="65310" y="1362"/>
                    <a:pt x="56652" y="3668"/>
                  </a:cubicBezTo>
                  <a:cubicBezTo>
                    <a:pt x="45745" y="6607"/>
                    <a:pt x="35495" y="11586"/>
                    <a:pt x="26442" y="18341"/>
                  </a:cubicBezTo>
                  <a:cubicBezTo>
                    <a:pt x="22467" y="21398"/>
                    <a:pt x="19671" y="25736"/>
                    <a:pt x="18530" y="30619"/>
                  </a:cubicBezTo>
                  <a:lnTo>
                    <a:pt x="383" y="133612"/>
                  </a:lnTo>
                  <a:cubicBezTo>
                    <a:pt x="-1491" y="144174"/>
                    <a:pt x="3637" y="154744"/>
                    <a:pt x="13093" y="159808"/>
                  </a:cubicBezTo>
                  <a:close/>
                </a:path>
              </a:pathLst>
            </a:custGeom>
            <a:grpFill/>
            <a:ln w="7144" cap="flat">
              <a:solidFill>
                <a:schemeClr val="bg1"/>
              </a:solidFill>
              <a:prstDash val="solid"/>
              <a:miter/>
            </a:ln>
          </p:spPr>
          <p:txBody>
            <a:bodyPr rtlCol="0" anchor="ctr"/>
            <a:lstStyle/>
            <a:p>
              <a:endParaRPr lang="en-US"/>
            </a:p>
          </p:txBody>
        </p:sp>
        <p:sp>
          <p:nvSpPr>
            <p:cNvPr id="28" name="Freeform: Shape 27">
              <a:extLst>
                <a:ext uri="{FF2B5EF4-FFF2-40B4-BE49-F238E27FC236}">
                  <a16:creationId xmlns:a16="http://schemas.microsoft.com/office/drawing/2014/main" id="{9C5E2FB2-437F-5167-B42F-0BB8D4243B3E}"/>
                </a:ext>
              </a:extLst>
            </p:cNvPr>
            <p:cNvSpPr/>
            <p:nvPr/>
          </p:nvSpPr>
          <p:spPr>
            <a:xfrm>
              <a:off x="2295370" y="3370274"/>
              <a:ext cx="52362" cy="55579"/>
            </a:xfrm>
            <a:custGeom>
              <a:avLst/>
              <a:gdLst>
                <a:gd name="connsiteX0" fmla="*/ 35964 w 71927"/>
                <a:gd name="connsiteY0" fmla="*/ 71927 h 71927"/>
                <a:gd name="connsiteX1" fmla="*/ 0 w 71927"/>
                <a:gd name="connsiteY1" fmla="*/ 35964 h 71927"/>
                <a:gd name="connsiteX2" fmla="*/ 35964 w 71927"/>
                <a:gd name="connsiteY2" fmla="*/ 0 h 71927"/>
                <a:gd name="connsiteX3" fmla="*/ 71927 w 71927"/>
                <a:gd name="connsiteY3" fmla="*/ 35964 h 71927"/>
                <a:gd name="connsiteX4" fmla="*/ 35964 w 71927"/>
                <a:gd name="connsiteY4" fmla="*/ 71927 h 71927"/>
                <a:gd name="connsiteX5" fmla="*/ 35964 w 71927"/>
                <a:gd name="connsiteY5" fmla="*/ 14385 h 71927"/>
                <a:gd name="connsiteX6" fmla="*/ 14385 w 71927"/>
                <a:gd name="connsiteY6" fmla="*/ 35964 h 71927"/>
                <a:gd name="connsiteX7" fmla="*/ 35964 w 71927"/>
                <a:gd name="connsiteY7" fmla="*/ 57542 h 71927"/>
                <a:gd name="connsiteX8" fmla="*/ 57542 w 71927"/>
                <a:gd name="connsiteY8" fmla="*/ 35964 h 71927"/>
                <a:gd name="connsiteX9" fmla="*/ 35964 w 71927"/>
                <a:gd name="connsiteY9" fmla="*/ 14385 h 71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27" h="71927">
                  <a:moveTo>
                    <a:pt x="35964" y="71927"/>
                  </a:moveTo>
                  <a:cubicBezTo>
                    <a:pt x="16102" y="71927"/>
                    <a:pt x="0" y="55826"/>
                    <a:pt x="0" y="35964"/>
                  </a:cubicBezTo>
                  <a:cubicBezTo>
                    <a:pt x="0" y="16102"/>
                    <a:pt x="16102" y="0"/>
                    <a:pt x="35964" y="0"/>
                  </a:cubicBezTo>
                  <a:cubicBezTo>
                    <a:pt x="55826" y="0"/>
                    <a:pt x="71927" y="16102"/>
                    <a:pt x="71927" y="35964"/>
                  </a:cubicBezTo>
                  <a:cubicBezTo>
                    <a:pt x="71904" y="55816"/>
                    <a:pt x="55816" y="71904"/>
                    <a:pt x="35964" y="71927"/>
                  </a:cubicBezTo>
                  <a:close/>
                  <a:moveTo>
                    <a:pt x="35964" y="14385"/>
                  </a:moveTo>
                  <a:cubicBezTo>
                    <a:pt x="24046" y="14385"/>
                    <a:pt x="14385" y="24046"/>
                    <a:pt x="14385" y="35964"/>
                  </a:cubicBezTo>
                  <a:cubicBezTo>
                    <a:pt x="14385" y="47881"/>
                    <a:pt x="24046" y="57542"/>
                    <a:pt x="35964" y="57542"/>
                  </a:cubicBezTo>
                  <a:cubicBezTo>
                    <a:pt x="47881" y="57542"/>
                    <a:pt x="57542" y="47881"/>
                    <a:pt x="57542" y="35964"/>
                  </a:cubicBezTo>
                  <a:cubicBezTo>
                    <a:pt x="57542" y="24046"/>
                    <a:pt x="47881" y="14385"/>
                    <a:pt x="35964" y="14385"/>
                  </a:cubicBezTo>
                  <a:close/>
                </a:path>
              </a:pathLst>
            </a:custGeom>
            <a:grpFill/>
            <a:ln w="7144" cap="flat">
              <a:solidFill>
                <a:schemeClr val="bg1"/>
              </a:solidFill>
              <a:prstDash val="solid"/>
              <a:miter/>
            </a:ln>
          </p:spPr>
          <p:txBody>
            <a:bodyPr rtlCol="0" anchor="ctr"/>
            <a:lstStyle/>
            <a:p>
              <a:endParaRPr lang="en-US"/>
            </a:p>
          </p:txBody>
        </p:sp>
        <p:sp>
          <p:nvSpPr>
            <p:cNvPr id="29" name="Freeform: Shape 28">
              <a:extLst>
                <a:ext uri="{FF2B5EF4-FFF2-40B4-BE49-F238E27FC236}">
                  <a16:creationId xmlns:a16="http://schemas.microsoft.com/office/drawing/2014/main" id="{11AB99C4-CE10-93E0-0E95-88594E9995AA}"/>
                </a:ext>
              </a:extLst>
            </p:cNvPr>
            <p:cNvSpPr/>
            <p:nvPr/>
          </p:nvSpPr>
          <p:spPr>
            <a:xfrm>
              <a:off x="2180174" y="3370274"/>
              <a:ext cx="52362" cy="55579"/>
            </a:xfrm>
            <a:custGeom>
              <a:avLst/>
              <a:gdLst>
                <a:gd name="connsiteX0" fmla="*/ 35964 w 71927"/>
                <a:gd name="connsiteY0" fmla="*/ 71927 h 71927"/>
                <a:gd name="connsiteX1" fmla="*/ 0 w 71927"/>
                <a:gd name="connsiteY1" fmla="*/ 35964 h 71927"/>
                <a:gd name="connsiteX2" fmla="*/ 35964 w 71927"/>
                <a:gd name="connsiteY2" fmla="*/ 0 h 71927"/>
                <a:gd name="connsiteX3" fmla="*/ 71927 w 71927"/>
                <a:gd name="connsiteY3" fmla="*/ 35964 h 71927"/>
                <a:gd name="connsiteX4" fmla="*/ 35964 w 71927"/>
                <a:gd name="connsiteY4" fmla="*/ 71927 h 71927"/>
                <a:gd name="connsiteX5" fmla="*/ 35964 w 71927"/>
                <a:gd name="connsiteY5" fmla="*/ 14385 h 71927"/>
                <a:gd name="connsiteX6" fmla="*/ 14385 w 71927"/>
                <a:gd name="connsiteY6" fmla="*/ 35964 h 71927"/>
                <a:gd name="connsiteX7" fmla="*/ 35964 w 71927"/>
                <a:gd name="connsiteY7" fmla="*/ 57542 h 71927"/>
                <a:gd name="connsiteX8" fmla="*/ 57542 w 71927"/>
                <a:gd name="connsiteY8" fmla="*/ 35964 h 71927"/>
                <a:gd name="connsiteX9" fmla="*/ 35964 w 71927"/>
                <a:gd name="connsiteY9" fmla="*/ 14385 h 71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27" h="71927">
                  <a:moveTo>
                    <a:pt x="35964" y="71927"/>
                  </a:moveTo>
                  <a:cubicBezTo>
                    <a:pt x="16102" y="71927"/>
                    <a:pt x="0" y="55826"/>
                    <a:pt x="0" y="35964"/>
                  </a:cubicBezTo>
                  <a:cubicBezTo>
                    <a:pt x="0" y="16102"/>
                    <a:pt x="16102" y="0"/>
                    <a:pt x="35964" y="0"/>
                  </a:cubicBezTo>
                  <a:cubicBezTo>
                    <a:pt x="55826" y="0"/>
                    <a:pt x="71927" y="16102"/>
                    <a:pt x="71927" y="35964"/>
                  </a:cubicBezTo>
                  <a:cubicBezTo>
                    <a:pt x="71904" y="55816"/>
                    <a:pt x="55816" y="71904"/>
                    <a:pt x="35964" y="71927"/>
                  </a:cubicBezTo>
                  <a:close/>
                  <a:moveTo>
                    <a:pt x="35964" y="14385"/>
                  </a:moveTo>
                  <a:cubicBezTo>
                    <a:pt x="24046" y="14385"/>
                    <a:pt x="14385" y="24046"/>
                    <a:pt x="14385" y="35964"/>
                  </a:cubicBezTo>
                  <a:cubicBezTo>
                    <a:pt x="14385" y="47881"/>
                    <a:pt x="24046" y="57542"/>
                    <a:pt x="35964" y="57542"/>
                  </a:cubicBezTo>
                  <a:cubicBezTo>
                    <a:pt x="47881" y="57542"/>
                    <a:pt x="57542" y="47881"/>
                    <a:pt x="57542" y="35964"/>
                  </a:cubicBezTo>
                  <a:cubicBezTo>
                    <a:pt x="57542" y="24046"/>
                    <a:pt x="47881" y="14385"/>
                    <a:pt x="35964" y="14385"/>
                  </a:cubicBezTo>
                  <a:close/>
                </a:path>
              </a:pathLst>
            </a:custGeom>
            <a:grpFill/>
            <a:ln w="7144" cap="flat">
              <a:solidFill>
                <a:schemeClr val="bg1"/>
              </a:solidFill>
              <a:prstDash val="solid"/>
              <a:miter/>
            </a:ln>
          </p:spPr>
          <p:txBody>
            <a:bodyPr rtlCol="0" anchor="ctr"/>
            <a:lstStyle/>
            <a:p>
              <a:endParaRPr lang="en-US"/>
            </a:p>
          </p:txBody>
        </p:sp>
        <p:sp>
          <p:nvSpPr>
            <p:cNvPr id="30" name="Freeform: Shape 29">
              <a:extLst>
                <a:ext uri="{FF2B5EF4-FFF2-40B4-BE49-F238E27FC236}">
                  <a16:creationId xmlns:a16="http://schemas.microsoft.com/office/drawing/2014/main" id="{681B941B-BD70-53F0-AB2A-8C91485975CE}"/>
                </a:ext>
              </a:extLst>
            </p:cNvPr>
            <p:cNvSpPr/>
            <p:nvPr/>
          </p:nvSpPr>
          <p:spPr>
            <a:xfrm>
              <a:off x="2408881" y="3370274"/>
              <a:ext cx="52362" cy="55579"/>
            </a:xfrm>
            <a:custGeom>
              <a:avLst/>
              <a:gdLst>
                <a:gd name="connsiteX0" fmla="*/ 35964 w 71927"/>
                <a:gd name="connsiteY0" fmla="*/ 71927 h 71927"/>
                <a:gd name="connsiteX1" fmla="*/ 0 w 71927"/>
                <a:gd name="connsiteY1" fmla="*/ 35964 h 71927"/>
                <a:gd name="connsiteX2" fmla="*/ 35964 w 71927"/>
                <a:gd name="connsiteY2" fmla="*/ 0 h 71927"/>
                <a:gd name="connsiteX3" fmla="*/ 71927 w 71927"/>
                <a:gd name="connsiteY3" fmla="*/ 35964 h 71927"/>
                <a:gd name="connsiteX4" fmla="*/ 35964 w 71927"/>
                <a:gd name="connsiteY4" fmla="*/ 71927 h 71927"/>
                <a:gd name="connsiteX5" fmla="*/ 35964 w 71927"/>
                <a:gd name="connsiteY5" fmla="*/ 14385 h 71927"/>
                <a:gd name="connsiteX6" fmla="*/ 14385 w 71927"/>
                <a:gd name="connsiteY6" fmla="*/ 35964 h 71927"/>
                <a:gd name="connsiteX7" fmla="*/ 35964 w 71927"/>
                <a:gd name="connsiteY7" fmla="*/ 57542 h 71927"/>
                <a:gd name="connsiteX8" fmla="*/ 57542 w 71927"/>
                <a:gd name="connsiteY8" fmla="*/ 35964 h 71927"/>
                <a:gd name="connsiteX9" fmla="*/ 35964 w 71927"/>
                <a:gd name="connsiteY9" fmla="*/ 14385 h 71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927" h="71927">
                  <a:moveTo>
                    <a:pt x="35964" y="71927"/>
                  </a:moveTo>
                  <a:cubicBezTo>
                    <a:pt x="16102" y="71927"/>
                    <a:pt x="0" y="55826"/>
                    <a:pt x="0" y="35964"/>
                  </a:cubicBezTo>
                  <a:cubicBezTo>
                    <a:pt x="0" y="16102"/>
                    <a:pt x="16102" y="0"/>
                    <a:pt x="35964" y="0"/>
                  </a:cubicBezTo>
                  <a:cubicBezTo>
                    <a:pt x="55826" y="0"/>
                    <a:pt x="71927" y="16102"/>
                    <a:pt x="71927" y="35964"/>
                  </a:cubicBezTo>
                  <a:cubicBezTo>
                    <a:pt x="71904" y="55816"/>
                    <a:pt x="55816" y="71904"/>
                    <a:pt x="35964" y="71927"/>
                  </a:cubicBezTo>
                  <a:close/>
                  <a:moveTo>
                    <a:pt x="35964" y="14385"/>
                  </a:moveTo>
                  <a:cubicBezTo>
                    <a:pt x="24046" y="14385"/>
                    <a:pt x="14385" y="24046"/>
                    <a:pt x="14385" y="35964"/>
                  </a:cubicBezTo>
                  <a:cubicBezTo>
                    <a:pt x="14385" y="47881"/>
                    <a:pt x="24046" y="57542"/>
                    <a:pt x="35964" y="57542"/>
                  </a:cubicBezTo>
                  <a:cubicBezTo>
                    <a:pt x="47881" y="57542"/>
                    <a:pt x="57542" y="47881"/>
                    <a:pt x="57542" y="35964"/>
                  </a:cubicBezTo>
                  <a:cubicBezTo>
                    <a:pt x="57542" y="24046"/>
                    <a:pt x="47881" y="14385"/>
                    <a:pt x="35964" y="14385"/>
                  </a:cubicBezTo>
                  <a:close/>
                </a:path>
              </a:pathLst>
            </a:custGeom>
            <a:grpFill/>
            <a:ln w="7144" cap="flat">
              <a:solidFill>
                <a:schemeClr val="bg1"/>
              </a:solidFill>
              <a:prstDash val="solid"/>
              <a:miter/>
            </a:ln>
          </p:spPr>
          <p:txBody>
            <a:bodyPr rtlCol="0" anchor="ctr"/>
            <a:lstStyle/>
            <a:p>
              <a:endParaRPr lang="en-US"/>
            </a:p>
          </p:txBody>
        </p:sp>
        <p:sp>
          <p:nvSpPr>
            <p:cNvPr id="31" name="Freeform: Shape 30">
              <a:extLst>
                <a:ext uri="{FF2B5EF4-FFF2-40B4-BE49-F238E27FC236}">
                  <a16:creationId xmlns:a16="http://schemas.microsoft.com/office/drawing/2014/main" id="{909F9D69-DB1F-BEDE-15B3-C00D0B05B08A}"/>
                </a:ext>
              </a:extLst>
            </p:cNvPr>
            <p:cNvSpPr/>
            <p:nvPr/>
          </p:nvSpPr>
          <p:spPr>
            <a:xfrm>
              <a:off x="2160213" y="3475852"/>
              <a:ext cx="92303" cy="205786"/>
            </a:xfrm>
            <a:custGeom>
              <a:avLst/>
              <a:gdLst>
                <a:gd name="connsiteX0" fmla="*/ 27440 w 126793"/>
                <a:gd name="connsiteY0" fmla="*/ 158391 h 266318"/>
                <a:gd name="connsiteX1" fmla="*/ 27440 w 126793"/>
                <a:gd name="connsiteY1" fmla="*/ 266318 h 266318"/>
                <a:gd name="connsiteX2" fmla="*/ 48350 w 126793"/>
                <a:gd name="connsiteY2" fmla="*/ 266318 h 266318"/>
                <a:gd name="connsiteX3" fmla="*/ 70575 w 126793"/>
                <a:gd name="connsiteY3" fmla="*/ 244086 h 266318"/>
                <a:gd name="connsiteX4" fmla="*/ 70575 w 126793"/>
                <a:gd name="connsiteY4" fmla="*/ 158391 h 266318"/>
                <a:gd name="connsiteX5" fmla="*/ 84961 w 126793"/>
                <a:gd name="connsiteY5" fmla="*/ 158391 h 266318"/>
                <a:gd name="connsiteX6" fmla="*/ 84961 w 126793"/>
                <a:gd name="connsiteY6" fmla="*/ 229679 h 266318"/>
                <a:gd name="connsiteX7" fmla="*/ 99346 w 126793"/>
                <a:gd name="connsiteY7" fmla="*/ 215293 h 266318"/>
                <a:gd name="connsiteX8" fmla="*/ 99346 w 126793"/>
                <a:gd name="connsiteY8" fmla="*/ 158391 h 266318"/>
                <a:gd name="connsiteX9" fmla="*/ 126794 w 126793"/>
                <a:gd name="connsiteY9" fmla="*/ 158391 h 266318"/>
                <a:gd name="connsiteX10" fmla="*/ 99368 w 126793"/>
                <a:gd name="connsiteY10" fmla="*/ 59556 h 266318"/>
                <a:gd name="connsiteX11" fmla="*/ 99368 w 126793"/>
                <a:gd name="connsiteY11" fmla="*/ 7222 h 266318"/>
                <a:gd name="connsiteX12" fmla="*/ 92175 w 126793"/>
                <a:gd name="connsiteY12" fmla="*/ 29 h 266318"/>
                <a:gd name="connsiteX13" fmla="*/ 84982 w 126793"/>
                <a:gd name="connsiteY13" fmla="*/ 7222 h 266318"/>
                <a:gd name="connsiteX14" fmla="*/ 84982 w 126793"/>
                <a:gd name="connsiteY14" fmla="*/ 60541 h 266318"/>
                <a:gd name="connsiteX15" fmla="*/ 107898 w 126793"/>
                <a:gd name="connsiteY15" fmla="*/ 143977 h 266318"/>
                <a:gd name="connsiteX16" fmla="*/ 18917 w 126793"/>
                <a:gd name="connsiteY16" fmla="*/ 143977 h 266318"/>
                <a:gd name="connsiteX17" fmla="*/ 41826 w 126793"/>
                <a:gd name="connsiteY17" fmla="*/ 61491 h 266318"/>
                <a:gd name="connsiteX18" fmla="*/ 41826 w 126793"/>
                <a:gd name="connsiteY18" fmla="*/ 7193 h 266318"/>
                <a:gd name="connsiteX19" fmla="*/ 34633 w 126793"/>
                <a:gd name="connsiteY19" fmla="*/ 0 h 266318"/>
                <a:gd name="connsiteX20" fmla="*/ 27440 w 126793"/>
                <a:gd name="connsiteY20" fmla="*/ 7193 h 266318"/>
                <a:gd name="connsiteX21" fmla="*/ 27440 w 126793"/>
                <a:gd name="connsiteY21" fmla="*/ 59527 h 266318"/>
                <a:gd name="connsiteX22" fmla="*/ 0 w 126793"/>
                <a:gd name="connsiteY22" fmla="*/ 158391 h 266318"/>
                <a:gd name="connsiteX23" fmla="*/ 41826 w 126793"/>
                <a:gd name="connsiteY23" fmla="*/ 158391 h 266318"/>
                <a:gd name="connsiteX24" fmla="*/ 56211 w 126793"/>
                <a:gd name="connsiteY24" fmla="*/ 158391 h 266318"/>
                <a:gd name="connsiteX25" fmla="*/ 56211 w 126793"/>
                <a:gd name="connsiteY25" fmla="*/ 251933 h 266318"/>
                <a:gd name="connsiteX26" fmla="*/ 41826 w 126793"/>
                <a:gd name="connsiteY26" fmla="*/ 251933 h 266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26793" h="266318">
                  <a:moveTo>
                    <a:pt x="27440" y="158391"/>
                  </a:moveTo>
                  <a:lnTo>
                    <a:pt x="27440" y="266318"/>
                  </a:lnTo>
                  <a:lnTo>
                    <a:pt x="48350" y="266318"/>
                  </a:lnTo>
                  <a:lnTo>
                    <a:pt x="70575" y="244086"/>
                  </a:lnTo>
                  <a:lnTo>
                    <a:pt x="70575" y="158391"/>
                  </a:lnTo>
                  <a:lnTo>
                    <a:pt x="84961" y="158391"/>
                  </a:lnTo>
                  <a:lnTo>
                    <a:pt x="84961" y="229679"/>
                  </a:lnTo>
                  <a:lnTo>
                    <a:pt x="99346" y="215293"/>
                  </a:lnTo>
                  <a:lnTo>
                    <a:pt x="99346" y="158391"/>
                  </a:lnTo>
                  <a:lnTo>
                    <a:pt x="126794" y="158391"/>
                  </a:lnTo>
                  <a:lnTo>
                    <a:pt x="99368" y="59556"/>
                  </a:lnTo>
                  <a:lnTo>
                    <a:pt x="99368" y="7222"/>
                  </a:lnTo>
                  <a:cubicBezTo>
                    <a:pt x="99368" y="3249"/>
                    <a:pt x="96148" y="29"/>
                    <a:pt x="92175" y="29"/>
                  </a:cubicBezTo>
                  <a:cubicBezTo>
                    <a:pt x="88202" y="29"/>
                    <a:pt x="84982" y="3249"/>
                    <a:pt x="84982" y="7222"/>
                  </a:cubicBezTo>
                  <a:lnTo>
                    <a:pt x="84982" y="60541"/>
                  </a:lnTo>
                  <a:lnTo>
                    <a:pt x="107898" y="143977"/>
                  </a:lnTo>
                  <a:lnTo>
                    <a:pt x="18917" y="143977"/>
                  </a:lnTo>
                  <a:lnTo>
                    <a:pt x="41826" y="61491"/>
                  </a:lnTo>
                  <a:lnTo>
                    <a:pt x="41826" y="7193"/>
                  </a:lnTo>
                  <a:cubicBezTo>
                    <a:pt x="41826" y="3220"/>
                    <a:pt x="38606" y="0"/>
                    <a:pt x="34633" y="0"/>
                  </a:cubicBezTo>
                  <a:cubicBezTo>
                    <a:pt x="30660" y="0"/>
                    <a:pt x="27440" y="3220"/>
                    <a:pt x="27440" y="7193"/>
                  </a:cubicBezTo>
                  <a:lnTo>
                    <a:pt x="27440" y="59527"/>
                  </a:lnTo>
                  <a:lnTo>
                    <a:pt x="0" y="158391"/>
                  </a:lnTo>
                  <a:close/>
                  <a:moveTo>
                    <a:pt x="41826" y="158391"/>
                  </a:moveTo>
                  <a:lnTo>
                    <a:pt x="56211" y="158391"/>
                  </a:lnTo>
                  <a:lnTo>
                    <a:pt x="56211" y="251933"/>
                  </a:lnTo>
                  <a:lnTo>
                    <a:pt x="41826" y="251933"/>
                  </a:lnTo>
                  <a:close/>
                </a:path>
              </a:pathLst>
            </a:custGeom>
            <a:grpFill/>
            <a:ln w="7144" cap="flat">
              <a:solidFill>
                <a:schemeClr val="bg1"/>
              </a:solid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855CE596-F5B7-F4B3-9225-DB8779D63BCD}"/>
                </a:ext>
              </a:extLst>
            </p:cNvPr>
            <p:cNvSpPr/>
            <p:nvPr/>
          </p:nvSpPr>
          <p:spPr>
            <a:xfrm>
              <a:off x="2162244" y="3464758"/>
              <a:ext cx="429432" cy="283521"/>
            </a:xfrm>
            <a:custGeom>
              <a:avLst/>
              <a:gdLst>
                <a:gd name="connsiteX0" fmla="*/ 489195 w 589893"/>
                <a:gd name="connsiteY0" fmla="*/ 0 h 366918"/>
                <a:gd name="connsiteX1" fmla="*/ 482002 w 589893"/>
                <a:gd name="connsiteY1" fmla="*/ 7193 h 366918"/>
                <a:gd name="connsiteX2" fmla="*/ 489195 w 589893"/>
                <a:gd name="connsiteY2" fmla="*/ 14385 h 366918"/>
                <a:gd name="connsiteX3" fmla="*/ 565164 w 589893"/>
                <a:gd name="connsiteY3" fmla="*/ 14385 h 366918"/>
                <a:gd name="connsiteX4" fmla="*/ 565215 w 589893"/>
                <a:gd name="connsiteY4" fmla="*/ 14508 h 366918"/>
                <a:gd name="connsiteX5" fmla="*/ 323762 w 589893"/>
                <a:gd name="connsiteY5" fmla="*/ 255961 h 366918"/>
                <a:gd name="connsiteX6" fmla="*/ 212274 w 589893"/>
                <a:gd name="connsiteY6" fmla="*/ 144473 h 366918"/>
                <a:gd name="connsiteX7" fmla="*/ 2196 w 589893"/>
                <a:gd name="connsiteY7" fmla="*/ 354552 h 366918"/>
                <a:gd name="connsiteX8" fmla="*/ 2019 w 589893"/>
                <a:gd name="connsiteY8" fmla="*/ 364722 h 366918"/>
                <a:gd name="connsiteX9" fmla="*/ 12190 w 589893"/>
                <a:gd name="connsiteY9" fmla="*/ 364899 h 366918"/>
                <a:gd name="connsiteX10" fmla="*/ 12366 w 589893"/>
                <a:gd name="connsiteY10" fmla="*/ 364722 h 366918"/>
                <a:gd name="connsiteX11" fmla="*/ 212274 w 589893"/>
                <a:gd name="connsiteY11" fmla="*/ 164814 h 366918"/>
                <a:gd name="connsiteX12" fmla="*/ 323762 w 589893"/>
                <a:gd name="connsiteY12" fmla="*/ 276302 h 366918"/>
                <a:gd name="connsiteX13" fmla="*/ 575385 w 589893"/>
                <a:gd name="connsiteY13" fmla="*/ 24678 h 366918"/>
                <a:gd name="connsiteX14" fmla="*/ 575508 w 589893"/>
                <a:gd name="connsiteY14" fmla="*/ 24729 h 366918"/>
                <a:gd name="connsiteX15" fmla="*/ 575508 w 589893"/>
                <a:gd name="connsiteY15" fmla="*/ 100698 h 366918"/>
                <a:gd name="connsiteX16" fmla="*/ 582700 w 589893"/>
                <a:gd name="connsiteY16" fmla="*/ 107891 h 366918"/>
                <a:gd name="connsiteX17" fmla="*/ 589893 w 589893"/>
                <a:gd name="connsiteY17" fmla="*/ 100698 h 366918"/>
                <a:gd name="connsiteX18" fmla="*/ 589893 w 589893"/>
                <a:gd name="connsiteY18" fmla="*/ 0 h 3669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589893" h="366918">
                  <a:moveTo>
                    <a:pt x="489195" y="0"/>
                  </a:moveTo>
                  <a:cubicBezTo>
                    <a:pt x="485222" y="0"/>
                    <a:pt x="482002" y="3220"/>
                    <a:pt x="482002" y="7193"/>
                  </a:cubicBezTo>
                  <a:cubicBezTo>
                    <a:pt x="482002" y="11165"/>
                    <a:pt x="485222" y="14385"/>
                    <a:pt x="489195" y="14385"/>
                  </a:cubicBezTo>
                  <a:lnTo>
                    <a:pt x="565164" y="14385"/>
                  </a:lnTo>
                  <a:cubicBezTo>
                    <a:pt x="565258" y="14385"/>
                    <a:pt x="565280" y="14443"/>
                    <a:pt x="565215" y="14508"/>
                  </a:cubicBezTo>
                  <a:lnTo>
                    <a:pt x="323762" y="255961"/>
                  </a:lnTo>
                  <a:lnTo>
                    <a:pt x="212274" y="144473"/>
                  </a:lnTo>
                  <a:lnTo>
                    <a:pt x="2196" y="354552"/>
                  </a:lnTo>
                  <a:cubicBezTo>
                    <a:pt x="-661" y="357312"/>
                    <a:pt x="-741" y="361865"/>
                    <a:pt x="2019" y="364722"/>
                  </a:cubicBezTo>
                  <a:cubicBezTo>
                    <a:pt x="4779" y="367580"/>
                    <a:pt x="9332" y="367659"/>
                    <a:pt x="12190" y="364899"/>
                  </a:cubicBezTo>
                  <a:cubicBezTo>
                    <a:pt x="12250" y="364841"/>
                    <a:pt x="12308" y="364782"/>
                    <a:pt x="12366" y="364722"/>
                  </a:cubicBezTo>
                  <a:lnTo>
                    <a:pt x="212274" y="164814"/>
                  </a:lnTo>
                  <a:lnTo>
                    <a:pt x="323762" y="276302"/>
                  </a:lnTo>
                  <a:lnTo>
                    <a:pt x="575385" y="24678"/>
                  </a:lnTo>
                  <a:cubicBezTo>
                    <a:pt x="575450" y="24614"/>
                    <a:pt x="575508" y="24635"/>
                    <a:pt x="575508" y="24729"/>
                  </a:cubicBezTo>
                  <a:lnTo>
                    <a:pt x="575508" y="100698"/>
                  </a:lnTo>
                  <a:cubicBezTo>
                    <a:pt x="575508" y="104671"/>
                    <a:pt x="578728" y="107891"/>
                    <a:pt x="582700" y="107891"/>
                  </a:cubicBezTo>
                  <a:cubicBezTo>
                    <a:pt x="586673" y="107891"/>
                    <a:pt x="589893" y="104671"/>
                    <a:pt x="589893" y="100698"/>
                  </a:cubicBezTo>
                  <a:lnTo>
                    <a:pt x="589893" y="0"/>
                  </a:lnTo>
                  <a:close/>
                </a:path>
              </a:pathLst>
            </a:custGeom>
            <a:grpFill/>
            <a:ln w="7144" cap="flat">
              <a:solidFill>
                <a:schemeClr val="bg1"/>
              </a:solidFill>
              <a:prstDash val="solid"/>
              <a:miter/>
            </a:ln>
          </p:spPr>
          <p:txBody>
            <a:bodyPr rtlCol="0" anchor="ctr"/>
            <a:lstStyle/>
            <a:p>
              <a:endParaRPr lang="en-US"/>
            </a:p>
          </p:txBody>
        </p:sp>
      </p:grpSp>
    </p:spTree>
    <p:extLst>
      <p:ext uri="{BB962C8B-B14F-4D97-AF65-F5344CB8AC3E}">
        <p14:creationId xmlns:p14="http://schemas.microsoft.com/office/powerpoint/2010/main" val="1067254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9" name="Rectangle: Rounded Corners 8">
            <a:extLst>
              <a:ext uri="{FF2B5EF4-FFF2-40B4-BE49-F238E27FC236}">
                <a16:creationId xmlns:a16="http://schemas.microsoft.com/office/drawing/2014/main" id="{ACB16C45-5DD7-BB32-EAE5-0CD74DB061CD}"/>
              </a:ext>
            </a:extLst>
          </p:cNvPr>
          <p:cNvSpPr/>
          <p:nvPr/>
        </p:nvSpPr>
        <p:spPr>
          <a:xfrm>
            <a:off x="672935" y="1805167"/>
            <a:ext cx="1833478" cy="923640"/>
          </a:xfrm>
          <a:prstGeom prst="roundRect">
            <a:avLst/>
          </a:prstGeom>
          <a:solidFill>
            <a:srgbClr val="0C4CA2"/>
          </a:solidFill>
          <a:ln w="19050">
            <a:solidFill>
              <a:srgbClr val="4BACC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1" dirty="0">
              <a:solidFill>
                <a:schemeClr val="bg1"/>
              </a:solidFill>
              <a:latin typeface="Arial" panose="020B0604020202020204" pitchFamily="34" charset="0"/>
              <a:cs typeface="Arial" panose="020B0604020202020204" pitchFamily="34" charset="0"/>
            </a:endParaRPr>
          </a:p>
          <a:p>
            <a:pPr algn="ctr"/>
            <a:r>
              <a:rPr lang="en-GB" sz="1400" b="1">
                <a:solidFill>
                  <a:schemeClr val="bg1"/>
                </a:solidFill>
                <a:latin typeface="Arial" panose="020B0604020202020204" pitchFamily="34" charset="0"/>
                <a:cs typeface="Arial" panose="020B0604020202020204" pitchFamily="34" charset="0"/>
              </a:rPr>
              <a:t>What types </a:t>
            </a:r>
            <a:r>
              <a:rPr lang="en-GB" sz="1400" b="1" dirty="0">
                <a:solidFill>
                  <a:schemeClr val="bg1"/>
                </a:solidFill>
                <a:latin typeface="Arial" panose="020B0604020202020204" pitchFamily="34" charset="0"/>
                <a:cs typeface="Arial" panose="020B0604020202020204" pitchFamily="34" charset="0"/>
              </a:rPr>
              <a:t>of signs does this group comprise? </a:t>
            </a:r>
          </a:p>
          <a:p>
            <a:pPr algn="ctr"/>
            <a:endParaRPr lang="en-GB" dirty="0">
              <a:solidFill>
                <a:schemeClr val="bg1"/>
              </a:solidFill>
            </a:endParaRPr>
          </a:p>
        </p:txBody>
      </p:sp>
      <p:sp>
        <p:nvSpPr>
          <p:cNvPr id="10" name="Freeform: Shape 9">
            <a:extLst>
              <a:ext uri="{FF2B5EF4-FFF2-40B4-BE49-F238E27FC236}">
                <a16:creationId xmlns:a16="http://schemas.microsoft.com/office/drawing/2014/main" id="{134FE73C-306C-54B8-90E8-E47D16B376E2}"/>
              </a:ext>
            </a:extLst>
          </p:cNvPr>
          <p:cNvSpPr/>
          <p:nvPr/>
        </p:nvSpPr>
        <p:spPr>
          <a:xfrm>
            <a:off x="2616201" y="1493898"/>
            <a:ext cx="6139437" cy="806042"/>
          </a:xfrm>
          <a:custGeom>
            <a:avLst/>
            <a:gdLst>
              <a:gd name="connsiteX0" fmla="*/ 0 w 4363394"/>
              <a:gd name="connsiteY0" fmla="*/ 174617 h 1746173"/>
              <a:gd name="connsiteX1" fmla="*/ 174617 w 4363394"/>
              <a:gd name="connsiteY1" fmla="*/ 0 h 1746173"/>
              <a:gd name="connsiteX2" fmla="*/ 4188777 w 4363394"/>
              <a:gd name="connsiteY2" fmla="*/ 0 h 1746173"/>
              <a:gd name="connsiteX3" fmla="*/ 4363394 w 4363394"/>
              <a:gd name="connsiteY3" fmla="*/ 174617 h 1746173"/>
              <a:gd name="connsiteX4" fmla="*/ 4363394 w 4363394"/>
              <a:gd name="connsiteY4" fmla="*/ 1571556 h 1746173"/>
              <a:gd name="connsiteX5" fmla="*/ 4188777 w 4363394"/>
              <a:gd name="connsiteY5" fmla="*/ 1746173 h 1746173"/>
              <a:gd name="connsiteX6" fmla="*/ 174617 w 4363394"/>
              <a:gd name="connsiteY6" fmla="*/ 1746173 h 1746173"/>
              <a:gd name="connsiteX7" fmla="*/ 0 w 4363394"/>
              <a:gd name="connsiteY7" fmla="*/ 1571556 h 1746173"/>
              <a:gd name="connsiteX8" fmla="*/ 0 w 4363394"/>
              <a:gd name="connsiteY8" fmla="*/ 174617 h 1746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63394" h="1746173">
                <a:moveTo>
                  <a:pt x="0" y="174617"/>
                </a:moveTo>
                <a:cubicBezTo>
                  <a:pt x="0" y="78179"/>
                  <a:pt x="78179" y="0"/>
                  <a:pt x="174617" y="0"/>
                </a:cubicBezTo>
                <a:lnTo>
                  <a:pt x="4188777" y="0"/>
                </a:lnTo>
                <a:cubicBezTo>
                  <a:pt x="4285215" y="0"/>
                  <a:pt x="4363394" y="78179"/>
                  <a:pt x="4363394" y="174617"/>
                </a:cubicBezTo>
                <a:lnTo>
                  <a:pt x="4363394" y="1571556"/>
                </a:lnTo>
                <a:cubicBezTo>
                  <a:pt x="4363394" y="1667994"/>
                  <a:pt x="4285215" y="1746173"/>
                  <a:pt x="4188777" y="1746173"/>
                </a:cubicBezTo>
                <a:lnTo>
                  <a:pt x="174617" y="1746173"/>
                </a:lnTo>
                <a:cubicBezTo>
                  <a:pt x="78179" y="1746173"/>
                  <a:pt x="0" y="1667994"/>
                  <a:pt x="0" y="1571556"/>
                </a:cubicBezTo>
                <a:lnTo>
                  <a:pt x="0" y="17461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50712" tIns="150712" rIns="150712" bIns="150712" numCol="1" spcCol="1270" anchor="t" anchorCtr="0">
            <a:noAutofit/>
          </a:bodyPr>
          <a:lstStyle/>
          <a:p>
            <a:pPr marL="285750" lvl="0" indent="-285750">
              <a:buFont typeface="Wingdings" panose="05000000000000000000" pitchFamily="2" charset="2"/>
              <a:buChar char="Ø"/>
            </a:pPr>
            <a:r>
              <a:rPr lang="en-GB" sz="1200" dirty="0">
                <a:solidFill>
                  <a:schemeClr val="tx2"/>
                </a:solidFill>
                <a:latin typeface="Arial" panose="020B0604020202020204" pitchFamily="34" charset="0"/>
                <a:cs typeface="Arial" panose="020B0604020202020204" pitchFamily="34" charset="0"/>
              </a:rPr>
              <a:t>Tragic events</a:t>
            </a:r>
          </a:p>
          <a:p>
            <a:pPr marL="285750" lvl="0" indent="-285750">
              <a:buFont typeface="Wingdings" panose="05000000000000000000" pitchFamily="2" charset="2"/>
              <a:buChar char="Ø"/>
            </a:pPr>
            <a:r>
              <a:rPr lang="en-GB" sz="1200" dirty="0">
                <a:solidFill>
                  <a:schemeClr val="tx2"/>
                </a:solidFill>
                <a:latin typeface="Arial" panose="020B0604020202020204" pitchFamily="34" charset="0"/>
                <a:cs typeface="Arial" panose="020B0604020202020204" pitchFamily="34" charset="0"/>
              </a:rPr>
              <a:t>The victims that resulted from the tragic event</a:t>
            </a:r>
          </a:p>
          <a:p>
            <a:pPr marL="285750" lvl="0" indent="-285750">
              <a:buFont typeface="Wingdings" panose="05000000000000000000" pitchFamily="2" charset="2"/>
              <a:buChar char="Ø"/>
            </a:pPr>
            <a:r>
              <a:rPr lang="en-GB" sz="1200" dirty="0">
                <a:solidFill>
                  <a:schemeClr val="tx2"/>
                </a:solidFill>
                <a:latin typeface="Arial" panose="020B0604020202020204" pitchFamily="34" charset="0"/>
                <a:cs typeface="Arial" panose="020B0604020202020204" pitchFamily="34" charset="0"/>
              </a:rPr>
              <a:t>The consequences that resulted from the tragic event</a:t>
            </a:r>
          </a:p>
        </p:txBody>
      </p:sp>
      <p:sp>
        <p:nvSpPr>
          <p:cNvPr id="13" name="Rectangle 12">
            <a:extLst>
              <a:ext uri="{FF2B5EF4-FFF2-40B4-BE49-F238E27FC236}">
                <a16:creationId xmlns:a16="http://schemas.microsoft.com/office/drawing/2014/main" id="{571997AA-2CB3-98D3-5FFC-9600DCAAED4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8 Signs referring/related to well-known tragic events</a:t>
            </a:r>
          </a:p>
        </p:txBody>
      </p:sp>
      <p:sp>
        <p:nvSpPr>
          <p:cNvPr id="5" name="TextBox 4">
            <a:extLst>
              <a:ext uri="{FF2B5EF4-FFF2-40B4-BE49-F238E27FC236}">
                <a16:creationId xmlns:a16="http://schemas.microsoft.com/office/drawing/2014/main" id="{DBE64E98-D2B3-1987-F65A-CB9FC48E10D6}"/>
              </a:ext>
            </a:extLst>
          </p:cNvPr>
          <p:cNvSpPr txBox="1"/>
          <p:nvPr/>
        </p:nvSpPr>
        <p:spPr>
          <a:xfrm>
            <a:off x="530647" y="3597703"/>
            <a:ext cx="8224989" cy="1320746"/>
          </a:xfrm>
          <a:prstGeom prst="rect">
            <a:avLst/>
          </a:prstGeom>
          <a:noFill/>
        </p:spPr>
        <p:txBody>
          <a:bodyPr wrap="square">
            <a:spAutoFit/>
          </a:bodyPr>
          <a:lstStyle/>
          <a:p>
            <a:pPr marL="171450" indent="-171450" algn="just">
              <a:lnSpc>
                <a:spcPct val="115000"/>
              </a:lnSpc>
              <a:spcAft>
                <a:spcPts val="600"/>
              </a:spcAft>
              <a:buFont typeface="Arial" panose="020B0604020202020204" pitchFamily="34" charset="0"/>
              <a:buChar char="•"/>
            </a:pPr>
            <a:r>
              <a:rPr lang="en-GB" sz="1100" b="1" dirty="0">
                <a:solidFill>
                  <a:srgbClr val="14438E"/>
                </a:solidFill>
                <a:latin typeface="Arial" panose="020B0604020202020204" pitchFamily="34" charset="0"/>
                <a:ea typeface="Calibri" panose="020F0502020204030204" pitchFamily="34" charset="0"/>
                <a:cs typeface="Arial" panose="020B0604020202020204" pitchFamily="34" charset="0"/>
              </a:rPr>
              <a:t>Contrary to accepted principles of morality</a:t>
            </a:r>
            <a:r>
              <a:rPr lang="en-GB" sz="1100" b="1">
                <a:solidFill>
                  <a:srgbClr val="14438E"/>
                </a:solidFill>
                <a:latin typeface="Arial" panose="020B0604020202020204" pitchFamily="34" charset="0"/>
                <a:ea typeface="Calibri" panose="020F0502020204030204" pitchFamily="34" charset="0"/>
                <a:cs typeface="Arial" panose="020B0604020202020204" pitchFamily="34" charset="0"/>
              </a:rPr>
              <a:t>: </a:t>
            </a:r>
            <a:r>
              <a:rPr lang="en-GB" sz="1100">
                <a:solidFill>
                  <a:srgbClr val="14438E"/>
                </a:solidFill>
                <a:effectLst/>
                <a:latin typeface="Arial" panose="020B0604020202020204" pitchFamily="34" charset="0"/>
                <a:ea typeface="Calibri" panose="020F0502020204030204" pitchFamily="34" charset="0"/>
                <a:cs typeface="Arial" panose="020B0604020202020204" pitchFamily="34" charset="0"/>
              </a:rPr>
              <a:t>if</a:t>
            </a:r>
            <a:r>
              <a:rPr lang="en-GB" sz="1100">
                <a:solidFill>
                  <a:srgbClr val="14438E"/>
                </a:solidFill>
                <a:latin typeface="Arial" panose="020B0604020202020204" pitchFamily="34" charset="0"/>
                <a:ea typeface="Calibri" panose="020F0502020204030204" pitchFamily="34" charset="0"/>
                <a:cs typeface="Arial" panose="020B0604020202020204" pitchFamily="34" charset="0"/>
              </a:rPr>
              <a:t> </a:t>
            </a:r>
            <a:r>
              <a:rPr lang="en-GB" sz="1100">
                <a:solidFill>
                  <a:srgbClr val="14438E"/>
                </a:solidFill>
                <a:effectLst/>
                <a:latin typeface="Arial" panose="020B0604020202020204" pitchFamily="34" charset="0"/>
                <a:ea typeface="Calibri" panose="020F0502020204030204" pitchFamily="34" charset="0"/>
                <a:cs typeface="Arial" panose="020B0604020202020204" pitchFamily="34" charset="0"/>
              </a:rPr>
              <a:t>a </a:t>
            </a:r>
            <a:r>
              <a:rPr lang="en-GB" sz="1100" dirty="0">
                <a:solidFill>
                  <a:srgbClr val="14438E"/>
                </a:solidFill>
                <a:effectLst/>
                <a:latin typeface="Arial" panose="020B0604020202020204" pitchFamily="34" charset="0"/>
                <a:ea typeface="Calibri" panose="020F0502020204030204" pitchFamily="34" charset="0"/>
                <a:cs typeface="Arial" panose="020B0604020202020204" pitchFamily="34" charset="0"/>
              </a:rPr>
              <a:t>sign can be perceived as conveying a clear offensive message, trivialising the nature of a tragic event, taking advantage of the shocking event to attract consumers, or is likely to insult, disparage, degrade and/or offend the victims and the general public</a:t>
            </a:r>
            <a:r>
              <a:rPr lang="en-GB" sz="1100" dirty="0">
                <a:solidFill>
                  <a:srgbClr val="14438E"/>
                </a:solidFill>
                <a:latin typeface="Arial" panose="020B0604020202020204" pitchFamily="34" charset="0"/>
                <a:ea typeface="Calibri" panose="020F0502020204030204" pitchFamily="34" charset="0"/>
                <a:cs typeface="Arial" panose="020B0604020202020204" pitchFamily="34" charset="0"/>
              </a:rPr>
              <a:t>.</a:t>
            </a:r>
            <a:endParaRPr lang="en-US" sz="1100" dirty="0">
              <a:solidFill>
                <a:srgbClr val="14438E"/>
              </a:solidFill>
              <a:effectLst/>
              <a:latin typeface="Arial" panose="020B0604020202020204" pitchFamily="34" charset="0"/>
              <a:ea typeface="Calibri" panose="020F0502020204030204" pitchFamily="34" charset="0"/>
              <a:cs typeface="Arial" panose="020B0604020202020204" pitchFamily="34" charset="0"/>
            </a:endParaRPr>
          </a:p>
          <a:p>
            <a:pPr marL="171450" indent="-171450" algn="just">
              <a:lnSpc>
                <a:spcPct val="115000"/>
              </a:lnSpc>
              <a:spcAft>
                <a:spcPts val="600"/>
              </a:spcAft>
              <a:buFont typeface="Arial" panose="020B0604020202020204" pitchFamily="34" charset="0"/>
              <a:buChar char="•"/>
            </a:pPr>
            <a:r>
              <a:rPr lang="en-GB" sz="1100" b="1"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Contrary to public policy:</a:t>
            </a:r>
            <a:r>
              <a:rPr lang="en-GB" sz="11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 if a sign and/or the message conveyed by it contravenes the fundamental norms and principles of a MS and/or the EU (e.g. human dignity), glorifies, trivialises and/or justifies this violation, or if it affects a fundamental interest of the MS and/or the EU as a whole.</a:t>
            </a:r>
            <a:endParaRPr lang="en-US" sz="11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endParaRPr>
          </a:p>
        </p:txBody>
      </p:sp>
      <p:sp>
        <p:nvSpPr>
          <p:cNvPr id="14" name="Rectangle: Rounded Corners 13">
            <a:extLst>
              <a:ext uri="{FF2B5EF4-FFF2-40B4-BE49-F238E27FC236}">
                <a16:creationId xmlns:a16="http://schemas.microsoft.com/office/drawing/2014/main" id="{EBFF0707-BCFB-4363-8AA4-51671913E7BC}"/>
              </a:ext>
            </a:extLst>
          </p:cNvPr>
          <p:cNvSpPr/>
          <p:nvPr/>
        </p:nvSpPr>
        <p:spPr>
          <a:xfrm>
            <a:off x="3555371" y="2216177"/>
            <a:ext cx="4891048" cy="1283491"/>
          </a:xfrm>
          <a:prstGeom prst="roundRect">
            <a:avLst/>
          </a:prstGeom>
          <a:solidFill>
            <a:schemeClr val="bg1">
              <a:lumMod val="95000"/>
            </a:schemeClr>
          </a:solidFill>
          <a:ln>
            <a:prstDash val="dash"/>
          </a:ln>
        </p:spPr>
        <p:style>
          <a:lnRef idx="1">
            <a:schemeClr val="accent1"/>
          </a:lnRef>
          <a:fillRef idx="3">
            <a:schemeClr val="accent1"/>
          </a:fillRef>
          <a:effectRef idx="2">
            <a:schemeClr val="accent1"/>
          </a:effectRef>
          <a:fontRef idx="minor">
            <a:schemeClr val="lt1"/>
          </a:fontRef>
        </p:style>
        <p:txBody>
          <a:bodyPr rtlCol="0" anchor="t"/>
          <a:lstStyle/>
          <a:p>
            <a:pPr lvl="0"/>
            <a:r>
              <a:rPr lang="en-GB" sz="1100" b="1" dirty="0">
                <a:solidFill>
                  <a:srgbClr val="4BACC6"/>
                </a:solidFill>
                <a:latin typeface="Arial" panose="020B0604020202020204" pitchFamily="34" charset="0"/>
                <a:cs typeface="Arial" panose="020B0604020202020204" pitchFamily="34" charset="0"/>
              </a:rPr>
              <a:t>Non-exhaustive factors to be considered:</a:t>
            </a:r>
          </a:p>
          <a:p>
            <a:pPr marL="285750" indent="-285750">
              <a:buFont typeface="Wingdings" panose="05000000000000000000" pitchFamily="2" charset="2"/>
              <a:buChar char="§"/>
            </a:pPr>
            <a:r>
              <a:rPr lang="en-GB" sz="1100" dirty="0">
                <a:solidFill>
                  <a:schemeClr val="tx2"/>
                </a:solidFill>
                <a:latin typeface="Arial" panose="020B0604020202020204" pitchFamily="34" charset="0"/>
                <a:cs typeface="Arial" panose="020B0604020202020204" pitchFamily="34" charset="0"/>
              </a:rPr>
              <a:t>Nature of the event</a:t>
            </a:r>
          </a:p>
          <a:p>
            <a:pPr marL="285750" indent="-285750">
              <a:buFont typeface="Wingdings" panose="05000000000000000000" pitchFamily="2" charset="2"/>
              <a:buChar char="§"/>
            </a:pPr>
            <a:r>
              <a:rPr lang="en-GB" sz="1100" dirty="0">
                <a:solidFill>
                  <a:schemeClr val="tx2"/>
                </a:solidFill>
                <a:latin typeface="Arial" panose="020B0604020202020204" pitchFamily="34" charset="0"/>
                <a:cs typeface="Arial" panose="020B0604020202020204" pitchFamily="34" charset="0"/>
              </a:rPr>
              <a:t>The historical and national context</a:t>
            </a:r>
          </a:p>
          <a:p>
            <a:pPr marL="285750" indent="-285750">
              <a:buFont typeface="Wingdings" panose="05000000000000000000" pitchFamily="2" charset="2"/>
              <a:buChar char="§"/>
            </a:pPr>
            <a:r>
              <a:rPr lang="en-GB" sz="1100" dirty="0">
                <a:solidFill>
                  <a:schemeClr val="tx2"/>
                </a:solidFill>
                <a:latin typeface="Arial" panose="020B0604020202020204" pitchFamily="34" charset="0"/>
                <a:cs typeface="Arial" panose="020B0604020202020204" pitchFamily="34" charset="0"/>
              </a:rPr>
              <a:t>The sensitivity or perception of the public</a:t>
            </a:r>
          </a:p>
          <a:p>
            <a:pPr marL="285750" indent="-285750">
              <a:buFont typeface="Wingdings" panose="05000000000000000000" pitchFamily="2" charset="2"/>
              <a:buChar char="§"/>
            </a:pPr>
            <a:r>
              <a:rPr lang="en-GB" sz="1100" dirty="0">
                <a:solidFill>
                  <a:schemeClr val="tx2"/>
                </a:solidFill>
                <a:latin typeface="Arial" panose="020B0604020202020204" pitchFamily="34" charset="0"/>
                <a:cs typeface="Arial" panose="020B0604020202020204" pitchFamily="34" charset="0"/>
              </a:rPr>
              <a:t>The effect or impact on a community</a:t>
            </a:r>
          </a:p>
          <a:p>
            <a:pPr marL="285750" indent="-285750">
              <a:buFont typeface="Wingdings" panose="05000000000000000000" pitchFamily="2" charset="2"/>
              <a:buChar char="§"/>
            </a:pPr>
            <a:r>
              <a:rPr lang="en-GB" sz="1100" dirty="0">
                <a:solidFill>
                  <a:schemeClr val="tx2"/>
                </a:solidFill>
                <a:latin typeface="Arial" panose="020B0604020202020204" pitchFamily="34" charset="0"/>
                <a:cs typeface="Arial" panose="020B0604020202020204" pitchFamily="34" charset="0"/>
              </a:rPr>
              <a:t>The time elapsed between the tragic event and the examination</a:t>
            </a:r>
          </a:p>
          <a:p>
            <a:pPr marL="285750" indent="-285750">
              <a:buFont typeface="Wingdings" panose="05000000000000000000" pitchFamily="2" charset="2"/>
              <a:buChar char="§"/>
            </a:pPr>
            <a:r>
              <a:rPr lang="en-GB" sz="1100" dirty="0">
                <a:solidFill>
                  <a:schemeClr val="tx2"/>
                </a:solidFill>
                <a:latin typeface="Arial" panose="020B0604020202020204" pitchFamily="34" charset="0"/>
                <a:cs typeface="Arial" panose="020B0604020202020204" pitchFamily="34" charset="0"/>
              </a:rPr>
              <a:t>If the word related to the tragedy has acquired a secondary meaning</a:t>
            </a:r>
          </a:p>
        </p:txBody>
      </p:sp>
    </p:spTree>
    <p:extLst>
      <p:ext uri="{BB962C8B-B14F-4D97-AF65-F5344CB8AC3E}">
        <p14:creationId xmlns:p14="http://schemas.microsoft.com/office/powerpoint/2010/main" val="150431503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13" name="Rectangle 12">
            <a:extLst>
              <a:ext uri="{FF2B5EF4-FFF2-40B4-BE49-F238E27FC236}">
                <a16:creationId xmlns:a16="http://schemas.microsoft.com/office/drawing/2014/main" id="{571997AA-2CB3-98D3-5FFC-9600DCAAED4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8 Signs referring/related to well-known tragic events</a:t>
            </a:r>
          </a:p>
        </p:txBody>
      </p:sp>
      <p:sp>
        <p:nvSpPr>
          <p:cNvPr id="5" name="TextBox 4">
            <a:extLst>
              <a:ext uri="{FF2B5EF4-FFF2-40B4-BE49-F238E27FC236}">
                <a16:creationId xmlns:a16="http://schemas.microsoft.com/office/drawing/2014/main" id="{883CBD4B-EE4B-6795-3DED-7CF35F66F3A5}"/>
              </a:ext>
            </a:extLst>
          </p:cNvPr>
          <p:cNvSpPr txBox="1"/>
          <p:nvPr/>
        </p:nvSpPr>
        <p:spPr>
          <a:xfrm>
            <a:off x="655031" y="3927890"/>
            <a:ext cx="2396550" cy="307777"/>
          </a:xfrm>
          <a:prstGeom prst="rect">
            <a:avLst/>
          </a:prstGeom>
          <a:noFill/>
        </p:spPr>
        <p:txBody>
          <a:bodyPr wrap="square" rtlCol="0">
            <a:spAutoFit/>
          </a:bodyPr>
          <a:lstStyle/>
          <a:p>
            <a:r>
              <a:rPr lang="en-GB" sz="1400" dirty="0">
                <a:solidFill>
                  <a:schemeClr val="tx2"/>
                </a:solidFill>
                <a:latin typeface="Arial" panose="020B0604020202020204" pitchFamily="34" charset="0"/>
                <a:cs typeface="Arial" panose="020B0604020202020204" pitchFamily="34" charset="0"/>
              </a:rPr>
              <a:t>Class 37: Cleaning services</a:t>
            </a:r>
          </a:p>
        </p:txBody>
      </p:sp>
      <p:sp>
        <p:nvSpPr>
          <p:cNvPr id="7" name="TextBox 6">
            <a:extLst>
              <a:ext uri="{FF2B5EF4-FFF2-40B4-BE49-F238E27FC236}">
                <a16:creationId xmlns:a16="http://schemas.microsoft.com/office/drawing/2014/main" id="{D3DC58B0-D4CD-7A06-0214-16F7A0D30674}"/>
              </a:ext>
            </a:extLst>
          </p:cNvPr>
          <p:cNvSpPr txBox="1"/>
          <p:nvPr/>
        </p:nvSpPr>
        <p:spPr>
          <a:xfrm>
            <a:off x="3299254" y="1757677"/>
            <a:ext cx="5423546" cy="2462213"/>
          </a:xfrm>
          <a:prstGeom prst="rect">
            <a:avLst/>
          </a:prstGeom>
          <a:noFill/>
        </p:spPr>
        <p:txBody>
          <a:bodyPr wrap="square">
            <a:spAutoFit/>
          </a:bodyPr>
          <a:lstStyle/>
          <a:p>
            <a:pPr marL="285750" indent="-285750" algn="just">
              <a:buFontTx/>
              <a:buChar char="-"/>
            </a:pPr>
            <a:r>
              <a:rPr lang="en-GB" sz="1400" dirty="0">
                <a:solidFill>
                  <a:schemeClr val="tx2"/>
                </a:solidFill>
                <a:latin typeface="Arial" panose="020B0604020202020204" pitchFamily="34" charset="0"/>
                <a:cs typeface="Arial" panose="020B0604020202020204" pitchFamily="34" charset="0"/>
              </a:rPr>
              <a:t>The sign makes a clear reference to the tragic terrorist attacks that took place in Paris in 2015. For ‘cleaning services’ </a:t>
            </a:r>
            <a:r>
              <a:rPr lang="en-US" sz="1400" dirty="0">
                <a:solidFill>
                  <a:schemeClr val="tx2"/>
                </a:solidFill>
                <a:latin typeface="Arial" panose="020B0604020202020204" pitchFamily="34" charset="0"/>
                <a:cs typeface="Arial" panose="020B0604020202020204" pitchFamily="34" charset="0"/>
              </a:rPr>
              <a:t>it will be perceived as trivialising the tragedy and taking advantage of the shocking event to attract consumers.</a:t>
            </a:r>
            <a:endParaRPr lang="en-GB" sz="1400" dirty="0">
              <a:solidFill>
                <a:schemeClr val="tx2"/>
              </a:solidFill>
              <a:latin typeface="Arial" panose="020B0604020202020204" pitchFamily="34" charset="0"/>
              <a:cs typeface="Arial" panose="020B0604020202020204" pitchFamily="34" charset="0"/>
            </a:endParaRPr>
          </a:p>
          <a:p>
            <a:pPr marL="285750" indent="-285750" algn="just">
              <a:buFontTx/>
              <a:buChar char="-"/>
            </a:pPr>
            <a:r>
              <a:rPr lang="en-US" sz="1400" dirty="0">
                <a:solidFill>
                  <a:schemeClr val="tx2"/>
                </a:solidFill>
                <a:latin typeface="Arial" panose="020B0604020202020204" pitchFamily="34" charset="0"/>
                <a:cs typeface="Arial" panose="020B0604020202020204" pitchFamily="34" charset="0"/>
              </a:rPr>
              <a:t>Under these circumstances, the sign will be perceived as offensive not only in relation to the victims of those attacks and their relatives, but also to any person with normal levels of sensitivity </a:t>
            </a:r>
            <a:r>
              <a:rPr lang="en-US" sz="1400">
                <a:solidFill>
                  <a:schemeClr val="tx2"/>
                </a:solidFill>
                <a:latin typeface="Arial" panose="020B0604020202020204" pitchFamily="34" charset="0"/>
                <a:cs typeface="Arial" panose="020B0604020202020204" pitchFamily="34" charset="0"/>
              </a:rPr>
              <a:t>and tolerance.</a:t>
            </a:r>
            <a:endParaRPr lang="en-US" sz="1400" dirty="0">
              <a:solidFill>
                <a:schemeClr val="tx2"/>
              </a:solidFill>
              <a:latin typeface="Arial" panose="020B0604020202020204" pitchFamily="34" charset="0"/>
              <a:cs typeface="Arial" panose="020B0604020202020204" pitchFamily="34" charset="0"/>
            </a:endParaRPr>
          </a:p>
          <a:p>
            <a:pPr marL="285750" indent="-285750" algn="just">
              <a:buFontTx/>
              <a:buChar char="-"/>
            </a:pPr>
            <a:endParaRPr lang="en-GB" sz="1400" dirty="0">
              <a:solidFill>
                <a:schemeClr val="tx2"/>
              </a:solidFill>
              <a:latin typeface="Arial" panose="020B0604020202020204" pitchFamily="34" charset="0"/>
              <a:cs typeface="Arial" panose="020B0604020202020204" pitchFamily="34" charset="0"/>
            </a:endParaRPr>
          </a:p>
          <a:p>
            <a:pPr marL="285750" indent="-285750" algn="just">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The sign is </a:t>
            </a:r>
            <a:r>
              <a:rPr lang="en-GB" sz="1400" b="1" dirty="0">
                <a:solidFill>
                  <a:schemeClr val="tx2"/>
                </a:solidFill>
                <a:latin typeface="Arial" panose="020B0604020202020204" pitchFamily="34" charset="0"/>
                <a:cs typeface="Arial" panose="020B0604020202020204" pitchFamily="34" charset="0"/>
              </a:rPr>
              <a:t>contrary to public policy and accepted principles of morality</a:t>
            </a:r>
            <a:endParaRPr lang="en-GB" sz="1400" dirty="0">
              <a:solidFill>
                <a:schemeClr val="tx2"/>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909B7FEC-DAEB-2756-1DFE-48F848FD016A}"/>
              </a:ext>
            </a:extLst>
          </p:cNvPr>
          <p:cNvSpPr txBox="1"/>
          <p:nvPr/>
        </p:nvSpPr>
        <p:spPr>
          <a:xfrm>
            <a:off x="3412800" y="4509079"/>
            <a:ext cx="4572000" cy="307777"/>
          </a:xfrm>
          <a:prstGeom prst="rect">
            <a:avLst/>
          </a:prstGeom>
          <a:solidFill>
            <a:schemeClr val="accent2">
              <a:lumMod val="40000"/>
              <a:lumOff val="60000"/>
            </a:schemeClr>
          </a:solidFill>
        </p:spPr>
        <p:txBody>
          <a:bodyPr wrap="square" lIns="91440" tIns="45720" rIns="91440" bIns="45720" rtlCol="0" anchor="t">
            <a:spAutoFit/>
          </a:bodyPr>
          <a:lstStyle/>
          <a:p>
            <a:pPr algn="ctr"/>
            <a:r>
              <a:rPr lang="en-GB" sz="1400" dirty="0">
                <a:solidFill>
                  <a:schemeClr val="tx2"/>
                </a:solidFill>
                <a:latin typeface="Arial"/>
                <a:cs typeface="Arial"/>
              </a:rPr>
              <a:t>Objectionable under Article 4(1)(f) TMD</a:t>
            </a:r>
            <a:endParaRPr lang="en-GB" sz="1400" dirty="0">
              <a:solidFill>
                <a:schemeClr val="tx2"/>
              </a:solidFill>
              <a:latin typeface="Arial" panose="020B0604020202020204" pitchFamily="34" charset="0"/>
              <a:cs typeface="Arial" panose="020B0604020202020204" pitchFamily="34" charset="0"/>
            </a:endParaRPr>
          </a:p>
        </p:txBody>
      </p:sp>
      <p:pic>
        <p:nvPicPr>
          <p:cNvPr id="9" name="Picture 8">
            <a:extLst>
              <a:ext uri="{FF2B5EF4-FFF2-40B4-BE49-F238E27FC236}">
                <a16:creationId xmlns:a16="http://schemas.microsoft.com/office/drawing/2014/main" id="{8F7BC59F-6ACA-359D-CE98-629670ADAB67}"/>
              </a:ext>
            </a:extLst>
          </p:cNvPr>
          <p:cNvPicPr>
            <a:picLocks noChangeAspect="1"/>
          </p:cNvPicPr>
          <p:nvPr/>
        </p:nvPicPr>
        <p:blipFill rotWithShape="1">
          <a:blip r:embed="rId4"/>
          <a:srcRect r="7184"/>
          <a:stretch/>
        </p:blipFill>
        <p:spPr>
          <a:xfrm>
            <a:off x="983277" y="2059782"/>
            <a:ext cx="1586929" cy="1558374"/>
          </a:xfrm>
          <a:prstGeom prst="rect">
            <a:avLst/>
          </a:prstGeom>
          <a:ln w="28575">
            <a:solidFill>
              <a:srgbClr val="C00000"/>
            </a:solidFill>
          </a:ln>
        </p:spPr>
      </p:pic>
    </p:spTree>
    <p:extLst>
      <p:ext uri="{BB962C8B-B14F-4D97-AF65-F5344CB8AC3E}">
        <p14:creationId xmlns:p14="http://schemas.microsoft.com/office/powerpoint/2010/main" val="4402886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13" name="Rectangle 12">
            <a:extLst>
              <a:ext uri="{FF2B5EF4-FFF2-40B4-BE49-F238E27FC236}">
                <a16:creationId xmlns:a16="http://schemas.microsoft.com/office/drawing/2014/main" id="{571997AA-2CB3-98D3-5FFC-9600DCAAED4C}"/>
              </a:ext>
            </a:extLst>
          </p:cNvPr>
          <p:cNvSpPr>
            <a:spLocks/>
          </p:cNvSpPr>
          <p:nvPr/>
        </p:nvSpPr>
        <p:spPr bwMode="auto">
          <a:xfrm>
            <a:off x="672935" y="1055059"/>
            <a:ext cx="8082703"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8 Signs referring/related to well-known tragic events</a:t>
            </a:r>
          </a:p>
        </p:txBody>
      </p:sp>
      <p:sp>
        <p:nvSpPr>
          <p:cNvPr id="9" name="TextBox 8">
            <a:extLst>
              <a:ext uri="{FF2B5EF4-FFF2-40B4-BE49-F238E27FC236}">
                <a16:creationId xmlns:a16="http://schemas.microsoft.com/office/drawing/2014/main" id="{7296B039-A713-2A58-E95D-F8C05310E844}"/>
              </a:ext>
            </a:extLst>
          </p:cNvPr>
          <p:cNvSpPr txBox="1"/>
          <p:nvPr/>
        </p:nvSpPr>
        <p:spPr>
          <a:xfrm>
            <a:off x="3286896" y="1411471"/>
            <a:ext cx="5468303" cy="3539430"/>
          </a:xfrm>
          <a:prstGeom prst="rect">
            <a:avLst/>
          </a:prstGeom>
          <a:noFill/>
        </p:spPr>
        <p:txBody>
          <a:bodyPr wrap="square">
            <a:spAutoFit/>
          </a:bodyPr>
          <a:lstStyle/>
          <a:p>
            <a:pPr marL="285750" indent="-285750" algn="just">
              <a:buFontTx/>
              <a:buChar char="-"/>
            </a:pPr>
            <a:r>
              <a:rPr lang="en-US" sz="1400" dirty="0">
                <a:solidFill>
                  <a:schemeClr val="tx2"/>
                </a:solidFill>
                <a:latin typeface="Arial" panose="020B0604020202020204" pitchFamily="34" charset="0"/>
                <a:cs typeface="Arial" panose="020B0604020202020204" pitchFamily="34" charset="0"/>
              </a:rPr>
              <a:t>If the sign is </a:t>
            </a:r>
            <a:r>
              <a:rPr lang="en-US" sz="1400" b="1" dirty="0">
                <a:solidFill>
                  <a:schemeClr val="tx2"/>
                </a:solidFill>
                <a:latin typeface="Arial" panose="020B0604020202020204" pitchFamily="34" charset="0"/>
                <a:cs typeface="Arial" panose="020B0604020202020204" pitchFamily="34" charset="0"/>
              </a:rPr>
              <a:t>only describing a circumstance </a:t>
            </a:r>
            <a:r>
              <a:rPr lang="en-US" sz="1400" dirty="0">
                <a:solidFill>
                  <a:schemeClr val="tx2"/>
                </a:solidFill>
                <a:latin typeface="Arial" panose="020B0604020202020204" pitchFamily="34" charset="0"/>
                <a:cs typeface="Arial" panose="020B0604020202020204" pitchFamily="34" charset="0"/>
              </a:rPr>
              <a:t>in a manner that is not likely to cause offence, </a:t>
            </a:r>
            <a:r>
              <a:rPr lang="en-US" sz="1400" dirty="0" err="1">
                <a:solidFill>
                  <a:schemeClr val="tx2"/>
                </a:solidFill>
                <a:latin typeface="Arial" panose="020B0604020202020204" pitchFamily="34" charset="0"/>
                <a:cs typeface="Arial" panose="020B0604020202020204" pitchFamily="34" charset="0"/>
              </a:rPr>
              <a:t>trivialise</a:t>
            </a:r>
            <a:r>
              <a:rPr lang="en-US" sz="1400" dirty="0">
                <a:solidFill>
                  <a:schemeClr val="tx2"/>
                </a:solidFill>
                <a:latin typeface="Arial" panose="020B0604020202020204" pitchFamily="34" charset="0"/>
                <a:cs typeface="Arial" panose="020B0604020202020204" pitchFamily="34" charset="0"/>
              </a:rPr>
              <a:t> or take advantage of the tragedy, the sign is </a:t>
            </a:r>
            <a:r>
              <a:rPr lang="en-US" sz="1400" b="1" dirty="0">
                <a:solidFill>
                  <a:schemeClr val="tx2"/>
                </a:solidFill>
                <a:latin typeface="Arial" panose="020B0604020202020204" pitchFamily="34" charset="0"/>
                <a:cs typeface="Arial" panose="020B0604020202020204" pitchFamily="34" charset="0"/>
              </a:rPr>
              <a:t>unlikely </a:t>
            </a:r>
            <a:r>
              <a:rPr lang="en-US" sz="1400" dirty="0">
                <a:solidFill>
                  <a:schemeClr val="tx2"/>
                </a:solidFill>
                <a:latin typeface="Arial" panose="020B0604020202020204" pitchFamily="34" charset="0"/>
                <a:cs typeface="Arial" panose="020B0604020202020204" pitchFamily="34" charset="0"/>
              </a:rPr>
              <a:t>to be considered </a:t>
            </a:r>
            <a:r>
              <a:rPr lang="en-US" sz="1400" b="1" dirty="0">
                <a:solidFill>
                  <a:schemeClr val="tx2"/>
                </a:solidFill>
                <a:latin typeface="Arial" panose="020B0604020202020204" pitchFamily="34" charset="0"/>
                <a:cs typeface="Arial" panose="020B0604020202020204" pitchFamily="34" charset="0"/>
              </a:rPr>
              <a:t>contrary to accepted principles of morality</a:t>
            </a:r>
            <a:r>
              <a:rPr lang="en-US" sz="1400" dirty="0">
                <a:solidFill>
                  <a:schemeClr val="tx2"/>
                </a:solidFill>
                <a:latin typeface="Arial" panose="020B0604020202020204" pitchFamily="34" charset="0"/>
                <a:cs typeface="Arial" panose="020B0604020202020204" pitchFamily="34" charset="0"/>
              </a:rPr>
              <a:t>.</a:t>
            </a:r>
            <a:endParaRPr lang="en-GB" sz="1400" dirty="0">
              <a:solidFill>
                <a:schemeClr val="tx2"/>
              </a:solidFill>
              <a:latin typeface="Arial" panose="020B0604020202020204" pitchFamily="34" charset="0"/>
              <a:cs typeface="Arial" panose="020B0604020202020204" pitchFamily="34" charset="0"/>
            </a:endParaRPr>
          </a:p>
          <a:p>
            <a:pPr marL="285750" indent="-285750" algn="just">
              <a:buFontTx/>
              <a:buChar char="-"/>
            </a:pPr>
            <a:endParaRPr lang="en-GB" sz="1400" dirty="0">
              <a:solidFill>
                <a:schemeClr val="tx2"/>
              </a:solidFill>
              <a:latin typeface="Arial" panose="020B0604020202020204" pitchFamily="34" charset="0"/>
              <a:cs typeface="Arial" panose="020B0604020202020204" pitchFamily="34" charset="0"/>
            </a:endParaRPr>
          </a:p>
          <a:p>
            <a:pPr marL="285750" indent="-285750" algn="just">
              <a:buFontTx/>
              <a:buChar char="-"/>
            </a:pPr>
            <a:r>
              <a:rPr lang="en-GB" sz="1400" dirty="0">
                <a:solidFill>
                  <a:schemeClr val="tx2"/>
                </a:solidFill>
                <a:latin typeface="Arial" panose="020B0604020202020204" pitchFamily="34" charset="0"/>
                <a:cs typeface="Arial" panose="020B0604020202020204" pitchFamily="34" charset="0"/>
              </a:rPr>
              <a:t>The combination of the message with the figurative element in relation to ‘educational services‘ makes clear reference to the Chernobyl nuclear disaster of 1986, but will not be perceived as trivialising or taking advantage of this shocking event to attract </a:t>
            </a:r>
            <a:r>
              <a:rPr lang="en-GB" sz="1400">
                <a:solidFill>
                  <a:schemeClr val="tx2"/>
                </a:solidFill>
                <a:latin typeface="Arial" panose="020B0604020202020204" pitchFamily="34" charset="0"/>
                <a:cs typeface="Arial" panose="020B0604020202020204" pitchFamily="34" charset="0"/>
              </a:rPr>
              <a:t>customers.</a:t>
            </a:r>
          </a:p>
          <a:p>
            <a:pPr marL="285750" indent="-285750" algn="just">
              <a:buFontTx/>
              <a:buChar char="-"/>
            </a:pPr>
            <a:endParaRPr lang="en-GB" sz="1400" dirty="0">
              <a:solidFill>
                <a:schemeClr val="tx2"/>
              </a:solidFill>
              <a:latin typeface="Arial" panose="020B0604020202020204" pitchFamily="34" charset="0"/>
              <a:cs typeface="Arial" panose="020B0604020202020204" pitchFamily="34" charset="0"/>
            </a:endParaRPr>
          </a:p>
          <a:p>
            <a:pPr marL="285750" indent="-285750" algn="just">
              <a:buFontTx/>
              <a:buChar char="-"/>
            </a:pPr>
            <a:r>
              <a:rPr lang="en-GB" sz="1400" dirty="0">
                <a:solidFill>
                  <a:schemeClr val="tx2"/>
                </a:solidFill>
                <a:latin typeface="Arial" panose="020B0604020202020204" pitchFamily="34" charset="0"/>
                <a:cs typeface="Arial" panose="020B0604020202020204" pitchFamily="34" charset="0"/>
              </a:rPr>
              <a:t>Considering the time elapsed since the tragedy, it will not be perceived as offensive.</a:t>
            </a:r>
          </a:p>
          <a:p>
            <a:pPr marL="285750" indent="-285750" algn="just">
              <a:buFontTx/>
              <a:buChar char="-"/>
            </a:pPr>
            <a:endParaRPr lang="en-GB" sz="1400" dirty="0">
              <a:solidFill>
                <a:schemeClr val="tx2"/>
              </a:solidFill>
              <a:latin typeface="Arial" panose="020B0604020202020204" pitchFamily="34" charset="0"/>
              <a:cs typeface="Arial" panose="020B0604020202020204" pitchFamily="34" charset="0"/>
            </a:endParaRPr>
          </a:p>
          <a:p>
            <a:pPr marL="285750" indent="-285750" algn="just">
              <a:buFont typeface="Wingdings" panose="05000000000000000000" pitchFamily="2" charset="2"/>
              <a:buChar char="Ø"/>
            </a:pPr>
            <a:r>
              <a:rPr lang="en-GB" sz="1400" b="1" dirty="0">
                <a:solidFill>
                  <a:srgbClr val="2A5494"/>
                </a:solidFill>
                <a:latin typeface="Arial "/>
              </a:rPr>
              <a:t>Not contrary to accepted principles of morality</a:t>
            </a:r>
          </a:p>
          <a:p>
            <a:pPr algn="just"/>
            <a:r>
              <a:rPr lang="en-GB" sz="1400" b="1" dirty="0">
                <a:solidFill>
                  <a:srgbClr val="2A5494"/>
                </a:solidFill>
                <a:latin typeface="Arial "/>
              </a:rPr>
              <a:t> </a:t>
            </a:r>
          </a:p>
        </p:txBody>
      </p:sp>
      <p:pic>
        <p:nvPicPr>
          <p:cNvPr id="10" name="Picture 9">
            <a:extLst>
              <a:ext uri="{FF2B5EF4-FFF2-40B4-BE49-F238E27FC236}">
                <a16:creationId xmlns:a16="http://schemas.microsoft.com/office/drawing/2014/main" id="{CF83AC22-E1A6-9DDD-F278-510955CF3367}"/>
              </a:ext>
            </a:extLst>
          </p:cNvPr>
          <p:cNvPicPr>
            <a:picLocks/>
          </p:cNvPicPr>
          <p:nvPr/>
        </p:nvPicPr>
        <p:blipFill>
          <a:blip r:embed="rId4">
            <a:extLst>
              <a:ext uri="{28A0092B-C50C-407E-A947-70E740481C1C}">
                <a14:useLocalDpi xmlns:a14="http://schemas.microsoft.com/office/drawing/2010/main" val="0"/>
              </a:ext>
            </a:extLst>
          </a:blip>
          <a:srcRect/>
          <a:stretch>
            <a:fillRect/>
          </a:stretch>
        </p:blipFill>
        <p:spPr bwMode="auto">
          <a:xfrm>
            <a:off x="784800" y="1894165"/>
            <a:ext cx="2021533" cy="1531980"/>
          </a:xfrm>
          <a:prstGeom prst="rect">
            <a:avLst/>
          </a:prstGeom>
          <a:noFill/>
          <a:ln w="28575">
            <a:solidFill>
              <a:srgbClr val="00B050"/>
            </a:solidFill>
          </a:ln>
        </p:spPr>
      </p:pic>
      <p:sp>
        <p:nvSpPr>
          <p:cNvPr id="11" name="TextBox 10">
            <a:extLst>
              <a:ext uri="{FF2B5EF4-FFF2-40B4-BE49-F238E27FC236}">
                <a16:creationId xmlns:a16="http://schemas.microsoft.com/office/drawing/2014/main" id="{1BC443AC-5EAD-7A60-5A30-523FF6AAEDAF}"/>
              </a:ext>
            </a:extLst>
          </p:cNvPr>
          <p:cNvSpPr txBox="1"/>
          <p:nvPr/>
        </p:nvSpPr>
        <p:spPr>
          <a:xfrm>
            <a:off x="784800" y="3724020"/>
            <a:ext cx="2021533" cy="523220"/>
          </a:xfrm>
          <a:prstGeom prst="rect">
            <a:avLst/>
          </a:prstGeom>
          <a:noFill/>
        </p:spPr>
        <p:txBody>
          <a:bodyPr wrap="square" rtlCol="0">
            <a:spAutoFit/>
          </a:bodyPr>
          <a:lstStyle/>
          <a:p>
            <a:r>
              <a:rPr lang="en-GB" sz="1400" dirty="0">
                <a:solidFill>
                  <a:schemeClr val="tx2"/>
                </a:solidFill>
                <a:latin typeface="Arial" panose="020B0604020202020204" pitchFamily="34" charset="0"/>
                <a:cs typeface="Arial" panose="020B0604020202020204" pitchFamily="34" charset="0"/>
              </a:rPr>
              <a:t>Class 41: Educational services</a:t>
            </a:r>
          </a:p>
        </p:txBody>
      </p:sp>
      <p:sp>
        <p:nvSpPr>
          <p:cNvPr id="15" name="TextBox 14">
            <a:extLst>
              <a:ext uri="{FF2B5EF4-FFF2-40B4-BE49-F238E27FC236}">
                <a16:creationId xmlns:a16="http://schemas.microsoft.com/office/drawing/2014/main" id="{C272D84B-6D6B-D85A-4255-65AA6E3C866B}"/>
              </a:ext>
            </a:extLst>
          </p:cNvPr>
          <p:cNvSpPr txBox="1"/>
          <p:nvPr/>
        </p:nvSpPr>
        <p:spPr>
          <a:xfrm>
            <a:off x="3401672" y="4739075"/>
            <a:ext cx="4572000" cy="307777"/>
          </a:xfrm>
          <a:prstGeom prst="rect">
            <a:avLst/>
          </a:prstGeom>
          <a:solidFill>
            <a:schemeClr val="accent3">
              <a:lumMod val="40000"/>
              <a:lumOff val="60000"/>
            </a:schemeClr>
          </a:solidFill>
        </p:spPr>
        <p:txBody>
          <a:bodyPr wrap="square" lIns="91440" tIns="45720" rIns="91440" bIns="45720" rtlCol="0" anchor="t">
            <a:spAutoFit/>
          </a:bodyPr>
          <a:lstStyle/>
          <a:p>
            <a:pPr algn="ctr"/>
            <a:r>
              <a:rPr lang="en-GB" sz="1400" dirty="0">
                <a:solidFill>
                  <a:schemeClr val="tx2"/>
                </a:solidFill>
                <a:latin typeface="Arial"/>
                <a:cs typeface="Arial"/>
              </a:rPr>
              <a:t>Non-objectionable under Article 4(1)(f) TMD</a:t>
            </a:r>
            <a:endParaRPr lang="en-GB" sz="140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557151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13" name="Rectangle 12">
            <a:extLst>
              <a:ext uri="{FF2B5EF4-FFF2-40B4-BE49-F238E27FC236}">
                <a16:creationId xmlns:a16="http://schemas.microsoft.com/office/drawing/2014/main" id="{571997AA-2CB3-98D3-5FFC-9600DCAAED4C}"/>
              </a:ext>
            </a:extLst>
          </p:cNvPr>
          <p:cNvSpPr>
            <a:spLocks/>
          </p:cNvSpPr>
          <p:nvPr/>
        </p:nvSpPr>
        <p:spPr bwMode="auto">
          <a:xfrm>
            <a:off x="652211" y="1055059"/>
            <a:ext cx="8103428"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8 Signs referring/related to well-known tragic events</a:t>
            </a:r>
          </a:p>
        </p:txBody>
      </p:sp>
      <p:sp>
        <p:nvSpPr>
          <p:cNvPr id="9" name="TextBox 8">
            <a:extLst>
              <a:ext uri="{FF2B5EF4-FFF2-40B4-BE49-F238E27FC236}">
                <a16:creationId xmlns:a16="http://schemas.microsoft.com/office/drawing/2014/main" id="{7296B039-A713-2A58-E95D-F8C05310E844}"/>
              </a:ext>
            </a:extLst>
          </p:cNvPr>
          <p:cNvSpPr txBox="1"/>
          <p:nvPr/>
        </p:nvSpPr>
        <p:spPr>
          <a:xfrm>
            <a:off x="3286896" y="1582751"/>
            <a:ext cx="5468303" cy="2677656"/>
          </a:xfrm>
          <a:prstGeom prst="rect">
            <a:avLst/>
          </a:prstGeom>
          <a:noFill/>
        </p:spPr>
        <p:txBody>
          <a:bodyPr wrap="square">
            <a:spAutoFit/>
          </a:bodyPr>
          <a:lstStyle/>
          <a:p>
            <a:pPr marL="285750" indent="-285750" algn="just">
              <a:buFontTx/>
              <a:buChar char="-"/>
            </a:pPr>
            <a:r>
              <a:rPr lang="en-US" sz="1400" dirty="0">
                <a:solidFill>
                  <a:schemeClr val="tx2"/>
                </a:solidFill>
                <a:latin typeface="Arial" panose="020B0604020202020204" pitchFamily="34" charset="0"/>
                <a:cs typeface="Arial" panose="020B0604020202020204" pitchFamily="34" charset="0"/>
              </a:rPr>
              <a:t>If the </a:t>
            </a:r>
            <a:r>
              <a:rPr lang="en-US" sz="1400" b="1" dirty="0">
                <a:solidFill>
                  <a:schemeClr val="tx2"/>
                </a:solidFill>
                <a:latin typeface="Arial" panose="020B0604020202020204" pitchFamily="34" charset="0"/>
                <a:cs typeface="Arial" panose="020B0604020202020204" pitchFamily="34" charset="0"/>
              </a:rPr>
              <a:t>goods and/or services </a:t>
            </a:r>
            <a:r>
              <a:rPr lang="en-US" sz="1400" dirty="0">
                <a:solidFill>
                  <a:schemeClr val="tx2"/>
                </a:solidFill>
                <a:latin typeface="Arial" panose="020B0604020202020204" pitchFamily="34" charset="0"/>
                <a:cs typeface="Arial" panose="020B0604020202020204" pitchFamily="34" charset="0"/>
              </a:rPr>
              <a:t>applied for aim to </a:t>
            </a:r>
            <a:r>
              <a:rPr lang="en-US" sz="1400" b="1" dirty="0">
                <a:solidFill>
                  <a:schemeClr val="tx2"/>
                </a:solidFill>
                <a:latin typeface="Arial" panose="020B0604020202020204" pitchFamily="34" charset="0"/>
                <a:cs typeface="Arial" panose="020B0604020202020204" pitchFamily="34" charset="0"/>
              </a:rPr>
              <a:t>educate, overcome and/or raise awareness</a:t>
            </a:r>
            <a:r>
              <a:rPr lang="en-US" sz="1400" dirty="0">
                <a:solidFill>
                  <a:schemeClr val="tx2"/>
                </a:solidFill>
                <a:latin typeface="Arial" panose="020B0604020202020204" pitchFamily="34" charset="0"/>
                <a:cs typeface="Arial" panose="020B0604020202020204" pitchFamily="34" charset="0"/>
              </a:rPr>
              <a:t> about the tragedy and do not convey any offensive message, the sign is </a:t>
            </a:r>
            <a:r>
              <a:rPr lang="en-US" sz="1400" b="1" dirty="0">
                <a:solidFill>
                  <a:schemeClr val="tx2"/>
                </a:solidFill>
                <a:latin typeface="Arial" panose="020B0604020202020204" pitchFamily="34" charset="0"/>
                <a:cs typeface="Arial" panose="020B0604020202020204" pitchFamily="34" charset="0"/>
              </a:rPr>
              <a:t>less likely to be refused under accepted principles of morality</a:t>
            </a:r>
            <a:r>
              <a:rPr lang="en-US" sz="1400" dirty="0">
                <a:solidFill>
                  <a:schemeClr val="tx2"/>
                </a:solidFill>
                <a:latin typeface="Arial" panose="020B0604020202020204" pitchFamily="34" charset="0"/>
                <a:cs typeface="Arial" panose="020B0604020202020204" pitchFamily="34" charset="0"/>
              </a:rPr>
              <a:t>.</a:t>
            </a:r>
          </a:p>
          <a:p>
            <a:pPr marL="285750" indent="-285750" algn="just">
              <a:buFontTx/>
              <a:buChar char="-"/>
            </a:pPr>
            <a:endParaRPr lang="en-IE" sz="1400" dirty="0">
              <a:solidFill>
                <a:schemeClr val="tx2"/>
              </a:solidFill>
              <a:latin typeface="Arial" panose="020B0604020202020204" pitchFamily="34" charset="0"/>
              <a:cs typeface="Arial" panose="020B0604020202020204" pitchFamily="34" charset="0"/>
            </a:endParaRPr>
          </a:p>
          <a:p>
            <a:pPr marL="285750" indent="-285750" algn="just">
              <a:buFontTx/>
              <a:buChar char="-"/>
            </a:pPr>
            <a:r>
              <a:rPr lang="en-IE" sz="1400" dirty="0">
                <a:solidFill>
                  <a:schemeClr val="tx2"/>
                </a:solidFill>
                <a:latin typeface="Arial" panose="020B0604020202020204" pitchFamily="34" charset="0"/>
                <a:cs typeface="Arial" panose="020B0604020202020204" pitchFamily="34" charset="0"/>
              </a:rPr>
              <a:t>The sign in relation to the services applied for will be perceived as an effort to overcome and raise awareness of the COVID-19 pandemic. In addition, it does not contain an offensive and/or shocking message towards a particular group intended to attract consumers’ attention. </a:t>
            </a:r>
          </a:p>
          <a:p>
            <a:pPr algn="just"/>
            <a:endParaRPr lang="en-GB" sz="1400" dirty="0">
              <a:solidFill>
                <a:schemeClr val="tx2"/>
              </a:solidFill>
              <a:latin typeface="Arial" panose="020B0604020202020204" pitchFamily="34" charset="0"/>
              <a:cs typeface="Arial" panose="020B0604020202020204" pitchFamily="34" charset="0"/>
            </a:endParaRPr>
          </a:p>
          <a:p>
            <a:pPr marL="285750" indent="-285750" algn="just">
              <a:buFont typeface="Wingdings" panose="05000000000000000000" pitchFamily="2" charset="2"/>
              <a:buChar char="Ø"/>
            </a:pPr>
            <a:r>
              <a:rPr lang="en-GB" sz="1400" b="1" dirty="0">
                <a:solidFill>
                  <a:srgbClr val="2A5494"/>
                </a:solidFill>
                <a:latin typeface="Arial "/>
              </a:rPr>
              <a:t>Not contrary to accepted principles of morality</a:t>
            </a:r>
          </a:p>
        </p:txBody>
      </p:sp>
      <p:sp>
        <p:nvSpPr>
          <p:cNvPr id="11" name="TextBox 10">
            <a:extLst>
              <a:ext uri="{FF2B5EF4-FFF2-40B4-BE49-F238E27FC236}">
                <a16:creationId xmlns:a16="http://schemas.microsoft.com/office/drawing/2014/main" id="{1BC443AC-5EAD-7A60-5A30-523FF6AAEDAF}"/>
              </a:ext>
            </a:extLst>
          </p:cNvPr>
          <p:cNvSpPr txBox="1"/>
          <p:nvPr/>
        </p:nvSpPr>
        <p:spPr>
          <a:xfrm>
            <a:off x="652210" y="3499600"/>
            <a:ext cx="2021533" cy="523220"/>
          </a:xfrm>
          <a:prstGeom prst="rect">
            <a:avLst/>
          </a:prstGeom>
          <a:noFill/>
        </p:spPr>
        <p:txBody>
          <a:bodyPr wrap="square" rtlCol="0">
            <a:spAutoFit/>
          </a:bodyPr>
          <a:lstStyle/>
          <a:p>
            <a:r>
              <a:rPr lang="en-GB" sz="1400" dirty="0">
                <a:solidFill>
                  <a:schemeClr val="tx2"/>
                </a:solidFill>
                <a:latin typeface="Arial" panose="020B0604020202020204" pitchFamily="34" charset="0"/>
                <a:cs typeface="Arial" panose="020B0604020202020204" pitchFamily="34" charset="0"/>
              </a:rPr>
              <a:t>Class 42: Scientific investigation</a:t>
            </a:r>
          </a:p>
        </p:txBody>
      </p:sp>
      <p:sp>
        <p:nvSpPr>
          <p:cNvPr id="15" name="TextBox 14">
            <a:extLst>
              <a:ext uri="{FF2B5EF4-FFF2-40B4-BE49-F238E27FC236}">
                <a16:creationId xmlns:a16="http://schemas.microsoft.com/office/drawing/2014/main" id="{C272D84B-6D6B-D85A-4255-65AA6E3C866B}"/>
              </a:ext>
            </a:extLst>
          </p:cNvPr>
          <p:cNvSpPr txBox="1"/>
          <p:nvPr/>
        </p:nvSpPr>
        <p:spPr>
          <a:xfrm>
            <a:off x="3401672" y="4525789"/>
            <a:ext cx="4572000" cy="307777"/>
          </a:xfrm>
          <a:prstGeom prst="rect">
            <a:avLst/>
          </a:prstGeom>
          <a:solidFill>
            <a:schemeClr val="accent3">
              <a:lumMod val="40000"/>
              <a:lumOff val="60000"/>
            </a:schemeClr>
          </a:solidFill>
        </p:spPr>
        <p:txBody>
          <a:bodyPr wrap="square" lIns="91440" tIns="45720" rIns="91440" bIns="45720" rtlCol="0" anchor="t">
            <a:spAutoFit/>
          </a:bodyPr>
          <a:lstStyle/>
          <a:p>
            <a:pPr algn="ctr"/>
            <a:r>
              <a:rPr lang="en-GB" sz="1400" dirty="0">
                <a:solidFill>
                  <a:schemeClr val="tx2"/>
                </a:solidFill>
                <a:latin typeface="Arial"/>
                <a:cs typeface="Arial"/>
              </a:rPr>
              <a:t>Non-objectionable under Article 4(1)(f) TMD</a:t>
            </a:r>
            <a:endParaRPr lang="en-GB" sz="1400" dirty="0">
              <a:solidFill>
                <a:schemeClr val="tx2"/>
              </a:solidFill>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DF27CD12-4F11-4E80-A400-C98B99CA1AD3}"/>
              </a:ext>
            </a:extLst>
          </p:cNvPr>
          <p:cNvPicPr>
            <a:picLocks noChangeAspect="1"/>
          </p:cNvPicPr>
          <p:nvPr/>
        </p:nvPicPr>
        <p:blipFill>
          <a:blip r:embed="rId4"/>
          <a:stretch>
            <a:fillRect/>
          </a:stretch>
        </p:blipFill>
        <p:spPr>
          <a:xfrm>
            <a:off x="726352" y="2100567"/>
            <a:ext cx="1472601" cy="1140078"/>
          </a:xfrm>
          <a:prstGeom prst="rect">
            <a:avLst/>
          </a:prstGeom>
          <a:ln w="28575">
            <a:solidFill>
              <a:srgbClr val="00B050"/>
            </a:solidFill>
          </a:ln>
        </p:spPr>
      </p:pic>
    </p:spTree>
    <p:extLst>
      <p:ext uri="{BB962C8B-B14F-4D97-AF65-F5344CB8AC3E}">
        <p14:creationId xmlns:p14="http://schemas.microsoft.com/office/powerpoint/2010/main" val="27082932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13" name="Rectangle 12">
            <a:extLst>
              <a:ext uri="{FF2B5EF4-FFF2-40B4-BE49-F238E27FC236}">
                <a16:creationId xmlns:a16="http://schemas.microsoft.com/office/drawing/2014/main" id="{571997AA-2CB3-98D3-5FFC-9600DCAAED4C}"/>
              </a:ext>
            </a:extLst>
          </p:cNvPr>
          <p:cNvSpPr>
            <a:spLocks/>
          </p:cNvSpPr>
          <p:nvPr/>
        </p:nvSpPr>
        <p:spPr bwMode="auto">
          <a:xfrm>
            <a:off x="672935" y="1055059"/>
            <a:ext cx="8082703" cy="472874"/>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9 Signs including/related to historical figures, national/EU symbols and/or personalities held in high esteem</a:t>
            </a:r>
          </a:p>
        </p:txBody>
      </p:sp>
      <p:sp>
        <p:nvSpPr>
          <p:cNvPr id="4" name="Rectangle: Rounded Corners 3">
            <a:extLst>
              <a:ext uri="{FF2B5EF4-FFF2-40B4-BE49-F238E27FC236}">
                <a16:creationId xmlns:a16="http://schemas.microsoft.com/office/drawing/2014/main" id="{49E1C7B9-1109-91B2-9940-50712FA2D332}"/>
              </a:ext>
            </a:extLst>
          </p:cNvPr>
          <p:cNvSpPr/>
          <p:nvPr/>
        </p:nvSpPr>
        <p:spPr>
          <a:xfrm>
            <a:off x="651600" y="2218417"/>
            <a:ext cx="1833478" cy="923640"/>
          </a:xfrm>
          <a:prstGeom prst="roundRect">
            <a:avLst/>
          </a:prstGeom>
          <a:solidFill>
            <a:srgbClr val="0C4CA2"/>
          </a:solidFill>
          <a:ln w="19050">
            <a:solidFill>
              <a:srgbClr val="4BACC6"/>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b="1" dirty="0">
              <a:solidFill>
                <a:schemeClr val="bg1"/>
              </a:solidFill>
              <a:latin typeface="Arial" panose="020B0604020202020204" pitchFamily="34" charset="0"/>
              <a:cs typeface="Arial" panose="020B0604020202020204" pitchFamily="34" charset="0"/>
            </a:endParaRPr>
          </a:p>
          <a:p>
            <a:pPr algn="ctr"/>
            <a:r>
              <a:rPr lang="en-GB" sz="1400" b="1">
                <a:solidFill>
                  <a:schemeClr val="bg1"/>
                </a:solidFill>
                <a:latin typeface="Arial" panose="020B0604020202020204" pitchFamily="34" charset="0"/>
                <a:cs typeface="Arial" panose="020B0604020202020204" pitchFamily="34" charset="0"/>
              </a:rPr>
              <a:t>What types </a:t>
            </a:r>
            <a:r>
              <a:rPr lang="en-GB" sz="1400" b="1" dirty="0">
                <a:solidFill>
                  <a:schemeClr val="bg1"/>
                </a:solidFill>
                <a:latin typeface="Arial" panose="020B0604020202020204" pitchFamily="34" charset="0"/>
                <a:cs typeface="Arial" panose="020B0604020202020204" pitchFamily="34" charset="0"/>
              </a:rPr>
              <a:t>of signs does this group comprise? </a:t>
            </a:r>
          </a:p>
          <a:p>
            <a:pPr algn="ctr"/>
            <a:endParaRPr lang="en-GB" dirty="0">
              <a:solidFill>
                <a:schemeClr val="bg1"/>
              </a:solidFill>
            </a:endParaRPr>
          </a:p>
        </p:txBody>
      </p:sp>
      <p:sp>
        <p:nvSpPr>
          <p:cNvPr id="5" name="Freeform: Shape 4">
            <a:extLst>
              <a:ext uri="{FF2B5EF4-FFF2-40B4-BE49-F238E27FC236}">
                <a16:creationId xmlns:a16="http://schemas.microsoft.com/office/drawing/2014/main" id="{C0E821CF-8434-EB3B-8FE0-A8BC663E7812}"/>
              </a:ext>
            </a:extLst>
          </p:cNvPr>
          <p:cNvSpPr/>
          <p:nvPr/>
        </p:nvSpPr>
        <p:spPr>
          <a:xfrm>
            <a:off x="2616200" y="1667084"/>
            <a:ext cx="6105392" cy="543101"/>
          </a:xfrm>
          <a:custGeom>
            <a:avLst/>
            <a:gdLst>
              <a:gd name="connsiteX0" fmla="*/ 0 w 4363394"/>
              <a:gd name="connsiteY0" fmla="*/ 174617 h 1746173"/>
              <a:gd name="connsiteX1" fmla="*/ 174617 w 4363394"/>
              <a:gd name="connsiteY1" fmla="*/ 0 h 1746173"/>
              <a:gd name="connsiteX2" fmla="*/ 4188777 w 4363394"/>
              <a:gd name="connsiteY2" fmla="*/ 0 h 1746173"/>
              <a:gd name="connsiteX3" fmla="*/ 4363394 w 4363394"/>
              <a:gd name="connsiteY3" fmla="*/ 174617 h 1746173"/>
              <a:gd name="connsiteX4" fmla="*/ 4363394 w 4363394"/>
              <a:gd name="connsiteY4" fmla="*/ 1571556 h 1746173"/>
              <a:gd name="connsiteX5" fmla="*/ 4188777 w 4363394"/>
              <a:gd name="connsiteY5" fmla="*/ 1746173 h 1746173"/>
              <a:gd name="connsiteX6" fmla="*/ 174617 w 4363394"/>
              <a:gd name="connsiteY6" fmla="*/ 1746173 h 1746173"/>
              <a:gd name="connsiteX7" fmla="*/ 0 w 4363394"/>
              <a:gd name="connsiteY7" fmla="*/ 1571556 h 1746173"/>
              <a:gd name="connsiteX8" fmla="*/ 0 w 4363394"/>
              <a:gd name="connsiteY8" fmla="*/ 174617 h 1746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63394" h="1746173">
                <a:moveTo>
                  <a:pt x="0" y="174617"/>
                </a:moveTo>
                <a:cubicBezTo>
                  <a:pt x="0" y="78179"/>
                  <a:pt x="78179" y="0"/>
                  <a:pt x="174617" y="0"/>
                </a:cubicBezTo>
                <a:lnTo>
                  <a:pt x="4188777" y="0"/>
                </a:lnTo>
                <a:cubicBezTo>
                  <a:pt x="4285215" y="0"/>
                  <a:pt x="4363394" y="78179"/>
                  <a:pt x="4363394" y="174617"/>
                </a:cubicBezTo>
                <a:lnTo>
                  <a:pt x="4363394" y="1571556"/>
                </a:lnTo>
                <a:cubicBezTo>
                  <a:pt x="4363394" y="1667994"/>
                  <a:pt x="4285215" y="1746173"/>
                  <a:pt x="4188777" y="1746173"/>
                </a:cubicBezTo>
                <a:lnTo>
                  <a:pt x="174617" y="1746173"/>
                </a:lnTo>
                <a:cubicBezTo>
                  <a:pt x="78179" y="1746173"/>
                  <a:pt x="0" y="1667994"/>
                  <a:pt x="0" y="1571556"/>
                </a:cubicBezTo>
                <a:lnTo>
                  <a:pt x="0" y="17461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50712" tIns="150712" rIns="150712" bIns="150712" numCol="1" spcCol="1270" anchor="t" anchorCtr="0">
            <a:noAutofit/>
          </a:bodyPr>
          <a:lstStyle/>
          <a:p>
            <a:pPr marL="285750" lvl="0" indent="-285750">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Historical figures</a:t>
            </a:r>
          </a:p>
          <a:p>
            <a:pPr marL="285750" lvl="0" indent="-285750">
              <a:buFont typeface="Wingdings" panose="05000000000000000000" pitchFamily="2" charset="2"/>
              <a:buChar char="Ø"/>
            </a:pPr>
            <a:endParaRPr lang="en-GB" sz="1400" dirty="0">
              <a:solidFill>
                <a:schemeClr val="tx2"/>
              </a:solidFill>
              <a:latin typeface="Arial" panose="020B0604020202020204" pitchFamily="34" charset="0"/>
              <a:cs typeface="Arial" panose="020B0604020202020204" pitchFamily="34" charset="0"/>
            </a:endParaRPr>
          </a:p>
          <a:p>
            <a:pPr marL="285750" lvl="0" indent="-285750">
              <a:buFont typeface="Wingdings" panose="05000000000000000000" pitchFamily="2" charset="2"/>
              <a:buChar char="Ø"/>
            </a:pPr>
            <a:endParaRPr lang="en-GB" sz="1400" dirty="0"/>
          </a:p>
        </p:txBody>
      </p:sp>
      <p:sp>
        <p:nvSpPr>
          <p:cNvPr id="7" name="Freeform: Shape 6">
            <a:extLst>
              <a:ext uri="{FF2B5EF4-FFF2-40B4-BE49-F238E27FC236}">
                <a16:creationId xmlns:a16="http://schemas.microsoft.com/office/drawing/2014/main" id="{0F2DA334-6045-4AE7-2587-18551D8F3C87}"/>
              </a:ext>
            </a:extLst>
          </p:cNvPr>
          <p:cNvSpPr/>
          <p:nvPr/>
        </p:nvSpPr>
        <p:spPr>
          <a:xfrm>
            <a:off x="2616200" y="2334949"/>
            <a:ext cx="6139438" cy="543101"/>
          </a:xfrm>
          <a:custGeom>
            <a:avLst/>
            <a:gdLst>
              <a:gd name="connsiteX0" fmla="*/ 0 w 4363394"/>
              <a:gd name="connsiteY0" fmla="*/ 174617 h 1746173"/>
              <a:gd name="connsiteX1" fmla="*/ 174617 w 4363394"/>
              <a:gd name="connsiteY1" fmla="*/ 0 h 1746173"/>
              <a:gd name="connsiteX2" fmla="*/ 4188777 w 4363394"/>
              <a:gd name="connsiteY2" fmla="*/ 0 h 1746173"/>
              <a:gd name="connsiteX3" fmla="*/ 4363394 w 4363394"/>
              <a:gd name="connsiteY3" fmla="*/ 174617 h 1746173"/>
              <a:gd name="connsiteX4" fmla="*/ 4363394 w 4363394"/>
              <a:gd name="connsiteY4" fmla="*/ 1571556 h 1746173"/>
              <a:gd name="connsiteX5" fmla="*/ 4188777 w 4363394"/>
              <a:gd name="connsiteY5" fmla="*/ 1746173 h 1746173"/>
              <a:gd name="connsiteX6" fmla="*/ 174617 w 4363394"/>
              <a:gd name="connsiteY6" fmla="*/ 1746173 h 1746173"/>
              <a:gd name="connsiteX7" fmla="*/ 0 w 4363394"/>
              <a:gd name="connsiteY7" fmla="*/ 1571556 h 1746173"/>
              <a:gd name="connsiteX8" fmla="*/ 0 w 4363394"/>
              <a:gd name="connsiteY8" fmla="*/ 174617 h 1746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63394" h="1746173">
                <a:moveTo>
                  <a:pt x="0" y="174617"/>
                </a:moveTo>
                <a:cubicBezTo>
                  <a:pt x="0" y="78179"/>
                  <a:pt x="78179" y="0"/>
                  <a:pt x="174617" y="0"/>
                </a:cubicBezTo>
                <a:lnTo>
                  <a:pt x="4188777" y="0"/>
                </a:lnTo>
                <a:cubicBezTo>
                  <a:pt x="4285215" y="0"/>
                  <a:pt x="4363394" y="78179"/>
                  <a:pt x="4363394" y="174617"/>
                </a:cubicBezTo>
                <a:lnTo>
                  <a:pt x="4363394" y="1571556"/>
                </a:lnTo>
                <a:cubicBezTo>
                  <a:pt x="4363394" y="1667994"/>
                  <a:pt x="4285215" y="1746173"/>
                  <a:pt x="4188777" y="1746173"/>
                </a:cubicBezTo>
                <a:lnTo>
                  <a:pt x="174617" y="1746173"/>
                </a:lnTo>
                <a:cubicBezTo>
                  <a:pt x="78179" y="1746173"/>
                  <a:pt x="0" y="1667994"/>
                  <a:pt x="0" y="1571556"/>
                </a:cubicBezTo>
                <a:lnTo>
                  <a:pt x="0" y="17461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50712" tIns="150712" rIns="150712" bIns="150712" numCol="1" spcCol="1270" anchor="t" anchorCtr="0">
            <a:noAutofit/>
          </a:bodyPr>
          <a:lstStyle/>
          <a:p>
            <a:pPr marL="285750" lvl="0" indent="-285750">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Figures that are considered national or EU symbols</a:t>
            </a:r>
          </a:p>
          <a:p>
            <a:pPr marL="285750" lvl="0" indent="-285750">
              <a:buFont typeface="Wingdings" panose="05000000000000000000" pitchFamily="2" charset="2"/>
              <a:buChar char="Ø"/>
            </a:pPr>
            <a:endParaRPr lang="en-GB" sz="1400" dirty="0"/>
          </a:p>
        </p:txBody>
      </p:sp>
      <p:sp>
        <p:nvSpPr>
          <p:cNvPr id="14" name="Freeform: Shape 13">
            <a:extLst>
              <a:ext uri="{FF2B5EF4-FFF2-40B4-BE49-F238E27FC236}">
                <a16:creationId xmlns:a16="http://schemas.microsoft.com/office/drawing/2014/main" id="{486196F2-5972-0432-27F2-6F626C848525}"/>
              </a:ext>
            </a:extLst>
          </p:cNvPr>
          <p:cNvSpPr/>
          <p:nvPr/>
        </p:nvSpPr>
        <p:spPr>
          <a:xfrm>
            <a:off x="2616200" y="3017202"/>
            <a:ext cx="6139438" cy="543102"/>
          </a:xfrm>
          <a:custGeom>
            <a:avLst/>
            <a:gdLst>
              <a:gd name="connsiteX0" fmla="*/ 0 w 4363394"/>
              <a:gd name="connsiteY0" fmla="*/ 174617 h 1746173"/>
              <a:gd name="connsiteX1" fmla="*/ 174617 w 4363394"/>
              <a:gd name="connsiteY1" fmla="*/ 0 h 1746173"/>
              <a:gd name="connsiteX2" fmla="*/ 4188777 w 4363394"/>
              <a:gd name="connsiteY2" fmla="*/ 0 h 1746173"/>
              <a:gd name="connsiteX3" fmla="*/ 4363394 w 4363394"/>
              <a:gd name="connsiteY3" fmla="*/ 174617 h 1746173"/>
              <a:gd name="connsiteX4" fmla="*/ 4363394 w 4363394"/>
              <a:gd name="connsiteY4" fmla="*/ 1571556 h 1746173"/>
              <a:gd name="connsiteX5" fmla="*/ 4188777 w 4363394"/>
              <a:gd name="connsiteY5" fmla="*/ 1746173 h 1746173"/>
              <a:gd name="connsiteX6" fmla="*/ 174617 w 4363394"/>
              <a:gd name="connsiteY6" fmla="*/ 1746173 h 1746173"/>
              <a:gd name="connsiteX7" fmla="*/ 0 w 4363394"/>
              <a:gd name="connsiteY7" fmla="*/ 1571556 h 1746173"/>
              <a:gd name="connsiteX8" fmla="*/ 0 w 4363394"/>
              <a:gd name="connsiteY8" fmla="*/ 174617 h 1746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63394" h="1746173">
                <a:moveTo>
                  <a:pt x="0" y="174617"/>
                </a:moveTo>
                <a:cubicBezTo>
                  <a:pt x="0" y="78179"/>
                  <a:pt x="78179" y="0"/>
                  <a:pt x="174617" y="0"/>
                </a:cubicBezTo>
                <a:lnTo>
                  <a:pt x="4188777" y="0"/>
                </a:lnTo>
                <a:cubicBezTo>
                  <a:pt x="4285215" y="0"/>
                  <a:pt x="4363394" y="78179"/>
                  <a:pt x="4363394" y="174617"/>
                </a:cubicBezTo>
                <a:lnTo>
                  <a:pt x="4363394" y="1571556"/>
                </a:lnTo>
                <a:cubicBezTo>
                  <a:pt x="4363394" y="1667994"/>
                  <a:pt x="4285215" y="1746173"/>
                  <a:pt x="4188777" y="1746173"/>
                </a:cubicBezTo>
                <a:lnTo>
                  <a:pt x="174617" y="1746173"/>
                </a:lnTo>
                <a:cubicBezTo>
                  <a:pt x="78179" y="1746173"/>
                  <a:pt x="0" y="1667994"/>
                  <a:pt x="0" y="1571556"/>
                </a:cubicBezTo>
                <a:lnTo>
                  <a:pt x="0" y="174617"/>
                </a:lnTo>
                <a:close/>
              </a:path>
            </a:pathLst>
          </a:custGeom>
        </p:spPr>
        <p:style>
          <a:lnRef idx="2">
            <a:schemeClr val="accent1">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150712" tIns="150712" rIns="150712" bIns="150712" numCol="1" spcCol="1270" anchor="ctr" anchorCtr="0">
            <a:noAutofit/>
          </a:bodyPr>
          <a:lstStyle/>
          <a:p>
            <a:pPr marL="285750" lvl="0" indent="-285750">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Personalities that are held in high esteem in all or part of the EU, or in a MS</a:t>
            </a:r>
          </a:p>
        </p:txBody>
      </p:sp>
      <p:sp>
        <p:nvSpPr>
          <p:cNvPr id="10" name="TextBox 9">
            <a:extLst>
              <a:ext uri="{FF2B5EF4-FFF2-40B4-BE49-F238E27FC236}">
                <a16:creationId xmlns:a16="http://schemas.microsoft.com/office/drawing/2014/main" id="{F2C748F6-5AEA-8C81-5F83-E5AF8FBFB178}"/>
              </a:ext>
            </a:extLst>
          </p:cNvPr>
          <p:cNvSpPr txBox="1"/>
          <p:nvPr/>
        </p:nvSpPr>
        <p:spPr>
          <a:xfrm>
            <a:off x="651599" y="3749030"/>
            <a:ext cx="8082703" cy="1136145"/>
          </a:xfrm>
          <a:prstGeom prst="rect">
            <a:avLst/>
          </a:prstGeom>
          <a:noFill/>
        </p:spPr>
        <p:txBody>
          <a:bodyPr wrap="square">
            <a:spAutoFit/>
          </a:bodyPr>
          <a:lstStyle/>
          <a:p>
            <a:pPr marL="171450" indent="-171450" algn="just">
              <a:lnSpc>
                <a:spcPct val="115000"/>
              </a:lnSpc>
              <a:buFont typeface="Arial" panose="020B0604020202020204" pitchFamily="34" charset="0"/>
              <a:buChar char="•"/>
            </a:pPr>
            <a:r>
              <a:rPr lang="en-GB" sz="1200" b="1" dirty="0">
                <a:solidFill>
                  <a:srgbClr val="14438E"/>
                </a:solidFill>
                <a:effectLst/>
                <a:latin typeface="Arial" panose="020B0604020202020204" pitchFamily="34" charset="0"/>
                <a:ea typeface="Times New Roman" panose="02020603050405020304" pitchFamily="18" charset="0"/>
                <a:cs typeface="Times New Roman" panose="02020603050405020304" pitchFamily="18" charset="0"/>
              </a:rPr>
              <a:t>Contrary to public policy and/or accepted principles of morality:</a:t>
            </a:r>
            <a:r>
              <a:rPr lang="en-GB" sz="12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 if</a:t>
            </a:r>
            <a:r>
              <a:rPr lang="en-GB" sz="1200" dirty="0">
                <a:solidFill>
                  <a:srgbClr val="14438E"/>
                </a:solidFill>
                <a:effectLst/>
                <a:latin typeface="Arial" panose="020B0604020202020204" pitchFamily="34" charset="0"/>
                <a:ea typeface="Times New Roman" panose="02020603050405020304" pitchFamily="18" charset="0"/>
                <a:cs typeface="Times New Roman" panose="02020603050405020304" pitchFamily="18" charset="0"/>
              </a:rPr>
              <a:t> they refer to a historical figure that has negative connotations (e.g. Hitler) and clearly promote and/or glorify such a figure, since they could hurt the sensitivity of part of the relevant society and/or could </a:t>
            </a:r>
            <a:r>
              <a:rPr lang="en-GB" sz="1200" dirty="0">
                <a:solidFill>
                  <a:srgbClr val="14438E"/>
                </a:solidFill>
                <a:effectLst/>
                <a:latin typeface="Arial" panose="020B0604020202020204" pitchFamily="34" charset="0"/>
                <a:ea typeface="Times New Roman" panose="02020603050405020304" pitchFamily="18" charset="0"/>
                <a:cs typeface="Arial" panose="020B0604020202020204" pitchFamily="34" charset="0"/>
              </a:rPr>
              <a:t>affect an interest which the EU and/or the MS(s) concerned consider to be fundamental in accordance with their own systems of principles and values (e.g. human dignity and the principle of democracy)</a:t>
            </a:r>
            <a:r>
              <a:rPr lang="en-GB" sz="1200" dirty="0">
                <a:solidFill>
                  <a:srgbClr val="14438E"/>
                </a:solidFill>
                <a:effectLst/>
                <a:latin typeface="Arial" panose="020B0604020202020204" pitchFamily="34" charset="0"/>
                <a:ea typeface="Times New Roman" panose="02020603050405020304" pitchFamily="18" charset="0"/>
                <a:cs typeface="Times New Roman" panose="02020603050405020304" pitchFamily="18" charset="0"/>
              </a:rPr>
              <a:t>.</a:t>
            </a:r>
          </a:p>
        </p:txBody>
      </p:sp>
    </p:spTree>
    <p:extLst>
      <p:ext uri="{BB962C8B-B14F-4D97-AF65-F5344CB8AC3E}">
        <p14:creationId xmlns:p14="http://schemas.microsoft.com/office/powerpoint/2010/main" val="21470775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13" name="Rectangle 12">
            <a:extLst>
              <a:ext uri="{FF2B5EF4-FFF2-40B4-BE49-F238E27FC236}">
                <a16:creationId xmlns:a16="http://schemas.microsoft.com/office/drawing/2014/main" id="{571997AA-2CB3-98D3-5FFC-9600DCAAED4C}"/>
              </a:ext>
            </a:extLst>
          </p:cNvPr>
          <p:cNvSpPr>
            <a:spLocks/>
          </p:cNvSpPr>
          <p:nvPr/>
        </p:nvSpPr>
        <p:spPr bwMode="auto">
          <a:xfrm>
            <a:off x="672935" y="1055059"/>
            <a:ext cx="8082703" cy="472874"/>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9 Signs including/related to historical figures, national/EU symbols and/or personalities held in high esteem</a:t>
            </a:r>
          </a:p>
        </p:txBody>
      </p:sp>
      <p:pic>
        <p:nvPicPr>
          <p:cNvPr id="9" name="Picture 8">
            <a:extLst>
              <a:ext uri="{FF2B5EF4-FFF2-40B4-BE49-F238E27FC236}">
                <a16:creationId xmlns:a16="http://schemas.microsoft.com/office/drawing/2014/main" id="{6D15C296-BA38-B2E1-A625-C9A7E9EE9E4D}"/>
              </a:ext>
            </a:extLst>
          </p:cNvPr>
          <p:cNvPicPr>
            <a:picLocks noChangeAspect="1"/>
          </p:cNvPicPr>
          <p:nvPr/>
        </p:nvPicPr>
        <p:blipFill>
          <a:blip r:embed="rId4"/>
          <a:stretch>
            <a:fillRect/>
          </a:stretch>
        </p:blipFill>
        <p:spPr>
          <a:xfrm>
            <a:off x="684000" y="1900800"/>
            <a:ext cx="2264391" cy="1471473"/>
          </a:xfrm>
          <a:prstGeom prst="rect">
            <a:avLst/>
          </a:prstGeom>
          <a:ln w="28575">
            <a:solidFill>
              <a:srgbClr val="C00000"/>
            </a:solidFill>
          </a:ln>
        </p:spPr>
      </p:pic>
      <p:sp>
        <p:nvSpPr>
          <p:cNvPr id="10" name="TextBox 9">
            <a:extLst>
              <a:ext uri="{FF2B5EF4-FFF2-40B4-BE49-F238E27FC236}">
                <a16:creationId xmlns:a16="http://schemas.microsoft.com/office/drawing/2014/main" id="{EFBBBC16-7735-9B18-D158-1DE2F50C5F8B}"/>
              </a:ext>
            </a:extLst>
          </p:cNvPr>
          <p:cNvSpPr txBox="1"/>
          <p:nvPr/>
        </p:nvSpPr>
        <p:spPr>
          <a:xfrm>
            <a:off x="832284" y="3659411"/>
            <a:ext cx="2194084" cy="307777"/>
          </a:xfrm>
          <a:prstGeom prst="rect">
            <a:avLst/>
          </a:prstGeom>
          <a:noFill/>
        </p:spPr>
        <p:txBody>
          <a:bodyPr wrap="square" rtlCol="0">
            <a:spAutoFit/>
          </a:bodyPr>
          <a:lstStyle/>
          <a:p>
            <a:pPr algn="just"/>
            <a:r>
              <a:rPr lang="en-GB" sz="1400" dirty="0">
                <a:solidFill>
                  <a:schemeClr val="tx2"/>
                </a:solidFill>
                <a:latin typeface="Arial" panose="020B0604020202020204" pitchFamily="34" charset="0"/>
                <a:cs typeface="Arial" panose="020B0604020202020204" pitchFamily="34" charset="0"/>
              </a:rPr>
              <a:t>Class 16: Toilet paper</a:t>
            </a:r>
          </a:p>
        </p:txBody>
      </p:sp>
      <p:sp>
        <p:nvSpPr>
          <p:cNvPr id="11" name="TextBox 10">
            <a:extLst>
              <a:ext uri="{FF2B5EF4-FFF2-40B4-BE49-F238E27FC236}">
                <a16:creationId xmlns:a16="http://schemas.microsoft.com/office/drawing/2014/main" id="{9A51D528-D545-33FF-8EE5-D8610F47BD4B}"/>
              </a:ext>
            </a:extLst>
          </p:cNvPr>
          <p:cNvSpPr txBox="1"/>
          <p:nvPr/>
        </p:nvSpPr>
        <p:spPr>
          <a:xfrm>
            <a:off x="3484605" y="1900800"/>
            <a:ext cx="5238195" cy="2462213"/>
          </a:xfrm>
          <a:prstGeom prst="rect">
            <a:avLst/>
          </a:prstGeom>
          <a:noFill/>
        </p:spPr>
        <p:txBody>
          <a:bodyPr wrap="square">
            <a:spAutoFit/>
          </a:bodyPr>
          <a:lstStyle/>
          <a:p>
            <a:pPr marL="285750" indent="-285750" algn="just">
              <a:buFontTx/>
              <a:buChar char="-"/>
            </a:pPr>
            <a:r>
              <a:rPr lang="en-US" sz="1400" dirty="0">
                <a:solidFill>
                  <a:srgbClr val="14438E"/>
                </a:solidFill>
                <a:latin typeface="Arial" panose="020B0604020202020204" pitchFamily="34" charset="0"/>
                <a:ea typeface="Times New Roman" panose="02020603050405020304" pitchFamily="18" charset="0"/>
                <a:cs typeface="Times New Roman" panose="02020603050405020304" pitchFamily="18" charset="0"/>
              </a:rPr>
              <a:t>T</a:t>
            </a:r>
            <a:r>
              <a:rPr lang="en-US" sz="1400" dirty="0">
                <a:solidFill>
                  <a:srgbClr val="14438E"/>
                </a:solidFill>
                <a:effectLst/>
                <a:latin typeface="Arial" panose="020B0604020202020204" pitchFamily="34" charset="0"/>
                <a:ea typeface="Times New Roman" panose="02020603050405020304" pitchFamily="18" charset="0"/>
                <a:cs typeface="Times New Roman" panose="02020603050405020304" pitchFamily="18" charset="0"/>
              </a:rPr>
              <a:t>he </a:t>
            </a:r>
            <a:r>
              <a:rPr lang="en-US" sz="1400" b="1" dirty="0">
                <a:solidFill>
                  <a:srgbClr val="14438E"/>
                </a:solidFill>
                <a:effectLst/>
                <a:latin typeface="Arial" panose="020B0604020202020204" pitchFamily="34" charset="0"/>
                <a:ea typeface="Times New Roman" panose="02020603050405020304" pitchFamily="18" charset="0"/>
                <a:cs typeface="Times New Roman" panose="02020603050405020304" pitchFamily="18" charset="0"/>
              </a:rPr>
              <a:t>banal use of signs with a highly positive connotation </a:t>
            </a:r>
            <a:r>
              <a:rPr lang="en-US" sz="1400" dirty="0">
                <a:solidFill>
                  <a:srgbClr val="14438E"/>
                </a:solidFill>
                <a:effectLst/>
                <a:latin typeface="Arial" panose="020B0604020202020204" pitchFamily="34" charset="0"/>
                <a:ea typeface="Times New Roman" panose="02020603050405020304" pitchFamily="18" charset="0"/>
                <a:cs typeface="Times New Roman" panose="02020603050405020304" pitchFamily="18" charset="0"/>
              </a:rPr>
              <a:t>(e.g. national symbols with spiritual and political value) can also be perceived as </a:t>
            </a:r>
            <a:r>
              <a:rPr lang="en-US" sz="1400" b="1" dirty="0">
                <a:solidFill>
                  <a:srgbClr val="14438E"/>
                </a:solidFill>
                <a:effectLst/>
                <a:latin typeface="Arial" panose="020B0604020202020204" pitchFamily="34" charset="0"/>
                <a:ea typeface="Times New Roman" panose="02020603050405020304" pitchFamily="18" charset="0"/>
                <a:cs typeface="Times New Roman" panose="02020603050405020304" pitchFamily="18" charset="0"/>
              </a:rPr>
              <a:t>offensive</a:t>
            </a:r>
            <a:r>
              <a:rPr lang="en-US" sz="1400" dirty="0">
                <a:solidFill>
                  <a:srgbClr val="14438E"/>
                </a:solidFill>
                <a:effectLst/>
                <a:latin typeface="Arial" panose="020B0604020202020204" pitchFamily="34" charset="0"/>
                <a:ea typeface="Times New Roman" panose="02020603050405020304" pitchFamily="18" charset="0"/>
                <a:cs typeface="Times New Roman" panose="02020603050405020304" pitchFamily="18" charset="0"/>
              </a:rPr>
              <a:t> under Article 4(1)(f) TMD when the public’s sensitivity regarding that symbol </a:t>
            </a:r>
            <a:r>
              <a:rPr lang="en-US" sz="1400">
                <a:solidFill>
                  <a:srgbClr val="14438E"/>
                </a:solidFill>
                <a:effectLst/>
                <a:latin typeface="Arial" panose="020B0604020202020204" pitchFamily="34" charset="0"/>
                <a:ea typeface="Times New Roman" panose="02020603050405020304" pitchFamily="18" charset="0"/>
                <a:cs typeface="Times New Roman" panose="02020603050405020304" pitchFamily="18" charset="0"/>
              </a:rPr>
              <a:t>is high.</a:t>
            </a:r>
            <a:endParaRPr lang="en-US" sz="1400" dirty="0">
              <a:solidFill>
                <a:srgbClr val="14438E"/>
              </a:solidFill>
              <a:effectLst/>
              <a:latin typeface="Arial" panose="020B0604020202020204" pitchFamily="34" charset="0"/>
              <a:ea typeface="Times New Roman" panose="02020603050405020304" pitchFamily="18" charset="0"/>
              <a:cs typeface="Times New Roman" panose="02020603050405020304" pitchFamily="18" charset="0"/>
            </a:endParaRPr>
          </a:p>
          <a:p>
            <a:pPr marL="285750" indent="-285750" algn="just">
              <a:buFontTx/>
              <a:buChar char="-"/>
            </a:pPr>
            <a:endParaRPr lang="en-GB" sz="1400" dirty="0">
              <a:solidFill>
                <a:schemeClr val="tx2"/>
              </a:solidFill>
              <a:latin typeface="Arial" panose="020B0604020202020204" pitchFamily="34" charset="0"/>
              <a:cs typeface="Arial" panose="020B0604020202020204" pitchFamily="34" charset="0"/>
            </a:endParaRPr>
          </a:p>
          <a:p>
            <a:pPr marL="285750" indent="-285750" algn="just">
              <a:buFontTx/>
              <a:buChar char="-"/>
            </a:pPr>
            <a:r>
              <a:rPr lang="en-GB" sz="1400" dirty="0">
                <a:solidFill>
                  <a:schemeClr val="tx2"/>
                </a:solidFill>
                <a:latin typeface="Arial" panose="020B0604020202020204" pitchFamily="34" charset="0"/>
                <a:cs typeface="Arial" panose="020B0604020202020204" pitchFamily="34" charset="0"/>
              </a:rPr>
              <a:t>The banality of the goods applied for trivialises the historical figure of Nelson Mandela </a:t>
            </a:r>
            <a:r>
              <a:rPr lang="en-GB" sz="1400">
                <a:solidFill>
                  <a:schemeClr val="tx2"/>
                </a:solidFill>
                <a:latin typeface="Arial" panose="020B0604020202020204" pitchFamily="34" charset="0"/>
                <a:cs typeface="Arial" panose="020B0604020202020204" pitchFamily="34" charset="0"/>
              </a:rPr>
              <a:t>and is </a:t>
            </a:r>
            <a:r>
              <a:rPr lang="en-GB" sz="1400" dirty="0">
                <a:solidFill>
                  <a:schemeClr val="tx2"/>
                </a:solidFill>
                <a:latin typeface="Arial" panose="020B0604020202020204" pitchFamily="34" charset="0"/>
                <a:cs typeface="Arial" panose="020B0604020202020204" pitchFamily="34" charset="0"/>
              </a:rPr>
              <a:t>disrespectful to the high esteem in which he is held in the EU.</a:t>
            </a:r>
          </a:p>
          <a:p>
            <a:pPr algn="just"/>
            <a:endParaRPr lang="en-GB" sz="1400" dirty="0">
              <a:solidFill>
                <a:schemeClr val="tx2"/>
              </a:solidFill>
              <a:latin typeface="Arial" panose="020B0604020202020204" pitchFamily="34" charset="0"/>
              <a:cs typeface="Arial" panose="020B0604020202020204" pitchFamily="34" charset="0"/>
            </a:endParaRPr>
          </a:p>
          <a:p>
            <a:pPr marL="285750" indent="-285750" algn="just">
              <a:buFont typeface="Wingdings" panose="05000000000000000000" pitchFamily="2" charset="2"/>
              <a:buChar char="Ø"/>
            </a:pPr>
            <a:r>
              <a:rPr lang="en-GB" sz="1400" dirty="0">
                <a:solidFill>
                  <a:schemeClr val="tx2"/>
                </a:solidFill>
                <a:latin typeface="Arial" panose="020B0604020202020204" pitchFamily="34" charset="0"/>
                <a:cs typeface="Arial" panose="020B0604020202020204" pitchFamily="34" charset="0"/>
              </a:rPr>
              <a:t>The sign is </a:t>
            </a:r>
            <a:r>
              <a:rPr lang="en-GB" sz="1400" b="1" dirty="0">
                <a:solidFill>
                  <a:schemeClr val="tx2"/>
                </a:solidFill>
                <a:latin typeface="Arial" panose="020B0604020202020204" pitchFamily="34" charset="0"/>
                <a:cs typeface="Arial" panose="020B0604020202020204" pitchFamily="34" charset="0"/>
              </a:rPr>
              <a:t>contrary to accepted principles of morality</a:t>
            </a:r>
          </a:p>
        </p:txBody>
      </p:sp>
      <p:sp>
        <p:nvSpPr>
          <p:cNvPr id="15" name="TextBox 14">
            <a:extLst>
              <a:ext uri="{FF2B5EF4-FFF2-40B4-BE49-F238E27FC236}">
                <a16:creationId xmlns:a16="http://schemas.microsoft.com/office/drawing/2014/main" id="{53E2245A-DD8E-0935-582A-23D8B7958686}"/>
              </a:ext>
            </a:extLst>
          </p:cNvPr>
          <p:cNvSpPr txBox="1"/>
          <p:nvPr/>
        </p:nvSpPr>
        <p:spPr>
          <a:xfrm>
            <a:off x="3572069" y="4501719"/>
            <a:ext cx="4572000" cy="307777"/>
          </a:xfrm>
          <a:prstGeom prst="rect">
            <a:avLst/>
          </a:prstGeom>
          <a:solidFill>
            <a:schemeClr val="accent2">
              <a:lumMod val="40000"/>
              <a:lumOff val="60000"/>
            </a:schemeClr>
          </a:solidFill>
        </p:spPr>
        <p:txBody>
          <a:bodyPr wrap="square" lIns="91440" tIns="45720" rIns="91440" bIns="45720" rtlCol="0" anchor="t">
            <a:spAutoFit/>
          </a:bodyPr>
          <a:lstStyle/>
          <a:p>
            <a:pPr algn="ctr"/>
            <a:r>
              <a:rPr lang="en-GB" sz="1400" dirty="0">
                <a:solidFill>
                  <a:schemeClr val="tx2"/>
                </a:solidFill>
                <a:latin typeface="Arial"/>
                <a:cs typeface="Arial"/>
              </a:rPr>
              <a:t>Objectionable under Article 4(1)(f) TMD</a:t>
            </a:r>
            <a:endParaRPr lang="en-GB" sz="140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375691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6" name="Rectangle 8">
            <a:extLst>
              <a:ext uri="{FF2B5EF4-FFF2-40B4-BE49-F238E27FC236}">
                <a16:creationId xmlns:a16="http://schemas.microsoft.com/office/drawing/2014/main" id="{B9CE33B4-AB93-4AD7-B692-43D74F0965E3}"/>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US" sz="1400" b="1" spc="-71" dirty="0">
                <a:solidFill>
                  <a:srgbClr val="F2F2F2"/>
                </a:solidFill>
                <a:latin typeface="Arial"/>
                <a:ea typeface="Open Sans" panose="020B0606030504020204" pitchFamily="34" charset="0"/>
                <a:cs typeface="Arial"/>
              </a:rPr>
              <a:t>2.5 Signs that could fall under Article 4(1)(f) TMD</a:t>
            </a:r>
          </a:p>
        </p:txBody>
      </p:sp>
      <p:sp>
        <p:nvSpPr>
          <p:cNvPr id="12" name="Rectangle 16">
            <a:extLst>
              <a:ext uri="{FF2B5EF4-FFF2-40B4-BE49-F238E27FC236}">
                <a16:creationId xmlns:a16="http://schemas.microsoft.com/office/drawing/2014/main" id="{26816C89-1EF8-F3E0-9F92-D88B8227347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13" name="Rectangle 12">
            <a:extLst>
              <a:ext uri="{FF2B5EF4-FFF2-40B4-BE49-F238E27FC236}">
                <a16:creationId xmlns:a16="http://schemas.microsoft.com/office/drawing/2014/main" id="{571997AA-2CB3-98D3-5FFC-9600DCAAED4C}"/>
              </a:ext>
            </a:extLst>
          </p:cNvPr>
          <p:cNvSpPr>
            <a:spLocks/>
          </p:cNvSpPr>
          <p:nvPr/>
        </p:nvSpPr>
        <p:spPr bwMode="auto">
          <a:xfrm>
            <a:off x="672935" y="1055059"/>
            <a:ext cx="8082703" cy="472874"/>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2.5.9 Signs including/related to historical figures, national/EU symbols and/or personalities held in high esteem</a:t>
            </a:r>
          </a:p>
        </p:txBody>
      </p:sp>
      <p:sp>
        <p:nvSpPr>
          <p:cNvPr id="4" name="TextBox 3">
            <a:extLst>
              <a:ext uri="{FF2B5EF4-FFF2-40B4-BE49-F238E27FC236}">
                <a16:creationId xmlns:a16="http://schemas.microsoft.com/office/drawing/2014/main" id="{439303F1-4751-0D55-E943-83332CBC6823}"/>
              </a:ext>
            </a:extLst>
          </p:cNvPr>
          <p:cNvSpPr txBox="1"/>
          <p:nvPr/>
        </p:nvSpPr>
        <p:spPr>
          <a:xfrm>
            <a:off x="888008" y="4038566"/>
            <a:ext cx="2154598" cy="307777"/>
          </a:xfrm>
          <a:prstGeom prst="rect">
            <a:avLst/>
          </a:prstGeom>
          <a:noFill/>
        </p:spPr>
        <p:txBody>
          <a:bodyPr wrap="square" rtlCol="0">
            <a:spAutoFit/>
          </a:bodyPr>
          <a:lstStyle/>
          <a:p>
            <a:r>
              <a:rPr lang="en-GB" sz="1400" dirty="0">
                <a:solidFill>
                  <a:schemeClr val="tx2"/>
                </a:solidFill>
                <a:latin typeface="Arial" panose="020B0604020202020204" pitchFamily="34" charset="0"/>
                <a:cs typeface="Arial" panose="020B0604020202020204" pitchFamily="34" charset="0"/>
              </a:rPr>
              <a:t>Class 41: Museums</a:t>
            </a:r>
          </a:p>
        </p:txBody>
      </p:sp>
      <p:sp>
        <p:nvSpPr>
          <p:cNvPr id="5" name="TextBox 4">
            <a:extLst>
              <a:ext uri="{FF2B5EF4-FFF2-40B4-BE49-F238E27FC236}">
                <a16:creationId xmlns:a16="http://schemas.microsoft.com/office/drawing/2014/main" id="{65C0801D-D23F-CC57-E8D3-EAD52959FAA5}"/>
              </a:ext>
            </a:extLst>
          </p:cNvPr>
          <p:cNvSpPr txBox="1"/>
          <p:nvPr/>
        </p:nvSpPr>
        <p:spPr>
          <a:xfrm>
            <a:off x="3175686" y="1558896"/>
            <a:ext cx="5579513" cy="3424014"/>
          </a:xfrm>
          <a:prstGeom prst="rect">
            <a:avLst/>
          </a:prstGeom>
          <a:noFill/>
        </p:spPr>
        <p:txBody>
          <a:bodyPr wrap="square">
            <a:spAutoFit/>
          </a:bodyPr>
          <a:lstStyle/>
          <a:p>
            <a:pPr marL="285750" indent="-285750" algn="just">
              <a:buFontTx/>
              <a:buChar char="-"/>
            </a:pPr>
            <a:r>
              <a:rPr lang="en-US" sz="1350" dirty="0">
                <a:solidFill>
                  <a:schemeClr val="tx2"/>
                </a:solidFill>
                <a:latin typeface="Arial" panose="020B0604020202020204" pitchFamily="34" charset="0"/>
                <a:cs typeface="Arial" panose="020B0604020202020204" pitchFamily="34" charset="0"/>
              </a:rPr>
              <a:t>When the sign refers to a </a:t>
            </a:r>
            <a:r>
              <a:rPr lang="en-US" sz="1350" b="1" dirty="0">
                <a:solidFill>
                  <a:schemeClr val="tx2"/>
                </a:solidFill>
                <a:latin typeface="Arial" panose="020B0604020202020204" pitchFamily="34" charset="0"/>
                <a:cs typeface="Arial" panose="020B0604020202020204" pitchFamily="34" charset="0"/>
              </a:rPr>
              <a:t>historical figure </a:t>
            </a:r>
            <a:r>
              <a:rPr lang="en-US" sz="1350" dirty="0">
                <a:solidFill>
                  <a:schemeClr val="tx2"/>
                </a:solidFill>
                <a:latin typeface="Arial" panose="020B0604020202020204" pitchFamily="34" charset="0"/>
                <a:cs typeface="Arial" panose="020B0604020202020204" pitchFamily="34" charset="0"/>
              </a:rPr>
              <a:t>perceived as having ‘</a:t>
            </a:r>
            <a:r>
              <a:rPr lang="en-US" sz="1350" b="1" dirty="0">
                <a:solidFill>
                  <a:schemeClr val="tx2"/>
                </a:solidFill>
                <a:latin typeface="Arial" panose="020B0604020202020204" pitchFamily="34" charset="0"/>
                <a:cs typeface="Arial" panose="020B0604020202020204" pitchFamily="34" charset="0"/>
              </a:rPr>
              <a:t>positive connotations</a:t>
            </a:r>
            <a:r>
              <a:rPr lang="en-US" sz="1350" dirty="0">
                <a:solidFill>
                  <a:schemeClr val="tx2"/>
                </a:solidFill>
                <a:latin typeface="Arial" panose="020B0604020202020204" pitchFamily="34" charset="0"/>
                <a:cs typeface="Arial" panose="020B0604020202020204" pitchFamily="34" charset="0"/>
              </a:rPr>
              <a:t>’ and </a:t>
            </a:r>
            <a:r>
              <a:rPr lang="en-US" sz="1350" b="1" dirty="0">
                <a:solidFill>
                  <a:schemeClr val="tx2"/>
                </a:solidFill>
                <a:latin typeface="Arial" panose="020B0604020202020204" pitchFamily="34" charset="0"/>
                <a:cs typeface="Arial" panose="020B0604020202020204" pitchFamily="34" charset="0"/>
              </a:rPr>
              <a:t>does not promote or glorify any offensive ideas</a:t>
            </a:r>
            <a:r>
              <a:rPr lang="en-US" sz="1350" dirty="0">
                <a:solidFill>
                  <a:schemeClr val="tx2"/>
                </a:solidFill>
                <a:latin typeface="Arial" panose="020B0604020202020204" pitchFamily="34" charset="0"/>
                <a:cs typeface="Arial" panose="020B0604020202020204" pitchFamily="34" charset="0"/>
              </a:rPr>
              <a:t> that could be shocking and/or </a:t>
            </a:r>
            <a:r>
              <a:rPr lang="en-US" sz="1350" b="1" dirty="0">
                <a:solidFill>
                  <a:schemeClr val="tx2"/>
                </a:solidFill>
                <a:latin typeface="Arial" panose="020B0604020202020204" pitchFamily="34" charset="0"/>
                <a:cs typeface="Arial" panose="020B0604020202020204" pitchFamily="34" charset="0"/>
              </a:rPr>
              <a:t>do not affect a fundamental interest of</a:t>
            </a:r>
            <a:r>
              <a:rPr lang="en-US" sz="1350" dirty="0">
                <a:solidFill>
                  <a:schemeClr val="tx2"/>
                </a:solidFill>
                <a:latin typeface="Arial" panose="020B0604020202020204" pitchFamily="34" charset="0"/>
                <a:cs typeface="Arial" panose="020B0604020202020204" pitchFamily="34" charset="0"/>
              </a:rPr>
              <a:t> the EU and/or the MS(s) concerned, the sign is </a:t>
            </a:r>
            <a:r>
              <a:rPr lang="en-US" sz="1350" b="1" dirty="0">
                <a:solidFill>
                  <a:schemeClr val="tx2"/>
                </a:solidFill>
                <a:latin typeface="Arial" panose="020B0604020202020204" pitchFamily="34" charset="0"/>
                <a:cs typeface="Arial" panose="020B0604020202020204" pitchFamily="34" charset="0"/>
              </a:rPr>
              <a:t>unlikely to be refused </a:t>
            </a:r>
            <a:r>
              <a:rPr lang="en-US" sz="1350" dirty="0">
                <a:solidFill>
                  <a:schemeClr val="tx2"/>
                </a:solidFill>
                <a:latin typeface="Arial" panose="020B0604020202020204" pitchFamily="34" charset="0"/>
                <a:cs typeface="Arial" panose="020B0604020202020204" pitchFamily="34" charset="0"/>
              </a:rPr>
              <a:t>under this article.</a:t>
            </a:r>
          </a:p>
          <a:p>
            <a:pPr marL="285750" indent="-285750" algn="just">
              <a:buFontTx/>
              <a:buChar char="-"/>
            </a:pPr>
            <a:endParaRPr lang="en-US" sz="1350" dirty="0">
              <a:solidFill>
                <a:schemeClr val="tx2"/>
              </a:solidFill>
              <a:latin typeface="Arial" panose="020B0604020202020204" pitchFamily="34" charset="0"/>
              <a:cs typeface="Arial" panose="020B0604020202020204" pitchFamily="34" charset="0"/>
            </a:endParaRPr>
          </a:p>
          <a:p>
            <a:pPr marL="285750" indent="-285750" algn="just">
              <a:buFontTx/>
              <a:buChar char="-"/>
            </a:pPr>
            <a:r>
              <a:rPr lang="en-US" sz="1350" dirty="0">
                <a:solidFill>
                  <a:schemeClr val="tx2"/>
                </a:solidFill>
                <a:latin typeface="Arial" panose="020B0604020202020204" pitchFamily="34" charset="0"/>
                <a:cs typeface="Arial" panose="020B0604020202020204" pitchFamily="34" charset="0"/>
              </a:rPr>
              <a:t>The sign consists of a representation of Mahatma Gandhi’s face, a historical figure that is perceived as having positive </a:t>
            </a:r>
            <a:r>
              <a:rPr lang="en-US" sz="1350">
                <a:solidFill>
                  <a:schemeClr val="tx2"/>
                </a:solidFill>
                <a:latin typeface="Arial" panose="020B0604020202020204" pitchFamily="34" charset="0"/>
                <a:cs typeface="Arial" panose="020B0604020202020204" pitchFamily="34" charset="0"/>
              </a:rPr>
              <a:t>connotations.</a:t>
            </a:r>
          </a:p>
          <a:p>
            <a:pPr marL="285750" indent="-285750" algn="just">
              <a:buFontTx/>
              <a:buChar char="-"/>
            </a:pPr>
            <a:endParaRPr lang="en-US" sz="1350" dirty="0">
              <a:solidFill>
                <a:schemeClr val="tx2"/>
              </a:solidFill>
              <a:latin typeface="Arial" panose="020B0604020202020204" pitchFamily="34" charset="0"/>
              <a:cs typeface="Arial" panose="020B0604020202020204" pitchFamily="34" charset="0"/>
            </a:endParaRPr>
          </a:p>
          <a:p>
            <a:pPr marL="285750" indent="-285750" algn="just">
              <a:buFontTx/>
              <a:buChar char="-"/>
            </a:pPr>
            <a:r>
              <a:rPr lang="en-GB" sz="1350" dirty="0">
                <a:solidFill>
                  <a:schemeClr val="tx2"/>
                </a:solidFill>
                <a:latin typeface="Arial" panose="020B0604020202020204" pitchFamily="34" charset="0"/>
                <a:cs typeface="Arial" panose="020B0604020202020204" pitchFamily="34" charset="0"/>
              </a:rPr>
              <a:t>The sign, in combination with the services applied for, does not promote or glorify any offensive ideas that could be seen as shocking, nor does it affect any fundamental interest of the EU and/or a MS.</a:t>
            </a:r>
          </a:p>
          <a:p>
            <a:pPr algn="just"/>
            <a:r>
              <a:rPr lang="en-GB" sz="1350" dirty="0">
                <a:solidFill>
                  <a:schemeClr val="tx2"/>
                </a:solidFill>
                <a:latin typeface="Arial" panose="020B0604020202020204" pitchFamily="34" charset="0"/>
                <a:cs typeface="Arial" panose="020B0604020202020204" pitchFamily="34" charset="0"/>
              </a:rPr>
              <a:t> </a:t>
            </a:r>
          </a:p>
          <a:p>
            <a:pPr marL="285750" indent="-285750" algn="just">
              <a:buFont typeface="Wingdings" panose="05000000000000000000" pitchFamily="2" charset="2"/>
              <a:buChar char="Ø"/>
            </a:pPr>
            <a:r>
              <a:rPr lang="en-GB" sz="1350" b="1" dirty="0">
                <a:solidFill>
                  <a:srgbClr val="2A5494"/>
                </a:solidFill>
                <a:latin typeface="Arial "/>
              </a:rPr>
              <a:t>Not contrary to Article 4(1)(f) TMD</a:t>
            </a:r>
          </a:p>
          <a:p>
            <a:pPr marL="285750" indent="-285750" algn="just">
              <a:buFont typeface="Wingdings" panose="05000000000000000000" pitchFamily="2" charset="2"/>
              <a:buChar char="Ø"/>
            </a:pPr>
            <a:endParaRPr lang="en-GB" sz="1400" b="1" dirty="0">
              <a:solidFill>
                <a:schemeClr val="tx2"/>
              </a:solidFill>
              <a:latin typeface="Arial" panose="020B0604020202020204" pitchFamily="34" charset="0"/>
              <a:cs typeface="Arial" panose="020B0604020202020204" pitchFamily="34" charset="0"/>
            </a:endParaRPr>
          </a:p>
        </p:txBody>
      </p:sp>
      <p:pic>
        <p:nvPicPr>
          <p:cNvPr id="7" name="Picture 6">
            <a:extLst>
              <a:ext uri="{FF2B5EF4-FFF2-40B4-BE49-F238E27FC236}">
                <a16:creationId xmlns:a16="http://schemas.microsoft.com/office/drawing/2014/main" id="{ADECF8A6-772E-629A-2647-0378C1C31D13}"/>
              </a:ext>
            </a:extLst>
          </p:cNvPr>
          <p:cNvPicPr>
            <a:picLocks noChangeAspect="1"/>
          </p:cNvPicPr>
          <p:nvPr/>
        </p:nvPicPr>
        <p:blipFill>
          <a:blip r:embed="rId4"/>
          <a:stretch>
            <a:fillRect/>
          </a:stretch>
        </p:blipFill>
        <p:spPr>
          <a:xfrm>
            <a:off x="786281" y="1900800"/>
            <a:ext cx="1969276" cy="1917438"/>
          </a:xfrm>
          <a:prstGeom prst="rect">
            <a:avLst/>
          </a:prstGeom>
          <a:ln w="28575">
            <a:solidFill>
              <a:srgbClr val="00B050"/>
            </a:solidFill>
          </a:ln>
        </p:spPr>
      </p:pic>
      <p:sp>
        <p:nvSpPr>
          <p:cNvPr id="14" name="TextBox 13">
            <a:extLst>
              <a:ext uri="{FF2B5EF4-FFF2-40B4-BE49-F238E27FC236}">
                <a16:creationId xmlns:a16="http://schemas.microsoft.com/office/drawing/2014/main" id="{47660986-4C24-8804-2DE3-D79063A46505}"/>
              </a:ext>
            </a:extLst>
          </p:cNvPr>
          <p:cNvSpPr txBox="1"/>
          <p:nvPr/>
        </p:nvSpPr>
        <p:spPr>
          <a:xfrm>
            <a:off x="3778297" y="4753814"/>
            <a:ext cx="4572000" cy="307777"/>
          </a:xfrm>
          <a:prstGeom prst="rect">
            <a:avLst/>
          </a:prstGeom>
          <a:solidFill>
            <a:schemeClr val="accent3">
              <a:lumMod val="40000"/>
              <a:lumOff val="60000"/>
            </a:schemeClr>
          </a:solidFill>
        </p:spPr>
        <p:txBody>
          <a:bodyPr wrap="square" lIns="91440" tIns="45720" rIns="91440" bIns="45720" rtlCol="0" anchor="t">
            <a:spAutoFit/>
          </a:bodyPr>
          <a:lstStyle/>
          <a:p>
            <a:pPr algn="ctr"/>
            <a:r>
              <a:rPr lang="en-GB" sz="1400" dirty="0">
                <a:solidFill>
                  <a:schemeClr val="tx2"/>
                </a:solidFill>
                <a:latin typeface="Arial"/>
                <a:cs typeface="Arial"/>
              </a:rPr>
              <a:t>Non-objectionable under Article 4(1)(f) TMD</a:t>
            </a:r>
            <a:endParaRPr lang="en-GB" sz="1400"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294130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bg>
      <p:bgPr>
        <a:blipFill dpi="0" rotWithShape="1">
          <a:blip r:embed="rId3" cstate="print">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3" name="Title 3"/>
          <p:cNvSpPr>
            <a:spLocks noGrp="1"/>
          </p:cNvSpPr>
          <p:nvPr>
            <p:ph type="ctrTitle"/>
          </p:nvPr>
        </p:nvSpPr>
        <p:spPr>
          <a:xfrm>
            <a:off x="4178776" y="3464660"/>
            <a:ext cx="1791835" cy="346643"/>
          </a:xfrm>
        </p:spPr>
        <p:txBody>
          <a:bodyPr anchor="b">
            <a:noAutofit/>
          </a:bodyPr>
          <a:lstStyle/>
          <a:p>
            <a:pPr algn="l"/>
            <a:r>
              <a:rPr lang="en-IE" sz="1800" b="1" spc="-150">
                <a:solidFill>
                  <a:srgbClr val="024DA1"/>
                </a:solidFill>
                <a:latin typeface="Arial"/>
                <a:ea typeface="Open Sans Semibold" panose="020B0706030804020204" pitchFamily="34" charset="0"/>
                <a:cs typeface="Arial"/>
              </a:rPr>
              <a:t>THANK YOU</a:t>
            </a:r>
          </a:p>
        </p:txBody>
      </p:sp>
      <p:sp>
        <p:nvSpPr>
          <p:cNvPr id="7" name="Title 3"/>
          <p:cNvSpPr txBox="1">
            <a:spLocks/>
          </p:cNvSpPr>
          <p:nvPr/>
        </p:nvSpPr>
        <p:spPr>
          <a:xfrm>
            <a:off x="4482258" y="2377095"/>
            <a:ext cx="4152688" cy="244994"/>
          </a:xfrm>
          <a:prstGeom prst="rect">
            <a:avLst/>
          </a:prstGeom>
        </p:spPr>
        <p:txBody>
          <a:bodyPr vert="horz" lIns="91440" tIns="45720" rIns="91440" bIns="45720" rtlCol="0" anchor="b">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189" rtl="0" eaLnBrk="1" fontAlgn="auto" latinLnBrk="0" hangingPunct="1">
              <a:lnSpc>
                <a:spcPct val="100000"/>
              </a:lnSpc>
              <a:spcBef>
                <a:spcPct val="0"/>
              </a:spcBef>
              <a:spcAft>
                <a:spcPts val="0"/>
              </a:spcAft>
              <a:buClrTx/>
              <a:buSzTx/>
              <a:buFontTx/>
              <a:buNone/>
              <a:tabLst/>
              <a:defRPr/>
            </a:pPr>
            <a:r>
              <a:rPr kumimoji="0" lang="en-US" sz="1400" b="0" i="0" u="none" strike="noStrike" kern="1200" cap="all" spc="0" normalizeH="0" baseline="0" noProof="0">
                <a:ln>
                  <a:noFill/>
                </a:ln>
                <a:solidFill>
                  <a:srgbClr val="024DA1"/>
                </a:solidFill>
                <a:effectLst/>
                <a:uLnTx/>
                <a:uFillTx/>
                <a:latin typeface="Arial"/>
                <a:ea typeface="+mj-ea"/>
                <a:cs typeface="Arial"/>
                <a:hlinkClick r:id="rId4"/>
              </a:rPr>
              <a:t>@EU_IPO</a:t>
            </a:r>
            <a:endParaRPr kumimoji="0" lang="en-US" sz="1400" b="0" i="0" u="none" strike="noStrike" kern="1200" cap="none" spc="0" normalizeH="0" baseline="0" noProof="0">
              <a:ln>
                <a:noFill/>
              </a:ln>
              <a:solidFill>
                <a:srgbClr val="024DA1"/>
              </a:solidFill>
              <a:effectLst/>
              <a:uLnTx/>
              <a:uFillTx/>
              <a:latin typeface="Arial"/>
              <a:ea typeface="+mj-ea"/>
              <a:cs typeface="Arial"/>
            </a:endParaRPr>
          </a:p>
        </p:txBody>
      </p:sp>
      <p:sp>
        <p:nvSpPr>
          <p:cNvPr id="8" name="Title 3"/>
          <p:cNvSpPr txBox="1">
            <a:spLocks/>
          </p:cNvSpPr>
          <p:nvPr/>
        </p:nvSpPr>
        <p:spPr>
          <a:xfrm>
            <a:off x="4482258" y="2774488"/>
            <a:ext cx="4152688" cy="244994"/>
          </a:xfrm>
          <a:prstGeom prst="rect">
            <a:avLst/>
          </a:prstGeom>
        </p:spPr>
        <p:txBody>
          <a:bodyPr vert="horz" lIns="91440" tIns="45720" rIns="91440" bIns="45720" rtlCol="0" anchor="b">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189" rtl="0" eaLnBrk="1" fontAlgn="auto" latinLnBrk="0" hangingPunct="1">
              <a:lnSpc>
                <a:spcPct val="100000"/>
              </a:lnSpc>
              <a:spcBef>
                <a:spcPct val="0"/>
              </a:spcBef>
              <a:spcAft>
                <a:spcPts val="0"/>
              </a:spcAft>
              <a:buClrTx/>
              <a:buSzTx/>
              <a:buFontTx/>
              <a:buNone/>
              <a:tabLst/>
              <a:defRPr/>
            </a:pPr>
            <a:r>
              <a:rPr kumimoji="0" lang="en-US" sz="1400" b="0" i="0" u="none" strike="noStrike" kern="1200" cap="all" spc="0" normalizeH="0" baseline="0" noProof="0" err="1">
                <a:ln>
                  <a:noFill/>
                </a:ln>
                <a:solidFill>
                  <a:srgbClr val="024DA1"/>
                </a:solidFill>
                <a:effectLst/>
                <a:uLnTx/>
                <a:uFillTx/>
                <a:latin typeface="Arial"/>
                <a:ea typeface="+mj-ea"/>
                <a:cs typeface="Arial"/>
                <a:hlinkClick r:id="rId5"/>
              </a:rPr>
              <a:t>euipo</a:t>
            </a:r>
            <a:endParaRPr kumimoji="0" lang="en-US" sz="1400" b="0" i="0" u="none" strike="noStrike" kern="1200" cap="none" spc="0" normalizeH="0" baseline="0" noProof="0">
              <a:ln>
                <a:noFill/>
              </a:ln>
              <a:solidFill>
                <a:srgbClr val="024DA1"/>
              </a:solidFill>
              <a:effectLst/>
              <a:uLnTx/>
              <a:uFillTx/>
              <a:latin typeface="Arial"/>
              <a:ea typeface="+mj-ea"/>
              <a:cs typeface="Arial"/>
            </a:endParaRPr>
          </a:p>
        </p:txBody>
      </p:sp>
      <p:sp>
        <p:nvSpPr>
          <p:cNvPr id="9" name="Title 3"/>
          <p:cNvSpPr txBox="1">
            <a:spLocks/>
          </p:cNvSpPr>
          <p:nvPr/>
        </p:nvSpPr>
        <p:spPr>
          <a:xfrm>
            <a:off x="4482258" y="3151740"/>
            <a:ext cx="4152688" cy="244994"/>
          </a:xfrm>
          <a:prstGeom prst="rect">
            <a:avLst/>
          </a:prstGeom>
        </p:spPr>
        <p:txBody>
          <a:bodyPr vert="horz" lIns="91440" tIns="45720" rIns="91440" bIns="45720" rtlCol="0" anchor="b">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189" rtl="0" eaLnBrk="1" fontAlgn="auto" latinLnBrk="0" hangingPunct="1">
              <a:lnSpc>
                <a:spcPct val="100000"/>
              </a:lnSpc>
              <a:spcBef>
                <a:spcPct val="0"/>
              </a:spcBef>
              <a:spcAft>
                <a:spcPts val="0"/>
              </a:spcAft>
              <a:buClrTx/>
              <a:buSzTx/>
              <a:buFontTx/>
              <a:buNone/>
              <a:tabLst/>
              <a:defRPr/>
            </a:pPr>
            <a:r>
              <a:rPr kumimoji="0" lang="en-US" sz="1400" b="0" i="0" u="none" strike="noStrike" kern="1200" cap="all" spc="0" normalizeH="0" baseline="0" noProof="0" err="1">
                <a:ln>
                  <a:noFill/>
                </a:ln>
                <a:solidFill>
                  <a:srgbClr val="000090"/>
                </a:solidFill>
                <a:effectLst/>
                <a:uLnTx/>
                <a:uFillTx/>
                <a:latin typeface="Arial"/>
                <a:ea typeface="+mj-ea"/>
                <a:cs typeface="Arial"/>
                <a:hlinkClick r:id="rId6"/>
              </a:rPr>
              <a:t>EUIPO.eu</a:t>
            </a:r>
            <a:endParaRPr kumimoji="0" lang="en-US" sz="1400" b="0" i="0" u="none" strike="noStrike" kern="1200" cap="none" spc="0" normalizeH="0" baseline="0" noProof="0">
              <a:ln>
                <a:noFill/>
              </a:ln>
              <a:solidFill>
                <a:srgbClr val="000090"/>
              </a:solidFill>
              <a:effectLst/>
              <a:uLnTx/>
              <a:uFillTx/>
              <a:latin typeface="Arial"/>
              <a:ea typeface="+mj-ea"/>
              <a:cs typeface="Arial"/>
            </a:endParaRPr>
          </a:p>
        </p:txBody>
      </p:sp>
    </p:spTree>
    <p:extLst>
      <p:ext uri="{BB962C8B-B14F-4D97-AF65-F5344CB8AC3E}">
        <p14:creationId xmlns:p14="http://schemas.microsoft.com/office/powerpoint/2010/main" val="28500884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9" name="Rectangle 16">
            <a:extLst>
              <a:ext uri="{FF2B5EF4-FFF2-40B4-BE49-F238E27FC236}">
                <a16:creationId xmlns:a16="http://schemas.microsoft.com/office/drawing/2014/main" id="{A72D7631-5624-4FE2-9B16-5E3DF58A47DE}"/>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6" name="Rectangle 8">
            <a:extLst>
              <a:ext uri="{FF2B5EF4-FFF2-40B4-BE49-F238E27FC236}">
                <a16:creationId xmlns:a16="http://schemas.microsoft.com/office/drawing/2014/main" id="{36B8CCF4-9673-4887-BF29-7980B4EA637A}"/>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IE" sz="1400" b="1" dirty="0">
                <a:solidFill>
                  <a:schemeClr val="bg1"/>
                </a:solidFill>
                <a:latin typeface="Arial"/>
                <a:cs typeface="Arial"/>
              </a:rPr>
              <a:t>Examples from case-law </a:t>
            </a:r>
            <a:endParaRPr lang="en-IE" sz="1500" b="1" spc="-71" dirty="0">
              <a:solidFill>
                <a:srgbClr val="FFFCF6"/>
              </a:solidFill>
              <a:latin typeface="Arial"/>
              <a:ea typeface="Open Sans" panose="020B0606030504020204" pitchFamily="34" charset="0"/>
              <a:cs typeface="Arial"/>
            </a:endParaRPr>
          </a:p>
        </p:txBody>
      </p:sp>
      <p:pic>
        <p:nvPicPr>
          <p:cNvPr id="4" name="Picture 3">
            <a:extLst>
              <a:ext uri="{FF2B5EF4-FFF2-40B4-BE49-F238E27FC236}">
                <a16:creationId xmlns:a16="http://schemas.microsoft.com/office/drawing/2014/main" id="{3388088E-8568-4A9D-3AD4-4E2EB2C7CD90}"/>
              </a:ext>
            </a:extLst>
          </p:cNvPr>
          <p:cNvPicPr>
            <a:picLocks noChangeAspect="1"/>
          </p:cNvPicPr>
          <p:nvPr/>
        </p:nvPicPr>
        <p:blipFill>
          <a:blip r:embed="rId4"/>
          <a:stretch>
            <a:fillRect/>
          </a:stretch>
        </p:blipFill>
        <p:spPr>
          <a:xfrm>
            <a:off x="789762" y="3143859"/>
            <a:ext cx="1569424" cy="1504483"/>
          </a:xfrm>
          <a:prstGeom prst="rect">
            <a:avLst/>
          </a:prstGeom>
        </p:spPr>
      </p:pic>
      <p:pic>
        <p:nvPicPr>
          <p:cNvPr id="5" name="Picture 4">
            <a:extLst>
              <a:ext uri="{FF2B5EF4-FFF2-40B4-BE49-F238E27FC236}">
                <a16:creationId xmlns:a16="http://schemas.microsoft.com/office/drawing/2014/main" id="{75782FBB-8753-FC5C-0ECF-A3103309ED5C}"/>
              </a:ext>
            </a:extLst>
          </p:cNvPr>
          <p:cNvPicPr>
            <a:picLocks noChangeAspect="1"/>
          </p:cNvPicPr>
          <p:nvPr/>
        </p:nvPicPr>
        <p:blipFill>
          <a:blip r:embed="rId5"/>
          <a:stretch>
            <a:fillRect/>
          </a:stretch>
        </p:blipFill>
        <p:spPr>
          <a:xfrm>
            <a:off x="2667730" y="1127497"/>
            <a:ext cx="2149367" cy="1538223"/>
          </a:xfrm>
          <a:prstGeom prst="rect">
            <a:avLst/>
          </a:prstGeom>
        </p:spPr>
      </p:pic>
      <p:pic>
        <p:nvPicPr>
          <p:cNvPr id="13" name="Picture 12">
            <a:extLst>
              <a:ext uri="{FF2B5EF4-FFF2-40B4-BE49-F238E27FC236}">
                <a16:creationId xmlns:a16="http://schemas.microsoft.com/office/drawing/2014/main" id="{F7773E28-2DCE-226E-915D-92B0516C787A}"/>
              </a:ext>
            </a:extLst>
          </p:cNvPr>
          <p:cNvPicPr>
            <a:picLocks noChangeAspect="1"/>
          </p:cNvPicPr>
          <p:nvPr/>
        </p:nvPicPr>
        <p:blipFill>
          <a:blip r:embed="rId6"/>
          <a:stretch>
            <a:fillRect/>
          </a:stretch>
        </p:blipFill>
        <p:spPr>
          <a:xfrm>
            <a:off x="5505417" y="1294742"/>
            <a:ext cx="2982665" cy="1061026"/>
          </a:xfrm>
          <a:prstGeom prst="rect">
            <a:avLst/>
          </a:prstGeom>
        </p:spPr>
      </p:pic>
      <p:pic>
        <p:nvPicPr>
          <p:cNvPr id="15" name="Picture 14">
            <a:extLst>
              <a:ext uri="{FF2B5EF4-FFF2-40B4-BE49-F238E27FC236}">
                <a16:creationId xmlns:a16="http://schemas.microsoft.com/office/drawing/2014/main" id="{73CF4DDC-FD51-9B2B-5D05-380DA27216BE}"/>
              </a:ext>
            </a:extLst>
          </p:cNvPr>
          <p:cNvPicPr>
            <a:picLocks noChangeAspect="1"/>
          </p:cNvPicPr>
          <p:nvPr/>
        </p:nvPicPr>
        <p:blipFill>
          <a:blip r:embed="rId7"/>
          <a:stretch>
            <a:fillRect/>
          </a:stretch>
        </p:blipFill>
        <p:spPr>
          <a:xfrm>
            <a:off x="925591" y="1177608"/>
            <a:ext cx="869580" cy="1818771"/>
          </a:xfrm>
          <a:prstGeom prst="rect">
            <a:avLst/>
          </a:prstGeom>
        </p:spPr>
      </p:pic>
      <p:sp>
        <p:nvSpPr>
          <p:cNvPr id="17" name="Rectangle 16">
            <a:extLst>
              <a:ext uri="{FF2B5EF4-FFF2-40B4-BE49-F238E27FC236}">
                <a16:creationId xmlns:a16="http://schemas.microsoft.com/office/drawing/2014/main" id="{F3368AF4-452F-A99A-FCF2-1E1F7D7D3D11}"/>
              </a:ext>
            </a:extLst>
          </p:cNvPr>
          <p:cNvSpPr/>
          <p:nvPr/>
        </p:nvSpPr>
        <p:spPr>
          <a:xfrm>
            <a:off x="2818425" y="2879136"/>
            <a:ext cx="2716986" cy="461665"/>
          </a:xfrm>
          <a:prstGeom prst="rect">
            <a:avLst/>
          </a:prstGeom>
        </p:spPr>
        <p:txBody>
          <a:bodyPr wrap="square">
            <a:spAutoFit/>
          </a:bodyPr>
          <a:lstStyle/>
          <a:p>
            <a:r>
              <a:rPr lang="en-GB" sz="2400" b="1" dirty="0">
                <a:solidFill>
                  <a:schemeClr val="tx1">
                    <a:lumMod val="75000"/>
                    <a:lumOff val="25000"/>
                  </a:schemeClr>
                </a:solidFill>
                <a:latin typeface="Arial" panose="020B0604020202020204" pitchFamily="34" charset="0"/>
                <a:cs typeface="Arial" panose="020B0604020202020204" pitchFamily="34" charset="0"/>
              </a:rPr>
              <a:t>BIN LADIN</a:t>
            </a:r>
          </a:p>
        </p:txBody>
      </p:sp>
      <p:sp>
        <p:nvSpPr>
          <p:cNvPr id="26" name="Rectangle 25">
            <a:extLst>
              <a:ext uri="{FF2B5EF4-FFF2-40B4-BE49-F238E27FC236}">
                <a16:creationId xmlns:a16="http://schemas.microsoft.com/office/drawing/2014/main" id="{FAA1BC4C-3336-2E03-49CB-8B1C21F6A3C7}"/>
              </a:ext>
            </a:extLst>
          </p:cNvPr>
          <p:cNvSpPr/>
          <p:nvPr/>
        </p:nvSpPr>
        <p:spPr>
          <a:xfrm>
            <a:off x="4404977" y="3396598"/>
            <a:ext cx="2542578" cy="461665"/>
          </a:xfrm>
          <a:prstGeom prst="rect">
            <a:avLst/>
          </a:prstGeom>
        </p:spPr>
        <p:txBody>
          <a:bodyPr wrap="square">
            <a:spAutoFit/>
          </a:bodyPr>
          <a:lstStyle/>
          <a:p>
            <a:r>
              <a:rPr lang="en-GB" sz="2400" b="1" dirty="0">
                <a:solidFill>
                  <a:schemeClr val="tx1">
                    <a:lumMod val="75000"/>
                    <a:lumOff val="25000"/>
                  </a:schemeClr>
                </a:solidFill>
                <a:latin typeface="Arial" panose="020B0604020202020204" pitchFamily="34" charset="0"/>
                <a:cs typeface="Arial" panose="020B0604020202020204" pitchFamily="34" charset="0"/>
              </a:rPr>
              <a:t>SCREW YOU</a:t>
            </a:r>
          </a:p>
        </p:txBody>
      </p:sp>
      <p:pic>
        <p:nvPicPr>
          <p:cNvPr id="27" name="Picture 26">
            <a:extLst>
              <a:ext uri="{FF2B5EF4-FFF2-40B4-BE49-F238E27FC236}">
                <a16:creationId xmlns:a16="http://schemas.microsoft.com/office/drawing/2014/main" id="{FAD5A8C1-283D-CD03-DF5C-F1E0C3FE5708}"/>
              </a:ext>
            </a:extLst>
          </p:cNvPr>
          <p:cNvPicPr>
            <a:picLocks noChangeAspect="1"/>
          </p:cNvPicPr>
          <p:nvPr/>
        </p:nvPicPr>
        <p:blipFill>
          <a:blip r:embed="rId8"/>
          <a:stretch>
            <a:fillRect/>
          </a:stretch>
        </p:blipFill>
        <p:spPr>
          <a:xfrm>
            <a:off x="6947555" y="2710980"/>
            <a:ext cx="1736603" cy="1832903"/>
          </a:xfrm>
          <a:prstGeom prst="rect">
            <a:avLst/>
          </a:prstGeom>
        </p:spPr>
      </p:pic>
      <p:sp>
        <p:nvSpPr>
          <p:cNvPr id="28" name="Rectangle 27">
            <a:extLst>
              <a:ext uri="{FF2B5EF4-FFF2-40B4-BE49-F238E27FC236}">
                <a16:creationId xmlns:a16="http://schemas.microsoft.com/office/drawing/2014/main" id="{3A3B156D-476E-CE12-FC65-69348FCDB002}"/>
              </a:ext>
            </a:extLst>
          </p:cNvPr>
          <p:cNvSpPr/>
          <p:nvPr/>
        </p:nvSpPr>
        <p:spPr>
          <a:xfrm>
            <a:off x="2797086" y="4082218"/>
            <a:ext cx="3650849" cy="461665"/>
          </a:xfrm>
          <a:prstGeom prst="rect">
            <a:avLst/>
          </a:prstGeom>
        </p:spPr>
        <p:txBody>
          <a:bodyPr wrap="square">
            <a:spAutoFit/>
          </a:bodyPr>
          <a:lstStyle/>
          <a:p>
            <a:r>
              <a:rPr lang="en-GB" sz="2400" b="1" dirty="0">
                <a:solidFill>
                  <a:schemeClr val="tx1">
                    <a:lumMod val="75000"/>
                    <a:lumOff val="25000"/>
                  </a:schemeClr>
                </a:solidFill>
                <a:latin typeface="Arial" panose="020B0604020202020204" pitchFamily="34" charset="0"/>
                <a:cs typeface="Arial" panose="020B0604020202020204" pitchFamily="34" charset="0"/>
              </a:rPr>
              <a:t>BLACK LIVES MATTER</a:t>
            </a:r>
          </a:p>
        </p:txBody>
      </p:sp>
    </p:spTree>
    <p:extLst>
      <p:ext uri="{BB962C8B-B14F-4D97-AF65-F5344CB8AC3E}">
        <p14:creationId xmlns:p14="http://schemas.microsoft.com/office/powerpoint/2010/main" val="3208177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122" name="Rectangle 8">
            <a:extLst>
              <a:ext uri="{FF2B5EF4-FFF2-40B4-BE49-F238E27FC236}">
                <a16:creationId xmlns:a16="http://schemas.microsoft.com/office/drawing/2014/main" id="{738B75C2-D784-445C-8408-32D440FE565A}"/>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IE" sz="1400" b="1" dirty="0">
                <a:solidFill>
                  <a:schemeClr val="bg1"/>
                </a:solidFill>
                <a:latin typeface="Arial"/>
                <a:cs typeface="Arial"/>
              </a:rPr>
              <a:t>CP</a:t>
            </a:r>
            <a:r>
              <a:rPr lang="en-IE" sz="1400" b="1" dirty="0">
                <a:solidFill>
                  <a:schemeClr val="bg1"/>
                </a:solidFill>
                <a:latin typeface="Arial" panose="020B0604020202020204" pitchFamily="34" charset="0"/>
                <a:cs typeface="Arial" panose="020B0604020202020204" pitchFamily="34" charset="0"/>
              </a:rPr>
              <a:t>14 </a:t>
            </a:r>
            <a:r>
              <a:rPr lang="en-IE" sz="1400" b="1" dirty="0">
                <a:solidFill>
                  <a:schemeClr val="bg1"/>
                </a:solidFill>
                <a:latin typeface="Arial"/>
                <a:cs typeface="Arial"/>
              </a:rPr>
              <a:t>Common Practice </a:t>
            </a:r>
            <a:endParaRPr lang="en-IE" sz="1500" b="1" spc="-71" dirty="0">
              <a:solidFill>
                <a:srgbClr val="FFFCF6"/>
              </a:solidFill>
              <a:latin typeface="Arial"/>
              <a:ea typeface="Open Sans" panose="020B0606030504020204" pitchFamily="34" charset="0"/>
              <a:cs typeface="Arial"/>
            </a:endParaRPr>
          </a:p>
        </p:txBody>
      </p:sp>
      <p:sp>
        <p:nvSpPr>
          <p:cNvPr id="124" name="Rectangle 16">
            <a:extLst>
              <a:ext uri="{FF2B5EF4-FFF2-40B4-BE49-F238E27FC236}">
                <a16:creationId xmlns:a16="http://schemas.microsoft.com/office/drawing/2014/main" id="{146050E9-5E53-4BCC-9E4F-2160A565531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128" name="Rectangle 127">
            <a:extLst>
              <a:ext uri="{FF2B5EF4-FFF2-40B4-BE49-F238E27FC236}">
                <a16:creationId xmlns:a16="http://schemas.microsoft.com/office/drawing/2014/main" id="{E57B3DA8-B190-46B2-A04A-AF3609F8F215}"/>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Timeline – launching of the project</a:t>
            </a:r>
          </a:p>
        </p:txBody>
      </p:sp>
      <p:cxnSp>
        <p:nvCxnSpPr>
          <p:cNvPr id="174" name="Straight Connector 173">
            <a:extLst>
              <a:ext uri="{FF2B5EF4-FFF2-40B4-BE49-F238E27FC236}">
                <a16:creationId xmlns:a16="http://schemas.microsoft.com/office/drawing/2014/main" id="{803BEE17-8E5E-4163-B719-73BEEB1CB3F8}"/>
              </a:ext>
            </a:extLst>
          </p:cNvPr>
          <p:cNvCxnSpPr>
            <a:cxnSpLocks/>
          </p:cNvCxnSpPr>
          <p:nvPr/>
        </p:nvCxnSpPr>
        <p:spPr>
          <a:xfrm>
            <a:off x="742836" y="2593913"/>
            <a:ext cx="7796046" cy="3956"/>
          </a:xfrm>
          <a:prstGeom prst="line">
            <a:avLst/>
          </a:prstGeom>
          <a:ln w="19050">
            <a:solidFill>
              <a:schemeClr val="bg1">
                <a:lumMod val="75000"/>
              </a:schemeClr>
            </a:solidFill>
            <a:prstDash val="sysDot"/>
          </a:ln>
          <a:effectLst/>
        </p:spPr>
        <p:style>
          <a:lnRef idx="2">
            <a:schemeClr val="accent1"/>
          </a:lnRef>
          <a:fillRef idx="0">
            <a:schemeClr val="accent1"/>
          </a:fillRef>
          <a:effectRef idx="1">
            <a:schemeClr val="accent1"/>
          </a:effectRef>
          <a:fontRef idx="minor">
            <a:schemeClr val="tx1"/>
          </a:fontRef>
        </p:style>
      </p:cxnSp>
      <p:grpSp>
        <p:nvGrpSpPr>
          <p:cNvPr id="9" name="Group 8">
            <a:extLst>
              <a:ext uri="{FF2B5EF4-FFF2-40B4-BE49-F238E27FC236}">
                <a16:creationId xmlns:a16="http://schemas.microsoft.com/office/drawing/2014/main" id="{641AFD9D-6305-4743-9EBF-77F6B130D336}"/>
              </a:ext>
            </a:extLst>
          </p:cNvPr>
          <p:cNvGrpSpPr/>
          <p:nvPr/>
        </p:nvGrpSpPr>
        <p:grpSpPr>
          <a:xfrm>
            <a:off x="7477599" y="1946599"/>
            <a:ext cx="1241453" cy="2691264"/>
            <a:chOff x="7424259" y="1946599"/>
            <a:chExt cx="1241453" cy="2691264"/>
          </a:xfrm>
        </p:grpSpPr>
        <p:grpSp>
          <p:nvGrpSpPr>
            <p:cNvPr id="175" name="Group 174">
              <a:extLst>
                <a:ext uri="{FF2B5EF4-FFF2-40B4-BE49-F238E27FC236}">
                  <a16:creationId xmlns:a16="http://schemas.microsoft.com/office/drawing/2014/main" id="{037C7BE6-1854-4BAE-A3C9-564338F7AC2E}"/>
                </a:ext>
              </a:extLst>
            </p:cNvPr>
            <p:cNvGrpSpPr/>
            <p:nvPr/>
          </p:nvGrpSpPr>
          <p:grpSpPr>
            <a:xfrm>
              <a:off x="7424259" y="2843667"/>
              <a:ext cx="1241453" cy="1794196"/>
              <a:chOff x="8009466" y="2900094"/>
              <a:chExt cx="589304" cy="851685"/>
            </a:xfrm>
          </p:grpSpPr>
          <p:grpSp>
            <p:nvGrpSpPr>
              <p:cNvPr id="176" name="Group 175">
                <a:extLst>
                  <a:ext uri="{FF2B5EF4-FFF2-40B4-BE49-F238E27FC236}">
                    <a16:creationId xmlns:a16="http://schemas.microsoft.com/office/drawing/2014/main" id="{F7D7CF6B-5F35-4F5E-870A-5143584ED560}"/>
                  </a:ext>
                </a:extLst>
              </p:cNvPr>
              <p:cNvGrpSpPr/>
              <p:nvPr/>
            </p:nvGrpSpPr>
            <p:grpSpPr>
              <a:xfrm rot="10800000">
                <a:off x="8009466" y="2900094"/>
                <a:ext cx="589304" cy="851685"/>
                <a:chOff x="7628466" y="3085082"/>
                <a:chExt cx="589304" cy="851685"/>
              </a:xfrm>
            </p:grpSpPr>
            <p:sp>
              <p:nvSpPr>
                <p:cNvPr id="200" name="Oval 19">
                  <a:extLst>
                    <a:ext uri="{FF2B5EF4-FFF2-40B4-BE49-F238E27FC236}">
                      <a16:creationId xmlns:a16="http://schemas.microsoft.com/office/drawing/2014/main" id="{DB8931D7-6B90-462B-A37E-DCC4183561C9}"/>
                    </a:ext>
                  </a:extLst>
                </p:cNvPr>
                <p:cNvSpPr>
                  <a:spLocks noChangeArrowheads="1"/>
                </p:cNvSpPr>
                <p:nvPr/>
              </p:nvSpPr>
              <p:spPr bwMode="auto">
                <a:xfrm>
                  <a:off x="7871888" y="3827563"/>
                  <a:ext cx="109870" cy="109204"/>
                </a:xfrm>
                <a:prstGeom prst="ellipse">
                  <a:avLst/>
                </a:prstGeom>
                <a:noFill/>
                <a:ln w="53975" cap="flat">
                  <a:solidFill>
                    <a:srgbClr val="7F41FF"/>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nvGrpSpPr>
                <p:cNvPr id="210" name="Group 209">
                  <a:extLst>
                    <a:ext uri="{FF2B5EF4-FFF2-40B4-BE49-F238E27FC236}">
                      <a16:creationId xmlns:a16="http://schemas.microsoft.com/office/drawing/2014/main" id="{A421AFBA-CE70-4282-9CAA-F1D52975AC9C}"/>
                    </a:ext>
                  </a:extLst>
                </p:cNvPr>
                <p:cNvGrpSpPr>
                  <a:grpSpLocks/>
                </p:cNvGrpSpPr>
                <p:nvPr/>
              </p:nvGrpSpPr>
              <p:grpSpPr bwMode="auto">
                <a:xfrm>
                  <a:off x="7628466" y="3085082"/>
                  <a:ext cx="589304" cy="677200"/>
                  <a:chOff x="9264650" y="2338388"/>
                  <a:chExt cx="1404938" cy="1614488"/>
                </a:xfrm>
              </p:grpSpPr>
              <p:sp>
                <p:nvSpPr>
                  <p:cNvPr id="211" name="Freeform 10">
                    <a:extLst>
                      <a:ext uri="{FF2B5EF4-FFF2-40B4-BE49-F238E27FC236}">
                        <a16:creationId xmlns:a16="http://schemas.microsoft.com/office/drawing/2014/main" id="{5CF0358F-A91D-48C5-942B-2866B1F4BB78}"/>
                      </a:ext>
                    </a:extLst>
                  </p:cNvPr>
                  <p:cNvSpPr>
                    <a:spLocks/>
                  </p:cNvSpPr>
                  <p:nvPr/>
                </p:nvSpPr>
                <p:spPr bwMode="auto">
                  <a:xfrm>
                    <a:off x="9264650" y="2338388"/>
                    <a:ext cx="1404938" cy="1614488"/>
                  </a:xfrm>
                  <a:custGeom>
                    <a:avLst/>
                    <a:gdLst>
                      <a:gd name="T0" fmla="*/ 369 w 369"/>
                      <a:gd name="T1" fmla="*/ 184 h 424"/>
                      <a:gd name="T2" fmla="*/ 185 w 369"/>
                      <a:gd name="T3" fmla="*/ 0 h 424"/>
                      <a:gd name="T4" fmla="*/ 0 w 369"/>
                      <a:gd name="T5" fmla="*/ 184 h 424"/>
                      <a:gd name="T6" fmla="*/ 151 w 369"/>
                      <a:gd name="T7" fmla="*/ 366 h 424"/>
                      <a:gd name="T8" fmla="*/ 185 w 369"/>
                      <a:gd name="T9" fmla="*/ 424 h 424"/>
                      <a:gd name="T10" fmla="*/ 218 w 369"/>
                      <a:gd name="T11" fmla="*/ 366 h 424"/>
                      <a:gd name="T12" fmla="*/ 369 w 369"/>
                      <a:gd name="T13" fmla="*/ 184 h 424"/>
                    </a:gdLst>
                    <a:ahLst/>
                    <a:cxnLst>
                      <a:cxn ang="0">
                        <a:pos x="T0" y="T1"/>
                      </a:cxn>
                      <a:cxn ang="0">
                        <a:pos x="T2" y="T3"/>
                      </a:cxn>
                      <a:cxn ang="0">
                        <a:pos x="T4" y="T5"/>
                      </a:cxn>
                      <a:cxn ang="0">
                        <a:pos x="T6" y="T7"/>
                      </a:cxn>
                      <a:cxn ang="0">
                        <a:pos x="T8" y="T9"/>
                      </a:cxn>
                      <a:cxn ang="0">
                        <a:pos x="T10" y="T11"/>
                      </a:cxn>
                      <a:cxn ang="0">
                        <a:pos x="T12" y="T13"/>
                      </a:cxn>
                    </a:cxnLst>
                    <a:rect l="0" t="0" r="r" b="b"/>
                    <a:pathLst>
                      <a:path w="369" h="424">
                        <a:moveTo>
                          <a:pt x="369" y="184"/>
                        </a:moveTo>
                        <a:cubicBezTo>
                          <a:pt x="369" y="82"/>
                          <a:pt x="287" y="0"/>
                          <a:pt x="185" y="0"/>
                        </a:cubicBezTo>
                        <a:cubicBezTo>
                          <a:pt x="83" y="0"/>
                          <a:pt x="0" y="82"/>
                          <a:pt x="0" y="184"/>
                        </a:cubicBezTo>
                        <a:cubicBezTo>
                          <a:pt x="0" y="275"/>
                          <a:pt x="65" y="350"/>
                          <a:pt x="151" y="366"/>
                        </a:cubicBezTo>
                        <a:cubicBezTo>
                          <a:pt x="185" y="424"/>
                          <a:pt x="185" y="424"/>
                          <a:pt x="185" y="424"/>
                        </a:cubicBezTo>
                        <a:cubicBezTo>
                          <a:pt x="218" y="366"/>
                          <a:pt x="218" y="366"/>
                          <a:pt x="218" y="366"/>
                        </a:cubicBezTo>
                        <a:cubicBezTo>
                          <a:pt x="304" y="350"/>
                          <a:pt x="369" y="275"/>
                          <a:pt x="369" y="184"/>
                        </a:cubicBezTo>
                        <a:close/>
                      </a:path>
                    </a:pathLst>
                  </a:custGeom>
                  <a:solidFill>
                    <a:schemeClr val="tx2"/>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sp>
                <p:nvSpPr>
                  <p:cNvPr id="212" name="Oval 25">
                    <a:extLst>
                      <a:ext uri="{FF2B5EF4-FFF2-40B4-BE49-F238E27FC236}">
                        <a16:creationId xmlns:a16="http://schemas.microsoft.com/office/drawing/2014/main" id="{6A81D8C8-1A19-4018-9968-06B84FD132A9}"/>
                      </a:ext>
                    </a:extLst>
                  </p:cNvPr>
                  <p:cNvSpPr>
                    <a:spLocks noChangeArrowheads="1"/>
                  </p:cNvSpPr>
                  <p:nvPr/>
                </p:nvSpPr>
                <p:spPr bwMode="auto">
                  <a:xfrm>
                    <a:off x="9474204" y="2546350"/>
                    <a:ext cx="989012" cy="987427"/>
                  </a:xfrm>
                  <a:prstGeom prst="ellipse">
                    <a:avLst/>
                  </a:prstGeom>
                  <a:solidFill>
                    <a:srgbClr val="E7E6E6"/>
                  </a:solidFill>
                  <a:ln>
                    <a:noFill/>
                  </a:ln>
                  <a:effectLst>
                    <a:outerShdw blurRad="127000" dist="63500" dir="2700000" algn="tl" rotWithShape="0">
                      <a:prstClr val="black">
                        <a:alpha val="50000"/>
                      </a:prstClr>
                    </a:outerShd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grpSp>
          <p:grpSp>
            <p:nvGrpSpPr>
              <p:cNvPr id="188" name="Group 187">
                <a:extLst>
                  <a:ext uri="{FF2B5EF4-FFF2-40B4-BE49-F238E27FC236}">
                    <a16:creationId xmlns:a16="http://schemas.microsoft.com/office/drawing/2014/main" id="{A3DBE5C3-0573-4614-B37F-FEDDF7243089}"/>
                  </a:ext>
                </a:extLst>
              </p:cNvPr>
              <p:cNvGrpSpPr/>
              <p:nvPr/>
            </p:nvGrpSpPr>
            <p:grpSpPr>
              <a:xfrm>
                <a:off x="8161326" y="3344925"/>
                <a:ext cx="247590" cy="243734"/>
                <a:chOff x="6464234" y="3177561"/>
                <a:chExt cx="247590" cy="243734"/>
              </a:xfrm>
              <a:solidFill>
                <a:srgbClr val="C89600"/>
              </a:solidFill>
            </p:grpSpPr>
            <p:sp>
              <p:nvSpPr>
                <p:cNvPr id="191" name="Google Shape;2177;p54">
                  <a:extLst>
                    <a:ext uri="{FF2B5EF4-FFF2-40B4-BE49-F238E27FC236}">
                      <a16:creationId xmlns:a16="http://schemas.microsoft.com/office/drawing/2014/main" id="{CA62CCF3-EE88-46C9-B49E-5A61A800E4F1}"/>
                    </a:ext>
                  </a:extLst>
                </p:cNvPr>
                <p:cNvSpPr/>
                <p:nvPr/>
              </p:nvSpPr>
              <p:spPr>
                <a:xfrm>
                  <a:off x="6496007" y="3363736"/>
                  <a:ext cx="20023" cy="19104"/>
                </a:xfrm>
                <a:custGeom>
                  <a:avLst/>
                  <a:gdLst/>
                  <a:ahLst/>
                  <a:cxnLst/>
                  <a:rect l="l" t="t" r="r" b="b"/>
                  <a:pathLst>
                    <a:path w="893" h="852" extrusionOk="0">
                      <a:moveTo>
                        <a:pt x="708" y="1"/>
                      </a:moveTo>
                      <a:cubicBezTo>
                        <a:pt x="667" y="1"/>
                        <a:pt x="625" y="16"/>
                        <a:pt x="595" y="45"/>
                      </a:cubicBezTo>
                      <a:lnTo>
                        <a:pt x="60" y="581"/>
                      </a:lnTo>
                      <a:cubicBezTo>
                        <a:pt x="0" y="641"/>
                        <a:pt x="0" y="748"/>
                        <a:pt x="60" y="807"/>
                      </a:cubicBezTo>
                      <a:cubicBezTo>
                        <a:pt x="89" y="837"/>
                        <a:pt x="131" y="852"/>
                        <a:pt x="173" y="852"/>
                      </a:cubicBezTo>
                      <a:cubicBezTo>
                        <a:pt x="214" y="852"/>
                        <a:pt x="256" y="837"/>
                        <a:pt x="286" y="807"/>
                      </a:cubicBezTo>
                      <a:lnTo>
                        <a:pt x="822" y="272"/>
                      </a:lnTo>
                      <a:cubicBezTo>
                        <a:pt x="893" y="212"/>
                        <a:pt x="893" y="117"/>
                        <a:pt x="822" y="45"/>
                      </a:cubicBezTo>
                      <a:cubicBezTo>
                        <a:pt x="792" y="16"/>
                        <a:pt x="750" y="1"/>
                        <a:pt x="708" y="1"/>
                      </a:cubicBezTo>
                      <a:close/>
                    </a:path>
                  </a:pathLst>
                </a:custGeom>
                <a:solidFill>
                  <a:srgbClr val="7F41FF"/>
                </a:solidFill>
                <a:ln>
                  <a:noFill/>
                </a:ln>
              </p:spPr>
              <p:txBody>
                <a:bodyPr spcFirstLastPara="1" wrap="square" lIns="91425" tIns="91425" rIns="91425" bIns="91425" anchor="ctr" anchorCtr="0">
                  <a:noAutofit/>
                </a:bodyPr>
                <a:lstStyle/>
                <a:p>
                  <a:endParaRPr/>
                </a:p>
              </p:txBody>
            </p:sp>
            <p:sp>
              <p:nvSpPr>
                <p:cNvPr id="193" name="Google Shape;2178;p54">
                  <a:extLst>
                    <a:ext uri="{FF2B5EF4-FFF2-40B4-BE49-F238E27FC236}">
                      <a16:creationId xmlns:a16="http://schemas.microsoft.com/office/drawing/2014/main" id="{DDB8F34F-6671-48F1-BFB4-D9ACF8A5C38E}"/>
                    </a:ext>
                  </a:extLst>
                </p:cNvPr>
                <p:cNvSpPr/>
                <p:nvPr/>
              </p:nvSpPr>
              <p:spPr>
                <a:xfrm>
                  <a:off x="6519752" y="3387504"/>
                  <a:ext cx="19508" cy="19104"/>
                </a:xfrm>
                <a:custGeom>
                  <a:avLst/>
                  <a:gdLst/>
                  <a:ahLst/>
                  <a:cxnLst/>
                  <a:rect l="l" t="t" r="r" b="b"/>
                  <a:pathLst>
                    <a:path w="870" h="852" extrusionOk="0">
                      <a:moveTo>
                        <a:pt x="699" y="0"/>
                      </a:moveTo>
                      <a:cubicBezTo>
                        <a:pt x="659" y="0"/>
                        <a:pt x="620" y="15"/>
                        <a:pt x="596" y="45"/>
                      </a:cubicBezTo>
                      <a:lnTo>
                        <a:pt x="48" y="581"/>
                      </a:lnTo>
                      <a:cubicBezTo>
                        <a:pt x="1" y="640"/>
                        <a:pt x="1" y="747"/>
                        <a:pt x="48" y="807"/>
                      </a:cubicBezTo>
                      <a:cubicBezTo>
                        <a:pt x="78" y="837"/>
                        <a:pt x="120" y="852"/>
                        <a:pt x="161" y="852"/>
                      </a:cubicBezTo>
                      <a:cubicBezTo>
                        <a:pt x="203" y="852"/>
                        <a:pt x="245" y="837"/>
                        <a:pt x="275" y="807"/>
                      </a:cubicBezTo>
                      <a:lnTo>
                        <a:pt x="810" y="271"/>
                      </a:lnTo>
                      <a:cubicBezTo>
                        <a:pt x="870" y="212"/>
                        <a:pt x="870" y="105"/>
                        <a:pt x="810" y="45"/>
                      </a:cubicBezTo>
                      <a:cubicBezTo>
                        <a:pt x="781" y="15"/>
                        <a:pt x="739" y="0"/>
                        <a:pt x="699" y="0"/>
                      </a:cubicBezTo>
                      <a:close/>
                    </a:path>
                  </a:pathLst>
                </a:custGeom>
                <a:solidFill>
                  <a:srgbClr val="7F41FF"/>
                </a:solidFill>
                <a:ln>
                  <a:noFill/>
                </a:ln>
              </p:spPr>
              <p:txBody>
                <a:bodyPr spcFirstLastPara="1" wrap="square" lIns="91425" tIns="91425" rIns="91425" bIns="91425" anchor="ctr" anchorCtr="0">
                  <a:noAutofit/>
                </a:bodyPr>
                <a:lstStyle/>
                <a:p>
                  <a:endParaRPr/>
                </a:p>
              </p:txBody>
            </p:sp>
            <p:sp>
              <p:nvSpPr>
                <p:cNvPr id="194" name="Google Shape;2179;p54">
                  <a:extLst>
                    <a:ext uri="{FF2B5EF4-FFF2-40B4-BE49-F238E27FC236}">
                      <a16:creationId xmlns:a16="http://schemas.microsoft.com/office/drawing/2014/main" id="{22DE9DAE-3BBA-4063-93E0-CEEDC74A38BF}"/>
                    </a:ext>
                  </a:extLst>
                </p:cNvPr>
                <p:cNvSpPr/>
                <p:nvPr/>
              </p:nvSpPr>
              <p:spPr>
                <a:xfrm>
                  <a:off x="6508003" y="3375755"/>
                  <a:ext cx="19777" cy="19104"/>
                </a:xfrm>
                <a:custGeom>
                  <a:avLst/>
                  <a:gdLst/>
                  <a:ahLst/>
                  <a:cxnLst/>
                  <a:rect l="l" t="t" r="r" b="b"/>
                  <a:pathLst>
                    <a:path w="882" h="852" extrusionOk="0">
                      <a:moveTo>
                        <a:pt x="709" y="0"/>
                      </a:moveTo>
                      <a:cubicBezTo>
                        <a:pt x="668" y="0"/>
                        <a:pt x="626" y="15"/>
                        <a:pt x="596" y="45"/>
                      </a:cubicBezTo>
                      <a:lnTo>
                        <a:pt x="60" y="581"/>
                      </a:lnTo>
                      <a:cubicBezTo>
                        <a:pt x="1" y="640"/>
                        <a:pt x="1" y="748"/>
                        <a:pt x="60" y="807"/>
                      </a:cubicBezTo>
                      <a:cubicBezTo>
                        <a:pt x="90" y="837"/>
                        <a:pt x="132" y="852"/>
                        <a:pt x="172" y="852"/>
                      </a:cubicBezTo>
                      <a:cubicBezTo>
                        <a:pt x="212" y="852"/>
                        <a:pt x="251" y="837"/>
                        <a:pt x="275" y="807"/>
                      </a:cubicBezTo>
                      <a:lnTo>
                        <a:pt x="822" y="271"/>
                      </a:lnTo>
                      <a:cubicBezTo>
                        <a:pt x="882" y="212"/>
                        <a:pt x="882" y="105"/>
                        <a:pt x="822" y="45"/>
                      </a:cubicBezTo>
                      <a:cubicBezTo>
                        <a:pt x="793" y="15"/>
                        <a:pt x="751" y="0"/>
                        <a:pt x="709" y="0"/>
                      </a:cubicBezTo>
                      <a:close/>
                    </a:path>
                  </a:pathLst>
                </a:custGeom>
                <a:solidFill>
                  <a:srgbClr val="7F41FF"/>
                </a:solidFill>
                <a:ln>
                  <a:noFill/>
                </a:ln>
              </p:spPr>
              <p:txBody>
                <a:bodyPr spcFirstLastPara="1" wrap="square" lIns="91425" tIns="91425" rIns="91425" bIns="91425" anchor="ctr" anchorCtr="0">
                  <a:noAutofit/>
                </a:bodyPr>
                <a:lstStyle/>
                <a:p>
                  <a:endParaRPr/>
                </a:p>
              </p:txBody>
            </p:sp>
            <p:sp>
              <p:nvSpPr>
                <p:cNvPr id="196" name="Google Shape;2180;p54">
                  <a:extLst>
                    <a:ext uri="{FF2B5EF4-FFF2-40B4-BE49-F238E27FC236}">
                      <a16:creationId xmlns:a16="http://schemas.microsoft.com/office/drawing/2014/main" id="{5775CC0B-A351-4230-8EAB-6D66F465D516}"/>
                    </a:ext>
                  </a:extLst>
                </p:cNvPr>
                <p:cNvSpPr/>
                <p:nvPr/>
              </p:nvSpPr>
              <p:spPr>
                <a:xfrm>
                  <a:off x="6464234" y="3177561"/>
                  <a:ext cx="247590" cy="243734"/>
                </a:xfrm>
                <a:custGeom>
                  <a:avLst/>
                  <a:gdLst/>
                  <a:ahLst/>
                  <a:cxnLst/>
                  <a:rect l="l" t="t" r="r" b="b"/>
                  <a:pathLst>
                    <a:path w="11042" h="10870" extrusionOk="0">
                      <a:moveTo>
                        <a:pt x="10656" y="324"/>
                      </a:moveTo>
                      <a:lnTo>
                        <a:pt x="10216" y="1871"/>
                      </a:lnTo>
                      <a:lnTo>
                        <a:pt x="9108" y="776"/>
                      </a:lnTo>
                      <a:lnTo>
                        <a:pt x="10656" y="324"/>
                      </a:lnTo>
                      <a:close/>
                      <a:moveTo>
                        <a:pt x="4632" y="3586"/>
                      </a:moveTo>
                      <a:lnTo>
                        <a:pt x="2679" y="5538"/>
                      </a:lnTo>
                      <a:lnTo>
                        <a:pt x="465" y="5360"/>
                      </a:lnTo>
                      <a:cubicBezTo>
                        <a:pt x="429" y="5360"/>
                        <a:pt x="417" y="5324"/>
                        <a:pt x="441" y="5300"/>
                      </a:cubicBezTo>
                      <a:cubicBezTo>
                        <a:pt x="1393" y="4348"/>
                        <a:pt x="2667" y="3764"/>
                        <a:pt x="4001" y="3645"/>
                      </a:cubicBezTo>
                      <a:lnTo>
                        <a:pt x="4632" y="3586"/>
                      </a:lnTo>
                      <a:close/>
                      <a:moveTo>
                        <a:pt x="2727" y="5955"/>
                      </a:moveTo>
                      <a:lnTo>
                        <a:pt x="3584" y="6812"/>
                      </a:lnTo>
                      <a:lnTo>
                        <a:pt x="3263" y="7146"/>
                      </a:lnTo>
                      <a:lnTo>
                        <a:pt x="2393" y="6277"/>
                      </a:lnTo>
                      <a:lnTo>
                        <a:pt x="2727" y="5955"/>
                      </a:lnTo>
                      <a:close/>
                      <a:moveTo>
                        <a:pt x="2572" y="6920"/>
                      </a:moveTo>
                      <a:lnTo>
                        <a:pt x="3024" y="7360"/>
                      </a:lnTo>
                      <a:lnTo>
                        <a:pt x="2655" y="7753"/>
                      </a:lnTo>
                      <a:lnTo>
                        <a:pt x="2596" y="7813"/>
                      </a:lnTo>
                      <a:lnTo>
                        <a:pt x="2191" y="7408"/>
                      </a:lnTo>
                      <a:cubicBezTo>
                        <a:pt x="2155" y="7384"/>
                        <a:pt x="2155" y="7336"/>
                        <a:pt x="2191" y="7313"/>
                      </a:cubicBezTo>
                      <a:lnTo>
                        <a:pt x="2572" y="6920"/>
                      </a:lnTo>
                      <a:close/>
                      <a:moveTo>
                        <a:pt x="8775" y="895"/>
                      </a:moveTo>
                      <a:lnTo>
                        <a:pt x="10121" y="2229"/>
                      </a:lnTo>
                      <a:lnTo>
                        <a:pt x="9704" y="3598"/>
                      </a:lnTo>
                      <a:lnTo>
                        <a:pt x="5275" y="8039"/>
                      </a:lnTo>
                      <a:lnTo>
                        <a:pt x="4406" y="7170"/>
                      </a:lnTo>
                      <a:lnTo>
                        <a:pt x="6430" y="5146"/>
                      </a:lnTo>
                      <a:cubicBezTo>
                        <a:pt x="6584" y="5003"/>
                        <a:pt x="6608" y="4741"/>
                        <a:pt x="6418" y="4574"/>
                      </a:cubicBezTo>
                      <a:cubicBezTo>
                        <a:pt x="6334" y="4491"/>
                        <a:pt x="6230" y="4449"/>
                        <a:pt x="6127" y="4449"/>
                      </a:cubicBezTo>
                      <a:cubicBezTo>
                        <a:pt x="6025" y="4449"/>
                        <a:pt x="5924" y="4491"/>
                        <a:pt x="5846" y="4574"/>
                      </a:cubicBezTo>
                      <a:lnTo>
                        <a:pt x="3822" y="6598"/>
                      </a:lnTo>
                      <a:lnTo>
                        <a:pt x="2965" y="5729"/>
                      </a:lnTo>
                      <a:lnTo>
                        <a:pt x="7394" y="1300"/>
                      </a:lnTo>
                      <a:lnTo>
                        <a:pt x="8775" y="895"/>
                      </a:lnTo>
                      <a:close/>
                      <a:moveTo>
                        <a:pt x="6126" y="4785"/>
                      </a:moveTo>
                      <a:cubicBezTo>
                        <a:pt x="6153" y="4785"/>
                        <a:pt x="6180" y="4794"/>
                        <a:pt x="6191" y="4812"/>
                      </a:cubicBezTo>
                      <a:cubicBezTo>
                        <a:pt x="6227" y="4836"/>
                        <a:pt x="6239" y="4907"/>
                        <a:pt x="6191" y="4943"/>
                      </a:cubicBezTo>
                      <a:lnTo>
                        <a:pt x="4060" y="7074"/>
                      </a:lnTo>
                      <a:cubicBezTo>
                        <a:pt x="3941" y="7170"/>
                        <a:pt x="3108" y="8003"/>
                        <a:pt x="3024" y="8110"/>
                      </a:cubicBezTo>
                      <a:cubicBezTo>
                        <a:pt x="3005" y="8129"/>
                        <a:pt x="2976" y="8142"/>
                        <a:pt x="2949" y="8142"/>
                      </a:cubicBezTo>
                      <a:cubicBezTo>
                        <a:pt x="2926" y="8142"/>
                        <a:pt x="2904" y="8132"/>
                        <a:pt x="2893" y="8110"/>
                      </a:cubicBezTo>
                      <a:cubicBezTo>
                        <a:pt x="2858" y="8086"/>
                        <a:pt x="2858" y="8003"/>
                        <a:pt x="2893" y="7979"/>
                      </a:cubicBezTo>
                      <a:lnTo>
                        <a:pt x="6060" y="4812"/>
                      </a:lnTo>
                      <a:cubicBezTo>
                        <a:pt x="6072" y="4794"/>
                        <a:pt x="6099" y="4785"/>
                        <a:pt x="6126" y="4785"/>
                      </a:cubicBezTo>
                      <a:close/>
                      <a:moveTo>
                        <a:pt x="4179" y="7396"/>
                      </a:moveTo>
                      <a:lnTo>
                        <a:pt x="5048" y="8253"/>
                      </a:lnTo>
                      <a:lnTo>
                        <a:pt x="4739" y="8586"/>
                      </a:lnTo>
                      <a:lnTo>
                        <a:pt x="4715" y="8586"/>
                      </a:lnTo>
                      <a:lnTo>
                        <a:pt x="3858" y="7729"/>
                      </a:lnTo>
                      <a:lnTo>
                        <a:pt x="4179" y="7396"/>
                      </a:lnTo>
                      <a:close/>
                      <a:moveTo>
                        <a:pt x="3608" y="7944"/>
                      </a:moveTo>
                      <a:lnTo>
                        <a:pt x="4048" y="8396"/>
                      </a:lnTo>
                      <a:lnTo>
                        <a:pt x="3679" y="8801"/>
                      </a:lnTo>
                      <a:cubicBezTo>
                        <a:pt x="3667" y="8813"/>
                        <a:pt x="3632" y="8813"/>
                        <a:pt x="3620" y="8813"/>
                      </a:cubicBezTo>
                      <a:cubicBezTo>
                        <a:pt x="3608" y="8813"/>
                        <a:pt x="3584" y="8813"/>
                        <a:pt x="3560" y="8801"/>
                      </a:cubicBezTo>
                      <a:lnTo>
                        <a:pt x="3155" y="8396"/>
                      </a:lnTo>
                      <a:cubicBezTo>
                        <a:pt x="3191" y="8384"/>
                        <a:pt x="3203" y="8360"/>
                        <a:pt x="3215" y="8336"/>
                      </a:cubicBezTo>
                      <a:lnTo>
                        <a:pt x="3608" y="7944"/>
                      </a:lnTo>
                      <a:close/>
                      <a:moveTo>
                        <a:pt x="10687" y="1"/>
                      </a:moveTo>
                      <a:cubicBezTo>
                        <a:pt x="10658" y="1"/>
                        <a:pt x="10627" y="5"/>
                        <a:pt x="10597" y="14"/>
                      </a:cubicBezTo>
                      <a:cubicBezTo>
                        <a:pt x="9894" y="228"/>
                        <a:pt x="7918" y="800"/>
                        <a:pt x="7263" y="1002"/>
                      </a:cubicBezTo>
                      <a:cubicBezTo>
                        <a:pt x="7239" y="1014"/>
                        <a:pt x="7215" y="1014"/>
                        <a:pt x="7192" y="1038"/>
                      </a:cubicBezTo>
                      <a:lnTo>
                        <a:pt x="4953" y="3276"/>
                      </a:lnTo>
                      <a:lnTo>
                        <a:pt x="3965" y="3360"/>
                      </a:lnTo>
                      <a:cubicBezTo>
                        <a:pt x="2548" y="3479"/>
                        <a:pt x="1203" y="4110"/>
                        <a:pt x="215" y="5110"/>
                      </a:cubicBezTo>
                      <a:cubicBezTo>
                        <a:pt x="0" y="5312"/>
                        <a:pt x="131" y="5681"/>
                        <a:pt x="429" y="5705"/>
                      </a:cubicBezTo>
                      <a:lnTo>
                        <a:pt x="2370" y="5860"/>
                      </a:lnTo>
                      <a:lnTo>
                        <a:pt x="2179" y="6062"/>
                      </a:lnTo>
                      <a:cubicBezTo>
                        <a:pt x="2060" y="6181"/>
                        <a:pt x="2060" y="6384"/>
                        <a:pt x="2179" y="6503"/>
                      </a:cubicBezTo>
                      <a:lnTo>
                        <a:pt x="2370" y="6693"/>
                      </a:lnTo>
                      <a:lnTo>
                        <a:pt x="1977" y="7086"/>
                      </a:lnTo>
                      <a:cubicBezTo>
                        <a:pt x="1834" y="7229"/>
                        <a:pt x="1834" y="7491"/>
                        <a:pt x="1977" y="7634"/>
                      </a:cubicBezTo>
                      <a:lnTo>
                        <a:pt x="3370" y="9015"/>
                      </a:lnTo>
                      <a:cubicBezTo>
                        <a:pt x="3441" y="9092"/>
                        <a:pt x="3539" y="9131"/>
                        <a:pt x="3639" y="9131"/>
                      </a:cubicBezTo>
                      <a:cubicBezTo>
                        <a:pt x="3739" y="9131"/>
                        <a:pt x="3840" y="9092"/>
                        <a:pt x="3917" y="9015"/>
                      </a:cubicBezTo>
                      <a:lnTo>
                        <a:pt x="4298" y="8634"/>
                      </a:lnTo>
                      <a:lnTo>
                        <a:pt x="4477" y="8813"/>
                      </a:lnTo>
                      <a:cubicBezTo>
                        <a:pt x="4548" y="8878"/>
                        <a:pt x="4635" y="8911"/>
                        <a:pt x="4720" y="8911"/>
                      </a:cubicBezTo>
                      <a:cubicBezTo>
                        <a:pt x="4804" y="8911"/>
                        <a:pt x="4888" y="8878"/>
                        <a:pt x="4953" y="8813"/>
                      </a:cubicBezTo>
                      <a:lnTo>
                        <a:pt x="5156" y="8622"/>
                      </a:lnTo>
                      <a:lnTo>
                        <a:pt x="5310" y="10551"/>
                      </a:lnTo>
                      <a:cubicBezTo>
                        <a:pt x="5334" y="10682"/>
                        <a:pt x="5418" y="10801"/>
                        <a:pt x="5537" y="10849"/>
                      </a:cubicBezTo>
                      <a:cubicBezTo>
                        <a:pt x="5577" y="10863"/>
                        <a:pt x="5618" y="10870"/>
                        <a:pt x="5658" y="10870"/>
                      </a:cubicBezTo>
                      <a:cubicBezTo>
                        <a:pt x="5750" y="10870"/>
                        <a:pt x="5840" y="10835"/>
                        <a:pt x="5906" y="10777"/>
                      </a:cubicBezTo>
                      <a:cubicBezTo>
                        <a:pt x="6537" y="10146"/>
                        <a:pt x="7001" y="9420"/>
                        <a:pt x="7299" y="8598"/>
                      </a:cubicBezTo>
                      <a:cubicBezTo>
                        <a:pt x="7323" y="8515"/>
                        <a:pt x="7275" y="8420"/>
                        <a:pt x="7203" y="8396"/>
                      </a:cubicBezTo>
                      <a:cubicBezTo>
                        <a:pt x="7184" y="8388"/>
                        <a:pt x="7164" y="8384"/>
                        <a:pt x="7144" y="8384"/>
                      </a:cubicBezTo>
                      <a:cubicBezTo>
                        <a:pt x="7079" y="8384"/>
                        <a:pt x="7019" y="8425"/>
                        <a:pt x="7001" y="8479"/>
                      </a:cubicBezTo>
                      <a:cubicBezTo>
                        <a:pt x="6715" y="9253"/>
                        <a:pt x="6263" y="9956"/>
                        <a:pt x="5691" y="10539"/>
                      </a:cubicBezTo>
                      <a:cubicBezTo>
                        <a:pt x="5682" y="10544"/>
                        <a:pt x="5670" y="10547"/>
                        <a:pt x="5659" y="10547"/>
                      </a:cubicBezTo>
                      <a:cubicBezTo>
                        <a:pt x="5644" y="10547"/>
                        <a:pt x="5632" y="10541"/>
                        <a:pt x="5632" y="10527"/>
                      </a:cubicBezTo>
                      <a:lnTo>
                        <a:pt x="5429" y="8325"/>
                      </a:lnTo>
                      <a:lnTo>
                        <a:pt x="7382" y="6372"/>
                      </a:lnTo>
                      <a:lnTo>
                        <a:pt x="7382" y="6372"/>
                      </a:lnTo>
                      <a:cubicBezTo>
                        <a:pt x="7323" y="7158"/>
                        <a:pt x="7299" y="7372"/>
                        <a:pt x="7203" y="7765"/>
                      </a:cubicBezTo>
                      <a:cubicBezTo>
                        <a:pt x="7192" y="7860"/>
                        <a:pt x="7239" y="7944"/>
                        <a:pt x="7323" y="7967"/>
                      </a:cubicBezTo>
                      <a:cubicBezTo>
                        <a:pt x="7332" y="7969"/>
                        <a:pt x="7342" y="7969"/>
                        <a:pt x="7351" y="7969"/>
                      </a:cubicBezTo>
                      <a:cubicBezTo>
                        <a:pt x="7434" y="7969"/>
                        <a:pt x="7502" y="7923"/>
                        <a:pt x="7513" y="7848"/>
                      </a:cubicBezTo>
                      <a:cubicBezTo>
                        <a:pt x="7620" y="7348"/>
                        <a:pt x="7632" y="7134"/>
                        <a:pt x="7727" y="6027"/>
                      </a:cubicBezTo>
                      <a:lnTo>
                        <a:pt x="9954" y="3800"/>
                      </a:lnTo>
                      <a:cubicBezTo>
                        <a:pt x="9978" y="3776"/>
                        <a:pt x="9990" y="3753"/>
                        <a:pt x="10001" y="3717"/>
                      </a:cubicBezTo>
                      <a:lnTo>
                        <a:pt x="10454" y="2205"/>
                      </a:lnTo>
                      <a:lnTo>
                        <a:pt x="10990" y="383"/>
                      </a:lnTo>
                      <a:cubicBezTo>
                        <a:pt x="11042" y="196"/>
                        <a:pt x="10885" y="1"/>
                        <a:pt x="10687" y="1"/>
                      </a:cubicBezTo>
                      <a:close/>
                    </a:path>
                  </a:pathLst>
                </a:custGeom>
                <a:solidFill>
                  <a:srgbClr val="7F41FF"/>
                </a:solidFill>
                <a:ln>
                  <a:noFill/>
                </a:ln>
              </p:spPr>
              <p:txBody>
                <a:bodyPr spcFirstLastPara="1" wrap="square" lIns="91425" tIns="91425" rIns="91425" bIns="91425" anchor="ctr" anchorCtr="0">
                  <a:noAutofit/>
                </a:bodyPr>
                <a:lstStyle/>
                <a:p>
                  <a:endParaRPr/>
                </a:p>
              </p:txBody>
            </p:sp>
            <p:sp>
              <p:nvSpPr>
                <p:cNvPr id="198" name="Google Shape;2181;p54">
                  <a:extLst>
                    <a:ext uri="{FF2B5EF4-FFF2-40B4-BE49-F238E27FC236}">
                      <a16:creationId xmlns:a16="http://schemas.microsoft.com/office/drawing/2014/main" id="{AAB3FC60-9B91-49D9-9A11-E8D62F266590}"/>
                    </a:ext>
                  </a:extLst>
                </p:cNvPr>
                <p:cNvSpPr/>
                <p:nvPr/>
              </p:nvSpPr>
              <p:spPr>
                <a:xfrm>
                  <a:off x="6603321" y="3234291"/>
                  <a:ext cx="60631" cy="46101"/>
                </a:xfrm>
                <a:custGeom>
                  <a:avLst/>
                  <a:gdLst/>
                  <a:ahLst/>
                  <a:cxnLst/>
                  <a:rect l="l" t="t" r="r" b="b"/>
                  <a:pathLst>
                    <a:path w="2704" h="2056" extrusionOk="0">
                      <a:moveTo>
                        <a:pt x="905" y="1"/>
                      </a:moveTo>
                      <a:cubicBezTo>
                        <a:pt x="881" y="1"/>
                        <a:pt x="857" y="7"/>
                        <a:pt x="834" y="20"/>
                      </a:cubicBezTo>
                      <a:cubicBezTo>
                        <a:pt x="167" y="330"/>
                        <a:pt x="0" y="1211"/>
                        <a:pt x="524" y="1746"/>
                      </a:cubicBezTo>
                      <a:cubicBezTo>
                        <a:pt x="739" y="1949"/>
                        <a:pt x="1000" y="2056"/>
                        <a:pt x="1274" y="2056"/>
                      </a:cubicBezTo>
                      <a:cubicBezTo>
                        <a:pt x="2227" y="2056"/>
                        <a:pt x="2703" y="913"/>
                        <a:pt x="2024" y="234"/>
                      </a:cubicBezTo>
                      <a:cubicBezTo>
                        <a:pt x="1941" y="151"/>
                        <a:pt x="1834" y="80"/>
                        <a:pt x="1715" y="20"/>
                      </a:cubicBezTo>
                      <a:cubicBezTo>
                        <a:pt x="1696" y="10"/>
                        <a:pt x="1674" y="6"/>
                        <a:pt x="1652" y="6"/>
                      </a:cubicBezTo>
                      <a:cubicBezTo>
                        <a:pt x="1592" y="6"/>
                        <a:pt x="1530" y="39"/>
                        <a:pt x="1512" y="91"/>
                      </a:cubicBezTo>
                      <a:cubicBezTo>
                        <a:pt x="1477" y="163"/>
                        <a:pt x="1512" y="270"/>
                        <a:pt x="1584" y="294"/>
                      </a:cubicBezTo>
                      <a:cubicBezTo>
                        <a:pt x="2060" y="508"/>
                        <a:pt x="2167" y="1127"/>
                        <a:pt x="1810" y="1508"/>
                      </a:cubicBezTo>
                      <a:cubicBezTo>
                        <a:pt x="1667" y="1645"/>
                        <a:pt x="1477" y="1714"/>
                        <a:pt x="1285" y="1714"/>
                      </a:cubicBezTo>
                      <a:cubicBezTo>
                        <a:pt x="1093" y="1714"/>
                        <a:pt x="899" y="1645"/>
                        <a:pt x="750" y="1508"/>
                      </a:cubicBezTo>
                      <a:cubicBezTo>
                        <a:pt x="381" y="1127"/>
                        <a:pt x="500" y="520"/>
                        <a:pt x="977" y="294"/>
                      </a:cubicBezTo>
                      <a:cubicBezTo>
                        <a:pt x="1048" y="270"/>
                        <a:pt x="1096" y="163"/>
                        <a:pt x="1048" y="91"/>
                      </a:cubicBezTo>
                      <a:cubicBezTo>
                        <a:pt x="1022" y="40"/>
                        <a:pt x="966" y="1"/>
                        <a:pt x="905" y="1"/>
                      </a:cubicBezTo>
                      <a:close/>
                    </a:path>
                  </a:pathLst>
                </a:custGeom>
                <a:solidFill>
                  <a:srgbClr val="7F41FF"/>
                </a:solidFill>
                <a:ln>
                  <a:noFill/>
                </a:ln>
              </p:spPr>
              <p:txBody>
                <a:bodyPr spcFirstLastPara="1" wrap="square" lIns="91425" tIns="91425" rIns="91425" bIns="91425" anchor="ctr" anchorCtr="0">
                  <a:noAutofit/>
                </a:bodyPr>
                <a:lstStyle/>
                <a:p>
                  <a:endParaRPr/>
                </a:p>
              </p:txBody>
            </p:sp>
          </p:grpSp>
        </p:grpSp>
        <p:sp>
          <p:nvSpPr>
            <p:cNvPr id="219" name="TextBox 218">
              <a:extLst>
                <a:ext uri="{FF2B5EF4-FFF2-40B4-BE49-F238E27FC236}">
                  <a16:creationId xmlns:a16="http://schemas.microsoft.com/office/drawing/2014/main" id="{3446C7EE-FEFB-4746-9656-D73FCB24E45C}"/>
                </a:ext>
              </a:extLst>
            </p:cNvPr>
            <p:cNvSpPr txBox="1"/>
            <p:nvPr/>
          </p:nvSpPr>
          <p:spPr>
            <a:xfrm>
              <a:off x="7686551" y="2392190"/>
              <a:ext cx="716868" cy="414729"/>
            </a:xfrm>
            <a:prstGeom prst="rect">
              <a:avLst/>
            </a:prstGeom>
            <a:noFill/>
          </p:spPr>
          <p:txBody>
            <a:bodyPr wrap="square" rtlCol="0">
              <a:spAutoFit/>
            </a:bodyPr>
            <a:lstStyle/>
            <a:p>
              <a:pPr algn="ctr">
                <a:lnSpc>
                  <a:spcPts val="1320"/>
                </a:lnSpc>
              </a:pPr>
              <a:r>
                <a:rPr lang="es-ES" sz="1050" b="1" dirty="0">
                  <a:solidFill>
                    <a:schemeClr val="bg1">
                      <a:lumMod val="50000"/>
                    </a:schemeClr>
                  </a:solidFill>
                  <a:latin typeface="Arial" panose="020B0604020202020204" pitchFamily="34" charset="0"/>
                  <a:cs typeface="Arial" panose="020B0604020202020204" pitchFamily="34" charset="0"/>
                </a:rPr>
                <a:t>OCT</a:t>
              </a:r>
              <a:r>
                <a:rPr lang="en-GR" sz="1050" b="1" dirty="0">
                  <a:solidFill>
                    <a:schemeClr val="bg1">
                      <a:lumMod val="50000"/>
                    </a:schemeClr>
                  </a:solidFill>
                  <a:latin typeface="Arial" panose="020B0604020202020204" pitchFamily="34" charset="0"/>
                  <a:cs typeface="Arial" panose="020B0604020202020204" pitchFamily="34" charset="0"/>
                </a:rPr>
                <a:t> </a:t>
              </a:r>
              <a:r>
                <a:rPr lang="es-ES" sz="1050" b="1" dirty="0">
                  <a:solidFill>
                    <a:schemeClr val="bg1">
                      <a:lumMod val="50000"/>
                    </a:schemeClr>
                  </a:solidFill>
                  <a:latin typeface="Arial" panose="020B0604020202020204" pitchFamily="34" charset="0"/>
                  <a:cs typeface="Arial" panose="020B0604020202020204" pitchFamily="34" charset="0"/>
                </a:rPr>
                <a:t>2021</a:t>
              </a:r>
              <a:endParaRPr lang="en-GR" sz="1050" b="1" dirty="0">
                <a:solidFill>
                  <a:schemeClr val="bg1">
                    <a:lumMod val="50000"/>
                  </a:schemeClr>
                </a:solidFill>
                <a:latin typeface="Arial" panose="020B0604020202020204" pitchFamily="34" charset="0"/>
                <a:cs typeface="Arial" panose="020B0604020202020204" pitchFamily="34" charset="0"/>
              </a:endParaRPr>
            </a:p>
          </p:txBody>
        </p:sp>
        <p:sp>
          <p:nvSpPr>
            <p:cNvPr id="225" name="Rechteck 138">
              <a:extLst>
                <a:ext uri="{FF2B5EF4-FFF2-40B4-BE49-F238E27FC236}">
                  <a16:creationId xmlns:a16="http://schemas.microsoft.com/office/drawing/2014/main" id="{8F6568B6-47DA-4B88-A8FE-C13C983610AB}"/>
                </a:ext>
              </a:extLst>
            </p:cNvPr>
            <p:cNvSpPr/>
            <p:nvPr/>
          </p:nvSpPr>
          <p:spPr bwMode="gray">
            <a:xfrm>
              <a:off x="7424259" y="1946599"/>
              <a:ext cx="1241453" cy="846074"/>
            </a:xfrm>
            <a:prstGeom prst="rect">
              <a:avLst/>
            </a:prstGeom>
            <a:effectLst>
              <a:glow rad="228600">
                <a:schemeClr val="accent6">
                  <a:satMod val="175000"/>
                  <a:alpha val="40000"/>
                </a:schemeClr>
              </a:glow>
            </a:effectLst>
          </p:spPr>
          <p:style>
            <a:lnRef idx="0">
              <a:scrgbClr r="0" g="0" b="0"/>
            </a:lnRef>
            <a:fillRef idx="0">
              <a:scrgbClr r="0" g="0" b="0"/>
            </a:fillRef>
            <a:effectRef idx="0">
              <a:scrgbClr r="0" g="0" b="0"/>
            </a:effectRef>
            <a:fontRef idx="major"/>
          </p:style>
          <p:txBody>
            <a:bodyPr wrap="square" lIns="72000" tIns="46800" rIns="72000">
              <a:no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defTabSz="801608"/>
              <a:r>
                <a:rPr lang="en-US" sz="1200" b="1" dirty="0">
                  <a:solidFill>
                    <a:srgbClr val="14438E"/>
                  </a:solidFill>
                  <a:latin typeface="Arial" panose="020B0604020202020204" pitchFamily="34" charset="0"/>
                  <a:cs typeface="Arial" panose="020B0604020202020204" pitchFamily="34" charset="0"/>
                </a:rPr>
                <a:t>Kick-off</a:t>
              </a:r>
              <a:br>
                <a:rPr lang="el-GR" sz="1200" b="1" dirty="0">
                  <a:solidFill>
                    <a:srgbClr val="14438E"/>
                  </a:solidFill>
                  <a:latin typeface="Arial" panose="020B0604020202020204" pitchFamily="34" charset="0"/>
                  <a:cs typeface="Arial" panose="020B0604020202020204" pitchFamily="34" charset="0"/>
                </a:rPr>
              </a:br>
              <a:r>
                <a:rPr lang="en-US" sz="1200" b="1" dirty="0">
                  <a:solidFill>
                    <a:srgbClr val="14438E"/>
                  </a:solidFill>
                  <a:latin typeface="Arial" panose="020B0604020202020204" pitchFamily="34" charset="0"/>
                  <a:cs typeface="Arial" panose="020B0604020202020204" pitchFamily="34" charset="0"/>
                </a:rPr>
                <a:t>meeting</a:t>
              </a:r>
            </a:p>
          </p:txBody>
        </p:sp>
      </p:grpSp>
      <p:grpSp>
        <p:nvGrpSpPr>
          <p:cNvPr id="11" name="Group 10">
            <a:extLst>
              <a:ext uri="{FF2B5EF4-FFF2-40B4-BE49-F238E27FC236}">
                <a16:creationId xmlns:a16="http://schemas.microsoft.com/office/drawing/2014/main" id="{D73864A3-F1E6-46D5-B255-88E9014CD5F7}"/>
              </a:ext>
            </a:extLst>
          </p:cNvPr>
          <p:cNvGrpSpPr/>
          <p:nvPr/>
        </p:nvGrpSpPr>
        <p:grpSpPr>
          <a:xfrm>
            <a:off x="5155463" y="1501149"/>
            <a:ext cx="1103292" cy="2315021"/>
            <a:chOff x="4927460" y="1501149"/>
            <a:chExt cx="1103292" cy="2315021"/>
          </a:xfrm>
        </p:grpSpPr>
        <p:sp>
          <p:nvSpPr>
            <p:cNvPr id="217" name="TextBox 216">
              <a:extLst>
                <a:ext uri="{FF2B5EF4-FFF2-40B4-BE49-F238E27FC236}">
                  <a16:creationId xmlns:a16="http://schemas.microsoft.com/office/drawing/2014/main" id="{3E1EFE67-F126-40AF-BE84-A8C7D82C65F2}"/>
                </a:ext>
              </a:extLst>
            </p:cNvPr>
            <p:cNvSpPr txBox="1"/>
            <p:nvPr/>
          </p:nvSpPr>
          <p:spPr>
            <a:xfrm>
              <a:off x="5120672" y="2399390"/>
              <a:ext cx="716868" cy="414729"/>
            </a:xfrm>
            <a:prstGeom prst="rect">
              <a:avLst/>
            </a:prstGeom>
            <a:noFill/>
          </p:spPr>
          <p:txBody>
            <a:bodyPr wrap="square" rtlCol="0">
              <a:spAutoFit/>
            </a:bodyPr>
            <a:lstStyle/>
            <a:p>
              <a:pPr algn="ctr">
                <a:lnSpc>
                  <a:spcPts val="1320"/>
                </a:lnSpc>
              </a:pPr>
              <a:r>
                <a:rPr lang="en-GR" sz="1050" b="1" dirty="0">
                  <a:solidFill>
                    <a:schemeClr val="bg1">
                      <a:lumMod val="50000"/>
                    </a:schemeClr>
                  </a:solidFill>
                  <a:latin typeface="Arial" panose="020B0604020202020204" pitchFamily="34" charset="0"/>
                  <a:cs typeface="Arial" panose="020B0604020202020204" pitchFamily="34" charset="0"/>
                </a:rPr>
                <a:t>MAY </a:t>
              </a:r>
              <a:r>
                <a:rPr lang="es-ES" sz="1050" b="1" dirty="0">
                  <a:solidFill>
                    <a:schemeClr val="bg1">
                      <a:lumMod val="50000"/>
                    </a:schemeClr>
                  </a:solidFill>
                  <a:latin typeface="Arial" panose="020B0604020202020204" pitchFamily="34" charset="0"/>
                  <a:cs typeface="Arial" panose="020B0604020202020204" pitchFamily="34" charset="0"/>
                </a:rPr>
                <a:t>2021</a:t>
              </a:r>
              <a:endParaRPr lang="en-GR" sz="1050" b="1" dirty="0">
                <a:solidFill>
                  <a:schemeClr val="bg1">
                    <a:lumMod val="50000"/>
                  </a:schemeClr>
                </a:solidFill>
                <a:latin typeface="Arial" panose="020B0604020202020204" pitchFamily="34" charset="0"/>
                <a:cs typeface="Arial" panose="020B0604020202020204" pitchFamily="34" charset="0"/>
              </a:endParaRPr>
            </a:p>
          </p:txBody>
        </p:sp>
        <p:sp>
          <p:nvSpPr>
            <p:cNvPr id="223" name="Rechteck 128">
              <a:extLst>
                <a:ext uri="{FF2B5EF4-FFF2-40B4-BE49-F238E27FC236}">
                  <a16:creationId xmlns:a16="http://schemas.microsoft.com/office/drawing/2014/main" id="{7289FEB7-B609-4B97-96F4-8ECC7038B061}"/>
                </a:ext>
              </a:extLst>
            </p:cNvPr>
            <p:cNvSpPr/>
            <p:nvPr/>
          </p:nvSpPr>
          <p:spPr bwMode="gray">
            <a:xfrm>
              <a:off x="4927460" y="2799592"/>
              <a:ext cx="1103292" cy="1016578"/>
            </a:xfrm>
            <a:prstGeom prst="rect">
              <a:avLst/>
            </a:prstGeom>
          </p:spPr>
          <p:style>
            <a:lnRef idx="0">
              <a:scrgbClr r="0" g="0" b="0"/>
            </a:lnRef>
            <a:fillRef idx="0">
              <a:scrgbClr r="0" g="0" b="0"/>
            </a:fillRef>
            <a:effectRef idx="0">
              <a:scrgbClr r="0" g="0" b="0"/>
            </a:effectRef>
            <a:fontRef idx="major"/>
          </p:style>
          <p:txBody>
            <a:bodyPr wrap="square" lIns="72000" tIns="46800" rIns="72000">
              <a:no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defTabSz="801608"/>
              <a:r>
                <a:rPr lang="en-US" sz="1000" b="1" dirty="0">
                  <a:solidFill>
                    <a:srgbClr val="14438E"/>
                  </a:solidFill>
                  <a:latin typeface="Arial" panose="020B0604020202020204" pitchFamily="34" charset="0"/>
                  <a:cs typeface="Arial" panose="020B0604020202020204" pitchFamily="34" charset="0"/>
                </a:rPr>
                <a:t>MB</a:t>
              </a:r>
            </a:p>
            <a:p>
              <a:pPr algn="ctr" defTabSz="801608"/>
              <a:r>
                <a:rPr lang="en-US" sz="900" dirty="0">
                  <a:solidFill>
                    <a:schemeClr val="tx1">
                      <a:lumMod val="65000"/>
                      <a:lumOff val="35000"/>
                    </a:schemeClr>
                  </a:solidFill>
                  <a:latin typeface="Arial" panose="020B0604020202020204" pitchFamily="34" charset="0"/>
                  <a:cs typeface="Arial" panose="020B0604020202020204" pitchFamily="34" charset="0"/>
                </a:rPr>
                <a:t>Adoption of CP14 project definition</a:t>
              </a:r>
            </a:p>
          </p:txBody>
        </p:sp>
        <p:grpSp>
          <p:nvGrpSpPr>
            <p:cNvPr id="226" name="Group 225">
              <a:extLst>
                <a:ext uri="{FF2B5EF4-FFF2-40B4-BE49-F238E27FC236}">
                  <a16:creationId xmlns:a16="http://schemas.microsoft.com/office/drawing/2014/main" id="{873B6856-6833-461C-9033-040BF770E2F9}"/>
                </a:ext>
              </a:extLst>
            </p:cNvPr>
            <p:cNvGrpSpPr/>
            <p:nvPr/>
          </p:nvGrpSpPr>
          <p:grpSpPr>
            <a:xfrm>
              <a:off x="5184454" y="1501149"/>
              <a:ext cx="589304" cy="852992"/>
              <a:chOff x="5192193" y="1501149"/>
              <a:chExt cx="589304" cy="852992"/>
            </a:xfrm>
          </p:grpSpPr>
          <p:grpSp>
            <p:nvGrpSpPr>
              <p:cNvPr id="228" name="Group 227">
                <a:extLst>
                  <a:ext uri="{FF2B5EF4-FFF2-40B4-BE49-F238E27FC236}">
                    <a16:creationId xmlns:a16="http://schemas.microsoft.com/office/drawing/2014/main" id="{C7654DAF-C7D3-4432-9CDA-5E5EA0B5F1DC}"/>
                  </a:ext>
                </a:extLst>
              </p:cNvPr>
              <p:cNvGrpSpPr/>
              <p:nvPr/>
            </p:nvGrpSpPr>
            <p:grpSpPr>
              <a:xfrm>
                <a:off x="5192193" y="1501149"/>
                <a:ext cx="589304" cy="852992"/>
                <a:chOff x="4021505" y="1652970"/>
                <a:chExt cx="589304" cy="852992"/>
              </a:xfrm>
            </p:grpSpPr>
            <p:sp>
              <p:nvSpPr>
                <p:cNvPr id="243" name="Oval 19">
                  <a:extLst>
                    <a:ext uri="{FF2B5EF4-FFF2-40B4-BE49-F238E27FC236}">
                      <a16:creationId xmlns:a16="http://schemas.microsoft.com/office/drawing/2014/main" id="{3531FB4D-1B97-4065-89D6-888A4413ACCB}"/>
                    </a:ext>
                  </a:extLst>
                </p:cNvPr>
                <p:cNvSpPr>
                  <a:spLocks noChangeArrowheads="1"/>
                </p:cNvSpPr>
                <p:nvPr/>
              </p:nvSpPr>
              <p:spPr bwMode="auto">
                <a:xfrm>
                  <a:off x="4261222" y="2396758"/>
                  <a:ext cx="109870" cy="109204"/>
                </a:xfrm>
                <a:prstGeom prst="ellipse">
                  <a:avLst/>
                </a:prstGeom>
                <a:noFill/>
                <a:ln w="53975" cap="flat">
                  <a:solidFill>
                    <a:schemeClr val="accent1">
                      <a:lumMod val="60000"/>
                      <a:lumOff val="40000"/>
                    </a:schemeClr>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nvGrpSpPr>
                <p:cNvPr id="244" name="Group 243">
                  <a:extLst>
                    <a:ext uri="{FF2B5EF4-FFF2-40B4-BE49-F238E27FC236}">
                      <a16:creationId xmlns:a16="http://schemas.microsoft.com/office/drawing/2014/main" id="{DFD8A416-88AC-44CD-B913-BAC4B97E28E9}"/>
                    </a:ext>
                  </a:extLst>
                </p:cNvPr>
                <p:cNvGrpSpPr>
                  <a:grpSpLocks/>
                </p:cNvGrpSpPr>
                <p:nvPr/>
              </p:nvGrpSpPr>
              <p:grpSpPr bwMode="auto">
                <a:xfrm>
                  <a:off x="4021505" y="1652970"/>
                  <a:ext cx="589304" cy="677200"/>
                  <a:chOff x="9264650" y="2338388"/>
                  <a:chExt cx="1404938" cy="1614488"/>
                </a:xfrm>
              </p:grpSpPr>
              <p:sp>
                <p:nvSpPr>
                  <p:cNvPr id="245" name="Freeform 10">
                    <a:extLst>
                      <a:ext uri="{FF2B5EF4-FFF2-40B4-BE49-F238E27FC236}">
                        <a16:creationId xmlns:a16="http://schemas.microsoft.com/office/drawing/2014/main" id="{176563C0-D456-424E-B831-5F8F9A661EE7}"/>
                      </a:ext>
                    </a:extLst>
                  </p:cNvPr>
                  <p:cNvSpPr>
                    <a:spLocks/>
                  </p:cNvSpPr>
                  <p:nvPr/>
                </p:nvSpPr>
                <p:spPr bwMode="auto">
                  <a:xfrm>
                    <a:off x="9264650" y="2338388"/>
                    <a:ext cx="1404938" cy="1614488"/>
                  </a:xfrm>
                  <a:custGeom>
                    <a:avLst/>
                    <a:gdLst>
                      <a:gd name="T0" fmla="*/ 369 w 369"/>
                      <a:gd name="T1" fmla="*/ 184 h 424"/>
                      <a:gd name="T2" fmla="*/ 185 w 369"/>
                      <a:gd name="T3" fmla="*/ 0 h 424"/>
                      <a:gd name="T4" fmla="*/ 0 w 369"/>
                      <a:gd name="T5" fmla="*/ 184 h 424"/>
                      <a:gd name="T6" fmla="*/ 151 w 369"/>
                      <a:gd name="T7" fmla="*/ 366 h 424"/>
                      <a:gd name="T8" fmla="*/ 185 w 369"/>
                      <a:gd name="T9" fmla="*/ 424 h 424"/>
                      <a:gd name="T10" fmla="*/ 218 w 369"/>
                      <a:gd name="T11" fmla="*/ 366 h 424"/>
                      <a:gd name="T12" fmla="*/ 369 w 369"/>
                      <a:gd name="T13" fmla="*/ 184 h 424"/>
                    </a:gdLst>
                    <a:ahLst/>
                    <a:cxnLst>
                      <a:cxn ang="0">
                        <a:pos x="T0" y="T1"/>
                      </a:cxn>
                      <a:cxn ang="0">
                        <a:pos x="T2" y="T3"/>
                      </a:cxn>
                      <a:cxn ang="0">
                        <a:pos x="T4" y="T5"/>
                      </a:cxn>
                      <a:cxn ang="0">
                        <a:pos x="T6" y="T7"/>
                      </a:cxn>
                      <a:cxn ang="0">
                        <a:pos x="T8" y="T9"/>
                      </a:cxn>
                      <a:cxn ang="0">
                        <a:pos x="T10" y="T11"/>
                      </a:cxn>
                      <a:cxn ang="0">
                        <a:pos x="T12" y="T13"/>
                      </a:cxn>
                    </a:cxnLst>
                    <a:rect l="0" t="0" r="r" b="b"/>
                    <a:pathLst>
                      <a:path w="369" h="424">
                        <a:moveTo>
                          <a:pt x="369" y="184"/>
                        </a:moveTo>
                        <a:cubicBezTo>
                          <a:pt x="369" y="82"/>
                          <a:pt x="287" y="0"/>
                          <a:pt x="185" y="0"/>
                        </a:cubicBezTo>
                        <a:cubicBezTo>
                          <a:pt x="83" y="0"/>
                          <a:pt x="0" y="82"/>
                          <a:pt x="0" y="184"/>
                        </a:cubicBezTo>
                        <a:cubicBezTo>
                          <a:pt x="0" y="275"/>
                          <a:pt x="65" y="350"/>
                          <a:pt x="151" y="366"/>
                        </a:cubicBezTo>
                        <a:cubicBezTo>
                          <a:pt x="185" y="424"/>
                          <a:pt x="185" y="424"/>
                          <a:pt x="185" y="424"/>
                        </a:cubicBezTo>
                        <a:cubicBezTo>
                          <a:pt x="218" y="366"/>
                          <a:pt x="218" y="366"/>
                          <a:pt x="218" y="366"/>
                        </a:cubicBezTo>
                        <a:cubicBezTo>
                          <a:pt x="304" y="350"/>
                          <a:pt x="369" y="275"/>
                          <a:pt x="369" y="184"/>
                        </a:cubicBezTo>
                        <a:close/>
                      </a:path>
                    </a:pathLst>
                  </a:custGeom>
                  <a:solidFill>
                    <a:schemeClr val="accent1">
                      <a:lumMod val="60000"/>
                      <a:lumOff val="40000"/>
                    </a:schemeClr>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sp>
                <p:nvSpPr>
                  <p:cNvPr id="247" name="Oval 25">
                    <a:extLst>
                      <a:ext uri="{FF2B5EF4-FFF2-40B4-BE49-F238E27FC236}">
                        <a16:creationId xmlns:a16="http://schemas.microsoft.com/office/drawing/2014/main" id="{456B0435-CDC0-41F2-9E96-D11860A8F645}"/>
                      </a:ext>
                    </a:extLst>
                  </p:cNvPr>
                  <p:cNvSpPr>
                    <a:spLocks noChangeArrowheads="1"/>
                  </p:cNvSpPr>
                  <p:nvPr/>
                </p:nvSpPr>
                <p:spPr bwMode="auto">
                  <a:xfrm>
                    <a:off x="9474200" y="2546350"/>
                    <a:ext cx="989012" cy="987427"/>
                  </a:xfrm>
                  <a:prstGeom prst="ellipse">
                    <a:avLst/>
                  </a:prstGeom>
                  <a:solidFill>
                    <a:srgbClr val="E7E6E6"/>
                  </a:solidFill>
                  <a:ln>
                    <a:noFill/>
                  </a:ln>
                  <a:effectLst>
                    <a:outerShdw blurRad="127000" dist="63500" dir="2700000" algn="tl" rotWithShape="0">
                      <a:prstClr val="black">
                        <a:alpha val="50000"/>
                      </a:prstClr>
                    </a:outerShd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grpSp>
          <p:grpSp>
            <p:nvGrpSpPr>
              <p:cNvPr id="236" name="Google Shape;2510;p54">
                <a:extLst>
                  <a:ext uri="{FF2B5EF4-FFF2-40B4-BE49-F238E27FC236}">
                    <a16:creationId xmlns:a16="http://schemas.microsoft.com/office/drawing/2014/main" id="{C7C0602D-B852-4D25-80EF-80FB3101A84A}"/>
                  </a:ext>
                </a:extLst>
              </p:cNvPr>
              <p:cNvGrpSpPr/>
              <p:nvPr/>
            </p:nvGrpSpPr>
            <p:grpSpPr>
              <a:xfrm>
                <a:off x="5357133" y="1642832"/>
                <a:ext cx="261145" cy="308504"/>
                <a:chOff x="6707084" y="3387403"/>
                <a:chExt cx="261145" cy="308504"/>
              </a:xfrm>
              <a:solidFill>
                <a:schemeClr val="accent1">
                  <a:lumMod val="75000"/>
                </a:schemeClr>
              </a:solidFill>
            </p:grpSpPr>
            <p:sp>
              <p:nvSpPr>
                <p:cNvPr id="237" name="Google Shape;2511;p54">
                  <a:extLst>
                    <a:ext uri="{FF2B5EF4-FFF2-40B4-BE49-F238E27FC236}">
                      <a16:creationId xmlns:a16="http://schemas.microsoft.com/office/drawing/2014/main" id="{257631F3-F89B-427F-8033-E6AAC53C3F1C}"/>
                    </a:ext>
                  </a:extLst>
                </p:cNvPr>
                <p:cNvSpPr/>
                <p:nvPr/>
              </p:nvSpPr>
              <p:spPr>
                <a:xfrm>
                  <a:off x="6726053" y="3542403"/>
                  <a:ext cx="68238" cy="153504"/>
                </a:xfrm>
                <a:custGeom>
                  <a:avLst/>
                  <a:gdLst/>
                  <a:ahLst/>
                  <a:cxnLst/>
                  <a:rect l="l" t="t" r="r" b="b"/>
                  <a:pathLst>
                    <a:path w="2144" h="4823" extrusionOk="0">
                      <a:moveTo>
                        <a:pt x="1203" y="286"/>
                      </a:moveTo>
                      <a:cubicBezTo>
                        <a:pt x="1381" y="286"/>
                        <a:pt x="1524" y="417"/>
                        <a:pt x="1524" y="596"/>
                      </a:cubicBezTo>
                      <a:lnTo>
                        <a:pt x="1524" y="893"/>
                      </a:lnTo>
                      <a:cubicBezTo>
                        <a:pt x="1524" y="1143"/>
                        <a:pt x="1310" y="1358"/>
                        <a:pt x="1060" y="1358"/>
                      </a:cubicBezTo>
                      <a:cubicBezTo>
                        <a:pt x="810" y="1358"/>
                        <a:pt x="596" y="1143"/>
                        <a:pt x="596" y="893"/>
                      </a:cubicBezTo>
                      <a:lnTo>
                        <a:pt x="596" y="596"/>
                      </a:lnTo>
                      <a:cubicBezTo>
                        <a:pt x="596" y="417"/>
                        <a:pt x="726" y="286"/>
                        <a:pt x="905" y="286"/>
                      </a:cubicBezTo>
                      <a:close/>
                      <a:moveTo>
                        <a:pt x="1227" y="1643"/>
                      </a:moveTo>
                      <a:lnTo>
                        <a:pt x="1227" y="1715"/>
                      </a:lnTo>
                      <a:cubicBezTo>
                        <a:pt x="1227" y="1774"/>
                        <a:pt x="1238" y="1822"/>
                        <a:pt x="1262" y="1858"/>
                      </a:cubicBezTo>
                      <a:lnTo>
                        <a:pt x="1060" y="2036"/>
                      </a:lnTo>
                      <a:lnTo>
                        <a:pt x="846" y="1846"/>
                      </a:lnTo>
                      <a:cubicBezTo>
                        <a:pt x="881" y="1798"/>
                        <a:pt x="893" y="1762"/>
                        <a:pt x="893" y="1703"/>
                      </a:cubicBezTo>
                      <a:lnTo>
                        <a:pt x="893" y="1643"/>
                      </a:lnTo>
                      <a:close/>
                      <a:moveTo>
                        <a:pt x="1060" y="2036"/>
                      </a:moveTo>
                      <a:cubicBezTo>
                        <a:pt x="1060" y="2048"/>
                        <a:pt x="1057" y="2054"/>
                        <a:pt x="1055" y="2054"/>
                      </a:cubicBezTo>
                      <a:cubicBezTo>
                        <a:pt x="1054" y="2054"/>
                        <a:pt x="1054" y="2048"/>
                        <a:pt x="1060" y="2036"/>
                      </a:cubicBezTo>
                      <a:close/>
                      <a:moveTo>
                        <a:pt x="905" y="0"/>
                      </a:moveTo>
                      <a:cubicBezTo>
                        <a:pt x="584" y="0"/>
                        <a:pt x="310" y="274"/>
                        <a:pt x="310" y="596"/>
                      </a:cubicBezTo>
                      <a:lnTo>
                        <a:pt x="310" y="893"/>
                      </a:lnTo>
                      <a:cubicBezTo>
                        <a:pt x="310" y="1143"/>
                        <a:pt x="429" y="1358"/>
                        <a:pt x="607" y="1489"/>
                      </a:cubicBezTo>
                      <a:lnTo>
                        <a:pt x="607" y="1703"/>
                      </a:lnTo>
                      <a:lnTo>
                        <a:pt x="607" y="1715"/>
                      </a:lnTo>
                      <a:lnTo>
                        <a:pt x="250" y="1893"/>
                      </a:lnTo>
                      <a:cubicBezTo>
                        <a:pt x="107" y="1965"/>
                        <a:pt x="0" y="2120"/>
                        <a:pt x="0" y="2298"/>
                      </a:cubicBezTo>
                      <a:lnTo>
                        <a:pt x="0" y="3632"/>
                      </a:lnTo>
                      <a:cubicBezTo>
                        <a:pt x="0" y="3751"/>
                        <a:pt x="36" y="3870"/>
                        <a:pt x="107" y="3965"/>
                      </a:cubicBezTo>
                      <a:lnTo>
                        <a:pt x="250" y="4179"/>
                      </a:lnTo>
                      <a:cubicBezTo>
                        <a:pt x="286" y="4227"/>
                        <a:pt x="310" y="4298"/>
                        <a:pt x="310" y="4358"/>
                      </a:cubicBezTo>
                      <a:lnTo>
                        <a:pt x="310" y="4679"/>
                      </a:lnTo>
                      <a:cubicBezTo>
                        <a:pt x="310" y="4751"/>
                        <a:pt x="369" y="4822"/>
                        <a:pt x="465" y="4822"/>
                      </a:cubicBezTo>
                      <a:cubicBezTo>
                        <a:pt x="536" y="4822"/>
                        <a:pt x="607" y="4763"/>
                        <a:pt x="607" y="4679"/>
                      </a:cubicBezTo>
                      <a:lnTo>
                        <a:pt x="607" y="4358"/>
                      </a:lnTo>
                      <a:cubicBezTo>
                        <a:pt x="607" y="4239"/>
                        <a:pt x="584" y="4120"/>
                        <a:pt x="512" y="4036"/>
                      </a:cubicBezTo>
                      <a:lnTo>
                        <a:pt x="357" y="3810"/>
                      </a:lnTo>
                      <a:cubicBezTo>
                        <a:pt x="334" y="3763"/>
                        <a:pt x="298" y="3691"/>
                        <a:pt x="298" y="3632"/>
                      </a:cubicBezTo>
                      <a:lnTo>
                        <a:pt x="298" y="2298"/>
                      </a:lnTo>
                      <a:cubicBezTo>
                        <a:pt x="298" y="2239"/>
                        <a:pt x="334" y="2179"/>
                        <a:pt x="381" y="2143"/>
                      </a:cubicBezTo>
                      <a:lnTo>
                        <a:pt x="643" y="2024"/>
                      </a:lnTo>
                      <a:lnTo>
                        <a:pt x="857" y="2251"/>
                      </a:lnTo>
                      <a:cubicBezTo>
                        <a:pt x="929" y="2310"/>
                        <a:pt x="1000" y="2334"/>
                        <a:pt x="1072" y="2334"/>
                      </a:cubicBezTo>
                      <a:cubicBezTo>
                        <a:pt x="1143" y="2334"/>
                        <a:pt x="1227" y="2310"/>
                        <a:pt x="1286" y="2251"/>
                      </a:cubicBezTo>
                      <a:lnTo>
                        <a:pt x="1500" y="2024"/>
                      </a:lnTo>
                      <a:lnTo>
                        <a:pt x="1762" y="2143"/>
                      </a:lnTo>
                      <a:cubicBezTo>
                        <a:pt x="1822" y="2179"/>
                        <a:pt x="1846" y="2239"/>
                        <a:pt x="1846" y="2298"/>
                      </a:cubicBezTo>
                      <a:lnTo>
                        <a:pt x="1846" y="3632"/>
                      </a:lnTo>
                      <a:cubicBezTo>
                        <a:pt x="1846" y="3691"/>
                        <a:pt x="1834" y="3751"/>
                        <a:pt x="1786" y="3810"/>
                      </a:cubicBezTo>
                      <a:lnTo>
                        <a:pt x="1643" y="4036"/>
                      </a:lnTo>
                      <a:cubicBezTo>
                        <a:pt x="1572" y="4144"/>
                        <a:pt x="1536" y="4239"/>
                        <a:pt x="1536" y="4358"/>
                      </a:cubicBezTo>
                      <a:lnTo>
                        <a:pt x="1536" y="4679"/>
                      </a:lnTo>
                      <a:cubicBezTo>
                        <a:pt x="1536" y="4751"/>
                        <a:pt x="1596" y="4822"/>
                        <a:pt x="1679" y="4822"/>
                      </a:cubicBezTo>
                      <a:cubicBezTo>
                        <a:pt x="1750" y="4822"/>
                        <a:pt x="1834" y="4763"/>
                        <a:pt x="1834" y="4679"/>
                      </a:cubicBezTo>
                      <a:lnTo>
                        <a:pt x="1834" y="4358"/>
                      </a:lnTo>
                      <a:cubicBezTo>
                        <a:pt x="1834" y="4298"/>
                        <a:pt x="1846" y="4239"/>
                        <a:pt x="1893" y="4179"/>
                      </a:cubicBezTo>
                      <a:lnTo>
                        <a:pt x="2036" y="3965"/>
                      </a:lnTo>
                      <a:cubicBezTo>
                        <a:pt x="2096" y="3858"/>
                        <a:pt x="2143" y="3751"/>
                        <a:pt x="2143" y="3632"/>
                      </a:cubicBezTo>
                      <a:lnTo>
                        <a:pt x="2143" y="2298"/>
                      </a:lnTo>
                      <a:cubicBezTo>
                        <a:pt x="2096" y="2120"/>
                        <a:pt x="2012" y="1965"/>
                        <a:pt x="1858" y="1893"/>
                      </a:cubicBezTo>
                      <a:lnTo>
                        <a:pt x="1500" y="1715"/>
                      </a:lnTo>
                      <a:lnTo>
                        <a:pt x="1500" y="1703"/>
                      </a:lnTo>
                      <a:lnTo>
                        <a:pt x="1500" y="1489"/>
                      </a:lnTo>
                      <a:cubicBezTo>
                        <a:pt x="1679" y="1358"/>
                        <a:pt x="1798" y="1131"/>
                        <a:pt x="1798" y="893"/>
                      </a:cubicBezTo>
                      <a:lnTo>
                        <a:pt x="1798" y="596"/>
                      </a:lnTo>
                      <a:cubicBezTo>
                        <a:pt x="1798" y="274"/>
                        <a:pt x="1536" y="0"/>
                        <a:pt x="1203" y="0"/>
                      </a:cubicBezTo>
                      <a:close/>
                    </a:path>
                  </a:pathLst>
                </a:custGeom>
                <a:grpFill/>
                <a:ln>
                  <a:noFill/>
                </a:ln>
              </p:spPr>
              <p:txBody>
                <a:bodyPr spcFirstLastPara="1" wrap="square" lIns="91425" tIns="91425" rIns="91425" bIns="91425" anchor="ctr" anchorCtr="0">
                  <a:noAutofit/>
                </a:bodyPr>
                <a:lstStyle/>
                <a:p>
                  <a:endParaRPr/>
                </a:p>
              </p:txBody>
            </p:sp>
            <p:sp>
              <p:nvSpPr>
                <p:cNvPr id="239" name="Google Shape;2512;p54">
                  <a:extLst>
                    <a:ext uri="{FF2B5EF4-FFF2-40B4-BE49-F238E27FC236}">
                      <a16:creationId xmlns:a16="http://schemas.microsoft.com/office/drawing/2014/main" id="{2F94E0F4-B794-4BE9-8924-7164501E070C}"/>
                    </a:ext>
                  </a:extLst>
                </p:cNvPr>
                <p:cNvSpPr/>
                <p:nvPr/>
              </p:nvSpPr>
              <p:spPr>
                <a:xfrm>
                  <a:off x="6803362" y="3542403"/>
                  <a:ext cx="68238" cy="153504"/>
                </a:xfrm>
                <a:custGeom>
                  <a:avLst/>
                  <a:gdLst/>
                  <a:ahLst/>
                  <a:cxnLst/>
                  <a:rect l="l" t="t" r="r" b="b"/>
                  <a:pathLst>
                    <a:path w="2144" h="4823" extrusionOk="0">
                      <a:moveTo>
                        <a:pt x="1203" y="286"/>
                      </a:moveTo>
                      <a:cubicBezTo>
                        <a:pt x="1381" y="286"/>
                        <a:pt x="1512" y="417"/>
                        <a:pt x="1512" y="596"/>
                      </a:cubicBezTo>
                      <a:lnTo>
                        <a:pt x="1512" y="893"/>
                      </a:lnTo>
                      <a:cubicBezTo>
                        <a:pt x="1512" y="1143"/>
                        <a:pt x="1310" y="1358"/>
                        <a:pt x="1060" y="1358"/>
                      </a:cubicBezTo>
                      <a:cubicBezTo>
                        <a:pt x="798" y="1358"/>
                        <a:pt x="595" y="1143"/>
                        <a:pt x="595" y="893"/>
                      </a:cubicBezTo>
                      <a:lnTo>
                        <a:pt x="595" y="596"/>
                      </a:lnTo>
                      <a:cubicBezTo>
                        <a:pt x="595" y="417"/>
                        <a:pt x="726" y="286"/>
                        <a:pt x="905" y="286"/>
                      </a:cubicBezTo>
                      <a:close/>
                      <a:moveTo>
                        <a:pt x="1215" y="1643"/>
                      </a:moveTo>
                      <a:lnTo>
                        <a:pt x="1215" y="1715"/>
                      </a:lnTo>
                      <a:cubicBezTo>
                        <a:pt x="1215" y="1774"/>
                        <a:pt x="1226" y="1822"/>
                        <a:pt x="1262" y="1858"/>
                      </a:cubicBezTo>
                      <a:lnTo>
                        <a:pt x="1060" y="2036"/>
                      </a:lnTo>
                      <a:lnTo>
                        <a:pt x="845" y="1846"/>
                      </a:lnTo>
                      <a:cubicBezTo>
                        <a:pt x="881" y="1798"/>
                        <a:pt x="893" y="1762"/>
                        <a:pt x="893" y="1703"/>
                      </a:cubicBezTo>
                      <a:lnTo>
                        <a:pt x="893" y="1643"/>
                      </a:lnTo>
                      <a:close/>
                      <a:moveTo>
                        <a:pt x="1060" y="2036"/>
                      </a:moveTo>
                      <a:cubicBezTo>
                        <a:pt x="1060" y="2048"/>
                        <a:pt x="1054" y="2054"/>
                        <a:pt x="1051" y="2054"/>
                      </a:cubicBezTo>
                      <a:cubicBezTo>
                        <a:pt x="1048" y="2054"/>
                        <a:pt x="1048" y="2048"/>
                        <a:pt x="1060" y="2036"/>
                      </a:cubicBezTo>
                      <a:close/>
                      <a:moveTo>
                        <a:pt x="905" y="0"/>
                      </a:moveTo>
                      <a:cubicBezTo>
                        <a:pt x="583" y="0"/>
                        <a:pt x="310" y="274"/>
                        <a:pt x="310" y="596"/>
                      </a:cubicBezTo>
                      <a:lnTo>
                        <a:pt x="310" y="893"/>
                      </a:lnTo>
                      <a:cubicBezTo>
                        <a:pt x="310" y="1143"/>
                        <a:pt x="429" y="1358"/>
                        <a:pt x="607" y="1489"/>
                      </a:cubicBezTo>
                      <a:lnTo>
                        <a:pt x="607" y="1703"/>
                      </a:lnTo>
                      <a:lnTo>
                        <a:pt x="607" y="1715"/>
                      </a:lnTo>
                      <a:lnTo>
                        <a:pt x="250" y="1893"/>
                      </a:lnTo>
                      <a:cubicBezTo>
                        <a:pt x="107" y="1965"/>
                        <a:pt x="0" y="2120"/>
                        <a:pt x="0" y="2298"/>
                      </a:cubicBezTo>
                      <a:lnTo>
                        <a:pt x="0" y="3632"/>
                      </a:lnTo>
                      <a:cubicBezTo>
                        <a:pt x="0" y="3751"/>
                        <a:pt x="24" y="3870"/>
                        <a:pt x="107" y="3965"/>
                      </a:cubicBezTo>
                      <a:lnTo>
                        <a:pt x="250" y="4179"/>
                      </a:lnTo>
                      <a:cubicBezTo>
                        <a:pt x="286" y="4227"/>
                        <a:pt x="310" y="4298"/>
                        <a:pt x="310" y="4358"/>
                      </a:cubicBezTo>
                      <a:lnTo>
                        <a:pt x="310" y="4679"/>
                      </a:lnTo>
                      <a:cubicBezTo>
                        <a:pt x="310" y="4751"/>
                        <a:pt x="369" y="4822"/>
                        <a:pt x="464" y="4822"/>
                      </a:cubicBezTo>
                      <a:cubicBezTo>
                        <a:pt x="548" y="4822"/>
                        <a:pt x="607" y="4763"/>
                        <a:pt x="607" y="4679"/>
                      </a:cubicBezTo>
                      <a:lnTo>
                        <a:pt x="607" y="4358"/>
                      </a:lnTo>
                      <a:cubicBezTo>
                        <a:pt x="607" y="4239"/>
                        <a:pt x="583" y="4120"/>
                        <a:pt x="500" y="4036"/>
                      </a:cubicBezTo>
                      <a:lnTo>
                        <a:pt x="357" y="3810"/>
                      </a:lnTo>
                      <a:cubicBezTo>
                        <a:pt x="322" y="3763"/>
                        <a:pt x="298" y="3691"/>
                        <a:pt x="298" y="3632"/>
                      </a:cubicBezTo>
                      <a:lnTo>
                        <a:pt x="298" y="2298"/>
                      </a:lnTo>
                      <a:cubicBezTo>
                        <a:pt x="298" y="2239"/>
                        <a:pt x="322" y="2179"/>
                        <a:pt x="381" y="2143"/>
                      </a:cubicBezTo>
                      <a:lnTo>
                        <a:pt x="631" y="2024"/>
                      </a:lnTo>
                      <a:lnTo>
                        <a:pt x="857" y="2251"/>
                      </a:lnTo>
                      <a:cubicBezTo>
                        <a:pt x="917" y="2310"/>
                        <a:pt x="1000" y="2334"/>
                        <a:pt x="1072" y="2334"/>
                      </a:cubicBezTo>
                      <a:cubicBezTo>
                        <a:pt x="1143" y="2334"/>
                        <a:pt x="1215" y="2310"/>
                        <a:pt x="1274" y="2251"/>
                      </a:cubicBezTo>
                      <a:lnTo>
                        <a:pt x="1500" y="2024"/>
                      </a:lnTo>
                      <a:lnTo>
                        <a:pt x="1750" y="2143"/>
                      </a:lnTo>
                      <a:cubicBezTo>
                        <a:pt x="1810" y="2179"/>
                        <a:pt x="1846" y="2239"/>
                        <a:pt x="1846" y="2298"/>
                      </a:cubicBezTo>
                      <a:lnTo>
                        <a:pt x="1846" y="3632"/>
                      </a:lnTo>
                      <a:cubicBezTo>
                        <a:pt x="1846" y="3691"/>
                        <a:pt x="1834" y="3751"/>
                        <a:pt x="1786" y="3810"/>
                      </a:cubicBezTo>
                      <a:lnTo>
                        <a:pt x="1631" y="4036"/>
                      </a:lnTo>
                      <a:cubicBezTo>
                        <a:pt x="1572" y="4144"/>
                        <a:pt x="1524" y="4239"/>
                        <a:pt x="1524" y="4358"/>
                      </a:cubicBezTo>
                      <a:lnTo>
                        <a:pt x="1524" y="4679"/>
                      </a:lnTo>
                      <a:cubicBezTo>
                        <a:pt x="1524" y="4751"/>
                        <a:pt x="1596" y="4822"/>
                        <a:pt x="1679" y="4822"/>
                      </a:cubicBezTo>
                      <a:cubicBezTo>
                        <a:pt x="1750" y="4822"/>
                        <a:pt x="1822" y="4763"/>
                        <a:pt x="1822" y="4679"/>
                      </a:cubicBezTo>
                      <a:lnTo>
                        <a:pt x="1822" y="4358"/>
                      </a:lnTo>
                      <a:cubicBezTo>
                        <a:pt x="1822" y="4298"/>
                        <a:pt x="1846" y="4239"/>
                        <a:pt x="1893" y="4179"/>
                      </a:cubicBezTo>
                      <a:lnTo>
                        <a:pt x="2036" y="3965"/>
                      </a:lnTo>
                      <a:cubicBezTo>
                        <a:pt x="2096" y="3858"/>
                        <a:pt x="2143" y="3751"/>
                        <a:pt x="2143" y="3632"/>
                      </a:cubicBezTo>
                      <a:lnTo>
                        <a:pt x="2143" y="2298"/>
                      </a:lnTo>
                      <a:cubicBezTo>
                        <a:pt x="2096" y="2120"/>
                        <a:pt x="2012" y="1965"/>
                        <a:pt x="1857" y="1893"/>
                      </a:cubicBezTo>
                      <a:lnTo>
                        <a:pt x="1500" y="1715"/>
                      </a:lnTo>
                      <a:lnTo>
                        <a:pt x="1500" y="1703"/>
                      </a:lnTo>
                      <a:lnTo>
                        <a:pt x="1500" y="1489"/>
                      </a:lnTo>
                      <a:cubicBezTo>
                        <a:pt x="1679" y="1358"/>
                        <a:pt x="1798" y="1131"/>
                        <a:pt x="1798" y="893"/>
                      </a:cubicBezTo>
                      <a:lnTo>
                        <a:pt x="1798" y="596"/>
                      </a:lnTo>
                      <a:cubicBezTo>
                        <a:pt x="1798" y="274"/>
                        <a:pt x="1536" y="0"/>
                        <a:pt x="1203" y="0"/>
                      </a:cubicBezTo>
                      <a:close/>
                    </a:path>
                  </a:pathLst>
                </a:custGeom>
                <a:grpFill/>
                <a:ln>
                  <a:noFill/>
                </a:ln>
              </p:spPr>
              <p:txBody>
                <a:bodyPr spcFirstLastPara="1" wrap="square" lIns="91425" tIns="91425" rIns="91425" bIns="91425" anchor="ctr" anchorCtr="0">
                  <a:noAutofit/>
                </a:bodyPr>
                <a:lstStyle/>
                <a:p>
                  <a:endParaRPr/>
                </a:p>
              </p:txBody>
            </p:sp>
            <p:sp>
              <p:nvSpPr>
                <p:cNvPr id="241" name="Google Shape;2513;p54">
                  <a:extLst>
                    <a:ext uri="{FF2B5EF4-FFF2-40B4-BE49-F238E27FC236}">
                      <a16:creationId xmlns:a16="http://schemas.microsoft.com/office/drawing/2014/main" id="{981C67B0-BECB-4C34-8829-84A82F3E69CD}"/>
                    </a:ext>
                  </a:extLst>
                </p:cNvPr>
                <p:cNvSpPr/>
                <p:nvPr/>
              </p:nvSpPr>
              <p:spPr>
                <a:xfrm>
                  <a:off x="6880289" y="3542403"/>
                  <a:ext cx="68620" cy="153504"/>
                </a:xfrm>
                <a:custGeom>
                  <a:avLst/>
                  <a:gdLst/>
                  <a:ahLst/>
                  <a:cxnLst/>
                  <a:rect l="l" t="t" r="r" b="b"/>
                  <a:pathLst>
                    <a:path w="2156" h="4823" extrusionOk="0">
                      <a:moveTo>
                        <a:pt x="1214" y="286"/>
                      </a:moveTo>
                      <a:cubicBezTo>
                        <a:pt x="1393" y="286"/>
                        <a:pt x="1524" y="417"/>
                        <a:pt x="1524" y="596"/>
                      </a:cubicBezTo>
                      <a:lnTo>
                        <a:pt x="1524" y="893"/>
                      </a:lnTo>
                      <a:cubicBezTo>
                        <a:pt x="1524" y="1143"/>
                        <a:pt x="1322" y="1358"/>
                        <a:pt x="1060" y="1358"/>
                      </a:cubicBezTo>
                      <a:cubicBezTo>
                        <a:pt x="810" y="1358"/>
                        <a:pt x="607" y="1143"/>
                        <a:pt x="607" y="893"/>
                      </a:cubicBezTo>
                      <a:lnTo>
                        <a:pt x="607" y="596"/>
                      </a:lnTo>
                      <a:cubicBezTo>
                        <a:pt x="607" y="417"/>
                        <a:pt x="738" y="286"/>
                        <a:pt x="917" y="286"/>
                      </a:cubicBezTo>
                      <a:close/>
                      <a:moveTo>
                        <a:pt x="1226" y="1643"/>
                      </a:moveTo>
                      <a:lnTo>
                        <a:pt x="1226" y="1715"/>
                      </a:lnTo>
                      <a:cubicBezTo>
                        <a:pt x="1226" y="1774"/>
                        <a:pt x="1238" y="1822"/>
                        <a:pt x="1274" y="1858"/>
                      </a:cubicBezTo>
                      <a:lnTo>
                        <a:pt x="1060" y="2036"/>
                      </a:lnTo>
                      <a:lnTo>
                        <a:pt x="857" y="1846"/>
                      </a:lnTo>
                      <a:cubicBezTo>
                        <a:pt x="881" y="1798"/>
                        <a:pt x="893" y="1762"/>
                        <a:pt x="893" y="1703"/>
                      </a:cubicBezTo>
                      <a:lnTo>
                        <a:pt x="893" y="1643"/>
                      </a:lnTo>
                      <a:close/>
                      <a:moveTo>
                        <a:pt x="917" y="0"/>
                      </a:moveTo>
                      <a:cubicBezTo>
                        <a:pt x="583" y="0"/>
                        <a:pt x="322" y="274"/>
                        <a:pt x="322" y="596"/>
                      </a:cubicBezTo>
                      <a:lnTo>
                        <a:pt x="322" y="893"/>
                      </a:lnTo>
                      <a:cubicBezTo>
                        <a:pt x="322" y="1143"/>
                        <a:pt x="441" y="1358"/>
                        <a:pt x="619" y="1489"/>
                      </a:cubicBezTo>
                      <a:lnTo>
                        <a:pt x="619" y="1703"/>
                      </a:lnTo>
                      <a:lnTo>
                        <a:pt x="619" y="1715"/>
                      </a:lnTo>
                      <a:lnTo>
                        <a:pt x="262" y="1893"/>
                      </a:lnTo>
                      <a:cubicBezTo>
                        <a:pt x="107" y="1965"/>
                        <a:pt x="0" y="2120"/>
                        <a:pt x="0" y="2298"/>
                      </a:cubicBezTo>
                      <a:lnTo>
                        <a:pt x="0" y="3632"/>
                      </a:lnTo>
                      <a:cubicBezTo>
                        <a:pt x="0" y="3751"/>
                        <a:pt x="36" y="3870"/>
                        <a:pt x="107" y="3965"/>
                      </a:cubicBezTo>
                      <a:lnTo>
                        <a:pt x="262" y="4179"/>
                      </a:lnTo>
                      <a:cubicBezTo>
                        <a:pt x="286" y="4227"/>
                        <a:pt x="322" y="4298"/>
                        <a:pt x="322" y="4358"/>
                      </a:cubicBezTo>
                      <a:lnTo>
                        <a:pt x="322" y="4679"/>
                      </a:lnTo>
                      <a:cubicBezTo>
                        <a:pt x="322" y="4751"/>
                        <a:pt x="381" y="4822"/>
                        <a:pt x="464" y="4822"/>
                      </a:cubicBezTo>
                      <a:cubicBezTo>
                        <a:pt x="548" y="4822"/>
                        <a:pt x="619" y="4763"/>
                        <a:pt x="619" y="4679"/>
                      </a:cubicBezTo>
                      <a:lnTo>
                        <a:pt x="619" y="4358"/>
                      </a:lnTo>
                      <a:cubicBezTo>
                        <a:pt x="619" y="4239"/>
                        <a:pt x="583" y="4120"/>
                        <a:pt x="512" y="4036"/>
                      </a:cubicBezTo>
                      <a:lnTo>
                        <a:pt x="369" y="3810"/>
                      </a:lnTo>
                      <a:cubicBezTo>
                        <a:pt x="333" y="3763"/>
                        <a:pt x="298" y="3691"/>
                        <a:pt x="298" y="3632"/>
                      </a:cubicBezTo>
                      <a:lnTo>
                        <a:pt x="298" y="2298"/>
                      </a:lnTo>
                      <a:cubicBezTo>
                        <a:pt x="298" y="2239"/>
                        <a:pt x="333" y="2179"/>
                        <a:pt x="393" y="2143"/>
                      </a:cubicBezTo>
                      <a:lnTo>
                        <a:pt x="643" y="2024"/>
                      </a:lnTo>
                      <a:lnTo>
                        <a:pt x="869" y="2251"/>
                      </a:lnTo>
                      <a:cubicBezTo>
                        <a:pt x="929" y="2310"/>
                        <a:pt x="1000" y="2334"/>
                        <a:pt x="1072" y="2334"/>
                      </a:cubicBezTo>
                      <a:cubicBezTo>
                        <a:pt x="1155" y="2334"/>
                        <a:pt x="1226" y="2310"/>
                        <a:pt x="1286" y="2251"/>
                      </a:cubicBezTo>
                      <a:lnTo>
                        <a:pt x="1512" y="2024"/>
                      </a:lnTo>
                      <a:lnTo>
                        <a:pt x="1762" y="2143"/>
                      </a:lnTo>
                      <a:cubicBezTo>
                        <a:pt x="1822" y="2179"/>
                        <a:pt x="1857" y="2239"/>
                        <a:pt x="1857" y="2298"/>
                      </a:cubicBezTo>
                      <a:lnTo>
                        <a:pt x="1857" y="3632"/>
                      </a:lnTo>
                      <a:cubicBezTo>
                        <a:pt x="1857" y="3691"/>
                        <a:pt x="1834" y="3751"/>
                        <a:pt x="1786" y="3810"/>
                      </a:cubicBezTo>
                      <a:lnTo>
                        <a:pt x="1643" y="4036"/>
                      </a:lnTo>
                      <a:cubicBezTo>
                        <a:pt x="1584" y="4144"/>
                        <a:pt x="1536" y="4239"/>
                        <a:pt x="1536" y="4358"/>
                      </a:cubicBezTo>
                      <a:lnTo>
                        <a:pt x="1536" y="4679"/>
                      </a:lnTo>
                      <a:cubicBezTo>
                        <a:pt x="1536" y="4751"/>
                        <a:pt x="1595" y="4822"/>
                        <a:pt x="1691" y="4822"/>
                      </a:cubicBezTo>
                      <a:cubicBezTo>
                        <a:pt x="1762" y="4822"/>
                        <a:pt x="1834" y="4763"/>
                        <a:pt x="1834" y="4679"/>
                      </a:cubicBezTo>
                      <a:lnTo>
                        <a:pt x="1834" y="4358"/>
                      </a:lnTo>
                      <a:cubicBezTo>
                        <a:pt x="1834" y="4298"/>
                        <a:pt x="1846" y="4239"/>
                        <a:pt x="1893" y="4179"/>
                      </a:cubicBezTo>
                      <a:lnTo>
                        <a:pt x="2048" y="3965"/>
                      </a:lnTo>
                      <a:cubicBezTo>
                        <a:pt x="2107" y="3858"/>
                        <a:pt x="2155" y="3751"/>
                        <a:pt x="2155" y="3632"/>
                      </a:cubicBezTo>
                      <a:lnTo>
                        <a:pt x="2155" y="2298"/>
                      </a:lnTo>
                      <a:cubicBezTo>
                        <a:pt x="2107" y="2120"/>
                        <a:pt x="2012" y="1965"/>
                        <a:pt x="1869" y="1893"/>
                      </a:cubicBezTo>
                      <a:lnTo>
                        <a:pt x="1512" y="1715"/>
                      </a:lnTo>
                      <a:lnTo>
                        <a:pt x="1512" y="1703"/>
                      </a:lnTo>
                      <a:lnTo>
                        <a:pt x="1512" y="1489"/>
                      </a:lnTo>
                      <a:cubicBezTo>
                        <a:pt x="1691" y="1358"/>
                        <a:pt x="1810" y="1131"/>
                        <a:pt x="1810" y="893"/>
                      </a:cubicBezTo>
                      <a:lnTo>
                        <a:pt x="1810" y="596"/>
                      </a:lnTo>
                      <a:cubicBezTo>
                        <a:pt x="1810" y="274"/>
                        <a:pt x="1536" y="0"/>
                        <a:pt x="1214" y="0"/>
                      </a:cubicBezTo>
                      <a:close/>
                    </a:path>
                  </a:pathLst>
                </a:custGeom>
                <a:grpFill/>
                <a:ln>
                  <a:noFill/>
                </a:ln>
              </p:spPr>
              <p:txBody>
                <a:bodyPr spcFirstLastPara="1" wrap="square" lIns="91425" tIns="91425" rIns="91425" bIns="91425" anchor="ctr" anchorCtr="0">
                  <a:noAutofit/>
                </a:bodyPr>
                <a:lstStyle/>
                <a:p>
                  <a:endParaRPr/>
                </a:p>
              </p:txBody>
            </p:sp>
            <p:sp>
              <p:nvSpPr>
                <p:cNvPr id="242" name="Google Shape;2514;p54">
                  <a:extLst>
                    <a:ext uri="{FF2B5EF4-FFF2-40B4-BE49-F238E27FC236}">
                      <a16:creationId xmlns:a16="http://schemas.microsoft.com/office/drawing/2014/main" id="{15574FC8-729C-481B-B56D-9AE66EEFFDB6}"/>
                    </a:ext>
                  </a:extLst>
                </p:cNvPr>
                <p:cNvSpPr/>
                <p:nvPr/>
              </p:nvSpPr>
              <p:spPr>
                <a:xfrm>
                  <a:off x="6707084" y="3387403"/>
                  <a:ext cx="261145" cy="183072"/>
                </a:xfrm>
                <a:custGeom>
                  <a:avLst/>
                  <a:gdLst/>
                  <a:ahLst/>
                  <a:cxnLst/>
                  <a:rect l="l" t="t" r="r" b="b"/>
                  <a:pathLst>
                    <a:path w="8205" h="5752" extrusionOk="0">
                      <a:moveTo>
                        <a:pt x="2727" y="536"/>
                      </a:moveTo>
                      <a:cubicBezTo>
                        <a:pt x="2501" y="715"/>
                        <a:pt x="2311" y="953"/>
                        <a:pt x="2132" y="1227"/>
                      </a:cubicBezTo>
                      <a:cubicBezTo>
                        <a:pt x="2013" y="1417"/>
                        <a:pt x="1906" y="1608"/>
                        <a:pt x="1799" y="1822"/>
                      </a:cubicBezTo>
                      <a:lnTo>
                        <a:pt x="1013" y="1822"/>
                      </a:lnTo>
                      <a:cubicBezTo>
                        <a:pt x="1465" y="1239"/>
                        <a:pt x="2037" y="798"/>
                        <a:pt x="2727" y="536"/>
                      </a:cubicBezTo>
                      <a:close/>
                      <a:moveTo>
                        <a:pt x="3930" y="286"/>
                      </a:moveTo>
                      <a:lnTo>
                        <a:pt x="3930" y="1822"/>
                      </a:lnTo>
                      <a:lnTo>
                        <a:pt x="2120" y="1822"/>
                      </a:lnTo>
                      <a:cubicBezTo>
                        <a:pt x="2537" y="941"/>
                        <a:pt x="3192" y="358"/>
                        <a:pt x="3930" y="286"/>
                      </a:cubicBezTo>
                      <a:close/>
                      <a:moveTo>
                        <a:pt x="4216" y="286"/>
                      </a:moveTo>
                      <a:cubicBezTo>
                        <a:pt x="4954" y="346"/>
                        <a:pt x="5609" y="941"/>
                        <a:pt x="6025" y="1822"/>
                      </a:cubicBezTo>
                      <a:lnTo>
                        <a:pt x="4216" y="1822"/>
                      </a:lnTo>
                      <a:lnTo>
                        <a:pt x="4216" y="286"/>
                      </a:lnTo>
                      <a:close/>
                      <a:moveTo>
                        <a:pt x="5418" y="536"/>
                      </a:moveTo>
                      <a:cubicBezTo>
                        <a:pt x="6109" y="798"/>
                        <a:pt x="6704" y="1239"/>
                        <a:pt x="7133" y="1822"/>
                      </a:cubicBezTo>
                      <a:lnTo>
                        <a:pt x="6347" y="1822"/>
                      </a:lnTo>
                      <a:cubicBezTo>
                        <a:pt x="6252" y="1608"/>
                        <a:pt x="6133" y="1406"/>
                        <a:pt x="6014" y="1227"/>
                      </a:cubicBezTo>
                      <a:cubicBezTo>
                        <a:pt x="5835" y="953"/>
                        <a:pt x="5644" y="715"/>
                        <a:pt x="5418" y="536"/>
                      </a:cubicBezTo>
                      <a:close/>
                      <a:moveTo>
                        <a:pt x="1680" y="2108"/>
                      </a:moveTo>
                      <a:cubicBezTo>
                        <a:pt x="1489" y="2668"/>
                        <a:pt x="1370" y="3299"/>
                        <a:pt x="1358" y="3953"/>
                      </a:cubicBezTo>
                      <a:lnTo>
                        <a:pt x="275" y="3953"/>
                      </a:lnTo>
                      <a:cubicBezTo>
                        <a:pt x="299" y="3275"/>
                        <a:pt x="489" y="2656"/>
                        <a:pt x="822" y="2108"/>
                      </a:cubicBezTo>
                      <a:close/>
                      <a:moveTo>
                        <a:pt x="3930" y="2108"/>
                      </a:moveTo>
                      <a:lnTo>
                        <a:pt x="3930" y="3953"/>
                      </a:lnTo>
                      <a:lnTo>
                        <a:pt x="1644" y="3953"/>
                      </a:lnTo>
                      <a:cubicBezTo>
                        <a:pt x="1656" y="3275"/>
                        <a:pt x="1787" y="2656"/>
                        <a:pt x="2001" y="2108"/>
                      </a:cubicBezTo>
                      <a:close/>
                      <a:moveTo>
                        <a:pt x="6145" y="2108"/>
                      </a:moveTo>
                      <a:cubicBezTo>
                        <a:pt x="6359" y="2644"/>
                        <a:pt x="6490" y="3263"/>
                        <a:pt x="6502" y="3953"/>
                      </a:cubicBezTo>
                      <a:lnTo>
                        <a:pt x="4216" y="3953"/>
                      </a:lnTo>
                      <a:lnTo>
                        <a:pt x="4216" y="2108"/>
                      </a:lnTo>
                      <a:close/>
                      <a:moveTo>
                        <a:pt x="7311" y="2108"/>
                      </a:moveTo>
                      <a:cubicBezTo>
                        <a:pt x="7633" y="2644"/>
                        <a:pt x="7847" y="3263"/>
                        <a:pt x="7859" y="3953"/>
                      </a:cubicBezTo>
                      <a:lnTo>
                        <a:pt x="6787" y="3953"/>
                      </a:lnTo>
                      <a:cubicBezTo>
                        <a:pt x="6776" y="3299"/>
                        <a:pt x="6656" y="2668"/>
                        <a:pt x="6442" y="2108"/>
                      </a:cubicBezTo>
                      <a:close/>
                      <a:moveTo>
                        <a:pt x="4085" y="1"/>
                      </a:moveTo>
                      <a:cubicBezTo>
                        <a:pt x="2989" y="1"/>
                        <a:pt x="1965" y="429"/>
                        <a:pt x="1192" y="1191"/>
                      </a:cubicBezTo>
                      <a:cubicBezTo>
                        <a:pt x="418" y="1953"/>
                        <a:pt x="1" y="3001"/>
                        <a:pt x="1" y="4084"/>
                      </a:cubicBezTo>
                      <a:cubicBezTo>
                        <a:pt x="1" y="4632"/>
                        <a:pt x="108" y="5156"/>
                        <a:pt x="310" y="5656"/>
                      </a:cubicBezTo>
                      <a:cubicBezTo>
                        <a:pt x="337" y="5719"/>
                        <a:pt x="392" y="5748"/>
                        <a:pt x="443" y="5748"/>
                      </a:cubicBezTo>
                      <a:cubicBezTo>
                        <a:pt x="459" y="5748"/>
                        <a:pt x="475" y="5745"/>
                        <a:pt x="489" y="5739"/>
                      </a:cubicBezTo>
                      <a:cubicBezTo>
                        <a:pt x="560" y="5704"/>
                        <a:pt x="596" y="5620"/>
                        <a:pt x="560" y="5549"/>
                      </a:cubicBezTo>
                      <a:cubicBezTo>
                        <a:pt x="382" y="5144"/>
                        <a:pt x="299" y="4692"/>
                        <a:pt x="287" y="4227"/>
                      </a:cubicBezTo>
                      <a:lnTo>
                        <a:pt x="1370" y="4227"/>
                      </a:lnTo>
                      <a:lnTo>
                        <a:pt x="1370" y="4394"/>
                      </a:lnTo>
                      <a:cubicBezTo>
                        <a:pt x="1370" y="4465"/>
                        <a:pt x="1442" y="4525"/>
                        <a:pt x="1513" y="4525"/>
                      </a:cubicBezTo>
                      <a:cubicBezTo>
                        <a:pt x="1596" y="4525"/>
                        <a:pt x="1656" y="4454"/>
                        <a:pt x="1656" y="4382"/>
                      </a:cubicBezTo>
                      <a:lnTo>
                        <a:pt x="1656" y="4227"/>
                      </a:lnTo>
                      <a:lnTo>
                        <a:pt x="3942" y="4227"/>
                      </a:lnTo>
                      <a:lnTo>
                        <a:pt x="3942" y="4394"/>
                      </a:lnTo>
                      <a:cubicBezTo>
                        <a:pt x="3942" y="4465"/>
                        <a:pt x="4001" y="4549"/>
                        <a:pt x="4097" y="4549"/>
                      </a:cubicBezTo>
                      <a:cubicBezTo>
                        <a:pt x="4168" y="4549"/>
                        <a:pt x="4240" y="4489"/>
                        <a:pt x="4240" y="4394"/>
                      </a:cubicBezTo>
                      <a:lnTo>
                        <a:pt x="4240" y="4227"/>
                      </a:lnTo>
                      <a:lnTo>
                        <a:pt x="6537" y="4227"/>
                      </a:lnTo>
                      <a:lnTo>
                        <a:pt x="6537" y="4382"/>
                      </a:lnTo>
                      <a:cubicBezTo>
                        <a:pt x="6537" y="4454"/>
                        <a:pt x="6597" y="4525"/>
                        <a:pt x="6668" y="4525"/>
                      </a:cubicBezTo>
                      <a:cubicBezTo>
                        <a:pt x="6740" y="4525"/>
                        <a:pt x="6799" y="4465"/>
                        <a:pt x="6823" y="4394"/>
                      </a:cubicBezTo>
                      <a:lnTo>
                        <a:pt x="6823" y="4227"/>
                      </a:lnTo>
                      <a:lnTo>
                        <a:pt x="7907" y="4227"/>
                      </a:lnTo>
                      <a:cubicBezTo>
                        <a:pt x="7895" y="4692"/>
                        <a:pt x="7788" y="5120"/>
                        <a:pt x="7621" y="5549"/>
                      </a:cubicBezTo>
                      <a:cubicBezTo>
                        <a:pt x="7597" y="5632"/>
                        <a:pt x="7621" y="5704"/>
                        <a:pt x="7692" y="5739"/>
                      </a:cubicBezTo>
                      <a:cubicBezTo>
                        <a:pt x="7704" y="5751"/>
                        <a:pt x="7728" y="5751"/>
                        <a:pt x="7752" y="5751"/>
                      </a:cubicBezTo>
                      <a:cubicBezTo>
                        <a:pt x="7811" y="5751"/>
                        <a:pt x="7859" y="5716"/>
                        <a:pt x="7895" y="5656"/>
                      </a:cubicBezTo>
                      <a:cubicBezTo>
                        <a:pt x="8097" y="5168"/>
                        <a:pt x="8204" y="4632"/>
                        <a:pt x="8204" y="4084"/>
                      </a:cubicBezTo>
                      <a:cubicBezTo>
                        <a:pt x="8157" y="3001"/>
                        <a:pt x="7740" y="1965"/>
                        <a:pt x="6966" y="1191"/>
                      </a:cubicBezTo>
                      <a:cubicBezTo>
                        <a:pt x="6192" y="417"/>
                        <a:pt x="5168" y="1"/>
                        <a:pt x="4085" y="1"/>
                      </a:cubicBezTo>
                      <a:close/>
                    </a:path>
                  </a:pathLst>
                </a:custGeom>
                <a:grpFill/>
                <a:ln>
                  <a:noFill/>
                </a:ln>
              </p:spPr>
              <p:txBody>
                <a:bodyPr spcFirstLastPara="1" wrap="square" lIns="91425" tIns="91425" rIns="91425" bIns="91425" anchor="ctr" anchorCtr="0">
                  <a:noAutofit/>
                </a:bodyPr>
                <a:lstStyle/>
                <a:p>
                  <a:endParaRPr/>
                </a:p>
              </p:txBody>
            </p:sp>
          </p:grpSp>
        </p:grpSp>
      </p:grpSp>
      <p:grpSp>
        <p:nvGrpSpPr>
          <p:cNvPr id="5" name="Group 4">
            <a:extLst>
              <a:ext uri="{FF2B5EF4-FFF2-40B4-BE49-F238E27FC236}">
                <a16:creationId xmlns:a16="http://schemas.microsoft.com/office/drawing/2014/main" id="{AF7CB243-9446-4FB4-BE12-0851D7CBAE65}"/>
              </a:ext>
            </a:extLst>
          </p:cNvPr>
          <p:cNvGrpSpPr/>
          <p:nvPr/>
        </p:nvGrpSpPr>
        <p:grpSpPr>
          <a:xfrm>
            <a:off x="1527398" y="2392190"/>
            <a:ext cx="1422582" cy="2104528"/>
            <a:chOff x="1428201" y="2392190"/>
            <a:chExt cx="1422582" cy="2104528"/>
          </a:xfrm>
        </p:grpSpPr>
        <p:sp>
          <p:nvSpPr>
            <p:cNvPr id="214" name="TextBox 213">
              <a:extLst>
                <a:ext uri="{FF2B5EF4-FFF2-40B4-BE49-F238E27FC236}">
                  <a16:creationId xmlns:a16="http://schemas.microsoft.com/office/drawing/2014/main" id="{5B7765E1-B55C-4F86-A998-658587AE43D4}"/>
                </a:ext>
              </a:extLst>
            </p:cNvPr>
            <p:cNvSpPr txBox="1"/>
            <p:nvPr/>
          </p:nvSpPr>
          <p:spPr>
            <a:xfrm>
              <a:off x="1781058" y="2392190"/>
              <a:ext cx="716868" cy="425758"/>
            </a:xfrm>
            <a:prstGeom prst="rect">
              <a:avLst/>
            </a:prstGeom>
            <a:noFill/>
          </p:spPr>
          <p:txBody>
            <a:bodyPr wrap="square" rtlCol="0">
              <a:spAutoFit/>
            </a:bodyPr>
            <a:lstStyle/>
            <a:p>
              <a:pPr algn="ctr">
                <a:lnSpc>
                  <a:spcPts val="1320"/>
                </a:lnSpc>
              </a:pPr>
              <a:r>
                <a:rPr lang="en-GR" sz="1050" b="1" dirty="0">
                  <a:solidFill>
                    <a:schemeClr val="bg1">
                      <a:lumMod val="50000"/>
                    </a:schemeClr>
                  </a:solidFill>
                  <a:latin typeface="Arial" panose="020B0604020202020204" pitchFamily="34" charset="0"/>
                  <a:cs typeface="Arial" panose="020B0604020202020204" pitchFamily="34" charset="0"/>
                </a:rPr>
                <a:t>NOV</a:t>
              </a:r>
            </a:p>
            <a:p>
              <a:pPr algn="ctr">
                <a:lnSpc>
                  <a:spcPts val="1320"/>
                </a:lnSpc>
              </a:pPr>
              <a:r>
                <a:rPr lang="es-ES" sz="1050" b="1" dirty="0">
                  <a:solidFill>
                    <a:schemeClr val="bg1">
                      <a:lumMod val="50000"/>
                    </a:schemeClr>
                  </a:solidFill>
                  <a:latin typeface="Arial" panose="020B0604020202020204" pitchFamily="34" charset="0"/>
                  <a:cs typeface="Arial" panose="020B0604020202020204" pitchFamily="34" charset="0"/>
                </a:rPr>
                <a:t>2020</a:t>
              </a:r>
              <a:endParaRPr lang="en-GR" sz="1050" b="1" dirty="0">
                <a:solidFill>
                  <a:schemeClr val="bg1">
                    <a:lumMod val="50000"/>
                  </a:schemeClr>
                </a:solidFill>
                <a:latin typeface="Arial" panose="020B0604020202020204" pitchFamily="34" charset="0"/>
                <a:cs typeface="Arial" panose="020B0604020202020204" pitchFamily="34" charset="0"/>
              </a:endParaRPr>
            </a:p>
          </p:txBody>
        </p:sp>
        <p:sp>
          <p:nvSpPr>
            <p:cNvPr id="220" name="Rechteck 127">
              <a:extLst>
                <a:ext uri="{FF2B5EF4-FFF2-40B4-BE49-F238E27FC236}">
                  <a16:creationId xmlns:a16="http://schemas.microsoft.com/office/drawing/2014/main" id="{7B773BB2-B46C-4F21-875B-7591C6EDDF85}"/>
                </a:ext>
              </a:extLst>
            </p:cNvPr>
            <p:cNvSpPr/>
            <p:nvPr/>
          </p:nvSpPr>
          <p:spPr bwMode="gray">
            <a:xfrm>
              <a:off x="1428201" y="3711008"/>
              <a:ext cx="1422582" cy="785710"/>
            </a:xfrm>
            <a:prstGeom prst="rect">
              <a:avLst/>
            </a:prstGeom>
          </p:spPr>
          <p:style>
            <a:lnRef idx="0">
              <a:scrgbClr r="0" g="0" b="0"/>
            </a:lnRef>
            <a:fillRef idx="0">
              <a:scrgbClr r="0" g="0" b="0"/>
            </a:fillRef>
            <a:effectRef idx="0">
              <a:scrgbClr r="0" g="0" b="0"/>
            </a:effectRef>
            <a:fontRef idx="major"/>
          </p:style>
          <p:txBody>
            <a:bodyPr wrap="square" lIns="72000" tIns="46800" rIns="72000">
              <a:no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defTabSz="801608"/>
              <a:r>
                <a:rPr lang="en-US" sz="1000" b="1" dirty="0">
                  <a:solidFill>
                    <a:srgbClr val="14438E"/>
                  </a:solidFill>
                  <a:latin typeface="Arial" panose="020B0604020202020204" pitchFamily="34" charset="0"/>
                  <a:cs typeface="Arial" panose="020B0604020202020204" pitchFamily="34" charset="0"/>
                </a:rPr>
                <a:t>C.A. </a:t>
              </a:r>
            </a:p>
            <a:p>
              <a:pPr algn="ctr" defTabSz="801608"/>
              <a:r>
                <a:rPr lang="en-US" sz="1000" b="1" dirty="0">
                  <a:solidFill>
                    <a:srgbClr val="14438E"/>
                  </a:solidFill>
                  <a:latin typeface="Arial" panose="020B0604020202020204" pitchFamily="34" charset="0"/>
                  <a:cs typeface="Arial" panose="020B0604020202020204" pitchFamily="34" charset="0"/>
                </a:rPr>
                <a:t>Questionnaires</a:t>
              </a:r>
            </a:p>
            <a:p>
              <a:pPr algn="ctr" defTabSz="801608"/>
              <a:r>
                <a:rPr lang="en-US" sz="900" dirty="0">
                  <a:solidFill>
                    <a:schemeClr val="tx1">
                      <a:lumMod val="65000"/>
                      <a:lumOff val="35000"/>
                    </a:schemeClr>
                  </a:solidFill>
                  <a:latin typeface="Arial" panose="020B0604020202020204" pitchFamily="34" charset="0"/>
                  <a:cs typeface="Arial" panose="020B0604020202020204" pitchFamily="34" charset="0"/>
                </a:rPr>
                <a:t>Questionnaires regarding the scope for CP14 sent to all IPOs and UAs</a:t>
              </a:r>
            </a:p>
          </p:txBody>
        </p:sp>
        <p:grpSp>
          <p:nvGrpSpPr>
            <p:cNvPr id="262" name="Group 261">
              <a:extLst>
                <a:ext uri="{FF2B5EF4-FFF2-40B4-BE49-F238E27FC236}">
                  <a16:creationId xmlns:a16="http://schemas.microsoft.com/office/drawing/2014/main" id="{0A6B5EB0-6535-43CB-8E2E-4EF31C2F6BAC}"/>
                </a:ext>
              </a:extLst>
            </p:cNvPr>
            <p:cNvGrpSpPr/>
            <p:nvPr/>
          </p:nvGrpSpPr>
          <p:grpSpPr>
            <a:xfrm>
              <a:off x="1845173" y="2843666"/>
              <a:ext cx="588638" cy="852992"/>
              <a:chOff x="1588431" y="2843666"/>
              <a:chExt cx="588638" cy="852992"/>
            </a:xfrm>
          </p:grpSpPr>
          <p:grpSp>
            <p:nvGrpSpPr>
              <p:cNvPr id="263" name="Group 262">
                <a:extLst>
                  <a:ext uri="{FF2B5EF4-FFF2-40B4-BE49-F238E27FC236}">
                    <a16:creationId xmlns:a16="http://schemas.microsoft.com/office/drawing/2014/main" id="{CB1E461B-205B-4079-B71C-B984F6FD51E8}"/>
                  </a:ext>
                </a:extLst>
              </p:cNvPr>
              <p:cNvGrpSpPr/>
              <p:nvPr/>
            </p:nvGrpSpPr>
            <p:grpSpPr>
              <a:xfrm rot="10800000">
                <a:off x="1588431" y="2843666"/>
                <a:ext cx="588638" cy="852992"/>
                <a:chOff x="1583053" y="2333268"/>
                <a:chExt cx="588638" cy="852992"/>
              </a:xfrm>
            </p:grpSpPr>
            <p:sp>
              <p:nvSpPr>
                <p:cNvPr id="304" name="Oval 13">
                  <a:extLst>
                    <a:ext uri="{FF2B5EF4-FFF2-40B4-BE49-F238E27FC236}">
                      <a16:creationId xmlns:a16="http://schemas.microsoft.com/office/drawing/2014/main" id="{1F81D087-B32C-4938-8132-FEEC9115893F}"/>
                    </a:ext>
                  </a:extLst>
                </p:cNvPr>
                <p:cNvSpPr>
                  <a:spLocks noChangeArrowheads="1"/>
                </p:cNvSpPr>
                <p:nvPr/>
              </p:nvSpPr>
              <p:spPr bwMode="auto">
                <a:xfrm>
                  <a:off x="1822104" y="3077056"/>
                  <a:ext cx="110536" cy="109204"/>
                </a:xfrm>
                <a:prstGeom prst="ellipse">
                  <a:avLst/>
                </a:prstGeom>
                <a:noFill/>
                <a:ln w="53975">
                  <a:solidFill>
                    <a:srgbClr val="4472C4"/>
                  </a:solidFill>
                  <a:miter lim="800000"/>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Open Sans" panose="020B0606030504020204" pitchFamily="34" charset="0"/>
                    </a:defRPr>
                  </a:lvl1pPr>
                  <a:lvl2pPr marL="742950" indent="-285750">
                    <a:defRPr>
                      <a:solidFill>
                        <a:schemeClr val="tx1"/>
                      </a:solidFill>
                      <a:latin typeface="Open Sans" panose="020B0606030504020204" pitchFamily="34" charset="0"/>
                    </a:defRPr>
                  </a:lvl2pPr>
                  <a:lvl3pPr marL="1143000" indent="-228600">
                    <a:defRPr>
                      <a:solidFill>
                        <a:schemeClr val="tx1"/>
                      </a:solidFill>
                      <a:latin typeface="Open Sans" panose="020B0606030504020204" pitchFamily="34" charset="0"/>
                    </a:defRPr>
                  </a:lvl3pPr>
                  <a:lvl4pPr marL="1600200" indent="-228600">
                    <a:defRPr>
                      <a:solidFill>
                        <a:schemeClr val="tx1"/>
                      </a:solidFill>
                      <a:latin typeface="Open Sans" panose="020B0606030504020204" pitchFamily="34" charset="0"/>
                    </a:defRPr>
                  </a:lvl4pPr>
                  <a:lvl5pPr marL="2057400" indent="-228600">
                    <a:defRPr>
                      <a:solidFill>
                        <a:schemeClr val="tx1"/>
                      </a:solidFill>
                      <a:latin typeface="Open Sans" panose="020B0606030504020204" pitchFamily="34" charset="0"/>
                    </a:defRPr>
                  </a:lvl5pPr>
                  <a:lvl6pPr marL="2514600" indent="-228600" fontAlgn="base">
                    <a:spcBef>
                      <a:spcPct val="0"/>
                    </a:spcBef>
                    <a:spcAft>
                      <a:spcPct val="0"/>
                    </a:spcAft>
                    <a:defRPr>
                      <a:solidFill>
                        <a:schemeClr val="tx1"/>
                      </a:solidFill>
                      <a:latin typeface="Open Sans" panose="020B0606030504020204" pitchFamily="34" charset="0"/>
                    </a:defRPr>
                  </a:lvl6pPr>
                  <a:lvl7pPr marL="2971800" indent="-228600" fontAlgn="base">
                    <a:spcBef>
                      <a:spcPct val="0"/>
                    </a:spcBef>
                    <a:spcAft>
                      <a:spcPct val="0"/>
                    </a:spcAft>
                    <a:defRPr>
                      <a:solidFill>
                        <a:schemeClr val="tx1"/>
                      </a:solidFill>
                      <a:latin typeface="Open Sans" panose="020B0606030504020204" pitchFamily="34" charset="0"/>
                    </a:defRPr>
                  </a:lvl7pPr>
                  <a:lvl8pPr marL="3429000" indent="-228600" fontAlgn="base">
                    <a:spcBef>
                      <a:spcPct val="0"/>
                    </a:spcBef>
                    <a:spcAft>
                      <a:spcPct val="0"/>
                    </a:spcAft>
                    <a:defRPr>
                      <a:solidFill>
                        <a:schemeClr val="tx1"/>
                      </a:solidFill>
                      <a:latin typeface="Open Sans" panose="020B0606030504020204" pitchFamily="34" charset="0"/>
                    </a:defRPr>
                  </a:lvl8pPr>
                  <a:lvl9pPr marL="3886200" indent="-228600" fontAlgn="base">
                    <a:spcBef>
                      <a:spcPct val="0"/>
                    </a:spcBef>
                    <a:spcAft>
                      <a:spcPct val="0"/>
                    </a:spcAft>
                    <a:defRPr>
                      <a:solidFill>
                        <a:schemeClr val="tx1"/>
                      </a:solidFill>
                      <a:latin typeface="Open Sans" panose="020B0606030504020204" pitchFamily="34" charset="0"/>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R" altLang="en-GR" sz="900" b="0" i="0" u="none" strike="noStrike" kern="0" cap="none" spc="0" normalizeH="0" baseline="0" noProof="0">
                    <a:ln>
                      <a:noFill/>
                    </a:ln>
                    <a:solidFill>
                      <a:prstClr val="black"/>
                    </a:solidFill>
                    <a:effectLst/>
                    <a:uLnTx/>
                    <a:uFillTx/>
                    <a:latin typeface="Open Sans" panose="020B0606030504020204" pitchFamily="34" charset="0"/>
                  </a:endParaRPr>
                </a:p>
              </p:txBody>
            </p:sp>
            <p:grpSp>
              <p:nvGrpSpPr>
                <p:cNvPr id="310" name="Group 309">
                  <a:extLst>
                    <a:ext uri="{FF2B5EF4-FFF2-40B4-BE49-F238E27FC236}">
                      <a16:creationId xmlns:a16="http://schemas.microsoft.com/office/drawing/2014/main" id="{D683F404-B326-408F-8A20-B7AE532F3184}"/>
                    </a:ext>
                  </a:extLst>
                </p:cNvPr>
                <p:cNvGrpSpPr>
                  <a:grpSpLocks/>
                </p:cNvGrpSpPr>
                <p:nvPr/>
              </p:nvGrpSpPr>
              <p:grpSpPr bwMode="auto">
                <a:xfrm>
                  <a:off x="1583053" y="2333268"/>
                  <a:ext cx="588638" cy="677200"/>
                  <a:chOff x="3451225" y="2338388"/>
                  <a:chExt cx="1403350" cy="1614488"/>
                </a:xfrm>
              </p:grpSpPr>
              <p:sp>
                <p:nvSpPr>
                  <p:cNvPr id="313" name="Freeform 7">
                    <a:extLst>
                      <a:ext uri="{FF2B5EF4-FFF2-40B4-BE49-F238E27FC236}">
                        <a16:creationId xmlns:a16="http://schemas.microsoft.com/office/drawing/2014/main" id="{4091D786-535A-45CA-BBBD-B0E2F164A473}"/>
                      </a:ext>
                    </a:extLst>
                  </p:cNvPr>
                  <p:cNvSpPr>
                    <a:spLocks/>
                  </p:cNvSpPr>
                  <p:nvPr/>
                </p:nvSpPr>
                <p:spPr bwMode="auto">
                  <a:xfrm>
                    <a:off x="3451225" y="2338388"/>
                    <a:ext cx="1403350" cy="1614488"/>
                  </a:xfrm>
                  <a:custGeom>
                    <a:avLst/>
                    <a:gdLst>
                      <a:gd name="T0" fmla="*/ 1403350 w 369"/>
                      <a:gd name="T1" fmla="*/ 700627 h 424"/>
                      <a:gd name="T2" fmla="*/ 703577 w 369"/>
                      <a:gd name="T3" fmla="*/ 0 h 424"/>
                      <a:gd name="T4" fmla="*/ 0 w 369"/>
                      <a:gd name="T5" fmla="*/ 700627 h 424"/>
                      <a:gd name="T6" fmla="*/ 574271 w 369"/>
                      <a:gd name="T7" fmla="*/ 1393638 h 424"/>
                      <a:gd name="T8" fmla="*/ 703577 w 369"/>
                      <a:gd name="T9" fmla="*/ 1614488 h 424"/>
                      <a:gd name="T10" fmla="*/ 829079 w 369"/>
                      <a:gd name="T11" fmla="*/ 1393638 h 424"/>
                      <a:gd name="T12" fmla="*/ 1403350 w 369"/>
                      <a:gd name="T13" fmla="*/ 700627 h 4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69" h="424">
                        <a:moveTo>
                          <a:pt x="369" y="184"/>
                        </a:moveTo>
                        <a:cubicBezTo>
                          <a:pt x="369" y="82"/>
                          <a:pt x="287" y="0"/>
                          <a:pt x="185" y="0"/>
                        </a:cubicBezTo>
                        <a:cubicBezTo>
                          <a:pt x="83" y="0"/>
                          <a:pt x="0" y="82"/>
                          <a:pt x="0" y="184"/>
                        </a:cubicBezTo>
                        <a:cubicBezTo>
                          <a:pt x="0" y="275"/>
                          <a:pt x="65" y="350"/>
                          <a:pt x="151" y="366"/>
                        </a:cubicBezTo>
                        <a:cubicBezTo>
                          <a:pt x="185" y="424"/>
                          <a:pt x="185" y="424"/>
                          <a:pt x="185" y="424"/>
                        </a:cubicBezTo>
                        <a:cubicBezTo>
                          <a:pt x="218" y="366"/>
                          <a:pt x="218" y="366"/>
                          <a:pt x="218" y="366"/>
                        </a:cubicBezTo>
                        <a:cubicBezTo>
                          <a:pt x="304" y="350"/>
                          <a:pt x="369" y="275"/>
                          <a:pt x="369" y="184"/>
                        </a:cubicBezTo>
                        <a:close/>
                      </a:path>
                    </a:pathLst>
                  </a:custGeom>
                  <a:solidFill>
                    <a:srgbClr val="4472C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R" sz="900" b="0" i="0" u="none" strike="noStrike" kern="0" cap="none" spc="0" normalizeH="0" baseline="0" noProof="0">
                      <a:ln>
                        <a:noFill/>
                      </a:ln>
                      <a:solidFill>
                        <a:prstClr val="black"/>
                      </a:solidFill>
                      <a:effectLst/>
                      <a:uLnTx/>
                      <a:uFillTx/>
                    </a:endParaRPr>
                  </a:p>
                </p:txBody>
              </p:sp>
              <p:sp>
                <p:nvSpPr>
                  <p:cNvPr id="324" name="Oval 22">
                    <a:extLst>
                      <a:ext uri="{FF2B5EF4-FFF2-40B4-BE49-F238E27FC236}">
                        <a16:creationId xmlns:a16="http://schemas.microsoft.com/office/drawing/2014/main" id="{B2951927-6156-4E65-B2D2-4DEA32D7A11D}"/>
                      </a:ext>
                    </a:extLst>
                  </p:cNvPr>
                  <p:cNvSpPr>
                    <a:spLocks noChangeArrowheads="1"/>
                  </p:cNvSpPr>
                  <p:nvPr/>
                </p:nvSpPr>
                <p:spPr bwMode="auto">
                  <a:xfrm rot="10800000">
                    <a:off x="3660774" y="2546350"/>
                    <a:ext cx="989014" cy="987427"/>
                  </a:xfrm>
                  <a:prstGeom prst="ellipse">
                    <a:avLst/>
                  </a:prstGeom>
                  <a:solidFill>
                    <a:srgbClr val="E7E6E6"/>
                  </a:solidFill>
                  <a:ln>
                    <a:noFill/>
                  </a:ln>
                  <a:effectLst>
                    <a:outerShdw blurRad="127000" dist="63500" dir="2700000" algn="tl" rotWithShape="0">
                      <a:prstClr val="black">
                        <a:alpha val="50000"/>
                      </a:prstClr>
                    </a:outerShd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grpSp>
          <p:grpSp>
            <p:nvGrpSpPr>
              <p:cNvPr id="264" name="Google Shape;3001;p55">
                <a:extLst>
                  <a:ext uri="{FF2B5EF4-FFF2-40B4-BE49-F238E27FC236}">
                    <a16:creationId xmlns:a16="http://schemas.microsoft.com/office/drawing/2014/main" id="{3FF178E1-99AA-4F91-B617-E174E171AFFD}"/>
                  </a:ext>
                </a:extLst>
              </p:cNvPr>
              <p:cNvGrpSpPr/>
              <p:nvPr/>
            </p:nvGrpSpPr>
            <p:grpSpPr>
              <a:xfrm>
                <a:off x="1763000" y="3258341"/>
                <a:ext cx="236583" cy="255360"/>
                <a:chOff x="2662884" y="1513044"/>
                <a:chExt cx="322914" cy="348543"/>
              </a:xfrm>
              <a:solidFill>
                <a:srgbClr val="174489"/>
              </a:solidFill>
            </p:grpSpPr>
            <p:sp>
              <p:nvSpPr>
                <p:cNvPr id="265" name="Google Shape;3002;p55">
                  <a:extLst>
                    <a:ext uri="{FF2B5EF4-FFF2-40B4-BE49-F238E27FC236}">
                      <a16:creationId xmlns:a16="http://schemas.microsoft.com/office/drawing/2014/main" id="{3A1929DA-07EA-4176-84FF-492AF1683801}"/>
                    </a:ext>
                  </a:extLst>
                </p:cNvPr>
                <p:cNvSpPr/>
                <p:nvPr/>
              </p:nvSpPr>
              <p:spPr>
                <a:xfrm>
                  <a:off x="2662884" y="1513044"/>
                  <a:ext cx="260663" cy="348543"/>
                </a:xfrm>
                <a:custGeom>
                  <a:avLst/>
                  <a:gdLst/>
                  <a:ahLst/>
                  <a:cxnLst/>
                  <a:rect l="l" t="t" r="r" b="b"/>
                  <a:pathLst>
                    <a:path w="8228" h="11002" extrusionOk="0">
                      <a:moveTo>
                        <a:pt x="5692" y="0"/>
                      </a:moveTo>
                      <a:cubicBezTo>
                        <a:pt x="5597" y="0"/>
                        <a:pt x="5525" y="72"/>
                        <a:pt x="5525" y="167"/>
                      </a:cubicBezTo>
                      <a:cubicBezTo>
                        <a:pt x="5525" y="250"/>
                        <a:pt x="5597" y="322"/>
                        <a:pt x="5692" y="322"/>
                      </a:cubicBezTo>
                      <a:lnTo>
                        <a:pt x="7907" y="322"/>
                      </a:lnTo>
                      <a:lnTo>
                        <a:pt x="7907" y="10668"/>
                      </a:lnTo>
                      <a:lnTo>
                        <a:pt x="334" y="10668"/>
                      </a:lnTo>
                      <a:lnTo>
                        <a:pt x="334" y="9406"/>
                      </a:lnTo>
                      <a:cubicBezTo>
                        <a:pt x="334" y="9311"/>
                        <a:pt x="251" y="9240"/>
                        <a:pt x="167" y="9240"/>
                      </a:cubicBezTo>
                      <a:cubicBezTo>
                        <a:pt x="72" y="9240"/>
                        <a:pt x="1" y="9311"/>
                        <a:pt x="1" y="9406"/>
                      </a:cubicBezTo>
                      <a:lnTo>
                        <a:pt x="1" y="10835"/>
                      </a:lnTo>
                      <a:cubicBezTo>
                        <a:pt x="1" y="10918"/>
                        <a:pt x="72" y="11002"/>
                        <a:pt x="167" y="11002"/>
                      </a:cubicBezTo>
                      <a:lnTo>
                        <a:pt x="8049" y="11002"/>
                      </a:lnTo>
                      <a:cubicBezTo>
                        <a:pt x="8145" y="11002"/>
                        <a:pt x="8216" y="10918"/>
                        <a:pt x="8216" y="10835"/>
                      </a:cubicBezTo>
                      <a:lnTo>
                        <a:pt x="8216" y="179"/>
                      </a:lnTo>
                      <a:cubicBezTo>
                        <a:pt x="8228" y="60"/>
                        <a:pt x="8157" y="0"/>
                        <a:pt x="8073" y="0"/>
                      </a:cubicBezTo>
                      <a:close/>
                    </a:path>
                  </a:pathLst>
                </a:custGeom>
                <a:grpFill/>
                <a:ln>
                  <a:noFill/>
                </a:ln>
              </p:spPr>
              <p:txBody>
                <a:bodyPr spcFirstLastPara="1" wrap="square" lIns="91425" tIns="91425" rIns="91425" bIns="91425" anchor="ctr" anchorCtr="0">
                  <a:noAutofit/>
                </a:bodyPr>
                <a:lstStyle/>
                <a:p>
                  <a:endParaRPr/>
                </a:p>
              </p:txBody>
            </p:sp>
            <p:sp>
              <p:nvSpPr>
                <p:cNvPr id="266" name="Google Shape;3003;p55">
                  <a:extLst>
                    <a:ext uri="{FF2B5EF4-FFF2-40B4-BE49-F238E27FC236}">
                      <a16:creationId xmlns:a16="http://schemas.microsoft.com/office/drawing/2014/main" id="{6FEF5A78-FD50-4C12-AAA8-9C36D5D8243D}"/>
                    </a:ext>
                  </a:extLst>
                </p:cNvPr>
                <p:cNvSpPr/>
                <p:nvPr/>
              </p:nvSpPr>
              <p:spPr>
                <a:xfrm>
                  <a:off x="2663264" y="1513044"/>
                  <a:ext cx="165243" cy="282554"/>
                </a:xfrm>
                <a:custGeom>
                  <a:avLst/>
                  <a:gdLst/>
                  <a:ahLst/>
                  <a:cxnLst/>
                  <a:rect l="l" t="t" r="r" b="b"/>
                  <a:pathLst>
                    <a:path w="5216" h="8919" extrusionOk="0">
                      <a:moveTo>
                        <a:pt x="2358" y="548"/>
                      </a:moveTo>
                      <a:lnTo>
                        <a:pt x="2358" y="2346"/>
                      </a:lnTo>
                      <a:lnTo>
                        <a:pt x="560" y="2346"/>
                      </a:lnTo>
                      <a:lnTo>
                        <a:pt x="2358" y="548"/>
                      </a:lnTo>
                      <a:close/>
                      <a:moveTo>
                        <a:pt x="2537" y="0"/>
                      </a:moveTo>
                      <a:cubicBezTo>
                        <a:pt x="2418" y="0"/>
                        <a:pt x="2299" y="167"/>
                        <a:pt x="2227" y="238"/>
                      </a:cubicBezTo>
                      <a:lnTo>
                        <a:pt x="108" y="2346"/>
                      </a:lnTo>
                      <a:cubicBezTo>
                        <a:pt x="60" y="2393"/>
                        <a:pt x="1" y="2441"/>
                        <a:pt x="1" y="2513"/>
                      </a:cubicBezTo>
                      <a:lnTo>
                        <a:pt x="1" y="8751"/>
                      </a:lnTo>
                      <a:cubicBezTo>
                        <a:pt x="1" y="8835"/>
                        <a:pt x="72" y="8918"/>
                        <a:pt x="167" y="8918"/>
                      </a:cubicBezTo>
                      <a:cubicBezTo>
                        <a:pt x="263" y="8918"/>
                        <a:pt x="334" y="8835"/>
                        <a:pt x="334" y="8751"/>
                      </a:cubicBezTo>
                      <a:lnTo>
                        <a:pt x="334" y="2667"/>
                      </a:lnTo>
                      <a:lnTo>
                        <a:pt x="2525" y="2667"/>
                      </a:lnTo>
                      <a:cubicBezTo>
                        <a:pt x="2608" y="2667"/>
                        <a:pt x="2680" y="2584"/>
                        <a:pt x="2680" y="2501"/>
                      </a:cubicBezTo>
                      <a:lnTo>
                        <a:pt x="2680" y="310"/>
                      </a:lnTo>
                      <a:lnTo>
                        <a:pt x="5049" y="310"/>
                      </a:lnTo>
                      <a:cubicBezTo>
                        <a:pt x="5144" y="310"/>
                        <a:pt x="5216" y="238"/>
                        <a:pt x="5216" y="143"/>
                      </a:cubicBezTo>
                      <a:cubicBezTo>
                        <a:pt x="5216" y="60"/>
                        <a:pt x="5132" y="0"/>
                        <a:pt x="5049" y="0"/>
                      </a:cubicBezTo>
                      <a:close/>
                    </a:path>
                  </a:pathLst>
                </a:custGeom>
                <a:grpFill/>
                <a:ln>
                  <a:noFill/>
                </a:ln>
              </p:spPr>
              <p:txBody>
                <a:bodyPr spcFirstLastPara="1" wrap="square" lIns="91425" tIns="91425" rIns="91425" bIns="91425" anchor="ctr" anchorCtr="0">
                  <a:noAutofit/>
                </a:bodyPr>
                <a:lstStyle/>
                <a:p>
                  <a:endParaRPr/>
                </a:p>
              </p:txBody>
            </p:sp>
            <p:sp>
              <p:nvSpPr>
                <p:cNvPr id="267" name="Google Shape;3004;p55">
                  <a:extLst>
                    <a:ext uri="{FF2B5EF4-FFF2-40B4-BE49-F238E27FC236}">
                      <a16:creationId xmlns:a16="http://schemas.microsoft.com/office/drawing/2014/main" id="{AFDCF0AA-CB03-4605-BFD4-C3DCC858270C}"/>
                    </a:ext>
                  </a:extLst>
                </p:cNvPr>
                <p:cNvSpPr/>
                <p:nvPr/>
              </p:nvSpPr>
              <p:spPr>
                <a:xfrm>
                  <a:off x="2717596" y="1747634"/>
                  <a:ext cx="152412" cy="10613"/>
                </a:xfrm>
                <a:custGeom>
                  <a:avLst/>
                  <a:gdLst/>
                  <a:ahLst/>
                  <a:cxnLst/>
                  <a:rect l="l" t="t" r="r" b="b"/>
                  <a:pathLst>
                    <a:path w="4811" h="335" extrusionOk="0">
                      <a:moveTo>
                        <a:pt x="167" y="1"/>
                      </a:moveTo>
                      <a:cubicBezTo>
                        <a:pt x="72" y="1"/>
                        <a:pt x="0" y="84"/>
                        <a:pt x="0" y="168"/>
                      </a:cubicBezTo>
                      <a:cubicBezTo>
                        <a:pt x="0" y="263"/>
                        <a:pt x="72" y="334"/>
                        <a:pt x="167" y="334"/>
                      </a:cubicBezTo>
                      <a:lnTo>
                        <a:pt x="4644" y="334"/>
                      </a:lnTo>
                      <a:cubicBezTo>
                        <a:pt x="4739" y="334"/>
                        <a:pt x="4810" y="263"/>
                        <a:pt x="4810" y="168"/>
                      </a:cubicBezTo>
                      <a:cubicBezTo>
                        <a:pt x="4798" y="84"/>
                        <a:pt x="4739" y="1"/>
                        <a:pt x="4644" y="1"/>
                      </a:cubicBezTo>
                      <a:close/>
                    </a:path>
                  </a:pathLst>
                </a:custGeom>
                <a:grpFill/>
                <a:ln>
                  <a:noFill/>
                </a:ln>
              </p:spPr>
              <p:txBody>
                <a:bodyPr spcFirstLastPara="1" wrap="square" lIns="91425" tIns="91425" rIns="91425" bIns="91425" anchor="ctr" anchorCtr="0">
                  <a:noAutofit/>
                </a:bodyPr>
                <a:lstStyle/>
                <a:p>
                  <a:endParaRPr/>
                </a:p>
              </p:txBody>
            </p:sp>
            <p:sp>
              <p:nvSpPr>
                <p:cNvPr id="268" name="Google Shape;3005;p55">
                  <a:extLst>
                    <a:ext uri="{FF2B5EF4-FFF2-40B4-BE49-F238E27FC236}">
                      <a16:creationId xmlns:a16="http://schemas.microsoft.com/office/drawing/2014/main" id="{418497A5-D802-4108-BF73-A8565438A658}"/>
                    </a:ext>
                  </a:extLst>
                </p:cNvPr>
                <p:cNvSpPr/>
                <p:nvPr/>
              </p:nvSpPr>
              <p:spPr>
                <a:xfrm>
                  <a:off x="2788876" y="1809886"/>
                  <a:ext cx="81132" cy="10581"/>
                </a:xfrm>
                <a:custGeom>
                  <a:avLst/>
                  <a:gdLst/>
                  <a:ahLst/>
                  <a:cxnLst/>
                  <a:rect l="l" t="t" r="r" b="b"/>
                  <a:pathLst>
                    <a:path w="2561" h="334" extrusionOk="0">
                      <a:moveTo>
                        <a:pt x="167" y="1"/>
                      </a:moveTo>
                      <a:cubicBezTo>
                        <a:pt x="72" y="1"/>
                        <a:pt x="0" y="84"/>
                        <a:pt x="0" y="167"/>
                      </a:cubicBezTo>
                      <a:cubicBezTo>
                        <a:pt x="0" y="262"/>
                        <a:pt x="72" y="334"/>
                        <a:pt x="167" y="334"/>
                      </a:cubicBezTo>
                      <a:lnTo>
                        <a:pt x="2394" y="334"/>
                      </a:lnTo>
                      <a:cubicBezTo>
                        <a:pt x="2489" y="334"/>
                        <a:pt x="2560" y="262"/>
                        <a:pt x="2560" y="167"/>
                      </a:cubicBezTo>
                      <a:cubicBezTo>
                        <a:pt x="2560" y="84"/>
                        <a:pt x="2489" y="1"/>
                        <a:pt x="2394" y="1"/>
                      </a:cubicBezTo>
                      <a:close/>
                    </a:path>
                  </a:pathLst>
                </a:custGeom>
                <a:grpFill/>
                <a:ln>
                  <a:noFill/>
                </a:ln>
              </p:spPr>
              <p:txBody>
                <a:bodyPr spcFirstLastPara="1" wrap="square" lIns="91425" tIns="91425" rIns="91425" bIns="91425" anchor="ctr" anchorCtr="0">
                  <a:noAutofit/>
                </a:bodyPr>
                <a:lstStyle/>
                <a:p>
                  <a:endParaRPr/>
                </a:p>
              </p:txBody>
            </p:sp>
            <p:sp>
              <p:nvSpPr>
                <p:cNvPr id="269" name="Google Shape;3006;p55">
                  <a:extLst>
                    <a:ext uri="{FF2B5EF4-FFF2-40B4-BE49-F238E27FC236}">
                      <a16:creationId xmlns:a16="http://schemas.microsoft.com/office/drawing/2014/main" id="{71E779A7-0498-419F-8A3C-49847711BFB7}"/>
                    </a:ext>
                  </a:extLst>
                </p:cNvPr>
                <p:cNvSpPr/>
                <p:nvPr/>
              </p:nvSpPr>
              <p:spPr>
                <a:xfrm>
                  <a:off x="2717596" y="1722385"/>
                  <a:ext cx="152412" cy="10201"/>
                </a:xfrm>
                <a:custGeom>
                  <a:avLst/>
                  <a:gdLst/>
                  <a:ahLst/>
                  <a:cxnLst/>
                  <a:rect l="l" t="t" r="r" b="b"/>
                  <a:pathLst>
                    <a:path w="4811" h="322" extrusionOk="0">
                      <a:moveTo>
                        <a:pt x="167" y="0"/>
                      </a:moveTo>
                      <a:cubicBezTo>
                        <a:pt x="72" y="0"/>
                        <a:pt x="0" y="72"/>
                        <a:pt x="0" y="167"/>
                      </a:cubicBezTo>
                      <a:cubicBezTo>
                        <a:pt x="0" y="250"/>
                        <a:pt x="72" y="322"/>
                        <a:pt x="167" y="322"/>
                      </a:cubicBezTo>
                      <a:lnTo>
                        <a:pt x="4644" y="322"/>
                      </a:lnTo>
                      <a:cubicBezTo>
                        <a:pt x="4739" y="322"/>
                        <a:pt x="4810" y="250"/>
                        <a:pt x="4810" y="167"/>
                      </a:cubicBezTo>
                      <a:cubicBezTo>
                        <a:pt x="4798" y="60"/>
                        <a:pt x="4739" y="0"/>
                        <a:pt x="4644" y="0"/>
                      </a:cubicBezTo>
                      <a:close/>
                    </a:path>
                  </a:pathLst>
                </a:custGeom>
                <a:grpFill/>
                <a:ln>
                  <a:noFill/>
                </a:ln>
              </p:spPr>
              <p:txBody>
                <a:bodyPr spcFirstLastPara="1" wrap="square" lIns="91425" tIns="91425" rIns="91425" bIns="91425" anchor="ctr" anchorCtr="0">
                  <a:noAutofit/>
                </a:bodyPr>
                <a:lstStyle/>
                <a:p>
                  <a:endParaRPr/>
                </a:p>
              </p:txBody>
            </p:sp>
            <p:sp>
              <p:nvSpPr>
                <p:cNvPr id="270" name="Google Shape;3007;p55">
                  <a:extLst>
                    <a:ext uri="{FF2B5EF4-FFF2-40B4-BE49-F238E27FC236}">
                      <a16:creationId xmlns:a16="http://schemas.microsoft.com/office/drawing/2014/main" id="{D0ABC8EA-11E0-47BB-A24B-DF9B4E265546}"/>
                    </a:ext>
                  </a:extLst>
                </p:cNvPr>
                <p:cNvSpPr/>
                <p:nvPr/>
              </p:nvSpPr>
              <p:spPr>
                <a:xfrm>
                  <a:off x="2717596" y="1696344"/>
                  <a:ext cx="152412" cy="10613"/>
                </a:xfrm>
                <a:custGeom>
                  <a:avLst/>
                  <a:gdLst/>
                  <a:ahLst/>
                  <a:cxnLst/>
                  <a:rect l="l" t="t" r="r" b="b"/>
                  <a:pathLst>
                    <a:path w="4811" h="335" extrusionOk="0">
                      <a:moveTo>
                        <a:pt x="167" y="1"/>
                      </a:moveTo>
                      <a:cubicBezTo>
                        <a:pt x="72" y="1"/>
                        <a:pt x="0" y="72"/>
                        <a:pt x="0" y="167"/>
                      </a:cubicBezTo>
                      <a:cubicBezTo>
                        <a:pt x="0" y="251"/>
                        <a:pt x="72" y="334"/>
                        <a:pt x="167" y="334"/>
                      </a:cubicBezTo>
                      <a:lnTo>
                        <a:pt x="4644" y="334"/>
                      </a:lnTo>
                      <a:cubicBezTo>
                        <a:pt x="4739" y="334"/>
                        <a:pt x="4810" y="251"/>
                        <a:pt x="4810" y="167"/>
                      </a:cubicBezTo>
                      <a:cubicBezTo>
                        <a:pt x="4798" y="72"/>
                        <a:pt x="4739" y="1"/>
                        <a:pt x="4644" y="1"/>
                      </a:cubicBezTo>
                      <a:close/>
                    </a:path>
                  </a:pathLst>
                </a:custGeom>
                <a:grpFill/>
                <a:ln>
                  <a:noFill/>
                </a:ln>
              </p:spPr>
              <p:txBody>
                <a:bodyPr spcFirstLastPara="1" wrap="square" lIns="91425" tIns="91425" rIns="91425" bIns="91425" anchor="ctr" anchorCtr="0">
                  <a:noAutofit/>
                </a:bodyPr>
                <a:lstStyle/>
                <a:p>
                  <a:endParaRPr/>
                </a:p>
              </p:txBody>
            </p:sp>
            <p:sp>
              <p:nvSpPr>
                <p:cNvPr id="272" name="Google Shape;3008;p55">
                  <a:extLst>
                    <a:ext uri="{FF2B5EF4-FFF2-40B4-BE49-F238E27FC236}">
                      <a16:creationId xmlns:a16="http://schemas.microsoft.com/office/drawing/2014/main" id="{79AF9043-2CB2-4CAE-9D84-6AAA2AF467EF}"/>
                    </a:ext>
                  </a:extLst>
                </p:cNvPr>
                <p:cNvSpPr/>
                <p:nvPr/>
              </p:nvSpPr>
              <p:spPr>
                <a:xfrm>
                  <a:off x="2717596" y="1670335"/>
                  <a:ext cx="152412" cy="10581"/>
                </a:xfrm>
                <a:custGeom>
                  <a:avLst/>
                  <a:gdLst/>
                  <a:ahLst/>
                  <a:cxnLst/>
                  <a:rect l="l" t="t" r="r" b="b"/>
                  <a:pathLst>
                    <a:path w="4811" h="334" extrusionOk="0">
                      <a:moveTo>
                        <a:pt x="167" y="0"/>
                      </a:moveTo>
                      <a:cubicBezTo>
                        <a:pt x="72" y="0"/>
                        <a:pt x="0" y="84"/>
                        <a:pt x="0" y="167"/>
                      </a:cubicBezTo>
                      <a:cubicBezTo>
                        <a:pt x="0" y="262"/>
                        <a:pt x="72" y="334"/>
                        <a:pt x="167" y="334"/>
                      </a:cubicBezTo>
                      <a:lnTo>
                        <a:pt x="4644" y="334"/>
                      </a:lnTo>
                      <a:cubicBezTo>
                        <a:pt x="4739" y="334"/>
                        <a:pt x="4810" y="262"/>
                        <a:pt x="4810" y="167"/>
                      </a:cubicBezTo>
                      <a:cubicBezTo>
                        <a:pt x="4810" y="84"/>
                        <a:pt x="4739" y="0"/>
                        <a:pt x="4644" y="0"/>
                      </a:cubicBezTo>
                      <a:close/>
                    </a:path>
                  </a:pathLst>
                </a:custGeom>
                <a:grpFill/>
                <a:ln>
                  <a:noFill/>
                </a:ln>
              </p:spPr>
              <p:txBody>
                <a:bodyPr spcFirstLastPara="1" wrap="square" lIns="91425" tIns="91425" rIns="91425" bIns="91425" anchor="ctr" anchorCtr="0">
                  <a:noAutofit/>
                </a:bodyPr>
                <a:lstStyle/>
                <a:p>
                  <a:endParaRPr/>
                </a:p>
              </p:txBody>
            </p:sp>
            <p:sp>
              <p:nvSpPr>
                <p:cNvPr id="280" name="Google Shape;3009;p55">
                  <a:extLst>
                    <a:ext uri="{FF2B5EF4-FFF2-40B4-BE49-F238E27FC236}">
                      <a16:creationId xmlns:a16="http://schemas.microsoft.com/office/drawing/2014/main" id="{26495637-DABA-41A5-BBB5-E5E62B513572}"/>
                    </a:ext>
                  </a:extLst>
                </p:cNvPr>
                <p:cNvSpPr/>
                <p:nvPr/>
              </p:nvSpPr>
              <p:spPr>
                <a:xfrm>
                  <a:off x="2778326" y="1594145"/>
                  <a:ext cx="31332" cy="61111"/>
                </a:xfrm>
                <a:custGeom>
                  <a:avLst/>
                  <a:gdLst/>
                  <a:ahLst/>
                  <a:cxnLst/>
                  <a:rect l="l" t="t" r="r" b="b"/>
                  <a:pathLst>
                    <a:path w="989" h="1929" extrusionOk="0">
                      <a:moveTo>
                        <a:pt x="179" y="0"/>
                      </a:moveTo>
                      <a:cubicBezTo>
                        <a:pt x="95" y="0"/>
                        <a:pt x="12" y="72"/>
                        <a:pt x="12" y="167"/>
                      </a:cubicBezTo>
                      <a:cubicBezTo>
                        <a:pt x="12" y="250"/>
                        <a:pt x="95" y="322"/>
                        <a:pt x="179" y="322"/>
                      </a:cubicBezTo>
                      <a:lnTo>
                        <a:pt x="333" y="322"/>
                      </a:lnTo>
                      <a:lnTo>
                        <a:pt x="333" y="1607"/>
                      </a:lnTo>
                      <a:lnTo>
                        <a:pt x="167" y="1607"/>
                      </a:lnTo>
                      <a:cubicBezTo>
                        <a:pt x="72" y="1607"/>
                        <a:pt x="0" y="1679"/>
                        <a:pt x="0" y="1774"/>
                      </a:cubicBezTo>
                      <a:cubicBezTo>
                        <a:pt x="0" y="1858"/>
                        <a:pt x="72" y="1929"/>
                        <a:pt x="167" y="1929"/>
                      </a:cubicBezTo>
                      <a:lnTo>
                        <a:pt x="822" y="1929"/>
                      </a:lnTo>
                      <a:cubicBezTo>
                        <a:pt x="905" y="1929"/>
                        <a:pt x="988" y="1858"/>
                        <a:pt x="988" y="1774"/>
                      </a:cubicBezTo>
                      <a:cubicBezTo>
                        <a:pt x="976" y="1679"/>
                        <a:pt x="893" y="1607"/>
                        <a:pt x="810" y="1607"/>
                      </a:cubicBezTo>
                      <a:lnTo>
                        <a:pt x="643" y="1607"/>
                      </a:lnTo>
                      <a:lnTo>
                        <a:pt x="643" y="167"/>
                      </a:lnTo>
                      <a:cubicBezTo>
                        <a:pt x="643" y="72"/>
                        <a:pt x="572" y="0"/>
                        <a:pt x="476" y="0"/>
                      </a:cubicBezTo>
                      <a:close/>
                    </a:path>
                  </a:pathLst>
                </a:custGeom>
                <a:grpFill/>
                <a:ln>
                  <a:noFill/>
                </a:ln>
              </p:spPr>
              <p:txBody>
                <a:bodyPr spcFirstLastPara="1" wrap="square" lIns="91425" tIns="91425" rIns="91425" bIns="91425" anchor="ctr" anchorCtr="0">
                  <a:noAutofit/>
                </a:bodyPr>
                <a:lstStyle/>
                <a:p>
                  <a:endParaRPr/>
                </a:p>
              </p:txBody>
            </p:sp>
            <p:sp>
              <p:nvSpPr>
                <p:cNvPr id="281" name="Google Shape;3010;p55">
                  <a:extLst>
                    <a:ext uri="{FF2B5EF4-FFF2-40B4-BE49-F238E27FC236}">
                      <a16:creationId xmlns:a16="http://schemas.microsoft.com/office/drawing/2014/main" id="{8C15E087-6C1B-4E7B-ACA2-251C09A0865C}"/>
                    </a:ext>
                  </a:extLst>
                </p:cNvPr>
                <p:cNvSpPr/>
                <p:nvPr/>
              </p:nvSpPr>
              <p:spPr>
                <a:xfrm>
                  <a:off x="2782476" y="1575263"/>
                  <a:ext cx="16220" cy="15872"/>
                </a:xfrm>
                <a:custGeom>
                  <a:avLst/>
                  <a:gdLst/>
                  <a:ahLst/>
                  <a:cxnLst/>
                  <a:rect l="l" t="t" r="r" b="b"/>
                  <a:pathLst>
                    <a:path w="512" h="501" extrusionOk="0">
                      <a:moveTo>
                        <a:pt x="262" y="1"/>
                      </a:moveTo>
                      <a:cubicBezTo>
                        <a:pt x="131" y="1"/>
                        <a:pt x="0" y="120"/>
                        <a:pt x="0" y="251"/>
                      </a:cubicBezTo>
                      <a:cubicBezTo>
                        <a:pt x="0" y="382"/>
                        <a:pt x="119" y="501"/>
                        <a:pt x="262" y="501"/>
                      </a:cubicBezTo>
                      <a:cubicBezTo>
                        <a:pt x="393" y="501"/>
                        <a:pt x="512" y="382"/>
                        <a:pt x="512" y="251"/>
                      </a:cubicBezTo>
                      <a:cubicBezTo>
                        <a:pt x="512" y="120"/>
                        <a:pt x="393" y="1"/>
                        <a:pt x="262" y="1"/>
                      </a:cubicBezTo>
                      <a:close/>
                    </a:path>
                  </a:pathLst>
                </a:custGeom>
                <a:grpFill/>
                <a:ln>
                  <a:noFill/>
                </a:ln>
              </p:spPr>
              <p:txBody>
                <a:bodyPr spcFirstLastPara="1" wrap="square" lIns="91425" tIns="91425" rIns="91425" bIns="91425" anchor="ctr" anchorCtr="0">
                  <a:noAutofit/>
                </a:bodyPr>
                <a:lstStyle/>
                <a:p>
                  <a:endParaRPr/>
                </a:p>
              </p:txBody>
            </p:sp>
            <p:sp>
              <p:nvSpPr>
                <p:cNvPr id="282" name="Google Shape;3011;p55">
                  <a:extLst>
                    <a:ext uri="{FF2B5EF4-FFF2-40B4-BE49-F238E27FC236}">
                      <a16:creationId xmlns:a16="http://schemas.microsoft.com/office/drawing/2014/main" id="{49F3C170-8081-4A05-B31B-31C2FE511615}"/>
                    </a:ext>
                  </a:extLst>
                </p:cNvPr>
                <p:cNvSpPr/>
                <p:nvPr/>
              </p:nvSpPr>
              <p:spPr>
                <a:xfrm>
                  <a:off x="2943537" y="1513044"/>
                  <a:ext cx="42261" cy="347783"/>
                </a:xfrm>
                <a:custGeom>
                  <a:avLst/>
                  <a:gdLst/>
                  <a:ahLst/>
                  <a:cxnLst/>
                  <a:rect l="l" t="t" r="r" b="b"/>
                  <a:pathLst>
                    <a:path w="1334" h="10978" extrusionOk="0">
                      <a:moveTo>
                        <a:pt x="667" y="310"/>
                      </a:moveTo>
                      <a:cubicBezTo>
                        <a:pt x="857" y="310"/>
                        <a:pt x="1012" y="477"/>
                        <a:pt x="1012" y="655"/>
                      </a:cubicBezTo>
                      <a:lnTo>
                        <a:pt x="1012" y="1477"/>
                      </a:lnTo>
                      <a:lnTo>
                        <a:pt x="321" y="1477"/>
                      </a:lnTo>
                      <a:lnTo>
                        <a:pt x="321" y="655"/>
                      </a:lnTo>
                      <a:cubicBezTo>
                        <a:pt x="321" y="465"/>
                        <a:pt x="488" y="310"/>
                        <a:pt x="667" y="310"/>
                      </a:cubicBezTo>
                      <a:close/>
                      <a:moveTo>
                        <a:pt x="1024" y="1798"/>
                      </a:moveTo>
                      <a:lnTo>
                        <a:pt x="1024" y="2453"/>
                      </a:lnTo>
                      <a:lnTo>
                        <a:pt x="321" y="2453"/>
                      </a:lnTo>
                      <a:lnTo>
                        <a:pt x="321" y="1798"/>
                      </a:lnTo>
                      <a:close/>
                      <a:moveTo>
                        <a:pt x="964" y="9597"/>
                      </a:moveTo>
                      <a:lnTo>
                        <a:pt x="833" y="10525"/>
                      </a:lnTo>
                      <a:cubicBezTo>
                        <a:pt x="810" y="10597"/>
                        <a:pt x="750" y="10656"/>
                        <a:pt x="679" y="10656"/>
                      </a:cubicBezTo>
                      <a:cubicBezTo>
                        <a:pt x="607" y="10656"/>
                        <a:pt x="536" y="10597"/>
                        <a:pt x="536" y="10525"/>
                      </a:cubicBezTo>
                      <a:lnTo>
                        <a:pt x="417" y="9597"/>
                      </a:lnTo>
                      <a:close/>
                      <a:moveTo>
                        <a:pt x="667" y="0"/>
                      </a:moveTo>
                      <a:cubicBezTo>
                        <a:pt x="298" y="0"/>
                        <a:pt x="0" y="298"/>
                        <a:pt x="0" y="667"/>
                      </a:cubicBezTo>
                      <a:lnTo>
                        <a:pt x="0" y="1631"/>
                      </a:lnTo>
                      <a:lnTo>
                        <a:pt x="0" y="2822"/>
                      </a:lnTo>
                      <a:lnTo>
                        <a:pt x="0" y="4810"/>
                      </a:lnTo>
                      <a:cubicBezTo>
                        <a:pt x="0" y="4894"/>
                        <a:pt x="71" y="4965"/>
                        <a:pt x="167" y="4965"/>
                      </a:cubicBezTo>
                      <a:cubicBezTo>
                        <a:pt x="250" y="4965"/>
                        <a:pt x="321" y="4894"/>
                        <a:pt x="321" y="4810"/>
                      </a:cubicBezTo>
                      <a:lnTo>
                        <a:pt x="321" y="2763"/>
                      </a:lnTo>
                      <a:lnTo>
                        <a:pt x="1024" y="2763"/>
                      </a:lnTo>
                      <a:lnTo>
                        <a:pt x="1024" y="9275"/>
                      </a:lnTo>
                      <a:lnTo>
                        <a:pt x="321" y="9275"/>
                      </a:lnTo>
                      <a:lnTo>
                        <a:pt x="321" y="5430"/>
                      </a:lnTo>
                      <a:cubicBezTo>
                        <a:pt x="321" y="5346"/>
                        <a:pt x="250" y="5263"/>
                        <a:pt x="167" y="5263"/>
                      </a:cubicBezTo>
                      <a:cubicBezTo>
                        <a:pt x="71" y="5263"/>
                        <a:pt x="0" y="5346"/>
                        <a:pt x="0" y="5430"/>
                      </a:cubicBezTo>
                      <a:lnTo>
                        <a:pt x="0" y="9430"/>
                      </a:lnTo>
                      <a:cubicBezTo>
                        <a:pt x="0" y="9490"/>
                        <a:pt x="24" y="9537"/>
                        <a:pt x="60" y="9561"/>
                      </a:cubicBezTo>
                      <a:lnTo>
                        <a:pt x="191" y="10561"/>
                      </a:lnTo>
                      <a:cubicBezTo>
                        <a:pt x="226" y="10799"/>
                        <a:pt x="429" y="10978"/>
                        <a:pt x="667" y="10978"/>
                      </a:cubicBezTo>
                      <a:cubicBezTo>
                        <a:pt x="905" y="10978"/>
                        <a:pt x="1119" y="10799"/>
                        <a:pt x="1143" y="10561"/>
                      </a:cubicBezTo>
                      <a:lnTo>
                        <a:pt x="1274" y="9561"/>
                      </a:lnTo>
                      <a:cubicBezTo>
                        <a:pt x="1322" y="9537"/>
                        <a:pt x="1334" y="9490"/>
                        <a:pt x="1334" y="9430"/>
                      </a:cubicBezTo>
                      <a:lnTo>
                        <a:pt x="1334" y="2822"/>
                      </a:lnTo>
                      <a:lnTo>
                        <a:pt x="1334" y="1631"/>
                      </a:lnTo>
                      <a:lnTo>
                        <a:pt x="1334" y="667"/>
                      </a:lnTo>
                      <a:cubicBezTo>
                        <a:pt x="1334" y="298"/>
                        <a:pt x="1036" y="0"/>
                        <a:pt x="667" y="0"/>
                      </a:cubicBezTo>
                      <a:close/>
                    </a:path>
                  </a:pathLst>
                </a:custGeom>
                <a:grpFill/>
                <a:ln>
                  <a:noFill/>
                </a:ln>
              </p:spPr>
              <p:txBody>
                <a:bodyPr spcFirstLastPara="1" wrap="square" lIns="91425" tIns="91425" rIns="91425" bIns="91425" anchor="ctr" anchorCtr="0">
                  <a:noAutofit/>
                </a:bodyPr>
                <a:lstStyle/>
                <a:p>
                  <a:endParaRPr/>
                </a:p>
              </p:txBody>
            </p:sp>
          </p:grpSp>
        </p:grpSp>
      </p:grpSp>
      <p:grpSp>
        <p:nvGrpSpPr>
          <p:cNvPr id="7" name="Group 6">
            <a:extLst>
              <a:ext uri="{FF2B5EF4-FFF2-40B4-BE49-F238E27FC236}">
                <a16:creationId xmlns:a16="http://schemas.microsoft.com/office/drawing/2014/main" id="{B75E8B2F-4F3A-43D6-AC04-1EA5EEE2C577}"/>
              </a:ext>
            </a:extLst>
          </p:cNvPr>
          <p:cNvGrpSpPr/>
          <p:nvPr/>
        </p:nvGrpSpPr>
        <p:grpSpPr>
          <a:xfrm>
            <a:off x="6336313" y="1501149"/>
            <a:ext cx="1246610" cy="2310596"/>
            <a:chOff x="6176467" y="1501149"/>
            <a:chExt cx="1246610" cy="2310596"/>
          </a:xfrm>
        </p:grpSpPr>
        <p:sp>
          <p:nvSpPr>
            <p:cNvPr id="218" name="TextBox 217">
              <a:extLst>
                <a:ext uri="{FF2B5EF4-FFF2-40B4-BE49-F238E27FC236}">
                  <a16:creationId xmlns:a16="http://schemas.microsoft.com/office/drawing/2014/main" id="{DF3079A1-CCBE-411F-A7A3-8B52F473B77F}"/>
                </a:ext>
              </a:extLst>
            </p:cNvPr>
            <p:cNvSpPr txBox="1"/>
            <p:nvPr/>
          </p:nvSpPr>
          <p:spPr>
            <a:xfrm>
              <a:off x="6441338" y="2392190"/>
              <a:ext cx="716868" cy="414729"/>
            </a:xfrm>
            <a:prstGeom prst="rect">
              <a:avLst/>
            </a:prstGeom>
            <a:noFill/>
          </p:spPr>
          <p:txBody>
            <a:bodyPr wrap="square" rtlCol="0">
              <a:spAutoFit/>
            </a:bodyPr>
            <a:lstStyle/>
            <a:p>
              <a:pPr algn="ctr">
                <a:lnSpc>
                  <a:spcPts val="1320"/>
                </a:lnSpc>
              </a:pPr>
              <a:r>
                <a:rPr lang="en-GR" sz="1050" b="1" dirty="0">
                  <a:solidFill>
                    <a:schemeClr val="bg1">
                      <a:lumMod val="50000"/>
                    </a:schemeClr>
                  </a:solidFill>
                  <a:latin typeface="Arial" panose="020B0604020202020204" pitchFamily="34" charset="0"/>
                  <a:cs typeface="Arial" panose="020B0604020202020204" pitchFamily="34" charset="0"/>
                </a:rPr>
                <a:t>MAY</a:t>
              </a:r>
              <a:endParaRPr lang="en-US" sz="1050" b="1" dirty="0">
                <a:solidFill>
                  <a:schemeClr val="bg1">
                    <a:lumMod val="50000"/>
                  </a:schemeClr>
                </a:solidFill>
                <a:latin typeface="Arial" panose="020B0604020202020204" pitchFamily="34" charset="0"/>
                <a:cs typeface="Arial" panose="020B0604020202020204" pitchFamily="34" charset="0"/>
              </a:endParaRPr>
            </a:p>
            <a:p>
              <a:pPr algn="ctr">
                <a:lnSpc>
                  <a:spcPts val="1320"/>
                </a:lnSpc>
              </a:pPr>
              <a:r>
                <a:rPr lang="en-US" sz="1050" b="1" dirty="0">
                  <a:solidFill>
                    <a:schemeClr val="bg1">
                      <a:lumMod val="50000"/>
                    </a:schemeClr>
                  </a:solidFill>
                  <a:latin typeface="Arial" panose="020B0604020202020204" pitchFamily="34" charset="0"/>
                  <a:cs typeface="Arial" panose="020B0604020202020204" pitchFamily="34" charset="0"/>
                </a:rPr>
                <a:t>2021</a:t>
              </a:r>
              <a:endParaRPr lang="en-GR" sz="1050" b="1" dirty="0">
                <a:solidFill>
                  <a:schemeClr val="bg1">
                    <a:lumMod val="50000"/>
                  </a:schemeClr>
                </a:solidFill>
                <a:latin typeface="Arial" panose="020B0604020202020204" pitchFamily="34" charset="0"/>
                <a:cs typeface="Arial" panose="020B0604020202020204" pitchFamily="34" charset="0"/>
              </a:endParaRPr>
            </a:p>
          </p:txBody>
        </p:sp>
        <p:sp>
          <p:nvSpPr>
            <p:cNvPr id="224" name="Rechteck 130">
              <a:extLst>
                <a:ext uri="{FF2B5EF4-FFF2-40B4-BE49-F238E27FC236}">
                  <a16:creationId xmlns:a16="http://schemas.microsoft.com/office/drawing/2014/main" id="{88E7F874-FE03-408F-AF7E-48107C31CE1F}"/>
                </a:ext>
              </a:extLst>
            </p:cNvPr>
            <p:cNvSpPr/>
            <p:nvPr/>
          </p:nvSpPr>
          <p:spPr bwMode="gray">
            <a:xfrm>
              <a:off x="6176467" y="2795167"/>
              <a:ext cx="1246610" cy="1016578"/>
            </a:xfrm>
            <a:prstGeom prst="rect">
              <a:avLst/>
            </a:prstGeom>
          </p:spPr>
          <p:style>
            <a:lnRef idx="0">
              <a:scrgbClr r="0" g="0" b="0"/>
            </a:lnRef>
            <a:fillRef idx="0">
              <a:scrgbClr r="0" g="0" b="0"/>
            </a:fillRef>
            <a:effectRef idx="0">
              <a:scrgbClr r="0" g="0" b="0"/>
            </a:effectRef>
            <a:fontRef idx="major"/>
          </p:style>
          <p:txBody>
            <a:bodyPr wrap="square" lIns="72000" tIns="46800" rIns="72000">
              <a:no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defTabSz="801608"/>
              <a:r>
                <a:rPr lang="en-US" sz="1000" b="1" dirty="0">
                  <a:solidFill>
                    <a:srgbClr val="14438E"/>
                  </a:solidFill>
                  <a:latin typeface="Arial" panose="020B0604020202020204" pitchFamily="34" charset="0"/>
                  <a:cs typeface="Arial" panose="020B0604020202020204" pitchFamily="34" charset="0"/>
                </a:rPr>
                <a:t>CP14 Kick-off</a:t>
              </a:r>
            </a:p>
            <a:p>
              <a:pPr algn="ctr" defTabSz="801608"/>
              <a:r>
                <a:rPr lang="en-US" sz="1000" b="1" dirty="0">
                  <a:solidFill>
                    <a:srgbClr val="14438E"/>
                  </a:solidFill>
                  <a:latin typeface="Arial" panose="020B0604020202020204" pitchFamily="34" charset="0"/>
                  <a:cs typeface="Arial" panose="020B0604020202020204" pitchFamily="34" charset="0"/>
                </a:rPr>
                <a:t>Questionnaires</a:t>
              </a:r>
            </a:p>
            <a:p>
              <a:pPr algn="ctr" defTabSz="801608"/>
              <a:r>
                <a:rPr lang="en-US" sz="900" dirty="0">
                  <a:solidFill>
                    <a:schemeClr val="tx1">
                      <a:lumMod val="65000"/>
                      <a:lumOff val="35000"/>
                    </a:schemeClr>
                  </a:solidFill>
                  <a:latin typeface="Arial" panose="020B0604020202020204" pitchFamily="34" charset="0"/>
                  <a:cs typeface="Arial" panose="020B0604020202020204" pitchFamily="34" charset="0"/>
                </a:rPr>
                <a:t>Questionnaires sent to all IPOs and UAs</a:t>
              </a:r>
            </a:p>
          </p:txBody>
        </p:sp>
        <p:grpSp>
          <p:nvGrpSpPr>
            <p:cNvPr id="325" name="Group 324">
              <a:extLst>
                <a:ext uri="{FF2B5EF4-FFF2-40B4-BE49-F238E27FC236}">
                  <a16:creationId xmlns:a16="http://schemas.microsoft.com/office/drawing/2014/main" id="{A1ECAE2F-F6EB-4FF3-A17E-D152EC5B97FB}"/>
                </a:ext>
              </a:extLst>
            </p:cNvPr>
            <p:cNvGrpSpPr/>
            <p:nvPr/>
          </p:nvGrpSpPr>
          <p:grpSpPr>
            <a:xfrm>
              <a:off x="6505120" y="1501149"/>
              <a:ext cx="589304" cy="852992"/>
              <a:chOff x="6735627" y="1501149"/>
              <a:chExt cx="589304" cy="852992"/>
            </a:xfrm>
          </p:grpSpPr>
          <p:grpSp>
            <p:nvGrpSpPr>
              <p:cNvPr id="326" name="Group 325">
                <a:extLst>
                  <a:ext uri="{FF2B5EF4-FFF2-40B4-BE49-F238E27FC236}">
                    <a16:creationId xmlns:a16="http://schemas.microsoft.com/office/drawing/2014/main" id="{CF008617-9EDB-4DDE-8EBA-8FA9906FD66D}"/>
                  </a:ext>
                </a:extLst>
              </p:cNvPr>
              <p:cNvGrpSpPr/>
              <p:nvPr/>
            </p:nvGrpSpPr>
            <p:grpSpPr>
              <a:xfrm>
                <a:off x="6735627" y="1501149"/>
                <a:ext cx="589304" cy="852992"/>
                <a:chOff x="6536105" y="1652970"/>
                <a:chExt cx="589304" cy="852992"/>
              </a:xfrm>
            </p:grpSpPr>
            <p:sp>
              <p:nvSpPr>
                <p:cNvPr id="338" name="Oval 19">
                  <a:extLst>
                    <a:ext uri="{FF2B5EF4-FFF2-40B4-BE49-F238E27FC236}">
                      <a16:creationId xmlns:a16="http://schemas.microsoft.com/office/drawing/2014/main" id="{AEA1A6CD-449E-4C5A-8092-BA7B24C7EF2E}"/>
                    </a:ext>
                  </a:extLst>
                </p:cNvPr>
                <p:cNvSpPr>
                  <a:spLocks noChangeArrowheads="1"/>
                </p:cNvSpPr>
                <p:nvPr/>
              </p:nvSpPr>
              <p:spPr bwMode="auto">
                <a:xfrm>
                  <a:off x="6775822" y="2396758"/>
                  <a:ext cx="109870" cy="109204"/>
                </a:xfrm>
                <a:prstGeom prst="ellipse">
                  <a:avLst/>
                </a:prstGeom>
                <a:noFill/>
                <a:ln w="53975" cap="flat">
                  <a:solidFill>
                    <a:schemeClr val="accent5">
                      <a:lumMod val="75000"/>
                    </a:schemeClr>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nvGrpSpPr>
                <p:cNvPr id="339" name="Group 338">
                  <a:extLst>
                    <a:ext uri="{FF2B5EF4-FFF2-40B4-BE49-F238E27FC236}">
                      <a16:creationId xmlns:a16="http://schemas.microsoft.com/office/drawing/2014/main" id="{B891BBB4-68F6-4B40-B416-1579C4A4D344}"/>
                    </a:ext>
                  </a:extLst>
                </p:cNvPr>
                <p:cNvGrpSpPr>
                  <a:grpSpLocks/>
                </p:cNvGrpSpPr>
                <p:nvPr/>
              </p:nvGrpSpPr>
              <p:grpSpPr bwMode="auto">
                <a:xfrm>
                  <a:off x="6536105" y="1652970"/>
                  <a:ext cx="589304" cy="677200"/>
                  <a:chOff x="9264650" y="2338388"/>
                  <a:chExt cx="1404938" cy="1614488"/>
                </a:xfrm>
              </p:grpSpPr>
              <p:sp>
                <p:nvSpPr>
                  <p:cNvPr id="340" name="Freeform 10">
                    <a:extLst>
                      <a:ext uri="{FF2B5EF4-FFF2-40B4-BE49-F238E27FC236}">
                        <a16:creationId xmlns:a16="http://schemas.microsoft.com/office/drawing/2014/main" id="{59C2B07A-77E9-4EA1-AB7A-63B4D4D60A51}"/>
                      </a:ext>
                    </a:extLst>
                  </p:cNvPr>
                  <p:cNvSpPr>
                    <a:spLocks/>
                  </p:cNvSpPr>
                  <p:nvPr/>
                </p:nvSpPr>
                <p:spPr bwMode="auto">
                  <a:xfrm>
                    <a:off x="9264650" y="2338388"/>
                    <a:ext cx="1404938" cy="1614488"/>
                  </a:xfrm>
                  <a:custGeom>
                    <a:avLst/>
                    <a:gdLst>
                      <a:gd name="T0" fmla="*/ 369 w 369"/>
                      <a:gd name="T1" fmla="*/ 184 h 424"/>
                      <a:gd name="T2" fmla="*/ 185 w 369"/>
                      <a:gd name="T3" fmla="*/ 0 h 424"/>
                      <a:gd name="T4" fmla="*/ 0 w 369"/>
                      <a:gd name="T5" fmla="*/ 184 h 424"/>
                      <a:gd name="T6" fmla="*/ 151 w 369"/>
                      <a:gd name="T7" fmla="*/ 366 h 424"/>
                      <a:gd name="T8" fmla="*/ 185 w 369"/>
                      <a:gd name="T9" fmla="*/ 424 h 424"/>
                      <a:gd name="T10" fmla="*/ 218 w 369"/>
                      <a:gd name="T11" fmla="*/ 366 h 424"/>
                      <a:gd name="T12" fmla="*/ 369 w 369"/>
                      <a:gd name="T13" fmla="*/ 184 h 424"/>
                    </a:gdLst>
                    <a:ahLst/>
                    <a:cxnLst>
                      <a:cxn ang="0">
                        <a:pos x="T0" y="T1"/>
                      </a:cxn>
                      <a:cxn ang="0">
                        <a:pos x="T2" y="T3"/>
                      </a:cxn>
                      <a:cxn ang="0">
                        <a:pos x="T4" y="T5"/>
                      </a:cxn>
                      <a:cxn ang="0">
                        <a:pos x="T6" y="T7"/>
                      </a:cxn>
                      <a:cxn ang="0">
                        <a:pos x="T8" y="T9"/>
                      </a:cxn>
                      <a:cxn ang="0">
                        <a:pos x="T10" y="T11"/>
                      </a:cxn>
                      <a:cxn ang="0">
                        <a:pos x="T12" y="T13"/>
                      </a:cxn>
                    </a:cxnLst>
                    <a:rect l="0" t="0" r="r" b="b"/>
                    <a:pathLst>
                      <a:path w="369" h="424">
                        <a:moveTo>
                          <a:pt x="369" y="184"/>
                        </a:moveTo>
                        <a:cubicBezTo>
                          <a:pt x="369" y="82"/>
                          <a:pt x="287" y="0"/>
                          <a:pt x="185" y="0"/>
                        </a:cubicBezTo>
                        <a:cubicBezTo>
                          <a:pt x="83" y="0"/>
                          <a:pt x="0" y="82"/>
                          <a:pt x="0" y="184"/>
                        </a:cubicBezTo>
                        <a:cubicBezTo>
                          <a:pt x="0" y="275"/>
                          <a:pt x="65" y="350"/>
                          <a:pt x="151" y="366"/>
                        </a:cubicBezTo>
                        <a:cubicBezTo>
                          <a:pt x="185" y="424"/>
                          <a:pt x="185" y="424"/>
                          <a:pt x="185" y="424"/>
                        </a:cubicBezTo>
                        <a:cubicBezTo>
                          <a:pt x="218" y="366"/>
                          <a:pt x="218" y="366"/>
                          <a:pt x="218" y="366"/>
                        </a:cubicBezTo>
                        <a:cubicBezTo>
                          <a:pt x="304" y="350"/>
                          <a:pt x="369" y="275"/>
                          <a:pt x="369" y="184"/>
                        </a:cubicBezTo>
                        <a:close/>
                      </a:path>
                    </a:pathLst>
                  </a:custGeom>
                  <a:solidFill>
                    <a:schemeClr val="accent5">
                      <a:lumMod val="75000"/>
                    </a:schemeClr>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sp>
                <p:nvSpPr>
                  <p:cNvPr id="341" name="Oval 25">
                    <a:extLst>
                      <a:ext uri="{FF2B5EF4-FFF2-40B4-BE49-F238E27FC236}">
                        <a16:creationId xmlns:a16="http://schemas.microsoft.com/office/drawing/2014/main" id="{34145B09-B8F7-4F8F-A6BC-97EAA40F519B}"/>
                      </a:ext>
                    </a:extLst>
                  </p:cNvPr>
                  <p:cNvSpPr>
                    <a:spLocks noChangeArrowheads="1"/>
                  </p:cNvSpPr>
                  <p:nvPr/>
                </p:nvSpPr>
                <p:spPr bwMode="auto">
                  <a:xfrm>
                    <a:off x="9474200" y="2546350"/>
                    <a:ext cx="989012" cy="987427"/>
                  </a:xfrm>
                  <a:prstGeom prst="ellipse">
                    <a:avLst/>
                  </a:prstGeom>
                  <a:solidFill>
                    <a:srgbClr val="E7E6E6"/>
                  </a:solidFill>
                  <a:ln>
                    <a:noFill/>
                  </a:ln>
                  <a:effectLst>
                    <a:outerShdw blurRad="127000" dist="63500" dir="2700000" algn="tl" rotWithShape="0">
                      <a:prstClr val="black">
                        <a:alpha val="50000"/>
                      </a:prstClr>
                    </a:outerShd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grpSp>
          <p:grpSp>
            <p:nvGrpSpPr>
              <p:cNvPr id="327" name="Google Shape;3001;p55">
                <a:extLst>
                  <a:ext uri="{FF2B5EF4-FFF2-40B4-BE49-F238E27FC236}">
                    <a16:creationId xmlns:a16="http://schemas.microsoft.com/office/drawing/2014/main" id="{5168A2A3-A65E-4E99-B006-884166EB15E5}"/>
                  </a:ext>
                </a:extLst>
              </p:cNvPr>
              <p:cNvGrpSpPr/>
              <p:nvPr/>
            </p:nvGrpSpPr>
            <p:grpSpPr>
              <a:xfrm>
                <a:off x="6925097" y="1679753"/>
                <a:ext cx="223812" cy="241575"/>
                <a:chOff x="2662884" y="1513044"/>
                <a:chExt cx="322914" cy="348543"/>
              </a:xfrm>
              <a:solidFill>
                <a:schemeClr val="accent5">
                  <a:lumMod val="50000"/>
                </a:schemeClr>
              </a:solidFill>
            </p:grpSpPr>
            <p:sp>
              <p:nvSpPr>
                <p:cNvPr id="328" name="Google Shape;3002;p55">
                  <a:extLst>
                    <a:ext uri="{FF2B5EF4-FFF2-40B4-BE49-F238E27FC236}">
                      <a16:creationId xmlns:a16="http://schemas.microsoft.com/office/drawing/2014/main" id="{4AB21B46-3EBB-4481-8595-F2199A90B9C1}"/>
                    </a:ext>
                  </a:extLst>
                </p:cNvPr>
                <p:cNvSpPr/>
                <p:nvPr/>
              </p:nvSpPr>
              <p:spPr>
                <a:xfrm>
                  <a:off x="2662884" y="1513044"/>
                  <a:ext cx="260663" cy="348543"/>
                </a:xfrm>
                <a:custGeom>
                  <a:avLst/>
                  <a:gdLst/>
                  <a:ahLst/>
                  <a:cxnLst/>
                  <a:rect l="l" t="t" r="r" b="b"/>
                  <a:pathLst>
                    <a:path w="8228" h="11002" extrusionOk="0">
                      <a:moveTo>
                        <a:pt x="5692" y="0"/>
                      </a:moveTo>
                      <a:cubicBezTo>
                        <a:pt x="5597" y="0"/>
                        <a:pt x="5525" y="72"/>
                        <a:pt x="5525" y="167"/>
                      </a:cubicBezTo>
                      <a:cubicBezTo>
                        <a:pt x="5525" y="250"/>
                        <a:pt x="5597" y="322"/>
                        <a:pt x="5692" y="322"/>
                      </a:cubicBezTo>
                      <a:lnTo>
                        <a:pt x="7907" y="322"/>
                      </a:lnTo>
                      <a:lnTo>
                        <a:pt x="7907" y="10668"/>
                      </a:lnTo>
                      <a:lnTo>
                        <a:pt x="334" y="10668"/>
                      </a:lnTo>
                      <a:lnTo>
                        <a:pt x="334" y="9406"/>
                      </a:lnTo>
                      <a:cubicBezTo>
                        <a:pt x="334" y="9311"/>
                        <a:pt x="251" y="9240"/>
                        <a:pt x="167" y="9240"/>
                      </a:cubicBezTo>
                      <a:cubicBezTo>
                        <a:pt x="72" y="9240"/>
                        <a:pt x="1" y="9311"/>
                        <a:pt x="1" y="9406"/>
                      </a:cubicBezTo>
                      <a:lnTo>
                        <a:pt x="1" y="10835"/>
                      </a:lnTo>
                      <a:cubicBezTo>
                        <a:pt x="1" y="10918"/>
                        <a:pt x="72" y="11002"/>
                        <a:pt x="167" y="11002"/>
                      </a:cubicBezTo>
                      <a:lnTo>
                        <a:pt x="8049" y="11002"/>
                      </a:lnTo>
                      <a:cubicBezTo>
                        <a:pt x="8145" y="11002"/>
                        <a:pt x="8216" y="10918"/>
                        <a:pt x="8216" y="10835"/>
                      </a:cubicBezTo>
                      <a:lnTo>
                        <a:pt x="8216" y="179"/>
                      </a:lnTo>
                      <a:cubicBezTo>
                        <a:pt x="8228" y="60"/>
                        <a:pt x="8157" y="0"/>
                        <a:pt x="8073" y="0"/>
                      </a:cubicBezTo>
                      <a:close/>
                    </a:path>
                  </a:pathLst>
                </a:custGeom>
                <a:grpFill/>
                <a:ln>
                  <a:noFill/>
                </a:ln>
              </p:spPr>
              <p:txBody>
                <a:bodyPr spcFirstLastPara="1" wrap="square" lIns="91425" tIns="91425" rIns="91425" bIns="91425" anchor="ctr" anchorCtr="0">
                  <a:noAutofit/>
                </a:bodyPr>
                <a:lstStyle/>
                <a:p>
                  <a:endParaRPr/>
                </a:p>
              </p:txBody>
            </p:sp>
            <p:sp>
              <p:nvSpPr>
                <p:cNvPr id="329" name="Google Shape;3003;p55">
                  <a:extLst>
                    <a:ext uri="{FF2B5EF4-FFF2-40B4-BE49-F238E27FC236}">
                      <a16:creationId xmlns:a16="http://schemas.microsoft.com/office/drawing/2014/main" id="{798C5738-F696-48A7-BEA9-96C0A3323219}"/>
                    </a:ext>
                  </a:extLst>
                </p:cNvPr>
                <p:cNvSpPr/>
                <p:nvPr/>
              </p:nvSpPr>
              <p:spPr>
                <a:xfrm>
                  <a:off x="2663264" y="1513044"/>
                  <a:ext cx="165243" cy="282554"/>
                </a:xfrm>
                <a:custGeom>
                  <a:avLst/>
                  <a:gdLst/>
                  <a:ahLst/>
                  <a:cxnLst/>
                  <a:rect l="l" t="t" r="r" b="b"/>
                  <a:pathLst>
                    <a:path w="5216" h="8919" extrusionOk="0">
                      <a:moveTo>
                        <a:pt x="2358" y="548"/>
                      </a:moveTo>
                      <a:lnTo>
                        <a:pt x="2358" y="2346"/>
                      </a:lnTo>
                      <a:lnTo>
                        <a:pt x="560" y="2346"/>
                      </a:lnTo>
                      <a:lnTo>
                        <a:pt x="2358" y="548"/>
                      </a:lnTo>
                      <a:close/>
                      <a:moveTo>
                        <a:pt x="2537" y="0"/>
                      </a:moveTo>
                      <a:cubicBezTo>
                        <a:pt x="2418" y="0"/>
                        <a:pt x="2299" y="167"/>
                        <a:pt x="2227" y="238"/>
                      </a:cubicBezTo>
                      <a:lnTo>
                        <a:pt x="108" y="2346"/>
                      </a:lnTo>
                      <a:cubicBezTo>
                        <a:pt x="60" y="2393"/>
                        <a:pt x="1" y="2441"/>
                        <a:pt x="1" y="2513"/>
                      </a:cubicBezTo>
                      <a:lnTo>
                        <a:pt x="1" y="8751"/>
                      </a:lnTo>
                      <a:cubicBezTo>
                        <a:pt x="1" y="8835"/>
                        <a:pt x="72" y="8918"/>
                        <a:pt x="167" y="8918"/>
                      </a:cubicBezTo>
                      <a:cubicBezTo>
                        <a:pt x="263" y="8918"/>
                        <a:pt x="334" y="8835"/>
                        <a:pt x="334" y="8751"/>
                      </a:cubicBezTo>
                      <a:lnTo>
                        <a:pt x="334" y="2667"/>
                      </a:lnTo>
                      <a:lnTo>
                        <a:pt x="2525" y="2667"/>
                      </a:lnTo>
                      <a:cubicBezTo>
                        <a:pt x="2608" y="2667"/>
                        <a:pt x="2680" y="2584"/>
                        <a:pt x="2680" y="2501"/>
                      </a:cubicBezTo>
                      <a:lnTo>
                        <a:pt x="2680" y="310"/>
                      </a:lnTo>
                      <a:lnTo>
                        <a:pt x="5049" y="310"/>
                      </a:lnTo>
                      <a:cubicBezTo>
                        <a:pt x="5144" y="310"/>
                        <a:pt x="5216" y="238"/>
                        <a:pt x="5216" y="143"/>
                      </a:cubicBezTo>
                      <a:cubicBezTo>
                        <a:pt x="5216" y="60"/>
                        <a:pt x="5132" y="0"/>
                        <a:pt x="5049" y="0"/>
                      </a:cubicBezTo>
                      <a:close/>
                    </a:path>
                  </a:pathLst>
                </a:custGeom>
                <a:grpFill/>
                <a:ln>
                  <a:noFill/>
                </a:ln>
              </p:spPr>
              <p:txBody>
                <a:bodyPr spcFirstLastPara="1" wrap="square" lIns="91425" tIns="91425" rIns="91425" bIns="91425" anchor="ctr" anchorCtr="0">
                  <a:noAutofit/>
                </a:bodyPr>
                <a:lstStyle/>
                <a:p>
                  <a:endParaRPr/>
                </a:p>
              </p:txBody>
            </p:sp>
            <p:sp>
              <p:nvSpPr>
                <p:cNvPr id="330" name="Google Shape;3004;p55">
                  <a:extLst>
                    <a:ext uri="{FF2B5EF4-FFF2-40B4-BE49-F238E27FC236}">
                      <a16:creationId xmlns:a16="http://schemas.microsoft.com/office/drawing/2014/main" id="{1B3E00BA-3473-42B8-84D7-FA4CAE67FDA6}"/>
                    </a:ext>
                  </a:extLst>
                </p:cNvPr>
                <p:cNvSpPr/>
                <p:nvPr/>
              </p:nvSpPr>
              <p:spPr>
                <a:xfrm>
                  <a:off x="2717596" y="1747634"/>
                  <a:ext cx="152412" cy="10613"/>
                </a:xfrm>
                <a:custGeom>
                  <a:avLst/>
                  <a:gdLst/>
                  <a:ahLst/>
                  <a:cxnLst/>
                  <a:rect l="l" t="t" r="r" b="b"/>
                  <a:pathLst>
                    <a:path w="4811" h="335" extrusionOk="0">
                      <a:moveTo>
                        <a:pt x="167" y="1"/>
                      </a:moveTo>
                      <a:cubicBezTo>
                        <a:pt x="72" y="1"/>
                        <a:pt x="0" y="84"/>
                        <a:pt x="0" y="168"/>
                      </a:cubicBezTo>
                      <a:cubicBezTo>
                        <a:pt x="0" y="263"/>
                        <a:pt x="72" y="334"/>
                        <a:pt x="167" y="334"/>
                      </a:cubicBezTo>
                      <a:lnTo>
                        <a:pt x="4644" y="334"/>
                      </a:lnTo>
                      <a:cubicBezTo>
                        <a:pt x="4739" y="334"/>
                        <a:pt x="4810" y="263"/>
                        <a:pt x="4810" y="168"/>
                      </a:cubicBezTo>
                      <a:cubicBezTo>
                        <a:pt x="4798" y="84"/>
                        <a:pt x="4739" y="1"/>
                        <a:pt x="4644" y="1"/>
                      </a:cubicBezTo>
                      <a:close/>
                    </a:path>
                  </a:pathLst>
                </a:custGeom>
                <a:grpFill/>
                <a:ln>
                  <a:noFill/>
                </a:ln>
              </p:spPr>
              <p:txBody>
                <a:bodyPr spcFirstLastPara="1" wrap="square" lIns="91425" tIns="91425" rIns="91425" bIns="91425" anchor="ctr" anchorCtr="0">
                  <a:noAutofit/>
                </a:bodyPr>
                <a:lstStyle/>
                <a:p>
                  <a:endParaRPr/>
                </a:p>
              </p:txBody>
            </p:sp>
            <p:sp>
              <p:nvSpPr>
                <p:cNvPr id="331" name="Google Shape;3005;p55">
                  <a:extLst>
                    <a:ext uri="{FF2B5EF4-FFF2-40B4-BE49-F238E27FC236}">
                      <a16:creationId xmlns:a16="http://schemas.microsoft.com/office/drawing/2014/main" id="{242140FE-8650-43A3-8026-76AA452C73C1}"/>
                    </a:ext>
                  </a:extLst>
                </p:cNvPr>
                <p:cNvSpPr/>
                <p:nvPr/>
              </p:nvSpPr>
              <p:spPr>
                <a:xfrm>
                  <a:off x="2788876" y="1809886"/>
                  <a:ext cx="81132" cy="10581"/>
                </a:xfrm>
                <a:custGeom>
                  <a:avLst/>
                  <a:gdLst/>
                  <a:ahLst/>
                  <a:cxnLst/>
                  <a:rect l="l" t="t" r="r" b="b"/>
                  <a:pathLst>
                    <a:path w="2561" h="334" extrusionOk="0">
                      <a:moveTo>
                        <a:pt x="167" y="1"/>
                      </a:moveTo>
                      <a:cubicBezTo>
                        <a:pt x="72" y="1"/>
                        <a:pt x="0" y="84"/>
                        <a:pt x="0" y="167"/>
                      </a:cubicBezTo>
                      <a:cubicBezTo>
                        <a:pt x="0" y="262"/>
                        <a:pt x="72" y="334"/>
                        <a:pt x="167" y="334"/>
                      </a:cubicBezTo>
                      <a:lnTo>
                        <a:pt x="2394" y="334"/>
                      </a:lnTo>
                      <a:cubicBezTo>
                        <a:pt x="2489" y="334"/>
                        <a:pt x="2560" y="262"/>
                        <a:pt x="2560" y="167"/>
                      </a:cubicBezTo>
                      <a:cubicBezTo>
                        <a:pt x="2560" y="84"/>
                        <a:pt x="2489" y="1"/>
                        <a:pt x="2394" y="1"/>
                      </a:cubicBezTo>
                      <a:close/>
                    </a:path>
                  </a:pathLst>
                </a:custGeom>
                <a:grpFill/>
                <a:ln>
                  <a:noFill/>
                </a:ln>
              </p:spPr>
              <p:txBody>
                <a:bodyPr spcFirstLastPara="1" wrap="square" lIns="91425" tIns="91425" rIns="91425" bIns="91425" anchor="ctr" anchorCtr="0">
                  <a:noAutofit/>
                </a:bodyPr>
                <a:lstStyle/>
                <a:p>
                  <a:endParaRPr/>
                </a:p>
              </p:txBody>
            </p:sp>
            <p:sp>
              <p:nvSpPr>
                <p:cNvPr id="332" name="Google Shape;3006;p55">
                  <a:extLst>
                    <a:ext uri="{FF2B5EF4-FFF2-40B4-BE49-F238E27FC236}">
                      <a16:creationId xmlns:a16="http://schemas.microsoft.com/office/drawing/2014/main" id="{2277EA2F-EDB5-4FFF-9EB2-E323F067A01B}"/>
                    </a:ext>
                  </a:extLst>
                </p:cNvPr>
                <p:cNvSpPr/>
                <p:nvPr/>
              </p:nvSpPr>
              <p:spPr>
                <a:xfrm>
                  <a:off x="2717596" y="1722385"/>
                  <a:ext cx="152412" cy="10201"/>
                </a:xfrm>
                <a:custGeom>
                  <a:avLst/>
                  <a:gdLst/>
                  <a:ahLst/>
                  <a:cxnLst/>
                  <a:rect l="l" t="t" r="r" b="b"/>
                  <a:pathLst>
                    <a:path w="4811" h="322" extrusionOk="0">
                      <a:moveTo>
                        <a:pt x="167" y="0"/>
                      </a:moveTo>
                      <a:cubicBezTo>
                        <a:pt x="72" y="0"/>
                        <a:pt x="0" y="72"/>
                        <a:pt x="0" y="167"/>
                      </a:cubicBezTo>
                      <a:cubicBezTo>
                        <a:pt x="0" y="250"/>
                        <a:pt x="72" y="322"/>
                        <a:pt x="167" y="322"/>
                      </a:cubicBezTo>
                      <a:lnTo>
                        <a:pt x="4644" y="322"/>
                      </a:lnTo>
                      <a:cubicBezTo>
                        <a:pt x="4739" y="322"/>
                        <a:pt x="4810" y="250"/>
                        <a:pt x="4810" y="167"/>
                      </a:cubicBezTo>
                      <a:cubicBezTo>
                        <a:pt x="4798" y="60"/>
                        <a:pt x="4739" y="0"/>
                        <a:pt x="4644" y="0"/>
                      </a:cubicBezTo>
                      <a:close/>
                    </a:path>
                  </a:pathLst>
                </a:custGeom>
                <a:grpFill/>
                <a:ln>
                  <a:noFill/>
                </a:ln>
              </p:spPr>
              <p:txBody>
                <a:bodyPr spcFirstLastPara="1" wrap="square" lIns="91425" tIns="91425" rIns="91425" bIns="91425" anchor="ctr" anchorCtr="0">
                  <a:noAutofit/>
                </a:bodyPr>
                <a:lstStyle/>
                <a:p>
                  <a:endParaRPr/>
                </a:p>
              </p:txBody>
            </p:sp>
            <p:sp>
              <p:nvSpPr>
                <p:cNvPr id="333" name="Google Shape;3007;p55">
                  <a:extLst>
                    <a:ext uri="{FF2B5EF4-FFF2-40B4-BE49-F238E27FC236}">
                      <a16:creationId xmlns:a16="http://schemas.microsoft.com/office/drawing/2014/main" id="{47319F05-154F-4E32-A0F5-67FACECF3FB9}"/>
                    </a:ext>
                  </a:extLst>
                </p:cNvPr>
                <p:cNvSpPr/>
                <p:nvPr/>
              </p:nvSpPr>
              <p:spPr>
                <a:xfrm>
                  <a:off x="2717596" y="1696344"/>
                  <a:ext cx="152412" cy="10613"/>
                </a:xfrm>
                <a:custGeom>
                  <a:avLst/>
                  <a:gdLst/>
                  <a:ahLst/>
                  <a:cxnLst/>
                  <a:rect l="l" t="t" r="r" b="b"/>
                  <a:pathLst>
                    <a:path w="4811" h="335" extrusionOk="0">
                      <a:moveTo>
                        <a:pt x="167" y="1"/>
                      </a:moveTo>
                      <a:cubicBezTo>
                        <a:pt x="72" y="1"/>
                        <a:pt x="0" y="72"/>
                        <a:pt x="0" y="167"/>
                      </a:cubicBezTo>
                      <a:cubicBezTo>
                        <a:pt x="0" y="251"/>
                        <a:pt x="72" y="334"/>
                        <a:pt x="167" y="334"/>
                      </a:cubicBezTo>
                      <a:lnTo>
                        <a:pt x="4644" y="334"/>
                      </a:lnTo>
                      <a:cubicBezTo>
                        <a:pt x="4739" y="334"/>
                        <a:pt x="4810" y="251"/>
                        <a:pt x="4810" y="167"/>
                      </a:cubicBezTo>
                      <a:cubicBezTo>
                        <a:pt x="4798" y="72"/>
                        <a:pt x="4739" y="1"/>
                        <a:pt x="4644" y="1"/>
                      </a:cubicBezTo>
                      <a:close/>
                    </a:path>
                  </a:pathLst>
                </a:custGeom>
                <a:grpFill/>
                <a:ln>
                  <a:noFill/>
                </a:ln>
              </p:spPr>
              <p:txBody>
                <a:bodyPr spcFirstLastPara="1" wrap="square" lIns="91425" tIns="91425" rIns="91425" bIns="91425" anchor="ctr" anchorCtr="0">
                  <a:noAutofit/>
                </a:bodyPr>
                <a:lstStyle/>
                <a:p>
                  <a:endParaRPr/>
                </a:p>
              </p:txBody>
            </p:sp>
            <p:sp>
              <p:nvSpPr>
                <p:cNvPr id="334" name="Google Shape;3008;p55">
                  <a:extLst>
                    <a:ext uri="{FF2B5EF4-FFF2-40B4-BE49-F238E27FC236}">
                      <a16:creationId xmlns:a16="http://schemas.microsoft.com/office/drawing/2014/main" id="{FA8E666C-FF4F-4958-80CA-6FD69FECA607}"/>
                    </a:ext>
                  </a:extLst>
                </p:cNvPr>
                <p:cNvSpPr/>
                <p:nvPr/>
              </p:nvSpPr>
              <p:spPr>
                <a:xfrm>
                  <a:off x="2717596" y="1670335"/>
                  <a:ext cx="152412" cy="10581"/>
                </a:xfrm>
                <a:custGeom>
                  <a:avLst/>
                  <a:gdLst/>
                  <a:ahLst/>
                  <a:cxnLst/>
                  <a:rect l="l" t="t" r="r" b="b"/>
                  <a:pathLst>
                    <a:path w="4811" h="334" extrusionOk="0">
                      <a:moveTo>
                        <a:pt x="167" y="0"/>
                      </a:moveTo>
                      <a:cubicBezTo>
                        <a:pt x="72" y="0"/>
                        <a:pt x="0" y="84"/>
                        <a:pt x="0" y="167"/>
                      </a:cubicBezTo>
                      <a:cubicBezTo>
                        <a:pt x="0" y="262"/>
                        <a:pt x="72" y="334"/>
                        <a:pt x="167" y="334"/>
                      </a:cubicBezTo>
                      <a:lnTo>
                        <a:pt x="4644" y="334"/>
                      </a:lnTo>
                      <a:cubicBezTo>
                        <a:pt x="4739" y="334"/>
                        <a:pt x="4810" y="262"/>
                        <a:pt x="4810" y="167"/>
                      </a:cubicBezTo>
                      <a:cubicBezTo>
                        <a:pt x="4810" y="84"/>
                        <a:pt x="4739" y="0"/>
                        <a:pt x="4644" y="0"/>
                      </a:cubicBezTo>
                      <a:close/>
                    </a:path>
                  </a:pathLst>
                </a:custGeom>
                <a:grpFill/>
                <a:ln>
                  <a:noFill/>
                </a:ln>
              </p:spPr>
              <p:txBody>
                <a:bodyPr spcFirstLastPara="1" wrap="square" lIns="91425" tIns="91425" rIns="91425" bIns="91425" anchor="ctr" anchorCtr="0">
                  <a:noAutofit/>
                </a:bodyPr>
                <a:lstStyle/>
                <a:p>
                  <a:endParaRPr/>
                </a:p>
              </p:txBody>
            </p:sp>
            <p:sp>
              <p:nvSpPr>
                <p:cNvPr id="335" name="Google Shape;3009;p55">
                  <a:extLst>
                    <a:ext uri="{FF2B5EF4-FFF2-40B4-BE49-F238E27FC236}">
                      <a16:creationId xmlns:a16="http://schemas.microsoft.com/office/drawing/2014/main" id="{F11DEBA6-D3A6-4883-BD80-8E504E6640DE}"/>
                    </a:ext>
                  </a:extLst>
                </p:cNvPr>
                <p:cNvSpPr/>
                <p:nvPr/>
              </p:nvSpPr>
              <p:spPr>
                <a:xfrm>
                  <a:off x="2778326" y="1594145"/>
                  <a:ext cx="31332" cy="61111"/>
                </a:xfrm>
                <a:custGeom>
                  <a:avLst/>
                  <a:gdLst/>
                  <a:ahLst/>
                  <a:cxnLst/>
                  <a:rect l="l" t="t" r="r" b="b"/>
                  <a:pathLst>
                    <a:path w="989" h="1929" extrusionOk="0">
                      <a:moveTo>
                        <a:pt x="179" y="0"/>
                      </a:moveTo>
                      <a:cubicBezTo>
                        <a:pt x="95" y="0"/>
                        <a:pt x="12" y="72"/>
                        <a:pt x="12" y="167"/>
                      </a:cubicBezTo>
                      <a:cubicBezTo>
                        <a:pt x="12" y="250"/>
                        <a:pt x="95" y="322"/>
                        <a:pt x="179" y="322"/>
                      </a:cubicBezTo>
                      <a:lnTo>
                        <a:pt x="333" y="322"/>
                      </a:lnTo>
                      <a:lnTo>
                        <a:pt x="333" y="1607"/>
                      </a:lnTo>
                      <a:lnTo>
                        <a:pt x="167" y="1607"/>
                      </a:lnTo>
                      <a:cubicBezTo>
                        <a:pt x="72" y="1607"/>
                        <a:pt x="0" y="1679"/>
                        <a:pt x="0" y="1774"/>
                      </a:cubicBezTo>
                      <a:cubicBezTo>
                        <a:pt x="0" y="1858"/>
                        <a:pt x="72" y="1929"/>
                        <a:pt x="167" y="1929"/>
                      </a:cubicBezTo>
                      <a:lnTo>
                        <a:pt x="822" y="1929"/>
                      </a:lnTo>
                      <a:cubicBezTo>
                        <a:pt x="905" y="1929"/>
                        <a:pt x="988" y="1858"/>
                        <a:pt x="988" y="1774"/>
                      </a:cubicBezTo>
                      <a:cubicBezTo>
                        <a:pt x="976" y="1679"/>
                        <a:pt x="893" y="1607"/>
                        <a:pt x="810" y="1607"/>
                      </a:cubicBezTo>
                      <a:lnTo>
                        <a:pt x="643" y="1607"/>
                      </a:lnTo>
                      <a:lnTo>
                        <a:pt x="643" y="167"/>
                      </a:lnTo>
                      <a:cubicBezTo>
                        <a:pt x="643" y="72"/>
                        <a:pt x="572" y="0"/>
                        <a:pt x="476" y="0"/>
                      </a:cubicBezTo>
                      <a:close/>
                    </a:path>
                  </a:pathLst>
                </a:custGeom>
                <a:grpFill/>
                <a:ln>
                  <a:noFill/>
                </a:ln>
              </p:spPr>
              <p:txBody>
                <a:bodyPr spcFirstLastPara="1" wrap="square" lIns="91425" tIns="91425" rIns="91425" bIns="91425" anchor="ctr" anchorCtr="0">
                  <a:noAutofit/>
                </a:bodyPr>
                <a:lstStyle/>
                <a:p>
                  <a:endParaRPr/>
                </a:p>
              </p:txBody>
            </p:sp>
            <p:sp>
              <p:nvSpPr>
                <p:cNvPr id="336" name="Google Shape;3010;p55">
                  <a:extLst>
                    <a:ext uri="{FF2B5EF4-FFF2-40B4-BE49-F238E27FC236}">
                      <a16:creationId xmlns:a16="http://schemas.microsoft.com/office/drawing/2014/main" id="{FA95CD81-5C43-41F9-9AB4-50E65B52A05C}"/>
                    </a:ext>
                  </a:extLst>
                </p:cNvPr>
                <p:cNvSpPr/>
                <p:nvPr/>
              </p:nvSpPr>
              <p:spPr>
                <a:xfrm>
                  <a:off x="2782476" y="1575263"/>
                  <a:ext cx="16220" cy="15872"/>
                </a:xfrm>
                <a:custGeom>
                  <a:avLst/>
                  <a:gdLst/>
                  <a:ahLst/>
                  <a:cxnLst/>
                  <a:rect l="l" t="t" r="r" b="b"/>
                  <a:pathLst>
                    <a:path w="512" h="501" extrusionOk="0">
                      <a:moveTo>
                        <a:pt x="262" y="1"/>
                      </a:moveTo>
                      <a:cubicBezTo>
                        <a:pt x="131" y="1"/>
                        <a:pt x="0" y="120"/>
                        <a:pt x="0" y="251"/>
                      </a:cubicBezTo>
                      <a:cubicBezTo>
                        <a:pt x="0" y="382"/>
                        <a:pt x="119" y="501"/>
                        <a:pt x="262" y="501"/>
                      </a:cubicBezTo>
                      <a:cubicBezTo>
                        <a:pt x="393" y="501"/>
                        <a:pt x="512" y="382"/>
                        <a:pt x="512" y="251"/>
                      </a:cubicBezTo>
                      <a:cubicBezTo>
                        <a:pt x="512" y="120"/>
                        <a:pt x="393" y="1"/>
                        <a:pt x="262" y="1"/>
                      </a:cubicBezTo>
                      <a:close/>
                    </a:path>
                  </a:pathLst>
                </a:custGeom>
                <a:grpFill/>
                <a:ln>
                  <a:noFill/>
                </a:ln>
              </p:spPr>
              <p:txBody>
                <a:bodyPr spcFirstLastPara="1" wrap="square" lIns="91425" tIns="91425" rIns="91425" bIns="91425" anchor="ctr" anchorCtr="0">
                  <a:noAutofit/>
                </a:bodyPr>
                <a:lstStyle/>
                <a:p>
                  <a:endParaRPr/>
                </a:p>
              </p:txBody>
            </p:sp>
            <p:sp>
              <p:nvSpPr>
                <p:cNvPr id="337" name="Google Shape;3011;p55">
                  <a:extLst>
                    <a:ext uri="{FF2B5EF4-FFF2-40B4-BE49-F238E27FC236}">
                      <a16:creationId xmlns:a16="http://schemas.microsoft.com/office/drawing/2014/main" id="{594FAC1A-B2F7-48CF-91E5-4BD481769B78}"/>
                    </a:ext>
                  </a:extLst>
                </p:cNvPr>
                <p:cNvSpPr/>
                <p:nvPr/>
              </p:nvSpPr>
              <p:spPr>
                <a:xfrm>
                  <a:off x="2943537" y="1513044"/>
                  <a:ext cx="42261" cy="347783"/>
                </a:xfrm>
                <a:custGeom>
                  <a:avLst/>
                  <a:gdLst/>
                  <a:ahLst/>
                  <a:cxnLst/>
                  <a:rect l="l" t="t" r="r" b="b"/>
                  <a:pathLst>
                    <a:path w="1334" h="10978" extrusionOk="0">
                      <a:moveTo>
                        <a:pt x="667" y="310"/>
                      </a:moveTo>
                      <a:cubicBezTo>
                        <a:pt x="857" y="310"/>
                        <a:pt x="1012" y="477"/>
                        <a:pt x="1012" y="655"/>
                      </a:cubicBezTo>
                      <a:lnTo>
                        <a:pt x="1012" y="1477"/>
                      </a:lnTo>
                      <a:lnTo>
                        <a:pt x="321" y="1477"/>
                      </a:lnTo>
                      <a:lnTo>
                        <a:pt x="321" y="655"/>
                      </a:lnTo>
                      <a:cubicBezTo>
                        <a:pt x="321" y="465"/>
                        <a:pt x="488" y="310"/>
                        <a:pt x="667" y="310"/>
                      </a:cubicBezTo>
                      <a:close/>
                      <a:moveTo>
                        <a:pt x="1024" y="1798"/>
                      </a:moveTo>
                      <a:lnTo>
                        <a:pt x="1024" y="2453"/>
                      </a:lnTo>
                      <a:lnTo>
                        <a:pt x="321" y="2453"/>
                      </a:lnTo>
                      <a:lnTo>
                        <a:pt x="321" y="1798"/>
                      </a:lnTo>
                      <a:close/>
                      <a:moveTo>
                        <a:pt x="964" y="9597"/>
                      </a:moveTo>
                      <a:lnTo>
                        <a:pt x="833" y="10525"/>
                      </a:lnTo>
                      <a:cubicBezTo>
                        <a:pt x="810" y="10597"/>
                        <a:pt x="750" y="10656"/>
                        <a:pt x="679" y="10656"/>
                      </a:cubicBezTo>
                      <a:cubicBezTo>
                        <a:pt x="607" y="10656"/>
                        <a:pt x="536" y="10597"/>
                        <a:pt x="536" y="10525"/>
                      </a:cubicBezTo>
                      <a:lnTo>
                        <a:pt x="417" y="9597"/>
                      </a:lnTo>
                      <a:close/>
                      <a:moveTo>
                        <a:pt x="667" y="0"/>
                      </a:moveTo>
                      <a:cubicBezTo>
                        <a:pt x="298" y="0"/>
                        <a:pt x="0" y="298"/>
                        <a:pt x="0" y="667"/>
                      </a:cubicBezTo>
                      <a:lnTo>
                        <a:pt x="0" y="1631"/>
                      </a:lnTo>
                      <a:lnTo>
                        <a:pt x="0" y="2822"/>
                      </a:lnTo>
                      <a:lnTo>
                        <a:pt x="0" y="4810"/>
                      </a:lnTo>
                      <a:cubicBezTo>
                        <a:pt x="0" y="4894"/>
                        <a:pt x="71" y="4965"/>
                        <a:pt x="167" y="4965"/>
                      </a:cubicBezTo>
                      <a:cubicBezTo>
                        <a:pt x="250" y="4965"/>
                        <a:pt x="321" y="4894"/>
                        <a:pt x="321" y="4810"/>
                      </a:cubicBezTo>
                      <a:lnTo>
                        <a:pt x="321" y="2763"/>
                      </a:lnTo>
                      <a:lnTo>
                        <a:pt x="1024" y="2763"/>
                      </a:lnTo>
                      <a:lnTo>
                        <a:pt x="1024" y="9275"/>
                      </a:lnTo>
                      <a:lnTo>
                        <a:pt x="321" y="9275"/>
                      </a:lnTo>
                      <a:lnTo>
                        <a:pt x="321" y="5430"/>
                      </a:lnTo>
                      <a:cubicBezTo>
                        <a:pt x="321" y="5346"/>
                        <a:pt x="250" y="5263"/>
                        <a:pt x="167" y="5263"/>
                      </a:cubicBezTo>
                      <a:cubicBezTo>
                        <a:pt x="71" y="5263"/>
                        <a:pt x="0" y="5346"/>
                        <a:pt x="0" y="5430"/>
                      </a:cubicBezTo>
                      <a:lnTo>
                        <a:pt x="0" y="9430"/>
                      </a:lnTo>
                      <a:cubicBezTo>
                        <a:pt x="0" y="9490"/>
                        <a:pt x="24" y="9537"/>
                        <a:pt x="60" y="9561"/>
                      </a:cubicBezTo>
                      <a:lnTo>
                        <a:pt x="191" y="10561"/>
                      </a:lnTo>
                      <a:cubicBezTo>
                        <a:pt x="226" y="10799"/>
                        <a:pt x="429" y="10978"/>
                        <a:pt x="667" y="10978"/>
                      </a:cubicBezTo>
                      <a:cubicBezTo>
                        <a:pt x="905" y="10978"/>
                        <a:pt x="1119" y="10799"/>
                        <a:pt x="1143" y="10561"/>
                      </a:cubicBezTo>
                      <a:lnTo>
                        <a:pt x="1274" y="9561"/>
                      </a:lnTo>
                      <a:cubicBezTo>
                        <a:pt x="1322" y="9537"/>
                        <a:pt x="1334" y="9490"/>
                        <a:pt x="1334" y="9430"/>
                      </a:cubicBezTo>
                      <a:lnTo>
                        <a:pt x="1334" y="2822"/>
                      </a:lnTo>
                      <a:lnTo>
                        <a:pt x="1334" y="1631"/>
                      </a:lnTo>
                      <a:lnTo>
                        <a:pt x="1334" y="667"/>
                      </a:lnTo>
                      <a:cubicBezTo>
                        <a:pt x="1334" y="298"/>
                        <a:pt x="1036" y="0"/>
                        <a:pt x="667" y="0"/>
                      </a:cubicBezTo>
                      <a:close/>
                    </a:path>
                  </a:pathLst>
                </a:custGeom>
                <a:grpFill/>
                <a:ln>
                  <a:noFill/>
                </a:ln>
              </p:spPr>
              <p:txBody>
                <a:bodyPr spcFirstLastPara="1" wrap="square" lIns="91425" tIns="91425" rIns="91425" bIns="91425" anchor="ctr" anchorCtr="0">
                  <a:noAutofit/>
                </a:bodyPr>
                <a:lstStyle/>
                <a:p>
                  <a:endParaRPr/>
                </a:p>
              </p:txBody>
            </p:sp>
          </p:grpSp>
        </p:grpSp>
      </p:grpSp>
      <p:grpSp>
        <p:nvGrpSpPr>
          <p:cNvPr id="6" name="Group 5">
            <a:extLst>
              <a:ext uri="{FF2B5EF4-FFF2-40B4-BE49-F238E27FC236}">
                <a16:creationId xmlns:a16="http://schemas.microsoft.com/office/drawing/2014/main" id="{4037147F-9773-4F5B-A879-F62123574B0D}"/>
              </a:ext>
            </a:extLst>
          </p:cNvPr>
          <p:cNvGrpSpPr/>
          <p:nvPr/>
        </p:nvGrpSpPr>
        <p:grpSpPr>
          <a:xfrm>
            <a:off x="2707498" y="1501149"/>
            <a:ext cx="1318898" cy="2288208"/>
            <a:chOff x="2607600" y="1501149"/>
            <a:chExt cx="1318898" cy="2288208"/>
          </a:xfrm>
        </p:grpSpPr>
        <p:sp>
          <p:nvSpPr>
            <p:cNvPr id="215" name="TextBox 214">
              <a:extLst>
                <a:ext uri="{FF2B5EF4-FFF2-40B4-BE49-F238E27FC236}">
                  <a16:creationId xmlns:a16="http://schemas.microsoft.com/office/drawing/2014/main" id="{C867BD91-CFC1-42F7-BB37-7518DDC87F5C}"/>
                </a:ext>
              </a:extLst>
            </p:cNvPr>
            <p:cNvSpPr txBox="1"/>
            <p:nvPr/>
          </p:nvSpPr>
          <p:spPr>
            <a:xfrm>
              <a:off x="2908615" y="2392190"/>
              <a:ext cx="716868" cy="425758"/>
            </a:xfrm>
            <a:prstGeom prst="rect">
              <a:avLst/>
            </a:prstGeom>
            <a:noFill/>
          </p:spPr>
          <p:txBody>
            <a:bodyPr wrap="square" rtlCol="0">
              <a:spAutoFit/>
            </a:bodyPr>
            <a:lstStyle/>
            <a:p>
              <a:pPr algn="ctr">
                <a:lnSpc>
                  <a:spcPts val="1320"/>
                </a:lnSpc>
              </a:pPr>
              <a:r>
                <a:rPr lang="en-GR" sz="1050" b="1" dirty="0">
                  <a:solidFill>
                    <a:schemeClr val="bg1">
                      <a:lumMod val="50000"/>
                    </a:schemeClr>
                  </a:solidFill>
                  <a:latin typeface="Arial" panose="020B0604020202020204" pitchFamily="34" charset="0"/>
                  <a:cs typeface="Arial" panose="020B0604020202020204" pitchFamily="34" charset="0"/>
                </a:rPr>
                <a:t>FEB</a:t>
              </a:r>
            </a:p>
            <a:p>
              <a:pPr algn="ctr">
                <a:lnSpc>
                  <a:spcPts val="1320"/>
                </a:lnSpc>
              </a:pPr>
              <a:r>
                <a:rPr lang="es-ES" sz="1050" b="1" dirty="0">
                  <a:solidFill>
                    <a:schemeClr val="bg1">
                      <a:lumMod val="50000"/>
                    </a:schemeClr>
                  </a:solidFill>
                  <a:latin typeface="Arial" panose="020B0604020202020204" pitchFamily="34" charset="0"/>
                  <a:cs typeface="Arial" panose="020B0604020202020204" pitchFamily="34" charset="0"/>
                </a:rPr>
                <a:t>2021</a:t>
              </a:r>
              <a:endParaRPr lang="en-GR" sz="1050" b="1" dirty="0">
                <a:solidFill>
                  <a:schemeClr val="bg1">
                    <a:lumMod val="50000"/>
                  </a:schemeClr>
                </a:solidFill>
                <a:latin typeface="Arial" panose="020B0604020202020204" pitchFamily="34" charset="0"/>
                <a:cs typeface="Arial" panose="020B0604020202020204" pitchFamily="34" charset="0"/>
              </a:endParaRPr>
            </a:p>
          </p:txBody>
        </p:sp>
        <p:sp>
          <p:nvSpPr>
            <p:cNvPr id="221" name="Rechteck 125">
              <a:extLst>
                <a:ext uri="{FF2B5EF4-FFF2-40B4-BE49-F238E27FC236}">
                  <a16:creationId xmlns:a16="http://schemas.microsoft.com/office/drawing/2014/main" id="{0BE5129D-2D18-4EEF-83CE-54E6B9ACEACB}"/>
                </a:ext>
              </a:extLst>
            </p:cNvPr>
            <p:cNvSpPr/>
            <p:nvPr/>
          </p:nvSpPr>
          <p:spPr bwMode="gray">
            <a:xfrm>
              <a:off x="2607600" y="2772779"/>
              <a:ext cx="1318898" cy="1016578"/>
            </a:xfrm>
            <a:prstGeom prst="rect">
              <a:avLst/>
            </a:prstGeom>
          </p:spPr>
          <p:style>
            <a:lnRef idx="0">
              <a:scrgbClr r="0" g="0" b="0"/>
            </a:lnRef>
            <a:fillRef idx="0">
              <a:scrgbClr r="0" g="0" b="0"/>
            </a:fillRef>
            <a:effectRef idx="0">
              <a:scrgbClr r="0" g="0" b="0"/>
            </a:effectRef>
            <a:fontRef idx="major"/>
          </p:style>
          <p:txBody>
            <a:bodyPr wrap="square" lIns="72000" tIns="46800" rIns="72000">
              <a:no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defTabSz="801608"/>
              <a:r>
                <a:rPr lang="en-US" sz="1000" b="1" dirty="0">
                  <a:solidFill>
                    <a:srgbClr val="14438E"/>
                  </a:solidFill>
                  <a:latin typeface="Arial" panose="020B0604020202020204" pitchFamily="34" charset="0"/>
                  <a:cs typeface="Arial" panose="020B0604020202020204" pitchFamily="34" charset="0"/>
                </a:rPr>
                <a:t>C.A. 2</a:t>
              </a:r>
              <a:r>
                <a:rPr lang="en-US" sz="1000" b="1" baseline="30000" dirty="0">
                  <a:solidFill>
                    <a:srgbClr val="14438E"/>
                  </a:solidFill>
                  <a:latin typeface="Arial" panose="020B0604020202020204" pitchFamily="34" charset="0"/>
                  <a:cs typeface="Arial" panose="020B0604020202020204" pitchFamily="34" charset="0"/>
                </a:rPr>
                <a:t>nd</a:t>
              </a:r>
              <a:r>
                <a:rPr lang="en-US" sz="1000" b="1" dirty="0">
                  <a:solidFill>
                    <a:srgbClr val="14438E"/>
                  </a:solidFill>
                  <a:latin typeface="Arial" panose="020B0604020202020204" pitchFamily="34" charset="0"/>
                  <a:cs typeface="Arial" panose="020B0604020202020204" pitchFamily="34" charset="0"/>
                </a:rPr>
                <a:t> WG</a:t>
              </a:r>
            </a:p>
            <a:p>
              <a:pPr algn="ctr" defTabSz="801608"/>
              <a:r>
                <a:rPr lang="en-US" sz="900" dirty="0">
                  <a:solidFill>
                    <a:schemeClr val="tx1">
                      <a:lumMod val="65000"/>
                      <a:lumOff val="35000"/>
                    </a:schemeClr>
                  </a:solidFill>
                  <a:latin typeface="Arial" panose="020B0604020202020204" pitchFamily="34" charset="0"/>
                  <a:cs typeface="Arial" panose="020B0604020202020204" pitchFamily="34" charset="0"/>
                </a:rPr>
                <a:t>Agreement on recommended scope for CP14</a:t>
              </a:r>
            </a:p>
          </p:txBody>
        </p:sp>
        <p:grpSp>
          <p:nvGrpSpPr>
            <p:cNvPr id="342" name="Group 341">
              <a:extLst>
                <a:ext uri="{FF2B5EF4-FFF2-40B4-BE49-F238E27FC236}">
                  <a16:creationId xmlns:a16="http://schemas.microsoft.com/office/drawing/2014/main" id="{96A39930-AE9A-415E-956C-6FF9008DF218}"/>
                </a:ext>
              </a:extLst>
            </p:cNvPr>
            <p:cNvGrpSpPr/>
            <p:nvPr/>
          </p:nvGrpSpPr>
          <p:grpSpPr>
            <a:xfrm>
              <a:off x="2971731" y="1501149"/>
              <a:ext cx="590636" cy="852992"/>
              <a:chOff x="2756778" y="1501149"/>
              <a:chExt cx="590636" cy="852992"/>
            </a:xfrm>
          </p:grpSpPr>
          <p:grpSp>
            <p:nvGrpSpPr>
              <p:cNvPr id="343" name="Group 342">
                <a:extLst>
                  <a:ext uri="{FF2B5EF4-FFF2-40B4-BE49-F238E27FC236}">
                    <a16:creationId xmlns:a16="http://schemas.microsoft.com/office/drawing/2014/main" id="{99C82A7F-84D6-46C3-9B21-C9FA77BF0BD4}"/>
                  </a:ext>
                </a:extLst>
              </p:cNvPr>
              <p:cNvGrpSpPr/>
              <p:nvPr/>
            </p:nvGrpSpPr>
            <p:grpSpPr>
              <a:xfrm>
                <a:off x="2756778" y="1501149"/>
                <a:ext cx="590636" cy="852992"/>
                <a:chOff x="2395425" y="1652970"/>
                <a:chExt cx="590636" cy="852992"/>
              </a:xfrm>
            </p:grpSpPr>
            <p:sp>
              <p:nvSpPr>
                <p:cNvPr id="345" name="Oval 15">
                  <a:extLst>
                    <a:ext uri="{FF2B5EF4-FFF2-40B4-BE49-F238E27FC236}">
                      <a16:creationId xmlns:a16="http://schemas.microsoft.com/office/drawing/2014/main" id="{5E71A78C-19ED-4514-A694-AF6B2970C5B2}"/>
                    </a:ext>
                  </a:extLst>
                </p:cNvPr>
                <p:cNvSpPr>
                  <a:spLocks noChangeArrowheads="1"/>
                </p:cNvSpPr>
                <p:nvPr/>
              </p:nvSpPr>
              <p:spPr bwMode="auto">
                <a:xfrm>
                  <a:off x="2636475" y="2396758"/>
                  <a:ext cx="108539" cy="109204"/>
                </a:xfrm>
                <a:prstGeom prst="ellipse">
                  <a:avLst/>
                </a:prstGeom>
                <a:noFill/>
                <a:ln w="53975" cap="flat">
                  <a:solidFill>
                    <a:srgbClr val="002060"/>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nvGrpSpPr>
                <p:cNvPr id="346" name="Group 345">
                  <a:extLst>
                    <a:ext uri="{FF2B5EF4-FFF2-40B4-BE49-F238E27FC236}">
                      <a16:creationId xmlns:a16="http://schemas.microsoft.com/office/drawing/2014/main" id="{B89E5034-2EA9-43AF-A4F8-B22CE1D2669B}"/>
                    </a:ext>
                  </a:extLst>
                </p:cNvPr>
                <p:cNvGrpSpPr>
                  <a:grpSpLocks/>
                </p:cNvGrpSpPr>
                <p:nvPr/>
              </p:nvGrpSpPr>
              <p:grpSpPr bwMode="auto">
                <a:xfrm>
                  <a:off x="2395425" y="1652970"/>
                  <a:ext cx="590636" cy="677200"/>
                  <a:chOff x="5387973" y="2338388"/>
                  <a:chExt cx="1408113" cy="1614488"/>
                </a:xfrm>
              </p:grpSpPr>
              <p:sp>
                <p:nvSpPr>
                  <p:cNvPr id="347" name="Freeform 8">
                    <a:extLst>
                      <a:ext uri="{FF2B5EF4-FFF2-40B4-BE49-F238E27FC236}">
                        <a16:creationId xmlns:a16="http://schemas.microsoft.com/office/drawing/2014/main" id="{391DDD11-C75D-47BC-A225-891F533946A5}"/>
                      </a:ext>
                    </a:extLst>
                  </p:cNvPr>
                  <p:cNvSpPr>
                    <a:spLocks/>
                  </p:cNvSpPr>
                  <p:nvPr/>
                </p:nvSpPr>
                <p:spPr bwMode="auto">
                  <a:xfrm>
                    <a:off x="5387973" y="2338388"/>
                    <a:ext cx="1408113" cy="1614488"/>
                  </a:xfrm>
                  <a:custGeom>
                    <a:avLst/>
                    <a:gdLst>
                      <a:gd name="T0" fmla="*/ 370 w 370"/>
                      <a:gd name="T1" fmla="*/ 184 h 424"/>
                      <a:gd name="T2" fmla="*/ 185 w 370"/>
                      <a:gd name="T3" fmla="*/ 0 h 424"/>
                      <a:gd name="T4" fmla="*/ 0 w 370"/>
                      <a:gd name="T5" fmla="*/ 184 h 424"/>
                      <a:gd name="T6" fmla="*/ 152 w 370"/>
                      <a:gd name="T7" fmla="*/ 366 h 424"/>
                      <a:gd name="T8" fmla="*/ 185 w 370"/>
                      <a:gd name="T9" fmla="*/ 424 h 424"/>
                      <a:gd name="T10" fmla="*/ 218 w 370"/>
                      <a:gd name="T11" fmla="*/ 366 h 424"/>
                      <a:gd name="T12" fmla="*/ 370 w 370"/>
                      <a:gd name="T13" fmla="*/ 184 h 424"/>
                    </a:gdLst>
                    <a:ahLst/>
                    <a:cxnLst>
                      <a:cxn ang="0">
                        <a:pos x="T0" y="T1"/>
                      </a:cxn>
                      <a:cxn ang="0">
                        <a:pos x="T2" y="T3"/>
                      </a:cxn>
                      <a:cxn ang="0">
                        <a:pos x="T4" y="T5"/>
                      </a:cxn>
                      <a:cxn ang="0">
                        <a:pos x="T6" y="T7"/>
                      </a:cxn>
                      <a:cxn ang="0">
                        <a:pos x="T8" y="T9"/>
                      </a:cxn>
                      <a:cxn ang="0">
                        <a:pos x="T10" y="T11"/>
                      </a:cxn>
                      <a:cxn ang="0">
                        <a:pos x="T12" y="T13"/>
                      </a:cxn>
                    </a:cxnLst>
                    <a:rect l="0" t="0" r="r" b="b"/>
                    <a:pathLst>
                      <a:path w="370" h="424">
                        <a:moveTo>
                          <a:pt x="370" y="184"/>
                        </a:moveTo>
                        <a:cubicBezTo>
                          <a:pt x="370" y="82"/>
                          <a:pt x="287" y="0"/>
                          <a:pt x="185" y="0"/>
                        </a:cubicBezTo>
                        <a:cubicBezTo>
                          <a:pt x="83" y="0"/>
                          <a:pt x="0" y="82"/>
                          <a:pt x="0" y="184"/>
                        </a:cubicBezTo>
                        <a:cubicBezTo>
                          <a:pt x="0" y="275"/>
                          <a:pt x="66" y="350"/>
                          <a:pt x="152" y="366"/>
                        </a:cubicBezTo>
                        <a:cubicBezTo>
                          <a:pt x="185" y="424"/>
                          <a:pt x="185" y="424"/>
                          <a:pt x="185" y="424"/>
                        </a:cubicBezTo>
                        <a:cubicBezTo>
                          <a:pt x="218" y="366"/>
                          <a:pt x="218" y="366"/>
                          <a:pt x="218" y="366"/>
                        </a:cubicBezTo>
                        <a:cubicBezTo>
                          <a:pt x="304" y="350"/>
                          <a:pt x="370" y="275"/>
                          <a:pt x="370" y="184"/>
                        </a:cubicBezTo>
                        <a:close/>
                      </a:path>
                    </a:pathLst>
                  </a:custGeom>
                  <a:solidFill>
                    <a:srgbClr val="002060"/>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sp>
                <p:nvSpPr>
                  <p:cNvPr id="348" name="Oval 23">
                    <a:extLst>
                      <a:ext uri="{FF2B5EF4-FFF2-40B4-BE49-F238E27FC236}">
                        <a16:creationId xmlns:a16="http://schemas.microsoft.com/office/drawing/2014/main" id="{333C4DCD-1121-4B3B-B2E6-F60E22A12DC4}"/>
                      </a:ext>
                    </a:extLst>
                  </p:cNvPr>
                  <p:cNvSpPr>
                    <a:spLocks noChangeArrowheads="1"/>
                  </p:cNvSpPr>
                  <p:nvPr/>
                </p:nvSpPr>
                <p:spPr bwMode="auto">
                  <a:xfrm>
                    <a:off x="5597525" y="2546350"/>
                    <a:ext cx="989014" cy="987427"/>
                  </a:xfrm>
                  <a:prstGeom prst="ellipse">
                    <a:avLst/>
                  </a:prstGeom>
                  <a:solidFill>
                    <a:srgbClr val="E7E6E6"/>
                  </a:solidFill>
                  <a:ln>
                    <a:noFill/>
                  </a:ln>
                  <a:effectLst>
                    <a:outerShdw blurRad="127000" dist="63500" dir="2700000" algn="tl" rotWithShape="0">
                      <a:prstClr val="black">
                        <a:alpha val="50000"/>
                      </a:prstClr>
                    </a:outerShd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grpSp>
          <p:sp>
            <p:nvSpPr>
              <p:cNvPr id="344" name="Google Shape;2461;p54">
                <a:extLst>
                  <a:ext uri="{FF2B5EF4-FFF2-40B4-BE49-F238E27FC236}">
                    <a16:creationId xmlns:a16="http://schemas.microsoft.com/office/drawing/2014/main" id="{8E4DCBE0-8BA5-43BB-BD63-7225696DF1B3}"/>
                  </a:ext>
                </a:extLst>
              </p:cNvPr>
              <p:cNvSpPr/>
              <p:nvPr/>
            </p:nvSpPr>
            <p:spPr>
              <a:xfrm>
                <a:off x="2910199" y="1671707"/>
                <a:ext cx="287980" cy="219603"/>
              </a:xfrm>
              <a:custGeom>
                <a:avLst/>
                <a:gdLst/>
                <a:ahLst/>
                <a:cxnLst/>
                <a:rect l="l" t="t" r="r" b="b"/>
                <a:pathLst>
                  <a:path w="10883" h="8299" extrusionOk="0">
                    <a:moveTo>
                      <a:pt x="9144" y="2512"/>
                    </a:moveTo>
                    <a:cubicBezTo>
                      <a:pt x="9418" y="2512"/>
                      <a:pt x="9656" y="2715"/>
                      <a:pt x="9656" y="2953"/>
                    </a:cubicBezTo>
                    <a:lnTo>
                      <a:pt x="9656" y="2977"/>
                    </a:lnTo>
                    <a:cubicBezTo>
                      <a:pt x="9501" y="2917"/>
                      <a:pt x="9335" y="2869"/>
                      <a:pt x="9144" y="2869"/>
                    </a:cubicBezTo>
                    <a:cubicBezTo>
                      <a:pt x="8965" y="2869"/>
                      <a:pt x="8787" y="2905"/>
                      <a:pt x="8620" y="2977"/>
                    </a:cubicBezTo>
                    <a:lnTo>
                      <a:pt x="8620" y="2953"/>
                    </a:lnTo>
                    <a:cubicBezTo>
                      <a:pt x="8620" y="2727"/>
                      <a:pt x="8858" y="2512"/>
                      <a:pt x="9144" y="2512"/>
                    </a:cubicBezTo>
                    <a:close/>
                    <a:moveTo>
                      <a:pt x="2869" y="3203"/>
                    </a:moveTo>
                    <a:lnTo>
                      <a:pt x="2869" y="3858"/>
                    </a:lnTo>
                    <a:cubicBezTo>
                      <a:pt x="2869" y="3965"/>
                      <a:pt x="2846" y="4060"/>
                      <a:pt x="2798" y="4167"/>
                    </a:cubicBezTo>
                    <a:lnTo>
                      <a:pt x="2727" y="4334"/>
                    </a:lnTo>
                    <a:cubicBezTo>
                      <a:pt x="2715" y="4346"/>
                      <a:pt x="2715" y="4382"/>
                      <a:pt x="2715" y="4405"/>
                    </a:cubicBezTo>
                    <a:lnTo>
                      <a:pt x="2715" y="4751"/>
                    </a:lnTo>
                    <a:cubicBezTo>
                      <a:pt x="2715" y="4989"/>
                      <a:pt x="2619" y="5191"/>
                      <a:pt x="2441" y="5358"/>
                    </a:cubicBezTo>
                    <a:cubicBezTo>
                      <a:pt x="2298" y="5525"/>
                      <a:pt x="2072" y="5596"/>
                      <a:pt x="1834" y="5596"/>
                    </a:cubicBezTo>
                    <a:cubicBezTo>
                      <a:pt x="1369" y="5584"/>
                      <a:pt x="1000" y="5179"/>
                      <a:pt x="1000" y="4703"/>
                    </a:cubicBezTo>
                    <a:lnTo>
                      <a:pt x="1000" y="4405"/>
                    </a:lnTo>
                    <a:cubicBezTo>
                      <a:pt x="1000" y="4382"/>
                      <a:pt x="1000" y="4358"/>
                      <a:pt x="988" y="4334"/>
                    </a:cubicBezTo>
                    <a:lnTo>
                      <a:pt x="881" y="4143"/>
                    </a:lnTo>
                    <a:cubicBezTo>
                      <a:pt x="845" y="4060"/>
                      <a:pt x="822" y="3989"/>
                      <a:pt x="822" y="3905"/>
                    </a:cubicBezTo>
                    <a:lnTo>
                      <a:pt x="822" y="3882"/>
                    </a:lnTo>
                    <a:cubicBezTo>
                      <a:pt x="822" y="3501"/>
                      <a:pt x="1131" y="3203"/>
                      <a:pt x="1500" y="3203"/>
                    </a:cubicBezTo>
                    <a:close/>
                    <a:moveTo>
                      <a:pt x="9144" y="3215"/>
                    </a:moveTo>
                    <a:cubicBezTo>
                      <a:pt x="9704" y="3215"/>
                      <a:pt x="10168" y="3679"/>
                      <a:pt x="10168" y="4239"/>
                    </a:cubicBezTo>
                    <a:cubicBezTo>
                      <a:pt x="10168" y="4346"/>
                      <a:pt x="10156" y="4465"/>
                      <a:pt x="10108" y="4572"/>
                    </a:cubicBezTo>
                    <a:cubicBezTo>
                      <a:pt x="9656" y="4108"/>
                      <a:pt x="8870" y="3929"/>
                      <a:pt x="8823" y="3929"/>
                    </a:cubicBezTo>
                    <a:cubicBezTo>
                      <a:pt x="8814" y="3926"/>
                      <a:pt x="8804" y="3925"/>
                      <a:pt x="8794" y="3925"/>
                    </a:cubicBezTo>
                    <a:cubicBezTo>
                      <a:pt x="8763" y="3925"/>
                      <a:pt x="8727" y="3938"/>
                      <a:pt x="8692" y="3965"/>
                    </a:cubicBezTo>
                    <a:cubicBezTo>
                      <a:pt x="8644" y="3989"/>
                      <a:pt x="8632" y="4036"/>
                      <a:pt x="8632" y="4084"/>
                    </a:cubicBezTo>
                    <a:cubicBezTo>
                      <a:pt x="8632" y="4084"/>
                      <a:pt x="8632" y="4179"/>
                      <a:pt x="8513" y="4298"/>
                    </a:cubicBezTo>
                    <a:cubicBezTo>
                      <a:pt x="8453" y="4358"/>
                      <a:pt x="8453" y="4465"/>
                      <a:pt x="8513" y="4524"/>
                    </a:cubicBezTo>
                    <a:cubicBezTo>
                      <a:pt x="8543" y="4554"/>
                      <a:pt x="8584" y="4569"/>
                      <a:pt x="8626" y="4569"/>
                    </a:cubicBezTo>
                    <a:cubicBezTo>
                      <a:pt x="8668" y="4569"/>
                      <a:pt x="8709" y="4554"/>
                      <a:pt x="8739" y="4524"/>
                    </a:cubicBezTo>
                    <a:cubicBezTo>
                      <a:pt x="8823" y="4441"/>
                      <a:pt x="8882" y="4346"/>
                      <a:pt x="8918" y="4274"/>
                    </a:cubicBezTo>
                    <a:cubicBezTo>
                      <a:pt x="9180" y="4346"/>
                      <a:pt x="9739" y="4560"/>
                      <a:pt x="9989" y="4894"/>
                    </a:cubicBezTo>
                    <a:cubicBezTo>
                      <a:pt x="9906" y="5298"/>
                      <a:pt x="9573" y="5596"/>
                      <a:pt x="9144" y="5596"/>
                    </a:cubicBezTo>
                    <a:cubicBezTo>
                      <a:pt x="8704" y="5596"/>
                      <a:pt x="8334" y="5275"/>
                      <a:pt x="8287" y="4834"/>
                    </a:cubicBezTo>
                    <a:cubicBezTo>
                      <a:pt x="8287" y="4810"/>
                      <a:pt x="8275" y="4798"/>
                      <a:pt x="8263" y="4774"/>
                    </a:cubicBezTo>
                    <a:cubicBezTo>
                      <a:pt x="8156" y="4620"/>
                      <a:pt x="8108" y="4441"/>
                      <a:pt x="8108" y="4239"/>
                    </a:cubicBezTo>
                    <a:cubicBezTo>
                      <a:pt x="8108" y="3679"/>
                      <a:pt x="8573" y="3215"/>
                      <a:pt x="9144" y="3215"/>
                    </a:cubicBezTo>
                    <a:close/>
                    <a:moveTo>
                      <a:pt x="5441" y="298"/>
                    </a:moveTo>
                    <a:cubicBezTo>
                      <a:pt x="6013" y="298"/>
                      <a:pt x="6489" y="488"/>
                      <a:pt x="6858" y="845"/>
                    </a:cubicBezTo>
                    <a:cubicBezTo>
                      <a:pt x="7227" y="1226"/>
                      <a:pt x="7453" y="1738"/>
                      <a:pt x="7501" y="2369"/>
                    </a:cubicBezTo>
                    <a:cubicBezTo>
                      <a:pt x="7620" y="4060"/>
                      <a:pt x="7763" y="5001"/>
                      <a:pt x="7822" y="5334"/>
                    </a:cubicBezTo>
                    <a:lnTo>
                      <a:pt x="7822" y="5346"/>
                    </a:lnTo>
                    <a:cubicBezTo>
                      <a:pt x="7632" y="5453"/>
                      <a:pt x="7310" y="5632"/>
                      <a:pt x="6787" y="5763"/>
                    </a:cubicBezTo>
                    <a:lnTo>
                      <a:pt x="6525" y="5644"/>
                    </a:lnTo>
                    <a:cubicBezTo>
                      <a:pt x="6453" y="5608"/>
                      <a:pt x="6418" y="5548"/>
                      <a:pt x="6418" y="5477"/>
                    </a:cubicBezTo>
                    <a:lnTo>
                      <a:pt x="6418" y="4929"/>
                    </a:lnTo>
                    <a:cubicBezTo>
                      <a:pt x="6918" y="4596"/>
                      <a:pt x="7263" y="4024"/>
                      <a:pt x="7263" y="3370"/>
                    </a:cubicBezTo>
                    <a:lnTo>
                      <a:pt x="7263" y="3072"/>
                    </a:lnTo>
                    <a:cubicBezTo>
                      <a:pt x="7263" y="2869"/>
                      <a:pt x="7180" y="2691"/>
                      <a:pt x="7037" y="2560"/>
                    </a:cubicBezTo>
                    <a:cubicBezTo>
                      <a:pt x="6727" y="2274"/>
                      <a:pt x="6001" y="1798"/>
                      <a:pt x="4751" y="1667"/>
                    </a:cubicBezTo>
                    <a:cubicBezTo>
                      <a:pt x="4744" y="1666"/>
                      <a:pt x="4737" y="1666"/>
                      <a:pt x="4730" y="1666"/>
                    </a:cubicBezTo>
                    <a:cubicBezTo>
                      <a:pt x="4645" y="1666"/>
                      <a:pt x="4583" y="1733"/>
                      <a:pt x="4572" y="1822"/>
                    </a:cubicBezTo>
                    <a:cubicBezTo>
                      <a:pt x="4548" y="1905"/>
                      <a:pt x="4632" y="1977"/>
                      <a:pt x="4715" y="2000"/>
                    </a:cubicBezTo>
                    <a:cubicBezTo>
                      <a:pt x="5882" y="2119"/>
                      <a:pt x="6537" y="2548"/>
                      <a:pt x="6834" y="2798"/>
                    </a:cubicBezTo>
                    <a:cubicBezTo>
                      <a:pt x="6906" y="2858"/>
                      <a:pt x="6953" y="2965"/>
                      <a:pt x="6953" y="3072"/>
                    </a:cubicBezTo>
                    <a:lnTo>
                      <a:pt x="6953" y="3370"/>
                    </a:lnTo>
                    <a:cubicBezTo>
                      <a:pt x="6953" y="4215"/>
                      <a:pt x="6263" y="4894"/>
                      <a:pt x="5417" y="4894"/>
                    </a:cubicBezTo>
                    <a:cubicBezTo>
                      <a:pt x="4572" y="4894"/>
                      <a:pt x="3881" y="4215"/>
                      <a:pt x="3881" y="3370"/>
                    </a:cubicBezTo>
                    <a:lnTo>
                      <a:pt x="3881" y="3227"/>
                    </a:lnTo>
                    <a:cubicBezTo>
                      <a:pt x="3881" y="3167"/>
                      <a:pt x="3917" y="3108"/>
                      <a:pt x="3977" y="3084"/>
                    </a:cubicBezTo>
                    <a:cubicBezTo>
                      <a:pt x="4167" y="2965"/>
                      <a:pt x="4429" y="2750"/>
                      <a:pt x="4548" y="2393"/>
                    </a:cubicBezTo>
                    <a:cubicBezTo>
                      <a:pt x="4584" y="2310"/>
                      <a:pt x="4536" y="2215"/>
                      <a:pt x="4453" y="2203"/>
                    </a:cubicBezTo>
                    <a:cubicBezTo>
                      <a:pt x="4434" y="2198"/>
                      <a:pt x="4415" y="2196"/>
                      <a:pt x="4398" y="2196"/>
                    </a:cubicBezTo>
                    <a:cubicBezTo>
                      <a:pt x="4327" y="2196"/>
                      <a:pt x="4270" y="2234"/>
                      <a:pt x="4251" y="2310"/>
                    </a:cubicBezTo>
                    <a:cubicBezTo>
                      <a:pt x="4167" y="2572"/>
                      <a:pt x="3977" y="2727"/>
                      <a:pt x="3822" y="2810"/>
                    </a:cubicBezTo>
                    <a:cubicBezTo>
                      <a:pt x="3679" y="2905"/>
                      <a:pt x="3572" y="3072"/>
                      <a:pt x="3572" y="3227"/>
                    </a:cubicBezTo>
                    <a:lnTo>
                      <a:pt x="3572" y="3370"/>
                    </a:lnTo>
                    <a:cubicBezTo>
                      <a:pt x="3572" y="4024"/>
                      <a:pt x="3917" y="4584"/>
                      <a:pt x="4417" y="4929"/>
                    </a:cubicBezTo>
                    <a:lnTo>
                      <a:pt x="4417" y="5477"/>
                    </a:lnTo>
                    <a:cubicBezTo>
                      <a:pt x="4417" y="5548"/>
                      <a:pt x="4370" y="5608"/>
                      <a:pt x="4310" y="5644"/>
                    </a:cubicBezTo>
                    <a:lnTo>
                      <a:pt x="4048" y="5763"/>
                    </a:lnTo>
                    <a:cubicBezTo>
                      <a:pt x="3536" y="5632"/>
                      <a:pt x="3215" y="5453"/>
                      <a:pt x="3060" y="5346"/>
                    </a:cubicBezTo>
                    <a:lnTo>
                      <a:pt x="3060" y="5334"/>
                    </a:lnTo>
                    <a:cubicBezTo>
                      <a:pt x="3131" y="5001"/>
                      <a:pt x="3262" y="4060"/>
                      <a:pt x="3393" y="2369"/>
                    </a:cubicBezTo>
                    <a:cubicBezTo>
                      <a:pt x="3441" y="1738"/>
                      <a:pt x="3655" y="1226"/>
                      <a:pt x="4036" y="845"/>
                    </a:cubicBezTo>
                    <a:cubicBezTo>
                      <a:pt x="4393" y="488"/>
                      <a:pt x="4882" y="298"/>
                      <a:pt x="5441" y="298"/>
                    </a:cubicBezTo>
                    <a:close/>
                    <a:moveTo>
                      <a:pt x="2750" y="5465"/>
                    </a:moveTo>
                    <a:cubicBezTo>
                      <a:pt x="2786" y="5501"/>
                      <a:pt x="2810" y="5572"/>
                      <a:pt x="2869" y="5596"/>
                    </a:cubicBezTo>
                    <a:cubicBezTo>
                      <a:pt x="3000" y="5691"/>
                      <a:pt x="3239" y="5822"/>
                      <a:pt x="3584" y="5941"/>
                    </a:cubicBezTo>
                    <a:lnTo>
                      <a:pt x="3155" y="6144"/>
                    </a:lnTo>
                    <a:lnTo>
                      <a:pt x="2655" y="6001"/>
                    </a:lnTo>
                    <a:cubicBezTo>
                      <a:pt x="2512" y="5953"/>
                      <a:pt x="2512" y="5953"/>
                      <a:pt x="2512" y="5906"/>
                    </a:cubicBezTo>
                    <a:lnTo>
                      <a:pt x="2512" y="5691"/>
                    </a:lnTo>
                    <a:cubicBezTo>
                      <a:pt x="2572" y="5656"/>
                      <a:pt x="2619" y="5608"/>
                      <a:pt x="2667" y="5572"/>
                    </a:cubicBezTo>
                    <a:cubicBezTo>
                      <a:pt x="2691" y="5536"/>
                      <a:pt x="2727" y="5513"/>
                      <a:pt x="2750" y="5465"/>
                    </a:cubicBezTo>
                    <a:close/>
                    <a:moveTo>
                      <a:pt x="8096" y="5239"/>
                    </a:moveTo>
                    <a:cubicBezTo>
                      <a:pt x="8180" y="5417"/>
                      <a:pt x="8323" y="5572"/>
                      <a:pt x="8477" y="5691"/>
                    </a:cubicBezTo>
                    <a:lnTo>
                      <a:pt x="8477" y="6025"/>
                    </a:lnTo>
                    <a:lnTo>
                      <a:pt x="8489" y="6025"/>
                    </a:lnTo>
                    <a:lnTo>
                      <a:pt x="7977" y="6287"/>
                    </a:lnTo>
                    <a:cubicBezTo>
                      <a:pt x="7977" y="6287"/>
                      <a:pt x="7965" y="6287"/>
                      <a:pt x="7965" y="6263"/>
                    </a:cubicBezTo>
                    <a:lnTo>
                      <a:pt x="7227" y="5941"/>
                    </a:lnTo>
                    <a:cubicBezTo>
                      <a:pt x="7596" y="5822"/>
                      <a:pt x="7822" y="5667"/>
                      <a:pt x="7942" y="5596"/>
                    </a:cubicBezTo>
                    <a:cubicBezTo>
                      <a:pt x="8049" y="5525"/>
                      <a:pt x="8108" y="5406"/>
                      <a:pt x="8096" y="5275"/>
                    </a:cubicBezTo>
                    <a:lnTo>
                      <a:pt x="8096" y="5239"/>
                    </a:lnTo>
                    <a:close/>
                    <a:moveTo>
                      <a:pt x="2203" y="5870"/>
                    </a:moveTo>
                    <a:lnTo>
                      <a:pt x="2203" y="5929"/>
                    </a:lnTo>
                    <a:cubicBezTo>
                      <a:pt x="2203" y="5953"/>
                      <a:pt x="2203" y="5989"/>
                      <a:pt x="2215" y="6013"/>
                    </a:cubicBezTo>
                    <a:lnTo>
                      <a:pt x="1857" y="6370"/>
                    </a:lnTo>
                    <a:lnTo>
                      <a:pt x="1500" y="6013"/>
                    </a:lnTo>
                    <a:cubicBezTo>
                      <a:pt x="1512" y="5989"/>
                      <a:pt x="1512" y="5953"/>
                      <a:pt x="1512" y="5929"/>
                    </a:cubicBezTo>
                    <a:lnTo>
                      <a:pt x="1512" y="5870"/>
                    </a:lnTo>
                    <a:cubicBezTo>
                      <a:pt x="1619" y="5894"/>
                      <a:pt x="1726" y="5929"/>
                      <a:pt x="1834" y="5929"/>
                    </a:cubicBezTo>
                    <a:lnTo>
                      <a:pt x="1857" y="5929"/>
                    </a:lnTo>
                    <a:cubicBezTo>
                      <a:pt x="1976" y="5929"/>
                      <a:pt x="2096" y="5906"/>
                      <a:pt x="2203" y="5870"/>
                    </a:cubicBezTo>
                    <a:close/>
                    <a:moveTo>
                      <a:pt x="9525" y="5882"/>
                    </a:moveTo>
                    <a:lnTo>
                      <a:pt x="9525" y="6048"/>
                    </a:lnTo>
                    <a:cubicBezTo>
                      <a:pt x="9525" y="6108"/>
                      <a:pt x="9537" y="6144"/>
                      <a:pt x="9573" y="6191"/>
                    </a:cubicBezTo>
                    <a:lnTo>
                      <a:pt x="9394" y="6322"/>
                    </a:lnTo>
                    <a:cubicBezTo>
                      <a:pt x="9323" y="6394"/>
                      <a:pt x="9236" y="6429"/>
                      <a:pt x="9151" y="6429"/>
                    </a:cubicBezTo>
                    <a:cubicBezTo>
                      <a:pt x="9067" y="6429"/>
                      <a:pt x="8983" y="6394"/>
                      <a:pt x="8918" y="6322"/>
                    </a:cubicBezTo>
                    <a:lnTo>
                      <a:pt x="8763" y="6191"/>
                    </a:lnTo>
                    <a:cubicBezTo>
                      <a:pt x="8799" y="6144"/>
                      <a:pt x="8811" y="6084"/>
                      <a:pt x="8811" y="6048"/>
                    </a:cubicBezTo>
                    <a:lnTo>
                      <a:pt x="8811" y="5882"/>
                    </a:lnTo>
                    <a:cubicBezTo>
                      <a:pt x="8918" y="5906"/>
                      <a:pt x="9037" y="5941"/>
                      <a:pt x="9168" y="5941"/>
                    </a:cubicBezTo>
                    <a:cubicBezTo>
                      <a:pt x="9287" y="5941"/>
                      <a:pt x="9406" y="5929"/>
                      <a:pt x="9525" y="5882"/>
                    </a:cubicBezTo>
                    <a:close/>
                    <a:moveTo>
                      <a:pt x="6096" y="5096"/>
                    </a:moveTo>
                    <a:lnTo>
                      <a:pt x="6096" y="5477"/>
                    </a:lnTo>
                    <a:cubicBezTo>
                      <a:pt x="6096" y="5667"/>
                      <a:pt x="6215" y="5846"/>
                      <a:pt x="6394" y="5941"/>
                    </a:cubicBezTo>
                    <a:lnTo>
                      <a:pt x="6632" y="6048"/>
                    </a:lnTo>
                    <a:cubicBezTo>
                      <a:pt x="6406" y="6489"/>
                      <a:pt x="5941" y="6787"/>
                      <a:pt x="5417" y="6787"/>
                    </a:cubicBezTo>
                    <a:cubicBezTo>
                      <a:pt x="4894" y="6787"/>
                      <a:pt x="4441" y="6501"/>
                      <a:pt x="4203" y="6048"/>
                    </a:cubicBezTo>
                    <a:lnTo>
                      <a:pt x="4441" y="5941"/>
                    </a:lnTo>
                    <a:cubicBezTo>
                      <a:pt x="4620" y="5870"/>
                      <a:pt x="4739" y="5691"/>
                      <a:pt x="4739" y="5477"/>
                    </a:cubicBezTo>
                    <a:lnTo>
                      <a:pt x="4739" y="5096"/>
                    </a:lnTo>
                    <a:cubicBezTo>
                      <a:pt x="4941" y="5179"/>
                      <a:pt x="5179" y="5227"/>
                      <a:pt x="5417" y="5227"/>
                    </a:cubicBezTo>
                    <a:cubicBezTo>
                      <a:pt x="5656" y="5227"/>
                      <a:pt x="5894" y="5179"/>
                      <a:pt x="6096" y="5096"/>
                    </a:cubicBezTo>
                    <a:close/>
                    <a:moveTo>
                      <a:pt x="5417" y="0"/>
                    </a:moveTo>
                    <a:cubicBezTo>
                      <a:pt x="4763" y="0"/>
                      <a:pt x="4215" y="226"/>
                      <a:pt x="3786" y="643"/>
                    </a:cubicBezTo>
                    <a:cubicBezTo>
                      <a:pt x="3346" y="1060"/>
                      <a:pt x="3096" y="1655"/>
                      <a:pt x="3048" y="2346"/>
                    </a:cubicBezTo>
                    <a:cubicBezTo>
                      <a:pt x="3036" y="2548"/>
                      <a:pt x="3024" y="2703"/>
                      <a:pt x="3012" y="2881"/>
                    </a:cubicBezTo>
                    <a:lnTo>
                      <a:pt x="1524" y="2881"/>
                    </a:lnTo>
                    <a:cubicBezTo>
                      <a:pt x="964" y="2881"/>
                      <a:pt x="512" y="3334"/>
                      <a:pt x="512" y="3893"/>
                    </a:cubicBezTo>
                    <a:lnTo>
                      <a:pt x="512" y="3917"/>
                    </a:lnTo>
                    <a:cubicBezTo>
                      <a:pt x="512" y="4048"/>
                      <a:pt x="536" y="4167"/>
                      <a:pt x="595" y="4286"/>
                    </a:cubicBezTo>
                    <a:lnTo>
                      <a:pt x="667" y="4453"/>
                    </a:lnTo>
                    <a:lnTo>
                      <a:pt x="667" y="4703"/>
                    </a:lnTo>
                    <a:cubicBezTo>
                      <a:pt x="667" y="5120"/>
                      <a:pt x="881" y="5477"/>
                      <a:pt x="1179" y="5703"/>
                    </a:cubicBezTo>
                    <a:lnTo>
                      <a:pt x="1179" y="5929"/>
                    </a:lnTo>
                    <a:cubicBezTo>
                      <a:pt x="1179" y="5953"/>
                      <a:pt x="1167" y="5989"/>
                      <a:pt x="1131" y="5989"/>
                    </a:cubicBezTo>
                    <a:lnTo>
                      <a:pt x="476" y="6179"/>
                    </a:lnTo>
                    <a:cubicBezTo>
                      <a:pt x="191" y="6251"/>
                      <a:pt x="0" y="6513"/>
                      <a:pt x="0" y="6810"/>
                    </a:cubicBezTo>
                    <a:lnTo>
                      <a:pt x="0" y="8120"/>
                    </a:lnTo>
                    <a:cubicBezTo>
                      <a:pt x="0" y="8215"/>
                      <a:pt x="71" y="8287"/>
                      <a:pt x="167" y="8287"/>
                    </a:cubicBezTo>
                    <a:cubicBezTo>
                      <a:pt x="250" y="8287"/>
                      <a:pt x="333" y="8215"/>
                      <a:pt x="333" y="8120"/>
                    </a:cubicBezTo>
                    <a:lnTo>
                      <a:pt x="333" y="6810"/>
                    </a:lnTo>
                    <a:cubicBezTo>
                      <a:pt x="333" y="6668"/>
                      <a:pt x="429" y="6513"/>
                      <a:pt x="583" y="6477"/>
                    </a:cubicBezTo>
                    <a:lnTo>
                      <a:pt x="1238" y="6287"/>
                    </a:lnTo>
                    <a:cubicBezTo>
                      <a:pt x="1262" y="6287"/>
                      <a:pt x="1286" y="6263"/>
                      <a:pt x="1310" y="6251"/>
                    </a:cubicBezTo>
                    <a:lnTo>
                      <a:pt x="1715" y="6656"/>
                    </a:lnTo>
                    <a:lnTo>
                      <a:pt x="1715" y="8108"/>
                    </a:lnTo>
                    <a:cubicBezTo>
                      <a:pt x="1715" y="8203"/>
                      <a:pt x="1786" y="8275"/>
                      <a:pt x="1881" y="8275"/>
                    </a:cubicBezTo>
                    <a:cubicBezTo>
                      <a:pt x="1965" y="8275"/>
                      <a:pt x="2036" y="8203"/>
                      <a:pt x="2036" y="8108"/>
                    </a:cubicBezTo>
                    <a:lnTo>
                      <a:pt x="2036" y="6656"/>
                    </a:lnTo>
                    <a:lnTo>
                      <a:pt x="2441" y="6251"/>
                    </a:lnTo>
                    <a:cubicBezTo>
                      <a:pt x="2500" y="6287"/>
                      <a:pt x="2548" y="6298"/>
                      <a:pt x="2596" y="6310"/>
                    </a:cubicBezTo>
                    <a:lnTo>
                      <a:pt x="2750" y="6358"/>
                    </a:lnTo>
                    <a:cubicBezTo>
                      <a:pt x="2536" y="6501"/>
                      <a:pt x="2393" y="6751"/>
                      <a:pt x="2393" y="7037"/>
                    </a:cubicBezTo>
                    <a:lnTo>
                      <a:pt x="2393" y="8120"/>
                    </a:lnTo>
                    <a:cubicBezTo>
                      <a:pt x="2393" y="8215"/>
                      <a:pt x="2465" y="8287"/>
                      <a:pt x="2560" y="8287"/>
                    </a:cubicBezTo>
                    <a:cubicBezTo>
                      <a:pt x="2643" y="8287"/>
                      <a:pt x="2727" y="8215"/>
                      <a:pt x="2727" y="8120"/>
                    </a:cubicBezTo>
                    <a:lnTo>
                      <a:pt x="2727" y="7037"/>
                    </a:lnTo>
                    <a:cubicBezTo>
                      <a:pt x="2727" y="6834"/>
                      <a:pt x="2846" y="6656"/>
                      <a:pt x="3036" y="6560"/>
                    </a:cubicBezTo>
                    <a:lnTo>
                      <a:pt x="3941" y="6156"/>
                    </a:lnTo>
                    <a:cubicBezTo>
                      <a:pt x="4227" y="6727"/>
                      <a:pt x="4810" y="7096"/>
                      <a:pt x="5441" y="7096"/>
                    </a:cubicBezTo>
                    <a:cubicBezTo>
                      <a:pt x="6084" y="7096"/>
                      <a:pt x="6668" y="6739"/>
                      <a:pt x="6953" y="6156"/>
                    </a:cubicBezTo>
                    <a:lnTo>
                      <a:pt x="7858" y="6560"/>
                    </a:lnTo>
                    <a:cubicBezTo>
                      <a:pt x="8049" y="6656"/>
                      <a:pt x="8168" y="6834"/>
                      <a:pt x="8168" y="7037"/>
                    </a:cubicBezTo>
                    <a:lnTo>
                      <a:pt x="8168" y="8120"/>
                    </a:lnTo>
                    <a:cubicBezTo>
                      <a:pt x="8168" y="8215"/>
                      <a:pt x="8239" y="8287"/>
                      <a:pt x="8334" y="8287"/>
                    </a:cubicBezTo>
                    <a:cubicBezTo>
                      <a:pt x="8418" y="8287"/>
                      <a:pt x="8501" y="8215"/>
                      <a:pt x="8501" y="8120"/>
                    </a:cubicBezTo>
                    <a:lnTo>
                      <a:pt x="8501" y="7037"/>
                    </a:lnTo>
                    <a:cubicBezTo>
                      <a:pt x="8501" y="6834"/>
                      <a:pt x="8418" y="6656"/>
                      <a:pt x="8299" y="6501"/>
                    </a:cubicBezTo>
                    <a:lnTo>
                      <a:pt x="8537" y="6382"/>
                    </a:lnTo>
                    <a:lnTo>
                      <a:pt x="8715" y="6560"/>
                    </a:lnTo>
                    <a:cubicBezTo>
                      <a:pt x="8858" y="6679"/>
                      <a:pt x="9013" y="6739"/>
                      <a:pt x="9180" y="6739"/>
                    </a:cubicBezTo>
                    <a:cubicBezTo>
                      <a:pt x="9346" y="6739"/>
                      <a:pt x="9513" y="6679"/>
                      <a:pt x="9644" y="6560"/>
                    </a:cubicBezTo>
                    <a:lnTo>
                      <a:pt x="9823" y="6382"/>
                    </a:lnTo>
                    <a:lnTo>
                      <a:pt x="10358" y="6656"/>
                    </a:lnTo>
                    <a:cubicBezTo>
                      <a:pt x="10478" y="6715"/>
                      <a:pt x="10549" y="6834"/>
                      <a:pt x="10549" y="6965"/>
                    </a:cubicBezTo>
                    <a:lnTo>
                      <a:pt x="10549" y="8144"/>
                    </a:lnTo>
                    <a:cubicBezTo>
                      <a:pt x="10549" y="8227"/>
                      <a:pt x="10620" y="8299"/>
                      <a:pt x="10716" y="8299"/>
                    </a:cubicBezTo>
                    <a:cubicBezTo>
                      <a:pt x="10799" y="8299"/>
                      <a:pt x="10882" y="8227"/>
                      <a:pt x="10882" y="8144"/>
                    </a:cubicBezTo>
                    <a:lnTo>
                      <a:pt x="10882" y="6965"/>
                    </a:lnTo>
                    <a:cubicBezTo>
                      <a:pt x="10823" y="6703"/>
                      <a:pt x="10692" y="6477"/>
                      <a:pt x="10466" y="6358"/>
                    </a:cubicBezTo>
                    <a:lnTo>
                      <a:pt x="9823" y="6025"/>
                    </a:lnTo>
                    <a:lnTo>
                      <a:pt x="9823" y="6013"/>
                    </a:lnTo>
                    <a:lnTo>
                      <a:pt x="9823" y="5691"/>
                    </a:lnTo>
                    <a:cubicBezTo>
                      <a:pt x="10097" y="5501"/>
                      <a:pt x="10275" y="5227"/>
                      <a:pt x="10311" y="4882"/>
                    </a:cubicBezTo>
                    <a:cubicBezTo>
                      <a:pt x="10430" y="4679"/>
                      <a:pt x="10489" y="4453"/>
                      <a:pt x="10489" y="4215"/>
                    </a:cubicBezTo>
                    <a:cubicBezTo>
                      <a:pt x="10489" y="3786"/>
                      <a:pt x="10287" y="3381"/>
                      <a:pt x="9954" y="3143"/>
                    </a:cubicBezTo>
                    <a:cubicBezTo>
                      <a:pt x="9977" y="3084"/>
                      <a:pt x="9989" y="3012"/>
                      <a:pt x="9989" y="2953"/>
                    </a:cubicBezTo>
                    <a:cubicBezTo>
                      <a:pt x="9989" y="2536"/>
                      <a:pt x="9620" y="2191"/>
                      <a:pt x="9156" y="2191"/>
                    </a:cubicBezTo>
                    <a:cubicBezTo>
                      <a:pt x="8692" y="2191"/>
                      <a:pt x="8323" y="2524"/>
                      <a:pt x="8323" y="2953"/>
                    </a:cubicBezTo>
                    <a:cubicBezTo>
                      <a:pt x="8323" y="3024"/>
                      <a:pt x="8334" y="3084"/>
                      <a:pt x="8346" y="3143"/>
                    </a:cubicBezTo>
                    <a:cubicBezTo>
                      <a:pt x="8156" y="3286"/>
                      <a:pt x="8013" y="3477"/>
                      <a:pt x="7906" y="3715"/>
                    </a:cubicBezTo>
                    <a:cubicBezTo>
                      <a:pt x="7858" y="3334"/>
                      <a:pt x="7834" y="2869"/>
                      <a:pt x="7787" y="2346"/>
                    </a:cubicBezTo>
                    <a:cubicBezTo>
                      <a:pt x="7739" y="1655"/>
                      <a:pt x="7489" y="1060"/>
                      <a:pt x="7060" y="643"/>
                    </a:cubicBezTo>
                    <a:cubicBezTo>
                      <a:pt x="6644" y="226"/>
                      <a:pt x="6072" y="0"/>
                      <a:pt x="5417" y="0"/>
                    </a:cubicBezTo>
                    <a:close/>
                  </a:path>
                </a:pathLst>
              </a:custGeom>
              <a:solidFill>
                <a:srgbClr val="002060"/>
              </a:solidFill>
              <a:ln>
                <a:noFill/>
              </a:ln>
            </p:spPr>
            <p:txBody>
              <a:bodyPr spcFirstLastPara="1" wrap="square" lIns="91425" tIns="91425" rIns="91425" bIns="91425" anchor="ctr" anchorCtr="0">
                <a:noAutofit/>
              </a:bodyPr>
              <a:lstStyle/>
              <a:p>
                <a:endParaRPr/>
              </a:p>
            </p:txBody>
          </p:sp>
        </p:grpSp>
      </p:grpSp>
      <p:grpSp>
        <p:nvGrpSpPr>
          <p:cNvPr id="10" name="Group 9">
            <a:extLst>
              <a:ext uri="{FF2B5EF4-FFF2-40B4-BE49-F238E27FC236}">
                <a16:creationId xmlns:a16="http://schemas.microsoft.com/office/drawing/2014/main" id="{5CE2EFC6-CD43-41F7-A7B9-C4F5847388BC}"/>
              </a:ext>
            </a:extLst>
          </p:cNvPr>
          <p:cNvGrpSpPr/>
          <p:nvPr/>
        </p:nvGrpSpPr>
        <p:grpSpPr>
          <a:xfrm>
            <a:off x="3768674" y="2392190"/>
            <a:ext cx="1492111" cy="2481619"/>
            <a:chOff x="3594818" y="2392190"/>
            <a:chExt cx="1492111" cy="2481619"/>
          </a:xfrm>
        </p:grpSpPr>
        <p:sp>
          <p:nvSpPr>
            <p:cNvPr id="216" name="TextBox 215">
              <a:extLst>
                <a:ext uri="{FF2B5EF4-FFF2-40B4-BE49-F238E27FC236}">
                  <a16:creationId xmlns:a16="http://schemas.microsoft.com/office/drawing/2014/main" id="{AF97E2DF-2C28-41A5-B8A8-5B272450971B}"/>
                </a:ext>
              </a:extLst>
            </p:cNvPr>
            <p:cNvSpPr txBox="1"/>
            <p:nvPr/>
          </p:nvSpPr>
          <p:spPr>
            <a:xfrm>
              <a:off x="3982439" y="2392190"/>
              <a:ext cx="716868" cy="414729"/>
            </a:xfrm>
            <a:prstGeom prst="rect">
              <a:avLst/>
            </a:prstGeom>
            <a:noFill/>
          </p:spPr>
          <p:txBody>
            <a:bodyPr wrap="square" rtlCol="0">
              <a:spAutoFit/>
            </a:bodyPr>
            <a:lstStyle/>
            <a:p>
              <a:pPr algn="ctr">
                <a:lnSpc>
                  <a:spcPts val="1320"/>
                </a:lnSpc>
              </a:pPr>
              <a:r>
                <a:rPr lang="en-GR" sz="1050" b="1" dirty="0">
                  <a:solidFill>
                    <a:schemeClr val="bg1">
                      <a:lumMod val="50000"/>
                    </a:schemeClr>
                  </a:solidFill>
                  <a:latin typeface="Arial" panose="020B0604020202020204" pitchFamily="34" charset="0"/>
                  <a:cs typeface="Arial" panose="020B0604020202020204" pitchFamily="34" charset="0"/>
                </a:rPr>
                <a:t>MAR </a:t>
              </a:r>
              <a:r>
                <a:rPr lang="es-ES" sz="1050" b="1" dirty="0">
                  <a:solidFill>
                    <a:schemeClr val="bg1">
                      <a:lumMod val="50000"/>
                    </a:schemeClr>
                  </a:solidFill>
                  <a:latin typeface="Arial" panose="020B0604020202020204" pitchFamily="34" charset="0"/>
                  <a:cs typeface="Arial" panose="020B0604020202020204" pitchFamily="34" charset="0"/>
                </a:rPr>
                <a:t>2021</a:t>
              </a:r>
              <a:endParaRPr lang="en-GR" sz="1050" b="1" dirty="0">
                <a:solidFill>
                  <a:schemeClr val="bg1">
                    <a:lumMod val="50000"/>
                  </a:schemeClr>
                </a:solidFill>
                <a:latin typeface="Arial" panose="020B0604020202020204" pitchFamily="34" charset="0"/>
                <a:cs typeface="Arial" panose="020B0604020202020204" pitchFamily="34" charset="0"/>
              </a:endParaRPr>
            </a:p>
          </p:txBody>
        </p:sp>
        <p:sp>
          <p:nvSpPr>
            <p:cNvPr id="222" name="Rechteck 129">
              <a:extLst>
                <a:ext uri="{FF2B5EF4-FFF2-40B4-BE49-F238E27FC236}">
                  <a16:creationId xmlns:a16="http://schemas.microsoft.com/office/drawing/2014/main" id="{35CDF885-E143-474A-AB7C-D9884230B9DA}"/>
                </a:ext>
              </a:extLst>
            </p:cNvPr>
            <p:cNvSpPr/>
            <p:nvPr/>
          </p:nvSpPr>
          <p:spPr bwMode="gray">
            <a:xfrm>
              <a:off x="3594818" y="3685233"/>
              <a:ext cx="1492111" cy="1188576"/>
            </a:xfrm>
            <a:prstGeom prst="rect">
              <a:avLst/>
            </a:prstGeom>
          </p:spPr>
          <p:style>
            <a:lnRef idx="0">
              <a:scrgbClr r="0" g="0" b="0"/>
            </a:lnRef>
            <a:fillRef idx="0">
              <a:scrgbClr r="0" g="0" b="0"/>
            </a:fillRef>
            <a:effectRef idx="0">
              <a:scrgbClr r="0" g="0" b="0"/>
            </a:effectRef>
            <a:fontRef idx="major"/>
          </p:style>
          <p:txBody>
            <a:bodyPr wrap="square" lIns="72000" tIns="46800" rIns="72000">
              <a:no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defTabSz="801608">
                <a:spcAft>
                  <a:spcPts val="400"/>
                </a:spcAft>
              </a:pPr>
              <a:r>
                <a:rPr lang="en-US" sz="1000" b="1" dirty="0">
                  <a:solidFill>
                    <a:srgbClr val="14438E"/>
                  </a:solidFill>
                  <a:latin typeface="Arial" panose="020B0604020202020204" pitchFamily="34" charset="0"/>
                  <a:cs typeface="Arial" panose="020B0604020202020204" pitchFamily="34" charset="0"/>
                </a:rPr>
                <a:t>User Group &amp; LM</a:t>
              </a:r>
            </a:p>
            <a:p>
              <a:pPr marL="171450" indent="-171450" algn="ctr" defTabSz="801608">
                <a:spcAft>
                  <a:spcPts val="400"/>
                </a:spcAft>
                <a:buFont typeface="Arial" panose="020B0604020202020204" pitchFamily="34" charset="0"/>
                <a:buChar char="•"/>
              </a:pPr>
              <a:r>
                <a:rPr lang="en-US" sz="900" dirty="0">
                  <a:solidFill>
                    <a:schemeClr val="tx1">
                      <a:lumMod val="65000"/>
                      <a:lumOff val="35000"/>
                    </a:schemeClr>
                  </a:solidFill>
                  <a:latin typeface="Arial" panose="020B0604020202020204" pitchFamily="34" charset="0"/>
                  <a:cs typeface="Arial" panose="020B0604020202020204" pitchFamily="34" charset="0"/>
                </a:rPr>
                <a:t>Consultation on the project definition at the User Group meeting </a:t>
              </a:r>
            </a:p>
            <a:p>
              <a:pPr marL="171450" indent="-171450" algn="ctr" defTabSz="801608">
                <a:spcAft>
                  <a:spcPts val="400"/>
                </a:spcAft>
                <a:buFont typeface="Arial" panose="020B0604020202020204" pitchFamily="34" charset="0"/>
                <a:buChar char="•"/>
              </a:pPr>
              <a:r>
                <a:rPr lang="en-US" sz="900" dirty="0">
                  <a:solidFill>
                    <a:schemeClr val="tx1">
                      <a:lumMod val="65000"/>
                      <a:lumOff val="35000"/>
                    </a:schemeClr>
                  </a:solidFill>
                  <a:latin typeface="Arial" panose="020B0604020202020204" pitchFamily="34" charset="0"/>
                  <a:cs typeface="Arial" panose="020B0604020202020204" pitchFamily="34" charset="0"/>
                </a:rPr>
                <a:t>CP14 project definition acknowledgement</a:t>
              </a:r>
            </a:p>
          </p:txBody>
        </p:sp>
        <p:grpSp>
          <p:nvGrpSpPr>
            <p:cNvPr id="349" name="Group 348">
              <a:extLst>
                <a:ext uri="{FF2B5EF4-FFF2-40B4-BE49-F238E27FC236}">
                  <a16:creationId xmlns:a16="http://schemas.microsoft.com/office/drawing/2014/main" id="{C13D0525-DCF9-4886-A55E-A91C1E83A6FC}"/>
                </a:ext>
              </a:extLst>
            </p:cNvPr>
            <p:cNvGrpSpPr/>
            <p:nvPr/>
          </p:nvGrpSpPr>
          <p:grpSpPr>
            <a:xfrm>
              <a:off x="4046221" y="2839577"/>
              <a:ext cx="589304" cy="852992"/>
              <a:chOff x="4046222" y="2839577"/>
              <a:chExt cx="589304" cy="852992"/>
            </a:xfrm>
          </p:grpSpPr>
          <p:grpSp>
            <p:nvGrpSpPr>
              <p:cNvPr id="350" name="Group 349">
                <a:extLst>
                  <a:ext uri="{FF2B5EF4-FFF2-40B4-BE49-F238E27FC236}">
                    <a16:creationId xmlns:a16="http://schemas.microsoft.com/office/drawing/2014/main" id="{EB409FBE-21D9-4A79-AA9B-F57567DF4E12}"/>
                  </a:ext>
                </a:extLst>
              </p:cNvPr>
              <p:cNvGrpSpPr/>
              <p:nvPr/>
            </p:nvGrpSpPr>
            <p:grpSpPr>
              <a:xfrm rot="10800000">
                <a:off x="4046222" y="2839577"/>
                <a:ext cx="589304" cy="852992"/>
                <a:chOff x="3209132" y="1652970"/>
                <a:chExt cx="589304" cy="852992"/>
              </a:xfrm>
            </p:grpSpPr>
            <p:sp>
              <p:nvSpPr>
                <p:cNvPr id="361" name="Oval 17">
                  <a:extLst>
                    <a:ext uri="{FF2B5EF4-FFF2-40B4-BE49-F238E27FC236}">
                      <a16:creationId xmlns:a16="http://schemas.microsoft.com/office/drawing/2014/main" id="{4EFF25E8-A5CD-4346-9E89-F2C887FB2425}"/>
                    </a:ext>
                  </a:extLst>
                </p:cNvPr>
                <p:cNvSpPr>
                  <a:spLocks noChangeArrowheads="1"/>
                </p:cNvSpPr>
                <p:nvPr/>
              </p:nvSpPr>
              <p:spPr bwMode="auto">
                <a:xfrm>
                  <a:off x="3448848" y="2396758"/>
                  <a:ext cx="109870" cy="109204"/>
                </a:xfrm>
                <a:prstGeom prst="ellipse">
                  <a:avLst/>
                </a:prstGeom>
                <a:noFill/>
                <a:ln w="53975" cap="flat">
                  <a:solidFill>
                    <a:srgbClr val="4BACC6"/>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nvGrpSpPr>
                <p:cNvPr id="365" name="Group 364">
                  <a:extLst>
                    <a:ext uri="{FF2B5EF4-FFF2-40B4-BE49-F238E27FC236}">
                      <a16:creationId xmlns:a16="http://schemas.microsoft.com/office/drawing/2014/main" id="{366241FB-0D0E-409A-9C5C-4EA8BBC9E8DD}"/>
                    </a:ext>
                  </a:extLst>
                </p:cNvPr>
                <p:cNvGrpSpPr>
                  <a:grpSpLocks/>
                </p:cNvGrpSpPr>
                <p:nvPr/>
              </p:nvGrpSpPr>
              <p:grpSpPr bwMode="auto">
                <a:xfrm>
                  <a:off x="3209132" y="1652970"/>
                  <a:ext cx="589304" cy="677200"/>
                  <a:chOff x="7327900" y="2338388"/>
                  <a:chExt cx="1404938" cy="1614488"/>
                </a:xfrm>
              </p:grpSpPr>
              <p:sp>
                <p:nvSpPr>
                  <p:cNvPr id="366" name="Freeform 9">
                    <a:extLst>
                      <a:ext uri="{FF2B5EF4-FFF2-40B4-BE49-F238E27FC236}">
                        <a16:creationId xmlns:a16="http://schemas.microsoft.com/office/drawing/2014/main" id="{9442F68F-6637-4BD4-863C-C3A957C79B41}"/>
                      </a:ext>
                    </a:extLst>
                  </p:cNvPr>
                  <p:cNvSpPr>
                    <a:spLocks/>
                  </p:cNvSpPr>
                  <p:nvPr/>
                </p:nvSpPr>
                <p:spPr bwMode="auto">
                  <a:xfrm>
                    <a:off x="7327900" y="2338388"/>
                    <a:ext cx="1404938" cy="1614488"/>
                  </a:xfrm>
                  <a:custGeom>
                    <a:avLst/>
                    <a:gdLst>
                      <a:gd name="T0" fmla="*/ 369 w 369"/>
                      <a:gd name="T1" fmla="*/ 184 h 424"/>
                      <a:gd name="T2" fmla="*/ 184 w 369"/>
                      <a:gd name="T3" fmla="*/ 0 h 424"/>
                      <a:gd name="T4" fmla="*/ 0 w 369"/>
                      <a:gd name="T5" fmla="*/ 184 h 424"/>
                      <a:gd name="T6" fmla="*/ 151 w 369"/>
                      <a:gd name="T7" fmla="*/ 366 h 424"/>
                      <a:gd name="T8" fmla="*/ 184 w 369"/>
                      <a:gd name="T9" fmla="*/ 424 h 424"/>
                      <a:gd name="T10" fmla="*/ 218 w 369"/>
                      <a:gd name="T11" fmla="*/ 366 h 424"/>
                      <a:gd name="T12" fmla="*/ 369 w 369"/>
                      <a:gd name="T13" fmla="*/ 184 h 424"/>
                    </a:gdLst>
                    <a:ahLst/>
                    <a:cxnLst>
                      <a:cxn ang="0">
                        <a:pos x="T0" y="T1"/>
                      </a:cxn>
                      <a:cxn ang="0">
                        <a:pos x="T2" y="T3"/>
                      </a:cxn>
                      <a:cxn ang="0">
                        <a:pos x="T4" y="T5"/>
                      </a:cxn>
                      <a:cxn ang="0">
                        <a:pos x="T6" y="T7"/>
                      </a:cxn>
                      <a:cxn ang="0">
                        <a:pos x="T8" y="T9"/>
                      </a:cxn>
                      <a:cxn ang="0">
                        <a:pos x="T10" y="T11"/>
                      </a:cxn>
                      <a:cxn ang="0">
                        <a:pos x="T12" y="T13"/>
                      </a:cxn>
                    </a:cxnLst>
                    <a:rect l="0" t="0" r="r" b="b"/>
                    <a:pathLst>
                      <a:path w="369" h="424">
                        <a:moveTo>
                          <a:pt x="369" y="184"/>
                        </a:moveTo>
                        <a:cubicBezTo>
                          <a:pt x="369" y="82"/>
                          <a:pt x="286" y="0"/>
                          <a:pt x="184" y="0"/>
                        </a:cubicBezTo>
                        <a:cubicBezTo>
                          <a:pt x="82" y="0"/>
                          <a:pt x="0" y="82"/>
                          <a:pt x="0" y="184"/>
                        </a:cubicBezTo>
                        <a:cubicBezTo>
                          <a:pt x="0" y="275"/>
                          <a:pt x="65" y="350"/>
                          <a:pt x="151" y="366"/>
                        </a:cubicBezTo>
                        <a:cubicBezTo>
                          <a:pt x="184" y="424"/>
                          <a:pt x="184" y="424"/>
                          <a:pt x="184" y="424"/>
                        </a:cubicBezTo>
                        <a:cubicBezTo>
                          <a:pt x="218" y="366"/>
                          <a:pt x="218" y="366"/>
                          <a:pt x="218" y="366"/>
                        </a:cubicBezTo>
                        <a:cubicBezTo>
                          <a:pt x="304" y="350"/>
                          <a:pt x="369" y="275"/>
                          <a:pt x="369" y="184"/>
                        </a:cubicBezTo>
                        <a:close/>
                      </a:path>
                    </a:pathLst>
                  </a:custGeom>
                  <a:solidFill>
                    <a:schemeClr val="accent5"/>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sp>
                <p:nvSpPr>
                  <p:cNvPr id="367" name="Oval 24">
                    <a:extLst>
                      <a:ext uri="{FF2B5EF4-FFF2-40B4-BE49-F238E27FC236}">
                        <a16:creationId xmlns:a16="http://schemas.microsoft.com/office/drawing/2014/main" id="{7D3B0EF9-861C-4001-86C9-F6C375F3A7C3}"/>
                      </a:ext>
                    </a:extLst>
                  </p:cNvPr>
                  <p:cNvSpPr>
                    <a:spLocks noChangeArrowheads="1"/>
                  </p:cNvSpPr>
                  <p:nvPr/>
                </p:nvSpPr>
                <p:spPr bwMode="auto">
                  <a:xfrm>
                    <a:off x="7534276" y="2546350"/>
                    <a:ext cx="989012" cy="987427"/>
                  </a:xfrm>
                  <a:prstGeom prst="ellipse">
                    <a:avLst/>
                  </a:prstGeom>
                  <a:solidFill>
                    <a:srgbClr val="E7E6E6"/>
                  </a:solidFill>
                  <a:ln>
                    <a:noFill/>
                  </a:ln>
                  <a:effectLst>
                    <a:outerShdw blurRad="127000" dist="63500" dir="2700000" algn="tl" rotWithShape="0">
                      <a:prstClr val="black">
                        <a:alpha val="50000"/>
                      </a:prstClr>
                    </a:outerShd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grpSp>
          <p:grpSp>
            <p:nvGrpSpPr>
              <p:cNvPr id="351" name="Google Shape;4752;p58">
                <a:extLst>
                  <a:ext uri="{FF2B5EF4-FFF2-40B4-BE49-F238E27FC236}">
                    <a16:creationId xmlns:a16="http://schemas.microsoft.com/office/drawing/2014/main" id="{8AC93A58-56C7-41F1-B3D0-FA9C24BFAD49}"/>
                  </a:ext>
                </a:extLst>
              </p:cNvPr>
              <p:cNvGrpSpPr/>
              <p:nvPr/>
            </p:nvGrpSpPr>
            <p:grpSpPr>
              <a:xfrm>
                <a:off x="4182418" y="3222433"/>
                <a:ext cx="301377" cy="301404"/>
                <a:chOff x="3712952" y="1970604"/>
                <a:chExt cx="354363" cy="354395"/>
              </a:xfrm>
              <a:solidFill>
                <a:srgbClr val="6E8E3B"/>
              </a:solidFill>
            </p:grpSpPr>
            <p:sp>
              <p:nvSpPr>
                <p:cNvPr id="352" name="Google Shape;4753;p58">
                  <a:extLst>
                    <a:ext uri="{FF2B5EF4-FFF2-40B4-BE49-F238E27FC236}">
                      <a16:creationId xmlns:a16="http://schemas.microsoft.com/office/drawing/2014/main" id="{FD87ACA5-0609-4D78-A24C-BAC32BB07A68}"/>
                    </a:ext>
                  </a:extLst>
                </p:cNvPr>
                <p:cNvSpPr/>
                <p:nvPr/>
              </p:nvSpPr>
              <p:spPr>
                <a:xfrm>
                  <a:off x="3868314" y="2281360"/>
                  <a:ext cx="43639" cy="43639"/>
                </a:xfrm>
                <a:custGeom>
                  <a:avLst/>
                  <a:gdLst/>
                  <a:ahLst/>
                  <a:cxnLst/>
                  <a:rect l="l" t="t" r="r" b="b"/>
                  <a:pathLst>
                    <a:path w="1371" h="1371" extrusionOk="0">
                      <a:moveTo>
                        <a:pt x="692" y="334"/>
                      </a:moveTo>
                      <a:cubicBezTo>
                        <a:pt x="882" y="334"/>
                        <a:pt x="1049" y="489"/>
                        <a:pt x="1049" y="691"/>
                      </a:cubicBezTo>
                      <a:cubicBezTo>
                        <a:pt x="1049" y="882"/>
                        <a:pt x="894" y="1049"/>
                        <a:pt x="692" y="1049"/>
                      </a:cubicBezTo>
                      <a:cubicBezTo>
                        <a:pt x="501" y="1049"/>
                        <a:pt x="334" y="882"/>
                        <a:pt x="334" y="691"/>
                      </a:cubicBezTo>
                      <a:cubicBezTo>
                        <a:pt x="334" y="489"/>
                        <a:pt x="501" y="334"/>
                        <a:pt x="692" y="334"/>
                      </a:cubicBezTo>
                      <a:close/>
                      <a:moveTo>
                        <a:pt x="692" y="1"/>
                      </a:moveTo>
                      <a:cubicBezTo>
                        <a:pt x="322" y="1"/>
                        <a:pt x="1" y="310"/>
                        <a:pt x="1" y="691"/>
                      </a:cubicBezTo>
                      <a:cubicBezTo>
                        <a:pt x="1" y="1060"/>
                        <a:pt x="322" y="1370"/>
                        <a:pt x="692" y="1370"/>
                      </a:cubicBezTo>
                      <a:cubicBezTo>
                        <a:pt x="1061" y="1370"/>
                        <a:pt x="1370" y="1060"/>
                        <a:pt x="1370" y="691"/>
                      </a:cubicBezTo>
                      <a:cubicBezTo>
                        <a:pt x="1370" y="310"/>
                        <a:pt x="1073" y="1"/>
                        <a:pt x="692" y="1"/>
                      </a:cubicBezTo>
                      <a:close/>
                    </a:path>
                  </a:pathLst>
                </a:custGeom>
                <a:grpFill/>
                <a:ln>
                  <a:noFill/>
                </a:ln>
              </p:spPr>
              <p:txBody>
                <a:bodyPr spcFirstLastPara="1" wrap="square" lIns="91425" tIns="91425" rIns="91425" bIns="91425" anchor="ctr" anchorCtr="0">
                  <a:noAutofit/>
                </a:bodyPr>
                <a:lstStyle/>
                <a:p>
                  <a:endParaRPr/>
                </a:p>
              </p:txBody>
            </p:sp>
            <p:sp>
              <p:nvSpPr>
                <p:cNvPr id="353" name="Google Shape;4754;p58">
                  <a:extLst>
                    <a:ext uri="{FF2B5EF4-FFF2-40B4-BE49-F238E27FC236}">
                      <a16:creationId xmlns:a16="http://schemas.microsoft.com/office/drawing/2014/main" id="{722206E6-BB3C-44FE-90C5-B5B6C239FFE7}"/>
                    </a:ext>
                  </a:extLst>
                </p:cNvPr>
                <p:cNvSpPr/>
                <p:nvPr/>
              </p:nvSpPr>
              <p:spPr>
                <a:xfrm>
                  <a:off x="3940346" y="2120300"/>
                  <a:ext cx="54970" cy="55002"/>
                </a:xfrm>
                <a:custGeom>
                  <a:avLst/>
                  <a:gdLst/>
                  <a:ahLst/>
                  <a:cxnLst/>
                  <a:rect l="l" t="t" r="r" b="b"/>
                  <a:pathLst>
                    <a:path w="1727" h="1728" extrusionOk="0">
                      <a:moveTo>
                        <a:pt x="869" y="322"/>
                      </a:moveTo>
                      <a:cubicBezTo>
                        <a:pt x="1167" y="322"/>
                        <a:pt x="1405" y="572"/>
                        <a:pt x="1405" y="870"/>
                      </a:cubicBezTo>
                      <a:cubicBezTo>
                        <a:pt x="1405" y="1167"/>
                        <a:pt x="1167" y="1406"/>
                        <a:pt x="869" y="1406"/>
                      </a:cubicBezTo>
                      <a:cubicBezTo>
                        <a:pt x="572" y="1406"/>
                        <a:pt x="334" y="1167"/>
                        <a:pt x="334" y="870"/>
                      </a:cubicBezTo>
                      <a:cubicBezTo>
                        <a:pt x="334" y="572"/>
                        <a:pt x="572" y="322"/>
                        <a:pt x="869" y="322"/>
                      </a:cubicBezTo>
                      <a:close/>
                      <a:moveTo>
                        <a:pt x="869" y="1"/>
                      </a:moveTo>
                      <a:cubicBezTo>
                        <a:pt x="393" y="1"/>
                        <a:pt x="0" y="394"/>
                        <a:pt x="0" y="870"/>
                      </a:cubicBezTo>
                      <a:cubicBezTo>
                        <a:pt x="0" y="1346"/>
                        <a:pt x="393" y="1727"/>
                        <a:pt x="869" y="1727"/>
                      </a:cubicBezTo>
                      <a:cubicBezTo>
                        <a:pt x="1346" y="1727"/>
                        <a:pt x="1727" y="1346"/>
                        <a:pt x="1727" y="870"/>
                      </a:cubicBezTo>
                      <a:cubicBezTo>
                        <a:pt x="1727" y="394"/>
                        <a:pt x="1346" y="1"/>
                        <a:pt x="869" y="1"/>
                      </a:cubicBezTo>
                      <a:close/>
                    </a:path>
                  </a:pathLst>
                </a:custGeom>
                <a:grpFill/>
                <a:ln>
                  <a:noFill/>
                </a:ln>
              </p:spPr>
              <p:txBody>
                <a:bodyPr spcFirstLastPara="1" wrap="square" lIns="91425" tIns="91425" rIns="91425" bIns="91425" anchor="ctr" anchorCtr="0">
                  <a:noAutofit/>
                </a:bodyPr>
                <a:lstStyle/>
                <a:p>
                  <a:endParaRPr/>
                </a:p>
              </p:txBody>
            </p:sp>
            <p:sp>
              <p:nvSpPr>
                <p:cNvPr id="354" name="Google Shape;4755;p58">
                  <a:extLst>
                    <a:ext uri="{FF2B5EF4-FFF2-40B4-BE49-F238E27FC236}">
                      <a16:creationId xmlns:a16="http://schemas.microsoft.com/office/drawing/2014/main" id="{DBA28385-5E14-4488-8853-22E8B278D5F7}"/>
                    </a:ext>
                  </a:extLst>
                </p:cNvPr>
                <p:cNvSpPr/>
                <p:nvPr/>
              </p:nvSpPr>
              <p:spPr>
                <a:xfrm>
                  <a:off x="3784952" y="2120300"/>
                  <a:ext cx="54970" cy="55002"/>
                </a:xfrm>
                <a:custGeom>
                  <a:avLst/>
                  <a:gdLst/>
                  <a:ahLst/>
                  <a:cxnLst/>
                  <a:rect l="l" t="t" r="r" b="b"/>
                  <a:pathLst>
                    <a:path w="1727" h="1728" extrusionOk="0">
                      <a:moveTo>
                        <a:pt x="870" y="322"/>
                      </a:moveTo>
                      <a:cubicBezTo>
                        <a:pt x="1167" y="322"/>
                        <a:pt x="1406" y="572"/>
                        <a:pt x="1406" y="870"/>
                      </a:cubicBezTo>
                      <a:cubicBezTo>
                        <a:pt x="1406" y="1167"/>
                        <a:pt x="1167" y="1406"/>
                        <a:pt x="870" y="1406"/>
                      </a:cubicBezTo>
                      <a:cubicBezTo>
                        <a:pt x="572" y="1406"/>
                        <a:pt x="334" y="1167"/>
                        <a:pt x="334" y="870"/>
                      </a:cubicBezTo>
                      <a:cubicBezTo>
                        <a:pt x="334" y="572"/>
                        <a:pt x="572" y="322"/>
                        <a:pt x="870" y="322"/>
                      </a:cubicBezTo>
                      <a:close/>
                      <a:moveTo>
                        <a:pt x="870" y="1"/>
                      </a:moveTo>
                      <a:cubicBezTo>
                        <a:pt x="394" y="1"/>
                        <a:pt x="1" y="394"/>
                        <a:pt x="1" y="870"/>
                      </a:cubicBezTo>
                      <a:cubicBezTo>
                        <a:pt x="1" y="1346"/>
                        <a:pt x="394" y="1727"/>
                        <a:pt x="870" y="1727"/>
                      </a:cubicBezTo>
                      <a:cubicBezTo>
                        <a:pt x="1346" y="1727"/>
                        <a:pt x="1727" y="1346"/>
                        <a:pt x="1727" y="870"/>
                      </a:cubicBezTo>
                      <a:cubicBezTo>
                        <a:pt x="1727" y="394"/>
                        <a:pt x="1346" y="1"/>
                        <a:pt x="870" y="1"/>
                      </a:cubicBezTo>
                      <a:close/>
                    </a:path>
                  </a:pathLst>
                </a:custGeom>
                <a:grpFill/>
                <a:ln>
                  <a:noFill/>
                </a:ln>
              </p:spPr>
              <p:txBody>
                <a:bodyPr spcFirstLastPara="1" wrap="square" lIns="91425" tIns="91425" rIns="91425" bIns="91425" anchor="ctr" anchorCtr="0">
                  <a:noAutofit/>
                </a:bodyPr>
                <a:lstStyle/>
                <a:p>
                  <a:endParaRPr/>
                </a:p>
              </p:txBody>
            </p:sp>
            <p:sp>
              <p:nvSpPr>
                <p:cNvPr id="355" name="Google Shape;4756;p58">
                  <a:extLst>
                    <a:ext uri="{FF2B5EF4-FFF2-40B4-BE49-F238E27FC236}">
                      <a16:creationId xmlns:a16="http://schemas.microsoft.com/office/drawing/2014/main" id="{644D2314-7C01-417A-B417-B43B3E611418}"/>
                    </a:ext>
                  </a:extLst>
                </p:cNvPr>
                <p:cNvSpPr/>
                <p:nvPr/>
              </p:nvSpPr>
              <p:spPr>
                <a:xfrm>
                  <a:off x="3712952" y="2281360"/>
                  <a:ext cx="44371" cy="43639"/>
                </a:xfrm>
                <a:custGeom>
                  <a:avLst/>
                  <a:gdLst/>
                  <a:ahLst/>
                  <a:cxnLst/>
                  <a:rect l="l" t="t" r="r" b="b"/>
                  <a:pathLst>
                    <a:path w="1394" h="1371" extrusionOk="0">
                      <a:moveTo>
                        <a:pt x="691" y="334"/>
                      </a:moveTo>
                      <a:cubicBezTo>
                        <a:pt x="881" y="334"/>
                        <a:pt x="1048" y="489"/>
                        <a:pt x="1048" y="691"/>
                      </a:cubicBezTo>
                      <a:cubicBezTo>
                        <a:pt x="1048" y="882"/>
                        <a:pt x="893" y="1049"/>
                        <a:pt x="691" y="1049"/>
                      </a:cubicBezTo>
                      <a:cubicBezTo>
                        <a:pt x="500" y="1049"/>
                        <a:pt x="334" y="882"/>
                        <a:pt x="334" y="691"/>
                      </a:cubicBezTo>
                      <a:cubicBezTo>
                        <a:pt x="334" y="489"/>
                        <a:pt x="500" y="334"/>
                        <a:pt x="691" y="334"/>
                      </a:cubicBezTo>
                      <a:close/>
                      <a:moveTo>
                        <a:pt x="691" y="1"/>
                      </a:moveTo>
                      <a:cubicBezTo>
                        <a:pt x="322" y="1"/>
                        <a:pt x="0" y="310"/>
                        <a:pt x="0" y="691"/>
                      </a:cubicBezTo>
                      <a:cubicBezTo>
                        <a:pt x="0" y="1060"/>
                        <a:pt x="322" y="1370"/>
                        <a:pt x="691" y="1370"/>
                      </a:cubicBezTo>
                      <a:cubicBezTo>
                        <a:pt x="1060" y="1370"/>
                        <a:pt x="1370" y="1060"/>
                        <a:pt x="1370" y="691"/>
                      </a:cubicBezTo>
                      <a:cubicBezTo>
                        <a:pt x="1393" y="310"/>
                        <a:pt x="1072" y="1"/>
                        <a:pt x="691" y="1"/>
                      </a:cubicBezTo>
                      <a:close/>
                    </a:path>
                  </a:pathLst>
                </a:custGeom>
                <a:grpFill/>
                <a:ln>
                  <a:noFill/>
                </a:ln>
              </p:spPr>
              <p:txBody>
                <a:bodyPr spcFirstLastPara="1" wrap="square" lIns="91425" tIns="91425" rIns="91425" bIns="91425" anchor="ctr" anchorCtr="0">
                  <a:noAutofit/>
                </a:bodyPr>
                <a:lstStyle/>
                <a:p>
                  <a:endParaRPr/>
                </a:p>
              </p:txBody>
            </p:sp>
            <p:sp>
              <p:nvSpPr>
                <p:cNvPr id="356" name="Google Shape;4757;p58">
                  <a:extLst>
                    <a:ext uri="{FF2B5EF4-FFF2-40B4-BE49-F238E27FC236}">
                      <a16:creationId xmlns:a16="http://schemas.microsoft.com/office/drawing/2014/main" id="{ABC4F94A-A087-4713-B983-086AC2E5A24B}"/>
                    </a:ext>
                  </a:extLst>
                </p:cNvPr>
                <p:cNvSpPr/>
                <p:nvPr/>
              </p:nvSpPr>
              <p:spPr>
                <a:xfrm>
                  <a:off x="4023708" y="2281360"/>
                  <a:ext cx="43607" cy="43639"/>
                </a:xfrm>
                <a:custGeom>
                  <a:avLst/>
                  <a:gdLst/>
                  <a:ahLst/>
                  <a:cxnLst/>
                  <a:rect l="l" t="t" r="r" b="b"/>
                  <a:pathLst>
                    <a:path w="1370" h="1371" extrusionOk="0">
                      <a:moveTo>
                        <a:pt x="691" y="334"/>
                      </a:moveTo>
                      <a:cubicBezTo>
                        <a:pt x="882" y="334"/>
                        <a:pt x="1048" y="489"/>
                        <a:pt x="1048" y="691"/>
                      </a:cubicBezTo>
                      <a:cubicBezTo>
                        <a:pt x="1048" y="882"/>
                        <a:pt x="882" y="1049"/>
                        <a:pt x="691" y="1049"/>
                      </a:cubicBezTo>
                      <a:cubicBezTo>
                        <a:pt x="501" y="1049"/>
                        <a:pt x="334" y="882"/>
                        <a:pt x="334" y="691"/>
                      </a:cubicBezTo>
                      <a:cubicBezTo>
                        <a:pt x="334" y="489"/>
                        <a:pt x="501" y="334"/>
                        <a:pt x="691" y="334"/>
                      </a:cubicBezTo>
                      <a:close/>
                      <a:moveTo>
                        <a:pt x="691" y="1"/>
                      </a:moveTo>
                      <a:cubicBezTo>
                        <a:pt x="322" y="1"/>
                        <a:pt x="1" y="310"/>
                        <a:pt x="1" y="691"/>
                      </a:cubicBezTo>
                      <a:cubicBezTo>
                        <a:pt x="1" y="1060"/>
                        <a:pt x="322" y="1370"/>
                        <a:pt x="691" y="1370"/>
                      </a:cubicBezTo>
                      <a:cubicBezTo>
                        <a:pt x="1060" y="1370"/>
                        <a:pt x="1370" y="1060"/>
                        <a:pt x="1370" y="691"/>
                      </a:cubicBezTo>
                      <a:cubicBezTo>
                        <a:pt x="1370" y="310"/>
                        <a:pt x="1060" y="1"/>
                        <a:pt x="691" y="1"/>
                      </a:cubicBezTo>
                      <a:close/>
                    </a:path>
                  </a:pathLst>
                </a:custGeom>
                <a:grpFill/>
                <a:ln>
                  <a:noFill/>
                </a:ln>
              </p:spPr>
              <p:txBody>
                <a:bodyPr spcFirstLastPara="1" wrap="square" lIns="91425" tIns="91425" rIns="91425" bIns="91425" anchor="ctr" anchorCtr="0">
                  <a:noAutofit/>
                </a:bodyPr>
                <a:lstStyle/>
                <a:p>
                  <a:endParaRPr/>
                </a:p>
              </p:txBody>
            </p:sp>
            <p:sp>
              <p:nvSpPr>
                <p:cNvPr id="357" name="Google Shape;4758;p58">
                  <a:extLst>
                    <a:ext uri="{FF2B5EF4-FFF2-40B4-BE49-F238E27FC236}">
                      <a16:creationId xmlns:a16="http://schemas.microsoft.com/office/drawing/2014/main" id="{AADD56C3-2FB9-4B54-B05A-EA030B776804}"/>
                    </a:ext>
                  </a:extLst>
                </p:cNvPr>
                <p:cNvSpPr/>
                <p:nvPr/>
              </p:nvSpPr>
              <p:spPr>
                <a:xfrm>
                  <a:off x="3852049" y="1970604"/>
                  <a:ext cx="76583" cy="76965"/>
                </a:xfrm>
                <a:custGeom>
                  <a:avLst/>
                  <a:gdLst/>
                  <a:ahLst/>
                  <a:cxnLst/>
                  <a:rect l="l" t="t" r="r" b="b"/>
                  <a:pathLst>
                    <a:path w="2406" h="2418" extrusionOk="0">
                      <a:moveTo>
                        <a:pt x="1203" y="346"/>
                      </a:moveTo>
                      <a:cubicBezTo>
                        <a:pt x="1679" y="346"/>
                        <a:pt x="2084" y="751"/>
                        <a:pt x="2084" y="1227"/>
                      </a:cubicBezTo>
                      <a:cubicBezTo>
                        <a:pt x="2084" y="1703"/>
                        <a:pt x="1691" y="2096"/>
                        <a:pt x="1203" y="2096"/>
                      </a:cubicBezTo>
                      <a:cubicBezTo>
                        <a:pt x="714" y="2096"/>
                        <a:pt x="321" y="1703"/>
                        <a:pt x="321" y="1227"/>
                      </a:cubicBezTo>
                      <a:cubicBezTo>
                        <a:pt x="321" y="727"/>
                        <a:pt x="726" y="346"/>
                        <a:pt x="1203" y="346"/>
                      </a:cubicBezTo>
                      <a:close/>
                      <a:moveTo>
                        <a:pt x="1203" y="1"/>
                      </a:moveTo>
                      <a:cubicBezTo>
                        <a:pt x="536" y="1"/>
                        <a:pt x="0" y="536"/>
                        <a:pt x="0" y="1203"/>
                      </a:cubicBezTo>
                      <a:cubicBezTo>
                        <a:pt x="0" y="1882"/>
                        <a:pt x="536" y="2418"/>
                        <a:pt x="1203" y="2418"/>
                      </a:cubicBezTo>
                      <a:cubicBezTo>
                        <a:pt x="1869" y="2418"/>
                        <a:pt x="2405" y="1882"/>
                        <a:pt x="2405" y="1203"/>
                      </a:cubicBezTo>
                      <a:cubicBezTo>
                        <a:pt x="2405" y="548"/>
                        <a:pt x="1869" y="1"/>
                        <a:pt x="1203" y="1"/>
                      </a:cubicBezTo>
                      <a:close/>
                    </a:path>
                  </a:pathLst>
                </a:custGeom>
                <a:grpFill/>
                <a:ln>
                  <a:noFill/>
                </a:ln>
              </p:spPr>
              <p:txBody>
                <a:bodyPr spcFirstLastPara="1" wrap="square" lIns="91425" tIns="91425" rIns="91425" bIns="91425" anchor="ctr" anchorCtr="0">
                  <a:noAutofit/>
                </a:bodyPr>
                <a:lstStyle/>
                <a:p>
                  <a:endParaRPr/>
                </a:p>
              </p:txBody>
            </p:sp>
            <p:sp>
              <p:nvSpPr>
                <p:cNvPr id="358" name="Google Shape;4759;p58">
                  <a:extLst>
                    <a:ext uri="{FF2B5EF4-FFF2-40B4-BE49-F238E27FC236}">
                      <a16:creationId xmlns:a16="http://schemas.microsoft.com/office/drawing/2014/main" id="{A1707D14-17F7-493F-908B-DA20D312625A}"/>
                    </a:ext>
                  </a:extLst>
                </p:cNvPr>
                <p:cNvSpPr/>
                <p:nvPr/>
              </p:nvSpPr>
              <p:spPr>
                <a:xfrm>
                  <a:off x="3746310" y="2187016"/>
                  <a:ext cx="132667" cy="88710"/>
                </a:xfrm>
                <a:custGeom>
                  <a:avLst/>
                  <a:gdLst/>
                  <a:ahLst/>
                  <a:cxnLst/>
                  <a:rect l="l" t="t" r="r" b="b"/>
                  <a:pathLst>
                    <a:path w="4168" h="2787" extrusionOk="0">
                      <a:moveTo>
                        <a:pt x="2084" y="0"/>
                      </a:moveTo>
                      <a:cubicBezTo>
                        <a:pt x="1989" y="0"/>
                        <a:pt x="1917" y="84"/>
                        <a:pt x="1917" y="167"/>
                      </a:cubicBezTo>
                      <a:lnTo>
                        <a:pt x="1917" y="1405"/>
                      </a:lnTo>
                      <a:lnTo>
                        <a:pt x="1060" y="1405"/>
                      </a:lnTo>
                      <a:cubicBezTo>
                        <a:pt x="798" y="1405"/>
                        <a:pt x="560" y="1536"/>
                        <a:pt x="441" y="1774"/>
                      </a:cubicBezTo>
                      <a:lnTo>
                        <a:pt x="48" y="2548"/>
                      </a:lnTo>
                      <a:cubicBezTo>
                        <a:pt x="0" y="2620"/>
                        <a:pt x="24" y="2727"/>
                        <a:pt x="119" y="2774"/>
                      </a:cubicBezTo>
                      <a:cubicBezTo>
                        <a:pt x="143" y="2786"/>
                        <a:pt x="155" y="2786"/>
                        <a:pt x="191" y="2786"/>
                      </a:cubicBezTo>
                      <a:cubicBezTo>
                        <a:pt x="250" y="2786"/>
                        <a:pt x="310" y="2762"/>
                        <a:pt x="345" y="2703"/>
                      </a:cubicBezTo>
                      <a:lnTo>
                        <a:pt x="738" y="1929"/>
                      </a:lnTo>
                      <a:cubicBezTo>
                        <a:pt x="798" y="1810"/>
                        <a:pt x="917" y="1727"/>
                        <a:pt x="1060" y="1727"/>
                      </a:cubicBezTo>
                      <a:lnTo>
                        <a:pt x="3096" y="1727"/>
                      </a:lnTo>
                      <a:cubicBezTo>
                        <a:pt x="3227" y="1727"/>
                        <a:pt x="3346" y="1810"/>
                        <a:pt x="3405" y="1929"/>
                      </a:cubicBezTo>
                      <a:lnTo>
                        <a:pt x="3810" y="2703"/>
                      </a:lnTo>
                      <a:cubicBezTo>
                        <a:pt x="3846" y="2756"/>
                        <a:pt x="3902" y="2783"/>
                        <a:pt x="3968" y="2783"/>
                      </a:cubicBezTo>
                      <a:cubicBezTo>
                        <a:pt x="3989" y="2783"/>
                        <a:pt x="4013" y="2780"/>
                        <a:pt x="4036" y="2774"/>
                      </a:cubicBezTo>
                      <a:cubicBezTo>
                        <a:pt x="4132" y="2715"/>
                        <a:pt x="4167" y="2608"/>
                        <a:pt x="4120" y="2536"/>
                      </a:cubicBezTo>
                      <a:lnTo>
                        <a:pt x="3715" y="1762"/>
                      </a:lnTo>
                      <a:cubicBezTo>
                        <a:pt x="3596" y="1536"/>
                        <a:pt x="3358" y="1393"/>
                        <a:pt x="3108" y="1393"/>
                      </a:cubicBezTo>
                      <a:lnTo>
                        <a:pt x="2250" y="1393"/>
                      </a:lnTo>
                      <a:lnTo>
                        <a:pt x="2250" y="167"/>
                      </a:lnTo>
                      <a:cubicBezTo>
                        <a:pt x="2250" y="84"/>
                        <a:pt x="2167" y="0"/>
                        <a:pt x="2084" y="0"/>
                      </a:cubicBezTo>
                      <a:close/>
                    </a:path>
                  </a:pathLst>
                </a:custGeom>
                <a:grpFill/>
                <a:ln>
                  <a:noFill/>
                </a:ln>
              </p:spPr>
              <p:txBody>
                <a:bodyPr spcFirstLastPara="1" wrap="square" lIns="91425" tIns="91425" rIns="91425" bIns="91425" anchor="ctr" anchorCtr="0">
                  <a:noAutofit/>
                </a:bodyPr>
                <a:lstStyle/>
                <a:p>
                  <a:endParaRPr/>
                </a:p>
              </p:txBody>
            </p:sp>
            <p:sp>
              <p:nvSpPr>
                <p:cNvPr id="359" name="Google Shape;4760;p58">
                  <a:extLst>
                    <a:ext uri="{FF2B5EF4-FFF2-40B4-BE49-F238E27FC236}">
                      <a16:creationId xmlns:a16="http://schemas.microsoft.com/office/drawing/2014/main" id="{32F69CD2-91E3-44D6-8937-704CC6E56DC5}"/>
                    </a:ext>
                  </a:extLst>
                </p:cNvPr>
                <p:cNvSpPr/>
                <p:nvPr/>
              </p:nvSpPr>
              <p:spPr>
                <a:xfrm>
                  <a:off x="3831583" y="2059664"/>
                  <a:ext cx="117485" cy="54748"/>
                </a:xfrm>
                <a:custGeom>
                  <a:avLst/>
                  <a:gdLst/>
                  <a:ahLst/>
                  <a:cxnLst/>
                  <a:rect l="l" t="t" r="r" b="b"/>
                  <a:pathLst>
                    <a:path w="3691" h="1720" extrusionOk="0">
                      <a:moveTo>
                        <a:pt x="1846" y="1"/>
                      </a:moveTo>
                      <a:cubicBezTo>
                        <a:pt x="1750" y="1"/>
                        <a:pt x="1679" y="72"/>
                        <a:pt x="1679" y="167"/>
                      </a:cubicBezTo>
                      <a:lnTo>
                        <a:pt x="1679" y="703"/>
                      </a:lnTo>
                      <a:lnTo>
                        <a:pt x="750" y="703"/>
                      </a:lnTo>
                      <a:cubicBezTo>
                        <a:pt x="560" y="703"/>
                        <a:pt x="405" y="810"/>
                        <a:pt x="310" y="965"/>
                      </a:cubicBezTo>
                      <a:lnTo>
                        <a:pt x="48" y="1477"/>
                      </a:lnTo>
                      <a:cubicBezTo>
                        <a:pt x="0" y="1548"/>
                        <a:pt x="24" y="1656"/>
                        <a:pt x="119" y="1703"/>
                      </a:cubicBezTo>
                      <a:cubicBezTo>
                        <a:pt x="140" y="1714"/>
                        <a:pt x="164" y="1719"/>
                        <a:pt x="188" y="1719"/>
                      </a:cubicBezTo>
                      <a:cubicBezTo>
                        <a:pt x="248" y="1719"/>
                        <a:pt x="312" y="1687"/>
                        <a:pt x="345" y="1620"/>
                      </a:cubicBezTo>
                      <a:lnTo>
                        <a:pt x="607" y="1120"/>
                      </a:lnTo>
                      <a:cubicBezTo>
                        <a:pt x="643" y="1060"/>
                        <a:pt x="703" y="1013"/>
                        <a:pt x="774" y="1013"/>
                      </a:cubicBezTo>
                      <a:lnTo>
                        <a:pt x="2929" y="1013"/>
                      </a:lnTo>
                      <a:cubicBezTo>
                        <a:pt x="3000" y="1013"/>
                        <a:pt x="3060" y="1060"/>
                        <a:pt x="3096" y="1120"/>
                      </a:cubicBezTo>
                      <a:lnTo>
                        <a:pt x="3358" y="1620"/>
                      </a:lnTo>
                      <a:cubicBezTo>
                        <a:pt x="3393" y="1679"/>
                        <a:pt x="3453" y="1715"/>
                        <a:pt x="3512" y="1715"/>
                      </a:cubicBezTo>
                      <a:cubicBezTo>
                        <a:pt x="3536" y="1715"/>
                        <a:pt x="3548" y="1715"/>
                        <a:pt x="3584" y="1703"/>
                      </a:cubicBezTo>
                      <a:cubicBezTo>
                        <a:pt x="3655" y="1656"/>
                        <a:pt x="3691" y="1548"/>
                        <a:pt x="3643" y="1477"/>
                      </a:cubicBezTo>
                      <a:lnTo>
                        <a:pt x="3381" y="965"/>
                      </a:lnTo>
                      <a:cubicBezTo>
                        <a:pt x="3286" y="810"/>
                        <a:pt x="3108" y="703"/>
                        <a:pt x="2929" y="703"/>
                      </a:cubicBezTo>
                      <a:lnTo>
                        <a:pt x="2012" y="703"/>
                      </a:lnTo>
                      <a:lnTo>
                        <a:pt x="2012" y="167"/>
                      </a:lnTo>
                      <a:cubicBezTo>
                        <a:pt x="2012" y="72"/>
                        <a:pt x="1929" y="1"/>
                        <a:pt x="1846" y="1"/>
                      </a:cubicBezTo>
                      <a:close/>
                    </a:path>
                  </a:pathLst>
                </a:custGeom>
                <a:grpFill/>
                <a:ln>
                  <a:noFill/>
                </a:ln>
              </p:spPr>
              <p:txBody>
                <a:bodyPr spcFirstLastPara="1" wrap="square" lIns="91425" tIns="91425" rIns="91425" bIns="91425" anchor="ctr" anchorCtr="0">
                  <a:noAutofit/>
                </a:bodyPr>
                <a:lstStyle/>
                <a:p>
                  <a:endParaRPr/>
                </a:p>
              </p:txBody>
            </p:sp>
            <p:sp>
              <p:nvSpPr>
                <p:cNvPr id="360" name="Google Shape;4761;p58">
                  <a:extLst>
                    <a:ext uri="{FF2B5EF4-FFF2-40B4-BE49-F238E27FC236}">
                      <a16:creationId xmlns:a16="http://schemas.microsoft.com/office/drawing/2014/main" id="{E8C82E75-29E4-4E94-BFC0-39D2AC3FB829}"/>
                    </a:ext>
                  </a:extLst>
                </p:cNvPr>
                <p:cNvSpPr/>
                <p:nvPr/>
              </p:nvSpPr>
              <p:spPr>
                <a:xfrm>
                  <a:off x="3901672" y="2187016"/>
                  <a:ext cx="132285" cy="88997"/>
                </a:xfrm>
                <a:custGeom>
                  <a:avLst/>
                  <a:gdLst/>
                  <a:ahLst/>
                  <a:cxnLst/>
                  <a:rect l="l" t="t" r="r" b="b"/>
                  <a:pathLst>
                    <a:path w="4156" h="2796" extrusionOk="0">
                      <a:moveTo>
                        <a:pt x="2084" y="0"/>
                      </a:moveTo>
                      <a:cubicBezTo>
                        <a:pt x="1989" y="0"/>
                        <a:pt x="1918" y="84"/>
                        <a:pt x="1918" y="167"/>
                      </a:cubicBezTo>
                      <a:lnTo>
                        <a:pt x="1918" y="1405"/>
                      </a:lnTo>
                      <a:lnTo>
                        <a:pt x="1060" y="1405"/>
                      </a:lnTo>
                      <a:cubicBezTo>
                        <a:pt x="798" y="1405"/>
                        <a:pt x="560" y="1536"/>
                        <a:pt x="441" y="1774"/>
                      </a:cubicBezTo>
                      <a:lnTo>
                        <a:pt x="36" y="2548"/>
                      </a:lnTo>
                      <a:cubicBezTo>
                        <a:pt x="1" y="2620"/>
                        <a:pt x="25" y="2727"/>
                        <a:pt x="120" y="2774"/>
                      </a:cubicBezTo>
                      <a:cubicBezTo>
                        <a:pt x="142" y="2789"/>
                        <a:pt x="167" y="2796"/>
                        <a:pt x="192" y="2796"/>
                      </a:cubicBezTo>
                      <a:cubicBezTo>
                        <a:pt x="250" y="2796"/>
                        <a:pt x="309" y="2761"/>
                        <a:pt x="334" y="2703"/>
                      </a:cubicBezTo>
                      <a:lnTo>
                        <a:pt x="739" y="1929"/>
                      </a:lnTo>
                      <a:cubicBezTo>
                        <a:pt x="798" y="1810"/>
                        <a:pt x="918" y="1727"/>
                        <a:pt x="1060" y="1727"/>
                      </a:cubicBezTo>
                      <a:lnTo>
                        <a:pt x="3096" y="1727"/>
                      </a:lnTo>
                      <a:cubicBezTo>
                        <a:pt x="3227" y="1727"/>
                        <a:pt x="3346" y="1810"/>
                        <a:pt x="3406" y="1929"/>
                      </a:cubicBezTo>
                      <a:lnTo>
                        <a:pt x="3811" y="2703"/>
                      </a:lnTo>
                      <a:cubicBezTo>
                        <a:pt x="3835" y="2762"/>
                        <a:pt x="3894" y="2786"/>
                        <a:pt x="3954" y="2786"/>
                      </a:cubicBezTo>
                      <a:cubicBezTo>
                        <a:pt x="3989" y="2786"/>
                        <a:pt x="4001" y="2786"/>
                        <a:pt x="4037" y="2774"/>
                      </a:cubicBezTo>
                      <a:cubicBezTo>
                        <a:pt x="4120" y="2715"/>
                        <a:pt x="4156" y="2608"/>
                        <a:pt x="4120" y="2536"/>
                      </a:cubicBezTo>
                      <a:lnTo>
                        <a:pt x="3715" y="1762"/>
                      </a:lnTo>
                      <a:cubicBezTo>
                        <a:pt x="3596" y="1536"/>
                        <a:pt x="3358" y="1393"/>
                        <a:pt x="3108" y="1393"/>
                      </a:cubicBezTo>
                      <a:lnTo>
                        <a:pt x="2251" y="1393"/>
                      </a:lnTo>
                      <a:lnTo>
                        <a:pt x="2251" y="167"/>
                      </a:lnTo>
                      <a:cubicBezTo>
                        <a:pt x="2251" y="84"/>
                        <a:pt x="2168" y="0"/>
                        <a:pt x="2084" y="0"/>
                      </a:cubicBezTo>
                      <a:close/>
                    </a:path>
                  </a:pathLst>
                </a:custGeom>
                <a:grpFill/>
                <a:ln>
                  <a:noFill/>
                </a:ln>
              </p:spPr>
              <p:txBody>
                <a:bodyPr spcFirstLastPara="1" wrap="square" lIns="91425" tIns="91425" rIns="91425" bIns="91425" anchor="ctr" anchorCtr="0">
                  <a:noAutofit/>
                </a:bodyPr>
                <a:lstStyle/>
                <a:p>
                  <a:endParaRPr/>
                </a:p>
              </p:txBody>
            </p:sp>
          </p:grpSp>
        </p:grpSp>
      </p:grpSp>
      <p:grpSp>
        <p:nvGrpSpPr>
          <p:cNvPr id="4" name="Group 3">
            <a:extLst>
              <a:ext uri="{FF2B5EF4-FFF2-40B4-BE49-F238E27FC236}">
                <a16:creationId xmlns:a16="http://schemas.microsoft.com/office/drawing/2014/main" id="{0742E48F-1493-424C-8780-156360F28808}"/>
              </a:ext>
            </a:extLst>
          </p:cNvPr>
          <p:cNvGrpSpPr/>
          <p:nvPr/>
        </p:nvGrpSpPr>
        <p:grpSpPr>
          <a:xfrm>
            <a:off x="533757" y="1497323"/>
            <a:ext cx="1175163" cy="2308503"/>
            <a:chOff x="571857" y="1497323"/>
            <a:chExt cx="1175163" cy="2308503"/>
          </a:xfrm>
        </p:grpSpPr>
        <p:sp>
          <p:nvSpPr>
            <p:cNvPr id="213" name="TextBox 212">
              <a:extLst>
                <a:ext uri="{FF2B5EF4-FFF2-40B4-BE49-F238E27FC236}">
                  <a16:creationId xmlns:a16="http://schemas.microsoft.com/office/drawing/2014/main" id="{5F658FC4-1701-4DA7-B964-807E1A7A05E5}"/>
                </a:ext>
              </a:extLst>
            </p:cNvPr>
            <p:cNvSpPr txBox="1"/>
            <p:nvPr/>
          </p:nvSpPr>
          <p:spPr>
            <a:xfrm>
              <a:off x="801004" y="2392190"/>
              <a:ext cx="716868" cy="425758"/>
            </a:xfrm>
            <a:prstGeom prst="rect">
              <a:avLst/>
            </a:prstGeom>
            <a:noFill/>
          </p:spPr>
          <p:txBody>
            <a:bodyPr wrap="square" rtlCol="0">
              <a:spAutoFit/>
            </a:bodyPr>
            <a:lstStyle/>
            <a:p>
              <a:pPr algn="ctr">
                <a:lnSpc>
                  <a:spcPts val="1320"/>
                </a:lnSpc>
              </a:pPr>
              <a:r>
                <a:rPr lang="en-GR" sz="1050" b="1" dirty="0">
                  <a:solidFill>
                    <a:schemeClr val="bg1">
                      <a:lumMod val="50000"/>
                    </a:schemeClr>
                  </a:solidFill>
                  <a:latin typeface="Arial" panose="020B0604020202020204" pitchFamily="34" charset="0"/>
                  <a:cs typeface="Arial" panose="020B0604020202020204" pitchFamily="34" charset="0"/>
                </a:rPr>
                <a:t>SEP</a:t>
              </a:r>
            </a:p>
            <a:p>
              <a:pPr algn="ctr">
                <a:lnSpc>
                  <a:spcPts val="1320"/>
                </a:lnSpc>
              </a:pPr>
              <a:r>
                <a:rPr lang="es-ES" sz="1050" b="1" dirty="0">
                  <a:solidFill>
                    <a:schemeClr val="bg1">
                      <a:lumMod val="50000"/>
                    </a:schemeClr>
                  </a:solidFill>
                  <a:latin typeface="Arial" panose="020B0604020202020204" pitchFamily="34" charset="0"/>
                  <a:cs typeface="Arial" panose="020B0604020202020204" pitchFamily="34" charset="0"/>
                </a:rPr>
                <a:t>2020</a:t>
              </a:r>
              <a:endParaRPr lang="en-GR" sz="1050" b="1" dirty="0">
                <a:solidFill>
                  <a:schemeClr val="bg1">
                    <a:lumMod val="50000"/>
                  </a:schemeClr>
                </a:solidFill>
                <a:latin typeface="Arial" panose="020B0604020202020204" pitchFamily="34" charset="0"/>
                <a:cs typeface="Arial" panose="020B0604020202020204" pitchFamily="34" charset="0"/>
              </a:endParaRPr>
            </a:p>
          </p:txBody>
        </p:sp>
        <p:grpSp>
          <p:nvGrpSpPr>
            <p:cNvPr id="248" name="Group 247">
              <a:extLst>
                <a:ext uri="{FF2B5EF4-FFF2-40B4-BE49-F238E27FC236}">
                  <a16:creationId xmlns:a16="http://schemas.microsoft.com/office/drawing/2014/main" id="{D1B3F6E0-DCD4-493B-BE34-D39AB28C5DCF}"/>
                </a:ext>
              </a:extLst>
            </p:cNvPr>
            <p:cNvGrpSpPr/>
            <p:nvPr/>
          </p:nvGrpSpPr>
          <p:grpSpPr>
            <a:xfrm>
              <a:off x="865119" y="1497323"/>
              <a:ext cx="588638" cy="852992"/>
              <a:chOff x="588631" y="1497323"/>
              <a:chExt cx="588638" cy="852992"/>
            </a:xfrm>
          </p:grpSpPr>
          <p:grpSp>
            <p:nvGrpSpPr>
              <p:cNvPr id="249" name="Group 248">
                <a:extLst>
                  <a:ext uri="{FF2B5EF4-FFF2-40B4-BE49-F238E27FC236}">
                    <a16:creationId xmlns:a16="http://schemas.microsoft.com/office/drawing/2014/main" id="{AB5BE9E5-EA0B-45EC-BDD5-04953D71890A}"/>
                  </a:ext>
                </a:extLst>
              </p:cNvPr>
              <p:cNvGrpSpPr/>
              <p:nvPr/>
            </p:nvGrpSpPr>
            <p:grpSpPr>
              <a:xfrm>
                <a:off x="588631" y="1497323"/>
                <a:ext cx="588638" cy="852992"/>
                <a:chOff x="770679" y="1652970"/>
                <a:chExt cx="588638" cy="852992"/>
              </a:xfrm>
            </p:grpSpPr>
            <p:sp>
              <p:nvSpPr>
                <p:cNvPr id="258" name="Oval 11">
                  <a:extLst>
                    <a:ext uri="{FF2B5EF4-FFF2-40B4-BE49-F238E27FC236}">
                      <a16:creationId xmlns:a16="http://schemas.microsoft.com/office/drawing/2014/main" id="{1182F65B-E225-4873-B5F9-451F7D9F6DC0}"/>
                    </a:ext>
                  </a:extLst>
                </p:cNvPr>
                <p:cNvSpPr>
                  <a:spLocks noChangeArrowheads="1"/>
                </p:cNvSpPr>
                <p:nvPr/>
              </p:nvSpPr>
              <p:spPr bwMode="auto">
                <a:xfrm>
                  <a:off x="1009730" y="2396758"/>
                  <a:ext cx="110536" cy="109204"/>
                </a:xfrm>
                <a:prstGeom prst="ellipse">
                  <a:avLst/>
                </a:prstGeom>
                <a:noFill/>
                <a:ln w="53975" cap="flat">
                  <a:solidFill>
                    <a:srgbClr val="8EB4E3"/>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nvGrpSpPr>
                <p:cNvPr id="259" name="Group 258">
                  <a:extLst>
                    <a:ext uri="{FF2B5EF4-FFF2-40B4-BE49-F238E27FC236}">
                      <a16:creationId xmlns:a16="http://schemas.microsoft.com/office/drawing/2014/main" id="{E92D224D-2A74-415D-B53D-517009A46BE9}"/>
                    </a:ext>
                  </a:extLst>
                </p:cNvPr>
                <p:cNvGrpSpPr>
                  <a:grpSpLocks/>
                </p:cNvGrpSpPr>
                <p:nvPr/>
              </p:nvGrpSpPr>
              <p:grpSpPr bwMode="auto">
                <a:xfrm>
                  <a:off x="770679" y="1652970"/>
                  <a:ext cx="588638" cy="677200"/>
                  <a:chOff x="1514475" y="2338388"/>
                  <a:chExt cx="1403350" cy="1614488"/>
                </a:xfrm>
              </p:grpSpPr>
              <p:sp>
                <p:nvSpPr>
                  <p:cNvPr id="260" name="Freeform 6">
                    <a:extLst>
                      <a:ext uri="{FF2B5EF4-FFF2-40B4-BE49-F238E27FC236}">
                        <a16:creationId xmlns:a16="http://schemas.microsoft.com/office/drawing/2014/main" id="{1C7ED033-8377-4A03-B5D2-EA2EC8F5FB91}"/>
                      </a:ext>
                    </a:extLst>
                  </p:cNvPr>
                  <p:cNvSpPr>
                    <a:spLocks/>
                  </p:cNvSpPr>
                  <p:nvPr/>
                </p:nvSpPr>
                <p:spPr bwMode="auto">
                  <a:xfrm>
                    <a:off x="1514475" y="2338388"/>
                    <a:ext cx="1403350" cy="1614488"/>
                  </a:xfrm>
                  <a:custGeom>
                    <a:avLst/>
                    <a:gdLst>
                      <a:gd name="T0" fmla="*/ 369 w 369"/>
                      <a:gd name="T1" fmla="*/ 184 h 424"/>
                      <a:gd name="T2" fmla="*/ 184 w 369"/>
                      <a:gd name="T3" fmla="*/ 0 h 424"/>
                      <a:gd name="T4" fmla="*/ 0 w 369"/>
                      <a:gd name="T5" fmla="*/ 184 h 424"/>
                      <a:gd name="T6" fmla="*/ 151 w 369"/>
                      <a:gd name="T7" fmla="*/ 366 h 424"/>
                      <a:gd name="T8" fmla="*/ 184 w 369"/>
                      <a:gd name="T9" fmla="*/ 424 h 424"/>
                      <a:gd name="T10" fmla="*/ 218 w 369"/>
                      <a:gd name="T11" fmla="*/ 366 h 424"/>
                      <a:gd name="T12" fmla="*/ 369 w 369"/>
                      <a:gd name="T13" fmla="*/ 184 h 424"/>
                    </a:gdLst>
                    <a:ahLst/>
                    <a:cxnLst>
                      <a:cxn ang="0">
                        <a:pos x="T0" y="T1"/>
                      </a:cxn>
                      <a:cxn ang="0">
                        <a:pos x="T2" y="T3"/>
                      </a:cxn>
                      <a:cxn ang="0">
                        <a:pos x="T4" y="T5"/>
                      </a:cxn>
                      <a:cxn ang="0">
                        <a:pos x="T6" y="T7"/>
                      </a:cxn>
                      <a:cxn ang="0">
                        <a:pos x="T8" y="T9"/>
                      </a:cxn>
                      <a:cxn ang="0">
                        <a:pos x="T10" y="T11"/>
                      </a:cxn>
                      <a:cxn ang="0">
                        <a:pos x="T12" y="T13"/>
                      </a:cxn>
                    </a:cxnLst>
                    <a:rect l="0" t="0" r="r" b="b"/>
                    <a:pathLst>
                      <a:path w="369" h="424">
                        <a:moveTo>
                          <a:pt x="369" y="184"/>
                        </a:moveTo>
                        <a:cubicBezTo>
                          <a:pt x="369" y="82"/>
                          <a:pt x="286" y="0"/>
                          <a:pt x="184" y="0"/>
                        </a:cubicBezTo>
                        <a:cubicBezTo>
                          <a:pt x="82" y="0"/>
                          <a:pt x="0" y="82"/>
                          <a:pt x="0" y="184"/>
                        </a:cubicBezTo>
                        <a:cubicBezTo>
                          <a:pt x="0" y="275"/>
                          <a:pt x="65" y="350"/>
                          <a:pt x="151" y="366"/>
                        </a:cubicBezTo>
                        <a:cubicBezTo>
                          <a:pt x="184" y="424"/>
                          <a:pt x="184" y="424"/>
                          <a:pt x="184" y="424"/>
                        </a:cubicBezTo>
                        <a:cubicBezTo>
                          <a:pt x="218" y="366"/>
                          <a:pt x="218" y="366"/>
                          <a:pt x="218" y="366"/>
                        </a:cubicBezTo>
                        <a:cubicBezTo>
                          <a:pt x="304" y="350"/>
                          <a:pt x="369" y="275"/>
                          <a:pt x="369" y="184"/>
                        </a:cubicBezTo>
                        <a:close/>
                      </a:path>
                    </a:pathLst>
                  </a:custGeom>
                  <a:solidFill>
                    <a:schemeClr val="accent1">
                      <a:lumMod val="60000"/>
                      <a:lumOff val="40000"/>
                    </a:schemeClr>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sp>
                <p:nvSpPr>
                  <p:cNvPr id="261" name="Oval 21">
                    <a:extLst>
                      <a:ext uri="{FF2B5EF4-FFF2-40B4-BE49-F238E27FC236}">
                        <a16:creationId xmlns:a16="http://schemas.microsoft.com/office/drawing/2014/main" id="{A2032CFA-318D-4374-98B6-F699100F744B}"/>
                      </a:ext>
                    </a:extLst>
                  </p:cNvPr>
                  <p:cNvSpPr>
                    <a:spLocks noChangeAspect="1" noChangeArrowheads="1"/>
                  </p:cNvSpPr>
                  <p:nvPr/>
                </p:nvSpPr>
                <p:spPr bwMode="auto">
                  <a:xfrm>
                    <a:off x="1719264" y="2546352"/>
                    <a:ext cx="988585" cy="987000"/>
                  </a:xfrm>
                  <a:prstGeom prst="ellipse">
                    <a:avLst/>
                  </a:prstGeom>
                  <a:solidFill>
                    <a:srgbClr val="E7E6E6"/>
                  </a:solidFill>
                  <a:ln>
                    <a:noFill/>
                  </a:ln>
                  <a:effectLst>
                    <a:outerShdw blurRad="127000" dist="63500" dir="2700000" algn="tl" rotWithShape="0">
                      <a:prstClr val="black">
                        <a:alpha val="50000"/>
                      </a:prstClr>
                    </a:outerShd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grpSp>
          <p:grpSp>
            <p:nvGrpSpPr>
              <p:cNvPr id="250" name="Google Shape;2456;p54">
                <a:extLst>
                  <a:ext uri="{FF2B5EF4-FFF2-40B4-BE49-F238E27FC236}">
                    <a16:creationId xmlns:a16="http://schemas.microsoft.com/office/drawing/2014/main" id="{421DFF5F-038F-4AB9-A172-AD462B5023DB}"/>
                  </a:ext>
                </a:extLst>
              </p:cNvPr>
              <p:cNvGrpSpPr/>
              <p:nvPr/>
            </p:nvGrpSpPr>
            <p:grpSpPr>
              <a:xfrm>
                <a:off x="729170" y="1668834"/>
                <a:ext cx="287980" cy="219921"/>
                <a:chOff x="5776798" y="3409778"/>
                <a:chExt cx="346379" cy="264518"/>
              </a:xfrm>
              <a:solidFill>
                <a:schemeClr val="tx1">
                  <a:lumMod val="65000"/>
                  <a:lumOff val="35000"/>
                </a:schemeClr>
              </a:solidFill>
            </p:grpSpPr>
            <p:sp>
              <p:nvSpPr>
                <p:cNvPr id="251" name="Google Shape;2457;p54">
                  <a:extLst>
                    <a:ext uri="{FF2B5EF4-FFF2-40B4-BE49-F238E27FC236}">
                      <a16:creationId xmlns:a16="http://schemas.microsoft.com/office/drawing/2014/main" id="{45C30C80-58DD-4BE7-BA59-0E031B4472C8}"/>
                    </a:ext>
                  </a:extLst>
                </p:cNvPr>
                <p:cNvSpPr/>
                <p:nvPr/>
              </p:nvSpPr>
              <p:spPr>
                <a:xfrm>
                  <a:off x="5890104" y="3642055"/>
                  <a:ext cx="10248" cy="32241"/>
                </a:xfrm>
                <a:custGeom>
                  <a:avLst/>
                  <a:gdLst/>
                  <a:ahLst/>
                  <a:cxnLst/>
                  <a:rect l="l" t="t" r="r" b="b"/>
                  <a:pathLst>
                    <a:path w="322" h="1013" extrusionOk="0">
                      <a:moveTo>
                        <a:pt x="167" y="1"/>
                      </a:moveTo>
                      <a:cubicBezTo>
                        <a:pt x="71" y="1"/>
                        <a:pt x="0" y="72"/>
                        <a:pt x="0" y="155"/>
                      </a:cubicBezTo>
                      <a:lnTo>
                        <a:pt x="0" y="846"/>
                      </a:lnTo>
                      <a:cubicBezTo>
                        <a:pt x="0" y="929"/>
                        <a:pt x="71" y="1013"/>
                        <a:pt x="167" y="1013"/>
                      </a:cubicBezTo>
                      <a:cubicBezTo>
                        <a:pt x="250" y="1013"/>
                        <a:pt x="321" y="929"/>
                        <a:pt x="321" y="846"/>
                      </a:cubicBezTo>
                      <a:lnTo>
                        <a:pt x="321" y="143"/>
                      </a:lnTo>
                      <a:cubicBezTo>
                        <a:pt x="321" y="60"/>
                        <a:pt x="250" y="1"/>
                        <a:pt x="167" y="1"/>
                      </a:cubicBezTo>
                      <a:close/>
                    </a:path>
                  </a:pathLst>
                </a:custGeom>
                <a:grpFill/>
                <a:ln>
                  <a:noFill/>
                </a:ln>
              </p:spPr>
              <p:txBody>
                <a:bodyPr spcFirstLastPara="1" wrap="square" lIns="91425" tIns="91425" rIns="91425" bIns="91425" anchor="ctr" anchorCtr="0">
                  <a:noAutofit/>
                </a:bodyPr>
                <a:lstStyle/>
                <a:p>
                  <a:endParaRPr/>
                </a:p>
              </p:txBody>
            </p:sp>
            <p:sp>
              <p:nvSpPr>
                <p:cNvPr id="253" name="Google Shape;2458;p54">
                  <a:extLst>
                    <a:ext uri="{FF2B5EF4-FFF2-40B4-BE49-F238E27FC236}">
                      <a16:creationId xmlns:a16="http://schemas.microsoft.com/office/drawing/2014/main" id="{CB6C6A91-211D-41BA-BF1A-513C0A492733}"/>
                    </a:ext>
                  </a:extLst>
                </p:cNvPr>
                <p:cNvSpPr/>
                <p:nvPr/>
              </p:nvSpPr>
              <p:spPr>
                <a:xfrm>
                  <a:off x="5998094" y="3642055"/>
                  <a:ext cx="10248" cy="32241"/>
                </a:xfrm>
                <a:custGeom>
                  <a:avLst/>
                  <a:gdLst/>
                  <a:ahLst/>
                  <a:cxnLst/>
                  <a:rect l="l" t="t" r="r" b="b"/>
                  <a:pathLst>
                    <a:path w="322" h="1013" extrusionOk="0">
                      <a:moveTo>
                        <a:pt x="167" y="1"/>
                      </a:moveTo>
                      <a:cubicBezTo>
                        <a:pt x="72" y="1"/>
                        <a:pt x="0" y="72"/>
                        <a:pt x="0" y="155"/>
                      </a:cubicBezTo>
                      <a:lnTo>
                        <a:pt x="0" y="846"/>
                      </a:lnTo>
                      <a:cubicBezTo>
                        <a:pt x="0" y="929"/>
                        <a:pt x="72" y="1013"/>
                        <a:pt x="167" y="1013"/>
                      </a:cubicBezTo>
                      <a:cubicBezTo>
                        <a:pt x="250" y="1013"/>
                        <a:pt x="322" y="929"/>
                        <a:pt x="322" y="846"/>
                      </a:cubicBezTo>
                      <a:lnTo>
                        <a:pt x="322" y="143"/>
                      </a:lnTo>
                      <a:cubicBezTo>
                        <a:pt x="310" y="60"/>
                        <a:pt x="250" y="1"/>
                        <a:pt x="167" y="1"/>
                      </a:cubicBezTo>
                      <a:close/>
                    </a:path>
                  </a:pathLst>
                </a:custGeom>
                <a:grpFill/>
                <a:ln>
                  <a:noFill/>
                </a:ln>
              </p:spPr>
              <p:txBody>
                <a:bodyPr spcFirstLastPara="1" wrap="square" lIns="91425" tIns="91425" rIns="91425" bIns="91425" anchor="ctr" anchorCtr="0">
                  <a:noAutofit/>
                </a:bodyPr>
                <a:lstStyle/>
                <a:p>
                  <a:endParaRPr/>
                </a:p>
              </p:txBody>
            </p:sp>
            <p:sp>
              <p:nvSpPr>
                <p:cNvPr id="254" name="Google Shape;2459;p54">
                  <a:extLst>
                    <a:ext uri="{FF2B5EF4-FFF2-40B4-BE49-F238E27FC236}">
                      <a16:creationId xmlns:a16="http://schemas.microsoft.com/office/drawing/2014/main" id="{BAA78B6B-17AA-444D-9F5F-3D5CD2C6E1AD}"/>
                    </a:ext>
                  </a:extLst>
                </p:cNvPr>
                <p:cNvSpPr/>
                <p:nvPr/>
              </p:nvSpPr>
              <p:spPr>
                <a:xfrm>
                  <a:off x="5814673" y="3528367"/>
                  <a:ext cx="43222" cy="15564"/>
                </a:xfrm>
                <a:custGeom>
                  <a:avLst/>
                  <a:gdLst/>
                  <a:ahLst/>
                  <a:cxnLst/>
                  <a:rect l="l" t="t" r="r" b="b"/>
                  <a:pathLst>
                    <a:path w="1358" h="489" extrusionOk="0">
                      <a:moveTo>
                        <a:pt x="167" y="1"/>
                      </a:moveTo>
                      <a:cubicBezTo>
                        <a:pt x="72" y="1"/>
                        <a:pt x="1" y="72"/>
                        <a:pt x="1" y="156"/>
                      </a:cubicBezTo>
                      <a:cubicBezTo>
                        <a:pt x="1" y="251"/>
                        <a:pt x="72" y="322"/>
                        <a:pt x="167" y="322"/>
                      </a:cubicBezTo>
                      <a:cubicBezTo>
                        <a:pt x="346" y="322"/>
                        <a:pt x="870" y="358"/>
                        <a:pt x="1120" y="477"/>
                      </a:cubicBezTo>
                      <a:cubicBezTo>
                        <a:pt x="1144" y="489"/>
                        <a:pt x="1167" y="489"/>
                        <a:pt x="1191" y="489"/>
                      </a:cubicBezTo>
                      <a:cubicBezTo>
                        <a:pt x="1251" y="489"/>
                        <a:pt x="1310" y="453"/>
                        <a:pt x="1346" y="394"/>
                      </a:cubicBezTo>
                      <a:cubicBezTo>
                        <a:pt x="1358" y="322"/>
                        <a:pt x="1322" y="239"/>
                        <a:pt x="1251" y="191"/>
                      </a:cubicBezTo>
                      <a:cubicBezTo>
                        <a:pt x="882" y="13"/>
                        <a:pt x="191" y="1"/>
                        <a:pt x="167" y="1"/>
                      </a:cubicBezTo>
                      <a:close/>
                    </a:path>
                  </a:pathLst>
                </a:custGeom>
                <a:grpFill/>
                <a:ln>
                  <a:noFill/>
                </a:ln>
              </p:spPr>
              <p:txBody>
                <a:bodyPr spcFirstLastPara="1" wrap="square" lIns="91425" tIns="91425" rIns="91425" bIns="91425" anchor="ctr" anchorCtr="0">
                  <a:noAutofit/>
                </a:bodyPr>
                <a:lstStyle/>
                <a:p>
                  <a:endParaRPr/>
                </a:p>
              </p:txBody>
            </p:sp>
            <p:sp>
              <p:nvSpPr>
                <p:cNvPr id="255" name="Google Shape;2460;p54">
                  <a:extLst>
                    <a:ext uri="{FF2B5EF4-FFF2-40B4-BE49-F238E27FC236}">
                      <a16:creationId xmlns:a16="http://schemas.microsoft.com/office/drawing/2014/main" id="{7FAAA73D-6EF5-4977-ACB2-B7F314705865}"/>
                    </a:ext>
                  </a:extLst>
                </p:cNvPr>
                <p:cNvSpPr/>
                <p:nvPr/>
              </p:nvSpPr>
              <p:spPr>
                <a:xfrm>
                  <a:off x="5797995" y="3631074"/>
                  <a:ext cx="10662" cy="42458"/>
                </a:xfrm>
                <a:custGeom>
                  <a:avLst/>
                  <a:gdLst/>
                  <a:ahLst/>
                  <a:cxnLst/>
                  <a:rect l="l" t="t" r="r" b="b"/>
                  <a:pathLst>
                    <a:path w="335" h="1334" extrusionOk="0">
                      <a:moveTo>
                        <a:pt x="167" y="0"/>
                      </a:moveTo>
                      <a:cubicBezTo>
                        <a:pt x="84" y="0"/>
                        <a:pt x="1" y="72"/>
                        <a:pt x="1" y="167"/>
                      </a:cubicBezTo>
                      <a:lnTo>
                        <a:pt x="1" y="1179"/>
                      </a:lnTo>
                      <a:cubicBezTo>
                        <a:pt x="1" y="1262"/>
                        <a:pt x="84" y="1334"/>
                        <a:pt x="167" y="1334"/>
                      </a:cubicBezTo>
                      <a:cubicBezTo>
                        <a:pt x="251" y="1334"/>
                        <a:pt x="334" y="1262"/>
                        <a:pt x="334" y="1179"/>
                      </a:cubicBezTo>
                      <a:lnTo>
                        <a:pt x="334" y="167"/>
                      </a:lnTo>
                      <a:cubicBezTo>
                        <a:pt x="334" y="72"/>
                        <a:pt x="263" y="0"/>
                        <a:pt x="167" y="0"/>
                      </a:cubicBezTo>
                      <a:close/>
                    </a:path>
                  </a:pathLst>
                </a:custGeom>
                <a:grpFill/>
                <a:ln>
                  <a:noFill/>
                </a:ln>
              </p:spPr>
              <p:txBody>
                <a:bodyPr spcFirstLastPara="1" wrap="square" lIns="91425" tIns="91425" rIns="91425" bIns="91425" anchor="ctr" anchorCtr="0">
                  <a:noAutofit/>
                </a:bodyPr>
                <a:lstStyle/>
                <a:p>
                  <a:endParaRPr/>
                </a:p>
              </p:txBody>
            </p:sp>
            <p:sp>
              <p:nvSpPr>
                <p:cNvPr id="256" name="Google Shape;2461;p54">
                  <a:extLst>
                    <a:ext uri="{FF2B5EF4-FFF2-40B4-BE49-F238E27FC236}">
                      <a16:creationId xmlns:a16="http://schemas.microsoft.com/office/drawing/2014/main" id="{C86C3F33-07B2-4F29-BD73-8A8C54CCACC7}"/>
                    </a:ext>
                  </a:extLst>
                </p:cNvPr>
                <p:cNvSpPr/>
                <p:nvPr/>
              </p:nvSpPr>
              <p:spPr>
                <a:xfrm>
                  <a:off x="5776798" y="3409778"/>
                  <a:ext cx="346379" cy="264136"/>
                </a:xfrm>
                <a:custGeom>
                  <a:avLst/>
                  <a:gdLst/>
                  <a:ahLst/>
                  <a:cxnLst/>
                  <a:rect l="l" t="t" r="r" b="b"/>
                  <a:pathLst>
                    <a:path w="10883" h="8299" extrusionOk="0">
                      <a:moveTo>
                        <a:pt x="9144" y="2512"/>
                      </a:moveTo>
                      <a:cubicBezTo>
                        <a:pt x="9418" y="2512"/>
                        <a:pt x="9656" y="2715"/>
                        <a:pt x="9656" y="2953"/>
                      </a:cubicBezTo>
                      <a:lnTo>
                        <a:pt x="9656" y="2977"/>
                      </a:lnTo>
                      <a:cubicBezTo>
                        <a:pt x="9501" y="2917"/>
                        <a:pt x="9335" y="2869"/>
                        <a:pt x="9144" y="2869"/>
                      </a:cubicBezTo>
                      <a:cubicBezTo>
                        <a:pt x="8965" y="2869"/>
                        <a:pt x="8787" y="2905"/>
                        <a:pt x="8620" y="2977"/>
                      </a:cubicBezTo>
                      <a:lnTo>
                        <a:pt x="8620" y="2953"/>
                      </a:lnTo>
                      <a:cubicBezTo>
                        <a:pt x="8620" y="2727"/>
                        <a:pt x="8858" y="2512"/>
                        <a:pt x="9144" y="2512"/>
                      </a:cubicBezTo>
                      <a:close/>
                      <a:moveTo>
                        <a:pt x="2869" y="3203"/>
                      </a:moveTo>
                      <a:lnTo>
                        <a:pt x="2869" y="3858"/>
                      </a:lnTo>
                      <a:cubicBezTo>
                        <a:pt x="2869" y="3965"/>
                        <a:pt x="2846" y="4060"/>
                        <a:pt x="2798" y="4167"/>
                      </a:cubicBezTo>
                      <a:lnTo>
                        <a:pt x="2727" y="4334"/>
                      </a:lnTo>
                      <a:cubicBezTo>
                        <a:pt x="2715" y="4346"/>
                        <a:pt x="2715" y="4382"/>
                        <a:pt x="2715" y="4405"/>
                      </a:cubicBezTo>
                      <a:lnTo>
                        <a:pt x="2715" y="4751"/>
                      </a:lnTo>
                      <a:cubicBezTo>
                        <a:pt x="2715" y="4989"/>
                        <a:pt x="2619" y="5191"/>
                        <a:pt x="2441" y="5358"/>
                      </a:cubicBezTo>
                      <a:cubicBezTo>
                        <a:pt x="2298" y="5525"/>
                        <a:pt x="2072" y="5596"/>
                        <a:pt x="1834" y="5596"/>
                      </a:cubicBezTo>
                      <a:cubicBezTo>
                        <a:pt x="1369" y="5584"/>
                        <a:pt x="1000" y="5179"/>
                        <a:pt x="1000" y="4703"/>
                      </a:cubicBezTo>
                      <a:lnTo>
                        <a:pt x="1000" y="4405"/>
                      </a:lnTo>
                      <a:cubicBezTo>
                        <a:pt x="1000" y="4382"/>
                        <a:pt x="1000" y="4358"/>
                        <a:pt x="988" y="4334"/>
                      </a:cubicBezTo>
                      <a:lnTo>
                        <a:pt x="881" y="4143"/>
                      </a:lnTo>
                      <a:cubicBezTo>
                        <a:pt x="845" y="4060"/>
                        <a:pt x="822" y="3989"/>
                        <a:pt x="822" y="3905"/>
                      </a:cubicBezTo>
                      <a:lnTo>
                        <a:pt x="822" y="3882"/>
                      </a:lnTo>
                      <a:cubicBezTo>
                        <a:pt x="822" y="3501"/>
                        <a:pt x="1131" y="3203"/>
                        <a:pt x="1500" y="3203"/>
                      </a:cubicBezTo>
                      <a:close/>
                      <a:moveTo>
                        <a:pt x="9144" y="3215"/>
                      </a:moveTo>
                      <a:cubicBezTo>
                        <a:pt x="9704" y="3215"/>
                        <a:pt x="10168" y="3679"/>
                        <a:pt x="10168" y="4239"/>
                      </a:cubicBezTo>
                      <a:cubicBezTo>
                        <a:pt x="10168" y="4346"/>
                        <a:pt x="10156" y="4465"/>
                        <a:pt x="10108" y="4572"/>
                      </a:cubicBezTo>
                      <a:cubicBezTo>
                        <a:pt x="9656" y="4108"/>
                        <a:pt x="8870" y="3929"/>
                        <a:pt x="8823" y="3929"/>
                      </a:cubicBezTo>
                      <a:cubicBezTo>
                        <a:pt x="8814" y="3926"/>
                        <a:pt x="8804" y="3925"/>
                        <a:pt x="8794" y="3925"/>
                      </a:cubicBezTo>
                      <a:cubicBezTo>
                        <a:pt x="8763" y="3925"/>
                        <a:pt x="8727" y="3938"/>
                        <a:pt x="8692" y="3965"/>
                      </a:cubicBezTo>
                      <a:cubicBezTo>
                        <a:pt x="8644" y="3989"/>
                        <a:pt x="8632" y="4036"/>
                        <a:pt x="8632" y="4084"/>
                      </a:cubicBezTo>
                      <a:cubicBezTo>
                        <a:pt x="8632" y="4084"/>
                        <a:pt x="8632" y="4179"/>
                        <a:pt x="8513" y="4298"/>
                      </a:cubicBezTo>
                      <a:cubicBezTo>
                        <a:pt x="8453" y="4358"/>
                        <a:pt x="8453" y="4465"/>
                        <a:pt x="8513" y="4524"/>
                      </a:cubicBezTo>
                      <a:cubicBezTo>
                        <a:pt x="8543" y="4554"/>
                        <a:pt x="8584" y="4569"/>
                        <a:pt x="8626" y="4569"/>
                      </a:cubicBezTo>
                      <a:cubicBezTo>
                        <a:pt x="8668" y="4569"/>
                        <a:pt x="8709" y="4554"/>
                        <a:pt x="8739" y="4524"/>
                      </a:cubicBezTo>
                      <a:cubicBezTo>
                        <a:pt x="8823" y="4441"/>
                        <a:pt x="8882" y="4346"/>
                        <a:pt x="8918" y="4274"/>
                      </a:cubicBezTo>
                      <a:cubicBezTo>
                        <a:pt x="9180" y="4346"/>
                        <a:pt x="9739" y="4560"/>
                        <a:pt x="9989" y="4894"/>
                      </a:cubicBezTo>
                      <a:cubicBezTo>
                        <a:pt x="9906" y="5298"/>
                        <a:pt x="9573" y="5596"/>
                        <a:pt x="9144" y="5596"/>
                      </a:cubicBezTo>
                      <a:cubicBezTo>
                        <a:pt x="8704" y="5596"/>
                        <a:pt x="8334" y="5275"/>
                        <a:pt x="8287" y="4834"/>
                      </a:cubicBezTo>
                      <a:cubicBezTo>
                        <a:pt x="8287" y="4810"/>
                        <a:pt x="8275" y="4798"/>
                        <a:pt x="8263" y="4774"/>
                      </a:cubicBezTo>
                      <a:cubicBezTo>
                        <a:pt x="8156" y="4620"/>
                        <a:pt x="8108" y="4441"/>
                        <a:pt x="8108" y="4239"/>
                      </a:cubicBezTo>
                      <a:cubicBezTo>
                        <a:pt x="8108" y="3679"/>
                        <a:pt x="8573" y="3215"/>
                        <a:pt x="9144" y="3215"/>
                      </a:cubicBezTo>
                      <a:close/>
                      <a:moveTo>
                        <a:pt x="5441" y="298"/>
                      </a:moveTo>
                      <a:cubicBezTo>
                        <a:pt x="6013" y="298"/>
                        <a:pt x="6489" y="488"/>
                        <a:pt x="6858" y="845"/>
                      </a:cubicBezTo>
                      <a:cubicBezTo>
                        <a:pt x="7227" y="1226"/>
                        <a:pt x="7453" y="1738"/>
                        <a:pt x="7501" y="2369"/>
                      </a:cubicBezTo>
                      <a:cubicBezTo>
                        <a:pt x="7620" y="4060"/>
                        <a:pt x="7763" y="5001"/>
                        <a:pt x="7822" y="5334"/>
                      </a:cubicBezTo>
                      <a:lnTo>
                        <a:pt x="7822" y="5346"/>
                      </a:lnTo>
                      <a:cubicBezTo>
                        <a:pt x="7632" y="5453"/>
                        <a:pt x="7310" y="5632"/>
                        <a:pt x="6787" y="5763"/>
                      </a:cubicBezTo>
                      <a:lnTo>
                        <a:pt x="6525" y="5644"/>
                      </a:lnTo>
                      <a:cubicBezTo>
                        <a:pt x="6453" y="5608"/>
                        <a:pt x="6418" y="5548"/>
                        <a:pt x="6418" y="5477"/>
                      </a:cubicBezTo>
                      <a:lnTo>
                        <a:pt x="6418" y="4929"/>
                      </a:lnTo>
                      <a:cubicBezTo>
                        <a:pt x="6918" y="4596"/>
                        <a:pt x="7263" y="4024"/>
                        <a:pt x="7263" y="3370"/>
                      </a:cubicBezTo>
                      <a:lnTo>
                        <a:pt x="7263" y="3072"/>
                      </a:lnTo>
                      <a:cubicBezTo>
                        <a:pt x="7263" y="2869"/>
                        <a:pt x="7180" y="2691"/>
                        <a:pt x="7037" y="2560"/>
                      </a:cubicBezTo>
                      <a:cubicBezTo>
                        <a:pt x="6727" y="2274"/>
                        <a:pt x="6001" y="1798"/>
                        <a:pt x="4751" y="1667"/>
                      </a:cubicBezTo>
                      <a:cubicBezTo>
                        <a:pt x="4744" y="1666"/>
                        <a:pt x="4737" y="1666"/>
                        <a:pt x="4730" y="1666"/>
                      </a:cubicBezTo>
                      <a:cubicBezTo>
                        <a:pt x="4645" y="1666"/>
                        <a:pt x="4583" y="1733"/>
                        <a:pt x="4572" y="1822"/>
                      </a:cubicBezTo>
                      <a:cubicBezTo>
                        <a:pt x="4548" y="1905"/>
                        <a:pt x="4632" y="1977"/>
                        <a:pt x="4715" y="2000"/>
                      </a:cubicBezTo>
                      <a:cubicBezTo>
                        <a:pt x="5882" y="2119"/>
                        <a:pt x="6537" y="2548"/>
                        <a:pt x="6834" y="2798"/>
                      </a:cubicBezTo>
                      <a:cubicBezTo>
                        <a:pt x="6906" y="2858"/>
                        <a:pt x="6953" y="2965"/>
                        <a:pt x="6953" y="3072"/>
                      </a:cubicBezTo>
                      <a:lnTo>
                        <a:pt x="6953" y="3370"/>
                      </a:lnTo>
                      <a:cubicBezTo>
                        <a:pt x="6953" y="4215"/>
                        <a:pt x="6263" y="4894"/>
                        <a:pt x="5417" y="4894"/>
                      </a:cubicBezTo>
                      <a:cubicBezTo>
                        <a:pt x="4572" y="4894"/>
                        <a:pt x="3881" y="4215"/>
                        <a:pt x="3881" y="3370"/>
                      </a:cubicBezTo>
                      <a:lnTo>
                        <a:pt x="3881" y="3227"/>
                      </a:lnTo>
                      <a:cubicBezTo>
                        <a:pt x="3881" y="3167"/>
                        <a:pt x="3917" y="3108"/>
                        <a:pt x="3977" y="3084"/>
                      </a:cubicBezTo>
                      <a:cubicBezTo>
                        <a:pt x="4167" y="2965"/>
                        <a:pt x="4429" y="2750"/>
                        <a:pt x="4548" y="2393"/>
                      </a:cubicBezTo>
                      <a:cubicBezTo>
                        <a:pt x="4584" y="2310"/>
                        <a:pt x="4536" y="2215"/>
                        <a:pt x="4453" y="2203"/>
                      </a:cubicBezTo>
                      <a:cubicBezTo>
                        <a:pt x="4434" y="2198"/>
                        <a:pt x="4415" y="2196"/>
                        <a:pt x="4398" y="2196"/>
                      </a:cubicBezTo>
                      <a:cubicBezTo>
                        <a:pt x="4327" y="2196"/>
                        <a:pt x="4270" y="2234"/>
                        <a:pt x="4251" y="2310"/>
                      </a:cubicBezTo>
                      <a:cubicBezTo>
                        <a:pt x="4167" y="2572"/>
                        <a:pt x="3977" y="2727"/>
                        <a:pt x="3822" y="2810"/>
                      </a:cubicBezTo>
                      <a:cubicBezTo>
                        <a:pt x="3679" y="2905"/>
                        <a:pt x="3572" y="3072"/>
                        <a:pt x="3572" y="3227"/>
                      </a:cubicBezTo>
                      <a:lnTo>
                        <a:pt x="3572" y="3370"/>
                      </a:lnTo>
                      <a:cubicBezTo>
                        <a:pt x="3572" y="4024"/>
                        <a:pt x="3917" y="4584"/>
                        <a:pt x="4417" y="4929"/>
                      </a:cubicBezTo>
                      <a:lnTo>
                        <a:pt x="4417" y="5477"/>
                      </a:lnTo>
                      <a:cubicBezTo>
                        <a:pt x="4417" y="5548"/>
                        <a:pt x="4370" y="5608"/>
                        <a:pt x="4310" y="5644"/>
                      </a:cubicBezTo>
                      <a:lnTo>
                        <a:pt x="4048" y="5763"/>
                      </a:lnTo>
                      <a:cubicBezTo>
                        <a:pt x="3536" y="5632"/>
                        <a:pt x="3215" y="5453"/>
                        <a:pt x="3060" y="5346"/>
                      </a:cubicBezTo>
                      <a:lnTo>
                        <a:pt x="3060" y="5334"/>
                      </a:lnTo>
                      <a:cubicBezTo>
                        <a:pt x="3131" y="5001"/>
                        <a:pt x="3262" y="4060"/>
                        <a:pt x="3393" y="2369"/>
                      </a:cubicBezTo>
                      <a:cubicBezTo>
                        <a:pt x="3441" y="1738"/>
                        <a:pt x="3655" y="1226"/>
                        <a:pt x="4036" y="845"/>
                      </a:cubicBezTo>
                      <a:cubicBezTo>
                        <a:pt x="4393" y="488"/>
                        <a:pt x="4882" y="298"/>
                        <a:pt x="5441" y="298"/>
                      </a:cubicBezTo>
                      <a:close/>
                      <a:moveTo>
                        <a:pt x="2750" y="5465"/>
                      </a:moveTo>
                      <a:cubicBezTo>
                        <a:pt x="2786" y="5501"/>
                        <a:pt x="2810" y="5572"/>
                        <a:pt x="2869" y="5596"/>
                      </a:cubicBezTo>
                      <a:cubicBezTo>
                        <a:pt x="3000" y="5691"/>
                        <a:pt x="3239" y="5822"/>
                        <a:pt x="3584" y="5941"/>
                      </a:cubicBezTo>
                      <a:lnTo>
                        <a:pt x="3155" y="6144"/>
                      </a:lnTo>
                      <a:lnTo>
                        <a:pt x="2655" y="6001"/>
                      </a:lnTo>
                      <a:cubicBezTo>
                        <a:pt x="2512" y="5953"/>
                        <a:pt x="2512" y="5953"/>
                        <a:pt x="2512" y="5906"/>
                      </a:cubicBezTo>
                      <a:lnTo>
                        <a:pt x="2512" y="5691"/>
                      </a:lnTo>
                      <a:cubicBezTo>
                        <a:pt x="2572" y="5656"/>
                        <a:pt x="2619" y="5608"/>
                        <a:pt x="2667" y="5572"/>
                      </a:cubicBezTo>
                      <a:cubicBezTo>
                        <a:pt x="2691" y="5536"/>
                        <a:pt x="2727" y="5513"/>
                        <a:pt x="2750" y="5465"/>
                      </a:cubicBezTo>
                      <a:close/>
                      <a:moveTo>
                        <a:pt x="8096" y="5239"/>
                      </a:moveTo>
                      <a:cubicBezTo>
                        <a:pt x="8180" y="5417"/>
                        <a:pt x="8323" y="5572"/>
                        <a:pt x="8477" y="5691"/>
                      </a:cubicBezTo>
                      <a:lnTo>
                        <a:pt x="8477" y="6025"/>
                      </a:lnTo>
                      <a:lnTo>
                        <a:pt x="8489" y="6025"/>
                      </a:lnTo>
                      <a:lnTo>
                        <a:pt x="7977" y="6287"/>
                      </a:lnTo>
                      <a:cubicBezTo>
                        <a:pt x="7977" y="6287"/>
                        <a:pt x="7965" y="6287"/>
                        <a:pt x="7965" y="6263"/>
                      </a:cubicBezTo>
                      <a:lnTo>
                        <a:pt x="7227" y="5941"/>
                      </a:lnTo>
                      <a:cubicBezTo>
                        <a:pt x="7596" y="5822"/>
                        <a:pt x="7822" y="5667"/>
                        <a:pt x="7942" y="5596"/>
                      </a:cubicBezTo>
                      <a:cubicBezTo>
                        <a:pt x="8049" y="5525"/>
                        <a:pt x="8108" y="5406"/>
                        <a:pt x="8096" y="5275"/>
                      </a:cubicBezTo>
                      <a:lnTo>
                        <a:pt x="8096" y="5239"/>
                      </a:lnTo>
                      <a:close/>
                      <a:moveTo>
                        <a:pt x="2203" y="5870"/>
                      </a:moveTo>
                      <a:lnTo>
                        <a:pt x="2203" y="5929"/>
                      </a:lnTo>
                      <a:cubicBezTo>
                        <a:pt x="2203" y="5953"/>
                        <a:pt x="2203" y="5989"/>
                        <a:pt x="2215" y="6013"/>
                      </a:cubicBezTo>
                      <a:lnTo>
                        <a:pt x="1857" y="6370"/>
                      </a:lnTo>
                      <a:lnTo>
                        <a:pt x="1500" y="6013"/>
                      </a:lnTo>
                      <a:cubicBezTo>
                        <a:pt x="1512" y="5989"/>
                        <a:pt x="1512" y="5953"/>
                        <a:pt x="1512" y="5929"/>
                      </a:cubicBezTo>
                      <a:lnTo>
                        <a:pt x="1512" y="5870"/>
                      </a:lnTo>
                      <a:cubicBezTo>
                        <a:pt x="1619" y="5894"/>
                        <a:pt x="1726" y="5929"/>
                        <a:pt x="1834" y="5929"/>
                      </a:cubicBezTo>
                      <a:lnTo>
                        <a:pt x="1857" y="5929"/>
                      </a:lnTo>
                      <a:cubicBezTo>
                        <a:pt x="1976" y="5929"/>
                        <a:pt x="2096" y="5906"/>
                        <a:pt x="2203" y="5870"/>
                      </a:cubicBezTo>
                      <a:close/>
                      <a:moveTo>
                        <a:pt x="9525" y="5882"/>
                      </a:moveTo>
                      <a:lnTo>
                        <a:pt x="9525" y="6048"/>
                      </a:lnTo>
                      <a:cubicBezTo>
                        <a:pt x="9525" y="6108"/>
                        <a:pt x="9537" y="6144"/>
                        <a:pt x="9573" y="6191"/>
                      </a:cubicBezTo>
                      <a:lnTo>
                        <a:pt x="9394" y="6322"/>
                      </a:lnTo>
                      <a:cubicBezTo>
                        <a:pt x="9323" y="6394"/>
                        <a:pt x="9236" y="6429"/>
                        <a:pt x="9151" y="6429"/>
                      </a:cubicBezTo>
                      <a:cubicBezTo>
                        <a:pt x="9067" y="6429"/>
                        <a:pt x="8983" y="6394"/>
                        <a:pt x="8918" y="6322"/>
                      </a:cubicBezTo>
                      <a:lnTo>
                        <a:pt x="8763" y="6191"/>
                      </a:lnTo>
                      <a:cubicBezTo>
                        <a:pt x="8799" y="6144"/>
                        <a:pt x="8811" y="6084"/>
                        <a:pt x="8811" y="6048"/>
                      </a:cubicBezTo>
                      <a:lnTo>
                        <a:pt x="8811" y="5882"/>
                      </a:lnTo>
                      <a:cubicBezTo>
                        <a:pt x="8918" y="5906"/>
                        <a:pt x="9037" y="5941"/>
                        <a:pt x="9168" y="5941"/>
                      </a:cubicBezTo>
                      <a:cubicBezTo>
                        <a:pt x="9287" y="5941"/>
                        <a:pt x="9406" y="5929"/>
                        <a:pt x="9525" y="5882"/>
                      </a:cubicBezTo>
                      <a:close/>
                      <a:moveTo>
                        <a:pt x="6096" y="5096"/>
                      </a:moveTo>
                      <a:lnTo>
                        <a:pt x="6096" y="5477"/>
                      </a:lnTo>
                      <a:cubicBezTo>
                        <a:pt x="6096" y="5667"/>
                        <a:pt x="6215" y="5846"/>
                        <a:pt x="6394" y="5941"/>
                      </a:cubicBezTo>
                      <a:lnTo>
                        <a:pt x="6632" y="6048"/>
                      </a:lnTo>
                      <a:cubicBezTo>
                        <a:pt x="6406" y="6489"/>
                        <a:pt x="5941" y="6787"/>
                        <a:pt x="5417" y="6787"/>
                      </a:cubicBezTo>
                      <a:cubicBezTo>
                        <a:pt x="4894" y="6787"/>
                        <a:pt x="4441" y="6501"/>
                        <a:pt x="4203" y="6048"/>
                      </a:cubicBezTo>
                      <a:lnTo>
                        <a:pt x="4441" y="5941"/>
                      </a:lnTo>
                      <a:cubicBezTo>
                        <a:pt x="4620" y="5870"/>
                        <a:pt x="4739" y="5691"/>
                        <a:pt x="4739" y="5477"/>
                      </a:cubicBezTo>
                      <a:lnTo>
                        <a:pt x="4739" y="5096"/>
                      </a:lnTo>
                      <a:cubicBezTo>
                        <a:pt x="4941" y="5179"/>
                        <a:pt x="5179" y="5227"/>
                        <a:pt x="5417" y="5227"/>
                      </a:cubicBezTo>
                      <a:cubicBezTo>
                        <a:pt x="5656" y="5227"/>
                        <a:pt x="5894" y="5179"/>
                        <a:pt x="6096" y="5096"/>
                      </a:cubicBezTo>
                      <a:close/>
                      <a:moveTo>
                        <a:pt x="5417" y="0"/>
                      </a:moveTo>
                      <a:cubicBezTo>
                        <a:pt x="4763" y="0"/>
                        <a:pt x="4215" y="226"/>
                        <a:pt x="3786" y="643"/>
                      </a:cubicBezTo>
                      <a:cubicBezTo>
                        <a:pt x="3346" y="1060"/>
                        <a:pt x="3096" y="1655"/>
                        <a:pt x="3048" y="2346"/>
                      </a:cubicBezTo>
                      <a:cubicBezTo>
                        <a:pt x="3036" y="2548"/>
                        <a:pt x="3024" y="2703"/>
                        <a:pt x="3012" y="2881"/>
                      </a:cubicBezTo>
                      <a:lnTo>
                        <a:pt x="1524" y="2881"/>
                      </a:lnTo>
                      <a:cubicBezTo>
                        <a:pt x="964" y="2881"/>
                        <a:pt x="512" y="3334"/>
                        <a:pt x="512" y="3893"/>
                      </a:cubicBezTo>
                      <a:lnTo>
                        <a:pt x="512" y="3917"/>
                      </a:lnTo>
                      <a:cubicBezTo>
                        <a:pt x="512" y="4048"/>
                        <a:pt x="536" y="4167"/>
                        <a:pt x="595" y="4286"/>
                      </a:cubicBezTo>
                      <a:lnTo>
                        <a:pt x="667" y="4453"/>
                      </a:lnTo>
                      <a:lnTo>
                        <a:pt x="667" y="4703"/>
                      </a:lnTo>
                      <a:cubicBezTo>
                        <a:pt x="667" y="5120"/>
                        <a:pt x="881" y="5477"/>
                        <a:pt x="1179" y="5703"/>
                      </a:cubicBezTo>
                      <a:lnTo>
                        <a:pt x="1179" y="5929"/>
                      </a:lnTo>
                      <a:cubicBezTo>
                        <a:pt x="1179" y="5953"/>
                        <a:pt x="1167" y="5989"/>
                        <a:pt x="1131" y="5989"/>
                      </a:cubicBezTo>
                      <a:lnTo>
                        <a:pt x="476" y="6179"/>
                      </a:lnTo>
                      <a:cubicBezTo>
                        <a:pt x="191" y="6251"/>
                        <a:pt x="0" y="6513"/>
                        <a:pt x="0" y="6810"/>
                      </a:cubicBezTo>
                      <a:lnTo>
                        <a:pt x="0" y="8120"/>
                      </a:lnTo>
                      <a:cubicBezTo>
                        <a:pt x="0" y="8215"/>
                        <a:pt x="71" y="8287"/>
                        <a:pt x="167" y="8287"/>
                      </a:cubicBezTo>
                      <a:cubicBezTo>
                        <a:pt x="250" y="8287"/>
                        <a:pt x="333" y="8215"/>
                        <a:pt x="333" y="8120"/>
                      </a:cubicBezTo>
                      <a:lnTo>
                        <a:pt x="333" y="6810"/>
                      </a:lnTo>
                      <a:cubicBezTo>
                        <a:pt x="333" y="6668"/>
                        <a:pt x="429" y="6513"/>
                        <a:pt x="583" y="6477"/>
                      </a:cubicBezTo>
                      <a:lnTo>
                        <a:pt x="1238" y="6287"/>
                      </a:lnTo>
                      <a:cubicBezTo>
                        <a:pt x="1262" y="6287"/>
                        <a:pt x="1286" y="6263"/>
                        <a:pt x="1310" y="6251"/>
                      </a:cubicBezTo>
                      <a:lnTo>
                        <a:pt x="1715" y="6656"/>
                      </a:lnTo>
                      <a:lnTo>
                        <a:pt x="1715" y="8108"/>
                      </a:lnTo>
                      <a:cubicBezTo>
                        <a:pt x="1715" y="8203"/>
                        <a:pt x="1786" y="8275"/>
                        <a:pt x="1881" y="8275"/>
                      </a:cubicBezTo>
                      <a:cubicBezTo>
                        <a:pt x="1965" y="8275"/>
                        <a:pt x="2036" y="8203"/>
                        <a:pt x="2036" y="8108"/>
                      </a:cubicBezTo>
                      <a:lnTo>
                        <a:pt x="2036" y="6656"/>
                      </a:lnTo>
                      <a:lnTo>
                        <a:pt x="2441" y="6251"/>
                      </a:lnTo>
                      <a:cubicBezTo>
                        <a:pt x="2500" y="6287"/>
                        <a:pt x="2548" y="6298"/>
                        <a:pt x="2596" y="6310"/>
                      </a:cubicBezTo>
                      <a:lnTo>
                        <a:pt x="2750" y="6358"/>
                      </a:lnTo>
                      <a:cubicBezTo>
                        <a:pt x="2536" y="6501"/>
                        <a:pt x="2393" y="6751"/>
                        <a:pt x="2393" y="7037"/>
                      </a:cubicBezTo>
                      <a:lnTo>
                        <a:pt x="2393" y="8120"/>
                      </a:lnTo>
                      <a:cubicBezTo>
                        <a:pt x="2393" y="8215"/>
                        <a:pt x="2465" y="8287"/>
                        <a:pt x="2560" y="8287"/>
                      </a:cubicBezTo>
                      <a:cubicBezTo>
                        <a:pt x="2643" y="8287"/>
                        <a:pt x="2727" y="8215"/>
                        <a:pt x="2727" y="8120"/>
                      </a:cubicBezTo>
                      <a:lnTo>
                        <a:pt x="2727" y="7037"/>
                      </a:lnTo>
                      <a:cubicBezTo>
                        <a:pt x="2727" y="6834"/>
                        <a:pt x="2846" y="6656"/>
                        <a:pt x="3036" y="6560"/>
                      </a:cubicBezTo>
                      <a:lnTo>
                        <a:pt x="3941" y="6156"/>
                      </a:lnTo>
                      <a:cubicBezTo>
                        <a:pt x="4227" y="6727"/>
                        <a:pt x="4810" y="7096"/>
                        <a:pt x="5441" y="7096"/>
                      </a:cubicBezTo>
                      <a:cubicBezTo>
                        <a:pt x="6084" y="7096"/>
                        <a:pt x="6668" y="6739"/>
                        <a:pt x="6953" y="6156"/>
                      </a:cubicBezTo>
                      <a:lnTo>
                        <a:pt x="7858" y="6560"/>
                      </a:lnTo>
                      <a:cubicBezTo>
                        <a:pt x="8049" y="6656"/>
                        <a:pt x="8168" y="6834"/>
                        <a:pt x="8168" y="7037"/>
                      </a:cubicBezTo>
                      <a:lnTo>
                        <a:pt x="8168" y="8120"/>
                      </a:lnTo>
                      <a:cubicBezTo>
                        <a:pt x="8168" y="8215"/>
                        <a:pt x="8239" y="8287"/>
                        <a:pt x="8334" y="8287"/>
                      </a:cubicBezTo>
                      <a:cubicBezTo>
                        <a:pt x="8418" y="8287"/>
                        <a:pt x="8501" y="8215"/>
                        <a:pt x="8501" y="8120"/>
                      </a:cubicBezTo>
                      <a:lnTo>
                        <a:pt x="8501" y="7037"/>
                      </a:lnTo>
                      <a:cubicBezTo>
                        <a:pt x="8501" y="6834"/>
                        <a:pt x="8418" y="6656"/>
                        <a:pt x="8299" y="6501"/>
                      </a:cubicBezTo>
                      <a:lnTo>
                        <a:pt x="8537" y="6382"/>
                      </a:lnTo>
                      <a:lnTo>
                        <a:pt x="8715" y="6560"/>
                      </a:lnTo>
                      <a:cubicBezTo>
                        <a:pt x="8858" y="6679"/>
                        <a:pt x="9013" y="6739"/>
                        <a:pt x="9180" y="6739"/>
                      </a:cubicBezTo>
                      <a:cubicBezTo>
                        <a:pt x="9346" y="6739"/>
                        <a:pt x="9513" y="6679"/>
                        <a:pt x="9644" y="6560"/>
                      </a:cubicBezTo>
                      <a:lnTo>
                        <a:pt x="9823" y="6382"/>
                      </a:lnTo>
                      <a:lnTo>
                        <a:pt x="10358" y="6656"/>
                      </a:lnTo>
                      <a:cubicBezTo>
                        <a:pt x="10478" y="6715"/>
                        <a:pt x="10549" y="6834"/>
                        <a:pt x="10549" y="6965"/>
                      </a:cubicBezTo>
                      <a:lnTo>
                        <a:pt x="10549" y="8144"/>
                      </a:lnTo>
                      <a:cubicBezTo>
                        <a:pt x="10549" y="8227"/>
                        <a:pt x="10620" y="8299"/>
                        <a:pt x="10716" y="8299"/>
                      </a:cubicBezTo>
                      <a:cubicBezTo>
                        <a:pt x="10799" y="8299"/>
                        <a:pt x="10882" y="8227"/>
                        <a:pt x="10882" y="8144"/>
                      </a:cubicBezTo>
                      <a:lnTo>
                        <a:pt x="10882" y="6965"/>
                      </a:lnTo>
                      <a:cubicBezTo>
                        <a:pt x="10823" y="6703"/>
                        <a:pt x="10692" y="6477"/>
                        <a:pt x="10466" y="6358"/>
                      </a:cubicBezTo>
                      <a:lnTo>
                        <a:pt x="9823" y="6025"/>
                      </a:lnTo>
                      <a:lnTo>
                        <a:pt x="9823" y="6013"/>
                      </a:lnTo>
                      <a:lnTo>
                        <a:pt x="9823" y="5691"/>
                      </a:lnTo>
                      <a:cubicBezTo>
                        <a:pt x="10097" y="5501"/>
                        <a:pt x="10275" y="5227"/>
                        <a:pt x="10311" y="4882"/>
                      </a:cubicBezTo>
                      <a:cubicBezTo>
                        <a:pt x="10430" y="4679"/>
                        <a:pt x="10489" y="4453"/>
                        <a:pt x="10489" y="4215"/>
                      </a:cubicBezTo>
                      <a:cubicBezTo>
                        <a:pt x="10489" y="3786"/>
                        <a:pt x="10287" y="3381"/>
                        <a:pt x="9954" y="3143"/>
                      </a:cubicBezTo>
                      <a:cubicBezTo>
                        <a:pt x="9977" y="3084"/>
                        <a:pt x="9989" y="3012"/>
                        <a:pt x="9989" y="2953"/>
                      </a:cubicBezTo>
                      <a:cubicBezTo>
                        <a:pt x="9989" y="2536"/>
                        <a:pt x="9620" y="2191"/>
                        <a:pt x="9156" y="2191"/>
                      </a:cubicBezTo>
                      <a:cubicBezTo>
                        <a:pt x="8692" y="2191"/>
                        <a:pt x="8323" y="2524"/>
                        <a:pt x="8323" y="2953"/>
                      </a:cubicBezTo>
                      <a:cubicBezTo>
                        <a:pt x="8323" y="3024"/>
                        <a:pt x="8334" y="3084"/>
                        <a:pt x="8346" y="3143"/>
                      </a:cubicBezTo>
                      <a:cubicBezTo>
                        <a:pt x="8156" y="3286"/>
                        <a:pt x="8013" y="3477"/>
                        <a:pt x="7906" y="3715"/>
                      </a:cubicBezTo>
                      <a:cubicBezTo>
                        <a:pt x="7858" y="3334"/>
                        <a:pt x="7834" y="2869"/>
                        <a:pt x="7787" y="2346"/>
                      </a:cubicBezTo>
                      <a:cubicBezTo>
                        <a:pt x="7739" y="1655"/>
                        <a:pt x="7489" y="1060"/>
                        <a:pt x="7060" y="643"/>
                      </a:cubicBezTo>
                      <a:cubicBezTo>
                        <a:pt x="6644" y="226"/>
                        <a:pt x="6072" y="0"/>
                        <a:pt x="5417" y="0"/>
                      </a:cubicBezTo>
                      <a:close/>
                    </a:path>
                  </a:pathLst>
                </a:custGeom>
                <a:grpFill/>
                <a:ln>
                  <a:noFill/>
                </a:ln>
              </p:spPr>
              <p:txBody>
                <a:bodyPr spcFirstLastPara="1" wrap="square" lIns="91425" tIns="91425" rIns="91425" bIns="91425" anchor="ctr" anchorCtr="0">
                  <a:noAutofit/>
                </a:bodyPr>
                <a:lstStyle/>
                <a:p>
                  <a:endParaRPr/>
                </a:p>
              </p:txBody>
            </p:sp>
            <p:sp>
              <p:nvSpPr>
                <p:cNvPr id="257" name="Google Shape;2462;p54">
                  <a:extLst>
                    <a:ext uri="{FF2B5EF4-FFF2-40B4-BE49-F238E27FC236}">
                      <a16:creationId xmlns:a16="http://schemas.microsoft.com/office/drawing/2014/main" id="{B774AD9D-AE7C-48F3-9715-085FEA95DC38}"/>
                    </a:ext>
                  </a:extLst>
                </p:cNvPr>
                <p:cNvSpPr/>
                <p:nvPr/>
              </p:nvSpPr>
              <p:spPr>
                <a:xfrm>
                  <a:off x="6089408" y="3637503"/>
                  <a:ext cx="10662" cy="36029"/>
                </a:xfrm>
                <a:custGeom>
                  <a:avLst/>
                  <a:gdLst/>
                  <a:ahLst/>
                  <a:cxnLst/>
                  <a:rect l="l" t="t" r="r" b="b"/>
                  <a:pathLst>
                    <a:path w="335" h="1132" extrusionOk="0">
                      <a:moveTo>
                        <a:pt x="167" y="1"/>
                      </a:moveTo>
                      <a:cubicBezTo>
                        <a:pt x="72" y="1"/>
                        <a:pt x="1" y="84"/>
                        <a:pt x="1" y="167"/>
                      </a:cubicBezTo>
                      <a:lnTo>
                        <a:pt x="1" y="977"/>
                      </a:lnTo>
                      <a:cubicBezTo>
                        <a:pt x="1" y="1060"/>
                        <a:pt x="72" y="1132"/>
                        <a:pt x="167" y="1132"/>
                      </a:cubicBezTo>
                      <a:cubicBezTo>
                        <a:pt x="251" y="1132"/>
                        <a:pt x="322" y="1060"/>
                        <a:pt x="322" y="977"/>
                      </a:cubicBezTo>
                      <a:lnTo>
                        <a:pt x="322" y="167"/>
                      </a:lnTo>
                      <a:cubicBezTo>
                        <a:pt x="334" y="84"/>
                        <a:pt x="251" y="1"/>
                        <a:pt x="167" y="1"/>
                      </a:cubicBezTo>
                      <a:close/>
                    </a:path>
                  </a:pathLst>
                </a:custGeom>
                <a:grpFill/>
                <a:ln>
                  <a:noFill/>
                </a:ln>
              </p:spPr>
              <p:txBody>
                <a:bodyPr spcFirstLastPara="1" wrap="square" lIns="91425" tIns="91425" rIns="91425" bIns="91425" anchor="ctr" anchorCtr="0">
                  <a:noAutofit/>
                </a:bodyPr>
                <a:lstStyle/>
                <a:p>
                  <a:endParaRPr/>
                </a:p>
              </p:txBody>
            </p:sp>
          </p:grpSp>
        </p:grpSp>
        <p:sp>
          <p:nvSpPr>
            <p:cNvPr id="368" name="Rechteck 125">
              <a:extLst>
                <a:ext uri="{FF2B5EF4-FFF2-40B4-BE49-F238E27FC236}">
                  <a16:creationId xmlns:a16="http://schemas.microsoft.com/office/drawing/2014/main" id="{3AB740F7-AA59-40AE-B5F0-8DC4ABBBB11A}"/>
                </a:ext>
              </a:extLst>
            </p:cNvPr>
            <p:cNvSpPr/>
            <p:nvPr/>
          </p:nvSpPr>
          <p:spPr bwMode="gray">
            <a:xfrm>
              <a:off x="571857" y="2789248"/>
              <a:ext cx="1175163" cy="1016578"/>
            </a:xfrm>
            <a:prstGeom prst="rect">
              <a:avLst/>
            </a:prstGeom>
          </p:spPr>
          <p:style>
            <a:lnRef idx="0">
              <a:scrgbClr r="0" g="0" b="0"/>
            </a:lnRef>
            <a:fillRef idx="0">
              <a:scrgbClr r="0" g="0" b="0"/>
            </a:fillRef>
            <a:effectRef idx="0">
              <a:scrgbClr r="0" g="0" b="0"/>
            </a:effectRef>
            <a:fontRef idx="major"/>
          </p:style>
          <p:txBody>
            <a:bodyPr wrap="square" lIns="72000" tIns="46800" rIns="72000">
              <a:no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defTabSz="801608"/>
              <a:r>
                <a:rPr lang="en-US" sz="1000" b="1" dirty="0">
                  <a:solidFill>
                    <a:srgbClr val="14438E"/>
                  </a:solidFill>
                  <a:latin typeface="Arial" panose="020B0604020202020204" pitchFamily="34" charset="0"/>
                  <a:cs typeface="Arial" panose="020B0604020202020204" pitchFamily="34" charset="0"/>
                </a:rPr>
                <a:t>Convergence Analysis (C.A.) 1</a:t>
              </a:r>
              <a:r>
                <a:rPr lang="en-US" sz="1000" b="1" baseline="30000" dirty="0">
                  <a:solidFill>
                    <a:srgbClr val="14438E"/>
                  </a:solidFill>
                  <a:latin typeface="Arial" panose="020B0604020202020204" pitchFamily="34" charset="0"/>
                  <a:cs typeface="Arial" panose="020B0604020202020204" pitchFamily="34" charset="0"/>
                </a:rPr>
                <a:t>st</a:t>
              </a:r>
              <a:r>
                <a:rPr lang="en-US" sz="1000" b="1" dirty="0">
                  <a:solidFill>
                    <a:srgbClr val="14438E"/>
                  </a:solidFill>
                  <a:latin typeface="Arial" panose="020B0604020202020204" pitchFamily="34" charset="0"/>
                  <a:cs typeface="Arial" panose="020B0604020202020204" pitchFamily="34" charset="0"/>
                </a:rPr>
                <a:t> WG</a:t>
              </a:r>
            </a:p>
            <a:p>
              <a:pPr algn="ctr" defTabSz="801608"/>
              <a:r>
                <a:rPr lang="en-US" sz="900" dirty="0">
                  <a:solidFill>
                    <a:schemeClr val="tx1">
                      <a:lumMod val="65000"/>
                      <a:lumOff val="35000"/>
                    </a:schemeClr>
                  </a:solidFill>
                  <a:latin typeface="Arial" panose="020B0604020202020204" pitchFamily="34" charset="0"/>
                  <a:cs typeface="Arial" panose="020B0604020202020204" pitchFamily="34" charset="0"/>
                </a:rPr>
                <a:t>Recommendation to launch CP14</a:t>
              </a:r>
            </a:p>
          </p:txBody>
        </p:sp>
      </p:grpSp>
    </p:spTree>
    <p:extLst>
      <p:ext uri="{BB962C8B-B14F-4D97-AF65-F5344CB8AC3E}">
        <p14:creationId xmlns:p14="http://schemas.microsoft.com/office/powerpoint/2010/main" val="21137555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83072" y="196319"/>
            <a:ext cx="1578823" cy="434584"/>
            <a:chOff x="183072" y="215369"/>
            <a:chExt cx="1578823" cy="434584"/>
          </a:xfrm>
        </p:grpSpPr>
        <p:sp>
          <p:nvSpPr>
            <p:cNvPr id="2" name="Rectangle 1"/>
            <p:cNvSpPr/>
            <p:nvPr/>
          </p:nvSpPr>
          <p:spPr>
            <a:xfrm>
              <a:off x="183072" y="215369"/>
              <a:ext cx="1561943" cy="401419"/>
            </a:xfrm>
            <a:prstGeom prst="roundRect">
              <a:avLst/>
            </a:prstGeom>
            <a:solidFill>
              <a:schemeClr val="bg1"/>
            </a:solidFill>
            <a:ln>
              <a:noFill/>
            </a:ln>
            <a:effectLst>
              <a:outerShdw blurRad="40000" dist="23000" dir="5400000" rotWithShape="0">
                <a:schemeClr val="bg1"/>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3558" b="1"/>
            <a:stretch/>
          </p:blipFill>
          <p:spPr>
            <a:xfrm>
              <a:off x="183072" y="217953"/>
              <a:ext cx="1578823" cy="432000"/>
            </a:xfrm>
            <a:prstGeom prst="roundRect">
              <a:avLst/>
            </a:prstGeom>
          </p:spPr>
        </p:pic>
      </p:grpSp>
      <p:sp>
        <p:nvSpPr>
          <p:cNvPr id="122" name="Rectangle 8">
            <a:extLst>
              <a:ext uri="{FF2B5EF4-FFF2-40B4-BE49-F238E27FC236}">
                <a16:creationId xmlns:a16="http://schemas.microsoft.com/office/drawing/2014/main" id="{738B75C2-D784-445C-8408-32D440FE565A}"/>
              </a:ext>
            </a:extLst>
          </p:cNvPr>
          <p:cNvSpPr>
            <a:spLocks/>
          </p:cNvSpPr>
          <p:nvPr/>
        </p:nvSpPr>
        <p:spPr bwMode="auto">
          <a:xfrm>
            <a:off x="652210" y="699194"/>
            <a:ext cx="8103428" cy="270030"/>
          </a:xfrm>
          <a:prstGeom prst="rect">
            <a:avLst/>
          </a:prstGeom>
          <a:solidFill>
            <a:srgbClr val="024DA1"/>
          </a:solidFill>
          <a:ln>
            <a:noFill/>
          </a:ln>
        </p:spPr>
        <p:txBody>
          <a:bodyPr lIns="0" tIns="0" rIns="0" bIns="0" anchor="ctr"/>
          <a:lstStyle/>
          <a:p>
            <a:pPr marL="85725"/>
            <a:r>
              <a:rPr lang="en-IE" sz="1400" b="1" dirty="0">
                <a:solidFill>
                  <a:schemeClr val="bg1"/>
                </a:solidFill>
                <a:latin typeface="Arial"/>
                <a:cs typeface="Arial"/>
              </a:rPr>
              <a:t>CP</a:t>
            </a:r>
            <a:r>
              <a:rPr lang="en-IE" sz="1400" b="1" dirty="0">
                <a:solidFill>
                  <a:schemeClr val="bg1"/>
                </a:solidFill>
                <a:latin typeface="Arial" panose="020B0604020202020204" pitchFamily="34" charset="0"/>
                <a:cs typeface="Arial" panose="020B0604020202020204" pitchFamily="34" charset="0"/>
              </a:rPr>
              <a:t>14 </a:t>
            </a:r>
            <a:r>
              <a:rPr lang="en-IE" sz="1400" b="1" dirty="0">
                <a:solidFill>
                  <a:schemeClr val="bg1"/>
                </a:solidFill>
                <a:latin typeface="Arial"/>
                <a:cs typeface="Arial"/>
              </a:rPr>
              <a:t>Common Practice </a:t>
            </a:r>
            <a:endParaRPr lang="en-IE" sz="1500" b="1" spc="-71" dirty="0">
              <a:solidFill>
                <a:srgbClr val="FFFCF6"/>
              </a:solidFill>
              <a:latin typeface="Arial"/>
              <a:ea typeface="Open Sans" panose="020B0606030504020204" pitchFamily="34" charset="0"/>
              <a:cs typeface="Arial"/>
            </a:endParaRPr>
          </a:p>
        </p:txBody>
      </p:sp>
      <p:sp>
        <p:nvSpPr>
          <p:cNvPr id="124" name="Rectangle 16">
            <a:extLst>
              <a:ext uri="{FF2B5EF4-FFF2-40B4-BE49-F238E27FC236}">
                <a16:creationId xmlns:a16="http://schemas.microsoft.com/office/drawing/2014/main" id="{146050E9-5E53-4BCC-9E4F-2160A5655310}"/>
              </a:ext>
            </a:extLst>
          </p:cNvPr>
          <p:cNvSpPr>
            <a:spLocks/>
          </p:cNvSpPr>
          <p:nvPr/>
        </p:nvSpPr>
        <p:spPr bwMode="auto">
          <a:xfrm>
            <a:off x="1067144" y="271164"/>
            <a:ext cx="7688494" cy="439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0" tIns="0" rIns="0" bIns="0" anchor="ctr"/>
          <a:lstStyle/>
          <a:p>
            <a:pPr algn="r"/>
            <a:r>
              <a:rPr lang="en-US" sz="1000" spc="-71" dirty="0">
                <a:solidFill>
                  <a:srgbClr val="FFFFFF">
                    <a:lumMod val="65000"/>
                  </a:srgbClr>
                </a:solidFill>
                <a:latin typeface="Arial" panose="020B0604020202020204" pitchFamily="34" charset="0"/>
                <a:ea typeface="Helvetica Neue UltraLight"/>
                <a:cs typeface="Arial" panose="020B0604020202020204" pitchFamily="34" charset="0"/>
                <a:sym typeface="Helvetica Neue UltraLight"/>
              </a:rPr>
              <a:t>CP14: Trade marks contrary to public policy or to accepted principles of morality</a:t>
            </a:r>
            <a:endParaRPr lang="en-GB" sz="1000" spc="-71" dirty="0">
              <a:solidFill>
                <a:srgbClr val="FFFFFF">
                  <a:lumMod val="65000"/>
                </a:srgbClr>
              </a:solidFill>
              <a:latin typeface="Arial" panose="020B0604020202020204" pitchFamily="34" charset="0"/>
              <a:ea typeface="Helvetica Neue UltraLight"/>
              <a:cs typeface="Arial" panose="020B0604020202020204" pitchFamily="34" charset="0"/>
            </a:endParaRPr>
          </a:p>
        </p:txBody>
      </p:sp>
      <p:sp>
        <p:nvSpPr>
          <p:cNvPr id="128" name="Rectangle 127">
            <a:extLst>
              <a:ext uri="{FF2B5EF4-FFF2-40B4-BE49-F238E27FC236}">
                <a16:creationId xmlns:a16="http://schemas.microsoft.com/office/drawing/2014/main" id="{E57B3DA8-B190-46B2-A04A-AF3609F8F215}"/>
              </a:ext>
            </a:extLst>
          </p:cNvPr>
          <p:cNvSpPr>
            <a:spLocks/>
          </p:cNvSpPr>
          <p:nvPr/>
        </p:nvSpPr>
        <p:spPr bwMode="auto">
          <a:xfrm>
            <a:off x="652210" y="1039637"/>
            <a:ext cx="8103428" cy="293586"/>
          </a:xfrm>
          <a:prstGeom prst="rect">
            <a:avLst/>
          </a:prstGeom>
          <a:noFill/>
          <a:ln w="28575">
            <a:solidFill>
              <a:schemeClr val="accent5"/>
            </a:solidFill>
          </a:ln>
        </p:spPr>
        <p:txBody>
          <a:bodyPr lIns="0" tIns="0" rIns="0" bIns="0" anchor="ctr"/>
          <a:lstStyle/>
          <a:p>
            <a:pPr marL="85725"/>
            <a:r>
              <a:rPr lang="en-US" sz="1400" b="1" spc="-71" dirty="0">
                <a:solidFill>
                  <a:schemeClr val="accent5"/>
                </a:solidFill>
                <a:latin typeface="Arial"/>
                <a:ea typeface="Open Sans" panose="020B0606030504020204" pitchFamily="34" charset="0"/>
                <a:cs typeface="Arial"/>
              </a:rPr>
              <a:t>Timeline – development of the project</a:t>
            </a:r>
          </a:p>
        </p:txBody>
      </p:sp>
      <p:cxnSp>
        <p:nvCxnSpPr>
          <p:cNvPr id="86" name="Straight Connector 85">
            <a:extLst>
              <a:ext uri="{FF2B5EF4-FFF2-40B4-BE49-F238E27FC236}">
                <a16:creationId xmlns:a16="http://schemas.microsoft.com/office/drawing/2014/main" id="{6D2BE0DA-977D-47B6-9E60-12A476E92D1C}"/>
              </a:ext>
            </a:extLst>
          </p:cNvPr>
          <p:cNvCxnSpPr>
            <a:cxnSpLocks/>
            <a:endCxn id="204" idx="1"/>
          </p:cNvCxnSpPr>
          <p:nvPr/>
        </p:nvCxnSpPr>
        <p:spPr>
          <a:xfrm>
            <a:off x="521856" y="2593913"/>
            <a:ext cx="8123705" cy="0"/>
          </a:xfrm>
          <a:prstGeom prst="line">
            <a:avLst/>
          </a:prstGeom>
          <a:ln w="19050">
            <a:solidFill>
              <a:schemeClr val="bg1">
                <a:lumMod val="75000"/>
              </a:schemeClr>
            </a:solidFill>
            <a:prstDash val="sysDot"/>
          </a:ln>
          <a:effectLst/>
        </p:spPr>
        <p:style>
          <a:lnRef idx="2">
            <a:schemeClr val="accent1"/>
          </a:lnRef>
          <a:fillRef idx="0">
            <a:schemeClr val="accent1"/>
          </a:fillRef>
          <a:effectRef idx="1">
            <a:schemeClr val="accent1"/>
          </a:effectRef>
          <a:fontRef idx="minor">
            <a:schemeClr val="tx1"/>
          </a:fontRef>
        </p:style>
      </p:cxnSp>
      <p:grpSp>
        <p:nvGrpSpPr>
          <p:cNvPr id="142" name="Group 141">
            <a:extLst>
              <a:ext uri="{FF2B5EF4-FFF2-40B4-BE49-F238E27FC236}">
                <a16:creationId xmlns:a16="http://schemas.microsoft.com/office/drawing/2014/main" id="{4103A9BA-D8DC-4132-BB86-D986C0AAE3E3}"/>
              </a:ext>
            </a:extLst>
          </p:cNvPr>
          <p:cNvGrpSpPr/>
          <p:nvPr/>
        </p:nvGrpSpPr>
        <p:grpSpPr>
          <a:xfrm>
            <a:off x="683795" y="4336317"/>
            <a:ext cx="414843" cy="414178"/>
            <a:chOff x="6823448" y="1600302"/>
            <a:chExt cx="414843" cy="414178"/>
          </a:xfrm>
          <a:effectLst/>
        </p:grpSpPr>
        <p:sp>
          <p:nvSpPr>
            <p:cNvPr id="143" name="Oval 25">
              <a:extLst>
                <a:ext uri="{FF2B5EF4-FFF2-40B4-BE49-F238E27FC236}">
                  <a16:creationId xmlns:a16="http://schemas.microsoft.com/office/drawing/2014/main" id="{5D91BE9A-7842-4750-A203-195910C1C0F6}"/>
                </a:ext>
              </a:extLst>
            </p:cNvPr>
            <p:cNvSpPr>
              <a:spLocks noChangeArrowheads="1"/>
            </p:cNvSpPr>
            <p:nvPr/>
          </p:nvSpPr>
          <p:spPr bwMode="auto">
            <a:xfrm>
              <a:off x="6823448" y="1600302"/>
              <a:ext cx="414843" cy="414178"/>
            </a:xfrm>
            <a:prstGeom prst="ellipse">
              <a:avLst/>
            </a:prstGeom>
            <a:solidFill>
              <a:srgbClr val="E7E6E6"/>
            </a:solidFill>
            <a:ln>
              <a:noFill/>
            </a:ln>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dirty="0">
                <a:ln>
                  <a:noFill/>
                </a:ln>
                <a:solidFill>
                  <a:prstClr val="black"/>
                </a:solidFill>
                <a:effectLst/>
                <a:uLnTx/>
                <a:uFillTx/>
              </a:endParaRPr>
            </a:p>
          </p:txBody>
        </p:sp>
        <p:grpSp>
          <p:nvGrpSpPr>
            <p:cNvPr id="144" name="Google Shape;3001;p55">
              <a:extLst>
                <a:ext uri="{FF2B5EF4-FFF2-40B4-BE49-F238E27FC236}">
                  <a16:creationId xmlns:a16="http://schemas.microsoft.com/office/drawing/2014/main" id="{88360CD7-F6FE-47D8-AC5F-558BA615244E}"/>
                </a:ext>
              </a:extLst>
            </p:cNvPr>
            <p:cNvGrpSpPr/>
            <p:nvPr/>
          </p:nvGrpSpPr>
          <p:grpSpPr>
            <a:xfrm>
              <a:off x="6925094" y="1679753"/>
              <a:ext cx="223813" cy="241576"/>
              <a:chOff x="2662884" y="1513043"/>
              <a:chExt cx="322916" cy="348544"/>
            </a:xfrm>
            <a:solidFill>
              <a:schemeClr val="accent5">
                <a:lumMod val="50000"/>
              </a:schemeClr>
            </a:solidFill>
          </p:grpSpPr>
          <p:sp>
            <p:nvSpPr>
              <p:cNvPr id="145" name="Google Shape;3002;p55">
                <a:extLst>
                  <a:ext uri="{FF2B5EF4-FFF2-40B4-BE49-F238E27FC236}">
                    <a16:creationId xmlns:a16="http://schemas.microsoft.com/office/drawing/2014/main" id="{3941B745-4AAC-429D-AB08-9C9C8A346F41}"/>
                  </a:ext>
                </a:extLst>
              </p:cNvPr>
              <p:cNvSpPr/>
              <p:nvPr/>
            </p:nvSpPr>
            <p:spPr>
              <a:xfrm>
                <a:off x="2662884" y="1513044"/>
                <a:ext cx="260663" cy="348543"/>
              </a:xfrm>
              <a:custGeom>
                <a:avLst/>
                <a:gdLst/>
                <a:ahLst/>
                <a:cxnLst/>
                <a:rect l="l" t="t" r="r" b="b"/>
                <a:pathLst>
                  <a:path w="8228" h="11002" extrusionOk="0">
                    <a:moveTo>
                      <a:pt x="5692" y="0"/>
                    </a:moveTo>
                    <a:cubicBezTo>
                      <a:pt x="5597" y="0"/>
                      <a:pt x="5525" y="72"/>
                      <a:pt x="5525" y="167"/>
                    </a:cubicBezTo>
                    <a:cubicBezTo>
                      <a:pt x="5525" y="250"/>
                      <a:pt x="5597" y="322"/>
                      <a:pt x="5692" y="322"/>
                    </a:cubicBezTo>
                    <a:lnTo>
                      <a:pt x="7907" y="322"/>
                    </a:lnTo>
                    <a:lnTo>
                      <a:pt x="7907" y="10668"/>
                    </a:lnTo>
                    <a:lnTo>
                      <a:pt x="334" y="10668"/>
                    </a:lnTo>
                    <a:lnTo>
                      <a:pt x="334" y="9406"/>
                    </a:lnTo>
                    <a:cubicBezTo>
                      <a:pt x="334" y="9311"/>
                      <a:pt x="251" y="9240"/>
                      <a:pt x="167" y="9240"/>
                    </a:cubicBezTo>
                    <a:cubicBezTo>
                      <a:pt x="72" y="9240"/>
                      <a:pt x="1" y="9311"/>
                      <a:pt x="1" y="9406"/>
                    </a:cubicBezTo>
                    <a:lnTo>
                      <a:pt x="1" y="10835"/>
                    </a:lnTo>
                    <a:cubicBezTo>
                      <a:pt x="1" y="10918"/>
                      <a:pt x="72" y="11002"/>
                      <a:pt x="167" y="11002"/>
                    </a:cubicBezTo>
                    <a:lnTo>
                      <a:pt x="8049" y="11002"/>
                    </a:lnTo>
                    <a:cubicBezTo>
                      <a:pt x="8145" y="11002"/>
                      <a:pt x="8216" y="10918"/>
                      <a:pt x="8216" y="10835"/>
                    </a:cubicBezTo>
                    <a:lnTo>
                      <a:pt x="8216" y="179"/>
                    </a:lnTo>
                    <a:cubicBezTo>
                      <a:pt x="8228" y="60"/>
                      <a:pt x="8157" y="0"/>
                      <a:pt x="8073" y="0"/>
                    </a:cubicBezTo>
                    <a:close/>
                  </a:path>
                </a:pathLst>
              </a:custGeom>
              <a:grpFill/>
              <a:ln>
                <a:noFill/>
              </a:ln>
            </p:spPr>
            <p:txBody>
              <a:bodyPr spcFirstLastPara="1" wrap="square" lIns="91425" tIns="91425" rIns="91425" bIns="91425" anchor="ctr" anchorCtr="0">
                <a:noAutofit/>
              </a:bodyPr>
              <a:lstStyle/>
              <a:p>
                <a:endParaRPr/>
              </a:p>
            </p:txBody>
          </p:sp>
          <p:sp>
            <p:nvSpPr>
              <p:cNvPr id="146" name="Google Shape;3003;p55">
                <a:extLst>
                  <a:ext uri="{FF2B5EF4-FFF2-40B4-BE49-F238E27FC236}">
                    <a16:creationId xmlns:a16="http://schemas.microsoft.com/office/drawing/2014/main" id="{F1E025CD-A155-4F58-843E-C437405BED6E}"/>
                  </a:ext>
                </a:extLst>
              </p:cNvPr>
              <p:cNvSpPr/>
              <p:nvPr/>
            </p:nvSpPr>
            <p:spPr>
              <a:xfrm>
                <a:off x="2663264" y="1513044"/>
                <a:ext cx="165243" cy="282554"/>
              </a:xfrm>
              <a:custGeom>
                <a:avLst/>
                <a:gdLst/>
                <a:ahLst/>
                <a:cxnLst/>
                <a:rect l="l" t="t" r="r" b="b"/>
                <a:pathLst>
                  <a:path w="5216" h="8919" extrusionOk="0">
                    <a:moveTo>
                      <a:pt x="2358" y="548"/>
                    </a:moveTo>
                    <a:lnTo>
                      <a:pt x="2358" y="2346"/>
                    </a:lnTo>
                    <a:lnTo>
                      <a:pt x="560" y="2346"/>
                    </a:lnTo>
                    <a:lnTo>
                      <a:pt x="2358" y="548"/>
                    </a:lnTo>
                    <a:close/>
                    <a:moveTo>
                      <a:pt x="2537" y="0"/>
                    </a:moveTo>
                    <a:cubicBezTo>
                      <a:pt x="2418" y="0"/>
                      <a:pt x="2299" y="167"/>
                      <a:pt x="2227" y="238"/>
                    </a:cubicBezTo>
                    <a:lnTo>
                      <a:pt x="108" y="2346"/>
                    </a:lnTo>
                    <a:cubicBezTo>
                      <a:pt x="60" y="2393"/>
                      <a:pt x="1" y="2441"/>
                      <a:pt x="1" y="2513"/>
                    </a:cubicBezTo>
                    <a:lnTo>
                      <a:pt x="1" y="8751"/>
                    </a:lnTo>
                    <a:cubicBezTo>
                      <a:pt x="1" y="8835"/>
                      <a:pt x="72" y="8918"/>
                      <a:pt x="167" y="8918"/>
                    </a:cubicBezTo>
                    <a:cubicBezTo>
                      <a:pt x="263" y="8918"/>
                      <a:pt x="334" y="8835"/>
                      <a:pt x="334" y="8751"/>
                    </a:cubicBezTo>
                    <a:lnTo>
                      <a:pt x="334" y="2667"/>
                    </a:lnTo>
                    <a:lnTo>
                      <a:pt x="2525" y="2667"/>
                    </a:lnTo>
                    <a:cubicBezTo>
                      <a:pt x="2608" y="2667"/>
                      <a:pt x="2680" y="2584"/>
                      <a:pt x="2680" y="2501"/>
                    </a:cubicBezTo>
                    <a:lnTo>
                      <a:pt x="2680" y="310"/>
                    </a:lnTo>
                    <a:lnTo>
                      <a:pt x="5049" y="310"/>
                    </a:lnTo>
                    <a:cubicBezTo>
                      <a:pt x="5144" y="310"/>
                      <a:pt x="5216" y="238"/>
                      <a:pt x="5216" y="143"/>
                    </a:cubicBezTo>
                    <a:cubicBezTo>
                      <a:pt x="5216" y="60"/>
                      <a:pt x="5132" y="0"/>
                      <a:pt x="5049" y="0"/>
                    </a:cubicBezTo>
                    <a:close/>
                  </a:path>
                </a:pathLst>
              </a:custGeom>
              <a:grpFill/>
              <a:ln>
                <a:noFill/>
              </a:ln>
            </p:spPr>
            <p:txBody>
              <a:bodyPr spcFirstLastPara="1" wrap="square" lIns="91425" tIns="91425" rIns="91425" bIns="91425" anchor="ctr" anchorCtr="0">
                <a:noAutofit/>
              </a:bodyPr>
              <a:lstStyle/>
              <a:p>
                <a:endParaRPr/>
              </a:p>
            </p:txBody>
          </p:sp>
          <p:sp>
            <p:nvSpPr>
              <p:cNvPr id="147" name="Google Shape;3004;p55">
                <a:extLst>
                  <a:ext uri="{FF2B5EF4-FFF2-40B4-BE49-F238E27FC236}">
                    <a16:creationId xmlns:a16="http://schemas.microsoft.com/office/drawing/2014/main" id="{71971E22-C071-42C4-A97D-37175DA7C2FE}"/>
                  </a:ext>
                </a:extLst>
              </p:cNvPr>
              <p:cNvSpPr/>
              <p:nvPr/>
            </p:nvSpPr>
            <p:spPr>
              <a:xfrm>
                <a:off x="2717596" y="1747634"/>
                <a:ext cx="152412" cy="10613"/>
              </a:xfrm>
              <a:custGeom>
                <a:avLst/>
                <a:gdLst/>
                <a:ahLst/>
                <a:cxnLst/>
                <a:rect l="l" t="t" r="r" b="b"/>
                <a:pathLst>
                  <a:path w="4811" h="335" extrusionOk="0">
                    <a:moveTo>
                      <a:pt x="167" y="1"/>
                    </a:moveTo>
                    <a:cubicBezTo>
                      <a:pt x="72" y="1"/>
                      <a:pt x="0" y="84"/>
                      <a:pt x="0" y="168"/>
                    </a:cubicBezTo>
                    <a:cubicBezTo>
                      <a:pt x="0" y="263"/>
                      <a:pt x="72" y="334"/>
                      <a:pt x="167" y="334"/>
                    </a:cubicBezTo>
                    <a:lnTo>
                      <a:pt x="4644" y="334"/>
                    </a:lnTo>
                    <a:cubicBezTo>
                      <a:pt x="4739" y="334"/>
                      <a:pt x="4810" y="263"/>
                      <a:pt x="4810" y="168"/>
                    </a:cubicBezTo>
                    <a:cubicBezTo>
                      <a:pt x="4798" y="84"/>
                      <a:pt x="4739" y="1"/>
                      <a:pt x="4644" y="1"/>
                    </a:cubicBezTo>
                    <a:close/>
                  </a:path>
                </a:pathLst>
              </a:custGeom>
              <a:grpFill/>
              <a:ln>
                <a:noFill/>
              </a:ln>
            </p:spPr>
            <p:txBody>
              <a:bodyPr spcFirstLastPara="1" wrap="square" lIns="91425" tIns="91425" rIns="91425" bIns="91425" anchor="ctr" anchorCtr="0">
                <a:noAutofit/>
              </a:bodyPr>
              <a:lstStyle/>
              <a:p>
                <a:endParaRPr/>
              </a:p>
            </p:txBody>
          </p:sp>
          <p:sp>
            <p:nvSpPr>
              <p:cNvPr id="148" name="Google Shape;3005;p55">
                <a:extLst>
                  <a:ext uri="{FF2B5EF4-FFF2-40B4-BE49-F238E27FC236}">
                    <a16:creationId xmlns:a16="http://schemas.microsoft.com/office/drawing/2014/main" id="{A0834523-3CB8-4BC1-AF36-45A2FC904ED0}"/>
                  </a:ext>
                </a:extLst>
              </p:cNvPr>
              <p:cNvSpPr/>
              <p:nvPr/>
            </p:nvSpPr>
            <p:spPr>
              <a:xfrm>
                <a:off x="2788876" y="1809886"/>
                <a:ext cx="81132" cy="10581"/>
              </a:xfrm>
              <a:custGeom>
                <a:avLst/>
                <a:gdLst/>
                <a:ahLst/>
                <a:cxnLst/>
                <a:rect l="l" t="t" r="r" b="b"/>
                <a:pathLst>
                  <a:path w="2561" h="334" extrusionOk="0">
                    <a:moveTo>
                      <a:pt x="167" y="1"/>
                    </a:moveTo>
                    <a:cubicBezTo>
                      <a:pt x="72" y="1"/>
                      <a:pt x="0" y="84"/>
                      <a:pt x="0" y="167"/>
                    </a:cubicBezTo>
                    <a:cubicBezTo>
                      <a:pt x="0" y="262"/>
                      <a:pt x="72" y="334"/>
                      <a:pt x="167" y="334"/>
                    </a:cubicBezTo>
                    <a:lnTo>
                      <a:pt x="2394" y="334"/>
                    </a:lnTo>
                    <a:cubicBezTo>
                      <a:pt x="2489" y="334"/>
                      <a:pt x="2560" y="262"/>
                      <a:pt x="2560" y="167"/>
                    </a:cubicBezTo>
                    <a:cubicBezTo>
                      <a:pt x="2560" y="84"/>
                      <a:pt x="2489" y="1"/>
                      <a:pt x="2394" y="1"/>
                    </a:cubicBezTo>
                    <a:close/>
                  </a:path>
                </a:pathLst>
              </a:custGeom>
              <a:grpFill/>
              <a:ln>
                <a:noFill/>
              </a:ln>
            </p:spPr>
            <p:txBody>
              <a:bodyPr spcFirstLastPara="1" wrap="square" lIns="91425" tIns="91425" rIns="91425" bIns="91425" anchor="ctr" anchorCtr="0">
                <a:noAutofit/>
              </a:bodyPr>
              <a:lstStyle/>
              <a:p>
                <a:endParaRPr/>
              </a:p>
            </p:txBody>
          </p:sp>
          <p:sp>
            <p:nvSpPr>
              <p:cNvPr id="149" name="Google Shape;3006;p55">
                <a:extLst>
                  <a:ext uri="{FF2B5EF4-FFF2-40B4-BE49-F238E27FC236}">
                    <a16:creationId xmlns:a16="http://schemas.microsoft.com/office/drawing/2014/main" id="{BAC14F39-2EA0-424A-8D77-30EA0896F40A}"/>
                  </a:ext>
                </a:extLst>
              </p:cNvPr>
              <p:cNvSpPr/>
              <p:nvPr/>
            </p:nvSpPr>
            <p:spPr>
              <a:xfrm>
                <a:off x="2717596" y="1722385"/>
                <a:ext cx="152412" cy="10201"/>
              </a:xfrm>
              <a:custGeom>
                <a:avLst/>
                <a:gdLst/>
                <a:ahLst/>
                <a:cxnLst/>
                <a:rect l="l" t="t" r="r" b="b"/>
                <a:pathLst>
                  <a:path w="4811" h="322" extrusionOk="0">
                    <a:moveTo>
                      <a:pt x="167" y="0"/>
                    </a:moveTo>
                    <a:cubicBezTo>
                      <a:pt x="72" y="0"/>
                      <a:pt x="0" y="72"/>
                      <a:pt x="0" y="167"/>
                    </a:cubicBezTo>
                    <a:cubicBezTo>
                      <a:pt x="0" y="250"/>
                      <a:pt x="72" y="322"/>
                      <a:pt x="167" y="322"/>
                    </a:cubicBezTo>
                    <a:lnTo>
                      <a:pt x="4644" y="322"/>
                    </a:lnTo>
                    <a:cubicBezTo>
                      <a:pt x="4739" y="322"/>
                      <a:pt x="4810" y="250"/>
                      <a:pt x="4810" y="167"/>
                    </a:cubicBezTo>
                    <a:cubicBezTo>
                      <a:pt x="4798" y="60"/>
                      <a:pt x="4739" y="0"/>
                      <a:pt x="4644" y="0"/>
                    </a:cubicBezTo>
                    <a:close/>
                  </a:path>
                </a:pathLst>
              </a:custGeom>
              <a:grpFill/>
              <a:ln>
                <a:noFill/>
              </a:ln>
            </p:spPr>
            <p:txBody>
              <a:bodyPr spcFirstLastPara="1" wrap="square" lIns="91425" tIns="91425" rIns="91425" bIns="91425" anchor="ctr" anchorCtr="0">
                <a:noAutofit/>
              </a:bodyPr>
              <a:lstStyle/>
              <a:p>
                <a:endParaRPr/>
              </a:p>
            </p:txBody>
          </p:sp>
          <p:sp>
            <p:nvSpPr>
              <p:cNvPr id="150" name="Google Shape;3007;p55">
                <a:extLst>
                  <a:ext uri="{FF2B5EF4-FFF2-40B4-BE49-F238E27FC236}">
                    <a16:creationId xmlns:a16="http://schemas.microsoft.com/office/drawing/2014/main" id="{B59CD32A-F710-4CE2-A25B-41130FB4C77F}"/>
                  </a:ext>
                </a:extLst>
              </p:cNvPr>
              <p:cNvSpPr/>
              <p:nvPr/>
            </p:nvSpPr>
            <p:spPr>
              <a:xfrm>
                <a:off x="2717596" y="1696344"/>
                <a:ext cx="152412" cy="10613"/>
              </a:xfrm>
              <a:custGeom>
                <a:avLst/>
                <a:gdLst/>
                <a:ahLst/>
                <a:cxnLst/>
                <a:rect l="l" t="t" r="r" b="b"/>
                <a:pathLst>
                  <a:path w="4811" h="335" extrusionOk="0">
                    <a:moveTo>
                      <a:pt x="167" y="1"/>
                    </a:moveTo>
                    <a:cubicBezTo>
                      <a:pt x="72" y="1"/>
                      <a:pt x="0" y="72"/>
                      <a:pt x="0" y="167"/>
                    </a:cubicBezTo>
                    <a:cubicBezTo>
                      <a:pt x="0" y="251"/>
                      <a:pt x="72" y="334"/>
                      <a:pt x="167" y="334"/>
                    </a:cubicBezTo>
                    <a:lnTo>
                      <a:pt x="4644" y="334"/>
                    </a:lnTo>
                    <a:cubicBezTo>
                      <a:pt x="4739" y="334"/>
                      <a:pt x="4810" y="251"/>
                      <a:pt x="4810" y="167"/>
                    </a:cubicBezTo>
                    <a:cubicBezTo>
                      <a:pt x="4798" y="72"/>
                      <a:pt x="4739" y="1"/>
                      <a:pt x="4644" y="1"/>
                    </a:cubicBezTo>
                    <a:close/>
                  </a:path>
                </a:pathLst>
              </a:custGeom>
              <a:grpFill/>
              <a:ln>
                <a:noFill/>
              </a:ln>
            </p:spPr>
            <p:txBody>
              <a:bodyPr spcFirstLastPara="1" wrap="square" lIns="91425" tIns="91425" rIns="91425" bIns="91425" anchor="ctr" anchorCtr="0">
                <a:noAutofit/>
              </a:bodyPr>
              <a:lstStyle/>
              <a:p>
                <a:endParaRPr/>
              </a:p>
            </p:txBody>
          </p:sp>
          <p:sp>
            <p:nvSpPr>
              <p:cNvPr id="151" name="Google Shape;3008;p55">
                <a:extLst>
                  <a:ext uri="{FF2B5EF4-FFF2-40B4-BE49-F238E27FC236}">
                    <a16:creationId xmlns:a16="http://schemas.microsoft.com/office/drawing/2014/main" id="{A5F10373-FB9C-44C6-8918-176387DD5C1E}"/>
                  </a:ext>
                </a:extLst>
              </p:cNvPr>
              <p:cNvSpPr/>
              <p:nvPr/>
            </p:nvSpPr>
            <p:spPr>
              <a:xfrm>
                <a:off x="2717596" y="1670335"/>
                <a:ext cx="152412" cy="10581"/>
              </a:xfrm>
              <a:custGeom>
                <a:avLst/>
                <a:gdLst/>
                <a:ahLst/>
                <a:cxnLst/>
                <a:rect l="l" t="t" r="r" b="b"/>
                <a:pathLst>
                  <a:path w="4811" h="334" extrusionOk="0">
                    <a:moveTo>
                      <a:pt x="167" y="0"/>
                    </a:moveTo>
                    <a:cubicBezTo>
                      <a:pt x="72" y="0"/>
                      <a:pt x="0" y="84"/>
                      <a:pt x="0" y="167"/>
                    </a:cubicBezTo>
                    <a:cubicBezTo>
                      <a:pt x="0" y="262"/>
                      <a:pt x="72" y="334"/>
                      <a:pt x="167" y="334"/>
                    </a:cubicBezTo>
                    <a:lnTo>
                      <a:pt x="4644" y="334"/>
                    </a:lnTo>
                    <a:cubicBezTo>
                      <a:pt x="4739" y="334"/>
                      <a:pt x="4810" y="262"/>
                      <a:pt x="4810" y="167"/>
                    </a:cubicBezTo>
                    <a:cubicBezTo>
                      <a:pt x="4810" y="84"/>
                      <a:pt x="4739" y="0"/>
                      <a:pt x="4644" y="0"/>
                    </a:cubicBezTo>
                    <a:close/>
                  </a:path>
                </a:pathLst>
              </a:custGeom>
              <a:grpFill/>
              <a:ln>
                <a:noFill/>
              </a:ln>
            </p:spPr>
            <p:txBody>
              <a:bodyPr spcFirstLastPara="1" wrap="square" lIns="91425" tIns="91425" rIns="91425" bIns="91425" anchor="ctr" anchorCtr="0">
                <a:noAutofit/>
              </a:bodyPr>
              <a:lstStyle/>
              <a:p>
                <a:endParaRPr/>
              </a:p>
            </p:txBody>
          </p:sp>
          <p:sp>
            <p:nvSpPr>
              <p:cNvPr id="152" name="Google Shape;3009;p55">
                <a:extLst>
                  <a:ext uri="{FF2B5EF4-FFF2-40B4-BE49-F238E27FC236}">
                    <a16:creationId xmlns:a16="http://schemas.microsoft.com/office/drawing/2014/main" id="{0E242B2F-0762-41E8-BCA3-38A1C4FA5C41}"/>
                  </a:ext>
                </a:extLst>
              </p:cNvPr>
              <p:cNvSpPr/>
              <p:nvPr/>
            </p:nvSpPr>
            <p:spPr>
              <a:xfrm>
                <a:off x="2778326" y="1594145"/>
                <a:ext cx="31332" cy="61111"/>
              </a:xfrm>
              <a:custGeom>
                <a:avLst/>
                <a:gdLst/>
                <a:ahLst/>
                <a:cxnLst/>
                <a:rect l="l" t="t" r="r" b="b"/>
                <a:pathLst>
                  <a:path w="989" h="1929" extrusionOk="0">
                    <a:moveTo>
                      <a:pt x="179" y="0"/>
                    </a:moveTo>
                    <a:cubicBezTo>
                      <a:pt x="95" y="0"/>
                      <a:pt x="12" y="72"/>
                      <a:pt x="12" y="167"/>
                    </a:cubicBezTo>
                    <a:cubicBezTo>
                      <a:pt x="12" y="250"/>
                      <a:pt x="95" y="322"/>
                      <a:pt x="179" y="322"/>
                    </a:cubicBezTo>
                    <a:lnTo>
                      <a:pt x="333" y="322"/>
                    </a:lnTo>
                    <a:lnTo>
                      <a:pt x="333" y="1607"/>
                    </a:lnTo>
                    <a:lnTo>
                      <a:pt x="167" y="1607"/>
                    </a:lnTo>
                    <a:cubicBezTo>
                      <a:pt x="72" y="1607"/>
                      <a:pt x="0" y="1679"/>
                      <a:pt x="0" y="1774"/>
                    </a:cubicBezTo>
                    <a:cubicBezTo>
                      <a:pt x="0" y="1858"/>
                      <a:pt x="72" y="1929"/>
                      <a:pt x="167" y="1929"/>
                    </a:cubicBezTo>
                    <a:lnTo>
                      <a:pt x="822" y="1929"/>
                    </a:lnTo>
                    <a:cubicBezTo>
                      <a:pt x="905" y="1929"/>
                      <a:pt x="988" y="1858"/>
                      <a:pt x="988" y="1774"/>
                    </a:cubicBezTo>
                    <a:cubicBezTo>
                      <a:pt x="976" y="1679"/>
                      <a:pt x="893" y="1607"/>
                      <a:pt x="810" y="1607"/>
                    </a:cubicBezTo>
                    <a:lnTo>
                      <a:pt x="643" y="1607"/>
                    </a:lnTo>
                    <a:lnTo>
                      <a:pt x="643" y="167"/>
                    </a:lnTo>
                    <a:cubicBezTo>
                      <a:pt x="643" y="72"/>
                      <a:pt x="572" y="0"/>
                      <a:pt x="476" y="0"/>
                    </a:cubicBezTo>
                    <a:close/>
                  </a:path>
                </a:pathLst>
              </a:custGeom>
              <a:grpFill/>
              <a:ln>
                <a:noFill/>
              </a:ln>
            </p:spPr>
            <p:txBody>
              <a:bodyPr spcFirstLastPara="1" wrap="square" lIns="91425" tIns="91425" rIns="91425" bIns="91425" anchor="ctr" anchorCtr="0">
                <a:noAutofit/>
              </a:bodyPr>
              <a:lstStyle/>
              <a:p>
                <a:endParaRPr/>
              </a:p>
            </p:txBody>
          </p:sp>
          <p:sp>
            <p:nvSpPr>
              <p:cNvPr id="153" name="Google Shape;3010;p55">
                <a:extLst>
                  <a:ext uri="{FF2B5EF4-FFF2-40B4-BE49-F238E27FC236}">
                    <a16:creationId xmlns:a16="http://schemas.microsoft.com/office/drawing/2014/main" id="{CD2FC291-7A8D-4A69-AFA2-011EC56245D1}"/>
                  </a:ext>
                </a:extLst>
              </p:cNvPr>
              <p:cNvSpPr/>
              <p:nvPr/>
            </p:nvSpPr>
            <p:spPr>
              <a:xfrm>
                <a:off x="2782476" y="1575263"/>
                <a:ext cx="16220" cy="15872"/>
              </a:xfrm>
              <a:custGeom>
                <a:avLst/>
                <a:gdLst/>
                <a:ahLst/>
                <a:cxnLst/>
                <a:rect l="l" t="t" r="r" b="b"/>
                <a:pathLst>
                  <a:path w="512" h="501" extrusionOk="0">
                    <a:moveTo>
                      <a:pt x="262" y="1"/>
                    </a:moveTo>
                    <a:cubicBezTo>
                      <a:pt x="131" y="1"/>
                      <a:pt x="0" y="120"/>
                      <a:pt x="0" y="251"/>
                    </a:cubicBezTo>
                    <a:cubicBezTo>
                      <a:pt x="0" y="382"/>
                      <a:pt x="119" y="501"/>
                      <a:pt x="262" y="501"/>
                    </a:cubicBezTo>
                    <a:cubicBezTo>
                      <a:pt x="393" y="501"/>
                      <a:pt x="512" y="382"/>
                      <a:pt x="512" y="251"/>
                    </a:cubicBezTo>
                    <a:cubicBezTo>
                      <a:pt x="512" y="120"/>
                      <a:pt x="393" y="1"/>
                      <a:pt x="262" y="1"/>
                    </a:cubicBezTo>
                    <a:close/>
                  </a:path>
                </a:pathLst>
              </a:custGeom>
              <a:grpFill/>
              <a:ln>
                <a:noFill/>
              </a:ln>
            </p:spPr>
            <p:txBody>
              <a:bodyPr spcFirstLastPara="1" wrap="square" lIns="91425" tIns="91425" rIns="91425" bIns="91425" anchor="ctr" anchorCtr="0">
                <a:noAutofit/>
              </a:bodyPr>
              <a:lstStyle/>
              <a:p>
                <a:endParaRPr/>
              </a:p>
            </p:txBody>
          </p:sp>
          <p:sp>
            <p:nvSpPr>
              <p:cNvPr id="154" name="Google Shape;3011;p55">
                <a:extLst>
                  <a:ext uri="{FF2B5EF4-FFF2-40B4-BE49-F238E27FC236}">
                    <a16:creationId xmlns:a16="http://schemas.microsoft.com/office/drawing/2014/main" id="{24BCF0A3-8B6A-46AA-8FFE-81015CA7C212}"/>
                  </a:ext>
                </a:extLst>
              </p:cNvPr>
              <p:cNvSpPr/>
              <p:nvPr/>
            </p:nvSpPr>
            <p:spPr>
              <a:xfrm>
                <a:off x="2943539" y="1513043"/>
                <a:ext cx="42261" cy="347782"/>
              </a:xfrm>
              <a:custGeom>
                <a:avLst/>
                <a:gdLst/>
                <a:ahLst/>
                <a:cxnLst/>
                <a:rect l="l" t="t" r="r" b="b"/>
                <a:pathLst>
                  <a:path w="1334" h="10978" extrusionOk="0">
                    <a:moveTo>
                      <a:pt x="667" y="310"/>
                    </a:moveTo>
                    <a:cubicBezTo>
                      <a:pt x="857" y="310"/>
                      <a:pt x="1012" y="477"/>
                      <a:pt x="1012" y="655"/>
                    </a:cubicBezTo>
                    <a:lnTo>
                      <a:pt x="1012" y="1477"/>
                    </a:lnTo>
                    <a:lnTo>
                      <a:pt x="321" y="1477"/>
                    </a:lnTo>
                    <a:lnTo>
                      <a:pt x="321" y="655"/>
                    </a:lnTo>
                    <a:cubicBezTo>
                      <a:pt x="321" y="465"/>
                      <a:pt x="488" y="310"/>
                      <a:pt x="667" y="310"/>
                    </a:cubicBezTo>
                    <a:close/>
                    <a:moveTo>
                      <a:pt x="1024" y="1798"/>
                    </a:moveTo>
                    <a:lnTo>
                      <a:pt x="1024" y="2453"/>
                    </a:lnTo>
                    <a:lnTo>
                      <a:pt x="321" y="2453"/>
                    </a:lnTo>
                    <a:lnTo>
                      <a:pt x="321" y="1798"/>
                    </a:lnTo>
                    <a:close/>
                    <a:moveTo>
                      <a:pt x="964" y="9597"/>
                    </a:moveTo>
                    <a:lnTo>
                      <a:pt x="833" y="10525"/>
                    </a:lnTo>
                    <a:cubicBezTo>
                      <a:pt x="810" y="10597"/>
                      <a:pt x="750" y="10656"/>
                      <a:pt x="679" y="10656"/>
                    </a:cubicBezTo>
                    <a:cubicBezTo>
                      <a:pt x="607" y="10656"/>
                      <a:pt x="536" y="10597"/>
                      <a:pt x="536" y="10525"/>
                    </a:cubicBezTo>
                    <a:lnTo>
                      <a:pt x="417" y="9597"/>
                    </a:lnTo>
                    <a:close/>
                    <a:moveTo>
                      <a:pt x="667" y="0"/>
                    </a:moveTo>
                    <a:cubicBezTo>
                      <a:pt x="298" y="0"/>
                      <a:pt x="0" y="298"/>
                      <a:pt x="0" y="667"/>
                    </a:cubicBezTo>
                    <a:lnTo>
                      <a:pt x="0" y="1631"/>
                    </a:lnTo>
                    <a:lnTo>
                      <a:pt x="0" y="2822"/>
                    </a:lnTo>
                    <a:lnTo>
                      <a:pt x="0" y="4810"/>
                    </a:lnTo>
                    <a:cubicBezTo>
                      <a:pt x="0" y="4894"/>
                      <a:pt x="71" y="4965"/>
                      <a:pt x="167" y="4965"/>
                    </a:cubicBezTo>
                    <a:cubicBezTo>
                      <a:pt x="250" y="4965"/>
                      <a:pt x="321" y="4894"/>
                      <a:pt x="321" y="4810"/>
                    </a:cubicBezTo>
                    <a:lnTo>
                      <a:pt x="321" y="2763"/>
                    </a:lnTo>
                    <a:lnTo>
                      <a:pt x="1024" y="2763"/>
                    </a:lnTo>
                    <a:lnTo>
                      <a:pt x="1024" y="9275"/>
                    </a:lnTo>
                    <a:lnTo>
                      <a:pt x="321" y="9275"/>
                    </a:lnTo>
                    <a:lnTo>
                      <a:pt x="321" y="5430"/>
                    </a:lnTo>
                    <a:cubicBezTo>
                      <a:pt x="321" y="5346"/>
                      <a:pt x="250" y="5263"/>
                      <a:pt x="167" y="5263"/>
                    </a:cubicBezTo>
                    <a:cubicBezTo>
                      <a:pt x="71" y="5263"/>
                      <a:pt x="0" y="5346"/>
                      <a:pt x="0" y="5430"/>
                    </a:cubicBezTo>
                    <a:lnTo>
                      <a:pt x="0" y="9430"/>
                    </a:lnTo>
                    <a:cubicBezTo>
                      <a:pt x="0" y="9490"/>
                      <a:pt x="24" y="9537"/>
                      <a:pt x="60" y="9561"/>
                    </a:cubicBezTo>
                    <a:lnTo>
                      <a:pt x="191" y="10561"/>
                    </a:lnTo>
                    <a:cubicBezTo>
                      <a:pt x="226" y="10799"/>
                      <a:pt x="429" y="10978"/>
                      <a:pt x="667" y="10978"/>
                    </a:cubicBezTo>
                    <a:cubicBezTo>
                      <a:pt x="905" y="10978"/>
                      <a:pt x="1119" y="10799"/>
                      <a:pt x="1143" y="10561"/>
                    </a:cubicBezTo>
                    <a:lnTo>
                      <a:pt x="1274" y="9561"/>
                    </a:lnTo>
                    <a:cubicBezTo>
                      <a:pt x="1322" y="9537"/>
                      <a:pt x="1334" y="9490"/>
                      <a:pt x="1334" y="9430"/>
                    </a:cubicBezTo>
                    <a:lnTo>
                      <a:pt x="1334" y="2822"/>
                    </a:lnTo>
                    <a:lnTo>
                      <a:pt x="1334" y="1631"/>
                    </a:lnTo>
                    <a:lnTo>
                      <a:pt x="1334" y="667"/>
                    </a:lnTo>
                    <a:cubicBezTo>
                      <a:pt x="1334" y="298"/>
                      <a:pt x="1036" y="0"/>
                      <a:pt x="667" y="0"/>
                    </a:cubicBezTo>
                    <a:close/>
                  </a:path>
                </a:pathLst>
              </a:custGeom>
              <a:grpFill/>
              <a:ln>
                <a:noFill/>
              </a:ln>
            </p:spPr>
            <p:txBody>
              <a:bodyPr spcFirstLastPara="1" wrap="square" lIns="91425" tIns="91425" rIns="91425" bIns="91425" anchor="ctr" anchorCtr="0">
                <a:noAutofit/>
              </a:bodyPr>
              <a:lstStyle/>
              <a:p>
                <a:endParaRPr/>
              </a:p>
            </p:txBody>
          </p:sp>
        </p:grpSp>
      </p:grpSp>
      <p:sp>
        <p:nvSpPr>
          <p:cNvPr id="100" name="TextBox 99">
            <a:extLst>
              <a:ext uri="{FF2B5EF4-FFF2-40B4-BE49-F238E27FC236}">
                <a16:creationId xmlns:a16="http://schemas.microsoft.com/office/drawing/2014/main" id="{2D62D1BB-79A1-4163-AFD4-860FE7A99EAB}"/>
              </a:ext>
            </a:extLst>
          </p:cNvPr>
          <p:cNvSpPr txBox="1"/>
          <p:nvPr/>
        </p:nvSpPr>
        <p:spPr>
          <a:xfrm>
            <a:off x="1470726" y="2392190"/>
            <a:ext cx="716868" cy="425758"/>
          </a:xfrm>
          <a:prstGeom prst="rect">
            <a:avLst/>
          </a:prstGeom>
          <a:noFill/>
        </p:spPr>
        <p:txBody>
          <a:bodyPr wrap="square" rtlCol="0">
            <a:spAutoFit/>
          </a:bodyPr>
          <a:lstStyle/>
          <a:p>
            <a:pPr algn="ctr">
              <a:lnSpc>
                <a:spcPts val="1320"/>
              </a:lnSpc>
            </a:pPr>
            <a:r>
              <a:rPr lang="es-ES" sz="1050" b="1" dirty="0">
                <a:solidFill>
                  <a:schemeClr val="bg1">
                    <a:lumMod val="50000"/>
                  </a:schemeClr>
                </a:solidFill>
                <a:latin typeface="Arial" panose="020B0604020202020204" pitchFamily="34" charset="0"/>
                <a:cs typeface="Arial" panose="020B0604020202020204" pitchFamily="34" charset="0"/>
              </a:rPr>
              <a:t>FEB</a:t>
            </a:r>
            <a:endParaRPr lang="en-GR" sz="1050" b="1" dirty="0">
              <a:solidFill>
                <a:schemeClr val="bg1">
                  <a:lumMod val="50000"/>
                </a:schemeClr>
              </a:solidFill>
              <a:latin typeface="Arial" panose="020B0604020202020204" pitchFamily="34" charset="0"/>
              <a:cs typeface="Arial" panose="020B0604020202020204" pitchFamily="34" charset="0"/>
            </a:endParaRPr>
          </a:p>
          <a:p>
            <a:pPr algn="ctr">
              <a:lnSpc>
                <a:spcPts val="1320"/>
              </a:lnSpc>
            </a:pPr>
            <a:r>
              <a:rPr lang="es-ES" sz="1050" b="1" dirty="0">
                <a:solidFill>
                  <a:schemeClr val="bg1">
                    <a:lumMod val="50000"/>
                  </a:schemeClr>
                </a:solidFill>
                <a:latin typeface="Arial" panose="020B0604020202020204" pitchFamily="34" charset="0"/>
                <a:cs typeface="Arial" panose="020B0604020202020204" pitchFamily="34" charset="0"/>
              </a:rPr>
              <a:t>2022</a:t>
            </a:r>
            <a:endParaRPr lang="en-GR" sz="1050" b="1" dirty="0">
              <a:solidFill>
                <a:schemeClr val="bg1">
                  <a:lumMod val="50000"/>
                </a:schemeClr>
              </a:solidFill>
              <a:latin typeface="Arial" panose="020B0604020202020204" pitchFamily="34" charset="0"/>
              <a:cs typeface="Arial" panose="020B0604020202020204" pitchFamily="34" charset="0"/>
            </a:endParaRPr>
          </a:p>
        </p:txBody>
      </p:sp>
      <p:grpSp>
        <p:nvGrpSpPr>
          <p:cNvPr id="129" name="Group 128">
            <a:extLst>
              <a:ext uri="{FF2B5EF4-FFF2-40B4-BE49-F238E27FC236}">
                <a16:creationId xmlns:a16="http://schemas.microsoft.com/office/drawing/2014/main" id="{0AC732D7-4B46-4B91-8CB4-D7E5592D5629}"/>
              </a:ext>
            </a:extLst>
          </p:cNvPr>
          <p:cNvGrpSpPr/>
          <p:nvPr/>
        </p:nvGrpSpPr>
        <p:grpSpPr>
          <a:xfrm>
            <a:off x="1534841" y="2899099"/>
            <a:ext cx="588638" cy="823753"/>
            <a:chOff x="588631" y="1278578"/>
            <a:chExt cx="588638" cy="823753"/>
          </a:xfrm>
        </p:grpSpPr>
        <p:grpSp>
          <p:nvGrpSpPr>
            <p:cNvPr id="130" name="Group 129">
              <a:extLst>
                <a:ext uri="{FF2B5EF4-FFF2-40B4-BE49-F238E27FC236}">
                  <a16:creationId xmlns:a16="http://schemas.microsoft.com/office/drawing/2014/main" id="{705AC179-79C6-4921-8671-411A90C7132E}"/>
                </a:ext>
              </a:extLst>
            </p:cNvPr>
            <p:cNvGrpSpPr/>
            <p:nvPr/>
          </p:nvGrpSpPr>
          <p:grpSpPr>
            <a:xfrm>
              <a:off x="588631" y="1278578"/>
              <a:ext cx="588638" cy="823753"/>
              <a:chOff x="770679" y="1434225"/>
              <a:chExt cx="588638" cy="823753"/>
            </a:xfrm>
          </p:grpSpPr>
          <p:sp>
            <p:nvSpPr>
              <p:cNvPr id="138" name="Oval 11">
                <a:extLst>
                  <a:ext uri="{FF2B5EF4-FFF2-40B4-BE49-F238E27FC236}">
                    <a16:creationId xmlns:a16="http://schemas.microsoft.com/office/drawing/2014/main" id="{86C4D64E-8131-4A7A-8840-E0DC647DC2E1}"/>
                  </a:ext>
                </a:extLst>
              </p:cNvPr>
              <p:cNvSpPr>
                <a:spLocks noChangeArrowheads="1"/>
              </p:cNvSpPr>
              <p:nvPr/>
            </p:nvSpPr>
            <p:spPr bwMode="auto">
              <a:xfrm>
                <a:off x="1009730" y="1434225"/>
                <a:ext cx="110536" cy="109204"/>
              </a:xfrm>
              <a:prstGeom prst="ellipse">
                <a:avLst/>
              </a:prstGeom>
              <a:noFill/>
              <a:ln w="53975" cap="flat">
                <a:solidFill>
                  <a:schemeClr val="tx2">
                    <a:lumMod val="40000"/>
                    <a:lumOff val="60000"/>
                  </a:schemeClr>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dirty="0">
                  <a:ln>
                    <a:noFill/>
                  </a:ln>
                  <a:solidFill>
                    <a:prstClr val="black"/>
                  </a:solidFill>
                  <a:effectLst/>
                  <a:uLnTx/>
                  <a:uFillTx/>
                </a:endParaRPr>
              </a:p>
            </p:txBody>
          </p:sp>
          <p:grpSp>
            <p:nvGrpSpPr>
              <p:cNvPr id="139" name="Group 138">
                <a:extLst>
                  <a:ext uri="{FF2B5EF4-FFF2-40B4-BE49-F238E27FC236}">
                    <a16:creationId xmlns:a16="http://schemas.microsoft.com/office/drawing/2014/main" id="{4F7B6215-D52C-4BC7-A8D1-3793DEAF4969}"/>
                  </a:ext>
                </a:extLst>
              </p:cNvPr>
              <p:cNvGrpSpPr>
                <a:grpSpLocks/>
              </p:cNvGrpSpPr>
              <p:nvPr/>
            </p:nvGrpSpPr>
            <p:grpSpPr bwMode="auto">
              <a:xfrm>
                <a:off x="770679" y="1580778"/>
                <a:ext cx="588638" cy="677200"/>
                <a:chOff x="1514475" y="2166278"/>
                <a:chExt cx="1403350" cy="1614488"/>
              </a:xfrm>
            </p:grpSpPr>
            <p:sp>
              <p:nvSpPr>
                <p:cNvPr id="140" name="Freeform 6">
                  <a:extLst>
                    <a:ext uri="{FF2B5EF4-FFF2-40B4-BE49-F238E27FC236}">
                      <a16:creationId xmlns:a16="http://schemas.microsoft.com/office/drawing/2014/main" id="{C841F6BC-56EC-4FFF-B35C-38CC3741F3AF}"/>
                    </a:ext>
                  </a:extLst>
                </p:cNvPr>
                <p:cNvSpPr>
                  <a:spLocks/>
                </p:cNvSpPr>
                <p:nvPr/>
              </p:nvSpPr>
              <p:spPr bwMode="auto">
                <a:xfrm rot="10800000">
                  <a:off x="1514475" y="2166278"/>
                  <a:ext cx="1403350" cy="1614488"/>
                </a:xfrm>
                <a:custGeom>
                  <a:avLst/>
                  <a:gdLst>
                    <a:gd name="T0" fmla="*/ 369 w 369"/>
                    <a:gd name="T1" fmla="*/ 184 h 424"/>
                    <a:gd name="T2" fmla="*/ 184 w 369"/>
                    <a:gd name="T3" fmla="*/ 0 h 424"/>
                    <a:gd name="T4" fmla="*/ 0 w 369"/>
                    <a:gd name="T5" fmla="*/ 184 h 424"/>
                    <a:gd name="T6" fmla="*/ 151 w 369"/>
                    <a:gd name="T7" fmla="*/ 366 h 424"/>
                    <a:gd name="T8" fmla="*/ 184 w 369"/>
                    <a:gd name="T9" fmla="*/ 424 h 424"/>
                    <a:gd name="T10" fmla="*/ 218 w 369"/>
                    <a:gd name="T11" fmla="*/ 366 h 424"/>
                    <a:gd name="T12" fmla="*/ 369 w 369"/>
                    <a:gd name="T13" fmla="*/ 184 h 424"/>
                  </a:gdLst>
                  <a:ahLst/>
                  <a:cxnLst>
                    <a:cxn ang="0">
                      <a:pos x="T0" y="T1"/>
                    </a:cxn>
                    <a:cxn ang="0">
                      <a:pos x="T2" y="T3"/>
                    </a:cxn>
                    <a:cxn ang="0">
                      <a:pos x="T4" y="T5"/>
                    </a:cxn>
                    <a:cxn ang="0">
                      <a:pos x="T6" y="T7"/>
                    </a:cxn>
                    <a:cxn ang="0">
                      <a:pos x="T8" y="T9"/>
                    </a:cxn>
                    <a:cxn ang="0">
                      <a:pos x="T10" y="T11"/>
                    </a:cxn>
                    <a:cxn ang="0">
                      <a:pos x="T12" y="T13"/>
                    </a:cxn>
                  </a:cxnLst>
                  <a:rect l="0" t="0" r="r" b="b"/>
                  <a:pathLst>
                    <a:path w="369" h="424">
                      <a:moveTo>
                        <a:pt x="369" y="184"/>
                      </a:moveTo>
                      <a:cubicBezTo>
                        <a:pt x="369" y="82"/>
                        <a:pt x="286" y="0"/>
                        <a:pt x="184" y="0"/>
                      </a:cubicBezTo>
                      <a:cubicBezTo>
                        <a:pt x="82" y="0"/>
                        <a:pt x="0" y="82"/>
                        <a:pt x="0" y="184"/>
                      </a:cubicBezTo>
                      <a:cubicBezTo>
                        <a:pt x="0" y="275"/>
                        <a:pt x="65" y="350"/>
                        <a:pt x="151" y="366"/>
                      </a:cubicBezTo>
                      <a:cubicBezTo>
                        <a:pt x="184" y="424"/>
                        <a:pt x="184" y="424"/>
                        <a:pt x="184" y="424"/>
                      </a:cubicBezTo>
                      <a:cubicBezTo>
                        <a:pt x="218" y="366"/>
                        <a:pt x="218" y="366"/>
                        <a:pt x="218" y="366"/>
                      </a:cubicBezTo>
                      <a:cubicBezTo>
                        <a:pt x="304" y="350"/>
                        <a:pt x="369" y="275"/>
                        <a:pt x="369" y="184"/>
                      </a:cubicBezTo>
                      <a:close/>
                    </a:path>
                  </a:pathLst>
                </a:custGeom>
                <a:solidFill>
                  <a:schemeClr val="accent1">
                    <a:lumMod val="60000"/>
                    <a:lumOff val="40000"/>
                  </a:schemeClr>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sp>
              <p:nvSpPr>
                <p:cNvPr id="141" name="Oval 21">
                  <a:extLst>
                    <a:ext uri="{FF2B5EF4-FFF2-40B4-BE49-F238E27FC236}">
                      <a16:creationId xmlns:a16="http://schemas.microsoft.com/office/drawing/2014/main" id="{6D0A1C79-37C4-4105-A363-EDA18DDC9A6D}"/>
                    </a:ext>
                  </a:extLst>
                </p:cNvPr>
                <p:cNvSpPr>
                  <a:spLocks noChangeAspect="1" noChangeArrowheads="1"/>
                </p:cNvSpPr>
                <p:nvPr/>
              </p:nvSpPr>
              <p:spPr bwMode="auto">
                <a:xfrm>
                  <a:off x="1719264" y="2546352"/>
                  <a:ext cx="988585" cy="987000"/>
                </a:xfrm>
                <a:prstGeom prst="ellipse">
                  <a:avLst/>
                </a:prstGeom>
                <a:solidFill>
                  <a:srgbClr val="E7E6E6"/>
                </a:solidFill>
                <a:ln>
                  <a:noFill/>
                </a:ln>
                <a:effectLst>
                  <a:outerShdw blurRad="127000" dist="63500" dir="2700000" algn="tl" rotWithShape="0">
                    <a:prstClr val="black">
                      <a:alpha val="50000"/>
                    </a:prstClr>
                  </a:outerShd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grpSp>
        <p:grpSp>
          <p:nvGrpSpPr>
            <p:cNvPr id="131" name="Google Shape;2456;p54">
              <a:extLst>
                <a:ext uri="{FF2B5EF4-FFF2-40B4-BE49-F238E27FC236}">
                  <a16:creationId xmlns:a16="http://schemas.microsoft.com/office/drawing/2014/main" id="{26C910B3-1388-444C-86AB-CA08145FCA15}"/>
                </a:ext>
              </a:extLst>
            </p:cNvPr>
            <p:cNvGrpSpPr/>
            <p:nvPr/>
          </p:nvGrpSpPr>
          <p:grpSpPr>
            <a:xfrm>
              <a:off x="729170" y="1668834"/>
              <a:ext cx="287980" cy="219921"/>
              <a:chOff x="5776798" y="3409778"/>
              <a:chExt cx="346379" cy="264518"/>
            </a:xfrm>
            <a:solidFill>
              <a:schemeClr val="tx1">
                <a:lumMod val="65000"/>
                <a:lumOff val="35000"/>
              </a:schemeClr>
            </a:solidFill>
          </p:grpSpPr>
          <p:sp>
            <p:nvSpPr>
              <p:cNvPr id="132" name="Google Shape;2457;p54">
                <a:extLst>
                  <a:ext uri="{FF2B5EF4-FFF2-40B4-BE49-F238E27FC236}">
                    <a16:creationId xmlns:a16="http://schemas.microsoft.com/office/drawing/2014/main" id="{68A0BC9C-00B3-4A06-BBC3-2E108D730476}"/>
                  </a:ext>
                </a:extLst>
              </p:cNvPr>
              <p:cNvSpPr/>
              <p:nvPr/>
            </p:nvSpPr>
            <p:spPr>
              <a:xfrm>
                <a:off x="5890104" y="3642055"/>
                <a:ext cx="10248" cy="32241"/>
              </a:xfrm>
              <a:custGeom>
                <a:avLst/>
                <a:gdLst/>
                <a:ahLst/>
                <a:cxnLst/>
                <a:rect l="l" t="t" r="r" b="b"/>
                <a:pathLst>
                  <a:path w="322" h="1013" extrusionOk="0">
                    <a:moveTo>
                      <a:pt x="167" y="1"/>
                    </a:moveTo>
                    <a:cubicBezTo>
                      <a:pt x="71" y="1"/>
                      <a:pt x="0" y="72"/>
                      <a:pt x="0" y="155"/>
                    </a:cubicBezTo>
                    <a:lnTo>
                      <a:pt x="0" y="846"/>
                    </a:lnTo>
                    <a:cubicBezTo>
                      <a:pt x="0" y="929"/>
                      <a:pt x="71" y="1013"/>
                      <a:pt x="167" y="1013"/>
                    </a:cubicBezTo>
                    <a:cubicBezTo>
                      <a:pt x="250" y="1013"/>
                      <a:pt x="321" y="929"/>
                      <a:pt x="321" y="846"/>
                    </a:cubicBezTo>
                    <a:lnTo>
                      <a:pt x="321" y="143"/>
                    </a:lnTo>
                    <a:cubicBezTo>
                      <a:pt x="321" y="60"/>
                      <a:pt x="250" y="1"/>
                      <a:pt x="167" y="1"/>
                    </a:cubicBezTo>
                    <a:close/>
                  </a:path>
                </a:pathLst>
              </a:custGeom>
              <a:grpFill/>
              <a:ln>
                <a:noFill/>
              </a:ln>
            </p:spPr>
            <p:txBody>
              <a:bodyPr spcFirstLastPara="1" wrap="square" lIns="91425" tIns="91425" rIns="91425" bIns="91425" anchor="ctr" anchorCtr="0">
                <a:noAutofit/>
              </a:bodyPr>
              <a:lstStyle/>
              <a:p>
                <a:endParaRPr/>
              </a:p>
            </p:txBody>
          </p:sp>
          <p:sp>
            <p:nvSpPr>
              <p:cNvPr id="133" name="Google Shape;2458;p54">
                <a:extLst>
                  <a:ext uri="{FF2B5EF4-FFF2-40B4-BE49-F238E27FC236}">
                    <a16:creationId xmlns:a16="http://schemas.microsoft.com/office/drawing/2014/main" id="{F8E83B45-5D6B-438B-873F-9A212D1EF5D3}"/>
                  </a:ext>
                </a:extLst>
              </p:cNvPr>
              <p:cNvSpPr/>
              <p:nvPr/>
            </p:nvSpPr>
            <p:spPr>
              <a:xfrm>
                <a:off x="5998094" y="3642055"/>
                <a:ext cx="10248" cy="32241"/>
              </a:xfrm>
              <a:custGeom>
                <a:avLst/>
                <a:gdLst/>
                <a:ahLst/>
                <a:cxnLst/>
                <a:rect l="l" t="t" r="r" b="b"/>
                <a:pathLst>
                  <a:path w="322" h="1013" extrusionOk="0">
                    <a:moveTo>
                      <a:pt x="167" y="1"/>
                    </a:moveTo>
                    <a:cubicBezTo>
                      <a:pt x="72" y="1"/>
                      <a:pt x="0" y="72"/>
                      <a:pt x="0" y="155"/>
                    </a:cubicBezTo>
                    <a:lnTo>
                      <a:pt x="0" y="846"/>
                    </a:lnTo>
                    <a:cubicBezTo>
                      <a:pt x="0" y="929"/>
                      <a:pt x="72" y="1013"/>
                      <a:pt x="167" y="1013"/>
                    </a:cubicBezTo>
                    <a:cubicBezTo>
                      <a:pt x="250" y="1013"/>
                      <a:pt x="322" y="929"/>
                      <a:pt x="322" y="846"/>
                    </a:cubicBezTo>
                    <a:lnTo>
                      <a:pt x="322" y="143"/>
                    </a:lnTo>
                    <a:cubicBezTo>
                      <a:pt x="310" y="60"/>
                      <a:pt x="250" y="1"/>
                      <a:pt x="167" y="1"/>
                    </a:cubicBezTo>
                    <a:close/>
                  </a:path>
                </a:pathLst>
              </a:custGeom>
              <a:grpFill/>
              <a:ln>
                <a:noFill/>
              </a:ln>
            </p:spPr>
            <p:txBody>
              <a:bodyPr spcFirstLastPara="1" wrap="square" lIns="91425" tIns="91425" rIns="91425" bIns="91425" anchor="ctr" anchorCtr="0">
                <a:noAutofit/>
              </a:bodyPr>
              <a:lstStyle/>
              <a:p>
                <a:endParaRPr/>
              </a:p>
            </p:txBody>
          </p:sp>
          <p:sp>
            <p:nvSpPr>
              <p:cNvPr id="134" name="Google Shape;2459;p54">
                <a:extLst>
                  <a:ext uri="{FF2B5EF4-FFF2-40B4-BE49-F238E27FC236}">
                    <a16:creationId xmlns:a16="http://schemas.microsoft.com/office/drawing/2014/main" id="{3B5002C3-B7D5-4A65-BE40-CA186FB46EE9}"/>
                  </a:ext>
                </a:extLst>
              </p:cNvPr>
              <p:cNvSpPr/>
              <p:nvPr/>
            </p:nvSpPr>
            <p:spPr>
              <a:xfrm>
                <a:off x="5814673" y="3528367"/>
                <a:ext cx="43222" cy="15564"/>
              </a:xfrm>
              <a:custGeom>
                <a:avLst/>
                <a:gdLst/>
                <a:ahLst/>
                <a:cxnLst/>
                <a:rect l="l" t="t" r="r" b="b"/>
                <a:pathLst>
                  <a:path w="1358" h="489" extrusionOk="0">
                    <a:moveTo>
                      <a:pt x="167" y="1"/>
                    </a:moveTo>
                    <a:cubicBezTo>
                      <a:pt x="72" y="1"/>
                      <a:pt x="1" y="72"/>
                      <a:pt x="1" y="156"/>
                    </a:cubicBezTo>
                    <a:cubicBezTo>
                      <a:pt x="1" y="251"/>
                      <a:pt x="72" y="322"/>
                      <a:pt x="167" y="322"/>
                    </a:cubicBezTo>
                    <a:cubicBezTo>
                      <a:pt x="346" y="322"/>
                      <a:pt x="870" y="358"/>
                      <a:pt x="1120" y="477"/>
                    </a:cubicBezTo>
                    <a:cubicBezTo>
                      <a:pt x="1144" y="489"/>
                      <a:pt x="1167" y="489"/>
                      <a:pt x="1191" y="489"/>
                    </a:cubicBezTo>
                    <a:cubicBezTo>
                      <a:pt x="1251" y="489"/>
                      <a:pt x="1310" y="453"/>
                      <a:pt x="1346" y="394"/>
                    </a:cubicBezTo>
                    <a:cubicBezTo>
                      <a:pt x="1358" y="322"/>
                      <a:pt x="1322" y="239"/>
                      <a:pt x="1251" y="191"/>
                    </a:cubicBezTo>
                    <a:cubicBezTo>
                      <a:pt x="882" y="13"/>
                      <a:pt x="191" y="1"/>
                      <a:pt x="167" y="1"/>
                    </a:cubicBezTo>
                    <a:close/>
                  </a:path>
                </a:pathLst>
              </a:custGeom>
              <a:grpFill/>
              <a:ln>
                <a:noFill/>
              </a:ln>
            </p:spPr>
            <p:txBody>
              <a:bodyPr spcFirstLastPara="1" wrap="square" lIns="91425" tIns="91425" rIns="91425" bIns="91425" anchor="ctr" anchorCtr="0">
                <a:noAutofit/>
              </a:bodyPr>
              <a:lstStyle/>
              <a:p>
                <a:endParaRPr/>
              </a:p>
            </p:txBody>
          </p:sp>
          <p:sp>
            <p:nvSpPr>
              <p:cNvPr id="135" name="Google Shape;2460;p54">
                <a:extLst>
                  <a:ext uri="{FF2B5EF4-FFF2-40B4-BE49-F238E27FC236}">
                    <a16:creationId xmlns:a16="http://schemas.microsoft.com/office/drawing/2014/main" id="{73D18E76-2F1D-4E67-BDA0-EEB6C51ECF80}"/>
                  </a:ext>
                </a:extLst>
              </p:cNvPr>
              <p:cNvSpPr/>
              <p:nvPr/>
            </p:nvSpPr>
            <p:spPr>
              <a:xfrm>
                <a:off x="5797995" y="3631074"/>
                <a:ext cx="10662" cy="42458"/>
              </a:xfrm>
              <a:custGeom>
                <a:avLst/>
                <a:gdLst/>
                <a:ahLst/>
                <a:cxnLst/>
                <a:rect l="l" t="t" r="r" b="b"/>
                <a:pathLst>
                  <a:path w="335" h="1334" extrusionOk="0">
                    <a:moveTo>
                      <a:pt x="167" y="0"/>
                    </a:moveTo>
                    <a:cubicBezTo>
                      <a:pt x="84" y="0"/>
                      <a:pt x="1" y="72"/>
                      <a:pt x="1" y="167"/>
                    </a:cubicBezTo>
                    <a:lnTo>
                      <a:pt x="1" y="1179"/>
                    </a:lnTo>
                    <a:cubicBezTo>
                      <a:pt x="1" y="1262"/>
                      <a:pt x="84" y="1334"/>
                      <a:pt x="167" y="1334"/>
                    </a:cubicBezTo>
                    <a:cubicBezTo>
                      <a:pt x="251" y="1334"/>
                      <a:pt x="334" y="1262"/>
                      <a:pt x="334" y="1179"/>
                    </a:cubicBezTo>
                    <a:lnTo>
                      <a:pt x="334" y="167"/>
                    </a:lnTo>
                    <a:cubicBezTo>
                      <a:pt x="334" y="72"/>
                      <a:pt x="263" y="0"/>
                      <a:pt x="167" y="0"/>
                    </a:cubicBezTo>
                    <a:close/>
                  </a:path>
                </a:pathLst>
              </a:custGeom>
              <a:grpFill/>
              <a:ln>
                <a:noFill/>
              </a:ln>
            </p:spPr>
            <p:txBody>
              <a:bodyPr spcFirstLastPara="1" wrap="square" lIns="91425" tIns="91425" rIns="91425" bIns="91425" anchor="ctr" anchorCtr="0">
                <a:noAutofit/>
              </a:bodyPr>
              <a:lstStyle/>
              <a:p>
                <a:endParaRPr/>
              </a:p>
            </p:txBody>
          </p:sp>
          <p:sp>
            <p:nvSpPr>
              <p:cNvPr id="136" name="Google Shape;2461;p54">
                <a:extLst>
                  <a:ext uri="{FF2B5EF4-FFF2-40B4-BE49-F238E27FC236}">
                    <a16:creationId xmlns:a16="http://schemas.microsoft.com/office/drawing/2014/main" id="{BAE7A2AA-2480-4603-B040-5035266FFA0E}"/>
                  </a:ext>
                </a:extLst>
              </p:cNvPr>
              <p:cNvSpPr/>
              <p:nvPr/>
            </p:nvSpPr>
            <p:spPr>
              <a:xfrm>
                <a:off x="5776798" y="3409778"/>
                <a:ext cx="346379" cy="264136"/>
              </a:xfrm>
              <a:custGeom>
                <a:avLst/>
                <a:gdLst/>
                <a:ahLst/>
                <a:cxnLst/>
                <a:rect l="l" t="t" r="r" b="b"/>
                <a:pathLst>
                  <a:path w="10883" h="8299" extrusionOk="0">
                    <a:moveTo>
                      <a:pt x="9144" y="2512"/>
                    </a:moveTo>
                    <a:cubicBezTo>
                      <a:pt x="9418" y="2512"/>
                      <a:pt x="9656" y="2715"/>
                      <a:pt x="9656" y="2953"/>
                    </a:cubicBezTo>
                    <a:lnTo>
                      <a:pt x="9656" y="2977"/>
                    </a:lnTo>
                    <a:cubicBezTo>
                      <a:pt x="9501" y="2917"/>
                      <a:pt x="9335" y="2869"/>
                      <a:pt x="9144" y="2869"/>
                    </a:cubicBezTo>
                    <a:cubicBezTo>
                      <a:pt x="8965" y="2869"/>
                      <a:pt x="8787" y="2905"/>
                      <a:pt x="8620" y="2977"/>
                    </a:cubicBezTo>
                    <a:lnTo>
                      <a:pt x="8620" y="2953"/>
                    </a:lnTo>
                    <a:cubicBezTo>
                      <a:pt x="8620" y="2727"/>
                      <a:pt x="8858" y="2512"/>
                      <a:pt x="9144" y="2512"/>
                    </a:cubicBezTo>
                    <a:close/>
                    <a:moveTo>
                      <a:pt x="2869" y="3203"/>
                    </a:moveTo>
                    <a:lnTo>
                      <a:pt x="2869" y="3858"/>
                    </a:lnTo>
                    <a:cubicBezTo>
                      <a:pt x="2869" y="3965"/>
                      <a:pt x="2846" y="4060"/>
                      <a:pt x="2798" y="4167"/>
                    </a:cubicBezTo>
                    <a:lnTo>
                      <a:pt x="2727" y="4334"/>
                    </a:lnTo>
                    <a:cubicBezTo>
                      <a:pt x="2715" y="4346"/>
                      <a:pt x="2715" y="4382"/>
                      <a:pt x="2715" y="4405"/>
                    </a:cubicBezTo>
                    <a:lnTo>
                      <a:pt x="2715" y="4751"/>
                    </a:lnTo>
                    <a:cubicBezTo>
                      <a:pt x="2715" y="4989"/>
                      <a:pt x="2619" y="5191"/>
                      <a:pt x="2441" y="5358"/>
                    </a:cubicBezTo>
                    <a:cubicBezTo>
                      <a:pt x="2298" y="5525"/>
                      <a:pt x="2072" y="5596"/>
                      <a:pt x="1834" y="5596"/>
                    </a:cubicBezTo>
                    <a:cubicBezTo>
                      <a:pt x="1369" y="5584"/>
                      <a:pt x="1000" y="5179"/>
                      <a:pt x="1000" y="4703"/>
                    </a:cubicBezTo>
                    <a:lnTo>
                      <a:pt x="1000" y="4405"/>
                    </a:lnTo>
                    <a:cubicBezTo>
                      <a:pt x="1000" y="4382"/>
                      <a:pt x="1000" y="4358"/>
                      <a:pt x="988" y="4334"/>
                    </a:cubicBezTo>
                    <a:lnTo>
                      <a:pt x="881" y="4143"/>
                    </a:lnTo>
                    <a:cubicBezTo>
                      <a:pt x="845" y="4060"/>
                      <a:pt x="822" y="3989"/>
                      <a:pt x="822" y="3905"/>
                    </a:cubicBezTo>
                    <a:lnTo>
                      <a:pt x="822" y="3882"/>
                    </a:lnTo>
                    <a:cubicBezTo>
                      <a:pt x="822" y="3501"/>
                      <a:pt x="1131" y="3203"/>
                      <a:pt x="1500" y="3203"/>
                    </a:cubicBezTo>
                    <a:close/>
                    <a:moveTo>
                      <a:pt x="9144" y="3215"/>
                    </a:moveTo>
                    <a:cubicBezTo>
                      <a:pt x="9704" y="3215"/>
                      <a:pt x="10168" y="3679"/>
                      <a:pt x="10168" y="4239"/>
                    </a:cubicBezTo>
                    <a:cubicBezTo>
                      <a:pt x="10168" y="4346"/>
                      <a:pt x="10156" y="4465"/>
                      <a:pt x="10108" y="4572"/>
                    </a:cubicBezTo>
                    <a:cubicBezTo>
                      <a:pt x="9656" y="4108"/>
                      <a:pt x="8870" y="3929"/>
                      <a:pt x="8823" y="3929"/>
                    </a:cubicBezTo>
                    <a:cubicBezTo>
                      <a:pt x="8814" y="3926"/>
                      <a:pt x="8804" y="3925"/>
                      <a:pt x="8794" y="3925"/>
                    </a:cubicBezTo>
                    <a:cubicBezTo>
                      <a:pt x="8763" y="3925"/>
                      <a:pt x="8727" y="3938"/>
                      <a:pt x="8692" y="3965"/>
                    </a:cubicBezTo>
                    <a:cubicBezTo>
                      <a:pt x="8644" y="3989"/>
                      <a:pt x="8632" y="4036"/>
                      <a:pt x="8632" y="4084"/>
                    </a:cubicBezTo>
                    <a:cubicBezTo>
                      <a:pt x="8632" y="4084"/>
                      <a:pt x="8632" y="4179"/>
                      <a:pt x="8513" y="4298"/>
                    </a:cubicBezTo>
                    <a:cubicBezTo>
                      <a:pt x="8453" y="4358"/>
                      <a:pt x="8453" y="4465"/>
                      <a:pt x="8513" y="4524"/>
                    </a:cubicBezTo>
                    <a:cubicBezTo>
                      <a:pt x="8543" y="4554"/>
                      <a:pt x="8584" y="4569"/>
                      <a:pt x="8626" y="4569"/>
                    </a:cubicBezTo>
                    <a:cubicBezTo>
                      <a:pt x="8668" y="4569"/>
                      <a:pt x="8709" y="4554"/>
                      <a:pt x="8739" y="4524"/>
                    </a:cubicBezTo>
                    <a:cubicBezTo>
                      <a:pt x="8823" y="4441"/>
                      <a:pt x="8882" y="4346"/>
                      <a:pt x="8918" y="4274"/>
                    </a:cubicBezTo>
                    <a:cubicBezTo>
                      <a:pt x="9180" y="4346"/>
                      <a:pt x="9739" y="4560"/>
                      <a:pt x="9989" y="4894"/>
                    </a:cubicBezTo>
                    <a:cubicBezTo>
                      <a:pt x="9906" y="5298"/>
                      <a:pt x="9573" y="5596"/>
                      <a:pt x="9144" y="5596"/>
                    </a:cubicBezTo>
                    <a:cubicBezTo>
                      <a:pt x="8704" y="5596"/>
                      <a:pt x="8334" y="5275"/>
                      <a:pt x="8287" y="4834"/>
                    </a:cubicBezTo>
                    <a:cubicBezTo>
                      <a:pt x="8287" y="4810"/>
                      <a:pt x="8275" y="4798"/>
                      <a:pt x="8263" y="4774"/>
                    </a:cubicBezTo>
                    <a:cubicBezTo>
                      <a:pt x="8156" y="4620"/>
                      <a:pt x="8108" y="4441"/>
                      <a:pt x="8108" y="4239"/>
                    </a:cubicBezTo>
                    <a:cubicBezTo>
                      <a:pt x="8108" y="3679"/>
                      <a:pt x="8573" y="3215"/>
                      <a:pt x="9144" y="3215"/>
                    </a:cubicBezTo>
                    <a:close/>
                    <a:moveTo>
                      <a:pt x="5441" y="298"/>
                    </a:moveTo>
                    <a:cubicBezTo>
                      <a:pt x="6013" y="298"/>
                      <a:pt x="6489" y="488"/>
                      <a:pt x="6858" y="845"/>
                    </a:cubicBezTo>
                    <a:cubicBezTo>
                      <a:pt x="7227" y="1226"/>
                      <a:pt x="7453" y="1738"/>
                      <a:pt x="7501" y="2369"/>
                    </a:cubicBezTo>
                    <a:cubicBezTo>
                      <a:pt x="7620" y="4060"/>
                      <a:pt x="7763" y="5001"/>
                      <a:pt x="7822" y="5334"/>
                    </a:cubicBezTo>
                    <a:lnTo>
                      <a:pt x="7822" y="5346"/>
                    </a:lnTo>
                    <a:cubicBezTo>
                      <a:pt x="7632" y="5453"/>
                      <a:pt x="7310" y="5632"/>
                      <a:pt x="6787" y="5763"/>
                    </a:cubicBezTo>
                    <a:lnTo>
                      <a:pt x="6525" y="5644"/>
                    </a:lnTo>
                    <a:cubicBezTo>
                      <a:pt x="6453" y="5608"/>
                      <a:pt x="6418" y="5548"/>
                      <a:pt x="6418" y="5477"/>
                    </a:cubicBezTo>
                    <a:lnTo>
                      <a:pt x="6418" y="4929"/>
                    </a:lnTo>
                    <a:cubicBezTo>
                      <a:pt x="6918" y="4596"/>
                      <a:pt x="7263" y="4024"/>
                      <a:pt x="7263" y="3370"/>
                    </a:cubicBezTo>
                    <a:lnTo>
                      <a:pt x="7263" y="3072"/>
                    </a:lnTo>
                    <a:cubicBezTo>
                      <a:pt x="7263" y="2869"/>
                      <a:pt x="7180" y="2691"/>
                      <a:pt x="7037" y="2560"/>
                    </a:cubicBezTo>
                    <a:cubicBezTo>
                      <a:pt x="6727" y="2274"/>
                      <a:pt x="6001" y="1798"/>
                      <a:pt x="4751" y="1667"/>
                    </a:cubicBezTo>
                    <a:cubicBezTo>
                      <a:pt x="4744" y="1666"/>
                      <a:pt x="4737" y="1666"/>
                      <a:pt x="4730" y="1666"/>
                    </a:cubicBezTo>
                    <a:cubicBezTo>
                      <a:pt x="4645" y="1666"/>
                      <a:pt x="4583" y="1733"/>
                      <a:pt x="4572" y="1822"/>
                    </a:cubicBezTo>
                    <a:cubicBezTo>
                      <a:pt x="4548" y="1905"/>
                      <a:pt x="4632" y="1977"/>
                      <a:pt x="4715" y="2000"/>
                    </a:cubicBezTo>
                    <a:cubicBezTo>
                      <a:pt x="5882" y="2119"/>
                      <a:pt x="6537" y="2548"/>
                      <a:pt x="6834" y="2798"/>
                    </a:cubicBezTo>
                    <a:cubicBezTo>
                      <a:pt x="6906" y="2858"/>
                      <a:pt x="6953" y="2965"/>
                      <a:pt x="6953" y="3072"/>
                    </a:cubicBezTo>
                    <a:lnTo>
                      <a:pt x="6953" y="3370"/>
                    </a:lnTo>
                    <a:cubicBezTo>
                      <a:pt x="6953" y="4215"/>
                      <a:pt x="6263" y="4894"/>
                      <a:pt x="5417" y="4894"/>
                    </a:cubicBezTo>
                    <a:cubicBezTo>
                      <a:pt x="4572" y="4894"/>
                      <a:pt x="3881" y="4215"/>
                      <a:pt x="3881" y="3370"/>
                    </a:cubicBezTo>
                    <a:lnTo>
                      <a:pt x="3881" y="3227"/>
                    </a:lnTo>
                    <a:cubicBezTo>
                      <a:pt x="3881" y="3167"/>
                      <a:pt x="3917" y="3108"/>
                      <a:pt x="3977" y="3084"/>
                    </a:cubicBezTo>
                    <a:cubicBezTo>
                      <a:pt x="4167" y="2965"/>
                      <a:pt x="4429" y="2750"/>
                      <a:pt x="4548" y="2393"/>
                    </a:cubicBezTo>
                    <a:cubicBezTo>
                      <a:pt x="4584" y="2310"/>
                      <a:pt x="4536" y="2215"/>
                      <a:pt x="4453" y="2203"/>
                    </a:cubicBezTo>
                    <a:cubicBezTo>
                      <a:pt x="4434" y="2198"/>
                      <a:pt x="4415" y="2196"/>
                      <a:pt x="4398" y="2196"/>
                    </a:cubicBezTo>
                    <a:cubicBezTo>
                      <a:pt x="4327" y="2196"/>
                      <a:pt x="4270" y="2234"/>
                      <a:pt x="4251" y="2310"/>
                    </a:cubicBezTo>
                    <a:cubicBezTo>
                      <a:pt x="4167" y="2572"/>
                      <a:pt x="3977" y="2727"/>
                      <a:pt x="3822" y="2810"/>
                    </a:cubicBezTo>
                    <a:cubicBezTo>
                      <a:pt x="3679" y="2905"/>
                      <a:pt x="3572" y="3072"/>
                      <a:pt x="3572" y="3227"/>
                    </a:cubicBezTo>
                    <a:lnTo>
                      <a:pt x="3572" y="3370"/>
                    </a:lnTo>
                    <a:cubicBezTo>
                      <a:pt x="3572" y="4024"/>
                      <a:pt x="3917" y="4584"/>
                      <a:pt x="4417" y="4929"/>
                    </a:cubicBezTo>
                    <a:lnTo>
                      <a:pt x="4417" y="5477"/>
                    </a:lnTo>
                    <a:cubicBezTo>
                      <a:pt x="4417" y="5548"/>
                      <a:pt x="4370" y="5608"/>
                      <a:pt x="4310" y="5644"/>
                    </a:cubicBezTo>
                    <a:lnTo>
                      <a:pt x="4048" y="5763"/>
                    </a:lnTo>
                    <a:cubicBezTo>
                      <a:pt x="3536" y="5632"/>
                      <a:pt x="3215" y="5453"/>
                      <a:pt x="3060" y="5346"/>
                    </a:cubicBezTo>
                    <a:lnTo>
                      <a:pt x="3060" y="5334"/>
                    </a:lnTo>
                    <a:cubicBezTo>
                      <a:pt x="3131" y="5001"/>
                      <a:pt x="3262" y="4060"/>
                      <a:pt x="3393" y="2369"/>
                    </a:cubicBezTo>
                    <a:cubicBezTo>
                      <a:pt x="3441" y="1738"/>
                      <a:pt x="3655" y="1226"/>
                      <a:pt x="4036" y="845"/>
                    </a:cubicBezTo>
                    <a:cubicBezTo>
                      <a:pt x="4393" y="488"/>
                      <a:pt x="4882" y="298"/>
                      <a:pt x="5441" y="298"/>
                    </a:cubicBezTo>
                    <a:close/>
                    <a:moveTo>
                      <a:pt x="2750" y="5465"/>
                    </a:moveTo>
                    <a:cubicBezTo>
                      <a:pt x="2786" y="5501"/>
                      <a:pt x="2810" y="5572"/>
                      <a:pt x="2869" y="5596"/>
                    </a:cubicBezTo>
                    <a:cubicBezTo>
                      <a:pt x="3000" y="5691"/>
                      <a:pt x="3239" y="5822"/>
                      <a:pt x="3584" y="5941"/>
                    </a:cubicBezTo>
                    <a:lnTo>
                      <a:pt x="3155" y="6144"/>
                    </a:lnTo>
                    <a:lnTo>
                      <a:pt x="2655" y="6001"/>
                    </a:lnTo>
                    <a:cubicBezTo>
                      <a:pt x="2512" y="5953"/>
                      <a:pt x="2512" y="5953"/>
                      <a:pt x="2512" y="5906"/>
                    </a:cubicBezTo>
                    <a:lnTo>
                      <a:pt x="2512" y="5691"/>
                    </a:lnTo>
                    <a:cubicBezTo>
                      <a:pt x="2572" y="5656"/>
                      <a:pt x="2619" y="5608"/>
                      <a:pt x="2667" y="5572"/>
                    </a:cubicBezTo>
                    <a:cubicBezTo>
                      <a:pt x="2691" y="5536"/>
                      <a:pt x="2727" y="5513"/>
                      <a:pt x="2750" y="5465"/>
                    </a:cubicBezTo>
                    <a:close/>
                    <a:moveTo>
                      <a:pt x="8096" y="5239"/>
                    </a:moveTo>
                    <a:cubicBezTo>
                      <a:pt x="8180" y="5417"/>
                      <a:pt x="8323" y="5572"/>
                      <a:pt x="8477" y="5691"/>
                    </a:cubicBezTo>
                    <a:lnTo>
                      <a:pt x="8477" y="6025"/>
                    </a:lnTo>
                    <a:lnTo>
                      <a:pt x="8489" y="6025"/>
                    </a:lnTo>
                    <a:lnTo>
                      <a:pt x="7977" y="6287"/>
                    </a:lnTo>
                    <a:cubicBezTo>
                      <a:pt x="7977" y="6287"/>
                      <a:pt x="7965" y="6287"/>
                      <a:pt x="7965" y="6263"/>
                    </a:cubicBezTo>
                    <a:lnTo>
                      <a:pt x="7227" y="5941"/>
                    </a:lnTo>
                    <a:cubicBezTo>
                      <a:pt x="7596" y="5822"/>
                      <a:pt x="7822" y="5667"/>
                      <a:pt x="7942" y="5596"/>
                    </a:cubicBezTo>
                    <a:cubicBezTo>
                      <a:pt x="8049" y="5525"/>
                      <a:pt x="8108" y="5406"/>
                      <a:pt x="8096" y="5275"/>
                    </a:cubicBezTo>
                    <a:lnTo>
                      <a:pt x="8096" y="5239"/>
                    </a:lnTo>
                    <a:close/>
                    <a:moveTo>
                      <a:pt x="2203" y="5870"/>
                    </a:moveTo>
                    <a:lnTo>
                      <a:pt x="2203" y="5929"/>
                    </a:lnTo>
                    <a:cubicBezTo>
                      <a:pt x="2203" y="5953"/>
                      <a:pt x="2203" y="5989"/>
                      <a:pt x="2215" y="6013"/>
                    </a:cubicBezTo>
                    <a:lnTo>
                      <a:pt x="1857" y="6370"/>
                    </a:lnTo>
                    <a:lnTo>
                      <a:pt x="1500" y="6013"/>
                    </a:lnTo>
                    <a:cubicBezTo>
                      <a:pt x="1512" y="5989"/>
                      <a:pt x="1512" y="5953"/>
                      <a:pt x="1512" y="5929"/>
                    </a:cubicBezTo>
                    <a:lnTo>
                      <a:pt x="1512" y="5870"/>
                    </a:lnTo>
                    <a:cubicBezTo>
                      <a:pt x="1619" y="5894"/>
                      <a:pt x="1726" y="5929"/>
                      <a:pt x="1834" y="5929"/>
                    </a:cubicBezTo>
                    <a:lnTo>
                      <a:pt x="1857" y="5929"/>
                    </a:lnTo>
                    <a:cubicBezTo>
                      <a:pt x="1976" y="5929"/>
                      <a:pt x="2096" y="5906"/>
                      <a:pt x="2203" y="5870"/>
                    </a:cubicBezTo>
                    <a:close/>
                    <a:moveTo>
                      <a:pt x="9525" y="5882"/>
                    </a:moveTo>
                    <a:lnTo>
                      <a:pt x="9525" y="6048"/>
                    </a:lnTo>
                    <a:cubicBezTo>
                      <a:pt x="9525" y="6108"/>
                      <a:pt x="9537" y="6144"/>
                      <a:pt x="9573" y="6191"/>
                    </a:cubicBezTo>
                    <a:lnTo>
                      <a:pt x="9394" y="6322"/>
                    </a:lnTo>
                    <a:cubicBezTo>
                      <a:pt x="9323" y="6394"/>
                      <a:pt x="9236" y="6429"/>
                      <a:pt x="9151" y="6429"/>
                    </a:cubicBezTo>
                    <a:cubicBezTo>
                      <a:pt x="9067" y="6429"/>
                      <a:pt x="8983" y="6394"/>
                      <a:pt x="8918" y="6322"/>
                    </a:cubicBezTo>
                    <a:lnTo>
                      <a:pt x="8763" y="6191"/>
                    </a:lnTo>
                    <a:cubicBezTo>
                      <a:pt x="8799" y="6144"/>
                      <a:pt x="8811" y="6084"/>
                      <a:pt x="8811" y="6048"/>
                    </a:cubicBezTo>
                    <a:lnTo>
                      <a:pt x="8811" y="5882"/>
                    </a:lnTo>
                    <a:cubicBezTo>
                      <a:pt x="8918" y="5906"/>
                      <a:pt x="9037" y="5941"/>
                      <a:pt x="9168" y="5941"/>
                    </a:cubicBezTo>
                    <a:cubicBezTo>
                      <a:pt x="9287" y="5941"/>
                      <a:pt x="9406" y="5929"/>
                      <a:pt x="9525" y="5882"/>
                    </a:cubicBezTo>
                    <a:close/>
                    <a:moveTo>
                      <a:pt x="6096" y="5096"/>
                    </a:moveTo>
                    <a:lnTo>
                      <a:pt x="6096" y="5477"/>
                    </a:lnTo>
                    <a:cubicBezTo>
                      <a:pt x="6096" y="5667"/>
                      <a:pt x="6215" y="5846"/>
                      <a:pt x="6394" y="5941"/>
                    </a:cubicBezTo>
                    <a:lnTo>
                      <a:pt x="6632" y="6048"/>
                    </a:lnTo>
                    <a:cubicBezTo>
                      <a:pt x="6406" y="6489"/>
                      <a:pt x="5941" y="6787"/>
                      <a:pt x="5417" y="6787"/>
                    </a:cubicBezTo>
                    <a:cubicBezTo>
                      <a:pt x="4894" y="6787"/>
                      <a:pt x="4441" y="6501"/>
                      <a:pt x="4203" y="6048"/>
                    </a:cubicBezTo>
                    <a:lnTo>
                      <a:pt x="4441" y="5941"/>
                    </a:lnTo>
                    <a:cubicBezTo>
                      <a:pt x="4620" y="5870"/>
                      <a:pt x="4739" y="5691"/>
                      <a:pt x="4739" y="5477"/>
                    </a:cubicBezTo>
                    <a:lnTo>
                      <a:pt x="4739" y="5096"/>
                    </a:lnTo>
                    <a:cubicBezTo>
                      <a:pt x="4941" y="5179"/>
                      <a:pt x="5179" y="5227"/>
                      <a:pt x="5417" y="5227"/>
                    </a:cubicBezTo>
                    <a:cubicBezTo>
                      <a:pt x="5656" y="5227"/>
                      <a:pt x="5894" y="5179"/>
                      <a:pt x="6096" y="5096"/>
                    </a:cubicBezTo>
                    <a:close/>
                    <a:moveTo>
                      <a:pt x="5417" y="0"/>
                    </a:moveTo>
                    <a:cubicBezTo>
                      <a:pt x="4763" y="0"/>
                      <a:pt x="4215" y="226"/>
                      <a:pt x="3786" y="643"/>
                    </a:cubicBezTo>
                    <a:cubicBezTo>
                      <a:pt x="3346" y="1060"/>
                      <a:pt x="3096" y="1655"/>
                      <a:pt x="3048" y="2346"/>
                    </a:cubicBezTo>
                    <a:cubicBezTo>
                      <a:pt x="3036" y="2548"/>
                      <a:pt x="3024" y="2703"/>
                      <a:pt x="3012" y="2881"/>
                    </a:cubicBezTo>
                    <a:lnTo>
                      <a:pt x="1524" y="2881"/>
                    </a:lnTo>
                    <a:cubicBezTo>
                      <a:pt x="964" y="2881"/>
                      <a:pt x="512" y="3334"/>
                      <a:pt x="512" y="3893"/>
                    </a:cubicBezTo>
                    <a:lnTo>
                      <a:pt x="512" y="3917"/>
                    </a:lnTo>
                    <a:cubicBezTo>
                      <a:pt x="512" y="4048"/>
                      <a:pt x="536" y="4167"/>
                      <a:pt x="595" y="4286"/>
                    </a:cubicBezTo>
                    <a:lnTo>
                      <a:pt x="667" y="4453"/>
                    </a:lnTo>
                    <a:lnTo>
                      <a:pt x="667" y="4703"/>
                    </a:lnTo>
                    <a:cubicBezTo>
                      <a:pt x="667" y="5120"/>
                      <a:pt x="881" y="5477"/>
                      <a:pt x="1179" y="5703"/>
                    </a:cubicBezTo>
                    <a:lnTo>
                      <a:pt x="1179" y="5929"/>
                    </a:lnTo>
                    <a:cubicBezTo>
                      <a:pt x="1179" y="5953"/>
                      <a:pt x="1167" y="5989"/>
                      <a:pt x="1131" y="5989"/>
                    </a:cubicBezTo>
                    <a:lnTo>
                      <a:pt x="476" y="6179"/>
                    </a:lnTo>
                    <a:cubicBezTo>
                      <a:pt x="191" y="6251"/>
                      <a:pt x="0" y="6513"/>
                      <a:pt x="0" y="6810"/>
                    </a:cubicBezTo>
                    <a:lnTo>
                      <a:pt x="0" y="8120"/>
                    </a:lnTo>
                    <a:cubicBezTo>
                      <a:pt x="0" y="8215"/>
                      <a:pt x="71" y="8287"/>
                      <a:pt x="167" y="8287"/>
                    </a:cubicBezTo>
                    <a:cubicBezTo>
                      <a:pt x="250" y="8287"/>
                      <a:pt x="333" y="8215"/>
                      <a:pt x="333" y="8120"/>
                    </a:cubicBezTo>
                    <a:lnTo>
                      <a:pt x="333" y="6810"/>
                    </a:lnTo>
                    <a:cubicBezTo>
                      <a:pt x="333" y="6668"/>
                      <a:pt x="429" y="6513"/>
                      <a:pt x="583" y="6477"/>
                    </a:cubicBezTo>
                    <a:lnTo>
                      <a:pt x="1238" y="6287"/>
                    </a:lnTo>
                    <a:cubicBezTo>
                      <a:pt x="1262" y="6287"/>
                      <a:pt x="1286" y="6263"/>
                      <a:pt x="1310" y="6251"/>
                    </a:cubicBezTo>
                    <a:lnTo>
                      <a:pt x="1715" y="6656"/>
                    </a:lnTo>
                    <a:lnTo>
                      <a:pt x="1715" y="8108"/>
                    </a:lnTo>
                    <a:cubicBezTo>
                      <a:pt x="1715" y="8203"/>
                      <a:pt x="1786" y="8275"/>
                      <a:pt x="1881" y="8275"/>
                    </a:cubicBezTo>
                    <a:cubicBezTo>
                      <a:pt x="1965" y="8275"/>
                      <a:pt x="2036" y="8203"/>
                      <a:pt x="2036" y="8108"/>
                    </a:cubicBezTo>
                    <a:lnTo>
                      <a:pt x="2036" y="6656"/>
                    </a:lnTo>
                    <a:lnTo>
                      <a:pt x="2441" y="6251"/>
                    </a:lnTo>
                    <a:cubicBezTo>
                      <a:pt x="2500" y="6287"/>
                      <a:pt x="2548" y="6298"/>
                      <a:pt x="2596" y="6310"/>
                    </a:cubicBezTo>
                    <a:lnTo>
                      <a:pt x="2750" y="6358"/>
                    </a:lnTo>
                    <a:cubicBezTo>
                      <a:pt x="2536" y="6501"/>
                      <a:pt x="2393" y="6751"/>
                      <a:pt x="2393" y="7037"/>
                    </a:cubicBezTo>
                    <a:lnTo>
                      <a:pt x="2393" y="8120"/>
                    </a:lnTo>
                    <a:cubicBezTo>
                      <a:pt x="2393" y="8215"/>
                      <a:pt x="2465" y="8287"/>
                      <a:pt x="2560" y="8287"/>
                    </a:cubicBezTo>
                    <a:cubicBezTo>
                      <a:pt x="2643" y="8287"/>
                      <a:pt x="2727" y="8215"/>
                      <a:pt x="2727" y="8120"/>
                    </a:cubicBezTo>
                    <a:lnTo>
                      <a:pt x="2727" y="7037"/>
                    </a:lnTo>
                    <a:cubicBezTo>
                      <a:pt x="2727" y="6834"/>
                      <a:pt x="2846" y="6656"/>
                      <a:pt x="3036" y="6560"/>
                    </a:cubicBezTo>
                    <a:lnTo>
                      <a:pt x="3941" y="6156"/>
                    </a:lnTo>
                    <a:cubicBezTo>
                      <a:pt x="4227" y="6727"/>
                      <a:pt x="4810" y="7096"/>
                      <a:pt x="5441" y="7096"/>
                    </a:cubicBezTo>
                    <a:cubicBezTo>
                      <a:pt x="6084" y="7096"/>
                      <a:pt x="6668" y="6739"/>
                      <a:pt x="6953" y="6156"/>
                    </a:cubicBezTo>
                    <a:lnTo>
                      <a:pt x="7858" y="6560"/>
                    </a:lnTo>
                    <a:cubicBezTo>
                      <a:pt x="8049" y="6656"/>
                      <a:pt x="8168" y="6834"/>
                      <a:pt x="8168" y="7037"/>
                    </a:cubicBezTo>
                    <a:lnTo>
                      <a:pt x="8168" y="8120"/>
                    </a:lnTo>
                    <a:cubicBezTo>
                      <a:pt x="8168" y="8215"/>
                      <a:pt x="8239" y="8287"/>
                      <a:pt x="8334" y="8287"/>
                    </a:cubicBezTo>
                    <a:cubicBezTo>
                      <a:pt x="8418" y="8287"/>
                      <a:pt x="8501" y="8215"/>
                      <a:pt x="8501" y="8120"/>
                    </a:cubicBezTo>
                    <a:lnTo>
                      <a:pt x="8501" y="7037"/>
                    </a:lnTo>
                    <a:cubicBezTo>
                      <a:pt x="8501" y="6834"/>
                      <a:pt x="8418" y="6656"/>
                      <a:pt x="8299" y="6501"/>
                    </a:cubicBezTo>
                    <a:lnTo>
                      <a:pt x="8537" y="6382"/>
                    </a:lnTo>
                    <a:lnTo>
                      <a:pt x="8715" y="6560"/>
                    </a:lnTo>
                    <a:cubicBezTo>
                      <a:pt x="8858" y="6679"/>
                      <a:pt x="9013" y="6739"/>
                      <a:pt x="9180" y="6739"/>
                    </a:cubicBezTo>
                    <a:cubicBezTo>
                      <a:pt x="9346" y="6739"/>
                      <a:pt x="9513" y="6679"/>
                      <a:pt x="9644" y="6560"/>
                    </a:cubicBezTo>
                    <a:lnTo>
                      <a:pt x="9823" y="6382"/>
                    </a:lnTo>
                    <a:lnTo>
                      <a:pt x="10358" y="6656"/>
                    </a:lnTo>
                    <a:cubicBezTo>
                      <a:pt x="10478" y="6715"/>
                      <a:pt x="10549" y="6834"/>
                      <a:pt x="10549" y="6965"/>
                    </a:cubicBezTo>
                    <a:lnTo>
                      <a:pt x="10549" y="8144"/>
                    </a:lnTo>
                    <a:cubicBezTo>
                      <a:pt x="10549" y="8227"/>
                      <a:pt x="10620" y="8299"/>
                      <a:pt x="10716" y="8299"/>
                    </a:cubicBezTo>
                    <a:cubicBezTo>
                      <a:pt x="10799" y="8299"/>
                      <a:pt x="10882" y="8227"/>
                      <a:pt x="10882" y="8144"/>
                    </a:cubicBezTo>
                    <a:lnTo>
                      <a:pt x="10882" y="6965"/>
                    </a:lnTo>
                    <a:cubicBezTo>
                      <a:pt x="10823" y="6703"/>
                      <a:pt x="10692" y="6477"/>
                      <a:pt x="10466" y="6358"/>
                    </a:cubicBezTo>
                    <a:lnTo>
                      <a:pt x="9823" y="6025"/>
                    </a:lnTo>
                    <a:lnTo>
                      <a:pt x="9823" y="6013"/>
                    </a:lnTo>
                    <a:lnTo>
                      <a:pt x="9823" y="5691"/>
                    </a:lnTo>
                    <a:cubicBezTo>
                      <a:pt x="10097" y="5501"/>
                      <a:pt x="10275" y="5227"/>
                      <a:pt x="10311" y="4882"/>
                    </a:cubicBezTo>
                    <a:cubicBezTo>
                      <a:pt x="10430" y="4679"/>
                      <a:pt x="10489" y="4453"/>
                      <a:pt x="10489" y="4215"/>
                    </a:cubicBezTo>
                    <a:cubicBezTo>
                      <a:pt x="10489" y="3786"/>
                      <a:pt x="10287" y="3381"/>
                      <a:pt x="9954" y="3143"/>
                    </a:cubicBezTo>
                    <a:cubicBezTo>
                      <a:pt x="9977" y="3084"/>
                      <a:pt x="9989" y="3012"/>
                      <a:pt x="9989" y="2953"/>
                    </a:cubicBezTo>
                    <a:cubicBezTo>
                      <a:pt x="9989" y="2536"/>
                      <a:pt x="9620" y="2191"/>
                      <a:pt x="9156" y="2191"/>
                    </a:cubicBezTo>
                    <a:cubicBezTo>
                      <a:pt x="8692" y="2191"/>
                      <a:pt x="8323" y="2524"/>
                      <a:pt x="8323" y="2953"/>
                    </a:cubicBezTo>
                    <a:cubicBezTo>
                      <a:pt x="8323" y="3024"/>
                      <a:pt x="8334" y="3084"/>
                      <a:pt x="8346" y="3143"/>
                    </a:cubicBezTo>
                    <a:cubicBezTo>
                      <a:pt x="8156" y="3286"/>
                      <a:pt x="8013" y="3477"/>
                      <a:pt x="7906" y="3715"/>
                    </a:cubicBezTo>
                    <a:cubicBezTo>
                      <a:pt x="7858" y="3334"/>
                      <a:pt x="7834" y="2869"/>
                      <a:pt x="7787" y="2346"/>
                    </a:cubicBezTo>
                    <a:cubicBezTo>
                      <a:pt x="7739" y="1655"/>
                      <a:pt x="7489" y="1060"/>
                      <a:pt x="7060" y="643"/>
                    </a:cubicBezTo>
                    <a:cubicBezTo>
                      <a:pt x="6644" y="226"/>
                      <a:pt x="6072" y="0"/>
                      <a:pt x="5417" y="0"/>
                    </a:cubicBezTo>
                    <a:close/>
                  </a:path>
                </a:pathLst>
              </a:custGeom>
              <a:grpFill/>
              <a:ln>
                <a:noFill/>
              </a:ln>
            </p:spPr>
            <p:txBody>
              <a:bodyPr spcFirstLastPara="1" wrap="square" lIns="91425" tIns="91425" rIns="91425" bIns="91425" anchor="ctr" anchorCtr="0">
                <a:noAutofit/>
              </a:bodyPr>
              <a:lstStyle/>
              <a:p>
                <a:endParaRPr dirty="0"/>
              </a:p>
            </p:txBody>
          </p:sp>
          <p:sp>
            <p:nvSpPr>
              <p:cNvPr id="137" name="Google Shape;2462;p54">
                <a:extLst>
                  <a:ext uri="{FF2B5EF4-FFF2-40B4-BE49-F238E27FC236}">
                    <a16:creationId xmlns:a16="http://schemas.microsoft.com/office/drawing/2014/main" id="{6E360434-7B84-4BCA-B093-4ACE7193802B}"/>
                  </a:ext>
                </a:extLst>
              </p:cNvPr>
              <p:cNvSpPr/>
              <p:nvPr/>
            </p:nvSpPr>
            <p:spPr>
              <a:xfrm>
                <a:off x="6089408" y="3637503"/>
                <a:ext cx="10662" cy="36029"/>
              </a:xfrm>
              <a:custGeom>
                <a:avLst/>
                <a:gdLst/>
                <a:ahLst/>
                <a:cxnLst/>
                <a:rect l="l" t="t" r="r" b="b"/>
                <a:pathLst>
                  <a:path w="335" h="1132" extrusionOk="0">
                    <a:moveTo>
                      <a:pt x="167" y="1"/>
                    </a:moveTo>
                    <a:cubicBezTo>
                      <a:pt x="72" y="1"/>
                      <a:pt x="1" y="84"/>
                      <a:pt x="1" y="167"/>
                    </a:cubicBezTo>
                    <a:lnTo>
                      <a:pt x="1" y="977"/>
                    </a:lnTo>
                    <a:cubicBezTo>
                      <a:pt x="1" y="1060"/>
                      <a:pt x="72" y="1132"/>
                      <a:pt x="167" y="1132"/>
                    </a:cubicBezTo>
                    <a:cubicBezTo>
                      <a:pt x="251" y="1132"/>
                      <a:pt x="322" y="1060"/>
                      <a:pt x="322" y="977"/>
                    </a:cubicBezTo>
                    <a:lnTo>
                      <a:pt x="322" y="167"/>
                    </a:lnTo>
                    <a:cubicBezTo>
                      <a:pt x="334" y="84"/>
                      <a:pt x="251" y="1"/>
                      <a:pt x="167" y="1"/>
                    </a:cubicBezTo>
                    <a:close/>
                  </a:path>
                </a:pathLst>
              </a:custGeom>
              <a:grpFill/>
              <a:ln>
                <a:noFill/>
              </a:ln>
            </p:spPr>
            <p:txBody>
              <a:bodyPr spcFirstLastPara="1" wrap="square" lIns="91425" tIns="91425" rIns="91425" bIns="91425" anchor="ctr" anchorCtr="0">
                <a:noAutofit/>
              </a:bodyPr>
              <a:lstStyle/>
              <a:p>
                <a:endParaRPr/>
              </a:p>
            </p:txBody>
          </p:sp>
        </p:grpSp>
      </p:grpSp>
      <p:sp>
        <p:nvSpPr>
          <p:cNvPr id="178" name="Rechteck 125">
            <a:extLst>
              <a:ext uri="{FF2B5EF4-FFF2-40B4-BE49-F238E27FC236}">
                <a16:creationId xmlns:a16="http://schemas.microsoft.com/office/drawing/2014/main" id="{E4E644F5-DA14-4952-B152-F55A2F14CCB9}"/>
              </a:ext>
            </a:extLst>
          </p:cNvPr>
          <p:cNvSpPr/>
          <p:nvPr/>
        </p:nvSpPr>
        <p:spPr bwMode="gray">
          <a:xfrm>
            <a:off x="1241579" y="3792499"/>
            <a:ext cx="1175163" cy="278385"/>
          </a:xfrm>
          <a:prstGeom prst="rect">
            <a:avLst/>
          </a:prstGeom>
        </p:spPr>
        <p:style>
          <a:lnRef idx="0">
            <a:scrgbClr r="0" g="0" b="0"/>
          </a:lnRef>
          <a:fillRef idx="0">
            <a:scrgbClr r="0" g="0" b="0"/>
          </a:fillRef>
          <a:effectRef idx="0">
            <a:scrgbClr r="0" g="0" b="0"/>
          </a:effectRef>
          <a:fontRef idx="major"/>
        </p:style>
        <p:txBody>
          <a:bodyPr wrap="square" lIns="72000" tIns="46800" rIns="72000">
            <a:no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defTabSz="801608"/>
            <a:r>
              <a:rPr lang="en-US" sz="1000" b="1" dirty="0">
                <a:solidFill>
                  <a:srgbClr val="14438E"/>
                </a:solidFill>
                <a:latin typeface="Arial" panose="020B0604020202020204" pitchFamily="34" charset="0"/>
                <a:cs typeface="Arial" panose="020B0604020202020204" pitchFamily="34" charset="0"/>
              </a:rPr>
              <a:t>2</a:t>
            </a:r>
            <a:r>
              <a:rPr lang="en-US" sz="1000" b="1" baseline="30000" dirty="0">
                <a:solidFill>
                  <a:srgbClr val="14438E"/>
                </a:solidFill>
                <a:latin typeface="Arial" panose="020B0604020202020204" pitchFamily="34" charset="0"/>
                <a:cs typeface="Arial" panose="020B0604020202020204" pitchFamily="34" charset="0"/>
              </a:rPr>
              <a:t>nd </a:t>
            </a:r>
            <a:r>
              <a:rPr lang="en-US" sz="1000" b="1" dirty="0">
                <a:solidFill>
                  <a:srgbClr val="14438E"/>
                </a:solidFill>
                <a:latin typeface="Arial" panose="020B0604020202020204" pitchFamily="34" charset="0"/>
                <a:cs typeface="Arial" panose="020B0604020202020204" pitchFamily="34" charset="0"/>
              </a:rPr>
              <a:t>WG meeting</a:t>
            </a:r>
          </a:p>
        </p:txBody>
      </p:sp>
      <p:sp>
        <p:nvSpPr>
          <p:cNvPr id="102" name="TextBox 101">
            <a:extLst>
              <a:ext uri="{FF2B5EF4-FFF2-40B4-BE49-F238E27FC236}">
                <a16:creationId xmlns:a16="http://schemas.microsoft.com/office/drawing/2014/main" id="{644905F6-7E94-4892-98AF-F4B4ADF01DCF}"/>
              </a:ext>
            </a:extLst>
          </p:cNvPr>
          <p:cNvSpPr txBox="1"/>
          <p:nvPr/>
        </p:nvSpPr>
        <p:spPr>
          <a:xfrm>
            <a:off x="3400424" y="2403219"/>
            <a:ext cx="716868" cy="414729"/>
          </a:xfrm>
          <a:prstGeom prst="rect">
            <a:avLst/>
          </a:prstGeom>
          <a:noFill/>
        </p:spPr>
        <p:txBody>
          <a:bodyPr wrap="square" rtlCol="0">
            <a:spAutoFit/>
          </a:bodyPr>
          <a:lstStyle/>
          <a:p>
            <a:pPr algn="ctr">
              <a:lnSpc>
                <a:spcPts val="1320"/>
              </a:lnSpc>
            </a:pPr>
            <a:r>
              <a:rPr lang="es-ES" sz="1050" b="1" dirty="0">
                <a:solidFill>
                  <a:schemeClr val="bg1">
                    <a:lumMod val="50000"/>
                  </a:schemeClr>
                </a:solidFill>
                <a:latin typeface="Arial" panose="020B0604020202020204" pitchFamily="34" charset="0"/>
                <a:cs typeface="Arial" panose="020B0604020202020204" pitchFamily="34" charset="0"/>
              </a:rPr>
              <a:t>SEP</a:t>
            </a:r>
            <a:r>
              <a:rPr lang="en-GR" sz="1050" b="1" dirty="0">
                <a:solidFill>
                  <a:schemeClr val="bg1">
                    <a:lumMod val="50000"/>
                  </a:schemeClr>
                </a:solidFill>
                <a:latin typeface="Arial" panose="020B0604020202020204" pitchFamily="34" charset="0"/>
                <a:cs typeface="Arial" panose="020B0604020202020204" pitchFamily="34" charset="0"/>
              </a:rPr>
              <a:t> </a:t>
            </a:r>
            <a:r>
              <a:rPr lang="es-ES" sz="1050" b="1" dirty="0">
                <a:solidFill>
                  <a:schemeClr val="bg1">
                    <a:lumMod val="50000"/>
                  </a:schemeClr>
                </a:solidFill>
                <a:latin typeface="Arial" panose="020B0604020202020204" pitchFamily="34" charset="0"/>
                <a:cs typeface="Arial" panose="020B0604020202020204" pitchFamily="34" charset="0"/>
              </a:rPr>
              <a:t>2022</a:t>
            </a:r>
            <a:endParaRPr lang="en-GR" sz="1050" b="1" dirty="0">
              <a:solidFill>
                <a:schemeClr val="bg1">
                  <a:lumMod val="50000"/>
                </a:schemeClr>
              </a:solidFill>
              <a:latin typeface="Arial" panose="020B0604020202020204" pitchFamily="34" charset="0"/>
              <a:cs typeface="Arial" panose="020B0604020202020204" pitchFamily="34" charset="0"/>
            </a:endParaRPr>
          </a:p>
        </p:txBody>
      </p:sp>
      <p:sp>
        <p:nvSpPr>
          <p:cNvPr id="179" name="Rechteck 125">
            <a:extLst>
              <a:ext uri="{FF2B5EF4-FFF2-40B4-BE49-F238E27FC236}">
                <a16:creationId xmlns:a16="http://schemas.microsoft.com/office/drawing/2014/main" id="{EB97BE7E-8E22-47F6-AB45-EFBECF280797}"/>
              </a:ext>
            </a:extLst>
          </p:cNvPr>
          <p:cNvSpPr/>
          <p:nvPr/>
        </p:nvSpPr>
        <p:spPr bwMode="gray">
          <a:xfrm>
            <a:off x="2887623" y="3700710"/>
            <a:ext cx="1809798" cy="278385"/>
          </a:xfrm>
          <a:prstGeom prst="rect">
            <a:avLst/>
          </a:prstGeom>
        </p:spPr>
        <p:style>
          <a:lnRef idx="0">
            <a:scrgbClr r="0" g="0" b="0"/>
          </a:lnRef>
          <a:fillRef idx="0">
            <a:scrgbClr r="0" g="0" b="0"/>
          </a:fillRef>
          <a:effectRef idx="0">
            <a:scrgbClr r="0" g="0" b="0"/>
          </a:effectRef>
          <a:fontRef idx="major"/>
        </p:style>
        <p:txBody>
          <a:bodyPr wrap="square" lIns="72000" tIns="46800" rIns="72000">
            <a:no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defTabSz="801608"/>
            <a:r>
              <a:rPr lang="en-US" sz="1000" b="1" dirty="0">
                <a:solidFill>
                  <a:srgbClr val="14438E"/>
                </a:solidFill>
                <a:latin typeface="Arial" panose="020B0604020202020204" pitchFamily="34" charset="0"/>
                <a:cs typeface="Arial" panose="020B0604020202020204" pitchFamily="34" charset="0"/>
              </a:rPr>
              <a:t>Distribution benchmarking questionnaire and 3</a:t>
            </a:r>
            <a:r>
              <a:rPr lang="en-US" sz="1000" b="1" baseline="30000" dirty="0">
                <a:solidFill>
                  <a:srgbClr val="14438E"/>
                </a:solidFill>
                <a:latin typeface="Arial" panose="020B0604020202020204" pitchFamily="34" charset="0"/>
                <a:cs typeface="Arial" panose="020B0604020202020204" pitchFamily="34" charset="0"/>
              </a:rPr>
              <a:t>rd</a:t>
            </a:r>
            <a:r>
              <a:rPr lang="en-US" sz="1000" b="1" dirty="0">
                <a:solidFill>
                  <a:srgbClr val="14438E"/>
                </a:solidFill>
                <a:latin typeface="Arial" panose="020B0604020202020204" pitchFamily="34" charset="0"/>
                <a:cs typeface="Arial" panose="020B0604020202020204" pitchFamily="34" charset="0"/>
              </a:rPr>
              <a:t> WG meeting</a:t>
            </a:r>
          </a:p>
        </p:txBody>
      </p:sp>
      <p:grpSp>
        <p:nvGrpSpPr>
          <p:cNvPr id="181" name="Group 180">
            <a:extLst>
              <a:ext uri="{FF2B5EF4-FFF2-40B4-BE49-F238E27FC236}">
                <a16:creationId xmlns:a16="http://schemas.microsoft.com/office/drawing/2014/main" id="{C4587833-2AA4-40A9-B961-2F75C27901E8}"/>
              </a:ext>
            </a:extLst>
          </p:cNvPr>
          <p:cNvGrpSpPr/>
          <p:nvPr/>
        </p:nvGrpSpPr>
        <p:grpSpPr>
          <a:xfrm>
            <a:off x="3464539" y="2875036"/>
            <a:ext cx="588638" cy="847817"/>
            <a:chOff x="588631" y="1254514"/>
            <a:chExt cx="588638" cy="847817"/>
          </a:xfrm>
        </p:grpSpPr>
        <p:grpSp>
          <p:nvGrpSpPr>
            <p:cNvPr id="182" name="Group 181">
              <a:extLst>
                <a:ext uri="{FF2B5EF4-FFF2-40B4-BE49-F238E27FC236}">
                  <a16:creationId xmlns:a16="http://schemas.microsoft.com/office/drawing/2014/main" id="{501910BF-C9AA-4048-8922-95E0E80CAE61}"/>
                </a:ext>
              </a:extLst>
            </p:cNvPr>
            <p:cNvGrpSpPr/>
            <p:nvPr/>
          </p:nvGrpSpPr>
          <p:grpSpPr>
            <a:xfrm>
              <a:off x="588631" y="1254514"/>
              <a:ext cx="588638" cy="847817"/>
              <a:chOff x="770679" y="1410161"/>
              <a:chExt cx="588638" cy="847817"/>
            </a:xfrm>
          </p:grpSpPr>
          <p:sp>
            <p:nvSpPr>
              <p:cNvPr id="190" name="Oval 11">
                <a:extLst>
                  <a:ext uri="{FF2B5EF4-FFF2-40B4-BE49-F238E27FC236}">
                    <a16:creationId xmlns:a16="http://schemas.microsoft.com/office/drawing/2014/main" id="{685ED13C-2F3D-428C-AD64-2518C72832B1}"/>
                  </a:ext>
                </a:extLst>
              </p:cNvPr>
              <p:cNvSpPr>
                <a:spLocks noChangeArrowheads="1"/>
              </p:cNvSpPr>
              <p:nvPr/>
            </p:nvSpPr>
            <p:spPr bwMode="auto">
              <a:xfrm>
                <a:off x="1009730" y="1410161"/>
                <a:ext cx="110536" cy="109204"/>
              </a:xfrm>
              <a:prstGeom prst="ellipse">
                <a:avLst/>
              </a:prstGeom>
              <a:noFill/>
              <a:ln w="53975" cap="flat">
                <a:solidFill>
                  <a:schemeClr val="tx2"/>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sp>
            <p:nvSpPr>
              <p:cNvPr id="192" name="Freeform 6">
                <a:extLst>
                  <a:ext uri="{FF2B5EF4-FFF2-40B4-BE49-F238E27FC236}">
                    <a16:creationId xmlns:a16="http://schemas.microsoft.com/office/drawing/2014/main" id="{17F14EC0-7616-4C0C-B77A-079C0DF7C145}"/>
                  </a:ext>
                </a:extLst>
              </p:cNvPr>
              <p:cNvSpPr>
                <a:spLocks/>
              </p:cNvSpPr>
              <p:nvPr/>
            </p:nvSpPr>
            <p:spPr bwMode="auto">
              <a:xfrm rot="10800000">
                <a:off x="770679" y="1580778"/>
                <a:ext cx="588638" cy="677200"/>
              </a:xfrm>
              <a:custGeom>
                <a:avLst/>
                <a:gdLst>
                  <a:gd name="T0" fmla="*/ 369 w 369"/>
                  <a:gd name="T1" fmla="*/ 184 h 424"/>
                  <a:gd name="T2" fmla="*/ 184 w 369"/>
                  <a:gd name="T3" fmla="*/ 0 h 424"/>
                  <a:gd name="T4" fmla="*/ 0 w 369"/>
                  <a:gd name="T5" fmla="*/ 184 h 424"/>
                  <a:gd name="T6" fmla="*/ 151 w 369"/>
                  <a:gd name="T7" fmla="*/ 366 h 424"/>
                  <a:gd name="T8" fmla="*/ 184 w 369"/>
                  <a:gd name="T9" fmla="*/ 424 h 424"/>
                  <a:gd name="T10" fmla="*/ 218 w 369"/>
                  <a:gd name="T11" fmla="*/ 366 h 424"/>
                  <a:gd name="T12" fmla="*/ 369 w 369"/>
                  <a:gd name="T13" fmla="*/ 184 h 424"/>
                </a:gdLst>
                <a:ahLst/>
                <a:cxnLst>
                  <a:cxn ang="0">
                    <a:pos x="T0" y="T1"/>
                  </a:cxn>
                  <a:cxn ang="0">
                    <a:pos x="T2" y="T3"/>
                  </a:cxn>
                  <a:cxn ang="0">
                    <a:pos x="T4" y="T5"/>
                  </a:cxn>
                  <a:cxn ang="0">
                    <a:pos x="T6" y="T7"/>
                  </a:cxn>
                  <a:cxn ang="0">
                    <a:pos x="T8" y="T9"/>
                  </a:cxn>
                  <a:cxn ang="0">
                    <a:pos x="T10" y="T11"/>
                  </a:cxn>
                  <a:cxn ang="0">
                    <a:pos x="T12" y="T13"/>
                  </a:cxn>
                </a:cxnLst>
                <a:rect l="0" t="0" r="r" b="b"/>
                <a:pathLst>
                  <a:path w="369" h="424">
                    <a:moveTo>
                      <a:pt x="369" y="184"/>
                    </a:moveTo>
                    <a:cubicBezTo>
                      <a:pt x="369" y="82"/>
                      <a:pt x="286" y="0"/>
                      <a:pt x="184" y="0"/>
                    </a:cubicBezTo>
                    <a:cubicBezTo>
                      <a:pt x="82" y="0"/>
                      <a:pt x="0" y="82"/>
                      <a:pt x="0" y="184"/>
                    </a:cubicBezTo>
                    <a:cubicBezTo>
                      <a:pt x="0" y="275"/>
                      <a:pt x="65" y="350"/>
                      <a:pt x="151" y="366"/>
                    </a:cubicBezTo>
                    <a:cubicBezTo>
                      <a:pt x="184" y="424"/>
                      <a:pt x="184" y="424"/>
                      <a:pt x="184" y="424"/>
                    </a:cubicBezTo>
                    <a:cubicBezTo>
                      <a:pt x="218" y="366"/>
                      <a:pt x="218" y="366"/>
                      <a:pt x="218" y="366"/>
                    </a:cubicBezTo>
                    <a:cubicBezTo>
                      <a:pt x="304" y="350"/>
                      <a:pt x="369" y="275"/>
                      <a:pt x="369" y="184"/>
                    </a:cubicBezTo>
                    <a:close/>
                  </a:path>
                </a:pathLst>
              </a:custGeom>
              <a:solidFill>
                <a:srgbClr val="024DA1"/>
              </a:solidFill>
              <a:ln>
                <a:solidFill>
                  <a:schemeClr val="tx2"/>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grpSp>
          <p:nvGrpSpPr>
            <p:cNvPr id="183" name="Google Shape;2456;p54">
              <a:extLst>
                <a:ext uri="{FF2B5EF4-FFF2-40B4-BE49-F238E27FC236}">
                  <a16:creationId xmlns:a16="http://schemas.microsoft.com/office/drawing/2014/main" id="{3E0D2FE5-095D-4F3F-A019-C6102E8F160B}"/>
                </a:ext>
              </a:extLst>
            </p:cNvPr>
            <p:cNvGrpSpPr/>
            <p:nvPr/>
          </p:nvGrpSpPr>
          <p:grpSpPr>
            <a:xfrm>
              <a:off x="746801" y="1767435"/>
              <a:ext cx="251146" cy="121326"/>
              <a:chOff x="5797995" y="3528367"/>
              <a:chExt cx="302075" cy="145929"/>
            </a:xfrm>
            <a:solidFill>
              <a:schemeClr val="tx1">
                <a:lumMod val="65000"/>
                <a:lumOff val="35000"/>
              </a:schemeClr>
            </a:solidFill>
          </p:grpSpPr>
          <p:sp>
            <p:nvSpPr>
              <p:cNvPr id="184" name="Google Shape;2457;p54">
                <a:extLst>
                  <a:ext uri="{FF2B5EF4-FFF2-40B4-BE49-F238E27FC236}">
                    <a16:creationId xmlns:a16="http://schemas.microsoft.com/office/drawing/2014/main" id="{C800B47F-0A5C-43E4-821C-71B7E217C849}"/>
                  </a:ext>
                </a:extLst>
              </p:cNvPr>
              <p:cNvSpPr/>
              <p:nvPr/>
            </p:nvSpPr>
            <p:spPr>
              <a:xfrm>
                <a:off x="5890104" y="3642055"/>
                <a:ext cx="10248" cy="32241"/>
              </a:xfrm>
              <a:custGeom>
                <a:avLst/>
                <a:gdLst/>
                <a:ahLst/>
                <a:cxnLst/>
                <a:rect l="l" t="t" r="r" b="b"/>
                <a:pathLst>
                  <a:path w="322" h="1013" extrusionOk="0">
                    <a:moveTo>
                      <a:pt x="167" y="1"/>
                    </a:moveTo>
                    <a:cubicBezTo>
                      <a:pt x="71" y="1"/>
                      <a:pt x="0" y="72"/>
                      <a:pt x="0" y="155"/>
                    </a:cubicBezTo>
                    <a:lnTo>
                      <a:pt x="0" y="846"/>
                    </a:lnTo>
                    <a:cubicBezTo>
                      <a:pt x="0" y="929"/>
                      <a:pt x="71" y="1013"/>
                      <a:pt x="167" y="1013"/>
                    </a:cubicBezTo>
                    <a:cubicBezTo>
                      <a:pt x="250" y="1013"/>
                      <a:pt x="321" y="929"/>
                      <a:pt x="321" y="846"/>
                    </a:cubicBezTo>
                    <a:lnTo>
                      <a:pt x="321" y="143"/>
                    </a:lnTo>
                    <a:cubicBezTo>
                      <a:pt x="321" y="60"/>
                      <a:pt x="250" y="1"/>
                      <a:pt x="167" y="1"/>
                    </a:cubicBezTo>
                    <a:close/>
                  </a:path>
                </a:pathLst>
              </a:custGeom>
              <a:grpFill/>
              <a:ln>
                <a:solidFill>
                  <a:schemeClr val="tx2"/>
                </a:solidFill>
              </a:ln>
            </p:spPr>
            <p:txBody>
              <a:bodyPr spcFirstLastPara="1" wrap="square" lIns="91425" tIns="91425" rIns="91425" bIns="91425" anchor="ctr" anchorCtr="0">
                <a:noAutofit/>
              </a:bodyPr>
              <a:lstStyle/>
              <a:p>
                <a:endParaRPr/>
              </a:p>
            </p:txBody>
          </p:sp>
          <p:sp>
            <p:nvSpPr>
              <p:cNvPr id="185" name="Google Shape;2458;p54">
                <a:extLst>
                  <a:ext uri="{FF2B5EF4-FFF2-40B4-BE49-F238E27FC236}">
                    <a16:creationId xmlns:a16="http://schemas.microsoft.com/office/drawing/2014/main" id="{A9D5591B-7714-4AAA-828E-3E2708C2E0D0}"/>
                  </a:ext>
                </a:extLst>
              </p:cNvPr>
              <p:cNvSpPr/>
              <p:nvPr/>
            </p:nvSpPr>
            <p:spPr>
              <a:xfrm>
                <a:off x="5998094" y="3642055"/>
                <a:ext cx="10248" cy="32241"/>
              </a:xfrm>
              <a:custGeom>
                <a:avLst/>
                <a:gdLst/>
                <a:ahLst/>
                <a:cxnLst/>
                <a:rect l="l" t="t" r="r" b="b"/>
                <a:pathLst>
                  <a:path w="322" h="1013" extrusionOk="0">
                    <a:moveTo>
                      <a:pt x="167" y="1"/>
                    </a:moveTo>
                    <a:cubicBezTo>
                      <a:pt x="72" y="1"/>
                      <a:pt x="0" y="72"/>
                      <a:pt x="0" y="155"/>
                    </a:cubicBezTo>
                    <a:lnTo>
                      <a:pt x="0" y="846"/>
                    </a:lnTo>
                    <a:cubicBezTo>
                      <a:pt x="0" y="929"/>
                      <a:pt x="72" y="1013"/>
                      <a:pt x="167" y="1013"/>
                    </a:cubicBezTo>
                    <a:cubicBezTo>
                      <a:pt x="250" y="1013"/>
                      <a:pt x="322" y="929"/>
                      <a:pt x="322" y="846"/>
                    </a:cubicBezTo>
                    <a:lnTo>
                      <a:pt x="322" y="143"/>
                    </a:lnTo>
                    <a:cubicBezTo>
                      <a:pt x="310" y="60"/>
                      <a:pt x="250" y="1"/>
                      <a:pt x="167" y="1"/>
                    </a:cubicBezTo>
                    <a:close/>
                  </a:path>
                </a:pathLst>
              </a:custGeom>
              <a:grpFill/>
              <a:ln>
                <a:solidFill>
                  <a:schemeClr val="tx2"/>
                </a:solidFill>
              </a:ln>
            </p:spPr>
            <p:txBody>
              <a:bodyPr spcFirstLastPara="1" wrap="square" lIns="91425" tIns="91425" rIns="91425" bIns="91425" anchor="ctr" anchorCtr="0">
                <a:noAutofit/>
              </a:bodyPr>
              <a:lstStyle/>
              <a:p>
                <a:endParaRPr/>
              </a:p>
            </p:txBody>
          </p:sp>
          <p:sp>
            <p:nvSpPr>
              <p:cNvPr id="186" name="Google Shape;2459;p54">
                <a:extLst>
                  <a:ext uri="{FF2B5EF4-FFF2-40B4-BE49-F238E27FC236}">
                    <a16:creationId xmlns:a16="http://schemas.microsoft.com/office/drawing/2014/main" id="{4CEF6622-2A8A-43FF-8FF7-92CDB8EAC736}"/>
                  </a:ext>
                </a:extLst>
              </p:cNvPr>
              <p:cNvSpPr/>
              <p:nvPr/>
            </p:nvSpPr>
            <p:spPr>
              <a:xfrm>
                <a:off x="5814673" y="3528367"/>
                <a:ext cx="43222" cy="15564"/>
              </a:xfrm>
              <a:custGeom>
                <a:avLst/>
                <a:gdLst/>
                <a:ahLst/>
                <a:cxnLst/>
                <a:rect l="l" t="t" r="r" b="b"/>
                <a:pathLst>
                  <a:path w="1358" h="489" extrusionOk="0">
                    <a:moveTo>
                      <a:pt x="167" y="1"/>
                    </a:moveTo>
                    <a:cubicBezTo>
                      <a:pt x="72" y="1"/>
                      <a:pt x="1" y="72"/>
                      <a:pt x="1" y="156"/>
                    </a:cubicBezTo>
                    <a:cubicBezTo>
                      <a:pt x="1" y="251"/>
                      <a:pt x="72" y="322"/>
                      <a:pt x="167" y="322"/>
                    </a:cubicBezTo>
                    <a:cubicBezTo>
                      <a:pt x="346" y="322"/>
                      <a:pt x="870" y="358"/>
                      <a:pt x="1120" y="477"/>
                    </a:cubicBezTo>
                    <a:cubicBezTo>
                      <a:pt x="1144" y="489"/>
                      <a:pt x="1167" y="489"/>
                      <a:pt x="1191" y="489"/>
                    </a:cubicBezTo>
                    <a:cubicBezTo>
                      <a:pt x="1251" y="489"/>
                      <a:pt x="1310" y="453"/>
                      <a:pt x="1346" y="394"/>
                    </a:cubicBezTo>
                    <a:cubicBezTo>
                      <a:pt x="1358" y="322"/>
                      <a:pt x="1322" y="239"/>
                      <a:pt x="1251" y="191"/>
                    </a:cubicBezTo>
                    <a:cubicBezTo>
                      <a:pt x="882" y="13"/>
                      <a:pt x="191" y="1"/>
                      <a:pt x="167" y="1"/>
                    </a:cubicBezTo>
                    <a:close/>
                  </a:path>
                </a:pathLst>
              </a:custGeom>
              <a:grpFill/>
              <a:ln>
                <a:solidFill>
                  <a:schemeClr val="tx2"/>
                </a:solidFill>
              </a:ln>
            </p:spPr>
            <p:txBody>
              <a:bodyPr spcFirstLastPara="1" wrap="square" lIns="91425" tIns="91425" rIns="91425" bIns="91425" anchor="ctr" anchorCtr="0">
                <a:noAutofit/>
              </a:bodyPr>
              <a:lstStyle/>
              <a:p>
                <a:endParaRPr/>
              </a:p>
            </p:txBody>
          </p:sp>
          <p:sp>
            <p:nvSpPr>
              <p:cNvPr id="187" name="Google Shape;2460;p54">
                <a:extLst>
                  <a:ext uri="{FF2B5EF4-FFF2-40B4-BE49-F238E27FC236}">
                    <a16:creationId xmlns:a16="http://schemas.microsoft.com/office/drawing/2014/main" id="{4A170A19-7DD5-4C48-89BB-9376563FCC8F}"/>
                  </a:ext>
                </a:extLst>
              </p:cNvPr>
              <p:cNvSpPr/>
              <p:nvPr/>
            </p:nvSpPr>
            <p:spPr>
              <a:xfrm>
                <a:off x="5797995" y="3631074"/>
                <a:ext cx="10662" cy="42458"/>
              </a:xfrm>
              <a:custGeom>
                <a:avLst/>
                <a:gdLst/>
                <a:ahLst/>
                <a:cxnLst/>
                <a:rect l="l" t="t" r="r" b="b"/>
                <a:pathLst>
                  <a:path w="335" h="1334" extrusionOk="0">
                    <a:moveTo>
                      <a:pt x="167" y="0"/>
                    </a:moveTo>
                    <a:cubicBezTo>
                      <a:pt x="84" y="0"/>
                      <a:pt x="1" y="72"/>
                      <a:pt x="1" y="167"/>
                    </a:cubicBezTo>
                    <a:lnTo>
                      <a:pt x="1" y="1179"/>
                    </a:lnTo>
                    <a:cubicBezTo>
                      <a:pt x="1" y="1262"/>
                      <a:pt x="84" y="1334"/>
                      <a:pt x="167" y="1334"/>
                    </a:cubicBezTo>
                    <a:cubicBezTo>
                      <a:pt x="251" y="1334"/>
                      <a:pt x="334" y="1262"/>
                      <a:pt x="334" y="1179"/>
                    </a:cubicBezTo>
                    <a:lnTo>
                      <a:pt x="334" y="167"/>
                    </a:lnTo>
                    <a:cubicBezTo>
                      <a:pt x="334" y="72"/>
                      <a:pt x="263" y="0"/>
                      <a:pt x="167" y="0"/>
                    </a:cubicBezTo>
                    <a:close/>
                  </a:path>
                </a:pathLst>
              </a:custGeom>
              <a:grpFill/>
              <a:ln>
                <a:solidFill>
                  <a:schemeClr val="tx2"/>
                </a:solidFill>
              </a:ln>
            </p:spPr>
            <p:txBody>
              <a:bodyPr spcFirstLastPara="1" wrap="square" lIns="91425" tIns="91425" rIns="91425" bIns="91425" anchor="ctr" anchorCtr="0">
                <a:noAutofit/>
              </a:bodyPr>
              <a:lstStyle/>
              <a:p>
                <a:endParaRPr/>
              </a:p>
            </p:txBody>
          </p:sp>
          <p:sp>
            <p:nvSpPr>
              <p:cNvPr id="189" name="Google Shape;2462;p54">
                <a:extLst>
                  <a:ext uri="{FF2B5EF4-FFF2-40B4-BE49-F238E27FC236}">
                    <a16:creationId xmlns:a16="http://schemas.microsoft.com/office/drawing/2014/main" id="{5659EE6C-9F38-45AA-84AC-3579989C1F60}"/>
                  </a:ext>
                </a:extLst>
              </p:cNvPr>
              <p:cNvSpPr/>
              <p:nvPr/>
            </p:nvSpPr>
            <p:spPr>
              <a:xfrm>
                <a:off x="6089408" y="3637503"/>
                <a:ext cx="10662" cy="36029"/>
              </a:xfrm>
              <a:custGeom>
                <a:avLst/>
                <a:gdLst/>
                <a:ahLst/>
                <a:cxnLst/>
                <a:rect l="l" t="t" r="r" b="b"/>
                <a:pathLst>
                  <a:path w="335" h="1132" extrusionOk="0">
                    <a:moveTo>
                      <a:pt x="167" y="1"/>
                    </a:moveTo>
                    <a:cubicBezTo>
                      <a:pt x="72" y="1"/>
                      <a:pt x="1" y="84"/>
                      <a:pt x="1" y="167"/>
                    </a:cubicBezTo>
                    <a:lnTo>
                      <a:pt x="1" y="977"/>
                    </a:lnTo>
                    <a:cubicBezTo>
                      <a:pt x="1" y="1060"/>
                      <a:pt x="72" y="1132"/>
                      <a:pt x="167" y="1132"/>
                    </a:cubicBezTo>
                    <a:cubicBezTo>
                      <a:pt x="251" y="1132"/>
                      <a:pt x="322" y="1060"/>
                      <a:pt x="322" y="977"/>
                    </a:cubicBezTo>
                    <a:lnTo>
                      <a:pt x="322" y="167"/>
                    </a:lnTo>
                    <a:cubicBezTo>
                      <a:pt x="334" y="84"/>
                      <a:pt x="251" y="1"/>
                      <a:pt x="167" y="1"/>
                    </a:cubicBezTo>
                    <a:close/>
                  </a:path>
                </a:pathLst>
              </a:custGeom>
              <a:grpFill/>
              <a:ln>
                <a:solidFill>
                  <a:schemeClr val="tx2"/>
                </a:solidFill>
              </a:ln>
            </p:spPr>
            <p:txBody>
              <a:bodyPr spcFirstLastPara="1" wrap="square" lIns="91425" tIns="91425" rIns="91425" bIns="91425" anchor="ctr" anchorCtr="0">
                <a:noAutofit/>
              </a:bodyPr>
              <a:lstStyle/>
              <a:p>
                <a:endParaRPr/>
              </a:p>
            </p:txBody>
          </p:sp>
        </p:grpSp>
      </p:grpSp>
      <p:sp>
        <p:nvSpPr>
          <p:cNvPr id="204" name="Diamond 203">
            <a:extLst>
              <a:ext uri="{FF2B5EF4-FFF2-40B4-BE49-F238E27FC236}">
                <a16:creationId xmlns:a16="http://schemas.microsoft.com/office/drawing/2014/main" id="{721BB064-166E-4D7B-B6B8-EC1D2BEC3F1B}"/>
              </a:ext>
            </a:extLst>
          </p:cNvPr>
          <p:cNvSpPr/>
          <p:nvPr/>
        </p:nvSpPr>
        <p:spPr>
          <a:xfrm>
            <a:off x="8645561" y="2483920"/>
            <a:ext cx="220153" cy="219986"/>
          </a:xfrm>
          <a:prstGeom prst="diamond">
            <a:avLst/>
          </a:prstGeom>
          <a:solidFill>
            <a:schemeClr val="accent5">
              <a:lumMod val="7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dirty="0">
              <a:latin typeface="Arial" panose="020B0604020202020204" pitchFamily="34" charset="0"/>
              <a:cs typeface="Arial" panose="020B0604020202020204" pitchFamily="34" charset="0"/>
            </a:endParaRPr>
          </a:p>
        </p:txBody>
      </p:sp>
      <p:sp>
        <p:nvSpPr>
          <p:cNvPr id="205" name="Rectangle: Rounded Corners 204">
            <a:extLst>
              <a:ext uri="{FF2B5EF4-FFF2-40B4-BE49-F238E27FC236}">
                <a16:creationId xmlns:a16="http://schemas.microsoft.com/office/drawing/2014/main" id="{00DC50EB-8F7F-4495-B80A-0B517CB9C8AD}"/>
              </a:ext>
            </a:extLst>
          </p:cNvPr>
          <p:cNvSpPr/>
          <p:nvPr/>
        </p:nvSpPr>
        <p:spPr>
          <a:xfrm>
            <a:off x="7541968" y="1453210"/>
            <a:ext cx="1283377" cy="733585"/>
          </a:xfrm>
          <a:prstGeom prst="roundRect">
            <a:avLst/>
          </a:prstGeom>
          <a:solidFill>
            <a:srgbClr val="31859C"/>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000" b="1" dirty="0">
                <a:latin typeface="Arial" panose="020B0604020202020204" pitchFamily="34" charset="0"/>
                <a:cs typeface="Arial" panose="020B0604020202020204" pitchFamily="34" charset="0"/>
              </a:rPr>
              <a:t>NOV 2023 </a:t>
            </a:r>
          </a:p>
          <a:p>
            <a:pPr algn="ctr"/>
            <a:r>
              <a:rPr lang="en-GB" sz="1000" b="1" dirty="0">
                <a:latin typeface="Arial" panose="020B0604020202020204" pitchFamily="34" charset="0"/>
                <a:cs typeface="Arial" panose="020B0604020202020204" pitchFamily="34" charset="0"/>
              </a:rPr>
              <a:t>Beginning of the implementation phase</a:t>
            </a:r>
          </a:p>
        </p:txBody>
      </p:sp>
      <p:sp>
        <p:nvSpPr>
          <p:cNvPr id="207" name="Rechteck 125">
            <a:extLst>
              <a:ext uri="{FF2B5EF4-FFF2-40B4-BE49-F238E27FC236}">
                <a16:creationId xmlns:a16="http://schemas.microsoft.com/office/drawing/2014/main" id="{E78EAC45-EDD9-43BA-924A-1C0D98AE7D99}"/>
              </a:ext>
            </a:extLst>
          </p:cNvPr>
          <p:cNvSpPr/>
          <p:nvPr/>
        </p:nvSpPr>
        <p:spPr bwMode="gray">
          <a:xfrm>
            <a:off x="1099550" y="4231932"/>
            <a:ext cx="3308740" cy="278386"/>
          </a:xfrm>
          <a:prstGeom prst="rect">
            <a:avLst/>
          </a:prstGeom>
        </p:spPr>
        <p:style>
          <a:lnRef idx="0">
            <a:scrgbClr r="0" g="0" b="0"/>
          </a:lnRef>
          <a:fillRef idx="0">
            <a:scrgbClr r="0" g="0" b="0"/>
          </a:fillRef>
          <a:effectRef idx="0">
            <a:scrgbClr r="0" g="0" b="0"/>
          </a:effectRef>
          <a:fontRef idx="major"/>
        </p:style>
        <p:txBody>
          <a:bodyPr wrap="square" lIns="72000" tIns="46800" rIns="72000">
            <a:no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just" defTabSz="801608"/>
            <a:r>
              <a:rPr lang="en-US" sz="1000" b="1" dirty="0">
                <a:solidFill>
                  <a:schemeClr val="bg1">
                    <a:lumMod val="50000"/>
                  </a:schemeClr>
                </a:solidFill>
                <a:latin typeface="Arial" panose="020B0604020202020204" pitchFamily="34" charset="0"/>
                <a:cs typeface="Arial" panose="020B0604020202020204" pitchFamily="34" charset="0"/>
              </a:rPr>
              <a:t>Public consultations where feedback was gathered</a:t>
            </a:r>
          </a:p>
          <a:p>
            <a:pPr algn="just" defTabSz="801608"/>
            <a:endParaRPr lang="en-US" sz="1000" b="1" dirty="0">
              <a:solidFill>
                <a:schemeClr val="bg1">
                  <a:lumMod val="50000"/>
                </a:schemeClr>
              </a:solidFill>
              <a:latin typeface="Arial" panose="020B0604020202020204" pitchFamily="34" charset="0"/>
              <a:cs typeface="Arial" panose="020B0604020202020204" pitchFamily="34" charset="0"/>
            </a:endParaRPr>
          </a:p>
          <a:p>
            <a:pPr algn="just" defTabSz="801608"/>
            <a:endParaRPr lang="en-US" sz="1000" b="1" dirty="0">
              <a:solidFill>
                <a:schemeClr val="bg1">
                  <a:lumMod val="50000"/>
                </a:schemeClr>
              </a:solidFill>
              <a:latin typeface="Arial" panose="020B0604020202020204" pitchFamily="34" charset="0"/>
              <a:cs typeface="Arial" panose="020B0604020202020204" pitchFamily="34" charset="0"/>
            </a:endParaRPr>
          </a:p>
        </p:txBody>
      </p:sp>
      <p:sp>
        <p:nvSpPr>
          <p:cNvPr id="208" name="Rechteck 125">
            <a:extLst>
              <a:ext uri="{FF2B5EF4-FFF2-40B4-BE49-F238E27FC236}">
                <a16:creationId xmlns:a16="http://schemas.microsoft.com/office/drawing/2014/main" id="{E6AAAFF0-9754-4DCE-9A3C-D0B57DDE6AD8}"/>
              </a:ext>
            </a:extLst>
          </p:cNvPr>
          <p:cNvSpPr/>
          <p:nvPr/>
        </p:nvSpPr>
        <p:spPr bwMode="gray">
          <a:xfrm>
            <a:off x="1128966" y="4476554"/>
            <a:ext cx="3308740" cy="391574"/>
          </a:xfrm>
          <a:prstGeom prst="rect">
            <a:avLst/>
          </a:prstGeom>
        </p:spPr>
        <p:style>
          <a:lnRef idx="0">
            <a:scrgbClr r="0" g="0" b="0"/>
          </a:lnRef>
          <a:fillRef idx="0">
            <a:scrgbClr r="0" g="0" b="0"/>
          </a:fillRef>
          <a:effectRef idx="0">
            <a:scrgbClr r="0" g="0" b="0"/>
          </a:effectRef>
          <a:fontRef idx="major"/>
        </p:style>
        <p:txBody>
          <a:bodyPr wrap="square" lIns="72000" tIns="46800" rIns="72000" numCol="2">
            <a:no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marL="171450" indent="-171450" algn="just" defTabSz="801608">
              <a:buFont typeface="Arial" panose="020B0604020202020204" pitchFamily="34" charset="0"/>
              <a:buChar char="•"/>
            </a:pPr>
            <a:r>
              <a:rPr lang="en-US" sz="1000" dirty="0">
                <a:solidFill>
                  <a:schemeClr val="bg1">
                    <a:lumMod val="50000"/>
                  </a:schemeClr>
                </a:solidFill>
                <a:latin typeface="Arial" panose="020B0604020202020204" pitchFamily="34" charset="0"/>
                <a:cs typeface="Arial" panose="020B0604020202020204" pitchFamily="34" charset="0"/>
              </a:rPr>
              <a:t>MAY 2022 </a:t>
            </a:r>
          </a:p>
          <a:p>
            <a:pPr marL="171450" indent="-171450" algn="just" defTabSz="801608">
              <a:buFont typeface="Arial" panose="020B0604020202020204" pitchFamily="34" charset="0"/>
              <a:buChar char="•"/>
            </a:pPr>
            <a:r>
              <a:rPr lang="en-US" sz="1000" dirty="0">
                <a:solidFill>
                  <a:schemeClr val="bg1">
                    <a:lumMod val="50000"/>
                  </a:schemeClr>
                </a:solidFill>
                <a:latin typeface="Arial" panose="020B0604020202020204" pitchFamily="34" charset="0"/>
                <a:cs typeface="Arial" panose="020B0604020202020204" pitchFamily="34" charset="0"/>
              </a:rPr>
              <a:t>OCT 2022 </a:t>
            </a:r>
          </a:p>
          <a:p>
            <a:pPr algn="just" defTabSz="801608"/>
            <a:r>
              <a:rPr lang="en-US" sz="1000" dirty="0">
                <a:solidFill>
                  <a:schemeClr val="bg1">
                    <a:lumMod val="50000"/>
                  </a:schemeClr>
                </a:solidFill>
                <a:latin typeface="Arial" panose="020B0604020202020204" pitchFamily="34" charset="0"/>
                <a:cs typeface="Arial" panose="020B0604020202020204" pitchFamily="34" charset="0"/>
              </a:rPr>
              <a:t> </a:t>
            </a:r>
          </a:p>
          <a:p>
            <a:pPr algn="just" defTabSz="801608"/>
            <a:endParaRPr lang="en-US" sz="1000" dirty="0">
              <a:solidFill>
                <a:schemeClr val="bg1">
                  <a:lumMod val="50000"/>
                </a:schemeClr>
              </a:solidFill>
              <a:latin typeface="Arial" panose="020B0604020202020204" pitchFamily="34" charset="0"/>
              <a:cs typeface="Arial" panose="020B0604020202020204" pitchFamily="34" charset="0"/>
            </a:endParaRPr>
          </a:p>
          <a:p>
            <a:pPr marL="171450" indent="-171450" algn="just" defTabSz="801608">
              <a:buFont typeface="Arial" panose="020B0604020202020204" pitchFamily="34" charset="0"/>
              <a:buChar char="•"/>
            </a:pPr>
            <a:r>
              <a:rPr lang="en-US" sz="1000" dirty="0">
                <a:solidFill>
                  <a:schemeClr val="bg1">
                    <a:lumMod val="50000"/>
                  </a:schemeClr>
                </a:solidFill>
                <a:latin typeface="Arial" panose="020B0604020202020204" pitchFamily="34" charset="0"/>
                <a:cs typeface="Arial" panose="020B0604020202020204" pitchFamily="34" charset="0"/>
              </a:rPr>
              <a:t>FEB 2023</a:t>
            </a:r>
          </a:p>
          <a:p>
            <a:pPr marL="171450" indent="-171450" algn="just" defTabSz="801608">
              <a:buFont typeface="Arial" panose="020B0604020202020204" pitchFamily="34" charset="0"/>
              <a:buChar char="•"/>
            </a:pPr>
            <a:r>
              <a:rPr lang="en-US" sz="1000" dirty="0">
                <a:solidFill>
                  <a:schemeClr val="bg1">
                    <a:lumMod val="50000"/>
                  </a:schemeClr>
                </a:solidFill>
                <a:latin typeface="Arial" panose="020B0604020202020204" pitchFamily="34" charset="0"/>
                <a:cs typeface="Arial" panose="020B0604020202020204" pitchFamily="34" charset="0"/>
              </a:rPr>
              <a:t>MAY 2023</a:t>
            </a:r>
          </a:p>
          <a:p>
            <a:pPr algn="just" defTabSz="801608"/>
            <a:endParaRPr lang="en-US" sz="1000" b="1" dirty="0">
              <a:solidFill>
                <a:schemeClr val="bg1">
                  <a:lumMod val="50000"/>
                </a:schemeClr>
              </a:solidFill>
              <a:latin typeface="Arial" panose="020B0604020202020204" pitchFamily="34" charset="0"/>
              <a:cs typeface="Arial" panose="020B0604020202020204" pitchFamily="34" charset="0"/>
            </a:endParaRPr>
          </a:p>
          <a:p>
            <a:pPr algn="just" defTabSz="801608"/>
            <a:endParaRPr lang="en-US" sz="1000" b="1" dirty="0">
              <a:solidFill>
                <a:schemeClr val="bg1">
                  <a:lumMod val="50000"/>
                </a:schemeClr>
              </a:solidFill>
              <a:latin typeface="Arial" panose="020B0604020202020204" pitchFamily="34" charset="0"/>
              <a:cs typeface="Arial" panose="020B0604020202020204" pitchFamily="34" charset="0"/>
            </a:endParaRPr>
          </a:p>
        </p:txBody>
      </p:sp>
      <p:grpSp>
        <p:nvGrpSpPr>
          <p:cNvPr id="271" name="Group 270">
            <a:extLst>
              <a:ext uri="{FF2B5EF4-FFF2-40B4-BE49-F238E27FC236}">
                <a16:creationId xmlns:a16="http://schemas.microsoft.com/office/drawing/2014/main" id="{49002C67-AF7C-4D76-9E28-F75CFDCC4759}"/>
              </a:ext>
            </a:extLst>
          </p:cNvPr>
          <p:cNvGrpSpPr/>
          <p:nvPr/>
        </p:nvGrpSpPr>
        <p:grpSpPr>
          <a:xfrm>
            <a:off x="3552774" y="3230653"/>
            <a:ext cx="414664" cy="413999"/>
            <a:chOff x="674530" y="1584554"/>
            <a:chExt cx="414664" cy="413999"/>
          </a:xfrm>
        </p:grpSpPr>
        <p:sp>
          <p:nvSpPr>
            <p:cNvPr id="283" name="Oval 21">
              <a:extLst>
                <a:ext uri="{FF2B5EF4-FFF2-40B4-BE49-F238E27FC236}">
                  <a16:creationId xmlns:a16="http://schemas.microsoft.com/office/drawing/2014/main" id="{0A4B000A-ECA2-4775-9141-1CDED9F3D5DC}"/>
                </a:ext>
              </a:extLst>
            </p:cNvPr>
            <p:cNvSpPr>
              <a:spLocks noChangeAspect="1" noChangeArrowheads="1"/>
            </p:cNvSpPr>
            <p:nvPr/>
          </p:nvSpPr>
          <p:spPr bwMode="auto">
            <a:xfrm>
              <a:off x="674530" y="1584554"/>
              <a:ext cx="414664" cy="413999"/>
            </a:xfrm>
            <a:prstGeom prst="ellipse">
              <a:avLst/>
            </a:prstGeom>
            <a:solidFill>
              <a:srgbClr val="E7E6E6"/>
            </a:solidFill>
            <a:ln>
              <a:noFill/>
            </a:ln>
            <a:effectLst>
              <a:outerShdw blurRad="127000" dist="63500" dir="2700000" algn="tl" rotWithShape="0">
                <a:prstClr val="black">
                  <a:alpha val="50000"/>
                </a:prstClr>
              </a:outerShd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nvGrpSpPr>
            <p:cNvPr id="273" name="Google Shape;2456;p54">
              <a:extLst>
                <a:ext uri="{FF2B5EF4-FFF2-40B4-BE49-F238E27FC236}">
                  <a16:creationId xmlns:a16="http://schemas.microsoft.com/office/drawing/2014/main" id="{EE452BAB-A3BD-4DE5-B8BC-11B8FA48DE31}"/>
                </a:ext>
              </a:extLst>
            </p:cNvPr>
            <p:cNvGrpSpPr/>
            <p:nvPr/>
          </p:nvGrpSpPr>
          <p:grpSpPr>
            <a:xfrm>
              <a:off x="729170" y="1668834"/>
              <a:ext cx="287980" cy="219921"/>
              <a:chOff x="5776798" y="3409778"/>
              <a:chExt cx="346379" cy="264518"/>
            </a:xfrm>
            <a:solidFill>
              <a:schemeClr val="tx1">
                <a:lumMod val="65000"/>
                <a:lumOff val="35000"/>
              </a:schemeClr>
            </a:solidFill>
          </p:grpSpPr>
          <p:sp>
            <p:nvSpPr>
              <p:cNvPr id="274" name="Google Shape;2457;p54">
                <a:extLst>
                  <a:ext uri="{FF2B5EF4-FFF2-40B4-BE49-F238E27FC236}">
                    <a16:creationId xmlns:a16="http://schemas.microsoft.com/office/drawing/2014/main" id="{19FD51FE-4AC4-4C2F-A864-B667F22B6AEC}"/>
                  </a:ext>
                </a:extLst>
              </p:cNvPr>
              <p:cNvSpPr/>
              <p:nvPr/>
            </p:nvSpPr>
            <p:spPr>
              <a:xfrm>
                <a:off x="5890104" y="3642055"/>
                <a:ext cx="10248" cy="32241"/>
              </a:xfrm>
              <a:custGeom>
                <a:avLst/>
                <a:gdLst/>
                <a:ahLst/>
                <a:cxnLst/>
                <a:rect l="l" t="t" r="r" b="b"/>
                <a:pathLst>
                  <a:path w="322" h="1013" extrusionOk="0">
                    <a:moveTo>
                      <a:pt x="167" y="1"/>
                    </a:moveTo>
                    <a:cubicBezTo>
                      <a:pt x="71" y="1"/>
                      <a:pt x="0" y="72"/>
                      <a:pt x="0" y="155"/>
                    </a:cubicBezTo>
                    <a:lnTo>
                      <a:pt x="0" y="846"/>
                    </a:lnTo>
                    <a:cubicBezTo>
                      <a:pt x="0" y="929"/>
                      <a:pt x="71" y="1013"/>
                      <a:pt x="167" y="1013"/>
                    </a:cubicBezTo>
                    <a:cubicBezTo>
                      <a:pt x="250" y="1013"/>
                      <a:pt x="321" y="929"/>
                      <a:pt x="321" y="846"/>
                    </a:cubicBezTo>
                    <a:lnTo>
                      <a:pt x="321" y="143"/>
                    </a:lnTo>
                    <a:cubicBezTo>
                      <a:pt x="321" y="60"/>
                      <a:pt x="250" y="1"/>
                      <a:pt x="167" y="1"/>
                    </a:cubicBezTo>
                    <a:close/>
                  </a:path>
                </a:pathLst>
              </a:custGeom>
              <a:grpFill/>
              <a:ln>
                <a:noFill/>
              </a:ln>
            </p:spPr>
            <p:txBody>
              <a:bodyPr spcFirstLastPara="1" wrap="square" lIns="91425" tIns="91425" rIns="91425" bIns="91425" anchor="ctr" anchorCtr="0">
                <a:noAutofit/>
              </a:bodyPr>
              <a:lstStyle/>
              <a:p>
                <a:endParaRPr/>
              </a:p>
            </p:txBody>
          </p:sp>
          <p:sp>
            <p:nvSpPr>
              <p:cNvPr id="275" name="Google Shape;2458;p54">
                <a:extLst>
                  <a:ext uri="{FF2B5EF4-FFF2-40B4-BE49-F238E27FC236}">
                    <a16:creationId xmlns:a16="http://schemas.microsoft.com/office/drawing/2014/main" id="{2943F8FF-F4C2-4B8D-9AAE-E9B4DA3C4729}"/>
                  </a:ext>
                </a:extLst>
              </p:cNvPr>
              <p:cNvSpPr/>
              <p:nvPr/>
            </p:nvSpPr>
            <p:spPr>
              <a:xfrm>
                <a:off x="5998094" y="3642055"/>
                <a:ext cx="10248" cy="32241"/>
              </a:xfrm>
              <a:custGeom>
                <a:avLst/>
                <a:gdLst/>
                <a:ahLst/>
                <a:cxnLst/>
                <a:rect l="l" t="t" r="r" b="b"/>
                <a:pathLst>
                  <a:path w="322" h="1013" extrusionOk="0">
                    <a:moveTo>
                      <a:pt x="167" y="1"/>
                    </a:moveTo>
                    <a:cubicBezTo>
                      <a:pt x="72" y="1"/>
                      <a:pt x="0" y="72"/>
                      <a:pt x="0" y="155"/>
                    </a:cubicBezTo>
                    <a:lnTo>
                      <a:pt x="0" y="846"/>
                    </a:lnTo>
                    <a:cubicBezTo>
                      <a:pt x="0" y="929"/>
                      <a:pt x="72" y="1013"/>
                      <a:pt x="167" y="1013"/>
                    </a:cubicBezTo>
                    <a:cubicBezTo>
                      <a:pt x="250" y="1013"/>
                      <a:pt x="322" y="929"/>
                      <a:pt x="322" y="846"/>
                    </a:cubicBezTo>
                    <a:lnTo>
                      <a:pt x="322" y="143"/>
                    </a:lnTo>
                    <a:cubicBezTo>
                      <a:pt x="310" y="60"/>
                      <a:pt x="250" y="1"/>
                      <a:pt x="167" y="1"/>
                    </a:cubicBezTo>
                    <a:close/>
                  </a:path>
                </a:pathLst>
              </a:custGeom>
              <a:grpFill/>
              <a:ln>
                <a:noFill/>
              </a:ln>
            </p:spPr>
            <p:txBody>
              <a:bodyPr spcFirstLastPara="1" wrap="square" lIns="91425" tIns="91425" rIns="91425" bIns="91425" anchor="ctr" anchorCtr="0">
                <a:noAutofit/>
              </a:bodyPr>
              <a:lstStyle/>
              <a:p>
                <a:endParaRPr/>
              </a:p>
            </p:txBody>
          </p:sp>
          <p:sp>
            <p:nvSpPr>
              <p:cNvPr id="276" name="Google Shape;2459;p54">
                <a:extLst>
                  <a:ext uri="{FF2B5EF4-FFF2-40B4-BE49-F238E27FC236}">
                    <a16:creationId xmlns:a16="http://schemas.microsoft.com/office/drawing/2014/main" id="{EE22201C-FE39-4EA5-8B69-803A4D77FD68}"/>
                  </a:ext>
                </a:extLst>
              </p:cNvPr>
              <p:cNvSpPr/>
              <p:nvPr/>
            </p:nvSpPr>
            <p:spPr>
              <a:xfrm>
                <a:off x="5814673" y="3528367"/>
                <a:ext cx="43222" cy="15564"/>
              </a:xfrm>
              <a:custGeom>
                <a:avLst/>
                <a:gdLst/>
                <a:ahLst/>
                <a:cxnLst/>
                <a:rect l="l" t="t" r="r" b="b"/>
                <a:pathLst>
                  <a:path w="1358" h="489" extrusionOk="0">
                    <a:moveTo>
                      <a:pt x="167" y="1"/>
                    </a:moveTo>
                    <a:cubicBezTo>
                      <a:pt x="72" y="1"/>
                      <a:pt x="1" y="72"/>
                      <a:pt x="1" y="156"/>
                    </a:cubicBezTo>
                    <a:cubicBezTo>
                      <a:pt x="1" y="251"/>
                      <a:pt x="72" y="322"/>
                      <a:pt x="167" y="322"/>
                    </a:cubicBezTo>
                    <a:cubicBezTo>
                      <a:pt x="346" y="322"/>
                      <a:pt x="870" y="358"/>
                      <a:pt x="1120" y="477"/>
                    </a:cubicBezTo>
                    <a:cubicBezTo>
                      <a:pt x="1144" y="489"/>
                      <a:pt x="1167" y="489"/>
                      <a:pt x="1191" y="489"/>
                    </a:cubicBezTo>
                    <a:cubicBezTo>
                      <a:pt x="1251" y="489"/>
                      <a:pt x="1310" y="453"/>
                      <a:pt x="1346" y="394"/>
                    </a:cubicBezTo>
                    <a:cubicBezTo>
                      <a:pt x="1358" y="322"/>
                      <a:pt x="1322" y="239"/>
                      <a:pt x="1251" y="191"/>
                    </a:cubicBezTo>
                    <a:cubicBezTo>
                      <a:pt x="882" y="13"/>
                      <a:pt x="191" y="1"/>
                      <a:pt x="167" y="1"/>
                    </a:cubicBezTo>
                    <a:close/>
                  </a:path>
                </a:pathLst>
              </a:custGeom>
              <a:grpFill/>
              <a:ln>
                <a:noFill/>
              </a:ln>
            </p:spPr>
            <p:txBody>
              <a:bodyPr spcFirstLastPara="1" wrap="square" lIns="91425" tIns="91425" rIns="91425" bIns="91425" anchor="ctr" anchorCtr="0">
                <a:noAutofit/>
              </a:bodyPr>
              <a:lstStyle/>
              <a:p>
                <a:endParaRPr/>
              </a:p>
            </p:txBody>
          </p:sp>
          <p:sp>
            <p:nvSpPr>
              <p:cNvPr id="277" name="Google Shape;2460;p54">
                <a:extLst>
                  <a:ext uri="{FF2B5EF4-FFF2-40B4-BE49-F238E27FC236}">
                    <a16:creationId xmlns:a16="http://schemas.microsoft.com/office/drawing/2014/main" id="{03B6B324-7F54-49B9-A80E-7755BCD80F1F}"/>
                  </a:ext>
                </a:extLst>
              </p:cNvPr>
              <p:cNvSpPr/>
              <p:nvPr/>
            </p:nvSpPr>
            <p:spPr>
              <a:xfrm>
                <a:off x="5797995" y="3631074"/>
                <a:ext cx="10662" cy="42458"/>
              </a:xfrm>
              <a:custGeom>
                <a:avLst/>
                <a:gdLst/>
                <a:ahLst/>
                <a:cxnLst/>
                <a:rect l="l" t="t" r="r" b="b"/>
                <a:pathLst>
                  <a:path w="335" h="1334" extrusionOk="0">
                    <a:moveTo>
                      <a:pt x="167" y="0"/>
                    </a:moveTo>
                    <a:cubicBezTo>
                      <a:pt x="84" y="0"/>
                      <a:pt x="1" y="72"/>
                      <a:pt x="1" y="167"/>
                    </a:cubicBezTo>
                    <a:lnTo>
                      <a:pt x="1" y="1179"/>
                    </a:lnTo>
                    <a:cubicBezTo>
                      <a:pt x="1" y="1262"/>
                      <a:pt x="84" y="1334"/>
                      <a:pt x="167" y="1334"/>
                    </a:cubicBezTo>
                    <a:cubicBezTo>
                      <a:pt x="251" y="1334"/>
                      <a:pt x="334" y="1262"/>
                      <a:pt x="334" y="1179"/>
                    </a:cubicBezTo>
                    <a:lnTo>
                      <a:pt x="334" y="167"/>
                    </a:lnTo>
                    <a:cubicBezTo>
                      <a:pt x="334" y="72"/>
                      <a:pt x="263" y="0"/>
                      <a:pt x="167" y="0"/>
                    </a:cubicBezTo>
                    <a:close/>
                  </a:path>
                </a:pathLst>
              </a:custGeom>
              <a:grpFill/>
              <a:ln>
                <a:noFill/>
              </a:ln>
            </p:spPr>
            <p:txBody>
              <a:bodyPr spcFirstLastPara="1" wrap="square" lIns="91425" tIns="91425" rIns="91425" bIns="91425" anchor="ctr" anchorCtr="0">
                <a:noAutofit/>
              </a:bodyPr>
              <a:lstStyle/>
              <a:p>
                <a:endParaRPr/>
              </a:p>
            </p:txBody>
          </p:sp>
          <p:sp>
            <p:nvSpPr>
              <p:cNvPr id="278" name="Google Shape;2461;p54">
                <a:extLst>
                  <a:ext uri="{FF2B5EF4-FFF2-40B4-BE49-F238E27FC236}">
                    <a16:creationId xmlns:a16="http://schemas.microsoft.com/office/drawing/2014/main" id="{6C777F78-3170-4A3E-B5E7-7BE5B344FB33}"/>
                  </a:ext>
                </a:extLst>
              </p:cNvPr>
              <p:cNvSpPr/>
              <p:nvPr/>
            </p:nvSpPr>
            <p:spPr>
              <a:xfrm>
                <a:off x="5776798" y="3409778"/>
                <a:ext cx="346379" cy="264136"/>
              </a:xfrm>
              <a:custGeom>
                <a:avLst/>
                <a:gdLst/>
                <a:ahLst/>
                <a:cxnLst/>
                <a:rect l="l" t="t" r="r" b="b"/>
                <a:pathLst>
                  <a:path w="10883" h="8299" extrusionOk="0">
                    <a:moveTo>
                      <a:pt x="9144" y="2512"/>
                    </a:moveTo>
                    <a:cubicBezTo>
                      <a:pt x="9418" y="2512"/>
                      <a:pt x="9656" y="2715"/>
                      <a:pt x="9656" y="2953"/>
                    </a:cubicBezTo>
                    <a:lnTo>
                      <a:pt x="9656" y="2977"/>
                    </a:lnTo>
                    <a:cubicBezTo>
                      <a:pt x="9501" y="2917"/>
                      <a:pt x="9335" y="2869"/>
                      <a:pt x="9144" y="2869"/>
                    </a:cubicBezTo>
                    <a:cubicBezTo>
                      <a:pt x="8965" y="2869"/>
                      <a:pt x="8787" y="2905"/>
                      <a:pt x="8620" y="2977"/>
                    </a:cubicBezTo>
                    <a:lnTo>
                      <a:pt x="8620" y="2953"/>
                    </a:lnTo>
                    <a:cubicBezTo>
                      <a:pt x="8620" y="2727"/>
                      <a:pt x="8858" y="2512"/>
                      <a:pt x="9144" y="2512"/>
                    </a:cubicBezTo>
                    <a:close/>
                    <a:moveTo>
                      <a:pt x="2869" y="3203"/>
                    </a:moveTo>
                    <a:lnTo>
                      <a:pt x="2869" y="3858"/>
                    </a:lnTo>
                    <a:cubicBezTo>
                      <a:pt x="2869" y="3965"/>
                      <a:pt x="2846" y="4060"/>
                      <a:pt x="2798" y="4167"/>
                    </a:cubicBezTo>
                    <a:lnTo>
                      <a:pt x="2727" y="4334"/>
                    </a:lnTo>
                    <a:cubicBezTo>
                      <a:pt x="2715" y="4346"/>
                      <a:pt x="2715" y="4382"/>
                      <a:pt x="2715" y="4405"/>
                    </a:cubicBezTo>
                    <a:lnTo>
                      <a:pt x="2715" y="4751"/>
                    </a:lnTo>
                    <a:cubicBezTo>
                      <a:pt x="2715" y="4989"/>
                      <a:pt x="2619" y="5191"/>
                      <a:pt x="2441" y="5358"/>
                    </a:cubicBezTo>
                    <a:cubicBezTo>
                      <a:pt x="2298" y="5525"/>
                      <a:pt x="2072" y="5596"/>
                      <a:pt x="1834" y="5596"/>
                    </a:cubicBezTo>
                    <a:cubicBezTo>
                      <a:pt x="1369" y="5584"/>
                      <a:pt x="1000" y="5179"/>
                      <a:pt x="1000" y="4703"/>
                    </a:cubicBezTo>
                    <a:lnTo>
                      <a:pt x="1000" y="4405"/>
                    </a:lnTo>
                    <a:cubicBezTo>
                      <a:pt x="1000" y="4382"/>
                      <a:pt x="1000" y="4358"/>
                      <a:pt x="988" y="4334"/>
                    </a:cubicBezTo>
                    <a:lnTo>
                      <a:pt x="881" y="4143"/>
                    </a:lnTo>
                    <a:cubicBezTo>
                      <a:pt x="845" y="4060"/>
                      <a:pt x="822" y="3989"/>
                      <a:pt x="822" y="3905"/>
                    </a:cubicBezTo>
                    <a:lnTo>
                      <a:pt x="822" y="3882"/>
                    </a:lnTo>
                    <a:cubicBezTo>
                      <a:pt x="822" y="3501"/>
                      <a:pt x="1131" y="3203"/>
                      <a:pt x="1500" y="3203"/>
                    </a:cubicBezTo>
                    <a:close/>
                    <a:moveTo>
                      <a:pt x="9144" y="3215"/>
                    </a:moveTo>
                    <a:cubicBezTo>
                      <a:pt x="9704" y="3215"/>
                      <a:pt x="10168" y="3679"/>
                      <a:pt x="10168" y="4239"/>
                    </a:cubicBezTo>
                    <a:cubicBezTo>
                      <a:pt x="10168" y="4346"/>
                      <a:pt x="10156" y="4465"/>
                      <a:pt x="10108" y="4572"/>
                    </a:cubicBezTo>
                    <a:cubicBezTo>
                      <a:pt x="9656" y="4108"/>
                      <a:pt x="8870" y="3929"/>
                      <a:pt x="8823" y="3929"/>
                    </a:cubicBezTo>
                    <a:cubicBezTo>
                      <a:pt x="8814" y="3926"/>
                      <a:pt x="8804" y="3925"/>
                      <a:pt x="8794" y="3925"/>
                    </a:cubicBezTo>
                    <a:cubicBezTo>
                      <a:pt x="8763" y="3925"/>
                      <a:pt x="8727" y="3938"/>
                      <a:pt x="8692" y="3965"/>
                    </a:cubicBezTo>
                    <a:cubicBezTo>
                      <a:pt x="8644" y="3989"/>
                      <a:pt x="8632" y="4036"/>
                      <a:pt x="8632" y="4084"/>
                    </a:cubicBezTo>
                    <a:cubicBezTo>
                      <a:pt x="8632" y="4084"/>
                      <a:pt x="8632" y="4179"/>
                      <a:pt x="8513" y="4298"/>
                    </a:cubicBezTo>
                    <a:cubicBezTo>
                      <a:pt x="8453" y="4358"/>
                      <a:pt x="8453" y="4465"/>
                      <a:pt x="8513" y="4524"/>
                    </a:cubicBezTo>
                    <a:cubicBezTo>
                      <a:pt x="8543" y="4554"/>
                      <a:pt x="8584" y="4569"/>
                      <a:pt x="8626" y="4569"/>
                    </a:cubicBezTo>
                    <a:cubicBezTo>
                      <a:pt x="8668" y="4569"/>
                      <a:pt x="8709" y="4554"/>
                      <a:pt x="8739" y="4524"/>
                    </a:cubicBezTo>
                    <a:cubicBezTo>
                      <a:pt x="8823" y="4441"/>
                      <a:pt x="8882" y="4346"/>
                      <a:pt x="8918" y="4274"/>
                    </a:cubicBezTo>
                    <a:cubicBezTo>
                      <a:pt x="9180" y="4346"/>
                      <a:pt x="9739" y="4560"/>
                      <a:pt x="9989" y="4894"/>
                    </a:cubicBezTo>
                    <a:cubicBezTo>
                      <a:pt x="9906" y="5298"/>
                      <a:pt x="9573" y="5596"/>
                      <a:pt x="9144" y="5596"/>
                    </a:cubicBezTo>
                    <a:cubicBezTo>
                      <a:pt x="8704" y="5596"/>
                      <a:pt x="8334" y="5275"/>
                      <a:pt x="8287" y="4834"/>
                    </a:cubicBezTo>
                    <a:cubicBezTo>
                      <a:pt x="8287" y="4810"/>
                      <a:pt x="8275" y="4798"/>
                      <a:pt x="8263" y="4774"/>
                    </a:cubicBezTo>
                    <a:cubicBezTo>
                      <a:pt x="8156" y="4620"/>
                      <a:pt x="8108" y="4441"/>
                      <a:pt x="8108" y="4239"/>
                    </a:cubicBezTo>
                    <a:cubicBezTo>
                      <a:pt x="8108" y="3679"/>
                      <a:pt x="8573" y="3215"/>
                      <a:pt x="9144" y="3215"/>
                    </a:cubicBezTo>
                    <a:close/>
                    <a:moveTo>
                      <a:pt x="5441" y="298"/>
                    </a:moveTo>
                    <a:cubicBezTo>
                      <a:pt x="6013" y="298"/>
                      <a:pt x="6489" y="488"/>
                      <a:pt x="6858" y="845"/>
                    </a:cubicBezTo>
                    <a:cubicBezTo>
                      <a:pt x="7227" y="1226"/>
                      <a:pt x="7453" y="1738"/>
                      <a:pt x="7501" y="2369"/>
                    </a:cubicBezTo>
                    <a:cubicBezTo>
                      <a:pt x="7620" y="4060"/>
                      <a:pt x="7763" y="5001"/>
                      <a:pt x="7822" y="5334"/>
                    </a:cubicBezTo>
                    <a:lnTo>
                      <a:pt x="7822" y="5346"/>
                    </a:lnTo>
                    <a:cubicBezTo>
                      <a:pt x="7632" y="5453"/>
                      <a:pt x="7310" y="5632"/>
                      <a:pt x="6787" y="5763"/>
                    </a:cubicBezTo>
                    <a:lnTo>
                      <a:pt x="6525" y="5644"/>
                    </a:lnTo>
                    <a:cubicBezTo>
                      <a:pt x="6453" y="5608"/>
                      <a:pt x="6418" y="5548"/>
                      <a:pt x="6418" y="5477"/>
                    </a:cubicBezTo>
                    <a:lnTo>
                      <a:pt x="6418" y="4929"/>
                    </a:lnTo>
                    <a:cubicBezTo>
                      <a:pt x="6918" y="4596"/>
                      <a:pt x="7263" y="4024"/>
                      <a:pt x="7263" y="3370"/>
                    </a:cubicBezTo>
                    <a:lnTo>
                      <a:pt x="7263" y="3072"/>
                    </a:lnTo>
                    <a:cubicBezTo>
                      <a:pt x="7263" y="2869"/>
                      <a:pt x="7180" y="2691"/>
                      <a:pt x="7037" y="2560"/>
                    </a:cubicBezTo>
                    <a:cubicBezTo>
                      <a:pt x="6727" y="2274"/>
                      <a:pt x="6001" y="1798"/>
                      <a:pt x="4751" y="1667"/>
                    </a:cubicBezTo>
                    <a:cubicBezTo>
                      <a:pt x="4744" y="1666"/>
                      <a:pt x="4737" y="1666"/>
                      <a:pt x="4730" y="1666"/>
                    </a:cubicBezTo>
                    <a:cubicBezTo>
                      <a:pt x="4645" y="1666"/>
                      <a:pt x="4583" y="1733"/>
                      <a:pt x="4572" y="1822"/>
                    </a:cubicBezTo>
                    <a:cubicBezTo>
                      <a:pt x="4548" y="1905"/>
                      <a:pt x="4632" y="1977"/>
                      <a:pt x="4715" y="2000"/>
                    </a:cubicBezTo>
                    <a:cubicBezTo>
                      <a:pt x="5882" y="2119"/>
                      <a:pt x="6537" y="2548"/>
                      <a:pt x="6834" y="2798"/>
                    </a:cubicBezTo>
                    <a:cubicBezTo>
                      <a:pt x="6906" y="2858"/>
                      <a:pt x="6953" y="2965"/>
                      <a:pt x="6953" y="3072"/>
                    </a:cubicBezTo>
                    <a:lnTo>
                      <a:pt x="6953" y="3370"/>
                    </a:lnTo>
                    <a:cubicBezTo>
                      <a:pt x="6953" y="4215"/>
                      <a:pt x="6263" y="4894"/>
                      <a:pt x="5417" y="4894"/>
                    </a:cubicBezTo>
                    <a:cubicBezTo>
                      <a:pt x="4572" y="4894"/>
                      <a:pt x="3881" y="4215"/>
                      <a:pt x="3881" y="3370"/>
                    </a:cubicBezTo>
                    <a:lnTo>
                      <a:pt x="3881" y="3227"/>
                    </a:lnTo>
                    <a:cubicBezTo>
                      <a:pt x="3881" y="3167"/>
                      <a:pt x="3917" y="3108"/>
                      <a:pt x="3977" y="3084"/>
                    </a:cubicBezTo>
                    <a:cubicBezTo>
                      <a:pt x="4167" y="2965"/>
                      <a:pt x="4429" y="2750"/>
                      <a:pt x="4548" y="2393"/>
                    </a:cubicBezTo>
                    <a:cubicBezTo>
                      <a:pt x="4584" y="2310"/>
                      <a:pt x="4536" y="2215"/>
                      <a:pt x="4453" y="2203"/>
                    </a:cubicBezTo>
                    <a:cubicBezTo>
                      <a:pt x="4434" y="2198"/>
                      <a:pt x="4415" y="2196"/>
                      <a:pt x="4398" y="2196"/>
                    </a:cubicBezTo>
                    <a:cubicBezTo>
                      <a:pt x="4327" y="2196"/>
                      <a:pt x="4270" y="2234"/>
                      <a:pt x="4251" y="2310"/>
                    </a:cubicBezTo>
                    <a:cubicBezTo>
                      <a:pt x="4167" y="2572"/>
                      <a:pt x="3977" y="2727"/>
                      <a:pt x="3822" y="2810"/>
                    </a:cubicBezTo>
                    <a:cubicBezTo>
                      <a:pt x="3679" y="2905"/>
                      <a:pt x="3572" y="3072"/>
                      <a:pt x="3572" y="3227"/>
                    </a:cubicBezTo>
                    <a:lnTo>
                      <a:pt x="3572" y="3370"/>
                    </a:lnTo>
                    <a:cubicBezTo>
                      <a:pt x="3572" y="4024"/>
                      <a:pt x="3917" y="4584"/>
                      <a:pt x="4417" y="4929"/>
                    </a:cubicBezTo>
                    <a:lnTo>
                      <a:pt x="4417" y="5477"/>
                    </a:lnTo>
                    <a:cubicBezTo>
                      <a:pt x="4417" y="5548"/>
                      <a:pt x="4370" y="5608"/>
                      <a:pt x="4310" y="5644"/>
                    </a:cubicBezTo>
                    <a:lnTo>
                      <a:pt x="4048" y="5763"/>
                    </a:lnTo>
                    <a:cubicBezTo>
                      <a:pt x="3536" y="5632"/>
                      <a:pt x="3215" y="5453"/>
                      <a:pt x="3060" y="5346"/>
                    </a:cubicBezTo>
                    <a:lnTo>
                      <a:pt x="3060" y="5334"/>
                    </a:lnTo>
                    <a:cubicBezTo>
                      <a:pt x="3131" y="5001"/>
                      <a:pt x="3262" y="4060"/>
                      <a:pt x="3393" y="2369"/>
                    </a:cubicBezTo>
                    <a:cubicBezTo>
                      <a:pt x="3441" y="1738"/>
                      <a:pt x="3655" y="1226"/>
                      <a:pt x="4036" y="845"/>
                    </a:cubicBezTo>
                    <a:cubicBezTo>
                      <a:pt x="4393" y="488"/>
                      <a:pt x="4882" y="298"/>
                      <a:pt x="5441" y="298"/>
                    </a:cubicBezTo>
                    <a:close/>
                    <a:moveTo>
                      <a:pt x="2750" y="5465"/>
                    </a:moveTo>
                    <a:cubicBezTo>
                      <a:pt x="2786" y="5501"/>
                      <a:pt x="2810" y="5572"/>
                      <a:pt x="2869" y="5596"/>
                    </a:cubicBezTo>
                    <a:cubicBezTo>
                      <a:pt x="3000" y="5691"/>
                      <a:pt x="3239" y="5822"/>
                      <a:pt x="3584" y="5941"/>
                    </a:cubicBezTo>
                    <a:lnTo>
                      <a:pt x="3155" y="6144"/>
                    </a:lnTo>
                    <a:lnTo>
                      <a:pt x="2655" y="6001"/>
                    </a:lnTo>
                    <a:cubicBezTo>
                      <a:pt x="2512" y="5953"/>
                      <a:pt x="2512" y="5953"/>
                      <a:pt x="2512" y="5906"/>
                    </a:cubicBezTo>
                    <a:lnTo>
                      <a:pt x="2512" y="5691"/>
                    </a:lnTo>
                    <a:cubicBezTo>
                      <a:pt x="2572" y="5656"/>
                      <a:pt x="2619" y="5608"/>
                      <a:pt x="2667" y="5572"/>
                    </a:cubicBezTo>
                    <a:cubicBezTo>
                      <a:pt x="2691" y="5536"/>
                      <a:pt x="2727" y="5513"/>
                      <a:pt x="2750" y="5465"/>
                    </a:cubicBezTo>
                    <a:close/>
                    <a:moveTo>
                      <a:pt x="8096" y="5239"/>
                    </a:moveTo>
                    <a:cubicBezTo>
                      <a:pt x="8180" y="5417"/>
                      <a:pt x="8323" y="5572"/>
                      <a:pt x="8477" y="5691"/>
                    </a:cubicBezTo>
                    <a:lnTo>
                      <a:pt x="8477" y="6025"/>
                    </a:lnTo>
                    <a:lnTo>
                      <a:pt x="8489" y="6025"/>
                    </a:lnTo>
                    <a:lnTo>
                      <a:pt x="7977" y="6287"/>
                    </a:lnTo>
                    <a:cubicBezTo>
                      <a:pt x="7977" y="6287"/>
                      <a:pt x="7965" y="6287"/>
                      <a:pt x="7965" y="6263"/>
                    </a:cubicBezTo>
                    <a:lnTo>
                      <a:pt x="7227" y="5941"/>
                    </a:lnTo>
                    <a:cubicBezTo>
                      <a:pt x="7596" y="5822"/>
                      <a:pt x="7822" y="5667"/>
                      <a:pt x="7942" y="5596"/>
                    </a:cubicBezTo>
                    <a:cubicBezTo>
                      <a:pt x="8049" y="5525"/>
                      <a:pt x="8108" y="5406"/>
                      <a:pt x="8096" y="5275"/>
                    </a:cubicBezTo>
                    <a:lnTo>
                      <a:pt x="8096" y="5239"/>
                    </a:lnTo>
                    <a:close/>
                    <a:moveTo>
                      <a:pt x="2203" y="5870"/>
                    </a:moveTo>
                    <a:lnTo>
                      <a:pt x="2203" y="5929"/>
                    </a:lnTo>
                    <a:cubicBezTo>
                      <a:pt x="2203" y="5953"/>
                      <a:pt x="2203" y="5989"/>
                      <a:pt x="2215" y="6013"/>
                    </a:cubicBezTo>
                    <a:lnTo>
                      <a:pt x="1857" y="6370"/>
                    </a:lnTo>
                    <a:lnTo>
                      <a:pt x="1500" y="6013"/>
                    </a:lnTo>
                    <a:cubicBezTo>
                      <a:pt x="1512" y="5989"/>
                      <a:pt x="1512" y="5953"/>
                      <a:pt x="1512" y="5929"/>
                    </a:cubicBezTo>
                    <a:lnTo>
                      <a:pt x="1512" y="5870"/>
                    </a:lnTo>
                    <a:cubicBezTo>
                      <a:pt x="1619" y="5894"/>
                      <a:pt x="1726" y="5929"/>
                      <a:pt x="1834" y="5929"/>
                    </a:cubicBezTo>
                    <a:lnTo>
                      <a:pt x="1857" y="5929"/>
                    </a:lnTo>
                    <a:cubicBezTo>
                      <a:pt x="1976" y="5929"/>
                      <a:pt x="2096" y="5906"/>
                      <a:pt x="2203" y="5870"/>
                    </a:cubicBezTo>
                    <a:close/>
                    <a:moveTo>
                      <a:pt x="9525" y="5882"/>
                    </a:moveTo>
                    <a:lnTo>
                      <a:pt x="9525" y="6048"/>
                    </a:lnTo>
                    <a:cubicBezTo>
                      <a:pt x="9525" y="6108"/>
                      <a:pt x="9537" y="6144"/>
                      <a:pt x="9573" y="6191"/>
                    </a:cubicBezTo>
                    <a:lnTo>
                      <a:pt x="9394" y="6322"/>
                    </a:lnTo>
                    <a:cubicBezTo>
                      <a:pt x="9323" y="6394"/>
                      <a:pt x="9236" y="6429"/>
                      <a:pt x="9151" y="6429"/>
                    </a:cubicBezTo>
                    <a:cubicBezTo>
                      <a:pt x="9067" y="6429"/>
                      <a:pt x="8983" y="6394"/>
                      <a:pt x="8918" y="6322"/>
                    </a:cubicBezTo>
                    <a:lnTo>
                      <a:pt x="8763" y="6191"/>
                    </a:lnTo>
                    <a:cubicBezTo>
                      <a:pt x="8799" y="6144"/>
                      <a:pt x="8811" y="6084"/>
                      <a:pt x="8811" y="6048"/>
                    </a:cubicBezTo>
                    <a:lnTo>
                      <a:pt x="8811" y="5882"/>
                    </a:lnTo>
                    <a:cubicBezTo>
                      <a:pt x="8918" y="5906"/>
                      <a:pt x="9037" y="5941"/>
                      <a:pt x="9168" y="5941"/>
                    </a:cubicBezTo>
                    <a:cubicBezTo>
                      <a:pt x="9287" y="5941"/>
                      <a:pt x="9406" y="5929"/>
                      <a:pt x="9525" y="5882"/>
                    </a:cubicBezTo>
                    <a:close/>
                    <a:moveTo>
                      <a:pt x="6096" y="5096"/>
                    </a:moveTo>
                    <a:lnTo>
                      <a:pt x="6096" y="5477"/>
                    </a:lnTo>
                    <a:cubicBezTo>
                      <a:pt x="6096" y="5667"/>
                      <a:pt x="6215" y="5846"/>
                      <a:pt x="6394" y="5941"/>
                    </a:cubicBezTo>
                    <a:lnTo>
                      <a:pt x="6632" y="6048"/>
                    </a:lnTo>
                    <a:cubicBezTo>
                      <a:pt x="6406" y="6489"/>
                      <a:pt x="5941" y="6787"/>
                      <a:pt x="5417" y="6787"/>
                    </a:cubicBezTo>
                    <a:cubicBezTo>
                      <a:pt x="4894" y="6787"/>
                      <a:pt x="4441" y="6501"/>
                      <a:pt x="4203" y="6048"/>
                    </a:cubicBezTo>
                    <a:lnTo>
                      <a:pt x="4441" y="5941"/>
                    </a:lnTo>
                    <a:cubicBezTo>
                      <a:pt x="4620" y="5870"/>
                      <a:pt x="4739" y="5691"/>
                      <a:pt x="4739" y="5477"/>
                    </a:cubicBezTo>
                    <a:lnTo>
                      <a:pt x="4739" y="5096"/>
                    </a:lnTo>
                    <a:cubicBezTo>
                      <a:pt x="4941" y="5179"/>
                      <a:pt x="5179" y="5227"/>
                      <a:pt x="5417" y="5227"/>
                    </a:cubicBezTo>
                    <a:cubicBezTo>
                      <a:pt x="5656" y="5227"/>
                      <a:pt x="5894" y="5179"/>
                      <a:pt x="6096" y="5096"/>
                    </a:cubicBezTo>
                    <a:close/>
                    <a:moveTo>
                      <a:pt x="5417" y="0"/>
                    </a:moveTo>
                    <a:cubicBezTo>
                      <a:pt x="4763" y="0"/>
                      <a:pt x="4215" y="226"/>
                      <a:pt x="3786" y="643"/>
                    </a:cubicBezTo>
                    <a:cubicBezTo>
                      <a:pt x="3346" y="1060"/>
                      <a:pt x="3096" y="1655"/>
                      <a:pt x="3048" y="2346"/>
                    </a:cubicBezTo>
                    <a:cubicBezTo>
                      <a:pt x="3036" y="2548"/>
                      <a:pt x="3024" y="2703"/>
                      <a:pt x="3012" y="2881"/>
                    </a:cubicBezTo>
                    <a:lnTo>
                      <a:pt x="1524" y="2881"/>
                    </a:lnTo>
                    <a:cubicBezTo>
                      <a:pt x="964" y="2881"/>
                      <a:pt x="512" y="3334"/>
                      <a:pt x="512" y="3893"/>
                    </a:cubicBezTo>
                    <a:lnTo>
                      <a:pt x="512" y="3917"/>
                    </a:lnTo>
                    <a:cubicBezTo>
                      <a:pt x="512" y="4048"/>
                      <a:pt x="536" y="4167"/>
                      <a:pt x="595" y="4286"/>
                    </a:cubicBezTo>
                    <a:lnTo>
                      <a:pt x="667" y="4453"/>
                    </a:lnTo>
                    <a:lnTo>
                      <a:pt x="667" y="4703"/>
                    </a:lnTo>
                    <a:cubicBezTo>
                      <a:pt x="667" y="5120"/>
                      <a:pt x="881" y="5477"/>
                      <a:pt x="1179" y="5703"/>
                    </a:cubicBezTo>
                    <a:lnTo>
                      <a:pt x="1179" y="5929"/>
                    </a:lnTo>
                    <a:cubicBezTo>
                      <a:pt x="1179" y="5953"/>
                      <a:pt x="1167" y="5989"/>
                      <a:pt x="1131" y="5989"/>
                    </a:cubicBezTo>
                    <a:lnTo>
                      <a:pt x="476" y="6179"/>
                    </a:lnTo>
                    <a:cubicBezTo>
                      <a:pt x="191" y="6251"/>
                      <a:pt x="0" y="6513"/>
                      <a:pt x="0" y="6810"/>
                    </a:cubicBezTo>
                    <a:lnTo>
                      <a:pt x="0" y="8120"/>
                    </a:lnTo>
                    <a:cubicBezTo>
                      <a:pt x="0" y="8215"/>
                      <a:pt x="71" y="8287"/>
                      <a:pt x="167" y="8287"/>
                    </a:cubicBezTo>
                    <a:cubicBezTo>
                      <a:pt x="250" y="8287"/>
                      <a:pt x="333" y="8215"/>
                      <a:pt x="333" y="8120"/>
                    </a:cubicBezTo>
                    <a:lnTo>
                      <a:pt x="333" y="6810"/>
                    </a:lnTo>
                    <a:cubicBezTo>
                      <a:pt x="333" y="6668"/>
                      <a:pt x="429" y="6513"/>
                      <a:pt x="583" y="6477"/>
                    </a:cubicBezTo>
                    <a:lnTo>
                      <a:pt x="1238" y="6287"/>
                    </a:lnTo>
                    <a:cubicBezTo>
                      <a:pt x="1262" y="6287"/>
                      <a:pt x="1286" y="6263"/>
                      <a:pt x="1310" y="6251"/>
                    </a:cubicBezTo>
                    <a:lnTo>
                      <a:pt x="1715" y="6656"/>
                    </a:lnTo>
                    <a:lnTo>
                      <a:pt x="1715" y="8108"/>
                    </a:lnTo>
                    <a:cubicBezTo>
                      <a:pt x="1715" y="8203"/>
                      <a:pt x="1786" y="8275"/>
                      <a:pt x="1881" y="8275"/>
                    </a:cubicBezTo>
                    <a:cubicBezTo>
                      <a:pt x="1965" y="8275"/>
                      <a:pt x="2036" y="8203"/>
                      <a:pt x="2036" y="8108"/>
                    </a:cubicBezTo>
                    <a:lnTo>
                      <a:pt x="2036" y="6656"/>
                    </a:lnTo>
                    <a:lnTo>
                      <a:pt x="2441" y="6251"/>
                    </a:lnTo>
                    <a:cubicBezTo>
                      <a:pt x="2500" y="6287"/>
                      <a:pt x="2548" y="6298"/>
                      <a:pt x="2596" y="6310"/>
                    </a:cubicBezTo>
                    <a:lnTo>
                      <a:pt x="2750" y="6358"/>
                    </a:lnTo>
                    <a:cubicBezTo>
                      <a:pt x="2536" y="6501"/>
                      <a:pt x="2393" y="6751"/>
                      <a:pt x="2393" y="7037"/>
                    </a:cubicBezTo>
                    <a:lnTo>
                      <a:pt x="2393" y="8120"/>
                    </a:lnTo>
                    <a:cubicBezTo>
                      <a:pt x="2393" y="8215"/>
                      <a:pt x="2465" y="8287"/>
                      <a:pt x="2560" y="8287"/>
                    </a:cubicBezTo>
                    <a:cubicBezTo>
                      <a:pt x="2643" y="8287"/>
                      <a:pt x="2727" y="8215"/>
                      <a:pt x="2727" y="8120"/>
                    </a:cubicBezTo>
                    <a:lnTo>
                      <a:pt x="2727" y="7037"/>
                    </a:lnTo>
                    <a:cubicBezTo>
                      <a:pt x="2727" y="6834"/>
                      <a:pt x="2846" y="6656"/>
                      <a:pt x="3036" y="6560"/>
                    </a:cubicBezTo>
                    <a:lnTo>
                      <a:pt x="3941" y="6156"/>
                    </a:lnTo>
                    <a:cubicBezTo>
                      <a:pt x="4227" y="6727"/>
                      <a:pt x="4810" y="7096"/>
                      <a:pt x="5441" y="7096"/>
                    </a:cubicBezTo>
                    <a:cubicBezTo>
                      <a:pt x="6084" y="7096"/>
                      <a:pt x="6668" y="6739"/>
                      <a:pt x="6953" y="6156"/>
                    </a:cubicBezTo>
                    <a:lnTo>
                      <a:pt x="7858" y="6560"/>
                    </a:lnTo>
                    <a:cubicBezTo>
                      <a:pt x="8049" y="6656"/>
                      <a:pt x="8168" y="6834"/>
                      <a:pt x="8168" y="7037"/>
                    </a:cubicBezTo>
                    <a:lnTo>
                      <a:pt x="8168" y="8120"/>
                    </a:lnTo>
                    <a:cubicBezTo>
                      <a:pt x="8168" y="8215"/>
                      <a:pt x="8239" y="8287"/>
                      <a:pt x="8334" y="8287"/>
                    </a:cubicBezTo>
                    <a:cubicBezTo>
                      <a:pt x="8418" y="8287"/>
                      <a:pt x="8501" y="8215"/>
                      <a:pt x="8501" y="8120"/>
                    </a:cubicBezTo>
                    <a:lnTo>
                      <a:pt x="8501" y="7037"/>
                    </a:lnTo>
                    <a:cubicBezTo>
                      <a:pt x="8501" y="6834"/>
                      <a:pt x="8418" y="6656"/>
                      <a:pt x="8299" y="6501"/>
                    </a:cubicBezTo>
                    <a:lnTo>
                      <a:pt x="8537" y="6382"/>
                    </a:lnTo>
                    <a:lnTo>
                      <a:pt x="8715" y="6560"/>
                    </a:lnTo>
                    <a:cubicBezTo>
                      <a:pt x="8858" y="6679"/>
                      <a:pt x="9013" y="6739"/>
                      <a:pt x="9180" y="6739"/>
                    </a:cubicBezTo>
                    <a:cubicBezTo>
                      <a:pt x="9346" y="6739"/>
                      <a:pt x="9513" y="6679"/>
                      <a:pt x="9644" y="6560"/>
                    </a:cubicBezTo>
                    <a:lnTo>
                      <a:pt x="9823" y="6382"/>
                    </a:lnTo>
                    <a:lnTo>
                      <a:pt x="10358" y="6656"/>
                    </a:lnTo>
                    <a:cubicBezTo>
                      <a:pt x="10478" y="6715"/>
                      <a:pt x="10549" y="6834"/>
                      <a:pt x="10549" y="6965"/>
                    </a:cubicBezTo>
                    <a:lnTo>
                      <a:pt x="10549" y="8144"/>
                    </a:lnTo>
                    <a:cubicBezTo>
                      <a:pt x="10549" y="8227"/>
                      <a:pt x="10620" y="8299"/>
                      <a:pt x="10716" y="8299"/>
                    </a:cubicBezTo>
                    <a:cubicBezTo>
                      <a:pt x="10799" y="8299"/>
                      <a:pt x="10882" y="8227"/>
                      <a:pt x="10882" y="8144"/>
                    </a:cubicBezTo>
                    <a:lnTo>
                      <a:pt x="10882" y="6965"/>
                    </a:lnTo>
                    <a:cubicBezTo>
                      <a:pt x="10823" y="6703"/>
                      <a:pt x="10692" y="6477"/>
                      <a:pt x="10466" y="6358"/>
                    </a:cubicBezTo>
                    <a:lnTo>
                      <a:pt x="9823" y="6025"/>
                    </a:lnTo>
                    <a:lnTo>
                      <a:pt x="9823" y="6013"/>
                    </a:lnTo>
                    <a:lnTo>
                      <a:pt x="9823" y="5691"/>
                    </a:lnTo>
                    <a:cubicBezTo>
                      <a:pt x="10097" y="5501"/>
                      <a:pt x="10275" y="5227"/>
                      <a:pt x="10311" y="4882"/>
                    </a:cubicBezTo>
                    <a:cubicBezTo>
                      <a:pt x="10430" y="4679"/>
                      <a:pt x="10489" y="4453"/>
                      <a:pt x="10489" y="4215"/>
                    </a:cubicBezTo>
                    <a:cubicBezTo>
                      <a:pt x="10489" y="3786"/>
                      <a:pt x="10287" y="3381"/>
                      <a:pt x="9954" y="3143"/>
                    </a:cubicBezTo>
                    <a:cubicBezTo>
                      <a:pt x="9977" y="3084"/>
                      <a:pt x="9989" y="3012"/>
                      <a:pt x="9989" y="2953"/>
                    </a:cubicBezTo>
                    <a:cubicBezTo>
                      <a:pt x="9989" y="2536"/>
                      <a:pt x="9620" y="2191"/>
                      <a:pt x="9156" y="2191"/>
                    </a:cubicBezTo>
                    <a:cubicBezTo>
                      <a:pt x="8692" y="2191"/>
                      <a:pt x="8323" y="2524"/>
                      <a:pt x="8323" y="2953"/>
                    </a:cubicBezTo>
                    <a:cubicBezTo>
                      <a:pt x="8323" y="3024"/>
                      <a:pt x="8334" y="3084"/>
                      <a:pt x="8346" y="3143"/>
                    </a:cubicBezTo>
                    <a:cubicBezTo>
                      <a:pt x="8156" y="3286"/>
                      <a:pt x="8013" y="3477"/>
                      <a:pt x="7906" y="3715"/>
                    </a:cubicBezTo>
                    <a:cubicBezTo>
                      <a:pt x="7858" y="3334"/>
                      <a:pt x="7834" y="2869"/>
                      <a:pt x="7787" y="2346"/>
                    </a:cubicBezTo>
                    <a:cubicBezTo>
                      <a:pt x="7739" y="1655"/>
                      <a:pt x="7489" y="1060"/>
                      <a:pt x="7060" y="643"/>
                    </a:cubicBezTo>
                    <a:cubicBezTo>
                      <a:pt x="6644" y="226"/>
                      <a:pt x="6072" y="0"/>
                      <a:pt x="5417" y="0"/>
                    </a:cubicBezTo>
                    <a:close/>
                  </a:path>
                </a:pathLst>
              </a:custGeom>
              <a:grpFill/>
              <a:ln>
                <a:noFill/>
              </a:ln>
            </p:spPr>
            <p:txBody>
              <a:bodyPr spcFirstLastPara="1" wrap="square" lIns="91425" tIns="91425" rIns="91425" bIns="91425" anchor="ctr" anchorCtr="0">
                <a:noAutofit/>
              </a:bodyPr>
              <a:lstStyle/>
              <a:p>
                <a:endParaRPr dirty="0"/>
              </a:p>
            </p:txBody>
          </p:sp>
          <p:sp>
            <p:nvSpPr>
              <p:cNvPr id="279" name="Google Shape;2462;p54">
                <a:extLst>
                  <a:ext uri="{FF2B5EF4-FFF2-40B4-BE49-F238E27FC236}">
                    <a16:creationId xmlns:a16="http://schemas.microsoft.com/office/drawing/2014/main" id="{A1B2E37F-61EC-4BE2-936C-13A2BC964B7B}"/>
                  </a:ext>
                </a:extLst>
              </p:cNvPr>
              <p:cNvSpPr/>
              <p:nvPr/>
            </p:nvSpPr>
            <p:spPr>
              <a:xfrm>
                <a:off x="6089408" y="3637503"/>
                <a:ext cx="10662" cy="36029"/>
              </a:xfrm>
              <a:custGeom>
                <a:avLst/>
                <a:gdLst/>
                <a:ahLst/>
                <a:cxnLst/>
                <a:rect l="l" t="t" r="r" b="b"/>
                <a:pathLst>
                  <a:path w="335" h="1132" extrusionOk="0">
                    <a:moveTo>
                      <a:pt x="167" y="1"/>
                    </a:moveTo>
                    <a:cubicBezTo>
                      <a:pt x="72" y="1"/>
                      <a:pt x="1" y="84"/>
                      <a:pt x="1" y="167"/>
                    </a:cubicBezTo>
                    <a:lnTo>
                      <a:pt x="1" y="977"/>
                    </a:lnTo>
                    <a:cubicBezTo>
                      <a:pt x="1" y="1060"/>
                      <a:pt x="72" y="1132"/>
                      <a:pt x="167" y="1132"/>
                    </a:cubicBezTo>
                    <a:cubicBezTo>
                      <a:pt x="251" y="1132"/>
                      <a:pt x="322" y="1060"/>
                      <a:pt x="322" y="977"/>
                    </a:cubicBezTo>
                    <a:lnTo>
                      <a:pt x="322" y="167"/>
                    </a:lnTo>
                    <a:cubicBezTo>
                      <a:pt x="334" y="84"/>
                      <a:pt x="251" y="1"/>
                      <a:pt x="167" y="1"/>
                    </a:cubicBezTo>
                    <a:close/>
                  </a:path>
                </a:pathLst>
              </a:custGeom>
              <a:grpFill/>
              <a:ln>
                <a:noFill/>
              </a:ln>
            </p:spPr>
            <p:txBody>
              <a:bodyPr spcFirstLastPara="1" wrap="square" lIns="91425" tIns="91425" rIns="91425" bIns="91425" anchor="ctr" anchorCtr="0">
                <a:noAutofit/>
              </a:bodyPr>
              <a:lstStyle/>
              <a:p>
                <a:endParaRPr/>
              </a:p>
            </p:txBody>
          </p:sp>
        </p:grpSp>
      </p:grpSp>
      <p:sp>
        <p:nvSpPr>
          <p:cNvPr id="101" name="TextBox 100">
            <a:extLst>
              <a:ext uri="{FF2B5EF4-FFF2-40B4-BE49-F238E27FC236}">
                <a16:creationId xmlns:a16="http://schemas.microsoft.com/office/drawing/2014/main" id="{CAA04CCE-2141-432C-9496-FBF512D7796D}"/>
              </a:ext>
            </a:extLst>
          </p:cNvPr>
          <p:cNvSpPr txBox="1"/>
          <p:nvPr/>
        </p:nvSpPr>
        <p:spPr>
          <a:xfrm>
            <a:off x="2435575" y="2392190"/>
            <a:ext cx="716868" cy="425758"/>
          </a:xfrm>
          <a:prstGeom prst="rect">
            <a:avLst/>
          </a:prstGeom>
          <a:noFill/>
        </p:spPr>
        <p:txBody>
          <a:bodyPr wrap="square" rtlCol="0">
            <a:spAutoFit/>
          </a:bodyPr>
          <a:lstStyle/>
          <a:p>
            <a:pPr algn="ctr">
              <a:lnSpc>
                <a:spcPts val="1320"/>
              </a:lnSpc>
            </a:pPr>
            <a:r>
              <a:rPr lang="es-ES" sz="1050" b="1" dirty="0">
                <a:solidFill>
                  <a:schemeClr val="bg1">
                    <a:lumMod val="50000"/>
                  </a:schemeClr>
                </a:solidFill>
                <a:latin typeface="Arial" panose="020B0604020202020204" pitchFamily="34" charset="0"/>
                <a:cs typeface="Arial" panose="020B0604020202020204" pitchFamily="34" charset="0"/>
              </a:rPr>
              <a:t>MAY</a:t>
            </a:r>
            <a:endParaRPr lang="en-GR" sz="1050" b="1" dirty="0">
              <a:solidFill>
                <a:schemeClr val="bg1">
                  <a:lumMod val="50000"/>
                </a:schemeClr>
              </a:solidFill>
              <a:latin typeface="Arial" panose="020B0604020202020204" pitchFamily="34" charset="0"/>
              <a:cs typeface="Arial" panose="020B0604020202020204" pitchFamily="34" charset="0"/>
            </a:endParaRPr>
          </a:p>
          <a:p>
            <a:pPr algn="ctr">
              <a:lnSpc>
                <a:spcPts val="1320"/>
              </a:lnSpc>
            </a:pPr>
            <a:r>
              <a:rPr lang="es-ES" sz="1050" b="1" dirty="0">
                <a:solidFill>
                  <a:schemeClr val="bg1">
                    <a:lumMod val="50000"/>
                  </a:schemeClr>
                </a:solidFill>
                <a:latin typeface="Arial" panose="020B0604020202020204" pitchFamily="34" charset="0"/>
                <a:cs typeface="Arial" panose="020B0604020202020204" pitchFamily="34" charset="0"/>
              </a:rPr>
              <a:t>2022</a:t>
            </a:r>
            <a:endParaRPr lang="en-GR" sz="1050" b="1" dirty="0">
              <a:solidFill>
                <a:schemeClr val="bg1">
                  <a:lumMod val="50000"/>
                </a:schemeClr>
              </a:solidFill>
              <a:latin typeface="Arial" panose="020B0604020202020204" pitchFamily="34" charset="0"/>
              <a:cs typeface="Arial" panose="020B0604020202020204" pitchFamily="34" charset="0"/>
            </a:endParaRPr>
          </a:p>
        </p:txBody>
      </p:sp>
      <p:grpSp>
        <p:nvGrpSpPr>
          <p:cNvPr id="156" name="Group 155">
            <a:extLst>
              <a:ext uri="{FF2B5EF4-FFF2-40B4-BE49-F238E27FC236}">
                <a16:creationId xmlns:a16="http://schemas.microsoft.com/office/drawing/2014/main" id="{CD5E1430-223A-47A6-A2A6-BDA9E1A6FB9D}"/>
              </a:ext>
            </a:extLst>
          </p:cNvPr>
          <p:cNvGrpSpPr/>
          <p:nvPr/>
        </p:nvGrpSpPr>
        <p:grpSpPr>
          <a:xfrm>
            <a:off x="2498691" y="1499184"/>
            <a:ext cx="590636" cy="852992"/>
            <a:chOff x="2395425" y="1652970"/>
            <a:chExt cx="590636" cy="852992"/>
          </a:xfrm>
        </p:grpSpPr>
        <p:sp>
          <p:nvSpPr>
            <p:cNvPr id="158" name="Oval 15">
              <a:extLst>
                <a:ext uri="{FF2B5EF4-FFF2-40B4-BE49-F238E27FC236}">
                  <a16:creationId xmlns:a16="http://schemas.microsoft.com/office/drawing/2014/main" id="{048DDBB3-2BD7-4D49-B7A8-CEC8E5B07A09}"/>
                </a:ext>
              </a:extLst>
            </p:cNvPr>
            <p:cNvSpPr>
              <a:spLocks noChangeArrowheads="1"/>
            </p:cNvSpPr>
            <p:nvPr/>
          </p:nvSpPr>
          <p:spPr bwMode="auto">
            <a:xfrm>
              <a:off x="2636475" y="2396758"/>
              <a:ext cx="108539" cy="109204"/>
            </a:xfrm>
            <a:prstGeom prst="ellipse">
              <a:avLst/>
            </a:prstGeom>
            <a:noFill/>
            <a:ln w="53975" cap="flat">
              <a:solidFill>
                <a:schemeClr val="accent5"/>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sp>
          <p:nvSpPr>
            <p:cNvPr id="160" name="Freeform 8">
              <a:extLst>
                <a:ext uri="{FF2B5EF4-FFF2-40B4-BE49-F238E27FC236}">
                  <a16:creationId xmlns:a16="http://schemas.microsoft.com/office/drawing/2014/main" id="{A81A9640-FB3D-4649-A798-720B4AA4338F}"/>
                </a:ext>
              </a:extLst>
            </p:cNvPr>
            <p:cNvSpPr>
              <a:spLocks/>
            </p:cNvSpPr>
            <p:nvPr/>
          </p:nvSpPr>
          <p:spPr bwMode="auto">
            <a:xfrm>
              <a:off x="2395425" y="1652970"/>
              <a:ext cx="590636" cy="677200"/>
            </a:xfrm>
            <a:custGeom>
              <a:avLst/>
              <a:gdLst>
                <a:gd name="T0" fmla="*/ 370 w 370"/>
                <a:gd name="T1" fmla="*/ 184 h 424"/>
                <a:gd name="T2" fmla="*/ 185 w 370"/>
                <a:gd name="T3" fmla="*/ 0 h 424"/>
                <a:gd name="T4" fmla="*/ 0 w 370"/>
                <a:gd name="T5" fmla="*/ 184 h 424"/>
                <a:gd name="T6" fmla="*/ 152 w 370"/>
                <a:gd name="T7" fmla="*/ 366 h 424"/>
                <a:gd name="T8" fmla="*/ 185 w 370"/>
                <a:gd name="T9" fmla="*/ 424 h 424"/>
                <a:gd name="T10" fmla="*/ 218 w 370"/>
                <a:gd name="T11" fmla="*/ 366 h 424"/>
                <a:gd name="T12" fmla="*/ 370 w 370"/>
                <a:gd name="T13" fmla="*/ 184 h 424"/>
              </a:gdLst>
              <a:ahLst/>
              <a:cxnLst>
                <a:cxn ang="0">
                  <a:pos x="T0" y="T1"/>
                </a:cxn>
                <a:cxn ang="0">
                  <a:pos x="T2" y="T3"/>
                </a:cxn>
                <a:cxn ang="0">
                  <a:pos x="T4" y="T5"/>
                </a:cxn>
                <a:cxn ang="0">
                  <a:pos x="T6" y="T7"/>
                </a:cxn>
                <a:cxn ang="0">
                  <a:pos x="T8" y="T9"/>
                </a:cxn>
                <a:cxn ang="0">
                  <a:pos x="T10" y="T11"/>
                </a:cxn>
                <a:cxn ang="0">
                  <a:pos x="T12" y="T13"/>
                </a:cxn>
              </a:cxnLst>
              <a:rect l="0" t="0" r="r" b="b"/>
              <a:pathLst>
                <a:path w="370" h="424">
                  <a:moveTo>
                    <a:pt x="370" y="184"/>
                  </a:moveTo>
                  <a:cubicBezTo>
                    <a:pt x="370" y="82"/>
                    <a:pt x="287" y="0"/>
                    <a:pt x="185" y="0"/>
                  </a:cubicBezTo>
                  <a:cubicBezTo>
                    <a:pt x="83" y="0"/>
                    <a:pt x="0" y="82"/>
                    <a:pt x="0" y="184"/>
                  </a:cubicBezTo>
                  <a:cubicBezTo>
                    <a:pt x="0" y="275"/>
                    <a:pt x="66" y="350"/>
                    <a:pt x="152" y="366"/>
                  </a:cubicBezTo>
                  <a:cubicBezTo>
                    <a:pt x="185" y="424"/>
                    <a:pt x="185" y="424"/>
                    <a:pt x="185" y="424"/>
                  </a:cubicBezTo>
                  <a:cubicBezTo>
                    <a:pt x="218" y="366"/>
                    <a:pt x="218" y="366"/>
                    <a:pt x="218" y="366"/>
                  </a:cubicBezTo>
                  <a:cubicBezTo>
                    <a:pt x="304" y="350"/>
                    <a:pt x="370" y="275"/>
                    <a:pt x="370" y="184"/>
                  </a:cubicBezTo>
                  <a:close/>
                </a:path>
              </a:pathLst>
            </a:custGeom>
            <a:solidFill>
              <a:srgbClr val="4BACC6"/>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sp>
        <p:nvSpPr>
          <p:cNvPr id="180" name="Rechteck 125">
            <a:extLst>
              <a:ext uri="{FF2B5EF4-FFF2-40B4-BE49-F238E27FC236}">
                <a16:creationId xmlns:a16="http://schemas.microsoft.com/office/drawing/2014/main" id="{C0270E7A-E3A2-4179-B40F-50CE687944F2}"/>
              </a:ext>
            </a:extLst>
          </p:cNvPr>
          <p:cNvSpPr/>
          <p:nvPr/>
        </p:nvSpPr>
        <p:spPr bwMode="gray">
          <a:xfrm>
            <a:off x="2206428" y="2896464"/>
            <a:ext cx="1175163" cy="454979"/>
          </a:xfrm>
          <a:prstGeom prst="rect">
            <a:avLst/>
          </a:prstGeom>
        </p:spPr>
        <p:style>
          <a:lnRef idx="0">
            <a:scrgbClr r="0" g="0" b="0"/>
          </a:lnRef>
          <a:fillRef idx="0">
            <a:scrgbClr r="0" g="0" b="0"/>
          </a:fillRef>
          <a:effectRef idx="0">
            <a:scrgbClr r="0" g="0" b="0"/>
          </a:effectRef>
          <a:fontRef idx="major"/>
        </p:style>
        <p:txBody>
          <a:bodyPr wrap="square" lIns="72000" tIns="46800" rIns="72000">
            <a:no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defTabSz="801608"/>
            <a:r>
              <a:rPr lang="en-US" sz="1000" b="1" dirty="0">
                <a:solidFill>
                  <a:srgbClr val="14438E"/>
                </a:solidFill>
                <a:latin typeface="Arial" panose="020B0604020202020204" pitchFamily="34" charset="0"/>
                <a:cs typeface="Arial" panose="020B0604020202020204" pitchFamily="34" charset="0"/>
              </a:rPr>
              <a:t>1</a:t>
            </a:r>
            <a:r>
              <a:rPr lang="en-US" sz="1000" b="1" baseline="30000" dirty="0">
                <a:solidFill>
                  <a:srgbClr val="14438E"/>
                </a:solidFill>
                <a:latin typeface="Arial" panose="020B0604020202020204" pitchFamily="34" charset="0"/>
                <a:cs typeface="Arial" panose="020B0604020202020204" pitchFamily="34" charset="0"/>
              </a:rPr>
              <a:t>st</a:t>
            </a:r>
            <a:r>
              <a:rPr lang="en-US" sz="1000" b="1" dirty="0">
                <a:solidFill>
                  <a:srgbClr val="14438E"/>
                </a:solidFill>
                <a:latin typeface="Arial" panose="020B0604020202020204" pitchFamily="34" charset="0"/>
                <a:cs typeface="Arial" panose="020B0604020202020204" pitchFamily="34" charset="0"/>
              </a:rPr>
              <a:t> Drafting workshop</a:t>
            </a:r>
          </a:p>
        </p:txBody>
      </p:sp>
      <p:grpSp>
        <p:nvGrpSpPr>
          <p:cNvPr id="284" name="Group 283">
            <a:extLst>
              <a:ext uri="{FF2B5EF4-FFF2-40B4-BE49-F238E27FC236}">
                <a16:creationId xmlns:a16="http://schemas.microsoft.com/office/drawing/2014/main" id="{A790EED0-20F2-4BC6-80F1-9262704914AE}"/>
              </a:ext>
            </a:extLst>
          </p:cNvPr>
          <p:cNvGrpSpPr/>
          <p:nvPr/>
        </p:nvGrpSpPr>
        <p:grpSpPr>
          <a:xfrm>
            <a:off x="2586379" y="1586299"/>
            <a:ext cx="414664" cy="413999"/>
            <a:chOff x="674530" y="1584554"/>
            <a:chExt cx="414664" cy="413999"/>
          </a:xfrm>
        </p:grpSpPr>
        <p:sp>
          <p:nvSpPr>
            <p:cNvPr id="285" name="Oval 21">
              <a:extLst>
                <a:ext uri="{FF2B5EF4-FFF2-40B4-BE49-F238E27FC236}">
                  <a16:creationId xmlns:a16="http://schemas.microsoft.com/office/drawing/2014/main" id="{2F4D9B9D-ADA8-4DA2-88DB-FD8FFEFF1996}"/>
                </a:ext>
              </a:extLst>
            </p:cNvPr>
            <p:cNvSpPr>
              <a:spLocks noChangeAspect="1" noChangeArrowheads="1"/>
            </p:cNvSpPr>
            <p:nvPr/>
          </p:nvSpPr>
          <p:spPr bwMode="auto">
            <a:xfrm>
              <a:off x="674530" y="1584554"/>
              <a:ext cx="414664" cy="413999"/>
            </a:xfrm>
            <a:prstGeom prst="ellipse">
              <a:avLst/>
            </a:prstGeom>
            <a:solidFill>
              <a:srgbClr val="E7E6E6"/>
            </a:solidFill>
            <a:ln>
              <a:noFill/>
            </a:ln>
            <a:effectLst>
              <a:outerShdw blurRad="127000" dist="63500" dir="2700000" algn="tl" rotWithShape="0">
                <a:prstClr val="black">
                  <a:alpha val="50000"/>
                </a:prstClr>
              </a:outerShd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nvGrpSpPr>
            <p:cNvPr id="286" name="Google Shape;2456;p54">
              <a:extLst>
                <a:ext uri="{FF2B5EF4-FFF2-40B4-BE49-F238E27FC236}">
                  <a16:creationId xmlns:a16="http://schemas.microsoft.com/office/drawing/2014/main" id="{A32A159A-9FBC-4122-AF30-F0D820C63790}"/>
                </a:ext>
              </a:extLst>
            </p:cNvPr>
            <p:cNvGrpSpPr/>
            <p:nvPr/>
          </p:nvGrpSpPr>
          <p:grpSpPr>
            <a:xfrm>
              <a:off x="729170" y="1668834"/>
              <a:ext cx="287980" cy="219921"/>
              <a:chOff x="5776798" y="3409778"/>
              <a:chExt cx="346379" cy="264518"/>
            </a:xfrm>
            <a:solidFill>
              <a:schemeClr val="tx1">
                <a:lumMod val="65000"/>
                <a:lumOff val="35000"/>
              </a:schemeClr>
            </a:solidFill>
          </p:grpSpPr>
          <p:sp>
            <p:nvSpPr>
              <p:cNvPr id="287" name="Google Shape;2457;p54">
                <a:extLst>
                  <a:ext uri="{FF2B5EF4-FFF2-40B4-BE49-F238E27FC236}">
                    <a16:creationId xmlns:a16="http://schemas.microsoft.com/office/drawing/2014/main" id="{78595EE0-711D-4CB6-913C-5DE95579025C}"/>
                  </a:ext>
                </a:extLst>
              </p:cNvPr>
              <p:cNvSpPr/>
              <p:nvPr/>
            </p:nvSpPr>
            <p:spPr>
              <a:xfrm>
                <a:off x="5890104" y="3642055"/>
                <a:ext cx="10248" cy="32241"/>
              </a:xfrm>
              <a:custGeom>
                <a:avLst/>
                <a:gdLst/>
                <a:ahLst/>
                <a:cxnLst/>
                <a:rect l="l" t="t" r="r" b="b"/>
                <a:pathLst>
                  <a:path w="322" h="1013" extrusionOk="0">
                    <a:moveTo>
                      <a:pt x="167" y="1"/>
                    </a:moveTo>
                    <a:cubicBezTo>
                      <a:pt x="71" y="1"/>
                      <a:pt x="0" y="72"/>
                      <a:pt x="0" y="155"/>
                    </a:cubicBezTo>
                    <a:lnTo>
                      <a:pt x="0" y="846"/>
                    </a:lnTo>
                    <a:cubicBezTo>
                      <a:pt x="0" y="929"/>
                      <a:pt x="71" y="1013"/>
                      <a:pt x="167" y="1013"/>
                    </a:cubicBezTo>
                    <a:cubicBezTo>
                      <a:pt x="250" y="1013"/>
                      <a:pt x="321" y="929"/>
                      <a:pt x="321" y="846"/>
                    </a:cubicBezTo>
                    <a:lnTo>
                      <a:pt x="321" y="143"/>
                    </a:lnTo>
                    <a:cubicBezTo>
                      <a:pt x="321" y="60"/>
                      <a:pt x="250" y="1"/>
                      <a:pt x="167" y="1"/>
                    </a:cubicBezTo>
                    <a:close/>
                  </a:path>
                </a:pathLst>
              </a:custGeom>
              <a:grpFill/>
              <a:ln>
                <a:noFill/>
              </a:ln>
            </p:spPr>
            <p:txBody>
              <a:bodyPr spcFirstLastPara="1" wrap="square" lIns="91425" tIns="91425" rIns="91425" bIns="91425" anchor="ctr" anchorCtr="0">
                <a:noAutofit/>
              </a:bodyPr>
              <a:lstStyle/>
              <a:p>
                <a:endParaRPr/>
              </a:p>
            </p:txBody>
          </p:sp>
          <p:sp>
            <p:nvSpPr>
              <p:cNvPr id="288" name="Google Shape;2458;p54">
                <a:extLst>
                  <a:ext uri="{FF2B5EF4-FFF2-40B4-BE49-F238E27FC236}">
                    <a16:creationId xmlns:a16="http://schemas.microsoft.com/office/drawing/2014/main" id="{0BF3232E-2977-4335-979D-C3B59BC10282}"/>
                  </a:ext>
                </a:extLst>
              </p:cNvPr>
              <p:cNvSpPr/>
              <p:nvPr/>
            </p:nvSpPr>
            <p:spPr>
              <a:xfrm>
                <a:off x="5998094" y="3642055"/>
                <a:ext cx="10248" cy="32241"/>
              </a:xfrm>
              <a:custGeom>
                <a:avLst/>
                <a:gdLst/>
                <a:ahLst/>
                <a:cxnLst/>
                <a:rect l="l" t="t" r="r" b="b"/>
                <a:pathLst>
                  <a:path w="322" h="1013" extrusionOk="0">
                    <a:moveTo>
                      <a:pt x="167" y="1"/>
                    </a:moveTo>
                    <a:cubicBezTo>
                      <a:pt x="72" y="1"/>
                      <a:pt x="0" y="72"/>
                      <a:pt x="0" y="155"/>
                    </a:cubicBezTo>
                    <a:lnTo>
                      <a:pt x="0" y="846"/>
                    </a:lnTo>
                    <a:cubicBezTo>
                      <a:pt x="0" y="929"/>
                      <a:pt x="72" y="1013"/>
                      <a:pt x="167" y="1013"/>
                    </a:cubicBezTo>
                    <a:cubicBezTo>
                      <a:pt x="250" y="1013"/>
                      <a:pt x="322" y="929"/>
                      <a:pt x="322" y="846"/>
                    </a:cubicBezTo>
                    <a:lnTo>
                      <a:pt x="322" y="143"/>
                    </a:lnTo>
                    <a:cubicBezTo>
                      <a:pt x="310" y="60"/>
                      <a:pt x="250" y="1"/>
                      <a:pt x="167" y="1"/>
                    </a:cubicBezTo>
                    <a:close/>
                  </a:path>
                </a:pathLst>
              </a:custGeom>
              <a:grpFill/>
              <a:ln>
                <a:noFill/>
              </a:ln>
            </p:spPr>
            <p:txBody>
              <a:bodyPr spcFirstLastPara="1" wrap="square" lIns="91425" tIns="91425" rIns="91425" bIns="91425" anchor="ctr" anchorCtr="0">
                <a:noAutofit/>
              </a:bodyPr>
              <a:lstStyle/>
              <a:p>
                <a:endParaRPr/>
              </a:p>
            </p:txBody>
          </p:sp>
          <p:sp>
            <p:nvSpPr>
              <p:cNvPr id="289" name="Google Shape;2459;p54">
                <a:extLst>
                  <a:ext uri="{FF2B5EF4-FFF2-40B4-BE49-F238E27FC236}">
                    <a16:creationId xmlns:a16="http://schemas.microsoft.com/office/drawing/2014/main" id="{45E2CD0F-0F91-4C7B-93D2-662467F3E3D5}"/>
                  </a:ext>
                </a:extLst>
              </p:cNvPr>
              <p:cNvSpPr/>
              <p:nvPr/>
            </p:nvSpPr>
            <p:spPr>
              <a:xfrm>
                <a:off x="5814673" y="3528367"/>
                <a:ext cx="43222" cy="15564"/>
              </a:xfrm>
              <a:custGeom>
                <a:avLst/>
                <a:gdLst/>
                <a:ahLst/>
                <a:cxnLst/>
                <a:rect l="l" t="t" r="r" b="b"/>
                <a:pathLst>
                  <a:path w="1358" h="489" extrusionOk="0">
                    <a:moveTo>
                      <a:pt x="167" y="1"/>
                    </a:moveTo>
                    <a:cubicBezTo>
                      <a:pt x="72" y="1"/>
                      <a:pt x="1" y="72"/>
                      <a:pt x="1" y="156"/>
                    </a:cubicBezTo>
                    <a:cubicBezTo>
                      <a:pt x="1" y="251"/>
                      <a:pt x="72" y="322"/>
                      <a:pt x="167" y="322"/>
                    </a:cubicBezTo>
                    <a:cubicBezTo>
                      <a:pt x="346" y="322"/>
                      <a:pt x="870" y="358"/>
                      <a:pt x="1120" y="477"/>
                    </a:cubicBezTo>
                    <a:cubicBezTo>
                      <a:pt x="1144" y="489"/>
                      <a:pt x="1167" y="489"/>
                      <a:pt x="1191" y="489"/>
                    </a:cubicBezTo>
                    <a:cubicBezTo>
                      <a:pt x="1251" y="489"/>
                      <a:pt x="1310" y="453"/>
                      <a:pt x="1346" y="394"/>
                    </a:cubicBezTo>
                    <a:cubicBezTo>
                      <a:pt x="1358" y="322"/>
                      <a:pt x="1322" y="239"/>
                      <a:pt x="1251" y="191"/>
                    </a:cubicBezTo>
                    <a:cubicBezTo>
                      <a:pt x="882" y="13"/>
                      <a:pt x="191" y="1"/>
                      <a:pt x="167" y="1"/>
                    </a:cubicBezTo>
                    <a:close/>
                  </a:path>
                </a:pathLst>
              </a:custGeom>
              <a:grpFill/>
              <a:ln>
                <a:noFill/>
              </a:ln>
            </p:spPr>
            <p:txBody>
              <a:bodyPr spcFirstLastPara="1" wrap="square" lIns="91425" tIns="91425" rIns="91425" bIns="91425" anchor="ctr" anchorCtr="0">
                <a:noAutofit/>
              </a:bodyPr>
              <a:lstStyle/>
              <a:p>
                <a:endParaRPr/>
              </a:p>
            </p:txBody>
          </p:sp>
          <p:sp>
            <p:nvSpPr>
              <p:cNvPr id="290" name="Google Shape;2460;p54">
                <a:extLst>
                  <a:ext uri="{FF2B5EF4-FFF2-40B4-BE49-F238E27FC236}">
                    <a16:creationId xmlns:a16="http://schemas.microsoft.com/office/drawing/2014/main" id="{0BED2B59-2747-4F8A-93EE-A665B96F7F90}"/>
                  </a:ext>
                </a:extLst>
              </p:cNvPr>
              <p:cNvSpPr/>
              <p:nvPr/>
            </p:nvSpPr>
            <p:spPr>
              <a:xfrm>
                <a:off x="5797995" y="3631074"/>
                <a:ext cx="10662" cy="42458"/>
              </a:xfrm>
              <a:custGeom>
                <a:avLst/>
                <a:gdLst/>
                <a:ahLst/>
                <a:cxnLst/>
                <a:rect l="l" t="t" r="r" b="b"/>
                <a:pathLst>
                  <a:path w="335" h="1334" extrusionOk="0">
                    <a:moveTo>
                      <a:pt x="167" y="0"/>
                    </a:moveTo>
                    <a:cubicBezTo>
                      <a:pt x="84" y="0"/>
                      <a:pt x="1" y="72"/>
                      <a:pt x="1" y="167"/>
                    </a:cubicBezTo>
                    <a:lnTo>
                      <a:pt x="1" y="1179"/>
                    </a:lnTo>
                    <a:cubicBezTo>
                      <a:pt x="1" y="1262"/>
                      <a:pt x="84" y="1334"/>
                      <a:pt x="167" y="1334"/>
                    </a:cubicBezTo>
                    <a:cubicBezTo>
                      <a:pt x="251" y="1334"/>
                      <a:pt x="334" y="1262"/>
                      <a:pt x="334" y="1179"/>
                    </a:cubicBezTo>
                    <a:lnTo>
                      <a:pt x="334" y="167"/>
                    </a:lnTo>
                    <a:cubicBezTo>
                      <a:pt x="334" y="72"/>
                      <a:pt x="263" y="0"/>
                      <a:pt x="167" y="0"/>
                    </a:cubicBezTo>
                    <a:close/>
                  </a:path>
                </a:pathLst>
              </a:custGeom>
              <a:grpFill/>
              <a:ln>
                <a:noFill/>
              </a:ln>
            </p:spPr>
            <p:txBody>
              <a:bodyPr spcFirstLastPara="1" wrap="square" lIns="91425" tIns="91425" rIns="91425" bIns="91425" anchor="ctr" anchorCtr="0">
                <a:noAutofit/>
              </a:bodyPr>
              <a:lstStyle/>
              <a:p>
                <a:endParaRPr/>
              </a:p>
            </p:txBody>
          </p:sp>
          <p:sp>
            <p:nvSpPr>
              <p:cNvPr id="291" name="Google Shape;2461;p54">
                <a:extLst>
                  <a:ext uri="{FF2B5EF4-FFF2-40B4-BE49-F238E27FC236}">
                    <a16:creationId xmlns:a16="http://schemas.microsoft.com/office/drawing/2014/main" id="{C28B4C3F-5CC6-4493-ABF1-40CAEF3217ED}"/>
                  </a:ext>
                </a:extLst>
              </p:cNvPr>
              <p:cNvSpPr/>
              <p:nvPr/>
            </p:nvSpPr>
            <p:spPr>
              <a:xfrm>
                <a:off x="5776798" y="3409778"/>
                <a:ext cx="346379" cy="264136"/>
              </a:xfrm>
              <a:custGeom>
                <a:avLst/>
                <a:gdLst/>
                <a:ahLst/>
                <a:cxnLst/>
                <a:rect l="l" t="t" r="r" b="b"/>
                <a:pathLst>
                  <a:path w="10883" h="8299" extrusionOk="0">
                    <a:moveTo>
                      <a:pt x="9144" y="2512"/>
                    </a:moveTo>
                    <a:cubicBezTo>
                      <a:pt x="9418" y="2512"/>
                      <a:pt x="9656" y="2715"/>
                      <a:pt x="9656" y="2953"/>
                    </a:cubicBezTo>
                    <a:lnTo>
                      <a:pt x="9656" y="2977"/>
                    </a:lnTo>
                    <a:cubicBezTo>
                      <a:pt x="9501" y="2917"/>
                      <a:pt x="9335" y="2869"/>
                      <a:pt x="9144" y="2869"/>
                    </a:cubicBezTo>
                    <a:cubicBezTo>
                      <a:pt x="8965" y="2869"/>
                      <a:pt x="8787" y="2905"/>
                      <a:pt x="8620" y="2977"/>
                    </a:cubicBezTo>
                    <a:lnTo>
                      <a:pt x="8620" y="2953"/>
                    </a:lnTo>
                    <a:cubicBezTo>
                      <a:pt x="8620" y="2727"/>
                      <a:pt x="8858" y="2512"/>
                      <a:pt x="9144" y="2512"/>
                    </a:cubicBezTo>
                    <a:close/>
                    <a:moveTo>
                      <a:pt x="2869" y="3203"/>
                    </a:moveTo>
                    <a:lnTo>
                      <a:pt x="2869" y="3858"/>
                    </a:lnTo>
                    <a:cubicBezTo>
                      <a:pt x="2869" y="3965"/>
                      <a:pt x="2846" y="4060"/>
                      <a:pt x="2798" y="4167"/>
                    </a:cubicBezTo>
                    <a:lnTo>
                      <a:pt x="2727" y="4334"/>
                    </a:lnTo>
                    <a:cubicBezTo>
                      <a:pt x="2715" y="4346"/>
                      <a:pt x="2715" y="4382"/>
                      <a:pt x="2715" y="4405"/>
                    </a:cubicBezTo>
                    <a:lnTo>
                      <a:pt x="2715" y="4751"/>
                    </a:lnTo>
                    <a:cubicBezTo>
                      <a:pt x="2715" y="4989"/>
                      <a:pt x="2619" y="5191"/>
                      <a:pt x="2441" y="5358"/>
                    </a:cubicBezTo>
                    <a:cubicBezTo>
                      <a:pt x="2298" y="5525"/>
                      <a:pt x="2072" y="5596"/>
                      <a:pt x="1834" y="5596"/>
                    </a:cubicBezTo>
                    <a:cubicBezTo>
                      <a:pt x="1369" y="5584"/>
                      <a:pt x="1000" y="5179"/>
                      <a:pt x="1000" y="4703"/>
                    </a:cubicBezTo>
                    <a:lnTo>
                      <a:pt x="1000" y="4405"/>
                    </a:lnTo>
                    <a:cubicBezTo>
                      <a:pt x="1000" y="4382"/>
                      <a:pt x="1000" y="4358"/>
                      <a:pt x="988" y="4334"/>
                    </a:cubicBezTo>
                    <a:lnTo>
                      <a:pt x="881" y="4143"/>
                    </a:lnTo>
                    <a:cubicBezTo>
                      <a:pt x="845" y="4060"/>
                      <a:pt x="822" y="3989"/>
                      <a:pt x="822" y="3905"/>
                    </a:cubicBezTo>
                    <a:lnTo>
                      <a:pt x="822" y="3882"/>
                    </a:lnTo>
                    <a:cubicBezTo>
                      <a:pt x="822" y="3501"/>
                      <a:pt x="1131" y="3203"/>
                      <a:pt x="1500" y="3203"/>
                    </a:cubicBezTo>
                    <a:close/>
                    <a:moveTo>
                      <a:pt x="9144" y="3215"/>
                    </a:moveTo>
                    <a:cubicBezTo>
                      <a:pt x="9704" y="3215"/>
                      <a:pt x="10168" y="3679"/>
                      <a:pt x="10168" y="4239"/>
                    </a:cubicBezTo>
                    <a:cubicBezTo>
                      <a:pt x="10168" y="4346"/>
                      <a:pt x="10156" y="4465"/>
                      <a:pt x="10108" y="4572"/>
                    </a:cubicBezTo>
                    <a:cubicBezTo>
                      <a:pt x="9656" y="4108"/>
                      <a:pt x="8870" y="3929"/>
                      <a:pt x="8823" y="3929"/>
                    </a:cubicBezTo>
                    <a:cubicBezTo>
                      <a:pt x="8814" y="3926"/>
                      <a:pt x="8804" y="3925"/>
                      <a:pt x="8794" y="3925"/>
                    </a:cubicBezTo>
                    <a:cubicBezTo>
                      <a:pt x="8763" y="3925"/>
                      <a:pt x="8727" y="3938"/>
                      <a:pt x="8692" y="3965"/>
                    </a:cubicBezTo>
                    <a:cubicBezTo>
                      <a:pt x="8644" y="3989"/>
                      <a:pt x="8632" y="4036"/>
                      <a:pt x="8632" y="4084"/>
                    </a:cubicBezTo>
                    <a:cubicBezTo>
                      <a:pt x="8632" y="4084"/>
                      <a:pt x="8632" y="4179"/>
                      <a:pt x="8513" y="4298"/>
                    </a:cubicBezTo>
                    <a:cubicBezTo>
                      <a:pt x="8453" y="4358"/>
                      <a:pt x="8453" y="4465"/>
                      <a:pt x="8513" y="4524"/>
                    </a:cubicBezTo>
                    <a:cubicBezTo>
                      <a:pt x="8543" y="4554"/>
                      <a:pt x="8584" y="4569"/>
                      <a:pt x="8626" y="4569"/>
                    </a:cubicBezTo>
                    <a:cubicBezTo>
                      <a:pt x="8668" y="4569"/>
                      <a:pt x="8709" y="4554"/>
                      <a:pt x="8739" y="4524"/>
                    </a:cubicBezTo>
                    <a:cubicBezTo>
                      <a:pt x="8823" y="4441"/>
                      <a:pt x="8882" y="4346"/>
                      <a:pt x="8918" y="4274"/>
                    </a:cubicBezTo>
                    <a:cubicBezTo>
                      <a:pt x="9180" y="4346"/>
                      <a:pt x="9739" y="4560"/>
                      <a:pt x="9989" y="4894"/>
                    </a:cubicBezTo>
                    <a:cubicBezTo>
                      <a:pt x="9906" y="5298"/>
                      <a:pt x="9573" y="5596"/>
                      <a:pt x="9144" y="5596"/>
                    </a:cubicBezTo>
                    <a:cubicBezTo>
                      <a:pt x="8704" y="5596"/>
                      <a:pt x="8334" y="5275"/>
                      <a:pt x="8287" y="4834"/>
                    </a:cubicBezTo>
                    <a:cubicBezTo>
                      <a:pt x="8287" y="4810"/>
                      <a:pt x="8275" y="4798"/>
                      <a:pt x="8263" y="4774"/>
                    </a:cubicBezTo>
                    <a:cubicBezTo>
                      <a:pt x="8156" y="4620"/>
                      <a:pt x="8108" y="4441"/>
                      <a:pt x="8108" y="4239"/>
                    </a:cubicBezTo>
                    <a:cubicBezTo>
                      <a:pt x="8108" y="3679"/>
                      <a:pt x="8573" y="3215"/>
                      <a:pt x="9144" y="3215"/>
                    </a:cubicBezTo>
                    <a:close/>
                    <a:moveTo>
                      <a:pt x="5441" y="298"/>
                    </a:moveTo>
                    <a:cubicBezTo>
                      <a:pt x="6013" y="298"/>
                      <a:pt x="6489" y="488"/>
                      <a:pt x="6858" y="845"/>
                    </a:cubicBezTo>
                    <a:cubicBezTo>
                      <a:pt x="7227" y="1226"/>
                      <a:pt x="7453" y="1738"/>
                      <a:pt x="7501" y="2369"/>
                    </a:cubicBezTo>
                    <a:cubicBezTo>
                      <a:pt x="7620" y="4060"/>
                      <a:pt x="7763" y="5001"/>
                      <a:pt x="7822" y="5334"/>
                    </a:cubicBezTo>
                    <a:lnTo>
                      <a:pt x="7822" y="5346"/>
                    </a:lnTo>
                    <a:cubicBezTo>
                      <a:pt x="7632" y="5453"/>
                      <a:pt x="7310" y="5632"/>
                      <a:pt x="6787" y="5763"/>
                    </a:cubicBezTo>
                    <a:lnTo>
                      <a:pt x="6525" y="5644"/>
                    </a:lnTo>
                    <a:cubicBezTo>
                      <a:pt x="6453" y="5608"/>
                      <a:pt x="6418" y="5548"/>
                      <a:pt x="6418" y="5477"/>
                    </a:cubicBezTo>
                    <a:lnTo>
                      <a:pt x="6418" y="4929"/>
                    </a:lnTo>
                    <a:cubicBezTo>
                      <a:pt x="6918" y="4596"/>
                      <a:pt x="7263" y="4024"/>
                      <a:pt x="7263" y="3370"/>
                    </a:cubicBezTo>
                    <a:lnTo>
                      <a:pt x="7263" y="3072"/>
                    </a:lnTo>
                    <a:cubicBezTo>
                      <a:pt x="7263" y="2869"/>
                      <a:pt x="7180" y="2691"/>
                      <a:pt x="7037" y="2560"/>
                    </a:cubicBezTo>
                    <a:cubicBezTo>
                      <a:pt x="6727" y="2274"/>
                      <a:pt x="6001" y="1798"/>
                      <a:pt x="4751" y="1667"/>
                    </a:cubicBezTo>
                    <a:cubicBezTo>
                      <a:pt x="4744" y="1666"/>
                      <a:pt x="4737" y="1666"/>
                      <a:pt x="4730" y="1666"/>
                    </a:cubicBezTo>
                    <a:cubicBezTo>
                      <a:pt x="4645" y="1666"/>
                      <a:pt x="4583" y="1733"/>
                      <a:pt x="4572" y="1822"/>
                    </a:cubicBezTo>
                    <a:cubicBezTo>
                      <a:pt x="4548" y="1905"/>
                      <a:pt x="4632" y="1977"/>
                      <a:pt x="4715" y="2000"/>
                    </a:cubicBezTo>
                    <a:cubicBezTo>
                      <a:pt x="5882" y="2119"/>
                      <a:pt x="6537" y="2548"/>
                      <a:pt x="6834" y="2798"/>
                    </a:cubicBezTo>
                    <a:cubicBezTo>
                      <a:pt x="6906" y="2858"/>
                      <a:pt x="6953" y="2965"/>
                      <a:pt x="6953" y="3072"/>
                    </a:cubicBezTo>
                    <a:lnTo>
                      <a:pt x="6953" y="3370"/>
                    </a:lnTo>
                    <a:cubicBezTo>
                      <a:pt x="6953" y="4215"/>
                      <a:pt x="6263" y="4894"/>
                      <a:pt x="5417" y="4894"/>
                    </a:cubicBezTo>
                    <a:cubicBezTo>
                      <a:pt x="4572" y="4894"/>
                      <a:pt x="3881" y="4215"/>
                      <a:pt x="3881" y="3370"/>
                    </a:cubicBezTo>
                    <a:lnTo>
                      <a:pt x="3881" y="3227"/>
                    </a:lnTo>
                    <a:cubicBezTo>
                      <a:pt x="3881" y="3167"/>
                      <a:pt x="3917" y="3108"/>
                      <a:pt x="3977" y="3084"/>
                    </a:cubicBezTo>
                    <a:cubicBezTo>
                      <a:pt x="4167" y="2965"/>
                      <a:pt x="4429" y="2750"/>
                      <a:pt x="4548" y="2393"/>
                    </a:cubicBezTo>
                    <a:cubicBezTo>
                      <a:pt x="4584" y="2310"/>
                      <a:pt x="4536" y="2215"/>
                      <a:pt x="4453" y="2203"/>
                    </a:cubicBezTo>
                    <a:cubicBezTo>
                      <a:pt x="4434" y="2198"/>
                      <a:pt x="4415" y="2196"/>
                      <a:pt x="4398" y="2196"/>
                    </a:cubicBezTo>
                    <a:cubicBezTo>
                      <a:pt x="4327" y="2196"/>
                      <a:pt x="4270" y="2234"/>
                      <a:pt x="4251" y="2310"/>
                    </a:cubicBezTo>
                    <a:cubicBezTo>
                      <a:pt x="4167" y="2572"/>
                      <a:pt x="3977" y="2727"/>
                      <a:pt x="3822" y="2810"/>
                    </a:cubicBezTo>
                    <a:cubicBezTo>
                      <a:pt x="3679" y="2905"/>
                      <a:pt x="3572" y="3072"/>
                      <a:pt x="3572" y="3227"/>
                    </a:cubicBezTo>
                    <a:lnTo>
                      <a:pt x="3572" y="3370"/>
                    </a:lnTo>
                    <a:cubicBezTo>
                      <a:pt x="3572" y="4024"/>
                      <a:pt x="3917" y="4584"/>
                      <a:pt x="4417" y="4929"/>
                    </a:cubicBezTo>
                    <a:lnTo>
                      <a:pt x="4417" y="5477"/>
                    </a:lnTo>
                    <a:cubicBezTo>
                      <a:pt x="4417" y="5548"/>
                      <a:pt x="4370" y="5608"/>
                      <a:pt x="4310" y="5644"/>
                    </a:cubicBezTo>
                    <a:lnTo>
                      <a:pt x="4048" y="5763"/>
                    </a:lnTo>
                    <a:cubicBezTo>
                      <a:pt x="3536" y="5632"/>
                      <a:pt x="3215" y="5453"/>
                      <a:pt x="3060" y="5346"/>
                    </a:cubicBezTo>
                    <a:lnTo>
                      <a:pt x="3060" y="5334"/>
                    </a:lnTo>
                    <a:cubicBezTo>
                      <a:pt x="3131" y="5001"/>
                      <a:pt x="3262" y="4060"/>
                      <a:pt x="3393" y="2369"/>
                    </a:cubicBezTo>
                    <a:cubicBezTo>
                      <a:pt x="3441" y="1738"/>
                      <a:pt x="3655" y="1226"/>
                      <a:pt x="4036" y="845"/>
                    </a:cubicBezTo>
                    <a:cubicBezTo>
                      <a:pt x="4393" y="488"/>
                      <a:pt x="4882" y="298"/>
                      <a:pt x="5441" y="298"/>
                    </a:cubicBezTo>
                    <a:close/>
                    <a:moveTo>
                      <a:pt x="2750" y="5465"/>
                    </a:moveTo>
                    <a:cubicBezTo>
                      <a:pt x="2786" y="5501"/>
                      <a:pt x="2810" y="5572"/>
                      <a:pt x="2869" y="5596"/>
                    </a:cubicBezTo>
                    <a:cubicBezTo>
                      <a:pt x="3000" y="5691"/>
                      <a:pt x="3239" y="5822"/>
                      <a:pt x="3584" y="5941"/>
                    </a:cubicBezTo>
                    <a:lnTo>
                      <a:pt x="3155" y="6144"/>
                    </a:lnTo>
                    <a:lnTo>
                      <a:pt x="2655" y="6001"/>
                    </a:lnTo>
                    <a:cubicBezTo>
                      <a:pt x="2512" y="5953"/>
                      <a:pt x="2512" y="5953"/>
                      <a:pt x="2512" y="5906"/>
                    </a:cubicBezTo>
                    <a:lnTo>
                      <a:pt x="2512" y="5691"/>
                    </a:lnTo>
                    <a:cubicBezTo>
                      <a:pt x="2572" y="5656"/>
                      <a:pt x="2619" y="5608"/>
                      <a:pt x="2667" y="5572"/>
                    </a:cubicBezTo>
                    <a:cubicBezTo>
                      <a:pt x="2691" y="5536"/>
                      <a:pt x="2727" y="5513"/>
                      <a:pt x="2750" y="5465"/>
                    </a:cubicBezTo>
                    <a:close/>
                    <a:moveTo>
                      <a:pt x="8096" y="5239"/>
                    </a:moveTo>
                    <a:cubicBezTo>
                      <a:pt x="8180" y="5417"/>
                      <a:pt x="8323" y="5572"/>
                      <a:pt x="8477" y="5691"/>
                    </a:cubicBezTo>
                    <a:lnTo>
                      <a:pt x="8477" y="6025"/>
                    </a:lnTo>
                    <a:lnTo>
                      <a:pt x="8489" y="6025"/>
                    </a:lnTo>
                    <a:lnTo>
                      <a:pt x="7977" y="6287"/>
                    </a:lnTo>
                    <a:cubicBezTo>
                      <a:pt x="7977" y="6287"/>
                      <a:pt x="7965" y="6287"/>
                      <a:pt x="7965" y="6263"/>
                    </a:cubicBezTo>
                    <a:lnTo>
                      <a:pt x="7227" y="5941"/>
                    </a:lnTo>
                    <a:cubicBezTo>
                      <a:pt x="7596" y="5822"/>
                      <a:pt x="7822" y="5667"/>
                      <a:pt x="7942" y="5596"/>
                    </a:cubicBezTo>
                    <a:cubicBezTo>
                      <a:pt x="8049" y="5525"/>
                      <a:pt x="8108" y="5406"/>
                      <a:pt x="8096" y="5275"/>
                    </a:cubicBezTo>
                    <a:lnTo>
                      <a:pt x="8096" y="5239"/>
                    </a:lnTo>
                    <a:close/>
                    <a:moveTo>
                      <a:pt x="2203" y="5870"/>
                    </a:moveTo>
                    <a:lnTo>
                      <a:pt x="2203" y="5929"/>
                    </a:lnTo>
                    <a:cubicBezTo>
                      <a:pt x="2203" y="5953"/>
                      <a:pt x="2203" y="5989"/>
                      <a:pt x="2215" y="6013"/>
                    </a:cubicBezTo>
                    <a:lnTo>
                      <a:pt x="1857" y="6370"/>
                    </a:lnTo>
                    <a:lnTo>
                      <a:pt x="1500" y="6013"/>
                    </a:lnTo>
                    <a:cubicBezTo>
                      <a:pt x="1512" y="5989"/>
                      <a:pt x="1512" y="5953"/>
                      <a:pt x="1512" y="5929"/>
                    </a:cubicBezTo>
                    <a:lnTo>
                      <a:pt x="1512" y="5870"/>
                    </a:lnTo>
                    <a:cubicBezTo>
                      <a:pt x="1619" y="5894"/>
                      <a:pt x="1726" y="5929"/>
                      <a:pt x="1834" y="5929"/>
                    </a:cubicBezTo>
                    <a:lnTo>
                      <a:pt x="1857" y="5929"/>
                    </a:lnTo>
                    <a:cubicBezTo>
                      <a:pt x="1976" y="5929"/>
                      <a:pt x="2096" y="5906"/>
                      <a:pt x="2203" y="5870"/>
                    </a:cubicBezTo>
                    <a:close/>
                    <a:moveTo>
                      <a:pt x="9525" y="5882"/>
                    </a:moveTo>
                    <a:lnTo>
                      <a:pt x="9525" y="6048"/>
                    </a:lnTo>
                    <a:cubicBezTo>
                      <a:pt x="9525" y="6108"/>
                      <a:pt x="9537" y="6144"/>
                      <a:pt x="9573" y="6191"/>
                    </a:cubicBezTo>
                    <a:lnTo>
                      <a:pt x="9394" y="6322"/>
                    </a:lnTo>
                    <a:cubicBezTo>
                      <a:pt x="9323" y="6394"/>
                      <a:pt x="9236" y="6429"/>
                      <a:pt x="9151" y="6429"/>
                    </a:cubicBezTo>
                    <a:cubicBezTo>
                      <a:pt x="9067" y="6429"/>
                      <a:pt x="8983" y="6394"/>
                      <a:pt x="8918" y="6322"/>
                    </a:cubicBezTo>
                    <a:lnTo>
                      <a:pt x="8763" y="6191"/>
                    </a:lnTo>
                    <a:cubicBezTo>
                      <a:pt x="8799" y="6144"/>
                      <a:pt x="8811" y="6084"/>
                      <a:pt x="8811" y="6048"/>
                    </a:cubicBezTo>
                    <a:lnTo>
                      <a:pt x="8811" y="5882"/>
                    </a:lnTo>
                    <a:cubicBezTo>
                      <a:pt x="8918" y="5906"/>
                      <a:pt x="9037" y="5941"/>
                      <a:pt x="9168" y="5941"/>
                    </a:cubicBezTo>
                    <a:cubicBezTo>
                      <a:pt x="9287" y="5941"/>
                      <a:pt x="9406" y="5929"/>
                      <a:pt x="9525" y="5882"/>
                    </a:cubicBezTo>
                    <a:close/>
                    <a:moveTo>
                      <a:pt x="6096" y="5096"/>
                    </a:moveTo>
                    <a:lnTo>
                      <a:pt x="6096" y="5477"/>
                    </a:lnTo>
                    <a:cubicBezTo>
                      <a:pt x="6096" y="5667"/>
                      <a:pt x="6215" y="5846"/>
                      <a:pt x="6394" y="5941"/>
                    </a:cubicBezTo>
                    <a:lnTo>
                      <a:pt x="6632" y="6048"/>
                    </a:lnTo>
                    <a:cubicBezTo>
                      <a:pt x="6406" y="6489"/>
                      <a:pt x="5941" y="6787"/>
                      <a:pt x="5417" y="6787"/>
                    </a:cubicBezTo>
                    <a:cubicBezTo>
                      <a:pt x="4894" y="6787"/>
                      <a:pt x="4441" y="6501"/>
                      <a:pt x="4203" y="6048"/>
                    </a:cubicBezTo>
                    <a:lnTo>
                      <a:pt x="4441" y="5941"/>
                    </a:lnTo>
                    <a:cubicBezTo>
                      <a:pt x="4620" y="5870"/>
                      <a:pt x="4739" y="5691"/>
                      <a:pt x="4739" y="5477"/>
                    </a:cubicBezTo>
                    <a:lnTo>
                      <a:pt x="4739" y="5096"/>
                    </a:lnTo>
                    <a:cubicBezTo>
                      <a:pt x="4941" y="5179"/>
                      <a:pt x="5179" y="5227"/>
                      <a:pt x="5417" y="5227"/>
                    </a:cubicBezTo>
                    <a:cubicBezTo>
                      <a:pt x="5656" y="5227"/>
                      <a:pt x="5894" y="5179"/>
                      <a:pt x="6096" y="5096"/>
                    </a:cubicBezTo>
                    <a:close/>
                    <a:moveTo>
                      <a:pt x="5417" y="0"/>
                    </a:moveTo>
                    <a:cubicBezTo>
                      <a:pt x="4763" y="0"/>
                      <a:pt x="4215" y="226"/>
                      <a:pt x="3786" y="643"/>
                    </a:cubicBezTo>
                    <a:cubicBezTo>
                      <a:pt x="3346" y="1060"/>
                      <a:pt x="3096" y="1655"/>
                      <a:pt x="3048" y="2346"/>
                    </a:cubicBezTo>
                    <a:cubicBezTo>
                      <a:pt x="3036" y="2548"/>
                      <a:pt x="3024" y="2703"/>
                      <a:pt x="3012" y="2881"/>
                    </a:cubicBezTo>
                    <a:lnTo>
                      <a:pt x="1524" y="2881"/>
                    </a:lnTo>
                    <a:cubicBezTo>
                      <a:pt x="964" y="2881"/>
                      <a:pt x="512" y="3334"/>
                      <a:pt x="512" y="3893"/>
                    </a:cubicBezTo>
                    <a:lnTo>
                      <a:pt x="512" y="3917"/>
                    </a:lnTo>
                    <a:cubicBezTo>
                      <a:pt x="512" y="4048"/>
                      <a:pt x="536" y="4167"/>
                      <a:pt x="595" y="4286"/>
                    </a:cubicBezTo>
                    <a:lnTo>
                      <a:pt x="667" y="4453"/>
                    </a:lnTo>
                    <a:lnTo>
                      <a:pt x="667" y="4703"/>
                    </a:lnTo>
                    <a:cubicBezTo>
                      <a:pt x="667" y="5120"/>
                      <a:pt x="881" y="5477"/>
                      <a:pt x="1179" y="5703"/>
                    </a:cubicBezTo>
                    <a:lnTo>
                      <a:pt x="1179" y="5929"/>
                    </a:lnTo>
                    <a:cubicBezTo>
                      <a:pt x="1179" y="5953"/>
                      <a:pt x="1167" y="5989"/>
                      <a:pt x="1131" y="5989"/>
                    </a:cubicBezTo>
                    <a:lnTo>
                      <a:pt x="476" y="6179"/>
                    </a:lnTo>
                    <a:cubicBezTo>
                      <a:pt x="191" y="6251"/>
                      <a:pt x="0" y="6513"/>
                      <a:pt x="0" y="6810"/>
                    </a:cubicBezTo>
                    <a:lnTo>
                      <a:pt x="0" y="8120"/>
                    </a:lnTo>
                    <a:cubicBezTo>
                      <a:pt x="0" y="8215"/>
                      <a:pt x="71" y="8287"/>
                      <a:pt x="167" y="8287"/>
                    </a:cubicBezTo>
                    <a:cubicBezTo>
                      <a:pt x="250" y="8287"/>
                      <a:pt x="333" y="8215"/>
                      <a:pt x="333" y="8120"/>
                    </a:cubicBezTo>
                    <a:lnTo>
                      <a:pt x="333" y="6810"/>
                    </a:lnTo>
                    <a:cubicBezTo>
                      <a:pt x="333" y="6668"/>
                      <a:pt x="429" y="6513"/>
                      <a:pt x="583" y="6477"/>
                    </a:cubicBezTo>
                    <a:lnTo>
                      <a:pt x="1238" y="6287"/>
                    </a:lnTo>
                    <a:cubicBezTo>
                      <a:pt x="1262" y="6287"/>
                      <a:pt x="1286" y="6263"/>
                      <a:pt x="1310" y="6251"/>
                    </a:cubicBezTo>
                    <a:lnTo>
                      <a:pt x="1715" y="6656"/>
                    </a:lnTo>
                    <a:lnTo>
                      <a:pt x="1715" y="8108"/>
                    </a:lnTo>
                    <a:cubicBezTo>
                      <a:pt x="1715" y="8203"/>
                      <a:pt x="1786" y="8275"/>
                      <a:pt x="1881" y="8275"/>
                    </a:cubicBezTo>
                    <a:cubicBezTo>
                      <a:pt x="1965" y="8275"/>
                      <a:pt x="2036" y="8203"/>
                      <a:pt x="2036" y="8108"/>
                    </a:cubicBezTo>
                    <a:lnTo>
                      <a:pt x="2036" y="6656"/>
                    </a:lnTo>
                    <a:lnTo>
                      <a:pt x="2441" y="6251"/>
                    </a:lnTo>
                    <a:cubicBezTo>
                      <a:pt x="2500" y="6287"/>
                      <a:pt x="2548" y="6298"/>
                      <a:pt x="2596" y="6310"/>
                    </a:cubicBezTo>
                    <a:lnTo>
                      <a:pt x="2750" y="6358"/>
                    </a:lnTo>
                    <a:cubicBezTo>
                      <a:pt x="2536" y="6501"/>
                      <a:pt x="2393" y="6751"/>
                      <a:pt x="2393" y="7037"/>
                    </a:cubicBezTo>
                    <a:lnTo>
                      <a:pt x="2393" y="8120"/>
                    </a:lnTo>
                    <a:cubicBezTo>
                      <a:pt x="2393" y="8215"/>
                      <a:pt x="2465" y="8287"/>
                      <a:pt x="2560" y="8287"/>
                    </a:cubicBezTo>
                    <a:cubicBezTo>
                      <a:pt x="2643" y="8287"/>
                      <a:pt x="2727" y="8215"/>
                      <a:pt x="2727" y="8120"/>
                    </a:cubicBezTo>
                    <a:lnTo>
                      <a:pt x="2727" y="7037"/>
                    </a:lnTo>
                    <a:cubicBezTo>
                      <a:pt x="2727" y="6834"/>
                      <a:pt x="2846" y="6656"/>
                      <a:pt x="3036" y="6560"/>
                    </a:cubicBezTo>
                    <a:lnTo>
                      <a:pt x="3941" y="6156"/>
                    </a:lnTo>
                    <a:cubicBezTo>
                      <a:pt x="4227" y="6727"/>
                      <a:pt x="4810" y="7096"/>
                      <a:pt x="5441" y="7096"/>
                    </a:cubicBezTo>
                    <a:cubicBezTo>
                      <a:pt x="6084" y="7096"/>
                      <a:pt x="6668" y="6739"/>
                      <a:pt x="6953" y="6156"/>
                    </a:cubicBezTo>
                    <a:lnTo>
                      <a:pt x="7858" y="6560"/>
                    </a:lnTo>
                    <a:cubicBezTo>
                      <a:pt x="8049" y="6656"/>
                      <a:pt x="8168" y="6834"/>
                      <a:pt x="8168" y="7037"/>
                    </a:cubicBezTo>
                    <a:lnTo>
                      <a:pt x="8168" y="8120"/>
                    </a:lnTo>
                    <a:cubicBezTo>
                      <a:pt x="8168" y="8215"/>
                      <a:pt x="8239" y="8287"/>
                      <a:pt x="8334" y="8287"/>
                    </a:cubicBezTo>
                    <a:cubicBezTo>
                      <a:pt x="8418" y="8287"/>
                      <a:pt x="8501" y="8215"/>
                      <a:pt x="8501" y="8120"/>
                    </a:cubicBezTo>
                    <a:lnTo>
                      <a:pt x="8501" y="7037"/>
                    </a:lnTo>
                    <a:cubicBezTo>
                      <a:pt x="8501" y="6834"/>
                      <a:pt x="8418" y="6656"/>
                      <a:pt x="8299" y="6501"/>
                    </a:cubicBezTo>
                    <a:lnTo>
                      <a:pt x="8537" y="6382"/>
                    </a:lnTo>
                    <a:lnTo>
                      <a:pt x="8715" y="6560"/>
                    </a:lnTo>
                    <a:cubicBezTo>
                      <a:pt x="8858" y="6679"/>
                      <a:pt x="9013" y="6739"/>
                      <a:pt x="9180" y="6739"/>
                    </a:cubicBezTo>
                    <a:cubicBezTo>
                      <a:pt x="9346" y="6739"/>
                      <a:pt x="9513" y="6679"/>
                      <a:pt x="9644" y="6560"/>
                    </a:cubicBezTo>
                    <a:lnTo>
                      <a:pt x="9823" y="6382"/>
                    </a:lnTo>
                    <a:lnTo>
                      <a:pt x="10358" y="6656"/>
                    </a:lnTo>
                    <a:cubicBezTo>
                      <a:pt x="10478" y="6715"/>
                      <a:pt x="10549" y="6834"/>
                      <a:pt x="10549" y="6965"/>
                    </a:cubicBezTo>
                    <a:lnTo>
                      <a:pt x="10549" y="8144"/>
                    </a:lnTo>
                    <a:cubicBezTo>
                      <a:pt x="10549" y="8227"/>
                      <a:pt x="10620" y="8299"/>
                      <a:pt x="10716" y="8299"/>
                    </a:cubicBezTo>
                    <a:cubicBezTo>
                      <a:pt x="10799" y="8299"/>
                      <a:pt x="10882" y="8227"/>
                      <a:pt x="10882" y="8144"/>
                    </a:cubicBezTo>
                    <a:lnTo>
                      <a:pt x="10882" y="6965"/>
                    </a:lnTo>
                    <a:cubicBezTo>
                      <a:pt x="10823" y="6703"/>
                      <a:pt x="10692" y="6477"/>
                      <a:pt x="10466" y="6358"/>
                    </a:cubicBezTo>
                    <a:lnTo>
                      <a:pt x="9823" y="6025"/>
                    </a:lnTo>
                    <a:lnTo>
                      <a:pt x="9823" y="6013"/>
                    </a:lnTo>
                    <a:lnTo>
                      <a:pt x="9823" y="5691"/>
                    </a:lnTo>
                    <a:cubicBezTo>
                      <a:pt x="10097" y="5501"/>
                      <a:pt x="10275" y="5227"/>
                      <a:pt x="10311" y="4882"/>
                    </a:cubicBezTo>
                    <a:cubicBezTo>
                      <a:pt x="10430" y="4679"/>
                      <a:pt x="10489" y="4453"/>
                      <a:pt x="10489" y="4215"/>
                    </a:cubicBezTo>
                    <a:cubicBezTo>
                      <a:pt x="10489" y="3786"/>
                      <a:pt x="10287" y="3381"/>
                      <a:pt x="9954" y="3143"/>
                    </a:cubicBezTo>
                    <a:cubicBezTo>
                      <a:pt x="9977" y="3084"/>
                      <a:pt x="9989" y="3012"/>
                      <a:pt x="9989" y="2953"/>
                    </a:cubicBezTo>
                    <a:cubicBezTo>
                      <a:pt x="9989" y="2536"/>
                      <a:pt x="9620" y="2191"/>
                      <a:pt x="9156" y="2191"/>
                    </a:cubicBezTo>
                    <a:cubicBezTo>
                      <a:pt x="8692" y="2191"/>
                      <a:pt x="8323" y="2524"/>
                      <a:pt x="8323" y="2953"/>
                    </a:cubicBezTo>
                    <a:cubicBezTo>
                      <a:pt x="8323" y="3024"/>
                      <a:pt x="8334" y="3084"/>
                      <a:pt x="8346" y="3143"/>
                    </a:cubicBezTo>
                    <a:cubicBezTo>
                      <a:pt x="8156" y="3286"/>
                      <a:pt x="8013" y="3477"/>
                      <a:pt x="7906" y="3715"/>
                    </a:cubicBezTo>
                    <a:cubicBezTo>
                      <a:pt x="7858" y="3334"/>
                      <a:pt x="7834" y="2869"/>
                      <a:pt x="7787" y="2346"/>
                    </a:cubicBezTo>
                    <a:cubicBezTo>
                      <a:pt x="7739" y="1655"/>
                      <a:pt x="7489" y="1060"/>
                      <a:pt x="7060" y="643"/>
                    </a:cubicBezTo>
                    <a:cubicBezTo>
                      <a:pt x="6644" y="226"/>
                      <a:pt x="6072" y="0"/>
                      <a:pt x="5417" y="0"/>
                    </a:cubicBezTo>
                    <a:close/>
                  </a:path>
                </a:pathLst>
              </a:custGeom>
              <a:grpFill/>
              <a:ln>
                <a:noFill/>
              </a:ln>
            </p:spPr>
            <p:txBody>
              <a:bodyPr spcFirstLastPara="1" wrap="square" lIns="91425" tIns="91425" rIns="91425" bIns="91425" anchor="ctr" anchorCtr="0">
                <a:noAutofit/>
              </a:bodyPr>
              <a:lstStyle/>
              <a:p>
                <a:endParaRPr dirty="0"/>
              </a:p>
            </p:txBody>
          </p:sp>
          <p:sp>
            <p:nvSpPr>
              <p:cNvPr id="292" name="Google Shape;2462;p54">
                <a:extLst>
                  <a:ext uri="{FF2B5EF4-FFF2-40B4-BE49-F238E27FC236}">
                    <a16:creationId xmlns:a16="http://schemas.microsoft.com/office/drawing/2014/main" id="{3725B5D2-D77E-4468-8672-D24F233380CA}"/>
                  </a:ext>
                </a:extLst>
              </p:cNvPr>
              <p:cNvSpPr/>
              <p:nvPr/>
            </p:nvSpPr>
            <p:spPr>
              <a:xfrm>
                <a:off x="6089408" y="3637503"/>
                <a:ext cx="10662" cy="36029"/>
              </a:xfrm>
              <a:custGeom>
                <a:avLst/>
                <a:gdLst/>
                <a:ahLst/>
                <a:cxnLst/>
                <a:rect l="l" t="t" r="r" b="b"/>
                <a:pathLst>
                  <a:path w="335" h="1132" extrusionOk="0">
                    <a:moveTo>
                      <a:pt x="167" y="1"/>
                    </a:moveTo>
                    <a:cubicBezTo>
                      <a:pt x="72" y="1"/>
                      <a:pt x="1" y="84"/>
                      <a:pt x="1" y="167"/>
                    </a:cubicBezTo>
                    <a:lnTo>
                      <a:pt x="1" y="977"/>
                    </a:lnTo>
                    <a:cubicBezTo>
                      <a:pt x="1" y="1060"/>
                      <a:pt x="72" y="1132"/>
                      <a:pt x="167" y="1132"/>
                    </a:cubicBezTo>
                    <a:cubicBezTo>
                      <a:pt x="251" y="1132"/>
                      <a:pt x="322" y="1060"/>
                      <a:pt x="322" y="977"/>
                    </a:cubicBezTo>
                    <a:lnTo>
                      <a:pt x="322" y="167"/>
                    </a:lnTo>
                    <a:cubicBezTo>
                      <a:pt x="334" y="84"/>
                      <a:pt x="251" y="1"/>
                      <a:pt x="167" y="1"/>
                    </a:cubicBezTo>
                    <a:close/>
                  </a:path>
                </a:pathLst>
              </a:custGeom>
              <a:grpFill/>
              <a:ln>
                <a:noFill/>
              </a:ln>
            </p:spPr>
            <p:txBody>
              <a:bodyPr spcFirstLastPara="1" wrap="square" lIns="91425" tIns="91425" rIns="91425" bIns="91425" anchor="ctr" anchorCtr="0">
                <a:noAutofit/>
              </a:bodyPr>
              <a:lstStyle/>
              <a:p>
                <a:endParaRPr/>
              </a:p>
            </p:txBody>
          </p:sp>
        </p:grpSp>
      </p:grpSp>
      <p:sp>
        <p:nvSpPr>
          <p:cNvPr id="103" name="TextBox 102">
            <a:extLst>
              <a:ext uri="{FF2B5EF4-FFF2-40B4-BE49-F238E27FC236}">
                <a16:creationId xmlns:a16="http://schemas.microsoft.com/office/drawing/2014/main" id="{AD0A4A93-8FA3-4937-BABB-B7795DBA9AC7}"/>
              </a:ext>
            </a:extLst>
          </p:cNvPr>
          <p:cNvSpPr txBox="1"/>
          <p:nvPr/>
        </p:nvSpPr>
        <p:spPr>
          <a:xfrm>
            <a:off x="4365273" y="2399390"/>
            <a:ext cx="716868" cy="414729"/>
          </a:xfrm>
          <a:prstGeom prst="rect">
            <a:avLst/>
          </a:prstGeom>
          <a:noFill/>
        </p:spPr>
        <p:txBody>
          <a:bodyPr wrap="square" rtlCol="0">
            <a:spAutoFit/>
          </a:bodyPr>
          <a:lstStyle/>
          <a:p>
            <a:pPr algn="ctr">
              <a:lnSpc>
                <a:spcPts val="1320"/>
              </a:lnSpc>
            </a:pPr>
            <a:r>
              <a:rPr lang="es-ES" sz="1050" b="1" dirty="0">
                <a:solidFill>
                  <a:schemeClr val="bg1">
                    <a:lumMod val="50000"/>
                  </a:schemeClr>
                </a:solidFill>
                <a:latin typeface="Arial" panose="020B0604020202020204" pitchFamily="34" charset="0"/>
                <a:cs typeface="Arial" panose="020B0604020202020204" pitchFamily="34" charset="0"/>
              </a:rPr>
              <a:t>FEB</a:t>
            </a:r>
            <a:r>
              <a:rPr lang="en-GR" sz="1050" b="1" dirty="0">
                <a:solidFill>
                  <a:schemeClr val="bg1">
                    <a:lumMod val="50000"/>
                  </a:schemeClr>
                </a:solidFill>
                <a:latin typeface="Arial" panose="020B0604020202020204" pitchFamily="34" charset="0"/>
                <a:cs typeface="Arial" panose="020B0604020202020204" pitchFamily="34" charset="0"/>
              </a:rPr>
              <a:t> </a:t>
            </a:r>
            <a:r>
              <a:rPr lang="es-ES" sz="1050" b="1" dirty="0">
                <a:solidFill>
                  <a:schemeClr val="bg1">
                    <a:lumMod val="50000"/>
                  </a:schemeClr>
                </a:solidFill>
                <a:latin typeface="Arial" panose="020B0604020202020204" pitchFamily="34" charset="0"/>
                <a:cs typeface="Arial" panose="020B0604020202020204" pitchFamily="34" charset="0"/>
              </a:rPr>
              <a:t>2023</a:t>
            </a:r>
            <a:endParaRPr lang="en-GR" sz="1050" b="1" dirty="0">
              <a:solidFill>
                <a:schemeClr val="bg1">
                  <a:lumMod val="50000"/>
                </a:schemeClr>
              </a:solidFill>
              <a:latin typeface="Arial" panose="020B0604020202020204" pitchFamily="34" charset="0"/>
              <a:cs typeface="Arial" panose="020B0604020202020204" pitchFamily="34" charset="0"/>
            </a:endParaRPr>
          </a:p>
        </p:txBody>
      </p:sp>
      <p:grpSp>
        <p:nvGrpSpPr>
          <p:cNvPr id="195" name="Group 194">
            <a:extLst>
              <a:ext uri="{FF2B5EF4-FFF2-40B4-BE49-F238E27FC236}">
                <a16:creationId xmlns:a16="http://schemas.microsoft.com/office/drawing/2014/main" id="{6B4F812B-5F9D-442D-8E74-880562BEA3A0}"/>
              </a:ext>
            </a:extLst>
          </p:cNvPr>
          <p:cNvGrpSpPr/>
          <p:nvPr/>
        </p:nvGrpSpPr>
        <p:grpSpPr>
          <a:xfrm>
            <a:off x="4428389" y="1509360"/>
            <a:ext cx="590636" cy="852992"/>
            <a:chOff x="2395425" y="1652970"/>
            <a:chExt cx="590636" cy="852992"/>
          </a:xfrm>
        </p:grpSpPr>
        <p:sp>
          <p:nvSpPr>
            <p:cNvPr id="197" name="Oval 15">
              <a:extLst>
                <a:ext uri="{FF2B5EF4-FFF2-40B4-BE49-F238E27FC236}">
                  <a16:creationId xmlns:a16="http://schemas.microsoft.com/office/drawing/2014/main" id="{275E3686-37A4-4680-8E22-85C0C5E04886}"/>
                </a:ext>
              </a:extLst>
            </p:cNvPr>
            <p:cNvSpPr>
              <a:spLocks noChangeArrowheads="1"/>
            </p:cNvSpPr>
            <p:nvPr/>
          </p:nvSpPr>
          <p:spPr bwMode="auto">
            <a:xfrm>
              <a:off x="2636475" y="2396758"/>
              <a:ext cx="108539" cy="109204"/>
            </a:xfrm>
            <a:prstGeom prst="ellipse">
              <a:avLst/>
            </a:prstGeom>
            <a:noFill/>
            <a:ln w="53975" cap="flat">
              <a:solidFill>
                <a:srgbClr val="00B0F0"/>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sp>
          <p:nvSpPr>
            <p:cNvPr id="199" name="Freeform 8">
              <a:extLst>
                <a:ext uri="{FF2B5EF4-FFF2-40B4-BE49-F238E27FC236}">
                  <a16:creationId xmlns:a16="http://schemas.microsoft.com/office/drawing/2014/main" id="{B9EAE7D8-D53D-4273-A608-06396381D394}"/>
                </a:ext>
              </a:extLst>
            </p:cNvPr>
            <p:cNvSpPr>
              <a:spLocks/>
            </p:cNvSpPr>
            <p:nvPr/>
          </p:nvSpPr>
          <p:spPr bwMode="auto">
            <a:xfrm>
              <a:off x="2395425" y="1652970"/>
              <a:ext cx="590636" cy="677200"/>
            </a:xfrm>
            <a:custGeom>
              <a:avLst/>
              <a:gdLst>
                <a:gd name="T0" fmla="*/ 370 w 370"/>
                <a:gd name="T1" fmla="*/ 184 h 424"/>
                <a:gd name="T2" fmla="*/ 185 w 370"/>
                <a:gd name="T3" fmla="*/ 0 h 424"/>
                <a:gd name="T4" fmla="*/ 0 w 370"/>
                <a:gd name="T5" fmla="*/ 184 h 424"/>
                <a:gd name="T6" fmla="*/ 152 w 370"/>
                <a:gd name="T7" fmla="*/ 366 h 424"/>
                <a:gd name="T8" fmla="*/ 185 w 370"/>
                <a:gd name="T9" fmla="*/ 424 h 424"/>
                <a:gd name="T10" fmla="*/ 218 w 370"/>
                <a:gd name="T11" fmla="*/ 366 h 424"/>
                <a:gd name="T12" fmla="*/ 370 w 370"/>
                <a:gd name="T13" fmla="*/ 184 h 424"/>
              </a:gdLst>
              <a:ahLst/>
              <a:cxnLst>
                <a:cxn ang="0">
                  <a:pos x="T0" y="T1"/>
                </a:cxn>
                <a:cxn ang="0">
                  <a:pos x="T2" y="T3"/>
                </a:cxn>
                <a:cxn ang="0">
                  <a:pos x="T4" y="T5"/>
                </a:cxn>
                <a:cxn ang="0">
                  <a:pos x="T6" y="T7"/>
                </a:cxn>
                <a:cxn ang="0">
                  <a:pos x="T8" y="T9"/>
                </a:cxn>
                <a:cxn ang="0">
                  <a:pos x="T10" y="T11"/>
                </a:cxn>
                <a:cxn ang="0">
                  <a:pos x="T12" y="T13"/>
                </a:cxn>
              </a:cxnLst>
              <a:rect l="0" t="0" r="r" b="b"/>
              <a:pathLst>
                <a:path w="370" h="424">
                  <a:moveTo>
                    <a:pt x="370" y="184"/>
                  </a:moveTo>
                  <a:cubicBezTo>
                    <a:pt x="370" y="82"/>
                    <a:pt x="287" y="0"/>
                    <a:pt x="185" y="0"/>
                  </a:cubicBezTo>
                  <a:cubicBezTo>
                    <a:pt x="83" y="0"/>
                    <a:pt x="0" y="82"/>
                    <a:pt x="0" y="184"/>
                  </a:cubicBezTo>
                  <a:cubicBezTo>
                    <a:pt x="0" y="275"/>
                    <a:pt x="66" y="350"/>
                    <a:pt x="152" y="366"/>
                  </a:cubicBezTo>
                  <a:cubicBezTo>
                    <a:pt x="185" y="424"/>
                    <a:pt x="185" y="424"/>
                    <a:pt x="185" y="424"/>
                  </a:cubicBezTo>
                  <a:cubicBezTo>
                    <a:pt x="218" y="366"/>
                    <a:pt x="218" y="366"/>
                    <a:pt x="218" y="366"/>
                  </a:cubicBezTo>
                  <a:cubicBezTo>
                    <a:pt x="304" y="350"/>
                    <a:pt x="370" y="275"/>
                    <a:pt x="370" y="184"/>
                  </a:cubicBezTo>
                  <a:close/>
                </a:path>
              </a:pathLst>
            </a:custGeom>
            <a:solidFill>
              <a:srgbClr val="00B0F0"/>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sp>
        <p:nvSpPr>
          <p:cNvPr id="201" name="Rechteck 125">
            <a:extLst>
              <a:ext uri="{FF2B5EF4-FFF2-40B4-BE49-F238E27FC236}">
                <a16:creationId xmlns:a16="http://schemas.microsoft.com/office/drawing/2014/main" id="{1972A69E-FBC9-4A2B-B4E7-57F0F5B4C729}"/>
              </a:ext>
            </a:extLst>
          </p:cNvPr>
          <p:cNvSpPr/>
          <p:nvPr/>
        </p:nvSpPr>
        <p:spPr bwMode="gray">
          <a:xfrm>
            <a:off x="4136126" y="2953701"/>
            <a:ext cx="1175163" cy="278385"/>
          </a:xfrm>
          <a:prstGeom prst="rect">
            <a:avLst/>
          </a:prstGeom>
        </p:spPr>
        <p:style>
          <a:lnRef idx="0">
            <a:scrgbClr r="0" g="0" b="0"/>
          </a:lnRef>
          <a:fillRef idx="0">
            <a:scrgbClr r="0" g="0" b="0"/>
          </a:fillRef>
          <a:effectRef idx="0">
            <a:scrgbClr r="0" g="0" b="0"/>
          </a:effectRef>
          <a:fontRef idx="major"/>
        </p:style>
        <p:txBody>
          <a:bodyPr wrap="square" lIns="72000" tIns="46800" rIns="72000">
            <a:no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defTabSz="801608"/>
            <a:r>
              <a:rPr lang="en-US" sz="1000" b="1" dirty="0">
                <a:solidFill>
                  <a:srgbClr val="14438E"/>
                </a:solidFill>
                <a:latin typeface="Arial" panose="020B0604020202020204" pitchFamily="34" charset="0"/>
                <a:cs typeface="Arial" panose="020B0604020202020204" pitchFamily="34" charset="0"/>
              </a:rPr>
              <a:t>4</a:t>
            </a:r>
            <a:r>
              <a:rPr lang="en-US" sz="1000" b="1" baseline="30000" dirty="0">
                <a:solidFill>
                  <a:srgbClr val="14438E"/>
                </a:solidFill>
                <a:latin typeface="Arial" panose="020B0604020202020204" pitchFamily="34" charset="0"/>
                <a:cs typeface="Arial" panose="020B0604020202020204" pitchFamily="34" charset="0"/>
              </a:rPr>
              <a:t>th</a:t>
            </a:r>
            <a:r>
              <a:rPr lang="en-US" sz="1000" b="1" dirty="0">
                <a:solidFill>
                  <a:srgbClr val="14438E"/>
                </a:solidFill>
                <a:latin typeface="Arial" panose="020B0604020202020204" pitchFamily="34" charset="0"/>
                <a:cs typeface="Arial" panose="020B0604020202020204" pitchFamily="34" charset="0"/>
              </a:rPr>
              <a:t> WG meeting</a:t>
            </a:r>
          </a:p>
        </p:txBody>
      </p:sp>
      <p:grpSp>
        <p:nvGrpSpPr>
          <p:cNvPr id="293" name="Group 292">
            <a:extLst>
              <a:ext uri="{FF2B5EF4-FFF2-40B4-BE49-F238E27FC236}">
                <a16:creationId xmlns:a16="http://schemas.microsoft.com/office/drawing/2014/main" id="{E30EAD8B-7B15-4D7D-B1D8-779ADDE2B1E9}"/>
              </a:ext>
            </a:extLst>
          </p:cNvPr>
          <p:cNvGrpSpPr/>
          <p:nvPr/>
        </p:nvGrpSpPr>
        <p:grpSpPr>
          <a:xfrm>
            <a:off x="4505621" y="1598856"/>
            <a:ext cx="414664" cy="413999"/>
            <a:chOff x="674530" y="1584554"/>
            <a:chExt cx="414664" cy="413999"/>
          </a:xfrm>
        </p:grpSpPr>
        <p:sp>
          <p:nvSpPr>
            <p:cNvPr id="294" name="Oval 21">
              <a:extLst>
                <a:ext uri="{FF2B5EF4-FFF2-40B4-BE49-F238E27FC236}">
                  <a16:creationId xmlns:a16="http://schemas.microsoft.com/office/drawing/2014/main" id="{A608DBF9-9660-4AED-B856-BD48DC85EE0C}"/>
                </a:ext>
              </a:extLst>
            </p:cNvPr>
            <p:cNvSpPr>
              <a:spLocks noChangeAspect="1" noChangeArrowheads="1"/>
            </p:cNvSpPr>
            <p:nvPr/>
          </p:nvSpPr>
          <p:spPr bwMode="auto">
            <a:xfrm>
              <a:off x="674530" y="1584554"/>
              <a:ext cx="414664" cy="413999"/>
            </a:xfrm>
            <a:prstGeom prst="ellipse">
              <a:avLst/>
            </a:prstGeom>
            <a:solidFill>
              <a:srgbClr val="E7E6E6"/>
            </a:solidFill>
            <a:ln>
              <a:noFill/>
            </a:ln>
            <a:effectLst>
              <a:outerShdw blurRad="127000" dist="63500" dir="2700000" algn="tl" rotWithShape="0">
                <a:prstClr val="black">
                  <a:alpha val="50000"/>
                </a:prstClr>
              </a:outerShd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nvGrpSpPr>
            <p:cNvPr id="295" name="Google Shape;2456;p54">
              <a:extLst>
                <a:ext uri="{FF2B5EF4-FFF2-40B4-BE49-F238E27FC236}">
                  <a16:creationId xmlns:a16="http://schemas.microsoft.com/office/drawing/2014/main" id="{109CF09E-0FF2-48A8-8A60-29EFB46413F2}"/>
                </a:ext>
              </a:extLst>
            </p:cNvPr>
            <p:cNvGrpSpPr/>
            <p:nvPr/>
          </p:nvGrpSpPr>
          <p:grpSpPr>
            <a:xfrm>
              <a:off x="729170" y="1668834"/>
              <a:ext cx="287980" cy="219921"/>
              <a:chOff x="5776798" y="3409778"/>
              <a:chExt cx="346379" cy="264518"/>
            </a:xfrm>
            <a:solidFill>
              <a:schemeClr val="tx1">
                <a:lumMod val="65000"/>
                <a:lumOff val="35000"/>
              </a:schemeClr>
            </a:solidFill>
          </p:grpSpPr>
          <p:sp>
            <p:nvSpPr>
              <p:cNvPr id="296" name="Google Shape;2457;p54">
                <a:extLst>
                  <a:ext uri="{FF2B5EF4-FFF2-40B4-BE49-F238E27FC236}">
                    <a16:creationId xmlns:a16="http://schemas.microsoft.com/office/drawing/2014/main" id="{8DC3823B-1809-489D-8587-07A2996AA78B}"/>
                  </a:ext>
                </a:extLst>
              </p:cNvPr>
              <p:cNvSpPr/>
              <p:nvPr/>
            </p:nvSpPr>
            <p:spPr>
              <a:xfrm>
                <a:off x="5890104" y="3642055"/>
                <a:ext cx="10248" cy="32241"/>
              </a:xfrm>
              <a:custGeom>
                <a:avLst/>
                <a:gdLst/>
                <a:ahLst/>
                <a:cxnLst/>
                <a:rect l="l" t="t" r="r" b="b"/>
                <a:pathLst>
                  <a:path w="322" h="1013" extrusionOk="0">
                    <a:moveTo>
                      <a:pt x="167" y="1"/>
                    </a:moveTo>
                    <a:cubicBezTo>
                      <a:pt x="71" y="1"/>
                      <a:pt x="0" y="72"/>
                      <a:pt x="0" y="155"/>
                    </a:cubicBezTo>
                    <a:lnTo>
                      <a:pt x="0" y="846"/>
                    </a:lnTo>
                    <a:cubicBezTo>
                      <a:pt x="0" y="929"/>
                      <a:pt x="71" y="1013"/>
                      <a:pt x="167" y="1013"/>
                    </a:cubicBezTo>
                    <a:cubicBezTo>
                      <a:pt x="250" y="1013"/>
                      <a:pt x="321" y="929"/>
                      <a:pt x="321" y="846"/>
                    </a:cubicBezTo>
                    <a:lnTo>
                      <a:pt x="321" y="143"/>
                    </a:lnTo>
                    <a:cubicBezTo>
                      <a:pt x="321" y="60"/>
                      <a:pt x="250" y="1"/>
                      <a:pt x="167" y="1"/>
                    </a:cubicBezTo>
                    <a:close/>
                  </a:path>
                </a:pathLst>
              </a:custGeom>
              <a:grpFill/>
              <a:ln>
                <a:noFill/>
              </a:ln>
            </p:spPr>
            <p:txBody>
              <a:bodyPr spcFirstLastPara="1" wrap="square" lIns="91425" tIns="91425" rIns="91425" bIns="91425" anchor="ctr" anchorCtr="0">
                <a:noAutofit/>
              </a:bodyPr>
              <a:lstStyle/>
              <a:p>
                <a:endParaRPr/>
              </a:p>
            </p:txBody>
          </p:sp>
          <p:sp>
            <p:nvSpPr>
              <p:cNvPr id="297" name="Google Shape;2458;p54">
                <a:extLst>
                  <a:ext uri="{FF2B5EF4-FFF2-40B4-BE49-F238E27FC236}">
                    <a16:creationId xmlns:a16="http://schemas.microsoft.com/office/drawing/2014/main" id="{D8387BA8-5ADE-495A-B165-A5AFC19377F6}"/>
                  </a:ext>
                </a:extLst>
              </p:cNvPr>
              <p:cNvSpPr/>
              <p:nvPr/>
            </p:nvSpPr>
            <p:spPr>
              <a:xfrm>
                <a:off x="5998094" y="3642055"/>
                <a:ext cx="10248" cy="32241"/>
              </a:xfrm>
              <a:custGeom>
                <a:avLst/>
                <a:gdLst/>
                <a:ahLst/>
                <a:cxnLst/>
                <a:rect l="l" t="t" r="r" b="b"/>
                <a:pathLst>
                  <a:path w="322" h="1013" extrusionOk="0">
                    <a:moveTo>
                      <a:pt x="167" y="1"/>
                    </a:moveTo>
                    <a:cubicBezTo>
                      <a:pt x="72" y="1"/>
                      <a:pt x="0" y="72"/>
                      <a:pt x="0" y="155"/>
                    </a:cubicBezTo>
                    <a:lnTo>
                      <a:pt x="0" y="846"/>
                    </a:lnTo>
                    <a:cubicBezTo>
                      <a:pt x="0" y="929"/>
                      <a:pt x="72" y="1013"/>
                      <a:pt x="167" y="1013"/>
                    </a:cubicBezTo>
                    <a:cubicBezTo>
                      <a:pt x="250" y="1013"/>
                      <a:pt x="322" y="929"/>
                      <a:pt x="322" y="846"/>
                    </a:cubicBezTo>
                    <a:lnTo>
                      <a:pt x="322" y="143"/>
                    </a:lnTo>
                    <a:cubicBezTo>
                      <a:pt x="310" y="60"/>
                      <a:pt x="250" y="1"/>
                      <a:pt x="167" y="1"/>
                    </a:cubicBezTo>
                    <a:close/>
                  </a:path>
                </a:pathLst>
              </a:custGeom>
              <a:grpFill/>
              <a:ln>
                <a:noFill/>
              </a:ln>
            </p:spPr>
            <p:txBody>
              <a:bodyPr spcFirstLastPara="1" wrap="square" lIns="91425" tIns="91425" rIns="91425" bIns="91425" anchor="ctr" anchorCtr="0">
                <a:noAutofit/>
              </a:bodyPr>
              <a:lstStyle/>
              <a:p>
                <a:endParaRPr/>
              </a:p>
            </p:txBody>
          </p:sp>
          <p:sp>
            <p:nvSpPr>
              <p:cNvPr id="298" name="Google Shape;2459;p54">
                <a:extLst>
                  <a:ext uri="{FF2B5EF4-FFF2-40B4-BE49-F238E27FC236}">
                    <a16:creationId xmlns:a16="http://schemas.microsoft.com/office/drawing/2014/main" id="{086FEE16-2F7F-4A06-85C2-A321B5472BBC}"/>
                  </a:ext>
                </a:extLst>
              </p:cNvPr>
              <p:cNvSpPr/>
              <p:nvPr/>
            </p:nvSpPr>
            <p:spPr>
              <a:xfrm>
                <a:off x="5814673" y="3528367"/>
                <a:ext cx="43222" cy="15564"/>
              </a:xfrm>
              <a:custGeom>
                <a:avLst/>
                <a:gdLst/>
                <a:ahLst/>
                <a:cxnLst/>
                <a:rect l="l" t="t" r="r" b="b"/>
                <a:pathLst>
                  <a:path w="1358" h="489" extrusionOk="0">
                    <a:moveTo>
                      <a:pt x="167" y="1"/>
                    </a:moveTo>
                    <a:cubicBezTo>
                      <a:pt x="72" y="1"/>
                      <a:pt x="1" y="72"/>
                      <a:pt x="1" y="156"/>
                    </a:cubicBezTo>
                    <a:cubicBezTo>
                      <a:pt x="1" y="251"/>
                      <a:pt x="72" y="322"/>
                      <a:pt x="167" y="322"/>
                    </a:cubicBezTo>
                    <a:cubicBezTo>
                      <a:pt x="346" y="322"/>
                      <a:pt x="870" y="358"/>
                      <a:pt x="1120" y="477"/>
                    </a:cubicBezTo>
                    <a:cubicBezTo>
                      <a:pt x="1144" y="489"/>
                      <a:pt x="1167" y="489"/>
                      <a:pt x="1191" y="489"/>
                    </a:cubicBezTo>
                    <a:cubicBezTo>
                      <a:pt x="1251" y="489"/>
                      <a:pt x="1310" y="453"/>
                      <a:pt x="1346" y="394"/>
                    </a:cubicBezTo>
                    <a:cubicBezTo>
                      <a:pt x="1358" y="322"/>
                      <a:pt x="1322" y="239"/>
                      <a:pt x="1251" y="191"/>
                    </a:cubicBezTo>
                    <a:cubicBezTo>
                      <a:pt x="882" y="13"/>
                      <a:pt x="191" y="1"/>
                      <a:pt x="167" y="1"/>
                    </a:cubicBezTo>
                    <a:close/>
                  </a:path>
                </a:pathLst>
              </a:custGeom>
              <a:grpFill/>
              <a:ln>
                <a:noFill/>
              </a:ln>
            </p:spPr>
            <p:txBody>
              <a:bodyPr spcFirstLastPara="1" wrap="square" lIns="91425" tIns="91425" rIns="91425" bIns="91425" anchor="ctr" anchorCtr="0">
                <a:noAutofit/>
              </a:bodyPr>
              <a:lstStyle/>
              <a:p>
                <a:endParaRPr/>
              </a:p>
            </p:txBody>
          </p:sp>
          <p:sp>
            <p:nvSpPr>
              <p:cNvPr id="299" name="Google Shape;2460;p54">
                <a:extLst>
                  <a:ext uri="{FF2B5EF4-FFF2-40B4-BE49-F238E27FC236}">
                    <a16:creationId xmlns:a16="http://schemas.microsoft.com/office/drawing/2014/main" id="{60B61BC8-CC9C-46D8-B013-67434D71ED8E}"/>
                  </a:ext>
                </a:extLst>
              </p:cNvPr>
              <p:cNvSpPr/>
              <p:nvPr/>
            </p:nvSpPr>
            <p:spPr>
              <a:xfrm>
                <a:off x="5797995" y="3631074"/>
                <a:ext cx="10662" cy="42458"/>
              </a:xfrm>
              <a:custGeom>
                <a:avLst/>
                <a:gdLst/>
                <a:ahLst/>
                <a:cxnLst/>
                <a:rect l="l" t="t" r="r" b="b"/>
                <a:pathLst>
                  <a:path w="335" h="1334" extrusionOk="0">
                    <a:moveTo>
                      <a:pt x="167" y="0"/>
                    </a:moveTo>
                    <a:cubicBezTo>
                      <a:pt x="84" y="0"/>
                      <a:pt x="1" y="72"/>
                      <a:pt x="1" y="167"/>
                    </a:cubicBezTo>
                    <a:lnTo>
                      <a:pt x="1" y="1179"/>
                    </a:lnTo>
                    <a:cubicBezTo>
                      <a:pt x="1" y="1262"/>
                      <a:pt x="84" y="1334"/>
                      <a:pt x="167" y="1334"/>
                    </a:cubicBezTo>
                    <a:cubicBezTo>
                      <a:pt x="251" y="1334"/>
                      <a:pt x="334" y="1262"/>
                      <a:pt x="334" y="1179"/>
                    </a:cubicBezTo>
                    <a:lnTo>
                      <a:pt x="334" y="167"/>
                    </a:lnTo>
                    <a:cubicBezTo>
                      <a:pt x="334" y="72"/>
                      <a:pt x="263" y="0"/>
                      <a:pt x="167" y="0"/>
                    </a:cubicBezTo>
                    <a:close/>
                  </a:path>
                </a:pathLst>
              </a:custGeom>
              <a:grpFill/>
              <a:ln>
                <a:noFill/>
              </a:ln>
            </p:spPr>
            <p:txBody>
              <a:bodyPr spcFirstLastPara="1" wrap="square" lIns="91425" tIns="91425" rIns="91425" bIns="91425" anchor="ctr" anchorCtr="0">
                <a:noAutofit/>
              </a:bodyPr>
              <a:lstStyle/>
              <a:p>
                <a:endParaRPr/>
              </a:p>
            </p:txBody>
          </p:sp>
          <p:sp>
            <p:nvSpPr>
              <p:cNvPr id="300" name="Google Shape;2461;p54">
                <a:extLst>
                  <a:ext uri="{FF2B5EF4-FFF2-40B4-BE49-F238E27FC236}">
                    <a16:creationId xmlns:a16="http://schemas.microsoft.com/office/drawing/2014/main" id="{ED291759-1288-425D-A8B4-4C5930E6B397}"/>
                  </a:ext>
                </a:extLst>
              </p:cNvPr>
              <p:cNvSpPr/>
              <p:nvPr/>
            </p:nvSpPr>
            <p:spPr>
              <a:xfrm>
                <a:off x="5776798" y="3409778"/>
                <a:ext cx="346379" cy="264136"/>
              </a:xfrm>
              <a:custGeom>
                <a:avLst/>
                <a:gdLst/>
                <a:ahLst/>
                <a:cxnLst/>
                <a:rect l="l" t="t" r="r" b="b"/>
                <a:pathLst>
                  <a:path w="10883" h="8299" extrusionOk="0">
                    <a:moveTo>
                      <a:pt x="9144" y="2512"/>
                    </a:moveTo>
                    <a:cubicBezTo>
                      <a:pt x="9418" y="2512"/>
                      <a:pt x="9656" y="2715"/>
                      <a:pt x="9656" y="2953"/>
                    </a:cubicBezTo>
                    <a:lnTo>
                      <a:pt x="9656" y="2977"/>
                    </a:lnTo>
                    <a:cubicBezTo>
                      <a:pt x="9501" y="2917"/>
                      <a:pt x="9335" y="2869"/>
                      <a:pt x="9144" y="2869"/>
                    </a:cubicBezTo>
                    <a:cubicBezTo>
                      <a:pt x="8965" y="2869"/>
                      <a:pt x="8787" y="2905"/>
                      <a:pt x="8620" y="2977"/>
                    </a:cubicBezTo>
                    <a:lnTo>
                      <a:pt x="8620" y="2953"/>
                    </a:lnTo>
                    <a:cubicBezTo>
                      <a:pt x="8620" y="2727"/>
                      <a:pt x="8858" y="2512"/>
                      <a:pt x="9144" y="2512"/>
                    </a:cubicBezTo>
                    <a:close/>
                    <a:moveTo>
                      <a:pt x="2869" y="3203"/>
                    </a:moveTo>
                    <a:lnTo>
                      <a:pt x="2869" y="3858"/>
                    </a:lnTo>
                    <a:cubicBezTo>
                      <a:pt x="2869" y="3965"/>
                      <a:pt x="2846" y="4060"/>
                      <a:pt x="2798" y="4167"/>
                    </a:cubicBezTo>
                    <a:lnTo>
                      <a:pt x="2727" y="4334"/>
                    </a:lnTo>
                    <a:cubicBezTo>
                      <a:pt x="2715" y="4346"/>
                      <a:pt x="2715" y="4382"/>
                      <a:pt x="2715" y="4405"/>
                    </a:cubicBezTo>
                    <a:lnTo>
                      <a:pt x="2715" y="4751"/>
                    </a:lnTo>
                    <a:cubicBezTo>
                      <a:pt x="2715" y="4989"/>
                      <a:pt x="2619" y="5191"/>
                      <a:pt x="2441" y="5358"/>
                    </a:cubicBezTo>
                    <a:cubicBezTo>
                      <a:pt x="2298" y="5525"/>
                      <a:pt x="2072" y="5596"/>
                      <a:pt x="1834" y="5596"/>
                    </a:cubicBezTo>
                    <a:cubicBezTo>
                      <a:pt x="1369" y="5584"/>
                      <a:pt x="1000" y="5179"/>
                      <a:pt x="1000" y="4703"/>
                    </a:cubicBezTo>
                    <a:lnTo>
                      <a:pt x="1000" y="4405"/>
                    </a:lnTo>
                    <a:cubicBezTo>
                      <a:pt x="1000" y="4382"/>
                      <a:pt x="1000" y="4358"/>
                      <a:pt x="988" y="4334"/>
                    </a:cubicBezTo>
                    <a:lnTo>
                      <a:pt x="881" y="4143"/>
                    </a:lnTo>
                    <a:cubicBezTo>
                      <a:pt x="845" y="4060"/>
                      <a:pt x="822" y="3989"/>
                      <a:pt x="822" y="3905"/>
                    </a:cubicBezTo>
                    <a:lnTo>
                      <a:pt x="822" y="3882"/>
                    </a:lnTo>
                    <a:cubicBezTo>
                      <a:pt x="822" y="3501"/>
                      <a:pt x="1131" y="3203"/>
                      <a:pt x="1500" y="3203"/>
                    </a:cubicBezTo>
                    <a:close/>
                    <a:moveTo>
                      <a:pt x="9144" y="3215"/>
                    </a:moveTo>
                    <a:cubicBezTo>
                      <a:pt x="9704" y="3215"/>
                      <a:pt x="10168" y="3679"/>
                      <a:pt x="10168" y="4239"/>
                    </a:cubicBezTo>
                    <a:cubicBezTo>
                      <a:pt x="10168" y="4346"/>
                      <a:pt x="10156" y="4465"/>
                      <a:pt x="10108" y="4572"/>
                    </a:cubicBezTo>
                    <a:cubicBezTo>
                      <a:pt x="9656" y="4108"/>
                      <a:pt x="8870" y="3929"/>
                      <a:pt x="8823" y="3929"/>
                    </a:cubicBezTo>
                    <a:cubicBezTo>
                      <a:pt x="8814" y="3926"/>
                      <a:pt x="8804" y="3925"/>
                      <a:pt x="8794" y="3925"/>
                    </a:cubicBezTo>
                    <a:cubicBezTo>
                      <a:pt x="8763" y="3925"/>
                      <a:pt x="8727" y="3938"/>
                      <a:pt x="8692" y="3965"/>
                    </a:cubicBezTo>
                    <a:cubicBezTo>
                      <a:pt x="8644" y="3989"/>
                      <a:pt x="8632" y="4036"/>
                      <a:pt x="8632" y="4084"/>
                    </a:cubicBezTo>
                    <a:cubicBezTo>
                      <a:pt x="8632" y="4084"/>
                      <a:pt x="8632" y="4179"/>
                      <a:pt x="8513" y="4298"/>
                    </a:cubicBezTo>
                    <a:cubicBezTo>
                      <a:pt x="8453" y="4358"/>
                      <a:pt x="8453" y="4465"/>
                      <a:pt x="8513" y="4524"/>
                    </a:cubicBezTo>
                    <a:cubicBezTo>
                      <a:pt x="8543" y="4554"/>
                      <a:pt x="8584" y="4569"/>
                      <a:pt x="8626" y="4569"/>
                    </a:cubicBezTo>
                    <a:cubicBezTo>
                      <a:pt x="8668" y="4569"/>
                      <a:pt x="8709" y="4554"/>
                      <a:pt x="8739" y="4524"/>
                    </a:cubicBezTo>
                    <a:cubicBezTo>
                      <a:pt x="8823" y="4441"/>
                      <a:pt x="8882" y="4346"/>
                      <a:pt x="8918" y="4274"/>
                    </a:cubicBezTo>
                    <a:cubicBezTo>
                      <a:pt x="9180" y="4346"/>
                      <a:pt x="9739" y="4560"/>
                      <a:pt x="9989" y="4894"/>
                    </a:cubicBezTo>
                    <a:cubicBezTo>
                      <a:pt x="9906" y="5298"/>
                      <a:pt x="9573" y="5596"/>
                      <a:pt x="9144" y="5596"/>
                    </a:cubicBezTo>
                    <a:cubicBezTo>
                      <a:pt x="8704" y="5596"/>
                      <a:pt x="8334" y="5275"/>
                      <a:pt x="8287" y="4834"/>
                    </a:cubicBezTo>
                    <a:cubicBezTo>
                      <a:pt x="8287" y="4810"/>
                      <a:pt x="8275" y="4798"/>
                      <a:pt x="8263" y="4774"/>
                    </a:cubicBezTo>
                    <a:cubicBezTo>
                      <a:pt x="8156" y="4620"/>
                      <a:pt x="8108" y="4441"/>
                      <a:pt x="8108" y="4239"/>
                    </a:cubicBezTo>
                    <a:cubicBezTo>
                      <a:pt x="8108" y="3679"/>
                      <a:pt x="8573" y="3215"/>
                      <a:pt x="9144" y="3215"/>
                    </a:cubicBezTo>
                    <a:close/>
                    <a:moveTo>
                      <a:pt x="5441" y="298"/>
                    </a:moveTo>
                    <a:cubicBezTo>
                      <a:pt x="6013" y="298"/>
                      <a:pt x="6489" y="488"/>
                      <a:pt x="6858" y="845"/>
                    </a:cubicBezTo>
                    <a:cubicBezTo>
                      <a:pt x="7227" y="1226"/>
                      <a:pt x="7453" y="1738"/>
                      <a:pt x="7501" y="2369"/>
                    </a:cubicBezTo>
                    <a:cubicBezTo>
                      <a:pt x="7620" y="4060"/>
                      <a:pt x="7763" y="5001"/>
                      <a:pt x="7822" y="5334"/>
                    </a:cubicBezTo>
                    <a:lnTo>
                      <a:pt x="7822" y="5346"/>
                    </a:lnTo>
                    <a:cubicBezTo>
                      <a:pt x="7632" y="5453"/>
                      <a:pt x="7310" y="5632"/>
                      <a:pt x="6787" y="5763"/>
                    </a:cubicBezTo>
                    <a:lnTo>
                      <a:pt x="6525" y="5644"/>
                    </a:lnTo>
                    <a:cubicBezTo>
                      <a:pt x="6453" y="5608"/>
                      <a:pt x="6418" y="5548"/>
                      <a:pt x="6418" y="5477"/>
                    </a:cubicBezTo>
                    <a:lnTo>
                      <a:pt x="6418" y="4929"/>
                    </a:lnTo>
                    <a:cubicBezTo>
                      <a:pt x="6918" y="4596"/>
                      <a:pt x="7263" y="4024"/>
                      <a:pt x="7263" y="3370"/>
                    </a:cubicBezTo>
                    <a:lnTo>
                      <a:pt x="7263" y="3072"/>
                    </a:lnTo>
                    <a:cubicBezTo>
                      <a:pt x="7263" y="2869"/>
                      <a:pt x="7180" y="2691"/>
                      <a:pt x="7037" y="2560"/>
                    </a:cubicBezTo>
                    <a:cubicBezTo>
                      <a:pt x="6727" y="2274"/>
                      <a:pt x="6001" y="1798"/>
                      <a:pt x="4751" y="1667"/>
                    </a:cubicBezTo>
                    <a:cubicBezTo>
                      <a:pt x="4744" y="1666"/>
                      <a:pt x="4737" y="1666"/>
                      <a:pt x="4730" y="1666"/>
                    </a:cubicBezTo>
                    <a:cubicBezTo>
                      <a:pt x="4645" y="1666"/>
                      <a:pt x="4583" y="1733"/>
                      <a:pt x="4572" y="1822"/>
                    </a:cubicBezTo>
                    <a:cubicBezTo>
                      <a:pt x="4548" y="1905"/>
                      <a:pt x="4632" y="1977"/>
                      <a:pt x="4715" y="2000"/>
                    </a:cubicBezTo>
                    <a:cubicBezTo>
                      <a:pt x="5882" y="2119"/>
                      <a:pt x="6537" y="2548"/>
                      <a:pt x="6834" y="2798"/>
                    </a:cubicBezTo>
                    <a:cubicBezTo>
                      <a:pt x="6906" y="2858"/>
                      <a:pt x="6953" y="2965"/>
                      <a:pt x="6953" y="3072"/>
                    </a:cubicBezTo>
                    <a:lnTo>
                      <a:pt x="6953" y="3370"/>
                    </a:lnTo>
                    <a:cubicBezTo>
                      <a:pt x="6953" y="4215"/>
                      <a:pt x="6263" y="4894"/>
                      <a:pt x="5417" y="4894"/>
                    </a:cubicBezTo>
                    <a:cubicBezTo>
                      <a:pt x="4572" y="4894"/>
                      <a:pt x="3881" y="4215"/>
                      <a:pt x="3881" y="3370"/>
                    </a:cubicBezTo>
                    <a:lnTo>
                      <a:pt x="3881" y="3227"/>
                    </a:lnTo>
                    <a:cubicBezTo>
                      <a:pt x="3881" y="3167"/>
                      <a:pt x="3917" y="3108"/>
                      <a:pt x="3977" y="3084"/>
                    </a:cubicBezTo>
                    <a:cubicBezTo>
                      <a:pt x="4167" y="2965"/>
                      <a:pt x="4429" y="2750"/>
                      <a:pt x="4548" y="2393"/>
                    </a:cubicBezTo>
                    <a:cubicBezTo>
                      <a:pt x="4584" y="2310"/>
                      <a:pt x="4536" y="2215"/>
                      <a:pt x="4453" y="2203"/>
                    </a:cubicBezTo>
                    <a:cubicBezTo>
                      <a:pt x="4434" y="2198"/>
                      <a:pt x="4415" y="2196"/>
                      <a:pt x="4398" y="2196"/>
                    </a:cubicBezTo>
                    <a:cubicBezTo>
                      <a:pt x="4327" y="2196"/>
                      <a:pt x="4270" y="2234"/>
                      <a:pt x="4251" y="2310"/>
                    </a:cubicBezTo>
                    <a:cubicBezTo>
                      <a:pt x="4167" y="2572"/>
                      <a:pt x="3977" y="2727"/>
                      <a:pt x="3822" y="2810"/>
                    </a:cubicBezTo>
                    <a:cubicBezTo>
                      <a:pt x="3679" y="2905"/>
                      <a:pt x="3572" y="3072"/>
                      <a:pt x="3572" y="3227"/>
                    </a:cubicBezTo>
                    <a:lnTo>
                      <a:pt x="3572" y="3370"/>
                    </a:lnTo>
                    <a:cubicBezTo>
                      <a:pt x="3572" y="4024"/>
                      <a:pt x="3917" y="4584"/>
                      <a:pt x="4417" y="4929"/>
                    </a:cubicBezTo>
                    <a:lnTo>
                      <a:pt x="4417" y="5477"/>
                    </a:lnTo>
                    <a:cubicBezTo>
                      <a:pt x="4417" y="5548"/>
                      <a:pt x="4370" y="5608"/>
                      <a:pt x="4310" y="5644"/>
                    </a:cubicBezTo>
                    <a:lnTo>
                      <a:pt x="4048" y="5763"/>
                    </a:lnTo>
                    <a:cubicBezTo>
                      <a:pt x="3536" y="5632"/>
                      <a:pt x="3215" y="5453"/>
                      <a:pt x="3060" y="5346"/>
                    </a:cubicBezTo>
                    <a:lnTo>
                      <a:pt x="3060" y="5334"/>
                    </a:lnTo>
                    <a:cubicBezTo>
                      <a:pt x="3131" y="5001"/>
                      <a:pt x="3262" y="4060"/>
                      <a:pt x="3393" y="2369"/>
                    </a:cubicBezTo>
                    <a:cubicBezTo>
                      <a:pt x="3441" y="1738"/>
                      <a:pt x="3655" y="1226"/>
                      <a:pt x="4036" y="845"/>
                    </a:cubicBezTo>
                    <a:cubicBezTo>
                      <a:pt x="4393" y="488"/>
                      <a:pt x="4882" y="298"/>
                      <a:pt x="5441" y="298"/>
                    </a:cubicBezTo>
                    <a:close/>
                    <a:moveTo>
                      <a:pt x="2750" y="5465"/>
                    </a:moveTo>
                    <a:cubicBezTo>
                      <a:pt x="2786" y="5501"/>
                      <a:pt x="2810" y="5572"/>
                      <a:pt x="2869" y="5596"/>
                    </a:cubicBezTo>
                    <a:cubicBezTo>
                      <a:pt x="3000" y="5691"/>
                      <a:pt x="3239" y="5822"/>
                      <a:pt x="3584" y="5941"/>
                    </a:cubicBezTo>
                    <a:lnTo>
                      <a:pt x="3155" y="6144"/>
                    </a:lnTo>
                    <a:lnTo>
                      <a:pt x="2655" y="6001"/>
                    </a:lnTo>
                    <a:cubicBezTo>
                      <a:pt x="2512" y="5953"/>
                      <a:pt x="2512" y="5953"/>
                      <a:pt x="2512" y="5906"/>
                    </a:cubicBezTo>
                    <a:lnTo>
                      <a:pt x="2512" y="5691"/>
                    </a:lnTo>
                    <a:cubicBezTo>
                      <a:pt x="2572" y="5656"/>
                      <a:pt x="2619" y="5608"/>
                      <a:pt x="2667" y="5572"/>
                    </a:cubicBezTo>
                    <a:cubicBezTo>
                      <a:pt x="2691" y="5536"/>
                      <a:pt x="2727" y="5513"/>
                      <a:pt x="2750" y="5465"/>
                    </a:cubicBezTo>
                    <a:close/>
                    <a:moveTo>
                      <a:pt x="8096" y="5239"/>
                    </a:moveTo>
                    <a:cubicBezTo>
                      <a:pt x="8180" y="5417"/>
                      <a:pt x="8323" y="5572"/>
                      <a:pt x="8477" y="5691"/>
                    </a:cubicBezTo>
                    <a:lnTo>
                      <a:pt x="8477" y="6025"/>
                    </a:lnTo>
                    <a:lnTo>
                      <a:pt x="8489" y="6025"/>
                    </a:lnTo>
                    <a:lnTo>
                      <a:pt x="7977" y="6287"/>
                    </a:lnTo>
                    <a:cubicBezTo>
                      <a:pt x="7977" y="6287"/>
                      <a:pt x="7965" y="6287"/>
                      <a:pt x="7965" y="6263"/>
                    </a:cubicBezTo>
                    <a:lnTo>
                      <a:pt x="7227" y="5941"/>
                    </a:lnTo>
                    <a:cubicBezTo>
                      <a:pt x="7596" y="5822"/>
                      <a:pt x="7822" y="5667"/>
                      <a:pt x="7942" y="5596"/>
                    </a:cubicBezTo>
                    <a:cubicBezTo>
                      <a:pt x="8049" y="5525"/>
                      <a:pt x="8108" y="5406"/>
                      <a:pt x="8096" y="5275"/>
                    </a:cubicBezTo>
                    <a:lnTo>
                      <a:pt x="8096" y="5239"/>
                    </a:lnTo>
                    <a:close/>
                    <a:moveTo>
                      <a:pt x="2203" y="5870"/>
                    </a:moveTo>
                    <a:lnTo>
                      <a:pt x="2203" y="5929"/>
                    </a:lnTo>
                    <a:cubicBezTo>
                      <a:pt x="2203" y="5953"/>
                      <a:pt x="2203" y="5989"/>
                      <a:pt x="2215" y="6013"/>
                    </a:cubicBezTo>
                    <a:lnTo>
                      <a:pt x="1857" y="6370"/>
                    </a:lnTo>
                    <a:lnTo>
                      <a:pt x="1500" y="6013"/>
                    </a:lnTo>
                    <a:cubicBezTo>
                      <a:pt x="1512" y="5989"/>
                      <a:pt x="1512" y="5953"/>
                      <a:pt x="1512" y="5929"/>
                    </a:cubicBezTo>
                    <a:lnTo>
                      <a:pt x="1512" y="5870"/>
                    </a:lnTo>
                    <a:cubicBezTo>
                      <a:pt x="1619" y="5894"/>
                      <a:pt x="1726" y="5929"/>
                      <a:pt x="1834" y="5929"/>
                    </a:cubicBezTo>
                    <a:lnTo>
                      <a:pt x="1857" y="5929"/>
                    </a:lnTo>
                    <a:cubicBezTo>
                      <a:pt x="1976" y="5929"/>
                      <a:pt x="2096" y="5906"/>
                      <a:pt x="2203" y="5870"/>
                    </a:cubicBezTo>
                    <a:close/>
                    <a:moveTo>
                      <a:pt x="9525" y="5882"/>
                    </a:moveTo>
                    <a:lnTo>
                      <a:pt x="9525" y="6048"/>
                    </a:lnTo>
                    <a:cubicBezTo>
                      <a:pt x="9525" y="6108"/>
                      <a:pt x="9537" y="6144"/>
                      <a:pt x="9573" y="6191"/>
                    </a:cubicBezTo>
                    <a:lnTo>
                      <a:pt x="9394" y="6322"/>
                    </a:lnTo>
                    <a:cubicBezTo>
                      <a:pt x="9323" y="6394"/>
                      <a:pt x="9236" y="6429"/>
                      <a:pt x="9151" y="6429"/>
                    </a:cubicBezTo>
                    <a:cubicBezTo>
                      <a:pt x="9067" y="6429"/>
                      <a:pt x="8983" y="6394"/>
                      <a:pt x="8918" y="6322"/>
                    </a:cubicBezTo>
                    <a:lnTo>
                      <a:pt x="8763" y="6191"/>
                    </a:lnTo>
                    <a:cubicBezTo>
                      <a:pt x="8799" y="6144"/>
                      <a:pt x="8811" y="6084"/>
                      <a:pt x="8811" y="6048"/>
                    </a:cubicBezTo>
                    <a:lnTo>
                      <a:pt x="8811" y="5882"/>
                    </a:lnTo>
                    <a:cubicBezTo>
                      <a:pt x="8918" y="5906"/>
                      <a:pt x="9037" y="5941"/>
                      <a:pt x="9168" y="5941"/>
                    </a:cubicBezTo>
                    <a:cubicBezTo>
                      <a:pt x="9287" y="5941"/>
                      <a:pt x="9406" y="5929"/>
                      <a:pt x="9525" y="5882"/>
                    </a:cubicBezTo>
                    <a:close/>
                    <a:moveTo>
                      <a:pt x="6096" y="5096"/>
                    </a:moveTo>
                    <a:lnTo>
                      <a:pt x="6096" y="5477"/>
                    </a:lnTo>
                    <a:cubicBezTo>
                      <a:pt x="6096" y="5667"/>
                      <a:pt x="6215" y="5846"/>
                      <a:pt x="6394" y="5941"/>
                    </a:cubicBezTo>
                    <a:lnTo>
                      <a:pt x="6632" y="6048"/>
                    </a:lnTo>
                    <a:cubicBezTo>
                      <a:pt x="6406" y="6489"/>
                      <a:pt x="5941" y="6787"/>
                      <a:pt x="5417" y="6787"/>
                    </a:cubicBezTo>
                    <a:cubicBezTo>
                      <a:pt x="4894" y="6787"/>
                      <a:pt x="4441" y="6501"/>
                      <a:pt x="4203" y="6048"/>
                    </a:cubicBezTo>
                    <a:lnTo>
                      <a:pt x="4441" y="5941"/>
                    </a:lnTo>
                    <a:cubicBezTo>
                      <a:pt x="4620" y="5870"/>
                      <a:pt x="4739" y="5691"/>
                      <a:pt x="4739" y="5477"/>
                    </a:cubicBezTo>
                    <a:lnTo>
                      <a:pt x="4739" y="5096"/>
                    </a:lnTo>
                    <a:cubicBezTo>
                      <a:pt x="4941" y="5179"/>
                      <a:pt x="5179" y="5227"/>
                      <a:pt x="5417" y="5227"/>
                    </a:cubicBezTo>
                    <a:cubicBezTo>
                      <a:pt x="5656" y="5227"/>
                      <a:pt x="5894" y="5179"/>
                      <a:pt x="6096" y="5096"/>
                    </a:cubicBezTo>
                    <a:close/>
                    <a:moveTo>
                      <a:pt x="5417" y="0"/>
                    </a:moveTo>
                    <a:cubicBezTo>
                      <a:pt x="4763" y="0"/>
                      <a:pt x="4215" y="226"/>
                      <a:pt x="3786" y="643"/>
                    </a:cubicBezTo>
                    <a:cubicBezTo>
                      <a:pt x="3346" y="1060"/>
                      <a:pt x="3096" y="1655"/>
                      <a:pt x="3048" y="2346"/>
                    </a:cubicBezTo>
                    <a:cubicBezTo>
                      <a:pt x="3036" y="2548"/>
                      <a:pt x="3024" y="2703"/>
                      <a:pt x="3012" y="2881"/>
                    </a:cubicBezTo>
                    <a:lnTo>
                      <a:pt x="1524" y="2881"/>
                    </a:lnTo>
                    <a:cubicBezTo>
                      <a:pt x="964" y="2881"/>
                      <a:pt x="512" y="3334"/>
                      <a:pt x="512" y="3893"/>
                    </a:cubicBezTo>
                    <a:lnTo>
                      <a:pt x="512" y="3917"/>
                    </a:lnTo>
                    <a:cubicBezTo>
                      <a:pt x="512" y="4048"/>
                      <a:pt x="536" y="4167"/>
                      <a:pt x="595" y="4286"/>
                    </a:cubicBezTo>
                    <a:lnTo>
                      <a:pt x="667" y="4453"/>
                    </a:lnTo>
                    <a:lnTo>
                      <a:pt x="667" y="4703"/>
                    </a:lnTo>
                    <a:cubicBezTo>
                      <a:pt x="667" y="5120"/>
                      <a:pt x="881" y="5477"/>
                      <a:pt x="1179" y="5703"/>
                    </a:cubicBezTo>
                    <a:lnTo>
                      <a:pt x="1179" y="5929"/>
                    </a:lnTo>
                    <a:cubicBezTo>
                      <a:pt x="1179" y="5953"/>
                      <a:pt x="1167" y="5989"/>
                      <a:pt x="1131" y="5989"/>
                    </a:cubicBezTo>
                    <a:lnTo>
                      <a:pt x="476" y="6179"/>
                    </a:lnTo>
                    <a:cubicBezTo>
                      <a:pt x="191" y="6251"/>
                      <a:pt x="0" y="6513"/>
                      <a:pt x="0" y="6810"/>
                    </a:cubicBezTo>
                    <a:lnTo>
                      <a:pt x="0" y="8120"/>
                    </a:lnTo>
                    <a:cubicBezTo>
                      <a:pt x="0" y="8215"/>
                      <a:pt x="71" y="8287"/>
                      <a:pt x="167" y="8287"/>
                    </a:cubicBezTo>
                    <a:cubicBezTo>
                      <a:pt x="250" y="8287"/>
                      <a:pt x="333" y="8215"/>
                      <a:pt x="333" y="8120"/>
                    </a:cubicBezTo>
                    <a:lnTo>
                      <a:pt x="333" y="6810"/>
                    </a:lnTo>
                    <a:cubicBezTo>
                      <a:pt x="333" y="6668"/>
                      <a:pt x="429" y="6513"/>
                      <a:pt x="583" y="6477"/>
                    </a:cubicBezTo>
                    <a:lnTo>
                      <a:pt x="1238" y="6287"/>
                    </a:lnTo>
                    <a:cubicBezTo>
                      <a:pt x="1262" y="6287"/>
                      <a:pt x="1286" y="6263"/>
                      <a:pt x="1310" y="6251"/>
                    </a:cubicBezTo>
                    <a:lnTo>
                      <a:pt x="1715" y="6656"/>
                    </a:lnTo>
                    <a:lnTo>
                      <a:pt x="1715" y="8108"/>
                    </a:lnTo>
                    <a:cubicBezTo>
                      <a:pt x="1715" y="8203"/>
                      <a:pt x="1786" y="8275"/>
                      <a:pt x="1881" y="8275"/>
                    </a:cubicBezTo>
                    <a:cubicBezTo>
                      <a:pt x="1965" y="8275"/>
                      <a:pt x="2036" y="8203"/>
                      <a:pt x="2036" y="8108"/>
                    </a:cubicBezTo>
                    <a:lnTo>
                      <a:pt x="2036" y="6656"/>
                    </a:lnTo>
                    <a:lnTo>
                      <a:pt x="2441" y="6251"/>
                    </a:lnTo>
                    <a:cubicBezTo>
                      <a:pt x="2500" y="6287"/>
                      <a:pt x="2548" y="6298"/>
                      <a:pt x="2596" y="6310"/>
                    </a:cubicBezTo>
                    <a:lnTo>
                      <a:pt x="2750" y="6358"/>
                    </a:lnTo>
                    <a:cubicBezTo>
                      <a:pt x="2536" y="6501"/>
                      <a:pt x="2393" y="6751"/>
                      <a:pt x="2393" y="7037"/>
                    </a:cubicBezTo>
                    <a:lnTo>
                      <a:pt x="2393" y="8120"/>
                    </a:lnTo>
                    <a:cubicBezTo>
                      <a:pt x="2393" y="8215"/>
                      <a:pt x="2465" y="8287"/>
                      <a:pt x="2560" y="8287"/>
                    </a:cubicBezTo>
                    <a:cubicBezTo>
                      <a:pt x="2643" y="8287"/>
                      <a:pt x="2727" y="8215"/>
                      <a:pt x="2727" y="8120"/>
                    </a:cubicBezTo>
                    <a:lnTo>
                      <a:pt x="2727" y="7037"/>
                    </a:lnTo>
                    <a:cubicBezTo>
                      <a:pt x="2727" y="6834"/>
                      <a:pt x="2846" y="6656"/>
                      <a:pt x="3036" y="6560"/>
                    </a:cubicBezTo>
                    <a:lnTo>
                      <a:pt x="3941" y="6156"/>
                    </a:lnTo>
                    <a:cubicBezTo>
                      <a:pt x="4227" y="6727"/>
                      <a:pt x="4810" y="7096"/>
                      <a:pt x="5441" y="7096"/>
                    </a:cubicBezTo>
                    <a:cubicBezTo>
                      <a:pt x="6084" y="7096"/>
                      <a:pt x="6668" y="6739"/>
                      <a:pt x="6953" y="6156"/>
                    </a:cubicBezTo>
                    <a:lnTo>
                      <a:pt x="7858" y="6560"/>
                    </a:lnTo>
                    <a:cubicBezTo>
                      <a:pt x="8049" y="6656"/>
                      <a:pt x="8168" y="6834"/>
                      <a:pt x="8168" y="7037"/>
                    </a:cubicBezTo>
                    <a:lnTo>
                      <a:pt x="8168" y="8120"/>
                    </a:lnTo>
                    <a:cubicBezTo>
                      <a:pt x="8168" y="8215"/>
                      <a:pt x="8239" y="8287"/>
                      <a:pt x="8334" y="8287"/>
                    </a:cubicBezTo>
                    <a:cubicBezTo>
                      <a:pt x="8418" y="8287"/>
                      <a:pt x="8501" y="8215"/>
                      <a:pt x="8501" y="8120"/>
                    </a:cubicBezTo>
                    <a:lnTo>
                      <a:pt x="8501" y="7037"/>
                    </a:lnTo>
                    <a:cubicBezTo>
                      <a:pt x="8501" y="6834"/>
                      <a:pt x="8418" y="6656"/>
                      <a:pt x="8299" y="6501"/>
                    </a:cubicBezTo>
                    <a:lnTo>
                      <a:pt x="8537" y="6382"/>
                    </a:lnTo>
                    <a:lnTo>
                      <a:pt x="8715" y="6560"/>
                    </a:lnTo>
                    <a:cubicBezTo>
                      <a:pt x="8858" y="6679"/>
                      <a:pt x="9013" y="6739"/>
                      <a:pt x="9180" y="6739"/>
                    </a:cubicBezTo>
                    <a:cubicBezTo>
                      <a:pt x="9346" y="6739"/>
                      <a:pt x="9513" y="6679"/>
                      <a:pt x="9644" y="6560"/>
                    </a:cubicBezTo>
                    <a:lnTo>
                      <a:pt x="9823" y="6382"/>
                    </a:lnTo>
                    <a:lnTo>
                      <a:pt x="10358" y="6656"/>
                    </a:lnTo>
                    <a:cubicBezTo>
                      <a:pt x="10478" y="6715"/>
                      <a:pt x="10549" y="6834"/>
                      <a:pt x="10549" y="6965"/>
                    </a:cubicBezTo>
                    <a:lnTo>
                      <a:pt x="10549" y="8144"/>
                    </a:lnTo>
                    <a:cubicBezTo>
                      <a:pt x="10549" y="8227"/>
                      <a:pt x="10620" y="8299"/>
                      <a:pt x="10716" y="8299"/>
                    </a:cubicBezTo>
                    <a:cubicBezTo>
                      <a:pt x="10799" y="8299"/>
                      <a:pt x="10882" y="8227"/>
                      <a:pt x="10882" y="8144"/>
                    </a:cubicBezTo>
                    <a:lnTo>
                      <a:pt x="10882" y="6965"/>
                    </a:lnTo>
                    <a:cubicBezTo>
                      <a:pt x="10823" y="6703"/>
                      <a:pt x="10692" y="6477"/>
                      <a:pt x="10466" y="6358"/>
                    </a:cubicBezTo>
                    <a:lnTo>
                      <a:pt x="9823" y="6025"/>
                    </a:lnTo>
                    <a:lnTo>
                      <a:pt x="9823" y="6013"/>
                    </a:lnTo>
                    <a:lnTo>
                      <a:pt x="9823" y="5691"/>
                    </a:lnTo>
                    <a:cubicBezTo>
                      <a:pt x="10097" y="5501"/>
                      <a:pt x="10275" y="5227"/>
                      <a:pt x="10311" y="4882"/>
                    </a:cubicBezTo>
                    <a:cubicBezTo>
                      <a:pt x="10430" y="4679"/>
                      <a:pt x="10489" y="4453"/>
                      <a:pt x="10489" y="4215"/>
                    </a:cubicBezTo>
                    <a:cubicBezTo>
                      <a:pt x="10489" y="3786"/>
                      <a:pt x="10287" y="3381"/>
                      <a:pt x="9954" y="3143"/>
                    </a:cubicBezTo>
                    <a:cubicBezTo>
                      <a:pt x="9977" y="3084"/>
                      <a:pt x="9989" y="3012"/>
                      <a:pt x="9989" y="2953"/>
                    </a:cubicBezTo>
                    <a:cubicBezTo>
                      <a:pt x="9989" y="2536"/>
                      <a:pt x="9620" y="2191"/>
                      <a:pt x="9156" y="2191"/>
                    </a:cubicBezTo>
                    <a:cubicBezTo>
                      <a:pt x="8692" y="2191"/>
                      <a:pt x="8323" y="2524"/>
                      <a:pt x="8323" y="2953"/>
                    </a:cubicBezTo>
                    <a:cubicBezTo>
                      <a:pt x="8323" y="3024"/>
                      <a:pt x="8334" y="3084"/>
                      <a:pt x="8346" y="3143"/>
                    </a:cubicBezTo>
                    <a:cubicBezTo>
                      <a:pt x="8156" y="3286"/>
                      <a:pt x="8013" y="3477"/>
                      <a:pt x="7906" y="3715"/>
                    </a:cubicBezTo>
                    <a:cubicBezTo>
                      <a:pt x="7858" y="3334"/>
                      <a:pt x="7834" y="2869"/>
                      <a:pt x="7787" y="2346"/>
                    </a:cubicBezTo>
                    <a:cubicBezTo>
                      <a:pt x="7739" y="1655"/>
                      <a:pt x="7489" y="1060"/>
                      <a:pt x="7060" y="643"/>
                    </a:cubicBezTo>
                    <a:cubicBezTo>
                      <a:pt x="6644" y="226"/>
                      <a:pt x="6072" y="0"/>
                      <a:pt x="5417" y="0"/>
                    </a:cubicBezTo>
                    <a:close/>
                  </a:path>
                </a:pathLst>
              </a:custGeom>
              <a:grpFill/>
              <a:ln>
                <a:noFill/>
              </a:ln>
            </p:spPr>
            <p:txBody>
              <a:bodyPr spcFirstLastPara="1" wrap="square" lIns="91425" tIns="91425" rIns="91425" bIns="91425" anchor="ctr" anchorCtr="0">
                <a:noAutofit/>
              </a:bodyPr>
              <a:lstStyle/>
              <a:p>
                <a:endParaRPr dirty="0"/>
              </a:p>
            </p:txBody>
          </p:sp>
          <p:sp>
            <p:nvSpPr>
              <p:cNvPr id="301" name="Google Shape;2462;p54">
                <a:extLst>
                  <a:ext uri="{FF2B5EF4-FFF2-40B4-BE49-F238E27FC236}">
                    <a16:creationId xmlns:a16="http://schemas.microsoft.com/office/drawing/2014/main" id="{815B8FDA-841C-41C2-BFBC-5E8B55A67891}"/>
                  </a:ext>
                </a:extLst>
              </p:cNvPr>
              <p:cNvSpPr/>
              <p:nvPr/>
            </p:nvSpPr>
            <p:spPr>
              <a:xfrm>
                <a:off x="6089408" y="3637503"/>
                <a:ext cx="10662" cy="36029"/>
              </a:xfrm>
              <a:custGeom>
                <a:avLst/>
                <a:gdLst/>
                <a:ahLst/>
                <a:cxnLst/>
                <a:rect l="l" t="t" r="r" b="b"/>
                <a:pathLst>
                  <a:path w="335" h="1132" extrusionOk="0">
                    <a:moveTo>
                      <a:pt x="167" y="1"/>
                    </a:moveTo>
                    <a:cubicBezTo>
                      <a:pt x="72" y="1"/>
                      <a:pt x="1" y="84"/>
                      <a:pt x="1" y="167"/>
                    </a:cubicBezTo>
                    <a:lnTo>
                      <a:pt x="1" y="977"/>
                    </a:lnTo>
                    <a:cubicBezTo>
                      <a:pt x="1" y="1060"/>
                      <a:pt x="72" y="1132"/>
                      <a:pt x="167" y="1132"/>
                    </a:cubicBezTo>
                    <a:cubicBezTo>
                      <a:pt x="251" y="1132"/>
                      <a:pt x="322" y="1060"/>
                      <a:pt x="322" y="977"/>
                    </a:cubicBezTo>
                    <a:lnTo>
                      <a:pt x="322" y="167"/>
                    </a:lnTo>
                    <a:cubicBezTo>
                      <a:pt x="334" y="84"/>
                      <a:pt x="251" y="1"/>
                      <a:pt x="167" y="1"/>
                    </a:cubicBezTo>
                    <a:close/>
                  </a:path>
                </a:pathLst>
              </a:custGeom>
              <a:grpFill/>
              <a:ln>
                <a:noFill/>
              </a:ln>
            </p:spPr>
            <p:txBody>
              <a:bodyPr spcFirstLastPara="1" wrap="square" lIns="91425" tIns="91425" rIns="91425" bIns="91425" anchor="ctr" anchorCtr="0">
                <a:noAutofit/>
              </a:bodyPr>
              <a:lstStyle/>
              <a:p>
                <a:endParaRPr/>
              </a:p>
            </p:txBody>
          </p:sp>
        </p:grpSp>
      </p:grpSp>
      <p:cxnSp>
        <p:nvCxnSpPr>
          <p:cNvPr id="206" name="Straight Connector 205">
            <a:extLst>
              <a:ext uri="{FF2B5EF4-FFF2-40B4-BE49-F238E27FC236}">
                <a16:creationId xmlns:a16="http://schemas.microsoft.com/office/drawing/2014/main" id="{77B503ED-3169-436A-B6AE-416D357977E8}"/>
              </a:ext>
            </a:extLst>
          </p:cNvPr>
          <p:cNvCxnSpPr>
            <a:cxnSpLocks/>
          </p:cNvCxnSpPr>
          <p:nvPr/>
        </p:nvCxnSpPr>
        <p:spPr>
          <a:xfrm>
            <a:off x="8759588" y="2222668"/>
            <a:ext cx="1" cy="230772"/>
          </a:xfrm>
          <a:prstGeom prst="line">
            <a:avLst/>
          </a:prstGeom>
          <a:ln w="9525" cap="flat" cmpd="sng" algn="ctr">
            <a:solidFill>
              <a:schemeClr val="accent5"/>
            </a:solidFill>
            <a:prstDash val="dash"/>
            <a:round/>
            <a:headEnd type="none" w="med" len="med"/>
            <a:tailEnd type="none" w="med" len="med"/>
          </a:ln>
          <a:effectLst/>
        </p:spPr>
        <p:style>
          <a:lnRef idx="0">
            <a:scrgbClr r="0" g="0" b="0"/>
          </a:lnRef>
          <a:fillRef idx="0">
            <a:scrgbClr r="0" g="0" b="0"/>
          </a:fillRef>
          <a:effectRef idx="0">
            <a:scrgbClr r="0" g="0" b="0"/>
          </a:effectRef>
          <a:fontRef idx="minor">
            <a:schemeClr val="tx1"/>
          </a:fontRef>
        </p:style>
      </p:cxnSp>
      <p:grpSp>
        <p:nvGrpSpPr>
          <p:cNvPr id="78" name="Group 77">
            <a:extLst>
              <a:ext uri="{FF2B5EF4-FFF2-40B4-BE49-F238E27FC236}">
                <a16:creationId xmlns:a16="http://schemas.microsoft.com/office/drawing/2014/main" id="{1B2E338C-9B84-48A4-B69C-400649C381A8}"/>
              </a:ext>
            </a:extLst>
          </p:cNvPr>
          <p:cNvGrpSpPr/>
          <p:nvPr/>
        </p:nvGrpSpPr>
        <p:grpSpPr>
          <a:xfrm>
            <a:off x="7030671" y="2392190"/>
            <a:ext cx="1339474" cy="1816882"/>
            <a:chOff x="7030671" y="2392190"/>
            <a:chExt cx="1339474" cy="1816882"/>
          </a:xfrm>
        </p:grpSpPr>
        <p:grpSp>
          <p:nvGrpSpPr>
            <p:cNvPr id="303" name="Group 302">
              <a:extLst>
                <a:ext uri="{FF2B5EF4-FFF2-40B4-BE49-F238E27FC236}">
                  <a16:creationId xmlns:a16="http://schemas.microsoft.com/office/drawing/2014/main" id="{8C1EF3B7-B730-4018-9FE3-B8EEFA32B7DC}"/>
                </a:ext>
              </a:extLst>
            </p:cNvPr>
            <p:cNvGrpSpPr/>
            <p:nvPr/>
          </p:nvGrpSpPr>
          <p:grpSpPr>
            <a:xfrm>
              <a:off x="7406089" y="3094160"/>
              <a:ext cx="588638" cy="677200"/>
              <a:chOff x="588631" y="1425131"/>
              <a:chExt cx="588638" cy="677200"/>
            </a:xfrm>
            <a:solidFill>
              <a:srgbClr val="00B050"/>
            </a:solidFill>
          </p:grpSpPr>
          <p:sp>
            <p:nvSpPr>
              <p:cNvPr id="312" name="Freeform 6">
                <a:extLst>
                  <a:ext uri="{FF2B5EF4-FFF2-40B4-BE49-F238E27FC236}">
                    <a16:creationId xmlns:a16="http://schemas.microsoft.com/office/drawing/2014/main" id="{39371C5E-9944-4C2C-8975-68C6E3BBBC96}"/>
                  </a:ext>
                </a:extLst>
              </p:cNvPr>
              <p:cNvSpPr>
                <a:spLocks/>
              </p:cNvSpPr>
              <p:nvPr/>
            </p:nvSpPr>
            <p:spPr bwMode="auto">
              <a:xfrm rot="10800000">
                <a:off x="588631" y="1425131"/>
                <a:ext cx="588638" cy="677200"/>
              </a:xfrm>
              <a:custGeom>
                <a:avLst/>
                <a:gdLst>
                  <a:gd name="T0" fmla="*/ 369 w 369"/>
                  <a:gd name="T1" fmla="*/ 184 h 424"/>
                  <a:gd name="T2" fmla="*/ 184 w 369"/>
                  <a:gd name="T3" fmla="*/ 0 h 424"/>
                  <a:gd name="T4" fmla="*/ 0 w 369"/>
                  <a:gd name="T5" fmla="*/ 184 h 424"/>
                  <a:gd name="T6" fmla="*/ 151 w 369"/>
                  <a:gd name="T7" fmla="*/ 366 h 424"/>
                  <a:gd name="T8" fmla="*/ 184 w 369"/>
                  <a:gd name="T9" fmla="*/ 424 h 424"/>
                  <a:gd name="T10" fmla="*/ 218 w 369"/>
                  <a:gd name="T11" fmla="*/ 366 h 424"/>
                  <a:gd name="T12" fmla="*/ 369 w 369"/>
                  <a:gd name="T13" fmla="*/ 184 h 424"/>
                </a:gdLst>
                <a:ahLst/>
                <a:cxnLst>
                  <a:cxn ang="0">
                    <a:pos x="T0" y="T1"/>
                  </a:cxn>
                  <a:cxn ang="0">
                    <a:pos x="T2" y="T3"/>
                  </a:cxn>
                  <a:cxn ang="0">
                    <a:pos x="T4" y="T5"/>
                  </a:cxn>
                  <a:cxn ang="0">
                    <a:pos x="T6" y="T7"/>
                  </a:cxn>
                  <a:cxn ang="0">
                    <a:pos x="T8" y="T9"/>
                  </a:cxn>
                  <a:cxn ang="0">
                    <a:pos x="T10" y="T11"/>
                  </a:cxn>
                  <a:cxn ang="0">
                    <a:pos x="T12" y="T13"/>
                  </a:cxn>
                </a:cxnLst>
                <a:rect l="0" t="0" r="r" b="b"/>
                <a:pathLst>
                  <a:path w="369" h="424">
                    <a:moveTo>
                      <a:pt x="369" y="184"/>
                    </a:moveTo>
                    <a:cubicBezTo>
                      <a:pt x="369" y="82"/>
                      <a:pt x="286" y="0"/>
                      <a:pt x="184" y="0"/>
                    </a:cubicBezTo>
                    <a:cubicBezTo>
                      <a:pt x="82" y="0"/>
                      <a:pt x="0" y="82"/>
                      <a:pt x="0" y="184"/>
                    </a:cubicBezTo>
                    <a:cubicBezTo>
                      <a:pt x="0" y="275"/>
                      <a:pt x="65" y="350"/>
                      <a:pt x="151" y="366"/>
                    </a:cubicBezTo>
                    <a:cubicBezTo>
                      <a:pt x="184" y="424"/>
                      <a:pt x="184" y="424"/>
                      <a:pt x="184" y="424"/>
                    </a:cubicBezTo>
                    <a:cubicBezTo>
                      <a:pt x="218" y="366"/>
                      <a:pt x="218" y="366"/>
                      <a:pt x="218" y="366"/>
                    </a:cubicBezTo>
                    <a:cubicBezTo>
                      <a:pt x="304" y="350"/>
                      <a:pt x="369" y="275"/>
                      <a:pt x="369" y="184"/>
                    </a:cubicBezTo>
                    <a:close/>
                  </a:path>
                </a:pathLst>
              </a:custGeom>
              <a:grpFill/>
              <a:ln>
                <a:solidFill>
                  <a:srgbClr val="00B050"/>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nvGrpSpPr>
              <p:cNvPr id="305" name="Google Shape;2456;p54">
                <a:extLst>
                  <a:ext uri="{FF2B5EF4-FFF2-40B4-BE49-F238E27FC236}">
                    <a16:creationId xmlns:a16="http://schemas.microsoft.com/office/drawing/2014/main" id="{0254474A-CEB0-40B5-907D-164F67D8CA86}"/>
                  </a:ext>
                </a:extLst>
              </p:cNvPr>
              <p:cNvGrpSpPr/>
              <p:nvPr/>
            </p:nvGrpSpPr>
            <p:grpSpPr>
              <a:xfrm>
                <a:off x="746801" y="1767435"/>
                <a:ext cx="251146" cy="121326"/>
                <a:chOff x="5797995" y="3528367"/>
                <a:chExt cx="302075" cy="145929"/>
              </a:xfrm>
              <a:grpFill/>
            </p:grpSpPr>
            <p:sp>
              <p:nvSpPr>
                <p:cNvPr id="306" name="Google Shape;2457;p54">
                  <a:extLst>
                    <a:ext uri="{FF2B5EF4-FFF2-40B4-BE49-F238E27FC236}">
                      <a16:creationId xmlns:a16="http://schemas.microsoft.com/office/drawing/2014/main" id="{5C010644-A49C-4737-BFB8-B1B4219BDB16}"/>
                    </a:ext>
                  </a:extLst>
                </p:cNvPr>
                <p:cNvSpPr/>
                <p:nvPr/>
              </p:nvSpPr>
              <p:spPr>
                <a:xfrm>
                  <a:off x="5890104" y="3642055"/>
                  <a:ext cx="10248" cy="32241"/>
                </a:xfrm>
                <a:custGeom>
                  <a:avLst/>
                  <a:gdLst/>
                  <a:ahLst/>
                  <a:cxnLst/>
                  <a:rect l="l" t="t" r="r" b="b"/>
                  <a:pathLst>
                    <a:path w="322" h="1013" extrusionOk="0">
                      <a:moveTo>
                        <a:pt x="167" y="1"/>
                      </a:moveTo>
                      <a:cubicBezTo>
                        <a:pt x="71" y="1"/>
                        <a:pt x="0" y="72"/>
                        <a:pt x="0" y="155"/>
                      </a:cubicBezTo>
                      <a:lnTo>
                        <a:pt x="0" y="846"/>
                      </a:lnTo>
                      <a:cubicBezTo>
                        <a:pt x="0" y="929"/>
                        <a:pt x="71" y="1013"/>
                        <a:pt x="167" y="1013"/>
                      </a:cubicBezTo>
                      <a:cubicBezTo>
                        <a:pt x="250" y="1013"/>
                        <a:pt x="321" y="929"/>
                        <a:pt x="321" y="846"/>
                      </a:cubicBezTo>
                      <a:lnTo>
                        <a:pt x="321" y="143"/>
                      </a:lnTo>
                      <a:cubicBezTo>
                        <a:pt x="321" y="60"/>
                        <a:pt x="250" y="1"/>
                        <a:pt x="167" y="1"/>
                      </a:cubicBezTo>
                      <a:close/>
                    </a:path>
                  </a:pathLst>
                </a:custGeom>
                <a:grpFill/>
                <a:ln>
                  <a:solidFill>
                    <a:srgbClr val="00B050"/>
                  </a:solidFill>
                </a:ln>
              </p:spPr>
              <p:txBody>
                <a:bodyPr spcFirstLastPara="1" wrap="square" lIns="91425" tIns="91425" rIns="91425" bIns="91425" anchor="ctr" anchorCtr="0">
                  <a:noAutofit/>
                </a:bodyPr>
                <a:lstStyle/>
                <a:p>
                  <a:endParaRPr/>
                </a:p>
              </p:txBody>
            </p:sp>
            <p:sp>
              <p:nvSpPr>
                <p:cNvPr id="307" name="Google Shape;2458;p54">
                  <a:extLst>
                    <a:ext uri="{FF2B5EF4-FFF2-40B4-BE49-F238E27FC236}">
                      <a16:creationId xmlns:a16="http://schemas.microsoft.com/office/drawing/2014/main" id="{6911A0C0-892D-4EA5-BEDB-603A62A99643}"/>
                    </a:ext>
                  </a:extLst>
                </p:cNvPr>
                <p:cNvSpPr/>
                <p:nvPr/>
              </p:nvSpPr>
              <p:spPr>
                <a:xfrm>
                  <a:off x="5998094" y="3642055"/>
                  <a:ext cx="10248" cy="32241"/>
                </a:xfrm>
                <a:custGeom>
                  <a:avLst/>
                  <a:gdLst/>
                  <a:ahLst/>
                  <a:cxnLst/>
                  <a:rect l="l" t="t" r="r" b="b"/>
                  <a:pathLst>
                    <a:path w="322" h="1013" extrusionOk="0">
                      <a:moveTo>
                        <a:pt x="167" y="1"/>
                      </a:moveTo>
                      <a:cubicBezTo>
                        <a:pt x="72" y="1"/>
                        <a:pt x="0" y="72"/>
                        <a:pt x="0" y="155"/>
                      </a:cubicBezTo>
                      <a:lnTo>
                        <a:pt x="0" y="846"/>
                      </a:lnTo>
                      <a:cubicBezTo>
                        <a:pt x="0" y="929"/>
                        <a:pt x="72" y="1013"/>
                        <a:pt x="167" y="1013"/>
                      </a:cubicBezTo>
                      <a:cubicBezTo>
                        <a:pt x="250" y="1013"/>
                        <a:pt x="322" y="929"/>
                        <a:pt x="322" y="846"/>
                      </a:cubicBezTo>
                      <a:lnTo>
                        <a:pt x="322" y="143"/>
                      </a:lnTo>
                      <a:cubicBezTo>
                        <a:pt x="310" y="60"/>
                        <a:pt x="250" y="1"/>
                        <a:pt x="167" y="1"/>
                      </a:cubicBezTo>
                      <a:close/>
                    </a:path>
                  </a:pathLst>
                </a:custGeom>
                <a:grpFill/>
                <a:ln>
                  <a:solidFill>
                    <a:srgbClr val="00B050"/>
                  </a:solidFill>
                </a:ln>
              </p:spPr>
              <p:txBody>
                <a:bodyPr spcFirstLastPara="1" wrap="square" lIns="91425" tIns="91425" rIns="91425" bIns="91425" anchor="ctr" anchorCtr="0">
                  <a:noAutofit/>
                </a:bodyPr>
                <a:lstStyle/>
                <a:p>
                  <a:endParaRPr/>
                </a:p>
              </p:txBody>
            </p:sp>
            <p:sp>
              <p:nvSpPr>
                <p:cNvPr id="308" name="Google Shape;2459;p54">
                  <a:extLst>
                    <a:ext uri="{FF2B5EF4-FFF2-40B4-BE49-F238E27FC236}">
                      <a16:creationId xmlns:a16="http://schemas.microsoft.com/office/drawing/2014/main" id="{327A2936-12EA-4319-91B2-729B477154A2}"/>
                    </a:ext>
                  </a:extLst>
                </p:cNvPr>
                <p:cNvSpPr/>
                <p:nvPr/>
              </p:nvSpPr>
              <p:spPr>
                <a:xfrm>
                  <a:off x="5814673" y="3528367"/>
                  <a:ext cx="43222" cy="15564"/>
                </a:xfrm>
                <a:custGeom>
                  <a:avLst/>
                  <a:gdLst/>
                  <a:ahLst/>
                  <a:cxnLst/>
                  <a:rect l="l" t="t" r="r" b="b"/>
                  <a:pathLst>
                    <a:path w="1358" h="489" extrusionOk="0">
                      <a:moveTo>
                        <a:pt x="167" y="1"/>
                      </a:moveTo>
                      <a:cubicBezTo>
                        <a:pt x="72" y="1"/>
                        <a:pt x="1" y="72"/>
                        <a:pt x="1" y="156"/>
                      </a:cubicBezTo>
                      <a:cubicBezTo>
                        <a:pt x="1" y="251"/>
                        <a:pt x="72" y="322"/>
                        <a:pt x="167" y="322"/>
                      </a:cubicBezTo>
                      <a:cubicBezTo>
                        <a:pt x="346" y="322"/>
                        <a:pt x="870" y="358"/>
                        <a:pt x="1120" y="477"/>
                      </a:cubicBezTo>
                      <a:cubicBezTo>
                        <a:pt x="1144" y="489"/>
                        <a:pt x="1167" y="489"/>
                        <a:pt x="1191" y="489"/>
                      </a:cubicBezTo>
                      <a:cubicBezTo>
                        <a:pt x="1251" y="489"/>
                        <a:pt x="1310" y="453"/>
                        <a:pt x="1346" y="394"/>
                      </a:cubicBezTo>
                      <a:cubicBezTo>
                        <a:pt x="1358" y="322"/>
                        <a:pt x="1322" y="239"/>
                        <a:pt x="1251" y="191"/>
                      </a:cubicBezTo>
                      <a:cubicBezTo>
                        <a:pt x="882" y="13"/>
                        <a:pt x="191" y="1"/>
                        <a:pt x="167" y="1"/>
                      </a:cubicBezTo>
                      <a:close/>
                    </a:path>
                  </a:pathLst>
                </a:custGeom>
                <a:grpFill/>
                <a:ln>
                  <a:solidFill>
                    <a:srgbClr val="00B050"/>
                  </a:solidFill>
                </a:ln>
              </p:spPr>
              <p:txBody>
                <a:bodyPr spcFirstLastPara="1" wrap="square" lIns="91425" tIns="91425" rIns="91425" bIns="91425" anchor="ctr" anchorCtr="0">
                  <a:noAutofit/>
                </a:bodyPr>
                <a:lstStyle/>
                <a:p>
                  <a:endParaRPr/>
                </a:p>
              </p:txBody>
            </p:sp>
            <p:sp>
              <p:nvSpPr>
                <p:cNvPr id="309" name="Google Shape;2460;p54">
                  <a:extLst>
                    <a:ext uri="{FF2B5EF4-FFF2-40B4-BE49-F238E27FC236}">
                      <a16:creationId xmlns:a16="http://schemas.microsoft.com/office/drawing/2014/main" id="{B0CC1FDA-75A1-4982-AC76-0FBB48D9D149}"/>
                    </a:ext>
                  </a:extLst>
                </p:cNvPr>
                <p:cNvSpPr/>
                <p:nvPr/>
              </p:nvSpPr>
              <p:spPr>
                <a:xfrm>
                  <a:off x="5797995" y="3631074"/>
                  <a:ext cx="10662" cy="42458"/>
                </a:xfrm>
                <a:custGeom>
                  <a:avLst/>
                  <a:gdLst/>
                  <a:ahLst/>
                  <a:cxnLst/>
                  <a:rect l="l" t="t" r="r" b="b"/>
                  <a:pathLst>
                    <a:path w="335" h="1334" extrusionOk="0">
                      <a:moveTo>
                        <a:pt x="167" y="0"/>
                      </a:moveTo>
                      <a:cubicBezTo>
                        <a:pt x="84" y="0"/>
                        <a:pt x="1" y="72"/>
                        <a:pt x="1" y="167"/>
                      </a:cubicBezTo>
                      <a:lnTo>
                        <a:pt x="1" y="1179"/>
                      </a:lnTo>
                      <a:cubicBezTo>
                        <a:pt x="1" y="1262"/>
                        <a:pt x="84" y="1334"/>
                        <a:pt x="167" y="1334"/>
                      </a:cubicBezTo>
                      <a:cubicBezTo>
                        <a:pt x="251" y="1334"/>
                        <a:pt x="334" y="1262"/>
                        <a:pt x="334" y="1179"/>
                      </a:cubicBezTo>
                      <a:lnTo>
                        <a:pt x="334" y="167"/>
                      </a:lnTo>
                      <a:cubicBezTo>
                        <a:pt x="334" y="72"/>
                        <a:pt x="263" y="0"/>
                        <a:pt x="167" y="0"/>
                      </a:cubicBezTo>
                      <a:close/>
                    </a:path>
                  </a:pathLst>
                </a:custGeom>
                <a:grpFill/>
                <a:ln>
                  <a:solidFill>
                    <a:srgbClr val="00B050"/>
                  </a:solidFill>
                </a:ln>
              </p:spPr>
              <p:txBody>
                <a:bodyPr spcFirstLastPara="1" wrap="square" lIns="91425" tIns="91425" rIns="91425" bIns="91425" anchor="ctr" anchorCtr="0">
                  <a:noAutofit/>
                </a:bodyPr>
                <a:lstStyle/>
                <a:p>
                  <a:endParaRPr/>
                </a:p>
              </p:txBody>
            </p:sp>
            <p:sp>
              <p:nvSpPr>
                <p:cNvPr id="311" name="Google Shape;2462;p54">
                  <a:extLst>
                    <a:ext uri="{FF2B5EF4-FFF2-40B4-BE49-F238E27FC236}">
                      <a16:creationId xmlns:a16="http://schemas.microsoft.com/office/drawing/2014/main" id="{C11AABBA-6CD2-4955-9963-1CE7C89E5217}"/>
                    </a:ext>
                  </a:extLst>
                </p:cNvPr>
                <p:cNvSpPr/>
                <p:nvPr/>
              </p:nvSpPr>
              <p:spPr>
                <a:xfrm>
                  <a:off x="6089408" y="3637503"/>
                  <a:ext cx="10662" cy="36029"/>
                </a:xfrm>
                <a:custGeom>
                  <a:avLst/>
                  <a:gdLst/>
                  <a:ahLst/>
                  <a:cxnLst/>
                  <a:rect l="l" t="t" r="r" b="b"/>
                  <a:pathLst>
                    <a:path w="335" h="1132" extrusionOk="0">
                      <a:moveTo>
                        <a:pt x="167" y="1"/>
                      </a:moveTo>
                      <a:cubicBezTo>
                        <a:pt x="72" y="1"/>
                        <a:pt x="1" y="84"/>
                        <a:pt x="1" y="167"/>
                      </a:cubicBezTo>
                      <a:lnTo>
                        <a:pt x="1" y="977"/>
                      </a:lnTo>
                      <a:cubicBezTo>
                        <a:pt x="1" y="1060"/>
                        <a:pt x="72" y="1132"/>
                        <a:pt x="167" y="1132"/>
                      </a:cubicBezTo>
                      <a:cubicBezTo>
                        <a:pt x="251" y="1132"/>
                        <a:pt x="322" y="1060"/>
                        <a:pt x="322" y="977"/>
                      </a:cubicBezTo>
                      <a:lnTo>
                        <a:pt x="322" y="167"/>
                      </a:lnTo>
                      <a:cubicBezTo>
                        <a:pt x="334" y="84"/>
                        <a:pt x="251" y="1"/>
                        <a:pt x="167" y="1"/>
                      </a:cubicBezTo>
                      <a:close/>
                    </a:path>
                  </a:pathLst>
                </a:custGeom>
                <a:grpFill/>
                <a:ln>
                  <a:solidFill>
                    <a:srgbClr val="00B050"/>
                  </a:solidFill>
                </a:ln>
              </p:spPr>
              <p:txBody>
                <a:bodyPr spcFirstLastPara="1" wrap="square" lIns="91425" tIns="91425" rIns="91425" bIns="91425" anchor="ctr" anchorCtr="0">
                  <a:noAutofit/>
                </a:bodyPr>
                <a:lstStyle/>
                <a:p>
                  <a:endParaRPr/>
                </a:p>
              </p:txBody>
            </p:sp>
          </p:grpSp>
        </p:grpSp>
        <p:sp>
          <p:nvSpPr>
            <p:cNvPr id="106" name="TextBox 105">
              <a:extLst>
                <a:ext uri="{FF2B5EF4-FFF2-40B4-BE49-F238E27FC236}">
                  <a16:creationId xmlns:a16="http://schemas.microsoft.com/office/drawing/2014/main" id="{0D06E89D-ECBF-4C79-BB3E-56DFD128A56B}"/>
                </a:ext>
              </a:extLst>
            </p:cNvPr>
            <p:cNvSpPr txBox="1"/>
            <p:nvPr/>
          </p:nvSpPr>
          <p:spPr>
            <a:xfrm>
              <a:off x="7273199" y="2392190"/>
              <a:ext cx="854419" cy="414729"/>
            </a:xfrm>
            <a:prstGeom prst="rect">
              <a:avLst/>
            </a:prstGeom>
            <a:noFill/>
          </p:spPr>
          <p:txBody>
            <a:bodyPr wrap="square" rtlCol="0">
              <a:spAutoFit/>
            </a:bodyPr>
            <a:lstStyle/>
            <a:p>
              <a:pPr algn="ctr">
                <a:lnSpc>
                  <a:spcPts val="1320"/>
                </a:lnSpc>
              </a:pPr>
              <a:r>
                <a:rPr lang="es-ES" sz="1050" b="1" dirty="0">
                  <a:solidFill>
                    <a:schemeClr val="bg1">
                      <a:lumMod val="50000"/>
                    </a:schemeClr>
                  </a:solidFill>
                  <a:latin typeface="Arial" panose="020B0604020202020204" pitchFamily="34" charset="0"/>
                  <a:cs typeface="Arial" panose="020B0604020202020204" pitchFamily="34" charset="0"/>
                </a:rPr>
                <a:t>OCT-NOV</a:t>
              </a:r>
              <a:r>
                <a:rPr lang="en-GR" sz="1050" b="1" dirty="0">
                  <a:solidFill>
                    <a:schemeClr val="bg1">
                      <a:lumMod val="50000"/>
                    </a:schemeClr>
                  </a:solidFill>
                  <a:latin typeface="Arial" panose="020B0604020202020204" pitchFamily="34" charset="0"/>
                  <a:cs typeface="Arial" panose="020B0604020202020204" pitchFamily="34" charset="0"/>
                </a:rPr>
                <a:t> </a:t>
              </a:r>
              <a:r>
                <a:rPr lang="es-ES" sz="1050" b="1" dirty="0">
                  <a:solidFill>
                    <a:schemeClr val="bg1">
                      <a:lumMod val="50000"/>
                    </a:schemeClr>
                  </a:solidFill>
                  <a:latin typeface="Arial" panose="020B0604020202020204" pitchFamily="34" charset="0"/>
                  <a:cs typeface="Arial" panose="020B0604020202020204" pitchFamily="34" charset="0"/>
                </a:rPr>
                <a:t>2023</a:t>
              </a:r>
              <a:endParaRPr lang="en-GR" sz="1050" b="1" dirty="0">
                <a:solidFill>
                  <a:schemeClr val="bg1">
                    <a:lumMod val="50000"/>
                  </a:schemeClr>
                </a:solidFill>
                <a:latin typeface="Arial" panose="020B0604020202020204" pitchFamily="34" charset="0"/>
                <a:cs typeface="Arial" panose="020B0604020202020204" pitchFamily="34" charset="0"/>
              </a:endParaRPr>
            </a:p>
          </p:txBody>
        </p:sp>
        <p:grpSp>
          <p:nvGrpSpPr>
            <p:cNvPr id="162" name="Group 161">
              <a:extLst>
                <a:ext uri="{FF2B5EF4-FFF2-40B4-BE49-F238E27FC236}">
                  <a16:creationId xmlns:a16="http://schemas.microsoft.com/office/drawing/2014/main" id="{CDC40400-0F21-4C57-821F-537AC099C983}"/>
                </a:ext>
              </a:extLst>
            </p:cNvPr>
            <p:cNvGrpSpPr/>
            <p:nvPr/>
          </p:nvGrpSpPr>
          <p:grpSpPr>
            <a:xfrm>
              <a:off x="7492987" y="3267656"/>
              <a:ext cx="414843" cy="414178"/>
              <a:chOff x="4134118" y="3191161"/>
              <a:chExt cx="414843" cy="414178"/>
            </a:xfrm>
          </p:grpSpPr>
          <p:sp>
            <p:nvSpPr>
              <p:cNvPr id="177" name="Oval 24">
                <a:extLst>
                  <a:ext uri="{FF2B5EF4-FFF2-40B4-BE49-F238E27FC236}">
                    <a16:creationId xmlns:a16="http://schemas.microsoft.com/office/drawing/2014/main" id="{94B548CB-1F3B-44D9-8C24-B6AF3ED69654}"/>
                  </a:ext>
                </a:extLst>
              </p:cNvPr>
              <p:cNvSpPr>
                <a:spLocks noChangeArrowheads="1"/>
              </p:cNvSpPr>
              <p:nvPr/>
            </p:nvSpPr>
            <p:spPr bwMode="auto">
              <a:xfrm rot="10800000">
                <a:off x="4134118" y="3191161"/>
                <a:ext cx="414843" cy="414178"/>
              </a:xfrm>
              <a:prstGeom prst="ellipse">
                <a:avLst/>
              </a:prstGeom>
              <a:solidFill>
                <a:srgbClr val="E7E6E6"/>
              </a:solidFill>
              <a:ln>
                <a:noFill/>
              </a:ln>
              <a:effectLst>
                <a:outerShdw blurRad="127000" dist="63500" dir="2700000" algn="tl" rotWithShape="0">
                  <a:prstClr val="black">
                    <a:alpha val="50000"/>
                  </a:prstClr>
                </a:outerShd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dirty="0">
                  <a:ln>
                    <a:noFill/>
                  </a:ln>
                  <a:solidFill>
                    <a:prstClr val="black"/>
                  </a:solidFill>
                  <a:effectLst/>
                  <a:uLnTx/>
                  <a:uFillTx/>
                </a:endParaRPr>
              </a:p>
            </p:txBody>
          </p:sp>
          <p:grpSp>
            <p:nvGrpSpPr>
              <p:cNvPr id="164" name="Google Shape;4752;p58">
                <a:extLst>
                  <a:ext uri="{FF2B5EF4-FFF2-40B4-BE49-F238E27FC236}">
                    <a16:creationId xmlns:a16="http://schemas.microsoft.com/office/drawing/2014/main" id="{C70B6DCD-4BC0-412C-953B-59AD6A47D4EC}"/>
                  </a:ext>
                </a:extLst>
              </p:cNvPr>
              <p:cNvGrpSpPr/>
              <p:nvPr/>
            </p:nvGrpSpPr>
            <p:grpSpPr>
              <a:xfrm>
                <a:off x="4182418" y="3222433"/>
                <a:ext cx="301377" cy="301404"/>
                <a:chOff x="3712952" y="1970604"/>
                <a:chExt cx="354363" cy="354395"/>
              </a:xfrm>
              <a:solidFill>
                <a:srgbClr val="6E8E3B"/>
              </a:solidFill>
            </p:grpSpPr>
            <p:sp>
              <p:nvSpPr>
                <p:cNvPr id="165" name="Google Shape;4753;p58">
                  <a:extLst>
                    <a:ext uri="{FF2B5EF4-FFF2-40B4-BE49-F238E27FC236}">
                      <a16:creationId xmlns:a16="http://schemas.microsoft.com/office/drawing/2014/main" id="{871B2DE5-4454-4283-BBB4-4E6749AFA218}"/>
                    </a:ext>
                  </a:extLst>
                </p:cNvPr>
                <p:cNvSpPr/>
                <p:nvPr/>
              </p:nvSpPr>
              <p:spPr>
                <a:xfrm>
                  <a:off x="3868314" y="2281360"/>
                  <a:ext cx="43639" cy="43639"/>
                </a:xfrm>
                <a:custGeom>
                  <a:avLst/>
                  <a:gdLst/>
                  <a:ahLst/>
                  <a:cxnLst/>
                  <a:rect l="l" t="t" r="r" b="b"/>
                  <a:pathLst>
                    <a:path w="1371" h="1371" extrusionOk="0">
                      <a:moveTo>
                        <a:pt x="692" y="334"/>
                      </a:moveTo>
                      <a:cubicBezTo>
                        <a:pt x="882" y="334"/>
                        <a:pt x="1049" y="489"/>
                        <a:pt x="1049" y="691"/>
                      </a:cubicBezTo>
                      <a:cubicBezTo>
                        <a:pt x="1049" y="882"/>
                        <a:pt x="894" y="1049"/>
                        <a:pt x="692" y="1049"/>
                      </a:cubicBezTo>
                      <a:cubicBezTo>
                        <a:pt x="501" y="1049"/>
                        <a:pt x="334" y="882"/>
                        <a:pt x="334" y="691"/>
                      </a:cubicBezTo>
                      <a:cubicBezTo>
                        <a:pt x="334" y="489"/>
                        <a:pt x="501" y="334"/>
                        <a:pt x="692" y="334"/>
                      </a:cubicBezTo>
                      <a:close/>
                      <a:moveTo>
                        <a:pt x="692" y="1"/>
                      </a:moveTo>
                      <a:cubicBezTo>
                        <a:pt x="322" y="1"/>
                        <a:pt x="1" y="310"/>
                        <a:pt x="1" y="691"/>
                      </a:cubicBezTo>
                      <a:cubicBezTo>
                        <a:pt x="1" y="1060"/>
                        <a:pt x="322" y="1370"/>
                        <a:pt x="692" y="1370"/>
                      </a:cubicBezTo>
                      <a:cubicBezTo>
                        <a:pt x="1061" y="1370"/>
                        <a:pt x="1370" y="1060"/>
                        <a:pt x="1370" y="691"/>
                      </a:cubicBezTo>
                      <a:cubicBezTo>
                        <a:pt x="1370" y="310"/>
                        <a:pt x="1073" y="1"/>
                        <a:pt x="692" y="1"/>
                      </a:cubicBezTo>
                      <a:close/>
                    </a:path>
                  </a:pathLst>
                </a:custGeom>
                <a:grpFill/>
                <a:ln>
                  <a:noFill/>
                </a:ln>
              </p:spPr>
              <p:txBody>
                <a:bodyPr spcFirstLastPara="1" wrap="square" lIns="91425" tIns="91425" rIns="91425" bIns="91425" anchor="ctr" anchorCtr="0">
                  <a:noAutofit/>
                </a:bodyPr>
                <a:lstStyle/>
                <a:p>
                  <a:endParaRPr/>
                </a:p>
              </p:txBody>
            </p:sp>
            <p:sp>
              <p:nvSpPr>
                <p:cNvPr id="166" name="Google Shape;4754;p58">
                  <a:extLst>
                    <a:ext uri="{FF2B5EF4-FFF2-40B4-BE49-F238E27FC236}">
                      <a16:creationId xmlns:a16="http://schemas.microsoft.com/office/drawing/2014/main" id="{D4FC7C5A-7BD1-45FC-8898-922ECAECB1EE}"/>
                    </a:ext>
                  </a:extLst>
                </p:cNvPr>
                <p:cNvSpPr/>
                <p:nvPr/>
              </p:nvSpPr>
              <p:spPr>
                <a:xfrm>
                  <a:off x="3940346" y="2120300"/>
                  <a:ext cx="54970" cy="55002"/>
                </a:xfrm>
                <a:custGeom>
                  <a:avLst/>
                  <a:gdLst/>
                  <a:ahLst/>
                  <a:cxnLst/>
                  <a:rect l="l" t="t" r="r" b="b"/>
                  <a:pathLst>
                    <a:path w="1727" h="1728" extrusionOk="0">
                      <a:moveTo>
                        <a:pt x="869" y="322"/>
                      </a:moveTo>
                      <a:cubicBezTo>
                        <a:pt x="1167" y="322"/>
                        <a:pt x="1405" y="572"/>
                        <a:pt x="1405" y="870"/>
                      </a:cubicBezTo>
                      <a:cubicBezTo>
                        <a:pt x="1405" y="1167"/>
                        <a:pt x="1167" y="1406"/>
                        <a:pt x="869" y="1406"/>
                      </a:cubicBezTo>
                      <a:cubicBezTo>
                        <a:pt x="572" y="1406"/>
                        <a:pt x="334" y="1167"/>
                        <a:pt x="334" y="870"/>
                      </a:cubicBezTo>
                      <a:cubicBezTo>
                        <a:pt x="334" y="572"/>
                        <a:pt x="572" y="322"/>
                        <a:pt x="869" y="322"/>
                      </a:cubicBezTo>
                      <a:close/>
                      <a:moveTo>
                        <a:pt x="869" y="1"/>
                      </a:moveTo>
                      <a:cubicBezTo>
                        <a:pt x="393" y="1"/>
                        <a:pt x="0" y="394"/>
                        <a:pt x="0" y="870"/>
                      </a:cubicBezTo>
                      <a:cubicBezTo>
                        <a:pt x="0" y="1346"/>
                        <a:pt x="393" y="1727"/>
                        <a:pt x="869" y="1727"/>
                      </a:cubicBezTo>
                      <a:cubicBezTo>
                        <a:pt x="1346" y="1727"/>
                        <a:pt x="1727" y="1346"/>
                        <a:pt x="1727" y="870"/>
                      </a:cubicBezTo>
                      <a:cubicBezTo>
                        <a:pt x="1727" y="394"/>
                        <a:pt x="1346" y="1"/>
                        <a:pt x="869" y="1"/>
                      </a:cubicBezTo>
                      <a:close/>
                    </a:path>
                  </a:pathLst>
                </a:custGeom>
                <a:grpFill/>
                <a:ln>
                  <a:noFill/>
                </a:ln>
              </p:spPr>
              <p:txBody>
                <a:bodyPr spcFirstLastPara="1" wrap="square" lIns="91425" tIns="91425" rIns="91425" bIns="91425" anchor="ctr" anchorCtr="0">
                  <a:noAutofit/>
                </a:bodyPr>
                <a:lstStyle/>
                <a:p>
                  <a:endParaRPr/>
                </a:p>
              </p:txBody>
            </p:sp>
            <p:sp>
              <p:nvSpPr>
                <p:cNvPr id="167" name="Google Shape;4755;p58">
                  <a:extLst>
                    <a:ext uri="{FF2B5EF4-FFF2-40B4-BE49-F238E27FC236}">
                      <a16:creationId xmlns:a16="http://schemas.microsoft.com/office/drawing/2014/main" id="{680C60D4-67B2-4E9C-8593-C968F78EC5AD}"/>
                    </a:ext>
                  </a:extLst>
                </p:cNvPr>
                <p:cNvSpPr/>
                <p:nvPr/>
              </p:nvSpPr>
              <p:spPr>
                <a:xfrm>
                  <a:off x="3784952" y="2120300"/>
                  <a:ext cx="54970" cy="55002"/>
                </a:xfrm>
                <a:custGeom>
                  <a:avLst/>
                  <a:gdLst/>
                  <a:ahLst/>
                  <a:cxnLst/>
                  <a:rect l="l" t="t" r="r" b="b"/>
                  <a:pathLst>
                    <a:path w="1727" h="1728" extrusionOk="0">
                      <a:moveTo>
                        <a:pt x="870" y="322"/>
                      </a:moveTo>
                      <a:cubicBezTo>
                        <a:pt x="1167" y="322"/>
                        <a:pt x="1406" y="572"/>
                        <a:pt x="1406" y="870"/>
                      </a:cubicBezTo>
                      <a:cubicBezTo>
                        <a:pt x="1406" y="1167"/>
                        <a:pt x="1167" y="1406"/>
                        <a:pt x="870" y="1406"/>
                      </a:cubicBezTo>
                      <a:cubicBezTo>
                        <a:pt x="572" y="1406"/>
                        <a:pt x="334" y="1167"/>
                        <a:pt x="334" y="870"/>
                      </a:cubicBezTo>
                      <a:cubicBezTo>
                        <a:pt x="334" y="572"/>
                        <a:pt x="572" y="322"/>
                        <a:pt x="870" y="322"/>
                      </a:cubicBezTo>
                      <a:close/>
                      <a:moveTo>
                        <a:pt x="870" y="1"/>
                      </a:moveTo>
                      <a:cubicBezTo>
                        <a:pt x="394" y="1"/>
                        <a:pt x="1" y="394"/>
                        <a:pt x="1" y="870"/>
                      </a:cubicBezTo>
                      <a:cubicBezTo>
                        <a:pt x="1" y="1346"/>
                        <a:pt x="394" y="1727"/>
                        <a:pt x="870" y="1727"/>
                      </a:cubicBezTo>
                      <a:cubicBezTo>
                        <a:pt x="1346" y="1727"/>
                        <a:pt x="1727" y="1346"/>
                        <a:pt x="1727" y="870"/>
                      </a:cubicBezTo>
                      <a:cubicBezTo>
                        <a:pt x="1727" y="394"/>
                        <a:pt x="1346" y="1"/>
                        <a:pt x="870" y="1"/>
                      </a:cubicBezTo>
                      <a:close/>
                    </a:path>
                  </a:pathLst>
                </a:custGeom>
                <a:grpFill/>
                <a:ln>
                  <a:noFill/>
                </a:ln>
              </p:spPr>
              <p:txBody>
                <a:bodyPr spcFirstLastPara="1" wrap="square" lIns="91425" tIns="91425" rIns="91425" bIns="91425" anchor="ctr" anchorCtr="0">
                  <a:noAutofit/>
                </a:bodyPr>
                <a:lstStyle/>
                <a:p>
                  <a:endParaRPr/>
                </a:p>
              </p:txBody>
            </p:sp>
            <p:sp>
              <p:nvSpPr>
                <p:cNvPr id="168" name="Google Shape;4756;p58">
                  <a:extLst>
                    <a:ext uri="{FF2B5EF4-FFF2-40B4-BE49-F238E27FC236}">
                      <a16:creationId xmlns:a16="http://schemas.microsoft.com/office/drawing/2014/main" id="{17240238-4CA4-4015-86C6-351FE35D672B}"/>
                    </a:ext>
                  </a:extLst>
                </p:cNvPr>
                <p:cNvSpPr/>
                <p:nvPr/>
              </p:nvSpPr>
              <p:spPr>
                <a:xfrm>
                  <a:off x="3712952" y="2281360"/>
                  <a:ext cx="44371" cy="43639"/>
                </a:xfrm>
                <a:custGeom>
                  <a:avLst/>
                  <a:gdLst/>
                  <a:ahLst/>
                  <a:cxnLst/>
                  <a:rect l="l" t="t" r="r" b="b"/>
                  <a:pathLst>
                    <a:path w="1394" h="1371" extrusionOk="0">
                      <a:moveTo>
                        <a:pt x="691" y="334"/>
                      </a:moveTo>
                      <a:cubicBezTo>
                        <a:pt x="881" y="334"/>
                        <a:pt x="1048" y="489"/>
                        <a:pt x="1048" y="691"/>
                      </a:cubicBezTo>
                      <a:cubicBezTo>
                        <a:pt x="1048" y="882"/>
                        <a:pt x="893" y="1049"/>
                        <a:pt x="691" y="1049"/>
                      </a:cubicBezTo>
                      <a:cubicBezTo>
                        <a:pt x="500" y="1049"/>
                        <a:pt x="334" y="882"/>
                        <a:pt x="334" y="691"/>
                      </a:cubicBezTo>
                      <a:cubicBezTo>
                        <a:pt x="334" y="489"/>
                        <a:pt x="500" y="334"/>
                        <a:pt x="691" y="334"/>
                      </a:cubicBezTo>
                      <a:close/>
                      <a:moveTo>
                        <a:pt x="691" y="1"/>
                      </a:moveTo>
                      <a:cubicBezTo>
                        <a:pt x="322" y="1"/>
                        <a:pt x="0" y="310"/>
                        <a:pt x="0" y="691"/>
                      </a:cubicBezTo>
                      <a:cubicBezTo>
                        <a:pt x="0" y="1060"/>
                        <a:pt x="322" y="1370"/>
                        <a:pt x="691" y="1370"/>
                      </a:cubicBezTo>
                      <a:cubicBezTo>
                        <a:pt x="1060" y="1370"/>
                        <a:pt x="1370" y="1060"/>
                        <a:pt x="1370" y="691"/>
                      </a:cubicBezTo>
                      <a:cubicBezTo>
                        <a:pt x="1393" y="310"/>
                        <a:pt x="1072" y="1"/>
                        <a:pt x="691" y="1"/>
                      </a:cubicBezTo>
                      <a:close/>
                    </a:path>
                  </a:pathLst>
                </a:custGeom>
                <a:grpFill/>
                <a:ln>
                  <a:noFill/>
                </a:ln>
              </p:spPr>
              <p:txBody>
                <a:bodyPr spcFirstLastPara="1" wrap="square" lIns="91425" tIns="91425" rIns="91425" bIns="91425" anchor="ctr" anchorCtr="0">
                  <a:noAutofit/>
                </a:bodyPr>
                <a:lstStyle/>
                <a:p>
                  <a:endParaRPr/>
                </a:p>
              </p:txBody>
            </p:sp>
            <p:sp>
              <p:nvSpPr>
                <p:cNvPr id="169" name="Google Shape;4757;p58">
                  <a:extLst>
                    <a:ext uri="{FF2B5EF4-FFF2-40B4-BE49-F238E27FC236}">
                      <a16:creationId xmlns:a16="http://schemas.microsoft.com/office/drawing/2014/main" id="{6A2B251E-7178-4F5B-A3BE-A79BD48AC3E3}"/>
                    </a:ext>
                  </a:extLst>
                </p:cNvPr>
                <p:cNvSpPr/>
                <p:nvPr/>
              </p:nvSpPr>
              <p:spPr>
                <a:xfrm>
                  <a:off x="4023708" y="2281360"/>
                  <a:ext cx="43607" cy="43639"/>
                </a:xfrm>
                <a:custGeom>
                  <a:avLst/>
                  <a:gdLst/>
                  <a:ahLst/>
                  <a:cxnLst/>
                  <a:rect l="l" t="t" r="r" b="b"/>
                  <a:pathLst>
                    <a:path w="1370" h="1371" extrusionOk="0">
                      <a:moveTo>
                        <a:pt x="691" y="334"/>
                      </a:moveTo>
                      <a:cubicBezTo>
                        <a:pt x="882" y="334"/>
                        <a:pt x="1048" y="489"/>
                        <a:pt x="1048" y="691"/>
                      </a:cubicBezTo>
                      <a:cubicBezTo>
                        <a:pt x="1048" y="882"/>
                        <a:pt x="882" y="1049"/>
                        <a:pt x="691" y="1049"/>
                      </a:cubicBezTo>
                      <a:cubicBezTo>
                        <a:pt x="501" y="1049"/>
                        <a:pt x="334" y="882"/>
                        <a:pt x="334" y="691"/>
                      </a:cubicBezTo>
                      <a:cubicBezTo>
                        <a:pt x="334" y="489"/>
                        <a:pt x="501" y="334"/>
                        <a:pt x="691" y="334"/>
                      </a:cubicBezTo>
                      <a:close/>
                      <a:moveTo>
                        <a:pt x="691" y="1"/>
                      </a:moveTo>
                      <a:cubicBezTo>
                        <a:pt x="322" y="1"/>
                        <a:pt x="1" y="310"/>
                        <a:pt x="1" y="691"/>
                      </a:cubicBezTo>
                      <a:cubicBezTo>
                        <a:pt x="1" y="1060"/>
                        <a:pt x="322" y="1370"/>
                        <a:pt x="691" y="1370"/>
                      </a:cubicBezTo>
                      <a:cubicBezTo>
                        <a:pt x="1060" y="1370"/>
                        <a:pt x="1370" y="1060"/>
                        <a:pt x="1370" y="691"/>
                      </a:cubicBezTo>
                      <a:cubicBezTo>
                        <a:pt x="1370" y="310"/>
                        <a:pt x="1060" y="1"/>
                        <a:pt x="691" y="1"/>
                      </a:cubicBezTo>
                      <a:close/>
                    </a:path>
                  </a:pathLst>
                </a:custGeom>
                <a:grpFill/>
                <a:ln>
                  <a:noFill/>
                </a:ln>
              </p:spPr>
              <p:txBody>
                <a:bodyPr spcFirstLastPara="1" wrap="square" lIns="91425" tIns="91425" rIns="91425" bIns="91425" anchor="ctr" anchorCtr="0">
                  <a:noAutofit/>
                </a:bodyPr>
                <a:lstStyle/>
                <a:p>
                  <a:endParaRPr/>
                </a:p>
              </p:txBody>
            </p:sp>
            <p:sp>
              <p:nvSpPr>
                <p:cNvPr id="170" name="Google Shape;4758;p58">
                  <a:extLst>
                    <a:ext uri="{FF2B5EF4-FFF2-40B4-BE49-F238E27FC236}">
                      <a16:creationId xmlns:a16="http://schemas.microsoft.com/office/drawing/2014/main" id="{8570FEA0-EBE0-4E86-8024-ED59EFC902D1}"/>
                    </a:ext>
                  </a:extLst>
                </p:cNvPr>
                <p:cNvSpPr/>
                <p:nvPr/>
              </p:nvSpPr>
              <p:spPr>
                <a:xfrm>
                  <a:off x="3852049" y="1970604"/>
                  <a:ext cx="76583" cy="76965"/>
                </a:xfrm>
                <a:custGeom>
                  <a:avLst/>
                  <a:gdLst/>
                  <a:ahLst/>
                  <a:cxnLst/>
                  <a:rect l="l" t="t" r="r" b="b"/>
                  <a:pathLst>
                    <a:path w="2406" h="2418" extrusionOk="0">
                      <a:moveTo>
                        <a:pt x="1203" y="346"/>
                      </a:moveTo>
                      <a:cubicBezTo>
                        <a:pt x="1679" y="346"/>
                        <a:pt x="2084" y="751"/>
                        <a:pt x="2084" y="1227"/>
                      </a:cubicBezTo>
                      <a:cubicBezTo>
                        <a:pt x="2084" y="1703"/>
                        <a:pt x="1691" y="2096"/>
                        <a:pt x="1203" y="2096"/>
                      </a:cubicBezTo>
                      <a:cubicBezTo>
                        <a:pt x="714" y="2096"/>
                        <a:pt x="321" y="1703"/>
                        <a:pt x="321" y="1227"/>
                      </a:cubicBezTo>
                      <a:cubicBezTo>
                        <a:pt x="321" y="727"/>
                        <a:pt x="726" y="346"/>
                        <a:pt x="1203" y="346"/>
                      </a:cubicBezTo>
                      <a:close/>
                      <a:moveTo>
                        <a:pt x="1203" y="1"/>
                      </a:moveTo>
                      <a:cubicBezTo>
                        <a:pt x="536" y="1"/>
                        <a:pt x="0" y="536"/>
                        <a:pt x="0" y="1203"/>
                      </a:cubicBezTo>
                      <a:cubicBezTo>
                        <a:pt x="0" y="1882"/>
                        <a:pt x="536" y="2418"/>
                        <a:pt x="1203" y="2418"/>
                      </a:cubicBezTo>
                      <a:cubicBezTo>
                        <a:pt x="1869" y="2418"/>
                        <a:pt x="2405" y="1882"/>
                        <a:pt x="2405" y="1203"/>
                      </a:cubicBezTo>
                      <a:cubicBezTo>
                        <a:pt x="2405" y="548"/>
                        <a:pt x="1869" y="1"/>
                        <a:pt x="1203" y="1"/>
                      </a:cubicBezTo>
                      <a:close/>
                    </a:path>
                  </a:pathLst>
                </a:custGeom>
                <a:grpFill/>
                <a:ln>
                  <a:noFill/>
                </a:ln>
              </p:spPr>
              <p:txBody>
                <a:bodyPr spcFirstLastPara="1" wrap="square" lIns="91425" tIns="91425" rIns="91425" bIns="91425" anchor="ctr" anchorCtr="0">
                  <a:noAutofit/>
                </a:bodyPr>
                <a:lstStyle/>
                <a:p>
                  <a:endParaRPr/>
                </a:p>
              </p:txBody>
            </p:sp>
            <p:sp>
              <p:nvSpPr>
                <p:cNvPr id="171" name="Google Shape;4759;p58">
                  <a:extLst>
                    <a:ext uri="{FF2B5EF4-FFF2-40B4-BE49-F238E27FC236}">
                      <a16:creationId xmlns:a16="http://schemas.microsoft.com/office/drawing/2014/main" id="{8381D9DB-0260-4754-99FB-37FD923EAFA4}"/>
                    </a:ext>
                  </a:extLst>
                </p:cNvPr>
                <p:cNvSpPr/>
                <p:nvPr/>
              </p:nvSpPr>
              <p:spPr>
                <a:xfrm>
                  <a:off x="3746310" y="2187016"/>
                  <a:ext cx="132667" cy="88710"/>
                </a:xfrm>
                <a:custGeom>
                  <a:avLst/>
                  <a:gdLst/>
                  <a:ahLst/>
                  <a:cxnLst/>
                  <a:rect l="l" t="t" r="r" b="b"/>
                  <a:pathLst>
                    <a:path w="4168" h="2787" extrusionOk="0">
                      <a:moveTo>
                        <a:pt x="2084" y="0"/>
                      </a:moveTo>
                      <a:cubicBezTo>
                        <a:pt x="1989" y="0"/>
                        <a:pt x="1917" y="84"/>
                        <a:pt x="1917" y="167"/>
                      </a:cubicBezTo>
                      <a:lnTo>
                        <a:pt x="1917" y="1405"/>
                      </a:lnTo>
                      <a:lnTo>
                        <a:pt x="1060" y="1405"/>
                      </a:lnTo>
                      <a:cubicBezTo>
                        <a:pt x="798" y="1405"/>
                        <a:pt x="560" y="1536"/>
                        <a:pt x="441" y="1774"/>
                      </a:cubicBezTo>
                      <a:lnTo>
                        <a:pt x="48" y="2548"/>
                      </a:lnTo>
                      <a:cubicBezTo>
                        <a:pt x="0" y="2620"/>
                        <a:pt x="24" y="2727"/>
                        <a:pt x="119" y="2774"/>
                      </a:cubicBezTo>
                      <a:cubicBezTo>
                        <a:pt x="143" y="2786"/>
                        <a:pt x="155" y="2786"/>
                        <a:pt x="191" y="2786"/>
                      </a:cubicBezTo>
                      <a:cubicBezTo>
                        <a:pt x="250" y="2786"/>
                        <a:pt x="310" y="2762"/>
                        <a:pt x="345" y="2703"/>
                      </a:cubicBezTo>
                      <a:lnTo>
                        <a:pt x="738" y="1929"/>
                      </a:lnTo>
                      <a:cubicBezTo>
                        <a:pt x="798" y="1810"/>
                        <a:pt x="917" y="1727"/>
                        <a:pt x="1060" y="1727"/>
                      </a:cubicBezTo>
                      <a:lnTo>
                        <a:pt x="3096" y="1727"/>
                      </a:lnTo>
                      <a:cubicBezTo>
                        <a:pt x="3227" y="1727"/>
                        <a:pt x="3346" y="1810"/>
                        <a:pt x="3405" y="1929"/>
                      </a:cubicBezTo>
                      <a:lnTo>
                        <a:pt x="3810" y="2703"/>
                      </a:lnTo>
                      <a:cubicBezTo>
                        <a:pt x="3846" y="2756"/>
                        <a:pt x="3902" y="2783"/>
                        <a:pt x="3968" y="2783"/>
                      </a:cubicBezTo>
                      <a:cubicBezTo>
                        <a:pt x="3989" y="2783"/>
                        <a:pt x="4013" y="2780"/>
                        <a:pt x="4036" y="2774"/>
                      </a:cubicBezTo>
                      <a:cubicBezTo>
                        <a:pt x="4132" y="2715"/>
                        <a:pt x="4167" y="2608"/>
                        <a:pt x="4120" y="2536"/>
                      </a:cubicBezTo>
                      <a:lnTo>
                        <a:pt x="3715" y="1762"/>
                      </a:lnTo>
                      <a:cubicBezTo>
                        <a:pt x="3596" y="1536"/>
                        <a:pt x="3358" y="1393"/>
                        <a:pt x="3108" y="1393"/>
                      </a:cubicBezTo>
                      <a:lnTo>
                        <a:pt x="2250" y="1393"/>
                      </a:lnTo>
                      <a:lnTo>
                        <a:pt x="2250" y="167"/>
                      </a:lnTo>
                      <a:cubicBezTo>
                        <a:pt x="2250" y="84"/>
                        <a:pt x="2167" y="0"/>
                        <a:pt x="2084" y="0"/>
                      </a:cubicBezTo>
                      <a:close/>
                    </a:path>
                  </a:pathLst>
                </a:custGeom>
                <a:grpFill/>
                <a:ln>
                  <a:noFill/>
                </a:ln>
              </p:spPr>
              <p:txBody>
                <a:bodyPr spcFirstLastPara="1" wrap="square" lIns="91425" tIns="91425" rIns="91425" bIns="91425" anchor="ctr" anchorCtr="0">
                  <a:noAutofit/>
                </a:bodyPr>
                <a:lstStyle/>
                <a:p>
                  <a:endParaRPr/>
                </a:p>
              </p:txBody>
            </p:sp>
            <p:sp>
              <p:nvSpPr>
                <p:cNvPr id="172" name="Google Shape;4760;p58">
                  <a:extLst>
                    <a:ext uri="{FF2B5EF4-FFF2-40B4-BE49-F238E27FC236}">
                      <a16:creationId xmlns:a16="http://schemas.microsoft.com/office/drawing/2014/main" id="{152C7EC4-879D-41FE-89F1-C6A2929991C4}"/>
                    </a:ext>
                  </a:extLst>
                </p:cNvPr>
                <p:cNvSpPr/>
                <p:nvPr/>
              </p:nvSpPr>
              <p:spPr>
                <a:xfrm>
                  <a:off x="3831583" y="2059664"/>
                  <a:ext cx="117485" cy="54748"/>
                </a:xfrm>
                <a:custGeom>
                  <a:avLst/>
                  <a:gdLst/>
                  <a:ahLst/>
                  <a:cxnLst/>
                  <a:rect l="l" t="t" r="r" b="b"/>
                  <a:pathLst>
                    <a:path w="3691" h="1720" extrusionOk="0">
                      <a:moveTo>
                        <a:pt x="1846" y="1"/>
                      </a:moveTo>
                      <a:cubicBezTo>
                        <a:pt x="1750" y="1"/>
                        <a:pt x="1679" y="72"/>
                        <a:pt x="1679" y="167"/>
                      </a:cubicBezTo>
                      <a:lnTo>
                        <a:pt x="1679" y="703"/>
                      </a:lnTo>
                      <a:lnTo>
                        <a:pt x="750" y="703"/>
                      </a:lnTo>
                      <a:cubicBezTo>
                        <a:pt x="560" y="703"/>
                        <a:pt x="405" y="810"/>
                        <a:pt x="310" y="965"/>
                      </a:cubicBezTo>
                      <a:lnTo>
                        <a:pt x="48" y="1477"/>
                      </a:lnTo>
                      <a:cubicBezTo>
                        <a:pt x="0" y="1548"/>
                        <a:pt x="24" y="1656"/>
                        <a:pt x="119" y="1703"/>
                      </a:cubicBezTo>
                      <a:cubicBezTo>
                        <a:pt x="140" y="1714"/>
                        <a:pt x="164" y="1719"/>
                        <a:pt x="188" y="1719"/>
                      </a:cubicBezTo>
                      <a:cubicBezTo>
                        <a:pt x="248" y="1719"/>
                        <a:pt x="312" y="1687"/>
                        <a:pt x="345" y="1620"/>
                      </a:cubicBezTo>
                      <a:lnTo>
                        <a:pt x="607" y="1120"/>
                      </a:lnTo>
                      <a:cubicBezTo>
                        <a:pt x="643" y="1060"/>
                        <a:pt x="703" y="1013"/>
                        <a:pt x="774" y="1013"/>
                      </a:cubicBezTo>
                      <a:lnTo>
                        <a:pt x="2929" y="1013"/>
                      </a:lnTo>
                      <a:cubicBezTo>
                        <a:pt x="3000" y="1013"/>
                        <a:pt x="3060" y="1060"/>
                        <a:pt x="3096" y="1120"/>
                      </a:cubicBezTo>
                      <a:lnTo>
                        <a:pt x="3358" y="1620"/>
                      </a:lnTo>
                      <a:cubicBezTo>
                        <a:pt x="3393" y="1679"/>
                        <a:pt x="3453" y="1715"/>
                        <a:pt x="3512" y="1715"/>
                      </a:cubicBezTo>
                      <a:cubicBezTo>
                        <a:pt x="3536" y="1715"/>
                        <a:pt x="3548" y="1715"/>
                        <a:pt x="3584" y="1703"/>
                      </a:cubicBezTo>
                      <a:cubicBezTo>
                        <a:pt x="3655" y="1656"/>
                        <a:pt x="3691" y="1548"/>
                        <a:pt x="3643" y="1477"/>
                      </a:cubicBezTo>
                      <a:lnTo>
                        <a:pt x="3381" y="965"/>
                      </a:lnTo>
                      <a:cubicBezTo>
                        <a:pt x="3286" y="810"/>
                        <a:pt x="3108" y="703"/>
                        <a:pt x="2929" y="703"/>
                      </a:cubicBezTo>
                      <a:lnTo>
                        <a:pt x="2012" y="703"/>
                      </a:lnTo>
                      <a:lnTo>
                        <a:pt x="2012" y="167"/>
                      </a:lnTo>
                      <a:cubicBezTo>
                        <a:pt x="2012" y="72"/>
                        <a:pt x="1929" y="1"/>
                        <a:pt x="1846" y="1"/>
                      </a:cubicBezTo>
                      <a:close/>
                    </a:path>
                  </a:pathLst>
                </a:custGeom>
                <a:grpFill/>
                <a:ln>
                  <a:noFill/>
                </a:ln>
              </p:spPr>
              <p:txBody>
                <a:bodyPr spcFirstLastPara="1" wrap="square" lIns="91425" tIns="91425" rIns="91425" bIns="91425" anchor="ctr" anchorCtr="0">
                  <a:noAutofit/>
                </a:bodyPr>
                <a:lstStyle/>
                <a:p>
                  <a:endParaRPr/>
                </a:p>
              </p:txBody>
            </p:sp>
            <p:sp>
              <p:nvSpPr>
                <p:cNvPr id="173" name="Google Shape;4761;p58">
                  <a:extLst>
                    <a:ext uri="{FF2B5EF4-FFF2-40B4-BE49-F238E27FC236}">
                      <a16:creationId xmlns:a16="http://schemas.microsoft.com/office/drawing/2014/main" id="{A801087F-BE39-41FB-AE6E-1A1C57871767}"/>
                    </a:ext>
                  </a:extLst>
                </p:cNvPr>
                <p:cNvSpPr/>
                <p:nvPr/>
              </p:nvSpPr>
              <p:spPr>
                <a:xfrm>
                  <a:off x="3901672" y="2187016"/>
                  <a:ext cx="132285" cy="88997"/>
                </a:xfrm>
                <a:custGeom>
                  <a:avLst/>
                  <a:gdLst/>
                  <a:ahLst/>
                  <a:cxnLst/>
                  <a:rect l="l" t="t" r="r" b="b"/>
                  <a:pathLst>
                    <a:path w="4156" h="2796" extrusionOk="0">
                      <a:moveTo>
                        <a:pt x="2084" y="0"/>
                      </a:moveTo>
                      <a:cubicBezTo>
                        <a:pt x="1989" y="0"/>
                        <a:pt x="1918" y="84"/>
                        <a:pt x="1918" y="167"/>
                      </a:cubicBezTo>
                      <a:lnTo>
                        <a:pt x="1918" y="1405"/>
                      </a:lnTo>
                      <a:lnTo>
                        <a:pt x="1060" y="1405"/>
                      </a:lnTo>
                      <a:cubicBezTo>
                        <a:pt x="798" y="1405"/>
                        <a:pt x="560" y="1536"/>
                        <a:pt x="441" y="1774"/>
                      </a:cubicBezTo>
                      <a:lnTo>
                        <a:pt x="36" y="2548"/>
                      </a:lnTo>
                      <a:cubicBezTo>
                        <a:pt x="1" y="2620"/>
                        <a:pt x="25" y="2727"/>
                        <a:pt x="120" y="2774"/>
                      </a:cubicBezTo>
                      <a:cubicBezTo>
                        <a:pt x="142" y="2789"/>
                        <a:pt x="167" y="2796"/>
                        <a:pt x="192" y="2796"/>
                      </a:cubicBezTo>
                      <a:cubicBezTo>
                        <a:pt x="250" y="2796"/>
                        <a:pt x="309" y="2761"/>
                        <a:pt x="334" y="2703"/>
                      </a:cubicBezTo>
                      <a:lnTo>
                        <a:pt x="739" y="1929"/>
                      </a:lnTo>
                      <a:cubicBezTo>
                        <a:pt x="798" y="1810"/>
                        <a:pt x="918" y="1727"/>
                        <a:pt x="1060" y="1727"/>
                      </a:cubicBezTo>
                      <a:lnTo>
                        <a:pt x="3096" y="1727"/>
                      </a:lnTo>
                      <a:cubicBezTo>
                        <a:pt x="3227" y="1727"/>
                        <a:pt x="3346" y="1810"/>
                        <a:pt x="3406" y="1929"/>
                      </a:cubicBezTo>
                      <a:lnTo>
                        <a:pt x="3811" y="2703"/>
                      </a:lnTo>
                      <a:cubicBezTo>
                        <a:pt x="3835" y="2762"/>
                        <a:pt x="3894" y="2786"/>
                        <a:pt x="3954" y="2786"/>
                      </a:cubicBezTo>
                      <a:cubicBezTo>
                        <a:pt x="3989" y="2786"/>
                        <a:pt x="4001" y="2786"/>
                        <a:pt x="4037" y="2774"/>
                      </a:cubicBezTo>
                      <a:cubicBezTo>
                        <a:pt x="4120" y="2715"/>
                        <a:pt x="4156" y="2608"/>
                        <a:pt x="4120" y="2536"/>
                      </a:cubicBezTo>
                      <a:lnTo>
                        <a:pt x="3715" y="1762"/>
                      </a:lnTo>
                      <a:cubicBezTo>
                        <a:pt x="3596" y="1536"/>
                        <a:pt x="3358" y="1393"/>
                        <a:pt x="3108" y="1393"/>
                      </a:cubicBezTo>
                      <a:lnTo>
                        <a:pt x="2251" y="1393"/>
                      </a:lnTo>
                      <a:lnTo>
                        <a:pt x="2251" y="167"/>
                      </a:lnTo>
                      <a:cubicBezTo>
                        <a:pt x="2251" y="84"/>
                        <a:pt x="2168" y="0"/>
                        <a:pt x="2084" y="0"/>
                      </a:cubicBezTo>
                      <a:close/>
                    </a:path>
                  </a:pathLst>
                </a:custGeom>
                <a:grpFill/>
                <a:ln>
                  <a:noFill/>
                </a:ln>
              </p:spPr>
              <p:txBody>
                <a:bodyPr spcFirstLastPara="1" wrap="square" lIns="91425" tIns="91425" rIns="91425" bIns="91425" anchor="ctr" anchorCtr="0">
                  <a:noAutofit/>
                </a:bodyPr>
                <a:lstStyle/>
                <a:p>
                  <a:endParaRPr/>
                </a:p>
              </p:txBody>
            </p:sp>
          </p:grpSp>
        </p:grpSp>
        <p:sp>
          <p:nvSpPr>
            <p:cNvPr id="203" name="Rechteck 125">
              <a:extLst>
                <a:ext uri="{FF2B5EF4-FFF2-40B4-BE49-F238E27FC236}">
                  <a16:creationId xmlns:a16="http://schemas.microsoft.com/office/drawing/2014/main" id="{65576CE4-9B64-47FE-8C1E-9B763D67D0B1}"/>
                </a:ext>
              </a:extLst>
            </p:cNvPr>
            <p:cNvSpPr/>
            <p:nvPr/>
          </p:nvSpPr>
          <p:spPr bwMode="gray">
            <a:xfrm>
              <a:off x="7030671" y="3801357"/>
              <a:ext cx="1339474" cy="407715"/>
            </a:xfrm>
            <a:prstGeom prst="rect">
              <a:avLst/>
            </a:prstGeom>
          </p:spPr>
          <p:style>
            <a:lnRef idx="0">
              <a:scrgbClr r="0" g="0" b="0"/>
            </a:lnRef>
            <a:fillRef idx="0">
              <a:scrgbClr r="0" g="0" b="0"/>
            </a:fillRef>
            <a:effectRef idx="0">
              <a:scrgbClr r="0" g="0" b="0"/>
            </a:effectRef>
            <a:fontRef idx="major"/>
          </p:style>
          <p:txBody>
            <a:bodyPr wrap="square" lIns="72000" tIns="46800" rIns="72000">
              <a:no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defTabSz="801608"/>
              <a:r>
                <a:rPr lang="en-US" sz="1000" b="1" dirty="0">
                  <a:solidFill>
                    <a:srgbClr val="14438E"/>
                  </a:solidFill>
                  <a:latin typeface="Arial" panose="020B0604020202020204" pitchFamily="34" charset="0"/>
                  <a:cs typeface="Arial" panose="020B0604020202020204" pitchFamily="34" charset="0"/>
                </a:rPr>
                <a:t>Acknowledgment &amp; adoption of the CP</a:t>
              </a:r>
            </a:p>
          </p:txBody>
        </p:sp>
        <p:sp>
          <p:nvSpPr>
            <p:cNvPr id="314" name="Oval 19">
              <a:extLst>
                <a:ext uri="{FF2B5EF4-FFF2-40B4-BE49-F238E27FC236}">
                  <a16:creationId xmlns:a16="http://schemas.microsoft.com/office/drawing/2014/main" id="{56FA4DA0-A7BD-4685-BE38-009F6DDC4A07}"/>
                </a:ext>
              </a:extLst>
            </p:cNvPr>
            <p:cNvSpPr>
              <a:spLocks noChangeArrowheads="1"/>
            </p:cNvSpPr>
            <p:nvPr/>
          </p:nvSpPr>
          <p:spPr bwMode="auto">
            <a:xfrm>
              <a:off x="7645473" y="2929751"/>
              <a:ext cx="109870" cy="109204"/>
            </a:xfrm>
            <a:prstGeom prst="ellipse">
              <a:avLst/>
            </a:prstGeom>
            <a:noFill/>
            <a:ln w="53975" cap="flat">
              <a:solidFill>
                <a:srgbClr val="00B050"/>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sp>
        <p:nvSpPr>
          <p:cNvPr id="209" name="TextBox 208">
            <a:extLst>
              <a:ext uri="{FF2B5EF4-FFF2-40B4-BE49-F238E27FC236}">
                <a16:creationId xmlns:a16="http://schemas.microsoft.com/office/drawing/2014/main" id="{B8ED5B7A-D9D0-45A2-9E95-97003EFB17FD}"/>
              </a:ext>
            </a:extLst>
          </p:cNvPr>
          <p:cNvSpPr txBox="1"/>
          <p:nvPr/>
        </p:nvSpPr>
        <p:spPr>
          <a:xfrm>
            <a:off x="5330122" y="2392190"/>
            <a:ext cx="716868" cy="414729"/>
          </a:xfrm>
          <a:prstGeom prst="rect">
            <a:avLst/>
          </a:prstGeom>
          <a:noFill/>
        </p:spPr>
        <p:txBody>
          <a:bodyPr wrap="square" rtlCol="0">
            <a:spAutoFit/>
          </a:bodyPr>
          <a:lstStyle/>
          <a:p>
            <a:pPr algn="ctr">
              <a:lnSpc>
                <a:spcPts val="1320"/>
              </a:lnSpc>
            </a:pPr>
            <a:r>
              <a:rPr lang="es-ES" sz="1050" b="1" dirty="0">
                <a:solidFill>
                  <a:schemeClr val="bg1">
                    <a:lumMod val="50000"/>
                  </a:schemeClr>
                </a:solidFill>
                <a:latin typeface="Arial" panose="020B0604020202020204" pitchFamily="34" charset="0"/>
                <a:cs typeface="Arial" panose="020B0604020202020204" pitchFamily="34" charset="0"/>
              </a:rPr>
              <a:t>ABR</a:t>
            </a:r>
            <a:endParaRPr lang="en-US" sz="1050" b="1" dirty="0">
              <a:solidFill>
                <a:schemeClr val="bg1">
                  <a:lumMod val="50000"/>
                </a:schemeClr>
              </a:solidFill>
              <a:latin typeface="Arial" panose="020B0604020202020204" pitchFamily="34" charset="0"/>
              <a:cs typeface="Arial" panose="020B0604020202020204" pitchFamily="34" charset="0"/>
            </a:endParaRPr>
          </a:p>
          <a:p>
            <a:pPr algn="ctr">
              <a:lnSpc>
                <a:spcPts val="1320"/>
              </a:lnSpc>
            </a:pPr>
            <a:r>
              <a:rPr lang="en-US" sz="1050" b="1" dirty="0">
                <a:solidFill>
                  <a:schemeClr val="bg1">
                    <a:lumMod val="50000"/>
                  </a:schemeClr>
                </a:solidFill>
                <a:latin typeface="Arial" panose="020B0604020202020204" pitchFamily="34" charset="0"/>
                <a:cs typeface="Arial" panose="020B0604020202020204" pitchFamily="34" charset="0"/>
              </a:rPr>
              <a:t>2023</a:t>
            </a:r>
            <a:endParaRPr lang="en-GR" sz="1050" b="1" dirty="0">
              <a:solidFill>
                <a:schemeClr val="bg1">
                  <a:lumMod val="50000"/>
                </a:schemeClr>
              </a:solidFill>
              <a:latin typeface="Arial" panose="020B0604020202020204" pitchFamily="34" charset="0"/>
              <a:cs typeface="Arial" panose="020B0604020202020204" pitchFamily="34" charset="0"/>
            </a:endParaRPr>
          </a:p>
        </p:txBody>
      </p:sp>
      <p:grpSp>
        <p:nvGrpSpPr>
          <p:cNvPr id="227" name="Group 226">
            <a:extLst>
              <a:ext uri="{FF2B5EF4-FFF2-40B4-BE49-F238E27FC236}">
                <a16:creationId xmlns:a16="http://schemas.microsoft.com/office/drawing/2014/main" id="{7BB032DB-185D-47BA-A8BD-B7E8B3CB444B}"/>
              </a:ext>
            </a:extLst>
          </p:cNvPr>
          <p:cNvGrpSpPr/>
          <p:nvPr/>
        </p:nvGrpSpPr>
        <p:grpSpPr>
          <a:xfrm>
            <a:off x="5394237" y="3048440"/>
            <a:ext cx="588638" cy="677200"/>
            <a:chOff x="588631" y="1425131"/>
            <a:chExt cx="588638" cy="677200"/>
          </a:xfrm>
        </p:grpSpPr>
        <p:sp>
          <p:nvSpPr>
            <p:cNvPr id="238" name="Freeform 6">
              <a:extLst>
                <a:ext uri="{FF2B5EF4-FFF2-40B4-BE49-F238E27FC236}">
                  <a16:creationId xmlns:a16="http://schemas.microsoft.com/office/drawing/2014/main" id="{88669246-A455-4E7C-9244-FAA6640165A6}"/>
                </a:ext>
              </a:extLst>
            </p:cNvPr>
            <p:cNvSpPr>
              <a:spLocks/>
            </p:cNvSpPr>
            <p:nvPr/>
          </p:nvSpPr>
          <p:spPr bwMode="auto">
            <a:xfrm rot="10800000">
              <a:off x="588631" y="1425131"/>
              <a:ext cx="588638" cy="677200"/>
            </a:xfrm>
            <a:custGeom>
              <a:avLst/>
              <a:gdLst>
                <a:gd name="T0" fmla="*/ 369 w 369"/>
                <a:gd name="T1" fmla="*/ 184 h 424"/>
                <a:gd name="T2" fmla="*/ 184 w 369"/>
                <a:gd name="T3" fmla="*/ 0 h 424"/>
                <a:gd name="T4" fmla="*/ 0 w 369"/>
                <a:gd name="T5" fmla="*/ 184 h 424"/>
                <a:gd name="T6" fmla="*/ 151 w 369"/>
                <a:gd name="T7" fmla="*/ 366 h 424"/>
                <a:gd name="T8" fmla="*/ 184 w 369"/>
                <a:gd name="T9" fmla="*/ 424 h 424"/>
                <a:gd name="T10" fmla="*/ 218 w 369"/>
                <a:gd name="T11" fmla="*/ 366 h 424"/>
                <a:gd name="T12" fmla="*/ 369 w 369"/>
                <a:gd name="T13" fmla="*/ 184 h 424"/>
              </a:gdLst>
              <a:ahLst/>
              <a:cxnLst>
                <a:cxn ang="0">
                  <a:pos x="T0" y="T1"/>
                </a:cxn>
                <a:cxn ang="0">
                  <a:pos x="T2" y="T3"/>
                </a:cxn>
                <a:cxn ang="0">
                  <a:pos x="T4" y="T5"/>
                </a:cxn>
                <a:cxn ang="0">
                  <a:pos x="T6" y="T7"/>
                </a:cxn>
                <a:cxn ang="0">
                  <a:pos x="T8" y="T9"/>
                </a:cxn>
                <a:cxn ang="0">
                  <a:pos x="T10" y="T11"/>
                </a:cxn>
                <a:cxn ang="0">
                  <a:pos x="T12" y="T13"/>
                </a:cxn>
              </a:cxnLst>
              <a:rect l="0" t="0" r="r" b="b"/>
              <a:pathLst>
                <a:path w="369" h="424">
                  <a:moveTo>
                    <a:pt x="369" y="184"/>
                  </a:moveTo>
                  <a:cubicBezTo>
                    <a:pt x="369" y="82"/>
                    <a:pt x="286" y="0"/>
                    <a:pt x="184" y="0"/>
                  </a:cubicBezTo>
                  <a:cubicBezTo>
                    <a:pt x="82" y="0"/>
                    <a:pt x="0" y="82"/>
                    <a:pt x="0" y="184"/>
                  </a:cubicBezTo>
                  <a:cubicBezTo>
                    <a:pt x="0" y="275"/>
                    <a:pt x="65" y="350"/>
                    <a:pt x="151" y="366"/>
                  </a:cubicBezTo>
                  <a:cubicBezTo>
                    <a:pt x="184" y="424"/>
                    <a:pt x="184" y="424"/>
                    <a:pt x="184" y="424"/>
                  </a:cubicBezTo>
                  <a:cubicBezTo>
                    <a:pt x="218" y="366"/>
                    <a:pt x="218" y="366"/>
                    <a:pt x="218" y="366"/>
                  </a:cubicBezTo>
                  <a:cubicBezTo>
                    <a:pt x="304" y="350"/>
                    <a:pt x="369" y="275"/>
                    <a:pt x="369" y="184"/>
                  </a:cubicBezTo>
                  <a:close/>
                </a:path>
              </a:pathLst>
            </a:custGeom>
            <a:solidFill>
              <a:schemeClr val="accent5">
                <a:lumMod val="75000"/>
              </a:schemeClr>
            </a:solidFill>
            <a:ln>
              <a:solidFill>
                <a:schemeClr val="accent5">
                  <a:lumMod val="75000"/>
                </a:schemeClr>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nvGrpSpPr>
            <p:cNvPr id="229" name="Google Shape;2456;p54">
              <a:extLst>
                <a:ext uri="{FF2B5EF4-FFF2-40B4-BE49-F238E27FC236}">
                  <a16:creationId xmlns:a16="http://schemas.microsoft.com/office/drawing/2014/main" id="{79AE7364-3EA6-4DDA-A8CA-B621B797FDA5}"/>
                </a:ext>
              </a:extLst>
            </p:cNvPr>
            <p:cNvGrpSpPr/>
            <p:nvPr/>
          </p:nvGrpSpPr>
          <p:grpSpPr>
            <a:xfrm>
              <a:off x="729170" y="1668834"/>
              <a:ext cx="287980" cy="219921"/>
              <a:chOff x="5776798" y="3409778"/>
              <a:chExt cx="346379" cy="264518"/>
            </a:xfrm>
            <a:solidFill>
              <a:schemeClr val="tx1">
                <a:lumMod val="65000"/>
                <a:lumOff val="35000"/>
              </a:schemeClr>
            </a:solidFill>
          </p:grpSpPr>
          <p:sp>
            <p:nvSpPr>
              <p:cNvPr id="230" name="Google Shape;2457;p54">
                <a:extLst>
                  <a:ext uri="{FF2B5EF4-FFF2-40B4-BE49-F238E27FC236}">
                    <a16:creationId xmlns:a16="http://schemas.microsoft.com/office/drawing/2014/main" id="{126C2106-0E6F-48FA-827A-A63F488CB6DA}"/>
                  </a:ext>
                </a:extLst>
              </p:cNvPr>
              <p:cNvSpPr/>
              <p:nvPr/>
            </p:nvSpPr>
            <p:spPr>
              <a:xfrm>
                <a:off x="5890104" y="3642055"/>
                <a:ext cx="10248" cy="32241"/>
              </a:xfrm>
              <a:custGeom>
                <a:avLst/>
                <a:gdLst/>
                <a:ahLst/>
                <a:cxnLst/>
                <a:rect l="l" t="t" r="r" b="b"/>
                <a:pathLst>
                  <a:path w="322" h="1013" extrusionOk="0">
                    <a:moveTo>
                      <a:pt x="167" y="1"/>
                    </a:moveTo>
                    <a:cubicBezTo>
                      <a:pt x="71" y="1"/>
                      <a:pt x="0" y="72"/>
                      <a:pt x="0" y="155"/>
                    </a:cubicBezTo>
                    <a:lnTo>
                      <a:pt x="0" y="846"/>
                    </a:lnTo>
                    <a:cubicBezTo>
                      <a:pt x="0" y="929"/>
                      <a:pt x="71" y="1013"/>
                      <a:pt x="167" y="1013"/>
                    </a:cubicBezTo>
                    <a:cubicBezTo>
                      <a:pt x="250" y="1013"/>
                      <a:pt x="321" y="929"/>
                      <a:pt x="321" y="846"/>
                    </a:cubicBezTo>
                    <a:lnTo>
                      <a:pt x="321" y="143"/>
                    </a:lnTo>
                    <a:cubicBezTo>
                      <a:pt x="321" y="60"/>
                      <a:pt x="250" y="1"/>
                      <a:pt x="167" y="1"/>
                    </a:cubicBezTo>
                    <a:close/>
                  </a:path>
                </a:pathLst>
              </a:custGeom>
              <a:grpFill/>
              <a:ln>
                <a:solidFill>
                  <a:schemeClr val="accent5">
                    <a:lumMod val="75000"/>
                  </a:schemeClr>
                </a:solidFill>
              </a:ln>
            </p:spPr>
            <p:txBody>
              <a:bodyPr spcFirstLastPara="1" wrap="square" lIns="91425" tIns="91425" rIns="91425" bIns="91425" anchor="ctr" anchorCtr="0">
                <a:noAutofit/>
              </a:bodyPr>
              <a:lstStyle/>
              <a:p>
                <a:endParaRPr/>
              </a:p>
            </p:txBody>
          </p:sp>
          <p:sp>
            <p:nvSpPr>
              <p:cNvPr id="231" name="Google Shape;2458;p54">
                <a:extLst>
                  <a:ext uri="{FF2B5EF4-FFF2-40B4-BE49-F238E27FC236}">
                    <a16:creationId xmlns:a16="http://schemas.microsoft.com/office/drawing/2014/main" id="{580E0B85-27FF-473B-8ADD-97C61EEFAE64}"/>
                  </a:ext>
                </a:extLst>
              </p:cNvPr>
              <p:cNvSpPr/>
              <p:nvPr/>
            </p:nvSpPr>
            <p:spPr>
              <a:xfrm>
                <a:off x="5998094" y="3642055"/>
                <a:ext cx="10248" cy="32241"/>
              </a:xfrm>
              <a:custGeom>
                <a:avLst/>
                <a:gdLst/>
                <a:ahLst/>
                <a:cxnLst/>
                <a:rect l="l" t="t" r="r" b="b"/>
                <a:pathLst>
                  <a:path w="322" h="1013" extrusionOk="0">
                    <a:moveTo>
                      <a:pt x="167" y="1"/>
                    </a:moveTo>
                    <a:cubicBezTo>
                      <a:pt x="72" y="1"/>
                      <a:pt x="0" y="72"/>
                      <a:pt x="0" y="155"/>
                    </a:cubicBezTo>
                    <a:lnTo>
                      <a:pt x="0" y="846"/>
                    </a:lnTo>
                    <a:cubicBezTo>
                      <a:pt x="0" y="929"/>
                      <a:pt x="72" y="1013"/>
                      <a:pt x="167" y="1013"/>
                    </a:cubicBezTo>
                    <a:cubicBezTo>
                      <a:pt x="250" y="1013"/>
                      <a:pt x="322" y="929"/>
                      <a:pt x="322" y="846"/>
                    </a:cubicBezTo>
                    <a:lnTo>
                      <a:pt x="322" y="143"/>
                    </a:lnTo>
                    <a:cubicBezTo>
                      <a:pt x="310" y="60"/>
                      <a:pt x="250" y="1"/>
                      <a:pt x="167" y="1"/>
                    </a:cubicBezTo>
                    <a:close/>
                  </a:path>
                </a:pathLst>
              </a:custGeom>
              <a:grpFill/>
              <a:ln>
                <a:solidFill>
                  <a:schemeClr val="accent5">
                    <a:lumMod val="75000"/>
                  </a:schemeClr>
                </a:solidFill>
              </a:ln>
            </p:spPr>
            <p:txBody>
              <a:bodyPr spcFirstLastPara="1" wrap="square" lIns="91425" tIns="91425" rIns="91425" bIns="91425" anchor="ctr" anchorCtr="0">
                <a:noAutofit/>
              </a:bodyPr>
              <a:lstStyle/>
              <a:p>
                <a:endParaRPr/>
              </a:p>
            </p:txBody>
          </p:sp>
          <p:sp>
            <p:nvSpPr>
              <p:cNvPr id="232" name="Google Shape;2459;p54">
                <a:extLst>
                  <a:ext uri="{FF2B5EF4-FFF2-40B4-BE49-F238E27FC236}">
                    <a16:creationId xmlns:a16="http://schemas.microsoft.com/office/drawing/2014/main" id="{569C105C-62CC-4EA7-9EE7-4FED146CB61E}"/>
                  </a:ext>
                </a:extLst>
              </p:cNvPr>
              <p:cNvSpPr/>
              <p:nvPr/>
            </p:nvSpPr>
            <p:spPr>
              <a:xfrm>
                <a:off x="5814673" y="3528367"/>
                <a:ext cx="43222" cy="15564"/>
              </a:xfrm>
              <a:custGeom>
                <a:avLst/>
                <a:gdLst/>
                <a:ahLst/>
                <a:cxnLst/>
                <a:rect l="l" t="t" r="r" b="b"/>
                <a:pathLst>
                  <a:path w="1358" h="489" extrusionOk="0">
                    <a:moveTo>
                      <a:pt x="167" y="1"/>
                    </a:moveTo>
                    <a:cubicBezTo>
                      <a:pt x="72" y="1"/>
                      <a:pt x="1" y="72"/>
                      <a:pt x="1" y="156"/>
                    </a:cubicBezTo>
                    <a:cubicBezTo>
                      <a:pt x="1" y="251"/>
                      <a:pt x="72" y="322"/>
                      <a:pt x="167" y="322"/>
                    </a:cubicBezTo>
                    <a:cubicBezTo>
                      <a:pt x="346" y="322"/>
                      <a:pt x="870" y="358"/>
                      <a:pt x="1120" y="477"/>
                    </a:cubicBezTo>
                    <a:cubicBezTo>
                      <a:pt x="1144" y="489"/>
                      <a:pt x="1167" y="489"/>
                      <a:pt x="1191" y="489"/>
                    </a:cubicBezTo>
                    <a:cubicBezTo>
                      <a:pt x="1251" y="489"/>
                      <a:pt x="1310" y="453"/>
                      <a:pt x="1346" y="394"/>
                    </a:cubicBezTo>
                    <a:cubicBezTo>
                      <a:pt x="1358" y="322"/>
                      <a:pt x="1322" y="239"/>
                      <a:pt x="1251" y="191"/>
                    </a:cubicBezTo>
                    <a:cubicBezTo>
                      <a:pt x="882" y="13"/>
                      <a:pt x="191" y="1"/>
                      <a:pt x="167" y="1"/>
                    </a:cubicBezTo>
                    <a:close/>
                  </a:path>
                </a:pathLst>
              </a:custGeom>
              <a:grpFill/>
              <a:ln>
                <a:solidFill>
                  <a:schemeClr val="accent5">
                    <a:lumMod val="75000"/>
                  </a:schemeClr>
                </a:solidFill>
              </a:ln>
            </p:spPr>
            <p:txBody>
              <a:bodyPr spcFirstLastPara="1" wrap="square" lIns="91425" tIns="91425" rIns="91425" bIns="91425" anchor="ctr" anchorCtr="0">
                <a:noAutofit/>
              </a:bodyPr>
              <a:lstStyle/>
              <a:p>
                <a:endParaRPr/>
              </a:p>
            </p:txBody>
          </p:sp>
          <p:sp>
            <p:nvSpPr>
              <p:cNvPr id="233" name="Google Shape;2460;p54">
                <a:extLst>
                  <a:ext uri="{FF2B5EF4-FFF2-40B4-BE49-F238E27FC236}">
                    <a16:creationId xmlns:a16="http://schemas.microsoft.com/office/drawing/2014/main" id="{5FADF709-547A-4CE8-882E-CFC1BB12A1D0}"/>
                  </a:ext>
                </a:extLst>
              </p:cNvPr>
              <p:cNvSpPr/>
              <p:nvPr/>
            </p:nvSpPr>
            <p:spPr>
              <a:xfrm>
                <a:off x="5797995" y="3631074"/>
                <a:ext cx="10662" cy="42458"/>
              </a:xfrm>
              <a:custGeom>
                <a:avLst/>
                <a:gdLst/>
                <a:ahLst/>
                <a:cxnLst/>
                <a:rect l="l" t="t" r="r" b="b"/>
                <a:pathLst>
                  <a:path w="335" h="1334" extrusionOk="0">
                    <a:moveTo>
                      <a:pt x="167" y="0"/>
                    </a:moveTo>
                    <a:cubicBezTo>
                      <a:pt x="84" y="0"/>
                      <a:pt x="1" y="72"/>
                      <a:pt x="1" y="167"/>
                    </a:cubicBezTo>
                    <a:lnTo>
                      <a:pt x="1" y="1179"/>
                    </a:lnTo>
                    <a:cubicBezTo>
                      <a:pt x="1" y="1262"/>
                      <a:pt x="84" y="1334"/>
                      <a:pt x="167" y="1334"/>
                    </a:cubicBezTo>
                    <a:cubicBezTo>
                      <a:pt x="251" y="1334"/>
                      <a:pt x="334" y="1262"/>
                      <a:pt x="334" y="1179"/>
                    </a:cubicBezTo>
                    <a:lnTo>
                      <a:pt x="334" y="167"/>
                    </a:lnTo>
                    <a:cubicBezTo>
                      <a:pt x="334" y="72"/>
                      <a:pt x="263" y="0"/>
                      <a:pt x="167" y="0"/>
                    </a:cubicBezTo>
                    <a:close/>
                  </a:path>
                </a:pathLst>
              </a:custGeom>
              <a:grpFill/>
              <a:ln>
                <a:solidFill>
                  <a:schemeClr val="accent5">
                    <a:lumMod val="75000"/>
                  </a:schemeClr>
                </a:solidFill>
              </a:ln>
            </p:spPr>
            <p:txBody>
              <a:bodyPr spcFirstLastPara="1" wrap="square" lIns="91425" tIns="91425" rIns="91425" bIns="91425" anchor="ctr" anchorCtr="0">
                <a:noAutofit/>
              </a:bodyPr>
              <a:lstStyle/>
              <a:p>
                <a:endParaRPr/>
              </a:p>
            </p:txBody>
          </p:sp>
          <p:sp>
            <p:nvSpPr>
              <p:cNvPr id="234" name="Google Shape;2461;p54">
                <a:extLst>
                  <a:ext uri="{FF2B5EF4-FFF2-40B4-BE49-F238E27FC236}">
                    <a16:creationId xmlns:a16="http://schemas.microsoft.com/office/drawing/2014/main" id="{39213018-1E9F-4C1E-9828-0DBA219233AC}"/>
                  </a:ext>
                </a:extLst>
              </p:cNvPr>
              <p:cNvSpPr/>
              <p:nvPr/>
            </p:nvSpPr>
            <p:spPr>
              <a:xfrm>
                <a:off x="5776798" y="3409778"/>
                <a:ext cx="346379" cy="264136"/>
              </a:xfrm>
              <a:custGeom>
                <a:avLst/>
                <a:gdLst/>
                <a:ahLst/>
                <a:cxnLst/>
                <a:rect l="l" t="t" r="r" b="b"/>
                <a:pathLst>
                  <a:path w="10883" h="8299" extrusionOk="0">
                    <a:moveTo>
                      <a:pt x="9144" y="2512"/>
                    </a:moveTo>
                    <a:cubicBezTo>
                      <a:pt x="9418" y="2512"/>
                      <a:pt x="9656" y="2715"/>
                      <a:pt x="9656" y="2953"/>
                    </a:cubicBezTo>
                    <a:lnTo>
                      <a:pt x="9656" y="2977"/>
                    </a:lnTo>
                    <a:cubicBezTo>
                      <a:pt x="9501" y="2917"/>
                      <a:pt x="9335" y="2869"/>
                      <a:pt x="9144" y="2869"/>
                    </a:cubicBezTo>
                    <a:cubicBezTo>
                      <a:pt x="8965" y="2869"/>
                      <a:pt x="8787" y="2905"/>
                      <a:pt x="8620" y="2977"/>
                    </a:cubicBezTo>
                    <a:lnTo>
                      <a:pt x="8620" y="2953"/>
                    </a:lnTo>
                    <a:cubicBezTo>
                      <a:pt x="8620" y="2727"/>
                      <a:pt x="8858" y="2512"/>
                      <a:pt x="9144" y="2512"/>
                    </a:cubicBezTo>
                    <a:close/>
                    <a:moveTo>
                      <a:pt x="2869" y="3203"/>
                    </a:moveTo>
                    <a:lnTo>
                      <a:pt x="2869" y="3858"/>
                    </a:lnTo>
                    <a:cubicBezTo>
                      <a:pt x="2869" y="3965"/>
                      <a:pt x="2846" y="4060"/>
                      <a:pt x="2798" y="4167"/>
                    </a:cubicBezTo>
                    <a:lnTo>
                      <a:pt x="2727" y="4334"/>
                    </a:lnTo>
                    <a:cubicBezTo>
                      <a:pt x="2715" y="4346"/>
                      <a:pt x="2715" y="4382"/>
                      <a:pt x="2715" y="4405"/>
                    </a:cubicBezTo>
                    <a:lnTo>
                      <a:pt x="2715" y="4751"/>
                    </a:lnTo>
                    <a:cubicBezTo>
                      <a:pt x="2715" y="4989"/>
                      <a:pt x="2619" y="5191"/>
                      <a:pt x="2441" y="5358"/>
                    </a:cubicBezTo>
                    <a:cubicBezTo>
                      <a:pt x="2298" y="5525"/>
                      <a:pt x="2072" y="5596"/>
                      <a:pt x="1834" y="5596"/>
                    </a:cubicBezTo>
                    <a:cubicBezTo>
                      <a:pt x="1369" y="5584"/>
                      <a:pt x="1000" y="5179"/>
                      <a:pt x="1000" y="4703"/>
                    </a:cubicBezTo>
                    <a:lnTo>
                      <a:pt x="1000" y="4405"/>
                    </a:lnTo>
                    <a:cubicBezTo>
                      <a:pt x="1000" y="4382"/>
                      <a:pt x="1000" y="4358"/>
                      <a:pt x="988" y="4334"/>
                    </a:cubicBezTo>
                    <a:lnTo>
                      <a:pt x="881" y="4143"/>
                    </a:lnTo>
                    <a:cubicBezTo>
                      <a:pt x="845" y="4060"/>
                      <a:pt x="822" y="3989"/>
                      <a:pt x="822" y="3905"/>
                    </a:cubicBezTo>
                    <a:lnTo>
                      <a:pt x="822" y="3882"/>
                    </a:lnTo>
                    <a:cubicBezTo>
                      <a:pt x="822" y="3501"/>
                      <a:pt x="1131" y="3203"/>
                      <a:pt x="1500" y="3203"/>
                    </a:cubicBezTo>
                    <a:close/>
                    <a:moveTo>
                      <a:pt x="9144" y="3215"/>
                    </a:moveTo>
                    <a:cubicBezTo>
                      <a:pt x="9704" y="3215"/>
                      <a:pt x="10168" y="3679"/>
                      <a:pt x="10168" y="4239"/>
                    </a:cubicBezTo>
                    <a:cubicBezTo>
                      <a:pt x="10168" y="4346"/>
                      <a:pt x="10156" y="4465"/>
                      <a:pt x="10108" y="4572"/>
                    </a:cubicBezTo>
                    <a:cubicBezTo>
                      <a:pt x="9656" y="4108"/>
                      <a:pt x="8870" y="3929"/>
                      <a:pt x="8823" y="3929"/>
                    </a:cubicBezTo>
                    <a:cubicBezTo>
                      <a:pt x="8814" y="3926"/>
                      <a:pt x="8804" y="3925"/>
                      <a:pt x="8794" y="3925"/>
                    </a:cubicBezTo>
                    <a:cubicBezTo>
                      <a:pt x="8763" y="3925"/>
                      <a:pt x="8727" y="3938"/>
                      <a:pt x="8692" y="3965"/>
                    </a:cubicBezTo>
                    <a:cubicBezTo>
                      <a:pt x="8644" y="3989"/>
                      <a:pt x="8632" y="4036"/>
                      <a:pt x="8632" y="4084"/>
                    </a:cubicBezTo>
                    <a:cubicBezTo>
                      <a:pt x="8632" y="4084"/>
                      <a:pt x="8632" y="4179"/>
                      <a:pt x="8513" y="4298"/>
                    </a:cubicBezTo>
                    <a:cubicBezTo>
                      <a:pt x="8453" y="4358"/>
                      <a:pt x="8453" y="4465"/>
                      <a:pt x="8513" y="4524"/>
                    </a:cubicBezTo>
                    <a:cubicBezTo>
                      <a:pt x="8543" y="4554"/>
                      <a:pt x="8584" y="4569"/>
                      <a:pt x="8626" y="4569"/>
                    </a:cubicBezTo>
                    <a:cubicBezTo>
                      <a:pt x="8668" y="4569"/>
                      <a:pt x="8709" y="4554"/>
                      <a:pt x="8739" y="4524"/>
                    </a:cubicBezTo>
                    <a:cubicBezTo>
                      <a:pt x="8823" y="4441"/>
                      <a:pt x="8882" y="4346"/>
                      <a:pt x="8918" y="4274"/>
                    </a:cubicBezTo>
                    <a:cubicBezTo>
                      <a:pt x="9180" y="4346"/>
                      <a:pt x="9739" y="4560"/>
                      <a:pt x="9989" y="4894"/>
                    </a:cubicBezTo>
                    <a:cubicBezTo>
                      <a:pt x="9906" y="5298"/>
                      <a:pt x="9573" y="5596"/>
                      <a:pt x="9144" y="5596"/>
                    </a:cubicBezTo>
                    <a:cubicBezTo>
                      <a:pt x="8704" y="5596"/>
                      <a:pt x="8334" y="5275"/>
                      <a:pt x="8287" y="4834"/>
                    </a:cubicBezTo>
                    <a:cubicBezTo>
                      <a:pt x="8287" y="4810"/>
                      <a:pt x="8275" y="4798"/>
                      <a:pt x="8263" y="4774"/>
                    </a:cubicBezTo>
                    <a:cubicBezTo>
                      <a:pt x="8156" y="4620"/>
                      <a:pt x="8108" y="4441"/>
                      <a:pt x="8108" y="4239"/>
                    </a:cubicBezTo>
                    <a:cubicBezTo>
                      <a:pt x="8108" y="3679"/>
                      <a:pt x="8573" y="3215"/>
                      <a:pt x="9144" y="3215"/>
                    </a:cubicBezTo>
                    <a:close/>
                    <a:moveTo>
                      <a:pt x="5441" y="298"/>
                    </a:moveTo>
                    <a:cubicBezTo>
                      <a:pt x="6013" y="298"/>
                      <a:pt x="6489" y="488"/>
                      <a:pt x="6858" y="845"/>
                    </a:cubicBezTo>
                    <a:cubicBezTo>
                      <a:pt x="7227" y="1226"/>
                      <a:pt x="7453" y="1738"/>
                      <a:pt x="7501" y="2369"/>
                    </a:cubicBezTo>
                    <a:cubicBezTo>
                      <a:pt x="7620" y="4060"/>
                      <a:pt x="7763" y="5001"/>
                      <a:pt x="7822" y="5334"/>
                    </a:cubicBezTo>
                    <a:lnTo>
                      <a:pt x="7822" y="5346"/>
                    </a:lnTo>
                    <a:cubicBezTo>
                      <a:pt x="7632" y="5453"/>
                      <a:pt x="7310" y="5632"/>
                      <a:pt x="6787" y="5763"/>
                    </a:cubicBezTo>
                    <a:lnTo>
                      <a:pt x="6525" y="5644"/>
                    </a:lnTo>
                    <a:cubicBezTo>
                      <a:pt x="6453" y="5608"/>
                      <a:pt x="6418" y="5548"/>
                      <a:pt x="6418" y="5477"/>
                    </a:cubicBezTo>
                    <a:lnTo>
                      <a:pt x="6418" y="4929"/>
                    </a:lnTo>
                    <a:cubicBezTo>
                      <a:pt x="6918" y="4596"/>
                      <a:pt x="7263" y="4024"/>
                      <a:pt x="7263" y="3370"/>
                    </a:cubicBezTo>
                    <a:lnTo>
                      <a:pt x="7263" y="3072"/>
                    </a:lnTo>
                    <a:cubicBezTo>
                      <a:pt x="7263" y="2869"/>
                      <a:pt x="7180" y="2691"/>
                      <a:pt x="7037" y="2560"/>
                    </a:cubicBezTo>
                    <a:cubicBezTo>
                      <a:pt x="6727" y="2274"/>
                      <a:pt x="6001" y="1798"/>
                      <a:pt x="4751" y="1667"/>
                    </a:cubicBezTo>
                    <a:cubicBezTo>
                      <a:pt x="4744" y="1666"/>
                      <a:pt x="4737" y="1666"/>
                      <a:pt x="4730" y="1666"/>
                    </a:cubicBezTo>
                    <a:cubicBezTo>
                      <a:pt x="4645" y="1666"/>
                      <a:pt x="4583" y="1733"/>
                      <a:pt x="4572" y="1822"/>
                    </a:cubicBezTo>
                    <a:cubicBezTo>
                      <a:pt x="4548" y="1905"/>
                      <a:pt x="4632" y="1977"/>
                      <a:pt x="4715" y="2000"/>
                    </a:cubicBezTo>
                    <a:cubicBezTo>
                      <a:pt x="5882" y="2119"/>
                      <a:pt x="6537" y="2548"/>
                      <a:pt x="6834" y="2798"/>
                    </a:cubicBezTo>
                    <a:cubicBezTo>
                      <a:pt x="6906" y="2858"/>
                      <a:pt x="6953" y="2965"/>
                      <a:pt x="6953" y="3072"/>
                    </a:cubicBezTo>
                    <a:lnTo>
                      <a:pt x="6953" y="3370"/>
                    </a:lnTo>
                    <a:cubicBezTo>
                      <a:pt x="6953" y="4215"/>
                      <a:pt x="6263" y="4894"/>
                      <a:pt x="5417" y="4894"/>
                    </a:cubicBezTo>
                    <a:cubicBezTo>
                      <a:pt x="4572" y="4894"/>
                      <a:pt x="3881" y="4215"/>
                      <a:pt x="3881" y="3370"/>
                    </a:cubicBezTo>
                    <a:lnTo>
                      <a:pt x="3881" y="3227"/>
                    </a:lnTo>
                    <a:cubicBezTo>
                      <a:pt x="3881" y="3167"/>
                      <a:pt x="3917" y="3108"/>
                      <a:pt x="3977" y="3084"/>
                    </a:cubicBezTo>
                    <a:cubicBezTo>
                      <a:pt x="4167" y="2965"/>
                      <a:pt x="4429" y="2750"/>
                      <a:pt x="4548" y="2393"/>
                    </a:cubicBezTo>
                    <a:cubicBezTo>
                      <a:pt x="4584" y="2310"/>
                      <a:pt x="4536" y="2215"/>
                      <a:pt x="4453" y="2203"/>
                    </a:cubicBezTo>
                    <a:cubicBezTo>
                      <a:pt x="4434" y="2198"/>
                      <a:pt x="4415" y="2196"/>
                      <a:pt x="4398" y="2196"/>
                    </a:cubicBezTo>
                    <a:cubicBezTo>
                      <a:pt x="4327" y="2196"/>
                      <a:pt x="4270" y="2234"/>
                      <a:pt x="4251" y="2310"/>
                    </a:cubicBezTo>
                    <a:cubicBezTo>
                      <a:pt x="4167" y="2572"/>
                      <a:pt x="3977" y="2727"/>
                      <a:pt x="3822" y="2810"/>
                    </a:cubicBezTo>
                    <a:cubicBezTo>
                      <a:pt x="3679" y="2905"/>
                      <a:pt x="3572" y="3072"/>
                      <a:pt x="3572" y="3227"/>
                    </a:cubicBezTo>
                    <a:lnTo>
                      <a:pt x="3572" y="3370"/>
                    </a:lnTo>
                    <a:cubicBezTo>
                      <a:pt x="3572" y="4024"/>
                      <a:pt x="3917" y="4584"/>
                      <a:pt x="4417" y="4929"/>
                    </a:cubicBezTo>
                    <a:lnTo>
                      <a:pt x="4417" y="5477"/>
                    </a:lnTo>
                    <a:cubicBezTo>
                      <a:pt x="4417" y="5548"/>
                      <a:pt x="4370" y="5608"/>
                      <a:pt x="4310" y="5644"/>
                    </a:cubicBezTo>
                    <a:lnTo>
                      <a:pt x="4048" y="5763"/>
                    </a:lnTo>
                    <a:cubicBezTo>
                      <a:pt x="3536" y="5632"/>
                      <a:pt x="3215" y="5453"/>
                      <a:pt x="3060" y="5346"/>
                    </a:cubicBezTo>
                    <a:lnTo>
                      <a:pt x="3060" y="5334"/>
                    </a:lnTo>
                    <a:cubicBezTo>
                      <a:pt x="3131" y="5001"/>
                      <a:pt x="3262" y="4060"/>
                      <a:pt x="3393" y="2369"/>
                    </a:cubicBezTo>
                    <a:cubicBezTo>
                      <a:pt x="3441" y="1738"/>
                      <a:pt x="3655" y="1226"/>
                      <a:pt x="4036" y="845"/>
                    </a:cubicBezTo>
                    <a:cubicBezTo>
                      <a:pt x="4393" y="488"/>
                      <a:pt x="4882" y="298"/>
                      <a:pt x="5441" y="298"/>
                    </a:cubicBezTo>
                    <a:close/>
                    <a:moveTo>
                      <a:pt x="2750" y="5465"/>
                    </a:moveTo>
                    <a:cubicBezTo>
                      <a:pt x="2786" y="5501"/>
                      <a:pt x="2810" y="5572"/>
                      <a:pt x="2869" y="5596"/>
                    </a:cubicBezTo>
                    <a:cubicBezTo>
                      <a:pt x="3000" y="5691"/>
                      <a:pt x="3239" y="5822"/>
                      <a:pt x="3584" y="5941"/>
                    </a:cubicBezTo>
                    <a:lnTo>
                      <a:pt x="3155" y="6144"/>
                    </a:lnTo>
                    <a:lnTo>
                      <a:pt x="2655" y="6001"/>
                    </a:lnTo>
                    <a:cubicBezTo>
                      <a:pt x="2512" y="5953"/>
                      <a:pt x="2512" y="5953"/>
                      <a:pt x="2512" y="5906"/>
                    </a:cubicBezTo>
                    <a:lnTo>
                      <a:pt x="2512" y="5691"/>
                    </a:lnTo>
                    <a:cubicBezTo>
                      <a:pt x="2572" y="5656"/>
                      <a:pt x="2619" y="5608"/>
                      <a:pt x="2667" y="5572"/>
                    </a:cubicBezTo>
                    <a:cubicBezTo>
                      <a:pt x="2691" y="5536"/>
                      <a:pt x="2727" y="5513"/>
                      <a:pt x="2750" y="5465"/>
                    </a:cubicBezTo>
                    <a:close/>
                    <a:moveTo>
                      <a:pt x="8096" y="5239"/>
                    </a:moveTo>
                    <a:cubicBezTo>
                      <a:pt x="8180" y="5417"/>
                      <a:pt x="8323" y="5572"/>
                      <a:pt x="8477" y="5691"/>
                    </a:cubicBezTo>
                    <a:lnTo>
                      <a:pt x="8477" y="6025"/>
                    </a:lnTo>
                    <a:lnTo>
                      <a:pt x="8489" y="6025"/>
                    </a:lnTo>
                    <a:lnTo>
                      <a:pt x="7977" y="6287"/>
                    </a:lnTo>
                    <a:cubicBezTo>
                      <a:pt x="7977" y="6287"/>
                      <a:pt x="7965" y="6287"/>
                      <a:pt x="7965" y="6263"/>
                    </a:cubicBezTo>
                    <a:lnTo>
                      <a:pt x="7227" y="5941"/>
                    </a:lnTo>
                    <a:cubicBezTo>
                      <a:pt x="7596" y="5822"/>
                      <a:pt x="7822" y="5667"/>
                      <a:pt x="7942" y="5596"/>
                    </a:cubicBezTo>
                    <a:cubicBezTo>
                      <a:pt x="8049" y="5525"/>
                      <a:pt x="8108" y="5406"/>
                      <a:pt x="8096" y="5275"/>
                    </a:cubicBezTo>
                    <a:lnTo>
                      <a:pt x="8096" y="5239"/>
                    </a:lnTo>
                    <a:close/>
                    <a:moveTo>
                      <a:pt x="2203" y="5870"/>
                    </a:moveTo>
                    <a:lnTo>
                      <a:pt x="2203" y="5929"/>
                    </a:lnTo>
                    <a:cubicBezTo>
                      <a:pt x="2203" y="5953"/>
                      <a:pt x="2203" y="5989"/>
                      <a:pt x="2215" y="6013"/>
                    </a:cubicBezTo>
                    <a:lnTo>
                      <a:pt x="1857" y="6370"/>
                    </a:lnTo>
                    <a:lnTo>
                      <a:pt x="1500" y="6013"/>
                    </a:lnTo>
                    <a:cubicBezTo>
                      <a:pt x="1512" y="5989"/>
                      <a:pt x="1512" y="5953"/>
                      <a:pt x="1512" y="5929"/>
                    </a:cubicBezTo>
                    <a:lnTo>
                      <a:pt x="1512" y="5870"/>
                    </a:lnTo>
                    <a:cubicBezTo>
                      <a:pt x="1619" y="5894"/>
                      <a:pt x="1726" y="5929"/>
                      <a:pt x="1834" y="5929"/>
                    </a:cubicBezTo>
                    <a:lnTo>
                      <a:pt x="1857" y="5929"/>
                    </a:lnTo>
                    <a:cubicBezTo>
                      <a:pt x="1976" y="5929"/>
                      <a:pt x="2096" y="5906"/>
                      <a:pt x="2203" y="5870"/>
                    </a:cubicBezTo>
                    <a:close/>
                    <a:moveTo>
                      <a:pt x="9525" y="5882"/>
                    </a:moveTo>
                    <a:lnTo>
                      <a:pt x="9525" y="6048"/>
                    </a:lnTo>
                    <a:cubicBezTo>
                      <a:pt x="9525" y="6108"/>
                      <a:pt x="9537" y="6144"/>
                      <a:pt x="9573" y="6191"/>
                    </a:cubicBezTo>
                    <a:lnTo>
                      <a:pt x="9394" y="6322"/>
                    </a:lnTo>
                    <a:cubicBezTo>
                      <a:pt x="9323" y="6394"/>
                      <a:pt x="9236" y="6429"/>
                      <a:pt x="9151" y="6429"/>
                    </a:cubicBezTo>
                    <a:cubicBezTo>
                      <a:pt x="9067" y="6429"/>
                      <a:pt x="8983" y="6394"/>
                      <a:pt x="8918" y="6322"/>
                    </a:cubicBezTo>
                    <a:lnTo>
                      <a:pt x="8763" y="6191"/>
                    </a:lnTo>
                    <a:cubicBezTo>
                      <a:pt x="8799" y="6144"/>
                      <a:pt x="8811" y="6084"/>
                      <a:pt x="8811" y="6048"/>
                    </a:cubicBezTo>
                    <a:lnTo>
                      <a:pt x="8811" y="5882"/>
                    </a:lnTo>
                    <a:cubicBezTo>
                      <a:pt x="8918" y="5906"/>
                      <a:pt x="9037" y="5941"/>
                      <a:pt x="9168" y="5941"/>
                    </a:cubicBezTo>
                    <a:cubicBezTo>
                      <a:pt x="9287" y="5941"/>
                      <a:pt x="9406" y="5929"/>
                      <a:pt x="9525" y="5882"/>
                    </a:cubicBezTo>
                    <a:close/>
                    <a:moveTo>
                      <a:pt x="6096" y="5096"/>
                    </a:moveTo>
                    <a:lnTo>
                      <a:pt x="6096" y="5477"/>
                    </a:lnTo>
                    <a:cubicBezTo>
                      <a:pt x="6096" y="5667"/>
                      <a:pt x="6215" y="5846"/>
                      <a:pt x="6394" y="5941"/>
                    </a:cubicBezTo>
                    <a:lnTo>
                      <a:pt x="6632" y="6048"/>
                    </a:lnTo>
                    <a:cubicBezTo>
                      <a:pt x="6406" y="6489"/>
                      <a:pt x="5941" y="6787"/>
                      <a:pt x="5417" y="6787"/>
                    </a:cubicBezTo>
                    <a:cubicBezTo>
                      <a:pt x="4894" y="6787"/>
                      <a:pt x="4441" y="6501"/>
                      <a:pt x="4203" y="6048"/>
                    </a:cubicBezTo>
                    <a:lnTo>
                      <a:pt x="4441" y="5941"/>
                    </a:lnTo>
                    <a:cubicBezTo>
                      <a:pt x="4620" y="5870"/>
                      <a:pt x="4739" y="5691"/>
                      <a:pt x="4739" y="5477"/>
                    </a:cubicBezTo>
                    <a:lnTo>
                      <a:pt x="4739" y="5096"/>
                    </a:lnTo>
                    <a:cubicBezTo>
                      <a:pt x="4941" y="5179"/>
                      <a:pt x="5179" y="5227"/>
                      <a:pt x="5417" y="5227"/>
                    </a:cubicBezTo>
                    <a:cubicBezTo>
                      <a:pt x="5656" y="5227"/>
                      <a:pt x="5894" y="5179"/>
                      <a:pt x="6096" y="5096"/>
                    </a:cubicBezTo>
                    <a:close/>
                    <a:moveTo>
                      <a:pt x="5417" y="0"/>
                    </a:moveTo>
                    <a:cubicBezTo>
                      <a:pt x="4763" y="0"/>
                      <a:pt x="4215" y="226"/>
                      <a:pt x="3786" y="643"/>
                    </a:cubicBezTo>
                    <a:cubicBezTo>
                      <a:pt x="3346" y="1060"/>
                      <a:pt x="3096" y="1655"/>
                      <a:pt x="3048" y="2346"/>
                    </a:cubicBezTo>
                    <a:cubicBezTo>
                      <a:pt x="3036" y="2548"/>
                      <a:pt x="3024" y="2703"/>
                      <a:pt x="3012" y="2881"/>
                    </a:cubicBezTo>
                    <a:lnTo>
                      <a:pt x="1524" y="2881"/>
                    </a:lnTo>
                    <a:cubicBezTo>
                      <a:pt x="964" y="2881"/>
                      <a:pt x="512" y="3334"/>
                      <a:pt x="512" y="3893"/>
                    </a:cubicBezTo>
                    <a:lnTo>
                      <a:pt x="512" y="3917"/>
                    </a:lnTo>
                    <a:cubicBezTo>
                      <a:pt x="512" y="4048"/>
                      <a:pt x="536" y="4167"/>
                      <a:pt x="595" y="4286"/>
                    </a:cubicBezTo>
                    <a:lnTo>
                      <a:pt x="667" y="4453"/>
                    </a:lnTo>
                    <a:lnTo>
                      <a:pt x="667" y="4703"/>
                    </a:lnTo>
                    <a:cubicBezTo>
                      <a:pt x="667" y="5120"/>
                      <a:pt x="881" y="5477"/>
                      <a:pt x="1179" y="5703"/>
                    </a:cubicBezTo>
                    <a:lnTo>
                      <a:pt x="1179" y="5929"/>
                    </a:lnTo>
                    <a:cubicBezTo>
                      <a:pt x="1179" y="5953"/>
                      <a:pt x="1167" y="5989"/>
                      <a:pt x="1131" y="5989"/>
                    </a:cubicBezTo>
                    <a:lnTo>
                      <a:pt x="476" y="6179"/>
                    </a:lnTo>
                    <a:cubicBezTo>
                      <a:pt x="191" y="6251"/>
                      <a:pt x="0" y="6513"/>
                      <a:pt x="0" y="6810"/>
                    </a:cubicBezTo>
                    <a:lnTo>
                      <a:pt x="0" y="8120"/>
                    </a:lnTo>
                    <a:cubicBezTo>
                      <a:pt x="0" y="8215"/>
                      <a:pt x="71" y="8287"/>
                      <a:pt x="167" y="8287"/>
                    </a:cubicBezTo>
                    <a:cubicBezTo>
                      <a:pt x="250" y="8287"/>
                      <a:pt x="333" y="8215"/>
                      <a:pt x="333" y="8120"/>
                    </a:cubicBezTo>
                    <a:lnTo>
                      <a:pt x="333" y="6810"/>
                    </a:lnTo>
                    <a:cubicBezTo>
                      <a:pt x="333" y="6668"/>
                      <a:pt x="429" y="6513"/>
                      <a:pt x="583" y="6477"/>
                    </a:cubicBezTo>
                    <a:lnTo>
                      <a:pt x="1238" y="6287"/>
                    </a:lnTo>
                    <a:cubicBezTo>
                      <a:pt x="1262" y="6287"/>
                      <a:pt x="1286" y="6263"/>
                      <a:pt x="1310" y="6251"/>
                    </a:cubicBezTo>
                    <a:lnTo>
                      <a:pt x="1715" y="6656"/>
                    </a:lnTo>
                    <a:lnTo>
                      <a:pt x="1715" y="8108"/>
                    </a:lnTo>
                    <a:cubicBezTo>
                      <a:pt x="1715" y="8203"/>
                      <a:pt x="1786" y="8275"/>
                      <a:pt x="1881" y="8275"/>
                    </a:cubicBezTo>
                    <a:cubicBezTo>
                      <a:pt x="1965" y="8275"/>
                      <a:pt x="2036" y="8203"/>
                      <a:pt x="2036" y="8108"/>
                    </a:cubicBezTo>
                    <a:lnTo>
                      <a:pt x="2036" y="6656"/>
                    </a:lnTo>
                    <a:lnTo>
                      <a:pt x="2441" y="6251"/>
                    </a:lnTo>
                    <a:cubicBezTo>
                      <a:pt x="2500" y="6287"/>
                      <a:pt x="2548" y="6298"/>
                      <a:pt x="2596" y="6310"/>
                    </a:cubicBezTo>
                    <a:lnTo>
                      <a:pt x="2750" y="6358"/>
                    </a:lnTo>
                    <a:cubicBezTo>
                      <a:pt x="2536" y="6501"/>
                      <a:pt x="2393" y="6751"/>
                      <a:pt x="2393" y="7037"/>
                    </a:cubicBezTo>
                    <a:lnTo>
                      <a:pt x="2393" y="8120"/>
                    </a:lnTo>
                    <a:cubicBezTo>
                      <a:pt x="2393" y="8215"/>
                      <a:pt x="2465" y="8287"/>
                      <a:pt x="2560" y="8287"/>
                    </a:cubicBezTo>
                    <a:cubicBezTo>
                      <a:pt x="2643" y="8287"/>
                      <a:pt x="2727" y="8215"/>
                      <a:pt x="2727" y="8120"/>
                    </a:cubicBezTo>
                    <a:lnTo>
                      <a:pt x="2727" y="7037"/>
                    </a:lnTo>
                    <a:cubicBezTo>
                      <a:pt x="2727" y="6834"/>
                      <a:pt x="2846" y="6656"/>
                      <a:pt x="3036" y="6560"/>
                    </a:cubicBezTo>
                    <a:lnTo>
                      <a:pt x="3941" y="6156"/>
                    </a:lnTo>
                    <a:cubicBezTo>
                      <a:pt x="4227" y="6727"/>
                      <a:pt x="4810" y="7096"/>
                      <a:pt x="5441" y="7096"/>
                    </a:cubicBezTo>
                    <a:cubicBezTo>
                      <a:pt x="6084" y="7096"/>
                      <a:pt x="6668" y="6739"/>
                      <a:pt x="6953" y="6156"/>
                    </a:cubicBezTo>
                    <a:lnTo>
                      <a:pt x="7858" y="6560"/>
                    </a:lnTo>
                    <a:cubicBezTo>
                      <a:pt x="8049" y="6656"/>
                      <a:pt x="8168" y="6834"/>
                      <a:pt x="8168" y="7037"/>
                    </a:cubicBezTo>
                    <a:lnTo>
                      <a:pt x="8168" y="8120"/>
                    </a:lnTo>
                    <a:cubicBezTo>
                      <a:pt x="8168" y="8215"/>
                      <a:pt x="8239" y="8287"/>
                      <a:pt x="8334" y="8287"/>
                    </a:cubicBezTo>
                    <a:cubicBezTo>
                      <a:pt x="8418" y="8287"/>
                      <a:pt x="8501" y="8215"/>
                      <a:pt x="8501" y="8120"/>
                    </a:cubicBezTo>
                    <a:lnTo>
                      <a:pt x="8501" y="7037"/>
                    </a:lnTo>
                    <a:cubicBezTo>
                      <a:pt x="8501" y="6834"/>
                      <a:pt x="8418" y="6656"/>
                      <a:pt x="8299" y="6501"/>
                    </a:cubicBezTo>
                    <a:lnTo>
                      <a:pt x="8537" y="6382"/>
                    </a:lnTo>
                    <a:lnTo>
                      <a:pt x="8715" y="6560"/>
                    </a:lnTo>
                    <a:cubicBezTo>
                      <a:pt x="8858" y="6679"/>
                      <a:pt x="9013" y="6739"/>
                      <a:pt x="9180" y="6739"/>
                    </a:cubicBezTo>
                    <a:cubicBezTo>
                      <a:pt x="9346" y="6739"/>
                      <a:pt x="9513" y="6679"/>
                      <a:pt x="9644" y="6560"/>
                    </a:cubicBezTo>
                    <a:lnTo>
                      <a:pt x="9823" y="6382"/>
                    </a:lnTo>
                    <a:lnTo>
                      <a:pt x="10358" y="6656"/>
                    </a:lnTo>
                    <a:cubicBezTo>
                      <a:pt x="10478" y="6715"/>
                      <a:pt x="10549" y="6834"/>
                      <a:pt x="10549" y="6965"/>
                    </a:cubicBezTo>
                    <a:lnTo>
                      <a:pt x="10549" y="8144"/>
                    </a:lnTo>
                    <a:cubicBezTo>
                      <a:pt x="10549" y="8227"/>
                      <a:pt x="10620" y="8299"/>
                      <a:pt x="10716" y="8299"/>
                    </a:cubicBezTo>
                    <a:cubicBezTo>
                      <a:pt x="10799" y="8299"/>
                      <a:pt x="10882" y="8227"/>
                      <a:pt x="10882" y="8144"/>
                    </a:cubicBezTo>
                    <a:lnTo>
                      <a:pt x="10882" y="6965"/>
                    </a:lnTo>
                    <a:cubicBezTo>
                      <a:pt x="10823" y="6703"/>
                      <a:pt x="10692" y="6477"/>
                      <a:pt x="10466" y="6358"/>
                    </a:cubicBezTo>
                    <a:lnTo>
                      <a:pt x="9823" y="6025"/>
                    </a:lnTo>
                    <a:lnTo>
                      <a:pt x="9823" y="6013"/>
                    </a:lnTo>
                    <a:lnTo>
                      <a:pt x="9823" y="5691"/>
                    </a:lnTo>
                    <a:cubicBezTo>
                      <a:pt x="10097" y="5501"/>
                      <a:pt x="10275" y="5227"/>
                      <a:pt x="10311" y="4882"/>
                    </a:cubicBezTo>
                    <a:cubicBezTo>
                      <a:pt x="10430" y="4679"/>
                      <a:pt x="10489" y="4453"/>
                      <a:pt x="10489" y="4215"/>
                    </a:cubicBezTo>
                    <a:cubicBezTo>
                      <a:pt x="10489" y="3786"/>
                      <a:pt x="10287" y="3381"/>
                      <a:pt x="9954" y="3143"/>
                    </a:cubicBezTo>
                    <a:cubicBezTo>
                      <a:pt x="9977" y="3084"/>
                      <a:pt x="9989" y="3012"/>
                      <a:pt x="9989" y="2953"/>
                    </a:cubicBezTo>
                    <a:cubicBezTo>
                      <a:pt x="9989" y="2536"/>
                      <a:pt x="9620" y="2191"/>
                      <a:pt x="9156" y="2191"/>
                    </a:cubicBezTo>
                    <a:cubicBezTo>
                      <a:pt x="8692" y="2191"/>
                      <a:pt x="8323" y="2524"/>
                      <a:pt x="8323" y="2953"/>
                    </a:cubicBezTo>
                    <a:cubicBezTo>
                      <a:pt x="8323" y="3024"/>
                      <a:pt x="8334" y="3084"/>
                      <a:pt x="8346" y="3143"/>
                    </a:cubicBezTo>
                    <a:cubicBezTo>
                      <a:pt x="8156" y="3286"/>
                      <a:pt x="8013" y="3477"/>
                      <a:pt x="7906" y="3715"/>
                    </a:cubicBezTo>
                    <a:cubicBezTo>
                      <a:pt x="7858" y="3334"/>
                      <a:pt x="7834" y="2869"/>
                      <a:pt x="7787" y="2346"/>
                    </a:cubicBezTo>
                    <a:cubicBezTo>
                      <a:pt x="7739" y="1655"/>
                      <a:pt x="7489" y="1060"/>
                      <a:pt x="7060" y="643"/>
                    </a:cubicBezTo>
                    <a:cubicBezTo>
                      <a:pt x="6644" y="226"/>
                      <a:pt x="6072" y="0"/>
                      <a:pt x="5417" y="0"/>
                    </a:cubicBezTo>
                    <a:close/>
                  </a:path>
                </a:pathLst>
              </a:custGeom>
              <a:grpFill/>
              <a:ln>
                <a:solidFill>
                  <a:schemeClr val="accent5">
                    <a:lumMod val="75000"/>
                  </a:schemeClr>
                </a:solidFill>
              </a:ln>
            </p:spPr>
            <p:txBody>
              <a:bodyPr spcFirstLastPara="1" wrap="square" lIns="91425" tIns="91425" rIns="91425" bIns="91425" anchor="ctr" anchorCtr="0">
                <a:noAutofit/>
              </a:bodyPr>
              <a:lstStyle/>
              <a:p>
                <a:endParaRPr dirty="0"/>
              </a:p>
            </p:txBody>
          </p:sp>
          <p:sp>
            <p:nvSpPr>
              <p:cNvPr id="235" name="Google Shape;2462;p54">
                <a:extLst>
                  <a:ext uri="{FF2B5EF4-FFF2-40B4-BE49-F238E27FC236}">
                    <a16:creationId xmlns:a16="http://schemas.microsoft.com/office/drawing/2014/main" id="{67F72E58-7EE5-4A52-89AE-34E4D93037CB}"/>
                  </a:ext>
                </a:extLst>
              </p:cNvPr>
              <p:cNvSpPr/>
              <p:nvPr/>
            </p:nvSpPr>
            <p:spPr>
              <a:xfrm>
                <a:off x="6089408" y="3637503"/>
                <a:ext cx="10662" cy="36029"/>
              </a:xfrm>
              <a:custGeom>
                <a:avLst/>
                <a:gdLst/>
                <a:ahLst/>
                <a:cxnLst/>
                <a:rect l="l" t="t" r="r" b="b"/>
                <a:pathLst>
                  <a:path w="335" h="1132" extrusionOk="0">
                    <a:moveTo>
                      <a:pt x="167" y="1"/>
                    </a:moveTo>
                    <a:cubicBezTo>
                      <a:pt x="72" y="1"/>
                      <a:pt x="1" y="84"/>
                      <a:pt x="1" y="167"/>
                    </a:cubicBezTo>
                    <a:lnTo>
                      <a:pt x="1" y="977"/>
                    </a:lnTo>
                    <a:cubicBezTo>
                      <a:pt x="1" y="1060"/>
                      <a:pt x="72" y="1132"/>
                      <a:pt x="167" y="1132"/>
                    </a:cubicBezTo>
                    <a:cubicBezTo>
                      <a:pt x="251" y="1132"/>
                      <a:pt x="322" y="1060"/>
                      <a:pt x="322" y="977"/>
                    </a:cubicBezTo>
                    <a:lnTo>
                      <a:pt x="322" y="167"/>
                    </a:lnTo>
                    <a:cubicBezTo>
                      <a:pt x="334" y="84"/>
                      <a:pt x="251" y="1"/>
                      <a:pt x="167" y="1"/>
                    </a:cubicBezTo>
                    <a:close/>
                  </a:path>
                </a:pathLst>
              </a:custGeom>
              <a:grpFill/>
              <a:ln>
                <a:solidFill>
                  <a:schemeClr val="accent5">
                    <a:lumMod val="75000"/>
                  </a:schemeClr>
                </a:solidFill>
              </a:ln>
            </p:spPr>
            <p:txBody>
              <a:bodyPr spcFirstLastPara="1" wrap="square" lIns="91425" tIns="91425" rIns="91425" bIns="91425" anchor="ctr" anchorCtr="0">
                <a:noAutofit/>
              </a:bodyPr>
              <a:lstStyle/>
              <a:p>
                <a:endParaRPr/>
              </a:p>
            </p:txBody>
          </p:sp>
        </p:grpSp>
      </p:grpSp>
      <p:sp>
        <p:nvSpPr>
          <p:cNvPr id="240" name="Rechteck 125">
            <a:extLst>
              <a:ext uri="{FF2B5EF4-FFF2-40B4-BE49-F238E27FC236}">
                <a16:creationId xmlns:a16="http://schemas.microsoft.com/office/drawing/2014/main" id="{69B79CC9-805A-42B7-A15B-614CF97F735B}"/>
              </a:ext>
            </a:extLst>
          </p:cNvPr>
          <p:cNvSpPr/>
          <p:nvPr/>
        </p:nvSpPr>
        <p:spPr bwMode="gray">
          <a:xfrm>
            <a:off x="5100975" y="3827805"/>
            <a:ext cx="1175163" cy="454979"/>
          </a:xfrm>
          <a:prstGeom prst="rect">
            <a:avLst/>
          </a:prstGeom>
        </p:spPr>
        <p:style>
          <a:lnRef idx="0">
            <a:scrgbClr r="0" g="0" b="0"/>
          </a:lnRef>
          <a:fillRef idx="0">
            <a:scrgbClr r="0" g="0" b="0"/>
          </a:fillRef>
          <a:effectRef idx="0">
            <a:scrgbClr r="0" g="0" b="0"/>
          </a:effectRef>
          <a:fontRef idx="major"/>
        </p:style>
        <p:txBody>
          <a:bodyPr wrap="square" lIns="72000" tIns="46800" rIns="72000">
            <a:no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defTabSz="801608"/>
            <a:r>
              <a:rPr lang="en-US" sz="1000" b="1" dirty="0">
                <a:solidFill>
                  <a:srgbClr val="14438E"/>
                </a:solidFill>
                <a:latin typeface="Arial" panose="020B0604020202020204" pitchFamily="34" charset="0"/>
                <a:cs typeface="Arial" panose="020B0604020202020204" pitchFamily="34" charset="0"/>
              </a:rPr>
              <a:t>2</a:t>
            </a:r>
            <a:r>
              <a:rPr lang="en-US" sz="1000" b="1" baseline="30000" dirty="0">
                <a:solidFill>
                  <a:srgbClr val="14438E"/>
                </a:solidFill>
                <a:latin typeface="Arial" panose="020B0604020202020204" pitchFamily="34" charset="0"/>
                <a:cs typeface="Arial" panose="020B0604020202020204" pitchFamily="34" charset="0"/>
              </a:rPr>
              <a:t>nd</a:t>
            </a:r>
            <a:r>
              <a:rPr lang="en-US" sz="1000" b="1" dirty="0">
                <a:solidFill>
                  <a:srgbClr val="14438E"/>
                </a:solidFill>
                <a:latin typeface="Arial" panose="020B0604020202020204" pitchFamily="34" charset="0"/>
                <a:cs typeface="Arial" panose="020B0604020202020204" pitchFamily="34" charset="0"/>
              </a:rPr>
              <a:t> Drafting workshop</a:t>
            </a:r>
          </a:p>
        </p:txBody>
      </p:sp>
      <p:sp>
        <p:nvSpPr>
          <p:cNvPr id="252" name="Oval 19">
            <a:extLst>
              <a:ext uri="{FF2B5EF4-FFF2-40B4-BE49-F238E27FC236}">
                <a16:creationId xmlns:a16="http://schemas.microsoft.com/office/drawing/2014/main" id="{76D876F8-B704-40C5-B53B-63AA02FB9541}"/>
              </a:ext>
            </a:extLst>
          </p:cNvPr>
          <p:cNvSpPr>
            <a:spLocks noChangeArrowheads="1"/>
          </p:cNvSpPr>
          <p:nvPr/>
        </p:nvSpPr>
        <p:spPr bwMode="auto">
          <a:xfrm>
            <a:off x="5633621" y="2884031"/>
            <a:ext cx="109870" cy="109204"/>
          </a:xfrm>
          <a:prstGeom prst="ellipse">
            <a:avLst/>
          </a:prstGeom>
          <a:noFill/>
          <a:ln w="53975" cap="flat">
            <a:solidFill>
              <a:schemeClr val="accent5">
                <a:lumMod val="75000"/>
              </a:schemeClr>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nvGrpSpPr>
          <p:cNvPr id="315" name="Group 314">
            <a:extLst>
              <a:ext uri="{FF2B5EF4-FFF2-40B4-BE49-F238E27FC236}">
                <a16:creationId xmlns:a16="http://schemas.microsoft.com/office/drawing/2014/main" id="{7A3B63BC-33A3-4EA5-97C8-939C6338E13B}"/>
              </a:ext>
            </a:extLst>
          </p:cNvPr>
          <p:cNvGrpSpPr/>
          <p:nvPr/>
        </p:nvGrpSpPr>
        <p:grpSpPr>
          <a:xfrm>
            <a:off x="5481224" y="3230769"/>
            <a:ext cx="414664" cy="413999"/>
            <a:chOff x="674530" y="1584554"/>
            <a:chExt cx="414664" cy="413999"/>
          </a:xfrm>
        </p:grpSpPr>
        <p:sp>
          <p:nvSpPr>
            <p:cNvPr id="316" name="Oval 21">
              <a:extLst>
                <a:ext uri="{FF2B5EF4-FFF2-40B4-BE49-F238E27FC236}">
                  <a16:creationId xmlns:a16="http://schemas.microsoft.com/office/drawing/2014/main" id="{664D30E5-F96B-4DC9-946F-52FF71F299B9}"/>
                </a:ext>
              </a:extLst>
            </p:cNvPr>
            <p:cNvSpPr>
              <a:spLocks noChangeAspect="1" noChangeArrowheads="1"/>
            </p:cNvSpPr>
            <p:nvPr/>
          </p:nvSpPr>
          <p:spPr bwMode="auto">
            <a:xfrm>
              <a:off x="674530" y="1584554"/>
              <a:ext cx="414664" cy="413999"/>
            </a:xfrm>
            <a:prstGeom prst="ellipse">
              <a:avLst/>
            </a:prstGeom>
            <a:solidFill>
              <a:srgbClr val="E7E6E6"/>
            </a:solidFill>
            <a:ln>
              <a:noFill/>
            </a:ln>
            <a:effectLst>
              <a:outerShdw blurRad="127000" dist="63500" dir="2700000" algn="tl" rotWithShape="0">
                <a:prstClr val="black">
                  <a:alpha val="50000"/>
                </a:prstClr>
              </a:outerShd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nvGrpSpPr>
            <p:cNvPr id="317" name="Google Shape;2456;p54">
              <a:extLst>
                <a:ext uri="{FF2B5EF4-FFF2-40B4-BE49-F238E27FC236}">
                  <a16:creationId xmlns:a16="http://schemas.microsoft.com/office/drawing/2014/main" id="{EC5DF9E4-86AA-4845-8FBC-E3E621F6B610}"/>
                </a:ext>
              </a:extLst>
            </p:cNvPr>
            <p:cNvGrpSpPr/>
            <p:nvPr/>
          </p:nvGrpSpPr>
          <p:grpSpPr>
            <a:xfrm>
              <a:off x="729170" y="1668834"/>
              <a:ext cx="287980" cy="219921"/>
              <a:chOff x="5776798" y="3409778"/>
              <a:chExt cx="346379" cy="264518"/>
            </a:xfrm>
            <a:solidFill>
              <a:schemeClr val="tx1">
                <a:lumMod val="65000"/>
                <a:lumOff val="35000"/>
              </a:schemeClr>
            </a:solidFill>
          </p:grpSpPr>
          <p:sp>
            <p:nvSpPr>
              <p:cNvPr id="318" name="Google Shape;2457;p54">
                <a:extLst>
                  <a:ext uri="{FF2B5EF4-FFF2-40B4-BE49-F238E27FC236}">
                    <a16:creationId xmlns:a16="http://schemas.microsoft.com/office/drawing/2014/main" id="{BB903972-6368-4C2E-B6EB-C2F28832F8AF}"/>
                  </a:ext>
                </a:extLst>
              </p:cNvPr>
              <p:cNvSpPr/>
              <p:nvPr/>
            </p:nvSpPr>
            <p:spPr>
              <a:xfrm>
                <a:off x="5890104" y="3642055"/>
                <a:ext cx="10248" cy="32241"/>
              </a:xfrm>
              <a:custGeom>
                <a:avLst/>
                <a:gdLst/>
                <a:ahLst/>
                <a:cxnLst/>
                <a:rect l="l" t="t" r="r" b="b"/>
                <a:pathLst>
                  <a:path w="322" h="1013" extrusionOk="0">
                    <a:moveTo>
                      <a:pt x="167" y="1"/>
                    </a:moveTo>
                    <a:cubicBezTo>
                      <a:pt x="71" y="1"/>
                      <a:pt x="0" y="72"/>
                      <a:pt x="0" y="155"/>
                    </a:cubicBezTo>
                    <a:lnTo>
                      <a:pt x="0" y="846"/>
                    </a:lnTo>
                    <a:cubicBezTo>
                      <a:pt x="0" y="929"/>
                      <a:pt x="71" y="1013"/>
                      <a:pt x="167" y="1013"/>
                    </a:cubicBezTo>
                    <a:cubicBezTo>
                      <a:pt x="250" y="1013"/>
                      <a:pt x="321" y="929"/>
                      <a:pt x="321" y="846"/>
                    </a:cubicBezTo>
                    <a:lnTo>
                      <a:pt x="321" y="143"/>
                    </a:lnTo>
                    <a:cubicBezTo>
                      <a:pt x="321" y="60"/>
                      <a:pt x="250" y="1"/>
                      <a:pt x="167" y="1"/>
                    </a:cubicBezTo>
                    <a:close/>
                  </a:path>
                </a:pathLst>
              </a:custGeom>
              <a:grpFill/>
              <a:ln>
                <a:noFill/>
              </a:ln>
            </p:spPr>
            <p:txBody>
              <a:bodyPr spcFirstLastPara="1" wrap="square" lIns="91425" tIns="91425" rIns="91425" bIns="91425" anchor="ctr" anchorCtr="0">
                <a:noAutofit/>
              </a:bodyPr>
              <a:lstStyle/>
              <a:p>
                <a:endParaRPr/>
              </a:p>
            </p:txBody>
          </p:sp>
          <p:sp>
            <p:nvSpPr>
              <p:cNvPr id="319" name="Google Shape;2458;p54">
                <a:extLst>
                  <a:ext uri="{FF2B5EF4-FFF2-40B4-BE49-F238E27FC236}">
                    <a16:creationId xmlns:a16="http://schemas.microsoft.com/office/drawing/2014/main" id="{E1522998-541A-48A7-8295-C42D57DBCE4E}"/>
                  </a:ext>
                </a:extLst>
              </p:cNvPr>
              <p:cNvSpPr/>
              <p:nvPr/>
            </p:nvSpPr>
            <p:spPr>
              <a:xfrm>
                <a:off x="5998094" y="3642055"/>
                <a:ext cx="10248" cy="32241"/>
              </a:xfrm>
              <a:custGeom>
                <a:avLst/>
                <a:gdLst/>
                <a:ahLst/>
                <a:cxnLst/>
                <a:rect l="l" t="t" r="r" b="b"/>
                <a:pathLst>
                  <a:path w="322" h="1013" extrusionOk="0">
                    <a:moveTo>
                      <a:pt x="167" y="1"/>
                    </a:moveTo>
                    <a:cubicBezTo>
                      <a:pt x="72" y="1"/>
                      <a:pt x="0" y="72"/>
                      <a:pt x="0" y="155"/>
                    </a:cubicBezTo>
                    <a:lnTo>
                      <a:pt x="0" y="846"/>
                    </a:lnTo>
                    <a:cubicBezTo>
                      <a:pt x="0" y="929"/>
                      <a:pt x="72" y="1013"/>
                      <a:pt x="167" y="1013"/>
                    </a:cubicBezTo>
                    <a:cubicBezTo>
                      <a:pt x="250" y="1013"/>
                      <a:pt x="322" y="929"/>
                      <a:pt x="322" y="846"/>
                    </a:cubicBezTo>
                    <a:lnTo>
                      <a:pt x="322" y="143"/>
                    </a:lnTo>
                    <a:cubicBezTo>
                      <a:pt x="310" y="60"/>
                      <a:pt x="250" y="1"/>
                      <a:pt x="167" y="1"/>
                    </a:cubicBezTo>
                    <a:close/>
                  </a:path>
                </a:pathLst>
              </a:custGeom>
              <a:grpFill/>
              <a:ln>
                <a:noFill/>
              </a:ln>
            </p:spPr>
            <p:txBody>
              <a:bodyPr spcFirstLastPara="1" wrap="square" lIns="91425" tIns="91425" rIns="91425" bIns="91425" anchor="ctr" anchorCtr="0">
                <a:noAutofit/>
              </a:bodyPr>
              <a:lstStyle/>
              <a:p>
                <a:endParaRPr/>
              </a:p>
            </p:txBody>
          </p:sp>
          <p:sp>
            <p:nvSpPr>
              <p:cNvPr id="320" name="Google Shape;2459;p54">
                <a:extLst>
                  <a:ext uri="{FF2B5EF4-FFF2-40B4-BE49-F238E27FC236}">
                    <a16:creationId xmlns:a16="http://schemas.microsoft.com/office/drawing/2014/main" id="{FD6532B0-2EA4-4547-A844-63299E1BC122}"/>
                  </a:ext>
                </a:extLst>
              </p:cNvPr>
              <p:cNvSpPr/>
              <p:nvPr/>
            </p:nvSpPr>
            <p:spPr>
              <a:xfrm>
                <a:off x="5814673" y="3528367"/>
                <a:ext cx="43222" cy="15564"/>
              </a:xfrm>
              <a:custGeom>
                <a:avLst/>
                <a:gdLst/>
                <a:ahLst/>
                <a:cxnLst/>
                <a:rect l="l" t="t" r="r" b="b"/>
                <a:pathLst>
                  <a:path w="1358" h="489" extrusionOk="0">
                    <a:moveTo>
                      <a:pt x="167" y="1"/>
                    </a:moveTo>
                    <a:cubicBezTo>
                      <a:pt x="72" y="1"/>
                      <a:pt x="1" y="72"/>
                      <a:pt x="1" y="156"/>
                    </a:cubicBezTo>
                    <a:cubicBezTo>
                      <a:pt x="1" y="251"/>
                      <a:pt x="72" y="322"/>
                      <a:pt x="167" y="322"/>
                    </a:cubicBezTo>
                    <a:cubicBezTo>
                      <a:pt x="346" y="322"/>
                      <a:pt x="870" y="358"/>
                      <a:pt x="1120" y="477"/>
                    </a:cubicBezTo>
                    <a:cubicBezTo>
                      <a:pt x="1144" y="489"/>
                      <a:pt x="1167" y="489"/>
                      <a:pt x="1191" y="489"/>
                    </a:cubicBezTo>
                    <a:cubicBezTo>
                      <a:pt x="1251" y="489"/>
                      <a:pt x="1310" y="453"/>
                      <a:pt x="1346" y="394"/>
                    </a:cubicBezTo>
                    <a:cubicBezTo>
                      <a:pt x="1358" y="322"/>
                      <a:pt x="1322" y="239"/>
                      <a:pt x="1251" y="191"/>
                    </a:cubicBezTo>
                    <a:cubicBezTo>
                      <a:pt x="882" y="13"/>
                      <a:pt x="191" y="1"/>
                      <a:pt x="167" y="1"/>
                    </a:cubicBezTo>
                    <a:close/>
                  </a:path>
                </a:pathLst>
              </a:custGeom>
              <a:grpFill/>
              <a:ln>
                <a:noFill/>
              </a:ln>
            </p:spPr>
            <p:txBody>
              <a:bodyPr spcFirstLastPara="1" wrap="square" lIns="91425" tIns="91425" rIns="91425" bIns="91425" anchor="ctr" anchorCtr="0">
                <a:noAutofit/>
              </a:bodyPr>
              <a:lstStyle/>
              <a:p>
                <a:endParaRPr/>
              </a:p>
            </p:txBody>
          </p:sp>
          <p:sp>
            <p:nvSpPr>
              <p:cNvPr id="321" name="Google Shape;2460;p54">
                <a:extLst>
                  <a:ext uri="{FF2B5EF4-FFF2-40B4-BE49-F238E27FC236}">
                    <a16:creationId xmlns:a16="http://schemas.microsoft.com/office/drawing/2014/main" id="{DB82656D-2E62-4CDC-8B7C-29AD8333DC89}"/>
                  </a:ext>
                </a:extLst>
              </p:cNvPr>
              <p:cNvSpPr/>
              <p:nvPr/>
            </p:nvSpPr>
            <p:spPr>
              <a:xfrm>
                <a:off x="5797995" y="3631074"/>
                <a:ext cx="10662" cy="42458"/>
              </a:xfrm>
              <a:custGeom>
                <a:avLst/>
                <a:gdLst/>
                <a:ahLst/>
                <a:cxnLst/>
                <a:rect l="l" t="t" r="r" b="b"/>
                <a:pathLst>
                  <a:path w="335" h="1334" extrusionOk="0">
                    <a:moveTo>
                      <a:pt x="167" y="0"/>
                    </a:moveTo>
                    <a:cubicBezTo>
                      <a:pt x="84" y="0"/>
                      <a:pt x="1" y="72"/>
                      <a:pt x="1" y="167"/>
                    </a:cubicBezTo>
                    <a:lnTo>
                      <a:pt x="1" y="1179"/>
                    </a:lnTo>
                    <a:cubicBezTo>
                      <a:pt x="1" y="1262"/>
                      <a:pt x="84" y="1334"/>
                      <a:pt x="167" y="1334"/>
                    </a:cubicBezTo>
                    <a:cubicBezTo>
                      <a:pt x="251" y="1334"/>
                      <a:pt x="334" y="1262"/>
                      <a:pt x="334" y="1179"/>
                    </a:cubicBezTo>
                    <a:lnTo>
                      <a:pt x="334" y="167"/>
                    </a:lnTo>
                    <a:cubicBezTo>
                      <a:pt x="334" y="72"/>
                      <a:pt x="263" y="0"/>
                      <a:pt x="167" y="0"/>
                    </a:cubicBezTo>
                    <a:close/>
                  </a:path>
                </a:pathLst>
              </a:custGeom>
              <a:grpFill/>
              <a:ln>
                <a:noFill/>
              </a:ln>
            </p:spPr>
            <p:txBody>
              <a:bodyPr spcFirstLastPara="1" wrap="square" lIns="91425" tIns="91425" rIns="91425" bIns="91425" anchor="ctr" anchorCtr="0">
                <a:noAutofit/>
              </a:bodyPr>
              <a:lstStyle/>
              <a:p>
                <a:endParaRPr/>
              </a:p>
            </p:txBody>
          </p:sp>
          <p:sp>
            <p:nvSpPr>
              <p:cNvPr id="322" name="Google Shape;2461;p54">
                <a:extLst>
                  <a:ext uri="{FF2B5EF4-FFF2-40B4-BE49-F238E27FC236}">
                    <a16:creationId xmlns:a16="http://schemas.microsoft.com/office/drawing/2014/main" id="{89E02CEB-D975-4043-A261-CABF337872C6}"/>
                  </a:ext>
                </a:extLst>
              </p:cNvPr>
              <p:cNvSpPr/>
              <p:nvPr/>
            </p:nvSpPr>
            <p:spPr>
              <a:xfrm>
                <a:off x="5776798" y="3409778"/>
                <a:ext cx="346379" cy="264136"/>
              </a:xfrm>
              <a:custGeom>
                <a:avLst/>
                <a:gdLst/>
                <a:ahLst/>
                <a:cxnLst/>
                <a:rect l="l" t="t" r="r" b="b"/>
                <a:pathLst>
                  <a:path w="10883" h="8299" extrusionOk="0">
                    <a:moveTo>
                      <a:pt x="9144" y="2512"/>
                    </a:moveTo>
                    <a:cubicBezTo>
                      <a:pt x="9418" y="2512"/>
                      <a:pt x="9656" y="2715"/>
                      <a:pt x="9656" y="2953"/>
                    </a:cubicBezTo>
                    <a:lnTo>
                      <a:pt x="9656" y="2977"/>
                    </a:lnTo>
                    <a:cubicBezTo>
                      <a:pt x="9501" y="2917"/>
                      <a:pt x="9335" y="2869"/>
                      <a:pt x="9144" y="2869"/>
                    </a:cubicBezTo>
                    <a:cubicBezTo>
                      <a:pt x="8965" y="2869"/>
                      <a:pt x="8787" y="2905"/>
                      <a:pt x="8620" y="2977"/>
                    </a:cubicBezTo>
                    <a:lnTo>
                      <a:pt x="8620" y="2953"/>
                    </a:lnTo>
                    <a:cubicBezTo>
                      <a:pt x="8620" y="2727"/>
                      <a:pt x="8858" y="2512"/>
                      <a:pt x="9144" y="2512"/>
                    </a:cubicBezTo>
                    <a:close/>
                    <a:moveTo>
                      <a:pt x="2869" y="3203"/>
                    </a:moveTo>
                    <a:lnTo>
                      <a:pt x="2869" y="3858"/>
                    </a:lnTo>
                    <a:cubicBezTo>
                      <a:pt x="2869" y="3965"/>
                      <a:pt x="2846" y="4060"/>
                      <a:pt x="2798" y="4167"/>
                    </a:cubicBezTo>
                    <a:lnTo>
                      <a:pt x="2727" y="4334"/>
                    </a:lnTo>
                    <a:cubicBezTo>
                      <a:pt x="2715" y="4346"/>
                      <a:pt x="2715" y="4382"/>
                      <a:pt x="2715" y="4405"/>
                    </a:cubicBezTo>
                    <a:lnTo>
                      <a:pt x="2715" y="4751"/>
                    </a:lnTo>
                    <a:cubicBezTo>
                      <a:pt x="2715" y="4989"/>
                      <a:pt x="2619" y="5191"/>
                      <a:pt x="2441" y="5358"/>
                    </a:cubicBezTo>
                    <a:cubicBezTo>
                      <a:pt x="2298" y="5525"/>
                      <a:pt x="2072" y="5596"/>
                      <a:pt x="1834" y="5596"/>
                    </a:cubicBezTo>
                    <a:cubicBezTo>
                      <a:pt x="1369" y="5584"/>
                      <a:pt x="1000" y="5179"/>
                      <a:pt x="1000" y="4703"/>
                    </a:cubicBezTo>
                    <a:lnTo>
                      <a:pt x="1000" y="4405"/>
                    </a:lnTo>
                    <a:cubicBezTo>
                      <a:pt x="1000" y="4382"/>
                      <a:pt x="1000" y="4358"/>
                      <a:pt x="988" y="4334"/>
                    </a:cubicBezTo>
                    <a:lnTo>
                      <a:pt x="881" y="4143"/>
                    </a:lnTo>
                    <a:cubicBezTo>
                      <a:pt x="845" y="4060"/>
                      <a:pt x="822" y="3989"/>
                      <a:pt x="822" y="3905"/>
                    </a:cubicBezTo>
                    <a:lnTo>
                      <a:pt x="822" y="3882"/>
                    </a:lnTo>
                    <a:cubicBezTo>
                      <a:pt x="822" y="3501"/>
                      <a:pt x="1131" y="3203"/>
                      <a:pt x="1500" y="3203"/>
                    </a:cubicBezTo>
                    <a:close/>
                    <a:moveTo>
                      <a:pt x="9144" y="3215"/>
                    </a:moveTo>
                    <a:cubicBezTo>
                      <a:pt x="9704" y="3215"/>
                      <a:pt x="10168" y="3679"/>
                      <a:pt x="10168" y="4239"/>
                    </a:cubicBezTo>
                    <a:cubicBezTo>
                      <a:pt x="10168" y="4346"/>
                      <a:pt x="10156" y="4465"/>
                      <a:pt x="10108" y="4572"/>
                    </a:cubicBezTo>
                    <a:cubicBezTo>
                      <a:pt x="9656" y="4108"/>
                      <a:pt x="8870" y="3929"/>
                      <a:pt x="8823" y="3929"/>
                    </a:cubicBezTo>
                    <a:cubicBezTo>
                      <a:pt x="8814" y="3926"/>
                      <a:pt x="8804" y="3925"/>
                      <a:pt x="8794" y="3925"/>
                    </a:cubicBezTo>
                    <a:cubicBezTo>
                      <a:pt x="8763" y="3925"/>
                      <a:pt x="8727" y="3938"/>
                      <a:pt x="8692" y="3965"/>
                    </a:cubicBezTo>
                    <a:cubicBezTo>
                      <a:pt x="8644" y="3989"/>
                      <a:pt x="8632" y="4036"/>
                      <a:pt x="8632" y="4084"/>
                    </a:cubicBezTo>
                    <a:cubicBezTo>
                      <a:pt x="8632" y="4084"/>
                      <a:pt x="8632" y="4179"/>
                      <a:pt x="8513" y="4298"/>
                    </a:cubicBezTo>
                    <a:cubicBezTo>
                      <a:pt x="8453" y="4358"/>
                      <a:pt x="8453" y="4465"/>
                      <a:pt x="8513" y="4524"/>
                    </a:cubicBezTo>
                    <a:cubicBezTo>
                      <a:pt x="8543" y="4554"/>
                      <a:pt x="8584" y="4569"/>
                      <a:pt x="8626" y="4569"/>
                    </a:cubicBezTo>
                    <a:cubicBezTo>
                      <a:pt x="8668" y="4569"/>
                      <a:pt x="8709" y="4554"/>
                      <a:pt x="8739" y="4524"/>
                    </a:cubicBezTo>
                    <a:cubicBezTo>
                      <a:pt x="8823" y="4441"/>
                      <a:pt x="8882" y="4346"/>
                      <a:pt x="8918" y="4274"/>
                    </a:cubicBezTo>
                    <a:cubicBezTo>
                      <a:pt x="9180" y="4346"/>
                      <a:pt x="9739" y="4560"/>
                      <a:pt x="9989" y="4894"/>
                    </a:cubicBezTo>
                    <a:cubicBezTo>
                      <a:pt x="9906" y="5298"/>
                      <a:pt x="9573" y="5596"/>
                      <a:pt x="9144" y="5596"/>
                    </a:cubicBezTo>
                    <a:cubicBezTo>
                      <a:pt x="8704" y="5596"/>
                      <a:pt x="8334" y="5275"/>
                      <a:pt x="8287" y="4834"/>
                    </a:cubicBezTo>
                    <a:cubicBezTo>
                      <a:pt x="8287" y="4810"/>
                      <a:pt x="8275" y="4798"/>
                      <a:pt x="8263" y="4774"/>
                    </a:cubicBezTo>
                    <a:cubicBezTo>
                      <a:pt x="8156" y="4620"/>
                      <a:pt x="8108" y="4441"/>
                      <a:pt x="8108" y="4239"/>
                    </a:cubicBezTo>
                    <a:cubicBezTo>
                      <a:pt x="8108" y="3679"/>
                      <a:pt x="8573" y="3215"/>
                      <a:pt x="9144" y="3215"/>
                    </a:cubicBezTo>
                    <a:close/>
                    <a:moveTo>
                      <a:pt x="5441" y="298"/>
                    </a:moveTo>
                    <a:cubicBezTo>
                      <a:pt x="6013" y="298"/>
                      <a:pt x="6489" y="488"/>
                      <a:pt x="6858" y="845"/>
                    </a:cubicBezTo>
                    <a:cubicBezTo>
                      <a:pt x="7227" y="1226"/>
                      <a:pt x="7453" y="1738"/>
                      <a:pt x="7501" y="2369"/>
                    </a:cubicBezTo>
                    <a:cubicBezTo>
                      <a:pt x="7620" y="4060"/>
                      <a:pt x="7763" y="5001"/>
                      <a:pt x="7822" y="5334"/>
                    </a:cubicBezTo>
                    <a:lnTo>
                      <a:pt x="7822" y="5346"/>
                    </a:lnTo>
                    <a:cubicBezTo>
                      <a:pt x="7632" y="5453"/>
                      <a:pt x="7310" y="5632"/>
                      <a:pt x="6787" y="5763"/>
                    </a:cubicBezTo>
                    <a:lnTo>
                      <a:pt x="6525" y="5644"/>
                    </a:lnTo>
                    <a:cubicBezTo>
                      <a:pt x="6453" y="5608"/>
                      <a:pt x="6418" y="5548"/>
                      <a:pt x="6418" y="5477"/>
                    </a:cubicBezTo>
                    <a:lnTo>
                      <a:pt x="6418" y="4929"/>
                    </a:lnTo>
                    <a:cubicBezTo>
                      <a:pt x="6918" y="4596"/>
                      <a:pt x="7263" y="4024"/>
                      <a:pt x="7263" y="3370"/>
                    </a:cubicBezTo>
                    <a:lnTo>
                      <a:pt x="7263" y="3072"/>
                    </a:lnTo>
                    <a:cubicBezTo>
                      <a:pt x="7263" y="2869"/>
                      <a:pt x="7180" y="2691"/>
                      <a:pt x="7037" y="2560"/>
                    </a:cubicBezTo>
                    <a:cubicBezTo>
                      <a:pt x="6727" y="2274"/>
                      <a:pt x="6001" y="1798"/>
                      <a:pt x="4751" y="1667"/>
                    </a:cubicBezTo>
                    <a:cubicBezTo>
                      <a:pt x="4744" y="1666"/>
                      <a:pt x="4737" y="1666"/>
                      <a:pt x="4730" y="1666"/>
                    </a:cubicBezTo>
                    <a:cubicBezTo>
                      <a:pt x="4645" y="1666"/>
                      <a:pt x="4583" y="1733"/>
                      <a:pt x="4572" y="1822"/>
                    </a:cubicBezTo>
                    <a:cubicBezTo>
                      <a:pt x="4548" y="1905"/>
                      <a:pt x="4632" y="1977"/>
                      <a:pt x="4715" y="2000"/>
                    </a:cubicBezTo>
                    <a:cubicBezTo>
                      <a:pt x="5882" y="2119"/>
                      <a:pt x="6537" y="2548"/>
                      <a:pt x="6834" y="2798"/>
                    </a:cubicBezTo>
                    <a:cubicBezTo>
                      <a:pt x="6906" y="2858"/>
                      <a:pt x="6953" y="2965"/>
                      <a:pt x="6953" y="3072"/>
                    </a:cubicBezTo>
                    <a:lnTo>
                      <a:pt x="6953" y="3370"/>
                    </a:lnTo>
                    <a:cubicBezTo>
                      <a:pt x="6953" y="4215"/>
                      <a:pt x="6263" y="4894"/>
                      <a:pt x="5417" y="4894"/>
                    </a:cubicBezTo>
                    <a:cubicBezTo>
                      <a:pt x="4572" y="4894"/>
                      <a:pt x="3881" y="4215"/>
                      <a:pt x="3881" y="3370"/>
                    </a:cubicBezTo>
                    <a:lnTo>
                      <a:pt x="3881" y="3227"/>
                    </a:lnTo>
                    <a:cubicBezTo>
                      <a:pt x="3881" y="3167"/>
                      <a:pt x="3917" y="3108"/>
                      <a:pt x="3977" y="3084"/>
                    </a:cubicBezTo>
                    <a:cubicBezTo>
                      <a:pt x="4167" y="2965"/>
                      <a:pt x="4429" y="2750"/>
                      <a:pt x="4548" y="2393"/>
                    </a:cubicBezTo>
                    <a:cubicBezTo>
                      <a:pt x="4584" y="2310"/>
                      <a:pt x="4536" y="2215"/>
                      <a:pt x="4453" y="2203"/>
                    </a:cubicBezTo>
                    <a:cubicBezTo>
                      <a:pt x="4434" y="2198"/>
                      <a:pt x="4415" y="2196"/>
                      <a:pt x="4398" y="2196"/>
                    </a:cubicBezTo>
                    <a:cubicBezTo>
                      <a:pt x="4327" y="2196"/>
                      <a:pt x="4270" y="2234"/>
                      <a:pt x="4251" y="2310"/>
                    </a:cubicBezTo>
                    <a:cubicBezTo>
                      <a:pt x="4167" y="2572"/>
                      <a:pt x="3977" y="2727"/>
                      <a:pt x="3822" y="2810"/>
                    </a:cubicBezTo>
                    <a:cubicBezTo>
                      <a:pt x="3679" y="2905"/>
                      <a:pt x="3572" y="3072"/>
                      <a:pt x="3572" y="3227"/>
                    </a:cubicBezTo>
                    <a:lnTo>
                      <a:pt x="3572" y="3370"/>
                    </a:lnTo>
                    <a:cubicBezTo>
                      <a:pt x="3572" y="4024"/>
                      <a:pt x="3917" y="4584"/>
                      <a:pt x="4417" y="4929"/>
                    </a:cubicBezTo>
                    <a:lnTo>
                      <a:pt x="4417" y="5477"/>
                    </a:lnTo>
                    <a:cubicBezTo>
                      <a:pt x="4417" y="5548"/>
                      <a:pt x="4370" y="5608"/>
                      <a:pt x="4310" y="5644"/>
                    </a:cubicBezTo>
                    <a:lnTo>
                      <a:pt x="4048" y="5763"/>
                    </a:lnTo>
                    <a:cubicBezTo>
                      <a:pt x="3536" y="5632"/>
                      <a:pt x="3215" y="5453"/>
                      <a:pt x="3060" y="5346"/>
                    </a:cubicBezTo>
                    <a:lnTo>
                      <a:pt x="3060" y="5334"/>
                    </a:lnTo>
                    <a:cubicBezTo>
                      <a:pt x="3131" y="5001"/>
                      <a:pt x="3262" y="4060"/>
                      <a:pt x="3393" y="2369"/>
                    </a:cubicBezTo>
                    <a:cubicBezTo>
                      <a:pt x="3441" y="1738"/>
                      <a:pt x="3655" y="1226"/>
                      <a:pt x="4036" y="845"/>
                    </a:cubicBezTo>
                    <a:cubicBezTo>
                      <a:pt x="4393" y="488"/>
                      <a:pt x="4882" y="298"/>
                      <a:pt x="5441" y="298"/>
                    </a:cubicBezTo>
                    <a:close/>
                    <a:moveTo>
                      <a:pt x="2750" y="5465"/>
                    </a:moveTo>
                    <a:cubicBezTo>
                      <a:pt x="2786" y="5501"/>
                      <a:pt x="2810" y="5572"/>
                      <a:pt x="2869" y="5596"/>
                    </a:cubicBezTo>
                    <a:cubicBezTo>
                      <a:pt x="3000" y="5691"/>
                      <a:pt x="3239" y="5822"/>
                      <a:pt x="3584" y="5941"/>
                    </a:cubicBezTo>
                    <a:lnTo>
                      <a:pt x="3155" y="6144"/>
                    </a:lnTo>
                    <a:lnTo>
                      <a:pt x="2655" y="6001"/>
                    </a:lnTo>
                    <a:cubicBezTo>
                      <a:pt x="2512" y="5953"/>
                      <a:pt x="2512" y="5953"/>
                      <a:pt x="2512" y="5906"/>
                    </a:cubicBezTo>
                    <a:lnTo>
                      <a:pt x="2512" y="5691"/>
                    </a:lnTo>
                    <a:cubicBezTo>
                      <a:pt x="2572" y="5656"/>
                      <a:pt x="2619" y="5608"/>
                      <a:pt x="2667" y="5572"/>
                    </a:cubicBezTo>
                    <a:cubicBezTo>
                      <a:pt x="2691" y="5536"/>
                      <a:pt x="2727" y="5513"/>
                      <a:pt x="2750" y="5465"/>
                    </a:cubicBezTo>
                    <a:close/>
                    <a:moveTo>
                      <a:pt x="8096" y="5239"/>
                    </a:moveTo>
                    <a:cubicBezTo>
                      <a:pt x="8180" y="5417"/>
                      <a:pt x="8323" y="5572"/>
                      <a:pt x="8477" y="5691"/>
                    </a:cubicBezTo>
                    <a:lnTo>
                      <a:pt x="8477" y="6025"/>
                    </a:lnTo>
                    <a:lnTo>
                      <a:pt x="8489" y="6025"/>
                    </a:lnTo>
                    <a:lnTo>
                      <a:pt x="7977" y="6287"/>
                    </a:lnTo>
                    <a:cubicBezTo>
                      <a:pt x="7977" y="6287"/>
                      <a:pt x="7965" y="6287"/>
                      <a:pt x="7965" y="6263"/>
                    </a:cubicBezTo>
                    <a:lnTo>
                      <a:pt x="7227" y="5941"/>
                    </a:lnTo>
                    <a:cubicBezTo>
                      <a:pt x="7596" y="5822"/>
                      <a:pt x="7822" y="5667"/>
                      <a:pt x="7942" y="5596"/>
                    </a:cubicBezTo>
                    <a:cubicBezTo>
                      <a:pt x="8049" y="5525"/>
                      <a:pt x="8108" y="5406"/>
                      <a:pt x="8096" y="5275"/>
                    </a:cubicBezTo>
                    <a:lnTo>
                      <a:pt x="8096" y="5239"/>
                    </a:lnTo>
                    <a:close/>
                    <a:moveTo>
                      <a:pt x="2203" y="5870"/>
                    </a:moveTo>
                    <a:lnTo>
                      <a:pt x="2203" y="5929"/>
                    </a:lnTo>
                    <a:cubicBezTo>
                      <a:pt x="2203" y="5953"/>
                      <a:pt x="2203" y="5989"/>
                      <a:pt x="2215" y="6013"/>
                    </a:cubicBezTo>
                    <a:lnTo>
                      <a:pt x="1857" y="6370"/>
                    </a:lnTo>
                    <a:lnTo>
                      <a:pt x="1500" y="6013"/>
                    </a:lnTo>
                    <a:cubicBezTo>
                      <a:pt x="1512" y="5989"/>
                      <a:pt x="1512" y="5953"/>
                      <a:pt x="1512" y="5929"/>
                    </a:cubicBezTo>
                    <a:lnTo>
                      <a:pt x="1512" y="5870"/>
                    </a:lnTo>
                    <a:cubicBezTo>
                      <a:pt x="1619" y="5894"/>
                      <a:pt x="1726" y="5929"/>
                      <a:pt x="1834" y="5929"/>
                    </a:cubicBezTo>
                    <a:lnTo>
                      <a:pt x="1857" y="5929"/>
                    </a:lnTo>
                    <a:cubicBezTo>
                      <a:pt x="1976" y="5929"/>
                      <a:pt x="2096" y="5906"/>
                      <a:pt x="2203" y="5870"/>
                    </a:cubicBezTo>
                    <a:close/>
                    <a:moveTo>
                      <a:pt x="9525" y="5882"/>
                    </a:moveTo>
                    <a:lnTo>
                      <a:pt x="9525" y="6048"/>
                    </a:lnTo>
                    <a:cubicBezTo>
                      <a:pt x="9525" y="6108"/>
                      <a:pt x="9537" y="6144"/>
                      <a:pt x="9573" y="6191"/>
                    </a:cubicBezTo>
                    <a:lnTo>
                      <a:pt x="9394" y="6322"/>
                    </a:lnTo>
                    <a:cubicBezTo>
                      <a:pt x="9323" y="6394"/>
                      <a:pt x="9236" y="6429"/>
                      <a:pt x="9151" y="6429"/>
                    </a:cubicBezTo>
                    <a:cubicBezTo>
                      <a:pt x="9067" y="6429"/>
                      <a:pt x="8983" y="6394"/>
                      <a:pt x="8918" y="6322"/>
                    </a:cubicBezTo>
                    <a:lnTo>
                      <a:pt x="8763" y="6191"/>
                    </a:lnTo>
                    <a:cubicBezTo>
                      <a:pt x="8799" y="6144"/>
                      <a:pt x="8811" y="6084"/>
                      <a:pt x="8811" y="6048"/>
                    </a:cubicBezTo>
                    <a:lnTo>
                      <a:pt x="8811" y="5882"/>
                    </a:lnTo>
                    <a:cubicBezTo>
                      <a:pt x="8918" y="5906"/>
                      <a:pt x="9037" y="5941"/>
                      <a:pt x="9168" y="5941"/>
                    </a:cubicBezTo>
                    <a:cubicBezTo>
                      <a:pt x="9287" y="5941"/>
                      <a:pt x="9406" y="5929"/>
                      <a:pt x="9525" y="5882"/>
                    </a:cubicBezTo>
                    <a:close/>
                    <a:moveTo>
                      <a:pt x="6096" y="5096"/>
                    </a:moveTo>
                    <a:lnTo>
                      <a:pt x="6096" y="5477"/>
                    </a:lnTo>
                    <a:cubicBezTo>
                      <a:pt x="6096" y="5667"/>
                      <a:pt x="6215" y="5846"/>
                      <a:pt x="6394" y="5941"/>
                    </a:cubicBezTo>
                    <a:lnTo>
                      <a:pt x="6632" y="6048"/>
                    </a:lnTo>
                    <a:cubicBezTo>
                      <a:pt x="6406" y="6489"/>
                      <a:pt x="5941" y="6787"/>
                      <a:pt x="5417" y="6787"/>
                    </a:cubicBezTo>
                    <a:cubicBezTo>
                      <a:pt x="4894" y="6787"/>
                      <a:pt x="4441" y="6501"/>
                      <a:pt x="4203" y="6048"/>
                    </a:cubicBezTo>
                    <a:lnTo>
                      <a:pt x="4441" y="5941"/>
                    </a:lnTo>
                    <a:cubicBezTo>
                      <a:pt x="4620" y="5870"/>
                      <a:pt x="4739" y="5691"/>
                      <a:pt x="4739" y="5477"/>
                    </a:cubicBezTo>
                    <a:lnTo>
                      <a:pt x="4739" y="5096"/>
                    </a:lnTo>
                    <a:cubicBezTo>
                      <a:pt x="4941" y="5179"/>
                      <a:pt x="5179" y="5227"/>
                      <a:pt x="5417" y="5227"/>
                    </a:cubicBezTo>
                    <a:cubicBezTo>
                      <a:pt x="5656" y="5227"/>
                      <a:pt x="5894" y="5179"/>
                      <a:pt x="6096" y="5096"/>
                    </a:cubicBezTo>
                    <a:close/>
                    <a:moveTo>
                      <a:pt x="5417" y="0"/>
                    </a:moveTo>
                    <a:cubicBezTo>
                      <a:pt x="4763" y="0"/>
                      <a:pt x="4215" y="226"/>
                      <a:pt x="3786" y="643"/>
                    </a:cubicBezTo>
                    <a:cubicBezTo>
                      <a:pt x="3346" y="1060"/>
                      <a:pt x="3096" y="1655"/>
                      <a:pt x="3048" y="2346"/>
                    </a:cubicBezTo>
                    <a:cubicBezTo>
                      <a:pt x="3036" y="2548"/>
                      <a:pt x="3024" y="2703"/>
                      <a:pt x="3012" y="2881"/>
                    </a:cubicBezTo>
                    <a:lnTo>
                      <a:pt x="1524" y="2881"/>
                    </a:lnTo>
                    <a:cubicBezTo>
                      <a:pt x="964" y="2881"/>
                      <a:pt x="512" y="3334"/>
                      <a:pt x="512" y="3893"/>
                    </a:cubicBezTo>
                    <a:lnTo>
                      <a:pt x="512" y="3917"/>
                    </a:lnTo>
                    <a:cubicBezTo>
                      <a:pt x="512" y="4048"/>
                      <a:pt x="536" y="4167"/>
                      <a:pt x="595" y="4286"/>
                    </a:cubicBezTo>
                    <a:lnTo>
                      <a:pt x="667" y="4453"/>
                    </a:lnTo>
                    <a:lnTo>
                      <a:pt x="667" y="4703"/>
                    </a:lnTo>
                    <a:cubicBezTo>
                      <a:pt x="667" y="5120"/>
                      <a:pt x="881" y="5477"/>
                      <a:pt x="1179" y="5703"/>
                    </a:cubicBezTo>
                    <a:lnTo>
                      <a:pt x="1179" y="5929"/>
                    </a:lnTo>
                    <a:cubicBezTo>
                      <a:pt x="1179" y="5953"/>
                      <a:pt x="1167" y="5989"/>
                      <a:pt x="1131" y="5989"/>
                    </a:cubicBezTo>
                    <a:lnTo>
                      <a:pt x="476" y="6179"/>
                    </a:lnTo>
                    <a:cubicBezTo>
                      <a:pt x="191" y="6251"/>
                      <a:pt x="0" y="6513"/>
                      <a:pt x="0" y="6810"/>
                    </a:cubicBezTo>
                    <a:lnTo>
                      <a:pt x="0" y="8120"/>
                    </a:lnTo>
                    <a:cubicBezTo>
                      <a:pt x="0" y="8215"/>
                      <a:pt x="71" y="8287"/>
                      <a:pt x="167" y="8287"/>
                    </a:cubicBezTo>
                    <a:cubicBezTo>
                      <a:pt x="250" y="8287"/>
                      <a:pt x="333" y="8215"/>
                      <a:pt x="333" y="8120"/>
                    </a:cubicBezTo>
                    <a:lnTo>
                      <a:pt x="333" y="6810"/>
                    </a:lnTo>
                    <a:cubicBezTo>
                      <a:pt x="333" y="6668"/>
                      <a:pt x="429" y="6513"/>
                      <a:pt x="583" y="6477"/>
                    </a:cubicBezTo>
                    <a:lnTo>
                      <a:pt x="1238" y="6287"/>
                    </a:lnTo>
                    <a:cubicBezTo>
                      <a:pt x="1262" y="6287"/>
                      <a:pt x="1286" y="6263"/>
                      <a:pt x="1310" y="6251"/>
                    </a:cubicBezTo>
                    <a:lnTo>
                      <a:pt x="1715" y="6656"/>
                    </a:lnTo>
                    <a:lnTo>
                      <a:pt x="1715" y="8108"/>
                    </a:lnTo>
                    <a:cubicBezTo>
                      <a:pt x="1715" y="8203"/>
                      <a:pt x="1786" y="8275"/>
                      <a:pt x="1881" y="8275"/>
                    </a:cubicBezTo>
                    <a:cubicBezTo>
                      <a:pt x="1965" y="8275"/>
                      <a:pt x="2036" y="8203"/>
                      <a:pt x="2036" y="8108"/>
                    </a:cubicBezTo>
                    <a:lnTo>
                      <a:pt x="2036" y="6656"/>
                    </a:lnTo>
                    <a:lnTo>
                      <a:pt x="2441" y="6251"/>
                    </a:lnTo>
                    <a:cubicBezTo>
                      <a:pt x="2500" y="6287"/>
                      <a:pt x="2548" y="6298"/>
                      <a:pt x="2596" y="6310"/>
                    </a:cubicBezTo>
                    <a:lnTo>
                      <a:pt x="2750" y="6358"/>
                    </a:lnTo>
                    <a:cubicBezTo>
                      <a:pt x="2536" y="6501"/>
                      <a:pt x="2393" y="6751"/>
                      <a:pt x="2393" y="7037"/>
                    </a:cubicBezTo>
                    <a:lnTo>
                      <a:pt x="2393" y="8120"/>
                    </a:lnTo>
                    <a:cubicBezTo>
                      <a:pt x="2393" y="8215"/>
                      <a:pt x="2465" y="8287"/>
                      <a:pt x="2560" y="8287"/>
                    </a:cubicBezTo>
                    <a:cubicBezTo>
                      <a:pt x="2643" y="8287"/>
                      <a:pt x="2727" y="8215"/>
                      <a:pt x="2727" y="8120"/>
                    </a:cubicBezTo>
                    <a:lnTo>
                      <a:pt x="2727" y="7037"/>
                    </a:lnTo>
                    <a:cubicBezTo>
                      <a:pt x="2727" y="6834"/>
                      <a:pt x="2846" y="6656"/>
                      <a:pt x="3036" y="6560"/>
                    </a:cubicBezTo>
                    <a:lnTo>
                      <a:pt x="3941" y="6156"/>
                    </a:lnTo>
                    <a:cubicBezTo>
                      <a:pt x="4227" y="6727"/>
                      <a:pt x="4810" y="7096"/>
                      <a:pt x="5441" y="7096"/>
                    </a:cubicBezTo>
                    <a:cubicBezTo>
                      <a:pt x="6084" y="7096"/>
                      <a:pt x="6668" y="6739"/>
                      <a:pt x="6953" y="6156"/>
                    </a:cubicBezTo>
                    <a:lnTo>
                      <a:pt x="7858" y="6560"/>
                    </a:lnTo>
                    <a:cubicBezTo>
                      <a:pt x="8049" y="6656"/>
                      <a:pt x="8168" y="6834"/>
                      <a:pt x="8168" y="7037"/>
                    </a:cubicBezTo>
                    <a:lnTo>
                      <a:pt x="8168" y="8120"/>
                    </a:lnTo>
                    <a:cubicBezTo>
                      <a:pt x="8168" y="8215"/>
                      <a:pt x="8239" y="8287"/>
                      <a:pt x="8334" y="8287"/>
                    </a:cubicBezTo>
                    <a:cubicBezTo>
                      <a:pt x="8418" y="8287"/>
                      <a:pt x="8501" y="8215"/>
                      <a:pt x="8501" y="8120"/>
                    </a:cubicBezTo>
                    <a:lnTo>
                      <a:pt x="8501" y="7037"/>
                    </a:lnTo>
                    <a:cubicBezTo>
                      <a:pt x="8501" y="6834"/>
                      <a:pt x="8418" y="6656"/>
                      <a:pt x="8299" y="6501"/>
                    </a:cubicBezTo>
                    <a:lnTo>
                      <a:pt x="8537" y="6382"/>
                    </a:lnTo>
                    <a:lnTo>
                      <a:pt x="8715" y="6560"/>
                    </a:lnTo>
                    <a:cubicBezTo>
                      <a:pt x="8858" y="6679"/>
                      <a:pt x="9013" y="6739"/>
                      <a:pt x="9180" y="6739"/>
                    </a:cubicBezTo>
                    <a:cubicBezTo>
                      <a:pt x="9346" y="6739"/>
                      <a:pt x="9513" y="6679"/>
                      <a:pt x="9644" y="6560"/>
                    </a:cubicBezTo>
                    <a:lnTo>
                      <a:pt x="9823" y="6382"/>
                    </a:lnTo>
                    <a:lnTo>
                      <a:pt x="10358" y="6656"/>
                    </a:lnTo>
                    <a:cubicBezTo>
                      <a:pt x="10478" y="6715"/>
                      <a:pt x="10549" y="6834"/>
                      <a:pt x="10549" y="6965"/>
                    </a:cubicBezTo>
                    <a:lnTo>
                      <a:pt x="10549" y="8144"/>
                    </a:lnTo>
                    <a:cubicBezTo>
                      <a:pt x="10549" y="8227"/>
                      <a:pt x="10620" y="8299"/>
                      <a:pt x="10716" y="8299"/>
                    </a:cubicBezTo>
                    <a:cubicBezTo>
                      <a:pt x="10799" y="8299"/>
                      <a:pt x="10882" y="8227"/>
                      <a:pt x="10882" y="8144"/>
                    </a:cubicBezTo>
                    <a:lnTo>
                      <a:pt x="10882" y="6965"/>
                    </a:lnTo>
                    <a:cubicBezTo>
                      <a:pt x="10823" y="6703"/>
                      <a:pt x="10692" y="6477"/>
                      <a:pt x="10466" y="6358"/>
                    </a:cubicBezTo>
                    <a:lnTo>
                      <a:pt x="9823" y="6025"/>
                    </a:lnTo>
                    <a:lnTo>
                      <a:pt x="9823" y="6013"/>
                    </a:lnTo>
                    <a:lnTo>
                      <a:pt x="9823" y="5691"/>
                    </a:lnTo>
                    <a:cubicBezTo>
                      <a:pt x="10097" y="5501"/>
                      <a:pt x="10275" y="5227"/>
                      <a:pt x="10311" y="4882"/>
                    </a:cubicBezTo>
                    <a:cubicBezTo>
                      <a:pt x="10430" y="4679"/>
                      <a:pt x="10489" y="4453"/>
                      <a:pt x="10489" y="4215"/>
                    </a:cubicBezTo>
                    <a:cubicBezTo>
                      <a:pt x="10489" y="3786"/>
                      <a:pt x="10287" y="3381"/>
                      <a:pt x="9954" y="3143"/>
                    </a:cubicBezTo>
                    <a:cubicBezTo>
                      <a:pt x="9977" y="3084"/>
                      <a:pt x="9989" y="3012"/>
                      <a:pt x="9989" y="2953"/>
                    </a:cubicBezTo>
                    <a:cubicBezTo>
                      <a:pt x="9989" y="2536"/>
                      <a:pt x="9620" y="2191"/>
                      <a:pt x="9156" y="2191"/>
                    </a:cubicBezTo>
                    <a:cubicBezTo>
                      <a:pt x="8692" y="2191"/>
                      <a:pt x="8323" y="2524"/>
                      <a:pt x="8323" y="2953"/>
                    </a:cubicBezTo>
                    <a:cubicBezTo>
                      <a:pt x="8323" y="3024"/>
                      <a:pt x="8334" y="3084"/>
                      <a:pt x="8346" y="3143"/>
                    </a:cubicBezTo>
                    <a:cubicBezTo>
                      <a:pt x="8156" y="3286"/>
                      <a:pt x="8013" y="3477"/>
                      <a:pt x="7906" y="3715"/>
                    </a:cubicBezTo>
                    <a:cubicBezTo>
                      <a:pt x="7858" y="3334"/>
                      <a:pt x="7834" y="2869"/>
                      <a:pt x="7787" y="2346"/>
                    </a:cubicBezTo>
                    <a:cubicBezTo>
                      <a:pt x="7739" y="1655"/>
                      <a:pt x="7489" y="1060"/>
                      <a:pt x="7060" y="643"/>
                    </a:cubicBezTo>
                    <a:cubicBezTo>
                      <a:pt x="6644" y="226"/>
                      <a:pt x="6072" y="0"/>
                      <a:pt x="5417" y="0"/>
                    </a:cubicBezTo>
                    <a:close/>
                  </a:path>
                </a:pathLst>
              </a:custGeom>
              <a:grpFill/>
              <a:ln>
                <a:noFill/>
              </a:ln>
            </p:spPr>
            <p:txBody>
              <a:bodyPr spcFirstLastPara="1" wrap="square" lIns="91425" tIns="91425" rIns="91425" bIns="91425" anchor="ctr" anchorCtr="0">
                <a:noAutofit/>
              </a:bodyPr>
              <a:lstStyle/>
              <a:p>
                <a:endParaRPr dirty="0"/>
              </a:p>
            </p:txBody>
          </p:sp>
          <p:sp>
            <p:nvSpPr>
              <p:cNvPr id="323" name="Google Shape;2462;p54">
                <a:extLst>
                  <a:ext uri="{FF2B5EF4-FFF2-40B4-BE49-F238E27FC236}">
                    <a16:creationId xmlns:a16="http://schemas.microsoft.com/office/drawing/2014/main" id="{C1BCB621-5065-4DB0-884A-AAF1B53516D3}"/>
                  </a:ext>
                </a:extLst>
              </p:cNvPr>
              <p:cNvSpPr/>
              <p:nvPr/>
            </p:nvSpPr>
            <p:spPr>
              <a:xfrm>
                <a:off x="6089408" y="3637503"/>
                <a:ext cx="10662" cy="36029"/>
              </a:xfrm>
              <a:custGeom>
                <a:avLst/>
                <a:gdLst/>
                <a:ahLst/>
                <a:cxnLst/>
                <a:rect l="l" t="t" r="r" b="b"/>
                <a:pathLst>
                  <a:path w="335" h="1132" extrusionOk="0">
                    <a:moveTo>
                      <a:pt x="167" y="1"/>
                    </a:moveTo>
                    <a:cubicBezTo>
                      <a:pt x="72" y="1"/>
                      <a:pt x="1" y="84"/>
                      <a:pt x="1" y="167"/>
                    </a:cubicBezTo>
                    <a:lnTo>
                      <a:pt x="1" y="977"/>
                    </a:lnTo>
                    <a:cubicBezTo>
                      <a:pt x="1" y="1060"/>
                      <a:pt x="72" y="1132"/>
                      <a:pt x="167" y="1132"/>
                    </a:cubicBezTo>
                    <a:cubicBezTo>
                      <a:pt x="251" y="1132"/>
                      <a:pt x="322" y="1060"/>
                      <a:pt x="322" y="977"/>
                    </a:cubicBezTo>
                    <a:lnTo>
                      <a:pt x="322" y="167"/>
                    </a:lnTo>
                    <a:cubicBezTo>
                      <a:pt x="334" y="84"/>
                      <a:pt x="251" y="1"/>
                      <a:pt x="167" y="1"/>
                    </a:cubicBezTo>
                    <a:close/>
                  </a:path>
                </a:pathLst>
              </a:custGeom>
              <a:grpFill/>
              <a:ln>
                <a:noFill/>
              </a:ln>
            </p:spPr>
            <p:txBody>
              <a:bodyPr spcFirstLastPara="1" wrap="square" lIns="91425" tIns="91425" rIns="91425" bIns="91425" anchor="ctr" anchorCtr="0">
                <a:noAutofit/>
              </a:bodyPr>
              <a:lstStyle/>
              <a:p>
                <a:endParaRPr/>
              </a:p>
            </p:txBody>
          </p:sp>
        </p:grpSp>
      </p:grpSp>
      <p:grpSp>
        <p:nvGrpSpPr>
          <p:cNvPr id="362" name="Group 361">
            <a:extLst>
              <a:ext uri="{FF2B5EF4-FFF2-40B4-BE49-F238E27FC236}">
                <a16:creationId xmlns:a16="http://schemas.microsoft.com/office/drawing/2014/main" id="{966B4D3F-DB37-4DCD-AEB0-D5FA12FD2993}"/>
              </a:ext>
            </a:extLst>
          </p:cNvPr>
          <p:cNvGrpSpPr/>
          <p:nvPr/>
        </p:nvGrpSpPr>
        <p:grpSpPr>
          <a:xfrm>
            <a:off x="535848" y="1560144"/>
            <a:ext cx="590636" cy="845372"/>
            <a:chOff x="2395425" y="1652970"/>
            <a:chExt cx="590636" cy="845372"/>
          </a:xfrm>
          <a:solidFill>
            <a:schemeClr val="accent4"/>
          </a:solidFill>
        </p:grpSpPr>
        <p:sp>
          <p:nvSpPr>
            <p:cNvPr id="363" name="Oval 15">
              <a:extLst>
                <a:ext uri="{FF2B5EF4-FFF2-40B4-BE49-F238E27FC236}">
                  <a16:creationId xmlns:a16="http://schemas.microsoft.com/office/drawing/2014/main" id="{7E613B1F-6863-46EC-90CF-AEB7DE168B47}"/>
                </a:ext>
              </a:extLst>
            </p:cNvPr>
            <p:cNvSpPr>
              <a:spLocks noChangeArrowheads="1"/>
            </p:cNvSpPr>
            <p:nvPr/>
          </p:nvSpPr>
          <p:spPr bwMode="auto">
            <a:xfrm>
              <a:off x="2636475" y="2389138"/>
              <a:ext cx="108539" cy="109204"/>
            </a:xfrm>
            <a:prstGeom prst="ellipse">
              <a:avLst/>
            </a:prstGeom>
            <a:noFill/>
            <a:ln w="53975" cap="flat">
              <a:solidFill>
                <a:schemeClr val="accent4"/>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sp>
          <p:nvSpPr>
            <p:cNvPr id="364" name="Freeform 8">
              <a:extLst>
                <a:ext uri="{FF2B5EF4-FFF2-40B4-BE49-F238E27FC236}">
                  <a16:creationId xmlns:a16="http://schemas.microsoft.com/office/drawing/2014/main" id="{0C1D7ABE-647A-42AE-9960-4EC19B56F355}"/>
                </a:ext>
              </a:extLst>
            </p:cNvPr>
            <p:cNvSpPr>
              <a:spLocks/>
            </p:cNvSpPr>
            <p:nvPr/>
          </p:nvSpPr>
          <p:spPr bwMode="auto">
            <a:xfrm>
              <a:off x="2395425" y="1652970"/>
              <a:ext cx="590636" cy="677200"/>
            </a:xfrm>
            <a:custGeom>
              <a:avLst/>
              <a:gdLst>
                <a:gd name="T0" fmla="*/ 370 w 370"/>
                <a:gd name="T1" fmla="*/ 184 h 424"/>
                <a:gd name="T2" fmla="*/ 185 w 370"/>
                <a:gd name="T3" fmla="*/ 0 h 424"/>
                <a:gd name="T4" fmla="*/ 0 w 370"/>
                <a:gd name="T5" fmla="*/ 184 h 424"/>
                <a:gd name="T6" fmla="*/ 152 w 370"/>
                <a:gd name="T7" fmla="*/ 366 h 424"/>
                <a:gd name="T8" fmla="*/ 185 w 370"/>
                <a:gd name="T9" fmla="*/ 424 h 424"/>
                <a:gd name="T10" fmla="*/ 218 w 370"/>
                <a:gd name="T11" fmla="*/ 366 h 424"/>
                <a:gd name="T12" fmla="*/ 370 w 370"/>
                <a:gd name="T13" fmla="*/ 184 h 424"/>
              </a:gdLst>
              <a:ahLst/>
              <a:cxnLst>
                <a:cxn ang="0">
                  <a:pos x="T0" y="T1"/>
                </a:cxn>
                <a:cxn ang="0">
                  <a:pos x="T2" y="T3"/>
                </a:cxn>
                <a:cxn ang="0">
                  <a:pos x="T4" y="T5"/>
                </a:cxn>
                <a:cxn ang="0">
                  <a:pos x="T6" y="T7"/>
                </a:cxn>
                <a:cxn ang="0">
                  <a:pos x="T8" y="T9"/>
                </a:cxn>
                <a:cxn ang="0">
                  <a:pos x="T10" y="T11"/>
                </a:cxn>
                <a:cxn ang="0">
                  <a:pos x="T12" y="T13"/>
                </a:cxn>
              </a:cxnLst>
              <a:rect l="0" t="0" r="r" b="b"/>
              <a:pathLst>
                <a:path w="370" h="424">
                  <a:moveTo>
                    <a:pt x="370" y="184"/>
                  </a:moveTo>
                  <a:cubicBezTo>
                    <a:pt x="370" y="82"/>
                    <a:pt x="287" y="0"/>
                    <a:pt x="185" y="0"/>
                  </a:cubicBezTo>
                  <a:cubicBezTo>
                    <a:pt x="83" y="0"/>
                    <a:pt x="0" y="82"/>
                    <a:pt x="0" y="184"/>
                  </a:cubicBezTo>
                  <a:cubicBezTo>
                    <a:pt x="0" y="275"/>
                    <a:pt x="66" y="350"/>
                    <a:pt x="152" y="366"/>
                  </a:cubicBezTo>
                  <a:cubicBezTo>
                    <a:pt x="185" y="424"/>
                    <a:pt x="185" y="424"/>
                    <a:pt x="185" y="424"/>
                  </a:cubicBezTo>
                  <a:cubicBezTo>
                    <a:pt x="218" y="366"/>
                    <a:pt x="218" y="366"/>
                    <a:pt x="218" y="366"/>
                  </a:cubicBezTo>
                  <a:cubicBezTo>
                    <a:pt x="304" y="350"/>
                    <a:pt x="370" y="275"/>
                    <a:pt x="370" y="184"/>
                  </a:cubicBezTo>
                  <a:close/>
                </a:path>
              </a:pathLst>
            </a:custGeom>
            <a:grp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dirty="0">
                <a:ln>
                  <a:noFill/>
                </a:ln>
                <a:solidFill>
                  <a:prstClr val="black"/>
                </a:solidFill>
                <a:effectLst/>
                <a:uLnTx/>
                <a:uFillTx/>
              </a:endParaRPr>
            </a:p>
          </p:txBody>
        </p:sp>
      </p:grpSp>
      <p:sp>
        <p:nvSpPr>
          <p:cNvPr id="386" name="Oval 21">
            <a:extLst>
              <a:ext uri="{FF2B5EF4-FFF2-40B4-BE49-F238E27FC236}">
                <a16:creationId xmlns:a16="http://schemas.microsoft.com/office/drawing/2014/main" id="{2E323FE3-FB4A-4441-892D-5CFB4BC18D5D}"/>
              </a:ext>
            </a:extLst>
          </p:cNvPr>
          <p:cNvSpPr>
            <a:spLocks noChangeAspect="1" noChangeArrowheads="1"/>
          </p:cNvSpPr>
          <p:nvPr/>
        </p:nvSpPr>
        <p:spPr bwMode="auto">
          <a:xfrm>
            <a:off x="623834" y="1637155"/>
            <a:ext cx="414664" cy="413999"/>
          </a:xfrm>
          <a:prstGeom prst="ellipse">
            <a:avLst/>
          </a:prstGeom>
          <a:solidFill>
            <a:srgbClr val="E7E6E6"/>
          </a:solidFill>
          <a:ln>
            <a:noFill/>
          </a:ln>
          <a:effectLst>
            <a:outerShdw blurRad="127000" dist="63500" dir="2700000" algn="tl" rotWithShape="0">
              <a:prstClr val="black">
                <a:alpha val="50000"/>
              </a:prstClr>
            </a:outerShd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sp>
        <p:nvSpPr>
          <p:cNvPr id="99" name="TextBox 98">
            <a:extLst>
              <a:ext uri="{FF2B5EF4-FFF2-40B4-BE49-F238E27FC236}">
                <a16:creationId xmlns:a16="http://schemas.microsoft.com/office/drawing/2014/main" id="{85677DA1-620F-4E7E-B01B-9D7E046FBB3A}"/>
              </a:ext>
            </a:extLst>
          </p:cNvPr>
          <p:cNvSpPr txBox="1"/>
          <p:nvPr/>
        </p:nvSpPr>
        <p:spPr>
          <a:xfrm>
            <a:off x="472732" y="2392190"/>
            <a:ext cx="716868" cy="414729"/>
          </a:xfrm>
          <a:prstGeom prst="rect">
            <a:avLst/>
          </a:prstGeom>
          <a:noFill/>
        </p:spPr>
        <p:txBody>
          <a:bodyPr wrap="square" rtlCol="0">
            <a:spAutoFit/>
          </a:bodyPr>
          <a:lstStyle/>
          <a:p>
            <a:pPr algn="ctr">
              <a:lnSpc>
                <a:spcPts val="1320"/>
              </a:lnSpc>
            </a:pPr>
            <a:r>
              <a:rPr lang="es-ES" sz="1050" b="1" dirty="0">
                <a:solidFill>
                  <a:schemeClr val="bg1">
                    <a:lumMod val="50000"/>
                  </a:schemeClr>
                </a:solidFill>
                <a:latin typeface="Arial" panose="020B0604020202020204" pitchFamily="34" charset="0"/>
                <a:cs typeface="Arial" panose="020B0604020202020204" pitchFamily="34" charset="0"/>
              </a:rPr>
              <a:t>OCT</a:t>
            </a:r>
            <a:endParaRPr lang="en-GR" sz="1050" b="1" dirty="0">
              <a:solidFill>
                <a:schemeClr val="bg1">
                  <a:lumMod val="50000"/>
                </a:schemeClr>
              </a:solidFill>
              <a:latin typeface="Arial" panose="020B0604020202020204" pitchFamily="34" charset="0"/>
              <a:cs typeface="Arial" panose="020B0604020202020204" pitchFamily="34" charset="0"/>
            </a:endParaRPr>
          </a:p>
          <a:p>
            <a:pPr algn="ctr">
              <a:lnSpc>
                <a:spcPts val="1320"/>
              </a:lnSpc>
            </a:pPr>
            <a:r>
              <a:rPr lang="es-ES" sz="1050" b="1" dirty="0">
                <a:solidFill>
                  <a:schemeClr val="bg1">
                    <a:lumMod val="50000"/>
                  </a:schemeClr>
                </a:solidFill>
                <a:latin typeface="Arial" panose="020B0604020202020204" pitchFamily="34" charset="0"/>
                <a:cs typeface="Arial" panose="020B0604020202020204" pitchFamily="34" charset="0"/>
              </a:rPr>
              <a:t>2021</a:t>
            </a:r>
            <a:endParaRPr lang="en-GR" sz="1050" b="1" dirty="0">
              <a:solidFill>
                <a:schemeClr val="bg1">
                  <a:lumMod val="50000"/>
                </a:schemeClr>
              </a:solidFill>
              <a:latin typeface="Arial" panose="020B0604020202020204" pitchFamily="34" charset="0"/>
              <a:cs typeface="Arial" panose="020B0604020202020204" pitchFamily="34" charset="0"/>
            </a:endParaRPr>
          </a:p>
        </p:txBody>
      </p:sp>
      <p:sp>
        <p:nvSpPr>
          <p:cNvPr id="107" name="Rechteck 138">
            <a:extLst>
              <a:ext uri="{FF2B5EF4-FFF2-40B4-BE49-F238E27FC236}">
                <a16:creationId xmlns:a16="http://schemas.microsoft.com/office/drawing/2014/main" id="{93629690-4A97-439D-850F-930FC0601B97}"/>
              </a:ext>
            </a:extLst>
          </p:cNvPr>
          <p:cNvSpPr/>
          <p:nvPr/>
        </p:nvSpPr>
        <p:spPr bwMode="gray">
          <a:xfrm>
            <a:off x="210440" y="2823059"/>
            <a:ext cx="1241453" cy="454979"/>
          </a:xfrm>
          <a:prstGeom prst="rect">
            <a:avLst/>
          </a:prstGeom>
          <a:effectLst>
            <a:glow rad="228600">
              <a:schemeClr val="accent6">
                <a:satMod val="175000"/>
                <a:alpha val="40000"/>
              </a:schemeClr>
            </a:glow>
          </a:effectLst>
        </p:spPr>
        <p:style>
          <a:lnRef idx="0">
            <a:scrgbClr r="0" g="0" b="0"/>
          </a:lnRef>
          <a:fillRef idx="0">
            <a:scrgbClr r="0" g="0" b="0"/>
          </a:fillRef>
          <a:effectRef idx="0">
            <a:scrgbClr r="0" g="0" b="0"/>
          </a:effectRef>
          <a:fontRef idx="major"/>
        </p:style>
        <p:txBody>
          <a:bodyPr wrap="square" lIns="72000" tIns="46800" rIns="72000">
            <a:no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defTabSz="801608"/>
            <a:r>
              <a:rPr lang="en-US" sz="1000" b="1" dirty="0">
                <a:solidFill>
                  <a:srgbClr val="14438E"/>
                </a:solidFill>
                <a:latin typeface="Arial" panose="020B0604020202020204" pitchFamily="34" charset="0"/>
                <a:cs typeface="Arial" panose="020B0604020202020204" pitchFamily="34" charset="0"/>
              </a:rPr>
              <a:t>Kick-off</a:t>
            </a:r>
            <a:br>
              <a:rPr lang="el-GR" sz="1000" b="1" dirty="0">
                <a:solidFill>
                  <a:srgbClr val="14438E"/>
                </a:solidFill>
                <a:latin typeface="Arial" panose="020B0604020202020204" pitchFamily="34" charset="0"/>
                <a:cs typeface="Arial" panose="020B0604020202020204" pitchFamily="34" charset="0"/>
              </a:rPr>
            </a:br>
            <a:r>
              <a:rPr lang="en-US" sz="1000" b="1" dirty="0">
                <a:solidFill>
                  <a:srgbClr val="14438E"/>
                </a:solidFill>
                <a:latin typeface="Arial" panose="020B0604020202020204" pitchFamily="34" charset="0"/>
                <a:cs typeface="Arial" panose="020B0604020202020204" pitchFamily="34" charset="0"/>
              </a:rPr>
              <a:t>meeting</a:t>
            </a:r>
          </a:p>
        </p:txBody>
      </p:sp>
      <p:grpSp>
        <p:nvGrpSpPr>
          <p:cNvPr id="387" name="Google Shape;1292;p52">
            <a:extLst>
              <a:ext uri="{FF2B5EF4-FFF2-40B4-BE49-F238E27FC236}">
                <a16:creationId xmlns:a16="http://schemas.microsoft.com/office/drawing/2014/main" id="{D25FBCA7-9B3C-433A-B1A5-813CE515478E}"/>
              </a:ext>
            </a:extLst>
          </p:cNvPr>
          <p:cNvGrpSpPr/>
          <p:nvPr/>
        </p:nvGrpSpPr>
        <p:grpSpPr>
          <a:xfrm>
            <a:off x="682562" y="1701059"/>
            <a:ext cx="297208" cy="313957"/>
            <a:chOff x="860940" y="2746477"/>
            <a:chExt cx="371883" cy="365691"/>
          </a:xfrm>
          <a:solidFill>
            <a:schemeClr val="bg1">
              <a:lumMod val="50000"/>
            </a:schemeClr>
          </a:solidFill>
        </p:grpSpPr>
        <p:sp>
          <p:nvSpPr>
            <p:cNvPr id="388" name="Google Shape;1293;p52">
              <a:extLst>
                <a:ext uri="{FF2B5EF4-FFF2-40B4-BE49-F238E27FC236}">
                  <a16:creationId xmlns:a16="http://schemas.microsoft.com/office/drawing/2014/main" id="{AF62AC5F-3978-469A-B255-31EE0BE6F36B}"/>
                </a:ext>
              </a:extLst>
            </p:cNvPr>
            <p:cNvSpPr/>
            <p:nvPr/>
          </p:nvSpPr>
          <p:spPr>
            <a:xfrm>
              <a:off x="908191" y="3026302"/>
              <a:ext cx="30294" cy="28961"/>
            </a:xfrm>
            <a:custGeom>
              <a:avLst/>
              <a:gdLst/>
              <a:ahLst/>
              <a:cxnLst/>
              <a:rect l="l" t="t" r="r" b="b"/>
              <a:pathLst>
                <a:path w="954" h="912" extrusionOk="0">
                  <a:moveTo>
                    <a:pt x="763" y="1"/>
                  </a:moveTo>
                  <a:cubicBezTo>
                    <a:pt x="718" y="1"/>
                    <a:pt x="674" y="16"/>
                    <a:pt x="644" y="45"/>
                  </a:cubicBezTo>
                  <a:lnTo>
                    <a:pt x="60" y="629"/>
                  </a:lnTo>
                  <a:cubicBezTo>
                    <a:pt x="1" y="688"/>
                    <a:pt x="1" y="807"/>
                    <a:pt x="60" y="867"/>
                  </a:cubicBezTo>
                  <a:cubicBezTo>
                    <a:pt x="90" y="897"/>
                    <a:pt x="135" y="911"/>
                    <a:pt x="179" y="911"/>
                  </a:cubicBezTo>
                  <a:cubicBezTo>
                    <a:pt x="224" y="911"/>
                    <a:pt x="269" y="897"/>
                    <a:pt x="299" y="867"/>
                  </a:cubicBezTo>
                  <a:lnTo>
                    <a:pt x="882" y="283"/>
                  </a:lnTo>
                  <a:cubicBezTo>
                    <a:pt x="953" y="224"/>
                    <a:pt x="953" y="105"/>
                    <a:pt x="882" y="45"/>
                  </a:cubicBezTo>
                  <a:cubicBezTo>
                    <a:pt x="852" y="16"/>
                    <a:pt x="807" y="1"/>
                    <a:pt x="763" y="1"/>
                  </a:cubicBezTo>
                  <a:close/>
                </a:path>
              </a:pathLst>
            </a:custGeom>
            <a:grpFill/>
            <a:ln>
              <a:noFill/>
            </a:ln>
          </p:spPr>
          <p:txBody>
            <a:bodyPr spcFirstLastPara="1" wrap="square" lIns="91425" tIns="91425" rIns="91425" bIns="91425"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a:p>
          </p:txBody>
        </p:sp>
        <p:sp>
          <p:nvSpPr>
            <p:cNvPr id="389" name="Google Shape;1294;p52">
              <a:extLst>
                <a:ext uri="{FF2B5EF4-FFF2-40B4-BE49-F238E27FC236}">
                  <a16:creationId xmlns:a16="http://schemas.microsoft.com/office/drawing/2014/main" id="{A4551129-4E8E-463F-8C8B-D1AE3DB98FF3}"/>
                </a:ext>
              </a:extLst>
            </p:cNvPr>
            <p:cNvSpPr/>
            <p:nvPr/>
          </p:nvSpPr>
          <p:spPr>
            <a:xfrm>
              <a:off x="943757" y="3061836"/>
              <a:ext cx="30263" cy="28961"/>
            </a:xfrm>
            <a:custGeom>
              <a:avLst/>
              <a:gdLst/>
              <a:ahLst/>
              <a:cxnLst/>
              <a:rect l="l" t="t" r="r" b="b"/>
              <a:pathLst>
                <a:path w="953" h="912" extrusionOk="0">
                  <a:moveTo>
                    <a:pt x="762" y="1"/>
                  </a:moveTo>
                  <a:cubicBezTo>
                    <a:pt x="717" y="1"/>
                    <a:pt x="673" y="16"/>
                    <a:pt x="643" y="46"/>
                  </a:cubicBezTo>
                  <a:lnTo>
                    <a:pt x="60" y="629"/>
                  </a:lnTo>
                  <a:cubicBezTo>
                    <a:pt x="0" y="688"/>
                    <a:pt x="0" y="807"/>
                    <a:pt x="60" y="867"/>
                  </a:cubicBezTo>
                  <a:cubicBezTo>
                    <a:pt x="89" y="897"/>
                    <a:pt x="134" y="912"/>
                    <a:pt x="179" y="912"/>
                  </a:cubicBezTo>
                  <a:cubicBezTo>
                    <a:pt x="223" y="912"/>
                    <a:pt x="268" y="897"/>
                    <a:pt x="298" y="867"/>
                  </a:cubicBezTo>
                  <a:lnTo>
                    <a:pt x="881" y="284"/>
                  </a:lnTo>
                  <a:cubicBezTo>
                    <a:pt x="953" y="224"/>
                    <a:pt x="953" y="105"/>
                    <a:pt x="881" y="46"/>
                  </a:cubicBezTo>
                  <a:cubicBezTo>
                    <a:pt x="851" y="16"/>
                    <a:pt x="807" y="1"/>
                    <a:pt x="762" y="1"/>
                  </a:cubicBezTo>
                  <a:close/>
                </a:path>
              </a:pathLst>
            </a:custGeom>
            <a:grpFill/>
            <a:ln>
              <a:noFill/>
            </a:ln>
          </p:spPr>
          <p:txBody>
            <a:bodyPr spcFirstLastPara="1" wrap="square" lIns="91425" tIns="91425" rIns="91425" bIns="91425"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a:p>
          </p:txBody>
        </p:sp>
        <p:sp>
          <p:nvSpPr>
            <p:cNvPr id="390" name="Google Shape;1295;p52">
              <a:extLst>
                <a:ext uri="{FF2B5EF4-FFF2-40B4-BE49-F238E27FC236}">
                  <a16:creationId xmlns:a16="http://schemas.microsoft.com/office/drawing/2014/main" id="{7E9D41E3-BC1F-4DDF-89D0-F18EE925DFC9}"/>
                </a:ext>
              </a:extLst>
            </p:cNvPr>
            <p:cNvSpPr/>
            <p:nvPr/>
          </p:nvSpPr>
          <p:spPr>
            <a:xfrm>
              <a:off x="926355" y="3044085"/>
              <a:ext cx="29881" cy="28579"/>
            </a:xfrm>
            <a:custGeom>
              <a:avLst/>
              <a:gdLst/>
              <a:ahLst/>
              <a:cxnLst/>
              <a:rect l="l" t="t" r="r" b="b"/>
              <a:pathLst>
                <a:path w="941" h="900" extrusionOk="0">
                  <a:moveTo>
                    <a:pt x="762" y="0"/>
                  </a:moveTo>
                  <a:cubicBezTo>
                    <a:pt x="718" y="0"/>
                    <a:pt x="673" y="15"/>
                    <a:pt x="643" y="45"/>
                  </a:cubicBezTo>
                  <a:lnTo>
                    <a:pt x="60" y="616"/>
                  </a:lnTo>
                  <a:cubicBezTo>
                    <a:pt x="0" y="676"/>
                    <a:pt x="0" y="795"/>
                    <a:pt x="60" y="855"/>
                  </a:cubicBezTo>
                  <a:cubicBezTo>
                    <a:pt x="90" y="884"/>
                    <a:pt x="134" y="899"/>
                    <a:pt x="179" y="899"/>
                  </a:cubicBezTo>
                  <a:cubicBezTo>
                    <a:pt x="224" y="899"/>
                    <a:pt x="268" y="884"/>
                    <a:pt x="298" y="855"/>
                  </a:cubicBezTo>
                  <a:lnTo>
                    <a:pt x="881" y="283"/>
                  </a:lnTo>
                  <a:cubicBezTo>
                    <a:pt x="941" y="224"/>
                    <a:pt x="941" y="116"/>
                    <a:pt x="881" y="45"/>
                  </a:cubicBezTo>
                  <a:cubicBezTo>
                    <a:pt x="852" y="15"/>
                    <a:pt x="807" y="0"/>
                    <a:pt x="762" y="0"/>
                  </a:cubicBezTo>
                  <a:close/>
                </a:path>
              </a:pathLst>
            </a:custGeom>
            <a:grpFill/>
            <a:ln>
              <a:noFill/>
            </a:ln>
          </p:spPr>
          <p:txBody>
            <a:bodyPr spcFirstLastPara="1" wrap="square" lIns="91425" tIns="91425" rIns="91425" bIns="91425"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a:p>
          </p:txBody>
        </p:sp>
        <p:sp>
          <p:nvSpPr>
            <p:cNvPr id="391" name="Google Shape;1296;p52">
              <a:extLst>
                <a:ext uri="{FF2B5EF4-FFF2-40B4-BE49-F238E27FC236}">
                  <a16:creationId xmlns:a16="http://schemas.microsoft.com/office/drawing/2014/main" id="{8A39B225-537D-43E6-A7F6-2F6D40208464}"/>
                </a:ext>
              </a:extLst>
            </p:cNvPr>
            <p:cNvSpPr/>
            <p:nvPr/>
          </p:nvSpPr>
          <p:spPr>
            <a:xfrm>
              <a:off x="860940" y="2746477"/>
              <a:ext cx="371883" cy="365691"/>
            </a:xfrm>
            <a:custGeom>
              <a:avLst/>
              <a:gdLst/>
              <a:ahLst/>
              <a:cxnLst/>
              <a:rect l="l" t="t" r="r" b="b"/>
              <a:pathLst>
                <a:path w="11711" h="11516" extrusionOk="0">
                  <a:moveTo>
                    <a:pt x="11312" y="344"/>
                  </a:moveTo>
                  <a:lnTo>
                    <a:pt x="10835" y="1987"/>
                  </a:lnTo>
                  <a:lnTo>
                    <a:pt x="9680" y="821"/>
                  </a:lnTo>
                  <a:lnTo>
                    <a:pt x="11312" y="344"/>
                  </a:lnTo>
                  <a:close/>
                  <a:moveTo>
                    <a:pt x="4882" y="3821"/>
                  </a:moveTo>
                  <a:lnTo>
                    <a:pt x="2822" y="5881"/>
                  </a:lnTo>
                  <a:lnTo>
                    <a:pt x="477" y="5690"/>
                  </a:lnTo>
                  <a:cubicBezTo>
                    <a:pt x="453" y="5690"/>
                    <a:pt x="429" y="5643"/>
                    <a:pt x="465" y="5631"/>
                  </a:cubicBezTo>
                  <a:cubicBezTo>
                    <a:pt x="1477" y="4619"/>
                    <a:pt x="2822" y="4000"/>
                    <a:pt x="4227" y="3881"/>
                  </a:cubicBezTo>
                  <a:lnTo>
                    <a:pt x="4882" y="3821"/>
                  </a:lnTo>
                  <a:close/>
                  <a:moveTo>
                    <a:pt x="2894" y="6297"/>
                  </a:moveTo>
                  <a:lnTo>
                    <a:pt x="3811" y="7226"/>
                  </a:lnTo>
                  <a:lnTo>
                    <a:pt x="3477" y="7571"/>
                  </a:lnTo>
                  <a:lnTo>
                    <a:pt x="2549" y="6643"/>
                  </a:lnTo>
                  <a:lnTo>
                    <a:pt x="2894" y="6297"/>
                  </a:lnTo>
                  <a:close/>
                  <a:moveTo>
                    <a:pt x="2727" y="7333"/>
                  </a:moveTo>
                  <a:lnTo>
                    <a:pt x="3203" y="7810"/>
                  </a:lnTo>
                  <a:lnTo>
                    <a:pt x="2799" y="8226"/>
                  </a:lnTo>
                  <a:cubicBezTo>
                    <a:pt x="2787" y="8238"/>
                    <a:pt x="2763" y="8262"/>
                    <a:pt x="2739" y="8298"/>
                  </a:cubicBezTo>
                  <a:lnTo>
                    <a:pt x="2310" y="7869"/>
                  </a:lnTo>
                  <a:cubicBezTo>
                    <a:pt x="2287" y="7833"/>
                    <a:pt x="2287" y="7774"/>
                    <a:pt x="2310" y="7750"/>
                  </a:cubicBezTo>
                  <a:lnTo>
                    <a:pt x="2727" y="7333"/>
                  </a:lnTo>
                  <a:close/>
                  <a:moveTo>
                    <a:pt x="9311" y="916"/>
                  </a:moveTo>
                  <a:lnTo>
                    <a:pt x="10740" y="2345"/>
                  </a:lnTo>
                  <a:lnTo>
                    <a:pt x="10299" y="3821"/>
                  </a:lnTo>
                  <a:lnTo>
                    <a:pt x="5597" y="8524"/>
                  </a:lnTo>
                  <a:lnTo>
                    <a:pt x="4680" y="7595"/>
                  </a:lnTo>
                  <a:lnTo>
                    <a:pt x="6823" y="5452"/>
                  </a:lnTo>
                  <a:cubicBezTo>
                    <a:pt x="6966" y="5309"/>
                    <a:pt x="7001" y="5035"/>
                    <a:pt x="6811" y="4833"/>
                  </a:cubicBezTo>
                  <a:cubicBezTo>
                    <a:pt x="6728" y="4750"/>
                    <a:pt x="6617" y="4708"/>
                    <a:pt x="6506" y="4708"/>
                  </a:cubicBezTo>
                  <a:cubicBezTo>
                    <a:pt x="6394" y="4708"/>
                    <a:pt x="6281" y="4750"/>
                    <a:pt x="6192" y="4833"/>
                  </a:cubicBezTo>
                  <a:lnTo>
                    <a:pt x="4049" y="6976"/>
                  </a:lnTo>
                  <a:lnTo>
                    <a:pt x="3132" y="6047"/>
                  </a:lnTo>
                  <a:lnTo>
                    <a:pt x="7835" y="1344"/>
                  </a:lnTo>
                  <a:lnTo>
                    <a:pt x="9311" y="916"/>
                  </a:lnTo>
                  <a:close/>
                  <a:moveTo>
                    <a:pt x="6495" y="5047"/>
                  </a:moveTo>
                  <a:cubicBezTo>
                    <a:pt x="6522" y="5047"/>
                    <a:pt x="6549" y="5059"/>
                    <a:pt x="6573" y="5083"/>
                  </a:cubicBezTo>
                  <a:cubicBezTo>
                    <a:pt x="6609" y="5131"/>
                    <a:pt x="6609" y="5178"/>
                    <a:pt x="6573" y="5226"/>
                  </a:cubicBezTo>
                  <a:lnTo>
                    <a:pt x="4311" y="7488"/>
                  </a:lnTo>
                  <a:lnTo>
                    <a:pt x="3203" y="8595"/>
                  </a:lnTo>
                  <a:cubicBezTo>
                    <a:pt x="3180" y="8619"/>
                    <a:pt x="3153" y="8631"/>
                    <a:pt x="3127" y="8631"/>
                  </a:cubicBezTo>
                  <a:cubicBezTo>
                    <a:pt x="3102" y="8631"/>
                    <a:pt x="3078" y="8619"/>
                    <a:pt x="3060" y="8595"/>
                  </a:cubicBezTo>
                  <a:cubicBezTo>
                    <a:pt x="3013" y="8548"/>
                    <a:pt x="3013" y="8488"/>
                    <a:pt x="3060" y="8441"/>
                  </a:cubicBezTo>
                  <a:lnTo>
                    <a:pt x="6418" y="5083"/>
                  </a:lnTo>
                  <a:cubicBezTo>
                    <a:pt x="6442" y="5059"/>
                    <a:pt x="6469" y="5047"/>
                    <a:pt x="6495" y="5047"/>
                  </a:cubicBezTo>
                  <a:close/>
                  <a:moveTo>
                    <a:pt x="4430" y="7857"/>
                  </a:moveTo>
                  <a:lnTo>
                    <a:pt x="5346" y="8786"/>
                  </a:lnTo>
                  <a:lnTo>
                    <a:pt x="5001" y="9119"/>
                  </a:lnTo>
                  <a:lnTo>
                    <a:pt x="4989" y="9119"/>
                  </a:lnTo>
                  <a:lnTo>
                    <a:pt x="4084" y="8202"/>
                  </a:lnTo>
                  <a:lnTo>
                    <a:pt x="4430" y="7857"/>
                  </a:lnTo>
                  <a:close/>
                  <a:moveTo>
                    <a:pt x="3846" y="8429"/>
                  </a:moveTo>
                  <a:lnTo>
                    <a:pt x="4323" y="8905"/>
                  </a:lnTo>
                  <a:lnTo>
                    <a:pt x="3906" y="9322"/>
                  </a:lnTo>
                  <a:cubicBezTo>
                    <a:pt x="3894" y="9334"/>
                    <a:pt x="3858" y="9357"/>
                    <a:pt x="3846" y="9357"/>
                  </a:cubicBezTo>
                  <a:cubicBezTo>
                    <a:pt x="3834" y="9357"/>
                    <a:pt x="3811" y="9357"/>
                    <a:pt x="3787" y="9322"/>
                  </a:cubicBezTo>
                  <a:lnTo>
                    <a:pt x="3358" y="8905"/>
                  </a:lnTo>
                  <a:cubicBezTo>
                    <a:pt x="3382" y="8893"/>
                    <a:pt x="3394" y="8881"/>
                    <a:pt x="3430" y="8845"/>
                  </a:cubicBezTo>
                  <a:lnTo>
                    <a:pt x="3846" y="8429"/>
                  </a:lnTo>
                  <a:close/>
                  <a:moveTo>
                    <a:pt x="11322" y="1"/>
                  </a:moveTo>
                  <a:cubicBezTo>
                    <a:pt x="11295" y="1"/>
                    <a:pt x="11267" y="4"/>
                    <a:pt x="11240" y="11"/>
                  </a:cubicBezTo>
                  <a:cubicBezTo>
                    <a:pt x="10514" y="213"/>
                    <a:pt x="8394" y="844"/>
                    <a:pt x="7704" y="1035"/>
                  </a:cubicBezTo>
                  <a:cubicBezTo>
                    <a:pt x="7668" y="1047"/>
                    <a:pt x="7656" y="1059"/>
                    <a:pt x="7621" y="1083"/>
                  </a:cubicBezTo>
                  <a:lnTo>
                    <a:pt x="5263" y="3440"/>
                  </a:lnTo>
                  <a:lnTo>
                    <a:pt x="4203" y="3535"/>
                  </a:lnTo>
                  <a:cubicBezTo>
                    <a:pt x="2703" y="3654"/>
                    <a:pt x="1286" y="4321"/>
                    <a:pt x="227" y="5381"/>
                  </a:cubicBezTo>
                  <a:cubicBezTo>
                    <a:pt x="1" y="5595"/>
                    <a:pt x="143" y="5988"/>
                    <a:pt x="465" y="6024"/>
                  </a:cubicBezTo>
                  <a:lnTo>
                    <a:pt x="2525" y="6190"/>
                  </a:lnTo>
                  <a:lnTo>
                    <a:pt x="2310" y="6405"/>
                  </a:lnTo>
                  <a:cubicBezTo>
                    <a:pt x="2179" y="6536"/>
                    <a:pt x="2179" y="6750"/>
                    <a:pt x="2310" y="6881"/>
                  </a:cubicBezTo>
                  <a:lnTo>
                    <a:pt x="2525" y="7083"/>
                  </a:lnTo>
                  <a:lnTo>
                    <a:pt x="2108" y="7500"/>
                  </a:lnTo>
                  <a:cubicBezTo>
                    <a:pt x="1941" y="7667"/>
                    <a:pt x="1941" y="7941"/>
                    <a:pt x="2108" y="8095"/>
                  </a:cubicBezTo>
                  <a:lnTo>
                    <a:pt x="3561" y="9560"/>
                  </a:lnTo>
                  <a:cubicBezTo>
                    <a:pt x="3644" y="9643"/>
                    <a:pt x="3751" y="9685"/>
                    <a:pt x="3858" y="9685"/>
                  </a:cubicBezTo>
                  <a:cubicBezTo>
                    <a:pt x="3965" y="9685"/>
                    <a:pt x="4073" y="9643"/>
                    <a:pt x="4156" y="9560"/>
                  </a:cubicBezTo>
                  <a:lnTo>
                    <a:pt x="4573" y="9143"/>
                  </a:lnTo>
                  <a:lnTo>
                    <a:pt x="4763" y="9334"/>
                  </a:lnTo>
                  <a:cubicBezTo>
                    <a:pt x="4835" y="9399"/>
                    <a:pt x="4924" y="9432"/>
                    <a:pt x="5015" y="9432"/>
                  </a:cubicBezTo>
                  <a:cubicBezTo>
                    <a:pt x="5105" y="9432"/>
                    <a:pt x="5198" y="9399"/>
                    <a:pt x="5275" y="9334"/>
                  </a:cubicBezTo>
                  <a:lnTo>
                    <a:pt x="5477" y="9131"/>
                  </a:lnTo>
                  <a:lnTo>
                    <a:pt x="5656" y="11179"/>
                  </a:lnTo>
                  <a:cubicBezTo>
                    <a:pt x="5680" y="11334"/>
                    <a:pt x="5763" y="11453"/>
                    <a:pt x="5894" y="11500"/>
                  </a:cubicBezTo>
                  <a:cubicBezTo>
                    <a:pt x="5935" y="11511"/>
                    <a:pt x="5975" y="11516"/>
                    <a:pt x="6015" y="11516"/>
                  </a:cubicBezTo>
                  <a:cubicBezTo>
                    <a:pt x="6115" y="11516"/>
                    <a:pt x="6210" y="11482"/>
                    <a:pt x="6287" y="11405"/>
                  </a:cubicBezTo>
                  <a:cubicBezTo>
                    <a:pt x="6942" y="10750"/>
                    <a:pt x="7430" y="9977"/>
                    <a:pt x="7763" y="9119"/>
                  </a:cubicBezTo>
                  <a:cubicBezTo>
                    <a:pt x="7787" y="9024"/>
                    <a:pt x="7740" y="8941"/>
                    <a:pt x="7656" y="8893"/>
                  </a:cubicBezTo>
                  <a:cubicBezTo>
                    <a:pt x="7635" y="8885"/>
                    <a:pt x="7614" y="8881"/>
                    <a:pt x="7594" y="8881"/>
                  </a:cubicBezTo>
                  <a:cubicBezTo>
                    <a:pt x="7525" y="8881"/>
                    <a:pt x="7467" y="8926"/>
                    <a:pt x="7430" y="9000"/>
                  </a:cubicBezTo>
                  <a:cubicBezTo>
                    <a:pt x="7132" y="9810"/>
                    <a:pt x="6656" y="10560"/>
                    <a:pt x="6037" y="11167"/>
                  </a:cubicBezTo>
                  <a:cubicBezTo>
                    <a:pt x="6027" y="11172"/>
                    <a:pt x="6015" y="11175"/>
                    <a:pt x="6005" y="11175"/>
                  </a:cubicBezTo>
                  <a:cubicBezTo>
                    <a:pt x="5990" y="11175"/>
                    <a:pt x="5978" y="11169"/>
                    <a:pt x="5978" y="11155"/>
                  </a:cubicBezTo>
                  <a:lnTo>
                    <a:pt x="5763" y="8822"/>
                  </a:lnTo>
                  <a:lnTo>
                    <a:pt x="7835" y="6750"/>
                  </a:lnTo>
                  <a:lnTo>
                    <a:pt x="7835" y="6750"/>
                  </a:lnTo>
                  <a:cubicBezTo>
                    <a:pt x="7763" y="7583"/>
                    <a:pt x="7740" y="7810"/>
                    <a:pt x="7656" y="8238"/>
                  </a:cubicBezTo>
                  <a:cubicBezTo>
                    <a:pt x="7644" y="8322"/>
                    <a:pt x="7680" y="8417"/>
                    <a:pt x="7787" y="8441"/>
                  </a:cubicBezTo>
                  <a:cubicBezTo>
                    <a:pt x="7803" y="8445"/>
                    <a:pt x="7819" y="8447"/>
                    <a:pt x="7834" y="8447"/>
                  </a:cubicBezTo>
                  <a:cubicBezTo>
                    <a:pt x="7909" y="8447"/>
                    <a:pt x="7972" y="8399"/>
                    <a:pt x="8002" y="8310"/>
                  </a:cubicBezTo>
                  <a:cubicBezTo>
                    <a:pt x="8121" y="7786"/>
                    <a:pt x="8121" y="7548"/>
                    <a:pt x="8216" y="6393"/>
                  </a:cubicBezTo>
                  <a:lnTo>
                    <a:pt x="10585" y="4023"/>
                  </a:lnTo>
                  <a:cubicBezTo>
                    <a:pt x="10597" y="4011"/>
                    <a:pt x="10621" y="3976"/>
                    <a:pt x="10633" y="3952"/>
                  </a:cubicBezTo>
                  <a:lnTo>
                    <a:pt x="11109" y="2345"/>
                  </a:lnTo>
                  <a:lnTo>
                    <a:pt x="11669" y="404"/>
                  </a:lnTo>
                  <a:cubicBezTo>
                    <a:pt x="11711" y="193"/>
                    <a:pt x="11529" y="1"/>
                    <a:pt x="11322" y="1"/>
                  </a:cubicBezTo>
                  <a:close/>
                </a:path>
              </a:pathLst>
            </a:custGeom>
            <a:grpFill/>
            <a:ln>
              <a:noFill/>
            </a:ln>
          </p:spPr>
          <p:txBody>
            <a:bodyPr spcFirstLastPara="1" wrap="square" lIns="91425" tIns="91425" rIns="91425" bIns="91425"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a:p>
          </p:txBody>
        </p:sp>
        <p:sp>
          <p:nvSpPr>
            <p:cNvPr id="392" name="Google Shape;1297;p52">
              <a:extLst>
                <a:ext uri="{FF2B5EF4-FFF2-40B4-BE49-F238E27FC236}">
                  <a16:creationId xmlns:a16="http://schemas.microsoft.com/office/drawing/2014/main" id="{A17FA77C-199D-4D3C-97F1-50C7B9857FA5}"/>
                </a:ext>
              </a:extLst>
            </p:cNvPr>
            <p:cNvSpPr/>
            <p:nvPr/>
          </p:nvSpPr>
          <p:spPr>
            <a:xfrm>
              <a:off x="1070396" y="2832057"/>
              <a:ext cx="90406" cy="69035"/>
            </a:xfrm>
            <a:custGeom>
              <a:avLst/>
              <a:gdLst/>
              <a:ahLst/>
              <a:cxnLst/>
              <a:rect l="l" t="t" r="r" b="b"/>
              <a:pathLst>
                <a:path w="2847" h="2174" extrusionOk="0">
                  <a:moveTo>
                    <a:pt x="1730" y="0"/>
                  </a:moveTo>
                  <a:cubicBezTo>
                    <a:pt x="1668" y="0"/>
                    <a:pt x="1610" y="44"/>
                    <a:pt x="1584" y="114"/>
                  </a:cubicBezTo>
                  <a:cubicBezTo>
                    <a:pt x="1537" y="197"/>
                    <a:pt x="1584" y="293"/>
                    <a:pt x="1668" y="328"/>
                  </a:cubicBezTo>
                  <a:cubicBezTo>
                    <a:pt x="2179" y="554"/>
                    <a:pt x="2299" y="1221"/>
                    <a:pt x="1906" y="1614"/>
                  </a:cubicBezTo>
                  <a:cubicBezTo>
                    <a:pt x="1751" y="1769"/>
                    <a:pt x="1551" y="1846"/>
                    <a:pt x="1350" y="1846"/>
                  </a:cubicBezTo>
                  <a:cubicBezTo>
                    <a:pt x="1150" y="1846"/>
                    <a:pt x="947" y="1769"/>
                    <a:pt x="786" y="1614"/>
                  </a:cubicBezTo>
                  <a:cubicBezTo>
                    <a:pt x="405" y="1221"/>
                    <a:pt x="525" y="566"/>
                    <a:pt x="1025" y="328"/>
                  </a:cubicBezTo>
                  <a:cubicBezTo>
                    <a:pt x="1120" y="293"/>
                    <a:pt x="1144" y="197"/>
                    <a:pt x="1120" y="114"/>
                  </a:cubicBezTo>
                  <a:cubicBezTo>
                    <a:pt x="1083" y="41"/>
                    <a:pt x="1019" y="10"/>
                    <a:pt x="954" y="10"/>
                  </a:cubicBezTo>
                  <a:cubicBezTo>
                    <a:pt x="934" y="10"/>
                    <a:pt x="913" y="13"/>
                    <a:pt x="894" y="19"/>
                  </a:cubicBezTo>
                  <a:cubicBezTo>
                    <a:pt x="179" y="352"/>
                    <a:pt x="1" y="1281"/>
                    <a:pt x="572" y="1852"/>
                  </a:cubicBezTo>
                  <a:cubicBezTo>
                    <a:pt x="786" y="2078"/>
                    <a:pt x="1072" y="2174"/>
                    <a:pt x="1370" y="2174"/>
                  </a:cubicBezTo>
                  <a:cubicBezTo>
                    <a:pt x="2334" y="2162"/>
                    <a:pt x="2846" y="947"/>
                    <a:pt x="2132" y="245"/>
                  </a:cubicBezTo>
                  <a:cubicBezTo>
                    <a:pt x="2037" y="150"/>
                    <a:pt x="1918" y="66"/>
                    <a:pt x="1798" y="19"/>
                  </a:cubicBezTo>
                  <a:cubicBezTo>
                    <a:pt x="1776" y="6"/>
                    <a:pt x="1753" y="0"/>
                    <a:pt x="1730" y="0"/>
                  </a:cubicBezTo>
                  <a:close/>
                </a:path>
              </a:pathLst>
            </a:custGeom>
            <a:grpFill/>
            <a:ln>
              <a:noFill/>
            </a:ln>
          </p:spPr>
          <p:txBody>
            <a:bodyPr spcFirstLastPara="1" wrap="square" lIns="91425" tIns="91425" rIns="91425" bIns="91425"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a:p>
          </p:txBody>
        </p:sp>
      </p:grpSp>
      <p:sp>
        <p:nvSpPr>
          <p:cNvPr id="246" name="Freeform 8">
            <a:extLst>
              <a:ext uri="{FF2B5EF4-FFF2-40B4-BE49-F238E27FC236}">
                <a16:creationId xmlns:a16="http://schemas.microsoft.com/office/drawing/2014/main" id="{C7DCE9C7-71E7-40CB-AE7B-87D4806DF5AF}"/>
              </a:ext>
            </a:extLst>
          </p:cNvPr>
          <p:cNvSpPr>
            <a:spLocks/>
          </p:cNvSpPr>
          <p:nvPr/>
        </p:nvSpPr>
        <p:spPr bwMode="auto">
          <a:xfrm>
            <a:off x="6358087" y="1499009"/>
            <a:ext cx="590636" cy="677200"/>
          </a:xfrm>
          <a:custGeom>
            <a:avLst/>
            <a:gdLst>
              <a:gd name="T0" fmla="*/ 370 w 370"/>
              <a:gd name="T1" fmla="*/ 184 h 424"/>
              <a:gd name="T2" fmla="*/ 185 w 370"/>
              <a:gd name="T3" fmla="*/ 0 h 424"/>
              <a:gd name="T4" fmla="*/ 0 w 370"/>
              <a:gd name="T5" fmla="*/ 184 h 424"/>
              <a:gd name="T6" fmla="*/ 152 w 370"/>
              <a:gd name="T7" fmla="*/ 366 h 424"/>
              <a:gd name="T8" fmla="*/ 185 w 370"/>
              <a:gd name="T9" fmla="*/ 424 h 424"/>
              <a:gd name="T10" fmla="*/ 218 w 370"/>
              <a:gd name="T11" fmla="*/ 366 h 424"/>
              <a:gd name="T12" fmla="*/ 370 w 370"/>
              <a:gd name="T13" fmla="*/ 184 h 424"/>
            </a:gdLst>
            <a:ahLst/>
            <a:cxnLst>
              <a:cxn ang="0">
                <a:pos x="T0" y="T1"/>
              </a:cxn>
              <a:cxn ang="0">
                <a:pos x="T2" y="T3"/>
              </a:cxn>
              <a:cxn ang="0">
                <a:pos x="T4" y="T5"/>
              </a:cxn>
              <a:cxn ang="0">
                <a:pos x="T6" y="T7"/>
              </a:cxn>
              <a:cxn ang="0">
                <a:pos x="T8" y="T9"/>
              </a:cxn>
              <a:cxn ang="0">
                <a:pos x="T10" y="T11"/>
              </a:cxn>
              <a:cxn ang="0">
                <a:pos x="T12" y="T13"/>
              </a:cxn>
            </a:cxnLst>
            <a:rect l="0" t="0" r="r" b="b"/>
            <a:pathLst>
              <a:path w="370" h="424">
                <a:moveTo>
                  <a:pt x="370" y="184"/>
                </a:moveTo>
                <a:cubicBezTo>
                  <a:pt x="370" y="82"/>
                  <a:pt x="287" y="0"/>
                  <a:pt x="185" y="0"/>
                </a:cubicBezTo>
                <a:cubicBezTo>
                  <a:pt x="83" y="0"/>
                  <a:pt x="0" y="82"/>
                  <a:pt x="0" y="184"/>
                </a:cubicBezTo>
                <a:cubicBezTo>
                  <a:pt x="0" y="275"/>
                  <a:pt x="66" y="350"/>
                  <a:pt x="152" y="366"/>
                </a:cubicBezTo>
                <a:cubicBezTo>
                  <a:pt x="185" y="424"/>
                  <a:pt x="185" y="424"/>
                  <a:pt x="185" y="424"/>
                </a:cubicBezTo>
                <a:cubicBezTo>
                  <a:pt x="218" y="366"/>
                  <a:pt x="218" y="366"/>
                  <a:pt x="218" y="366"/>
                </a:cubicBezTo>
                <a:cubicBezTo>
                  <a:pt x="304" y="350"/>
                  <a:pt x="370" y="275"/>
                  <a:pt x="370" y="184"/>
                </a:cubicBezTo>
                <a:close/>
              </a:path>
            </a:pathLst>
          </a:custGeom>
          <a:solidFill>
            <a:schemeClr val="accent4">
              <a:lumMod val="75000"/>
            </a:schemeClr>
          </a:solidFill>
          <a:ln>
            <a:solidFill>
              <a:srgbClr val="7030A0"/>
            </a:solid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sp>
        <p:nvSpPr>
          <p:cNvPr id="105" name="TextBox 104">
            <a:extLst>
              <a:ext uri="{FF2B5EF4-FFF2-40B4-BE49-F238E27FC236}">
                <a16:creationId xmlns:a16="http://schemas.microsoft.com/office/drawing/2014/main" id="{430F09F3-B6B7-4171-BEC1-DBA7662C2B36}"/>
              </a:ext>
            </a:extLst>
          </p:cNvPr>
          <p:cNvSpPr txBox="1"/>
          <p:nvPr/>
        </p:nvSpPr>
        <p:spPr>
          <a:xfrm>
            <a:off x="6294971" y="2399810"/>
            <a:ext cx="716868" cy="414729"/>
          </a:xfrm>
          <a:prstGeom prst="rect">
            <a:avLst/>
          </a:prstGeom>
          <a:noFill/>
        </p:spPr>
        <p:txBody>
          <a:bodyPr wrap="square" rtlCol="0">
            <a:spAutoFit/>
          </a:bodyPr>
          <a:lstStyle/>
          <a:p>
            <a:pPr algn="ctr">
              <a:lnSpc>
                <a:spcPts val="1320"/>
              </a:lnSpc>
            </a:pPr>
            <a:r>
              <a:rPr lang="es-ES" sz="1050" b="1" dirty="0">
                <a:solidFill>
                  <a:schemeClr val="bg1">
                    <a:lumMod val="50000"/>
                  </a:schemeClr>
                </a:solidFill>
                <a:latin typeface="Arial" panose="020B0604020202020204" pitchFamily="34" charset="0"/>
                <a:cs typeface="Arial" panose="020B0604020202020204" pitchFamily="34" charset="0"/>
              </a:rPr>
              <a:t>SEP</a:t>
            </a:r>
            <a:endParaRPr lang="en-US" sz="1050" b="1" dirty="0">
              <a:solidFill>
                <a:schemeClr val="bg1">
                  <a:lumMod val="50000"/>
                </a:schemeClr>
              </a:solidFill>
              <a:latin typeface="Arial" panose="020B0604020202020204" pitchFamily="34" charset="0"/>
              <a:cs typeface="Arial" panose="020B0604020202020204" pitchFamily="34" charset="0"/>
            </a:endParaRPr>
          </a:p>
          <a:p>
            <a:pPr algn="ctr">
              <a:lnSpc>
                <a:spcPts val="1320"/>
              </a:lnSpc>
            </a:pPr>
            <a:r>
              <a:rPr lang="en-US" sz="1050" b="1" dirty="0">
                <a:solidFill>
                  <a:schemeClr val="bg1">
                    <a:lumMod val="50000"/>
                  </a:schemeClr>
                </a:solidFill>
                <a:latin typeface="Arial" panose="020B0604020202020204" pitchFamily="34" charset="0"/>
                <a:cs typeface="Arial" panose="020B0604020202020204" pitchFamily="34" charset="0"/>
              </a:rPr>
              <a:t>2023</a:t>
            </a:r>
            <a:endParaRPr lang="en-GR" sz="1050" b="1" dirty="0">
              <a:solidFill>
                <a:schemeClr val="bg1">
                  <a:lumMod val="50000"/>
                </a:schemeClr>
              </a:solidFill>
              <a:latin typeface="Arial" panose="020B0604020202020204" pitchFamily="34" charset="0"/>
              <a:cs typeface="Arial" panose="020B0604020202020204" pitchFamily="34" charset="0"/>
            </a:endParaRPr>
          </a:p>
        </p:txBody>
      </p:sp>
      <p:sp>
        <p:nvSpPr>
          <p:cNvPr id="202" name="Rechteck 125">
            <a:extLst>
              <a:ext uri="{FF2B5EF4-FFF2-40B4-BE49-F238E27FC236}">
                <a16:creationId xmlns:a16="http://schemas.microsoft.com/office/drawing/2014/main" id="{2D9625B8-E389-4464-88BD-8DA59E3064CE}"/>
              </a:ext>
            </a:extLst>
          </p:cNvPr>
          <p:cNvSpPr/>
          <p:nvPr/>
        </p:nvSpPr>
        <p:spPr bwMode="gray">
          <a:xfrm>
            <a:off x="6065824" y="2917266"/>
            <a:ext cx="1175163" cy="407715"/>
          </a:xfrm>
          <a:prstGeom prst="rect">
            <a:avLst/>
          </a:prstGeom>
        </p:spPr>
        <p:style>
          <a:lnRef idx="0">
            <a:scrgbClr r="0" g="0" b="0"/>
          </a:lnRef>
          <a:fillRef idx="0">
            <a:scrgbClr r="0" g="0" b="0"/>
          </a:fillRef>
          <a:effectRef idx="0">
            <a:scrgbClr r="0" g="0" b="0"/>
          </a:effectRef>
          <a:fontRef idx="major"/>
        </p:style>
        <p:txBody>
          <a:bodyPr wrap="square" lIns="72000" tIns="46800" rIns="72000">
            <a:noAutofit/>
          </a:bodyPr>
          <a:lstStyle>
            <a:lvl1pPr>
              <a:defRPr>
                <a:latin typeface="+mj-lt"/>
                <a:ea typeface="+mj-ea"/>
                <a:cs typeface="+mj-cs"/>
              </a:defRPr>
            </a:lvl1pPr>
            <a:lvl2pPr>
              <a:defRPr>
                <a:latin typeface="+mj-lt"/>
                <a:ea typeface="+mj-ea"/>
                <a:cs typeface="+mj-cs"/>
              </a:defRPr>
            </a:lvl2pPr>
            <a:lvl3pPr>
              <a:defRPr>
                <a:latin typeface="+mj-lt"/>
                <a:ea typeface="+mj-ea"/>
                <a:cs typeface="+mj-cs"/>
              </a:defRPr>
            </a:lvl3pPr>
            <a:lvl4pPr>
              <a:defRPr>
                <a:latin typeface="+mj-lt"/>
                <a:ea typeface="+mj-ea"/>
                <a:cs typeface="+mj-cs"/>
              </a:defRPr>
            </a:lvl4pPr>
            <a:lvl5pPr>
              <a:defRPr>
                <a:latin typeface="+mj-lt"/>
                <a:ea typeface="+mj-ea"/>
                <a:cs typeface="+mj-cs"/>
              </a:defRPr>
            </a:lvl5pPr>
            <a:lvl6pPr>
              <a:defRPr>
                <a:latin typeface="+mj-lt"/>
                <a:ea typeface="+mj-ea"/>
                <a:cs typeface="+mj-cs"/>
              </a:defRPr>
            </a:lvl6pPr>
            <a:lvl7pPr>
              <a:defRPr>
                <a:latin typeface="+mj-lt"/>
                <a:ea typeface="+mj-ea"/>
                <a:cs typeface="+mj-cs"/>
              </a:defRPr>
            </a:lvl7pPr>
            <a:lvl8pPr>
              <a:defRPr>
                <a:latin typeface="+mj-lt"/>
                <a:ea typeface="+mj-ea"/>
                <a:cs typeface="+mj-cs"/>
              </a:defRPr>
            </a:lvl8pPr>
            <a:lvl9pPr>
              <a:defRPr>
                <a:latin typeface="+mj-lt"/>
                <a:ea typeface="+mj-ea"/>
                <a:cs typeface="+mj-cs"/>
              </a:defRPr>
            </a:lvl9pPr>
          </a:lstStyle>
          <a:p>
            <a:pPr algn="ctr" defTabSz="801608"/>
            <a:r>
              <a:rPr lang="en-US" sz="1000" b="1" dirty="0">
                <a:solidFill>
                  <a:srgbClr val="14438E"/>
                </a:solidFill>
                <a:latin typeface="Arial" panose="020B0604020202020204" pitchFamily="34" charset="0"/>
                <a:cs typeface="Arial" panose="020B0604020202020204" pitchFamily="34" charset="0"/>
              </a:rPr>
              <a:t>Extended WG meeting</a:t>
            </a:r>
          </a:p>
        </p:txBody>
      </p:sp>
      <p:sp>
        <p:nvSpPr>
          <p:cNvPr id="302" name="Oval 19">
            <a:extLst>
              <a:ext uri="{FF2B5EF4-FFF2-40B4-BE49-F238E27FC236}">
                <a16:creationId xmlns:a16="http://schemas.microsoft.com/office/drawing/2014/main" id="{BE6C9C56-8389-4E89-8F14-B555210A8EB1}"/>
              </a:ext>
            </a:extLst>
          </p:cNvPr>
          <p:cNvSpPr>
            <a:spLocks noChangeArrowheads="1"/>
          </p:cNvSpPr>
          <p:nvPr/>
        </p:nvSpPr>
        <p:spPr bwMode="auto">
          <a:xfrm rot="10800000">
            <a:off x="6594660" y="2275214"/>
            <a:ext cx="117491" cy="108805"/>
          </a:xfrm>
          <a:prstGeom prst="ellipse">
            <a:avLst/>
          </a:prstGeom>
          <a:noFill/>
          <a:ln w="53975" cap="flat">
            <a:solidFill>
              <a:srgbClr val="7030A0"/>
            </a:solidFill>
            <a:prstDash val="solid"/>
            <a:miter lim="800000"/>
            <a:headEnd/>
            <a:tailEnd/>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dirty="0">
              <a:ln>
                <a:noFill/>
              </a:ln>
              <a:solidFill>
                <a:prstClr val="black"/>
              </a:solidFill>
              <a:effectLst/>
              <a:uLnTx/>
              <a:uFillTx/>
            </a:endParaRPr>
          </a:p>
        </p:txBody>
      </p:sp>
      <p:grpSp>
        <p:nvGrpSpPr>
          <p:cNvPr id="44" name="Group 43">
            <a:extLst>
              <a:ext uri="{FF2B5EF4-FFF2-40B4-BE49-F238E27FC236}">
                <a16:creationId xmlns:a16="http://schemas.microsoft.com/office/drawing/2014/main" id="{B91733BB-B6F3-4878-8673-A7421A21B668}"/>
              </a:ext>
            </a:extLst>
          </p:cNvPr>
          <p:cNvGrpSpPr/>
          <p:nvPr/>
        </p:nvGrpSpPr>
        <p:grpSpPr>
          <a:xfrm>
            <a:off x="6446073" y="1596528"/>
            <a:ext cx="414664" cy="413999"/>
            <a:chOff x="-661706" y="2568465"/>
            <a:chExt cx="414664" cy="413999"/>
          </a:xfrm>
        </p:grpSpPr>
        <p:sp>
          <p:nvSpPr>
            <p:cNvPr id="393" name="Oval 21">
              <a:extLst>
                <a:ext uri="{FF2B5EF4-FFF2-40B4-BE49-F238E27FC236}">
                  <a16:creationId xmlns:a16="http://schemas.microsoft.com/office/drawing/2014/main" id="{BD4DEE5C-9C54-474B-9942-EA17B550498D}"/>
                </a:ext>
              </a:extLst>
            </p:cNvPr>
            <p:cNvSpPr>
              <a:spLocks noChangeAspect="1" noChangeArrowheads="1"/>
            </p:cNvSpPr>
            <p:nvPr/>
          </p:nvSpPr>
          <p:spPr bwMode="auto">
            <a:xfrm>
              <a:off x="-661706" y="2568465"/>
              <a:ext cx="414664" cy="413999"/>
            </a:xfrm>
            <a:prstGeom prst="ellipse">
              <a:avLst/>
            </a:prstGeom>
            <a:solidFill>
              <a:srgbClr val="E7E6E6"/>
            </a:solidFill>
            <a:ln>
              <a:noFill/>
            </a:ln>
            <a:effectLst>
              <a:outerShdw blurRad="127000" dist="63500" dir="2700000" algn="tl" rotWithShape="0">
                <a:prstClr val="black">
                  <a:alpha val="50000"/>
                </a:prstClr>
              </a:outerShdw>
            </a:effectLst>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900" b="0" i="0" u="none" strike="noStrike" kern="0" cap="none" spc="0" normalizeH="0" baseline="0" noProof="0">
                <a:ln>
                  <a:noFill/>
                </a:ln>
                <a:solidFill>
                  <a:prstClr val="black"/>
                </a:solidFill>
                <a:effectLst/>
                <a:uLnTx/>
                <a:uFillTx/>
              </a:endParaRPr>
            </a:p>
          </p:txBody>
        </p:sp>
        <p:grpSp>
          <p:nvGrpSpPr>
            <p:cNvPr id="394" name="Google Shape;2510;p54">
              <a:extLst>
                <a:ext uri="{FF2B5EF4-FFF2-40B4-BE49-F238E27FC236}">
                  <a16:creationId xmlns:a16="http://schemas.microsoft.com/office/drawing/2014/main" id="{B0315BEF-B41E-4099-A2BE-837D9F7780C7}"/>
                </a:ext>
              </a:extLst>
            </p:cNvPr>
            <p:cNvGrpSpPr/>
            <p:nvPr/>
          </p:nvGrpSpPr>
          <p:grpSpPr>
            <a:xfrm>
              <a:off x="-591125" y="2617626"/>
              <a:ext cx="261145" cy="308504"/>
              <a:chOff x="6707084" y="3387403"/>
              <a:chExt cx="261145" cy="308504"/>
            </a:xfrm>
            <a:solidFill>
              <a:srgbClr val="174489"/>
            </a:solidFill>
          </p:grpSpPr>
          <p:sp>
            <p:nvSpPr>
              <p:cNvPr id="395" name="Google Shape;2511;p54">
                <a:extLst>
                  <a:ext uri="{FF2B5EF4-FFF2-40B4-BE49-F238E27FC236}">
                    <a16:creationId xmlns:a16="http://schemas.microsoft.com/office/drawing/2014/main" id="{05C1452E-C709-401B-9513-0B0A8D3492AE}"/>
                  </a:ext>
                </a:extLst>
              </p:cNvPr>
              <p:cNvSpPr/>
              <p:nvPr/>
            </p:nvSpPr>
            <p:spPr>
              <a:xfrm>
                <a:off x="6726053" y="3542403"/>
                <a:ext cx="68238" cy="153504"/>
              </a:xfrm>
              <a:custGeom>
                <a:avLst/>
                <a:gdLst/>
                <a:ahLst/>
                <a:cxnLst/>
                <a:rect l="l" t="t" r="r" b="b"/>
                <a:pathLst>
                  <a:path w="2144" h="4823" extrusionOk="0">
                    <a:moveTo>
                      <a:pt x="1203" y="286"/>
                    </a:moveTo>
                    <a:cubicBezTo>
                      <a:pt x="1381" y="286"/>
                      <a:pt x="1524" y="417"/>
                      <a:pt x="1524" y="596"/>
                    </a:cubicBezTo>
                    <a:lnTo>
                      <a:pt x="1524" y="893"/>
                    </a:lnTo>
                    <a:cubicBezTo>
                      <a:pt x="1524" y="1143"/>
                      <a:pt x="1310" y="1358"/>
                      <a:pt x="1060" y="1358"/>
                    </a:cubicBezTo>
                    <a:cubicBezTo>
                      <a:pt x="810" y="1358"/>
                      <a:pt x="596" y="1143"/>
                      <a:pt x="596" y="893"/>
                    </a:cubicBezTo>
                    <a:lnTo>
                      <a:pt x="596" y="596"/>
                    </a:lnTo>
                    <a:cubicBezTo>
                      <a:pt x="596" y="417"/>
                      <a:pt x="726" y="286"/>
                      <a:pt x="905" y="286"/>
                    </a:cubicBezTo>
                    <a:close/>
                    <a:moveTo>
                      <a:pt x="1227" y="1643"/>
                    </a:moveTo>
                    <a:lnTo>
                      <a:pt x="1227" y="1715"/>
                    </a:lnTo>
                    <a:cubicBezTo>
                      <a:pt x="1227" y="1774"/>
                      <a:pt x="1238" y="1822"/>
                      <a:pt x="1262" y="1858"/>
                    </a:cubicBezTo>
                    <a:lnTo>
                      <a:pt x="1060" y="2036"/>
                    </a:lnTo>
                    <a:lnTo>
                      <a:pt x="846" y="1846"/>
                    </a:lnTo>
                    <a:cubicBezTo>
                      <a:pt x="881" y="1798"/>
                      <a:pt x="893" y="1762"/>
                      <a:pt x="893" y="1703"/>
                    </a:cubicBezTo>
                    <a:lnTo>
                      <a:pt x="893" y="1643"/>
                    </a:lnTo>
                    <a:close/>
                    <a:moveTo>
                      <a:pt x="1060" y="2036"/>
                    </a:moveTo>
                    <a:cubicBezTo>
                      <a:pt x="1060" y="2048"/>
                      <a:pt x="1057" y="2054"/>
                      <a:pt x="1055" y="2054"/>
                    </a:cubicBezTo>
                    <a:cubicBezTo>
                      <a:pt x="1054" y="2054"/>
                      <a:pt x="1054" y="2048"/>
                      <a:pt x="1060" y="2036"/>
                    </a:cubicBezTo>
                    <a:close/>
                    <a:moveTo>
                      <a:pt x="905" y="0"/>
                    </a:moveTo>
                    <a:cubicBezTo>
                      <a:pt x="584" y="0"/>
                      <a:pt x="310" y="274"/>
                      <a:pt x="310" y="596"/>
                    </a:cubicBezTo>
                    <a:lnTo>
                      <a:pt x="310" y="893"/>
                    </a:lnTo>
                    <a:cubicBezTo>
                      <a:pt x="310" y="1143"/>
                      <a:pt x="429" y="1358"/>
                      <a:pt x="607" y="1489"/>
                    </a:cubicBezTo>
                    <a:lnTo>
                      <a:pt x="607" y="1703"/>
                    </a:lnTo>
                    <a:lnTo>
                      <a:pt x="607" y="1715"/>
                    </a:lnTo>
                    <a:lnTo>
                      <a:pt x="250" y="1893"/>
                    </a:lnTo>
                    <a:cubicBezTo>
                      <a:pt x="107" y="1965"/>
                      <a:pt x="0" y="2120"/>
                      <a:pt x="0" y="2298"/>
                    </a:cubicBezTo>
                    <a:lnTo>
                      <a:pt x="0" y="3632"/>
                    </a:lnTo>
                    <a:cubicBezTo>
                      <a:pt x="0" y="3751"/>
                      <a:pt x="36" y="3870"/>
                      <a:pt x="107" y="3965"/>
                    </a:cubicBezTo>
                    <a:lnTo>
                      <a:pt x="250" y="4179"/>
                    </a:lnTo>
                    <a:cubicBezTo>
                      <a:pt x="286" y="4227"/>
                      <a:pt x="310" y="4298"/>
                      <a:pt x="310" y="4358"/>
                    </a:cubicBezTo>
                    <a:lnTo>
                      <a:pt x="310" y="4679"/>
                    </a:lnTo>
                    <a:cubicBezTo>
                      <a:pt x="310" y="4751"/>
                      <a:pt x="369" y="4822"/>
                      <a:pt x="465" y="4822"/>
                    </a:cubicBezTo>
                    <a:cubicBezTo>
                      <a:pt x="536" y="4822"/>
                      <a:pt x="607" y="4763"/>
                      <a:pt x="607" y="4679"/>
                    </a:cubicBezTo>
                    <a:lnTo>
                      <a:pt x="607" y="4358"/>
                    </a:lnTo>
                    <a:cubicBezTo>
                      <a:pt x="607" y="4239"/>
                      <a:pt x="584" y="4120"/>
                      <a:pt x="512" y="4036"/>
                    </a:cubicBezTo>
                    <a:lnTo>
                      <a:pt x="357" y="3810"/>
                    </a:lnTo>
                    <a:cubicBezTo>
                      <a:pt x="334" y="3763"/>
                      <a:pt x="298" y="3691"/>
                      <a:pt x="298" y="3632"/>
                    </a:cubicBezTo>
                    <a:lnTo>
                      <a:pt x="298" y="2298"/>
                    </a:lnTo>
                    <a:cubicBezTo>
                      <a:pt x="298" y="2239"/>
                      <a:pt x="334" y="2179"/>
                      <a:pt x="381" y="2143"/>
                    </a:cubicBezTo>
                    <a:lnTo>
                      <a:pt x="643" y="2024"/>
                    </a:lnTo>
                    <a:lnTo>
                      <a:pt x="857" y="2251"/>
                    </a:lnTo>
                    <a:cubicBezTo>
                      <a:pt x="929" y="2310"/>
                      <a:pt x="1000" y="2334"/>
                      <a:pt x="1072" y="2334"/>
                    </a:cubicBezTo>
                    <a:cubicBezTo>
                      <a:pt x="1143" y="2334"/>
                      <a:pt x="1227" y="2310"/>
                      <a:pt x="1286" y="2251"/>
                    </a:cubicBezTo>
                    <a:lnTo>
                      <a:pt x="1500" y="2024"/>
                    </a:lnTo>
                    <a:lnTo>
                      <a:pt x="1762" y="2143"/>
                    </a:lnTo>
                    <a:cubicBezTo>
                      <a:pt x="1822" y="2179"/>
                      <a:pt x="1846" y="2239"/>
                      <a:pt x="1846" y="2298"/>
                    </a:cubicBezTo>
                    <a:lnTo>
                      <a:pt x="1846" y="3632"/>
                    </a:lnTo>
                    <a:cubicBezTo>
                      <a:pt x="1846" y="3691"/>
                      <a:pt x="1834" y="3751"/>
                      <a:pt x="1786" y="3810"/>
                    </a:cubicBezTo>
                    <a:lnTo>
                      <a:pt x="1643" y="4036"/>
                    </a:lnTo>
                    <a:cubicBezTo>
                      <a:pt x="1572" y="4144"/>
                      <a:pt x="1536" y="4239"/>
                      <a:pt x="1536" y="4358"/>
                    </a:cubicBezTo>
                    <a:lnTo>
                      <a:pt x="1536" y="4679"/>
                    </a:lnTo>
                    <a:cubicBezTo>
                      <a:pt x="1536" y="4751"/>
                      <a:pt x="1596" y="4822"/>
                      <a:pt x="1679" y="4822"/>
                    </a:cubicBezTo>
                    <a:cubicBezTo>
                      <a:pt x="1750" y="4822"/>
                      <a:pt x="1834" y="4763"/>
                      <a:pt x="1834" y="4679"/>
                    </a:cubicBezTo>
                    <a:lnTo>
                      <a:pt x="1834" y="4358"/>
                    </a:lnTo>
                    <a:cubicBezTo>
                      <a:pt x="1834" y="4298"/>
                      <a:pt x="1846" y="4239"/>
                      <a:pt x="1893" y="4179"/>
                    </a:cubicBezTo>
                    <a:lnTo>
                      <a:pt x="2036" y="3965"/>
                    </a:lnTo>
                    <a:cubicBezTo>
                      <a:pt x="2096" y="3858"/>
                      <a:pt x="2143" y="3751"/>
                      <a:pt x="2143" y="3632"/>
                    </a:cubicBezTo>
                    <a:lnTo>
                      <a:pt x="2143" y="2298"/>
                    </a:lnTo>
                    <a:cubicBezTo>
                      <a:pt x="2096" y="2120"/>
                      <a:pt x="2012" y="1965"/>
                      <a:pt x="1858" y="1893"/>
                    </a:cubicBezTo>
                    <a:lnTo>
                      <a:pt x="1500" y="1715"/>
                    </a:lnTo>
                    <a:lnTo>
                      <a:pt x="1500" y="1703"/>
                    </a:lnTo>
                    <a:lnTo>
                      <a:pt x="1500" y="1489"/>
                    </a:lnTo>
                    <a:cubicBezTo>
                      <a:pt x="1679" y="1358"/>
                      <a:pt x="1798" y="1131"/>
                      <a:pt x="1798" y="893"/>
                    </a:cubicBezTo>
                    <a:lnTo>
                      <a:pt x="1798" y="596"/>
                    </a:lnTo>
                    <a:cubicBezTo>
                      <a:pt x="1798" y="274"/>
                      <a:pt x="1536" y="0"/>
                      <a:pt x="1203" y="0"/>
                    </a:cubicBezTo>
                    <a:close/>
                  </a:path>
                </a:pathLst>
              </a:custGeom>
              <a:grpFill/>
              <a:ln>
                <a:solidFill>
                  <a:schemeClr val="bg1">
                    <a:lumMod val="75000"/>
                  </a:schemeClr>
                </a:solidFill>
              </a:ln>
            </p:spPr>
            <p:txBody>
              <a:bodyPr spcFirstLastPara="1" wrap="square" lIns="91425" tIns="91425" rIns="91425" bIns="91425"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a:p>
            </p:txBody>
          </p:sp>
          <p:sp>
            <p:nvSpPr>
              <p:cNvPr id="396" name="Google Shape;2512;p54">
                <a:extLst>
                  <a:ext uri="{FF2B5EF4-FFF2-40B4-BE49-F238E27FC236}">
                    <a16:creationId xmlns:a16="http://schemas.microsoft.com/office/drawing/2014/main" id="{FF9FFF8B-5232-4BDF-ADFB-FBB15C04F5D2}"/>
                  </a:ext>
                </a:extLst>
              </p:cNvPr>
              <p:cNvSpPr/>
              <p:nvPr/>
            </p:nvSpPr>
            <p:spPr>
              <a:xfrm>
                <a:off x="6803362" y="3542403"/>
                <a:ext cx="68238" cy="153504"/>
              </a:xfrm>
              <a:custGeom>
                <a:avLst/>
                <a:gdLst/>
                <a:ahLst/>
                <a:cxnLst/>
                <a:rect l="l" t="t" r="r" b="b"/>
                <a:pathLst>
                  <a:path w="2144" h="4823" extrusionOk="0">
                    <a:moveTo>
                      <a:pt x="1203" y="286"/>
                    </a:moveTo>
                    <a:cubicBezTo>
                      <a:pt x="1381" y="286"/>
                      <a:pt x="1512" y="417"/>
                      <a:pt x="1512" y="596"/>
                    </a:cubicBezTo>
                    <a:lnTo>
                      <a:pt x="1512" y="893"/>
                    </a:lnTo>
                    <a:cubicBezTo>
                      <a:pt x="1512" y="1143"/>
                      <a:pt x="1310" y="1358"/>
                      <a:pt x="1060" y="1358"/>
                    </a:cubicBezTo>
                    <a:cubicBezTo>
                      <a:pt x="798" y="1358"/>
                      <a:pt x="595" y="1143"/>
                      <a:pt x="595" y="893"/>
                    </a:cubicBezTo>
                    <a:lnTo>
                      <a:pt x="595" y="596"/>
                    </a:lnTo>
                    <a:cubicBezTo>
                      <a:pt x="595" y="417"/>
                      <a:pt x="726" y="286"/>
                      <a:pt x="905" y="286"/>
                    </a:cubicBezTo>
                    <a:close/>
                    <a:moveTo>
                      <a:pt x="1215" y="1643"/>
                    </a:moveTo>
                    <a:lnTo>
                      <a:pt x="1215" y="1715"/>
                    </a:lnTo>
                    <a:cubicBezTo>
                      <a:pt x="1215" y="1774"/>
                      <a:pt x="1226" y="1822"/>
                      <a:pt x="1262" y="1858"/>
                    </a:cubicBezTo>
                    <a:lnTo>
                      <a:pt x="1060" y="2036"/>
                    </a:lnTo>
                    <a:lnTo>
                      <a:pt x="845" y="1846"/>
                    </a:lnTo>
                    <a:cubicBezTo>
                      <a:pt x="881" y="1798"/>
                      <a:pt x="893" y="1762"/>
                      <a:pt x="893" y="1703"/>
                    </a:cubicBezTo>
                    <a:lnTo>
                      <a:pt x="893" y="1643"/>
                    </a:lnTo>
                    <a:close/>
                    <a:moveTo>
                      <a:pt x="1060" y="2036"/>
                    </a:moveTo>
                    <a:cubicBezTo>
                      <a:pt x="1060" y="2048"/>
                      <a:pt x="1054" y="2054"/>
                      <a:pt x="1051" y="2054"/>
                    </a:cubicBezTo>
                    <a:cubicBezTo>
                      <a:pt x="1048" y="2054"/>
                      <a:pt x="1048" y="2048"/>
                      <a:pt x="1060" y="2036"/>
                    </a:cubicBezTo>
                    <a:close/>
                    <a:moveTo>
                      <a:pt x="905" y="0"/>
                    </a:moveTo>
                    <a:cubicBezTo>
                      <a:pt x="583" y="0"/>
                      <a:pt x="310" y="274"/>
                      <a:pt x="310" y="596"/>
                    </a:cubicBezTo>
                    <a:lnTo>
                      <a:pt x="310" y="893"/>
                    </a:lnTo>
                    <a:cubicBezTo>
                      <a:pt x="310" y="1143"/>
                      <a:pt x="429" y="1358"/>
                      <a:pt x="607" y="1489"/>
                    </a:cubicBezTo>
                    <a:lnTo>
                      <a:pt x="607" y="1703"/>
                    </a:lnTo>
                    <a:lnTo>
                      <a:pt x="607" y="1715"/>
                    </a:lnTo>
                    <a:lnTo>
                      <a:pt x="250" y="1893"/>
                    </a:lnTo>
                    <a:cubicBezTo>
                      <a:pt x="107" y="1965"/>
                      <a:pt x="0" y="2120"/>
                      <a:pt x="0" y="2298"/>
                    </a:cubicBezTo>
                    <a:lnTo>
                      <a:pt x="0" y="3632"/>
                    </a:lnTo>
                    <a:cubicBezTo>
                      <a:pt x="0" y="3751"/>
                      <a:pt x="24" y="3870"/>
                      <a:pt x="107" y="3965"/>
                    </a:cubicBezTo>
                    <a:lnTo>
                      <a:pt x="250" y="4179"/>
                    </a:lnTo>
                    <a:cubicBezTo>
                      <a:pt x="286" y="4227"/>
                      <a:pt x="310" y="4298"/>
                      <a:pt x="310" y="4358"/>
                    </a:cubicBezTo>
                    <a:lnTo>
                      <a:pt x="310" y="4679"/>
                    </a:lnTo>
                    <a:cubicBezTo>
                      <a:pt x="310" y="4751"/>
                      <a:pt x="369" y="4822"/>
                      <a:pt x="464" y="4822"/>
                    </a:cubicBezTo>
                    <a:cubicBezTo>
                      <a:pt x="548" y="4822"/>
                      <a:pt x="607" y="4763"/>
                      <a:pt x="607" y="4679"/>
                    </a:cubicBezTo>
                    <a:lnTo>
                      <a:pt x="607" y="4358"/>
                    </a:lnTo>
                    <a:cubicBezTo>
                      <a:pt x="607" y="4239"/>
                      <a:pt x="583" y="4120"/>
                      <a:pt x="500" y="4036"/>
                    </a:cubicBezTo>
                    <a:lnTo>
                      <a:pt x="357" y="3810"/>
                    </a:lnTo>
                    <a:cubicBezTo>
                      <a:pt x="322" y="3763"/>
                      <a:pt x="298" y="3691"/>
                      <a:pt x="298" y="3632"/>
                    </a:cubicBezTo>
                    <a:lnTo>
                      <a:pt x="298" y="2298"/>
                    </a:lnTo>
                    <a:cubicBezTo>
                      <a:pt x="298" y="2239"/>
                      <a:pt x="322" y="2179"/>
                      <a:pt x="381" y="2143"/>
                    </a:cubicBezTo>
                    <a:lnTo>
                      <a:pt x="631" y="2024"/>
                    </a:lnTo>
                    <a:lnTo>
                      <a:pt x="857" y="2251"/>
                    </a:lnTo>
                    <a:cubicBezTo>
                      <a:pt x="917" y="2310"/>
                      <a:pt x="1000" y="2334"/>
                      <a:pt x="1072" y="2334"/>
                    </a:cubicBezTo>
                    <a:cubicBezTo>
                      <a:pt x="1143" y="2334"/>
                      <a:pt x="1215" y="2310"/>
                      <a:pt x="1274" y="2251"/>
                    </a:cubicBezTo>
                    <a:lnTo>
                      <a:pt x="1500" y="2024"/>
                    </a:lnTo>
                    <a:lnTo>
                      <a:pt x="1750" y="2143"/>
                    </a:lnTo>
                    <a:cubicBezTo>
                      <a:pt x="1810" y="2179"/>
                      <a:pt x="1846" y="2239"/>
                      <a:pt x="1846" y="2298"/>
                    </a:cubicBezTo>
                    <a:lnTo>
                      <a:pt x="1846" y="3632"/>
                    </a:lnTo>
                    <a:cubicBezTo>
                      <a:pt x="1846" y="3691"/>
                      <a:pt x="1834" y="3751"/>
                      <a:pt x="1786" y="3810"/>
                    </a:cubicBezTo>
                    <a:lnTo>
                      <a:pt x="1631" y="4036"/>
                    </a:lnTo>
                    <a:cubicBezTo>
                      <a:pt x="1572" y="4144"/>
                      <a:pt x="1524" y="4239"/>
                      <a:pt x="1524" y="4358"/>
                    </a:cubicBezTo>
                    <a:lnTo>
                      <a:pt x="1524" y="4679"/>
                    </a:lnTo>
                    <a:cubicBezTo>
                      <a:pt x="1524" y="4751"/>
                      <a:pt x="1596" y="4822"/>
                      <a:pt x="1679" y="4822"/>
                    </a:cubicBezTo>
                    <a:cubicBezTo>
                      <a:pt x="1750" y="4822"/>
                      <a:pt x="1822" y="4763"/>
                      <a:pt x="1822" y="4679"/>
                    </a:cubicBezTo>
                    <a:lnTo>
                      <a:pt x="1822" y="4358"/>
                    </a:lnTo>
                    <a:cubicBezTo>
                      <a:pt x="1822" y="4298"/>
                      <a:pt x="1846" y="4239"/>
                      <a:pt x="1893" y="4179"/>
                    </a:cubicBezTo>
                    <a:lnTo>
                      <a:pt x="2036" y="3965"/>
                    </a:lnTo>
                    <a:cubicBezTo>
                      <a:pt x="2096" y="3858"/>
                      <a:pt x="2143" y="3751"/>
                      <a:pt x="2143" y="3632"/>
                    </a:cubicBezTo>
                    <a:lnTo>
                      <a:pt x="2143" y="2298"/>
                    </a:lnTo>
                    <a:cubicBezTo>
                      <a:pt x="2096" y="2120"/>
                      <a:pt x="2012" y="1965"/>
                      <a:pt x="1857" y="1893"/>
                    </a:cubicBezTo>
                    <a:lnTo>
                      <a:pt x="1500" y="1715"/>
                    </a:lnTo>
                    <a:lnTo>
                      <a:pt x="1500" y="1703"/>
                    </a:lnTo>
                    <a:lnTo>
                      <a:pt x="1500" y="1489"/>
                    </a:lnTo>
                    <a:cubicBezTo>
                      <a:pt x="1679" y="1358"/>
                      <a:pt x="1798" y="1131"/>
                      <a:pt x="1798" y="893"/>
                    </a:cubicBezTo>
                    <a:lnTo>
                      <a:pt x="1798" y="596"/>
                    </a:lnTo>
                    <a:cubicBezTo>
                      <a:pt x="1798" y="274"/>
                      <a:pt x="1536" y="0"/>
                      <a:pt x="1203" y="0"/>
                    </a:cubicBezTo>
                    <a:close/>
                  </a:path>
                </a:pathLst>
              </a:custGeom>
              <a:grpFill/>
              <a:ln>
                <a:solidFill>
                  <a:schemeClr val="bg1">
                    <a:lumMod val="75000"/>
                  </a:schemeClr>
                </a:solidFill>
              </a:ln>
            </p:spPr>
            <p:txBody>
              <a:bodyPr spcFirstLastPara="1" wrap="square" lIns="91425" tIns="91425" rIns="91425" bIns="91425"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a:p>
            </p:txBody>
          </p:sp>
          <p:sp>
            <p:nvSpPr>
              <p:cNvPr id="397" name="Google Shape;2513;p54">
                <a:extLst>
                  <a:ext uri="{FF2B5EF4-FFF2-40B4-BE49-F238E27FC236}">
                    <a16:creationId xmlns:a16="http://schemas.microsoft.com/office/drawing/2014/main" id="{DCBDA690-26DF-4D6E-971B-44BFDC2DBF1A}"/>
                  </a:ext>
                </a:extLst>
              </p:cNvPr>
              <p:cNvSpPr/>
              <p:nvPr/>
            </p:nvSpPr>
            <p:spPr>
              <a:xfrm>
                <a:off x="6880289" y="3542403"/>
                <a:ext cx="68620" cy="153504"/>
              </a:xfrm>
              <a:custGeom>
                <a:avLst/>
                <a:gdLst/>
                <a:ahLst/>
                <a:cxnLst/>
                <a:rect l="l" t="t" r="r" b="b"/>
                <a:pathLst>
                  <a:path w="2156" h="4823" extrusionOk="0">
                    <a:moveTo>
                      <a:pt x="1214" y="286"/>
                    </a:moveTo>
                    <a:cubicBezTo>
                      <a:pt x="1393" y="286"/>
                      <a:pt x="1524" y="417"/>
                      <a:pt x="1524" y="596"/>
                    </a:cubicBezTo>
                    <a:lnTo>
                      <a:pt x="1524" y="893"/>
                    </a:lnTo>
                    <a:cubicBezTo>
                      <a:pt x="1524" y="1143"/>
                      <a:pt x="1322" y="1358"/>
                      <a:pt x="1060" y="1358"/>
                    </a:cubicBezTo>
                    <a:cubicBezTo>
                      <a:pt x="810" y="1358"/>
                      <a:pt x="607" y="1143"/>
                      <a:pt x="607" y="893"/>
                    </a:cubicBezTo>
                    <a:lnTo>
                      <a:pt x="607" y="596"/>
                    </a:lnTo>
                    <a:cubicBezTo>
                      <a:pt x="607" y="417"/>
                      <a:pt x="738" y="286"/>
                      <a:pt x="917" y="286"/>
                    </a:cubicBezTo>
                    <a:close/>
                    <a:moveTo>
                      <a:pt x="1226" y="1643"/>
                    </a:moveTo>
                    <a:lnTo>
                      <a:pt x="1226" y="1715"/>
                    </a:lnTo>
                    <a:cubicBezTo>
                      <a:pt x="1226" y="1774"/>
                      <a:pt x="1238" y="1822"/>
                      <a:pt x="1274" y="1858"/>
                    </a:cubicBezTo>
                    <a:lnTo>
                      <a:pt x="1060" y="2036"/>
                    </a:lnTo>
                    <a:lnTo>
                      <a:pt x="857" y="1846"/>
                    </a:lnTo>
                    <a:cubicBezTo>
                      <a:pt x="881" y="1798"/>
                      <a:pt x="893" y="1762"/>
                      <a:pt x="893" y="1703"/>
                    </a:cubicBezTo>
                    <a:lnTo>
                      <a:pt x="893" y="1643"/>
                    </a:lnTo>
                    <a:close/>
                    <a:moveTo>
                      <a:pt x="917" y="0"/>
                    </a:moveTo>
                    <a:cubicBezTo>
                      <a:pt x="583" y="0"/>
                      <a:pt x="322" y="274"/>
                      <a:pt x="322" y="596"/>
                    </a:cubicBezTo>
                    <a:lnTo>
                      <a:pt x="322" y="893"/>
                    </a:lnTo>
                    <a:cubicBezTo>
                      <a:pt x="322" y="1143"/>
                      <a:pt x="441" y="1358"/>
                      <a:pt x="619" y="1489"/>
                    </a:cubicBezTo>
                    <a:lnTo>
                      <a:pt x="619" y="1703"/>
                    </a:lnTo>
                    <a:lnTo>
                      <a:pt x="619" y="1715"/>
                    </a:lnTo>
                    <a:lnTo>
                      <a:pt x="262" y="1893"/>
                    </a:lnTo>
                    <a:cubicBezTo>
                      <a:pt x="107" y="1965"/>
                      <a:pt x="0" y="2120"/>
                      <a:pt x="0" y="2298"/>
                    </a:cubicBezTo>
                    <a:lnTo>
                      <a:pt x="0" y="3632"/>
                    </a:lnTo>
                    <a:cubicBezTo>
                      <a:pt x="0" y="3751"/>
                      <a:pt x="36" y="3870"/>
                      <a:pt x="107" y="3965"/>
                    </a:cubicBezTo>
                    <a:lnTo>
                      <a:pt x="262" y="4179"/>
                    </a:lnTo>
                    <a:cubicBezTo>
                      <a:pt x="286" y="4227"/>
                      <a:pt x="322" y="4298"/>
                      <a:pt x="322" y="4358"/>
                    </a:cubicBezTo>
                    <a:lnTo>
                      <a:pt x="322" y="4679"/>
                    </a:lnTo>
                    <a:cubicBezTo>
                      <a:pt x="322" y="4751"/>
                      <a:pt x="381" y="4822"/>
                      <a:pt x="464" y="4822"/>
                    </a:cubicBezTo>
                    <a:cubicBezTo>
                      <a:pt x="548" y="4822"/>
                      <a:pt x="619" y="4763"/>
                      <a:pt x="619" y="4679"/>
                    </a:cubicBezTo>
                    <a:lnTo>
                      <a:pt x="619" y="4358"/>
                    </a:lnTo>
                    <a:cubicBezTo>
                      <a:pt x="619" y="4239"/>
                      <a:pt x="583" y="4120"/>
                      <a:pt x="512" y="4036"/>
                    </a:cubicBezTo>
                    <a:lnTo>
                      <a:pt x="369" y="3810"/>
                    </a:lnTo>
                    <a:cubicBezTo>
                      <a:pt x="333" y="3763"/>
                      <a:pt x="298" y="3691"/>
                      <a:pt x="298" y="3632"/>
                    </a:cubicBezTo>
                    <a:lnTo>
                      <a:pt x="298" y="2298"/>
                    </a:lnTo>
                    <a:cubicBezTo>
                      <a:pt x="298" y="2239"/>
                      <a:pt x="333" y="2179"/>
                      <a:pt x="393" y="2143"/>
                    </a:cubicBezTo>
                    <a:lnTo>
                      <a:pt x="643" y="2024"/>
                    </a:lnTo>
                    <a:lnTo>
                      <a:pt x="869" y="2251"/>
                    </a:lnTo>
                    <a:cubicBezTo>
                      <a:pt x="929" y="2310"/>
                      <a:pt x="1000" y="2334"/>
                      <a:pt x="1072" y="2334"/>
                    </a:cubicBezTo>
                    <a:cubicBezTo>
                      <a:pt x="1155" y="2334"/>
                      <a:pt x="1226" y="2310"/>
                      <a:pt x="1286" y="2251"/>
                    </a:cubicBezTo>
                    <a:lnTo>
                      <a:pt x="1512" y="2024"/>
                    </a:lnTo>
                    <a:lnTo>
                      <a:pt x="1762" y="2143"/>
                    </a:lnTo>
                    <a:cubicBezTo>
                      <a:pt x="1822" y="2179"/>
                      <a:pt x="1857" y="2239"/>
                      <a:pt x="1857" y="2298"/>
                    </a:cubicBezTo>
                    <a:lnTo>
                      <a:pt x="1857" y="3632"/>
                    </a:lnTo>
                    <a:cubicBezTo>
                      <a:pt x="1857" y="3691"/>
                      <a:pt x="1834" y="3751"/>
                      <a:pt x="1786" y="3810"/>
                    </a:cubicBezTo>
                    <a:lnTo>
                      <a:pt x="1643" y="4036"/>
                    </a:lnTo>
                    <a:cubicBezTo>
                      <a:pt x="1584" y="4144"/>
                      <a:pt x="1536" y="4239"/>
                      <a:pt x="1536" y="4358"/>
                    </a:cubicBezTo>
                    <a:lnTo>
                      <a:pt x="1536" y="4679"/>
                    </a:lnTo>
                    <a:cubicBezTo>
                      <a:pt x="1536" y="4751"/>
                      <a:pt x="1595" y="4822"/>
                      <a:pt x="1691" y="4822"/>
                    </a:cubicBezTo>
                    <a:cubicBezTo>
                      <a:pt x="1762" y="4822"/>
                      <a:pt x="1834" y="4763"/>
                      <a:pt x="1834" y="4679"/>
                    </a:cubicBezTo>
                    <a:lnTo>
                      <a:pt x="1834" y="4358"/>
                    </a:lnTo>
                    <a:cubicBezTo>
                      <a:pt x="1834" y="4298"/>
                      <a:pt x="1846" y="4239"/>
                      <a:pt x="1893" y="4179"/>
                    </a:cubicBezTo>
                    <a:lnTo>
                      <a:pt x="2048" y="3965"/>
                    </a:lnTo>
                    <a:cubicBezTo>
                      <a:pt x="2107" y="3858"/>
                      <a:pt x="2155" y="3751"/>
                      <a:pt x="2155" y="3632"/>
                    </a:cubicBezTo>
                    <a:lnTo>
                      <a:pt x="2155" y="2298"/>
                    </a:lnTo>
                    <a:cubicBezTo>
                      <a:pt x="2107" y="2120"/>
                      <a:pt x="2012" y="1965"/>
                      <a:pt x="1869" y="1893"/>
                    </a:cubicBezTo>
                    <a:lnTo>
                      <a:pt x="1512" y="1715"/>
                    </a:lnTo>
                    <a:lnTo>
                      <a:pt x="1512" y="1703"/>
                    </a:lnTo>
                    <a:lnTo>
                      <a:pt x="1512" y="1489"/>
                    </a:lnTo>
                    <a:cubicBezTo>
                      <a:pt x="1691" y="1358"/>
                      <a:pt x="1810" y="1131"/>
                      <a:pt x="1810" y="893"/>
                    </a:cubicBezTo>
                    <a:lnTo>
                      <a:pt x="1810" y="596"/>
                    </a:lnTo>
                    <a:cubicBezTo>
                      <a:pt x="1810" y="274"/>
                      <a:pt x="1536" y="0"/>
                      <a:pt x="1214" y="0"/>
                    </a:cubicBezTo>
                    <a:close/>
                  </a:path>
                </a:pathLst>
              </a:custGeom>
              <a:grpFill/>
              <a:ln>
                <a:solidFill>
                  <a:schemeClr val="bg1">
                    <a:lumMod val="75000"/>
                  </a:schemeClr>
                </a:solidFill>
              </a:ln>
            </p:spPr>
            <p:txBody>
              <a:bodyPr spcFirstLastPara="1" wrap="square" lIns="91425" tIns="91425" rIns="91425" bIns="91425"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a:p>
            </p:txBody>
          </p:sp>
          <p:sp>
            <p:nvSpPr>
              <p:cNvPr id="398" name="Google Shape;2514;p54">
                <a:extLst>
                  <a:ext uri="{FF2B5EF4-FFF2-40B4-BE49-F238E27FC236}">
                    <a16:creationId xmlns:a16="http://schemas.microsoft.com/office/drawing/2014/main" id="{17613151-0883-47A8-A590-D93B3A1E6CF5}"/>
                  </a:ext>
                </a:extLst>
              </p:cNvPr>
              <p:cNvSpPr/>
              <p:nvPr/>
            </p:nvSpPr>
            <p:spPr>
              <a:xfrm>
                <a:off x="6707084" y="3387403"/>
                <a:ext cx="261145" cy="183072"/>
              </a:xfrm>
              <a:custGeom>
                <a:avLst/>
                <a:gdLst/>
                <a:ahLst/>
                <a:cxnLst/>
                <a:rect l="l" t="t" r="r" b="b"/>
                <a:pathLst>
                  <a:path w="8205" h="5752" extrusionOk="0">
                    <a:moveTo>
                      <a:pt x="2727" y="536"/>
                    </a:moveTo>
                    <a:cubicBezTo>
                      <a:pt x="2501" y="715"/>
                      <a:pt x="2311" y="953"/>
                      <a:pt x="2132" y="1227"/>
                    </a:cubicBezTo>
                    <a:cubicBezTo>
                      <a:pt x="2013" y="1417"/>
                      <a:pt x="1906" y="1608"/>
                      <a:pt x="1799" y="1822"/>
                    </a:cubicBezTo>
                    <a:lnTo>
                      <a:pt x="1013" y="1822"/>
                    </a:lnTo>
                    <a:cubicBezTo>
                      <a:pt x="1465" y="1239"/>
                      <a:pt x="2037" y="798"/>
                      <a:pt x="2727" y="536"/>
                    </a:cubicBezTo>
                    <a:close/>
                    <a:moveTo>
                      <a:pt x="3930" y="286"/>
                    </a:moveTo>
                    <a:lnTo>
                      <a:pt x="3930" y="1822"/>
                    </a:lnTo>
                    <a:lnTo>
                      <a:pt x="2120" y="1822"/>
                    </a:lnTo>
                    <a:cubicBezTo>
                      <a:pt x="2537" y="941"/>
                      <a:pt x="3192" y="358"/>
                      <a:pt x="3930" y="286"/>
                    </a:cubicBezTo>
                    <a:close/>
                    <a:moveTo>
                      <a:pt x="4216" y="286"/>
                    </a:moveTo>
                    <a:cubicBezTo>
                      <a:pt x="4954" y="346"/>
                      <a:pt x="5609" y="941"/>
                      <a:pt x="6025" y="1822"/>
                    </a:cubicBezTo>
                    <a:lnTo>
                      <a:pt x="4216" y="1822"/>
                    </a:lnTo>
                    <a:lnTo>
                      <a:pt x="4216" y="286"/>
                    </a:lnTo>
                    <a:close/>
                    <a:moveTo>
                      <a:pt x="5418" y="536"/>
                    </a:moveTo>
                    <a:cubicBezTo>
                      <a:pt x="6109" y="798"/>
                      <a:pt x="6704" y="1239"/>
                      <a:pt x="7133" y="1822"/>
                    </a:cubicBezTo>
                    <a:lnTo>
                      <a:pt x="6347" y="1822"/>
                    </a:lnTo>
                    <a:cubicBezTo>
                      <a:pt x="6252" y="1608"/>
                      <a:pt x="6133" y="1406"/>
                      <a:pt x="6014" y="1227"/>
                    </a:cubicBezTo>
                    <a:cubicBezTo>
                      <a:pt x="5835" y="953"/>
                      <a:pt x="5644" y="715"/>
                      <a:pt x="5418" y="536"/>
                    </a:cubicBezTo>
                    <a:close/>
                    <a:moveTo>
                      <a:pt x="1680" y="2108"/>
                    </a:moveTo>
                    <a:cubicBezTo>
                      <a:pt x="1489" y="2668"/>
                      <a:pt x="1370" y="3299"/>
                      <a:pt x="1358" y="3953"/>
                    </a:cubicBezTo>
                    <a:lnTo>
                      <a:pt x="275" y="3953"/>
                    </a:lnTo>
                    <a:cubicBezTo>
                      <a:pt x="299" y="3275"/>
                      <a:pt x="489" y="2656"/>
                      <a:pt x="822" y="2108"/>
                    </a:cubicBezTo>
                    <a:close/>
                    <a:moveTo>
                      <a:pt x="3930" y="2108"/>
                    </a:moveTo>
                    <a:lnTo>
                      <a:pt x="3930" y="3953"/>
                    </a:lnTo>
                    <a:lnTo>
                      <a:pt x="1644" y="3953"/>
                    </a:lnTo>
                    <a:cubicBezTo>
                      <a:pt x="1656" y="3275"/>
                      <a:pt x="1787" y="2656"/>
                      <a:pt x="2001" y="2108"/>
                    </a:cubicBezTo>
                    <a:close/>
                    <a:moveTo>
                      <a:pt x="6145" y="2108"/>
                    </a:moveTo>
                    <a:cubicBezTo>
                      <a:pt x="6359" y="2644"/>
                      <a:pt x="6490" y="3263"/>
                      <a:pt x="6502" y="3953"/>
                    </a:cubicBezTo>
                    <a:lnTo>
                      <a:pt x="4216" y="3953"/>
                    </a:lnTo>
                    <a:lnTo>
                      <a:pt x="4216" y="2108"/>
                    </a:lnTo>
                    <a:close/>
                    <a:moveTo>
                      <a:pt x="7311" y="2108"/>
                    </a:moveTo>
                    <a:cubicBezTo>
                      <a:pt x="7633" y="2644"/>
                      <a:pt x="7847" y="3263"/>
                      <a:pt x="7859" y="3953"/>
                    </a:cubicBezTo>
                    <a:lnTo>
                      <a:pt x="6787" y="3953"/>
                    </a:lnTo>
                    <a:cubicBezTo>
                      <a:pt x="6776" y="3299"/>
                      <a:pt x="6656" y="2668"/>
                      <a:pt x="6442" y="2108"/>
                    </a:cubicBezTo>
                    <a:close/>
                    <a:moveTo>
                      <a:pt x="4085" y="1"/>
                    </a:moveTo>
                    <a:cubicBezTo>
                      <a:pt x="2989" y="1"/>
                      <a:pt x="1965" y="429"/>
                      <a:pt x="1192" y="1191"/>
                    </a:cubicBezTo>
                    <a:cubicBezTo>
                      <a:pt x="418" y="1953"/>
                      <a:pt x="1" y="3001"/>
                      <a:pt x="1" y="4084"/>
                    </a:cubicBezTo>
                    <a:cubicBezTo>
                      <a:pt x="1" y="4632"/>
                      <a:pt x="108" y="5156"/>
                      <a:pt x="310" y="5656"/>
                    </a:cubicBezTo>
                    <a:cubicBezTo>
                      <a:pt x="337" y="5719"/>
                      <a:pt x="392" y="5748"/>
                      <a:pt x="443" y="5748"/>
                    </a:cubicBezTo>
                    <a:cubicBezTo>
                      <a:pt x="459" y="5748"/>
                      <a:pt x="475" y="5745"/>
                      <a:pt x="489" y="5739"/>
                    </a:cubicBezTo>
                    <a:cubicBezTo>
                      <a:pt x="560" y="5704"/>
                      <a:pt x="596" y="5620"/>
                      <a:pt x="560" y="5549"/>
                    </a:cubicBezTo>
                    <a:cubicBezTo>
                      <a:pt x="382" y="5144"/>
                      <a:pt x="299" y="4692"/>
                      <a:pt x="287" y="4227"/>
                    </a:cubicBezTo>
                    <a:lnTo>
                      <a:pt x="1370" y="4227"/>
                    </a:lnTo>
                    <a:lnTo>
                      <a:pt x="1370" y="4394"/>
                    </a:lnTo>
                    <a:cubicBezTo>
                      <a:pt x="1370" y="4465"/>
                      <a:pt x="1442" y="4525"/>
                      <a:pt x="1513" y="4525"/>
                    </a:cubicBezTo>
                    <a:cubicBezTo>
                      <a:pt x="1596" y="4525"/>
                      <a:pt x="1656" y="4454"/>
                      <a:pt x="1656" y="4382"/>
                    </a:cubicBezTo>
                    <a:lnTo>
                      <a:pt x="1656" y="4227"/>
                    </a:lnTo>
                    <a:lnTo>
                      <a:pt x="3942" y="4227"/>
                    </a:lnTo>
                    <a:lnTo>
                      <a:pt x="3942" y="4394"/>
                    </a:lnTo>
                    <a:cubicBezTo>
                      <a:pt x="3942" y="4465"/>
                      <a:pt x="4001" y="4549"/>
                      <a:pt x="4097" y="4549"/>
                    </a:cubicBezTo>
                    <a:cubicBezTo>
                      <a:pt x="4168" y="4549"/>
                      <a:pt x="4240" y="4489"/>
                      <a:pt x="4240" y="4394"/>
                    </a:cubicBezTo>
                    <a:lnTo>
                      <a:pt x="4240" y="4227"/>
                    </a:lnTo>
                    <a:lnTo>
                      <a:pt x="6537" y="4227"/>
                    </a:lnTo>
                    <a:lnTo>
                      <a:pt x="6537" y="4382"/>
                    </a:lnTo>
                    <a:cubicBezTo>
                      <a:pt x="6537" y="4454"/>
                      <a:pt x="6597" y="4525"/>
                      <a:pt x="6668" y="4525"/>
                    </a:cubicBezTo>
                    <a:cubicBezTo>
                      <a:pt x="6740" y="4525"/>
                      <a:pt x="6799" y="4465"/>
                      <a:pt x="6823" y="4394"/>
                    </a:cubicBezTo>
                    <a:lnTo>
                      <a:pt x="6823" y="4227"/>
                    </a:lnTo>
                    <a:lnTo>
                      <a:pt x="7907" y="4227"/>
                    </a:lnTo>
                    <a:cubicBezTo>
                      <a:pt x="7895" y="4692"/>
                      <a:pt x="7788" y="5120"/>
                      <a:pt x="7621" y="5549"/>
                    </a:cubicBezTo>
                    <a:cubicBezTo>
                      <a:pt x="7597" y="5632"/>
                      <a:pt x="7621" y="5704"/>
                      <a:pt x="7692" y="5739"/>
                    </a:cubicBezTo>
                    <a:cubicBezTo>
                      <a:pt x="7704" y="5751"/>
                      <a:pt x="7728" y="5751"/>
                      <a:pt x="7752" y="5751"/>
                    </a:cubicBezTo>
                    <a:cubicBezTo>
                      <a:pt x="7811" y="5751"/>
                      <a:pt x="7859" y="5716"/>
                      <a:pt x="7895" y="5656"/>
                    </a:cubicBezTo>
                    <a:cubicBezTo>
                      <a:pt x="8097" y="5168"/>
                      <a:pt x="8204" y="4632"/>
                      <a:pt x="8204" y="4084"/>
                    </a:cubicBezTo>
                    <a:cubicBezTo>
                      <a:pt x="8157" y="3001"/>
                      <a:pt x="7740" y="1965"/>
                      <a:pt x="6966" y="1191"/>
                    </a:cubicBezTo>
                    <a:cubicBezTo>
                      <a:pt x="6192" y="417"/>
                      <a:pt x="5168" y="1"/>
                      <a:pt x="4085" y="1"/>
                    </a:cubicBezTo>
                    <a:close/>
                  </a:path>
                </a:pathLst>
              </a:custGeom>
              <a:grpFill/>
              <a:ln>
                <a:solidFill>
                  <a:schemeClr val="bg1">
                    <a:lumMod val="75000"/>
                  </a:schemeClr>
                </a:solidFill>
              </a:ln>
            </p:spPr>
            <p:txBody>
              <a:bodyPr spcFirstLastPara="1" wrap="square" lIns="91425" tIns="91425" rIns="91425" bIns="91425" anchor="ctr" anchorCtr="0">
                <a:no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a:p>
            </p:txBody>
          </p:sp>
        </p:grpSp>
      </p:grpSp>
    </p:spTree>
    <p:extLst>
      <p:ext uri="{BB962C8B-B14F-4D97-AF65-F5344CB8AC3E}">
        <p14:creationId xmlns:p14="http://schemas.microsoft.com/office/powerpoint/2010/main" val="11156146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CONTAINEDIMAGEPATH" val="C:\Users\apoysky\AppData\Local\Temp\Templafy\PowerPointVsto\Assets\Overcast_Large_POS.png"/>
</p:tagLst>
</file>

<file path=ppt/tags/tag10.xml><?xml version="1.0" encoding="utf-8"?>
<p:tagLst xmlns:a="http://schemas.openxmlformats.org/drawingml/2006/main" xmlns:r="http://schemas.openxmlformats.org/officeDocument/2006/relationships" xmlns:p="http://schemas.openxmlformats.org/presentationml/2006/main">
  <p:tag name="EE4P_TEMPLATESTYLE" val="18"/>
</p:tagLst>
</file>

<file path=ppt/tags/tag2.xml><?xml version="1.0" encoding="utf-8"?>
<p:tagLst xmlns:a="http://schemas.openxmlformats.org/drawingml/2006/main" xmlns:r="http://schemas.openxmlformats.org/officeDocument/2006/relationships" xmlns:p="http://schemas.openxmlformats.org/presentationml/2006/main">
  <p:tag name="CONTAINEDIMAGEPATH" val="C:\Users\apoysky\AppData\Local\Temp\Templafy\PowerPointVsto\Assets\Scales_Large_POS.png"/>
</p:tagLst>
</file>

<file path=ppt/tags/tag3.xml><?xml version="1.0" encoding="utf-8"?>
<p:tagLst xmlns:a="http://schemas.openxmlformats.org/drawingml/2006/main" xmlns:r="http://schemas.openxmlformats.org/officeDocument/2006/relationships" xmlns:p="http://schemas.openxmlformats.org/presentationml/2006/main">
  <p:tag name="CONTAINEDIMAGEPATH" val="C:\Users\apoysky\AppData\Local\Temp\Templafy\PowerPointVsto\Assets\Check_Large_POS.png"/>
</p:tagLst>
</file>

<file path=ppt/tags/tag4.xml><?xml version="1.0" encoding="utf-8"?>
<p:tagLst xmlns:a="http://schemas.openxmlformats.org/drawingml/2006/main" xmlns:r="http://schemas.openxmlformats.org/officeDocument/2006/relationships" xmlns:p="http://schemas.openxmlformats.org/presentationml/2006/main">
  <p:tag name="CONTAINEDIMAGEPATH" val="C:\Users\apoysky\AppData\Local\Temp\Templafy\PowerPointVsto\Assets\Cogs_Large_POS.png"/>
</p:tagLst>
</file>

<file path=ppt/tags/tag5.xml><?xml version="1.0" encoding="utf-8"?>
<p:tagLst xmlns:a="http://schemas.openxmlformats.org/drawingml/2006/main" xmlns:r="http://schemas.openxmlformats.org/officeDocument/2006/relationships" xmlns:p="http://schemas.openxmlformats.org/presentationml/2006/main">
  <p:tag name="EE4P_TEMPLATESTYLE" val="17"/>
</p:tagLst>
</file>

<file path=ppt/tags/tag6.xml><?xml version="1.0" encoding="utf-8"?>
<p:tagLst xmlns:a="http://schemas.openxmlformats.org/drawingml/2006/main" xmlns:r="http://schemas.openxmlformats.org/officeDocument/2006/relationships" xmlns:p="http://schemas.openxmlformats.org/presentationml/2006/main">
  <p:tag name="EE4P_TEMPLATESTYLE" val="17"/>
</p:tagLst>
</file>

<file path=ppt/tags/tag7.xml><?xml version="1.0" encoding="utf-8"?>
<p:tagLst xmlns:a="http://schemas.openxmlformats.org/drawingml/2006/main" xmlns:r="http://schemas.openxmlformats.org/officeDocument/2006/relationships" xmlns:p="http://schemas.openxmlformats.org/presentationml/2006/main">
  <p:tag name="EE4P_TEMPLATESTYLE" val="17"/>
</p:tagLst>
</file>

<file path=ppt/tags/tag8.xml><?xml version="1.0" encoding="utf-8"?>
<p:tagLst xmlns:a="http://schemas.openxmlformats.org/drawingml/2006/main" xmlns:r="http://schemas.openxmlformats.org/officeDocument/2006/relationships" xmlns:p="http://schemas.openxmlformats.org/presentationml/2006/main">
  <p:tag name="EE4P_TEMPLATESTYLE" val="17"/>
</p:tagLst>
</file>

<file path=ppt/tags/tag9.xml><?xml version="1.0" encoding="utf-8"?>
<p:tagLst xmlns:a="http://schemas.openxmlformats.org/drawingml/2006/main" xmlns:r="http://schemas.openxmlformats.org/officeDocument/2006/relationships" xmlns:p="http://schemas.openxmlformats.org/presentationml/2006/main">
  <p:tag name="EE4P_TEMPLATESTYLE" val="17"/>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EUIPO Document" ma:contentTypeID="0x010100C1919173AE644BBAB37BE0BD70BE8266" ma:contentTypeVersion="1" ma:contentTypeDescription="" ma:contentTypeScope="" ma:versionID="84a7f6b9a9324c93f7c429fe637c4145">
  <xsd:schema xmlns:xsd="http://www.w3.org/2001/XMLSchema" xmlns:p="http://schemas.microsoft.com/office/2006/metadata/properties" xmlns:ns2="0e656187-b300-4fb0-8bf4-3a50f872073c" targetNamespace="http://schemas.microsoft.com/office/2006/metadata/properties" ma:root="true" ma:fieldsID="d82bb511108d8e269345fc9bd5c1ab5b" ns2:_="">
    <xsd:import namespace="0e656187-b300-4fb0-8bf4-3a50f872073c"/>
    <xsd:element name="properties">
      <xsd:complexType>
        <xsd:sequence>
          <xsd:element name="documentManagement">
            <xsd:complexType>
              <xsd:all>
                <xsd:element ref="ns2:Document_x0020_Identification_x0020_Number" minOccurs="0"/>
                <xsd:element ref="ns2:Description" minOccurs="0"/>
              </xsd:all>
            </xsd:complexType>
          </xsd:element>
        </xsd:sequence>
      </xsd:complexType>
    </xsd:element>
  </xsd:schema>
  <xsd:schema xmlns:xsd="http://www.w3.org/2001/XMLSchema" xmlns:dms="http://schemas.microsoft.com/office/2006/documentManagement/types" targetNamespace="0e656187-b300-4fb0-8bf4-3a50f872073c" elementFormDefault="qualified">
    <xsd:import namespace="http://schemas.microsoft.com/office/2006/documentManagement/types"/>
    <xsd:element name="Document_x0020_Identification_x0020_Number" ma:readOnly="true" ma:index="8" nillable="true" ma:displayName="Document Identification Number" ma:internalName="Document_x0020_Identification_x0020_Number">
      <xsd:simpleType>
        <xsd:restriction base="dms:Text">
</xsd:restriction>
      </xsd:simpleType>
    </xsd:element>
    <xsd:element name="Description" ma:index="9" nillable="true" ma:displayName="Description" ma:internalName="Description">
      <xsd:simpleType>
        <xsd:restriction base="dms:Note">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Document_x0020_Identification_x0020_Number xmlns="0e656187-b300-4fb0-8bf4-3a50f872073c">0138606624</Document_x0020_Identification_x0020_Number>
    <Description xmlns="0e656187-b300-4fb0-8bf4-3a50f872073c" xsi:nil="true"/>
  </documentManagement>
</p:properties>
</file>

<file path=customXml/itemProps1.xml><?xml version="1.0" encoding="utf-8"?>
<ds:datastoreItem xmlns:ds="http://schemas.openxmlformats.org/officeDocument/2006/customXml" ds:itemID="{08DD7745-ED16-47B1-B24B-70E69B0D137C}">
  <ds:schemaRefs>
    <ds:schemaRef ds:uri="http://schemas.microsoft.com/sharepoint/v3/contenttype/forms"/>
  </ds:schemaRefs>
</ds:datastoreItem>
</file>

<file path=customXml/itemProps2.xml><?xml version="1.0" encoding="utf-8"?>
<ds:datastoreItem xmlns:ds="http://schemas.openxmlformats.org/officeDocument/2006/customXml" ds:itemID="{DC2F827C-E753-4BA7-968E-6BF919ACC1D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e656187-b300-4fb0-8bf4-3a50f872073c"/>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D13E6587-9F5D-4897-BD65-45D6DBD65F91}">
  <ds:schemaRefs>
    <ds:schemaRef ds:uri="http://purl.org/dc/terms/"/>
    <ds:schemaRef ds:uri="http://schemas.openxmlformats.org/package/2006/metadata/core-properties"/>
    <ds:schemaRef ds:uri="0e656187-b300-4fb0-8bf4-3a50f872073c"/>
    <ds:schemaRef ds:uri="http://purl.org/dc/dcmitype/"/>
    <ds:schemaRef ds:uri="http://schemas.microsoft.com/office/2006/documentManagement/types"/>
    <ds:schemaRef ds:uri="http://purl.org/dc/elements/1.1/"/>
    <ds:schemaRef ds:uri="http://schemas.microsoft.com/office/2006/metadata/properties"/>
    <ds:schemaRef ds:uri="http://www.w3.org/XML/1998/namespace"/>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EUIPO-PPT-16-9-EN</Template>
  <TotalTime>7988</TotalTime>
  <Words>8495</Words>
  <Application>Microsoft Office PowerPoint</Application>
  <PresentationFormat>On-screen Show (16:9)</PresentationFormat>
  <Paragraphs>817</Paragraphs>
  <Slides>67</Slides>
  <Notes>67</Notes>
  <HiddenSlides>0</HiddenSlides>
  <MMClips>0</MMClips>
  <ScaleCrop>false</ScaleCrop>
  <HeadingPairs>
    <vt:vector size="6" baseType="variant">
      <vt:variant>
        <vt:lpstr>Fonts Used</vt:lpstr>
      </vt:variant>
      <vt:variant>
        <vt:i4>11</vt:i4>
      </vt:variant>
      <vt:variant>
        <vt:lpstr>Theme</vt:lpstr>
      </vt:variant>
      <vt:variant>
        <vt:i4>2</vt:i4>
      </vt:variant>
      <vt:variant>
        <vt:lpstr>Slide Titles</vt:lpstr>
      </vt:variant>
      <vt:variant>
        <vt:i4>67</vt:i4>
      </vt:variant>
    </vt:vector>
  </HeadingPairs>
  <TitlesOfParts>
    <vt:vector size="80" baseType="lpstr">
      <vt:lpstr>Aharoni</vt:lpstr>
      <vt:lpstr>Arial</vt:lpstr>
      <vt:lpstr>Arial </vt:lpstr>
      <vt:lpstr>Berlin Sans FB Demi</vt:lpstr>
      <vt:lpstr>Calibri</vt:lpstr>
      <vt:lpstr>Courier New</vt:lpstr>
      <vt:lpstr>Open Sans</vt:lpstr>
      <vt:lpstr>Segoe UI</vt:lpstr>
      <vt:lpstr>Times New Roman</vt:lpstr>
      <vt:lpstr>Verdana</vt:lpstr>
      <vt:lpstr>Wingdings</vt:lpstr>
      <vt:lpstr>Office Theme</vt:lpstr>
      <vt:lpstr>1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OHI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P14 Training materials.pptx</dc:title>
  <dc:creator>CALLAGHAN, SIAN</dc:creator>
  <cp:lastModifiedBy>PÉREZ-HICKMAN  BARCELÓ Rocío</cp:lastModifiedBy>
  <cp:revision>289</cp:revision>
  <cp:lastPrinted>2022-06-14T19:59:09Z</cp:lastPrinted>
  <dcterms:created xsi:type="dcterms:W3CDTF">2021-06-18T08:09:30Z</dcterms:created>
  <dcterms:modified xsi:type="dcterms:W3CDTF">2024-04-04T08:59:50Z</dcterms:modified>
</cp:coreProperties>
</file>